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450" r:id="rId2"/>
    <p:sldId id="451" r:id="rId3"/>
    <p:sldId id="484" r:id="rId4"/>
    <p:sldId id="483" r:id="rId5"/>
    <p:sldId id="479" r:id="rId6"/>
    <p:sldId id="477" r:id="rId7"/>
    <p:sldId id="481" r:id="rId8"/>
    <p:sldId id="482" r:id="rId9"/>
    <p:sldId id="485" r:id="rId10"/>
    <p:sldId id="486" r:id="rId11"/>
    <p:sldId id="487" r:id="rId12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98" userDrawn="1">
          <p15:clr>
            <a:srgbClr val="A4A3A4"/>
          </p15:clr>
        </p15:guide>
        <p15:guide id="2" pos="651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reepiker" initials="F" lastIdx="1" clrIdx="0">
    <p:extLst>
      <p:ext uri="{19B8F6BF-5375-455C-9EA6-DF929625EA0E}">
        <p15:presenceInfo xmlns:p15="http://schemas.microsoft.com/office/powerpoint/2012/main" userId="Freepik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CB2AF"/>
    <a:srgbClr val="37CDC9"/>
    <a:srgbClr val="2EBBB8"/>
    <a:srgbClr val="A2EAE8"/>
    <a:srgbClr val="2EB7B4"/>
    <a:srgbClr val="E6E6E6"/>
    <a:srgbClr val="878787"/>
    <a:srgbClr val="32C8C8"/>
    <a:srgbClr val="FFFFFF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162" autoAdjust="0"/>
    <p:restoredTop sz="99712" autoAdjust="0"/>
  </p:normalViewPr>
  <p:slideViewPr>
    <p:cSldViewPr snapToGrid="0" snapToObjects="1">
      <p:cViewPr varScale="1">
        <p:scale>
          <a:sx n="114" d="100"/>
          <a:sy n="114" d="100"/>
        </p:scale>
        <p:origin x="850" y="101"/>
      </p:cViewPr>
      <p:guideLst>
        <p:guide orient="horz" pos="1298"/>
        <p:guide pos="651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667"/>
    </p:cViewPr>
  </p:sorterViewPr>
  <p:notesViewPr>
    <p:cSldViewPr snapToGrid="0" snapToObjects="1">
      <p:cViewPr varScale="1">
        <p:scale>
          <a:sx n="55" d="100"/>
          <a:sy n="55" d="100"/>
        </p:scale>
        <p:origin x="2022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5F1CD92-DA11-42CA-9E28-F57FD4F371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237265-C715-4164-8B30-E32A9AE5535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E152FC6-64DD-41BE-A95D-2E3785E1B9A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7845297-E8C3-4A56-9516-E18309FF2736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47280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F10FA5-98E6-FB4E-97B6-D4EB979E8963}" type="datetimeFigureOut">
              <a:rPr lang="en-US" smtClean="0"/>
              <a:t>11/10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F22E1E8-19DD-9846-964E-7494B0E7F513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147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pixabay.com/photos/person-man-male-business-tablet-731479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22E1E8-19DD-9846-964E-7494B0E7F513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98802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pixabay.com/photos/office-business-colleagues-meeting-1209640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22E1E8-19DD-9846-964E-7494B0E7F513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714616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pixabay.com/photos/office-business-colleagues-meeting-1209640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22E1E8-19DD-9846-964E-7494B0E7F513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4261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pixabay.com/photos/office-business-colleagues-meeting-1209640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22E1E8-19DD-9846-964E-7494B0E7F513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73424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pixabay.com/photos/office-business-colleagues-meeting-1209640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22E1E8-19DD-9846-964E-7494B0E7F513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16640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pixabay.com/photos/office-business-colleagues-meeting-1209640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22E1E8-19DD-9846-964E-7494B0E7F513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220691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pixabay.com/photos/office-business-colleagues-meeting-1209640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22E1E8-19DD-9846-964E-7494B0E7F513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0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pixabay.com/photos/office-business-colleagues-meeting-1209640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22E1E8-19DD-9846-964E-7494B0E7F513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46440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pixabay.com/photos/office-business-colleagues-meeting-1209640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22E1E8-19DD-9846-964E-7494B0E7F513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225188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pixabay.com/photos/office-business-colleagues-meeting-1209640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22E1E8-19DD-9846-964E-7494B0E7F513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361338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pixabay.com/photos/office-business-colleagues-meeting-1209640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22E1E8-19DD-9846-964E-7494B0E7F513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18754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Full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32">
            <a:extLst>
              <a:ext uri="{FF2B5EF4-FFF2-40B4-BE49-F238E27FC236}">
                <a16:creationId xmlns:a16="http://schemas.microsoft.com/office/drawing/2014/main" id="{4E9BFB6A-E6F0-4D8E-A268-11E221DB5A4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604249" y="884671"/>
            <a:ext cx="3587750" cy="4100080"/>
          </a:xfrm>
          <a:custGeom>
            <a:avLst/>
            <a:gdLst>
              <a:gd name="connsiteX0" fmla="*/ 2048696 w 3587750"/>
              <a:gd name="connsiteY0" fmla="*/ 0 h 4100080"/>
              <a:gd name="connsiteX1" fmla="*/ 3587750 w 3587750"/>
              <a:gd name="connsiteY1" fmla="*/ 695158 h 4100080"/>
              <a:gd name="connsiteX2" fmla="*/ 3587750 w 3587750"/>
              <a:gd name="connsiteY2" fmla="*/ 3404923 h 4100080"/>
              <a:gd name="connsiteX3" fmla="*/ 2048696 w 3587750"/>
              <a:gd name="connsiteY3" fmla="*/ 4100080 h 4100080"/>
              <a:gd name="connsiteX4" fmla="*/ 0 w 3587750"/>
              <a:gd name="connsiteY4" fmla="*/ 2048353 h 4100080"/>
              <a:gd name="connsiteX5" fmla="*/ 2048696 w 3587750"/>
              <a:gd name="connsiteY5" fmla="*/ 0 h 4100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7750" h="4100080">
                <a:moveTo>
                  <a:pt x="2048696" y="0"/>
                </a:moveTo>
                <a:cubicBezTo>
                  <a:pt x="2659593" y="0"/>
                  <a:pt x="3209737" y="269964"/>
                  <a:pt x="3587750" y="695158"/>
                </a:cubicBezTo>
                <a:cubicBezTo>
                  <a:pt x="3587750" y="695158"/>
                  <a:pt x="3587750" y="695158"/>
                  <a:pt x="3587750" y="3404923"/>
                </a:cubicBezTo>
                <a:cubicBezTo>
                  <a:pt x="3209737" y="3830116"/>
                  <a:pt x="2659593" y="4100080"/>
                  <a:pt x="2048696" y="4100080"/>
                </a:cubicBezTo>
                <a:cubicBezTo>
                  <a:pt x="918032" y="4100080"/>
                  <a:pt x="0" y="3182202"/>
                  <a:pt x="0" y="2048353"/>
                </a:cubicBezTo>
                <a:cubicBezTo>
                  <a:pt x="0" y="917878"/>
                  <a:pt x="918032" y="0"/>
                  <a:pt x="2048696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13156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_Full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E8CACA21-A72F-4920-AA54-3E20921B1B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712402" y="6335762"/>
            <a:ext cx="2062071" cy="254745"/>
          </a:xfrm>
          <a:prstGeom prst="rect">
            <a:avLst/>
          </a:prstGeom>
        </p:spPr>
        <p:txBody>
          <a:bodyPr/>
          <a:lstStyle>
            <a:lvl1pPr algn="l">
              <a:defRPr sz="1200" spc="0" baseline="0">
                <a:solidFill>
                  <a:schemeClr val="bg1">
                    <a:lumMod val="65000"/>
                  </a:schemeClr>
                </a:solidFill>
                <a:effectLst/>
                <a:latin typeface="+mn-lt"/>
              </a:defRPr>
            </a:lvl1pPr>
          </a:lstStyle>
          <a:p>
            <a:r>
              <a:rPr lang="en-US"/>
              <a:t>insertyoururlhere.com</a:t>
            </a:r>
            <a:endParaRPr lang="en-US" dirty="0"/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08C84B09-FAEC-4A75-8886-DC153F75334C}"/>
              </a:ext>
            </a:extLst>
          </p:cNvPr>
          <p:cNvGrpSpPr/>
          <p:nvPr userDrawn="1"/>
        </p:nvGrpSpPr>
        <p:grpSpPr>
          <a:xfrm>
            <a:off x="855518" y="2510"/>
            <a:ext cx="1997364" cy="1405659"/>
            <a:chOff x="1450975" y="-26194"/>
            <a:chExt cx="2197100" cy="1546225"/>
          </a:xfrm>
          <a:solidFill>
            <a:schemeClr val="tx1">
              <a:lumMod val="75000"/>
              <a:lumOff val="25000"/>
              <a:alpha val="10000"/>
            </a:schemeClr>
          </a:solidFill>
        </p:grpSpPr>
        <p:sp>
          <p:nvSpPr>
            <p:cNvPr id="47" name="Freeform 30">
              <a:extLst>
                <a:ext uri="{FF2B5EF4-FFF2-40B4-BE49-F238E27FC236}">
                  <a16:creationId xmlns:a16="http://schemas.microsoft.com/office/drawing/2014/main" id="{8FD86F56-87BC-4766-9BB4-6324531D141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0125" y="-26194"/>
              <a:ext cx="12700" cy="3175"/>
            </a:xfrm>
            <a:custGeom>
              <a:avLst/>
              <a:gdLst>
                <a:gd name="T0" fmla="*/ 0 w 4"/>
                <a:gd name="T1" fmla="*/ 0 h 1"/>
                <a:gd name="T2" fmla="*/ 0 w 4"/>
                <a:gd name="T3" fmla="*/ 1 h 1"/>
                <a:gd name="T4" fmla="*/ 4 w 4"/>
                <a:gd name="T5" fmla="*/ 1 h 1"/>
                <a:gd name="T6" fmla="*/ 4 w 4"/>
                <a:gd name="T7" fmla="*/ 0 h 1"/>
                <a:gd name="T8" fmla="*/ 0 w 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31">
              <a:extLst>
                <a:ext uri="{FF2B5EF4-FFF2-40B4-BE49-F238E27FC236}">
                  <a16:creationId xmlns:a16="http://schemas.microsoft.com/office/drawing/2014/main" id="{62D41CD2-0B48-465B-9761-59D240850B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225" y="-26194"/>
              <a:ext cx="12700" cy="3175"/>
            </a:xfrm>
            <a:custGeom>
              <a:avLst/>
              <a:gdLst>
                <a:gd name="T0" fmla="*/ 4 w 4"/>
                <a:gd name="T1" fmla="*/ 0 h 1"/>
                <a:gd name="T2" fmla="*/ 0 w 4"/>
                <a:gd name="T3" fmla="*/ 0 h 1"/>
                <a:gd name="T4" fmla="*/ 0 w 4"/>
                <a:gd name="T5" fmla="*/ 1 h 1"/>
                <a:gd name="T6" fmla="*/ 4 w 4"/>
                <a:gd name="T7" fmla="*/ 1 h 1"/>
                <a:gd name="T8" fmla="*/ 4 w 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32">
              <a:extLst>
                <a:ext uri="{FF2B5EF4-FFF2-40B4-BE49-F238E27FC236}">
                  <a16:creationId xmlns:a16="http://schemas.microsoft.com/office/drawing/2014/main" id="{9D7D6241-E72C-45D3-9511-3BDF420D5AB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0975" y="-23019"/>
              <a:ext cx="2197100" cy="1543050"/>
            </a:xfrm>
            <a:custGeom>
              <a:avLst/>
              <a:gdLst>
                <a:gd name="T0" fmla="*/ 688 w 692"/>
                <a:gd name="T1" fmla="*/ 140 h 486"/>
                <a:gd name="T2" fmla="*/ 346 w 692"/>
                <a:gd name="T3" fmla="*/ 483 h 486"/>
                <a:gd name="T4" fmla="*/ 3 w 692"/>
                <a:gd name="T5" fmla="*/ 140 h 486"/>
                <a:gd name="T6" fmla="*/ 34 w 692"/>
                <a:gd name="T7" fmla="*/ 0 h 486"/>
                <a:gd name="T8" fmla="*/ 30 w 692"/>
                <a:gd name="T9" fmla="*/ 0 h 486"/>
                <a:gd name="T10" fmla="*/ 0 w 692"/>
                <a:gd name="T11" fmla="*/ 140 h 486"/>
                <a:gd name="T12" fmla="*/ 346 w 692"/>
                <a:gd name="T13" fmla="*/ 486 h 486"/>
                <a:gd name="T14" fmla="*/ 692 w 692"/>
                <a:gd name="T15" fmla="*/ 140 h 486"/>
                <a:gd name="T16" fmla="*/ 662 w 692"/>
                <a:gd name="T17" fmla="*/ 0 h 486"/>
                <a:gd name="T18" fmla="*/ 658 w 692"/>
                <a:gd name="T19" fmla="*/ 0 h 486"/>
                <a:gd name="T20" fmla="*/ 688 w 692"/>
                <a:gd name="T21" fmla="*/ 140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92" h="486">
                  <a:moveTo>
                    <a:pt x="688" y="140"/>
                  </a:moveTo>
                  <a:cubicBezTo>
                    <a:pt x="688" y="329"/>
                    <a:pt x="535" y="483"/>
                    <a:pt x="346" y="483"/>
                  </a:cubicBezTo>
                  <a:cubicBezTo>
                    <a:pt x="157" y="483"/>
                    <a:pt x="3" y="329"/>
                    <a:pt x="3" y="140"/>
                  </a:cubicBezTo>
                  <a:cubicBezTo>
                    <a:pt x="3" y="90"/>
                    <a:pt x="14" y="43"/>
                    <a:pt x="34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11" y="43"/>
                    <a:pt x="0" y="90"/>
                    <a:pt x="0" y="140"/>
                  </a:cubicBezTo>
                  <a:cubicBezTo>
                    <a:pt x="0" y="331"/>
                    <a:pt x="155" y="486"/>
                    <a:pt x="346" y="486"/>
                  </a:cubicBezTo>
                  <a:cubicBezTo>
                    <a:pt x="536" y="486"/>
                    <a:pt x="692" y="331"/>
                    <a:pt x="692" y="140"/>
                  </a:cubicBezTo>
                  <a:cubicBezTo>
                    <a:pt x="692" y="90"/>
                    <a:pt x="681" y="43"/>
                    <a:pt x="662" y="0"/>
                  </a:cubicBezTo>
                  <a:cubicBezTo>
                    <a:pt x="658" y="0"/>
                    <a:pt x="658" y="0"/>
                    <a:pt x="658" y="0"/>
                  </a:cubicBezTo>
                  <a:cubicBezTo>
                    <a:pt x="677" y="43"/>
                    <a:pt x="688" y="90"/>
                    <a:pt x="688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33">
              <a:extLst>
                <a:ext uri="{FF2B5EF4-FFF2-40B4-BE49-F238E27FC236}">
                  <a16:creationId xmlns:a16="http://schemas.microsoft.com/office/drawing/2014/main" id="{5950A7FD-AAE1-4253-8AE1-2B966BBDC88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3925" y="-26194"/>
              <a:ext cx="9525" cy="3175"/>
            </a:xfrm>
            <a:custGeom>
              <a:avLst/>
              <a:gdLst>
                <a:gd name="T0" fmla="*/ 0 w 3"/>
                <a:gd name="T1" fmla="*/ 1 h 1"/>
                <a:gd name="T2" fmla="*/ 3 w 3"/>
                <a:gd name="T3" fmla="*/ 1 h 1"/>
                <a:gd name="T4" fmla="*/ 3 w 3"/>
                <a:gd name="T5" fmla="*/ 0 h 1"/>
                <a:gd name="T6" fmla="*/ 0 w 3"/>
                <a:gd name="T7" fmla="*/ 0 h 1"/>
                <a:gd name="T8" fmla="*/ 0 w 3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34">
              <a:extLst>
                <a:ext uri="{FF2B5EF4-FFF2-40B4-BE49-F238E27FC236}">
                  <a16:creationId xmlns:a16="http://schemas.microsoft.com/office/drawing/2014/main" id="{A2B9865F-376A-4638-B3AA-FA96E16496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2425" y="-26194"/>
              <a:ext cx="12700" cy="3175"/>
            </a:xfrm>
            <a:custGeom>
              <a:avLst/>
              <a:gdLst>
                <a:gd name="T0" fmla="*/ 4 w 4"/>
                <a:gd name="T1" fmla="*/ 1 h 1"/>
                <a:gd name="T2" fmla="*/ 4 w 4"/>
                <a:gd name="T3" fmla="*/ 0 h 1"/>
                <a:gd name="T4" fmla="*/ 1 w 4"/>
                <a:gd name="T5" fmla="*/ 0 h 1"/>
                <a:gd name="T6" fmla="*/ 0 w 4"/>
                <a:gd name="T7" fmla="*/ 1 h 1"/>
                <a:gd name="T8" fmla="*/ 4 w 4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1"/>
                  </a:moveTo>
                  <a:cubicBezTo>
                    <a:pt x="4" y="1"/>
                    <a:pt x="4" y="1"/>
                    <a:pt x="4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35">
              <a:extLst>
                <a:ext uri="{FF2B5EF4-FFF2-40B4-BE49-F238E27FC236}">
                  <a16:creationId xmlns:a16="http://schemas.microsoft.com/office/drawing/2014/main" id="{7C0CAAD9-B35B-48A2-B02F-21ED7215DC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0825" y="-23019"/>
              <a:ext cx="2054225" cy="1473200"/>
            </a:xfrm>
            <a:custGeom>
              <a:avLst/>
              <a:gdLst>
                <a:gd name="T0" fmla="*/ 644 w 647"/>
                <a:gd name="T1" fmla="*/ 140 h 464"/>
                <a:gd name="T2" fmla="*/ 324 w 647"/>
                <a:gd name="T3" fmla="*/ 460 h 464"/>
                <a:gd name="T4" fmla="*/ 4 w 647"/>
                <a:gd name="T5" fmla="*/ 140 h 464"/>
                <a:gd name="T6" fmla="*/ 36 w 647"/>
                <a:gd name="T7" fmla="*/ 0 h 464"/>
                <a:gd name="T8" fmla="*/ 32 w 647"/>
                <a:gd name="T9" fmla="*/ 0 h 464"/>
                <a:gd name="T10" fmla="*/ 0 w 647"/>
                <a:gd name="T11" fmla="*/ 140 h 464"/>
                <a:gd name="T12" fmla="*/ 324 w 647"/>
                <a:gd name="T13" fmla="*/ 464 h 464"/>
                <a:gd name="T14" fmla="*/ 647 w 647"/>
                <a:gd name="T15" fmla="*/ 140 h 464"/>
                <a:gd name="T16" fmla="*/ 615 w 647"/>
                <a:gd name="T17" fmla="*/ 0 h 464"/>
                <a:gd name="T18" fmla="*/ 612 w 647"/>
                <a:gd name="T19" fmla="*/ 0 h 464"/>
                <a:gd name="T20" fmla="*/ 644 w 647"/>
                <a:gd name="T21" fmla="*/ 140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47" h="464">
                  <a:moveTo>
                    <a:pt x="644" y="140"/>
                  </a:moveTo>
                  <a:cubicBezTo>
                    <a:pt x="644" y="317"/>
                    <a:pt x="500" y="460"/>
                    <a:pt x="324" y="460"/>
                  </a:cubicBezTo>
                  <a:cubicBezTo>
                    <a:pt x="147" y="460"/>
                    <a:pt x="4" y="317"/>
                    <a:pt x="4" y="140"/>
                  </a:cubicBezTo>
                  <a:cubicBezTo>
                    <a:pt x="4" y="90"/>
                    <a:pt x="15" y="42"/>
                    <a:pt x="36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12" y="42"/>
                    <a:pt x="0" y="90"/>
                    <a:pt x="0" y="140"/>
                  </a:cubicBezTo>
                  <a:cubicBezTo>
                    <a:pt x="0" y="319"/>
                    <a:pt x="145" y="464"/>
                    <a:pt x="324" y="464"/>
                  </a:cubicBezTo>
                  <a:cubicBezTo>
                    <a:pt x="502" y="464"/>
                    <a:pt x="647" y="319"/>
                    <a:pt x="647" y="140"/>
                  </a:cubicBezTo>
                  <a:cubicBezTo>
                    <a:pt x="647" y="90"/>
                    <a:pt x="636" y="42"/>
                    <a:pt x="615" y="0"/>
                  </a:cubicBezTo>
                  <a:cubicBezTo>
                    <a:pt x="612" y="0"/>
                    <a:pt x="612" y="0"/>
                    <a:pt x="612" y="0"/>
                  </a:cubicBezTo>
                  <a:cubicBezTo>
                    <a:pt x="632" y="42"/>
                    <a:pt x="644" y="90"/>
                    <a:pt x="644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36">
              <a:extLst>
                <a:ext uri="{FF2B5EF4-FFF2-40B4-BE49-F238E27FC236}">
                  <a16:creationId xmlns:a16="http://schemas.microsoft.com/office/drawing/2014/main" id="{B8B8251C-1295-4342-BCC1-B378D183AF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-26194"/>
              <a:ext cx="12700" cy="3175"/>
            </a:xfrm>
            <a:custGeom>
              <a:avLst/>
              <a:gdLst>
                <a:gd name="T0" fmla="*/ 4 w 4"/>
                <a:gd name="T1" fmla="*/ 0 h 1"/>
                <a:gd name="T2" fmla="*/ 1 w 4"/>
                <a:gd name="T3" fmla="*/ 0 h 1"/>
                <a:gd name="T4" fmla="*/ 0 w 4"/>
                <a:gd name="T5" fmla="*/ 1 h 1"/>
                <a:gd name="T6" fmla="*/ 4 w 4"/>
                <a:gd name="T7" fmla="*/ 1 h 1"/>
                <a:gd name="T8" fmla="*/ 4 w 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7">
              <a:extLst>
                <a:ext uri="{FF2B5EF4-FFF2-40B4-BE49-F238E27FC236}">
                  <a16:creationId xmlns:a16="http://schemas.microsoft.com/office/drawing/2014/main" id="{5093996E-53D2-4A3B-BE91-71EBD6AC6524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4550" y="-26194"/>
              <a:ext cx="12700" cy="3175"/>
            </a:xfrm>
            <a:custGeom>
              <a:avLst/>
              <a:gdLst>
                <a:gd name="T0" fmla="*/ 0 w 4"/>
                <a:gd name="T1" fmla="*/ 0 h 1"/>
                <a:gd name="T2" fmla="*/ 1 w 4"/>
                <a:gd name="T3" fmla="*/ 1 h 1"/>
                <a:gd name="T4" fmla="*/ 4 w 4"/>
                <a:gd name="T5" fmla="*/ 1 h 1"/>
                <a:gd name="T6" fmla="*/ 4 w 4"/>
                <a:gd name="T7" fmla="*/ 0 h 1"/>
                <a:gd name="T8" fmla="*/ 0 w 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0" y="0"/>
                  </a:moveTo>
                  <a:cubicBezTo>
                    <a:pt x="0" y="1"/>
                    <a:pt x="1" y="1"/>
                    <a:pt x="1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8">
              <a:extLst>
                <a:ext uri="{FF2B5EF4-FFF2-40B4-BE49-F238E27FC236}">
                  <a16:creationId xmlns:a16="http://schemas.microsoft.com/office/drawing/2014/main" id="{3E187798-6D30-447C-A02A-C4C14ABB3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0675" y="-23019"/>
              <a:ext cx="1917700" cy="1403350"/>
            </a:xfrm>
            <a:custGeom>
              <a:avLst/>
              <a:gdLst>
                <a:gd name="T0" fmla="*/ 601 w 604"/>
                <a:gd name="T1" fmla="*/ 140 h 442"/>
                <a:gd name="T2" fmla="*/ 302 w 604"/>
                <a:gd name="T3" fmla="*/ 439 h 442"/>
                <a:gd name="T4" fmla="*/ 3 w 604"/>
                <a:gd name="T5" fmla="*/ 140 h 442"/>
                <a:gd name="T6" fmla="*/ 38 w 604"/>
                <a:gd name="T7" fmla="*/ 0 h 442"/>
                <a:gd name="T8" fmla="*/ 34 w 604"/>
                <a:gd name="T9" fmla="*/ 0 h 442"/>
                <a:gd name="T10" fmla="*/ 0 w 604"/>
                <a:gd name="T11" fmla="*/ 140 h 442"/>
                <a:gd name="T12" fmla="*/ 302 w 604"/>
                <a:gd name="T13" fmla="*/ 442 h 442"/>
                <a:gd name="T14" fmla="*/ 604 w 604"/>
                <a:gd name="T15" fmla="*/ 140 h 442"/>
                <a:gd name="T16" fmla="*/ 569 w 604"/>
                <a:gd name="T17" fmla="*/ 0 h 442"/>
                <a:gd name="T18" fmla="*/ 566 w 604"/>
                <a:gd name="T19" fmla="*/ 0 h 442"/>
                <a:gd name="T20" fmla="*/ 601 w 604"/>
                <a:gd name="T21" fmla="*/ 14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04" h="442">
                  <a:moveTo>
                    <a:pt x="601" y="140"/>
                  </a:moveTo>
                  <a:cubicBezTo>
                    <a:pt x="601" y="305"/>
                    <a:pt x="467" y="439"/>
                    <a:pt x="302" y="439"/>
                  </a:cubicBezTo>
                  <a:cubicBezTo>
                    <a:pt x="137" y="439"/>
                    <a:pt x="3" y="305"/>
                    <a:pt x="3" y="140"/>
                  </a:cubicBezTo>
                  <a:cubicBezTo>
                    <a:pt x="3" y="89"/>
                    <a:pt x="16" y="42"/>
                    <a:pt x="38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12" y="42"/>
                    <a:pt x="0" y="90"/>
                    <a:pt x="0" y="140"/>
                  </a:cubicBezTo>
                  <a:cubicBezTo>
                    <a:pt x="0" y="307"/>
                    <a:pt x="135" y="442"/>
                    <a:pt x="302" y="442"/>
                  </a:cubicBezTo>
                  <a:cubicBezTo>
                    <a:pt x="468" y="442"/>
                    <a:pt x="604" y="307"/>
                    <a:pt x="604" y="140"/>
                  </a:cubicBezTo>
                  <a:cubicBezTo>
                    <a:pt x="604" y="90"/>
                    <a:pt x="591" y="42"/>
                    <a:pt x="569" y="0"/>
                  </a:cubicBezTo>
                  <a:cubicBezTo>
                    <a:pt x="566" y="0"/>
                    <a:pt x="566" y="0"/>
                    <a:pt x="566" y="0"/>
                  </a:cubicBezTo>
                  <a:cubicBezTo>
                    <a:pt x="588" y="42"/>
                    <a:pt x="601" y="89"/>
                    <a:pt x="601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39">
              <a:extLst>
                <a:ext uri="{FF2B5EF4-FFF2-40B4-BE49-F238E27FC236}">
                  <a16:creationId xmlns:a16="http://schemas.microsoft.com/office/drawing/2014/main" id="{B250A47E-206F-457B-8000-99DFD78A17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1175" y="-26194"/>
              <a:ext cx="12700" cy="3175"/>
            </a:xfrm>
            <a:custGeom>
              <a:avLst/>
              <a:gdLst>
                <a:gd name="T0" fmla="*/ 4 w 4"/>
                <a:gd name="T1" fmla="*/ 1 h 1"/>
                <a:gd name="T2" fmla="*/ 4 w 4"/>
                <a:gd name="T3" fmla="*/ 0 h 1"/>
                <a:gd name="T4" fmla="*/ 0 w 4"/>
                <a:gd name="T5" fmla="*/ 0 h 1"/>
                <a:gd name="T6" fmla="*/ 0 w 4"/>
                <a:gd name="T7" fmla="*/ 1 h 1"/>
                <a:gd name="T8" fmla="*/ 4 w 4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1"/>
                  </a:moveTo>
                  <a:cubicBezTo>
                    <a:pt x="4" y="1"/>
                    <a:pt x="4" y="1"/>
                    <a:pt x="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40">
              <a:extLst>
                <a:ext uri="{FF2B5EF4-FFF2-40B4-BE49-F238E27FC236}">
                  <a16:creationId xmlns:a16="http://schemas.microsoft.com/office/drawing/2014/main" id="{54FC95A4-DC3D-4300-AFC9-9F8FCF54C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5175" y="-26194"/>
              <a:ext cx="12700" cy="3175"/>
            </a:xfrm>
            <a:custGeom>
              <a:avLst/>
              <a:gdLst>
                <a:gd name="T0" fmla="*/ 0 w 4"/>
                <a:gd name="T1" fmla="*/ 1 h 1"/>
                <a:gd name="T2" fmla="*/ 4 w 4"/>
                <a:gd name="T3" fmla="*/ 1 h 1"/>
                <a:gd name="T4" fmla="*/ 3 w 4"/>
                <a:gd name="T5" fmla="*/ 0 h 1"/>
                <a:gd name="T6" fmla="*/ 0 w 4"/>
                <a:gd name="T7" fmla="*/ 0 h 1"/>
                <a:gd name="T8" fmla="*/ 0 w 4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0" y="1"/>
                  </a:moveTo>
                  <a:cubicBezTo>
                    <a:pt x="4" y="1"/>
                    <a:pt x="4" y="1"/>
                    <a:pt x="4" y="1"/>
                  </a:cubicBezTo>
                  <a:cubicBezTo>
                    <a:pt x="3" y="1"/>
                    <a:pt x="3" y="1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41">
              <a:extLst>
                <a:ext uri="{FF2B5EF4-FFF2-40B4-BE49-F238E27FC236}">
                  <a16:creationId xmlns:a16="http://schemas.microsoft.com/office/drawing/2014/main" id="{BDD3DF79-B444-4FD5-8484-9A4802AA20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0525" y="-23019"/>
              <a:ext cx="1774825" cy="1333500"/>
            </a:xfrm>
            <a:custGeom>
              <a:avLst/>
              <a:gdLst>
                <a:gd name="T0" fmla="*/ 556 w 559"/>
                <a:gd name="T1" fmla="*/ 140 h 420"/>
                <a:gd name="T2" fmla="*/ 280 w 559"/>
                <a:gd name="T3" fmla="*/ 416 h 420"/>
                <a:gd name="T4" fmla="*/ 4 w 559"/>
                <a:gd name="T5" fmla="*/ 140 h 420"/>
                <a:gd name="T6" fmla="*/ 42 w 559"/>
                <a:gd name="T7" fmla="*/ 0 h 420"/>
                <a:gd name="T8" fmla="*/ 38 w 559"/>
                <a:gd name="T9" fmla="*/ 0 h 420"/>
                <a:gd name="T10" fmla="*/ 0 w 559"/>
                <a:gd name="T11" fmla="*/ 140 h 420"/>
                <a:gd name="T12" fmla="*/ 280 w 559"/>
                <a:gd name="T13" fmla="*/ 420 h 420"/>
                <a:gd name="T14" fmla="*/ 559 w 559"/>
                <a:gd name="T15" fmla="*/ 140 h 420"/>
                <a:gd name="T16" fmla="*/ 522 w 559"/>
                <a:gd name="T17" fmla="*/ 0 h 420"/>
                <a:gd name="T18" fmla="*/ 518 w 559"/>
                <a:gd name="T19" fmla="*/ 0 h 420"/>
                <a:gd name="T20" fmla="*/ 556 w 559"/>
                <a:gd name="T21" fmla="*/ 140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59" h="420">
                  <a:moveTo>
                    <a:pt x="556" y="140"/>
                  </a:moveTo>
                  <a:cubicBezTo>
                    <a:pt x="556" y="293"/>
                    <a:pt x="432" y="416"/>
                    <a:pt x="280" y="416"/>
                  </a:cubicBezTo>
                  <a:cubicBezTo>
                    <a:pt x="128" y="416"/>
                    <a:pt x="4" y="293"/>
                    <a:pt x="4" y="140"/>
                  </a:cubicBezTo>
                  <a:cubicBezTo>
                    <a:pt x="4" y="89"/>
                    <a:pt x="18" y="41"/>
                    <a:pt x="42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14" y="41"/>
                    <a:pt x="0" y="89"/>
                    <a:pt x="0" y="140"/>
                  </a:cubicBezTo>
                  <a:cubicBezTo>
                    <a:pt x="0" y="294"/>
                    <a:pt x="126" y="420"/>
                    <a:pt x="280" y="420"/>
                  </a:cubicBezTo>
                  <a:cubicBezTo>
                    <a:pt x="434" y="420"/>
                    <a:pt x="559" y="294"/>
                    <a:pt x="559" y="140"/>
                  </a:cubicBezTo>
                  <a:cubicBezTo>
                    <a:pt x="559" y="89"/>
                    <a:pt x="546" y="41"/>
                    <a:pt x="522" y="0"/>
                  </a:cubicBezTo>
                  <a:cubicBezTo>
                    <a:pt x="518" y="0"/>
                    <a:pt x="518" y="0"/>
                    <a:pt x="518" y="0"/>
                  </a:cubicBezTo>
                  <a:cubicBezTo>
                    <a:pt x="542" y="41"/>
                    <a:pt x="556" y="89"/>
                    <a:pt x="556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42">
              <a:extLst>
                <a:ext uri="{FF2B5EF4-FFF2-40B4-BE49-F238E27FC236}">
                  <a16:creationId xmlns:a16="http://schemas.microsoft.com/office/drawing/2014/main" id="{91E2A178-552E-476F-AEDA-F519B4623B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4200" y="-26194"/>
              <a:ext cx="12700" cy="3175"/>
            </a:xfrm>
            <a:custGeom>
              <a:avLst/>
              <a:gdLst>
                <a:gd name="T0" fmla="*/ 4 w 4"/>
                <a:gd name="T1" fmla="*/ 0 h 1"/>
                <a:gd name="T2" fmla="*/ 0 w 4"/>
                <a:gd name="T3" fmla="*/ 0 h 1"/>
                <a:gd name="T4" fmla="*/ 0 w 4"/>
                <a:gd name="T5" fmla="*/ 1 h 1"/>
                <a:gd name="T6" fmla="*/ 4 w 4"/>
                <a:gd name="T7" fmla="*/ 1 h 1"/>
                <a:gd name="T8" fmla="*/ 4 w 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43">
              <a:extLst>
                <a:ext uri="{FF2B5EF4-FFF2-40B4-BE49-F238E27FC236}">
                  <a16:creationId xmlns:a16="http://schemas.microsoft.com/office/drawing/2014/main" id="{4B8EF77E-47F9-40B2-BF83-77BF5EC2A1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8975" y="-26194"/>
              <a:ext cx="15875" cy="3175"/>
            </a:xfrm>
            <a:custGeom>
              <a:avLst/>
              <a:gdLst>
                <a:gd name="T0" fmla="*/ 0 w 5"/>
                <a:gd name="T1" fmla="*/ 0 h 1"/>
                <a:gd name="T2" fmla="*/ 1 w 5"/>
                <a:gd name="T3" fmla="*/ 1 h 1"/>
                <a:gd name="T4" fmla="*/ 5 w 5"/>
                <a:gd name="T5" fmla="*/ 1 h 1"/>
                <a:gd name="T6" fmla="*/ 4 w 5"/>
                <a:gd name="T7" fmla="*/ 0 h 1"/>
                <a:gd name="T8" fmla="*/ 0 w 5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">
                  <a:moveTo>
                    <a:pt x="0" y="0"/>
                  </a:moveTo>
                  <a:cubicBezTo>
                    <a:pt x="0" y="1"/>
                    <a:pt x="1" y="1"/>
                    <a:pt x="1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4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44">
              <a:extLst>
                <a:ext uri="{FF2B5EF4-FFF2-40B4-BE49-F238E27FC236}">
                  <a16:creationId xmlns:a16="http://schemas.microsoft.com/office/drawing/2014/main" id="{E6041A9A-462A-44C0-BB57-33EBCF6FB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4025" y="-23019"/>
              <a:ext cx="1651000" cy="1270000"/>
            </a:xfrm>
            <a:custGeom>
              <a:avLst/>
              <a:gdLst>
                <a:gd name="T0" fmla="*/ 517 w 520"/>
                <a:gd name="T1" fmla="*/ 140 h 400"/>
                <a:gd name="T2" fmla="*/ 260 w 520"/>
                <a:gd name="T3" fmla="*/ 397 h 400"/>
                <a:gd name="T4" fmla="*/ 3 w 520"/>
                <a:gd name="T5" fmla="*/ 140 h 400"/>
                <a:gd name="T6" fmla="*/ 45 w 520"/>
                <a:gd name="T7" fmla="*/ 0 h 400"/>
                <a:gd name="T8" fmla="*/ 41 w 520"/>
                <a:gd name="T9" fmla="*/ 0 h 400"/>
                <a:gd name="T10" fmla="*/ 0 w 520"/>
                <a:gd name="T11" fmla="*/ 140 h 400"/>
                <a:gd name="T12" fmla="*/ 260 w 520"/>
                <a:gd name="T13" fmla="*/ 400 h 400"/>
                <a:gd name="T14" fmla="*/ 520 w 520"/>
                <a:gd name="T15" fmla="*/ 140 h 400"/>
                <a:gd name="T16" fmla="*/ 479 w 520"/>
                <a:gd name="T17" fmla="*/ 0 h 400"/>
                <a:gd name="T18" fmla="*/ 475 w 520"/>
                <a:gd name="T19" fmla="*/ 0 h 400"/>
                <a:gd name="T20" fmla="*/ 517 w 520"/>
                <a:gd name="T21" fmla="*/ 14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20" h="400">
                  <a:moveTo>
                    <a:pt x="517" y="140"/>
                  </a:moveTo>
                  <a:cubicBezTo>
                    <a:pt x="517" y="282"/>
                    <a:pt x="401" y="397"/>
                    <a:pt x="260" y="397"/>
                  </a:cubicBezTo>
                  <a:cubicBezTo>
                    <a:pt x="118" y="397"/>
                    <a:pt x="3" y="282"/>
                    <a:pt x="3" y="140"/>
                  </a:cubicBezTo>
                  <a:cubicBezTo>
                    <a:pt x="3" y="88"/>
                    <a:pt x="19" y="40"/>
                    <a:pt x="45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15" y="40"/>
                    <a:pt x="0" y="89"/>
                    <a:pt x="0" y="140"/>
                  </a:cubicBezTo>
                  <a:cubicBezTo>
                    <a:pt x="0" y="284"/>
                    <a:pt x="117" y="400"/>
                    <a:pt x="260" y="400"/>
                  </a:cubicBezTo>
                  <a:cubicBezTo>
                    <a:pt x="403" y="400"/>
                    <a:pt x="520" y="284"/>
                    <a:pt x="520" y="140"/>
                  </a:cubicBezTo>
                  <a:cubicBezTo>
                    <a:pt x="520" y="89"/>
                    <a:pt x="505" y="40"/>
                    <a:pt x="479" y="0"/>
                  </a:cubicBezTo>
                  <a:cubicBezTo>
                    <a:pt x="475" y="0"/>
                    <a:pt x="475" y="0"/>
                    <a:pt x="475" y="0"/>
                  </a:cubicBezTo>
                  <a:cubicBezTo>
                    <a:pt x="501" y="40"/>
                    <a:pt x="517" y="88"/>
                    <a:pt x="517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310F98F8-496B-4E28-8835-0DDC8B332383}"/>
              </a:ext>
            </a:extLst>
          </p:cNvPr>
          <p:cNvGrpSpPr/>
          <p:nvPr userDrawn="1"/>
        </p:nvGrpSpPr>
        <p:grpSpPr>
          <a:xfrm>
            <a:off x="-13334" y="125"/>
            <a:ext cx="3924023" cy="2346065"/>
            <a:chOff x="-3175" y="-26194"/>
            <a:chExt cx="5222875" cy="3122613"/>
          </a:xfrm>
          <a:solidFill>
            <a:schemeClr val="tx1">
              <a:lumMod val="75000"/>
              <a:lumOff val="25000"/>
              <a:alpha val="10000"/>
            </a:schemeClr>
          </a:solidFill>
        </p:grpSpPr>
        <p:sp>
          <p:nvSpPr>
            <p:cNvPr id="63" name="Freeform 45">
              <a:extLst>
                <a:ext uri="{FF2B5EF4-FFF2-40B4-BE49-F238E27FC236}">
                  <a16:creationId xmlns:a16="http://schemas.microsoft.com/office/drawing/2014/main" id="{7A571FAD-0FE9-4DEE-A362-A390602AA4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6200" y="-26194"/>
              <a:ext cx="25400" cy="3175"/>
            </a:xfrm>
            <a:custGeom>
              <a:avLst/>
              <a:gdLst>
                <a:gd name="T0" fmla="*/ 0 w 8"/>
                <a:gd name="T1" fmla="*/ 1 h 1"/>
                <a:gd name="T2" fmla="*/ 8 w 8"/>
                <a:gd name="T3" fmla="*/ 1 h 1"/>
                <a:gd name="T4" fmla="*/ 8 w 8"/>
                <a:gd name="T5" fmla="*/ 0 h 1"/>
                <a:gd name="T6" fmla="*/ 0 w 8"/>
                <a:gd name="T7" fmla="*/ 0 h 1"/>
                <a:gd name="T8" fmla="*/ 0 w 8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0" y="1"/>
                  </a:move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46">
              <a:extLst>
                <a:ext uri="{FF2B5EF4-FFF2-40B4-BE49-F238E27FC236}">
                  <a16:creationId xmlns:a16="http://schemas.microsoft.com/office/drawing/2014/main" id="{BD56B81E-C723-47B1-962F-AF03A08CDBBB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75" y="1126331"/>
              <a:ext cx="25400" cy="168275"/>
            </a:xfrm>
            <a:custGeom>
              <a:avLst/>
              <a:gdLst>
                <a:gd name="T0" fmla="*/ 8 w 8"/>
                <a:gd name="T1" fmla="*/ 27 h 53"/>
                <a:gd name="T2" fmla="*/ 0 w 8"/>
                <a:gd name="T3" fmla="*/ 0 h 53"/>
                <a:gd name="T4" fmla="*/ 0 w 8"/>
                <a:gd name="T5" fmla="*/ 28 h 53"/>
                <a:gd name="T6" fmla="*/ 8 w 8"/>
                <a:gd name="T7" fmla="*/ 53 h 53"/>
                <a:gd name="T8" fmla="*/ 8 w 8"/>
                <a:gd name="T9" fmla="*/ 2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3">
                  <a:moveTo>
                    <a:pt x="8" y="27"/>
                  </a:moveTo>
                  <a:cubicBezTo>
                    <a:pt x="6" y="18"/>
                    <a:pt x="3" y="9"/>
                    <a:pt x="0" y="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3" y="36"/>
                    <a:pt x="6" y="44"/>
                    <a:pt x="8" y="53"/>
                  </a:cubicBezTo>
                  <a:lnTo>
                    <a:pt x="8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47">
              <a:extLst>
                <a:ext uri="{FF2B5EF4-FFF2-40B4-BE49-F238E27FC236}">
                  <a16:creationId xmlns:a16="http://schemas.microsoft.com/office/drawing/2014/main" id="{75F0A97D-03D6-4CD6-8F6E-007EED662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25" y="-23019"/>
              <a:ext cx="5197475" cy="3119438"/>
            </a:xfrm>
            <a:custGeom>
              <a:avLst/>
              <a:gdLst>
                <a:gd name="T0" fmla="*/ 1629 w 1637"/>
                <a:gd name="T1" fmla="*/ 140 h 982"/>
                <a:gd name="T2" fmla="*/ 796 w 1637"/>
                <a:gd name="T3" fmla="*/ 974 h 982"/>
                <a:gd name="T4" fmla="*/ 0 w 1637"/>
                <a:gd name="T5" fmla="*/ 389 h 982"/>
                <a:gd name="T6" fmla="*/ 0 w 1637"/>
                <a:gd name="T7" fmla="*/ 415 h 982"/>
                <a:gd name="T8" fmla="*/ 796 w 1637"/>
                <a:gd name="T9" fmla="*/ 982 h 982"/>
                <a:gd name="T10" fmla="*/ 1637 w 1637"/>
                <a:gd name="T11" fmla="*/ 140 h 982"/>
                <a:gd name="T12" fmla="*/ 1625 w 1637"/>
                <a:gd name="T13" fmla="*/ 0 h 982"/>
                <a:gd name="T14" fmla="*/ 1617 w 1637"/>
                <a:gd name="T15" fmla="*/ 0 h 982"/>
                <a:gd name="T16" fmla="*/ 1629 w 1637"/>
                <a:gd name="T17" fmla="*/ 140 h 9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37" h="982">
                  <a:moveTo>
                    <a:pt x="1629" y="140"/>
                  </a:moveTo>
                  <a:cubicBezTo>
                    <a:pt x="1629" y="600"/>
                    <a:pt x="1255" y="974"/>
                    <a:pt x="796" y="974"/>
                  </a:cubicBezTo>
                  <a:cubicBezTo>
                    <a:pt x="423" y="974"/>
                    <a:pt x="107" y="728"/>
                    <a:pt x="0" y="389"/>
                  </a:cubicBezTo>
                  <a:cubicBezTo>
                    <a:pt x="0" y="415"/>
                    <a:pt x="0" y="415"/>
                    <a:pt x="0" y="415"/>
                  </a:cubicBezTo>
                  <a:cubicBezTo>
                    <a:pt x="115" y="744"/>
                    <a:pt x="428" y="982"/>
                    <a:pt x="796" y="982"/>
                  </a:cubicBezTo>
                  <a:cubicBezTo>
                    <a:pt x="1260" y="982"/>
                    <a:pt x="1637" y="604"/>
                    <a:pt x="1637" y="140"/>
                  </a:cubicBezTo>
                  <a:cubicBezTo>
                    <a:pt x="1637" y="92"/>
                    <a:pt x="1633" y="45"/>
                    <a:pt x="1625" y="0"/>
                  </a:cubicBezTo>
                  <a:cubicBezTo>
                    <a:pt x="1617" y="0"/>
                    <a:pt x="1617" y="0"/>
                    <a:pt x="1617" y="0"/>
                  </a:cubicBezTo>
                  <a:cubicBezTo>
                    <a:pt x="1625" y="45"/>
                    <a:pt x="1629" y="92"/>
                    <a:pt x="1629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48">
              <a:extLst>
                <a:ext uri="{FF2B5EF4-FFF2-40B4-BE49-F238E27FC236}">
                  <a16:creationId xmlns:a16="http://schemas.microsoft.com/office/drawing/2014/main" id="{B5E4596F-2CF7-4E02-B395-9451BEF484D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4750" y="-26194"/>
              <a:ext cx="25400" cy="3175"/>
            </a:xfrm>
            <a:custGeom>
              <a:avLst/>
              <a:gdLst>
                <a:gd name="T0" fmla="*/ 0 w 8"/>
                <a:gd name="T1" fmla="*/ 0 h 1"/>
                <a:gd name="T2" fmla="*/ 0 w 8"/>
                <a:gd name="T3" fmla="*/ 1 h 1"/>
                <a:gd name="T4" fmla="*/ 8 w 8"/>
                <a:gd name="T5" fmla="*/ 1 h 1"/>
                <a:gd name="T6" fmla="*/ 8 w 8"/>
                <a:gd name="T7" fmla="*/ 0 h 1"/>
                <a:gd name="T8" fmla="*/ 0 w 8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49">
              <a:extLst>
                <a:ext uri="{FF2B5EF4-FFF2-40B4-BE49-F238E27FC236}">
                  <a16:creationId xmlns:a16="http://schemas.microsoft.com/office/drawing/2014/main" id="{0FE72423-3B99-46F4-9BEC-3964A003FC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8900" y="-26194"/>
              <a:ext cx="25400" cy="3175"/>
            </a:xfrm>
            <a:custGeom>
              <a:avLst/>
              <a:gdLst>
                <a:gd name="T0" fmla="*/ 8 w 8"/>
                <a:gd name="T1" fmla="*/ 0 h 1"/>
                <a:gd name="T2" fmla="*/ 0 w 8"/>
                <a:gd name="T3" fmla="*/ 0 h 1"/>
                <a:gd name="T4" fmla="*/ 0 w 8"/>
                <a:gd name="T5" fmla="*/ 1 h 1"/>
                <a:gd name="T6" fmla="*/ 8 w 8"/>
                <a:gd name="T7" fmla="*/ 1 h 1"/>
                <a:gd name="T8" fmla="*/ 8 w 8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50">
              <a:extLst>
                <a:ext uri="{FF2B5EF4-FFF2-40B4-BE49-F238E27FC236}">
                  <a16:creationId xmlns:a16="http://schemas.microsoft.com/office/drawing/2014/main" id="{89BB5F30-C1E8-4F42-8C78-98CF487E2E4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25" y="-23019"/>
              <a:ext cx="5003800" cy="2947988"/>
            </a:xfrm>
            <a:custGeom>
              <a:avLst/>
              <a:gdLst>
                <a:gd name="T0" fmla="*/ 1568 w 1576"/>
                <a:gd name="T1" fmla="*/ 140 h 928"/>
                <a:gd name="T2" fmla="*/ 788 w 1576"/>
                <a:gd name="T3" fmla="*/ 920 h 928"/>
                <a:gd name="T4" fmla="*/ 8 w 1576"/>
                <a:gd name="T5" fmla="*/ 140 h 928"/>
                <a:gd name="T6" fmla="*/ 21 w 1576"/>
                <a:gd name="T7" fmla="*/ 0 h 928"/>
                <a:gd name="T8" fmla="*/ 13 w 1576"/>
                <a:gd name="T9" fmla="*/ 0 h 928"/>
                <a:gd name="T10" fmla="*/ 0 w 1576"/>
                <a:gd name="T11" fmla="*/ 140 h 928"/>
                <a:gd name="T12" fmla="*/ 788 w 1576"/>
                <a:gd name="T13" fmla="*/ 928 h 928"/>
                <a:gd name="T14" fmla="*/ 1576 w 1576"/>
                <a:gd name="T15" fmla="*/ 140 h 928"/>
                <a:gd name="T16" fmla="*/ 1563 w 1576"/>
                <a:gd name="T17" fmla="*/ 0 h 928"/>
                <a:gd name="T18" fmla="*/ 1555 w 1576"/>
                <a:gd name="T19" fmla="*/ 0 h 928"/>
                <a:gd name="T20" fmla="*/ 1568 w 1576"/>
                <a:gd name="T21" fmla="*/ 140 h 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76" h="928">
                  <a:moveTo>
                    <a:pt x="1568" y="140"/>
                  </a:moveTo>
                  <a:cubicBezTo>
                    <a:pt x="1568" y="570"/>
                    <a:pt x="1218" y="920"/>
                    <a:pt x="788" y="920"/>
                  </a:cubicBezTo>
                  <a:cubicBezTo>
                    <a:pt x="358" y="920"/>
                    <a:pt x="8" y="570"/>
                    <a:pt x="8" y="140"/>
                  </a:cubicBezTo>
                  <a:cubicBezTo>
                    <a:pt x="8" y="92"/>
                    <a:pt x="13" y="45"/>
                    <a:pt x="21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4" y="45"/>
                    <a:pt x="0" y="92"/>
                    <a:pt x="0" y="140"/>
                  </a:cubicBezTo>
                  <a:cubicBezTo>
                    <a:pt x="0" y="575"/>
                    <a:pt x="354" y="928"/>
                    <a:pt x="788" y="928"/>
                  </a:cubicBezTo>
                  <a:cubicBezTo>
                    <a:pt x="1222" y="928"/>
                    <a:pt x="1576" y="575"/>
                    <a:pt x="1576" y="140"/>
                  </a:cubicBezTo>
                  <a:cubicBezTo>
                    <a:pt x="1576" y="92"/>
                    <a:pt x="1571" y="45"/>
                    <a:pt x="1563" y="0"/>
                  </a:cubicBezTo>
                  <a:cubicBezTo>
                    <a:pt x="1555" y="0"/>
                    <a:pt x="1555" y="0"/>
                    <a:pt x="1555" y="0"/>
                  </a:cubicBezTo>
                  <a:cubicBezTo>
                    <a:pt x="1563" y="45"/>
                    <a:pt x="1568" y="92"/>
                    <a:pt x="1568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51">
              <a:extLst>
                <a:ext uri="{FF2B5EF4-FFF2-40B4-BE49-F238E27FC236}">
                  <a16:creationId xmlns:a16="http://schemas.microsoft.com/office/drawing/2014/main" id="{EA17D0A7-E313-41A0-98CC-2E2867628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175" y="-26194"/>
              <a:ext cx="25400" cy="3175"/>
            </a:xfrm>
            <a:custGeom>
              <a:avLst/>
              <a:gdLst>
                <a:gd name="T0" fmla="*/ 8 w 8"/>
                <a:gd name="T1" fmla="*/ 1 h 1"/>
                <a:gd name="T2" fmla="*/ 8 w 8"/>
                <a:gd name="T3" fmla="*/ 0 h 1"/>
                <a:gd name="T4" fmla="*/ 0 w 8"/>
                <a:gd name="T5" fmla="*/ 0 h 1"/>
                <a:gd name="T6" fmla="*/ 0 w 8"/>
                <a:gd name="T7" fmla="*/ 1 h 1"/>
                <a:gd name="T8" fmla="*/ 8 w 8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8" y="1"/>
                  </a:moveTo>
                  <a:cubicBezTo>
                    <a:pt x="8" y="1"/>
                    <a:pt x="8" y="1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8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52">
              <a:extLst>
                <a:ext uri="{FF2B5EF4-FFF2-40B4-BE49-F238E27FC236}">
                  <a16:creationId xmlns:a16="http://schemas.microsoft.com/office/drawing/2014/main" id="{410B8D16-DFAA-44DB-9F8C-DB5663839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6475" y="-26194"/>
              <a:ext cx="25400" cy="3175"/>
            </a:xfrm>
            <a:custGeom>
              <a:avLst/>
              <a:gdLst>
                <a:gd name="T0" fmla="*/ 0 w 8"/>
                <a:gd name="T1" fmla="*/ 1 h 1"/>
                <a:gd name="T2" fmla="*/ 8 w 8"/>
                <a:gd name="T3" fmla="*/ 1 h 1"/>
                <a:gd name="T4" fmla="*/ 8 w 8"/>
                <a:gd name="T5" fmla="*/ 0 h 1"/>
                <a:gd name="T6" fmla="*/ 0 w 8"/>
                <a:gd name="T7" fmla="*/ 0 h 1"/>
                <a:gd name="T8" fmla="*/ 0 w 8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0" y="1"/>
                  </a:move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53">
              <a:extLst>
                <a:ext uri="{FF2B5EF4-FFF2-40B4-BE49-F238E27FC236}">
                  <a16:creationId xmlns:a16="http://schemas.microsoft.com/office/drawing/2014/main" id="{5914C65B-B85B-439A-AAA5-5C61AD640C5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900" y="-23019"/>
              <a:ext cx="4667250" cy="2782888"/>
            </a:xfrm>
            <a:custGeom>
              <a:avLst/>
              <a:gdLst>
                <a:gd name="T0" fmla="*/ 1462 w 1470"/>
                <a:gd name="T1" fmla="*/ 140 h 876"/>
                <a:gd name="T2" fmla="*/ 735 w 1470"/>
                <a:gd name="T3" fmla="*/ 868 h 876"/>
                <a:gd name="T4" fmla="*/ 7 w 1470"/>
                <a:gd name="T5" fmla="*/ 140 h 876"/>
                <a:gd name="T6" fmla="*/ 21 w 1470"/>
                <a:gd name="T7" fmla="*/ 0 h 876"/>
                <a:gd name="T8" fmla="*/ 13 w 1470"/>
                <a:gd name="T9" fmla="*/ 0 h 876"/>
                <a:gd name="T10" fmla="*/ 0 w 1470"/>
                <a:gd name="T11" fmla="*/ 140 h 876"/>
                <a:gd name="T12" fmla="*/ 735 w 1470"/>
                <a:gd name="T13" fmla="*/ 876 h 876"/>
                <a:gd name="T14" fmla="*/ 1470 w 1470"/>
                <a:gd name="T15" fmla="*/ 140 h 876"/>
                <a:gd name="T16" fmla="*/ 1457 w 1470"/>
                <a:gd name="T17" fmla="*/ 0 h 876"/>
                <a:gd name="T18" fmla="*/ 1449 w 1470"/>
                <a:gd name="T19" fmla="*/ 0 h 876"/>
                <a:gd name="T20" fmla="*/ 1462 w 1470"/>
                <a:gd name="T21" fmla="*/ 140 h 8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0" h="876">
                  <a:moveTo>
                    <a:pt x="1462" y="140"/>
                  </a:moveTo>
                  <a:cubicBezTo>
                    <a:pt x="1462" y="541"/>
                    <a:pt x="1136" y="868"/>
                    <a:pt x="735" y="868"/>
                  </a:cubicBezTo>
                  <a:cubicBezTo>
                    <a:pt x="334" y="868"/>
                    <a:pt x="7" y="541"/>
                    <a:pt x="7" y="140"/>
                  </a:cubicBezTo>
                  <a:cubicBezTo>
                    <a:pt x="7" y="92"/>
                    <a:pt x="12" y="45"/>
                    <a:pt x="21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4" y="45"/>
                    <a:pt x="0" y="92"/>
                    <a:pt x="0" y="140"/>
                  </a:cubicBezTo>
                  <a:cubicBezTo>
                    <a:pt x="0" y="546"/>
                    <a:pt x="329" y="876"/>
                    <a:pt x="735" y="876"/>
                  </a:cubicBezTo>
                  <a:cubicBezTo>
                    <a:pt x="1140" y="876"/>
                    <a:pt x="1470" y="546"/>
                    <a:pt x="1470" y="140"/>
                  </a:cubicBezTo>
                  <a:cubicBezTo>
                    <a:pt x="1470" y="92"/>
                    <a:pt x="1466" y="45"/>
                    <a:pt x="1457" y="0"/>
                  </a:cubicBezTo>
                  <a:cubicBezTo>
                    <a:pt x="1449" y="0"/>
                    <a:pt x="1449" y="0"/>
                    <a:pt x="1449" y="0"/>
                  </a:cubicBezTo>
                  <a:cubicBezTo>
                    <a:pt x="1458" y="45"/>
                    <a:pt x="1462" y="92"/>
                    <a:pt x="1462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54">
              <a:extLst>
                <a:ext uri="{FF2B5EF4-FFF2-40B4-BE49-F238E27FC236}">
                  <a16:creationId xmlns:a16="http://schemas.microsoft.com/office/drawing/2014/main" id="{C7B7B85C-FB66-4A10-A4F3-725A66061E82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8675" y="-26194"/>
              <a:ext cx="25400" cy="3175"/>
            </a:xfrm>
            <a:custGeom>
              <a:avLst/>
              <a:gdLst>
                <a:gd name="T0" fmla="*/ 0 w 8"/>
                <a:gd name="T1" fmla="*/ 0 h 1"/>
                <a:gd name="T2" fmla="*/ 0 w 8"/>
                <a:gd name="T3" fmla="*/ 1 h 1"/>
                <a:gd name="T4" fmla="*/ 8 w 8"/>
                <a:gd name="T5" fmla="*/ 1 h 1"/>
                <a:gd name="T6" fmla="*/ 8 w 8"/>
                <a:gd name="T7" fmla="*/ 0 h 1"/>
                <a:gd name="T8" fmla="*/ 0 w 8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55">
              <a:extLst>
                <a:ext uri="{FF2B5EF4-FFF2-40B4-BE49-F238E27FC236}">
                  <a16:creationId xmlns:a16="http://schemas.microsoft.com/office/drawing/2014/main" id="{4131AC18-190B-4561-AB47-B56120857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975" y="-26194"/>
              <a:ext cx="25400" cy="3175"/>
            </a:xfrm>
            <a:custGeom>
              <a:avLst/>
              <a:gdLst>
                <a:gd name="T0" fmla="*/ 8 w 8"/>
                <a:gd name="T1" fmla="*/ 0 h 1"/>
                <a:gd name="T2" fmla="*/ 0 w 8"/>
                <a:gd name="T3" fmla="*/ 0 h 1"/>
                <a:gd name="T4" fmla="*/ 0 w 8"/>
                <a:gd name="T5" fmla="*/ 1 h 1"/>
                <a:gd name="T6" fmla="*/ 8 w 8"/>
                <a:gd name="T7" fmla="*/ 1 h 1"/>
                <a:gd name="T8" fmla="*/ 8 w 8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56">
              <a:extLst>
                <a:ext uri="{FF2B5EF4-FFF2-40B4-BE49-F238E27FC236}">
                  <a16:creationId xmlns:a16="http://schemas.microsoft.com/office/drawing/2014/main" id="{6032E713-9CAF-445D-9298-FA3467CA938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350" y="-23019"/>
              <a:ext cx="4321175" cy="2608263"/>
            </a:xfrm>
            <a:custGeom>
              <a:avLst/>
              <a:gdLst>
                <a:gd name="T0" fmla="*/ 1353 w 1361"/>
                <a:gd name="T1" fmla="*/ 140 h 821"/>
                <a:gd name="T2" fmla="*/ 681 w 1361"/>
                <a:gd name="T3" fmla="*/ 813 h 821"/>
                <a:gd name="T4" fmla="*/ 8 w 1361"/>
                <a:gd name="T5" fmla="*/ 140 h 821"/>
                <a:gd name="T6" fmla="*/ 23 w 1361"/>
                <a:gd name="T7" fmla="*/ 0 h 821"/>
                <a:gd name="T8" fmla="*/ 15 w 1361"/>
                <a:gd name="T9" fmla="*/ 0 h 821"/>
                <a:gd name="T10" fmla="*/ 0 w 1361"/>
                <a:gd name="T11" fmla="*/ 140 h 821"/>
                <a:gd name="T12" fmla="*/ 681 w 1361"/>
                <a:gd name="T13" fmla="*/ 821 h 821"/>
                <a:gd name="T14" fmla="*/ 1361 w 1361"/>
                <a:gd name="T15" fmla="*/ 140 h 821"/>
                <a:gd name="T16" fmla="*/ 1347 w 1361"/>
                <a:gd name="T17" fmla="*/ 0 h 821"/>
                <a:gd name="T18" fmla="*/ 1339 w 1361"/>
                <a:gd name="T19" fmla="*/ 0 h 821"/>
                <a:gd name="T20" fmla="*/ 1353 w 1361"/>
                <a:gd name="T21" fmla="*/ 140 h 8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61" h="821">
                  <a:moveTo>
                    <a:pt x="1353" y="140"/>
                  </a:moveTo>
                  <a:cubicBezTo>
                    <a:pt x="1353" y="511"/>
                    <a:pt x="1052" y="813"/>
                    <a:pt x="681" y="813"/>
                  </a:cubicBezTo>
                  <a:cubicBezTo>
                    <a:pt x="310" y="813"/>
                    <a:pt x="8" y="511"/>
                    <a:pt x="8" y="140"/>
                  </a:cubicBezTo>
                  <a:cubicBezTo>
                    <a:pt x="8" y="92"/>
                    <a:pt x="13" y="45"/>
                    <a:pt x="23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5" y="45"/>
                    <a:pt x="0" y="92"/>
                    <a:pt x="0" y="140"/>
                  </a:cubicBezTo>
                  <a:cubicBezTo>
                    <a:pt x="0" y="515"/>
                    <a:pt x="306" y="821"/>
                    <a:pt x="681" y="821"/>
                  </a:cubicBezTo>
                  <a:cubicBezTo>
                    <a:pt x="1056" y="821"/>
                    <a:pt x="1361" y="515"/>
                    <a:pt x="1361" y="140"/>
                  </a:cubicBezTo>
                  <a:cubicBezTo>
                    <a:pt x="1361" y="92"/>
                    <a:pt x="1356" y="45"/>
                    <a:pt x="1347" y="0"/>
                  </a:cubicBezTo>
                  <a:cubicBezTo>
                    <a:pt x="1339" y="0"/>
                    <a:pt x="1339" y="0"/>
                    <a:pt x="1339" y="0"/>
                  </a:cubicBezTo>
                  <a:cubicBezTo>
                    <a:pt x="1348" y="45"/>
                    <a:pt x="1353" y="92"/>
                    <a:pt x="1353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57">
              <a:extLst>
                <a:ext uri="{FF2B5EF4-FFF2-40B4-BE49-F238E27FC236}">
                  <a16:creationId xmlns:a16="http://schemas.microsoft.com/office/drawing/2014/main" id="{62A064C6-B796-4755-B8F6-5F1247881D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3100" y="-26194"/>
              <a:ext cx="25400" cy="3175"/>
            </a:xfrm>
            <a:custGeom>
              <a:avLst/>
              <a:gdLst>
                <a:gd name="T0" fmla="*/ 0 w 8"/>
                <a:gd name="T1" fmla="*/ 1 h 1"/>
                <a:gd name="T2" fmla="*/ 8 w 8"/>
                <a:gd name="T3" fmla="*/ 1 h 1"/>
                <a:gd name="T4" fmla="*/ 8 w 8"/>
                <a:gd name="T5" fmla="*/ 0 h 1"/>
                <a:gd name="T6" fmla="*/ 0 w 8"/>
                <a:gd name="T7" fmla="*/ 0 h 1"/>
                <a:gd name="T8" fmla="*/ 0 w 8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0" y="1"/>
                  </a:move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58">
              <a:extLst>
                <a:ext uri="{FF2B5EF4-FFF2-40B4-BE49-F238E27FC236}">
                  <a16:creationId xmlns:a16="http://schemas.microsoft.com/office/drawing/2014/main" id="{C3CEC362-4AFD-4419-A6D5-01BFBAEADBF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550" y="-26194"/>
              <a:ext cx="25400" cy="3175"/>
            </a:xfrm>
            <a:custGeom>
              <a:avLst/>
              <a:gdLst>
                <a:gd name="T0" fmla="*/ 8 w 8"/>
                <a:gd name="T1" fmla="*/ 1 h 1"/>
                <a:gd name="T2" fmla="*/ 8 w 8"/>
                <a:gd name="T3" fmla="*/ 0 h 1"/>
                <a:gd name="T4" fmla="*/ 0 w 8"/>
                <a:gd name="T5" fmla="*/ 0 h 1"/>
                <a:gd name="T6" fmla="*/ 0 w 8"/>
                <a:gd name="T7" fmla="*/ 1 h 1"/>
                <a:gd name="T8" fmla="*/ 8 w 8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8" y="1"/>
                  </a:moveTo>
                  <a:cubicBezTo>
                    <a:pt x="8" y="1"/>
                    <a:pt x="8" y="1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8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59">
              <a:extLst>
                <a:ext uri="{FF2B5EF4-FFF2-40B4-BE49-F238E27FC236}">
                  <a16:creationId xmlns:a16="http://schemas.microsoft.com/office/drawing/2014/main" id="{5B843EE8-F7B5-46DD-8CD2-EF3D67D26C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750" y="-23019"/>
              <a:ext cx="4019550" cy="2455863"/>
            </a:xfrm>
            <a:custGeom>
              <a:avLst/>
              <a:gdLst>
                <a:gd name="T0" fmla="*/ 1258 w 1266"/>
                <a:gd name="T1" fmla="*/ 140 h 773"/>
                <a:gd name="T2" fmla="*/ 633 w 1266"/>
                <a:gd name="T3" fmla="*/ 765 h 773"/>
                <a:gd name="T4" fmla="*/ 8 w 1266"/>
                <a:gd name="T5" fmla="*/ 140 h 773"/>
                <a:gd name="T6" fmla="*/ 24 w 1266"/>
                <a:gd name="T7" fmla="*/ 0 h 773"/>
                <a:gd name="T8" fmla="*/ 16 w 1266"/>
                <a:gd name="T9" fmla="*/ 0 h 773"/>
                <a:gd name="T10" fmla="*/ 0 w 1266"/>
                <a:gd name="T11" fmla="*/ 140 h 773"/>
                <a:gd name="T12" fmla="*/ 633 w 1266"/>
                <a:gd name="T13" fmla="*/ 773 h 773"/>
                <a:gd name="T14" fmla="*/ 1266 w 1266"/>
                <a:gd name="T15" fmla="*/ 140 h 773"/>
                <a:gd name="T16" fmla="*/ 1250 w 1266"/>
                <a:gd name="T17" fmla="*/ 0 h 773"/>
                <a:gd name="T18" fmla="*/ 1242 w 1266"/>
                <a:gd name="T19" fmla="*/ 0 h 773"/>
                <a:gd name="T20" fmla="*/ 1258 w 1266"/>
                <a:gd name="T21" fmla="*/ 140 h 7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66" h="773">
                  <a:moveTo>
                    <a:pt x="1258" y="140"/>
                  </a:moveTo>
                  <a:cubicBezTo>
                    <a:pt x="1258" y="485"/>
                    <a:pt x="977" y="765"/>
                    <a:pt x="633" y="765"/>
                  </a:cubicBezTo>
                  <a:cubicBezTo>
                    <a:pt x="288" y="765"/>
                    <a:pt x="8" y="485"/>
                    <a:pt x="8" y="140"/>
                  </a:cubicBezTo>
                  <a:cubicBezTo>
                    <a:pt x="8" y="92"/>
                    <a:pt x="14" y="45"/>
                    <a:pt x="24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5" y="45"/>
                    <a:pt x="0" y="92"/>
                    <a:pt x="0" y="140"/>
                  </a:cubicBezTo>
                  <a:cubicBezTo>
                    <a:pt x="0" y="489"/>
                    <a:pt x="284" y="773"/>
                    <a:pt x="633" y="773"/>
                  </a:cubicBezTo>
                  <a:cubicBezTo>
                    <a:pt x="982" y="773"/>
                    <a:pt x="1266" y="489"/>
                    <a:pt x="1266" y="140"/>
                  </a:cubicBezTo>
                  <a:cubicBezTo>
                    <a:pt x="1266" y="92"/>
                    <a:pt x="1260" y="45"/>
                    <a:pt x="1250" y="0"/>
                  </a:cubicBezTo>
                  <a:cubicBezTo>
                    <a:pt x="1242" y="0"/>
                    <a:pt x="1242" y="0"/>
                    <a:pt x="1242" y="0"/>
                  </a:cubicBezTo>
                  <a:cubicBezTo>
                    <a:pt x="1252" y="45"/>
                    <a:pt x="1258" y="92"/>
                    <a:pt x="1258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1F0C7CAB-C81C-41B5-A18B-B0F8A4839BBB}"/>
              </a:ext>
            </a:extLst>
          </p:cNvPr>
          <p:cNvGrpSpPr/>
          <p:nvPr userDrawn="1"/>
        </p:nvGrpSpPr>
        <p:grpSpPr>
          <a:xfrm>
            <a:off x="3032411" y="173037"/>
            <a:ext cx="1497013" cy="1435100"/>
            <a:chOff x="688975" y="-5719961"/>
            <a:chExt cx="1497013" cy="1435100"/>
          </a:xfrm>
          <a:solidFill>
            <a:schemeClr val="tx1">
              <a:lumMod val="75000"/>
              <a:lumOff val="25000"/>
              <a:alpha val="5000"/>
            </a:schemeClr>
          </a:solidFill>
        </p:grpSpPr>
        <p:sp>
          <p:nvSpPr>
            <p:cNvPr id="79" name="Freeform 22">
              <a:extLst>
                <a:ext uri="{FF2B5EF4-FFF2-40B4-BE49-F238E27FC236}">
                  <a16:creationId xmlns:a16="http://schemas.microsoft.com/office/drawing/2014/main" id="{553B9D43-8545-4435-84A1-53ABA903152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450" y="-5583436"/>
              <a:ext cx="1008063" cy="60325"/>
            </a:xfrm>
            <a:custGeom>
              <a:avLst/>
              <a:gdLst>
                <a:gd name="T0" fmla="*/ 294 w 318"/>
                <a:gd name="T1" fmla="*/ 0 h 19"/>
                <a:gd name="T2" fmla="*/ 24 w 318"/>
                <a:gd name="T3" fmla="*/ 0 h 19"/>
                <a:gd name="T4" fmla="*/ 0 w 318"/>
                <a:gd name="T5" fmla="*/ 19 h 19"/>
                <a:gd name="T6" fmla="*/ 318 w 318"/>
                <a:gd name="T7" fmla="*/ 19 h 19"/>
                <a:gd name="T8" fmla="*/ 294 w 318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8" h="19">
                  <a:moveTo>
                    <a:pt x="29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16" y="6"/>
                    <a:pt x="8" y="12"/>
                    <a:pt x="0" y="19"/>
                  </a:cubicBezTo>
                  <a:cubicBezTo>
                    <a:pt x="318" y="19"/>
                    <a:pt x="318" y="19"/>
                    <a:pt x="318" y="19"/>
                  </a:cubicBezTo>
                  <a:cubicBezTo>
                    <a:pt x="310" y="12"/>
                    <a:pt x="302" y="6"/>
                    <a:pt x="294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23">
              <a:extLst>
                <a:ext uri="{FF2B5EF4-FFF2-40B4-BE49-F238E27FC236}">
                  <a16:creationId xmlns:a16="http://schemas.microsoft.com/office/drawing/2014/main" id="{1708E765-3EF5-41B7-B351-A206BED329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9350" y="-5719961"/>
              <a:ext cx="576263" cy="57150"/>
            </a:xfrm>
            <a:custGeom>
              <a:avLst/>
              <a:gdLst>
                <a:gd name="T0" fmla="*/ 91 w 182"/>
                <a:gd name="T1" fmla="*/ 0 h 18"/>
                <a:gd name="T2" fmla="*/ 0 w 182"/>
                <a:gd name="T3" fmla="*/ 18 h 18"/>
                <a:gd name="T4" fmla="*/ 182 w 182"/>
                <a:gd name="T5" fmla="*/ 18 h 18"/>
                <a:gd name="T6" fmla="*/ 91 w 182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2" h="18">
                  <a:moveTo>
                    <a:pt x="91" y="0"/>
                  </a:moveTo>
                  <a:cubicBezTo>
                    <a:pt x="59" y="0"/>
                    <a:pt x="28" y="7"/>
                    <a:pt x="0" y="18"/>
                  </a:cubicBezTo>
                  <a:cubicBezTo>
                    <a:pt x="182" y="18"/>
                    <a:pt x="182" y="18"/>
                    <a:pt x="182" y="18"/>
                  </a:cubicBezTo>
                  <a:cubicBezTo>
                    <a:pt x="154" y="7"/>
                    <a:pt x="123" y="0"/>
                    <a:pt x="9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24">
              <a:extLst>
                <a:ext uri="{FF2B5EF4-FFF2-40B4-BE49-F238E27FC236}">
                  <a16:creationId xmlns:a16="http://schemas.microsoft.com/office/drawing/2014/main" id="{0401B17B-0A44-4A98-979C-854945345432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975" y="-5446911"/>
              <a:ext cx="1243013" cy="60325"/>
            </a:xfrm>
            <a:custGeom>
              <a:avLst/>
              <a:gdLst>
                <a:gd name="T0" fmla="*/ 378 w 392"/>
                <a:gd name="T1" fmla="*/ 0 h 19"/>
                <a:gd name="T2" fmla="*/ 14 w 392"/>
                <a:gd name="T3" fmla="*/ 0 h 19"/>
                <a:gd name="T4" fmla="*/ 0 w 392"/>
                <a:gd name="T5" fmla="*/ 19 h 19"/>
                <a:gd name="T6" fmla="*/ 392 w 392"/>
                <a:gd name="T7" fmla="*/ 19 h 19"/>
                <a:gd name="T8" fmla="*/ 378 w 392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2" h="19">
                  <a:moveTo>
                    <a:pt x="378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9" y="6"/>
                    <a:pt x="4" y="12"/>
                    <a:pt x="0" y="19"/>
                  </a:cubicBezTo>
                  <a:cubicBezTo>
                    <a:pt x="392" y="19"/>
                    <a:pt x="392" y="19"/>
                    <a:pt x="392" y="19"/>
                  </a:cubicBezTo>
                  <a:cubicBezTo>
                    <a:pt x="387" y="12"/>
                    <a:pt x="383" y="6"/>
                    <a:pt x="378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25">
              <a:extLst>
                <a:ext uri="{FF2B5EF4-FFF2-40B4-BE49-F238E27FC236}">
                  <a16:creationId xmlns:a16="http://schemas.microsoft.com/office/drawing/2014/main" id="{D20B4BFB-255B-47EA-BC2B-8F1B03692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742950" y="-5310386"/>
              <a:ext cx="1389063" cy="60325"/>
            </a:xfrm>
            <a:custGeom>
              <a:avLst/>
              <a:gdLst>
                <a:gd name="T0" fmla="*/ 429 w 438"/>
                <a:gd name="T1" fmla="*/ 0 h 19"/>
                <a:gd name="T2" fmla="*/ 9 w 438"/>
                <a:gd name="T3" fmla="*/ 0 h 19"/>
                <a:gd name="T4" fmla="*/ 0 w 438"/>
                <a:gd name="T5" fmla="*/ 19 h 19"/>
                <a:gd name="T6" fmla="*/ 438 w 438"/>
                <a:gd name="T7" fmla="*/ 19 h 19"/>
                <a:gd name="T8" fmla="*/ 429 w 438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8" h="19">
                  <a:moveTo>
                    <a:pt x="42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5" y="7"/>
                    <a:pt x="3" y="13"/>
                    <a:pt x="0" y="19"/>
                  </a:cubicBezTo>
                  <a:cubicBezTo>
                    <a:pt x="438" y="19"/>
                    <a:pt x="438" y="19"/>
                    <a:pt x="438" y="19"/>
                  </a:cubicBezTo>
                  <a:cubicBezTo>
                    <a:pt x="435" y="13"/>
                    <a:pt x="432" y="7"/>
                    <a:pt x="429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26">
              <a:extLst>
                <a:ext uri="{FF2B5EF4-FFF2-40B4-BE49-F238E27FC236}">
                  <a16:creationId xmlns:a16="http://schemas.microsoft.com/office/drawing/2014/main" id="{403EDC1D-E79E-4E8C-A336-3F824231E1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675" y="-5170686"/>
              <a:ext cx="1468438" cy="60325"/>
            </a:xfrm>
            <a:custGeom>
              <a:avLst/>
              <a:gdLst>
                <a:gd name="T0" fmla="*/ 459 w 463"/>
                <a:gd name="T1" fmla="*/ 0 h 19"/>
                <a:gd name="T2" fmla="*/ 5 w 463"/>
                <a:gd name="T3" fmla="*/ 0 h 19"/>
                <a:gd name="T4" fmla="*/ 0 w 463"/>
                <a:gd name="T5" fmla="*/ 19 h 19"/>
                <a:gd name="T6" fmla="*/ 463 w 463"/>
                <a:gd name="T7" fmla="*/ 19 h 19"/>
                <a:gd name="T8" fmla="*/ 459 w 463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3" h="19">
                  <a:moveTo>
                    <a:pt x="45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3" y="6"/>
                    <a:pt x="2" y="12"/>
                    <a:pt x="0" y="19"/>
                  </a:cubicBezTo>
                  <a:cubicBezTo>
                    <a:pt x="463" y="19"/>
                    <a:pt x="463" y="19"/>
                    <a:pt x="463" y="19"/>
                  </a:cubicBezTo>
                  <a:cubicBezTo>
                    <a:pt x="462" y="12"/>
                    <a:pt x="461" y="6"/>
                    <a:pt x="459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27">
              <a:extLst>
                <a:ext uri="{FF2B5EF4-FFF2-40B4-BE49-F238E27FC236}">
                  <a16:creationId xmlns:a16="http://schemas.microsoft.com/office/drawing/2014/main" id="{774E66D5-B2F9-4D3E-9339-CDF5E97757CD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975" y="-5034161"/>
              <a:ext cx="1497013" cy="60325"/>
            </a:xfrm>
            <a:custGeom>
              <a:avLst/>
              <a:gdLst>
                <a:gd name="T0" fmla="*/ 471 w 472"/>
                <a:gd name="T1" fmla="*/ 0 h 19"/>
                <a:gd name="T2" fmla="*/ 1 w 472"/>
                <a:gd name="T3" fmla="*/ 0 h 19"/>
                <a:gd name="T4" fmla="*/ 0 w 472"/>
                <a:gd name="T5" fmla="*/ 19 h 19"/>
                <a:gd name="T6" fmla="*/ 472 w 472"/>
                <a:gd name="T7" fmla="*/ 19 h 19"/>
                <a:gd name="T8" fmla="*/ 471 w 472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2" h="19">
                  <a:moveTo>
                    <a:pt x="47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6"/>
                    <a:pt x="0" y="13"/>
                    <a:pt x="0" y="19"/>
                  </a:cubicBezTo>
                  <a:cubicBezTo>
                    <a:pt x="472" y="19"/>
                    <a:pt x="472" y="19"/>
                    <a:pt x="472" y="19"/>
                  </a:cubicBezTo>
                  <a:cubicBezTo>
                    <a:pt x="471" y="13"/>
                    <a:pt x="471" y="6"/>
                    <a:pt x="47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28">
              <a:extLst>
                <a:ext uri="{FF2B5EF4-FFF2-40B4-BE49-F238E27FC236}">
                  <a16:creationId xmlns:a16="http://schemas.microsoft.com/office/drawing/2014/main" id="{69E318F6-7B62-4A96-BE73-C5F3184F0D0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150" y="-4897636"/>
              <a:ext cx="1487488" cy="60325"/>
            </a:xfrm>
            <a:custGeom>
              <a:avLst/>
              <a:gdLst>
                <a:gd name="T0" fmla="*/ 469 w 469"/>
                <a:gd name="T1" fmla="*/ 0 h 19"/>
                <a:gd name="T2" fmla="*/ 0 w 469"/>
                <a:gd name="T3" fmla="*/ 0 h 19"/>
                <a:gd name="T4" fmla="*/ 3 w 469"/>
                <a:gd name="T5" fmla="*/ 19 h 19"/>
                <a:gd name="T6" fmla="*/ 467 w 469"/>
                <a:gd name="T7" fmla="*/ 19 h 19"/>
                <a:gd name="T8" fmla="*/ 469 w 469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9" h="19">
                  <a:moveTo>
                    <a:pt x="46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7"/>
                    <a:pt x="2" y="13"/>
                    <a:pt x="3" y="19"/>
                  </a:cubicBezTo>
                  <a:cubicBezTo>
                    <a:pt x="467" y="19"/>
                    <a:pt x="467" y="19"/>
                    <a:pt x="467" y="19"/>
                  </a:cubicBezTo>
                  <a:cubicBezTo>
                    <a:pt x="468" y="13"/>
                    <a:pt x="469" y="7"/>
                    <a:pt x="469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29">
              <a:extLst>
                <a:ext uri="{FF2B5EF4-FFF2-40B4-BE49-F238E27FC236}">
                  <a16:creationId xmlns:a16="http://schemas.microsoft.com/office/drawing/2014/main" id="{7E60674A-BACD-43CD-8B7F-9017E68D62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725" y="-4757936"/>
              <a:ext cx="1433513" cy="60325"/>
            </a:xfrm>
            <a:custGeom>
              <a:avLst/>
              <a:gdLst>
                <a:gd name="T0" fmla="*/ 452 w 452"/>
                <a:gd name="T1" fmla="*/ 0 h 19"/>
                <a:gd name="T2" fmla="*/ 0 w 452"/>
                <a:gd name="T3" fmla="*/ 0 h 19"/>
                <a:gd name="T4" fmla="*/ 6 w 452"/>
                <a:gd name="T5" fmla="*/ 19 h 19"/>
                <a:gd name="T6" fmla="*/ 445 w 452"/>
                <a:gd name="T7" fmla="*/ 19 h 19"/>
                <a:gd name="T8" fmla="*/ 452 w 452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2" h="19">
                  <a:moveTo>
                    <a:pt x="45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6"/>
                    <a:pt x="4" y="12"/>
                    <a:pt x="6" y="19"/>
                  </a:cubicBezTo>
                  <a:cubicBezTo>
                    <a:pt x="445" y="19"/>
                    <a:pt x="445" y="19"/>
                    <a:pt x="445" y="19"/>
                  </a:cubicBezTo>
                  <a:cubicBezTo>
                    <a:pt x="448" y="12"/>
                    <a:pt x="450" y="6"/>
                    <a:pt x="45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30">
              <a:extLst>
                <a:ext uri="{FF2B5EF4-FFF2-40B4-BE49-F238E27FC236}">
                  <a16:creationId xmlns:a16="http://schemas.microsoft.com/office/drawing/2014/main" id="{F4DB92E0-43AC-4F81-89AD-8985C9205326}"/>
                </a:ext>
              </a:extLst>
            </p:cNvPr>
            <p:cNvSpPr>
              <a:spLocks/>
            </p:cNvSpPr>
            <p:nvPr/>
          </p:nvSpPr>
          <p:spPr bwMode="auto">
            <a:xfrm>
              <a:off x="777875" y="-4621411"/>
              <a:ext cx="1319213" cy="60325"/>
            </a:xfrm>
            <a:custGeom>
              <a:avLst/>
              <a:gdLst>
                <a:gd name="T0" fmla="*/ 416 w 416"/>
                <a:gd name="T1" fmla="*/ 0 h 19"/>
                <a:gd name="T2" fmla="*/ 0 w 416"/>
                <a:gd name="T3" fmla="*/ 0 h 19"/>
                <a:gd name="T4" fmla="*/ 11 w 416"/>
                <a:gd name="T5" fmla="*/ 19 h 19"/>
                <a:gd name="T6" fmla="*/ 405 w 416"/>
                <a:gd name="T7" fmla="*/ 19 h 19"/>
                <a:gd name="T8" fmla="*/ 416 w 416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6" h="19">
                  <a:moveTo>
                    <a:pt x="41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" y="7"/>
                    <a:pt x="7" y="13"/>
                    <a:pt x="11" y="19"/>
                  </a:cubicBezTo>
                  <a:cubicBezTo>
                    <a:pt x="405" y="19"/>
                    <a:pt x="405" y="19"/>
                    <a:pt x="405" y="19"/>
                  </a:cubicBezTo>
                  <a:cubicBezTo>
                    <a:pt x="409" y="13"/>
                    <a:pt x="413" y="7"/>
                    <a:pt x="416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31">
              <a:extLst>
                <a:ext uri="{FF2B5EF4-FFF2-40B4-BE49-F238E27FC236}">
                  <a16:creationId xmlns:a16="http://schemas.microsoft.com/office/drawing/2014/main" id="{19DC0AD1-8BCD-40BD-AFA9-9E86D9D7619A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950" y="-4484886"/>
              <a:ext cx="1135063" cy="60325"/>
            </a:xfrm>
            <a:custGeom>
              <a:avLst/>
              <a:gdLst>
                <a:gd name="T0" fmla="*/ 358 w 358"/>
                <a:gd name="T1" fmla="*/ 0 h 19"/>
                <a:gd name="T2" fmla="*/ 0 w 358"/>
                <a:gd name="T3" fmla="*/ 0 h 19"/>
                <a:gd name="T4" fmla="*/ 18 w 358"/>
                <a:gd name="T5" fmla="*/ 19 h 19"/>
                <a:gd name="T6" fmla="*/ 339 w 358"/>
                <a:gd name="T7" fmla="*/ 19 h 19"/>
                <a:gd name="T8" fmla="*/ 358 w 358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8" h="19">
                  <a:moveTo>
                    <a:pt x="35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" y="7"/>
                    <a:pt x="12" y="13"/>
                    <a:pt x="18" y="19"/>
                  </a:cubicBezTo>
                  <a:cubicBezTo>
                    <a:pt x="339" y="19"/>
                    <a:pt x="339" y="19"/>
                    <a:pt x="339" y="19"/>
                  </a:cubicBezTo>
                  <a:cubicBezTo>
                    <a:pt x="346" y="13"/>
                    <a:pt x="352" y="7"/>
                    <a:pt x="358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32">
              <a:extLst>
                <a:ext uri="{FF2B5EF4-FFF2-40B4-BE49-F238E27FC236}">
                  <a16:creationId xmlns:a16="http://schemas.microsoft.com/office/drawing/2014/main" id="{53CD8091-772D-4EA7-ACC8-68B12D4370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5525" y="-4345186"/>
              <a:ext cx="820738" cy="60325"/>
            </a:xfrm>
            <a:custGeom>
              <a:avLst/>
              <a:gdLst>
                <a:gd name="T0" fmla="*/ 259 w 259"/>
                <a:gd name="T1" fmla="*/ 0 h 19"/>
                <a:gd name="T2" fmla="*/ 0 w 259"/>
                <a:gd name="T3" fmla="*/ 0 h 19"/>
                <a:gd name="T4" fmla="*/ 35 w 259"/>
                <a:gd name="T5" fmla="*/ 19 h 19"/>
                <a:gd name="T6" fmla="*/ 225 w 259"/>
                <a:gd name="T7" fmla="*/ 19 h 19"/>
                <a:gd name="T8" fmla="*/ 259 w 259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9" h="19">
                  <a:moveTo>
                    <a:pt x="25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1" y="7"/>
                    <a:pt x="23" y="13"/>
                    <a:pt x="35" y="19"/>
                  </a:cubicBezTo>
                  <a:cubicBezTo>
                    <a:pt x="225" y="19"/>
                    <a:pt x="225" y="19"/>
                    <a:pt x="225" y="19"/>
                  </a:cubicBezTo>
                  <a:cubicBezTo>
                    <a:pt x="237" y="13"/>
                    <a:pt x="248" y="7"/>
                    <a:pt x="259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1690047-4235-43F0-9F2A-44A8E93985C0}"/>
              </a:ext>
            </a:extLst>
          </p:cNvPr>
          <p:cNvCxnSpPr/>
          <p:nvPr userDrawn="1"/>
        </p:nvCxnSpPr>
        <p:spPr>
          <a:xfrm>
            <a:off x="9596819" y="6389084"/>
            <a:ext cx="0" cy="166687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7178CB75-44D5-4455-AF00-3EE241BA60A5}"/>
              </a:ext>
            </a:extLst>
          </p:cNvPr>
          <p:cNvSpPr txBox="1"/>
          <p:nvPr userDrawn="1"/>
        </p:nvSpPr>
        <p:spPr>
          <a:xfrm>
            <a:off x="6389517" y="6247955"/>
            <a:ext cx="2551789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300" b="1" spc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Company </a:t>
            </a:r>
            <a:r>
              <a:rPr lang="en-US" sz="2300" b="1" kern="1200" spc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Profil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3E3F71F8-364C-494F-BE6B-35DB365FE1BC}"/>
              </a:ext>
            </a:extLst>
          </p:cNvPr>
          <p:cNvGrpSpPr/>
          <p:nvPr userDrawn="1"/>
        </p:nvGrpSpPr>
        <p:grpSpPr>
          <a:xfrm>
            <a:off x="5956285" y="6264918"/>
            <a:ext cx="390675" cy="386876"/>
            <a:chOff x="942242" y="2841978"/>
            <a:chExt cx="1226108" cy="1214181"/>
          </a:xfrm>
        </p:grpSpPr>
        <p:sp>
          <p:nvSpPr>
            <p:cNvPr id="33" name="Freeform 63">
              <a:extLst>
                <a:ext uri="{FF2B5EF4-FFF2-40B4-BE49-F238E27FC236}">
                  <a16:creationId xmlns:a16="http://schemas.microsoft.com/office/drawing/2014/main" id="{62FDB4D7-C79E-43F4-B30D-58756C4DC5B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42242" y="2841978"/>
              <a:ext cx="1226108" cy="1211796"/>
            </a:xfrm>
            <a:custGeom>
              <a:avLst/>
              <a:gdLst>
                <a:gd name="T0" fmla="*/ 198 w 431"/>
                <a:gd name="T1" fmla="*/ 393 h 426"/>
                <a:gd name="T2" fmla="*/ 53 w 431"/>
                <a:gd name="T3" fmla="*/ 393 h 426"/>
                <a:gd name="T4" fmla="*/ 39 w 431"/>
                <a:gd name="T5" fmla="*/ 386 h 426"/>
                <a:gd name="T6" fmla="*/ 37 w 431"/>
                <a:gd name="T7" fmla="*/ 371 h 426"/>
                <a:gd name="T8" fmla="*/ 159 w 431"/>
                <a:gd name="T9" fmla="*/ 284 h 426"/>
                <a:gd name="T10" fmla="*/ 231 w 431"/>
                <a:gd name="T11" fmla="*/ 307 h 426"/>
                <a:gd name="T12" fmla="*/ 254 w 431"/>
                <a:gd name="T13" fmla="*/ 303 h 426"/>
                <a:gd name="T14" fmla="*/ 250 w 431"/>
                <a:gd name="T15" fmla="*/ 280 h 426"/>
                <a:gd name="T16" fmla="*/ 216 w 431"/>
                <a:gd name="T17" fmla="*/ 262 h 426"/>
                <a:gd name="T18" fmla="*/ 244 w 431"/>
                <a:gd name="T19" fmla="*/ 206 h 426"/>
                <a:gd name="T20" fmla="*/ 331 w 431"/>
                <a:gd name="T21" fmla="*/ 171 h 426"/>
                <a:gd name="T22" fmla="*/ 403 w 431"/>
                <a:gd name="T23" fmla="*/ 193 h 426"/>
                <a:gd name="T24" fmla="*/ 426 w 431"/>
                <a:gd name="T25" fmla="*/ 189 h 426"/>
                <a:gd name="T26" fmla="*/ 422 w 431"/>
                <a:gd name="T27" fmla="*/ 166 h 426"/>
                <a:gd name="T28" fmla="*/ 389 w 431"/>
                <a:gd name="T29" fmla="*/ 148 h 426"/>
                <a:gd name="T30" fmla="*/ 416 w 431"/>
                <a:gd name="T31" fmla="*/ 85 h 426"/>
                <a:gd name="T32" fmla="*/ 332 w 431"/>
                <a:gd name="T33" fmla="*/ 0 h 426"/>
                <a:gd name="T34" fmla="*/ 247 w 431"/>
                <a:gd name="T35" fmla="*/ 85 h 426"/>
                <a:gd name="T36" fmla="*/ 274 w 431"/>
                <a:gd name="T37" fmla="*/ 148 h 426"/>
                <a:gd name="T38" fmla="*/ 267 w 431"/>
                <a:gd name="T39" fmla="*/ 151 h 426"/>
                <a:gd name="T40" fmla="*/ 238 w 431"/>
                <a:gd name="T41" fmla="*/ 168 h 426"/>
                <a:gd name="T42" fmla="*/ 159 w 431"/>
                <a:gd name="T43" fmla="*/ 114 h 426"/>
                <a:gd name="T44" fmla="*/ 75 w 431"/>
                <a:gd name="T45" fmla="*/ 199 h 426"/>
                <a:gd name="T46" fmla="*/ 102 w 431"/>
                <a:gd name="T47" fmla="*/ 262 h 426"/>
                <a:gd name="T48" fmla="*/ 5 w 431"/>
                <a:gd name="T49" fmla="*/ 361 h 426"/>
                <a:gd name="T50" fmla="*/ 13 w 431"/>
                <a:gd name="T51" fmla="*/ 406 h 426"/>
                <a:gd name="T52" fmla="*/ 53 w 431"/>
                <a:gd name="T53" fmla="*/ 426 h 426"/>
                <a:gd name="T54" fmla="*/ 198 w 431"/>
                <a:gd name="T55" fmla="*/ 426 h 426"/>
                <a:gd name="T56" fmla="*/ 214 w 431"/>
                <a:gd name="T57" fmla="*/ 410 h 426"/>
                <a:gd name="T58" fmla="*/ 198 w 431"/>
                <a:gd name="T59" fmla="*/ 393 h 426"/>
                <a:gd name="T60" fmla="*/ 332 w 431"/>
                <a:gd name="T61" fmla="*/ 34 h 426"/>
                <a:gd name="T62" fmla="*/ 383 w 431"/>
                <a:gd name="T63" fmla="*/ 85 h 426"/>
                <a:gd name="T64" fmla="*/ 332 w 431"/>
                <a:gd name="T65" fmla="*/ 137 h 426"/>
                <a:gd name="T66" fmla="*/ 280 w 431"/>
                <a:gd name="T67" fmla="*/ 85 h 426"/>
                <a:gd name="T68" fmla="*/ 332 w 431"/>
                <a:gd name="T69" fmla="*/ 34 h 426"/>
                <a:gd name="T70" fmla="*/ 159 w 431"/>
                <a:gd name="T71" fmla="*/ 148 h 426"/>
                <a:gd name="T72" fmla="*/ 211 w 431"/>
                <a:gd name="T73" fmla="*/ 199 h 426"/>
                <a:gd name="T74" fmla="*/ 159 w 431"/>
                <a:gd name="T75" fmla="*/ 251 h 426"/>
                <a:gd name="T76" fmla="*/ 108 w 431"/>
                <a:gd name="T77" fmla="*/ 199 h 426"/>
                <a:gd name="T78" fmla="*/ 159 w 431"/>
                <a:gd name="T79" fmla="*/ 148 h 426"/>
                <a:gd name="T80" fmla="*/ 159 w 431"/>
                <a:gd name="T81" fmla="*/ 148 h 426"/>
                <a:gd name="T82" fmla="*/ 159 w 431"/>
                <a:gd name="T83" fmla="*/ 148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31" h="426">
                  <a:moveTo>
                    <a:pt x="198" y="393"/>
                  </a:moveTo>
                  <a:cubicBezTo>
                    <a:pt x="53" y="393"/>
                    <a:pt x="53" y="393"/>
                    <a:pt x="53" y="393"/>
                  </a:cubicBezTo>
                  <a:cubicBezTo>
                    <a:pt x="48" y="393"/>
                    <a:pt x="43" y="391"/>
                    <a:pt x="39" y="386"/>
                  </a:cubicBezTo>
                  <a:cubicBezTo>
                    <a:pt x="36" y="382"/>
                    <a:pt x="35" y="376"/>
                    <a:pt x="37" y="371"/>
                  </a:cubicBezTo>
                  <a:cubicBezTo>
                    <a:pt x="54" y="320"/>
                    <a:pt x="104" y="284"/>
                    <a:pt x="159" y="284"/>
                  </a:cubicBezTo>
                  <a:cubicBezTo>
                    <a:pt x="185" y="284"/>
                    <a:pt x="210" y="292"/>
                    <a:pt x="231" y="307"/>
                  </a:cubicBezTo>
                  <a:cubicBezTo>
                    <a:pt x="238" y="312"/>
                    <a:pt x="248" y="310"/>
                    <a:pt x="254" y="303"/>
                  </a:cubicBezTo>
                  <a:cubicBezTo>
                    <a:pt x="259" y="295"/>
                    <a:pt x="257" y="285"/>
                    <a:pt x="250" y="280"/>
                  </a:cubicBezTo>
                  <a:cubicBezTo>
                    <a:pt x="239" y="272"/>
                    <a:pt x="228" y="266"/>
                    <a:pt x="216" y="262"/>
                  </a:cubicBezTo>
                  <a:cubicBezTo>
                    <a:pt x="232" y="248"/>
                    <a:pt x="242" y="228"/>
                    <a:pt x="244" y="206"/>
                  </a:cubicBezTo>
                  <a:cubicBezTo>
                    <a:pt x="267" y="183"/>
                    <a:pt x="298" y="171"/>
                    <a:pt x="331" y="171"/>
                  </a:cubicBezTo>
                  <a:cubicBezTo>
                    <a:pt x="357" y="171"/>
                    <a:pt x="382" y="178"/>
                    <a:pt x="403" y="193"/>
                  </a:cubicBezTo>
                  <a:cubicBezTo>
                    <a:pt x="410" y="198"/>
                    <a:pt x="421" y="196"/>
                    <a:pt x="426" y="189"/>
                  </a:cubicBezTo>
                  <a:cubicBezTo>
                    <a:pt x="431" y="181"/>
                    <a:pt x="429" y="171"/>
                    <a:pt x="422" y="166"/>
                  </a:cubicBezTo>
                  <a:cubicBezTo>
                    <a:pt x="411" y="159"/>
                    <a:pt x="400" y="153"/>
                    <a:pt x="389" y="148"/>
                  </a:cubicBezTo>
                  <a:cubicBezTo>
                    <a:pt x="406" y="133"/>
                    <a:pt x="416" y="110"/>
                    <a:pt x="416" y="85"/>
                  </a:cubicBezTo>
                  <a:cubicBezTo>
                    <a:pt x="416" y="39"/>
                    <a:pt x="378" y="0"/>
                    <a:pt x="332" y="0"/>
                  </a:cubicBezTo>
                  <a:cubicBezTo>
                    <a:pt x="285" y="0"/>
                    <a:pt x="247" y="39"/>
                    <a:pt x="247" y="85"/>
                  </a:cubicBezTo>
                  <a:cubicBezTo>
                    <a:pt x="247" y="110"/>
                    <a:pt x="257" y="132"/>
                    <a:pt x="274" y="148"/>
                  </a:cubicBezTo>
                  <a:cubicBezTo>
                    <a:pt x="272" y="149"/>
                    <a:pt x="270" y="150"/>
                    <a:pt x="267" y="151"/>
                  </a:cubicBezTo>
                  <a:cubicBezTo>
                    <a:pt x="257" y="155"/>
                    <a:pt x="247" y="161"/>
                    <a:pt x="238" y="168"/>
                  </a:cubicBezTo>
                  <a:cubicBezTo>
                    <a:pt x="226" y="136"/>
                    <a:pt x="195" y="114"/>
                    <a:pt x="159" y="114"/>
                  </a:cubicBezTo>
                  <a:cubicBezTo>
                    <a:pt x="113" y="114"/>
                    <a:pt x="75" y="152"/>
                    <a:pt x="75" y="199"/>
                  </a:cubicBezTo>
                  <a:cubicBezTo>
                    <a:pt x="75" y="224"/>
                    <a:pt x="85" y="246"/>
                    <a:pt x="102" y="262"/>
                  </a:cubicBezTo>
                  <a:cubicBezTo>
                    <a:pt x="57" y="279"/>
                    <a:pt x="20" y="315"/>
                    <a:pt x="5" y="361"/>
                  </a:cubicBezTo>
                  <a:cubicBezTo>
                    <a:pt x="0" y="376"/>
                    <a:pt x="3" y="393"/>
                    <a:pt x="13" y="406"/>
                  </a:cubicBezTo>
                  <a:cubicBezTo>
                    <a:pt x="22" y="419"/>
                    <a:pt x="37" y="426"/>
                    <a:pt x="53" y="426"/>
                  </a:cubicBezTo>
                  <a:cubicBezTo>
                    <a:pt x="198" y="426"/>
                    <a:pt x="198" y="426"/>
                    <a:pt x="198" y="426"/>
                  </a:cubicBezTo>
                  <a:cubicBezTo>
                    <a:pt x="207" y="426"/>
                    <a:pt x="214" y="419"/>
                    <a:pt x="214" y="410"/>
                  </a:cubicBezTo>
                  <a:cubicBezTo>
                    <a:pt x="214" y="401"/>
                    <a:pt x="207" y="393"/>
                    <a:pt x="198" y="393"/>
                  </a:cubicBezTo>
                  <a:close/>
                  <a:moveTo>
                    <a:pt x="332" y="34"/>
                  </a:moveTo>
                  <a:cubicBezTo>
                    <a:pt x="360" y="34"/>
                    <a:pt x="383" y="57"/>
                    <a:pt x="383" y="85"/>
                  </a:cubicBezTo>
                  <a:cubicBezTo>
                    <a:pt x="383" y="114"/>
                    <a:pt x="360" y="137"/>
                    <a:pt x="332" y="137"/>
                  </a:cubicBezTo>
                  <a:cubicBezTo>
                    <a:pt x="303" y="137"/>
                    <a:pt x="280" y="114"/>
                    <a:pt x="280" y="85"/>
                  </a:cubicBezTo>
                  <a:cubicBezTo>
                    <a:pt x="280" y="57"/>
                    <a:pt x="303" y="34"/>
                    <a:pt x="332" y="34"/>
                  </a:cubicBezTo>
                  <a:close/>
                  <a:moveTo>
                    <a:pt x="159" y="148"/>
                  </a:moveTo>
                  <a:cubicBezTo>
                    <a:pt x="188" y="148"/>
                    <a:pt x="211" y="171"/>
                    <a:pt x="211" y="199"/>
                  </a:cubicBezTo>
                  <a:cubicBezTo>
                    <a:pt x="211" y="228"/>
                    <a:pt x="188" y="251"/>
                    <a:pt x="159" y="251"/>
                  </a:cubicBezTo>
                  <a:cubicBezTo>
                    <a:pt x="131" y="251"/>
                    <a:pt x="108" y="228"/>
                    <a:pt x="108" y="199"/>
                  </a:cubicBezTo>
                  <a:cubicBezTo>
                    <a:pt x="108" y="171"/>
                    <a:pt x="131" y="148"/>
                    <a:pt x="159" y="148"/>
                  </a:cubicBezTo>
                  <a:close/>
                  <a:moveTo>
                    <a:pt x="159" y="148"/>
                  </a:moveTo>
                  <a:cubicBezTo>
                    <a:pt x="159" y="148"/>
                    <a:pt x="159" y="148"/>
                    <a:pt x="159" y="148"/>
                  </a:cubicBezTo>
                </a:path>
              </a:pathLst>
            </a:custGeom>
            <a:gradFill flip="none" rotWithShape="1"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810000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64">
              <a:extLst>
                <a:ext uri="{FF2B5EF4-FFF2-40B4-BE49-F238E27FC236}">
                  <a16:creationId xmlns:a16="http://schemas.microsoft.com/office/drawing/2014/main" id="{EB6E356D-9626-437B-8F88-21040A95A2A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68415" y="3600543"/>
              <a:ext cx="599935" cy="455616"/>
            </a:xfrm>
            <a:custGeom>
              <a:avLst/>
              <a:gdLst>
                <a:gd name="T0" fmla="*/ 202 w 211"/>
                <a:gd name="T1" fmla="*/ 5 h 160"/>
                <a:gd name="T2" fmla="*/ 179 w 211"/>
                <a:gd name="T3" fmla="*/ 9 h 160"/>
                <a:gd name="T4" fmla="*/ 97 w 211"/>
                <a:gd name="T5" fmla="*/ 124 h 160"/>
                <a:gd name="T6" fmla="*/ 90 w 211"/>
                <a:gd name="T7" fmla="*/ 127 h 160"/>
                <a:gd name="T8" fmla="*/ 83 w 211"/>
                <a:gd name="T9" fmla="*/ 124 h 160"/>
                <a:gd name="T10" fmla="*/ 30 w 211"/>
                <a:gd name="T11" fmla="*/ 73 h 160"/>
                <a:gd name="T12" fmla="*/ 6 w 211"/>
                <a:gd name="T13" fmla="*/ 74 h 160"/>
                <a:gd name="T14" fmla="*/ 7 w 211"/>
                <a:gd name="T15" fmla="*/ 97 h 160"/>
                <a:gd name="T16" fmla="*/ 60 w 211"/>
                <a:gd name="T17" fmla="*/ 148 h 160"/>
                <a:gd name="T18" fmla="*/ 90 w 211"/>
                <a:gd name="T19" fmla="*/ 160 h 160"/>
                <a:gd name="T20" fmla="*/ 92 w 211"/>
                <a:gd name="T21" fmla="*/ 160 h 160"/>
                <a:gd name="T22" fmla="*/ 123 w 211"/>
                <a:gd name="T23" fmla="*/ 144 h 160"/>
                <a:gd name="T24" fmla="*/ 123 w 211"/>
                <a:gd name="T25" fmla="*/ 143 h 160"/>
                <a:gd name="T26" fmla="*/ 206 w 211"/>
                <a:gd name="T27" fmla="*/ 28 h 160"/>
                <a:gd name="T28" fmla="*/ 202 w 211"/>
                <a:gd name="T29" fmla="*/ 5 h 160"/>
                <a:gd name="T30" fmla="*/ 202 w 211"/>
                <a:gd name="T31" fmla="*/ 5 h 160"/>
                <a:gd name="T32" fmla="*/ 202 w 211"/>
                <a:gd name="T33" fmla="*/ 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11" h="160">
                  <a:moveTo>
                    <a:pt x="202" y="5"/>
                  </a:moveTo>
                  <a:cubicBezTo>
                    <a:pt x="194" y="0"/>
                    <a:pt x="184" y="2"/>
                    <a:pt x="179" y="9"/>
                  </a:cubicBezTo>
                  <a:cubicBezTo>
                    <a:pt x="97" y="124"/>
                    <a:pt x="97" y="124"/>
                    <a:pt x="97" y="124"/>
                  </a:cubicBezTo>
                  <a:cubicBezTo>
                    <a:pt x="94" y="126"/>
                    <a:pt x="92" y="127"/>
                    <a:pt x="90" y="127"/>
                  </a:cubicBezTo>
                  <a:cubicBezTo>
                    <a:pt x="89" y="127"/>
                    <a:pt x="86" y="127"/>
                    <a:pt x="83" y="124"/>
                  </a:cubicBezTo>
                  <a:cubicBezTo>
                    <a:pt x="30" y="73"/>
                    <a:pt x="30" y="73"/>
                    <a:pt x="30" y="73"/>
                  </a:cubicBezTo>
                  <a:cubicBezTo>
                    <a:pt x="23" y="67"/>
                    <a:pt x="13" y="67"/>
                    <a:pt x="6" y="74"/>
                  </a:cubicBezTo>
                  <a:cubicBezTo>
                    <a:pt x="0" y="80"/>
                    <a:pt x="0" y="91"/>
                    <a:pt x="7" y="97"/>
                  </a:cubicBezTo>
                  <a:cubicBezTo>
                    <a:pt x="60" y="148"/>
                    <a:pt x="60" y="148"/>
                    <a:pt x="60" y="148"/>
                  </a:cubicBezTo>
                  <a:cubicBezTo>
                    <a:pt x="68" y="156"/>
                    <a:pt x="79" y="160"/>
                    <a:pt x="90" y="160"/>
                  </a:cubicBezTo>
                  <a:cubicBezTo>
                    <a:pt x="91" y="160"/>
                    <a:pt x="91" y="160"/>
                    <a:pt x="92" y="160"/>
                  </a:cubicBezTo>
                  <a:cubicBezTo>
                    <a:pt x="104" y="159"/>
                    <a:pt x="115" y="153"/>
                    <a:pt x="123" y="144"/>
                  </a:cubicBezTo>
                  <a:cubicBezTo>
                    <a:pt x="123" y="144"/>
                    <a:pt x="123" y="144"/>
                    <a:pt x="123" y="143"/>
                  </a:cubicBezTo>
                  <a:cubicBezTo>
                    <a:pt x="206" y="28"/>
                    <a:pt x="206" y="28"/>
                    <a:pt x="206" y="28"/>
                  </a:cubicBezTo>
                  <a:cubicBezTo>
                    <a:pt x="211" y="21"/>
                    <a:pt x="209" y="11"/>
                    <a:pt x="202" y="5"/>
                  </a:cubicBezTo>
                  <a:close/>
                  <a:moveTo>
                    <a:pt x="202" y="5"/>
                  </a:moveTo>
                  <a:cubicBezTo>
                    <a:pt x="202" y="5"/>
                    <a:pt x="202" y="5"/>
                    <a:pt x="202" y="5"/>
                  </a:cubicBezTo>
                </a:path>
              </a:pathLst>
            </a:custGeom>
            <a:gradFill flip="none" rotWithShape="1"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810000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C6C13410-168C-4F8C-81CA-DD28C7DA65DE}"/>
              </a:ext>
            </a:extLst>
          </p:cNvPr>
          <p:cNvSpPr/>
          <p:nvPr userDrawn="1"/>
        </p:nvSpPr>
        <p:spPr>
          <a:xfrm>
            <a:off x="9154312" y="6309837"/>
            <a:ext cx="333533" cy="333533"/>
          </a:xfrm>
          <a:prstGeom prst="roundRect">
            <a:avLst>
              <a:gd name="adj" fmla="val 9599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Slide Number Placeholder 13">
            <a:extLst>
              <a:ext uri="{FF2B5EF4-FFF2-40B4-BE49-F238E27FC236}">
                <a16:creationId xmlns:a16="http://schemas.microsoft.com/office/drawing/2014/main" id="{FA25B8E2-6012-40D9-B618-D283FDE166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05250" y="6350048"/>
            <a:ext cx="431656" cy="2267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fld id="{1F70EEBF-E97C-49FF-B05B-3B4D348638DC}" type="slidenum">
              <a:rPr lang="en-US" smtClean="0"/>
              <a:pPr/>
              <a:t>‹Nr.›</a:t>
            </a:fld>
            <a:endParaRPr lang="en-US" dirty="0"/>
          </a:p>
        </p:txBody>
      </p:sp>
      <p:grpSp>
        <p:nvGrpSpPr>
          <p:cNvPr id="91" name="Group 90">
            <a:extLst>
              <a:ext uri="{FF2B5EF4-FFF2-40B4-BE49-F238E27FC236}">
                <a16:creationId xmlns:a16="http://schemas.microsoft.com/office/drawing/2014/main" id="{E4F0FB4D-6BD1-4B53-B32F-CF460E36F7D3}"/>
              </a:ext>
            </a:extLst>
          </p:cNvPr>
          <p:cNvGrpSpPr/>
          <p:nvPr userDrawn="1"/>
        </p:nvGrpSpPr>
        <p:grpSpPr>
          <a:xfrm flipH="1">
            <a:off x="9760843" y="5396"/>
            <a:ext cx="2431157" cy="2744859"/>
            <a:chOff x="1781175" y="-333375"/>
            <a:chExt cx="4314825" cy="6070600"/>
          </a:xfrm>
        </p:grpSpPr>
        <p:sp>
          <p:nvSpPr>
            <p:cNvPr id="92" name="Freeform 6">
              <a:extLst>
                <a:ext uri="{FF2B5EF4-FFF2-40B4-BE49-F238E27FC236}">
                  <a16:creationId xmlns:a16="http://schemas.microsoft.com/office/drawing/2014/main" id="{672BF3B9-7B5D-4462-B6B7-9AB4285CCA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81175" y="-333375"/>
              <a:ext cx="4314825" cy="6070600"/>
            </a:xfrm>
            <a:custGeom>
              <a:avLst/>
              <a:gdLst>
                <a:gd name="T0" fmla="*/ 877 w 2718"/>
                <a:gd name="T1" fmla="*/ 0 h 3824"/>
                <a:gd name="T2" fmla="*/ 0 w 2718"/>
                <a:gd name="T3" fmla="*/ 3793 h 3824"/>
                <a:gd name="T4" fmla="*/ 0 w 2718"/>
                <a:gd name="T5" fmla="*/ 3824 h 3824"/>
                <a:gd name="T6" fmla="*/ 2718 w 2718"/>
                <a:gd name="T7" fmla="*/ 0 h 3824"/>
                <a:gd name="T8" fmla="*/ 877 w 2718"/>
                <a:gd name="T9" fmla="*/ 0 h 3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18" h="3824">
                  <a:moveTo>
                    <a:pt x="877" y="0"/>
                  </a:moveTo>
                  <a:lnTo>
                    <a:pt x="0" y="3793"/>
                  </a:lnTo>
                  <a:lnTo>
                    <a:pt x="0" y="3824"/>
                  </a:lnTo>
                  <a:lnTo>
                    <a:pt x="2718" y="0"/>
                  </a:lnTo>
                  <a:lnTo>
                    <a:pt x="877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/>
                </a:gs>
                <a:gs pos="100000">
                  <a:schemeClr val="accent1"/>
                </a:gs>
              </a:gsLst>
              <a:lin ang="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7">
              <a:extLst>
                <a:ext uri="{FF2B5EF4-FFF2-40B4-BE49-F238E27FC236}">
                  <a16:creationId xmlns:a16="http://schemas.microsoft.com/office/drawing/2014/main" id="{22F66BD7-DE19-4E92-8D8F-98E50702A0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81175" y="-333375"/>
              <a:ext cx="1897064" cy="2189162"/>
            </a:xfrm>
            <a:custGeom>
              <a:avLst/>
              <a:gdLst>
                <a:gd name="T0" fmla="*/ 0 w 1195"/>
                <a:gd name="T1" fmla="*/ 0 h 1379"/>
                <a:gd name="T2" fmla="*/ 0 w 1195"/>
                <a:gd name="T3" fmla="*/ 1379 h 1379"/>
                <a:gd name="T4" fmla="*/ 1195 w 1195"/>
                <a:gd name="T5" fmla="*/ 0 h 1379"/>
                <a:gd name="T6" fmla="*/ 0 w 1195"/>
                <a:gd name="T7" fmla="*/ 0 h 1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95" h="1379">
                  <a:moveTo>
                    <a:pt x="0" y="0"/>
                  </a:moveTo>
                  <a:lnTo>
                    <a:pt x="0" y="1379"/>
                  </a:lnTo>
                  <a:lnTo>
                    <a:pt x="119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8">
              <a:extLst>
                <a:ext uri="{FF2B5EF4-FFF2-40B4-BE49-F238E27FC236}">
                  <a16:creationId xmlns:a16="http://schemas.microsoft.com/office/drawing/2014/main" id="{F8BF1C17-315A-4BCC-87D2-F47D8E14CE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81175" y="-333375"/>
              <a:ext cx="1897063" cy="2189162"/>
            </a:xfrm>
            <a:custGeom>
              <a:avLst/>
              <a:gdLst>
                <a:gd name="T0" fmla="*/ 1176 w 1195"/>
                <a:gd name="T1" fmla="*/ 0 h 1379"/>
                <a:gd name="T2" fmla="*/ 0 w 1195"/>
                <a:gd name="T3" fmla="*/ 1184 h 1379"/>
                <a:gd name="T4" fmla="*/ 0 w 1195"/>
                <a:gd name="T5" fmla="*/ 1379 h 1379"/>
                <a:gd name="T6" fmla="*/ 1195 w 1195"/>
                <a:gd name="T7" fmla="*/ 0 h 1379"/>
                <a:gd name="T8" fmla="*/ 1176 w 1195"/>
                <a:gd name="T9" fmla="*/ 0 h 1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95" h="1379">
                  <a:moveTo>
                    <a:pt x="1176" y="0"/>
                  </a:moveTo>
                  <a:lnTo>
                    <a:pt x="0" y="1184"/>
                  </a:lnTo>
                  <a:lnTo>
                    <a:pt x="0" y="1379"/>
                  </a:lnTo>
                  <a:lnTo>
                    <a:pt x="1195" y="0"/>
                  </a:lnTo>
                  <a:lnTo>
                    <a:pt x="1176" y="0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  <a:alpha val="2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9">
              <a:extLst>
                <a:ext uri="{FF2B5EF4-FFF2-40B4-BE49-F238E27FC236}">
                  <a16:creationId xmlns:a16="http://schemas.microsoft.com/office/drawing/2014/main" id="{AA616946-EC8C-4522-9BEF-09E3618617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81175" y="-333375"/>
              <a:ext cx="1916113" cy="6040436"/>
            </a:xfrm>
            <a:custGeom>
              <a:avLst/>
              <a:gdLst>
                <a:gd name="T0" fmla="*/ 1195 w 1207"/>
                <a:gd name="T1" fmla="*/ 0 h 3805"/>
                <a:gd name="T2" fmla="*/ 0 w 1207"/>
                <a:gd name="T3" fmla="*/ 1379 h 3805"/>
                <a:gd name="T4" fmla="*/ 0 w 1207"/>
                <a:gd name="T5" fmla="*/ 3805 h 3805"/>
                <a:gd name="T6" fmla="*/ 1207 w 1207"/>
                <a:gd name="T7" fmla="*/ 0 h 3805"/>
                <a:gd name="T8" fmla="*/ 1195 w 1207"/>
                <a:gd name="T9" fmla="*/ 0 h 38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07" h="3805">
                  <a:moveTo>
                    <a:pt x="1195" y="0"/>
                  </a:moveTo>
                  <a:lnTo>
                    <a:pt x="0" y="1379"/>
                  </a:lnTo>
                  <a:lnTo>
                    <a:pt x="0" y="3805"/>
                  </a:lnTo>
                  <a:lnTo>
                    <a:pt x="1207" y="0"/>
                  </a:lnTo>
                  <a:lnTo>
                    <a:pt x="1195" y="0"/>
                  </a:ln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100000">
                  <a:schemeClr val="accent4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10">
              <a:extLst>
                <a:ext uri="{FF2B5EF4-FFF2-40B4-BE49-F238E27FC236}">
                  <a16:creationId xmlns:a16="http://schemas.microsoft.com/office/drawing/2014/main" id="{30562929-C5A4-4E14-BC28-A28AFA08A2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81175" y="1301750"/>
              <a:ext cx="1398587" cy="4405312"/>
            </a:xfrm>
            <a:custGeom>
              <a:avLst/>
              <a:gdLst>
                <a:gd name="T0" fmla="*/ 0 w 881"/>
                <a:gd name="T1" fmla="*/ 494 h 2775"/>
                <a:gd name="T2" fmla="*/ 0 w 881"/>
                <a:gd name="T3" fmla="*/ 2775 h 2775"/>
                <a:gd name="T4" fmla="*/ 881 w 881"/>
                <a:gd name="T5" fmla="*/ 0 h 2775"/>
                <a:gd name="T6" fmla="*/ 0 w 881"/>
                <a:gd name="T7" fmla="*/ 494 h 2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81" h="2775">
                  <a:moveTo>
                    <a:pt x="0" y="494"/>
                  </a:moveTo>
                  <a:lnTo>
                    <a:pt x="0" y="2775"/>
                  </a:lnTo>
                  <a:lnTo>
                    <a:pt x="881" y="0"/>
                  </a:lnTo>
                  <a:lnTo>
                    <a:pt x="0" y="494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/>
                </a:gs>
                <a:gs pos="100000">
                  <a:schemeClr val="accent4"/>
                </a:gs>
              </a:gsLst>
              <a:lin ang="1620000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641508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Full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3B64658-DB6C-4717-A7DD-2A0530D69B4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5257579"/>
          </a:xfrm>
          <a:custGeom>
            <a:avLst/>
            <a:gdLst>
              <a:gd name="connsiteX0" fmla="*/ 0 w 12192000"/>
              <a:gd name="connsiteY0" fmla="*/ 0 h 5257579"/>
              <a:gd name="connsiteX1" fmla="*/ 12192000 w 12192000"/>
              <a:gd name="connsiteY1" fmla="*/ 0 h 5257579"/>
              <a:gd name="connsiteX2" fmla="*/ 12192000 w 12192000"/>
              <a:gd name="connsiteY2" fmla="*/ 3428 h 5257579"/>
              <a:gd name="connsiteX3" fmla="*/ 12192000 w 12192000"/>
              <a:gd name="connsiteY3" fmla="*/ 26652 h 5257579"/>
              <a:gd name="connsiteX4" fmla="*/ 12192000 w 12192000"/>
              <a:gd name="connsiteY4" fmla="*/ 71879 h 5257579"/>
              <a:gd name="connsiteX5" fmla="*/ 12192000 w 12192000"/>
              <a:gd name="connsiteY5" fmla="*/ 105035 h 5257579"/>
              <a:gd name="connsiteX6" fmla="*/ 12192000 w 12192000"/>
              <a:gd name="connsiteY6" fmla="*/ 146442 h 5257579"/>
              <a:gd name="connsiteX7" fmla="*/ 12192000 w 12192000"/>
              <a:gd name="connsiteY7" fmla="*/ 197016 h 5257579"/>
              <a:gd name="connsiteX8" fmla="*/ 12192000 w 12192000"/>
              <a:gd name="connsiteY8" fmla="*/ 257675 h 5257579"/>
              <a:gd name="connsiteX9" fmla="*/ 12192000 w 12192000"/>
              <a:gd name="connsiteY9" fmla="*/ 329334 h 5257579"/>
              <a:gd name="connsiteX10" fmla="*/ 12192000 w 12192000"/>
              <a:gd name="connsiteY10" fmla="*/ 412912 h 5257579"/>
              <a:gd name="connsiteX11" fmla="*/ 12192000 w 12192000"/>
              <a:gd name="connsiteY11" fmla="*/ 509324 h 5257579"/>
              <a:gd name="connsiteX12" fmla="*/ 12192000 w 12192000"/>
              <a:gd name="connsiteY12" fmla="*/ 619487 h 5257579"/>
              <a:gd name="connsiteX13" fmla="*/ 12192000 w 12192000"/>
              <a:gd name="connsiteY13" fmla="*/ 744319 h 5257579"/>
              <a:gd name="connsiteX14" fmla="*/ 12192000 w 12192000"/>
              <a:gd name="connsiteY14" fmla="*/ 884735 h 5257579"/>
              <a:gd name="connsiteX15" fmla="*/ 12192000 w 12192000"/>
              <a:gd name="connsiteY15" fmla="*/ 1041653 h 5257579"/>
              <a:gd name="connsiteX16" fmla="*/ 12192000 w 12192000"/>
              <a:gd name="connsiteY16" fmla="*/ 1215989 h 5257579"/>
              <a:gd name="connsiteX17" fmla="*/ 12192000 w 12192000"/>
              <a:gd name="connsiteY17" fmla="*/ 1408661 h 5257579"/>
              <a:gd name="connsiteX18" fmla="*/ 12192000 w 12192000"/>
              <a:gd name="connsiteY18" fmla="*/ 1620584 h 5257579"/>
              <a:gd name="connsiteX19" fmla="*/ 12192000 w 12192000"/>
              <a:gd name="connsiteY19" fmla="*/ 1852676 h 5257579"/>
              <a:gd name="connsiteX20" fmla="*/ 12192000 w 12192000"/>
              <a:gd name="connsiteY20" fmla="*/ 2105853 h 5257579"/>
              <a:gd name="connsiteX21" fmla="*/ 12192000 w 12192000"/>
              <a:gd name="connsiteY21" fmla="*/ 2381033 h 5257579"/>
              <a:gd name="connsiteX22" fmla="*/ 12192000 w 12192000"/>
              <a:gd name="connsiteY22" fmla="*/ 2679131 h 5257579"/>
              <a:gd name="connsiteX23" fmla="*/ 12192000 w 12192000"/>
              <a:gd name="connsiteY23" fmla="*/ 3001065 h 5257579"/>
              <a:gd name="connsiteX24" fmla="*/ 12192000 w 12192000"/>
              <a:gd name="connsiteY24" fmla="*/ 3347751 h 5257579"/>
              <a:gd name="connsiteX25" fmla="*/ 12192000 w 12192000"/>
              <a:gd name="connsiteY25" fmla="*/ 3720106 h 5257579"/>
              <a:gd name="connsiteX26" fmla="*/ 12192000 w 12192000"/>
              <a:gd name="connsiteY26" fmla="*/ 4119048 h 5257579"/>
              <a:gd name="connsiteX27" fmla="*/ 12192000 w 12192000"/>
              <a:gd name="connsiteY27" fmla="*/ 4545492 h 5257579"/>
              <a:gd name="connsiteX28" fmla="*/ 12192000 w 12192000"/>
              <a:gd name="connsiteY28" fmla="*/ 5000355 h 5257579"/>
              <a:gd name="connsiteX29" fmla="*/ 0 w 12192000"/>
              <a:gd name="connsiteY29" fmla="*/ 1354202 h 5257579"/>
              <a:gd name="connsiteX30" fmla="*/ 0 w 12192000"/>
              <a:gd name="connsiteY30" fmla="*/ 1351544 h 5257579"/>
              <a:gd name="connsiteX31" fmla="*/ 0 w 12192000"/>
              <a:gd name="connsiteY31" fmla="*/ 1345233 h 5257579"/>
              <a:gd name="connsiteX32" fmla="*/ 0 w 12192000"/>
              <a:gd name="connsiteY32" fmla="*/ 1332943 h 5257579"/>
              <a:gd name="connsiteX33" fmla="*/ 0 w 12192000"/>
              <a:gd name="connsiteY33" fmla="*/ 1312681 h 5257579"/>
              <a:gd name="connsiteX34" fmla="*/ 0 w 12192000"/>
              <a:gd name="connsiteY34" fmla="*/ 1282454 h 5257579"/>
              <a:gd name="connsiteX35" fmla="*/ 0 w 12192000"/>
              <a:gd name="connsiteY35" fmla="*/ 1240269 h 5257579"/>
              <a:gd name="connsiteX36" fmla="*/ 0 w 12192000"/>
              <a:gd name="connsiteY36" fmla="*/ 1184133 h 5257579"/>
              <a:gd name="connsiteX37" fmla="*/ 0 w 12192000"/>
              <a:gd name="connsiteY37" fmla="*/ 1112053 h 5257579"/>
              <a:gd name="connsiteX38" fmla="*/ 0 w 12192000"/>
              <a:gd name="connsiteY38" fmla="*/ 1022036 h 5257579"/>
              <a:gd name="connsiteX39" fmla="*/ 0 w 12192000"/>
              <a:gd name="connsiteY39" fmla="*/ 912089 h 5257579"/>
              <a:gd name="connsiteX40" fmla="*/ 0 w 12192000"/>
              <a:gd name="connsiteY40" fmla="*/ 780219 h 5257579"/>
              <a:gd name="connsiteX41" fmla="*/ 0 w 12192000"/>
              <a:gd name="connsiteY41" fmla="*/ 624433 h 5257579"/>
              <a:gd name="connsiteX42" fmla="*/ 0 w 12192000"/>
              <a:gd name="connsiteY42" fmla="*/ 442738 h 5257579"/>
              <a:gd name="connsiteX43" fmla="*/ 0 w 12192000"/>
              <a:gd name="connsiteY43" fmla="*/ 233141 h 5257579"/>
              <a:gd name="connsiteX44" fmla="*/ 0 w 12192000"/>
              <a:gd name="connsiteY44" fmla="*/ 117256 h 5257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12192000" h="5257579">
                <a:moveTo>
                  <a:pt x="0" y="0"/>
                </a:moveTo>
                <a:lnTo>
                  <a:pt x="12192000" y="0"/>
                </a:lnTo>
                <a:lnTo>
                  <a:pt x="12192000" y="3428"/>
                </a:lnTo>
                <a:lnTo>
                  <a:pt x="12192000" y="26652"/>
                </a:lnTo>
                <a:lnTo>
                  <a:pt x="12192000" y="71879"/>
                </a:lnTo>
                <a:lnTo>
                  <a:pt x="12192000" y="105035"/>
                </a:lnTo>
                <a:lnTo>
                  <a:pt x="12192000" y="146442"/>
                </a:lnTo>
                <a:lnTo>
                  <a:pt x="12192000" y="197016"/>
                </a:lnTo>
                <a:lnTo>
                  <a:pt x="12192000" y="257675"/>
                </a:lnTo>
                <a:lnTo>
                  <a:pt x="12192000" y="329334"/>
                </a:lnTo>
                <a:lnTo>
                  <a:pt x="12192000" y="412912"/>
                </a:lnTo>
                <a:lnTo>
                  <a:pt x="12192000" y="509324"/>
                </a:lnTo>
                <a:lnTo>
                  <a:pt x="12192000" y="619487"/>
                </a:lnTo>
                <a:lnTo>
                  <a:pt x="12192000" y="744319"/>
                </a:lnTo>
                <a:lnTo>
                  <a:pt x="12192000" y="884735"/>
                </a:lnTo>
                <a:lnTo>
                  <a:pt x="12192000" y="1041653"/>
                </a:lnTo>
                <a:lnTo>
                  <a:pt x="12192000" y="1215989"/>
                </a:lnTo>
                <a:lnTo>
                  <a:pt x="12192000" y="1408661"/>
                </a:lnTo>
                <a:lnTo>
                  <a:pt x="12192000" y="1620584"/>
                </a:lnTo>
                <a:lnTo>
                  <a:pt x="12192000" y="1852676"/>
                </a:lnTo>
                <a:lnTo>
                  <a:pt x="12192000" y="2105853"/>
                </a:lnTo>
                <a:lnTo>
                  <a:pt x="12192000" y="2381033"/>
                </a:lnTo>
                <a:lnTo>
                  <a:pt x="12192000" y="2679131"/>
                </a:lnTo>
                <a:lnTo>
                  <a:pt x="12192000" y="3001065"/>
                </a:lnTo>
                <a:lnTo>
                  <a:pt x="12192000" y="3347751"/>
                </a:lnTo>
                <a:lnTo>
                  <a:pt x="12192000" y="3720106"/>
                </a:lnTo>
                <a:lnTo>
                  <a:pt x="12192000" y="4119048"/>
                </a:lnTo>
                <a:lnTo>
                  <a:pt x="12192000" y="4545492"/>
                </a:lnTo>
                <a:lnTo>
                  <a:pt x="12192000" y="5000355"/>
                </a:lnTo>
                <a:cubicBezTo>
                  <a:pt x="8537575" y="6529387"/>
                  <a:pt x="4232275" y="715251"/>
                  <a:pt x="0" y="1354202"/>
                </a:cubicBezTo>
                <a:lnTo>
                  <a:pt x="0" y="1351544"/>
                </a:lnTo>
                <a:lnTo>
                  <a:pt x="0" y="1345233"/>
                </a:lnTo>
                <a:lnTo>
                  <a:pt x="0" y="1332943"/>
                </a:lnTo>
                <a:lnTo>
                  <a:pt x="0" y="1312681"/>
                </a:lnTo>
                <a:lnTo>
                  <a:pt x="0" y="1282454"/>
                </a:lnTo>
                <a:lnTo>
                  <a:pt x="0" y="1240269"/>
                </a:lnTo>
                <a:lnTo>
                  <a:pt x="0" y="1184133"/>
                </a:lnTo>
                <a:lnTo>
                  <a:pt x="0" y="1112053"/>
                </a:lnTo>
                <a:lnTo>
                  <a:pt x="0" y="1022036"/>
                </a:lnTo>
                <a:lnTo>
                  <a:pt x="0" y="912089"/>
                </a:lnTo>
                <a:lnTo>
                  <a:pt x="0" y="780219"/>
                </a:lnTo>
                <a:lnTo>
                  <a:pt x="0" y="624433"/>
                </a:lnTo>
                <a:lnTo>
                  <a:pt x="0" y="442738"/>
                </a:lnTo>
                <a:lnTo>
                  <a:pt x="0" y="233141"/>
                </a:lnTo>
                <a:lnTo>
                  <a:pt x="0" y="117256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5326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9_Full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E8CACA21-A72F-4920-AA54-3E20921B1B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712402" y="6335762"/>
            <a:ext cx="2062071" cy="254745"/>
          </a:xfrm>
          <a:prstGeom prst="rect">
            <a:avLst/>
          </a:prstGeom>
        </p:spPr>
        <p:txBody>
          <a:bodyPr/>
          <a:lstStyle>
            <a:lvl1pPr algn="l">
              <a:defRPr sz="1200" spc="0" baseline="0">
                <a:solidFill>
                  <a:schemeClr val="bg1">
                    <a:lumMod val="65000"/>
                  </a:schemeClr>
                </a:solidFill>
                <a:effectLst/>
                <a:latin typeface="+mn-lt"/>
              </a:defRPr>
            </a:lvl1pPr>
          </a:lstStyle>
          <a:p>
            <a:r>
              <a:rPr lang="en-US"/>
              <a:t>insertyoururlhere.com</a:t>
            </a:r>
            <a:endParaRPr lang="en-US" dirty="0"/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08C84B09-FAEC-4A75-8886-DC153F75334C}"/>
              </a:ext>
            </a:extLst>
          </p:cNvPr>
          <p:cNvGrpSpPr/>
          <p:nvPr userDrawn="1"/>
        </p:nvGrpSpPr>
        <p:grpSpPr>
          <a:xfrm>
            <a:off x="855518" y="2510"/>
            <a:ext cx="1997364" cy="1405659"/>
            <a:chOff x="1450975" y="-26194"/>
            <a:chExt cx="2197100" cy="1546225"/>
          </a:xfrm>
          <a:solidFill>
            <a:schemeClr val="tx1">
              <a:lumMod val="75000"/>
              <a:lumOff val="25000"/>
              <a:alpha val="10000"/>
            </a:schemeClr>
          </a:solidFill>
        </p:grpSpPr>
        <p:sp>
          <p:nvSpPr>
            <p:cNvPr id="47" name="Freeform 30">
              <a:extLst>
                <a:ext uri="{FF2B5EF4-FFF2-40B4-BE49-F238E27FC236}">
                  <a16:creationId xmlns:a16="http://schemas.microsoft.com/office/drawing/2014/main" id="{8FD86F56-87BC-4766-9BB4-6324531D141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0125" y="-26194"/>
              <a:ext cx="12700" cy="3175"/>
            </a:xfrm>
            <a:custGeom>
              <a:avLst/>
              <a:gdLst>
                <a:gd name="T0" fmla="*/ 0 w 4"/>
                <a:gd name="T1" fmla="*/ 0 h 1"/>
                <a:gd name="T2" fmla="*/ 0 w 4"/>
                <a:gd name="T3" fmla="*/ 1 h 1"/>
                <a:gd name="T4" fmla="*/ 4 w 4"/>
                <a:gd name="T5" fmla="*/ 1 h 1"/>
                <a:gd name="T6" fmla="*/ 4 w 4"/>
                <a:gd name="T7" fmla="*/ 0 h 1"/>
                <a:gd name="T8" fmla="*/ 0 w 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31">
              <a:extLst>
                <a:ext uri="{FF2B5EF4-FFF2-40B4-BE49-F238E27FC236}">
                  <a16:creationId xmlns:a16="http://schemas.microsoft.com/office/drawing/2014/main" id="{62D41CD2-0B48-465B-9761-59D240850B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225" y="-26194"/>
              <a:ext cx="12700" cy="3175"/>
            </a:xfrm>
            <a:custGeom>
              <a:avLst/>
              <a:gdLst>
                <a:gd name="T0" fmla="*/ 4 w 4"/>
                <a:gd name="T1" fmla="*/ 0 h 1"/>
                <a:gd name="T2" fmla="*/ 0 w 4"/>
                <a:gd name="T3" fmla="*/ 0 h 1"/>
                <a:gd name="T4" fmla="*/ 0 w 4"/>
                <a:gd name="T5" fmla="*/ 1 h 1"/>
                <a:gd name="T6" fmla="*/ 4 w 4"/>
                <a:gd name="T7" fmla="*/ 1 h 1"/>
                <a:gd name="T8" fmla="*/ 4 w 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32">
              <a:extLst>
                <a:ext uri="{FF2B5EF4-FFF2-40B4-BE49-F238E27FC236}">
                  <a16:creationId xmlns:a16="http://schemas.microsoft.com/office/drawing/2014/main" id="{9D7D6241-E72C-45D3-9511-3BDF420D5AB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0975" y="-23019"/>
              <a:ext cx="2197100" cy="1543050"/>
            </a:xfrm>
            <a:custGeom>
              <a:avLst/>
              <a:gdLst>
                <a:gd name="T0" fmla="*/ 688 w 692"/>
                <a:gd name="T1" fmla="*/ 140 h 486"/>
                <a:gd name="T2" fmla="*/ 346 w 692"/>
                <a:gd name="T3" fmla="*/ 483 h 486"/>
                <a:gd name="T4" fmla="*/ 3 w 692"/>
                <a:gd name="T5" fmla="*/ 140 h 486"/>
                <a:gd name="T6" fmla="*/ 34 w 692"/>
                <a:gd name="T7" fmla="*/ 0 h 486"/>
                <a:gd name="T8" fmla="*/ 30 w 692"/>
                <a:gd name="T9" fmla="*/ 0 h 486"/>
                <a:gd name="T10" fmla="*/ 0 w 692"/>
                <a:gd name="T11" fmla="*/ 140 h 486"/>
                <a:gd name="T12" fmla="*/ 346 w 692"/>
                <a:gd name="T13" fmla="*/ 486 h 486"/>
                <a:gd name="T14" fmla="*/ 692 w 692"/>
                <a:gd name="T15" fmla="*/ 140 h 486"/>
                <a:gd name="T16" fmla="*/ 662 w 692"/>
                <a:gd name="T17" fmla="*/ 0 h 486"/>
                <a:gd name="T18" fmla="*/ 658 w 692"/>
                <a:gd name="T19" fmla="*/ 0 h 486"/>
                <a:gd name="T20" fmla="*/ 688 w 692"/>
                <a:gd name="T21" fmla="*/ 140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92" h="486">
                  <a:moveTo>
                    <a:pt x="688" y="140"/>
                  </a:moveTo>
                  <a:cubicBezTo>
                    <a:pt x="688" y="329"/>
                    <a:pt x="535" y="483"/>
                    <a:pt x="346" y="483"/>
                  </a:cubicBezTo>
                  <a:cubicBezTo>
                    <a:pt x="157" y="483"/>
                    <a:pt x="3" y="329"/>
                    <a:pt x="3" y="140"/>
                  </a:cubicBezTo>
                  <a:cubicBezTo>
                    <a:pt x="3" y="90"/>
                    <a:pt x="14" y="43"/>
                    <a:pt x="34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11" y="43"/>
                    <a:pt x="0" y="90"/>
                    <a:pt x="0" y="140"/>
                  </a:cubicBezTo>
                  <a:cubicBezTo>
                    <a:pt x="0" y="331"/>
                    <a:pt x="155" y="486"/>
                    <a:pt x="346" y="486"/>
                  </a:cubicBezTo>
                  <a:cubicBezTo>
                    <a:pt x="536" y="486"/>
                    <a:pt x="692" y="331"/>
                    <a:pt x="692" y="140"/>
                  </a:cubicBezTo>
                  <a:cubicBezTo>
                    <a:pt x="692" y="90"/>
                    <a:pt x="681" y="43"/>
                    <a:pt x="662" y="0"/>
                  </a:cubicBezTo>
                  <a:cubicBezTo>
                    <a:pt x="658" y="0"/>
                    <a:pt x="658" y="0"/>
                    <a:pt x="658" y="0"/>
                  </a:cubicBezTo>
                  <a:cubicBezTo>
                    <a:pt x="677" y="43"/>
                    <a:pt x="688" y="90"/>
                    <a:pt x="688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33">
              <a:extLst>
                <a:ext uri="{FF2B5EF4-FFF2-40B4-BE49-F238E27FC236}">
                  <a16:creationId xmlns:a16="http://schemas.microsoft.com/office/drawing/2014/main" id="{5950A7FD-AAE1-4253-8AE1-2B966BBDC88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3925" y="-26194"/>
              <a:ext cx="9525" cy="3175"/>
            </a:xfrm>
            <a:custGeom>
              <a:avLst/>
              <a:gdLst>
                <a:gd name="T0" fmla="*/ 0 w 3"/>
                <a:gd name="T1" fmla="*/ 1 h 1"/>
                <a:gd name="T2" fmla="*/ 3 w 3"/>
                <a:gd name="T3" fmla="*/ 1 h 1"/>
                <a:gd name="T4" fmla="*/ 3 w 3"/>
                <a:gd name="T5" fmla="*/ 0 h 1"/>
                <a:gd name="T6" fmla="*/ 0 w 3"/>
                <a:gd name="T7" fmla="*/ 0 h 1"/>
                <a:gd name="T8" fmla="*/ 0 w 3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34">
              <a:extLst>
                <a:ext uri="{FF2B5EF4-FFF2-40B4-BE49-F238E27FC236}">
                  <a16:creationId xmlns:a16="http://schemas.microsoft.com/office/drawing/2014/main" id="{A2B9865F-376A-4638-B3AA-FA96E16496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2425" y="-26194"/>
              <a:ext cx="12700" cy="3175"/>
            </a:xfrm>
            <a:custGeom>
              <a:avLst/>
              <a:gdLst>
                <a:gd name="T0" fmla="*/ 4 w 4"/>
                <a:gd name="T1" fmla="*/ 1 h 1"/>
                <a:gd name="T2" fmla="*/ 4 w 4"/>
                <a:gd name="T3" fmla="*/ 0 h 1"/>
                <a:gd name="T4" fmla="*/ 1 w 4"/>
                <a:gd name="T5" fmla="*/ 0 h 1"/>
                <a:gd name="T6" fmla="*/ 0 w 4"/>
                <a:gd name="T7" fmla="*/ 1 h 1"/>
                <a:gd name="T8" fmla="*/ 4 w 4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1"/>
                  </a:moveTo>
                  <a:cubicBezTo>
                    <a:pt x="4" y="1"/>
                    <a:pt x="4" y="1"/>
                    <a:pt x="4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35">
              <a:extLst>
                <a:ext uri="{FF2B5EF4-FFF2-40B4-BE49-F238E27FC236}">
                  <a16:creationId xmlns:a16="http://schemas.microsoft.com/office/drawing/2014/main" id="{7C0CAAD9-B35B-48A2-B02F-21ED7215DC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0825" y="-23019"/>
              <a:ext cx="2054225" cy="1473200"/>
            </a:xfrm>
            <a:custGeom>
              <a:avLst/>
              <a:gdLst>
                <a:gd name="T0" fmla="*/ 644 w 647"/>
                <a:gd name="T1" fmla="*/ 140 h 464"/>
                <a:gd name="T2" fmla="*/ 324 w 647"/>
                <a:gd name="T3" fmla="*/ 460 h 464"/>
                <a:gd name="T4" fmla="*/ 4 w 647"/>
                <a:gd name="T5" fmla="*/ 140 h 464"/>
                <a:gd name="T6" fmla="*/ 36 w 647"/>
                <a:gd name="T7" fmla="*/ 0 h 464"/>
                <a:gd name="T8" fmla="*/ 32 w 647"/>
                <a:gd name="T9" fmla="*/ 0 h 464"/>
                <a:gd name="T10" fmla="*/ 0 w 647"/>
                <a:gd name="T11" fmla="*/ 140 h 464"/>
                <a:gd name="T12" fmla="*/ 324 w 647"/>
                <a:gd name="T13" fmla="*/ 464 h 464"/>
                <a:gd name="T14" fmla="*/ 647 w 647"/>
                <a:gd name="T15" fmla="*/ 140 h 464"/>
                <a:gd name="T16" fmla="*/ 615 w 647"/>
                <a:gd name="T17" fmla="*/ 0 h 464"/>
                <a:gd name="T18" fmla="*/ 612 w 647"/>
                <a:gd name="T19" fmla="*/ 0 h 464"/>
                <a:gd name="T20" fmla="*/ 644 w 647"/>
                <a:gd name="T21" fmla="*/ 140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47" h="464">
                  <a:moveTo>
                    <a:pt x="644" y="140"/>
                  </a:moveTo>
                  <a:cubicBezTo>
                    <a:pt x="644" y="317"/>
                    <a:pt x="500" y="460"/>
                    <a:pt x="324" y="460"/>
                  </a:cubicBezTo>
                  <a:cubicBezTo>
                    <a:pt x="147" y="460"/>
                    <a:pt x="4" y="317"/>
                    <a:pt x="4" y="140"/>
                  </a:cubicBezTo>
                  <a:cubicBezTo>
                    <a:pt x="4" y="90"/>
                    <a:pt x="15" y="42"/>
                    <a:pt x="36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12" y="42"/>
                    <a:pt x="0" y="90"/>
                    <a:pt x="0" y="140"/>
                  </a:cubicBezTo>
                  <a:cubicBezTo>
                    <a:pt x="0" y="319"/>
                    <a:pt x="145" y="464"/>
                    <a:pt x="324" y="464"/>
                  </a:cubicBezTo>
                  <a:cubicBezTo>
                    <a:pt x="502" y="464"/>
                    <a:pt x="647" y="319"/>
                    <a:pt x="647" y="140"/>
                  </a:cubicBezTo>
                  <a:cubicBezTo>
                    <a:pt x="647" y="90"/>
                    <a:pt x="636" y="42"/>
                    <a:pt x="615" y="0"/>
                  </a:cubicBezTo>
                  <a:cubicBezTo>
                    <a:pt x="612" y="0"/>
                    <a:pt x="612" y="0"/>
                    <a:pt x="612" y="0"/>
                  </a:cubicBezTo>
                  <a:cubicBezTo>
                    <a:pt x="632" y="42"/>
                    <a:pt x="644" y="90"/>
                    <a:pt x="644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36">
              <a:extLst>
                <a:ext uri="{FF2B5EF4-FFF2-40B4-BE49-F238E27FC236}">
                  <a16:creationId xmlns:a16="http://schemas.microsoft.com/office/drawing/2014/main" id="{B8B8251C-1295-4342-BCC1-B378D183AF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-26194"/>
              <a:ext cx="12700" cy="3175"/>
            </a:xfrm>
            <a:custGeom>
              <a:avLst/>
              <a:gdLst>
                <a:gd name="T0" fmla="*/ 4 w 4"/>
                <a:gd name="T1" fmla="*/ 0 h 1"/>
                <a:gd name="T2" fmla="*/ 1 w 4"/>
                <a:gd name="T3" fmla="*/ 0 h 1"/>
                <a:gd name="T4" fmla="*/ 0 w 4"/>
                <a:gd name="T5" fmla="*/ 1 h 1"/>
                <a:gd name="T6" fmla="*/ 4 w 4"/>
                <a:gd name="T7" fmla="*/ 1 h 1"/>
                <a:gd name="T8" fmla="*/ 4 w 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7">
              <a:extLst>
                <a:ext uri="{FF2B5EF4-FFF2-40B4-BE49-F238E27FC236}">
                  <a16:creationId xmlns:a16="http://schemas.microsoft.com/office/drawing/2014/main" id="{5093996E-53D2-4A3B-BE91-71EBD6AC6524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4550" y="-26194"/>
              <a:ext cx="12700" cy="3175"/>
            </a:xfrm>
            <a:custGeom>
              <a:avLst/>
              <a:gdLst>
                <a:gd name="T0" fmla="*/ 0 w 4"/>
                <a:gd name="T1" fmla="*/ 0 h 1"/>
                <a:gd name="T2" fmla="*/ 1 w 4"/>
                <a:gd name="T3" fmla="*/ 1 h 1"/>
                <a:gd name="T4" fmla="*/ 4 w 4"/>
                <a:gd name="T5" fmla="*/ 1 h 1"/>
                <a:gd name="T6" fmla="*/ 4 w 4"/>
                <a:gd name="T7" fmla="*/ 0 h 1"/>
                <a:gd name="T8" fmla="*/ 0 w 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0" y="0"/>
                  </a:moveTo>
                  <a:cubicBezTo>
                    <a:pt x="0" y="1"/>
                    <a:pt x="1" y="1"/>
                    <a:pt x="1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8">
              <a:extLst>
                <a:ext uri="{FF2B5EF4-FFF2-40B4-BE49-F238E27FC236}">
                  <a16:creationId xmlns:a16="http://schemas.microsoft.com/office/drawing/2014/main" id="{3E187798-6D30-447C-A02A-C4C14ABB3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0675" y="-23019"/>
              <a:ext cx="1917700" cy="1403350"/>
            </a:xfrm>
            <a:custGeom>
              <a:avLst/>
              <a:gdLst>
                <a:gd name="T0" fmla="*/ 601 w 604"/>
                <a:gd name="T1" fmla="*/ 140 h 442"/>
                <a:gd name="T2" fmla="*/ 302 w 604"/>
                <a:gd name="T3" fmla="*/ 439 h 442"/>
                <a:gd name="T4" fmla="*/ 3 w 604"/>
                <a:gd name="T5" fmla="*/ 140 h 442"/>
                <a:gd name="T6" fmla="*/ 38 w 604"/>
                <a:gd name="T7" fmla="*/ 0 h 442"/>
                <a:gd name="T8" fmla="*/ 34 w 604"/>
                <a:gd name="T9" fmla="*/ 0 h 442"/>
                <a:gd name="T10" fmla="*/ 0 w 604"/>
                <a:gd name="T11" fmla="*/ 140 h 442"/>
                <a:gd name="T12" fmla="*/ 302 w 604"/>
                <a:gd name="T13" fmla="*/ 442 h 442"/>
                <a:gd name="T14" fmla="*/ 604 w 604"/>
                <a:gd name="T15" fmla="*/ 140 h 442"/>
                <a:gd name="T16" fmla="*/ 569 w 604"/>
                <a:gd name="T17" fmla="*/ 0 h 442"/>
                <a:gd name="T18" fmla="*/ 566 w 604"/>
                <a:gd name="T19" fmla="*/ 0 h 442"/>
                <a:gd name="T20" fmla="*/ 601 w 604"/>
                <a:gd name="T21" fmla="*/ 14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04" h="442">
                  <a:moveTo>
                    <a:pt x="601" y="140"/>
                  </a:moveTo>
                  <a:cubicBezTo>
                    <a:pt x="601" y="305"/>
                    <a:pt x="467" y="439"/>
                    <a:pt x="302" y="439"/>
                  </a:cubicBezTo>
                  <a:cubicBezTo>
                    <a:pt x="137" y="439"/>
                    <a:pt x="3" y="305"/>
                    <a:pt x="3" y="140"/>
                  </a:cubicBezTo>
                  <a:cubicBezTo>
                    <a:pt x="3" y="89"/>
                    <a:pt x="16" y="42"/>
                    <a:pt x="38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12" y="42"/>
                    <a:pt x="0" y="90"/>
                    <a:pt x="0" y="140"/>
                  </a:cubicBezTo>
                  <a:cubicBezTo>
                    <a:pt x="0" y="307"/>
                    <a:pt x="135" y="442"/>
                    <a:pt x="302" y="442"/>
                  </a:cubicBezTo>
                  <a:cubicBezTo>
                    <a:pt x="468" y="442"/>
                    <a:pt x="604" y="307"/>
                    <a:pt x="604" y="140"/>
                  </a:cubicBezTo>
                  <a:cubicBezTo>
                    <a:pt x="604" y="90"/>
                    <a:pt x="591" y="42"/>
                    <a:pt x="569" y="0"/>
                  </a:cubicBezTo>
                  <a:cubicBezTo>
                    <a:pt x="566" y="0"/>
                    <a:pt x="566" y="0"/>
                    <a:pt x="566" y="0"/>
                  </a:cubicBezTo>
                  <a:cubicBezTo>
                    <a:pt x="588" y="42"/>
                    <a:pt x="601" y="89"/>
                    <a:pt x="601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39">
              <a:extLst>
                <a:ext uri="{FF2B5EF4-FFF2-40B4-BE49-F238E27FC236}">
                  <a16:creationId xmlns:a16="http://schemas.microsoft.com/office/drawing/2014/main" id="{B250A47E-206F-457B-8000-99DFD78A17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1175" y="-26194"/>
              <a:ext cx="12700" cy="3175"/>
            </a:xfrm>
            <a:custGeom>
              <a:avLst/>
              <a:gdLst>
                <a:gd name="T0" fmla="*/ 4 w 4"/>
                <a:gd name="T1" fmla="*/ 1 h 1"/>
                <a:gd name="T2" fmla="*/ 4 w 4"/>
                <a:gd name="T3" fmla="*/ 0 h 1"/>
                <a:gd name="T4" fmla="*/ 0 w 4"/>
                <a:gd name="T5" fmla="*/ 0 h 1"/>
                <a:gd name="T6" fmla="*/ 0 w 4"/>
                <a:gd name="T7" fmla="*/ 1 h 1"/>
                <a:gd name="T8" fmla="*/ 4 w 4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1"/>
                  </a:moveTo>
                  <a:cubicBezTo>
                    <a:pt x="4" y="1"/>
                    <a:pt x="4" y="1"/>
                    <a:pt x="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40">
              <a:extLst>
                <a:ext uri="{FF2B5EF4-FFF2-40B4-BE49-F238E27FC236}">
                  <a16:creationId xmlns:a16="http://schemas.microsoft.com/office/drawing/2014/main" id="{54FC95A4-DC3D-4300-AFC9-9F8FCF54C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5175" y="-26194"/>
              <a:ext cx="12700" cy="3175"/>
            </a:xfrm>
            <a:custGeom>
              <a:avLst/>
              <a:gdLst>
                <a:gd name="T0" fmla="*/ 0 w 4"/>
                <a:gd name="T1" fmla="*/ 1 h 1"/>
                <a:gd name="T2" fmla="*/ 4 w 4"/>
                <a:gd name="T3" fmla="*/ 1 h 1"/>
                <a:gd name="T4" fmla="*/ 3 w 4"/>
                <a:gd name="T5" fmla="*/ 0 h 1"/>
                <a:gd name="T6" fmla="*/ 0 w 4"/>
                <a:gd name="T7" fmla="*/ 0 h 1"/>
                <a:gd name="T8" fmla="*/ 0 w 4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0" y="1"/>
                  </a:moveTo>
                  <a:cubicBezTo>
                    <a:pt x="4" y="1"/>
                    <a:pt x="4" y="1"/>
                    <a:pt x="4" y="1"/>
                  </a:cubicBezTo>
                  <a:cubicBezTo>
                    <a:pt x="3" y="1"/>
                    <a:pt x="3" y="1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41">
              <a:extLst>
                <a:ext uri="{FF2B5EF4-FFF2-40B4-BE49-F238E27FC236}">
                  <a16:creationId xmlns:a16="http://schemas.microsoft.com/office/drawing/2014/main" id="{BDD3DF79-B444-4FD5-8484-9A4802AA20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0525" y="-23019"/>
              <a:ext cx="1774825" cy="1333500"/>
            </a:xfrm>
            <a:custGeom>
              <a:avLst/>
              <a:gdLst>
                <a:gd name="T0" fmla="*/ 556 w 559"/>
                <a:gd name="T1" fmla="*/ 140 h 420"/>
                <a:gd name="T2" fmla="*/ 280 w 559"/>
                <a:gd name="T3" fmla="*/ 416 h 420"/>
                <a:gd name="T4" fmla="*/ 4 w 559"/>
                <a:gd name="T5" fmla="*/ 140 h 420"/>
                <a:gd name="T6" fmla="*/ 42 w 559"/>
                <a:gd name="T7" fmla="*/ 0 h 420"/>
                <a:gd name="T8" fmla="*/ 38 w 559"/>
                <a:gd name="T9" fmla="*/ 0 h 420"/>
                <a:gd name="T10" fmla="*/ 0 w 559"/>
                <a:gd name="T11" fmla="*/ 140 h 420"/>
                <a:gd name="T12" fmla="*/ 280 w 559"/>
                <a:gd name="T13" fmla="*/ 420 h 420"/>
                <a:gd name="T14" fmla="*/ 559 w 559"/>
                <a:gd name="T15" fmla="*/ 140 h 420"/>
                <a:gd name="T16" fmla="*/ 522 w 559"/>
                <a:gd name="T17" fmla="*/ 0 h 420"/>
                <a:gd name="T18" fmla="*/ 518 w 559"/>
                <a:gd name="T19" fmla="*/ 0 h 420"/>
                <a:gd name="T20" fmla="*/ 556 w 559"/>
                <a:gd name="T21" fmla="*/ 140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59" h="420">
                  <a:moveTo>
                    <a:pt x="556" y="140"/>
                  </a:moveTo>
                  <a:cubicBezTo>
                    <a:pt x="556" y="293"/>
                    <a:pt x="432" y="416"/>
                    <a:pt x="280" y="416"/>
                  </a:cubicBezTo>
                  <a:cubicBezTo>
                    <a:pt x="128" y="416"/>
                    <a:pt x="4" y="293"/>
                    <a:pt x="4" y="140"/>
                  </a:cubicBezTo>
                  <a:cubicBezTo>
                    <a:pt x="4" y="89"/>
                    <a:pt x="18" y="41"/>
                    <a:pt x="42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14" y="41"/>
                    <a:pt x="0" y="89"/>
                    <a:pt x="0" y="140"/>
                  </a:cubicBezTo>
                  <a:cubicBezTo>
                    <a:pt x="0" y="294"/>
                    <a:pt x="126" y="420"/>
                    <a:pt x="280" y="420"/>
                  </a:cubicBezTo>
                  <a:cubicBezTo>
                    <a:pt x="434" y="420"/>
                    <a:pt x="559" y="294"/>
                    <a:pt x="559" y="140"/>
                  </a:cubicBezTo>
                  <a:cubicBezTo>
                    <a:pt x="559" y="89"/>
                    <a:pt x="546" y="41"/>
                    <a:pt x="522" y="0"/>
                  </a:cubicBezTo>
                  <a:cubicBezTo>
                    <a:pt x="518" y="0"/>
                    <a:pt x="518" y="0"/>
                    <a:pt x="518" y="0"/>
                  </a:cubicBezTo>
                  <a:cubicBezTo>
                    <a:pt x="542" y="41"/>
                    <a:pt x="556" y="89"/>
                    <a:pt x="556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42">
              <a:extLst>
                <a:ext uri="{FF2B5EF4-FFF2-40B4-BE49-F238E27FC236}">
                  <a16:creationId xmlns:a16="http://schemas.microsoft.com/office/drawing/2014/main" id="{91E2A178-552E-476F-AEDA-F519B4623B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4200" y="-26194"/>
              <a:ext cx="12700" cy="3175"/>
            </a:xfrm>
            <a:custGeom>
              <a:avLst/>
              <a:gdLst>
                <a:gd name="T0" fmla="*/ 4 w 4"/>
                <a:gd name="T1" fmla="*/ 0 h 1"/>
                <a:gd name="T2" fmla="*/ 0 w 4"/>
                <a:gd name="T3" fmla="*/ 0 h 1"/>
                <a:gd name="T4" fmla="*/ 0 w 4"/>
                <a:gd name="T5" fmla="*/ 1 h 1"/>
                <a:gd name="T6" fmla="*/ 4 w 4"/>
                <a:gd name="T7" fmla="*/ 1 h 1"/>
                <a:gd name="T8" fmla="*/ 4 w 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43">
              <a:extLst>
                <a:ext uri="{FF2B5EF4-FFF2-40B4-BE49-F238E27FC236}">
                  <a16:creationId xmlns:a16="http://schemas.microsoft.com/office/drawing/2014/main" id="{4B8EF77E-47F9-40B2-BF83-77BF5EC2A1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8975" y="-26194"/>
              <a:ext cx="15875" cy="3175"/>
            </a:xfrm>
            <a:custGeom>
              <a:avLst/>
              <a:gdLst>
                <a:gd name="T0" fmla="*/ 0 w 5"/>
                <a:gd name="T1" fmla="*/ 0 h 1"/>
                <a:gd name="T2" fmla="*/ 1 w 5"/>
                <a:gd name="T3" fmla="*/ 1 h 1"/>
                <a:gd name="T4" fmla="*/ 5 w 5"/>
                <a:gd name="T5" fmla="*/ 1 h 1"/>
                <a:gd name="T6" fmla="*/ 4 w 5"/>
                <a:gd name="T7" fmla="*/ 0 h 1"/>
                <a:gd name="T8" fmla="*/ 0 w 5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">
                  <a:moveTo>
                    <a:pt x="0" y="0"/>
                  </a:moveTo>
                  <a:cubicBezTo>
                    <a:pt x="0" y="1"/>
                    <a:pt x="1" y="1"/>
                    <a:pt x="1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4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44">
              <a:extLst>
                <a:ext uri="{FF2B5EF4-FFF2-40B4-BE49-F238E27FC236}">
                  <a16:creationId xmlns:a16="http://schemas.microsoft.com/office/drawing/2014/main" id="{E6041A9A-462A-44C0-BB57-33EBCF6FB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4025" y="-23019"/>
              <a:ext cx="1651000" cy="1270000"/>
            </a:xfrm>
            <a:custGeom>
              <a:avLst/>
              <a:gdLst>
                <a:gd name="T0" fmla="*/ 517 w 520"/>
                <a:gd name="T1" fmla="*/ 140 h 400"/>
                <a:gd name="T2" fmla="*/ 260 w 520"/>
                <a:gd name="T3" fmla="*/ 397 h 400"/>
                <a:gd name="T4" fmla="*/ 3 w 520"/>
                <a:gd name="T5" fmla="*/ 140 h 400"/>
                <a:gd name="T6" fmla="*/ 45 w 520"/>
                <a:gd name="T7" fmla="*/ 0 h 400"/>
                <a:gd name="T8" fmla="*/ 41 w 520"/>
                <a:gd name="T9" fmla="*/ 0 h 400"/>
                <a:gd name="T10" fmla="*/ 0 w 520"/>
                <a:gd name="T11" fmla="*/ 140 h 400"/>
                <a:gd name="T12" fmla="*/ 260 w 520"/>
                <a:gd name="T13" fmla="*/ 400 h 400"/>
                <a:gd name="T14" fmla="*/ 520 w 520"/>
                <a:gd name="T15" fmla="*/ 140 h 400"/>
                <a:gd name="T16" fmla="*/ 479 w 520"/>
                <a:gd name="T17" fmla="*/ 0 h 400"/>
                <a:gd name="T18" fmla="*/ 475 w 520"/>
                <a:gd name="T19" fmla="*/ 0 h 400"/>
                <a:gd name="T20" fmla="*/ 517 w 520"/>
                <a:gd name="T21" fmla="*/ 14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20" h="400">
                  <a:moveTo>
                    <a:pt x="517" y="140"/>
                  </a:moveTo>
                  <a:cubicBezTo>
                    <a:pt x="517" y="282"/>
                    <a:pt x="401" y="397"/>
                    <a:pt x="260" y="397"/>
                  </a:cubicBezTo>
                  <a:cubicBezTo>
                    <a:pt x="118" y="397"/>
                    <a:pt x="3" y="282"/>
                    <a:pt x="3" y="140"/>
                  </a:cubicBezTo>
                  <a:cubicBezTo>
                    <a:pt x="3" y="88"/>
                    <a:pt x="19" y="40"/>
                    <a:pt x="45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15" y="40"/>
                    <a:pt x="0" y="89"/>
                    <a:pt x="0" y="140"/>
                  </a:cubicBezTo>
                  <a:cubicBezTo>
                    <a:pt x="0" y="284"/>
                    <a:pt x="117" y="400"/>
                    <a:pt x="260" y="400"/>
                  </a:cubicBezTo>
                  <a:cubicBezTo>
                    <a:pt x="403" y="400"/>
                    <a:pt x="520" y="284"/>
                    <a:pt x="520" y="140"/>
                  </a:cubicBezTo>
                  <a:cubicBezTo>
                    <a:pt x="520" y="89"/>
                    <a:pt x="505" y="40"/>
                    <a:pt x="479" y="0"/>
                  </a:cubicBezTo>
                  <a:cubicBezTo>
                    <a:pt x="475" y="0"/>
                    <a:pt x="475" y="0"/>
                    <a:pt x="475" y="0"/>
                  </a:cubicBezTo>
                  <a:cubicBezTo>
                    <a:pt x="501" y="40"/>
                    <a:pt x="517" y="88"/>
                    <a:pt x="517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310F98F8-496B-4E28-8835-0DDC8B332383}"/>
              </a:ext>
            </a:extLst>
          </p:cNvPr>
          <p:cNvGrpSpPr/>
          <p:nvPr userDrawn="1"/>
        </p:nvGrpSpPr>
        <p:grpSpPr>
          <a:xfrm>
            <a:off x="-13334" y="125"/>
            <a:ext cx="3924023" cy="2346065"/>
            <a:chOff x="-3175" y="-26194"/>
            <a:chExt cx="5222875" cy="3122613"/>
          </a:xfrm>
          <a:solidFill>
            <a:schemeClr val="tx1">
              <a:lumMod val="75000"/>
              <a:lumOff val="25000"/>
              <a:alpha val="10000"/>
            </a:schemeClr>
          </a:solidFill>
        </p:grpSpPr>
        <p:sp>
          <p:nvSpPr>
            <p:cNvPr id="63" name="Freeform 45">
              <a:extLst>
                <a:ext uri="{FF2B5EF4-FFF2-40B4-BE49-F238E27FC236}">
                  <a16:creationId xmlns:a16="http://schemas.microsoft.com/office/drawing/2014/main" id="{7A571FAD-0FE9-4DEE-A362-A390602AA4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6200" y="-26194"/>
              <a:ext cx="25400" cy="3175"/>
            </a:xfrm>
            <a:custGeom>
              <a:avLst/>
              <a:gdLst>
                <a:gd name="T0" fmla="*/ 0 w 8"/>
                <a:gd name="T1" fmla="*/ 1 h 1"/>
                <a:gd name="T2" fmla="*/ 8 w 8"/>
                <a:gd name="T3" fmla="*/ 1 h 1"/>
                <a:gd name="T4" fmla="*/ 8 w 8"/>
                <a:gd name="T5" fmla="*/ 0 h 1"/>
                <a:gd name="T6" fmla="*/ 0 w 8"/>
                <a:gd name="T7" fmla="*/ 0 h 1"/>
                <a:gd name="T8" fmla="*/ 0 w 8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0" y="1"/>
                  </a:move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46">
              <a:extLst>
                <a:ext uri="{FF2B5EF4-FFF2-40B4-BE49-F238E27FC236}">
                  <a16:creationId xmlns:a16="http://schemas.microsoft.com/office/drawing/2014/main" id="{BD56B81E-C723-47B1-962F-AF03A08CDBBB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75" y="1126331"/>
              <a:ext cx="25400" cy="168275"/>
            </a:xfrm>
            <a:custGeom>
              <a:avLst/>
              <a:gdLst>
                <a:gd name="T0" fmla="*/ 8 w 8"/>
                <a:gd name="T1" fmla="*/ 27 h 53"/>
                <a:gd name="T2" fmla="*/ 0 w 8"/>
                <a:gd name="T3" fmla="*/ 0 h 53"/>
                <a:gd name="T4" fmla="*/ 0 w 8"/>
                <a:gd name="T5" fmla="*/ 28 h 53"/>
                <a:gd name="T6" fmla="*/ 8 w 8"/>
                <a:gd name="T7" fmla="*/ 53 h 53"/>
                <a:gd name="T8" fmla="*/ 8 w 8"/>
                <a:gd name="T9" fmla="*/ 2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3">
                  <a:moveTo>
                    <a:pt x="8" y="27"/>
                  </a:moveTo>
                  <a:cubicBezTo>
                    <a:pt x="6" y="18"/>
                    <a:pt x="3" y="9"/>
                    <a:pt x="0" y="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3" y="36"/>
                    <a:pt x="6" y="44"/>
                    <a:pt x="8" y="53"/>
                  </a:cubicBezTo>
                  <a:lnTo>
                    <a:pt x="8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47">
              <a:extLst>
                <a:ext uri="{FF2B5EF4-FFF2-40B4-BE49-F238E27FC236}">
                  <a16:creationId xmlns:a16="http://schemas.microsoft.com/office/drawing/2014/main" id="{75F0A97D-03D6-4CD6-8F6E-007EED662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25" y="-23019"/>
              <a:ext cx="5197475" cy="3119438"/>
            </a:xfrm>
            <a:custGeom>
              <a:avLst/>
              <a:gdLst>
                <a:gd name="T0" fmla="*/ 1629 w 1637"/>
                <a:gd name="T1" fmla="*/ 140 h 982"/>
                <a:gd name="T2" fmla="*/ 796 w 1637"/>
                <a:gd name="T3" fmla="*/ 974 h 982"/>
                <a:gd name="T4" fmla="*/ 0 w 1637"/>
                <a:gd name="T5" fmla="*/ 389 h 982"/>
                <a:gd name="T6" fmla="*/ 0 w 1637"/>
                <a:gd name="T7" fmla="*/ 415 h 982"/>
                <a:gd name="T8" fmla="*/ 796 w 1637"/>
                <a:gd name="T9" fmla="*/ 982 h 982"/>
                <a:gd name="T10" fmla="*/ 1637 w 1637"/>
                <a:gd name="T11" fmla="*/ 140 h 982"/>
                <a:gd name="T12" fmla="*/ 1625 w 1637"/>
                <a:gd name="T13" fmla="*/ 0 h 982"/>
                <a:gd name="T14" fmla="*/ 1617 w 1637"/>
                <a:gd name="T15" fmla="*/ 0 h 982"/>
                <a:gd name="T16" fmla="*/ 1629 w 1637"/>
                <a:gd name="T17" fmla="*/ 140 h 9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37" h="982">
                  <a:moveTo>
                    <a:pt x="1629" y="140"/>
                  </a:moveTo>
                  <a:cubicBezTo>
                    <a:pt x="1629" y="600"/>
                    <a:pt x="1255" y="974"/>
                    <a:pt x="796" y="974"/>
                  </a:cubicBezTo>
                  <a:cubicBezTo>
                    <a:pt x="423" y="974"/>
                    <a:pt x="107" y="728"/>
                    <a:pt x="0" y="389"/>
                  </a:cubicBezTo>
                  <a:cubicBezTo>
                    <a:pt x="0" y="415"/>
                    <a:pt x="0" y="415"/>
                    <a:pt x="0" y="415"/>
                  </a:cubicBezTo>
                  <a:cubicBezTo>
                    <a:pt x="115" y="744"/>
                    <a:pt x="428" y="982"/>
                    <a:pt x="796" y="982"/>
                  </a:cubicBezTo>
                  <a:cubicBezTo>
                    <a:pt x="1260" y="982"/>
                    <a:pt x="1637" y="604"/>
                    <a:pt x="1637" y="140"/>
                  </a:cubicBezTo>
                  <a:cubicBezTo>
                    <a:pt x="1637" y="92"/>
                    <a:pt x="1633" y="45"/>
                    <a:pt x="1625" y="0"/>
                  </a:cubicBezTo>
                  <a:cubicBezTo>
                    <a:pt x="1617" y="0"/>
                    <a:pt x="1617" y="0"/>
                    <a:pt x="1617" y="0"/>
                  </a:cubicBezTo>
                  <a:cubicBezTo>
                    <a:pt x="1625" y="45"/>
                    <a:pt x="1629" y="92"/>
                    <a:pt x="1629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48">
              <a:extLst>
                <a:ext uri="{FF2B5EF4-FFF2-40B4-BE49-F238E27FC236}">
                  <a16:creationId xmlns:a16="http://schemas.microsoft.com/office/drawing/2014/main" id="{B5E4596F-2CF7-4E02-B395-9451BEF484D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4750" y="-26194"/>
              <a:ext cx="25400" cy="3175"/>
            </a:xfrm>
            <a:custGeom>
              <a:avLst/>
              <a:gdLst>
                <a:gd name="T0" fmla="*/ 0 w 8"/>
                <a:gd name="T1" fmla="*/ 0 h 1"/>
                <a:gd name="T2" fmla="*/ 0 w 8"/>
                <a:gd name="T3" fmla="*/ 1 h 1"/>
                <a:gd name="T4" fmla="*/ 8 w 8"/>
                <a:gd name="T5" fmla="*/ 1 h 1"/>
                <a:gd name="T6" fmla="*/ 8 w 8"/>
                <a:gd name="T7" fmla="*/ 0 h 1"/>
                <a:gd name="T8" fmla="*/ 0 w 8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49">
              <a:extLst>
                <a:ext uri="{FF2B5EF4-FFF2-40B4-BE49-F238E27FC236}">
                  <a16:creationId xmlns:a16="http://schemas.microsoft.com/office/drawing/2014/main" id="{0FE72423-3B99-46F4-9BEC-3964A003FC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8900" y="-26194"/>
              <a:ext cx="25400" cy="3175"/>
            </a:xfrm>
            <a:custGeom>
              <a:avLst/>
              <a:gdLst>
                <a:gd name="T0" fmla="*/ 8 w 8"/>
                <a:gd name="T1" fmla="*/ 0 h 1"/>
                <a:gd name="T2" fmla="*/ 0 w 8"/>
                <a:gd name="T3" fmla="*/ 0 h 1"/>
                <a:gd name="T4" fmla="*/ 0 w 8"/>
                <a:gd name="T5" fmla="*/ 1 h 1"/>
                <a:gd name="T6" fmla="*/ 8 w 8"/>
                <a:gd name="T7" fmla="*/ 1 h 1"/>
                <a:gd name="T8" fmla="*/ 8 w 8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50">
              <a:extLst>
                <a:ext uri="{FF2B5EF4-FFF2-40B4-BE49-F238E27FC236}">
                  <a16:creationId xmlns:a16="http://schemas.microsoft.com/office/drawing/2014/main" id="{89BB5F30-C1E8-4F42-8C78-98CF487E2E4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25" y="-23019"/>
              <a:ext cx="5003800" cy="2947988"/>
            </a:xfrm>
            <a:custGeom>
              <a:avLst/>
              <a:gdLst>
                <a:gd name="T0" fmla="*/ 1568 w 1576"/>
                <a:gd name="T1" fmla="*/ 140 h 928"/>
                <a:gd name="T2" fmla="*/ 788 w 1576"/>
                <a:gd name="T3" fmla="*/ 920 h 928"/>
                <a:gd name="T4" fmla="*/ 8 w 1576"/>
                <a:gd name="T5" fmla="*/ 140 h 928"/>
                <a:gd name="T6" fmla="*/ 21 w 1576"/>
                <a:gd name="T7" fmla="*/ 0 h 928"/>
                <a:gd name="T8" fmla="*/ 13 w 1576"/>
                <a:gd name="T9" fmla="*/ 0 h 928"/>
                <a:gd name="T10" fmla="*/ 0 w 1576"/>
                <a:gd name="T11" fmla="*/ 140 h 928"/>
                <a:gd name="T12" fmla="*/ 788 w 1576"/>
                <a:gd name="T13" fmla="*/ 928 h 928"/>
                <a:gd name="T14" fmla="*/ 1576 w 1576"/>
                <a:gd name="T15" fmla="*/ 140 h 928"/>
                <a:gd name="T16" fmla="*/ 1563 w 1576"/>
                <a:gd name="T17" fmla="*/ 0 h 928"/>
                <a:gd name="T18" fmla="*/ 1555 w 1576"/>
                <a:gd name="T19" fmla="*/ 0 h 928"/>
                <a:gd name="T20" fmla="*/ 1568 w 1576"/>
                <a:gd name="T21" fmla="*/ 140 h 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76" h="928">
                  <a:moveTo>
                    <a:pt x="1568" y="140"/>
                  </a:moveTo>
                  <a:cubicBezTo>
                    <a:pt x="1568" y="570"/>
                    <a:pt x="1218" y="920"/>
                    <a:pt x="788" y="920"/>
                  </a:cubicBezTo>
                  <a:cubicBezTo>
                    <a:pt x="358" y="920"/>
                    <a:pt x="8" y="570"/>
                    <a:pt x="8" y="140"/>
                  </a:cubicBezTo>
                  <a:cubicBezTo>
                    <a:pt x="8" y="92"/>
                    <a:pt x="13" y="45"/>
                    <a:pt x="21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4" y="45"/>
                    <a:pt x="0" y="92"/>
                    <a:pt x="0" y="140"/>
                  </a:cubicBezTo>
                  <a:cubicBezTo>
                    <a:pt x="0" y="575"/>
                    <a:pt x="354" y="928"/>
                    <a:pt x="788" y="928"/>
                  </a:cubicBezTo>
                  <a:cubicBezTo>
                    <a:pt x="1222" y="928"/>
                    <a:pt x="1576" y="575"/>
                    <a:pt x="1576" y="140"/>
                  </a:cubicBezTo>
                  <a:cubicBezTo>
                    <a:pt x="1576" y="92"/>
                    <a:pt x="1571" y="45"/>
                    <a:pt x="1563" y="0"/>
                  </a:cubicBezTo>
                  <a:cubicBezTo>
                    <a:pt x="1555" y="0"/>
                    <a:pt x="1555" y="0"/>
                    <a:pt x="1555" y="0"/>
                  </a:cubicBezTo>
                  <a:cubicBezTo>
                    <a:pt x="1563" y="45"/>
                    <a:pt x="1568" y="92"/>
                    <a:pt x="1568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51">
              <a:extLst>
                <a:ext uri="{FF2B5EF4-FFF2-40B4-BE49-F238E27FC236}">
                  <a16:creationId xmlns:a16="http://schemas.microsoft.com/office/drawing/2014/main" id="{EA17D0A7-E313-41A0-98CC-2E2867628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175" y="-26194"/>
              <a:ext cx="25400" cy="3175"/>
            </a:xfrm>
            <a:custGeom>
              <a:avLst/>
              <a:gdLst>
                <a:gd name="T0" fmla="*/ 8 w 8"/>
                <a:gd name="T1" fmla="*/ 1 h 1"/>
                <a:gd name="T2" fmla="*/ 8 w 8"/>
                <a:gd name="T3" fmla="*/ 0 h 1"/>
                <a:gd name="T4" fmla="*/ 0 w 8"/>
                <a:gd name="T5" fmla="*/ 0 h 1"/>
                <a:gd name="T6" fmla="*/ 0 w 8"/>
                <a:gd name="T7" fmla="*/ 1 h 1"/>
                <a:gd name="T8" fmla="*/ 8 w 8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8" y="1"/>
                  </a:moveTo>
                  <a:cubicBezTo>
                    <a:pt x="8" y="1"/>
                    <a:pt x="8" y="1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8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52">
              <a:extLst>
                <a:ext uri="{FF2B5EF4-FFF2-40B4-BE49-F238E27FC236}">
                  <a16:creationId xmlns:a16="http://schemas.microsoft.com/office/drawing/2014/main" id="{410B8D16-DFAA-44DB-9F8C-DB5663839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6475" y="-26194"/>
              <a:ext cx="25400" cy="3175"/>
            </a:xfrm>
            <a:custGeom>
              <a:avLst/>
              <a:gdLst>
                <a:gd name="T0" fmla="*/ 0 w 8"/>
                <a:gd name="T1" fmla="*/ 1 h 1"/>
                <a:gd name="T2" fmla="*/ 8 w 8"/>
                <a:gd name="T3" fmla="*/ 1 h 1"/>
                <a:gd name="T4" fmla="*/ 8 w 8"/>
                <a:gd name="T5" fmla="*/ 0 h 1"/>
                <a:gd name="T6" fmla="*/ 0 w 8"/>
                <a:gd name="T7" fmla="*/ 0 h 1"/>
                <a:gd name="T8" fmla="*/ 0 w 8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0" y="1"/>
                  </a:move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53">
              <a:extLst>
                <a:ext uri="{FF2B5EF4-FFF2-40B4-BE49-F238E27FC236}">
                  <a16:creationId xmlns:a16="http://schemas.microsoft.com/office/drawing/2014/main" id="{5914C65B-B85B-439A-AAA5-5C61AD640C5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900" y="-23019"/>
              <a:ext cx="4667250" cy="2782888"/>
            </a:xfrm>
            <a:custGeom>
              <a:avLst/>
              <a:gdLst>
                <a:gd name="T0" fmla="*/ 1462 w 1470"/>
                <a:gd name="T1" fmla="*/ 140 h 876"/>
                <a:gd name="T2" fmla="*/ 735 w 1470"/>
                <a:gd name="T3" fmla="*/ 868 h 876"/>
                <a:gd name="T4" fmla="*/ 7 w 1470"/>
                <a:gd name="T5" fmla="*/ 140 h 876"/>
                <a:gd name="T6" fmla="*/ 21 w 1470"/>
                <a:gd name="T7" fmla="*/ 0 h 876"/>
                <a:gd name="T8" fmla="*/ 13 w 1470"/>
                <a:gd name="T9" fmla="*/ 0 h 876"/>
                <a:gd name="T10" fmla="*/ 0 w 1470"/>
                <a:gd name="T11" fmla="*/ 140 h 876"/>
                <a:gd name="T12" fmla="*/ 735 w 1470"/>
                <a:gd name="T13" fmla="*/ 876 h 876"/>
                <a:gd name="T14" fmla="*/ 1470 w 1470"/>
                <a:gd name="T15" fmla="*/ 140 h 876"/>
                <a:gd name="T16" fmla="*/ 1457 w 1470"/>
                <a:gd name="T17" fmla="*/ 0 h 876"/>
                <a:gd name="T18" fmla="*/ 1449 w 1470"/>
                <a:gd name="T19" fmla="*/ 0 h 876"/>
                <a:gd name="T20" fmla="*/ 1462 w 1470"/>
                <a:gd name="T21" fmla="*/ 140 h 8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0" h="876">
                  <a:moveTo>
                    <a:pt x="1462" y="140"/>
                  </a:moveTo>
                  <a:cubicBezTo>
                    <a:pt x="1462" y="541"/>
                    <a:pt x="1136" y="868"/>
                    <a:pt x="735" y="868"/>
                  </a:cubicBezTo>
                  <a:cubicBezTo>
                    <a:pt x="334" y="868"/>
                    <a:pt x="7" y="541"/>
                    <a:pt x="7" y="140"/>
                  </a:cubicBezTo>
                  <a:cubicBezTo>
                    <a:pt x="7" y="92"/>
                    <a:pt x="12" y="45"/>
                    <a:pt x="21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4" y="45"/>
                    <a:pt x="0" y="92"/>
                    <a:pt x="0" y="140"/>
                  </a:cubicBezTo>
                  <a:cubicBezTo>
                    <a:pt x="0" y="546"/>
                    <a:pt x="329" y="876"/>
                    <a:pt x="735" y="876"/>
                  </a:cubicBezTo>
                  <a:cubicBezTo>
                    <a:pt x="1140" y="876"/>
                    <a:pt x="1470" y="546"/>
                    <a:pt x="1470" y="140"/>
                  </a:cubicBezTo>
                  <a:cubicBezTo>
                    <a:pt x="1470" y="92"/>
                    <a:pt x="1466" y="45"/>
                    <a:pt x="1457" y="0"/>
                  </a:cubicBezTo>
                  <a:cubicBezTo>
                    <a:pt x="1449" y="0"/>
                    <a:pt x="1449" y="0"/>
                    <a:pt x="1449" y="0"/>
                  </a:cubicBezTo>
                  <a:cubicBezTo>
                    <a:pt x="1458" y="45"/>
                    <a:pt x="1462" y="92"/>
                    <a:pt x="1462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54">
              <a:extLst>
                <a:ext uri="{FF2B5EF4-FFF2-40B4-BE49-F238E27FC236}">
                  <a16:creationId xmlns:a16="http://schemas.microsoft.com/office/drawing/2014/main" id="{C7B7B85C-FB66-4A10-A4F3-725A66061E82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8675" y="-26194"/>
              <a:ext cx="25400" cy="3175"/>
            </a:xfrm>
            <a:custGeom>
              <a:avLst/>
              <a:gdLst>
                <a:gd name="T0" fmla="*/ 0 w 8"/>
                <a:gd name="T1" fmla="*/ 0 h 1"/>
                <a:gd name="T2" fmla="*/ 0 w 8"/>
                <a:gd name="T3" fmla="*/ 1 h 1"/>
                <a:gd name="T4" fmla="*/ 8 w 8"/>
                <a:gd name="T5" fmla="*/ 1 h 1"/>
                <a:gd name="T6" fmla="*/ 8 w 8"/>
                <a:gd name="T7" fmla="*/ 0 h 1"/>
                <a:gd name="T8" fmla="*/ 0 w 8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55">
              <a:extLst>
                <a:ext uri="{FF2B5EF4-FFF2-40B4-BE49-F238E27FC236}">
                  <a16:creationId xmlns:a16="http://schemas.microsoft.com/office/drawing/2014/main" id="{4131AC18-190B-4561-AB47-B56120857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975" y="-26194"/>
              <a:ext cx="25400" cy="3175"/>
            </a:xfrm>
            <a:custGeom>
              <a:avLst/>
              <a:gdLst>
                <a:gd name="T0" fmla="*/ 8 w 8"/>
                <a:gd name="T1" fmla="*/ 0 h 1"/>
                <a:gd name="T2" fmla="*/ 0 w 8"/>
                <a:gd name="T3" fmla="*/ 0 h 1"/>
                <a:gd name="T4" fmla="*/ 0 w 8"/>
                <a:gd name="T5" fmla="*/ 1 h 1"/>
                <a:gd name="T6" fmla="*/ 8 w 8"/>
                <a:gd name="T7" fmla="*/ 1 h 1"/>
                <a:gd name="T8" fmla="*/ 8 w 8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56">
              <a:extLst>
                <a:ext uri="{FF2B5EF4-FFF2-40B4-BE49-F238E27FC236}">
                  <a16:creationId xmlns:a16="http://schemas.microsoft.com/office/drawing/2014/main" id="{6032E713-9CAF-445D-9298-FA3467CA938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350" y="-23019"/>
              <a:ext cx="4321175" cy="2608263"/>
            </a:xfrm>
            <a:custGeom>
              <a:avLst/>
              <a:gdLst>
                <a:gd name="T0" fmla="*/ 1353 w 1361"/>
                <a:gd name="T1" fmla="*/ 140 h 821"/>
                <a:gd name="T2" fmla="*/ 681 w 1361"/>
                <a:gd name="T3" fmla="*/ 813 h 821"/>
                <a:gd name="T4" fmla="*/ 8 w 1361"/>
                <a:gd name="T5" fmla="*/ 140 h 821"/>
                <a:gd name="T6" fmla="*/ 23 w 1361"/>
                <a:gd name="T7" fmla="*/ 0 h 821"/>
                <a:gd name="T8" fmla="*/ 15 w 1361"/>
                <a:gd name="T9" fmla="*/ 0 h 821"/>
                <a:gd name="T10" fmla="*/ 0 w 1361"/>
                <a:gd name="T11" fmla="*/ 140 h 821"/>
                <a:gd name="T12" fmla="*/ 681 w 1361"/>
                <a:gd name="T13" fmla="*/ 821 h 821"/>
                <a:gd name="T14" fmla="*/ 1361 w 1361"/>
                <a:gd name="T15" fmla="*/ 140 h 821"/>
                <a:gd name="T16" fmla="*/ 1347 w 1361"/>
                <a:gd name="T17" fmla="*/ 0 h 821"/>
                <a:gd name="T18" fmla="*/ 1339 w 1361"/>
                <a:gd name="T19" fmla="*/ 0 h 821"/>
                <a:gd name="T20" fmla="*/ 1353 w 1361"/>
                <a:gd name="T21" fmla="*/ 140 h 8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61" h="821">
                  <a:moveTo>
                    <a:pt x="1353" y="140"/>
                  </a:moveTo>
                  <a:cubicBezTo>
                    <a:pt x="1353" y="511"/>
                    <a:pt x="1052" y="813"/>
                    <a:pt x="681" y="813"/>
                  </a:cubicBezTo>
                  <a:cubicBezTo>
                    <a:pt x="310" y="813"/>
                    <a:pt x="8" y="511"/>
                    <a:pt x="8" y="140"/>
                  </a:cubicBezTo>
                  <a:cubicBezTo>
                    <a:pt x="8" y="92"/>
                    <a:pt x="13" y="45"/>
                    <a:pt x="23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5" y="45"/>
                    <a:pt x="0" y="92"/>
                    <a:pt x="0" y="140"/>
                  </a:cubicBezTo>
                  <a:cubicBezTo>
                    <a:pt x="0" y="515"/>
                    <a:pt x="306" y="821"/>
                    <a:pt x="681" y="821"/>
                  </a:cubicBezTo>
                  <a:cubicBezTo>
                    <a:pt x="1056" y="821"/>
                    <a:pt x="1361" y="515"/>
                    <a:pt x="1361" y="140"/>
                  </a:cubicBezTo>
                  <a:cubicBezTo>
                    <a:pt x="1361" y="92"/>
                    <a:pt x="1356" y="45"/>
                    <a:pt x="1347" y="0"/>
                  </a:cubicBezTo>
                  <a:cubicBezTo>
                    <a:pt x="1339" y="0"/>
                    <a:pt x="1339" y="0"/>
                    <a:pt x="1339" y="0"/>
                  </a:cubicBezTo>
                  <a:cubicBezTo>
                    <a:pt x="1348" y="45"/>
                    <a:pt x="1353" y="92"/>
                    <a:pt x="1353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57">
              <a:extLst>
                <a:ext uri="{FF2B5EF4-FFF2-40B4-BE49-F238E27FC236}">
                  <a16:creationId xmlns:a16="http://schemas.microsoft.com/office/drawing/2014/main" id="{62A064C6-B796-4755-B8F6-5F1247881D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3100" y="-26194"/>
              <a:ext cx="25400" cy="3175"/>
            </a:xfrm>
            <a:custGeom>
              <a:avLst/>
              <a:gdLst>
                <a:gd name="T0" fmla="*/ 0 w 8"/>
                <a:gd name="T1" fmla="*/ 1 h 1"/>
                <a:gd name="T2" fmla="*/ 8 w 8"/>
                <a:gd name="T3" fmla="*/ 1 h 1"/>
                <a:gd name="T4" fmla="*/ 8 w 8"/>
                <a:gd name="T5" fmla="*/ 0 h 1"/>
                <a:gd name="T6" fmla="*/ 0 w 8"/>
                <a:gd name="T7" fmla="*/ 0 h 1"/>
                <a:gd name="T8" fmla="*/ 0 w 8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0" y="1"/>
                  </a:move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58">
              <a:extLst>
                <a:ext uri="{FF2B5EF4-FFF2-40B4-BE49-F238E27FC236}">
                  <a16:creationId xmlns:a16="http://schemas.microsoft.com/office/drawing/2014/main" id="{C3CEC362-4AFD-4419-A6D5-01BFBAEADBF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550" y="-26194"/>
              <a:ext cx="25400" cy="3175"/>
            </a:xfrm>
            <a:custGeom>
              <a:avLst/>
              <a:gdLst>
                <a:gd name="T0" fmla="*/ 8 w 8"/>
                <a:gd name="T1" fmla="*/ 1 h 1"/>
                <a:gd name="T2" fmla="*/ 8 w 8"/>
                <a:gd name="T3" fmla="*/ 0 h 1"/>
                <a:gd name="T4" fmla="*/ 0 w 8"/>
                <a:gd name="T5" fmla="*/ 0 h 1"/>
                <a:gd name="T6" fmla="*/ 0 w 8"/>
                <a:gd name="T7" fmla="*/ 1 h 1"/>
                <a:gd name="T8" fmla="*/ 8 w 8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8" y="1"/>
                  </a:moveTo>
                  <a:cubicBezTo>
                    <a:pt x="8" y="1"/>
                    <a:pt x="8" y="1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8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59">
              <a:extLst>
                <a:ext uri="{FF2B5EF4-FFF2-40B4-BE49-F238E27FC236}">
                  <a16:creationId xmlns:a16="http://schemas.microsoft.com/office/drawing/2014/main" id="{5B843EE8-F7B5-46DD-8CD2-EF3D67D26C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750" y="-23019"/>
              <a:ext cx="4019550" cy="2455863"/>
            </a:xfrm>
            <a:custGeom>
              <a:avLst/>
              <a:gdLst>
                <a:gd name="T0" fmla="*/ 1258 w 1266"/>
                <a:gd name="T1" fmla="*/ 140 h 773"/>
                <a:gd name="T2" fmla="*/ 633 w 1266"/>
                <a:gd name="T3" fmla="*/ 765 h 773"/>
                <a:gd name="T4" fmla="*/ 8 w 1266"/>
                <a:gd name="T5" fmla="*/ 140 h 773"/>
                <a:gd name="T6" fmla="*/ 24 w 1266"/>
                <a:gd name="T7" fmla="*/ 0 h 773"/>
                <a:gd name="T8" fmla="*/ 16 w 1266"/>
                <a:gd name="T9" fmla="*/ 0 h 773"/>
                <a:gd name="T10" fmla="*/ 0 w 1266"/>
                <a:gd name="T11" fmla="*/ 140 h 773"/>
                <a:gd name="T12" fmla="*/ 633 w 1266"/>
                <a:gd name="T13" fmla="*/ 773 h 773"/>
                <a:gd name="T14" fmla="*/ 1266 w 1266"/>
                <a:gd name="T15" fmla="*/ 140 h 773"/>
                <a:gd name="T16" fmla="*/ 1250 w 1266"/>
                <a:gd name="T17" fmla="*/ 0 h 773"/>
                <a:gd name="T18" fmla="*/ 1242 w 1266"/>
                <a:gd name="T19" fmla="*/ 0 h 773"/>
                <a:gd name="T20" fmla="*/ 1258 w 1266"/>
                <a:gd name="T21" fmla="*/ 140 h 7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66" h="773">
                  <a:moveTo>
                    <a:pt x="1258" y="140"/>
                  </a:moveTo>
                  <a:cubicBezTo>
                    <a:pt x="1258" y="485"/>
                    <a:pt x="977" y="765"/>
                    <a:pt x="633" y="765"/>
                  </a:cubicBezTo>
                  <a:cubicBezTo>
                    <a:pt x="288" y="765"/>
                    <a:pt x="8" y="485"/>
                    <a:pt x="8" y="140"/>
                  </a:cubicBezTo>
                  <a:cubicBezTo>
                    <a:pt x="8" y="92"/>
                    <a:pt x="14" y="45"/>
                    <a:pt x="24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5" y="45"/>
                    <a:pt x="0" y="92"/>
                    <a:pt x="0" y="140"/>
                  </a:cubicBezTo>
                  <a:cubicBezTo>
                    <a:pt x="0" y="489"/>
                    <a:pt x="284" y="773"/>
                    <a:pt x="633" y="773"/>
                  </a:cubicBezTo>
                  <a:cubicBezTo>
                    <a:pt x="982" y="773"/>
                    <a:pt x="1266" y="489"/>
                    <a:pt x="1266" y="140"/>
                  </a:cubicBezTo>
                  <a:cubicBezTo>
                    <a:pt x="1266" y="92"/>
                    <a:pt x="1260" y="45"/>
                    <a:pt x="1250" y="0"/>
                  </a:cubicBezTo>
                  <a:cubicBezTo>
                    <a:pt x="1242" y="0"/>
                    <a:pt x="1242" y="0"/>
                    <a:pt x="1242" y="0"/>
                  </a:cubicBezTo>
                  <a:cubicBezTo>
                    <a:pt x="1252" y="45"/>
                    <a:pt x="1258" y="92"/>
                    <a:pt x="1258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1F0C7CAB-C81C-41B5-A18B-B0F8A4839BBB}"/>
              </a:ext>
            </a:extLst>
          </p:cNvPr>
          <p:cNvGrpSpPr/>
          <p:nvPr userDrawn="1"/>
        </p:nvGrpSpPr>
        <p:grpSpPr>
          <a:xfrm>
            <a:off x="3032411" y="173037"/>
            <a:ext cx="1497013" cy="1435100"/>
            <a:chOff x="688975" y="-5719961"/>
            <a:chExt cx="1497013" cy="1435100"/>
          </a:xfrm>
          <a:solidFill>
            <a:schemeClr val="tx1">
              <a:lumMod val="75000"/>
              <a:lumOff val="25000"/>
              <a:alpha val="5000"/>
            </a:schemeClr>
          </a:solidFill>
        </p:grpSpPr>
        <p:sp>
          <p:nvSpPr>
            <p:cNvPr id="79" name="Freeform 22">
              <a:extLst>
                <a:ext uri="{FF2B5EF4-FFF2-40B4-BE49-F238E27FC236}">
                  <a16:creationId xmlns:a16="http://schemas.microsoft.com/office/drawing/2014/main" id="{553B9D43-8545-4435-84A1-53ABA903152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450" y="-5583436"/>
              <a:ext cx="1008063" cy="60325"/>
            </a:xfrm>
            <a:custGeom>
              <a:avLst/>
              <a:gdLst>
                <a:gd name="T0" fmla="*/ 294 w 318"/>
                <a:gd name="T1" fmla="*/ 0 h 19"/>
                <a:gd name="T2" fmla="*/ 24 w 318"/>
                <a:gd name="T3" fmla="*/ 0 h 19"/>
                <a:gd name="T4" fmla="*/ 0 w 318"/>
                <a:gd name="T5" fmla="*/ 19 h 19"/>
                <a:gd name="T6" fmla="*/ 318 w 318"/>
                <a:gd name="T7" fmla="*/ 19 h 19"/>
                <a:gd name="T8" fmla="*/ 294 w 318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8" h="19">
                  <a:moveTo>
                    <a:pt x="29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16" y="6"/>
                    <a:pt x="8" y="12"/>
                    <a:pt x="0" y="19"/>
                  </a:cubicBezTo>
                  <a:cubicBezTo>
                    <a:pt x="318" y="19"/>
                    <a:pt x="318" y="19"/>
                    <a:pt x="318" y="19"/>
                  </a:cubicBezTo>
                  <a:cubicBezTo>
                    <a:pt x="310" y="12"/>
                    <a:pt x="302" y="6"/>
                    <a:pt x="294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23">
              <a:extLst>
                <a:ext uri="{FF2B5EF4-FFF2-40B4-BE49-F238E27FC236}">
                  <a16:creationId xmlns:a16="http://schemas.microsoft.com/office/drawing/2014/main" id="{1708E765-3EF5-41B7-B351-A206BED329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9350" y="-5719961"/>
              <a:ext cx="576263" cy="57150"/>
            </a:xfrm>
            <a:custGeom>
              <a:avLst/>
              <a:gdLst>
                <a:gd name="T0" fmla="*/ 91 w 182"/>
                <a:gd name="T1" fmla="*/ 0 h 18"/>
                <a:gd name="T2" fmla="*/ 0 w 182"/>
                <a:gd name="T3" fmla="*/ 18 h 18"/>
                <a:gd name="T4" fmla="*/ 182 w 182"/>
                <a:gd name="T5" fmla="*/ 18 h 18"/>
                <a:gd name="T6" fmla="*/ 91 w 182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2" h="18">
                  <a:moveTo>
                    <a:pt x="91" y="0"/>
                  </a:moveTo>
                  <a:cubicBezTo>
                    <a:pt x="59" y="0"/>
                    <a:pt x="28" y="7"/>
                    <a:pt x="0" y="18"/>
                  </a:cubicBezTo>
                  <a:cubicBezTo>
                    <a:pt x="182" y="18"/>
                    <a:pt x="182" y="18"/>
                    <a:pt x="182" y="18"/>
                  </a:cubicBezTo>
                  <a:cubicBezTo>
                    <a:pt x="154" y="7"/>
                    <a:pt x="123" y="0"/>
                    <a:pt x="9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24">
              <a:extLst>
                <a:ext uri="{FF2B5EF4-FFF2-40B4-BE49-F238E27FC236}">
                  <a16:creationId xmlns:a16="http://schemas.microsoft.com/office/drawing/2014/main" id="{0401B17B-0A44-4A98-979C-854945345432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975" y="-5446911"/>
              <a:ext cx="1243013" cy="60325"/>
            </a:xfrm>
            <a:custGeom>
              <a:avLst/>
              <a:gdLst>
                <a:gd name="T0" fmla="*/ 378 w 392"/>
                <a:gd name="T1" fmla="*/ 0 h 19"/>
                <a:gd name="T2" fmla="*/ 14 w 392"/>
                <a:gd name="T3" fmla="*/ 0 h 19"/>
                <a:gd name="T4" fmla="*/ 0 w 392"/>
                <a:gd name="T5" fmla="*/ 19 h 19"/>
                <a:gd name="T6" fmla="*/ 392 w 392"/>
                <a:gd name="T7" fmla="*/ 19 h 19"/>
                <a:gd name="T8" fmla="*/ 378 w 392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2" h="19">
                  <a:moveTo>
                    <a:pt x="378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9" y="6"/>
                    <a:pt x="4" y="12"/>
                    <a:pt x="0" y="19"/>
                  </a:cubicBezTo>
                  <a:cubicBezTo>
                    <a:pt x="392" y="19"/>
                    <a:pt x="392" y="19"/>
                    <a:pt x="392" y="19"/>
                  </a:cubicBezTo>
                  <a:cubicBezTo>
                    <a:pt x="387" y="12"/>
                    <a:pt x="383" y="6"/>
                    <a:pt x="378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25">
              <a:extLst>
                <a:ext uri="{FF2B5EF4-FFF2-40B4-BE49-F238E27FC236}">
                  <a16:creationId xmlns:a16="http://schemas.microsoft.com/office/drawing/2014/main" id="{D20B4BFB-255B-47EA-BC2B-8F1B03692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742950" y="-5310386"/>
              <a:ext cx="1389063" cy="60325"/>
            </a:xfrm>
            <a:custGeom>
              <a:avLst/>
              <a:gdLst>
                <a:gd name="T0" fmla="*/ 429 w 438"/>
                <a:gd name="T1" fmla="*/ 0 h 19"/>
                <a:gd name="T2" fmla="*/ 9 w 438"/>
                <a:gd name="T3" fmla="*/ 0 h 19"/>
                <a:gd name="T4" fmla="*/ 0 w 438"/>
                <a:gd name="T5" fmla="*/ 19 h 19"/>
                <a:gd name="T6" fmla="*/ 438 w 438"/>
                <a:gd name="T7" fmla="*/ 19 h 19"/>
                <a:gd name="T8" fmla="*/ 429 w 438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8" h="19">
                  <a:moveTo>
                    <a:pt x="42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5" y="7"/>
                    <a:pt x="3" y="13"/>
                    <a:pt x="0" y="19"/>
                  </a:cubicBezTo>
                  <a:cubicBezTo>
                    <a:pt x="438" y="19"/>
                    <a:pt x="438" y="19"/>
                    <a:pt x="438" y="19"/>
                  </a:cubicBezTo>
                  <a:cubicBezTo>
                    <a:pt x="435" y="13"/>
                    <a:pt x="432" y="7"/>
                    <a:pt x="429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26">
              <a:extLst>
                <a:ext uri="{FF2B5EF4-FFF2-40B4-BE49-F238E27FC236}">
                  <a16:creationId xmlns:a16="http://schemas.microsoft.com/office/drawing/2014/main" id="{403EDC1D-E79E-4E8C-A336-3F824231E1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675" y="-5170686"/>
              <a:ext cx="1468438" cy="60325"/>
            </a:xfrm>
            <a:custGeom>
              <a:avLst/>
              <a:gdLst>
                <a:gd name="T0" fmla="*/ 459 w 463"/>
                <a:gd name="T1" fmla="*/ 0 h 19"/>
                <a:gd name="T2" fmla="*/ 5 w 463"/>
                <a:gd name="T3" fmla="*/ 0 h 19"/>
                <a:gd name="T4" fmla="*/ 0 w 463"/>
                <a:gd name="T5" fmla="*/ 19 h 19"/>
                <a:gd name="T6" fmla="*/ 463 w 463"/>
                <a:gd name="T7" fmla="*/ 19 h 19"/>
                <a:gd name="T8" fmla="*/ 459 w 463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3" h="19">
                  <a:moveTo>
                    <a:pt x="45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3" y="6"/>
                    <a:pt x="2" y="12"/>
                    <a:pt x="0" y="19"/>
                  </a:cubicBezTo>
                  <a:cubicBezTo>
                    <a:pt x="463" y="19"/>
                    <a:pt x="463" y="19"/>
                    <a:pt x="463" y="19"/>
                  </a:cubicBezTo>
                  <a:cubicBezTo>
                    <a:pt x="462" y="12"/>
                    <a:pt x="461" y="6"/>
                    <a:pt x="459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27">
              <a:extLst>
                <a:ext uri="{FF2B5EF4-FFF2-40B4-BE49-F238E27FC236}">
                  <a16:creationId xmlns:a16="http://schemas.microsoft.com/office/drawing/2014/main" id="{774E66D5-B2F9-4D3E-9339-CDF5E97757CD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975" y="-5034161"/>
              <a:ext cx="1497013" cy="60325"/>
            </a:xfrm>
            <a:custGeom>
              <a:avLst/>
              <a:gdLst>
                <a:gd name="T0" fmla="*/ 471 w 472"/>
                <a:gd name="T1" fmla="*/ 0 h 19"/>
                <a:gd name="T2" fmla="*/ 1 w 472"/>
                <a:gd name="T3" fmla="*/ 0 h 19"/>
                <a:gd name="T4" fmla="*/ 0 w 472"/>
                <a:gd name="T5" fmla="*/ 19 h 19"/>
                <a:gd name="T6" fmla="*/ 472 w 472"/>
                <a:gd name="T7" fmla="*/ 19 h 19"/>
                <a:gd name="T8" fmla="*/ 471 w 472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2" h="19">
                  <a:moveTo>
                    <a:pt x="47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6"/>
                    <a:pt x="0" y="13"/>
                    <a:pt x="0" y="19"/>
                  </a:cubicBezTo>
                  <a:cubicBezTo>
                    <a:pt x="472" y="19"/>
                    <a:pt x="472" y="19"/>
                    <a:pt x="472" y="19"/>
                  </a:cubicBezTo>
                  <a:cubicBezTo>
                    <a:pt x="471" y="13"/>
                    <a:pt x="471" y="6"/>
                    <a:pt x="47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28">
              <a:extLst>
                <a:ext uri="{FF2B5EF4-FFF2-40B4-BE49-F238E27FC236}">
                  <a16:creationId xmlns:a16="http://schemas.microsoft.com/office/drawing/2014/main" id="{69E318F6-7B62-4A96-BE73-C5F3184F0D0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150" y="-4897636"/>
              <a:ext cx="1487488" cy="60325"/>
            </a:xfrm>
            <a:custGeom>
              <a:avLst/>
              <a:gdLst>
                <a:gd name="T0" fmla="*/ 469 w 469"/>
                <a:gd name="T1" fmla="*/ 0 h 19"/>
                <a:gd name="T2" fmla="*/ 0 w 469"/>
                <a:gd name="T3" fmla="*/ 0 h 19"/>
                <a:gd name="T4" fmla="*/ 3 w 469"/>
                <a:gd name="T5" fmla="*/ 19 h 19"/>
                <a:gd name="T6" fmla="*/ 467 w 469"/>
                <a:gd name="T7" fmla="*/ 19 h 19"/>
                <a:gd name="T8" fmla="*/ 469 w 469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9" h="19">
                  <a:moveTo>
                    <a:pt x="46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7"/>
                    <a:pt x="2" y="13"/>
                    <a:pt x="3" y="19"/>
                  </a:cubicBezTo>
                  <a:cubicBezTo>
                    <a:pt x="467" y="19"/>
                    <a:pt x="467" y="19"/>
                    <a:pt x="467" y="19"/>
                  </a:cubicBezTo>
                  <a:cubicBezTo>
                    <a:pt x="468" y="13"/>
                    <a:pt x="469" y="7"/>
                    <a:pt x="469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29">
              <a:extLst>
                <a:ext uri="{FF2B5EF4-FFF2-40B4-BE49-F238E27FC236}">
                  <a16:creationId xmlns:a16="http://schemas.microsoft.com/office/drawing/2014/main" id="{7E60674A-BACD-43CD-8B7F-9017E68D62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725" y="-4757936"/>
              <a:ext cx="1433513" cy="60325"/>
            </a:xfrm>
            <a:custGeom>
              <a:avLst/>
              <a:gdLst>
                <a:gd name="T0" fmla="*/ 452 w 452"/>
                <a:gd name="T1" fmla="*/ 0 h 19"/>
                <a:gd name="T2" fmla="*/ 0 w 452"/>
                <a:gd name="T3" fmla="*/ 0 h 19"/>
                <a:gd name="T4" fmla="*/ 6 w 452"/>
                <a:gd name="T5" fmla="*/ 19 h 19"/>
                <a:gd name="T6" fmla="*/ 445 w 452"/>
                <a:gd name="T7" fmla="*/ 19 h 19"/>
                <a:gd name="T8" fmla="*/ 452 w 452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2" h="19">
                  <a:moveTo>
                    <a:pt x="45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6"/>
                    <a:pt x="4" y="12"/>
                    <a:pt x="6" y="19"/>
                  </a:cubicBezTo>
                  <a:cubicBezTo>
                    <a:pt x="445" y="19"/>
                    <a:pt x="445" y="19"/>
                    <a:pt x="445" y="19"/>
                  </a:cubicBezTo>
                  <a:cubicBezTo>
                    <a:pt x="448" y="12"/>
                    <a:pt x="450" y="6"/>
                    <a:pt x="45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30">
              <a:extLst>
                <a:ext uri="{FF2B5EF4-FFF2-40B4-BE49-F238E27FC236}">
                  <a16:creationId xmlns:a16="http://schemas.microsoft.com/office/drawing/2014/main" id="{F4DB92E0-43AC-4F81-89AD-8985C9205326}"/>
                </a:ext>
              </a:extLst>
            </p:cNvPr>
            <p:cNvSpPr>
              <a:spLocks/>
            </p:cNvSpPr>
            <p:nvPr/>
          </p:nvSpPr>
          <p:spPr bwMode="auto">
            <a:xfrm>
              <a:off x="777875" y="-4621411"/>
              <a:ext cx="1319213" cy="60325"/>
            </a:xfrm>
            <a:custGeom>
              <a:avLst/>
              <a:gdLst>
                <a:gd name="T0" fmla="*/ 416 w 416"/>
                <a:gd name="T1" fmla="*/ 0 h 19"/>
                <a:gd name="T2" fmla="*/ 0 w 416"/>
                <a:gd name="T3" fmla="*/ 0 h 19"/>
                <a:gd name="T4" fmla="*/ 11 w 416"/>
                <a:gd name="T5" fmla="*/ 19 h 19"/>
                <a:gd name="T6" fmla="*/ 405 w 416"/>
                <a:gd name="T7" fmla="*/ 19 h 19"/>
                <a:gd name="T8" fmla="*/ 416 w 416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6" h="19">
                  <a:moveTo>
                    <a:pt x="41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" y="7"/>
                    <a:pt x="7" y="13"/>
                    <a:pt x="11" y="19"/>
                  </a:cubicBezTo>
                  <a:cubicBezTo>
                    <a:pt x="405" y="19"/>
                    <a:pt x="405" y="19"/>
                    <a:pt x="405" y="19"/>
                  </a:cubicBezTo>
                  <a:cubicBezTo>
                    <a:pt x="409" y="13"/>
                    <a:pt x="413" y="7"/>
                    <a:pt x="416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31">
              <a:extLst>
                <a:ext uri="{FF2B5EF4-FFF2-40B4-BE49-F238E27FC236}">
                  <a16:creationId xmlns:a16="http://schemas.microsoft.com/office/drawing/2014/main" id="{19DC0AD1-8BCD-40BD-AFA9-9E86D9D7619A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950" y="-4484886"/>
              <a:ext cx="1135063" cy="60325"/>
            </a:xfrm>
            <a:custGeom>
              <a:avLst/>
              <a:gdLst>
                <a:gd name="T0" fmla="*/ 358 w 358"/>
                <a:gd name="T1" fmla="*/ 0 h 19"/>
                <a:gd name="T2" fmla="*/ 0 w 358"/>
                <a:gd name="T3" fmla="*/ 0 h 19"/>
                <a:gd name="T4" fmla="*/ 18 w 358"/>
                <a:gd name="T5" fmla="*/ 19 h 19"/>
                <a:gd name="T6" fmla="*/ 339 w 358"/>
                <a:gd name="T7" fmla="*/ 19 h 19"/>
                <a:gd name="T8" fmla="*/ 358 w 358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8" h="19">
                  <a:moveTo>
                    <a:pt x="35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" y="7"/>
                    <a:pt x="12" y="13"/>
                    <a:pt x="18" y="19"/>
                  </a:cubicBezTo>
                  <a:cubicBezTo>
                    <a:pt x="339" y="19"/>
                    <a:pt x="339" y="19"/>
                    <a:pt x="339" y="19"/>
                  </a:cubicBezTo>
                  <a:cubicBezTo>
                    <a:pt x="346" y="13"/>
                    <a:pt x="352" y="7"/>
                    <a:pt x="358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32">
              <a:extLst>
                <a:ext uri="{FF2B5EF4-FFF2-40B4-BE49-F238E27FC236}">
                  <a16:creationId xmlns:a16="http://schemas.microsoft.com/office/drawing/2014/main" id="{53CD8091-772D-4EA7-ACC8-68B12D4370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5525" y="-4345186"/>
              <a:ext cx="820738" cy="60325"/>
            </a:xfrm>
            <a:custGeom>
              <a:avLst/>
              <a:gdLst>
                <a:gd name="T0" fmla="*/ 259 w 259"/>
                <a:gd name="T1" fmla="*/ 0 h 19"/>
                <a:gd name="T2" fmla="*/ 0 w 259"/>
                <a:gd name="T3" fmla="*/ 0 h 19"/>
                <a:gd name="T4" fmla="*/ 35 w 259"/>
                <a:gd name="T5" fmla="*/ 19 h 19"/>
                <a:gd name="T6" fmla="*/ 225 w 259"/>
                <a:gd name="T7" fmla="*/ 19 h 19"/>
                <a:gd name="T8" fmla="*/ 259 w 259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9" h="19">
                  <a:moveTo>
                    <a:pt x="25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1" y="7"/>
                    <a:pt x="23" y="13"/>
                    <a:pt x="35" y="19"/>
                  </a:cubicBezTo>
                  <a:cubicBezTo>
                    <a:pt x="225" y="19"/>
                    <a:pt x="225" y="19"/>
                    <a:pt x="225" y="19"/>
                  </a:cubicBezTo>
                  <a:cubicBezTo>
                    <a:pt x="237" y="13"/>
                    <a:pt x="248" y="7"/>
                    <a:pt x="259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1690047-4235-43F0-9F2A-44A8E93985C0}"/>
              </a:ext>
            </a:extLst>
          </p:cNvPr>
          <p:cNvCxnSpPr/>
          <p:nvPr userDrawn="1"/>
        </p:nvCxnSpPr>
        <p:spPr>
          <a:xfrm>
            <a:off x="9596819" y="6389084"/>
            <a:ext cx="0" cy="166687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7178CB75-44D5-4455-AF00-3EE241BA60A5}"/>
              </a:ext>
            </a:extLst>
          </p:cNvPr>
          <p:cNvSpPr txBox="1"/>
          <p:nvPr userDrawn="1"/>
        </p:nvSpPr>
        <p:spPr>
          <a:xfrm>
            <a:off x="6389517" y="6247955"/>
            <a:ext cx="2551789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300" b="1" spc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Company </a:t>
            </a:r>
            <a:r>
              <a:rPr lang="en-US" sz="2300" b="1" kern="1200" spc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Profil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3E3F71F8-364C-494F-BE6B-35DB365FE1BC}"/>
              </a:ext>
            </a:extLst>
          </p:cNvPr>
          <p:cNvGrpSpPr/>
          <p:nvPr userDrawn="1"/>
        </p:nvGrpSpPr>
        <p:grpSpPr>
          <a:xfrm>
            <a:off x="5956285" y="6264918"/>
            <a:ext cx="390675" cy="386876"/>
            <a:chOff x="942242" y="2841978"/>
            <a:chExt cx="1226108" cy="1214181"/>
          </a:xfrm>
        </p:grpSpPr>
        <p:sp>
          <p:nvSpPr>
            <p:cNvPr id="33" name="Freeform 63">
              <a:extLst>
                <a:ext uri="{FF2B5EF4-FFF2-40B4-BE49-F238E27FC236}">
                  <a16:creationId xmlns:a16="http://schemas.microsoft.com/office/drawing/2014/main" id="{62FDB4D7-C79E-43F4-B30D-58756C4DC5B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42242" y="2841978"/>
              <a:ext cx="1226108" cy="1211796"/>
            </a:xfrm>
            <a:custGeom>
              <a:avLst/>
              <a:gdLst>
                <a:gd name="T0" fmla="*/ 198 w 431"/>
                <a:gd name="T1" fmla="*/ 393 h 426"/>
                <a:gd name="T2" fmla="*/ 53 w 431"/>
                <a:gd name="T3" fmla="*/ 393 h 426"/>
                <a:gd name="T4" fmla="*/ 39 w 431"/>
                <a:gd name="T5" fmla="*/ 386 h 426"/>
                <a:gd name="T6" fmla="*/ 37 w 431"/>
                <a:gd name="T7" fmla="*/ 371 h 426"/>
                <a:gd name="T8" fmla="*/ 159 w 431"/>
                <a:gd name="T9" fmla="*/ 284 h 426"/>
                <a:gd name="T10" fmla="*/ 231 w 431"/>
                <a:gd name="T11" fmla="*/ 307 h 426"/>
                <a:gd name="T12" fmla="*/ 254 w 431"/>
                <a:gd name="T13" fmla="*/ 303 h 426"/>
                <a:gd name="T14" fmla="*/ 250 w 431"/>
                <a:gd name="T15" fmla="*/ 280 h 426"/>
                <a:gd name="T16" fmla="*/ 216 w 431"/>
                <a:gd name="T17" fmla="*/ 262 h 426"/>
                <a:gd name="T18" fmla="*/ 244 w 431"/>
                <a:gd name="T19" fmla="*/ 206 h 426"/>
                <a:gd name="T20" fmla="*/ 331 w 431"/>
                <a:gd name="T21" fmla="*/ 171 h 426"/>
                <a:gd name="T22" fmla="*/ 403 w 431"/>
                <a:gd name="T23" fmla="*/ 193 h 426"/>
                <a:gd name="T24" fmla="*/ 426 w 431"/>
                <a:gd name="T25" fmla="*/ 189 h 426"/>
                <a:gd name="T26" fmla="*/ 422 w 431"/>
                <a:gd name="T27" fmla="*/ 166 h 426"/>
                <a:gd name="T28" fmla="*/ 389 w 431"/>
                <a:gd name="T29" fmla="*/ 148 h 426"/>
                <a:gd name="T30" fmla="*/ 416 w 431"/>
                <a:gd name="T31" fmla="*/ 85 h 426"/>
                <a:gd name="T32" fmla="*/ 332 w 431"/>
                <a:gd name="T33" fmla="*/ 0 h 426"/>
                <a:gd name="T34" fmla="*/ 247 w 431"/>
                <a:gd name="T35" fmla="*/ 85 h 426"/>
                <a:gd name="T36" fmla="*/ 274 w 431"/>
                <a:gd name="T37" fmla="*/ 148 h 426"/>
                <a:gd name="T38" fmla="*/ 267 w 431"/>
                <a:gd name="T39" fmla="*/ 151 h 426"/>
                <a:gd name="T40" fmla="*/ 238 w 431"/>
                <a:gd name="T41" fmla="*/ 168 h 426"/>
                <a:gd name="T42" fmla="*/ 159 w 431"/>
                <a:gd name="T43" fmla="*/ 114 h 426"/>
                <a:gd name="T44" fmla="*/ 75 w 431"/>
                <a:gd name="T45" fmla="*/ 199 h 426"/>
                <a:gd name="T46" fmla="*/ 102 w 431"/>
                <a:gd name="T47" fmla="*/ 262 h 426"/>
                <a:gd name="T48" fmla="*/ 5 w 431"/>
                <a:gd name="T49" fmla="*/ 361 h 426"/>
                <a:gd name="T50" fmla="*/ 13 w 431"/>
                <a:gd name="T51" fmla="*/ 406 h 426"/>
                <a:gd name="T52" fmla="*/ 53 w 431"/>
                <a:gd name="T53" fmla="*/ 426 h 426"/>
                <a:gd name="T54" fmla="*/ 198 w 431"/>
                <a:gd name="T55" fmla="*/ 426 h 426"/>
                <a:gd name="T56" fmla="*/ 214 w 431"/>
                <a:gd name="T57" fmla="*/ 410 h 426"/>
                <a:gd name="T58" fmla="*/ 198 w 431"/>
                <a:gd name="T59" fmla="*/ 393 h 426"/>
                <a:gd name="T60" fmla="*/ 332 w 431"/>
                <a:gd name="T61" fmla="*/ 34 h 426"/>
                <a:gd name="T62" fmla="*/ 383 w 431"/>
                <a:gd name="T63" fmla="*/ 85 h 426"/>
                <a:gd name="T64" fmla="*/ 332 w 431"/>
                <a:gd name="T65" fmla="*/ 137 h 426"/>
                <a:gd name="T66" fmla="*/ 280 w 431"/>
                <a:gd name="T67" fmla="*/ 85 h 426"/>
                <a:gd name="T68" fmla="*/ 332 w 431"/>
                <a:gd name="T69" fmla="*/ 34 h 426"/>
                <a:gd name="T70" fmla="*/ 159 w 431"/>
                <a:gd name="T71" fmla="*/ 148 h 426"/>
                <a:gd name="T72" fmla="*/ 211 w 431"/>
                <a:gd name="T73" fmla="*/ 199 h 426"/>
                <a:gd name="T74" fmla="*/ 159 w 431"/>
                <a:gd name="T75" fmla="*/ 251 h 426"/>
                <a:gd name="T76" fmla="*/ 108 w 431"/>
                <a:gd name="T77" fmla="*/ 199 h 426"/>
                <a:gd name="T78" fmla="*/ 159 w 431"/>
                <a:gd name="T79" fmla="*/ 148 h 426"/>
                <a:gd name="T80" fmla="*/ 159 w 431"/>
                <a:gd name="T81" fmla="*/ 148 h 426"/>
                <a:gd name="T82" fmla="*/ 159 w 431"/>
                <a:gd name="T83" fmla="*/ 148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31" h="426">
                  <a:moveTo>
                    <a:pt x="198" y="393"/>
                  </a:moveTo>
                  <a:cubicBezTo>
                    <a:pt x="53" y="393"/>
                    <a:pt x="53" y="393"/>
                    <a:pt x="53" y="393"/>
                  </a:cubicBezTo>
                  <a:cubicBezTo>
                    <a:pt x="48" y="393"/>
                    <a:pt x="43" y="391"/>
                    <a:pt x="39" y="386"/>
                  </a:cubicBezTo>
                  <a:cubicBezTo>
                    <a:pt x="36" y="382"/>
                    <a:pt x="35" y="376"/>
                    <a:pt x="37" y="371"/>
                  </a:cubicBezTo>
                  <a:cubicBezTo>
                    <a:pt x="54" y="320"/>
                    <a:pt x="104" y="284"/>
                    <a:pt x="159" y="284"/>
                  </a:cubicBezTo>
                  <a:cubicBezTo>
                    <a:pt x="185" y="284"/>
                    <a:pt x="210" y="292"/>
                    <a:pt x="231" y="307"/>
                  </a:cubicBezTo>
                  <a:cubicBezTo>
                    <a:pt x="238" y="312"/>
                    <a:pt x="248" y="310"/>
                    <a:pt x="254" y="303"/>
                  </a:cubicBezTo>
                  <a:cubicBezTo>
                    <a:pt x="259" y="295"/>
                    <a:pt x="257" y="285"/>
                    <a:pt x="250" y="280"/>
                  </a:cubicBezTo>
                  <a:cubicBezTo>
                    <a:pt x="239" y="272"/>
                    <a:pt x="228" y="266"/>
                    <a:pt x="216" y="262"/>
                  </a:cubicBezTo>
                  <a:cubicBezTo>
                    <a:pt x="232" y="248"/>
                    <a:pt x="242" y="228"/>
                    <a:pt x="244" y="206"/>
                  </a:cubicBezTo>
                  <a:cubicBezTo>
                    <a:pt x="267" y="183"/>
                    <a:pt x="298" y="171"/>
                    <a:pt x="331" y="171"/>
                  </a:cubicBezTo>
                  <a:cubicBezTo>
                    <a:pt x="357" y="171"/>
                    <a:pt x="382" y="178"/>
                    <a:pt x="403" y="193"/>
                  </a:cubicBezTo>
                  <a:cubicBezTo>
                    <a:pt x="410" y="198"/>
                    <a:pt x="421" y="196"/>
                    <a:pt x="426" y="189"/>
                  </a:cubicBezTo>
                  <a:cubicBezTo>
                    <a:pt x="431" y="181"/>
                    <a:pt x="429" y="171"/>
                    <a:pt x="422" y="166"/>
                  </a:cubicBezTo>
                  <a:cubicBezTo>
                    <a:pt x="411" y="159"/>
                    <a:pt x="400" y="153"/>
                    <a:pt x="389" y="148"/>
                  </a:cubicBezTo>
                  <a:cubicBezTo>
                    <a:pt x="406" y="133"/>
                    <a:pt x="416" y="110"/>
                    <a:pt x="416" y="85"/>
                  </a:cubicBezTo>
                  <a:cubicBezTo>
                    <a:pt x="416" y="39"/>
                    <a:pt x="378" y="0"/>
                    <a:pt x="332" y="0"/>
                  </a:cubicBezTo>
                  <a:cubicBezTo>
                    <a:pt x="285" y="0"/>
                    <a:pt x="247" y="39"/>
                    <a:pt x="247" y="85"/>
                  </a:cubicBezTo>
                  <a:cubicBezTo>
                    <a:pt x="247" y="110"/>
                    <a:pt x="257" y="132"/>
                    <a:pt x="274" y="148"/>
                  </a:cubicBezTo>
                  <a:cubicBezTo>
                    <a:pt x="272" y="149"/>
                    <a:pt x="270" y="150"/>
                    <a:pt x="267" y="151"/>
                  </a:cubicBezTo>
                  <a:cubicBezTo>
                    <a:pt x="257" y="155"/>
                    <a:pt x="247" y="161"/>
                    <a:pt x="238" y="168"/>
                  </a:cubicBezTo>
                  <a:cubicBezTo>
                    <a:pt x="226" y="136"/>
                    <a:pt x="195" y="114"/>
                    <a:pt x="159" y="114"/>
                  </a:cubicBezTo>
                  <a:cubicBezTo>
                    <a:pt x="113" y="114"/>
                    <a:pt x="75" y="152"/>
                    <a:pt x="75" y="199"/>
                  </a:cubicBezTo>
                  <a:cubicBezTo>
                    <a:pt x="75" y="224"/>
                    <a:pt x="85" y="246"/>
                    <a:pt x="102" y="262"/>
                  </a:cubicBezTo>
                  <a:cubicBezTo>
                    <a:pt x="57" y="279"/>
                    <a:pt x="20" y="315"/>
                    <a:pt x="5" y="361"/>
                  </a:cubicBezTo>
                  <a:cubicBezTo>
                    <a:pt x="0" y="376"/>
                    <a:pt x="3" y="393"/>
                    <a:pt x="13" y="406"/>
                  </a:cubicBezTo>
                  <a:cubicBezTo>
                    <a:pt x="22" y="419"/>
                    <a:pt x="37" y="426"/>
                    <a:pt x="53" y="426"/>
                  </a:cubicBezTo>
                  <a:cubicBezTo>
                    <a:pt x="198" y="426"/>
                    <a:pt x="198" y="426"/>
                    <a:pt x="198" y="426"/>
                  </a:cubicBezTo>
                  <a:cubicBezTo>
                    <a:pt x="207" y="426"/>
                    <a:pt x="214" y="419"/>
                    <a:pt x="214" y="410"/>
                  </a:cubicBezTo>
                  <a:cubicBezTo>
                    <a:pt x="214" y="401"/>
                    <a:pt x="207" y="393"/>
                    <a:pt x="198" y="393"/>
                  </a:cubicBezTo>
                  <a:close/>
                  <a:moveTo>
                    <a:pt x="332" y="34"/>
                  </a:moveTo>
                  <a:cubicBezTo>
                    <a:pt x="360" y="34"/>
                    <a:pt x="383" y="57"/>
                    <a:pt x="383" y="85"/>
                  </a:cubicBezTo>
                  <a:cubicBezTo>
                    <a:pt x="383" y="114"/>
                    <a:pt x="360" y="137"/>
                    <a:pt x="332" y="137"/>
                  </a:cubicBezTo>
                  <a:cubicBezTo>
                    <a:pt x="303" y="137"/>
                    <a:pt x="280" y="114"/>
                    <a:pt x="280" y="85"/>
                  </a:cubicBezTo>
                  <a:cubicBezTo>
                    <a:pt x="280" y="57"/>
                    <a:pt x="303" y="34"/>
                    <a:pt x="332" y="34"/>
                  </a:cubicBezTo>
                  <a:close/>
                  <a:moveTo>
                    <a:pt x="159" y="148"/>
                  </a:moveTo>
                  <a:cubicBezTo>
                    <a:pt x="188" y="148"/>
                    <a:pt x="211" y="171"/>
                    <a:pt x="211" y="199"/>
                  </a:cubicBezTo>
                  <a:cubicBezTo>
                    <a:pt x="211" y="228"/>
                    <a:pt x="188" y="251"/>
                    <a:pt x="159" y="251"/>
                  </a:cubicBezTo>
                  <a:cubicBezTo>
                    <a:pt x="131" y="251"/>
                    <a:pt x="108" y="228"/>
                    <a:pt x="108" y="199"/>
                  </a:cubicBezTo>
                  <a:cubicBezTo>
                    <a:pt x="108" y="171"/>
                    <a:pt x="131" y="148"/>
                    <a:pt x="159" y="148"/>
                  </a:cubicBezTo>
                  <a:close/>
                  <a:moveTo>
                    <a:pt x="159" y="148"/>
                  </a:moveTo>
                  <a:cubicBezTo>
                    <a:pt x="159" y="148"/>
                    <a:pt x="159" y="148"/>
                    <a:pt x="159" y="148"/>
                  </a:cubicBezTo>
                </a:path>
              </a:pathLst>
            </a:custGeom>
            <a:gradFill flip="none" rotWithShape="1"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810000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64">
              <a:extLst>
                <a:ext uri="{FF2B5EF4-FFF2-40B4-BE49-F238E27FC236}">
                  <a16:creationId xmlns:a16="http://schemas.microsoft.com/office/drawing/2014/main" id="{EB6E356D-9626-437B-8F88-21040A95A2A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68415" y="3600543"/>
              <a:ext cx="599935" cy="455616"/>
            </a:xfrm>
            <a:custGeom>
              <a:avLst/>
              <a:gdLst>
                <a:gd name="T0" fmla="*/ 202 w 211"/>
                <a:gd name="T1" fmla="*/ 5 h 160"/>
                <a:gd name="T2" fmla="*/ 179 w 211"/>
                <a:gd name="T3" fmla="*/ 9 h 160"/>
                <a:gd name="T4" fmla="*/ 97 w 211"/>
                <a:gd name="T5" fmla="*/ 124 h 160"/>
                <a:gd name="T6" fmla="*/ 90 w 211"/>
                <a:gd name="T7" fmla="*/ 127 h 160"/>
                <a:gd name="T8" fmla="*/ 83 w 211"/>
                <a:gd name="T9" fmla="*/ 124 h 160"/>
                <a:gd name="T10" fmla="*/ 30 w 211"/>
                <a:gd name="T11" fmla="*/ 73 h 160"/>
                <a:gd name="T12" fmla="*/ 6 w 211"/>
                <a:gd name="T13" fmla="*/ 74 h 160"/>
                <a:gd name="T14" fmla="*/ 7 w 211"/>
                <a:gd name="T15" fmla="*/ 97 h 160"/>
                <a:gd name="T16" fmla="*/ 60 w 211"/>
                <a:gd name="T17" fmla="*/ 148 h 160"/>
                <a:gd name="T18" fmla="*/ 90 w 211"/>
                <a:gd name="T19" fmla="*/ 160 h 160"/>
                <a:gd name="T20" fmla="*/ 92 w 211"/>
                <a:gd name="T21" fmla="*/ 160 h 160"/>
                <a:gd name="T22" fmla="*/ 123 w 211"/>
                <a:gd name="T23" fmla="*/ 144 h 160"/>
                <a:gd name="T24" fmla="*/ 123 w 211"/>
                <a:gd name="T25" fmla="*/ 143 h 160"/>
                <a:gd name="T26" fmla="*/ 206 w 211"/>
                <a:gd name="T27" fmla="*/ 28 h 160"/>
                <a:gd name="T28" fmla="*/ 202 w 211"/>
                <a:gd name="T29" fmla="*/ 5 h 160"/>
                <a:gd name="T30" fmla="*/ 202 w 211"/>
                <a:gd name="T31" fmla="*/ 5 h 160"/>
                <a:gd name="T32" fmla="*/ 202 w 211"/>
                <a:gd name="T33" fmla="*/ 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11" h="160">
                  <a:moveTo>
                    <a:pt x="202" y="5"/>
                  </a:moveTo>
                  <a:cubicBezTo>
                    <a:pt x="194" y="0"/>
                    <a:pt x="184" y="2"/>
                    <a:pt x="179" y="9"/>
                  </a:cubicBezTo>
                  <a:cubicBezTo>
                    <a:pt x="97" y="124"/>
                    <a:pt x="97" y="124"/>
                    <a:pt x="97" y="124"/>
                  </a:cubicBezTo>
                  <a:cubicBezTo>
                    <a:pt x="94" y="126"/>
                    <a:pt x="92" y="127"/>
                    <a:pt x="90" y="127"/>
                  </a:cubicBezTo>
                  <a:cubicBezTo>
                    <a:pt x="89" y="127"/>
                    <a:pt x="86" y="127"/>
                    <a:pt x="83" y="124"/>
                  </a:cubicBezTo>
                  <a:cubicBezTo>
                    <a:pt x="30" y="73"/>
                    <a:pt x="30" y="73"/>
                    <a:pt x="30" y="73"/>
                  </a:cubicBezTo>
                  <a:cubicBezTo>
                    <a:pt x="23" y="67"/>
                    <a:pt x="13" y="67"/>
                    <a:pt x="6" y="74"/>
                  </a:cubicBezTo>
                  <a:cubicBezTo>
                    <a:pt x="0" y="80"/>
                    <a:pt x="0" y="91"/>
                    <a:pt x="7" y="97"/>
                  </a:cubicBezTo>
                  <a:cubicBezTo>
                    <a:pt x="60" y="148"/>
                    <a:pt x="60" y="148"/>
                    <a:pt x="60" y="148"/>
                  </a:cubicBezTo>
                  <a:cubicBezTo>
                    <a:pt x="68" y="156"/>
                    <a:pt x="79" y="160"/>
                    <a:pt x="90" y="160"/>
                  </a:cubicBezTo>
                  <a:cubicBezTo>
                    <a:pt x="91" y="160"/>
                    <a:pt x="91" y="160"/>
                    <a:pt x="92" y="160"/>
                  </a:cubicBezTo>
                  <a:cubicBezTo>
                    <a:pt x="104" y="159"/>
                    <a:pt x="115" y="153"/>
                    <a:pt x="123" y="144"/>
                  </a:cubicBezTo>
                  <a:cubicBezTo>
                    <a:pt x="123" y="144"/>
                    <a:pt x="123" y="144"/>
                    <a:pt x="123" y="143"/>
                  </a:cubicBezTo>
                  <a:cubicBezTo>
                    <a:pt x="206" y="28"/>
                    <a:pt x="206" y="28"/>
                    <a:pt x="206" y="28"/>
                  </a:cubicBezTo>
                  <a:cubicBezTo>
                    <a:pt x="211" y="21"/>
                    <a:pt x="209" y="11"/>
                    <a:pt x="202" y="5"/>
                  </a:cubicBezTo>
                  <a:close/>
                  <a:moveTo>
                    <a:pt x="202" y="5"/>
                  </a:moveTo>
                  <a:cubicBezTo>
                    <a:pt x="202" y="5"/>
                    <a:pt x="202" y="5"/>
                    <a:pt x="202" y="5"/>
                  </a:cubicBezTo>
                </a:path>
              </a:pathLst>
            </a:custGeom>
            <a:gradFill flip="none" rotWithShape="1"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810000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C6C13410-168C-4F8C-81CA-DD28C7DA65DE}"/>
              </a:ext>
            </a:extLst>
          </p:cNvPr>
          <p:cNvSpPr/>
          <p:nvPr userDrawn="1"/>
        </p:nvSpPr>
        <p:spPr>
          <a:xfrm>
            <a:off x="9154312" y="6309837"/>
            <a:ext cx="333533" cy="333533"/>
          </a:xfrm>
          <a:prstGeom prst="roundRect">
            <a:avLst>
              <a:gd name="adj" fmla="val 9599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Slide Number Placeholder 13">
            <a:extLst>
              <a:ext uri="{FF2B5EF4-FFF2-40B4-BE49-F238E27FC236}">
                <a16:creationId xmlns:a16="http://schemas.microsoft.com/office/drawing/2014/main" id="{637BC374-BE76-469D-812B-941EB9546B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05250" y="6350048"/>
            <a:ext cx="431656" cy="2267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fld id="{1F70EEBF-E97C-49FF-B05B-3B4D348638DC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17945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_Full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oup 45">
            <a:extLst>
              <a:ext uri="{FF2B5EF4-FFF2-40B4-BE49-F238E27FC236}">
                <a16:creationId xmlns:a16="http://schemas.microsoft.com/office/drawing/2014/main" id="{08C84B09-FAEC-4A75-8886-DC153F75334C}"/>
              </a:ext>
            </a:extLst>
          </p:cNvPr>
          <p:cNvGrpSpPr/>
          <p:nvPr userDrawn="1"/>
        </p:nvGrpSpPr>
        <p:grpSpPr>
          <a:xfrm>
            <a:off x="855518" y="2510"/>
            <a:ext cx="1997364" cy="1405659"/>
            <a:chOff x="1450975" y="-26194"/>
            <a:chExt cx="2197100" cy="1546225"/>
          </a:xfrm>
          <a:solidFill>
            <a:schemeClr val="tx1">
              <a:lumMod val="75000"/>
              <a:lumOff val="25000"/>
              <a:alpha val="10000"/>
            </a:schemeClr>
          </a:solidFill>
        </p:grpSpPr>
        <p:sp>
          <p:nvSpPr>
            <p:cNvPr id="47" name="Freeform 30">
              <a:extLst>
                <a:ext uri="{FF2B5EF4-FFF2-40B4-BE49-F238E27FC236}">
                  <a16:creationId xmlns:a16="http://schemas.microsoft.com/office/drawing/2014/main" id="{8FD86F56-87BC-4766-9BB4-6324531D141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0125" y="-26194"/>
              <a:ext cx="12700" cy="3175"/>
            </a:xfrm>
            <a:custGeom>
              <a:avLst/>
              <a:gdLst>
                <a:gd name="T0" fmla="*/ 0 w 4"/>
                <a:gd name="T1" fmla="*/ 0 h 1"/>
                <a:gd name="T2" fmla="*/ 0 w 4"/>
                <a:gd name="T3" fmla="*/ 1 h 1"/>
                <a:gd name="T4" fmla="*/ 4 w 4"/>
                <a:gd name="T5" fmla="*/ 1 h 1"/>
                <a:gd name="T6" fmla="*/ 4 w 4"/>
                <a:gd name="T7" fmla="*/ 0 h 1"/>
                <a:gd name="T8" fmla="*/ 0 w 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31">
              <a:extLst>
                <a:ext uri="{FF2B5EF4-FFF2-40B4-BE49-F238E27FC236}">
                  <a16:creationId xmlns:a16="http://schemas.microsoft.com/office/drawing/2014/main" id="{62D41CD2-0B48-465B-9761-59D240850B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225" y="-26194"/>
              <a:ext cx="12700" cy="3175"/>
            </a:xfrm>
            <a:custGeom>
              <a:avLst/>
              <a:gdLst>
                <a:gd name="T0" fmla="*/ 4 w 4"/>
                <a:gd name="T1" fmla="*/ 0 h 1"/>
                <a:gd name="T2" fmla="*/ 0 w 4"/>
                <a:gd name="T3" fmla="*/ 0 h 1"/>
                <a:gd name="T4" fmla="*/ 0 w 4"/>
                <a:gd name="T5" fmla="*/ 1 h 1"/>
                <a:gd name="T6" fmla="*/ 4 w 4"/>
                <a:gd name="T7" fmla="*/ 1 h 1"/>
                <a:gd name="T8" fmla="*/ 4 w 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32">
              <a:extLst>
                <a:ext uri="{FF2B5EF4-FFF2-40B4-BE49-F238E27FC236}">
                  <a16:creationId xmlns:a16="http://schemas.microsoft.com/office/drawing/2014/main" id="{9D7D6241-E72C-45D3-9511-3BDF420D5AB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0975" y="-23019"/>
              <a:ext cx="2197100" cy="1543050"/>
            </a:xfrm>
            <a:custGeom>
              <a:avLst/>
              <a:gdLst>
                <a:gd name="T0" fmla="*/ 688 w 692"/>
                <a:gd name="T1" fmla="*/ 140 h 486"/>
                <a:gd name="T2" fmla="*/ 346 w 692"/>
                <a:gd name="T3" fmla="*/ 483 h 486"/>
                <a:gd name="T4" fmla="*/ 3 w 692"/>
                <a:gd name="T5" fmla="*/ 140 h 486"/>
                <a:gd name="T6" fmla="*/ 34 w 692"/>
                <a:gd name="T7" fmla="*/ 0 h 486"/>
                <a:gd name="T8" fmla="*/ 30 w 692"/>
                <a:gd name="T9" fmla="*/ 0 h 486"/>
                <a:gd name="T10" fmla="*/ 0 w 692"/>
                <a:gd name="T11" fmla="*/ 140 h 486"/>
                <a:gd name="T12" fmla="*/ 346 w 692"/>
                <a:gd name="T13" fmla="*/ 486 h 486"/>
                <a:gd name="T14" fmla="*/ 692 w 692"/>
                <a:gd name="T15" fmla="*/ 140 h 486"/>
                <a:gd name="T16" fmla="*/ 662 w 692"/>
                <a:gd name="T17" fmla="*/ 0 h 486"/>
                <a:gd name="T18" fmla="*/ 658 w 692"/>
                <a:gd name="T19" fmla="*/ 0 h 486"/>
                <a:gd name="T20" fmla="*/ 688 w 692"/>
                <a:gd name="T21" fmla="*/ 140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92" h="486">
                  <a:moveTo>
                    <a:pt x="688" y="140"/>
                  </a:moveTo>
                  <a:cubicBezTo>
                    <a:pt x="688" y="329"/>
                    <a:pt x="535" y="483"/>
                    <a:pt x="346" y="483"/>
                  </a:cubicBezTo>
                  <a:cubicBezTo>
                    <a:pt x="157" y="483"/>
                    <a:pt x="3" y="329"/>
                    <a:pt x="3" y="140"/>
                  </a:cubicBezTo>
                  <a:cubicBezTo>
                    <a:pt x="3" y="90"/>
                    <a:pt x="14" y="43"/>
                    <a:pt x="34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11" y="43"/>
                    <a:pt x="0" y="90"/>
                    <a:pt x="0" y="140"/>
                  </a:cubicBezTo>
                  <a:cubicBezTo>
                    <a:pt x="0" y="331"/>
                    <a:pt x="155" y="486"/>
                    <a:pt x="346" y="486"/>
                  </a:cubicBezTo>
                  <a:cubicBezTo>
                    <a:pt x="536" y="486"/>
                    <a:pt x="692" y="331"/>
                    <a:pt x="692" y="140"/>
                  </a:cubicBezTo>
                  <a:cubicBezTo>
                    <a:pt x="692" y="90"/>
                    <a:pt x="681" y="43"/>
                    <a:pt x="662" y="0"/>
                  </a:cubicBezTo>
                  <a:cubicBezTo>
                    <a:pt x="658" y="0"/>
                    <a:pt x="658" y="0"/>
                    <a:pt x="658" y="0"/>
                  </a:cubicBezTo>
                  <a:cubicBezTo>
                    <a:pt x="677" y="43"/>
                    <a:pt x="688" y="90"/>
                    <a:pt x="688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33">
              <a:extLst>
                <a:ext uri="{FF2B5EF4-FFF2-40B4-BE49-F238E27FC236}">
                  <a16:creationId xmlns:a16="http://schemas.microsoft.com/office/drawing/2014/main" id="{5950A7FD-AAE1-4253-8AE1-2B966BBDC88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3925" y="-26194"/>
              <a:ext cx="9525" cy="3175"/>
            </a:xfrm>
            <a:custGeom>
              <a:avLst/>
              <a:gdLst>
                <a:gd name="T0" fmla="*/ 0 w 3"/>
                <a:gd name="T1" fmla="*/ 1 h 1"/>
                <a:gd name="T2" fmla="*/ 3 w 3"/>
                <a:gd name="T3" fmla="*/ 1 h 1"/>
                <a:gd name="T4" fmla="*/ 3 w 3"/>
                <a:gd name="T5" fmla="*/ 0 h 1"/>
                <a:gd name="T6" fmla="*/ 0 w 3"/>
                <a:gd name="T7" fmla="*/ 0 h 1"/>
                <a:gd name="T8" fmla="*/ 0 w 3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34">
              <a:extLst>
                <a:ext uri="{FF2B5EF4-FFF2-40B4-BE49-F238E27FC236}">
                  <a16:creationId xmlns:a16="http://schemas.microsoft.com/office/drawing/2014/main" id="{A2B9865F-376A-4638-B3AA-FA96E16496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2425" y="-26194"/>
              <a:ext cx="12700" cy="3175"/>
            </a:xfrm>
            <a:custGeom>
              <a:avLst/>
              <a:gdLst>
                <a:gd name="T0" fmla="*/ 4 w 4"/>
                <a:gd name="T1" fmla="*/ 1 h 1"/>
                <a:gd name="T2" fmla="*/ 4 w 4"/>
                <a:gd name="T3" fmla="*/ 0 h 1"/>
                <a:gd name="T4" fmla="*/ 1 w 4"/>
                <a:gd name="T5" fmla="*/ 0 h 1"/>
                <a:gd name="T6" fmla="*/ 0 w 4"/>
                <a:gd name="T7" fmla="*/ 1 h 1"/>
                <a:gd name="T8" fmla="*/ 4 w 4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1"/>
                  </a:moveTo>
                  <a:cubicBezTo>
                    <a:pt x="4" y="1"/>
                    <a:pt x="4" y="1"/>
                    <a:pt x="4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35">
              <a:extLst>
                <a:ext uri="{FF2B5EF4-FFF2-40B4-BE49-F238E27FC236}">
                  <a16:creationId xmlns:a16="http://schemas.microsoft.com/office/drawing/2014/main" id="{7C0CAAD9-B35B-48A2-B02F-21ED7215DC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0825" y="-23019"/>
              <a:ext cx="2054225" cy="1473200"/>
            </a:xfrm>
            <a:custGeom>
              <a:avLst/>
              <a:gdLst>
                <a:gd name="T0" fmla="*/ 644 w 647"/>
                <a:gd name="T1" fmla="*/ 140 h 464"/>
                <a:gd name="T2" fmla="*/ 324 w 647"/>
                <a:gd name="T3" fmla="*/ 460 h 464"/>
                <a:gd name="T4" fmla="*/ 4 w 647"/>
                <a:gd name="T5" fmla="*/ 140 h 464"/>
                <a:gd name="T6" fmla="*/ 36 w 647"/>
                <a:gd name="T7" fmla="*/ 0 h 464"/>
                <a:gd name="T8" fmla="*/ 32 w 647"/>
                <a:gd name="T9" fmla="*/ 0 h 464"/>
                <a:gd name="T10" fmla="*/ 0 w 647"/>
                <a:gd name="T11" fmla="*/ 140 h 464"/>
                <a:gd name="T12" fmla="*/ 324 w 647"/>
                <a:gd name="T13" fmla="*/ 464 h 464"/>
                <a:gd name="T14" fmla="*/ 647 w 647"/>
                <a:gd name="T15" fmla="*/ 140 h 464"/>
                <a:gd name="T16" fmla="*/ 615 w 647"/>
                <a:gd name="T17" fmla="*/ 0 h 464"/>
                <a:gd name="T18" fmla="*/ 612 w 647"/>
                <a:gd name="T19" fmla="*/ 0 h 464"/>
                <a:gd name="T20" fmla="*/ 644 w 647"/>
                <a:gd name="T21" fmla="*/ 140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47" h="464">
                  <a:moveTo>
                    <a:pt x="644" y="140"/>
                  </a:moveTo>
                  <a:cubicBezTo>
                    <a:pt x="644" y="317"/>
                    <a:pt x="500" y="460"/>
                    <a:pt x="324" y="460"/>
                  </a:cubicBezTo>
                  <a:cubicBezTo>
                    <a:pt x="147" y="460"/>
                    <a:pt x="4" y="317"/>
                    <a:pt x="4" y="140"/>
                  </a:cubicBezTo>
                  <a:cubicBezTo>
                    <a:pt x="4" y="90"/>
                    <a:pt x="15" y="42"/>
                    <a:pt x="36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12" y="42"/>
                    <a:pt x="0" y="90"/>
                    <a:pt x="0" y="140"/>
                  </a:cubicBezTo>
                  <a:cubicBezTo>
                    <a:pt x="0" y="319"/>
                    <a:pt x="145" y="464"/>
                    <a:pt x="324" y="464"/>
                  </a:cubicBezTo>
                  <a:cubicBezTo>
                    <a:pt x="502" y="464"/>
                    <a:pt x="647" y="319"/>
                    <a:pt x="647" y="140"/>
                  </a:cubicBezTo>
                  <a:cubicBezTo>
                    <a:pt x="647" y="90"/>
                    <a:pt x="636" y="42"/>
                    <a:pt x="615" y="0"/>
                  </a:cubicBezTo>
                  <a:cubicBezTo>
                    <a:pt x="612" y="0"/>
                    <a:pt x="612" y="0"/>
                    <a:pt x="612" y="0"/>
                  </a:cubicBezTo>
                  <a:cubicBezTo>
                    <a:pt x="632" y="42"/>
                    <a:pt x="644" y="90"/>
                    <a:pt x="644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36">
              <a:extLst>
                <a:ext uri="{FF2B5EF4-FFF2-40B4-BE49-F238E27FC236}">
                  <a16:creationId xmlns:a16="http://schemas.microsoft.com/office/drawing/2014/main" id="{B8B8251C-1295-4342-BCC1-B378D183AF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-26194"/>
              <a:ext cx="12700" cy="3175"/>
            </a:xfrm>
            <a:custGeom>
              <a:avLst/>
              <a:gdLst>
                <a:gd name="T0" fmla="*/ 4 w 4"/>
                <a:gd name="T1" fmla="*/ 0 h 1"/>
                <a:gd name="T2" fmla="*/ 1 w 4"/>
                <a:gd name="T3" fmla="*/ 0 h 1"/>
                <a:gd name="T4" fmla="*/ 0 w 4"/>
                <a:gd name="T5" fmla="*/ 1 h 1"/>
                <a:gd name="T6" fmla="*/ 4 w 4"/>
                <a:gd name="T7" fmla="*/ 1 h 1"/>
                <a:gd name="T8" fmla="*/ 4 w 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7">
              <a:extLst>
                <a:ext uri="{FF2B5EF4-FFF2-40B4-BE49-F238E27FC236}">
                  <a16:creationId xmlns:a16="http://schemas.microsoft.com/office/drawing/2014/main" id="{5093996E-53D2-4A3B-BE91-71EBD6AC6524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4550" y="-26194"/>
              <a:ext cx="12700" cy="3175"/>
            </a:xfrm>
            <a:custGeom>
              <a:avLst/>
              <a:gdLst>
                <a:gd name="T0" fmla="*/ 0 w 4"/>
                <a:gd name="T1" fmla="*/ 0 h 1"/>
                <a:gd name="T2" fmla="*/ 1 w 4"/>
                <a:gd name="T3" fmla="*/ 1 h 1"/>
                <a:gd name="T4" fmla="*/ 4 w 4"/>
                <a:gd name="T5" fmla="*/ 1 h 1"/>
                <a:gd name="T6" fmla="*/ 4 w 4"/>
                <a:gd name="T7" fmla="*/ 0 h 1"/>
                <a:gd name="T8" fmla="*/ 0 w 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0" y="0"/>
                  </a:moveTo>
                  <a:cubicBezTo>
                    <a:pt x="0" y="1"/>
                    <a:pt x="1" y="1"/>
                    <a:pt x="1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8">
              <a:extLst>
                <a:ext uri="{FF2B5EF4-FFF2-40B4-BE49-F238E27FC236}">
                  <a16:creationId xmlns:a16="http://schemas.microsoft.com/office/drawing/2014/main" id="{3E187798-6D30-447C-A02A-C4C14ABB3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0675" y="-23019"/>
              <a:ext cx="1917700" cy="1403350"/>
            </a:xfrm>
            <a:custGeom>
              <a:avLst/>
              <a:gdLst>
                <a:gd name="T0" fmla="*/ 601 w 604"/>
                <a:gd name="T1" fmla="*/ 140 h 442"/>
                <a:gd name="T2" fmla="*/ 302 w 604"/>
                <a:gd name="T3" fmla="*/ 439 h 442"/>
                <a:gd name="T4" fmla="*/ 3 w 604"/>
                <a:gd name="T5" fmla="*/ 140 h 442"/>
                <a:gd name="T6" fmla="*/ 38 w 604"/>
                <a:gd name="T7" fmla="*/ 0 h 442"/>
                <a:gd name="T8" fmla="*/ 34 w 604"/>
                <a:gd name="T9" fmla="*/ 0 h 442"/>
                <a:gd name="T10" fmla="*/ 0 w 604"/>
                <a:gd name="T11" fmla="*/ 140 h 442"/>
                <a:gd name="T12" fmla="*/ 302 w 604"/>
                <a:gd name="T13" fmla="*/ 442 h 442"/>
                <a:gd name="T14" fmla="*/ 604 w 604"/>
                <a:gd name="T15" fmla="*/ 140 h 442"/>
                <a:gd name="T16" fmla="*/ 569 w 604"/>
                <a:gd name="T17" fmla="*/ 0 h 442"/>
                <a:gd name="T18" fmla="*/ 566 w 604"/>
                <a:gd name="T19" fmla="*/ 0 h 442"/>
                <a:gd name="T20" fmla="*/ 601 w 604"/>
                <a:gd name="T21" fmla="*/ 14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04" h="442">
                  <a:moveTo>
                    <a:pt x="601" y="140"/>
                  </a:moveTo>
                  <a:cubicBezTo>
                    <a:pt x="601" y="305"/>
                    <a:pt x="467" y="439"/>
                    <a:pt x="302" y="439"/>
                  </a:cubicBezTo>
                  <a:cubicBezTo>
                    <a:pt x="137" y="439"/>
                    <a:pt x="3" y="305"/>
                    <a:pt x="3" y="140"/>
                  </a:cubicBezTo>
                  <a:cubicBezTo>
                    <a:pt x="3" y="89"/>
                    <a:pt x="16" y="42"/>
                    <a:pt x="38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12" y="42"/>
                    <a:pt x="0" y="90"/>
                    <a:pt x="0" y="140"/>
                  </a:cubicBezTo>
                  <a:cubicBezTo>
                    <a:pt x="0" y="307"/>
                    <a:pt x="135" y="442"/>
                    <a:pt x="302" y="442"/>
                  </a:cubicBezTo>
                  <a:cubicBezTo>
                    <a:pt x="468" y="442"/>
                    <a:pt x="604" y="307"/>
                    <a:pt x="604" y="140"/>
                  </a:cubicBezTo>
                  <a:cubicBezTo>
                    <a:pt x="604" y="90"/>
                    <a:pt x="591" y="42"/>
                    <a:pt x="569" y="0"/>
                  </a:cubicBezTo>
                  <a:cubicBezTo>
                    <a:pt x="566" y="0"/>
                    <a:pt x="566" y="0"/>
                    <a:pt x="566" y="0"/>
                  </a:cubicBezTo>
                  <a:cubicBezTo>
                    <a:pt x="588" y="42"/>
                    <a:pt x="601" y="89"/>
                    <a:pt x="601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39">
              <a:extLst>
                <a:ext uri="{FF2B5EF4-FFF2-40B4-BE49-F238E27FC236}">
                  <a16:creationId xmlns:a16="http://schemas.microsoft.com/office/drawing/2014/main" id="{B250A47E-206F-457B-8000-99DFD78A17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1175" y="-26194"/>
              <a:ext cx="12700" cy="3175"/>
            </a:xfrm>
            <a:custGeom>
              <a:avLst/>
              <a:gdLst>
                <a:gd name="T0" fmla="*/ 4 w 4"/>
                <a:gd name="T1" fmla="*/ 1 h 1"/>
                <a:gd name="T2" fmla="*/ 4 w 4"/>
                <a:gd name="T3" fmla="*/ 0 h 1"/>
                <a:gd name="T4" fmla="*/ 0 w 4"/>
                <a:gd name="T5" fmla="*/ 0 h 1"/>
                <a:gd name="T6" fmla="*/ 0 w 4"/>
                <a:gd name="T7" fmla="*/ 1 h 1"/>
                <a:gd name="T8" fmla="*/ 4 w 4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1"/>
                  </a:moveTo>
                  <a:cubicBezTo>
                    <a:pt x="4" y="1"/>
                    <a:pt x="4" y="1"/>
                    <a:pt x="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40">
              <a:extLst>
                <a:ext uri="{FF2B5EF4-FFF2-40B4-BE49-F238E27FC236}">
                  <a16:creationId xmlns:a16="http://schemas.microsoft.com/office/drawing/2014/main" id="{54FC95A4-DC3D-4300-AFC9-9F8FCF54C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5175" y="-26194"/>
              <a:ext cx="12700" cy="3175"/>
            </a:xfrm>
            <a:custGeom>
              <a:avLst/>
              <a:gdLst>
                <a:gd name="T0" fmla="*/ 0 w 4"/>
                <a:gd name="T1" fmla="*/ 1 h 1"/>
                <a:gd name="T2" fmla="*/ 4 w 4"/>
                <a:gd name="T3" fmla="*/ 1 h 1"/>
                <a:gd name="T4" fmla="*/ 3 w 4"/>
                <a:gd name="T5" fmla="*/ 0 h 1"/>
                <a:gd name="T6" fmla="*/ 0 w 4"/>
                <a:gd name="T7" fmla="*/ 0 h 1"/>
                <a:gd name="T8" fmla="*/ 0 w 4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0" y="1"/>
                  </a:moveTo>
                  <a:cubicBezTo>
                    <a:pt x="4" y="1"/>
                    <a:pt x="4" y="1"/>
                    <a:pt x="4" y="1"/>
                  </a:cubicBezTo>
                  <a:cubicBezTo>
                    <a:pt x="3" y="1"/>
                    <a:pt x="3" y="1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41">
              <a:extLst>
                <a:ext uri="{FF2B5EF4-FFF2-40B4-BE49-F238E27FC236}">
                  <a16:creationId xmlns:a16="http://schemas.microsoft.com/office/drawing/2014/main" id="{BDD3DF79-B444-4FD5-8484-9A4802AA20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0525" y="-23019"/>
              <a:ext cx="1774825" cy="1333500"/>
            </a:xfrm>
            <a:custGeom>
              <a:avLst/>
              <a:gdLst>
                <a:gd name="T0" fmla="*/ 556 w 559"/>
                <a:gd name="T1" fmla="*/ 140 h 420"/>
                <a:gd name="T2" fmla="*/ 280 w 559"/>
                <a:gd name="T3" fmla="*/ 416 h 420"/>
                <a:gd name="T4" fmla="*/ 4 w 559"/>
                <a:gd name="T5" fmla="*/ 140 h 420"/>
                <a:gd name="T6" fmla="*/ 42 w 559"/>
                <a:gd name="T7" fmla="*/ 0 h 420"/>
                <a:gd name="T8" fmla="*/ 38 w 559"/>
                <a:gd name="T9" fmla="*/ 0 h 420"/>
                <a:gd name="T10" fmla="*/ 0 w 559"/>
                <a:gd name="T11" fmla="*/ 140 h 420"/>
                <a:gd name="T12" fmla="*/ 280 w 559"/>
                <a:gd name="T13" fmla="*/ 420 h 420"/>
                <a:gd name="T14" fmla="*/ 559 w 559"/>
                <a:gd name="T15" fmla="*/ 140 h 420"/>
                <a:gd name="T16" fmla="*/ 522 w 559"/>
                <a:gd name="T17" fmla="*/ 0 h 420"/>
                <a:gd name="T18" fmla="*/ 518 w 559"/>
                <a:gd name="T19" fmla="*/ 0 h 420"/>
                <a:gd name="T20" fmla="*/ 556 w 559"/>
                <a:gd name="T21" fmla="*/ 140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59" h="420">
                  <a:moveTo>
                    <a:pt x="556" y="140"/>
                  </a:moveTo>
                  <a:cubicBezTo>
                    <a:pt x="556" y="293"/>
                    <a:pt x="432" y="416"/>
                    <a:pt x="280" y="416"/>
                  </a:cubicBezTo>
                  <a:cubicBezTo>
                    <a:pt x="128" y="416"/>
                    <a:pt x="4" y="293"/>
                    <a:pt x="4" y="140"/>
                  </a:cubicBezTo>
                  <a:cubicBezTo>
                    <a:pt x="4" y="89"/>
                    <a:pt x="18" y="41"/>
                    <a:pt x="42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14" y="41"/>
                    <a:pt x="0" y="89"/>
                    <a:pt x="0" y="140"/>
                  </a:cubicBezTo>
                  <a:cubicBezTo>
                    <a:pt x="0" y="294"/>
                    <a:pt x="126" y="420"/>
                    <a:pt x="280" y="420"/>
                  </a:cubicBezTo>
                  <a:cubicBezTo>
                    <a:pt x="434" y="420"/>
                    <a:pt x="559" y="294"/>
                    <a:pt x="559" y="140"/>
                  </a:cubicBezTo>
                  <a:cubicBezTo>
                    <a:pt x="559" y="89"/>
                    <a:pt x="546" y="41"/>
                    <a:pt x="522" y="0"/>
                  </a:cubicBezTo>
                  <a:cubicBezTo>
                    <a:pt x="518" y="0"/>
                    <a:pt x="518" y="0"/>
                    <a:pt x="518" y="0"/>
                  </a:cubicBezTo>
                  <a:cubicBezTo>
                    <a:pt x="542" y="41"/>
                    <a:pt x="556" y="89"/>
                    <a:pt x="556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42">
              <a:extLst>
                <a:ext uri="{FF2B5EF4-FFF2-40B4-BE49-F238E27FC236}">
                  <a16:creationId xmlns:a16="http://schemas.microsoft.com/office/drawing/2014/main" id="{91E2A178-552E-476F-AEDA-F519B4623B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4200" y="-26194"/>
              <a:ext cx="12700" cy="3175"/>
            </a:xfrm>
            <a:custGeom>
              <a:avLst/>
              <a:gdLst>
                <a:gd name="T0" fmla="*/ 4 w 4"/>
                <a:gd name="T1" fmla="*/ 0 h 1"/>
                <a:gd name="T2" fmla="*/ 0 w 4"/>
                <a:gd name="T3" fmla="*/ 0 h 1"/>
                <a:gd name="T4" fmla="*/ 0 w 4"/>
                <a:gd name="T5" fmla="*/ 1 h 1"/>
                <a:gd name="T6" fmla="*/ 4 w 4"/>
                <a:gd name="T7" fmla="*/ 1 h 1"/>
                <a:gd name="T8" fmla="*/ 4 w 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43">
              <a:extLst>
                <a:ext uri="{FF2B5EF4-FFF2-40B4-BE49-F238E27FC236}">
                  <a16:creationId xmlns:a16="http://schemas.microsoft.com/office/drawing/2014/main" id="{4B8EF77E-47F9-40B2-BF83-77BF5EC2A1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8975" y="-26194"/>
              <a:ext cx="15875" cy="3175"/>
            </a:xfrm>
            <a:custGeom>
              <a:avLst/>
              <a:gdLst>
                <a:gd name="T0" fmla="*/ 0 w 5"/>
                <a:gd name="T1" fmla="*/ 0 h 1"/>
                <a:gd name="T2" fmla="*/ 1 w 5"/>
                <a:gd name="T3" fmla="*/ 1 h 1"/>
                <a:gd name="T4" fmla="*/ 5 w 5"/>
                <a:gd name="T5" fmla="*/ 1 h 1"/>
                <a:gd name="T6" fmla="*/ 4 w 5"/>
                <a:gd name="T7" fmla="*/ 0 h 1"/>
                <a:gd name="T8" fmla="*/ 0 w 5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">
                  <a:moveTo>
                    <a:pt x="0" y="0"/>
                  </a:moveTo>
                  <a:cubicBezTo>
                    <a:pt x="0" y="1"/>
                    <a:pt x="1" y="1"/>
                    <a:pt x="1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4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44">
              <a:extLst>
                <a:ext uri="{FF2B5EF4-FFF2-40B4-BE49-F238E27FC236}">
                  <a16:creationId xmlns:a16="http://schemas.microsoft.com/office/drawing/2014/main" id="{E6041A9A-462A-44C0-BB57-33EBCF6FB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4025" y="-23019"/>
              <a:ext cx="1651000" cy="1270000"/>
            </a:xfrm>
            <a:custGeom>
              <a:avLst/>
              <a:gdLst>
                <a:gd name="T0" fmla="*/ 517 w 520"/>
                <a:gd name="T1" fmla="*/ 140 h 400"/>
                <a:gd name="T2" fmla="*/ 260 w 520"/>
                <a:gd name="T3" fmla="*/ 397 h 400"/>
                <a:gd name="T4" fmla="*/ 3 w 520"/>
                <a:gd name="T5" fmla="*/ 140 h 400"/>
                <a:gd name="T6" fmla="*/ 45 w 520"/>
                <a:gd name="T7" fmla="*/ 0 h 400"/>
                <a:gd name="T8" fmla="*/ 41 w 520"/>
                <a:gd name="T9" fmla="*/ 0 h 400"/>
                <a:gd name="T10" fmla="*/ 0 w 520"/>
                <a:gd name="T11" fmla="*/ 140 h 400"/>
                <a:gd name="T12" fmla="*/ 260 w 520"/>
                <a:gd name="T13" fmla="*/ 400 h 400"/>
                <a:gd name="T14" fmla="*/ 520 w 520"/>
                <a:gd name="T15" fmla="*/ 140 h 400"/>
                <a:gd name="T16" fmla="*/ 479 w 520"/>
                <a:gd name="T17" fmla="*/ 0 h 400"/>
                <a:gd name="T18" fmla="*/ 475 w 520"/>
                <a:gd name="T19" fmla="*/ 0 h 400"/>
                <a:gd name="T20" fmla="*/ 517 w 520"/>
                <a:gd name="T21" fmla="*/ 14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20" h="400">
                  <a:moveTo>
                    <a:pt x="517" y="140"/>
                  </a:moveTo>
                  <a:cubicBezTo>
                    <a:pt x="517" y="282"/>
                    <a:pt x="401" y="397"/>
                    <a:pt x="260" y="397"/>
                  </a:cubicBezTo>
                  <a:cubicBezTo>
                    <a:pt x="118" y="397"/>
                    <a:pt x="3" y="282"/>
                    <a:pt x="3" y="140"/>
                  </a:cubicBezTo>
                  <a:cubicBezTo>
                    <a:pt x="3" y="88"/>
                    <a:pt x="19" y="40"/>
                    <a:pt x="45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15" y="40"/>
                    <a:pt x="0" y="89"/>
                    <a:pt x="0" y="140"/>
                  </a:cubicBezTo>
                  <a:cubicBezTo>
                    <a:pt x="0" y="284"/>
                    <a:pt x="117" y="400"/>
                    <a:pt x="260" y="400"/>
                  </a:cubicBezTo>
                  <a:cubicBezTo>
                    <a:pt x="403" y="400"/>
                    <a:pt x="520" y="284"/>
                    <a:pt x="520" y="140"/>
                  </a:cubicBezTo>
                  <a:cubicBezTo>
                    <a:pt x="520" y="89"/>
                    <a:pt x="505" y="40"/>
                    <a:pt x="479" y="0"/>
                  </a:cubicBezTo>
                  <a:cubicBezTo>
                    <a:pt x="475" y="0"/>
                    <a:pt x="475" y="0"/>
                    <a:pt x="475" y="0"/>
                  </a:cubicBezTo>
                  <a:cubicBezTo>
                    <a:pt x="501" y="40"/>
                    <a:pt x="517" y="88"/>
                    <a:pt x="517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310F98F8-496B-4E28-8835-0DDC8B332383}"/>
              </a:ext>
            </a:extLst>
          </p:cNvPr>
          <p:cNvGrpSpPr/>
          <p:nvPr userDrawn="1"/>
        </p:nvGrpSpPr>
        <p:grpSpPr>
          <a:xfrm>
            <a:off x="-13334" y="125"/>
            <a:ext cx="3924023" cy="2346065"/>
            <a:chOff x="-3175" y="-26194"/>
            <a:chExt cx="5222875" cy="3122613"/>
          </a:xfrm>
          <a:solidFill>
            <a:schemeClr val="tx1">
              <a:lumMod val="75000"/>
              <a:lumOff val="25000"/>
              <a:alpha val="10000"/>
            </a:schemeClr>
          </a:solidFill>
        </p:grpSpPr>
        <p:sp>
          <p:nvSpPr>
            <p:cNvPr id="63" name="Freeform 45">
              <a:extLst>
                <a:ext uri="{FF2B5EF4-FFF2-40B4-BE49-F238E27FC236}">
                  <a16:creationId xmlns:a16="http://schemas.microsoft.com/office/drawing/2014/main" id="{7A571FAD-0FE9-4DEE-A362-A390602AA4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6200" y="-26194"/>
              <a:ext cx="25400" cy="3175"/>
            </a:xfrm>
            <a:custGeom>
              <a:avLst/>
              <a:gdLst>
                <a:gd name="T0" fmla="*/ 0 w 8"/>
                <a:gd name="T1" fmla="*/ 1 h 1"/>
                <a:gd name="T2" fmla="*/ 8 w 8"/>
                <a:gd name="T3" fmla="*/ 1 h 1"/>
                <a:gd name="T4" fmla="*/ 8 w 8"/>
                <a:gd name="T5" fmla="*/ 0 h 1"/>
                <a:gd name="T6" fmla="*/ 0 w 8"/>
                <a:gd name="T7" fmla="*/ 0 h 1"/>
                <a:gd name="T8" fmla="*/ 0 w 8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0" y="1"/>
                  </a:move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46">
              <a:extLst>
                <a:ext uri="{FF2B5EF4-FFF2-40B4-BE49-F238E27FC236}">
                  <a16:creationId xmlns:a16="http://schemas.microsoft.com/office/drawing/2014/main" id="{BD56B81E-C723-47B1-962F-AF03A08CDBBB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75" y="1126331"/>
              <a:ext cx="25400" cy="168275"/>
            </a:xfrm>
            <a:custGeom>
              <a:avLst/>
              <a:gdLst>
                <a:gd name="T0" fmla="*/ 8 w 8"/>
                <a:gd name="T1" fmla="*/ 27 h 53"/>
                <a:gd name="T2" fmla="*/ 0 w 8"/>
                <a:gd name="T3" fmla="*/ 0 h 53"/>
                <a:gd name="T4" fmla="*/ 0 w 8"/>
                <a:gd name="T5" fmla="*/ 28 h 53"/>
                <a:gd name="T6" fmla="*/ 8 w 8"/>
                <a:gd name="T7" fmla="*/ 53 h 53"/>
                <a:gd name="T8" fmla="*/ 8 w 8"/>
                <a:gd name="T9" fmla="*/ 2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3">
                  <a:moveTo>
                    <a:pt x="8" y="27"/>
                  </a:moveTo>
                  <a:cubicBezTo>
                    <a:pt x="6" y="18"/>
                    <a:pt x="3" y="9"/>
                    <a:pt x="0" y="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3" y="36"/>
                    <a:pt x="6" y="44"/>
                    <a:pt x="8" y="53"/>
                  </a:cubicBezTo>
                  <a:lnTo>
                    <a:pt x="8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47">
              <a:extLst>
                <a:ext uri="{FF2B5EF4-FFF2-40B4-BE49-F238E27FC236}">
                  <a16:creationId xmlns:a16="http://schemas.microsoft.com/office/drawing/2014/main" id="{75F0A97D-03D6-4CD6-8F6E-007EED662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25" y="-23019"/>
              <a:ext cx="5197475" cy="3119438"/>
            </a:xfrm>
            <a:custGeom>
              <a:avLst/>
              <a:gdLst>
                <a:gd name="T0" fmla="*/ 1629 w 1637"/>
                <a:gd name="T1" fmla="*/ 140 h 982"/>
                <a:gd name="T2" fmla="*/ 796 w 1637"/>
                <a:gd name="T3" fmla="*/ 974 h 982"/>
                <a:gd name="T4" fmla="*/ 0 w 1637"/>
                <a:gd name="T5" fmla="*/ 389 h 982"/>
                <a:gd name="T6" fmla="*/ 0 w 1637"/>
                <a:gd name="T7" fmla="*/ 415 h 982"/>
                <a:gd name="T8" fmla="*/ 796 w 1637"/>
                <a:gd name="T9" fmla="*/ 982 h 982"/>
                <a:gd name="T10" fmla="*/ 1637 w 1637"/>
                <a:gd name="T11" fmla="*/ 140 h 982"/>
                <a:gd name="T12" fmla="*/ 1625 w 1637"/>
                <a:gd name="T13" fmla="*/ 0 h 982"/>
                <a:gd name="T14" fmla="*/ 1617 w 1637"/>
                <a:gd name="T15" fmla="*/ 0 h 982"/>
                <a:gd name="T16" fmla="*/ 1629 w 1637"/>
                <a:gd name="T17" fmla="*/ 140 h 9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37" h="982">
                  <a:moveTo>
                    <a:pt x="1629" y="140"/>
                  </a:moveTo>
                  <a:cubicBezTo>
                    <a:pt x="1629" y="600"/>
                    <a:pt x="1255" y="974"/>
                    <a:pt x="796" y="974"/>
                  </a:cubicBezTo>
                  <a:cubicBezTo>
                    <a:pt x="423" y="974"/>
                    <a:pt x="107" y="728"/>
                    <a:pt x="0" y="389"/>
                  </a:cubicBezTo>
                  <a:cubicBezTo>
                    <a:pt x="0" y="415"/>
                    <a:pt x="0" y="415"/>
                    <a:pt x="0" y="415"/>
                  </a:cubicBezTo>
                  <a:cubicBezTo>
                    <a:pt x="115" y="744"/>
                    <a:pt x="428" y="982"/>
                    <a:pt x="796" y="982"/>
                  </a:cubicBezTo>
                  <a:cubicBezTo>
                    <a:pt x="1260" y="982"/>
                    <a:pt x="1637" y="604"/>
                    <a:pt x="1637" y="140"/>
                  </a:cubicBezTo>
                  <a:cubicBezTo>
                    <a:pt x="1637" y="92"/>
                    <a:pt x="1633" y="45"/>
                    <a:pt x="1625" y="0"/>
                  </a:cubicBezTo>
                  <a:cubicBezTo>
                    <a:pt x="1617" y="0"/>
                    <a:pt x="1617" y="0"/>
                    <a:pt x="1617" y="0"/>
                  </a:cubicBezTo>
                  <a:cubicBezTo>
                    <a:pt x="1625" y="45"/>
                    <a:pt x="1629" y="92"/>
                    <a:pt x="1629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48">
              <a:extLst>
                <a:ext uri="{FF2B5EF4-FFF2-40B4-BE49-F238E27FC236}">
                  <a16:creationId xmlns:a16="http://schemas.microsoft.com/office/drawing/2014/main" id="{B5E4596F-2CF7-4E02-B395-9451BEF484D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4750" y="-26194"/>
              <a:ext cx="25400" cy="3175"/>
            </a:xfrm>
            <a:custGeom>
              <a:avLst/>
              <a:gdLst>
                <a:gd name="T0" fmla="*/ 0 w 8"/>
                <a:gd name="T1" fmla="*/ 0 h 1"/>
                <a:gd name="T2" fmla="*/ 0 w 8"/>
                <a:gd name="T3" fmla="*/ 1 h 1"/>
                <a:gd name="T4" fmla="*/ 8 w 8"/>
                <a:gd name="T5" fmla="*/ 1 h 1"/>
                <a:gd name="T6" fmla="*/ 8 w 8"/>
                <a:gd name="T7" fmla="*/ 0 h 1"/>
                <a:gd name="T8" fmla="*/ 0 w 8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49">
              <a:extLst>
                <a:ext uri="{FF2B5EF4-FFF2-40B4-BE49-F238E27FC236}">
                  <a16:creationId xmlns:a16="http://schemas.microsoft.com/office/drawing/2014/main" id="{0FE72423-3B99-46F4-9BEC-3964A003FC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8900" y="-26194"/>
              <a:ext cx="25400" cy="3175"/>
            </a:xfrm>
            <a:custGeom>
              <a:avLst/>
              <a:gdLst>
                <a:gd name="T0" fmla="*/ 8 w 8"/>
                <a:gd name="T1" fmla="*/ 0 h 1"/>
                <a:gd name="T2" fmla="*/ 0 w 8"/>
                <a:gd name="T3" fmla="*/ 0 h 1"/>
                <a:gd name="T4" fmla="*/ 0 w 8"/>
                <a:gd name="T5" fmla="*/ 1 h 1"/>
                <a:gd name="T6" fmla="*/ 8 w 8"/>
                <a:gd name="T7" fmla="*/ 1 h 1"/>
                <a:gd name="T8" fmla="*/ 8 w 8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50">
              <a:extLst>
                <a:ext uri="{FF2B5EF4-FFF2-40B4-BE49-F238E27FC236}">
                  <a16:creationId xmlns:a16="http://schemas.microsoft.com/office/drawing/2014/main" id="{89BB5F30-C1E8-4F42-8C78-98CF487E2E4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25" y="-23019"/>
              <a:ext cx="5003800" cy="2947988"/>
            </a:xfrm>
            <a:custGeom>
              <a:avLst/>
              <a:gdLst>
                <a:gd name="T0" fmla="*/ 1568 w 1576"/>
                <a:gd name="T1" fmla="*/ 140 h 928"/>
                <a:gd name="T2" fmla="*/ 788 w 1576"/>
                <a:gd name="T3" fmla="*/ 920 h 928"/>
                <a:gd name="T4" fmla="*/ 8 w 1576"/>
                <a:gd name="T5" fmla="*/ 140 h 928"/>
                <a:gd name="T6" fmla="*/ 21 w 1576"/>
                <a:gd name="T7" fmla="*/ 0 h 928"/>
                <a:gd name="T8" fmla="*/ 13 w 1576"/>
                <a:gd name="T9" fmla="*/ 0 h 928"/>
                <a:gd name="T10" fmla="*/ 0 w 1576"/>
                <a:gd name="T11" fmla="*/ 140 h 928"/>
                <a:gd name="T12" fmla="*/ 788 w 1576"/>
                <a:gd name="T13" fmla="*/ 928 h 928"/>
                <a:gd name="T14" fmla="*/ 1576 w 1576"/>
                <a:gd name="T15" fmla="*/ 140 h 928"/>
                <a:gd name="T16" fmla="*/ 1563 w 1576"/>
                <a:gd name="T17" fmla="*/ 0 h 928"/>
                <a:gd name="T18" fmla="*/ 1555 w 1576"/>
                <a:gd name="T19" fmla="*/ 0 h 928"/>
                <a:gd name="T20" fmla="*/ 1568 w 1576"/>
                <a:gd name="T21" fmla="*/ 140 h 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76" h="928">
                  <a:moveTo>
                    <a:pt x="1568" y="140"/>
                  </a:moveTo>
                  <a:cubicBezTo>
                    <a:pt x="1568" y="570"/>
                    <a:pt x="1218" y="920"/>
                    <a:pt x="788" y="920"/>
                  </a:cubicBezTo>
                  <a:cubicBezTo>
                    <a:pt x="358" y="920"/>
                    <a:pt x="8" y="570"/>
                    <a:pt x="8" y="140"/>
                  </a:cubicBezTo>
                  <a:cubicBezTo>
                    <a:pt x="8" y="92"/>
                    <a:pt x="13" y="45"/>
                    <a:pt x="21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4" y="45"/>
                    <a:pt x="0" y="92"/>
                    <a:pt x="0" y="140"/>
                  </a:cubicBezTo>
                  <a:cubicBezTo>
                    <a:pt x="0" y="575"/>
                    <a:pt x="354" y="928"/>
                    <a:pt x="788" y="928"/>
                  </a:cubicBezTo>
                  <a:cubicBezTo>
                    <a:pt x="1222" y="928"/>
                    <a:pt x="1576" y="575"/>
                    <a:pt x="1576" y="140"/>
                  </a:cubicBezTo>
                  <a:cubicBezTo>
                    <a:pt x="1576" y="92"/>
                    <a:pt x="1571" y="45"/>
                    <a:pt x="1563" y="0"/>
                  </a:cubicBezTo>
                  <a:cubicBezTo>
                    <a:pt x="1555" y="0"/>
                    <a:pt x="1555" y="0"/>
                    <a:pt x="1555" y="0"/>
                  </a:cubicBezTo>
                  <a:cubicBezTo>
                    <a:pt x="1563" y="45"/>
                    <a:pt x="1568" y="92"/>
                    <a:pt x="1568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51">
              <a:extLst>
                <a:ext uri="{FF2B5EF4-FFF2-40B4-BE49-F238E27FC236}">
                  <a16:creationId xmlns:a16="http://schemas.microsoft.com/office/drawing/2014/main" id="{EA17D0A7-E313-41A0-98CC-2E2867628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175" y="-26194"/>
              <a:ext cx="25400" cy="3175"/>
            </a:xfrm>
            <a:custGeom>
              <a:avLst/>
              <a:gdLst>
                <a:gd name="T0" fmla="*/ 8 w 8"/>
                <a:gd name="T1" fmla="*/ 1 h 1"/>
                <a:gd name="T2" fmla="*/ 8 w 8"/>
                <a:gd name="T3" fmla="*/ 0 h 1"/>
                <a:gd name="T4" fmla="*/ 0 w 8"/>
                <a:gd name="T5" fmla="*/ 0 h 1"/>
                <a:gd name="T6" fmla="*/ 0 w 8"/>
                <a:gd name="T7" fmla="*/ 1 h 1"/>
                <a:gd name="T8" fmla="*/ 8 w 8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8" y="1"/>
                  </a:moveTo>
                  <a:cubicBezTo>
                    <a:pt x="8" y="1"/>
                    <a:pt x="8" y="1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8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52">
              <a:extLst>
                <a:ext uri="{FF2B5EF4-FFF2-40B4-BE49-F238E27FC236}">
                  <a16:creationId xmlns:a16="http://schemas.microsoft.com/office/drawing/2014/main" id="{410B8D16-DFAA-44DB-9F8C-DB5663839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6475" y="-26194"/>
              <a:ext cx="25400" cy="3175"/>
            </a:xfrm>
            <a:custGeom>
              <a:avLst/>
              <a:gdLst>
                <a:gd name="T0" fmla="*/ 0 w 8"/>
                <a:gd name="T1" fmla="*/ 1 h 1"/>
                <a:gd name="T2" fmla="*/ 8 w 8"/>
                <a:gd name="T3" fmla="*/ 1 h 1"/>
                <a:gd name="T4" fmla="*/ 8 w 8"/>
                <a:gd name="T5" fmla="*/ 0 h 1"/>
                <a:gd name="T6" fmla="*/ 0 w 8"/>
                <a:gd name="T7" fmla="*/ 0 h 1"/>
                <a:gd name="T8" fmla="*/ 0 w 8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0" y="1"/>
                  </a:move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53">
              <a:extLst>
                <a:ext uri="{FF2B5EF4-FFF2-40B4-BE49-F238E27FC236}">
                  <a16:creationId xmlns:a16="http://schemas.microsoft.com/office/drawing/2014/main" id="{5914C65B-B85B-439A-AAA5-5C61AD640C5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900" y="-23019"/>
              <a:ext cx="4667250" cy="2782888"/>
            </a:xfrm>
            <a:custGeom>
              <a:avLst/>
              <a:gdLst>
                <a:gd name="T0" fmla="*/ 1462 w 1470"/>
                <a:gd name="T1" fmla="*/ 140 h 876"/>
                <a:gd name="T2" fmla="*/ 735 w 1470"/>
                <a:gd name="T3" fmla="*/ 868 h 876"/>
                <a:gd name="T4" fmla="*/ 7 w 1470"/>
                <a:gd name="T5" fmla="*/ 140 h 876"/>
                <a:gd name="T6" fmla="*/ 21 w 1470"/>
                <a:gd name="T7" fmla="*/ 0 h 876"/>
                <a:gd name="T8" fmla="*/ 13 w 1470"/>
                <a:gd name="T9" fmla="*/ 0 h 876"/>
                <a:gd name="T10" fmla="*/ 0 w 1470"/>
                <a:gd name="T11" fmla="*/ 140 h 876"/>
                <a:gd name="T12" fmla="*/ 735 w 1470"/>
                <a:gd name="T13" fmla="*/ 876 h 876"/>
                <a:gd name="T14" fmla="*/ 1470 w 1470"/>
                <a:gd name="T15" fmla="*/ 140 h 876"/>
                <a:gd name="T16" fmla="*/ 1457 w 1470"/>
                <a:gd name="T17" fmla="*/ 0 h 876"/>
                <a:gd name="T18" fmla="*/ 1449 w 1470"/>
                <a:gd name="T19" fmla="*/ 0 h 876"/>
                <a:gd name="T20" fmla="*/ 1462 w 1470"/>
                <a:gd name="T21" fmla="*/ 140 h 8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0" h="876">
                  <a:moveTo>
                    <a:pt x="1462" y="140"/>
                  </a:moveTo>
                  <a:cubicBezTo>
                    <a:pt x="1462" y="541"/>
                    <a:pt x="1136" y="868"/>
                    <a:pt x="735" y="868"/>
                  </a:cubicBezTo>
                  <a:cubicBezTo>
                    <a:pt x="334" y="868"/>
                    <a:pt x="7" y="541"/>
                    <a:pt x="7" y="140"/>
                  </a:cubicBezTo>
                  <a:cubicBezTo>
                    <a:pt x="7" y="92"/>
                    <a:pt x="12" y="45"/>
                    <a:pt x="21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4" y="45"/>
                    <a:pt x="0" y="92"/>
                    <a:pt x="0" y="140"/>
                  </a:cubicBezTo>
                  <a:cubicBezTo>
                    <a:pt x="0" y="546"/>
                    <a:pt x="329" y="876"/>
                    <a:pt x="735" y="876"/>
                  </a:cubicBezTo>
                  <a:cubicBezTo>
                    <a:pt x="1140" y="876"/>
                    <a:pt x="1470" y="546"/>
                    <a:pt x="1470" y="140"/>
                  </a:cubicBezTo>
                  <a:cubicBezTo>
                    <a:pt x="1470" y="92"/>
                    <a:pt x="1466" y="45"/>
                    <a:pt x="1457" y="0"/>
                  </a:cubicBezTo>
                  <a:cubicBezTo>
                    <a:pt x="1449" y="0"/>
                    <a:pt x="1449" y="0"/>
                    <a:pt x="1449" y="0"/>
                  </a:cubicBezTo>
                  <a:cubicBezTo>
                    <a:pt x="1458" y="45"/>
                    <a:pt x="1462" y="92"/>
                    <a:pt x="1462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54">
              <a:extLst>
                <a:ext uri="{FF2B5EF4-FFF2-40B4-BE49-F238E27FC236}">
                  <a16:creationId xmlns:a16="http://schemas.microsoft.com/office/drawing/2014/main" id="{C7B7B85C-FB66-4A10-A4F3-725A66061E82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8675" y="-26194"/>
              <a:ext cx="25400" cy="3175"/>
            </a:xfrm>
            <a:custGeom>
              <a:avLst/>
              <a:gdLst>
                <a:gd name="T0" fmla="*/ 0 w 8"/>
                <a:gd name="T1" fmla="*/ 0 h 1"/>
                <a:gd name="T2" fmla="*/ 0 w 8"/>
                <a:gd name="T3" fmla="*/ 1 h 1"/>
                <a:gd name="T4" fmla="*/ 8 w 8"/>
                <a:gd name="T5" fmla="*/ 1 h 1"/>
                <a:gd name="T6" fmla="*/ 8 w 8"/>
                <a:gd name="T7" fmla="*/ 0 h 1"/>
                <a:gd name="T8" fmla="*/ 0 w 8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55">
              <a:extLst>
                <a:ext uri="{FF2B5EF4-FFF2-40B4-BE49-F238E27FC236}">
                  <a16:creationId xmlns:a16="http://schemas.microsoft.com/office/drawing/2014/main" id="{4131AC18-190B-4561-AB47-B56120857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975" y="-26194"/>
              <a:ext cx="25400" cy="3175"/>
            </a:xfrm>
            <a:custGeom>
              <a:avLst/>
              <a:gdLst>
                <a:gd name="T0" fmla="*/ 8 w 8"/>
                <a:gd name="T1" fmla="*/ 0 h 1"/>
                <a:gd name="T2" fmla="*/ 0 w 8"/>
                <a:gd name="T3" fmla="*/ 0 h 1"/>
                <a:gd name="T4" fmla="*/ 0 w 8"/>
                <a:gd name="T5" fmla="*/ 1 h 1"/>
                <a:gd name="T6" fmla="*/ 8 w 8"/>
                <a:gd name="T7" fmla="*/ 1 h 1"/>
                <a:gd name="T8" fmla="*/ 8 w 8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56">
              <a:extLst>
                <a:ext uri="{FF2B5EF4-FFF2-40B4-BE49-F238E27FC236}">
                  <a16:creationId xmlns:a16="http://schemas.microsoft.com/office/drawing/2014/main" id="{6032E713-9CAF-445D-9298-FA3467CA938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350" y="-23019"/>
              <a:ext cx="4321175" cy="2608263"/>
            </a:xfrm>
            <a:custGeom>
              <a:avLst/>
              <a:gdLst>
                <a:gd name="T0" fmla="*/ 1353 w 1361"/>
                <a:gd name="T1" fmla="*/ 140 h 821"/>
                <a:gd name="T2" fmla="*/ 681 w 1361"/>
                <a:gd name="T3" fmla="*/ 813 h 821"/>
                <a:gd name="T4" fmla="*/ 8 w 1361"/>
                <a:gd name="T5" fmla="*/ 140 h 821"/>
                <a:gd name="T6" fmla="*/ 23 w 1361"/>
                <a:gd name="T7" fmla="*/ 0 h 821"/>
                <a:gd name="T8" fmla="*/ 15 w 1361"/>
                <a:gd name="T9" fmla="*/ 0 h 821"/>
                <a:gd name="T10" fmla="*/ 0 w 1361"/>
                <a:gd name="T11" fmla="*/ 140 h 821"/>
                <a:gd name="T12" fmla="*/ 681 w 1361"/>
                <a:gd name="T13" fmla="*/ 821 h 821"/>
                <a:gd name="T14" fmla="*/ 1361 w 1361"/>
                <a:gd name="T15" fmla="*/ 140 h 821"/>
                <a:gd name="T16" fmla="*/ 1347 w 1361"/>
                <a:gd name="T17" fmla="*/ 0 h 821"/>
                <a:gd name="T18" fmla="*/ 1339 w 1361"/>
                <a:gd name="T19" fmla="*/ 0 h 821"/>
                <a:gd name="T20" fmla="*/ 1353 w 1361"/>
                <a:gd name="T21" fmla="*/ 140 h 8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61" h="821">
                  <a:moveTo>
                    <a:pt x="1353" y="140"/>
                  </a:moveTo>
                  <a:cubicBezTo>
                    <a:pt x="1353" y="511"/>
                    <a:pt x="1052" y="813"/>
                    <a:pt x="681" y="813"/>
                  </a:cubicBezTo>
                  <a:cubicBezTo>
                    <a:pt x="310" y="813"/>
                    <a:pt x="8" y="511"/>
                    <a:pt x="8" y="140"/>
                  </a:cubicBezTo>
                  <a:cubicBezTo>
                    <a:pt x="8" y="92"/>
                    <a:pt x="13" y="45"/>
                    <a:pt x="23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5" y="45"/>
                    <a:pt x="0" y="92"/>
                    <a:pt x="0" y="140"/>
                  </a:cubicBezTo>
                  <a:cubicBezTo>
                    <a:pt x="0" y="515"/>
                    <a:pt x="306" y="821"/>
                    <a:pt x="681" y="821"/>
                  </a:cubicBezTo>
                  <a:cubicBezTo>
                    <a:pt x="1056" y="821"/>
                    <a:pt x="1361" y="515"/>
                    <a:pt x="1361" y="140"/>
                  </a:cubicBezTo>
                  <a:cubicBezTo>
                    <a:pt x="1361" y="92"/>
                    <a:pt x="1356" y="45"/>
                    <a:pt x="1347" y="0"/>
                  </a:cubicBezTo>
                  <a:cubicBezTo>
                    <a:pt x="1339" y="0"/>
                    <a:pt x="1339" y="0"/>
                    <a:pt x="1339" y="0"/>
                  </a:cubicBezTo>
                  <a:cubicBezTo>
                    <a:pt x="1348" y="45"/>
                    <a:pt x="1353" y="92"/>
                    <a:pt x="1353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57">
              <a:extLst>
                <a:ext uri="{FF2B5EF4-FFF2-40B4-BE49-F238E27FC236}">
                  <a16:creationId xmlns:a16="http://schemas.microsoft.com/office/drawing/2014/main" id="{62A064C6-B796-4755-B8F6-5F1247881D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3100" y="-26194"/>
              <a:ext cx="25400" cy="3175"/>
            </a:xfrm>
            <a:custGeom>
              <a:avLst/>
              <a:gdLst>
                <a:gd name="T0" fmla="*/ 0 w 8"/>
                <a:gd name="T1" fmla="*/ 1 h 1"/>
                <a:gd name="T2" fmla="*/ 8 w 8"/>
                <a:gd name="T3" fmla="*/ 1 h 1"/>
                <a:gd name="T4" fmla="*/ 8 w 8"/>
                <a:gd name="T5" fmla="*/ 0 h 1"/>
                <a:gd name="T6" fmla="*/ 0 w 8"/>
                <a:gd name="T7" fmla="*/ 0 h 1"/>
                <a:gd name="T8" fmla="*/ 0 w 8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0" y="1"/>
                  </a:move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58">
              <a:extLst>
                <a:ext uri="{FF2B5EF4-FFF2-40B4-BE49-F238E27FC236}">
                  <a16:creationId xmlns:a16="http://schemas.microsoft.com/office/drawing/2014/main" id="{C3CEC362-4AFD-4419-A6D5-01BFBAEADBF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550" y="-26194"/>
              <a:ext cx="25400" cy="3175"/>
            </a:xfrm>
            <a:custGeom>
              <a:avLst/>
              <a:gdLst>
                <a:gd name="T0" fmla="*/ 8 w 8"/>
                <a:gd name="T1" fmla="*/ 1 h 1"/>
                <a:gd name="T2" fmla="*/ 8 w 8"/>
                <a:gd name="T3" fmla="*/ 0 h 1"/>
                <a:gd name="T4" fmla="*/ 0 w 8"/>
                <a:gd name="T5" fmla="*/ 0 h 1"/>
                <a:gd name="T6" fmla="*/ 0 w 8"/>
                <a:gd name="T7" fmla="*/ 1 h 1"/>
                <a:gd name="T8" fmla="*/ 8 w 8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8" y="1"/>
                  </a:moveTo>
                  <a:cubicBezTo>
                    <a:pt x="8" y="1"/>
                    <a:pt x="8" y="1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8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59">
              <a:extLst>
                <a:ext uri="{FF2B5EF4-FFF2-40B4-BE49-F238E27FC236}">
                  <a16:creationId xmlns:a16="http://schemas.microsoft.com/office/drawing/2014/main" id="{5B843EE8-F7B5-46DD-8CD2-EF3D67D26C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750" y="-23019"/>
              <a:ext cx="4019550" cy="2455863"/>
            </a:xfrm>
            <a:custGeom>
              <a:avLst/>
              <a:gdLst>
                <a:gd name="T0" fmla="*/ 1258 w 1266"/>
                <a:gd name="T1" fmla="*/ 140 h 773"/>
                <a:gd name="T2" fmla="*/ 633 w 1266"/>
                <a:gd name="T3" fmla="*/ 765 h 773"/>
                <a:gd name="T4" fmla="*/ 8 w 1266"/>
                <a:gd name="T5" fmla="*/ 140 h 773"/>
                <a:gd name="T6" fmla="*/ 24 w 1266"/>
                <a:gd name="T7" fmla="*/ 0 h 773"/>
                <a:gd name="T8" fmla="*/ 16 w 1266"/>
                <a:gd name="T9" fmla="*/ 0 h 773"/>
                <a:gd name="T10" fmla="*/ 0 w 1266"/>
                <a:gd name="T11" fmla="*/ 140 h 773"/>
                <a:gd name="T12" fmla="*/ 633 w 1266"/>
                <a:gd name="T13" fmla="*/ 773 h 773"/>
                <a:gd name="T14" fmla="*/ 1266 w 1266"/>
                <a:gd name="T15" fmla="*/ 140 h 773"/>
                <a:gd name="T16" fmla="*/ 1250 w 1266"/>
                <a:gd name="T17" fmla="*/ 0 h 773"/>
                <a:gd name="T18" fmla="*/ 1242 w 1266"/>
                <a:gd name="T19" fmla="*/ 0 h 773"/>
                <a:gd name="T20" fmla="*/ 1258 w 1266"/>
                <a:gd name="T21" fmla="*/ 140 h 7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66" h="773">
                  <a:moveTo>
                    <a:pt x="1258" y="140"/>
                  </a:moveTo>
                  <a:cubicBezTo>
                    <a:pt x="1258" y="485"/>
                    <a:pt x="977" y="765"/>
                    <a:pt x="633" y="765"/>
                  </a:cubicBezTo>
                  <a:cubicBezTo>
                    <a:pt x="288" y="765"/>
                    <a:pt x="8" y="485"/>
                    <a:pt x="8" y="140"/>
                  </a:cubicBezTo>
                  <a:cubicBezTo>
                    <a:pt x="8" y="92"/>
                    <a:pt x="14" y="45"/>
                    <a:pt x="24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5" y="45"/>
                    <a:pt x="0" y="92"/>
                    <a:pt x="0" y="140"/>
                  </a:cubicBezTo>
                  <a:cubicBezTo>
                    <a:pt x="0" y="489"/>
                    <a:pt x="284" y="773"/>
                    <a:pt x="633" y="773"/>
                  </a:cubicBezTo>
                  <a:cubicBezTo>
                    <a:pt x="982" y="773"/>
                    <a:pt x="1266" y="489"/>
                    <a:pt x="1266" y="140"/>
                  </a:cubicBezTo>
                  <a:cubicBezTo>
                    <a:pt x="1266" y="92"/>
                    <a:pt x="1260" y="45"/>
                    <a:pt x="1250" y="0"/>
                  </a:cubicBezTo>
                  <a:cubicBezTo>
                    <a:pt x="1242" y="0"/>
                    <a:pt x="1242" y="0"/>
                    <a:pt x="1242" y="0"/>
                  </a:cubicBezTo>
                  <a:cubicBezTo>
                    <a:pt x="1252" y="45"/>
                    <a:pt x="1258" y="92"/>
                    <a:pt x="1258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1F0C7CAB-C81C-41B5-A18B-B0F8A4839BBB}"/>
              </a:ext>
            </a:extLst>
          </p:cNvPr>
          <p:cNvGrpSpPr/>
          <p:nvPr userDrawn="1"/>
        </p:nvGrpSpPr>
        <p:grpSpPr>
          <a:xfrm>
            <a:off x="3032411" y="173037"/>
            <a:ext cx="1497013" cy="1435100"/>
            <a:chOff x="688975" y="-5719961"/>
            <a:chExt cx="1497013" cy="1435100"/>
          </a:xfrm>
          <a:solidFill>
            <a:schemeClr val="tx1">
              <a:lumMod val="75000"/>
              <a:lumOff val="25000"/>
              <a:alpha val="5000"/>
            </a:schemeClr>
          </a:solidFill>
        </p:grpSpPr>
        <p:sp>
          <p:nvSpPr>
            <p:cNvPr id="79" name="Freeform 22">
              <a:extLst>
                <a:ext uri="{FF2B5EF4-FFF2-40B4-BE49-F238E27FC236}">
                  <a16:creationId xmlns:a16="http://schemas.microsoft.com/office/drawing/2014/main" id="{553B9D43-8545-4435-84A1-53ABA903152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450" y="-5583436"/>
              <a:ext cx="1008063" cy="60325"/>
            </a:xfrm>
            <a:custGeom>
              <a:avLst/>
              <a:gdLst>
                <a:gd name="T0" fmla="*/ 294 w 318"/>
                <a:gd name="T1" fmla="*/ 0 h 19"/>
                <a:gd name="T2" fmla="*/ 24 w 318"/>
                <a:gd name="T3" fmla="*/ 0 h 19"/>
                <a:gd name="T4" fmla="*/ 0 w 318"/>
                <a:gd name="T5" fmla="*/ 19 h 19"/>
                <a:gd name="T6" fmla="*/ 318 w 318"/>
                <a:gd name="T7" fmla="*/ 19 h 19"/>
                <a:gd name="T8" fmla="*/ 294 w 318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8" h="19">
                  <a:moveTo>
                    <a:pt x="29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16" y="6"/>
                    <a:pt x="8" y="12"/>
                    <a:pt x="0" y="19"/>
                  </a:cubicBezTo>
                  <a:cubicBezTo>
                    <a:pt x="318" y="19"/>
                    <a:pt x="318" y="19"/>
                    <a:pt x="318" y="19"/>
                  </a:cubicBezTo>
                  <a:cubicBezTo>
                    <a:pt x="310" y="12"/>
                    <a:pt x="302" y="6"/>
                    <a:pt x="294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23">
              <a:extLst>
                <a:ext uri="{FF2B5EF4-FFF2-40B4-BE49-F238E27FC236}">
                  <a16:creationId xmlns:a16="http://schemas.microsoft.com/office/drawing/2014/main" id="{1708E765-3EF5-41B7-B351-A206BED329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9350" y="-5719961"/>
              <a:ext cx="576263" cy="57150"/>
            </a:xfrm>
            <a:custGeom>
              <a:avLst/>
              <a:gdLst>
                <a:gd name="T0" fmla="*/ 91 w 182"/>
                <a:gd name="T1" fmla="*/ 0 h 18"/>
                <a:gd name="T2" fmla="*/ 0 w 182"/>
                <a:gd name="T3" fmla="*/ 18 h 18"/>
                <a:gd name="T4" fmla="*/ 182 w 182"/>
                <a:gd name="T5" fmla="*/ 18 h 18"/>
                <a:gd name="T6" fmla="*/ 91 w 182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2" h="18">
                  <a:moveTo>
                    <a:pt x="91" y="0"/>
                  </a:moveTo>
                  <a:cubicBezTo>
                    <a:pt x="59" y="0"/>
                    <a:pt x="28" y="7"/>
                    <a:pt x="0" y="18"/>
                  </a:cubicBezTo>
                  <a:cubicBezTo>
                    <a:pt x="182" y="18"/>
                    <a:pt x="182" y="18"/>
                    <a:pt x="182" y="18"/>
                  </a:cubicBezTo>
                  <a:cubicBezTo>
                    <a:pt x="154" y="7"/>
                    <a:pt x="123" y="0"/>
                    <a:pt x="9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24">
              <a:extLst>
                <a:ext uri="{FF2B5EF4-FFF2-40B4-BE49-F238E27FC236}">
                  <a16:creationId xmlns:a16="http://schemas.microsoft.com/office/drawing/2014/main" id="{0401B17B-0A44-4A98-979C-854945345432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975" y="-5446911"/>
              <a:ext cx="1243013" cy="60325"/>
            </a:xfrm>
            <a:custGeom>
              <a:avLst/>
              <a:gdLst>
                <a:gd name="T0" fmla="*/ 378 w 392"/>
                <a:gd name="T1" fmla="*/ 0 h 19"/>
                <a:gd name="T2" fmla="*/ 14 w 392"/>
                <a:gd name="T3" fmla="*/ 0 h 19"/>
                <a:gd name="T4" fmla="*/ 0 w 392"/>
                <a:gd name="T5" fmla="*/ 19 h 19"/>
                <a:gd name="T6" fmla="*/ 392 w 392"/>
                <a:gd name="T7" fmla="*/ 19 h 19"/>
                <a:gd name="T8" fmla="*/ 378 w 392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2" h="19">
                  <a:moveTo>
                    <a:pt x="378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9" y="6"/>
                    <a:pt x="4" y="12"/>
                    <a:pt x="0" y="19"/>
                  </a:cubicBezTo>
                  <a:cubicBezTo>
                    <a:pt x="392" y="19"/>
                    <a:pt x="392" y="19"/>
                    <a:pt x="392" y="19"/>
                  </a:cubicBezTo>
                  <a:cubicBezTo>
                    <a:pt x="387" y="12"/>
                    <a:pt x="383" y="6"/>
                    <a:pt x="378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25">
              <a:extLst>
                <a:ext uri="{FF2B5EF4-FFF2-40B4-BE49-F238E27FC236}">
                  <a16:creationId xmlns:a16="http://schemas.microsoft.com/office/drawing/2014/main" id="{D20B4BFB-255B-47EA-BC2B-8F1B03692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742950" y="-5310386"/>
              <a:ext cx="1389063" cy="60325"/>
            </a:xfrm>
            <a:custGeom>
              <a:avLst/>
              <a:gdLst>
                <a:gd name="T0" fmla="*/ 429 w 438"/>
                <a:gd name="T1" fmla="*/ 0 h 19"/>
                <a:gd name="T2" fmla="*/ 9 w 438"/>
                <a:gd name="T3" fmla="*/ 0 h 19"/>
                <a:gd name="T4" fmla="*/ 0 w 438"/>
                <a:gd name="T5" fmla="*/ 19 h 19"/>
                <a:gd name="T6" fmla="*/ 438 w 438"/>
                <a:gd name="T7" fmla="*/ 19 h 19"/>
                <a:gd name="T8" fmla="*/ 429 w 438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8" h="19">
                  <a:moveTo>
                    <a:pt x="42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5" y="7"/>
                    <a:pt x="3" y="13"/>
                    <a:pt x="0" y="19"/>
                  </a:cubicBezTo>
                  <a:cubicBezTo>
                    <a:pt x="438" y="19"/>
                    <a:pt x="438" y="19"/>
                    <a:pt x="438" y="19"/>
                  </a:cubicBezTo>
                  <a:cubicBezTo>
                    <a:pt x="435" y="13"/>
                    <a:pt x="432" y="7"/>
                    <a:pt x="429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26">
              <a:extLst>
                <a:ext uri="{FF2B5EF4-FFF2-40B4-BE49-F238E27FC236}">
                  <a16:creationId xmlns:a16="http://schemas.microsoft.com/office/drawing/2014/main" id="{403EDC1D-E79E-4E8C-A336-3F824231E1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675" y="-5170686"/>
              <a:ext cx="1468438" cy="60325"/>
            </a:xfrm>
            <a:custGeom>
              <a:avLst/>
              <a:gdLst>
                <a:gd name="T0" fmla="*/ 459 w 463"/>
                <a:gd name="T1" fmla="*/ 0 h 19"/>
                <a:gd name="T2" fmla="*/ 5 w 463"/>
                <a:gd name="T3" fmla="*/ 0 h 19"/>
                <a:gd name="T4" fmla="*/ 0 w 463"/>
                <a:gd name="T5" fmla="*/ 19 h 19"/>
                <a:gd name="T6" fmla="*/ 463 w 463"/>
                <a:gd name="T7" fmla="*/ 19 h 19"/>
                <a:gd name="T8" fmla="*/ 459 w 463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3" h="19">
                  <a:moveTo>
                    <a:pt x="45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3" y="6"/>
                    <a:pt x="2" y="12"/>
                    <a:pt x="0" y="19"/>
                  </a:cubicBezTo>
                  <a:cubicBezTo>
                    <a:pt x="463" y="19"/>
                    <a:pt x="463" y="19"/>
                    <a:pt x="463" y="19"/>
                  </a:cubicBezTo>
                  <a:cubicBezTo>
                    <a:pt x="462" y="12"/>
                    <a:pt x="461" y="6"/>
                    <a:pt x="459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27">
              <a:extLst>
                <a:ext uri="{FF2B5EF4-FFF2-40B4-BE49-F238E27FC236}">
                  <a16:creationId xmlns:a16="http://schemas.microsoft.com/office/drawing/2014/main" id="{774E66D5-B2F9-4D3E-9339-CDF5E97757CD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975" y="-5034161"/>
              <a:ext cx="1497013" cy="60325"/>
            </a:xfrm>
            <a:custGeom>
              <a:avLst/>
              <a:gdLst>
                <a:gd name="T0" fmla="*/ 471 w 472"/>
                <a:gd name="T1" fmla="*/ 0 h 19"/>
                <a:gd name="T2" fmla="*/ 1 w 472"/>
                <a:gd name="T3" fmla="*/ 0 h 19"/>
                <a:gd name="T4" fmla="*/ 0 w 472"/>
                <a:gd name="T5" fmla="*/ 19 h 19"/>
                <a:gd name="T6" fmla="*/ 472 w 472"/>
                <a:gd name="T7" fmla="*/ 19 h 19"/>
                <a:gd name="T8" fmla="*/ 471 w 472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2" h="19">
                  <a:moveTo>
                    <a:pt x="47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6"/>
                    <a:pt x="0" y="13"/>
                    <a:pt x="0" y="19"/>
                  </a:cubicBezTo>
                  <a:cubicBezTo>
                    <a:pt x="472" y="19"/>
                    <a:pt x="472" y="19"/>
                    <a:pt x="472" y="19"/>
                  </a:cubicBezTo>
                  <a:cubicBezTo>
                    <a:pt x="471" y="13"/>
                    <a:pt x="471" y="6"/>
                    <a:pt x="47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28">
              <a:extLst>
                <a:ext uri="{FF2B5EF4-FFF2-40B4-BE49-F238E27FC236}">
                  <a16:creationId xmlns:a16="http://schemas.microsoft.com/office/drawing/2014/main" id="{69E318F6-7B62-4A96-BE73-C5F3184F0D0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150" y="-4897636"/>
              <a:ext cx="1487488" cy="60325"/>
            </a:xfrm>
            <a:custGeom>
              <a:avLst/>
              <a:gdLst>
                <a:gd name="T0" fmla="*/ 469 w 469"/>
                <a:gd name="T1" fmla="*/ 0 h 19"/>
                <a:gd name="T2" fmla="*/ 0 w 469"/>
                <a:gd name="T3" fmla="*/ 0 h 19"/>
                <a:gd name="T4" fmla="*/ 3 w 469"/>
                <a:gd name="T5" fmla="*/ 19 h 19"/>
                <a:gd name="T6" fmla="*/ 467 w 469"/>
                <a:gd name="T7" fmla="*/ 19 h 19"/>
                <a:gd name="T8" fmla="*/ 469 w 469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9" h="19">
                  <a:moveTo>
                    <a:pt x="46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7"/>
                    <a:pt x="2" y="13"/>
                    <a:pt x="3" y="19"/>
                  </a:cubicBezTo>
                  <a:cubicBezTo>
                    <a:pt x="467" y="19"/>
                    <a:pt x="467" y="19"/>
                    <a:pt x="467" y="19"/>
                  </a:cubicBezTo>
                  <a:cubicBezTo>
                    <a:pt x="468" y="13"/>
                    <a:pt x="469" y="7"/>
                    <a:pt x="469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29">
              <a:extLst>
                <a:ext uri="{FF2B5EF4-FFF2-40B4-BE49-F238E27FC236}">
                  <a16:creationId xmlns:a16="http://schemas.microsoft.com/office/drawing/2014/main" id="{7E60674A-BACD-43CD-8B7F-9017E68D62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725" y="-4757936"/>
              <a:ext cx="1433513" cy="60325"/>
            </a:xfrm>
            <a:custGeom>
              <a:avLst/>
              <a:gdLst>
                <a:gd name="T0" fmla="*/ 452 w 452"/>
                <a:gd name="T1" fmla="*/ 0 h 19"/>
                <a:gd name="T2" fmla="*/ 0 w 452"/>
                <a:gd name="T3" fmla="*/ 0 h 19"/>
                <a:gd name="T4" fmla="*/ 6 w 452"/>
                <a:gd name="T5" fmla="*/ 19 h 19"/>
                <a:gd name="T6" fmla="*/ 445 w 452"/>
                <a:gd name="T7" fmla="*/ 19 h 19"/>
                <a:gd name="T8" fmla="*/ 452 w 452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2" h="19">
                  <a:moveTo>
                    <a:pt x="45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6"/>
                    <a:pt x="4" y="12"/>
                    <a:pt x="6" y="19"/>
                  </a:cubicBezTo>
                  <a:cubicBezTo>
                    <a:pt x="445" y="19"/>
                    <a:pt x="445" y="19"/>
                    <a:pt x="445" y="19"/>
                  </a:cubicBezTo>
                  <a:cubicBezTo>
                    <a:pt x="448" y="12"/>
                    <a:pt x="450" y="6"/>
                    <a:pt x="45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30">
              <a:extLst>
                <a:ext uri="{FF2B5EF4-FFF2-40B4-BE49-F238E27FC236}">
                  <a16:creationId xmlns:a16="http://schemas.microsoft.com/office/drawing/2014/main" id="{F4DB92E0-43AC-4F81-89AD-8985C9205326}"/>
                </a:ext>
              </a:extLst>
            </p:cNvPr>
            <p:cNvSpPr>
              <a:spLocks/>
            </p:cNvSpPr>
            <p:nvPr/>
          </p:nvSpPr>
          <p:spPr bwMode="auto">
            <a:xfrm>
              <a:off x="777875" y="-4621411"/>
              <a:ext cx="1319213" cy="60325"/>
            </a:xfrm>
            <a:custGeom>
              <a:avLst/>
              <a:gdLst>
                <a:gd name="T0" fmla="*/ 416 w 416"/>
                <a:gd name="T1" fmla="*/ 0 h 19"/>
                <a:gd name="T2" fmla="*/ 0 w 416"/>
                <a:gd name="T3" fmla="*/ 0 h 19"/>
                <a:gd name="T4" fmla="*/ 11 w 416"/>
                <a:gd name="T5" fmla="*/ 19 h 19"/>
                <a:gd name="T6" fmla="*/ 405 w 416"/>
                <a:gd name="T7" fmla="*/ 19 h 19"/>
                <a:gd name="T8" fmla="*/ 416 w 416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6" h="19">
                  <a:moveTo>
                    <a:pt x="41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" y="7"/>
                    <a:pt x="7" y="13"/>
                    <a:pt x="11" y="19"/>
                  </a:cubicBezTo>
                  <a:cubicBezTo>
                    <a:pt x="405" y="19"/>
                    <a:pt x="405" y="19"/>
                    <a:pt x="405" y="19"/>
                  </a:cubicBezTo>
                  <a:cubicBezTo>
                    <a:pt x="409" y="13"/>
                    <a:pt x="413" y="7"/>
                    <a:pt x="416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31">
              <a:extLst>
                <a:ext uri="{FF2B5EF4-FFF2-40B4-BE49-F238E27FC236}">
                  <a16:creationId xmlns:a16="http://schemas.microsoft.com/office/drawing/2014/main" id="{19DC0AD1-8BCD-40BD-AFA9-9E86D9D7619A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950" y="-4484886"/>
              <a:ext cx="1135063" cy="60325"/>
            </a:xfrm>
            <a:custGeom>
              <a:avLst/>
              <a:gdLst>
                <a:gd name="T0" fmla="*/ 358 w 358"/>
                <a:gd name="T1" fmla="*/ 0 h 19"/>
                <a:gd name="T2" fmla="*/ 0 w 358"/>
                <a:gd name="T3" fmla="*/ 0 h 19"/>
                <a:gd name="T4" fmla="*/ 18 w 358"/>
                <a:gd name="T5" fmla="*/ 19 h 19"/>
                <a:gd name="T6" fmla="*/ 339 w 358"/>
                <a:gd name="T7" fmla="*/ 19 h 19"/>
                <a:gd name="T8" fmla="*/ 358 w 358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8" h="19">
                  <a:moveTo>
                    <a:pt x="35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" y="7"/>
                    <a:pt x="12" y="13"/>
                    <a:pt x="18" y="19"/>
                  </a:cubicBezTo>
                  <a:cubicBezTo>
                    <a:pt x="339" y="19"/>
                    <a:pt x="339" y="19"/>
                    <a:pt x="339" y="19"/>
                  </a:cubicBezTo>
                  <a:cubicBezTo>
                    <a:pt x="346" y="13"/>
                    <a:pt x="352" y="7"/>
                    <a:pt x="358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32">
              <a:extLst>
                <a:ext uri="{FF2B5EF4-FFF2-40B4-BE49-F238E27FC236}">
                  <a16:creationId xmlns:a16="http://schemas.microsoft.com/office/drawing/2014/main" id="{53CD8091-772D-4EA7-ACC8-68B12D4370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5525" y="-4345186"/>
              <a:ext cx="820738" cy="60325"/>
            </a:xfrm>
            <a:custGeom>
              <a:avLst/>
              <a:gdLst>
                <a:gd name="T0" fmla="*/ 259 w 259"/>
                <a:gd name="T1" fmla="*/ 0 h 19"/>
                <a:gd name="T2" fmla="*/ 0 w 259"/>
                <a:gd name="T3" fmla="*/ 0 h 19"/>
                <a:gd name="T4" fmla="*/ 35 w 259"/>
                <a:gd name="T5" fmla="*/ 19 h 19"/>
                <a:gd name="T6" fmla="*/ 225 w 259"/>
                <a:gd name="T7" fmla="*/ 19 h 19"/>
                <a:gd name="T8" fmla="*/ 259 w 259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9" h="19">
                  <a:moveTo>
                    <a:pt x="25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1" y="7"/>
                    <a:pt x="23" y="13"/>
                    <a:pt x="35" y="19"/>
                  </a:cubicBezTo>
                  <a:cubicBezTo>
                    <a:pt x="225" y="19"/>
                    <a:pt x="225" y="19"/>
                    <a:pt x="225" y="19"/>
                  </a:cubicBezTo>
                  <a:cubicBezTo>
                    <a:pt x="237" y="13"/>
                    <a:pt x="248" y="7"/>
                    <a:pt x="259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1690047-4235-43F0-9F2A-44A8E93985C0}"/>
              </a:ext>
            </a:extLst>
          </p:cNvPr>
          <p:cNvCxnSpPr/>
          <p:nvPr userDrawn="1"/>
        </p:nvCxnSpPr>
        <p:spPr>
          <a:xfrm>
            <a:off x="9596819" y="6389084"/>
            <a:ext cx="0" cy="166687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4FB12A1E-4F15-4F33-B763-5A6EFE334E7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7" y="1923836"/>
            <a:ext cx="5312211" cy="3485341"/>
          </a:xfrm>
          <a:custGeom>
            <a:avLst/>
            <a:gdLst>
              <a:gd name="connsiteX0" fmla="*/ 0 w 5312211"/>
              <a:gd name="connsiteY0" fmla="*/ 0 h 3286701"/>
              <a:gd name="connsiteX1" fmla="*/ 4764417 w 5312211"/>
              <a:gd name="connsiteY1" fmla="*/ 0 h 3286701"/>
              <a:gd name="connsiteX2" fmla="*/ 5312211 w 5312211"/>
              <a:gd name="connsiteY2" fmla="*/ 547794 h 3286701"/>
              <a:gd name="connsiteX3" fmla="*/ 5312211 w 5312211"/>
              <a:gd name="connsiteY3" fmla="*/ 3286701 h 3286701"/>
              <a:gd name="connsiteX4" fmla="*/ 0 w 5312211"/>
              <a:gd name="connsiteY4" fmla="*/ 3286701 h 32867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2211" h="3286701">
                <a:moveTo>
                  <a:pt x="0" y="0"/>
                </a:moveTo>
                <a:lnTo>
                  <a:pt x="4764417" y="0"/>
                </a:lnTo>
                <a:lnTo>
                  <a:pt x="5312211" y="547794"/>
                </a:lnTo>
                <a:lnTo>
                  <a:pt x="5312211" y="3286701"/>
                </a:lnTo>
                <a:lnTo>
                  <a:pt x="0" y="328670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C6C13410-168C-4F8C-81CA-DD28C7DA65DE}"/>
              </a:ext>
            </a:extLst>
          </p:cNvPr>
          <p:cNvSpPr/>
          <p:nvPr userDrawn="1"/>
        </p:nvSpPr>
        <p:spPr>
          <a:xfrm>
            <a:off x="9154312" y="6309837"/>
            <a:ext cx="333533" cy="333533"/>
          </a:xfrm>
          <a:prstGeom prst="roundRect">
            <a:avLst>
              <a:gd name="adj" fmla="val 9599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Slide Number Placeholder 13">
            <a:extLst>
              <a:ext uri="{FF2B5EF4-FFF2-40B4-BE49-F238E27FC236}">
                <a16:creationId xmlns:a16="http://schemas.microsoft.com/office/drawing/2014/main" id="{637BC374-BE76-469D-812B-941EB9546B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05250" y="6350048"/>
            <a:ext cx="431656" cy="2267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fld id="{1F70EEBF-E97C-49FF-B05B-3B4D348638DC}" type="slidenum">
              <a:rPr lang="en-US" smtClean="0"/>
              <a:pPr/>
              <a:t>‹Nr.›</a:t>
            </a:fld>
            <a:endParaRPr lang="en-US" dirty="0"/>
          </a:p>
        </p:txBody>
      </p:sp>
      <p:grpSp>
        <p:nvGrpSpPr>
          <p:cNvPr id="91" name="Group 90">
            <a:extLst>
              <a:ext uri="{FF2B5EF4-FFF2-40B4-BE49-F238E27FC236}">
                <a16:creationId xmlns:a16="http://schemas.microsoft.com/office/drawing/2014/main" id="{6DA838B9-8E38-4E07-BF3E-A3878C1B7B86}"/>
              </a:ext>
            </a:extLst>
          </p:cNvPr>
          <p:cNvGrpSpPr/>
          <p:nvPr userDrawn="1"/>
        </p:nvGrpSpPr>
        <p:grpSpPr>
          <a:xfrm flipH="1">
            <a:off x="9760843" y="125"/>
            <a:ext cx="2431157" cy="2744859"/>
            <a:chOff x="1781175" y="-333375"/>
            <a:chExt cx="4314825" cy="6070600"/>
          </a:xfrm>
        </p:grpSpPr>
        <p:sp>
          <p:nvSpPr>
            <p:cNvPr id="92" name="Freeform 6">
              <a:extLst>
                <a:ext uri="{FF2B5EF4-FFF2-40B4-BE49-F238E27FC236}">
                  <a16:creationId xmlns:a16="http://schemas.microsoft.com/office/drawing/2014/main" id="{11FC56E9-F946-446D-89ED-4FADA153D7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81175" y="-333375"/>
              <a:ext cx="4314825" cy="6070600"/>
            </a:xfrm>
            <a:custGeom>
              <a:avLst/>
              <a:gdLst>
                <a:gd name="T0" fmla="*/ 877 w 2718"/>
                <a:gd name="T1" fmla="*/ 0 h 3824"/>
                <a:gd name="T2" fmla="*/ 0 w 2718"/>
                <a:gd name="T3" fmla="*/ 3793 h 3824"/>
                <a:gd name="T4" fmla="*/ 0 w 2718"/>
                <a:gd name="T5" fmla="*/ 3824 h 3824"/>
                <a:gd name="T6" fmla="*/ 2718 w 2718"/>
                <a:gd name="T7" fmla="*/ 0 h 3824"/>
                <a:gd name="T8" fmla="*/ 877 w 2718"/>
                <a:gd name="T9" fmla="*/ 0 h 3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18" h="3824">
                  <a:moveTo>
                    <a:pt x="877" y="0"/>
                  </a:moveTo>
                  <a:lnTo>
                    <a:pt x="0" y="3793"/>
                  </a:lnTo>
                  <a:lnTo>
                    <a:pt x="0" y="3824"/>
                  </a:lnTo>
                  <a:lnTo>
                    <a:pt x="2718" y="0"/>
                  </a:lnTo>
                  <a:lnTo>
                    <a:pt x="877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/>
                </a:gs>
                <a:gs pos="100000">
                  <a:schemeClr val="accent1"/>
                </a:gs>
              </a:gsLst>
              <a:lin ang="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7">
              <a:extLst>
                <a:ext uri="{FF2B5EF4-FFF2-40B4-BE49-F238E27FC236}">
                  <a16:creationId xmlns:a16="http://schemas.microsoft.com/office/drawing/2014/main" id="{3F46FEB4-8FF7-425D-AD19-C26DA3195A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81175" y="-333375"/>
              <a:ext cx="1897064" cy="2189162"/>
            </a:xfrm>
            <a:custGeom>
              <a:avLst/>
              <a:gdLst>
                <a:gd name="T0" fmla="*/ 0 w 1195"/>
                <a:gd name="T1" fmla="*/ 0 h 1379"/>
                <a:gd name="T2" fmla="*/ 0 w 1195"/>
                <a:gd name="T3" fmla="*/ 1379 h 1379"/>
                <a:gd name="T4" fmla="*/ 1195 w 1195"/>
                <a:gd name="T5" fmla="*/ 0 h 1379"/>
                <a:gd name="T6" fmla="*/ 0 w 1195"/>
                <a:gd name="T7" fmla="*/ 0 h 1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95" h="1379">
                  <a:moveTo>
                    <a:pt x="0" y="0"/>
                  </a:moveTo>
                  <a:lnTo>
                    <a:pt x="0" y="1379"/>
                  </a:lnTo>
                  <a:lnTo>
                    <a:pt x="119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8">
              <a:extLst>
                <a:ext uri="{FF2B5EF4-FFF2-40B4-BE49-F238E27FC236}">
                  <a16:creationId xmlns:a16="http://schemas.microsoft.com/office/drawing/2014/main" id="{F0874858-B44D-47D3-A77D-A52DD2F61D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81175" y="-333375"/>
              <a:ext cx="1897063" cy="2189162"/>
            </a:xfrm>
            <a:custGeom>
              <a:avLst/>
              <a:gdLst>
                <a:gd name="T0" fmla="*/ 1176 w 1195"/>
                <a:gd name="T1" fmla="*/ 0 h 1379"/>
                <a:gd name="T2" fmla="*/ 0 w 1195"/>
                <a:gd name="T3" fmla="*/ 1184 h 1379"/>
                <a:gd name="T4" fmla="*/ 0 w 1195"/>
                <a:gd name="T5" fmla="*/ 1379 h 1379"/>
                <a:gd name="T6" fmla="*/ 1195 w 1195"/>
                <a:gd name="T7" fmla="*/ 0 h 1379"/>
                <a:gd name="T8" fmla="*/ 1176 w 1195"/>
                <a:gd name="T9" fmla="*/ 0 h 1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95" h="1379">
                  <a:moveTo>
                    <a:pt x="1176" y="0"/>
                  </a:moveTo>
                  <a:lnTo>
                    <a:pt x="0" y="1184"/>
                  </a:lnTo>
                  <a:lnTo>
                    <a:pt x="0" y="1379"/>
                  </a:lnTo>
                  <a:lnTo>
                    <a:pt x="1195" y="0"/>
                  </a:lnTo>
                  <a:lnTo>
                    <a:pt x="1176" y="0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  <a:alpha val="2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9">
              <a:extLst>
                <a:ext uri="{FF2B5EF4-FFF2-40B4-BE49-F238E27FC236}">
                  <a16:creationId xmlns:a16="http://schemas.microsoft.com/office/drawing/2014/main" id="{037A1A2B-54A1-4D8F-8B0B-BE13C4D69C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81175" y="-333375"/>
              <a:ext cx="1916113" cy="6040436"/>
            </a:xfrm>
            <a:custGeom>
              <a:avLst/>
              <a:gdLst>
                <a:gd name="T0" fmla="*/ 1195 w 1207"/>
                <a:gd name="T1" fmla="*/ 0 h 3805"/>
                <a:gd name="T2" fmla="*/ 0 w 1207"/>
                <a:gd name="T3" fmla="*/ 1379 h 3805"/>
                <a:gd name="T4" fmla="*/ 0 w 1207"/>
                <a:gd name="T5" fmla="*/ 3805 h 3805"/>
                <a:gd name="T6" fmla="*/ 1207 w 1207"/>
                <a:gd name="T7" fmla="*/ 0 h 3805"/>
                <a:gd name="T8" fmla="*/ 1195 w 1207"/>
                <a:gd name="T9" fmla="*/ 0 h 38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07" h="3805">
                  <a:moveTo>
                    <a:pt x="1195" y="0"/>
                  </a:moveTo>
                  <a:lnTo>
                    <a:pt x="0" y="1379"/>
                  </a:lnTo>
                  <a:lnTo>
                    <a:pt x="0" y="3805"/>
                  </a:lnTo>
                  <a:lnTo>
                    <a:pt x="1207" y="0"/>
                  </a:lnTo>
                  <a:lnTo>
                    <a:pt x="1195" y="0"/>
                  </a:ln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100000">
                  <a:schemeClr val="accent4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10">
              <a:extLst>
                <a:ext uri="{FF2B5EF4-FFF2-40B4-BE49-F238E27FC236}">
                  <a16:creationId xmlns:a16="http://schemas.microsoft.com/office/drawing/2014/main" id="{EB499A8E-B799-4893-B707-ED5A363050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81175" y="1301750"/>
              <a:ext cx="1398587" cy="4405312"/>
            </a:xfrm>
            <a:custGeom>
              <a:avLst/>
              <a:gdLst>
                <a:gd name="T0" fmla="*/ 0 w 881"/>
                <a:gd name="T1" fmla="*/ 494 h 2775"/>
                <a:gd name="T2" fmla="*/ 0 w 881"/>
                <a:gd name="T3" fmla="*/ 2775 h 2775"/>
                <a:gd name="T4" fmla="*/ 881 w 881"/>
                <a:gd name="T5" fmla="*/ 0 h 2775"/>
                <a:gd name="T6" fmla="*/ 0 w 881"/>
                <a:gd name="T7" fmla="*/ 494 h 2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81" h="2775">
                  <a:moveTo>
                    <a:pt x="0" y="494"/>
                  </a:moveTo>
                  <a:lnTo>
                    <a:pt x="0" y="2775"/>
                  </a:lnTo>
                  <a:lnTo>
                    <a:pt x="881" y="0"/>
                  </a:lnTo>
                  <a:lnTo>
                    <a:pt x="0" y="494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/>
                </a:gs>
                <a:gs pos="100000">
                  <a:schemeClr val="accent4"/>
                </a:gs>
              </a:gsLst>
              <a:lin ang="1620000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97" name="Footer Placeholder 3">
            <a:extLst>
              <a:ext uri="{FF2B5EF4-FFF2-40B4-BE49-F238E27FC236}">
                <a16:creationId xmlns:a16="http://schemas.microsoft.com/office/drawing/2014/main" id="{3877F48A-B26F-4C5B-BFB3-91C7E752AA70}"/>
              </a:ext>
            </a:extLst>
          </p:cNvPr>
          <p:cNvSpPr txBox="1">
            <a:spLocks/>
          </p:cNvSpPr>
          <p:nvPr userDrawn="1"/>
        </p:nvSpPr>
        <p:spPr>
          <a:xfrm>
            <a:off x="9673020" y="6346643"/>
            <a:ext cx="2062071" cy="25474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 spc="0" baseline="0">
                <a:solidFill>
                  <a:schemeClr val="bg1">
                    <a:lumMod val="6500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08. November 2022</a:t>
            </a:r>
          </a:p>
        </p:txBody>
      </p:sp>
    </p:spTree>
    <p:extLst>
      <p:ext uri="{BB962C8B-B14F-4D97-AF65-F5344CB8AC3E}">
        <p14:creationId xmlns:p14="http://schemas.microsoft.com/office/powerpoint/2010/main" val="26848576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Full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E8CACA21-A72F-4920-AA54-3E20921B1B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712402" y="6335762"/>
            <a:ext cx="2062071" cy="254745"/>
          </a:xfrm>
          <a:prstGeom prst="rect">
            <a:avLst/>
          </a:prstGeom>
        </p:spPr>
        <p:txBody>
          <a:bodyPr/>
          <a:lstStyle>
            <a:lvl1pPr algn="l">
              <a:defRPr sz="1200" spc="0" baseline="0">
                <a:solidFill>
                  <a:schemeClr val="bg1">
                    <a:lumMod val="65000"/>
                  </a:schemeClr>
                </a:solidFill>
                <a:effectLst/>
                <a:latin typeface="+mn-lt"/>
              </a:defRPr>
            </a:lvl1pPr>
          </a:lstStyle>
          <a:p>
            <a:r>
              <a:rPr lang="en-US"/>
              <a:t>insertyoururlhere.com</a:t>
            </a:r>
            <a:endParaRPr lang="en-US" dirty="0"/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08C84B09-FAEC-4A75-8886-DC153F75334C}"/>
              </a:ext>
            </a:extLst>
          </p:cNvPr>
          <p:cNvGrpSpPr/>
          <p:nvPr userDrawn="1"/>
        </p:nvGrpSpPr>
        <p:grpSpPr>
          <a:xfrm>
            <a:off x="855518" y="2510"/>
            <a:ext cx="1997364" cy="1405659"/>
            <a:chOff x="1450975" y="-26194"/>
            <a:chExt cx="2197100" cy="1546225"/>
          </a:xfrm>
          <a:solidFill>
            <a:schemeClr val="tx1">
              <a:lumMod val="75000"/>
              <a:lumOff val="25000"/>
              <a:alpha val="10000"/>
            </a:schemeClr>
          </a:solidFill>
        </p:grpSpPr>
        <p:sp>
          <p:nvSpPr>
            <p:cNvPr id="47" name="Freeform 30">
              <a:extLst>
                <a:ext uri="{FF2B5EF4-FFF2-40B4-BE49-F238E27FC236}">
                  <a16:creationId xmlns:a16="http://schemas.microsoft.com/office/drawing/2014/main" id="{8FD86F56-87BC-4766-9BB4-6324531D141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0125" y="-26194"/>
              <a:ext cx="12700" cy="3175"/>
            </a:xfrm>
            <a:custGeom>
              <a:avLst/>
              <a:gdLst>
                <a:gd name="T0" fmla="*/ 0 w 4"/>
                <a:gd name="T1" fmla="*/ 0 h 1"/>
                <a:gd name="T2" fmla="*/ 0 w 4"/>
                <a:gd name="T3" fmla="*/ 1 h 1"/>
                <a:gd name="T4" fmla="*/ 4 w 4"/>
                <a:gd name="T5" fmla="*/ 1 h 1"/>
                <a:gd name="T6" fmla="*/ 4 w 4"/>
                <a:gd name="T7" fmla="*/ 0 h 1"/>
                <a:gd name="T8" fmla="*/ 0 w 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31">
              <a:extLst>
                <a:ext uri="{FF2B5EF4-FFF2-40B4-BE49-F238E27FC236}">
                  <a16:creationId xmlns:a16="http://schemas.microsoft.com/office/drawing/2014/main" id="{62D41CD2-0B48-465B-9761-59D240850B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225" y="-26194"/>
              <a:ext cx="12700" cy="3175"/>
            </a:xfrm>
            <a:custGeom>
              <a:avLst/>
              <a:gdLst>
                <a:gd name="T0" fmla="*/ 4 w 4"/>
                <a:gd name="T1" fmla="*/ 0 h 1"/>
                <a:gd name="T2" fmla="*/ 0 w 4"/>
                <a:gd name="T3" fmla="*/ 0 h 1"/>
                <a:gd name="T4" fmla="*/ 0 w 4"/>
                <a:gd name="T5" fmla="*/ 1 h 1"/>
                <a:gd name="T6" fmla="*/ 4 w 4"/>
                <a:gd name="T7" fmla="*/ 1 h 1"/>
                <a:gd name="T8" fmla="*/ 4 w 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32">
              <a:extLst>
                <a:ext uri="{FF2B5EF4-FFF2-40B4-BE49-F238E27FC236}">
                  <a16:creationId xmlns:a16="http://schemas.microsoft.com/office/drawing/2014/main" id="{9D7D6241-E72C-45D3-9511-3BDF420D5AB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0975" y="-23019"/>
              <a:ext cx="2197100" cy="1543050"/>
            </a:xfrm>
            <a:custGeom>
              <a:avLst/>
              <a:gdLst>
                <a:gd name="T0" fmla="*/ 688 w 692"/>
                <a:gd name="T1" fmla="*/ 140 h 486"/>
                <a:gd name="T2" fmla="*/ 346 w 692"/>
                <a:gd name="T3" fmla="*/ 483 h 486"/>
                <a:gd name="T4" fmla="*/ 3 w 692"/>
                <a:gd name="T5" fmla="*/ 140 h 486"/>
                <a:gd name="T6" fmla="*/ 34 w 692"/>
                <a:gd name="T7" fmla="*/ 0 h 486"/>
                <a:gd name="T8" fmla="*/ 30 w 692"/>
                <a:gd name="T9" fmla="*/ 0 h 486"/>
                <a:gd name="T10" fmla="*/ 0 w 692"/>
                <a:gd name="T11" fmla="*/ 140 h 486"/>
                <a:gd name="T12" fmla="*/ 346 w 692"/>
                <a:gd name="T13" fmla="*/ 486 h 486"/>
                <a:gd name="T14" fmla="*/ 692 w 692"/>
                <a:gd name="T15" fmla="*/ 140 h 486"/>
                <a:gd name="T16" fmla="*/ 662 w 692"/>
                <a:gd name="T17" fmla="*/ 0 h 486"/>
                <a:gd name="T18" fmla="*/ 658 w 692"/>
                <a:gd name="T19" fmla="*/ 0 h 486"/>
                <a:gd name="T20" fmla="*/ 688 w 692"/>
                <a:gd name="T21" fmla="*/ 140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92" h="486">
                  <a:moveTo>
                    <a:pt x="688" y="140"/>
                  </a:moveTo>
                  <a:cubicBezTo>
                    <a:pt x="688" y="329"/>
                    <a:pt x="535" y="483"/>
                    <a:pt x="346" y="483"/>
                  </a:cubicBezTo>
                  <a:cubicBezTo>
                    <a:pt x="157" y="483"/>
                    <a:pt x="3" y="329"/>
                    <a:pt x="3" y="140"/>
                  </a:cubicBezTo>
                  <a:cubicBezTo>
                    <a:pt x="3" y="90"/>
                    <a:pt x="14" y="43"/>
                    <a:pt x="34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11" y="43"/>
                    <a:pt x="0" y="90"/>
                    <a:pt x="0" y="140"/>
                  </a:cubicBezTo>
                  <a:cubicBezTo>
                    <a:pt x="0" y="331"/>
                    <a:pt x="155" y="486"/>
                    <a:pt x="346" y="486"/>
                  </a:cubicBezTo>
                  <a:cubicBezTo>
                    <a:pt x="536" y="486"/>
                    <a:pt x="692" y="331"/>
                    <a:pt x="692" y="140"/>
                  </a:cubicBezTo>
                  <a:cubicBezTo>
                    <a:pt x="692" y="90"/>
                    <a:pt x="681" y="43"/>
                    <a:pt x="662" y="0"/>
                  </a:cubicBezTo>
                  <a:cubicBezTo>
                    <a:pt x="658" y="0"/>
                    <a:pt x="658" y="0"/>
                    <a:pt x="658" y="0"/>
                  </a:cubicBezTo>
                  <a:cubicBezTo>
                    <a:pt x="677" y="43"/>
                    <a:pt x="688" y="90"/>
                    <a:pt x="688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33">
              <a:extLst>
                <a:ext uri="{FF2B5EF4-FFF2-40B4-BE49-F238E27FC236}">
                  <a16:creationId xmlns:a16="http://schemas.microsoft.com/office/drawing/2014/main" id="{5950A7FD-AAE1-4253-8AE1-2B966BBDC88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3925" y="-26194"/>
              <a:ext cx="9525" cy="3175"/>
            </a:xfrm>
            <a:custGeom>
              <a:avLst/>
              <a:gdLst>
                <a:gd name="T0" fmla="*/ 0 w 3"/>
                <a:gd name="T1" fmla="*/ 1 h 1"/>
                <a:gd name="T2" fmla="*/ 3 w 3"/>
                <a:gd name="T3" fmla="*/ 1 h 1"/>
                <a:gd name="T4" fmla="*/ 3 w 3"/>
                <a:gd name="T5" fmla="*/ 0 h 1"/>
                <a:gd name="T6" fmla="*/ 0 w 3"/>
                <a:gd name="T7" fmla="*/ 0 h 1"/>
                <a:gd name="T8" fmla="*/ 0 w 3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34">
              <a:extLst>
                <a:ext uri="{FF2B5EF4-FFF2-40B4-BE49-F238E27FC236}">
                  <a16:creationId xmlns:a16="http://schemas.microsoft.com/office/drawing/2014/main" id="{A2B9865F-376A-4638-B3AA-FA96E16496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2425" y="-26194"/>
              <a:ext cx="12700" cy="3175"/>
            </a:xfrm>
            <a:custGeom>
              <a:avLst/>
              <a:gdLst>
                <a:gd name="T0" fmla="*/ 4 w 4"/>
                <a:gd name="T1" fmla="*/ 1 h 1"/>
                <a:gd name="T2" fmla="*/ 4 w 4"/>
                <a:gd name="T3" fmla="*/ 0 h 1"/>
                <a:gd name="T4" fmla="*/ 1 w 4"/>
                <a:gd name="T5" fmla="*/ 0 h 1"/>
                <a:gd name="T6" fmla="*/ 0 w 4"/>
                <a:gd name="T7" fmla="*/ 1 h 1"/>
                <a:gd name="T8" fmla="*/ 4 w 4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1"/>
                  </a:moveTo>
                  <a:cubicBezTo>
                    <a:pt x="4" y="1"/>
                    <a:pt x="4" y="1"/>
                    <a:pt x="4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35">
              <a:extLst>
                <a:ext uri="{FF2B5EF4-FFF2-40B4-BE49-F238E27FC236}">
                  <a16:creationId xmlns:a16="http://schemas.microsoft.com/office/drawing/2014/main" id="{7C0CAAD9-B35B-48A2-B02F-21ED7215DC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0825" y="-23019"/>
              <a:ext cx="2054225" cy="1473200"/>
            </a:xfrm>
            <a:custGeom>
              <a:avLst/>
              <a:gdLst>
                <a:gd name="T0" fmla="*/ 644 w 647"/>
                <a:gd name="T1" fmla="*/ 140 h 464"/>
                <a:gd name="T2" fmla="*/ 324 w 647"/>
                <a:gd name="T3" fmla="*/ 460 h 464"/>
                <a:gd name="T4" fmla="*/ 4 w 647"/>
                <a:gd name="T5" fmla="*/ 140 h 464"/>
                <a:gd name="T6" fmla="*/ 36 w 647"/>
                <a:gd name="T7" fmla="*/ 0 h 464"/>
                <a:gd name="T8" fmla="*/ 32 w 647"/>
                <a:gd name="T9" fmla="*/ 0 h 464"/>
                <a:gd name="T10" fmla="*/ 0 w 647"/>
                <a:gd name="T11" fmla="*/ 140 h 464"/>
                <a:gd name="T12" fmla="*/ 324 w 647"/>
                <a:gd name="T13" fmla="*/ 464 h 464"/>
                <a:gd name="T14" fmla="*/ 647 w 647"/>
                <a:gd name="T15" fmla="*/ 140 h 464"/>
                <a:gd name="T16" fmla="*/ 615 w 647"/>
                <a:gd name="T17" fmla="*/ 0 h 464"/>
                <a:gd name="T18" fmla="*/ 612 w 647"/>
                <a:gd name="T19" fmla="*/ 0 h 464"/>
                <a:gd name="T20" fmla="*/ 644 w 647"/>
                <a:gd name="T21" fmla="*/ 140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47" h="464">
                  <a:moveTo>
                    <a:pt x="644" y="140"/>
                  </a:moveTo>
                  <a:cubicBezTo>
                    <a:pt x="644" y="317"/>
                    <a:pt x="500" y="460"/>
                    <a:pt x="324" y="460"/>
                  </a:cubicBezTo>
                  <a:cubicBezTo>
                    <a:pt x="147" y="460"/>
                    <a:pt x="4" y="317"/>
                    <a:pt x="4" y="140"/>
                  </a:cubicBezTo>
                  <a:cubicBezTo>
                    <a:pt x="4" y="90"/>
                    <a:pt x="15" y="42"/>
                    <a:pt x="36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12" y="42"/>
                    <a:pt x="0" y="90"/>
                    <a:pt x="0" y="140"/>
                  </a:cubicBezTo>
                  <a:cubicBezTo>
                    <a:pt x="0" y="319"/>
                    <a:pt x="145" y="464"/>
                    <a:pt x="324" y="464"/>
                  </a:cubicBezTo>
                  <a:cubicBezTo>
                    <a:pt x="502" y="464"/>
                    <a:pt x="647" y="319"/>
                    <a:pt x="647" y="140"/>
                  </a:cubicBezTo>
                  <a:cubicBezTo>
                    <a:pt x="647" y="90"/>
                    <a:pt x="636" y="42"/>
                    <a:pt x="615" y="0"/>
                  </a:cubicBezTo>
                  <a:cubicBezTo>
                    <a:pt x="612" y="0"/>
                    <a:pt x="612" y="0"/>
                    <a:pt x="612" y="0"/>
                  </a:cubicBezTo>
                  <a:cubicBezTo>
                    <a:pt x="632" y="42"/>
                    <a:pt x="644" y="90"/>
                    <a:pt x="644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36">
              <a:extLst>
                <a:ext uri="{FF2B5EF4-FFF2-40B4-BE49-F238E27FC236}">
                  <a16:creationId xmlns:a16="http://schemas.microsoft.com/office/drawing/2014/main" id="{B8B8251C-1295-4342-BCC1-B378D183AF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-26194"/>
              <a:ext cx="12700" cy="3175"/>
            </a:xfrm>
            <a:custGeom>
              <a:avLst/>
              <a:gdLst>
                <a:gd name="T0" fmla="*/ 4 w 4"/>
                <a:gd name="T1" fmla="*/ 0 h 1"/>
                <a:gd name="T2" fmla="*/ 1 w 4"/>
                <a:gd name="T3" fmla="*/ 0 h 1"/>
                <a:gd name="T4" fmla="*/ 0 w 4"/>
                <a:gd name="T5" fmla="*/ 1 h 1"/>
                <a:gd name="T6" fmla="*/ 4 w 4"/>
                <a:gd name="T7" fmla="*/ 1 h 1"/>
                <a:gd name="T8" fmla="*/ 4 w 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7">
              <a:extLst>
                <a:ext uri="{FF2B5EF4-FFF2-40B4-BE49-F238E27FC236}">
                  <a16:creationId xmlns:a16="http://schemas.microsoft.com/office/drawing/2014/main" id="{5093996E-53D2-4A3B-BE91-71EBD6AC6524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4550" y="-26194"/>
              <a:ext cx="12700" cy="3175"/>
            </a:xfrm>
            <a:custGeom>
              <a:avLst/>
              <a:gdLst>
                <a:gd name="T0" fmla="*/ 0 w 4"/>
                <a:gd name="T1" fmla="*/ 0 h 1"/>
                <a:gd name="T2" fmla="*/ 1 w 4"/>
                <a:gd name="T3" fmla="*/ 1 h 1"/>
                <a:gd name="T4" fmla="*/ 4 w 4"/>
                <a:gd name="T5" fmla="*/ 1 h 1"/>
                <a:gd name="T6" fmla="*/ 4 w 4"/>
                <a:gd name="T7" fmla="*/ 0 h 1"/>
                <a:gd name="T8" fmla="*/ 0 w 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0" y="0"/>
                  </a:moveTo>
                  <a:cubicBezTo>
                    <a:pt x="0" y="1"/>
                    <a:pt x="1" y="1"/>
                    <a:pt x="1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8">
              <a:extLst>
                <a:ext uri="{FF2B5EF4-FFF2-40B4-BE49-F238E27FC236}">
                  <a16:creationId xmlns:a16="http://schemas.microsoft.com/office/drawing/2014/main" id="{3E187798-6D30-447C-A02A-C4C14ABB3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0675" y="-23019"/>
              <a:ext cx="1917700" cy="1403350"/>
            </a:xfrm>
            <a:custGeom>
              <a:avLst/>
              <a:gdLst>
                <a:gd name="T0" fmla="*/ 601 w 604"/>
                <a:gd name="T1" fmla="*/ 140 h 442"/>
                <a:gd name="T2" fmla="*/ 302 w 604"/>
                <a:gd name="T3" fmla="*/ 439 h 442"/>
                <a:gd name="T4" fmla="*/ 3 w 604"/>
                <a:gd name="T5" fmla="*/ 140 h 442"/>
                <a:gd name="T6" fmla="*/ 38 w 604"/>
                <a:gd name="T7" fmla="*/ 0 h 442"/>
                <a:gd name="T8" fmla="*/ 34 w 604"/>
                <a:gd name="T9" fmla="*/ 0 h 442"/>
                <a:gd name="T10" fmla="*/ 0 w 604"/>
                <a:gd name="T11" fmla="*/ 140 h 442"/>
                <a:gd name="T12" fmla="*/ 302 w 604"/>
                <a:gd name="T13" fmla="*/ 442 h 442"/>
                <a:gd name="T14" fmla="*/ 604 w 604"/>
                <a:gd name="T15" fmla="*/ 140 h 442"/>
                <a:gd name="T16" fmla="*/ 569 w 604"/>
                <a:gd name="T17" fmla="*/ 0 h 442"/>
                <a:gd name="T18" fmla="*/ 566 w 604"/>
                <a:gd name="T19" fmla="*/ 0 h 442"/>
                <a:gd name="T20" fmla="*/ 601 w 604"/>
                <a:gd name="T21" fmla="*/ 14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04" h="442">
                  <a:moveTo>
                    <a:pt x="601" y="140"/>
                  </a:moveTo>
                  <a:cubicBezTo>
                    <a:pt x="601" y="305"/>
                    <a:pt x="467" y="439"/>
                    <a:pt x="302" y="439"/>
                  </a:cubicBezTo>
                  <a:cubicBezTo>
                    <a:pt x="137" y="439"/>
                    <a:pt x="3" y="305"/>
                    <a:pt x="3" y="140"/>
                  </a:cubicBezTo>
                  <a:cubicBezTo>
                    <a:pt x="3" y="89"/>
                    <a:pt x="16" y="42"/>
                    <a:pt x="38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12" y="42"/>
                    <a:pt x="0" y="90"/>
                    <a:pt x="0" y="140"/>
                  </a:cubicBezTo>
                  <a:cubicBezTo>
                    <a:pt x="0" y="307"/>
                    <a:pt x="135" y="442"/>
                    <a:pt x="302" y="442"/>
                  </a:cubicBezTo>
                  <a:cubicBezTo>
                    <a:pt x="468" y="442"/>
                    <a:pt x="604" y="307"/>
                    <a:pt x="604" y="140"/>
                  </a:cubicBezTo>
                  <a:cubicBezTo>
                    <a:pt x="604" y="90"/>
                    <a:pt x="591" y="42"/>
                    <a:pt x="569" y="0"/>
                  </a:cubicBezTo>
                  <a:cubicBezTo>
                    <a:pt x="566" y="0"/>
                    <a:pt x="566" y="0"/>
                    <a:pt x="566" y="0"/>
                  </a:cubicBezTo>
                  <a:cubicBezTo>
                    <a:pt x="588" y="42"/>
                    <a:pt x="601" y="89"/>
                    <a:pt x="601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39">
              <a:extLst>
                <a:ext uri="{FF2B5EF4-FFF2-40B4-BE49-F238E27FC236}">
                  <a16:creationId xmlns:a16="http://schemas.microsoft.com/office/drawing/2014/main" id="{B250A47E-206F-457B-8000-99DFD78A17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1175" y="-26194"/>
              <a:ext cx="12700" cy="3175"/>
            </a:xfrm>
            <a:custGeom>
              <a:avLst/>
              <a:gdLst>
                <a:gd name="T0" fmla="*/ 4 w 4"/>
                <a:gd name="T1" fmla="*/ 1 h 1"/>
                <a:gd name="T2" fmla="*/ 4 w 4"/>
                <a:gd name="T3" fmla="*/ 0 h 1"/>
                <a:gd name="T4" fmla="*/ 0 w 4"/>
                <a:gd name="T5" fmla="*/ 0 h 1"/>
                <a:gd name="T6" fmla="*/ 0 w 4"/>
                <a:gd name="T7" fmla="*/ 1 h 1"/>
                <a:gd name="T8" fmla="*/ 4 w 4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1"/>
                  </a:moveTo>
                  <a:cubicBezTo>
                    <a:pt x="4" y="1"/>
                    <a:pt x="4" y="1"/>
                    <a:pt x="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40">
              <a:extLst>
                <a:ext uri="{FF2B5EF4-FFF2-40B4-BE49-F238E27FC236}">
                  <a16:creationId xmlns:a16="http://schemas.microsoft.com/office/drawing/2014/main" id="{54FC95A4-DC3D-4300-AFC9-9F8FCF54C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5175" y="-26194"/>
              <a:ext cx="12700" cy="3175"/>
            </a:xfrm>
            <a:custGeom>
              <a:avLst/>
              <a:gdLst>
                <a:gd name="T0" fmla="*/ 0 w 4"/>
                <a:gd name="T1" fmla="*/ 1 h 1"/>
                <a:gd name="T2" fmla="*/ 4 w 4"/>
                <a:gd name="T3" fmla="*/ 1 h 1"/>
                <a:gd name="T4" fmla="*/ 3 w 4"/>
                <a:gd name="T5" fmla="*/ 0 h 1"/>
                <a:gd name="T6" fmla="*/ 0 w 4"/>
                <a:gd name="T7" fmla="*/ 0 h 1"/>
                <a:gd name="T8" fmla="*/ 0 w 4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0" y="1"/>
                  </a:moveTo>
                  <a:cubicBezTo>
                    <a:pt x="4" y="1"/>
                    <a:pt x="4" y="1"/>
                    <a:pt x="4" y="1"/>
                  </a:cubicBezTo>
                  <a:cubicBezTo>
                    <a:pt x="3" y="1"/>
                    <a:pt x="3" y="1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41">
              <a:extLst>
                <a:ext uri="{FF2B5EF4-FFF2-40B4-BE49-F238E27FC236}">
                  <a16:creationId xmlns:a16="http://schemas.microsoft.com/office/drawing/2014/main" id="{BDD3DF79-B444-4FD5-8484-9A4802AA20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0525" y="-23019"/>
              <a:ext cx="1774825" cy="1333500"/>
            </a:xfrm>
            <a:custGeom>
              <a:avLst/>
              <a:gdLst>
                <a:gd name="T0" fmla="*/ 556 w 559"/>
                <a:gd name="T1" fmla="*/ 140 h 420"/>
                <a:gd name="T2" fmla="*/ 280 w 559"/>
                <a:gd name="T3" fmla="*/ 416 h 420"/>
                <a:gd name="T4" fmla="*/ 4 w 559"/>
                <a:gd name="T5" fmla="*/ 140 h 420"/>
                <a:gd name="T6" fmla="*/ 42 w 559"/>
                <a:gd name="T7" fmla="*/ 0 h 420"/>
                <a:gd name="T8" fmla="*/ 38 w 559"/>
                <a:gd name="T9" fmla="*/ 0 h 420"/>
                <a:gd name="T10" fmla="*/ 0 w 559"/>
                <a:gd name="T11" fmla="*/ 140 h 420"/>
                <a:gd name="T12" fmla="*/ 280 w 559"/>
                <a:gd name="T13" fmla="*/ 420 h 420"/>
                <a:gd name="T14" fmla="*/ 559 w 559"/>
                <a:gd name="T15" fmla="*/ 140 h 420"/>
                <a:gd name="T16" fmla="*/ 522 w 559"/>
                <a:gd name="T17" fmla="*/ 0 h 420"/>
                <a:gd name="T18" fmla="*/ 518 w 559"/>
                <a:gd name="T19" fmla="*/ 0 h 420"/>
                <a:gd name="T20" fmla="*/ 556 w 559"/>
                <a:gd name="T21" fmla="*/ 140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59" h="420">
                  <a:moveTo>
                    <a:pt x="556" y="140"/>
                  </a:moveTo>
                  <a:cubicBezTo>
                    <a:pt x="556" y="293"/>
                    <a:pt x="432" y="416"/>
                    <a:pt x="280" y="416"/>
                  </a:cubicBezTo>
                  <a:cubicBezTo>
                    <a:pt x="128" y="416"/>
                    <a:pt x="4" y="293"/>
                    <a:pt x="4" y="140"/>
                  </a:cubicBezTo>
                  <a:cubicBezTo>
                    <a:pt x="4" y="89"/>
                    <a:pt x="18" y="41"/>
                    <a:pt x="42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14" y="41"/>
                    <a:pt x="0" y="89"/>
                    <a:pt x="0" y="140"/>
                  </a:cubicBezTo>
                  <a:cubicBezTo>
                    <a:pt x="0" y="294"/>
                    <a:pt x="126" y="420"/>
                    <a:pt x="280" y="420"/>
                  </a:cubicBezTo>
                  <a:cubicBezTo>
                    <a:pt x="434" y="420"/>
                    <a:pt x="559" y="294"/>
                    <a:pt x="559" y="140"/>
                  </a:cubicBezTo>
                  <a:cubicBezTo>
                    <a:pt x="559" y="89"/>
                    <a:pt x="546" y="41"/>
                    <a:pt x="522" y="0"/>
                  </a:cubicBezTo>
                  <a:cubicBezTo>
                    <a:pt x="518" y="0"/>
                    <a:pt x="518" y="0"/>
                    <a:pt x="518" y="0"/>
                  </a:cubicBezTo>
                  <a:cubicBezTo>
                    <a:pt x="542" y="41"/>
                    <a:pt x="556" y="89"/>
                    <a:pt x="556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42">
              <a:extLst>
                <a:ext uri="{FF2B5EF4-FFF2-40B4-BE49-F238E27FC236}">
                  <a16:creationId xmlns:a16="http://schemas.microsoft.com/office/drawing/2014/main" id="{91E2A178-552E-476F-AEDA-F519B4623B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4200" y="-26194"/>
              <a:ext cx="12700" cy="3175"/>
            </a:xfrm>
            <a:custGeom>
              <a:avLst/>
              <a:gdLst>
                <a:gd name="T0" fmla="*/ 4 w 4"/>
                <a:gd name="T1" fmla="*/ 0 h 1"/>
                <a:gd name="T2" fmla="*/ 0 w 4"/>
                <a:gd name="T3" fmla="*/ 0 h 1"/>
                <a:gd name="T4" fmla="*/ 0 w 4"/>
                <a:gd name="T5" fmla="*/ 1 h 1"/>
                <a:gd name="T6" fmla="*/ 4 w 4"/>
                <a:gd name="T7" fmla="*/ 1 h 1"/>
                <a:gd name="T8" fmla="*/ 4 w 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43">
              <a:extLst>
                <a:ext uri="{FF2B5EF4-FFF2-40B4-BE49-F238E27FC236}">
                  <a16:creationId xmlns:a16="http://schemas.microsoft.com/office/drawing/2014/main" id="{4B8EF77E-47F9-40B2-BF83-77BF5EC2A1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8975" y="-26194"/>
              <a:ext cx="15875" cy="3175"/>
            </a:xfrm>
            <a:custGeom>
              <a:avLst/>
              <a:gdLst>
                <a:gd name="T0" fmla="*/ 0 w 5"/>
                <a:gd name="T1" fmla="*/ 0 h 1"/>
                <a:gd name="T2" fmla="*/ 1 w 5"/>
                <a:gd name="T3" fmla="*/ 1 h 1"/>
                <a:gd name="T4" fmla="*/ 5 w 5"/>
                <a:gd name="T5" fmla="*/ 1 h 1"/>
                <a:gd name="T6" fmla="*/ 4 w 5"/>
                <a:gd name="T7" fmla="*/ 0 h 1"/>
                <a:gd name="T8" fmla="*/ 0 w 5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">
                  <a:moveTo>
                    <a:pt x="0" y="0"/>
                  </a:moveTo>
                  <a:cubicBezTo>
                    <a:pt x="0" y="1"/>
                    <a:pt x="1" y="1"/>
                    <a:pt x="1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4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44">
              <a:extLst>
                <a:ext uri="{FF2B5EF4-FFF2-40B4-BE49-F238E27FC236}">
                  <a16:creationId xmlns:a16="http://schemas.microsoft.com/office/drawing/2014/main" id="{E6041A9A-462A-44C0-BB57-33EBCF6FB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4025" y="-23019"/>
              <a:ext cx="1651000" cy="1270000"/>
            </a:xfrm>
            <a:custGeom>
              <a:avLst/>
              <a:gdLst>
                <a:gd name="T0" fmla="*/ 517 w 520"/>
                <a:gd name="T1" fmla="*/ 140 h 400"/>
                <a:gd name="T2" fmla="*/ 260 w 520"/>
                <a:gd name="T3" fmla="*/ 397 h 400"/>
                <a:gd name="T4" fmla="*/ 3 w 520"/>
                <a:gd name="T5" fmla="*/ 140 h 400"/>
                <a:gd name="T6" fmla="*/ 45 w 520"/>
                <a:gd name="T7" fmla="*/ 0 h 400"/>
                <a:gd name="T8" fmla="*/ 41 w 520"/>
                <a:gd name="T9" fmla="*/ 0 h 400"/>
                <a:gd name="T10" fmla="*/ 0 w 520"/>
                <a:gd name="T11" fmla="*/ 140 h 400"/>
                <a:gd name="T12" fmla="*/ 260 w 520"/>
                <a:gd name="T13" fmla="*/ 400 h 400"/>
                <a:gd name="T14" fmla="*/ 520 w 520"/>
                <a:gd name="T15" fmla="*/ 140 h 400"/>
                <a:gd name="T16" fmla="*/ 479 w 520"/>
                <a:gd name="T17" fmla="*/ 0 h 400"/>
                <a:gd name="T18" fmla="*/ 475 w 520"/>
                <a:gd name="T19" fmla="*/ 0 h 400"/>
                <a:gd name="T20" fmla="*/ 517 w 520"/>
                <a:gd name="T21" fmla="*/ 14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20" h="400">
                  <a:moveTo>
                    <a:pt x="517" y="140"/>
                  </a:moveTo>
                  <a:cubicBezTo>
                    <a:pt x="517" y="282"/>
                    <a:pt x="401" y="397"/>
                    <a:pt x="260" y="397"/>
                  </a:cubicBezTo>
                  <a:cubicBezTo>
                    <a:pt x="118" y="397"/>
                    <a:pt x="3" y="282"/>
                    <a:pt x="3" y="140"/>
                  </a:cubicBezTo>
                  <a:cubicBezTo>
                    <a:pt x="3" y="88"/>
                    <a:pt x="19" y="40"/>
                    <a:pt x="45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15" y="40"/>
                    <a:pt x="0" y="89"/>
                    <a:pt x="0" y="140"/>
                  </a:cubicBezTo>
                  <a:cubicBezTo>
                    <a:pt x="0" y="284"/>
                    <a:pt x="117" y="400"/>
                    <a:pt x="260" y="400"/>
                  </a:cubicBezTo>
                  <a:cubicBezTo>
                    <a:pt x="403" y="400"/>
                    <a:pt x="520" y="284"/>
                    <a:pt x="520" y="140"/>
                  </a:cubicBezTo>
                  <a:cubicBezTo>
                    <a:pt x="520" y="89"/>
                    <a:pt x="505" y="40"/>
                    <a:pt x="479" y="0"/>
                  </a:cubicBezTo>
                  <a:cubicBezTo>
                    <a:pt x="475" y="0"/>
                    <a:pt x="475" y="0"/>
                    <a:pt x="475" y="0"/>
                  </a:cubicBezTo>
                  <a:cubicBezTo>
                    <a:pt x="501" y="40"/>
                    <a:pt x="517" y="88"/>
                    <a:pt x="517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310F98F8-496B-4E28-8835-0DDC8B332383}"/>
              </a:ext>
            </a:extLst>
          </p:cNvPr>
          <p:cNvGrpSpPr/>
          <p:nvPr userDrawn="1"/>
        </p:nvGrpSpPr>
        <p:grpSpPr>
          <a:xfrm>
            <a:off x="-13334" y="125"/>
            <a:ext cx="3924023" cy="2346065"/>
            <a:chOff x="-3175" y="-26194"/>
            <a:chExt cx="5222875" cy="3122613"/>
          </a:xfrm>
          <a:solidFill>
            <a:schemeClr val="tx1">
              <a:lumMod val="75000"/>
              <a:lumOff val="25000"/>
              <a:alpha val="10000"/>
            </a:schemeClr>
          </a:solidFill>
        </p:grpSpPr>
        <p:sp>
          <p:nvSpPr>
            <p:cNvPr id="63" name="Freeform 45">
              <a:extLst>
                <a:ext uri="{FF2B5EF4-FFF2-40B4-BE49-F238E27FC236}">
                  <a16:creationId xmlns:a16="http://schemas.microsoft.com/office/drawing/2014/main" id="{7A571FAD-0FE9-4DEE-A362-A390602AA4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6200" y="-26194"/>
              <a:ext cx="25400" cy="3175"/>
            </a:xfrm>
            <a:custGeom>
              <a:avLst/>
              <a:gdLst>
                <a:gd name="T0" fmla="*/ 0 w 8"/>
                <a:gd name="T1" fmla="*/ 1 h 1"/>
                <a:gd name="T2" fmla="*/ 8 w 8"/>
                <a:gd name="T3" fmla="*/ 1 h 1"/>
                <a:gd name="T4" fmla="*/ 8 w 8"/>
                <a:gd name="T5" fmla="*/ 0 h 1"/>
                <a:gd name="T6" fmla="*/ 0 w 8"/>
                <a:gd name="T7" fmla="*/ 0 h 1"/>
                <a:gd name="T8" fmla="*/ 0 w 8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0" y="1"/>
                  </a:move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46">
              <a:extLst>
                <a:ext uri="{FF2B5EF4-FFF2-40B4-BE49-F238E27FC236}">
                  <a16:creationId xmlns:a16="http://schemas.microsoft.com/office/drawing/2014/main" id="{BD56B81E-C723-47B1-962F-AF03A08CDBBB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75" y="1126331"/>
              <a:ext cx="25400" cy="168275"/>
            </a:xfrm>
            <a:custGeom>
              <a:avLst/>
              <a:gdLst>
                <a:gd name="T0" fmla="*/ 8 w 8"/>
                <a:gd name="T1" fmla="*/ 27 h 53"/>
                <a:gd name="T2" fmla="*/ 0 w 8"/>
                <a:gd name="T3" fmla="*/ 0 h 53"/>
                <a:gd name="T4" fmla="*/ 0 w 8"/>
                <a:gd name="T5" fmla="*/ 28 h 53"/>
                <a:gd name="T6" fmla="*/ 8 w 8"/>
                <a:gd name="T7" fmla="*/ 53 h 53"/>
                <a:gd name="T8" fmla="*/ 8 w 8"/>
                <a:gd name="T9" fmla="*/ 2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3">
                  <a:moveTo>
                    <a:pt x="8" y="27"/>
                  </a:moveTo>
                  <a:cubicBezTo>
                    <a:pt x="6" y="18"/>
                    <a:pt x="3" y="9"/>
                    <a:pt x="0" y="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3" y="36"/>
                    <a:pt x="6" y="44"/>
                    <a:pt x="8" y="53"/>
                  </a:cubicBezTo>
                  <a:lnTo>
                    <a:pt x="8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47">
              <a:extLst>
                <a:ext uri="{FF2B5EF4-FFF2-40B4-BE49-F238E27FC236}">
                  <a16:creationId xmlns:a16="http://schemas.microsoft.com/office/drawing/2014/main" id="{75F0A97D-03D6-4CD6-8F6E-007EED662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25" y="-23019"/>
              <a:ext cx="5197475" cy="3119438"/>
            </a:xfrm>
            <a:custGeom>
              <a:avLst/>
              <a:gdLst>
                <a:gd name="T0" fmla="*/ 1629 w 1637"/>
                <a:gd name="T1" fmla="*/ 140 h 982"/>
                <a:gd name="T2" fmla="*/ 796 w 1637"/>
                <a:gd name="T3" fmla="*/ 974 h 982"/>
                <a:gd name="T4" fmla="*/ 0 w 1637"/>
                <a:gd name="T5" fmla="*/ 389 h 982"/>
                <a:gd name="T6" fmla="*/ 0 w 1637"/>
                <a:gd name="T7" fmla="*/ 415 h 982"/>
                <a:gd name="T8" fmla="*/ 796 w 1637"/>
                <a:gd name="T9" fmla="*/ 982 h 982"/>
                <a:gd name="T10" fmla="*/ 1637 w 1637"/>
                <a:gd name="T11" fmla="*/ 140 h 982"/>
                <a:gd name="T12" fmla="*/ 1625 w 1637"/>
                <a:gd name="T13" fmla="*/ 0 h 982"/>
                <a:gd name="T14" fmla="*/ 1617 w 1637"/>
                <a:gd name="T15" fmla="*/ 0 h 982"/>
                <a:gd name="T16" fmla="*/ 1629 w 1637"/>
                <a:gd name="T17" fmla="*/ 140 h 9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37" h="982">
                  <a:moveTo>
                    <a:pt x="1629" y="140"/>
                  </a:moveTo>
                  <a:cubicBezTo>
                    <a:pt x="1629" y="600"/>
                    <a:pt x="1255" y="974"/>
                    <a:pt x="796" y="974"/>
                  </a:cubicBezTo>
                  <a:cubicBezTo>
                    <a:pt x="423" y="974"/>
                    <a:pt x="107" y="728"/>
                    <a:pt x="0" y="389"/>
                  </a:cubicBezTo>
                  <a:cubicBezTo>
                    <a:pt x="0" y="415"/>
                    <a:pt x="0" y="415"/>
                    <a:pt x="0" y="415"/>
                  </a:cubicBezTo>
                  <a:cubicBezTo>
                    <a:pt x="115" y="744"/>
                    <a:pt x="428" y="982"/>
                    <a:pt x="796" y="982"/>
                  </a:cubicBezTo>
                  <a:cubicBezTo>
                    <a:pt x="1260" y="982"/>
                    <a:pt x="1637" y="604"/>
                    <a:pt x="1637" y="140"/>
                  </a:cubicBezTo>
                  <a:cubicBezTo>
                    <a:pt x="1637" y="92"/>
                    <a:pt x="1633" y="45"/>
                    <a:pt x="1625" y="0"/>
                  </a:cubicBezTo>
                  <a:cubicBezTo>
                    <a:pt x="1617" y="0"/>
                    <a:pt x="1617" y="0"/>
                    <a:pt x="1617" y="0"/>
                  </a:cubicBezTo>
                  <a:cubicBezTo>
                    <a:pt x="1625" y="45"/>
                    <a:pt x="1629" y="92"/>
                    <a:pt x="1629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48">
              <a:extLst>
                <a:ext uri="{FF2B5EF4-FFF2-40B4-BE49-F238E27FC236}">
                  <a16:creationId xmlns:a16="http://schemas.microsoft.com/office/drawing/2014/main" id="{B5E4596F-2CF7-4E02-B395-9451BEF484D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4750" y="-26194"/>
              <a:ext cx="25400" cy="3175"/>
            </a:xfrm>
            <a:custGeom>
              <a:avLst/>
              <a:gdLst>
                <a:gd name="T0" fmla="*/ 0 w 8"/>
                <a:gd name="T1" fmla="*/ 0 h 1"/>
                <a:gd name="T2" fmla="*/ 0 w 8"/>
                <a:gd name="T3" fmla="*/ 1 h 1"/>
                <a:gd name="T4" fmla="*/ 8 w 8"/>
                <a:gd name="T5" fmla="*/ 1 h 1"/>
                <a:gd name="T6" fmla="*/ 8 w 8"/>
                <a:gd name="T7" fmla="*/ 0 h 1"/>
                <a:gd name="T8" fmla="*/ 0 w 8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49">
              <a:extLst>
                <a:ext uri="{FF2B5EF4-FFF2-40B4-BE49-F238E27FC236}">
                  <a16:creationId xmlns:a16="http://schemas.microsoft.com/office/drawing/2014/main" id="{0FE72423-3B99-46F4-9BEC-3964A003FC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8900" y="-26194"/>
              <a:ext cx="25400" cy="3175"/>
            </a:xfrm>
            <a:custGeom>
              <a:avLst/>
              <a:gdLst>
                <a:gd name="T0" fmla="*/ 8 w 8"/>
                <a:gd name="T1" fmla="*/ 0 h 1"/>
                <a:gd name="T2" fmla="*/ 0 w 8"/>
                <a:gd name="T3" fmla="*/ 0 h 1"/>
                <a:gd name="T4" fmla="*/ 0 w 8"/>
                <a:gd name="T5" fmla="*/ 1 h 1"/>
                <a:gd name="T6" fmla="*/ 8 w 8"/>
                <a:gd name="T7" fmla="*/ 1 h 1"/>
                <a:gd name="T8" fmla="*/ 8 w 8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50">
              <a:extLst>
                <a:ext uri="{FF2B5EF4-FFF2-40B4-BE49-F238E27FC236}">
                  <a16:creationId xmlns:a16="http://schemas.microsoft.com/office/drawing/2014/main" id="{89BB5F30-C1E8-4F42-8C78-98CF487E2E4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25" y="-23019"/>
              <a:ext cx="5003800" cy="2947988"/>
            </a:xfrm>
            <a:custGeom>
              <a:avLst/>
              <a:gdLst>
                <a:gd name="T0" fmla="*/ 1568 w 1576"/>
                <a:gd name="T1" fmla="*/ 140 h 928"/>
                <a:gd name="T2" fmla="*/ 788 w 1576"/>
                <a:gd name="T3" fmla="*/ 920 h 928"/>
                <a:gd name="T4" fmla="*/ 8 w 1576"/>
                <a:gd name="T5" fmla="*/ 140 h 928"/>
                <a:gd name="T6" fmla="*/ 21 w 1576"/>
                <a:gd name="T7" fmla="*/ 0 h 928"/>
                <a:gd name="T8" fmla="*/ 13 w 1576"/>
                <a:gd name="T9" fmla="*/ 0 h 928"/>
                <a:gd name="T10" fmla="*/ 0 w 1576"/>
                <a:gd name="T11" fmla="*/ 140 h 928"/>
                <a:gd name="T12" fmla="*/ 788 w 1576"/>
                <a:gd name="T13" fmla="*/ 928 h 928"/>
                <a:gd name="T14" fmla="*/ 1576 w 1576"/>
                <a:gd name="T15" fmla="*/ 140 h 928"/>
                <a:gd name="T16" fmla="*/ 1563 w 1576"/>
                <a:gd name="T17" fmla="*/ 0 h 928"/>
                <a:gd name="T18" fmla="*/ 1555 w 1576"/>
                <a:gd name="T19" fmla="*/ 0 h 928"/>
                <a:gd name="T20" fmla="*/ 1568 w 1576"/>
                <a:gd name="T21" fmla="*/ 140 h 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76" h="928">
                  <a:moveTo>
                    <a:pt x="1568" y="140"/>
                  </a:moveTo>
                  <a:cubicBezTo>
                    <a:pt x="1568" y="570"/>
                    <a:pt x="1218" y="920"/>
                    <a:pt x="788" y="920"/>
                  </a:cubicBezTo>
                  <a:cubicBezTo>
                    <a:pt x="358" y="920"/>
                    <a:pt x="8" y="570"/>
                    <a:pt x="8" y="140"/>
                  </a:cubicBezTo>
                  <a:cubicBezTo>
                    <a:pt x="8" y="92"/>
                    <a:pt x="13" y="45"/>
                    <a:pt x="21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4" y="45"/>
                    <a:pt x="0" y="92"/>
                    <a:pt x="0" y="140"/>
                  </a:cubicBezTo>
                  <a:cubicBezTo>
                    <a:pt x="0" y="575"/>
                    <a:pt x="354" y="928"/>
                    <a:pt x="788" y="928"/>
                  </a:cubicBezTo>
                  <a:cubicBezTo>
                    <a:pt x="1222" y="928"/>
                    <a:pt x="1576" y="575"/>
                    <a:pt x="1576" y="140"/>
                  </a:cubicBezTo>
                  <a:cubicBezTo>
                    <a:pt x="1576" y="92"/>
                    <a:pt x="1571" y="45"/>
                    <a:pt x="1563" y="0"/>
                  </a:cubicBezTo>
                  <a:cubicBezTo>
                    <a:pt x="1555" y="0"/>
                    <a:pt x="1555" y="0"/>
                    <a:pt x="1555" y="0"/>
                  </a:cubicBezTo>
                  <a:cubicBezTo>
                    <a:pt x="1563" y="45"/>
                    <a:pt x="1568" y="92"/>
                    <a:pt x="1568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51">
              <a:extLst>
                <a:ext uri="{FF2B5EF4-FFF2-40B4-BE49-F238E27FC236}">
                  <a16:creationId xmlns:a16="http://schemas.microsoft.com/office/drawing/2014/main" id="{EA17D0A7-E313-41A0-98CC-2E2867628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175" y="-26194"/>
              <a:ext cx="25400" cy="3175"/>
            </a:xfrm>
            <a:custGeom>
              <a:avLst/>
              <a:gdLst>
                <a:gd name="T0" fmla="*/ 8 w 8"/>
                <a:gd name="T1" fmla="*/ 1 h 1"/>
                <a:gd name="T2" fmla="*/ 8 w 8"/>
                <a:gd name="T3" fmla="*/ 0 h 1"/>
                <a:gd name="T4" fmla="*/ 0 w 8"/>
                <a:gd name="T5" fmla="*/ 0 h 1"/>
                <a:gd name="T6" fmla="*/ 0 w 8"/>
                <a:gd name="T7" fmla="*/ 1 h 1"/>
                <a:gd name="T8" fmla="*/ 8 w 8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8" y="1"/>
                  </a:moveTo>
                  <a:cubicBezTo>
                    <a:pt x="8" y="1"/>
                    <a:pt x="8" y="1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8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52">
              <a:extLst>
                <a:ext uri="{FF2B5EF4-FFF2-40B4-BE49-F238E27FC236}">
                  <a16:creationId xmlns:a16="http://schemas.microsoft.com/office/drawing/2014/main" id="{410B8D16-DFAA-44DB-9F8C-DB5663839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6475" y="-26194"/>
              <a:ext cx="25400" cy="3175"/>
            </a:xfrm>
            <a:custGeom>
              <a:avLst/>
              <a:gdLst>
                <a:gd name="T0" fmla="*/ 0 w 8"/>
                <a:gd name="T1" fmla="*/ 1 h 1"/>
                <a:gd name="T2" fmla="*/ 8 w 8"/>
                <a:gd name="T3" fmla="*/ 1 h 1"/>
                <a:gd name="T4" fmla="*/ 8 w 8"/>
                <a:gd name="T5" fmla="*/ 0 h 1"/>
                <a:gd name="T6" fmla="*/ 0 w 8"/>
                <a:gd name="T7" fmla="*/ 0 h 1"/>
                <a:gd name="T8" fmla="*/ 0 w 8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0" y="1"/>
                  </a:move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53">
              <a:extLst>
                <a:ext uri="{FF2B5EF4-FFF2-40B4-BE49-F238E27FC236}">
                  <a16:creationId xmlns:a16="http://schemas.microsoft.com/office/drawing/2014/main" id="{5914C65B-B85B-439A-AAA5-5C61AD640C5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900" y="-23019"/>
              <a:ext cx="4667250" cy="2782888"/>
            </a:xfrm>
            <a:custGeom>
              <a:avLst/>
              <a:gdLst>
                <a:gd name="T0" fmla="*/ 1462 w 1470"/>
                <a:gd name="T1" fmla="*/ 140 h 876"/>
                <a:gd name="T2" fmla="*/ 735 w 1470"/>
                <a:gd name="T3" fmla="*/ 868 h 876"/>
                <a:gd name="T4" fmla="*/ 7 w 1470"/>
                <a:gd name="T5" fmla="*/ 140 h 876"/>
                <a:gd name="T6" fmla="*/ 21 w 1470"/>
                <a:gd name="T7" fmla="*/ 0 h 876"/>
                <a:gd name="T8" fmla="*/ 13 w 1470"/>
                <a:gd name="T9" fmla="*/ 0 h 876"/>
                <a:gd name="T10" fmla="*/ 0 w 1470"/>
                <a:gd name="T11" fmla="*/ 140 h 876"/>
                <a:gd name="T12" fmla="*/ 735 w 1470"/>
                <a:gd name="T13" fmla="*/ 876 h 876"/>
                <a:gd name="T14" fmla="*/ 1470 w 1470"/>
                <a:gd name="T15" fmla="*/ 140 h 876"/>
                <a:gd name="T16" fmla="*/ 1457 w 1470"/>
                <a:gd name="T17" fmla="*/ 0 h 876"/>
                <a:gd name="T18" fmla="*/ 1449 w 1470"/>
                <a:gd name="T19" fmla="*/ 0 h 876"/>
                <a:gd name="T20" fmla="*/ 1462 w 1470"/>
                <a:gd name="T21" fmla="*/ 140 h 8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0" h="876">
                  <a:moveTo>
                    <a:pt x="1462" y="140"/>
                  </a:moveTo>
                  <a:cubicBezTo>
                    <a:pt x="1462" y="541"/>
                    <a:pt x="1136" y="868"/>
                    <a:pt x="735" y="868"/>
                  </a:cubicBezTo>
                  <a:cubicBezTo>
                    <a:pt x="334" y="868"/>
                    <a:pt x="7" y="541"/>
                    <a:pt x="7" y="140"/>
                  </a:cubicBezTo>
                  <a:cubicBezTo>
                    <a:pt x="7" y="92"/>
                    <a:pt x="12" y="45"/>
                    <a:pt x="21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4" y="45"/>
                    <a:pt x="0" y="92"/>
                    <a:pt x="0" y="140"/>
                  </a:cubicBezTo>
                  <a:cubicBezTo>
                    <a:pt x="0" y="546"/>
                    <a:pt x="329" y="876"/>
                    <a:pt x="735" y="876"/>
                  </a:cubicBezTo>
                  <a:cubicBezTo>
                    <a:pt x="1140" y="876"/>
                    <a:pt x="1470" y="546"/>
                    <a:pt x="1470" y="140"/>
                  </a:cubicBezTo>
                  <a:cubicBezTo>
                    <a:pt x="1470" y="92"/>
                    <a:pt x="1466" y="45"/>
                    <a:pt x="1457" y="0"/>
                  </a:cubicBezTo>
                  <a:cubicBezTo>
                    <a:pt x="1449" y="0"/>
                    <a:pt x="1449" y="0"/>
                    <a:pt x="1449" y="0"/>
                  </a:cubicBezTo>
                  <a:cubicBezTo>
                    <a:pt x="1458" y="45"/>
                    <a:pt x="1462" y="92"/>
                    <a:pt x="1462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54">
              <a:extLst>
                <a:ext uri="{FF2B5EF4-FFF2-40B4-BE49-F238E27FC236}">
                  <a16:creationId xmlns:a16="http://schemas.microsoft.com/office/drawing/2014/main" id="{C7B7B85C-FB66-4A10-A4F3-725A66061E82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8675" y="-26194"/>
              <a:ext cx="25400" cy="3175"/>
            </a:xfrm>
            <a:custGeom>
              <a:avLst/>
              <a:gdLst>
                <a:gd name="T0" fmla="*/ 0 w 8"/>
                <a:gd name="T1" fmla="*/ 0 h 1"/>
                <a:gd name="T2" fmla="*/ 0 w 8"/>
                <a:gd name="T3" fmla="*/ 1 h 1"/>
                <a:gd name="T4" fmla="*/ 8 w 8"/>
                <a:gd name="T5" fmla="*/ 1 h 1"/>
                <a:gd name="T6" fmla="*/ 8 w 8"/>
                <a:gd name="T7" fmla="*/ 0 h 1"/>
                <a:gd name="T8" fmla="*/ 0 w 8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55">
              <a:extLst>
                <a:ext uri="{FF2B5EF4-FFF2-40B4-BE49-F238E27FC236}">
                  <a16:creationId xmlns:a16="http://schemas.microsoft.com/office/drawing/2014/main" id="{4131AC18-190B-4561-AB47-B56120857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975" y="-26194"/>
              <a:ext cx="25400" cy="3175"/>
            </a:xfrm>
            <a:custGeom>
              <a:avLst/>
              <a:gdLst>
                <a:gd name="T0" fmla="*/ 8 w 8"/>
                <a:gd name="T1" fmla="*/ 0 h 1"/>
                <a:gd name="T2" fmla="*/ 0 w 8"/>
                <a:gd name="T3" fmla="*/ 0 h 1"/>
                <a:gd name="T4" fmla="*/ 0 w 8"/>
                <a:gd name="T5" fmla="*/ 1 h 1"/>
                <a:gd name="T6" fmla="*/ 8 w 8"/>
                <a:gd name="T7" fmla="*/ 1 h 1"/>
                <a:gd name="T8" fmla="*/ 8 w 8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56">
              <a:extLst>
                <a:ext uri="{FF2B5EF4-FFF2-40B4-BE49-F238E27FC236}">
                  <a16:creationId xmlns:a16="http://schemas.microsoft.com/office/drawing/2014/main" id="{6032E713-9CAF-445D-9298-FA3467CA938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350" y="-23019"/>
              <a:ext cx="4321175" cy="2608263"/>
            </a:xfrm>
            <a:custGeom>
              <a:avLst/>
              <a:gdLst>
                <a:gd name="T0" fmla="*/ 1353 w 1361"/>
                <a:gd name="T1" fmla="*/ 140 h 821"/>
                <a:gd name="T2" fmla="*/ 681 w 1361"/>
                <a:gd name="T3" fmla="*/ 813 h 821"/>
                <a:gd name="T4" fmla="*/ 8 w 1361"/>
                <a:gd name="T5" fmla="*/ 140 h 821"/>
                <a:gd name="T6" fmla="*/ 23 w 1361"/>
                <a:gd name="T7" fmla="*/ 0 h 821"/>
                <a:gd name="T8" fmla="*/ 15 w 1361"/>
                <a:gd name="T9" fmla="*/ 0 h 821"/>
                <a:gd name="T10" fmla="*/ 0 w 1361"/>
                <a:gd name="T11" fmla="*/ 140 h 821"/>
                <a:gd name="T12" fmla="*/ 681 w 1361"/>
                <a:gd name="T13" fmla="*/ 821 h 821"/>
                <a:gd name="T14" fmla="*/ 1361 w 1361"/>
                <a:gd name="T15" fmla="*/ 140 h 821"/>
                <a:gd name="T16" fmla="*/ 1347 w 1361"/>
                <a:gd name="T17" fmla="*/ 0 h 821"/>
                <a:gd name="T18" fmla="*/ 1339 w 1361"/>
                <a:gd name="T19" fmla="*/ 0 h 821"/>
                <a:gd name="T20" fmla="*/ 1353 w 1361"/>
                <a:gd name="T21" fmla="*/ 140 h 8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61" h="821">
                  <a:moveTo>
                    <a:pt x="1353" y="140"/>
                  </a:moveTo>
                  <a:cubicBezTo>
                    <a:pt x="1353" y="511"/>
                    <a:pt x="1052" y="813"/>
                    <a:pt x="681" y="813"/>
                  </a:cubicBezTo>
                  <a:cubicBezTo>
                    <a:pt x="310" y="813"/>
                    <a:pt x="8" y="511"/>
                    <a:pt x="8" y="140"/>
                  </a:cubicBezTo>
                  <a:cubicBezTo>
                    <a:pt x="8" y="92"/>
                    <a:pt x="13" y="45"/>
                    <a:pt x="23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5" y="45"/>
                    <a:pt x="0" y="92"/>
                    <a:pt x="0" y="140"/>
                  </a:cubicBezTo>
                  <a:cubicBezTo>
                    <a:pt x="0" y="515"/>
                    <a:pt x="306" y="821"/>
                    <a:pt x="681" y="821"/>
                  </a:cubicBezTo>
                  <a:cubicBezTo>
                    <a:pt x="1056" y="821"/>
                    <a:pt x="1361" y="515"/>
                    <a:pt x="1361" y="140"/>
                  </a:cubicBezTo>
                  <a:cubicBezTo>
                    <a:pt x="1361" y="92"/>
                    <a:pt x="1356" y="45"/>
                    <a:pt x="1347" y="0"/>
                  </a:cubicBezTo>
                  <a:cubicBezTo>
                    <a:pt x="1339" y="0"/>
                    <a:pt x="1339" y="0"/>
                    <a:pt x="1339" y="0"/>
                  </a:cubicBezTo>
                  <a:cubicBezTo>
                    <a:pt x="1348" y="45"/>
                    <a:pt x="1353" y="92"/>
                    <a:pt x="1353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57">
              <a:extLst>
                <a:ext uri="{FF2B5EF4-FFF2-40B4-BE49-F238E27FC236}">
                  <a16:creationId xmlns:a16="http://schemas.microsoft.com/office/drawing/2014/main" id="{62A064C6-B796-4755-B8F6-5F1247881D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3100" y="-26194"/>
              <a:ext cx="25400" cy="3175"/>
            </a:xfrm>
            <a:custGeom>
              <a:avLst/>
              <a:gdLst>
                <a:gd name="T0" fmla="*/ 0 w 8"/>
                <a:gd name="T1" fmla="*/ 1 h 1"/>
                <a:gd name="T2" fmla="*/ 8 w 8"/>
                <a:gd name="T3" fmla="*/ 1 h 1"/>
                <a:gd name="T4" fmla="*/ 8 w 8"/>
                <a:gd name="T5" fmla="*/ 0 h 1"/>
                <a:gd name="T6" fmla="*/ 0 w 8"/>
                <a:gd name="T7" fmla="*/ 0 h 1"/>
                <a:gd name="T8" fmla="*/ 0 w 8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0" y="1"/>
                  </a:move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58">
              <a:extLst>
                <a:ext uri="{FF2B5EF4-FFF2-40B4-BE49-F238E27FC236}">
                  <a16:creationId xmlns:a16="http://schemas.microsoft.com/office/drawing/2014/main" id="{C3CEC362-4AFD-4419-A6D5-01BFBAEADBF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550" y="-26194"/>
              <a:ext cx="25400" cy="3175"/>
            </a:xfrm>
            <a:custGeom>
              <a:avLst/>
              <a:gdLst>
                <a:gd name="T0" fmla="*/ 8 w 8"/>
                <a:gd name="T1" fmla="*/ 1 h 1"/>
                <a:gd name="T2" fmla="*/ 8 w 8"/>
                <a:gd name="T3" fmla="*/ 0 h 1"/>
                <a:gd name="T4" fmla="*/ 0 w 8"/>
                <a:gd name="T5" fmla="*/ 0 h 1"/>
                <a:gd name="T6" fmla="*/ 0 w 8"/>
                <a:gd name="T7" fmla="*/ 1 h 1"/>
                <a:gd name="T8" fmla="*/ 8 w 8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8" y="1"/>
                  </a:moveTo>
                  <a:cubicBezTo>
                    <a:pt x="8" y="1"/>
                    <a:pt x="8" y="1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8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59">
              <a:extLst>
                <a:ext uri="{FF2B5EF4-FFF2-40B4-BE49-F238E27FC236}">
                  <a16:creationId xmlns:a16="http://schemas.microsoft.com/office/drawing/2014/main" id="{5B843EE8-F7B5-46DD-8CD2-EF3D67D26C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750" y="-23019"/>
              <a:ext cx="4019550" cy="2455863"/>
            </a:xfrm>
            <a:custGeom>
              <a:avLst/>
              <a:gdLst>
                <a:gd name="T0" fmla="*/ 1258 w 1266"/>
                <a:gd name="T1" fmla="*/ 140 h 773"/>
                <a:gd name="T2" fmla="*/ 633 w 1266"/>
                <a:gd name="T3" fmla="*/ 765 h 773"/>
                <a:gd name="T4" fmla="*/ 8 w 1266"/>
                <a:gd name="T5" fmla="*/ 140 h 773"/>
                <a:gd name="T6" fmla="*/ 24 w 1266"/>
                <a:gd name="T7" fmla="*/ 0 h 773"/>
                <a:gd name="T8" fmla="*/ 16 w 1266"/>
                <a:gd name="T9" fmla="*/ 0 h 773"/>
                <a:gd name="T10" fmla="*/ 0 w 1266"/>
                <a:gd name="T11" fmla="*/ 140 h 773"/>
                <a:gd name="T12" fmla="*/ 633 w 1266"/>
                <a:gd name="T13" fmla="*/ 773 h 773"/>
                <a:gd name="T14" fmla="*/ 1266 w 1266"/>
                <a:gd name="T15" fmla="*/ 140 h 773"/>
                <a:gd name="T16" fmla="*/ 1250 w 1266"/>
                <a:gd name="T17" fmla="*/ 0 h 773"/>
                <a:gd name="T18" fmla="*/ 1242 w 1266"/>
                <a:gd name="T19" fmla="*/ 0 h 773"/>
                <a:gd name="T20" fmla="*/ 1258 w 1266"/>
                <a:gd name="T21" fmla="*/ 140 h 7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66" h="773">
                  <a:moveTo>
                    <a:pt x="1258" y="140"/>
                  </a:moveTo>
                  <a:cubicBezTo>
                    <a:pt x="1258" y="485"/>
                    <a:pt x="977" y="765"/>
                    <a:pt x="633" y="765"/>
                  </a:cubicBezTo>
                  <a:cubicBezTo>
                    <a:pt x="288" y="765"/>
                    <a:pt x="8" y="485"/>
                    <a:pt x="8" y="140"/>
                  </a:cubicBezTo>
                  <a:cubicBezTo>
                    <a:pt x="8" y="92"/>
                    <a:pt x="14" y="45"/>
                    <a:pt x="24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5" y="45"/>
                    <a:pt x="0" y="92"/>
                    <a:pt x="0" y="140"/>
                  </a:cubicBezTo>
                  <a:cubicBezTo>
                    <a:pt x="0" y="489"/>
                    <a:pt x="284" y="773"/>
                    <a:pt x="633" y="773"/>
                  </a:cubicBezTo>
                  <a:cubicBezTo>
                    <a:pt x="982" y="773"/>
                    <a:pt x="1266" y="489"/>
                    <a:pt x="1266" y="140"/>
                  </a:cubicBezTo>
                  <a:cubicBezTo>
                    <a:pt x="1266" y="92"/>
                    <a:pt x="1260" y="45"/>
                    <a:pt x="1250" y="0"/>
                  </a:cubicBezTo>
                  <a:cubicBezTo>
                    <a:pt x="1242" y="0"/>
                    <a:pt x="1242" y="0"/>
                    <a:pt x="1242" y="0"/>
                  </a:cubicBezTo>
                  <a:cubicBezTo>
                    <a:pt x="1252" y="45"/>
                    <a:pt x="1258" y="92"/>
                    <a:pt x="1258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1F0C7CAB-C81C-41B5-A18B-B0F8A4839BBB}"/>
              </a:ext>
            </a:extLst>
          </p:cNvPr>
          <p:cNvGrpSpPr/>
          <p:nvPr userDrawn="1"/>
        </p:nvGrpSpPr>
        <p:grpSpPr>
          <a:xfrm>
            <a:off x="3032411" y="173037"/>
            <a:ext cx="1497013" cy="1435100"/>
            <a:chOff x="688975" y="-5719961"/>
            <a:chExt cx="1497013" cy="1435100"/>
          </a:xfrm>
          <a:solidFill>
            <a:schemeClr val="tx1">
              <a:lumMod val="75000"/>
              <a:lumOff val="25000"/>
              <a:alpha val="5000"/>
            </a:schemeClr>
          </a:solidFill>
        </p:grpSpPr>
        <p:sp>
          <p:nvSpPr>
            <p:cNvPr id="79" name="Freeform 22">
              <a:extLst>
                <a:ext uri="{FF2B5EF4-FFF2-40B4-BE49-F238E27FC236}">
                  <a16:creationId xmlns:a16="http://schemas.microsoft.com/office/drawing/2014/main" id="{553B9D43-8545-4435-84A1-53ABA903152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450" y="-5583436"/>
              <a:ext cx="1008063" cy="60325"/>
            </a:xfrm>
            <a:custGeom>
              <a:avLst/>
              <a:gdLst>
                <a:gd name="T0" fmla="*/ 294 w 318"/>
                <a:gd name="T1" fmla="*/ 0 h 19"/>
                <a:gd name="T2" fmla="*/ 24 w 318"/>
                <a:gd name="T3" fmla="*/ 0 h 19"/>
                <a:gd name="T4" fmla="*/ 0 w 318"/>
                <a:gd name="T5" fmla="*/ 19 h 19"/>
                <a:gd name="T6" fmla="*/ 318 w 318"/>
                <a:gd name="T7" fmla="*/ 19 h 19"/>
                <a:gd name="T8" fmla="*/ 294 w 318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8" h="19">
                  <a:moveTo>
                    <a:pt x="29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16" y="6"/>
                    <a:pt x="8" y="12"/>
                    <a:pt x="0" y="19"/>
                  </a:cubicBezTo>
                  <a:cubicBezTo>
                    <a:pt x="318" y="19"/>
                    <a:pt x="318" y="19"/>
                    <a:pt x="318" y="19"/>
                  </a:cubicBezTo>
                  <a:cubicBezTo>
                    <a:pt x="310" y="12"/>
                    <a:pt x="302" y="6"/>
                    <a:pt x="294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23">
              <a:extLst>
                <a:ext uri="{FF2B5EF4-FFF2-40B4-BE49-F238E27FC236}">
                  <a16:creationId xmlns:a16="http://schemas.microsoft.com/office/drawing/2014/main" id="{1708E765-3EF5-41B7-B351-A206BED329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9350" y="-5719961"/>
              <a:ext cx="576263" cy="57150"/>
            </a:xfrm>
            <a:custGeom>
              <a:avLst/>
              <a:gdLst>
                <a:gd name="T0" fmla="*/ 91 w 182"/>
                <a:gd name="T1" fmla="*/ 0 h 18"/>
                <a:gd name="T2" fmla="*/ 0 w 182"/>
                <a:gd name="T3" fmla="*/ 18 h 18"/>
                <a:gd name="T4" fmla="*/ 182 w 182"/>
                <a:gd name="T5" fmla="*/ 18 h 18"/>
                <a:gd name="T6" fmla="*/ 91 w 182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2" h="18">
                  <a:moveTo>
                    <a:pt x="91" y="0"/>
                  </a:moveTo>
                  <a:cubicBezTo>
                    <a:pt x="59" y="0"/>
                    <a:pt x="28" y="7"/>
                    <a:pt x="0" y="18"/>
                  </a:cubicBezTo>
                  <a:cubicBezTo>
                    <a:pt x="182" y="18"/>
                    <a:pt x="182" y="18"/>
                    <a:pt x="182" y="18"/>
                  </a:cubicBezTo>
                  <a:cubicBezTo>
                    <a:pt x="154" y="7"/>
                    <a:pt x="123" y="0"/>
                    <a:pt x="9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24">
              <a:extLst>
                <a:ext uri="{FF2B5EF4-FFF2-40B4-BE49-F238E27FC236}">
                  <a16:creationId xmlns:a16="http://schemas.microsoft.com/office/drawing/2014/main" id="{0401B17B-0A44-4A98-979C-854945345432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975" y="-5446911"/>
              <a:ext cx="1243013" cy="60325"/>
            </a:xfrm>
            <a:custGeom>
              <a:avLst/>
              <a:gdLst>
                <a:gd name="T0" fmla="*/ 378 w 392"/>
                <a:gd name="T1" fmla="*/ 0 h 19"/>
                <a:gd name="T2" fmla="*/ 14 w 392"/>
                <a:gd name="T3" fmla="*/ 0 h 19"/>
                <a:gd name="T4" fmla="*/ 0 w 392"/>
                <a:gd name="T5" fmla="*/ 19 h 19"/>
                <a:gd name="T6" fmla="*/ 392 w 392"/>
                <a:gd name="T7" fmla="*/ 19 h 19"/>
                <a:gd name="T8" fmla="*/ 378 w 392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2" h="19">
                  <a:moveTo>
                    <a:pt x="378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9" y="6"/>
                    <a:pt x="4" y="12"/>
                    <a:pt x="0" y="19"/>
                  </a:cubicBezTo>
                  <a:cubicBezTo>
                    <a:pt x="392" y="19"/>
                    <a:pt x="392" y="19"/>
                    <a:pt x="392" y="19"/>
                  </a:cubicBezTo>
                  <a:cubicBezTo>
                    <a:pt x="387" y="12"/>
                    <a:pt x="383" y="6"/>
                    <a:pt x="378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25">
              <a:extLst>
                <a:ext uri="{FF2B5EF4-FFF2-40B4-BE49-F238E27FC236}">
                  <a16:creationId xmlns:a16="http://schemas.microsoft.com/office/drawing/2014/main" id="{D20B4BFB-255B-47EA-BC2B-8F1B03692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742950" y="-5310386"/>
              <a:ext cx="1389063" cy="60325"/>
            </a:xfrm>
            <a:custGeom>
              <a:avLst/>
              <a:gdLst>
                <a:gd name="T0" fmla="*/ 429 w 438"/>
                <a:gd name="T1" fmla="*/ 0 h 19"/>
                <a:gd name="T2" fmla="*/ 9 w 438"/>
                <a:gd name="T3" fmla="*/ 0 h 19"/>
                <a:gd name="T4" fmla="*/ 0 w 438"/>
                <a:gd name="T5" fmla="*/ 19 h 19"/>
                <a:gd name="T6" fmla="*/ 438 w 438"/>
                <a:gd name="T7" fmla="*/ 19 h 19"/>
                <a:gd name="T8" fmla="*/ 429 w 438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8" h="19">
                  <a:moveTo>
                    <a:pt x="42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5" y="7"/>
                    <a:pt x="3" y="13"/>
                    <a:pt x="0" y="19"/>
                  </a:cubicBezTo>
                  <a:cubicBezTo>
                    <a:pt x="438" y="19"/>
                    <a:pt x="438" y="19"/>
                    <a:pt x="438" y="19"/>
                  </a:cubicBezTo>
                  <a:cubicBezTo>
                    <a:pt x="435" y="13"/>
                    <a:pt x="432" y="7"/>
                    <a:pt x="429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26">
              <a:extLst>
                <a:ext uri="{FF2B5EF4-FFF2-40B4-BE49-F238E27FC236}">
                  <a16:creationId xmlns:a16="http://schemas.microsoft.com/office/drawing/2014/main" id="{403EDC1D-E79E-4E8C-A336-3F824231E1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675" y="-5170686"/>
              <a:ext cx="1468438" cy="60325"/>
            </a:xfrm>
            <a:custGeom>
              <a:avLst/>
              <a:gdLst>
                <a:gd name="T0" fmla="*/ 459 w 463"/>
                <a:gd name="T1" fmla="*/ 0 h 19"/>
                <a:gd name="T2" fmla="*/ 5 w 463"/>
                <a:gd name="T3" fmla="*/ 0 h 19"/>
                <a:gd name="T4" fmla="*/ 0 w 463"/>
                <a:gd name="T5" fmla="*/ 19 h 19"/>
                <a:gd name="T6" fmla="*/ 463 w 463"/>
                <a:gd name="T7" fmla="*/ 19 h 19"/>
                <a:gd name="T8" fmla="*/ 459 w 463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3" h="19">
                  <a:moveTo>
                    <a:pt x="45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3" y="6"/>
                    <a:pt x="2" y="12"/>
                    <a:pt x="0" y="19"/>
                  </a:cubicBezTo>
                  <a:cubicBezTo>
                    <a:pt x="463" y="19"/>
                    <a:pt x="463" y="19"/>
                    <a:pt x="463" y="19"/>
                  </a:cubicBezTo>
                  <a:cubicBezTo>
                    <a:pt x="462" y="12"/>
                    <a:pt x="461" y="6"/>
                    <a:pt x="459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27">
              <a:extLst>
                <a:ext uri="{FF2B5EF4-FFF2-40B4-BE49-F238E27FC236}">
                  <a16:creationId xmlns:a16="http://schemas.microsoft.com/office/drawing/2014/main" id="{774E66D5-B2F9-4D3E-9339-CDF5E97757CD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975" y="-5034161"/>
              <a:ext cx="1497013" cy="60325"/>
            </a:xfrm>
            <a:custGeom>
              <a:avLst/>
              <a:gdLst>
                <a:gd name="T0" fmla="*/ 471 w 472"/>
                <a:gd name="T1" fmla="*/ 0 h 19"/>
                <a:gd name="T2" fmla="*/ 1 w 472"/>
                <a:gd name="T3" fmla="*/ 0 h 19"/>
                <a:gd name="T4" fmla="*/ 0 w 472"/>
                <a:gd name="T5" fmla="*/ 19 h 19"/>
                <a:gd name="T6" fmla="*/ 472 w 472"/>
                <a:gd name="T7" fmla="*/ 19 h 19"/>
                <a:gd name="T8" fmla="*/ 471 w 472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2" h="19">
                  <a:moveTo>
                    <a:pt x="47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6"/>
                    <a:pt x="0" y="13"/>
                    <a:pt x="0" y="19"/>
                  </a:cubicBezTo>
                  <a:cubicBezTo>
                    <a:pt x="472" y="19"/>
                    <a:pt x="472" y="19"/>
                    <a:pt x="472" y="19"/>
                  </a:cubicBezTo>
                  <a:cubicBezTo>
                    <a:pt x="471" y="13"/>
                    <a:pt x="471" y="6"/>
                    <a:pt x="47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28">
              <a:extLst>
                <a:ext uri="{FF2B5EF4-FFF2-40B4-BE49-F238E27FC236}">
                  <a16:creationId xmlns:a16="http://schemas.microsoft.com/office/drawing/2014/main" id="{69E318F6-7B62-4A96-BE73-C5F3184F0D0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150" y="-4897636"/>
              <a:ext cx="1487488" cy="60325"/>
            </a:xfrm>
            <a:custGeom>
              <a:avLst/>
              <a:gdLst>
                <a:gd name="T0" fmla="*/ 469 w 469"/>
                <a:gd name="T1" fmla="*/ 0 h 19"/>
                <a:gd name="T2" fmla="*/ 0 w 469"/>
                <a:gd name="T3" fmla="*/ 0 h 19"/>
                <a:gd name="T4" fmla="*/ 3 w 469"/>
                <a:gd name="T5" fmla="*/ 19 h 19"/>
                <a:gd name="T6" fmla="*/ 467 w 469"/>
                <a:gd name="T7" fmla="*/ 19 h 19"/>
                <a:gd name="T8" fmla="*/ 469 w 469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9" h="19">
                  <a:moveTo>
                    <a:pt x="46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7"/>
                    <a:pt x="2" y="13"/>
                    <a:pt x="3" y="19"/>
                  </a:cubicBezTo>
                  <a:cubicBezTo>
                    <a:pt x="467" y="19"/>
                    <a:pt x="467" y="19"/>
                    <a:pt x="467" y="19"/>
                  </a:cubicBezTo>
                  <a:cubicBezTo>
                    <a:pt x="468" y="13"/>
                    <a:pt x="469" y="7"/>
                    <a:pt x="469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29">
              <a:extLst>
                <a:ext uri="{FF2B5EF4-FFF2-40B4-BE49-F238E27FC236}">
                  <a16:creationId xmlns:a16="http://schemas.microsoft.com/office/drawing/2014/main" id="{7E60674A-BACD-43CD-8B7F-9017E68D62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725" y="-4757936"/>
              <a:ext cx="1433513" cy="60325"/>
            </a:xfrm>
            <a:custGeom>
              <a:avLst/>
              <a:gdLst>
                <a:gd name="T0" fmla="*/ 452 w 452"/>
                <a:gd name="T1" fmla="*/ 0 h 19"/>
                <a:gd name="T2" fmla="*/ 0 w 452"/>
                <a:gd name="T3" fmla="*/ 0 h 19"/>
                <a:gd name="T4" fmla="*/ 6 w 452"/>
                <a:gd name="T5" fmla="*/ 19 h 19"/>
                <a:gd name="T6" fmla="*/ 445 w 452"/>
                <a:gd name="T7" fmla="*/ 19 h 19"/>
                <a:gd name="T8" fmla="*/ 452 w 452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2" h="19">
                  <a:moveTo>
                    <a:pt x="45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6"/>
                    <a:pt x="4" y="12"/>
                    <a:pt x="6" y="19"/>
                  </a:cubicBezTo>
                  <a:cubicBezTo>
                    <a:pt x="445" y="19"/>
                    <a:pt x="445" y="19"/>
                    <a:pt x="445" y="19"/>
                  </a:cubicBezTo>
                  <a:cubicBezTo>
                    <a:pt x="448" y="12"/>
                    <a:pt x="450" y="6"/>
                    <a:pt x="45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30">
              <a:extLst>
                <a:ext uri="{FF2B5EF4-FFF2-40B4-BE49-F238E27FC236}">
                  <a16:creationId xmlns:a16="http://schemas.microsoft.com/office/drawing/2014/main" id="{F4DB92E0-43AC-4F81-89AD-8985C9205326}"/>
                </a:ext>
              </a:extLst>
            </p:cNvPr>
            <p:cNvSpPr>
              <a:spLocks/>
            </p:cNvSpPr>
            <p:nvPr/>
          </p:nvSpPr>
          <p:spPr bwMode="auto">
            <a:xfrm>
              <a:off x="777875" y="-4621411"/>
              <a:ext cx="1319213" cy="60325"/>
            </a:xfrm>
            <a:custGeom>
              <a:avLst/>
              <a:gdLst>
                <a:gd name="T0" fmla="*/ 416 w 416"/>
                <a:gd name="T1" fmla="*/ 0 h 19"/>
                <a:gd name="T2" fmla="*/ 0 w 416"/>
                <a:gd name="T3" fmla="*/ 0 h 19"/>
                <a:gd name="T4" fmla="*/ 11 w 416"/>
                <a:gd name="T5" fmla="*/ 19 h 19"/>
                <a:gd name="T6" fmla="*/ 405 w 416"/>
                <a:gd name="T7" fmla="*/ 19 h 19"/>
                <a:gd name="T8" fmla="*/ 416 w 416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6" h="19">
                  <a:moveTo>
                    <a:pt x="41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" y="7"/>
                    <a:pt x="7" y="13"/>
                    <a:pt x="11" y="19"/>
                  </a:cubicBezTo>
                  <a:cubicBezTo>
                    <a:pt x="405" y="19"/>
                    <a:pt x="405" y="19"/>
                    <a:pt x="405" y="19"/>
                  </a:cubicBezTo>
                  <a:cubicBezTo>
                    <a:pt x="409" y="13"/>
                    <a:pt x="413" y="7"/>
                    <a:pt x="416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31">
              <a:extLst>
                <a:ext uri="{FF2B5EF4-FFF2-40B4-BE49-F238E27FC236}">
                  <a16:creationId xmlns:a16="http://schemas.microsoft.com/office/drawing/2014/main" id="{19DC0AD1-8BCD-40BD-AFA9-9E86D9D7619A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950" y="-4484886"/>
              <a:ext cx="1135063" cy="60325"/>
            </a:xfrm>
            <a:custGeom>
              <a:avLst/>
              <a:gdLst>
                <a:gd name="T0" fmla="*/ 358 w 358"/>
                <a:gd name="T1" fmla="*/ 0 h 19"/>
                <a:gd name="T2" fmla="*/ 0 w 358"/>
                <a:gd name="T3" fmla="*/ 0 h 19"/>
                <a:gd name="T4" fmla="*/ 18 w 358"/>
                <a:gd name="T5" fmla="*/ 19 h 19"/>
                <a:gd name="T6" fmla="*/ 339 w 358"/>
                <a:gd name="T7" fmla="*/ 19 h 19"/>
                <a:gd name="T8" fmla="*/ 358 w 358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8" h="19">
                  <a:moveTo>
                    <a:pt x="35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" y="7"/>
                    <a:pt x="12" y="13"/>
                    <a:pt x="18" y="19"/>
                  </a:cubicBezTo>
                  <a:cubicBezTo>
                    <a:pt x="339" y="19"/>
                    <a:pt x="339" y="19"/>
                    <a:pt x="339" y="19"/>
                  </a:cubicBezTo>
                  <a:cubicBezTo>
                    <a:pt x="346" y="13"/>
                    <a:pt x="352" y="7"/>
                    <a:pt x="358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32">
              <a:extLst>
                <a:ext uri="{FF2B5EF4-FFF2-40B4-BE49-F238E27FC236}">
                  <a16:creationId xmlns:a16="http://schemas.microsoft.com/office/drawing/2014/main" id="{53CD8091-772D-4EA7-ACC8-68B12D4370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5525" y="-4345186"/>
              <a:ext cx="820738" cy="60325"/>
            </a:xfrm>
            <a:custGeom>
              <a:avLst/>
              <a:gdLst>
                <a:gd name="T0" fmla="*/ 259 w 259"/>
                <a:gd name="T1" fmla="*/ 0 h 19"/>
                <a:gd name="T2" fmla="*/ 0 w 259"/>
                <a:gd name="T3" fmla="*/ 0 h 19"/>
                <a:gd name="T4" fmla="*/ 35 w 259"/>
                <a:gd name="T5" fmla="*/ 19 h 19"/>
                <a:gd name="T6" fmla="*/ 225 w 259"/>
                <a:gd name="T7" fmla="*/ 19 h 19"/>
                <a:gd name="T8" fmla="*/ 259 w 259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9" h="19">
                  <a:moveTo>
                    <a:pt x="25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1" y="7"/>
                    <a:pt x="23" y="13"/>
                    <a:pt x="35" y="19"/>
                  </a:cubicBezTo>
                  <a:cubicBezTo>
                    <a:pt x="225" y="19"/>
                    <a:pt x="225" y="19"/>
                    <a:pt x="225" y="19"/>
                  </a:cubicBezTo>
                  <a:cubicBezTo>
                    <a:pt x="237" y="13"/>
                    <a:pt x="248" y="7"/>
                    <a:pt x="259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1690047-4235-43F0-9F2A-44A8E93985C0}"/>
              </a:ext>
            </a:extLst>
          </p:cNvPr>
          <p:cNvCxnSpPr/>
          <p:nvPr userDrawn="1"/>
        </p:nvCxnSpPr>
        <p:spPr>
          <a:xfrm>
            <a:off x="9596819" y="6389084"/>
            <a:ext cx="0" cy="166687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7178CB75-44D5-4455-AF00-3EE241BA60A5}"/>
              </a:ext>
            </a:extLst>
          </p:cNvPr>
          <p:cNvSpPr txBox="1"/>
          <p:nvPr userDrawn="1"/>
        </p:nvSpPr>
        <p:spPr>
          <a:xfrm>
            <a:off x="6389517" y="6247955"/>
            <a:ext cx="2551789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300" b="1" spc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Company </a:t>
            </a:r>
            <a:r>
              <a:rPr lang="en-US" sz="2300" b="1" kern="1200" spc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Profile</a:t>
            </a:r>
          </a:p>
        </p:txBody>
      </p:sp>
      <p:sp>
        <p:nvSpPr>
          <p:cNvPr id="91" name="Picture Placeholder 90">
            <a:extLst>
              <a:ext uri="{FF2B5EF4-FFF2-40B4-BE49-F238E27FC236}">
                <a16:creationId xmlns:a16="http://schemas.microsoft.com/office/drawing/2014/main" id="{DED87477-D46B-4EBE-893C-467CEB5FAF1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998888" y="2014061"/>
            <a:ext cx="2881804" cy="2881804"/>
          </a:xfrm>
          <a:custGeom>
            <a:avLst/>
            <a:gdLst>
              <a:gd name="connsiteX0" fmla="*/ 1001810 w 2003620"/>
              <a:gd name="connsiteY0" fmla="*/ 0 h 2003620"/>
              <a:gd name="connsiteX1" fmla="*/ 2003620 w 2003620"/>
              <a:gd name="connsiteY1" fmla="*/ 1001810 h 2003620"/>
              <a:gd name="connsiteX2" fmla="*/ 1001810 w 2003620"/>
              <a:gd name="connsiteY2" fmla="*/ 2003620 h 2003620"/>
              <a:gd name="connsiteX3" fmla="*/ 0 w 2003620"/>
              <a:gd name="connsiteY3" fmla="*/ 1001810 h 2003620"/>
              <a:gd name="connsiteX4" fmla="*/ 1001810 w 2003620"/>
              <a:gd name="connsiteY4" fmla="*/ 0 h 2003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03620" h="2003620">
                <a:moveTo>
                  <a:pt x="1001810" y="0"/>
                </a:moveTo>
                <a:cubicBezTo>
                  <a:pt x="1555094" y="0"/>
                  <a:pt x="2003620" y="448526"/>
                  <a:pt x="2003620" y="1001810"/>
                </a:cubicBezTo>
                <a:cubicBezTo>
                  <a:pt x="2003620" y="1555094"/>
                  <a:pt x="1555094" y="2003620"/>
                  <a:pt x="1001810" y="2003620"/>
                </a:cubicBezTo>
                <a:cubicBezTo>
                  <a:pt x="448526" y="2003620"/>
                  <a:pt x="0" y="1555094"/>
                  <a:pt x="0" y="1001810"/>
                </a:cubicBezTo>
                <a:cubicBezTo>
                  <a:pt x="0" y="448526"/>
                  <a:pt x="448526" y="0"/>
                  <a:pt x="100181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3E3F71F8-364C-494F-BE6B-35DB365FE1BC}"/>
              </a:ext>
            </a:extLst>
          </p:cNvPr>
          <p:cNvGrpSpPr/>
          <p:nvPr userDrawn="1"/>
        </p:nvGrpSpPr>
        <p:grpSpPr>
          <a:xfrm>
            <a:off x="5956285" y="6264918"/>
            <a:ext cx="390675" cy="386876"/>
            <a:chOff x="942242" y="2841978"/>
            <a:chExt cx="1226108" cy="1214181"/>
          </a:xfrm>
        </p:grpSpPr>
        <p:sp>
          <p:nvSpPr>
            <p:cNvPr id="33" name="Freeform 63">
              <a:extLst>
                <a:ext uri="{FF2B5EF4-FFF2-40B4-BE49-F238E27FC236}">
                  <a16:creationId xmlns:a16="http://schemas.microsoft.com/office/drawing/2014/main" id="{62FDB4D7-C79E-43F4-B30D-58756C4DC5B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42242" y="2841978"/>
              <a:ext cx="1226108" cy="1211796"/>
            </a:xfrm>
            <a:custGeom>
              <a:avLst/>
              <a:gdLst>
                <a:gd name="T0" fmla="*/ 198 w 431"/>
                <a:gd name="T1" fmla="*/ 393 h 426"/>
                <a:gd name="T2" fmla="*/ 53 w 431"/>
                <a:gd name="T3" fmla="*/ 393 h 426"/>
                <a:gd name="T4" fmla="*/ 39 w 431"/>
                <a:gd name="T5" fmla="*/ 386 h 426"/>
                <a:gd name="T6" fmla="*/ 37 w 431"/>
                <a:gd name="T7" fmla="*/ 371 h 426"/>
                <a:gd name="T8" fmla="*/ 159 w 431"/>
                <a:gd name="T9" fmla="*/ 284 h 426"/>
                <a:gd name="T10" fmla="*/ 231 w 431"/>
                <a:gd name="T11" fmla="*/ 307 h 426"/>
                <a:gd name="T12" fmla="*/ 254 w 431"/>
                <a:gd name="T13" fmla="*/ 303 h 426"/>
                <a:gd name="T14" fmla="*/ 250 w 431"/>
                <a:gd name="T15" fmla="*/ 280 h 426"/>
                <a:gd name="T16" fmla="*/ 216 w 431"/>
                <a:gd name="T17" fmla="*/ 262 h 426"/>
                <a:gd name="T18" fmla="*/ 244 w 431"/>
                <a:gd name="T19" fmla="*/ 206 h 426"/>
                <a:gd name="T20" fmla="*/ 331 w 431"/>
                <a:gd name="T21" fmla="*/ 171 h 426"/>
                <a:gd name="T22" fmla="*/ 403 w 431"/>
                <a:gd name="T23" fmla="*/ 193 h 426"/>
                <a:gd name="T24" fmla="*/ 426 w 431"/>
                <a:gd name="T25" fmla="*/ 189 h 426"/>
                <a:gd name="T26" fmla="*/ 422 w 431"/>
                <a:gd name="T27" fmla="*/ 166 h 426"/>
                <a:gd name="T28" fmla="*/ 389 w 431"/>
                <a:gd name="T29" fmla="*/ 148 h 426"/>
                <a:gd name="T30" fmla="*/ 416 w 431"/>
                <a:gd name="T31" fmla="*/ 85 h 426"/>
                <a:gd name="T32" fmla="*/ 332 w 431"/>
                <a:gd name="T33" fmla="*/ 0 h 426"/>
                <a:gd name="T34" fmla="*/ 247 w 431"/>
                <a:gd name="T35" fmla="*/ 85 h 426"/>
                <a:gd name="T36" fmla="*/ 274 w 431"/>
                <a:gd name="T37" fmla="*/ 148 h 426"/>
                <a:gd name="T38" fmla="*/ 267 w 431"/>
                <a:gd name="T39" fmla="*/ 151 h 426"/>
                <a:gd name="T40" fmla="*/ 238 w 431"/>
                <a:gd name="T41" fmla="*/ 168 h 426"/>
                <a:gd name="T42" fmla="*/ 159 w 431"/>
                <a:gd name="T43" fmla="*/ 114 h 426"/>
                <a:gd name="T44" fmla="*/ 75 w 431"/>
                <a:gd name="T45" fmla="*/ 199 h 426"/>
                <a:gd name="T46" fmla="*/ 102 w 431"/>
                <a:gd name="T47" fmla="*/ 262 h 426"/>
                <a:gd name="T48" fmla="*/ 5 w 431"/>
                <a:gd name="T49" fmla="*/ 361 h 426"/>
                <a:gd name="T50" fmla="*/ 13 w 431"/>
                <a:gd name="T51" fmla="*/ 406 h 426"/>
                <a:gd name="T52" fmla="*/ 53 w 431"/>
                <a:gd name="T53" fmla="*/ 426 h 426"/>
                <a:gd name="T54" fmla="*/ 198 w 431"/>
                <a:gd name="T55" fmla="*/ 426 h 426"/>
                <a:gd name="T56" fmla="*/ 214 w 431"/>
                <a:gd name="T57" fmla="*/ 410 h 426"/>
                <a:gd name="T58" fmla="*/ 198 w 431"/>
                <a:gd name="T59" fmla="*/ 393 h 426"/>
                <a:gd name="T60" fmla="*/ 332 w 431"/>
                <a:gd name="T61" fmla="*/ 34 h 426"/>
                <a:gd name="T62" fmla="*/ 383 w 431"/>
                <a:gd name="T63" fmla="*/ 85 h 426"/>
                <a:gd name="T64" fmla="*/ 332 w 431"/>
                <a:gd name="T65" fmla="*/ 137 h 426"/>
                <a:gd name="T66" fmla="*/ 280 w 431"/>
                <a:gd name="T67" fmla="*/ 85 h 426"/>
                <a:gd name="T68" fmla="*/ 332 w 431"/>
                <a:gd name="T69" fmla="*/ 34 h 426"/>
                <a:gd name="T70" fmla="*/ 159 w 431"/>
                <a:gd name="T71" fmla="*/ 148 h 426"/>
                <a:gd name="T72" fmla="*/ 211 w 431"/>
                <a:gd name="T73" fmla="*/ 199 h 426"/>
                <a:gd name="T74" fmla="*/ 159 w 431"/>
                <a:gd name="T75" fmla="*/ 251 h 426"/>
                <a:gd name="T76" fmla="*/ 108 w 431"/>
                <a:gd name="T77" fmla="*/ 199 h 426"/>
                <a:gd name="T78" fmla="*/ 159 w 431"/>
                <a:gd name="T79" fmla="*/ 148 h 426"/>
                <a:gd name="T80" fmla="*/ 159 w 431"/>
                <a:gd name="T81" fmla="*/ 148 h 426"/>
                <a:gd name="T82" fmla="*/ 159 w 431"/>
                <a:gd name="T83" fmla="*/ 148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31" h="426">
                  <a:moveTo>
                    <a:pt x="198" y="393"/>
                  </a:moveTo>
                  <a:cubicBezTo>
                    <a:pt x="53" y="393"/>
                    <a:pt x="53" y="393"/>
                    <a:pt x="53" y="393"/>
                  </a:cubicBezTo>
                  <a:cubicBezTo>
                    <a:pt x="48" y="393"/>
                    <a:pt x="43" y="391"/>
                    <a:pt x="39" y="386"/>
                  </a:cubicBezTo>
                  <a:cubicBezTo>
                    <a:pt x="36" y="382"/>
                    <a:pt x="35" y="376"/>
                    <a:pt x="37" y="371"/>
                  </a:cubicBezTo>
                  <a:cubicBezTo>
                    <a:pt x="54" y="320"/>
                    <a:pt x="104" y="284"/>
                    <a:pt x="159" y="284"/>
                  </a:cubicBezTo>
                  <a:cubicBezTo>
                    <a:pt x="185" y="284"/>
                    <a:pt x="210" y="292"/>
                    <a:pt x="231" y="307"/>
                  </a:cubicBezTo>
                  <a:cubicBezTo>
                    <a:pt x="238" y="312"/>
                    <a:pt x="248" y="310"/>
                    <a:pt x="254" y="303"/>
                  </a:cubicBezTo>
                  <a:cubicBezTo>
                    <a:pt x="259" y="295"/>
                    <a:pt x="257" y="285"/>
                    <a:pt x="250" y="280"/>
                  </a:cubicBezTo>
                  <a:cubicBezTo>
                    <a:pt x="239" y="272"/>
                    <a:pt x="228" y="266"/>
                    <a:pt x="216" y="262"/>
                  </a:cubicBezTo>
                  <a:cubicBezTo>
                    <a:pt x="232" y="248"/>
                    <a:pt x="242" y="228"/>
                    <a:pt x="244" y="206"/>
                  </a:cubicBezTo>
                  <a:cubicBezTo>
                    <a:pt x="267" y="183"/>
                    <a:pt x="298" y="171"/>
                    <a:pt x="331" y="171"/>
                  </a:cubicBezTo>
                  <a:cubicBezTo>
                    <a:pt x="357" y="171"/>
                    <a:pt x="382" y="178"/>
                    <a:pt x="403" y="193"/>
                  </a:cubicBezTo>
                  <a:cubicBezTo>
                    <a:pt x="410" y="198"/>
                    <a:pt x="421" y="196"/>
                    <a:pt x="426" y="189"/>
                  </a:cubicBezTo>
                  <a:cubicBezTo>
                    <a:pt x="431" y="181"/>
                    <a:pt x="429" y="171"/>
                    <a:pt x="422" y="166"/>
                  </a:cubicBezTo>
                  <a:cubicBezTo>
                    <a:pt x="411" y="159"/>
                    <a:pt x="400" y="153"/>
                    <a:pt x="389" y="148"/>
                  </a:cubicBezTo>
                  <a:cubicBezTo>
                    <a:pt x="406" y="133"/>
                    <a:pt x="416" y="110"/>
                    <a:pt x="416" y="85"/>
                  </a:cubicBezTo>
                  <a:cubicBezTo>
                    <a:pt x="416" y="39"/>
                    <a:pt x="378" y="0"/>
                    <a:pt x="332" y="0"/>
                  </a:cubicBezTo>
                  <a:cubicBezTo>
                    <a:pt x="285" y="0"/>
                    <a:pt x="247" y="39"/>
                    <a:pt x="247" y="85"/>
                  </a:cubicBezTo>
                  <a:cubicBezTo>
                    <a:pt x="247" y="110"/>
                    <a:pt x="257" y="132"/>
                    <a:pt x="274" y="148"/>
                  </a:cubicBezTo>
                  <a:cubicBezTo>
                    <a:pt x="272" y="149"/>
                    <a:pt x="270" y="150"/>
                    <a:pt x="267" y="151"/>
                  </a:cubicBezTo>
                  <a:cubicBezTo>
                    <a:pt x="257" y="155"/>
                    <a:pt x="247" y="161"/>
                    <a:pt x="238" y="168"/>
                  </a:cubicBezTo>
                  <a:cubicBezTo>
                    <a:pt x="226" y="136"/>
                    <a:pt x="195" y="114"/>
                    <a:pt x="159" y="114"/>
                  </a:cubicBezTo>
                  <a:cubicBezTo>
                    <a:pt x="113" y="114"/>
                    <a:pt x="75" y="152"/>
                    <a:pt x="75" y="199"/>
                  </a:cubicBezTo>
                  <a:cubicBezTo>
                    <a:pt x="75" y="224"/>
                    <a:pt x="85" y="246"/>
                    <a:pt x="102" y="262"/>
                  </a:cubicBezTo>
                  <a:cubicBezTo>
                    <a:pt x="57" y="279"/>
                    <a:pt x="20" y="315"/>
                    <a:pt x="5" y="361"/>
                  </a:cubicBezTo>
                  <a:cubicBezTo>
                    <a:pt x="0" y="376"/>
                    <a:pt x="3" y="393"/>
                    <a:pt x="13" y="406"/>
                  </a:cubicBezTo>
                  <a:cubicBezTo>
                    <a:pt x="22" y="419"/>
                    <a:pt x="37" y="426"/>
                    <a:pt x="53" y="426"/>
                  </a:cubicBezTo>
                  <a:cubicBezTo>
                    <a:pt x="198" y="426"/>
                    <a:pt x="198" y="426"/>
                    <a:pt x="198" y="426"/>
                  </a:cubicBezTo>
                  <a:cubicBezTo>
                    <a:pt x="207" y="426"/>
                    <a:pt x="214" y="419"/>
                    <a:pt x="214" y="410"/>
                  </a:cubicBezTo>
                  <a:cubicBezTo>
                    <a:pt x="214" y="401"/>
                    <a:pt x="207" y="393"/>
                    <a:pt x="198" y="393"/>
                  </a:cubicBezTo>
                  <a:close/>
                  <a:moveTo>
                    <a:pt x="332" y="34"/>
                  </a:moveTo>
                  <a:cubicBezTo>
                    <a:pt x="360" y="34"/>
                    <a:pt x="383" y="57"/>
                    <a:pt x="383" y="85"/>
                  </a:cubicBezTo>
                  <a:cubicBezTo>
                    <a:pt x="383" y="114"/>
                    <a:pt x="360" y="137"/>
                    <a:pt x="332" y="137"/>
                  </a:cubicBezTo>
                  <a:cubicBezTo>
                    <a:pt x="303" y="137"/>
                    <a:pt x="280" y="114"/>
                    <a:pt x="280" y="85"/>
                  </a:cubicBezTo>
                  <a:cubicBezTo>
                    <a:pt x="280" y="57"/>
                    <a:pt x="303" y="34"/>
                    <a:pt x="332" y="34"/>
                  </a:cubicBezTo>
                  <a:close/>
                  <a:moveTo>
                    <a:pt x="159" y="148"/>
                  </a:moveTo>
                  <a:cubicBezTo>
                    <a:pt x="188" y="148"/>
                    <a:pt x="211" y="171"/>
                    <a:pt x="211" y="199"/>
                  </a:cubicBezTo>
                  <a:cubicBezTo>
                    <a:pt x="211" y="228"/>
                    <a:pt x="188" y="251"/>
                    <a:pt x="159" y="251"/>
                  </a:cubicBezTo>
                  <a:cubicBezTo>
                    <a:pt x="131" y="251"/>
                    <a:pt x="108" y="228"/>
                    <a:pt x="108" y="199"/>
                  </a:cubicBezTo>
                  <a:cubicBezTo>
                    <a:pt x="108" y="171"/>
                    <a:pt x="131" y="148"/>
                    <a:pt x="159" y="148"/>
                  </a:cubicBezTo>
                  <a:close/>
                  <a:moveTo>
                    <a:pt x="159" y="148"/>
                  </a:moveTo>
                  <a:cubicBezTo>
                    <a:pt x="159" y="148"/>
                    <a:pt x="159" y="148"/>
                    <a:pt x="159" y="148"/>
                  </a:cubicBezTo>
                </a:path>
              </a:pathLst>
            </a:custGeom>
            <a:gradFill flip="none" rotWithShape="1"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810000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64">
              <a:extLst>
                <a:ext uri="{FF2B5EF4-FFF2-40B4-BE49-F238E27FC236}">
                  <a16:creationId xmlns:a16="http://schemas.microsoft.com/office/drawing/2014/main" id="{EB6E356D-9626-437B-8F88-21040A95A2A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68415" y="3600543"/>
              <a:ext cx="599935" cy="455616"/>
            </a:xfrm>
            <a:custGeom>
              <a:avLst/>
              <a:gdLst>
                <a:gd name="T0" fmla="*/ 202 w 211"/>
                <a:gd name="T1" fmla="*/ 5 h 160"/>
                <a:gd name="T2" fmla="*/ 179 w 211"/>
                <a:gd name="T3" fmla="*/ 9 h 160"/>
                <a:gd name="T4" fmla="*/ 97 w 211"/>
                <a:gd name="T5" fmla="*/ 124 h 160"/>
                <a:gd name="T6" fmla="*/ 90 w 211"/>
                <a:gd name="T7" fmla="*/ 127 h 160"/>
                <a:gd name="T8" fmla="*/ 83 w 211"/>
                <a:gd name="T9" fmla="*/ 124 h 160"/>
                <a:gd name="T10" fmla="*/ 30 w 211"/>
                <a:gd name="T11" fmla="*/ 73 h 160"/>
                <a:gd name="T12" fmla="*/ 6 w 211"/>
                <a:gd name="T13" fmla="*/ 74 h 160"/>
                <a:gd name="T14" fmla="*/ 7 w 211"/>
                <a:gd name="T15" fmla="*/ 97 h 160"/>
                <a:gd name="T16" fmla="*/ 60 w 211"/>
                <a:gd name="T17" fmla="*/ 148 h 160"/>
                <a:gd name="T18" fmla="*/ 90 w 211"/>
                <a:gd name="T19" fmla="*/ 160 h 160"/>
                <a:gd name="T20" fmla="*/ 92 w 211"/>
                <a:gd name="T21" fmla="*/ 160 h 160"/>
                <a:gd name="T22" fmla="*/ 123 w 211"/>
                <a:gd name="T23" fmla="*/ 144 h 160"/>
                <a:gd name="T24" fmla="*/ 123 w 211"/>
                <a:gd name="T25" fmla="*/ 143 h 160"/>
                <a:gd name="T26" fmla="*/ 206 w 211"/>
                <a:gd name="T27" fmla="*/ 28 h 160"/>
                <a:gd name="T28" fmla="*/ 202 w 211"/>
                <a:gd name="T29" fmla="*/ 5 h 160"/>
                <a:gd name="T30" fmla="*/ 202 w 211"/>
                <a:gd name="T31" fmla="*/ 5 h 160"/>
                <a:gd name="T32" fmla="*/ 202 w 211"/>
                <a:gd name="T33" fmla="*/ 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11" h="160">
                  <a:moveTo>
                    <a:pt x="202" y="5"/>
                  </a:moveTo>
                  <a:cubicBezTo>
                    <a:pt x="194" y="0"/>
                    <a:pt x="184" y="2"/>
                    <a:pt x="179" y="9"/>
                  </a:cubicBezTo>
                  <a:cubicBezTo>
                    <a:pt x="97" y="124"/>
                    <a:pt x="97" y="124"/>
                    <a:pt x="97" y="124"/>
                  </a:cubicBezTo>
                  <a:cubicBezTo>
                    <a:pt x="94" y="126"/>
                    <a:pt x="92" y="127"/>
                    <a:pt x="90" y="127"/>
                  </a:cubicBezTo>
                  <a:cubicBezTo>
                    <a:pt x="89" y="127"/>
                    <a:pt x="86" y="127"/>
                    <a:pt x="83" y="124"/>
                  </a:cubicBezTo>
                  <a:cubicBezTo>
                    <a:pt x="30" y="73"/>
                    <a:pt x="30" y="73"/>
                    <a:pt x="30" y="73"/>
                  </a:cubicBezTo>
                  <a:cubicBezTo>
                    <a:pt x="23" y="67"/>
                    <a:pt x="13" y="67"/>
                    <a:pt x="6" y="74"/>
                  </a:cubicBezTo>
                  <a:cubicBezTo>
                    <a:pt x="0" y="80"/>
                    <a:pt x="0" y="91"/>
                    <a:pt x="7" y="97"/>
                  </a:cubicBezTo>
                  <a:cubicBezTo>
                    <a:pt x="60" y="148"/>
                    <a:pt x="60" y="148"/>
                    <a:pt x="60" y="148"/>
                  </a:cubicBezTo>
                  <a:cubicBezTo>
                    <a:pt x="68" y="156"/>
                    <a:pt x="79" y="160"/>
                    <a:pt x="90" y="160"/>
                  </a:cubicBezTo>
                  <a:cubicBezTo>
                    <a:pt x="91" y="160"/>
                    <a:pt x="91" y="160"/>
                    <a:pt x="92" y="160"/>
                  </a:cubicBezTo>
                  <a:cubicBezTo>
                    <a:pt x="104" y="159"/>
                    <a:pt x="115" y="153"/>
                    <a:pt x="123" y="144"/>
                  </a:cubicBezTo>
                  <a:cubicBezTo>
                    <a:pt x="123" y="144"/>
                    <a:pt x="123" y="144"/>
                    <a:pt x="123" y="143"/>
                  </a:cubicBezTo>
                  <a:cubicBezTo>
                    <a:pt x="206" y="28"/>
                    <a:pt x="206" y="28"/>
                    <a:pt x="206" y="28"/>
                  </a:cubicBezTo>
                  <a:cubicBezTo>
                    <a:pt x="211" y="21"/>
                    <a:pt x="209" y="11"/>
                    <a:pt x="202" y="5"/>
                  </a:cubicBezTo>
                  <a:close/>
                  <a:moveTo>
                    <a:pt x="202" y="5"/>
                  </a:moveTo>
                  <a:cubicBezTo>
                    <a:pt x="202" y="5"/>
                    <a:pt x="202" y="5"/>
                    <a:pt x="202" y="5"/>
                  </a:cubicBezTo>
                </a:path>
              </a:pathLst>
            </a:custGeom>
            <a:gradFill flip="none" rotWithShape="1"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810000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C6C13410-168C-4F8C-81CA-DD28C7DA65DE}"/>
              </a:ext>
            </a:extLst>
          </p:cNvPr>
          <p:cNvSpPr/>
          <p:nvPr userDrawn="1"/>
        </p:nvSpPr>
        <p:spPr>
          <a:xfrm>
            <a:off x="9154312" y="6309837"/>
            <a:ext cx="333533" cy="333533"/>
          </a:xfrm>
          <a:prstGeom prst="roundRect">
            <a:avLst>
              <a:gd name="adj" fmla="val 9599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Slide Number Placeholder 13">
            <a:extLst>
              <a:ext uri="{FF2B5EF4-FFF2-40B4-BE49-F238E27FC236}">
                <a16:creationId xmlns:a16="http://schemas.microsoft.com/office/drawing/2014/main" id="{FDAFF31E-10F5-4656-9D5D-488ADD8547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05250" y="6350048"/>
            <a:ext cx="431656" cy="2267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fld id="{1F70EEBF-E97C-49FF-B05B-3B4D348638DC}" type="slidenum">
              <a:rPr lang="en-US" smtClean="0"/>
              <a:pPr/>
              <a:t>‹Nr.›</a:t>
            </a:fld>
            <a:endParaRPr lang="en-US" dirty="0"/>
          </a:p>
        </p:txBody>
      </p:sp>
      <p:grpSp>
        <p:nvGrpSpPr>
          <p:cNvPr id="92" name="Group 91">
            <a:extLst>
              <a:ext uri="{FF2B5EF4-FFF2-40B4-BE49-F238E27FC236}">
                <a16:creationId xmlns:a16="http://schemas.microsoft.com/office/drawing/2014/main" id="{FB1558B5-977C-4285-813D-57F500094810}"/>
              </a:ext>
            </a:extLst>
          </p:cNvPr>
          <p:cNvGrpSpPr/>
          <p:nvPr userDrawn="1"/>
        </p:nvGrpSpPr>
        <p:grpSpPr>
          <a:xfrm flipH="1">
            <a:off x="9760843" y="125"/>
            <a:ext cx="2431157" cy="2744859"/>
            <a:chOff x="1781175" y="-333375"/>
            <a:chExt cx="4314825" cy="6070600"/>
          </a:xfrm>
        </p:grpSpPr>
        <p:sp>
          <p:nvSpPr>
            <p:cNvPr id="93" name="Freeform 6">
              <a:extLst>
                <a:ext uri="{FF2B5EF4-FFF2-40B4-BE49-F238E27FC236}">
                  <a16:creationId xmlns:a16="http://schemas.microsoft.com/office/drawing/2014/main" id="{611CC60D-D1DF-4147-B988-685E0F69BD5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81175" y="-333375"/>
              <a:ext cx="4314825" cy="6070600"/>
            </a:xfrm>
            <a:custGeom>
              <a:avLst/>
              <a:gdLst>
                <a:gd name="T0" fmla="*/ 877 w 2718"/>
                <a:gd name="T1" fmla="*/ 0 h 3824"/>
                <a:gd name="T2" fmla="*/ 0 w 2718"/>
                <a:gd name="T3" fmla="*/ 3793 h 3824"/>
                <a:gd name="T4" fmla="*/ 0 w 2718"/>
                <a:gd name="T5" fmla="*/ 3824 h 3824"/>
                <a:gd name="T6" fmla="*/ 2718 w 2718"/>
                <a:gd name="T7" fmla="*/ 0 h 3824"/>
                <a:gd name="T8" fmla="*/ 877 w 2718"/>
                <a:gd name="T9" fmla="*/ 0 h 3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18" h="3824">
                  <a:moveTo>
                    <a:pt x="877" y="0"/>
                  </a:moveTo>
                  <a:lnTo>
                    <a:pt x="0" y="3793"/>
                  </a:lnTo>
                  <a:lnTo>
                    <a:pt x="0" y="3824"/>
                  </a:lnTo>
                  <a:lnTo>
                    <a:pt x="2718" y="0"/>
                  </a:lnTo>
                  <a:lnTo>
                    <a:pt x="877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/>
                </a:gs>
                <a:gs pos="100000">
                  <a:schemeClr val="accent1"/>
                </a:gs>
              </a:gsLst>
              <a:lin ang="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7">
              <a:extLst>
                <a:ext uri="{FF2B5EF4-FFF2-40B4-BE49-F238E27FC236}">
                  <a16:creationId xmlns:a16="http://schemas.microsoft.com/office/drawing/2014/main" id="{D0DB6676-B63C-495C-A853-8DAD9DD72B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81175" y="-333375"/>
              <a:ext cx="1897064" cy="2189162"/>
            </a:xfrm>
            <a:custGeom>
              <a:avLst/>
              <a:gdLst>
                <a:gd name="T0" fmla="*/ 0 w 1195"/>
                <a:gd name="T1" fmla="*/ 0 h 1379"/>
                <a:gd name="T2" fmla="*/ 0 w 1195"/>
                <a:gd name="T3" fmla="*/ 1379 h 1379"/>
                <a:gd name="T4" fmla="*/ 1195 w 1195"/>
                <a:gd name="T5" fmla="*/ 0 h 1379"/>
                <a:gd name="T6" fmla="*/ 0 w 1195"/>
                <a:gd name="T7" fmla="*/ 0 h 1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95" h="1379">
                  <a:moveTo>
                    <a:pt x="0" y="0"/>
                  </a:moveTo>
                  <a:lnTo>
                    <a:pt x="0" y="1379"/>
                  </a:lnTo>
                  <a:lnTo>
                    <a:pt x="119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8">
              <a:extLst>
                <a:ext uri="{FF2B5EF4-FFF2-40B4-BE49-F238E27FC236}">
                  <a16:creationId xmlns:a16="http://schemas.microsoft.com/office/drawing/2014/main" id="{F8C80984-B6BB-4778-8BC7-98F0E0DC82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81175" y="-333375"/>
              <a:ext cx="1897063" cy="2189162"/>
            </a:xfrm>
            <a:custGeom>
              <a:avLst/>
              <a:gdLst>
                <a:gd name="T0" fmla="*/ 1176 w 1195"/>
                <a:gd name="T1" fmla="*/ 0 h 1379"/>
                <a:gd name="T2" fmla="*/ 0 w 1195"/>
                <a:gd name="T3" fmla="*/ 1184 h 1379"/>
                <a:gd name="T4" fmla="*/ 0 w 1195"/>
                <a:gd name="T5" fmla="*/ 1379 h 1379"/>
                <a:gd name="T6" fmla="*/ 1195 w 1195"/>
                <a:gd name="T7" fmla="*/ 0 h 1379"/>
                <a:gd name="T8" fmla="*/ 1176 w 1195"/>
                <a:gd name="T9" fmla="*/ 0 h 1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95" h="1379">
                  <a:moveTo>
                    <a:pt x="1176" y="0"/>
                  </a:moveTo>
                  <a:lnTo>
                    <a:pt x="0" y="1184"/>
                  </a:lnTo>
                  <a:lnTo>
                    <a:pt x="0" y="1379"/>
                  </a:lnTo>
                  <a:lnTo>
                    <a:pt x="1195" y="0"/>
                  </a:lnTo>
                  <a:lnTo>
                    <a:pt x="1176" y="0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  <a:alpha val="2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9">
              <a:extLst>
                <a:ext uri="{FF2B5EF4-FFF2-40B4-BE49-F238E27FC236}">
                  <a16:creationId xmlns:a16="http://schemas.microsoft.com/office/drawing/2014/main" id="{F85C9C92-F0C4-4D13-8B12-27F33FC51B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81175" y="-333375"/>
              <a:ext cx="1916113" cy="6040436"/>
            </a:xfrm>
            <a:custGeom>
              <a:avLst/>
              <a:gdLst>
                <a:gd name="T0" fmla="*/ 1195 w 1207"/>
                <a:gd name="T1" fmla="*/ 0 h 3805"/>
                <a:gd name="T2" fmla="*/ 0 w 1207"/>
                <a:gd name="T3" fmla="*/ 1379 h 3805"/>
                <a:gd name="T4" fmla="*/ 0 w 1207"/>
                <a:gd name="T5" fmla="*/ 3805 h 3805"/>
                <a:gd name="T6" fmla="*/ 1207 w 1207"/>
                <a:gd name="T7" fmla="*/ 0 h 3805"/>
                <a:gd name="T8" fmla="*/ 1195 w 1207"/>
                <a:gd name="T9" fmla="*/ 0 h 38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07" h="3805">
                  <a:moveTo>
                    <a:pt x="1195" y="0"/>
                  </a:moveTo>
                  <a:lnTo>
                    <a:pt x="0" y="1379"/>
                  </a:lnTo>
                  <a:lnTo>
                    <a:pt x="0" y="3805"/>
                  </a:lnTo>
                  <a:lnTo>
                    <a:pt x="1207" y="0"/>
                  </a:lnTo>
                  <a:lnTo>
                    <a:pt x="1195" y="0"/>
                  </a:ln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100000">
                  <a:schemeClr val="accent4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10">
              <a:extLst>
                <a:ext uri="{FF2B5EF4-FFF2-40B4-BE49-F238E27FC236}">
                  <a16:creationId xmlns:a16="http://schemas.microsoft.com/office/drawing/2014/main" id="{EB3DCC44-85F3-4BA8-90F1-4DC75CCC9D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81175" y="1301750"/>
              <a:ext cx="1398587" cy="4405312"/>
            </a:xfrm>
            <a:custGeom>
              <a:avLst/>
              <a:gdLst>
                <a:gd name="T0" fmla="*/ 0 w 881"/>
                <a:gd name="T1" fmla="*/ 494 h 2775"/>
                <a:gd name="T2" fmla="*/ 0 w 881"/>
                <a:gd name="T3" fmla="*/ 2775 h 2775"/>
                <a:gd name="T4" fmla="*/ 881 w 881"/>
                <a:gd name="T5" fmla="*/ 0 h 2775"/>
                <a:gd name="T6" fmla="*/ 0 w 881"/>
                <a:gd name="T7" fmla="*/ 494 h 2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81" h="2775">
                  <a:moveTo>
                    <a:pt x="0" y="494"/>
                  </a:moveTo>
                  <a:lnTo>
                    <a:pt x="0" y="2775"/>
                  </a:lnTo>
                  <a:lnTo>
                    <a:pt x="881" y="0"/>
                  </a:lnTo>
                  <a:lnTo>
                    <a:pt x="0" y="494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/>
                </a:gs>
                <a:gs pos="100000">
                  <a:schemeClr val="accent4"/>
                </a:gs>
              </a:gsLst>
              <a:lin ang="1620000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5149950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_Full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E8CACA21-A72F-4920-AA54-3E20921B1B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712402" y="6335762"/>
            <a:ext cx="2062071" cy="254745"/>
          </a:xfrm>
          <a:prstGeom prst="rect">
            <a:avLst/>
          </a:prstGeom>
        </p:spPr>
        <p:txBody>
          <a:bodyPr/>
          <a:lstStyle>
            <a:lvl1pPr algn="l">
              <a:defRPr sz="1200" spc="0" baseline="0">
                <a:solidFill>
                  <a:schemeClr val="bg1">
                    <a:lumMod val="65000"/>
                  </a:schemeClr>
                </a:solidFill>
                <a:effectLst/>
                <a:latin typeface="+mn-lt"/>
              </a:defRPr>
            </a:lvl1pPr>
          </a:lstStyle>
          <a:p>
            <a:r>
              <a:rPr lang="en-US"/>
              <a:t>insertyoururlhere.com</a:t>
            </a:r>
            <a:endParaRPr lang="en-US" dirty="0"/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08C84B09-FAEC-4A75-8886-DC153F75334C}"/>
              </a:ext>
            </a:extLst>
          </p:cNvPr>
          <p:cNvGrpSpPr/>
          <p:nvPr userDrawn="1"/>
        </p:nvGrpSpPr>
        <p:grpSpPr>
          <a:xfrm>
            <a:off x="855518" y="2510"/>
            <a:ext cx="1997364" cy="1405659"/>
            <a:chOff x="1450975" y="-26194"/>
            <a:chExt cx="2197100" cy="1546225"/>
          </a:xfrm>
          <a:solidFill>
            <a:schemeClr val="tx1">
              <a:lumMod val="75000"/>
              <a:lumOff val="25000"/>
              <a:alpha val="10000"/>
            </a:schemeClr>
          </a:solidFill>
        </p:grpSpPr>
        <p:sp>
          <p:nvSpPr>
            <p:cNvPr id="47" name="Freeform 30">
              <a:extLst>
                <a:ext uri="{FF2B5EF4-FFF2-40B4-BE49-F238E27FC236}">
                  <a16:creationId xmlns:a16="http://schemas.microsoft.com/office/drawing/2014/main" id="{8FD86F56-87BC-4766-9BB4-6324531D141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0125" y="-26194"/>
              <a:ext cx="12700" cy="3175"/>
            </a:xfrm>
            <a:custGeom>
              <a:avLst/>
              <a:gdLst>
                <a:gd name="T0" fmla="*/ 0 w 4"/>
                <a:gd name="T1" fmla="*/ 0 h 1"/>
                <a:gd name="T2" fmla="*/ 0 w 4"/>
                <a:gd name="T3" fmla="*/ 1 h 1"/>
                <a:gd name="T4" fmla="*/ 4 w 4"/>
                <a:gd name="T5" fmla="*/ 1 h 1"/>
                <a:gd name="T6" fmla="*/ 4 w 4"/>
                <a:gd name="T7" fmla="*/ 0 h 1"/>
                <a:gd name="T8" fmla="*/ 0 w 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31">
              <a:extLst>
                <a:ext uri="{FF2B5EF4-FFF2-40B4-BE49-F238E27FC236}">
                  <a16:creationId xmlns:a16="http://schemas.microsoft.com/office/drawing/2014/main" id="{62D41CD2-0B48-465B-9761-59D240850B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225" y="-26194"/>
              <a:ext cx="12700" cy="3175"/>
            </a:xfrm>
            <a:custGeom>
              <a:avLst/>
              <a:gdLst>
                <a:gd name="T0" fmla="*/ 4 w 4"/>
                <a:gd name="T1" fmla="*/ 0 h 1"/>
                <a:gd name="T2" fmla="*/ 0 w 4"/>
                <a:gd name="T3" fmla="*/ 0 h 1"/>
                <a:gd name="T4" fmla="*/ 0 w 4"/>
                <a:gd name="T5" fmla="*/ 1 h 1"/>
                <a:gd name="T6" fmla="*/ 4 w 4"/>
                <a:gd name="T7" fmla="*/ 1 h 1"/>
                <a:gd name="T8" fmla="*/ 4 w 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32">
              <a:extLst>
                <a:ext uri="{FF2B5EF4-FFF2-40B4-BE49-F238E27FC236}">
                  <a16:creationId xmlns:a16="http://schemas.microsoft.com/office/drawing/2014/main" id="{9D7D6241-E72C-45D3-9511-3BDF420D5AB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0975" y="-23019"/>
              <a:ext cx="2197100" cy="1543050"/>
            </a:xfrm>
            <a:custGeom>
              <a:avLst/>
              <a:gdLst>
                <a:gd name="T0" fmla="*/ 688 w 692"/>
                <a:gd name="T1" fmla="*/ 140 h 486"/>
                <a:gd name="T2" fmla="*/ 346 w 692"/>
                <a:gd name="T3" fmla="*/ 483 h 486"/>
                <a:gd name="T4" fmla="*/ 3 w 692"/>
                <a:gd name="T5" fmla="*/ 140 h 486"/>
                <a:gd name="T6" fmla="*/ 34 w 692"/>
                <a:gd name="T7" fmla="*/ 0 h 486"/>
                <a:gd name="T8" fmla="*/ 30 w 692"/>
                <a:gd name="T9" fmla="*/ 0 h 486"/>
                <a:gd name="T10" fmla="*/ 0 w 692"/>
                <a:gd name="T11" fmla="*/ 140 h 486"/>
                <a:gd name="T12" fmla="*/ 346 w 692"/>
                <a:gd name="T13" fmla="*/ 486 h 486"/>
                <a:gd name="T14" fmla="*/ 692 w 692"/>
                <a:gd name="T15" fmla="*/ 140 h 486"/>
                <a:gd name="T16" fmla="*/ 662 w 692"/>
                <a:gd name="T17" fmla="*/ 0 h 486"/>
                <a:gd name="T18" fmla="*/ 658 w 692"/>
                <a:gd name="T19" fmla="*/ 0 h 486"/>
                <a:gd name="T20" fmla="*/ 688 w 692"/>
                <a:gd name="T21" fmla="*/ 140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92" h="486">
                  <a:moveTo>
                    <a:pt x="688" y="140"/>
                  </a:moveTo>
                  <a:cubicBezTo>
                    <a:pt x="688" y="329"/>
                    <a:pt x="535" y="483"/>
                    <a:pt x="346" y="483"/>
                  </a:cubicBezTo>
                  <a:cubicBezTo>
                    <a:pt x="157" y="483"/>
                    <a:pt x="3" y="329"/>
                    <a:pt x="3" y="140"/>
                  </a:cubicBezTo>
                  <a:cubicBezTo>
                    <a:pt x="3" y="90"/>
                    <a:pt x="14" y="43"/>
                    <a:pt x="34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11" y="43"/>
                    <a:pt x="0" y="90"/>
                    <a:pt x="0" y="140"/>
                  </a:cubicBezTo>
                  <a:cubicBezTo>
                    <a:pt x="0" y="331"/>
                    <a:pt x="155" y="486"/>
                    <a:pt x="346" y="486"/>
                  </a:cubicBezTo>
                  <a:cubicBezTo>
                    <a:pt x="536" y="486"/>
                    <a:pt x="692" y="331"/>
                    <a:pt x="692" y="140"/>
                  </a:cubicBezTo>
                  <a:cubicBezTo>
                    <a:pt x="692" y="90"/>
                    <a:pt x="681" y="43"/>
                    <a:pt x="662" y="0"/>
                  </a:cubicBezTo>
                  <a:cubicBezTo>
                    <a:pt x="658" y="0"/>
                    <a:pt x="658" y="0"/>
                    <a:pt x="658" y="0"/>
                  </a:cubicBezTo>
                  <a:cubicBezTo>
                    <a:pt x="677" y="43"/>
                    <a:pt x="688" y="90"/>
                    <a:pt x="688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33">
              <a:extLst>
                <a:ext uri="{FF2B5EF4-FFF2-40B4-BE49-F238E27FC236}">
                  <a16:creationId xmlns:a16="http://schemas.microsoft.com/office/drawing/2014/main" id="{5950A7FD-AAE1-4253-8AE1-2B966BBDC88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3925" y="-26194"/>
              <a:ext cx="9525" cy="3175"/>
            </a:xfrm>
            <a:custGeom>
              <a:avLst/>
              <a:gdLst>
                <a:gd name="T0" fmla="*/ 0 w 3"/>
                <a:gd name="T1" fmla="*/ 1 h 1"/>
                <a:gd name="T2" fmla="*/ 3 w 3"/>
                <a:gd name="T3" fmla="*/ 1 h 1"/>
                <a:gd name="T4" fmla="*/ 3 w 3"/>
                <a:gd name="T5" fmla="*/ 0 h 1"/>
                <a:gd name="T6" fmla="*/ 0 w 3"/>
                <a:gd name="T7" fmla="*/ 0 h 1"/>
                <a:gd name="T8" fmla="*/ 0 w 3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34">
              <a:extLst>
                <a:ext uri="{FF2B5EF4-FFF2-40B4-BE49-F238E27FC236}">
                  <a16:creationId xmlns:a16="http://schemas.microsoft.com/office/drawing/2014/main" id="{A2B9865F-376A-4638-B3AA-FA96E16496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2425" y="-26194"/>
              <a:ext cx="12700" cy="3175"/>
            </a:xfrm>
            <a:custGeom>
              <a:avLst/>
              <a:gdLst>
                <a:gd name="T0" fmla="*/ 4 w 4"/>
                <a:gd name="T1" fmla="*/ 1 h 1"/>
                <a:gd name="T2" fmla="*/ 4 w 4"/>
                <a:gd name="T3" fmla="*/ 0 h 1"/>
                <a:gd name="T4" fmla="*/ 1 w 4"/>
                <a:gd name="T5" fmla="*/ 0 h 1"/>
                <a:gd name="T6" fmla="*/ 0 w 4"/>
                <a:gd name="T7" fmla="*/ 1 h 1"/>
                <a:gd name="T8" fmla="*/ 4 w 4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1"/>
                  </a:moveTo>
                  <a:cubicBezTo>
                    <a:pt x="4" y="1"/>
                    <a:pt x="4" y="1"/>
                    <a:pt x="4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35">
              <a:extLst>
                <a:ext uri="{FF2B5EF4-FFF2-40B4-BE49-F238E27FC236}">
                  <a16:creationId xmlns:a16="http://schemas.microsoft.com/office/drawing/2014/main" id="{7C0CAAD9-B35B-48A2-B02F-21ED7215DC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0825" y="-23019"/>
              <a:ext cx="2054225" cy="1473200"/>
            </a:xfrm>
            <a:custGeom>
              <a:avLst/>
              <a:gdLst>
                <a:gd name="T0" fmla="*/ 644 w 647"/>
                <a:gd name="T1" fmla="*/ 140 h 464"/>
                <a:gd name="T2" fmla="*/ 324 w 647"/>
                <a:gd name="T3" fmla="*/ 460 h 464"/>
                <a:gd name="T4" fmla="*/ 4 w 647"/>
                <a:gd name="T5" fmla="*/ 140 h 464"/>
                <a:gd name="T6" fmla="*/ 36 w 647"/>
                <a:gd name="T7" fmla="*/ 0 h 464"/>
                <a:gd name="T8" fmla="*/ 32 w 647"/>
                <a:gd name="T9" fmla="*/ 0 h 464"/>
                <a:gd name="T10" fmla="*/ 0 w 647"/>
                <a:gd name="T11" fmla="*/ 140 h 464"/>
                <a:gd name="T12" fmla="*/ 324 w 647"/>
                <a:gd name="T13" fmla="*/ 464 h 464"/>
                <a:gd name="T14" fmla="*/ 647 w 647"/>
                <a:gd name="T15" fmla="*/ 140 h 464"/>
                <a:gd name="T16" fmla="*/ 615 w 647"/>
                <a:gd name="T17" fmla="*/ 0 h 464"/>
                <a:gd name="T18" fmla="*/ 612 w 647"/>
                <a:gd name="T19" fmla="*/ 0 h 464"/>
                <a:gd name="T20" fmla="*/ 644 w 647"/>
                <a:gd name="T21" fmla="*/ 140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47" h="464">
                  <a:moveTo>
                    <a:pt x="644" y="140"/>
                  </a:moveTo>
                  <a:cubicBezTo>
                    <a:pt x="644" y="317"/>
                    <a:pt x="500" y="460"/>
                    <a:pt x="324" y="460"/>
                  </a:cubicBezTo>
                  <a:cubicBezTo>
                    <a:pt x="147" y="460"/>
                    <a:pt x="4" y="317"/>
                    <a:pt x="4" y="140"/>
                  </a:cubicBezTo>
                  <a:cubicBezTo>
                    <a:pt x="4" y="90"/>
                    <a:pt x="15" y="42"/>
                    <a:pt x="36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12" y="42"/>
                    <a:pt x="0" y="90"/>
                    <a:pt x="0" y="140"/>
                  </a:cubicBezTo>
                  <a:cubicBezTo>
                    <a:pt x="0" y="319"/>
                    <a:pt x="145" y="464"/>
                    <a:pt x="324" y="464"/>
                  </a:cubicBezTo>
                  <a:cubicBezTo>
                    <a:pt x="502" y="464"/>
                    <a:pt x="647" y="319"/>
                    <a:pt x="647" y="140"/>
                  </a:cubicBezTo>
                  <a:cubicBezTo>
                    <a:pt x="647" y="90"/>
                    <a:pt x="636" y="42"/>
                    <a:pt x="615" y="0"/>
                  </a:cubicBezTo>
                  <a:cubicBezTo>
                    <a:pt x="612" y="0"/>
                    <a:pt x="612" y="0"/>
                    <a:pt x="612" y="0"/>
                  </a:cubicBezTo>
                  <a:cubicBezTo>
                    <a:pt x="632" y="42"/>
                    <a:pt x="644" y="90"/>
                    <a:pt x="644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36">
              <a:extLst>
                <a:ext uri="{FF2B5EF4-FFF2-40B4-BE49-F238E27FC236}">
                  <a16:creationId xmlns:a16="http://schemas.microsoft.com/office/drawing/2014/main" id="{B8B8251C-1295-4342-BCC1-B378D183AF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-26194"/>
              <a:ext cx="12700" cy="3175"/>
            </a:xfrm>
            <a:custGeom>
              <a:avLst/>
              <a:gdLst>
                <a:gd name="T0" fmla="*/ 4 w 4"/>
                <a:gd name="T1" fmla="*/ 0 h 1"/>
                <a:gd name="T2" fmla="*/ 1 w 4"/>
                <a:gd name="T3" fmla="*/ 0 h 1"/>
                <a:gd name="T4" fmla="*/ 0 w 4"/>
                <a:gd name="T5" fmla="*/ 1 h 1"/>
                <a:gd name="T6" fmla="*/ 4 w 4"/>
                <a:gd name="T7" fmla="*/ 1 h 1"/>
                <a:gd name="T8" fmla="*/ 4 w 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7">
              <a:extLst>
                <a:ext uri="{FF2B5EF4-FFF2-40B4-BE49-F238E27FC236}">
                  <a16:creationId xmlns:a16="http://schemas.microsoft.com/office/drawing/2014/main" id="{5093996E-53D2-4A3B-BE91-71EBD6AC6524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4550" y="-26194"/>
              <a:ext cx="12700" cy="3175"/>
            </a:xfrm>
            <a:custGeom>
              <a:avLst/>
              <a:gdLst>
                <a:gd name="T0" fmla="*/ 0 w 4"/>
                <a:gd name="T1" fmla="*/ 0 h 1"/>
                <a:gd name="T2" fmla="*/ 1 w 4"/>
                <a:gd name="T3" fmla="*/ 1 h 1"/>
                <a:gd name="T4" fmla="*/ 4 w 4"/>
                <a:gd name="T5" fmla="*/ 1 h 1"/>
                <a:gd name="T6" fmla="*/ 4 w 4"/>
                <a:gd name="T7" fmla="*/ 0 h 1"/>
                <a:gd name="T8" fmla="*/ 0 w 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0" y="0"/>
                  </a:moveTo>
                  <a:cubicBezTo>
                    <a:pt x="0" y="1"/>
                    <a:pt x="1" y="1"/>
                    <a:pt x="1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8">
              <a:extLst>
                <a:ext uri="{FF2B5EF4-FFF2-40B4-BE49-F238E27FC236}">
                  <a16:creationId xmlns:a16="http://schemas.microsoft.com/office/drawing/2014/main" id="{3E187798-6D30-447C-A02A-C4C14ABB3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0675" y="-23019"/>
              <a:ext cx="1917700" cy="1403350"/>
            </a:xfrm>
            <a:custGeom>
              <a:avLst/>
              <a:gdLst>
                <a:gd name="T0" fmla="*/ 601 w 604"/>
                <a:gd name="T1" fmla="*/ 140 h 442"/>
                <a:gd name="T2" fmla="*/ 302 w 604"/>
                <a:gd name="T3" fmla="*/ 439 h 442"/>
                <a:gd name="T4" fmla="*/ 3 w 604"/>
                <a:gd name="T5" fmla="*/ 140 h 442"/>
                <a:gd name="T6" fmla="*/ 38 w 604"/>
                <a:gd name="T7" fmla="*/ 0 h 442"/>
                <a:gd name="T8" fmla="*/ 34 w 604"/>
                <a:gd name="T9" fmla="*/ 0 h 442"/>
                <a:gd name="T10" fmla="*/ 0 w 604"/>
                <a:gd name="T11" fmla="*/ 140 h 442"/>
                <a:gd name="T12" fmla="*/ 302 w 604"/>
                <a:gd name="T13" fmla="*/ 442 h 442"/>
                <a:gd name="T14" fmla="*/ 604 w 604"/>
                <a:gd name="T15" fmla="*/ 140 h 442"/>
                <a:gd name="T16" fmla="*/ 569 w 604"/>
                <a:gd name="T17" fmla="*/ 0 h 442"/>
                <a:gd name="T18" fmla="*/ 566 w 604"/>
                <a:gd name="T19" fmla="*/ 0 h 442"/>
                <a:gd name="T20" fmla="*/ 601 w 604"/>
                <a:gd name="T21" fmla="*/ 14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04" h="442">
                  <a:moveTo>
                    <a:pt x="601" y="140"/>
                  </a:moveTo>
                  <a:cubicBezTo>
                    <a:pt x="601" y="305"/>
                    <a:pt x="467" y="439"/>
                    <a:pt x="302" y="439"/>
                  </a:cubicBezTo>
                  <a:cubicBezTo>
                    <a:pt x="137" y="439"/>
                    <a:pt x="3" y="305"/>
                    <a:pt x="3" y="140"/>
                  </a:cubicBezTo>
                  <a:cubicBezTo>
                    <a:pt x="3" y="89"/>
                    <a:pt x="16" y="42"/>
                    <a:pt x="38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12" y="42"/>
                    <a:pt x="0" y="90"/>
                    <a:pt x="0" y="140"/>
                  </a:cubicBezTo>
                  <a:cubicBezTo>
                    <a:pt x="0" y="307"/>
                    <a:pt x="135" y="442"/>
                    <a:pt x="302" y="442"/>
                  </a:cubicBezTo>
                  <a:cubicBezTo>
                    <a:pt x="468" y="442"/>
                    <a:pt x="604" y="307"/>
                    <a:pt x="604" y="140"/>
                  </a:cubicBezTo>
                  <a:cubicBezTo>
                    <a:pt x="604" y="90"/>
                    <a:pt x="591" y="42"/>
                    <a:pt x="569" y="0"/>
                  </a:cubicBezTo>
                  <a:cubicBezTo>
                    <a:pt x="566" y="0"/>
                    <a:pt x="566" y="0"/>
                    <a:pt x="566" y="0"/>
                  </a:cubicBezTo>
                  <a:cubicBezTo>
                    <a:pt x="588" y="42"/>
                    <a:pt x="601" y="89"/>
                    <a:pt x="601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39">
              <a:extLst>
                <a:ext uri="{FF2B5EF4-FFF2-40B4-BE49-F238E27FC236}">
                  <a16:creationId xmlns:a16="http://schemas.microsoft.com/office/drawing/2014/main" id="{B250A47E-206F-457B-8000-99DFD78A17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1175" y="-26194"/>
              <a:ext cx="12700" cy="3175"/>
            </a:xfrm>
            <a:custGeom>
              <a:avLst/>
              <a:gdLst>
                <a:gd name="T0" fmla="*/ 4 w 4"/>
                <a:gd name="T1" fmla="*/ 1 h 1"/>
                <a:gd name="T2" fmla="*/ 4 w 4"/>
                <a:gd name="T3" fmla="*/ 0 h 1"/>
                <a:gd name="T4" fmla="*/ 0 w 4"/>
                <a:gd name="T5" fmla="*/ 0 h 1"/>
                <a:gd name="T6" fmla="*/ 0 w 4"/>
                <a:gd name="T7" fmla="*/ 1 h 1"/>
                <a:gd name="T8" fmla="*/ 4 w 4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1"/>
                  </a:moveTo>
                  <a:cubicBezTo>
                    <a:pt x="4" y="1"/>
                    <a:pt x="4" y="1"/>
                    <a:pt x="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40">
              <a:extLst>
                <a:ext uri="{FF2B5EF4-FFF2-40B4-BE49-F238E27FC236}">
                  <a16:creationId xmlns:a16="http://schemas.microsoft.com/office/drawing/2014/main" id="{54FC95A4-DC3D-4300-AFC9-9F8FCF54C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5175" y="-26194"/>
              <a:ext cx="12700" cy="3175"/>
            </a:xfrm>
            <a:custGeom>
              <a:avLst/>
              <a:gdLst>
                <a:gd name="T0" fmla="*/ 0 w 4"/>
                <a:gd name="T1" fmla="*/ 1 h 1"/>
                <a:gd name="T2" fmla="*/ 4 w 4"/>
                <a:gd name="T3" fmla="*/ 1 h 1"/>
                <a:gd name="T4" fmla="*/ 3 w 4"/>
                <a:gd name="T5" fmla="*/ 0 h 1"/>
                <a:gd name="T6" fmla="*/ 0 w 4"/>
                <a:gd name="T7" fmla="*/ 0 h 1"/>
                <a:gd name="T8" fmla="*/ 0 w 4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0" y="1"/>
                  </a:moveTo>
                  <a:cubicBezTo>
                    <a:pt x="4" y="1"/>
                    <a:pt x="4" y="1"/>
                    <a:pt x="4" y="1"/>
                  </a:cubicBezTo>
                  <a:cubicBezTo>
                    <a:pt x="3" y="1"/>
                    <a:pt x="3" y="1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41">
              <a:extLst>
                <a:ext uri="{FF2B5EF4-FFF2-40B4-BE49-F238E27FC236}">
                  <a16:creationId xmlns:a16="http://schemas.microsoft.com/office/drawing/2014/main" id="{BDD3DF79-B444-4FD5-8484-9A4802AA20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0525" y="-23019"/>
              <a:ext cx="1774825" cy="1333500"/>
            </a:xfrm>
            <a:custGeom>
              <a:avLst/>
              <a:gdLst>
                <a:gd name="T0" fmla="*/ 556 w 559"/>
                <a:gd name="T1" fmla="*/ 140 h 420"/>
                <a:gd name="T2" fmla="*/ 280 w 559"/>
                <a:gd name="T3" fmla="*/ 416 h 420"/>
                <a:gd name="T4" fmla="*/ 4 w 559"/>
                <a:gd name="T5" fmla="*/ 140 h 420"/>
                <a:gd name="T6" fmla="*/ 42 w 559"/>
                <a:gd name="T7" fmla="*/ 0 h 420"/>
                <a:gd name="T8" fmla="*/ 38 w 559"/>
                <a:gd name="T9" fmla="*/ 0 h 420"/>
                <a:gd name="T10" fmla="*/ 0 w 559"/>
                <a:gd name="T11" fmla="*/ 140 h 420"/>
                <a:gd name="T12" fmla="*/ 280 w 559"/>
                <a:gd name="T13" fmla="*/ 420 h 420"/>
                <a:gd name="T14" fmla="*/ 559 w 559"/>
                <a:gd name="T15" fmla="*/ 140 h 420"/>
                <a:gd name="T16" fmla="*/ 522 w 559"/>
                <a:gd name="T17" fmla="*/ 0 h 420"/>
                <a:gd name="T18" fmla="*/ 518 w 559"/>
                <a:gd name="T19" fmla="*/ 0 h 420"/>
                <a:gd name="T20" fmla="*/ 556 w 559"/>
                <a:gd name="T21" fmla="*/ 140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59" h="420">
                  <a:moveTo>
                    <a:pt x="556" y="140"/>
                  </a:moveTo>
                  <a:cubicBezTo>
                    <a:pt x="556" y="293"/>
                    <a:pt x="432" y="416"/>
                    <a:pt x="280" y="416"/>
                  </a:cubicBezTo>
                  <a:cubicBezTo>
                    <a:pt x="128" y="416"/>
                    <a:pt x="4" y="293"/>
                    <a:pt x="4" y="140"/>
                  </a:cubicBezTo>
                  <a:cubicBezTo>
                    <a:pt x="4" y="89"/>
                    <a:pt x="18" y="41"/>
                    <a:pt x="42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14" y="41"/>
                    <a:pt x="0" y="89"/>
                    <a:pt x="0" y="140"/>
                  </a:cubicBezTo>
                  <a:cubicBezTo>
                    <a:pt x="0" y="294"/>
                    <a:pt x="126" y="420"/>
                    <a:pt x="280" y="420"/>
                  </a:cubicBezTo>
                  <a:cubicBezTo>
                    <a:pt x="434" y="420"/>
                    <a:pt x="559" y="294"/>
                    <a:pt x="559" y="140"/>
                  </a:cubicBezTo>
                  <a:cubicBezTo>
                    <a:pt x="559" y="89"/>
                    <a:pt x="546" y="41"/>
                    <a:pt x="522" y="0"/>
                  </a:cubicBezTo>
                  <a:cubicBezTo>
                    <a:pt x="518" y="0"/>
                    <a:pt x="518" y="0"/>
                    <a:pt x="518" y="0"/>
                  </a:cubicBezTo>
                  <a:cubicBezTo>
                    <a:pt x="542" y="41"/>
                    <a:pt x="556" y="89"/>
                    <a:pt x="556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42">
              <a:extLst>
                <a:ext uri="{FF2B5EF4-FFF2-40B4-BE49-F238E27FC236}">
                  <a16:creationId xmlns:a16="http://schemas.microsoft.com/office/drawing/2014/main" id="{91E2A178-552E-476F-AEDA-F519B4623B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4200" y="-26194"/>
              <a:ext cx="12700" cy="3175"/>
            </a:xfrm>
            <a:custGeom>
              <a:avLst/>
              <a:gdLst>
                <a:gd name="T0" fmla="*/ 4 w 4"/>
                <a:gd name="T1" fmla="*/ 0 h 1"/>
                <a:gd name="T2" fmla="*/ 0 w 4"/>
                <a:gd name="T3" fmla="*/ 0 h 1"/>
                <a:gd name="T4" fmla="*/ 0 w 4"/>
                <a:gd name="T5" fmla="*/ 1 h 1"/>
                <a:gd name="T6" fmla="*/ 4 w 4"/>
                <a:gd name="T7" fmla="*/ 1 h 1"/>
                <a:gd name="T8" fmla="*/ 4 w 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43">
              <a:extLst>
                <a:ext uri="{FF2B5EF4-FFF2-40B4-BE49-F238E27FC236}">
                  <a16:creationId xmlns:a16="http://schemas.microsoft.com/office/drawing/2014/main" id="{4B8EF77E-47F9-40B2-BF83-77BF5EC2A1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8975" y="-26194"/>
              <a:ext cx="15875" cy="3175"/>
            </a:xfrm>
            <a:custGeom>
              <a:avLst/>
              <a:gdLst>
                <a:gd name="T0" fmla="*/ 0 w 5"/>
                <a:gd name="T1" fmla="*/ 0 h 1"/>
                <a:gd name="T2" fmla="*/ 1 w 5"/>
                <a:gd name="T3" fmla="*/ 1 h 1"/>
                <a:gd name="T4" fmla="*/ 5 w 5"/>
                <a:gd name="T5" fmla="*/ 1 h 1"/>
                <a:gd name="T6" fmla="*/ 4 w 5"/>
                <a:gd name="T7" fmla="*/ 0 h 1"/>
                <a:gd name="T8" fmla="*/ 0 w 5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">
                  <a:moveTo>
                    <a:pt x="0" y="0"/>
                  </a:moveTo>
                  <a:cubicBezTo>
                    <a:pt x="0" y="1"/>
                    <a:pt x="1" y="1"/>
                    <a:pt x="1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4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44">
              <a:extLst>
                <a:ext uri="{FF2B5EF4-FFF2-40B4-BE49-F238E27FC236}">
                  <a16:creationId xmlns:a16="http://schemas.microsoft.com/office/drawing/2014/main" id="{E6041A9A-462A-44C0-BB57-33EBCF6FB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4025" y="-23019"/>
              <a:ext cx="1651000" cy="1270000"/>
            </a:xfrm>
            <a:custGeom>
              <a:avLst/>
              <a:gdLst>
                <a:gd name="T0" fmla="*/ 517 w 520"/>
                <a:gd name="T1" fmla="*/ 140 h 400"/>
                <a:gd name="T2" fmla="*/ 260 w 520"/>
                <a:gd name="T3" fmla="*/ 397 h 400"/>
                <a:gd name="T4" fmla="*/ 3 w 520"/>
                <a:gd name="T5" fmla="*/ 140 h 400"/>
                <a:gd name="T6" fmla="*/ 45 w 520"/>
                <a:gd name="T7" fmla="*/ 0 h 400"/>
                <a:gd name="T8" fmla="*/ 41 w 520"/>
                <a:gd name="T9" fmla="*/ 0 h 400"/>
                <a:gd name="T10" fmla="*/ 0 w 520"/>
                <a:gd name="T11" fmla="*/ 140 h 400"/>
                <a:gd name="T12" fmla="*/ 260 w 520"/>
                <a:gd name="T13" fmla="*/ 400 h 400"/>
                <a:gd name="T14" fmla="*/ 520 w 520"/>
                <a:gd name="T15" fmla="*/ 140 h 400"/>
                <a:gd name="T16" fmla="*/ 479 w 520"/>
                <a:gd name="T17" fmla="*/ 0 h 400"/>
                <a:gd name="T18" fmla="*/ 475 w 520"/>
                <a:gd name="T19" fmla="*/ 0 h 400"/>
                <a:gd name="T20" fmla="*/ 517 w 520"/>
                <a:gd name="T21" fmla="*/ 14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20" h="400">
                  <a:moveTo>
                    <a:pt x="517" y="140"/>
                  </a:moveTo>
                  <a:cubicBezTo>
                    <a:pt x="517" y="282"/>
                    <a:pt x="401" y="397"/>
                    <a:pt x="260" y="397"/>
                  </a:cubicBezTo>
                  <a:cubicBezTo>
                    <a:pt x="118" y="397"/>
                    <a:pt x="3" y="282"/>
                    <a:pt x="3" y="140"/>
                  </a:cubicBezTo>
                  <a:cubicBezTo>
                    <a:pt x="3" y="88"/>
                    <a:pt x="19" y="40"/>
                    <a:pt x="45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15" y="40"/>
                    <a:pt x="0" y="89"/>
                    <a:pt x="0" y="140"/>
                  </a:cubicBezTo>
                  <a:cubicBezTo>
                    <a:pt x="0" y="284"/>
                    <a:pt x="117" y="400"/>
                    <a:pt x="260" y="400"/>
                  </a:cubicBezTo>
                  <a:cubicBezTo>
                    <a:pt x="403" y="400"/>
                    <a:pt x="520" y="284"/>
                    <a:pt x="520" y="140"/>
                  </a:cubicBezTo>
                  <a:cubicBezTo>
                    <a:pt x="520" y="89"/>
                    <a:pt x="505" y="40"/>
                    <a:pt x="479" y="0"/>
                  </a:cubicBezTo>
                  <a:cubicBezTo>
                    <a:pt x="475" y="0"/>
                    <a:pt x="475" y="0"/>
                    <a:pt x="475" y="0"/>
                  </a:cubicBezTo>
                  <a:cubicBezTo>
                    <a:pt x="501" y="40"/>
                    <a:pt x="517" y="88"/>
                    <a:pt x="517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310F98F8-496B-4E28-8835-0DDC8B332383}"/>
              </a:ext>
            </a:extLst>
          </p:cNvPr>
          <p:cNvGrpSpPr/>
          <p:nvPr userDrawn="1"/>
        </p:nvGrpSpPr>
        <p:grpSpPr>
          <a:xfrm>
            <a:off x="-13334" y="125"/>
            <a:ext cx="3924023" cy="2346065"/>
            <a:chOff x="-3175" y="-26194"/>
            <a:chExt cx="5222875" cy="3122613"/>
          </a:xfrm>
          <a:solidFill>
            <a:schemeClr val="tx1">
              <a:lumMod val="75000"/>
              <a:lumOff val="25000"/>
              <a:alpha val="10000"/>
            </a:schemeClr>
          </a:solidFill>
        </p:grpSpPr>
        <p:sp>
          <p:nvSpPr>
            <p:cNvPr id="63" name="Freeform 45">
              <a:extLst>
                <a:ext uri="{FF2B5EF4-FFF2-40B4-BE49-F238E27FC236}">
                  <a16:creationId xmlns:a16="http://schemas.microsoft.com/office/drawing/2014/main" id="{7A571FAD-0FE9-4DEE-A362-A390602AA4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6200" y="-26194"/>
              <a:ext cx="25400" cy="3175"/>
            </a:xfrm>
            <a:custGeom>
              <a:avLst/>
              <a:gdLst>
                <a:gd name="T0" fmla="*/ 0 w 8"/>
                <a:gd name="T1" fmla="*/ 1 h 1"/>
                <a:gd name="T2" fmla="*/ 8 w 8"/>
                <a:gd name="T3" fmla="*/ 1 h 1"/>
                <a:gd name="T4" fmla="*/ 8 w 8"/>
                <a:gd name="T5" fmla="*/ 0 h 1"/>
                <a:gd name="T6" fmla="*/ 0 w 8"/>
                <a:gd name="T7" fmla="*/ 0 h 1"/>
                <a:gd name="T8" fmla="*/ 0 w 8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0" y="1"/>
                  </a:move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46">
              <a:extLst>
                <a:ext uri="{FF2B5EF4-FFF2-40B4-BE49-F238E27FC236}">
                  <a16:creationId xmlns:a16="http://schemas.microsoft.com/office/drawing/2014/main" id="{BD56B81E-C723-47B1-962F-AF03A08CDBBB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75" y="1126331"/>
              <a:ext cx="25400" cy="168275"/>
            </a:xfrm>
            <a:custGeom>
              <a:avLst/>
              <a:gdLst>
                <a:gd name="T0" fmla="*/ 8 w 8"/>
                <a:gd name="T1" fmla="*/ 27 h 53"/>
                <a:gd name="T2" fmla="*/ 0 w 8"/>
                <a:gd name="T3" fmla="*/ 0 h 53"/>
                <a:gd name="T4" fmla="*/ 0 w 8"/>
                <a:gd name="T5" fmla="*/ 28 h 53"/>
                <a:gd name="T6" fmla="*/ 8 w 8"/>
                <a:gd name="T7" fmla="*/ 53 h 53"/>
                <a:gd name="T8" fmla="*/ 8 w 8"/>
                <a:gd name="T9" fmla="*/ 2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3">
                  <a:moveTo>
                    <a:pt x="8" y="27"/>
                  </a:moveTo>
                  <a:cubicBezTo>
                    <a:pt x="6" y="18"/>
                    <a:pt x="3" y="9"/>
                    <a:pt x="0" y="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3" y="36"/>
                    <a:pt x="6" y="44"/>
                    <a:pt x="8" y="53"/>
                  </a:cubicBezTo>
                  <a:lnTo>
                    <a:pt x="8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47">
              <a:extLst>
                <a:ext uri="{FF2B5EF4-FFF2-40B4-BE49-F238E27FC236}">
                  <a16:creationId xmlns:a16="http://schemas.microsoft.com/office/drawing/2014/main" id="{75F0A97D-03D6-4CD6-8F6E-007EED662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25" y="-23019"/>
              <a:ext cx="5197475" cy="3119438"/>
            </a:xfrm>
            <a:custGeom>
              <a:avLst/>
              <a:gdLst>
                <a:gd name="T0" fmla="*/ 1629 w 1637"/>
                <a:gd name="T1" fmla="*/ 140 h 982"/>
                <a:gd name="T2" fmla="*/ 796 w 1637"/>
                <a:gd name="T3" fmla="*/ 974 h 982"/>
                <a:gd name="T4" fmla="*/ 0 w 1637"/>
                <a:gd name="T5" fmla="*/ 389 h 982"/>
                <a:gd name="T6" fmla="*/ 0 w 1637"/>
                <a:gd name="T7" fmla="*/ 415 h 982"/>
                <a:gd name="T8" fmla="*/ 796 w 1637"/>
                <a:gd name="T9" fmla="*/ 982 h 982"/>
                <a:gd name="T10" fmla="*/ 1637 w 1637"/>
                <a:gd name="T11" fmla="*/ 140 h 982"/>
                <a:gd name="T12" fmla="*/ 1625 w 1637"/>
                <a:gd name="T13" fmla="*/ 0 h 982"/>
                <a:gd name="T14" fmla="*/ 1617 w 1637"/>
                <a:gd name="T15" fmla="*/ 0 h 982"/>
                <a:gd name="T16" fmla="*/ 1629 w 1637"/>
                <a:gd name="T17" fmla="*/ 140 h 9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37" h="982">
                  <a:moveTo>
                    <a:pt x="1629" y="140"/>
                  </a:moveTo>
                  <a:cubicBezTo>
                    <a:pt x="1629" y="600"/>
                    <a:pt x="1255" y="974"/>
                    <a:pt x="796" y="974"/>
                  </a:cubicBezTo>
                  <a:cubicBezTo>
                    <a:pt x="423" y="974"/>
                    <a:pt x="107" y="728"/>
                    <a:pt x="0" y="389"/>
                  </a:cubicBezTo>
                  <a:cubicBezTo>
                    <a:pt x="0" y="415"/>
                    <a:pt x="0" y="415"/>
                    <a:pt x="0" y="415"/>
                  </a:cubicBezTo>
                  <a:cubicBezTo>
                    <a:pt x="115" y="744"/>
                    <a:pt x="428" y="982"/>
                    <a:pt x="796" y="982"/>
                  </a:cubicBezTo>
                  <a:cubicBezTo>
                    <a:pt x="1260" y="982"/>
                    <a:pt x="1637" y="604"/>
                    <a:pt x="1637" y="140"/>
                  </a:cubicBezTo>
                  <a:cubicBezTo>
                    <a:pt x="1637" y="92"/>
                    <a:pt x="1633" y="45"/>
                    <a:pt x="1625" y="0"/>
                  </a:cubicBezTo>
                  <a:cubicBezTo>
                    <a:pt x="1617" y="0"/>
                    <a:pt x="1617" y="0"/>
                    <a:pt x="1617" y="0"/>
                  </a:cubicBezTo>
                  <a:cubicBezTo>
                    <a:pt x="1625" y="45"/>
                    <a:pt x="1629" y="92"/>
                    <a:pt x="1629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48">
              <a:extLst>
                <a:ext uri="{FF2B5EF4-FFF2-40B4-BE49-F238E27FC236}">
                  <a16:creationId xmlns:a16="http://schemas.microsoft.com/office/drawing/2014/main" id="{B5E4596F-2CF7-4E02-B395-9451BEF484D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4750" y="-26194"/>
              <a:ext cx="25400" cy="3175"/>
            </a:xfrm>
            <a:custGeom>
              <a:avLst/>
              <a:gdLst>
                <a:gd name="T0" fmla="*/ 0 w 8"/>
                <a:gd name="T1" fmla="*/ 0 h 1"/>
                <a:gd name="T2" fmla="*/ 0 w 8"/>
                <a:gd name="T3" fmla="*/ 1 h 1"/>
                <a:gd name="T4" fmla="*/ 8 w 8"/>
                <a:gd name="T5" fmla="*/ 1 h 1"/>
                <a:gd name="T6" fmla="*/ 8 w 8"/>
                <a:gd name="T7" fmla="*/ 0 h 1"/>
                <a:gd name="T8" fmla="*/ 0 w 8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49">
              <a:extLst>
                <a:ext uri="{FF2B5EF4-FFF2-40B4-BE49-F238E27FC236}">
                  <a16:creationId xmlns:a16="http://schemas.microsoft.com/office/drawing/2014/main" id="{0FE72423-3B99-46F4-9BEC-3964A003FC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8900" y="-26194"/>
              <a:ext cx="25400" cy="3175"/>
            </a:xfrm>
            <a:custGeom>
              <a:avLst/>
              <a:gdLst>
                <a:gd name="T0" fmla="*/ 8 w 8"/>
                <a:gd name="T1" fmla="*/ 0 h 1"/>
                <a:gd name="T2" fmla="*/ 0 w 8"/>
                <a:gd name="T3" fmla="*/ 0 h 1"/>
                <a:gd name="T4" fmla="*/ 0 w 8"/>
                <a:gd name="T5" fmla="*/ 1 h 1"/>
                <a:gd name="T6" fmla="*/ 8 w 8"/>
                <a:gd name="T7" fmla="*/ 1 h 1"/>
                <a:gd name="T8" fmla="*/ 8 w 8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50">
              <a:extLst>
                <a:ext uri="{FF2B5EF4-FFF2-40B4-BE49-F238E27FC236}">
                  <a16:creationId xmlns:a16="http://schemas.microsoft.com/office/drawing/2014/main" id="{89BB5F30-C1E8-4F42-8C78-98CF487E2E4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25" y="-23019"/>
              <a:ext cx="5003800" cy="2947988"/>
            </a:xfrm>
            <a:custGeom>
              <a:avLst/>
              <a:gdLst>
                <a:gd name="T0" fmla="*/ 1568 w 1576"/>
                <a:gd name="T1" fmla="*/ 140 h 928"/>
                <a:gd name="T2" fmla="*/ 788 w 1576"/>
                <a:gd name="T3" fmla="*/ 920 h 928"/>
                <a:gd name="T4" fmla="*/ 8 w 1576"/>
                <a:gd name="T5" fmla="*/ 140 h 928"/>
                <a:gd name="T6" fmla="*/ 21 w 1576"/>
                <a:gd name="T7" fmla="*/ 0 h 928"/>
                <a:gd name="T8" fmla="*/ 13 w 1576"/>
                <a:gd name="T9" fmla="*/ 0 h 928"/>
                <a:gd name="T10" fmla="*/ 0 w 1576"/>
                <a:gd name="T11" fmla="*/ 140 h 928"/>
                <a:gd name="T12" fmla="*/ 788 w 1576"/>
                <a:gd name="T13" fmla="*/ 928 h 928"/>
                <a:gd name="T14" fmla="*/ 1576 w 1576"/>
                <a:gd name="T15" fmla="*/ 140 h 928"/>
                <a:gd name="T16" fmla="*/ 1563 w 1576"/>
                <a:gd name="T17" fmla="*/ 0 h 928"/>
                <a:gd name="T18" fmla="*/ 1555 w 1576"/>
                <a:gd name="T19" fmla="*/ 0 h 928"/>
                <a:gd name="T20" fmla="*/ 1568 w 1576"/>
                <a:gd name="T21" fmla="*/ 140 h 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76" h="928">
                  <a:moveTo>
                    <a:pt x="1568" y="140"/>
                  </a:moveTo>
                  <a:cubicBezTo>
                    <a:pt x="1568" y="570"/>
                    <a:pt x="1218" y="920"/>
                    <a:pt x="788" y="920"/>
                  </a:cubicBezTo>
                  <a:cubicBezTo>
                    <a:pt x="358" y="920"/>
                    <a:pt x="8" y="570"/>
                    <a:pt x="8" y="140"/>
                  </a:cubicBezTo>
                  <a:cubicBezTo>
                    <a:pt x="8" y="92"/>
                    <a:pt x="13" y="45"/>
                    <a:pt x="21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4" y="45"/>
                    <a:pt x="0" y="92"/>
                    <a:pt x="0" y="140"/>
                  </a:cubicBezTo>
                  <a:cubicBezTo>
                    <a:pt x="0" y="575"/>
                    <a:pt x="354" y="928"/>
                    <a:pt x="788" y="928"/>
                  </a:cubicBezTo>
                  <a:cubicBezTo>
                    <a:pt x="1222" y="928"/>
                    <a:pt x="1576" y="575"/>
                    <a:pt x="1576" y="140"/>
                  </a:cubicBezTo>
                  <a:cubicBezTo>
                    <a:pt x="1576" y="92"/>
                    <a:pt x="1571" y="45"/>
                    <a:pt x="1563" y="0"/>
                  </a:cubicBezTo>
                  <a:cubicBezTo>
                    <a:pt x="1555" y="0"/>
                    <a:pt x="1555" y="0"/>
                    <a:pt x="1555" y="0"/>
                  </a:cubicBezTo>
                  <a:cubicBezTo>
                    <a:pt x="1563" y="45"/>
                    <a:pt x="1568" y="92"/>
                    <a:pt x="1568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51">
              <a:extLst>
                <a:ext uri="{FF2B5EF4-FFF2-40B4-BE49-F238E27FC236}">
                  <a16:creationId xmlns:a16="http://schemas.microsoft.com/office/drawing/2014/main" id="{EA17D0A7-E313-41A0-98CC-2E2867628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175" y="-26194"/>
              <a:ext cx="25400" cy="3175"/>
            </a:xfrm>
            <a:custGeom>
              <a:avLst/>
              <a:gdLst>
                <a:gd name="T0" fmla="*/ 8 w 8"/>
                <a:gd name="T1" fmla="*/ 1 h 1"/>
                <a:gd name="T2" fmla="*/ 8 w 8"/>
                <a:gd name="T3" fmla="*/ 0 h 1"/>
                <a:gd name="T4" fmla="*/ 0 w 8"/>
                <a:gd name="T5" fmla="*/ 0 h 1"/>
                <a:gd name="T6" fmla="*/ 0 w 8"/>
                <a:gd name="T7" fmla="*/ 1 h 1"/>
                <a:gd name="T8" fmla="*/ 8 w 8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8" y="1"/>
                  </a:moveTo>
                  <a:cubicBezTo>
                    <a:pt x="8" y="1"/>
                    <a:pt x="8" y="1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8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52">
              <a:extLst>
                <a:ext uri="{FF2B5EF4-FFF2-40B4-BE49-F238E27FC236}">
                  <a16:creationId xmlns:a16="http://schemas.microsoft.com/office/drawing/2014/main" id="{410B8D16-DFAA-44DB-9F8C-DB5663839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6475" y="-26194"/>
              <a:ext cx="25400" cy="3175"/>
            </a:xfrm>
            <a:custGeom>
              <a:avLst/>
              <a:gdLst>
                <a:gd name="T0" fmla="*/ 0 w 8"/>
                <a:gd name="T1" fmla="*/ 1 h 1"/>
                <a:gd name="T2" fmla="*/ 8 w 8"/>
                <a:gd name="T3" fmla="*/ 1 h 1"/>
                <a:gd name="T4" fmla="*/ 8 w 8"/>
                <a:gd name="T5" fmla="*/ 0 h 1"/>
                <a:gd name="T6" fmla="*/ 0 w 8"/>
                <a:gd name="T7" fmla="*/ 0 h 1"/>
                <a:gd name="T8" fmla="*/ 0 w 8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0" y="1"/>
                  </a:move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53">
              <a:extLst>
                <a:ext uri="{FF2B5EF4-FFF2-40B4-BE49-F238E27FC236}">
                  <a16:creationId xmlns:a16="http://schemas.microsoft.com/office/drawing/2014/main" id="{5914C65B-B85B-439A-AAA5-5C61AD640C5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900" y="-23019"/>
              <a:ext cx="4667250" cy="2782888"/>
            </a:xfrm>
            <a:custGeom>
              <a:avLst/>
              <a:gdLst>
                <a:gd name="T0" fmla="*/ 1462 w 1470"/>
                <a:gd name="T1" fmla="*/ 140 h 876"/>
                <a:gd name="T2" fmla="*/ 735 w 1470"/>
                <a:gd name="T3" fmla="*/ 868 h 876"/>
                <a:gd name="T4" fmla="*/ 7 w 1470"/>
                <a:gd name="T5" fmla="*/ 140 h 876"/>
                <a:gd name="T6" fmla="*/ 21 w 1470"/>
                <a:gd name="T7" fmla="*/ 0 h 876"/>
                <a:gd name="T8" fmla="*/ 13 w 1470"/>
                <a:gd name="T9" fmla="*/ 0 h 876"/>
                <a:gd name="T10" fmla="*/ 0 w 1470"/>
                <a:gd name="T11" fmla="*/ 140 h 876"/>
                <a:gd name="T12" fmla="*/ 735 w 1470"/>
                <a:gd name="T13" fmla="*/ 876 h 876"/>
                <a:gd name="T14" fmla="*/ 1470 w 1470"/>
                <a:gd name="T15" fmla="*/ 140 h 876"/>
                <a:gd name="T16" fmla="*/ 1457 w 1470"/>
                <a:gd name="T17" fmla="*/ 0 h 876"/>
                <a:gd name="T18" fmla="*/ 1449 w 1470"/>
                <a:gd name="T19" fmla="*/ 0 h 876"/>
                <a:gd name="T20" fmla="*/ 1462 w 1470"/>
                <a:gd name="T21" fmla="*/ 140 h 8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0" h="876">
                  <a:moveTo>
                    <a:pt x="1462" y="140"/>
                  </a:moveTo>
                  <a:cubicBezTo>
                    <a:pt x="1462" y="541"/>
                    <a:pt x="1136" y="868"/>
                    <a:pt x="735" y="868"/>
                  </a:cubicBezTo>
                  <a:cubicBezTo>
                    <a:pt x="334" y="868"/>
                    <a:pt x="7" y="541"/>
                    <a:pt x="7" y="140"/>
                  </a:cubicBezTo>
                  <a:cubicBezTo>
                    <a:pt x="7" y="92"/>
                    <a:pt x="12" y="45"/>
                    <a:pt x="21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4" y="45"/>
                    <a:pt x="0" y="92"/>
                    <a:pt x="0" y="140"/>
                  </a:cubicBezTo>
                  <a:cubicBezTo>
                    <a:pt x="0" y="546"/>
                    <a:pt x="329" y="876"/>
                    <a:pt x="735" y="876"/>
                  </a:cubicBezTo>
                  <a:cubicBezTo>
                    <a:pt x="1140" y="876"/>
                    <a:pt x="1470" y="546"/>
                    <a:pt x="1470" y="140"/>
                  </a:cubicBezTo>
                  <a:cubicBezTo>
                    <a:pt x="1470" y="92"/>
                    <a:pt x="1466" y="45"/>
                    <a:pt x="1457" y="0"/>
                  </a:cubicBezTo>
                  <a:cubicBezTo>
                    <a:pt x="1449" y="0"/>
                    <a:pt x="1449" y="0"/>
                    <a:pt x="1449" y="0"/>
                  </a:cubicBezTo>
                  <a:cubicBezTo>
                    <a:pt x="1458" y="45"/>
                    <a:pt x="1462" y="92"/>
                    <a:pt x="1462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54">
              <a:extLst>
                <a:ext uri="{FF2B5EF4-FFF2-40B4-BE49-F238E27FC236}">
                  <a16:creationId xmlns:a16="http://schemas.microsoft.com/office/drawing/2014/main" id="{C7B7B85C-FB66-4A10-A4F3-725A66061E82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8675" y="-26194"/>
              <a:ext cx="25400" cy="3175"/>
            </a:xfrm>
            <a:custGeom>
              <a:avLst/>
              <a:gdLst>
                <a:gd name="T0" fmla="*/ 0 w 8"/>
                <a:gd name="T1" fmla="*/ 0 h 1"/>
                <a:gd name="T2" fmla="*/ 0 w 8"/>
                <a:gd name="T3" fmla="*/ 1 h 1"/>
                <a:gd name="T4" fmla="*/ 8 w 8"/>
                <a:gd name="T5" fmla="*/ 1 h 1"/>
                <a:gd name="T6" fmla="*/ 8 w 8"/>
                <a:gd name="T7" fmla="*/ 0 h 1"/>
                <a:gd name="T8" fmla="*/ 0 w 8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55">
              <a:extLst>
                <a:ext uri="{FF2B5EF4-FFF2-40B4-BE49-F238E27FC236}">
                  <a16:creationId xmlns:a16="http://schemas.microsoft.com/office/drawing/2014/main" id="{4131AC18-190B-4561-AB47-B56120857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975" y="-26194"/>
              <a:ext cx="25400" cy="3175"/>
            </a:xfrm>
            <a:custGeom>
              <a:avLst/>
              <a:gdLst>
                <a:gd name="T0" fmla="*/ 8 w 8"/>
                <a:gd name="T1" fmla="*/ 0 h 1"/>
                <a:gd name="T2" fmla="*/ 0 w 8"/>
                <a:gd name="T3" fmla="*/ 0 h 1"/>
                <a:gd name="T4" fmla="*/ 0 w 8"/>
                <a:gd name="T5" fmla="*/ 1 h 1"/>
                <a:gd name="T6" fmla="*/ 8 w 8"/>
                <a:gd name="T7" fmla="*/ 1 h 1"/>
                <a:gd name="T8" fmla="*/ 8 w 8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56">
              <a:extLst>
                <a:ext uri="{FF2B5EF4-FFF2-40B4-BE49-F238E27FC236}">
                  <a16:creationId xmlns:a16="http://schemas.microsoft.com/office/drawing/2014/main" id="{6032E713-9CAF-445D-9298-FA3467CA938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350" y="-23019"/>
              <a:ext cx="4321175" cy="2608263"/>
            </a:xfrm>
            <a:custGeom>
              <a:avLst/>
              <a:gdLst>
                <a:gd name="T0" fmla="*/ 1353 w 1361"/>
                <a:gd name="T1" fmla="*/ 140 h 821"/>
                <a:gd name="T2" fmla="*/ 681 w 1361"/>
                <a:gd name="T3" fmla="*/ 813 h 821"/>
                <a:gd name="T4" fmla="*/ 8 w 1361"/>
                <a:gd name="T5" fmla="*/ 140 h 821"/>
                <a:gd name="T6" fmla="*/ 23 w 1361"/>
                <a:gd name="T7" fmla="*/ 0 h 821"/>
                <a:gd name="T8" fmla="*/ 15 w 1361"/>
                <a:gd name="T9" fmla="*/ 0 h 821"/>
                <a:gd name="T10" fmla="*/ 0 w 1361"/>
                <a:gd name="T11" fmla="*/ 140 h 821"/>
                <a:gd name="T12" fmla="*/ 681 w 1361"/>
                <a:gd name="T13" fmla="*/ 821 h 821"/>
                <a:gd name="T14" fmla="*/ 1361 w 1361"/>
                <a:gd name="T15" fmla="*/ 140 h 821"/>
                <a:gd name="T16" fmla="*/ 1347 w 1361"/>
                <a:gd name="T17" fmla="*/ 0 h 821"/>
                <a:gd name="T18" fmla="*/ 1339 w 1361"/>
                <a:gd name="T19" fmla="*/ 0 h 821"/>
                <a:gd name="T20" fmla="*/ 1353 w 1361"/>
                <a:gd name="T21" fmla="*/ 140 h 8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61" h="821">
                  <a:moveTo>
                    <a:pt x="1353" y="140"/>
                  </a:moveTo>
                  <a:cubicBezTo>
                    <a:pt x="1353" y="511"/>
                    <a:pt x="1052" y="813"/>
                    <a:pt x="681" y="813"/>
                  </a:cubicBezTo>
                  <a:cubicBezTo>
                    <a:pt x="310" y="813"/>
                    <a:pt x="8" y="511"/>
                    <a:pt x="8" y="140"/>
                  </a:cubicBezTo>
                  <a:cubicBezTo>
                    <a:pt x="8" y="92"/>
                    <a:pt x="13" y="45"/>
                    <a:pt x="23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5" y="45"/>
                    <a:pt x="0" y="92"/>
                    <a:pt x="0" y="140"/>
                  </a:cubicBezTo>
                  <a:cubicBezTo>
                    <a:pt x="0" y="515"/>
                    <a:pt x="306" y="821"/>
                    <a:pt x="681" y="821"/>
                  </a:cubicBezTo>
                  <a:cubicBezTo>
                    <a:pt x="1056" y="821"/>
                    <a:pt x="1361" y="515"/>
                    <a:pt x="1361" y="140"/>
                  </a:cubicBezTo>
                  <a:cubicBezTo>
                    <a:pt x="1361" y="92"/>
                    <a:pt x="1356" y="45"/>
                    <a:pt x="1347" y="0"/>
                  </a:cubicBezTo>
                  <a:cubicBezTo>
                    <a:pt x="1339" y="0"/>
                    <a:pt x="1339" y="0"/>
                    <a:pt x="1339" y="0"/>
                  </a:cubicBezTo>
                  <a:cubicBezTo>
                    <a:pt x="1348" y="45"/>
                    <a:pt x="1353" y="92"/>
                    <a:pt x="1353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57">
              <a:extLst>
                <a:ext uri="{FF2B5EF4-FFF2-40B4-BE49-F238E27FC236}">
                  <a16:creationId xmlns:a16="http://schemas.microsoft.com/office/drawing/2014/main" id="{62A064C6-B796-4755-B8F6-5F1247881D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3100" y="-26194"/>
              <a:ext cx="25400" cy="3175"/>
            </a:xfrm>
            <a:custGeom>
              <a:avLst/>
              <a:gdLst>
                <a:gd name="T0" fmla="*/ 0 w 8"/>
                <a:gd name="T1" fmla="*/ 1 h 1"/>
                <a:gd name="T2" fmla="*/ 8 w 8"/>
                <a:gd name="T3" fmla="*/ 1 h 1"/>
                <a:gd name="T4" fmla="*/ 8 w 8"/>
                <a:gd name="T5" fmla="*/ 0 h 1"/>
                <a:gd name="T6" fmla="*/ 0 w 8"/>
                <a:gd name="T7" fmla="*/ 0 h 1"/>
                <a:gd name="T8" fmla="*/ 0 w 8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0" y="1"/>
                  </a:move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58">
              <a:extLst>
                <a:ext uri="{FF2B5EF4-FFF2-40B4-BE49-F238E27FC236}">
                  <a16:creationId xmlns:a16="http://schemas.microsoft.com/office/drawing/2014/main" id="{C3CEC362-4AFD-4419-A6D5-01BFBAEADBF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550" y="-26194"/>
              <a:ext cx="25400" cy="3175"/>
            </a:xfrm>
            <a:custGeom>
              <a:avLst/>
              <a:gdLst>
                <a:gd name="T0" fmla="*/ 8 w 8"/>
                <a:gd name="T1" fmla="*/ 1 h 1"/>
                <a:gd name="T2" fmla="*/ 8 w 8"/>
                <a:gd name="T3" fmla="*/ 0 h 1"/>
                <a:gd name="T4" fmla="*/ 0 w 8"/>
                <a:gd name="T5" fmla="*/ 0 h 1"/>
                <a:gd name="T6" fmla="*/ 0 w 8"/>
                <a:gd name="T7" fmla="*/ 1 h 1"/>
                <a:gd name="T8" fmla="*/ 8 w 8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8" y="1"/>
                  </a:moveTo>
                  <a:cubicBezTo>
                    <a:pt x="8" y="1"/>
                    <a:pt x="8" y="1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8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59">
              <a:extLst>
                <a:ext uri="{FF2B5EF4-FFF2-40B4-BE49-F238E27FC236}">
                  <a16:creationId xmlns:a16="http://schemas.microsoft.com/office/drawing/2014/main" id="{5B843EE8-F7B5-46DD-8CD2-EF3D67D26C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750" y="-23019"/>
              <a:ext cx="4019550" cy="2455863"/>
            </a:xfrm>
            <a:custGeom>
              <a:avLst/>
              <a:gdLst>
                <a:gd name="T0" fmla="*/ 1258 w 1266"/>
                <a:gd name="T1" fmla="*/ 140 h 773"/>
                <a:gd name="T2" fmla="*/ 633 w 1266"/>
                <a:gd name="T3" fmla="*/ 765 h 773"/>
                <a:gd name="T4" fmla="*/ 8 w 1266"/>
                <a:gd name="T5" fmla="*/ 140 h 773"/>
                <a:gd name="T6" fmla="*/ 24 w 1266"/>
                <a:gd name="T7" fmla="*/ 0 h 773"/>
                <a:gd name="T8" fmla="*/ 16 w 1266"/>
                <a:gd name="T9" fmla="*/ 0 h 773"/>
                <a:gd name="T10" fmla="*/ 0 w 1266"/>
                <a:gd name="T11" fmla="*/ 140 h 773"/>
                <a:gd name="T12" fmla="*/ 633 w 1266"/>
                <a:gd name="T13" fmla="*/ 773 h 773"/>
                <a:gd name="T14" fmla="*/ 1266 w 1266"/>
                <a:gd name="T15" fmla="*/ 140 h 773"/>
                <a:gd name="T16" fmla="*/ 1250 w 1266"/>
                <a:gd name="T17" fmla="*/ 0 h 773"/>
                <a:gd name="T18" fmla="*/ 1242 w 1266"/>
                <a:gd name="T19" fmla="*/ 0 h 773"/>
                <a:gd name="T20" fmla="*/ 1258 w 1266"/>
                <a:gd name="T21" fmla="*/ 140 h 7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66" h="773">
                  <a:moveTo>
                    <a:pt x="1258" y="140"/>
                  </a:moveTo>
                  <a:cubicBezTo>
                    <a:pt x="1258" y="485"/>
                    <a:pt x="977" y="765"/>
                    <a:pt x="633" y="765"/>
                  </a:cubicBezTo>
                  <a:cubicBezTo>
                    <a:pt x="288" y="765"/>
                    <a:pt x="8" y="485"/>
                    <a:pt x="8" y="140"/>
                  </a:cubicBezTo>
                  <a:cubicBezTo>
                    <a:pt x="8" y="92"/>
                    <a:pt x="14" y="45"/>
                    <a:pt x="24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5" y="45"/>
                    <a:pt x="0" y="92"/>
                    <a:pt x="0" y="140"/>
                  </a:cubicBezTo>
                  <a:cubicBezTo>
                    <a:pt x="0" y="489"/>
                    <a:pt x="284" y="773"/>
                    <a:pt x="633" y="773"/>
                  </a:cubicBezTo>
                  <a:cubicBezTo>
                    <a:pt x="982" y="773"/>
                    <a:pt x="1266" y="489"/>
                    <a:pt x="1266" y="140"/>
                  </a:cubicBezTo>
                  <a:cubicBezTo>
                    <a:pt x="1266" y="92"/>
                    <a:pt x="1260" y="45"/>
                    <a:pt x="1250" y="0"/>
                  </a:cubicBezTo>
                  <a:cubicBezTo>
                    <a:pt x="1242" y="0"/>
                    <a:pt x="1242" y="0"/>
                    <a:pt x="1242" y="0"/>
                  </a:cubicBezTo>
                  <a:cubicBezTo>
                    <a:pt x="1252" y="45"/>
                    <a:pt x="1258" y="92"/>
                    <a:pt x="1258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1F0C7CAB-C81C-41B5-A18B-B0F8A4839BBB}"/>
              </a:ext>
            </a:extLst>
          </p:cNvPr>
          <p:cNvGrpSpPr/>
          <p:nvPr userDrawn="1"/>
        </p:nvGrpSpPr>
        <p:grpSpPr>
          <a:xfrm>
            <a:off x="3032411" y="173037"/>
            <a:ext cx="1497013" cy="1435100"/>
            <a:chOff x="688975" y="-5719961"/>
            <a:chExt cx="1497013" cy="1435100"/>
          </a:xfrm>
          <a:solidFill>
            <a:schemeClr val="tx1">
              <a:lumMod val="75000"/>
              <a:lumOff val="25000"/>
              <a:alpha val="5000"/>
            </a:schemeClr>
          </a:solidFill>
        </p:grpSpPr>
        <p:sp>
          <p:nvSpPr>
            <p:cNvPr id="79" name="Freeform 22">
              <a:extLst>
                <a:ext uri="{FF2B5EF4-FFF2-40B4-BE49-F238E27FC236}">
                  <a16:creationId xmlns:a16="http://schemas.microsoft.com/office/drawing/2014/main" id="{553B9D43-8545-4435-84A1-53ABA903152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450" y="-5583436"/>
              <a:ext cx="1008063" cy="60325"/>
            </a:xfrm>
            <a:custGeom>
              <a:avLst/>
              <a:gdLst>
                <a:gd name="T0" fmla="*/ 294 w 318"/>
                <a:gd name="T1" fmla="*/ 0 h 19"/>
                <a:gd name="T2" fmla="*/ 24 w 318"/>
                <a:gd name="T3" fmla="*/ 0 h 19"/>
                <a:gd name="T4" fmla="*/ 0 w 318"/>
                <a:gd name="T5" fmla="*/ 19 h 19"/>
                <a:gd name="T6" fmla="*/ 318 w 318"/>
                <a:gd name="T7" fmla="*/ 19 h 19"/>
                <a:gd name="T8" fmla="*/ 294 w 318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8" h="19">
                  <a:moveTo>
                    <a:pt x="29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16" y="6"/>
                    <a:pt x="8" y="12"/>
                    <a:pt x="0" y="19"/>
                  </a:cubicBezTo>
                  <a:cubicBezTo>
                    <a:pt x="318" y="19"/>
                    <a:pt x="318" y="19"/>
                    <a:pt x="318" y="19"/>
                  </a:cubicBezTo>
                  <a:cubicBezTo>
                    <a:pt x="310" y="12"/>
                    <a:pt x="302" y="6"/>
                    <a:pt x="294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23">
              <a:extLst>
                <a:ext uri="{FF2B5EF4-FFF2-40B4-BE49-F238E27FC236}">
                  <a16:creationId xmlns:a16="http://schemas.microsoft.com/office/drawing/2014/main" id="{1708E765-3EF5-41B7-B351-A206BED329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9350" y="-5719961"/>
              <a:ext cx="576263" cy="57150"/>
            </a:xfrm>
            <a:custGeom>
              <a:avLst/>
              <a:gdLst>
                <a:gd name="T0" fmla="*/ 91 w 182"/>
                <a:gd name="T1" fmla="*/ 0 h 18"/>
                <a:gd name="T2" fmla="*/ 0 w 182"/>
                <a:gd name="T3" fmla="*/ 18 h 18"/>
                <a:gd name="T4" fmla="*/ 182 w 182"/>
                <a:gd name="T5" fmla="*/ 18 h 18"/>
                <a:gd name="T6" fmla="*/ 91 w 182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2" h="18">
                  <a:moveTo>
                    <a:pt x="91" y="0"/>
                  </a:moveTo>
                  <a:cubicBezTo>
                    <a:pt x="59" y="0"/>
                    <a:pt x="28" y="7"/>
                    <a:pt x="0" y="18"/>
                  </a:cubicBezTo>
                  <a:cubicBezTo>
                    <a:pt x="182" y="18"/>
                    <a:pt x="182" y="18"/>
                    <a:pt x="182" y="18"/>
                  </a:cubicBezTo>
                  <a:cubicBezTo>
                    <a:pt x="154" y="7"/>
                    <a:pt x="123" y="0"/>
                    <a:pt x="9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24">
              <a:extLst>
                <a:ext uri="{FF2B5EF4-FFF2-40B4-BE49-F238E27FC236}">
                  <a16:creationId xmlns:a16="http://schemas.microsoft.com/office/drawing/2014/main" id="{0401B17B-0A44-4A98-979C-854945345432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975" y="-5446911"/>
              <a:ext cx="1243013" cy="60325"/>
            </a:xfrm>
            <a:custGeom>
              <a:avLst/>
              <a:gdLst>
                <a:gd name="T0" fmla="*/ 378 w 392"/>
                <a:gd name="T1" fmla="*/ 0 h 19"/>
                <a:gd name="T2" fmla="*/ 14 w 392"/>
                <a:gd name="T3" fmla="*/ 0 h 19"/>
                <a:gd name="T4" fmla="*/ 0 w 392"/>
                <a:gd name="T5" fmla="*/ 19 h 19"/>
                <a:gd name="T6" fmla="*/ 392 w 392"/>
                <a:gd name="T7" fmla="*/ 19 h 19"/>
                <a:gd name="T8" fmla="*/ 378 w 392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2" h="19">
                  <a:moveTo>
                    <a:pt x="378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9" y="6"/>
                    <a:pt x="4" y="12"/>
                    <a:pt x="0" y="19"/>
                  </a:cubicBezTo>
                  <a:cubicBezTo>
                    <a:pt x="392" y="19"/>
                    <a:pt x="392" y="19"/>
                    <a:pt x="392" y="19"/>
                  </a:cubicBezTo>
                  <a:cubicBezTo>
                    <a:pt x="387" y="12"/>
                    <a:pt x="383" y="6"/>
                    <a:pt x="378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25">
              <a:extLst>
                <a:ext uri="{FF2B5EF4-FFF2-40B4-BE49-F238E27FC236}">
                  <a16:creationId xmlns:a16="http://schemas.microsoft.com/office/drawing/2014/main" id="{D20B4BFB-255B-47EA-BC2B-8F1B03692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742950" y="-5310386"/>
              <a:ext cx="1389063" cy="60325"/>
            </a:xfrm>
            <a:custGeom>
              <a:avLst/>
              <a:gdLst>
                <a:gd name="T0" fmla="*/ 429 w 438"/>
                <a:gd name="T1" fmla="*/ 0 h 19"/>
                <a:gd name="T2" fmla="*/ 9 w 438"/>
                <a:gd name="T3" fmla="*/ 0 h 19"/>
                <a:gd name="T4" fmla="*/ 0 w 438"/>
                <a:gd name="T5" fmla="*/ 19 h 19"/>
                <a:gd name="T6" fmla="*/ 438 w 438"/>
                <a:gd name="T7" fmla="*/ 19 h 19"/>
                <a:gd name="T8" fmla="*/ 429 w 438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8" h="19">
                  <a:moveTo>
                    <a:pt x="42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5" y="7"/>
                    <a:pt x="3" y="13"/>
                    <a:pt x="0" y="19"/>
                  </a:cubicBezTo>
                  <a:cubicBezTo>
                    <a:pt x="438" y="19"/>
                    <a:pt x="438" y="19"/>
                    <a:pt x="438" y="19"/>
                  </a:cubicBezTo>
                  <a:cubicBezTo>
                    <a:pt x="435" y="13"/>
                    <a:pt x="432" y="7"/>
                    <a:pt x="429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26">
              <a:extLst>
                <a:ext uri="{FF2B5EF4-FFF2-40B4-BE49-F238E27FC236}">
                  <a16:creationId xmlns:a16="http://schemas.microsoft.com/office/drawing/2014/main" id="{403EDC1D-E79E-4E8C-A336-3F824231E1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675" y="-5170686"/>
              <a:ext cx="1468438" cy="60325"/>
            </a:xfrm>
            <a:custGeom>
              <a:avLst/>
              <a:gdLst>
                <a:gd name="T0" fmla="*/ 459 w 463"/>
                <a:gd name="T1" fmla="*/ 0 h 19"/>
                <a:gd name="T2" fmla="*/ 5 w 463"/>
                <a:gd name="T3" fmla="*/ 0 h 19"/>
                <a:gd name="T4" fmla="*/ 0 w 463"/>
                <a:gd name="T5" fmla="*/ 19 h 19"/>
                <a:gd name="T6" fmla="*/ 463 w 463"/>
                <a:gd name="T7" fmla="*/ 19 h 19"/>
                <a:gd name="T8" fmla="*/ 459 w 463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3" h="19">
                  <a:moveTo>
                    <a:pt x="45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3" y="6"/>
                    <a:pt x="2" y="12"/>
                    <a:pt x="0" y="19"/>
                  </a:cubicBezTo>
                  <a:cubicBezTo>
                    <a:pt x="463" y="19"/>
                    <a:pt x="463" y="19"/>
                    <a:pt x="463" y="19"/>
                  </a:cubicBezTo>
                  <a:cubicBezTo>
                    <a:pt x="462" y="12"/>
                    <a:pt x="461" y="6"/>
                    <a:pt x="459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27">
              <a:extLst>
                <a:ext uri="{FF2B5EF4-FFF2-40B4-BE49-F238E27FC236}">
                  <a16:creationId xmlns:a16="http://schemas.microsoft.com/office/drawing/2014/main" id="{774E66D5-B2F9-4D3E-9339-CDF5E97757CD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975" y="-5034161"/>
              <a:ext cx="1497013" cy="60325"/>
            </a:xfrm>
            <a:custGeom>
              <a:avLst/>
              <a:gdLst>
                <a:gd name="T0" fmla="*/ 471 w 472"/>
                <a:gd name="T1" fmla="*/ 0 h 19"/>
                <a:gd name="T2" fmla="*/ 1 w 472"/>
                <a:gd name="T3" fmla="*/ 0 h 19"/>
                <a:gd name="T4" fmla="*/ 0 w 472"/>
                <a:gd name="T5" fmla="*/ 19 h 19"/>
                <a:gd name="T6" fmla="*/ 472 w 472"/>
                <a:gd name="T7" fmla="*/ 19 h 19"/>
                <a:gd name="T8" fmla="*/ 471 w 472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2" h="19">
                  <a:moveTo>
                    <a:pt x="47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6"/>
                    <a:pt x="0" y="13"/>
                    <a:pt x="0" y="19"/>
                  </a:cubicBezTo>
                  <a:cubicBezTo>
                    <a:pt x="472" y="19"/>
                    <a:pt x="472" y="19"/>
                    <a:pt x="472" y="19"/>
                  </a:cubicBezTo>
                  <a:cubicBezTo>
                    <a:pt x="471" y="13"/>
                    <a:pt x="471" y="6"/>
                    <a:pt x="47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28">
              <a:extLst>
                <a:ext uri="{FF2B5EF4-FFF2-40B4-BE49-F238E27FC236}">
                  <a16:creationId xmlns:a16="http://schemas.microsoft.com/office/drawing/2014/main" id="{69E318F6-7B62-4A96-BE73-C5F3184F0D0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150" y="-4897636"/>
              <a:ext cx="1487488" cy="60325"/>
            </a:xfrm>
            <a:custGeom>
              <a:avLst/>
              <a:gdLst>
                <a:gd name="T0" fmla="*/ 469 w 469"/>
                <a:gd name="T1" fmla="*/ 0 h 19"/>
                <a:gd name="T2" fmla="*/ 0 w 469"/>
                <a:gd name="T3" fmla="*/ 0 h 19"/>
                <a:gd name="T4" fmla="*/ 3 w 469"/>
                <a:gd name="T5" fmla="*/ 19 h 19"/>
                <a:gd name="T6" fmla="*/ 467 w 469"/>
                <a:gd name="T7" fmla="*/ 19 h 19"/>
                <a:gd name="T8" fmla="*/ 469 w 469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9" h="19">
                  <a:moveTo>
                    <a:pt x="46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7"/>
                    <a:pt x="2" y="13"/>
                    <a:pt x="3" y="19"/>
                  </a:cubicBezTo>
                  <a:cubicBezTo>
                    <a:pt x="467" y="19"/>
                    <a:pt x="467" y="19"/>
                    <a:pt x="467" y="19"/>
                  </a:cubicBezTo>
                  <a:cubicBezTo>
                    <a:pt x="468" y="13"/>
                    <a:pt x="469" y="7"/>
                    <a:pt x="469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29">
              <a:extLst>
                <a:ext uri="{FF2B5EF4-FFF2-40B4-BE49-F238E27FC236}">
                  <a16:creationId xmlns:a16="http://schemas.microsoft.com/office/drawing/2014/main" id="{7E60674A-BACD-43CD-8B7F-9017E68D62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725" y="-4757936"/>
              <a:ext cx="1433513" cy="60325"/>
            </a:xfrm>
            <a:custGeom>
              <a:avLst/>
              <a:gdLst>
                <a:gd name="T0" fmla="*/ 452 w 452"/>
                <a:gd name="T1" fmla="*/ 0 h 19"/>
                <a:gd name="T2" fmla="*/ 0 w 452"/>
                <a:gd name="T3" fmla="*/ 0 h 19"/>
                <a:gd name="T4" fmla="*/ 6 w 452"/>
                <a:gd name="T5" fmla="*/ 19 h 19"/>
                <a:gd name="T6" fmla="*/ 445 w 452"/>
                <a:gd name="T7" fmla="*/ 19 h 19"/>
                <a:gd name="T8" fmla="*/ 452 w 452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2" h="19">
                  <a:moveTo>
                    <a:pt x="45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6"/>
                    <a:pt x="4" y="12"/>
                    <a:pt x="6" y="19"/>
                  </a:cubicBezTo>
                  <a:cubicBezTo>
                    <a:pt x="445" y="19"/>
                    <a:pt x="445" y="19"/>
                    <a:pt x="445" y="19"/>
                  </a:cubicBezTo>
                  <a:cubicBezTo>
                    <a:pt x="448" y="12"/>
                    <a:pt x="450" y="6"/>
                    <a:pt x="45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30">
              <a:extLst>
                <a:ext uri="{FF2B5EF4-FFF2-40B4-BE49-F238E27FC236}">
                  <a16:creationId xmlns:a16="http://schemas.microsoft.com/office/drawing/2014/main" id="{F4DB92E0-43AC-4F81-89AD-8985C9205326}"/>
                </a:ext>
              </a:extLst>
            </p:cNvPr>
            <p:cNvSpPr>
              <a:spLocks/>
            </p:cNvSpPr>
            <p:nvPr/>
          </p:nvSpPr>
          <p:spPr bwMode="auto">
            <a:xfrm>
              <a:off x="777875" y="-4621411"/>
              <a:ext cx="1319213" cy="60325"/>
            </a:xfrm>
            <a:custGeom>
              <a:avLst/>
              <a:gdLst>
                <a:gd name="T0" fmla="*/ 416 w 416"/>
                <a:gd name="T1" fmla="*/ 0 h 19"/>
                <a:gd name="T2" fmla="*/ 0 w 416"/>
                <a:gd name="T3" fmla="*/ 0 h 19"/>
                <a:gd name="T4" fmla="*/ 11 w 416"/>
                <a:gd name="T5" fmla="*/ 19 h 19"/>
                <a:gd name="T6" fmla="*/ 405 w 416"/>
                <a:gd name="T7" fmla="*/ 19 h 19"/>
                <a:gd name="T8" fmla="*/ 416 w 416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6" h="19">
                  <a:moveTo>
                    <a:pt x="41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" y="7"/>
                    <a:pt x="7" y="13"/>
                    <a:pt x="11" y="19"/>
                  </a:cubicBezTo>
                  <a:cubicBezTo>
                    <a:pt x="405" y="19"/>
                    <a:pt x="405" y="19"/>
                    <a:pt x="405" y="19"/>
                  </a:cubicBezTo>
                  <a:cubicBezTo>
                    <a:pt x="409" y="13"/>
                    <a:pt x="413" y="7"/>
                    <a:pt x="416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31">
              <a:extLst>
                <a:ext uri="{FF2B5EF4-FFF2-40B4-BE49-F238E27FC236}">
                  <a16:creationId xmlns:a16="http://schemas.microsoft.com/office/drawing/2014/main" id="{19DC0AD1-8BCD-40BD-AFA9-9E86D9D7619A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950" y="-4484886"/>
              <a:ext cx="1135063" cy="60325"/>
            </a:xfrm>
            <a:custGeom>
              <a:avLst/>
              <a:gdLst>
                <a:gd name="T0" fmla="*/ 358 w 358"/>
                <a:gd name="T1" fmla="*/ 0 h 19"/>
                <a:gd name="T2" fmla="*/ 0 w 358"/>
                <a:gd name="T3" fmla="*/ 0 h 19"/>
                <a:gd name="T4" fmla="*/ 18 w 358"/>
                <a:gd name="T5" fmla="*/ 19 h 19"/>
                <a:gd name="T6" fmla="*/ 339 w 358"/>
                <a:gd name="T7" fmla="*/ 19 h 19"/>
                <a:gd name="T8" fmla="*/ 358 w 358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8" h="19">
                  <a:moveTo>
                    <a:pt x="35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" y="7"/>
                    <a:pt x="12" y="13"/>
                    <a:pt x="18" y="19"/>
                  </a:cubicBezTo>
                  <a:cubicBezTo>
                    <a:pt x="339" y="19"/>
                    <a:pt x="339" y="19"/>
                    <a:pt x="339" y="19"/>
                  </a:cubicBezTo>
                  <a:cubicBezTo>
                    <a:pt x="346" y="13"/>
                    <a:pt x="352" y="7"/>
                    <a:pt x="358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32">
              <a:extLst>
                <a:ext uri="{FF2B5EF4-FFF2-40B4-BE49-F238E27FC236}">
                  <a16:creationId xmlns:a16="http://schemas.microsoft.com/office/drawing/2014/main" id="{53CD8091-772D-4EA7-ACC8-68B12D4370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5525" y="-4345186"/>
              <a:ext cx="820738" cy="60325"/>
            </a:xfrm>
            <a:custGeom>
              <a:avLst/>
              <a:gdLst>
                <a:gd name="T0" fmla="*/ 259 w 259"/>
                <a:gd name="T1" fmla="*/ 0 h 19"/>
                <a:gd name="T2" fmla="*/ 0 w 259"/>
                <a:gd name="T3" fmla="*/ 0 h 19"/>
                <a:gd name="T4" fmla="*/ 35 w 259"/>
                <a:gd name="T5" fmla="*/ 19 h 19"/>
                <a:gd name="T6" fmla="*/ 225 w 259"/>
                <a:gd name="T7" fmla="*/ 19 h 19"/>
                <a:gd name="T8" fmla="*/ 259 w 259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9" h="19">
                  <a:moveTo>
                    <a:pt x="25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1" y="7"/>
                    <a:pt x="23" y="13"/>
                    <a:pt x="35" y="19"/>
                  </a:cubicBezTo>
                  <a:cubicBezTo>
                    <a:pt x="225" y="19"/>
                    <a:pt x="225" y="19"/>
                    <a:pt x="225" y="19"/>
                  </a:cubicBezTo>
                  <a:cubicBezTo>
                    <a:pt x="237" y="13"/>
                    <a:pt x="248" y="7"/>
                    <a:pt x="259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1690047-4235-43F0-9F2A-44A8E93985C0}"/>
              </a:ext>
            </a:extLst>
          </p:cNvPr>
          <p:cNvCxnSpPr/>
          <p:nvPr userDrawn="1"/>
        </p:nvCxnSpPr>
        <p:spPr>
          <a:xfrm>
            <a:off x="9596819" y="6389084"/>
            <a:ext cx="0" cy="166687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7178CB75-44D5-4455-AF00-3EE241BA60A5}"/>
              </a:ext>
            </a:extLst>
          </p:cNvPr>
          <p:cNvSpPr txBox="1"/>
          <p:nvPr userDrawn="1"/>
        </p:nvSpPr>
        <p:spPr>
          <a:xfrm>
            <a:off x="6389517" y="6247955"/>
            <a:ext cx="2551789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300" b="1" spc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Company </a:t>
            </a:r>
            <a:r>
              <a:rPr lang="en-US" sz="2300" b="1" kern="1200" spc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Profile</a:t>
            </a:r>
          </a:p>
        </p:txBody>
      </p:sp>
      <p:sp>
        <p:nvSpPr>
          <p:cNvPr id="91" name="Picture Placeholder 90">
            <a:extLst>
              <a:ext uri="{FF2B5EF4-FFF2-40B4-BE49-F238E27FC236}">
                <a16:creationId xmlns:a16="http://schemas.microsoft.com/office/drawing/2014/main" id="{DED87477-D46B-4EBE-893C-467CEB5FAF1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998888" y="2014061"/>
            <a:ext cx="2003620" cy="2003620"/>
          </a:xfrm>
          <a:custGeom>
            <a:avLst/>
            <a:gdLst>
              <a:gd name="connsiteX0" fmla="*/ 1001810 w 2003620"/>
              <a:gd name="connsiteY0" fmla="*/ 0 h 2003620"/>
              <a:gd name="connsiteX1" fmla="*/ 2003620 w 2003620"/>
              <a:gd name="connsiteY1" fmla="*/ 1001810 h 2003620"/>
              <a:gd name="connsiteX2" fmla="*/ 1001810 w 2003620"/>
              <a:gd name="connsiteY2" fmla="*/ 2003620 h 2003620"/>
              <a:gd name="connsiteX3" fmla="*/ 0 w 2003620"/>
              <a:gd name="connsiteY3" fmla="*/ 1001810 h 2003620"/>
              <a:gd name="connsiteX4" fmla="*/ 1001810 w 2003620"/>
              <a:gd name="connsiteY4" fmla="*/ 0 h 2003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03620" h="2003620">
                <a:moveTo>
                  <a:pt x="1001810" y="0"/>
                </a:moveTo>
                <a:cubicBezTo>
                  <a:pt x="1555094" y="0"/>
                  <a:pt x="2003620" y="448526"/>
                  <a:pt x="2003620" y="1001810"/>
                </a:cubicBezTo>
                <a:cubicBezTo>
                  <a:pt x="2003620" y="1555094"/>
                  <a:pt x="1555094" y="2003620"/>
                  <a:pt x="1001810" y="2003620"/>
                </a:cubicBezTo>
                <a:cubicBezTo>
                  <a:pt x="448526" y="2003620"/>
                  <a:pt x="0" y="1555094"/>
                  <a:pt x="0" y="1001810"/>
                </a:cubicBezTo>
                <a:cubicBezTo>
                  <a:pt x="0" y="448526"/>
                  <a:pt x="448526" y="0"/>
                  <a:pt x="100181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3E3F71F8-364C-494F-BE6B-35DB365FE1BC}"/>
              </a:ext>
            </a:extLst>
          </p:cNvPr>
          <p:cNvGrpSpPr/>
          <p:nvPr userDrawn="1"/>
        </p:nvGrpSpPr>
        <p:grpSpPr>
          <a:xfrm>
            <a:off x="5956285" y="6264918"/>
            <a:ext cx="390675" cy="386876"/>
            <a:chOff x="942242" y="2841978"/>
            <a:chExt cx="1226108" cy="1214181"/>
          </a:xfrm>
        </p:grpSpPr>
        <p:sp>
          <p:nvSpPr>
            <p:cNvPr id="33" name="Freeform 63">
              <a:extLst>
                <a:ext uri="{FF2B5EF4-FFF2-40B4-BE49-F238E27FC236}">
                  <a16:creationId xmlns:a16="http://schemas.microsoft.com/office/drawing/2014/main" id="{62FDB4D7-C79E-43F4-B30D-58756C4DC5B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42242" y="2841978"/>
              <a:ext cx="1226108" cy="1211796"/>
            </a:xfrm>
            <a:custGeom>
              <a:avLst/>
              <a:gdLst>
                <a:gd name="T0" fmla="*/ 198 w 431"/>
                <a:gd name="T1" fmla="*/ 393 h 426"/>
                <a:gd name="T2" fmla="*/ 53 w 431"/>
                <a:gd name="T3" fmla="*/ 393 h 426"/>
                <a:gd name="T4" fmla="*/ 39 w 431"/>
                <a:gd name="T5" fmla="*/ 386 h 426"/>
                <a:gd name="T6" fmla="*/ 37 w 431"/>
                <a:gd name="T7" fmla="*/ 371 h 426"/>
                <a:gd name="T8" fmla="*/ 159 w 431"/>
                <a:gd name="T9" fmla="*/ 284 h 426"/>
                <a:gd name="T10" fmla="*/ 231 w 431"/>
                <a:gd name="T11" fmla="*/ 307 h 426"/>
                <a:gd name="T12" fmla="*/ 254 w 431"/>
                <a:gd name="T13" fmla="*/ 303 h 426"/>
                <a:gd name="T14" fmla="*/ 250 w 431"/>
                <a:gd name="T15" fmla="*/ 280 h 426"/>
                <a:gd name="T16" fmla="*/ 216 w 431"/>
                <a:gd name="T17" fmla="*/ 262 h 426"/>
                <a:gd name="T18" fmla="*/ 244 w 431"/>
                <a:gd name="T19" fmla="*/ 206 h 426"/>
                <a:gd name="T20" fmla="*/ 331 w 431"/>
                <a:gd name="T21" fmla="*/ 171 h 426"/>
                <a:gd name="T22" fmla="*/ 403 w 431"/>
                <a:gd name="T23" fmla="*/ 193 h 426"/>
                <a:gd name="T24" fmla="*/ 426 w 431"/>
                <a:gd name="T25" fmla="*/ 189 h 426"/>
                <a:gd name="T26" fmla="*/ 422 w 431"/>
                <a:gd name="T27" fmla="*/ 166 h 426"/>
                <a:gd name="T28" fmla="*/ 389 w 431"/>
                <a:gd name="T29" fmla="*/ 148 h 426"/>
                <a:gd name="T30" fmla="*/ 416 w 431"/>
                <a:gd name="T31" fmla="*/ 85 h 426"/>
                <a:gd name="T32" fmla="*/ 332 w 431"/>
                <a:gd name="T33" fmla="*/ 0 h 426"/>
                <a:gd name="T34" fmla="*/ 247 w 431"/>
                <a:gd name="T35" fmla="*/ 85 h 426"/>
                <a:gd name="T36" fmla="*/ 274 w 431"/>
                <a:gd name="T37" fmla="*/ 148 h 426"/>
                <a:gd name="T38" fmla="*/ 267 w 431"/>
                <a:gd name="T39" fmla="*/ 151 h 426"/>
                <a:gd name="T40" fmla="*/ 238 w 431"/>
                <a:gd name="T41" fmla="*/ 168 h 426"/>
                <a:gd name="T42" fmla="*/ 159 w 431"/>
                <a:gd name="T43" fmla="*/ 114 h 426"/>
                <a:gd name="T44" fmla="*/ 75 w 431"/>
                <a:gd name="T45" fmla="*/ 199 h 426"/>
                <a:gd name="T46" fmla="*/ 102 w 431"/>
                <a:gd name="T47" fmla="*/ 262 h 426"/>
                <a:gd name="T48" fmla="*/ 5 w 431"/>
                <a:gd name="T49" fmla="*/ 361 h 426"/>
                <a:gd name="T50" fmla="*/ 13 w 431"/>
                <a:gd name="T51" fmla="*/ 406 h 426"/>
                <a:gd name="T52" fmla="*/ 53 w 431"/>
                <a:gd name="T53" fmla="*/ 426 h 426"/>
                <a:gd name="T54" fmla="*/ 198 w 431"/>
                <a:gd name="T55" fmla="*/ 426 h 426"/>
                <a:gd name="T56" fmla="*/ 214 w 431"/>
                <a:gd name="T57" fmla="*/ 410 h 426"/>
                <a:gd name="T58" fmla="*/ 198 w 431"/>
                <a:gd name="T59" fmla="*/ 393 h 426"/>
                <a:gd name="T60" fmla="*/ 332 w 431"/>
                <a:gd name="T61" fmla="*/ 34 h 426"/>
                <a:gd name="T62" fmla="*/ 383 w 431"/>
                <a:gd name="T63" fmla="*/ 85 h 426"/>
                <a:gd name="T64" fmla="*/ 332 w 431"/>
                <a:gd name="T65" fmla="*/ 137 h 426"/>
                <a:gd name="T66" fmla="*/ 280 w 431"/>
                <a:gd name="T67" fmla="*/ 85 h 426"/>
                <a:gd name="T68" fmla="*/ 332 w 431"/>
                <a:gd name="T69" fmla="*/ 34 h 426"/>
                <a:gd name="T70" fmla="*/ 159 w 431"/>
                <a:gd name="T71" fmla="*/ 148 h 426"/>
                <a:gd name="T72" fmla="*/ 211 w 431"/>
                <a:gd name="T73" fmla="*/ 199 h 426"/>
                <a:gd name="T74" fmla="*/ 159 w 431"/>
                <a:gd name="T75" fmla="*/ 251 h 426"/>
                <a:gd name="T76" fmla="*/ 108 w 431"/>
                <a:gd name="T77" fmla="*/ 199 h 426"/>
                <a:gd name="T78" fmla="*/ 159 w 431"/>
                <a:gd name="T79" fmla="*/ 148 h 426"/>
                <a:gd name="T80" fmla="*/ 159 w 431"/>
                <a:gd name="T81" fmla="*/ 148 h 426"/>
                <a:gd name="T82" fmla="*/ 159 w 431"/>
                <a:gd name="T83" fmla="*/ 148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31" h="426">
                  <a:moveTo>
                    <a:pt x="198" y="393"/>
                  </a:moveTo>
                  <a:cubicBezTo>
                    <a:pt x="53" y="393"/>
                    <a:pt x="53" y="393"/>
                    <a:pt x="53" y="393"/>
                  </a:cubicBezTo>
                  <a:cubicBezTo>
                    <a:pt x="48" y="393"/>
                    <a:pt x="43" y="391"/>
                    <a:pt x="39" y="386"/>
                  </a:cubicBezTo>
                  <a:cubicBezTo>
                    <a:pt x="36" y="382"/>
                    <a:pt x="35" y="376"/>
                    <a:pt x="37" y="371"/>
                  </a:cubicBezTo>
                  <a:cubicBezTo>
                    <a:pt x="54" y="320"/>
                    <a:pt x="104" y="284"/>
                    <a:pt x="159" y="284"/>
                  </a:cubicBezTo>
                  <a:cubicBezTo>
                    <a:pt x="185" y="284"/>
                    <a:pt x="210" y="292"/>
                    <a:pt x="231" y="307"/>
                  </a:cubicBezTo>
                  <a:cubicBezTo>
                    <a:pt x="238" y="312"/>
                    <a:pt x="248" y="310"/>
                    <a:pt x="254" y="303"/>
                  </a:cubicBezTo>
                  <a:cubicBezTo>
                    <a:pt x="259" y="295"/>
                    <a:pt x="257" y="285"/>
                    <a:pt x="250" y="280"/>
                  </a:cubicBezTo>
                  <a:cubicBezTo>
                    <a:pt x="239" y="272"/>
                    <a:pt x="228" y="266"/>
                    <a:pt x="216" y="262"/>
                  </a:cubicBezTo>
                  <a:cubicBezTo>
                    <a:pt x="232" y="248"/>
                    <a:pt x="242" y="228"/>
                    <a:pt x="244" y="206"/>
                  </a:cubicBezTo>
                  <a:cubicBezTo>
                    <a:pt x="267" y="183"/>
                    <a:pt x="298" y="171"/>
                    <a:pt x="331" y="171"/>
                  </a:cubicBezTo>
                  <a:cubicBezTo>
                    <a:pt x="357" y="171"/>
                    <a:pt x="382" y="178"/>
                    <a:pt x="403" y="193"/>
                  </a:cubicBezTo>
                  <a:cubicBezTo>
                    <a:pt x="410" y="198"/>
                    <a:pt x="421" y="196"/>
                    <a:pt x="426" y="189"/>
                  </a:cubicBezTo>
                  <a:cubicBezTo>
                    <a:pt x="431" y="181"/>
                    <a:pt x="429" y="171"/>
                    <a:pt x="422" y="166"/>
                  </a:cubicBezTo>
                  <a:cubicBezTo>
                    <a:pt x="411" y="159"/>
                    <a:pt x="400" y="153"/>
                    <a:pt x="389" y="148"/>
                  </a:cubicBezTo>
                  <a:cubicBezTo>
                    <a:pt x="406" y="133"/>
                    <a:pt x="416" y="110"/>
                    <a:pt x="416" y="85"/>
                  </a:cubicBezTo>
                  <a:cubicBezTo>
                    <a:pt x="416" y="39"/>
                    <a:pt x="378" y="0"/>
                    <a:pt x="332" y="0"/>
                  </a:cubicBezTo>
                  <a:cubicBezTo>
                    <a:pt x="285" y="0"/>
                    <a:pt x="247" y="39"/>
                    <a:pt x="247" y="85"/>
                  </a:cubicBezTo>
                  <a:cubicBezTo>
                    <a:pt x="247" y="110"/>
                    <a:pt x="257" y="132"/>
                    <a:pt x="274" y="148"/>
                  </a:cubicBezTo>
                  <a:cubicBezTo>
                    <a:pt x="272" y="149"/>
                    <a:pt x="270" y="150"/>
                    <a:pt x="267" y="151"/>
                  </a:cubicBezTo>
                  <a:cubicBezTo>
                    <a:pt x="257" y="155"/>
                    <a:pt x="247" y="161"/>
                    <a:pt x="238" y="168"/>
                  </a:cubicBezTo>
                  <a:cubicBezTo>
                    <a:pt x="226" y="136"/>
                    <a:pt x="195" y="114"/>
                    <a:pt x="159" y="114"/>
                  </a:cubicBezTo>
                  <a:cubicBezTo>
                    <a:pt x="113" y="114"/>
                    <a:pt x="75" y="152"/>
                    <a:pt x="75" y="199"/>
                  </a:cubicBezTo>
                  <a:cubicBezTo>
                    <a:pt x="75" y="224"/>
                    <a:pt x="85" y="246"/>
                    <a:pt x="102" y="262"/>
                  </a:cubicBezTo>
                  <a:cubicBezTo>
                    <a:pt x="57" y="279"/>
                    <a:pt x="20" y="315"/>
                    <a:pt x="5" y="361"/>
                  </a:cubicBezTo>
                  <a:cubicBezTo>
                    <a:pt x="0" y="376"/>
                    <a:pt x="3" y="393"/>
                    <a:pt x="13" y="406"/>
                  </a:cubicBezTo>
                  <a:cubicBezTo>
                    <a:pt x="22" y="419"/>
                    <a:pt x="37" y="426"/>
                    <a:pt x="53" y="426"/>
                  </a:cubicBezTo>
                  <a:cubicBezTo>
                    <a:pt x="198" y="426"/>
                    <a:pt x="198" y="426"/>
                    <a:pt x="198" y="426"/>
                  </a:cubicBezTo>
                  <a:cubicBezTo>
                    <a:pt x="207" y="426"/>
                    <a:pt x="214" y="419"/>
                    <a:pt x="214" y="410"/>
                  </a:cubicBezTo>
                  <a:cubicBezTo>
                    <a:pt x="214" y="401"/>
                    <a:pt x="207" y="393"/>
                    <a:pt x="198" y="393"/>
                  </a:cubicBezTo>
                  <a:close/>
                  <a:moveTo>
                    <a:pt x="332" y="34"/>
                  </a:moveTo>
                  <a:cubicBezTo>
                    <a:pt x="360" y="34"/>
                    <a:pt x="383" y="57"/>
                    <a:pt x="383" y="85"/>
                  </a:cubicBezTo>
                  <a:cubicBezTo>
                    <a:pt x="383" y="114"/>
                    <a:pt x="360" y="137"/>
                    <a:pt x="332" y="137"/>
                  </a:cubicBezTo>
                  <a:cubicBezTo>
                    <a:pt x="303" y="137"/>
                    <a:pt x="280" y="114"/>
                    <a:pt x="280" y="85"/>
                  </a:cubicBezTo>
                  <a:cubicBezTo>
                    <a:pt x="280" y="57"/>
                    <a:pt x="303" y="34"/>
                    <a:pt x="332" y="34"/>
                  </a:cubicBezTo>
                  <a:close/>
                  <a:moveTo>
                    <a:pt x="159" y="148"/>
                  </a:moveTo>
                  <a:cubicBezTo>
                    <a:pt x="188" y="148"/>
                    <a:pt x="211" y="171"/>
                    <a:pt x="211" y="199"/>
                  </a:cubicBezTo>
                  <a:cubicBezTo>
                    <a:pt x="211" y="228"/>
                    <a:pt x="188" y="251"/>
                    <a:pt x="159" y="251"/>
                  </a:cubicBezTo>
                  <a:cubicBezTo>
                    <a:pt x="131" y="251"/>
                    <a:pt x="108" y="228"/>
                    <a:pt x="108" y="199"/>
                  </a:cubicBezTo>
                  <a:cubicBezTo>
                    <a:pt x="108" y="171"/>
                    <a:pt x="131" y="148"/>
                    <a:pt x="159" y="148"/>
                  </a:cubicBezTo>
                  <a:close/>
                  <a:moveTo>
                    <a:pt x="159" y="148"/>
                  </a:moveTo>
                  <a:cubicBezTo>
                    <a:pt x="159" y="148"/>
                    <a:pt x="159" y="148"/>
                    <a:pt x="159" y="148"/>
                  </a:cubicBezTo>
                </a:path>
              </a:pathLst>
            </a:custGeom>
            <a:gradFill flip="none" rotWithShape="1"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810000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64">
              <a:extLst>
                <a:ext uri="{FF2B5EF4-FFF2-40B4-BE49-F238E27FC236}">
                  <a16:creationId xmlns:a16="http://schemas.microsoft.com/office/drawing/2014/main" id="{EB6E356D-9626-437B-8F88-21040A95A2A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68415" y="3600543"/>
              <a:ext cx="599935" cy="455616"/>
            </a:xfrm>
            <a:custGeom>
              <a:avLst/>
              <a:gdLst>
                <a:gd name="T0" fmla="*/ 202 w 211"/>
                <a:gd name="T1" fmla="*/ 5 h 160"/>
                <a:gd name="T2" fmla="*/ 179 w 211"/>
                <a:gd name="T3" fmla="*/ 9 h 160"/>
                <a:gd name="T4" fmla="*/ 97 w 211"/>
                <a:gd name="T5" fmla="*/ 124 h 160"/>
                <a:gd name="T6" fmla="*/ 90 w 211"/>
                <a:gd name="T7" fmla="*/ 127 h 160"/>
                <a:gd name="T8" fmla="*/ 83 w 211"/>
                <a:gd name="T9" fmla="*/ 124 h 160"/>
                <a:gd name="T10" fmla="*/ 30 w 211"/>
                <a:gd name="T11" fmla="*/ 73 h 160"/>
                <a:gd name="T12" fmla="*/ 6 w 211"/>
                <a:gd name="T13" fmla="*/ 74 h 160"/>
                <a:gd name="T14" fmla="*/ 7 w 211"/>
                <a:gd name="T15" fmla="*/ 97 h 160"/>
                <a:gd name="T16" fmla="*/ 60 w 211"/>
                <a:gd name="T17" fmla="*/ 148 h 160"/>
                <a:gd name="T18" fmla="*/ 90 w 211"/>
                <a:gd name="T19" fmla="*/ 160 h 160"/>
                <a:gd name="T20" fmla="*/ 92 w 211"/>
                <a:gd name="T21" fmla="*/ 160 h 160"/>
                <a:gd name="T22" fmla="*/ 123 w 211"/>
                <a:gd name="T23" fmla="*/ 144 h 160"/>
                <a:gd name="T24" fmla="*/ 123 w 211"/>
                <a:gd name="T25" fmla="*/ 143 h 160"/>
                <a:gd name="T26" fmla="*/ 206 w 211"/>
                <a:gd name="T27" fmla="*/ 28 h 160"/>
                <a:gd name="T28" fmla="*/ 202 w 211"/>
                <a:gd name="T29" fmla="*/ 5 h 160"/>
                <a:gd name="T30" fmla="*/ 202 w 211"/>
                <a:gd name="T31" fmla="*/ 5 h 160"/>
                <a:gd name="T32" fmla="*/ 202 w 211"/>
                <a:gd name="T33" fmla="*/ 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11" h="160">
                  <a:moveTo>
                    <a:pt x="202" y="5"/>
                  </a:moveTo>
                  <a:cubicBezTo>
                    <a:pt x="194" y="0"/>
                    <a:pt x="184" y="2"/>
                    <a:pt x="179" y="9"/>
                  </a:cubicBezTo>
                  <a:cubicBezTo>
                    <a:pt x="97" y="124"/>
                    <a:pt x="97" y="124"/>
                    <a:pt x="97" y="124"/>
                  </a:cubicBezTo>
                  <a:cubicBezTo>
                    <a:pt x="94" y="126"/>
                    <a:pt x="92" y="127"/>
                    <a:pt x="90" y="127"/>
                  </a:cubicBezTo>
                  <a:cubicBezTo>
                    <a:pt x="89" y="127"/>
                    <a:pt x="86" y="127"/>
                    <a:pt x="83" y="124"/>
                  </a:cubicBezTo>
                  <a:cubicBezTo>
                    <a:pt x="30" y="73"/>
                    <a:pt x="30" y="73"/>
                    <a:pt x="30" y="73"/>
                  </a:cubicBezTo>
                  <a:cubicBezTo>
                    <a:pt x="23" y="67"/>
                    <a:pt x="13" y="67"/>
                    <a:pt x="6" y="74"/>
                  </a:cubicBezTo>
                  <a:cubicBezTo>
                    <a:pt x="0" y="80"/>
                    <a:pt x="0" y="91"/>
                    <a:pt x="7" y="97"/>
                  </a:cubicBezTo>
                  <a:cubicBezTo>
                    <a:pt x="60" y="148"/>
                    <a:pt x="60" y="148"/>
                    <a:pt x="60" y="148"/>
                  </a:cubicBezTo>
                  <a:cubicBezTo>
                    <a:pt x="68" y="156"/>
                    <a:pt x="79" y="160"/>
                    <a:pt x="90" y="160"/>
                  </a:cubicBezTo>
                  <a:cubicBezTo>
                    <a:pt x="91" y="160"/>
                    <a:pt x="91" y="160"/>
                    <a:pt x="92" y="160"/>
                  </a:cubicBezTo>
                  <a:cubicBezTo>
                    <a:pt x="104" y="159"/>
                    <a:pt x="115" y="153"/>
                    <a:pt x="123" y="144"/>
                  </a:cubicBezTo>
                  <a:cubicBezTo>
                    <a:pt x="123" y="144"/>
                    <a:pt x="123" y="144"/>
                    <a:pt x="123" y="143"/>
                  </a:cubicBezTo>
                  <a:cubicBezTo>
                    <a:pt x="206" y="28"/>
                    <a:pt x="206" y="28"/>
                    <a:pt x="206" y="28"/>
                  </a:cubicBezTo>
                  <a:cubicBezTo>
                    <a:pt x="211" y="21"/>
                    <a:pt x="209" y="11"/>
                    <a:pt x="202" y="5"/>
                  </a:cubicBezTo>
                  <a:close/>
                  <a:moveTo>
                    <a:pt x="202" y="5"/>
                  </a:moveTo>
                  <a:cubicBezTo>
                    <a:pt x="202" y="5"/>
                    <a:pt x="202" y="5"/>
                    <a:pt x="202" y="5"/>
                  </a:cubicBezTo>
                </a:path>
              </a:pathLst>
            </a:custGeom>
            <a:gradFill flip="none" rotWithShape="1"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810000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C6C13410-168C-4F8C-81CA-DD28C7DA65DE}"/>
              </a:ext>
            </a:extLst>
          </p:cNvPr>
          <p:cNvSpPr/>
          <p:nvPr userDrawn="1"/>
        </p:nvSpPr>
        <p:spPr>
          <a:xfrm>
            <a:off x="9154312" y="6309837"/>
            <a:ext cx="333533" cy="333533"/>
          </a:xfrm>
          <a:prstGeom prst="roundRect">
            <a:avLst>
              <a:gd name="adj" fmla="val 9599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Slide Number Placeholder 13">
            <a:extLst>
              <a:ext uri="{FF2B5EF4-FFF2-40B4-BE49-F238E27FC236}">
                <a16:creationId xmlns:a16="http://schemas.microsoft.com/office/drawing/2014/main" id="{72201B2E-0A39-4725-BBCB-53C7436282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05250" y="6350048"/>
            <a:ext cx="431656" cy="2267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fld id="{1F70EEBF-E97C-49FF-B05B-3B4D348638DC}" type="slidenum">
              <a:rPr lang="en-US" smtClean="0"/>
              <a:pPr/>
              <a:t>‹Nr.›</a:t>
            </a:fld>
            <a:endParaRPr lang="en-US" dirty="0"/>
          </a:p>
        </p:txBody>
      </p:sp>
      <p:grpSp>
        <p:nvGrpSpPr>
          <p:cNvPr id="92" name="Group 91">
            <a:extLst>
              <a:ext uri="{FF2B5EF4-FFF2-40B4-BE49-F238E27FC236}">
                <a16:creationId xmlns:a16="http://schemas.microsoft.com/office/drawing/2014/main" id="{761BF67F-658F-4E46-B3AA-BD105392D809}"/>
              </a:ext>
            </a:extLst>
          </p:cNvPr>
          <p:cNvGrpSpPr/>
          <p:nvPr userDrawn="1"/>
        </p:nvGrpSpPr>
        <p:grpSpPr>
          <a:xfrm flipH="1">
            <a:off x="9758481" y="125"/>
            <a:ext cx="2431157" cy="2744859"/>
            <a:chOff x="1781175" y="-333375"/>
            <a:chExt cx="4314825" cy="6070600"/>
          </a:xfrm>
        </p:grpSpPr>
        <p:sp>
          <p:nvSpPr>
            <p:cNvPr id="93" name="Freeform 6">
              <a:extLst>
                <a:ext uri="{FF2B5EF4-FFF2-40B4-BE49-F238E27FC236}">
                  <a16:creationId xmlns:a16="http://schemas.microsoft.com/office/drawing/2014/main" id="{D38A2473-ED17-4489-BD55-A2C6EA876B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81175" y="-333375"/>
              <a:ext cx="4314825" cy="6070600"/>
            </a:xfrm>
            <a:custGeom>
              <a:avLst/>
              <a:gdLst>
                <a:gd name="T0" fmla="*/ 877 w 2718"/>
                <a:gd name="T1" fmla="*/ 0 h 3824"/>
                <a:gd name="T2" fmla="*/ 0 w 2718"/>
                <a:gd name="T3" fmla="*/ 3793 h 3824"/>
                <a:gd name="T4" fmla="*/ 0 w 2718"/>
                <a:gd name="T5" fmla="*/ 3824 h 3824"/>
                <a:gd name="T6" fmla="*/ 2718 w 2718"/>
                <a:gd name="T7" fmla="*/ 0 h 3824"/>
                <a:gd name="T8" fmla="*/ 877 w 2718"/>
                <a:gd name="T9" fmla="*/ 0 h 3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18" h="3824">
                  <a:moveTo>
                    <a:pt x="877" y="0"/>
                  </a:moveTo>
                  <a:lnTo>
                    <a:pt x="0" y="3793"/>
                  </a:lnTo>
                  <a:lnTo>
                    <a:pt x="0" y="3824"/>
                  </a:lnTo>
                  <a:lnTo>
                    <a:pt x="2718" y="0"/>
                  </a:lnTo>
                  <a:lnTo>
                    <a:pt x="877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/>
                </a:gs>
                <a:gs pos="100000">
                  <a:schemeClr val="accent1"/>
                </a:gs>
              </a:gsLst>
              <a:lin ang="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7">
              <a:extLst>
                <a:ext uri="{FF2B5EF4-FFF2-40B4-BE49-F238E27FC236}">
                  <a16:creationId xmlns:a16="http://schemas.microsoft.com/office/drawing/2014/main" id="{CE350F5D-2E26-4E44-B972-A79EA381F0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81175" y="-333375"/>
              <a:ext cx="1897064" cy="2189162"/>
            </a:xfrm>
            <a:custGeom>
              <a:avLst/>
              <a:gdLst>
                <a:gd name="T0" fmla="*/ 0 w 1195"/>
                <a:gd name="T1" fmla="*/ 0 h 1379"/>
                <a:gd name="T2" fmla="*/ 0 w 1195"/>
                <a:gd name="T3" fmla="*/ 1379 h 1379"/>
                <a:gd name="T4" fmla="*/ 1195 w 1195"/>
                <a:gd name="T5" fmla="*/ 0 h 1379"/>
                <a:gd name="T6" fmla="*/ 0 w 1195"/>
                <a:gd name="T7" fmla="*/ 0 h 1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95" h="1379">
                  <a:moveTo>
                    <a:pt x="0" y="0"/>
                  </a:moveTo>
                  <a:lnTo>
                    <a:pt x="0" y="1379"/>
                  </a:lnTo>
                  <a:lnTo>
                    <a:pt x="119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8">
              <a:extLst>
                <a:ext uri="{FF2B5EF4-FFF2-40B4-BE49-F238E27FC236}">
                  <a16:creationId xmlns:a16="http://schemas.microsoft.com/office/drawing/2014/main" id="{F85FAC50-C8C0-469F-92B1-98C89008D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81175" y="-333375"/>
              <a:ext cx="1897063" cy="2189162"/>
            </a:xfrm>
            <a:custGeom>
              <a:avLst/>
              <a:gdLst>
                <a:gd name="T0" fmla="*/ 1176 w 1195"/>
                <a:gd name="T1" fmla="*/ 0 h 1379"/>
                <a:gd name="T2" fmla="*/ 0 w 1195"/>
                <a:gd name="T3" fmla="*/ 1184 h 1379"/>
                <a:gd name="T4" fmla="*/ 0 w 1195"/>
                <a:gd name="T5" fmla="*/ 1379 h 1379"/>
                <a:gd name="T6" fmla="*/ 1195 w 1195"/>
                <a:gd name="T7" fmla="*/ 0 h 1379"/>
                <a:gd name="T8" fmla="*/ 1176 w 1195"/>
                <a:gd name="T9" fmla="*/ 0 h 1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95" h="1379">
                  <a:moveTo>
                    <a:pt x="1176" y="0"/>
                  </a:moveTo>
                  <a:lnTo>
                    <a:pt x="0" y="1184"/>
                  </a:lnTo>
                  <a:lnTo>
                    <a:pt x="0" y="1379"/>
                  </a:lnTo>
                  <a:lnTo>
                    <a:pt x="1195" y="0"/>
                  </a:lnTo>
                  <a:lnTo>
                    <a:pt x="1176" y="0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  <a:alpha val="2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9">
              <a:extLst>
                <a:ext uri="{FF2B5EF4-FFF2-40B4-BE49-F238E27FC236}">
                  <a16:creationId xmlns:a16="http://schemas.microsoft.com/office/drawing/2014/main" id="{8CA3048E-4B22-4DC3-A5D6-4A3868A31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81175" y="-333375"/>
              <a:ext cx="1916113" cy="6040436"/>
            </a:xfrm>
            <a:custGeom>
              <a:avLst/>
              <a:gdLst>
                <a:gd name="T0" fmla="*/ 1195 w 1207"/>
                <a:gd name="T1" fmla="*/ 0 h 3805"/>
                <a:gd name="T2" fmla="*/ 0 w 1207"/>
                <a:gd name="T3" fmla="*/ 1379 h 3805"/>
                <a:gd name="T4" fmla="*/ 0 w 1207"/>
                <a:gd name="T5" fmla="*/ 3805 h 3805"/>
                <a:gd name="T6" fmla="*/ 1207 w 1207"/>
                <a:gd name="T7" fmla="*/ 0 h 3805"/>
                <a:gd name="T8" fmla="*/ 1195 w 1207"/>
                <a:gd name="T9" fmla="*/ 0 h 38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07" h="3805">
                  <a:moveTo>
                    <a:pt x="1195" y="0"/>
                  </a:moveTo>
                  <a:lnTo>
                    <a:pt x="0" y="1379"/>
                  </a:lnTo>
                  <a:lnTo>
                    <a:pt x="0" y="3805"/>
                  </a:lnTo>
                  <a:lnTo>
                    <a:pt x="1207" y="0"/>
                  </a:lnTo>
                  <a:lnTo>
                    <a:pt x="1195" y="0"/>
                  </a:ln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100000">
                  <a:schemeClr val="accent4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10">
              <a:extLst>
                <a:ext uri="{FF2B5EF4-FFF2-40B4-BE49-F238E27FC236}">
                  <a16:creationId xmlns:a16="http://schemas.microsoft.com/office/drawing/2014/main" id="{DEC11DFF-EFCF-4E9F-A5C7-BAC7FE5B8F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81175" y="1301750"/>
              <a:ext cx="1398587" cy="4405312"/>
            </a:xfrm>
            <a:custGeom>
              <a:avLst/>
              <a:gdLst>
                <a:gd name="T0" fmla="*/ 0 w 881"/>
                <a:gd name="T1" fmla="*/ 494 h 2775"/>
                <a:gd name="T2" fmla="*/ 0 w 881"/>
                <a:gd name="T3" fmla="*/ 2775 h 2775"/>
                <a:gd name="T4" fmla="*/ 881 w 881"/>
                <a:gd name="T5" fmla="*/ 0 h 2775"/>
                <a:gd name="T6" fmla="*/ 0 w 881"/>
                <a:gd name="T7" fmla="*/ 494 h 2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81" h="2775">
                  <a:moveTo>
                    <a:pt x="0" y="494"/>
                  </a:moveTo>
                  <a:lnTo>
                    <a:pt x="0" y="2775"/>
                  </a:lnTo>
                  <a:lnTo>
                    <a:pt x="881" y="0"/>
                  </a:lnTo>
                  <a:lnTo>
                    <a:pt x="0" y="494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/>
                </a:gs>
                <a:gs pos="100000">
                  <a:schemeClr val="accent4"/>
                </a:gs>
              </a:gsLst>
              <a:lin ang="1620000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7507804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_Full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E8CACA21-A72F-4920-AA54-3E20921B1B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712402" y="6335762"/>
            <a:ext cx="2062071" cy="254745"/>
          </a:xfrm>
          <a:prstGeom prst="rect">
            <a:avLst/>
          </a:prstGeom>
        </p:spPr>
        <p:txBody>
          <a:bodyPr/>
          <a:lstStyle>
            <a:lvl1pPr algn="l">
              <a:defRPr sz="1200" spc="0" baseline="0">
                <a:solidFill>
                  <a:schemeClr val="bg1">
                    <a:lumMod val="65000"/>
                  </a:schemeClr>
                </a:solidFill>
                <a:effectLst/>
                <a:latin typeface="+mn-lt"/>
              </a:defRPr>
            </a:lvl1pPr>
          </a:lstStyle>
          <a:p>
            <a:r>
              <a:rPr lang="en-US"/>
              <a:t>insertyoururlhere.com</a:t>
            </a:r>
            <a:endParaRPr lang="en-US" dirty="0"/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08C84B09-FAEC-4A75-8886-DC153F75334C}"/>
              </a:ext>
            </a:extLst>
          </p:cNvPr>
          <p:cNvGrpSpPr/>
          <p:nvPr userDrawn="1"/>
        </p:nvGrpSpPr>
        <p:grpSpPr>
          <a:xfrm>
            <a:off x="855518" y="2510"/>
            <a:ext cx="1997364" cy="1405659"/>
            <a:chOff x="1450975" y="-26194"/>
            <a:chExt cx="2197100" cy="1546225"/>
          </a:xfrm>
          <a:solidFill>
            <a:schemeClr val="tx1">
              <a:lumMod val="75000"/>
              <a:lumOff val="25000"/>
              <a:alpha val="10000"/>
            </a:schemeClr>
          </a:solidFill>
        </p:grpSpPr>
        <p:sp>
          <p:nvSpPr>
            <p:cNvPr id="47" name="Freeform 30">
              <a:extLst>
                <a:ext uri="{FF2B5EF4-FFF2-40B4-BE49-F238E27FC236}">
                  <a16:creationId xmlns:a16="http://schemas.microsoft.com/office/drawing/2014/main" id="{8FD86F56-87BC-4766-9BB4-6324531D141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0125" y="-26194"/>
              <a:ext cx="12700" cy="3175"/>
            </a:xfrm>
            <a:custGeom>
              <a:avLst/>
              <a:gdLst>
                <a:gd name="T0" fmla="*/ 0 w 4"/>
                <a:gd name="T1" fmla="*/ 0 h 1"/>
                <a:gd name="T2" fmla="*/ 0 w 4"/>
                <a:gd name="T3" fmla="*/ 1 h 1"/>
                <a:gd name="T4" fmla="*/ 4 w 4"/>
                <a:gd name="T5" fmla="*/ 1 h 1"/>
                <a:gd name="T6" fmla="*/ 4 w 4"/>
                <a:gd name="T7" fmla="*/ 0 h 1"/>
                <a:gd name="T8" fmla="*/ 0 w 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31">
              <a:extLst>
                <a:ext uri="{FF2B5EF4-FFF2-40B4-BE49-F238E27FC236}">
                  <a16:creationId xmlns:a16="http://schemas.microsoft.com/office/drawing/2014/main" id="{62D41CD2-0B48-465B-9761-59D240850B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225" y="-26194"/>
              <a:ext cx="12700" cy="3175"/>
            </a:xfrm>
            <a:custGeom>
              <a:avLst/>
              <a:gdLst>
                <a:gd name="T0" fmla="*/ 4 w 4"/>
                <a:gd name="T1" fmla="*/ 0 h 1"/>
                <a:gd name="T2" fmla="*/ 0 w 4"/>
                <a:gd name="T3" fmla="*/ 0 h 1"/>
                <a:gd name="T4" fmla="*/ 0 w 4"/>
                <a:gd name="T5" fmla="*/ 1 h 1"/>
                <a:gd name="T6" fmla="*/ 4 w 4"/>
                <a:gd name="T7" fmla="*/ 1 h 1"/>
                <a:gd name="T8" fmla="*/ 4 w 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32">
              <a:extLst>
                <a:ext uri="{FF2B5EF4-FFF2-40B4-BE49-F238E27FC236}">
                  <a16:creationId xmlns:a16="http://schemas.microsoft.com/office/drawing/2014/main" id="{9D7D6241-E72C-45D3-9511-3BDF420D5AB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0975" y="-23019"/>
              <a:ext cx="2197100" cy="1543050"/>
            </a:xfrm>
            <a:custGeom>
              <a:avLst/>
              <a:gdLst>
                <a:gd name="T0" fmla="*/ 688 w 692"/>
                <a:gd name="T1" fmla="*/ 140 h 486"/>
                <a:gd name="T2" fmla="*/ 346 w 692"/>
                <a:gd name="T3" fmla="*/ 483 h 486"/>
                <a:gd name="T4" fmla="*/ 3 w 692"/>
                <a:gd name="T5" fmla="*/ 140 h 486"/>
                <a:gd name="T6" fmla="*/ 34 w 692"/>
                <a:gd name="T7" fmla="*/ 0 h 486"/>
                <a:gd name="T8" fmla="*/ 30 w 692"/>
                <a:gd name="T9" fmla="*/ 0 h 486"/>
                <a:gd name="T10" fmla="*/ 0 w 692"/>
                <a:gd name="T11" fmla="*/ 140 h 486"/>
                <a:gd name="T12" fmla="*/ 346 w 692"/>
                <a:gd name="T13" fmla="*/ 486 h 486"/>
                <a:gd name="T14" fmla="*/ 692 w 692"/>
                <a:gd name="T15" fmla="*/ 140 h 486"/>
                <a:gd name="T16" fmla="*/ 662 w 692"/>
                <a:gd name="T17" fmla="*/ 0 h 486"/>
                <a:gd name="T18" fmla="*/ 658 w 692"/>
                <a:gd name="T19" fmla="*/ 0 h 486"/>
                <a:gd name="T20" fmla="*/ 688 w 692"/>
                <a:gd name="T21" fmla="*/ 140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92" h="486">
                  <a:moveTo>
                    <a:pt x="688" y="140"/>
                  </a:moveTo>
                  <a:cubicBezTo>
                    <a:pt x="688" y="329"/>
                    <a:pt x="535" y="483"/>
                    <a:pt x="346" y="483"/>
                  </a:cubicBezTo>
                  <a:cubicBezTo>
                    <a:pt x="157" y="483"/>
                    <a:pt x="3" y="329"/>
                    <a:pt x="3" y="140"/>
                  </a:cubicBezTo>
                  <a:cubicBezTo>
                    <a:pt x="3" y="90"/>
                    <a:pt x="14" y="43"/>
                    <a:pt x="34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11" y="43"/>
                    <a:pt x="0" y="90"/>
                    <a:pt x="0" y="140"/>
                  </a:cubicBezTo>
                  <a:cubicBezTo>
                    <a:pt x="0" y="331"/>
                    <a:pt x="155" y="486"/>
                    <a:pt x="346" y="486"/>
                  </a:cubicBezTo>
                  <a:cubicBezTo>
                    <a:pt x="536" y="486"/>
                    <a:pt x="692" y="331"/>
                    <a:pt x="692" y="140"/>
                  </a:cubicBezTo>
                  <a:cubicBezTo>
                    <a:pt x="692" y="90"/>
                    <a:pt x="681" y="43"/>
                    <a:pt x="662" y="0"/>
                  </a:cubicBezTo>
                  <a:cubicBezTo>
                    <a:pt x="658" y="0"/>
                    <a:pt x="658" y="0"/>
                    <a:pt x="658" y="0"/>
                  </a:cubicBezTo>
                  <a:cubicBezTo>
                    <a:pt x="677" y="43"/>
                    <a:pt x="688" y="90"/>
                    <a:pt x="688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33">
              <a:extLst>
                <a:ext uri="{FF2B5EF4-FFF2-40B4-BE49-F238E27FC236}">
                  <a16:creationId xmlns:a16="http://schemas.microsoft.com/office/drawing/2014/main" id="{5950A7FD-AAE1-4253-8AE1-2B966BBDC88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3925" y="-26194"/>
              <a:ext cx="9525" cy="3175"/>
            </a:xfrm>
            <a:custGeom>
              <a:avLst/>
              <a:gdLst>
                <a:gd name="T0" fmla="*/ 0 w 3"/>
                <a:gd name="T1" fmla="*/ 1 h 1"/>
                <a:gd name="T2" fmla="*/ 3 w 3"/>
                <a:gd name="T3" fmla="*/ 1 h 1"/>
                <a:gd name="T4" fmla="*/ 3 w 3"/>
                <a:gd name="T5" fmla="*/ 0 h 1"/>
                <a:gd name="T6" fmla="*/ 0 w 3"/>
                <a:gd name="T7" fmla="*/ 0 h 1"/>
                <a:gd name="T8" fmla="*/ 0 w 3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34">
              <a:extLst>
                <a:ext uri="{FF2B5EF4-FFF2-40B4-BE49-F238E27FC236}">
                  <a16:creationId xmlns:a16="http://schemas.microsoft.com/office/drawing/2014/main" id="{A2B9865F-376A-4638-B3AA-FA96E16496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2425" y="-26194"/>
              <a:ext cx="12700" cy="3175"/>
            </a:xfrm>
            <a:custGeom>
              <a:avLst/>
              <a:gdLst>
                <a:gd name="T0" fmla="*/ 4 w 4"/>
                <a:gd name="T1" fmla="*/ 1 h 1"/>
                <a:gd name="T2" fmla="*/ 4 w 4"/>
                <a:gd name="T3" fmla="*/ 0 h 1"/>
                <a:gd name="T4" fmla="*/ 1 w 4"/>
                <a:gd name="T5" fmla="*/ 0 h 1"/>
                <a:gd name="T6" fmla="*/ 0 w 4"/>
                <a:gd name="T7" fmla="*/ 1 h 1"/>
                <a:gd name="T8" fmla="*/ 4 w 4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1"/>
                  </a:moveTo>
                  <a:cubicBezTo>
                    <a:pt x="4" y="1"/>
                    <a:pt x="4" y="1"/>
                    <a:pt x="4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35">
              <a:extLst>
                <a:ext uri="{FF2B5EF4-FFF2-40B4-BE49-F238E27FC236}">
                  <a16:creationId xmlns:a16="http://schemas.microsoft.com/office/drawing/2014/main" id="{7C0CAAD9-B35B-48A2-B02F-21ED7215DC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0825" y="-23019"/>
              <a:ext cx="2054225" cy="1473200"/>
            </a:xfrm>
            <a:custGeom>
              <a:avLst/>
              <a:gdLst>
                <a:gd name="T0" fmla="*/ 644 w 647"/>
                <a:gd name="T1" fmla="*/ 140 h 464"/>
                <a:gd name="T2" fmla="*/ 324 w 647"/>
                <a:gd name="T3" fmla="*/ 460 h 464"/>
                <a:gd name="T4" fmla="*/ 4 w 647"/>
                <a:gd name="T5" fmla="*/ 140 h 464"/>
                <a:gd name="T6" fmla="*/ 36 w 647"/>
                <a:gd name="T7" fmla="*/ 0 h 464"/>
                <a:gd name="T8" fmla="*/ 32 w 647"/>
                <a:gd name="T9" fmla="*/ 0 h 464"/>
                <a:gd name="T10" fmla="*/ 0 w 647"/>
                <a:gd name="T11" fmla="*/ 140 h 464"/>
                <a:gd name="T12" fmla="*/ 324 w 647"/>
                <a:gd name="T13" fmla="*/ 464 h 464"/>
                <a:gd name="T14" fmla="*/ 647 w 647"/>
                <a:gd name="T15" fmla="*/ 140 h 464"/>
                <a:gd name="T16" fmla="*/ 615 w 647"/>
                <a:gd name="T17" fmla="*/ 0 h 464"/>
                <a:gd name="T18" fmla="*/ 612 w 647"/>
                <a:gd name="T19" fmla="*/ 0 h 464"/>
                <a:gd name="T20" fmla="*/ 644 w 647"/>
                <a:gd name="T21" fmla="*/ 140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47" h="464">
                  <a:moveTo>
                    <a:pt x="644" y="140"/>
                  </a:moveTo>
                  <a:cubicBezTo>
                    <a:pt x="644" y="317"/>
                    <a:pt x="500" y="460"/>
                    <a:pt x="324" y="460"/>
                  </a:cubicBezTo>
                  <a:cubicBezTo>
                    <a:pt x="147" y="460"/>
                    <a:pt x="4" y="317"/>
                    <a:pt x="4" y="140"/>
                  </a:cubicBezTo>
                  <a:cubicBezTo>
                    <a:pt x="4" y="90"/>
                    <a:pt x="15" y="42"/>
                    <a:pt x="36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12" y="42"/>
                    <a:pt x="0" y="90"/>
                    <a:pt x="0" y="140"/>
                  </a:cubicBezTo>
                  <a:cubicBezTo>
                    <a:pt x="0" y="319"/>
                    <a:pt x="145" y="464"/>
                    <a:pt x="324" y="464"/>
                  </a:cubicBezTo>
                  <a:cubicBezTo>
                    <a:pt x="502" y="464"/>
                    <a:pt x="647" y="319"/>
                    <a:pt x="647" y="140"/>
                  </a:cubicBezTo>
                  <a:cubicBezTo>
                    <a:pt x="647" y="90"/>
                    <a:pt x="636" y="42"/>
                    <a:pt x="615" y="0"/>
                  </a:cubicBezTo>
                  <a:cubicBezTo>
                    <a:pt x="612" y="0"/>
                    <a:pt x="612" y="0"/>
                    <a:pt x="612" y="0"/>
                  </a:cubicBezTo>
                  <a:cubicBezTo>
                    <a:pt x="632" y="42"/>
                    <a:pt x="644" y="90"/>
                    <a:pt x="644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36">
              <a:extLst>
                <a:ext uri="{FF2B5EF4-FFF2-40B4-BE49-F238E27FC236}">
                  <a16:creationId xmlns:a16="http://schemas.microsoft.com/office/drawing/2014/main" id="{B8B8251C-1295-4342-BCC1-B378D183AF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-26194"/>
              <a:ext cx="12700" cy="3175"/>
            </a:xfrm>
            <a:custGeom>
              <a:avLst/>
              <a:gdLst>
                <a:gd name="T0" fmla="*/ 4 w 4"/>
                <a:gd name="T1" fmla="*/ 0 h 1"/>
                <a:gd name="T2" fmla="*/ 1 w 4"/>
                <a:gd name="T3" fmla="*/ 0 h 1"/>
                <a:gd name="T4" fmla="*/ 0 w 4"/>
                <a:gd name="T5" fmla="*/ 1 h 1"/>
                <a:gd name="T6" fmla="*/ 4 w 4"/>
                <a:gd name="T7" fmla="*/ 1 h 1"/>
                <a:gd name="T8" fmla="*/ 4 w 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7">
              <a:extLst>
                <a:ext uri="{FF2B5EF4-FFF2-40B4-BE49-F238E27FC236}">
                  <a16:creationId xmlns:a16="http://schemas.microsoft.com/office/drawing/2014/main" id="{5093996E-53D2-4A3B-BE91-71EBD6AC6524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4550" y="-26194"/>
              <a:ext cx="12700" cy="3175"/>
            </a:xfrm>
            <a:custGeom>
              <a:avLst/>
              <a:gdLst>
                <a:gd name="T0" fmla="*/ 0 w 4"/>
                <a:gd name="T1" fmla="*/ 0 h 1"/>
                <a:gd name="T2" fmla="*/ 1 w 4"/>
                <a:gd name="T3" fmla="*/ 1 h 1"/>
                <a:gd name="T4" fmla="*/ 4 w 4"/>
                <a:gd name="T5" fmla="*/ 1 h 1"/>
                <a:gd name="T6" fmla="*/ 4 w 4"/>
                <a:gd name="T7" fmla="*/ 0 h 1"/>
                <a:gd name="T8" fmla="*/ 0 w 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0" y="0"/>
                  </a:moveTo>
                  <a:cubicBezTo>
                    <a:pt x="0" y="1"/>
                    <a:pt x="1" y="1"/>
                    <a:pt x="1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8">
              <a:extLst>
                <a:ext uri="{FF2B5EF4-FFF2-40B4-BE49-F238E27FC236}">
                  <a16:creationId xmlns:a16="http://schemas.microsoft.com/office/drawing/2014/main" id="{3E187798-6D30-447C-A02A-C4C14ABB3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0675" y="-23019"/>
              <a:ext cx="1917700" cy="1403350"/>
            </a:xfrm>
            <a:custGeom>
              <a:avLst/>
              <a:gdLst>
                <a:gd name="T0" fmla="*/ 601 w 604"/>
                <a:gd name="T1" fmla="*/ 140 h 442"/>
                <a:gd name="T2" fmla="*/ 302 w 604"/>
                <a:gd name="T3" fmla="*/ 439 h 442"/>
                <a:gd name="T4" fmla="*/ 3 w 604"/>
                <a:gd name="T5" fmla="*/ 140 h 442"/>
                <a:gd name="T6" fmla="*/ 38 w 604"/>
                <a:gd name="T7" fmla="*/ 0 h 442"/>
                <a:gd name="T8" fmla="*/ 34 w 604"/>
                <a:gd name="T9" fmla="*/ 0 h 442"/>
                <a:gd name="T10" fmla="*/ 0 w 604"/>
                <a:gd name="T11" fmla="*/ 140 h 442"/>
                <a:gd name="T12" fmla="*/ 302 w 604"/>
                <a:gd name="T13" fmla="*/ 442 h 442"/>
                <a:gd name="T14" fmla="*/ 604 w 604"/>
                <a:gd name="T15" fmla="*/ 140 h 442"/>
                <a:gd name="T16" fmla="*/ 569 w 604"/>
                <a:gd name="T17" fmla="*/ 0 h 442"/>
                <a:gd name="T18" fmla="*/ 566 w 604"/>
                <a:gd name="T19" fmla="*/ 0 h 442"/>
                <a:gd name="T20" fmla="*/ 601 w 604"/>
                <a:gd name="T21" fmla="*/ 14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04" h="442">
                  <a:moveTo>
                    <a:pt x="601" y="140"/>
                  </a:moveTo>
                  <a:cubicBezTo>
                    <a:pt x="601" y="305"/>
                    <a:pt x="467" y="439"/>
                    <a:pt x="302" y="439"/>
                  </a:cubicBezTo>
                  <a:cubicBezTo>
                    <a:pt x="137" y="439"/>
                    <a:pt x="3" y="305"/>
                    <a:pt x="3" y="140"/>
                  </a:cubicBezTo>
                  <a:cubicBezTo>
                    <a:pt x="3" y="89"/>
                    <a:pt x="16" y="42"/>
                    <a:pt x="38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12" y="42"/>
                    <a:pt x="0" y="90"/>
                    <a:pt x="0" y="140"/>
                  </a:cubicBezTo>
                  <a:cubicBezTo>
                    <a:pt x="0" y="307"/>
                    <a:pt x="135" y="442"/>
                    <a:pt x="302" y="442"/>
                  </a:cubicBezTo>
                  <a:cubicBezTo>
                    <a:pt x="468" y="442"/>
                    <a:pt x="604" y="307"/>
                    <a:pt x="604" y="140"/>
                  </a:cubicBezTo>
                  <a:cubicBezTo>
                    <a:pt x="604" y="90"/>
                    <a:pt x="591" y="42"/>
                    <a:pt x="569" y="0"/>
                  </a:cubicBezTo>
                  <a:cubicBezTo>
                    <a:pt x="566" y="0"/>
                    <a:pt x="566" y="0"/>
                    <a:pt x="566" y="0"/>
                  </a:cubicBezTo>
                  <a:cubicBezTo>
                    <a:pt x="588" y="42"/>
                    <a:pt x="601" y="89"/>
                    <a:pt x="601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39">
              <a:extLst>
                <a:ext uri="{FF2B5EF4-FFF2-40B4-BE49-F238E27FC236}">
                  <a16:creationId xmlns:a16="http://schemas.microsoft.com/office/drawing/2014/main" id="{B250A47E-206F-457B-8000-99DFD78A17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1175" y="-26194"/>
              <a:ext cx="12700" cy="3175"/>
            </a:xfrm>
            <a:custGeom>
              <a:avLst/>
              <a:gdLst>
                <a:gd name="T0" fmla="*/ 4 w 4"/>
                <a:gd name="T1" fmla="*/ 1 h 1"/>
                <a:gd name="T2" fmla="*/ 4 w 4"/>
                <a:gd name="T3" fmla="*/ 0 h 1"/>
                <a:gd name="T4" fmla="*/ 0 w 4"/>
                <a:gd name="T5" fmla="*/ 0 h 1"/>
                <a:gd name="T6" fmla="*/ 0 w 4"/>
                <a:gd name="T7" fmla="*/ 1 h 1"/>
                <a:gd name="T8" fmla="*/ 4 w 4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1"/>
                  </a:moveTo>
                  <a:cubicBezTo>
                    <a:pt x="4" y="1"/>
                    <a:pt x="4" y="1"/>
                    <a:pt x="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40">
              <a:extLst>
                <a:ext uri="{FF2B5EF4-FFF2-40B4-BE49-F238E27FC236}">
                  <a16:creationId xmlns:a16="http://schemas.microsoft.com/office/drawing/2014/main" id="{54FC95A4-DC3D-4300-AFC9-9F8FCF54C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5175" y="-26194"/>
              <a:ext cx="12700" cy="3175"/>
            </a:xfrm>
            <a:custGeom>
              <a:avLst/>
              <a:gdLst>
                <a:gd name="T0" fmla="*/ 0 w 4"/>
                <a:gd name="T1" fmla="*/ 1 h 1"/>
                <a:gd name="T2" fmla="*/ 4 w 4"/>
                <a:gd name="T3" fmla="*/ 1 h 1"/>
                <a:gd name="T4" fmla="*/ 3 w 4"/>
                <a:gd name="T5" fmla="*/ 0 h 1"/>
                <a:gd name="T6" fmla="*/ 0 w 4"/>
                <a:gd name="T7" fmla="*/ 0 h 1"/>
                <a:gd name="T8" fmla="*/ 0 w 4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0" y="1"/>
                  </a:moveTo>
                  <a:cubicBezTo>
                    <a:pt x="4" y="1"/>
                    <a:pt x="4" y="1"/>
                    <a:pt x="4" y="1"/>
                  </a:cubicBezTo>
                  <a:cubicBezTo>
                    <a:pt x="3" y="1"/>
                    <a:pt x="3" y="1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41">
              <a:extLst>
                <a:ext uri="{FF2B5EF4-FFF2-40B4-BE49-F238E27FC236}">
                  <a16:creationId xmlns:a16="http://schemas.microsoft.com/office/drawing/2014/main" id="{BDD3DF79-B444-4FD5-8484-9A4802AA20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0525" y="-23019"/>
              <a:ext cx="1774825" cy="1333500"/>
            </a:xfrm>
            <a:custGeom>
              <a:avLst/>
              <a:gdLst>
                <a:gd name="T0" fmla="*/ 556 w 559"/>
                <a:gd name="T1" fmla="*/ 140 h 420"/>
                <a:gd name="T2" fmla="*/ 280 w 559"/>
                <a:gd name="T3" fmla="*/ 416 h 420"/>
                <a:gd name="T4" fmla="*/ 4 w 559"/>
                <a:gd name="T5" fmla="*/ 140 h 420"/>
                <a:gd name="T6" fmla="*/ 42 w 559"/>
                <a:gd name="T7" fmla="*/ 0 h 420"/>
                <a:gd name="T8" fmla="*/ 38 w 559"/>
                <a:gd name="T9" fmla="*/ 0 h 420"/>
                <a:gd name="T10" fmla="*/ 0 w 559"/>
                <a:gd name="T11" fmla="*/ 140 h 420"/>
                <a:gd name="T12" fmla="*/ 280 w 559"/>
                <a:gd name="T13" fmla="*/ 420 h 420"/>
                <a:gd name="T14" fmla="*/ 559 w 559"/>
                <a:gd name="T15" fmla="*/ 140 h 420"/>
                <a:gd name="T16" fmla="*/ 522 w 559"/>
                <a:gd name="T17" fmla="*/ 0 h 420"/>
                <a:gd name="T18" fmla="*/ 518 w 559"/>
                <a:gd name="T19" fmla="*/ 0 h 420"/>
                <a:gd name="T20" fmla="*/ 556 w 559"/>
                <a:gd name="T21" fmla="*/ 140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59" h="420">
                  <a:moveTo>
                    <a:pt x="556" y="140"/>
                  </a:moveTo>
                  <a:cubicBezTo>
                    <a:pt x="556" y="293"/>
                    <a:pt x="432" y="416"/>
                    <a:pt x="280" y="416"/>
                  </a:cubicBezTo>
                  <a:cubicBezTo>
                    <a:pt x="128" y="416"/>
                    <a:pt x="4" y="293"/>
                    <a:pt x="4" y="140"/>
                  </a:cubicBezTo>
                  <a:cubicBezTo>
                    <a:pt x="4" y="89"/>
                    <a:pt x="18" y="41"/>
                    <a:pt x="42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14" y="41"/>
                    <a:pt x="0" y="89"/>
                    <a:pt x="0" y="140"/>
                  </a:cubicBezTo>
                  <a:cubicBezTo>
                    <a:pt x="0" y="294"/>
                    <a:pt x="126" y="420"/>
                    <a:pt x="280" y="420"/>
                  </a:cubicBezTo>
                  <a:cubicBezTo>
                    <a:pt x="434" y="420"/>
                    <a:pt x="559" y="294"/>
                    <a:pt x="559" y="140"/>
                  </a:cubicBezTo>
                  <a:cubicBezTo>
                    <a:pt x="559" y="89"/>
                    <a:pt x="546" y="41"/>
                    <a:pt x="522" y="0"/>
                  </a:cubicBezTo>
                  <a:cubicBezTo>
                    <a:pt x="518" y="0"/>
                    <a:pt x="518" y="0"/>
                    <a:pt x="518" y="0"/>
                  </a:cubicBezTo>
                  <a:cubicBezTo>
                    <a:pt x="542" y="41"/>
                    <a:pt x="556" y="89"/>
                    <a:pt x="556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42">
              <a:extLst>
                <a:ext uri="{FF2B5EF4-FFF2-40B4-BE49-F238E27FC236}">
                  <a16:creationId xmlns:a16="http://schemas.microsoft.com/office/drawing/2014/main" id="{91E2A178-552E-476F-AEDA-F519B4623B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4200" y="-26194"/>
              <a:ext cx="12700" cy="3175"/>
            </a:xfrm>
            <a:custGeom>
              <a:avLst/>
              <a:gdLst>
                <a:gd name="T0" fmla="*/ 4 w 4"/>
                <a:gd name="T1" fmla="*/ 0 h 1"/>
                <a:gd name="T2" fmla="*/ 0 w 4"/>
                <a:gd name="T3" fmla="*/ 0 h 1"/>
                <a:gd name="T4" fmla="*/ 0 w 4"/>
                <a:gd name="T5" fmla="*/ 1 h 1"/>
                <a:gd name="T6" fmla="*/ 4 w 4"/>
                <a:gd name="T7" fmla="*/ 1 h 1"/>
                <a:gd name="T8" fmla="*/ 4 w 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43">
              <a:extLst>
                <a:ext uri="{FF2B5EF4-FFF2-40B4-BE49-F238E27FC236}">
                  <a16:creationId xmlns:a16="http://schemas.microsoft.com/office/drawing/2014/main" id="{4B8EF77E-47F9-40B2-BF83-77BF5EC2A1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8975" y="-26194"/>
              <a:ext cx="15875" cy="3175"/>
            </a:xfrm>
            <a:custGeom>
              <a:avLst/>
              <a:gdLst>
                <a:gd name="T0" fmla="*/ 0 w 5"/>
                <a:gd name="T1" fmla="*/ 0 h 1"/>
                <a:gd name="T2" fmla="*/ 1 w 5"/>
                <a:gd name="T3" fmla="*/ 1 h 1"/>
                <a:gd name="T4" fmla="*/ 5 w 5"/>
                <a:gd name="T5" fmla="*/ 1 h 1"/>
                <a:gd name="T6" fmla="*/ 4 w 5"/>
                <a:gd name="T7" fmla="*/ 0 h 1"/>
                <a:gd name="T8" fmla="*/ 0 w 5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">
                  <a:moveTo>
                    <a:pt x="0" y="0"/>
                  </a:moveTo>
                  <a:cubicBezTo>
                    <a:pt x="0" y="1"/>
                    <a:pt x="1" y="1"/>
                    <a:pt x="1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4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44">
              <a:extLst>
                <a:ext uri="{FF2B5EF4-FFF2-40B4-BE49-F238E27FC236}">
                  <a16:creationId xmlns:a16="http://schemas.microsoft.com/office/drawing/2014/main" id="{E6041A9A-462A-44C0-BB57-33EBCF6FB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4025" y="-23019"/>
              <a:ext cx="1651000" cy="1270000"/>
            </a:xfrm>
            <a:custGeom>
              <a:avLst/>
              <a:gdLst>
                <a:gd name="T0" fmla="*/ 517 w 520"/>
                <a:gd name="T1" fmla="*/ 140 h 400"/>
                <a:gd name="T2" fmla="*/ 260 w 520"/>
                <a:gd name="T3" fmla="*/ 397 h 400"/>
                <a:gd name="T4" fmla="*/ 3 w 520"/>
                <a:gd name="T5" fmla="*/ 140 h 400"/>
                <a:gd name="T6" fmla="*/ 45 w 520"/>
                <a:gd name="T7" fmla="*/ 0 h 400"/>
                <a:gd name="T8" fmla="*/ 41 w 520"/>
                <a:gd name="T9" fmla="*/ 0 h 400"/>
                <a:gd name="T10" fmla="*/ 0 w 520"/>
                <a:gd name="T11" fmla="*/ 140 h 400"/>
                <a:gd name="T12" fmla="*/ 260 w 520"/>
                <a:gd name="T13" fmla="*/ 400 h 400"/>
                <a:gd name="T14" fmla="*/ 520 w 520"/>
                <a:gd name="T15" fmla="*/ 140 h 400"/>
                <a:gd name="T16" fmla="*/ 479 w 520"/>
                <a:gd name="T17" fmla="*/ 0 h 400"/>
                <a:gd name="T18" fmla="*/ 475 w 520"/>
                <a:gd name="T19" fmla="*/ 0 h 400"/>
                <a:gd name="T20" fmla="*/ 517 w 520"/>
                <a:gd name="T21" fmla="*/ 14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20" h="400">
                  <a:moveTo>
                    <a:pt x="517" y="140"/>
                  </a:moveTo>
                  <a:cubicBezTo>
                    <a:pt x="517" y="282"/>
                    <a:pt x="401" y="397"/>
                    <a:pt x="260" y="397"/>
                  </a:cubicBezTo>
                  <a:cubicBezTo>
                    <a:pt x="118" y="397"/>
                    <a:pt x="3" y="282"/>
                    <a:pt x="3" y="140"/>
                  </a:cubicBezTo>
                  <a:cubicBezTo>
                    <a:pt x="3" y="88"/>
                    <a:pt x="19" y="40"/>
                    <a:pt x="45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15" y="40"/>
                    <a:pt x="0" y="89"/>
                    <a:pt x="0" y="140"/>
                  </a:cubicBezTo>
                  <a:cubicBezTo>
                    <a:pt x="0" y="284"/>
                    <a:pt x="117" y="400"/>
                    <a:pt x="260" y="400"/>
                  </a:cubicBezTo>
                  <a:cubicBezTo>
                    <a:pt x="403" y="400"/>
                    <a:pt x="520" y="284"/>
                    <a:pt x="520" y="140"/>
                  </a:cubicBezTo>
                  <a:cubicBezTo>
                    <a:pt x="520" y="89"/>
                    <a:pt x="505" y="40"/>
                    <a:pt x="479" y="0"/>
                  </a:cubicBezTo>
                  <a:cubicBezTo>
                    <a:pt x="475" y="0"/>
                    <a:pt x="475" y="0"/>
                    <a:pt x="475" y="0"/>
                  </a:cubicBezTo>
                  <a:cubicBezTo>
                    <a:pt x="501" y="40"/>
                    <a:pt x="517" y="88"/>
                    <a:pt x="517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310F98F8-496B-4E28-8835-0DDC8B332383}"/>
              </a:ext>
            </a:extLst>
          </p:cNvPr>
          <p:cNvGrpSpPr/>
          <p:nvPr userDrawn="1"/>
        </p:nvGrpSpPr>
        <p:grpSpPr>
          <a:xfrm>
            <a:off x="-13334" y="125"/>
            <a:ext cx="3924023" cy="2346065"/>
            <a:chOff x="-3175" y="-26194"/>
            <a:chExt cx="5222875" cy="3122613"/>
          </a:xfrm>
          <a:solidFill>
            <a:schemeClr val="tx1">
              <a:lumMod val="75000"/>
              <a:lumOff val="25000"/>
              <a:alpha val="10000"/>
            </a:schemeClr>
          </a:solidFill>
        </p:grpSpPr>
        <p:sp>
          <p:nvSpPr>
            <p:cNvPr id="63" name="Freeform 45">
              <a:extLst>
                <a:ext uri="{FF2B5EF4-FFF2-40B4-BE49-F238E27FC236}">
                  <a16:creationId xmlns:a16="http://schemas.microsoft.com/office/drawing/2014/main" id="{7A571FAD-0FE9-4DEE-A362-A390602AA4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6200" y="-26194"/>
              <a:ext cx="25400" cy="3175"/>
            </a:xfrm>
            <a:custGeom>
              <a:avLst/>
              <a:gdLst>
                <a:gd name="T0" fmla="*/ 0 w 8"/>
                <a:gd name="T1" fmla="*/ 1 h 1"/>
                <a:gd name="T2" fmla="*/ 8 w 8"/>
                <a:gd name="T3" fmla="*/ 1 h 1"/>
                <a:gd name="T4" fmla="*/ 8 w 8"/>
                <a:gd name="T5" fmla="*/ 0 h 1"/>
                <a:gd name="T6" fmla="*/ 0 w 8"/>
                <a:gd name="T7" fmla="*/ 0 h 1"/>
                <a:gd name="T8" fmla="*/ 0 w 8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0" y="1"/>
                  </a:move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46">
              <a:extLst>
                <a:ext uri="{FF2B5EF4-FFF2-40B4-BE49-F238E27FC236}">
                  <a16:creationId xmlns:a16="http://schemas.microsoft.com/office/drawing/2014/main" id="{BD56B81E-C723-47B1-962F-AF03A08CDBBB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75" y="1126331"/>
              <a:ext cx="25400" cy="168275"/>
            </a:xfrm>
            <a:custGeom>
              <a:avLst/>
              <a:gdLst>
                <a:gd name="T0" fmla="*/ 8 w 8"/>
                <a:gd name="T1" fmla="*/ 27 h 53"/>
                <a:gd name="T2" fmla="*/ 0 w 8"/>
                <a:gd name="T3" fmla="*/ 0 h 53"/>
                <a:gd name="T4" fmla="*/ 0 w 8"/>
                <a:gd name="T5" fmla="*/ 28 h 53"/>
                <a:gd name="T6" fmla="*/ 8 w 8"/>
                <a:gd name="T7" fmla="*/ 53 h 53"/>
                <a:gd name="T8" fmla="*/ 8 w 8"/>
                <a:gd name="T9" fmla="*/ 2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3">
                  <a:moveTo>
                    <a:pt x="8" y="27"/>
                  </a:moveTo>
                  <a:cubicBezTo>
                    <a:pt x="6" y="18"/>
                    <a:pt x="3" y="9"/>
                    <a:pt x="0" y="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3" y="36"/>
                    <a:pt x="6" y="44"/>
                    <a:pt x="8" y="53"/>
                  </a:cubicBezTo>
                  <a:lnTo>
                    <a:pt x="8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47">
              <a:extLst>
                <a:ext uri="{FF2B5EF4-FFF2-40B4-BE49-F238E27FC236}">
                  <a16:creationId xmlns:a16="http://schemas.microsoft.com/office/drawing/2014/main" id="{75F0A97D-03D6-4CD6-8F6E-007EED662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25" y="-23019"/>
              <a:ext cx="5197475" cy="3119438"/>
            </a:xfrm>
            <a:custGeom>
              <a:avLst/>
              <a:gdLst>
                <a:gd name="T0" fmla="*/ 1629 w 1637"/>
                <a:gd name="T1" fmla="*/ 140 h 982"/>
                <a:gd name="T2" fmla="*/ 796 w 1637"/>
                <a:gd name="T3" fmla="*/ 974 h 982"/>
                <a:gd name="T4" fmla="*/ 0 w 1637"/>
                <a:gd name="T5" fmla="*/ 389 h 982"/>
                <a:gd name="T6" fmla="*/ 0 w 1637"/>
                <a:gd name="T7" fmla="*/ 415 h 982"/>
                <a:gd name="T8" fmla="*/ 796 w 1637"/>
                <a:gd name="T9" fmla="*/ 982 h 982"/>
                <a:gd name="T10" fmla="*/ 1637 w 1637"/>
                <a:gd name="T11" fmla="*/ 140 h 982"/>
                <a:gd name="T12" fmla="*/ 1625 w 1637"/>
                <a:gd name="T13" fmla="*/ 0 h 982"/>
                <a:gd name="T14" fmla="*/ 1617 w 1637"/>
                <a:gd name="T15" fmla="*/ 0 h 982"/>
                <a:gd name="T16" fmla="*/ 1629 w 1637"/>
                <a:gd name="T17" fmla="*/ 140 h 9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37" h="982">
                  <a:moveTo>
                    <a:pt x="1629" y="140"/>
                  </a:moveTo>
                  <a:cubicBezTo>
                    <a:pt x="1629" y="600"/>
                    <a:pt x="1255" y="974"/>
                    <a:pt x="796" y="974"/>
                  </a:cubicBezTo>
                  <a:cubicBezTo>
                    <a:pt x="423" y="974"/>
                    <a:pt x="107" y="728"/>
                    <a:pt x="0" y="389"/>
                  </a:cubicBezTo>
                  <a:cubicBezTo>
                    <a:pt x="0" y="415"/>
                    <a:pt x="0" y="415"/>
                    <a:pt x="0" y="415"/>
                  </a:cubicBezTo>
                  <a:cubicBezTo>
                    <a:pt x="115" y="744"/>
                    <a:pt x="428" y="982"/>
                    <a:pt x="796" y="982"/>
                  </a:cubicBezTo>
                  <a:cubicBezTo>
                    <a:pt x="1260" y="982"/>
                    <a:pt x="1637" y="604"/>
                    <a:pt x="1637" y="140"/>
                  </a:cubicBezTo>
                  <a:cubicBezTo>
                    <a:pt x="1637" y="92"/>
                    <a:pt x="1633" y="45"/>
                    <a:pt x="1625" y="0"/>
                  </a:cubicBezTo>
                  <a:cubicBezTo>
                    <a:pt x="1617" y="0"/>
                    <a:pt x="1617" y="0"/>
                    <a:pt x="1617" y="0"/>
                  </a:cubicBezTo>
                  <a:cubicBezTo>
                    <a:pt x="1625" y="45"/>
                    <a:pt x="1629" y="92"/>
                    <a:pt x="1629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48">
              <a:extLst>
                <a:ext uri="{FF2B5EF4-FFF2-40B4-BE49-F238E27FC236}">
                  <a16:creationId xmlns:a16="http://schemas.microsoft.com/office/drawing/2014/main" id="{B5E4596F-2CF7-4E02-B395-9451BEF484D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4750" y="-26194"/>
              <a:ext cx="25400" cy="3175"/>
            </a:xfrm>
            <a:custGeom>
              <a:avLst/>
              <a:gdLst>
                <a:gd name="T0" fmla="*/ 0 w 8"/>
                <a:gd name="T1" fmla="*/ 0 h 1"/>
                <a:gd name="T2" fmla="*/ 0 w 8"/>
                <a:gd name="T3" fmla="*/ 1 h 1"/>
                <a:gd name="T4" fmla="*/ 8 w 8"/>
                <a:gd name="T5" fmla="*/ 1 h 1"/>
                <a:gd name="T6" fmla="*/ 8 w 8"/>
                <a:gd name="T7" fmla="*/ 0 h 1"/>
                <a:gd name="T8" fmla="*/ 0 w 8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49">
              <a:extLst>
                <a:ext uri="{FF2B5EF4-FFF2-40B4-BE49-F238E27FC236}">
                  <a16:creationId xmlns:a16="http://schemas.microsoft.com/office/drawing/2014/main" id="{0FE72423-3B99-46F4-9BEC-3964A003FC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8900" y="-26194"/>
              <a:ext cx="25400" cy="3175"/>
            </a:xfrm>
            <a:custGeom>
              <a:avLst/>
              <a:gdLst>
                <a:gd name="T0" fmla="*/ 8 w 8"/>
                <a:gd name="T1" fmla="*/ 0 h 1"/>
                <a:gd name="T2" fmla="*/ 0 w 8"/>
                <a:gd name="T3" fmla="*/ 0 h 1"/>
                <a:gd name="T4" fmla="*/ 0 w 8"/>
                <a:gd name="T5" fmla="*/ 1 h 1"/>
                <a:gd name="T6" fmla="*/ 8 w 8"/>
                <a:gd name="T7" fmla="*/ 1 h 1"/>
                <a:gd name="T8" fmla="*/ 8 w 8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50">
              <a:extLst>
                <a:ext uri="{FF2B5EF4-FFF2-40B4-BE49-F238E27FC236}">
                  <a16:creationId xmlns:a16="http://schemas.microsoft.com/office/drawing/2014/main" id="{89BB5F30-C1E8-4F42-8C78-98CF487E2E4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25" y="-23019"/>
              <a:ext cx="5003800" cy="2947988"/>
            </a:xfrm>
            <a:custGeom>
              <a:avLst/>
              <a:gdLst>
                <a:gd name="T0" fmla="*/ 1568 w 1576"/>
                <a:gd name="T1" fmla="*/ 140 h 928"/>
                <a:gd name="T2" fmla="*/ 788 w 1576"/>
                <a:gd name="T3" fmla="*/ 920 h 928"/>
                <a:gd name="T4" fmla="*/ 8 w 1576"/>
                <a:gd name="T5" fmla="*/ 140 h 928"/>
                <a:gd name="T6" fmla="*/ 21 w 1576"/>
                <a:gd name="T7" fmla="*/ 0 h 928"/>
                <a:gd name="T8" fmla="*/ 13 w 1576"/>
                <a:gd name="T9" fmla="*/ 0 h 928"/>
                <a:gd name="T10" fmla="*/ 0 w 1576"/>
                <a:gd name="T11" fmla="*/ 140 h 928"/>
                <a:gd name="T12" fmla="*/ 788 w 1576"/>
                <a:gd name="T13" fmla="*/ 928 h 928"/>
                <a:gd name="T14" fmla="*/ 1576 w 1576"/>
                <a:gd name="T15" fmla="*/ 140 h 928"/>
                <a:gd name="T16" fmla="*/ 1563 w 1576"/>
                <a:gd name="T17" fmla="*/ 0 h 928"/>
                <a:gd name="T18" fmla="*/ 1555 w 1576"/>
                <a:gd name="T19" fmla="*/ 0 h 928"/>
                <a:gd name="T20" fmla="*/ 1568 w 1576"/>
                <a:gd name="T21" fmla="*/ 140 h 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76" h="928">
                  <a:moveTo>
                    <a:pt x="1568" y="140"/>
                  </a:moveTo>
                  <a:cubicBezTo>
                    <a:pt x="1568" y="570"/>
                    <a:pt x="1218" y="920"/>
                    <a:pt x="788" y="920"/>
                  </a:cubicBezTo>
                  <a:cubicBezTo>
                    <a:pt x="358" y="920"/>
                    <a:pt x="8" y="570"/>
                    <a:pt x="8" y="140"/>
                  </a:cubicBezTo>
                  <a:cubicBezTo>
                    <a:pt x="8" y="92"/>
                    <a:pt x="13" y="45"/>
                    <a:pt x="21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4" y="45"/>
                    <a:pt x="0" y="92"/>
                    <a:pt x="0" y="140"/>
                  </a:cubicBezTo>
                  <a:cubicBezTo>
                    <a:pt x="0" y="575"/>
                    <a:pt x="354" y="928"/>
                    <a:pt x="788" y="928"/>
                  </a:cubicBezTo>
                  <a:cubicBezTo>
                    <a:pt x="1222" y="928"/>
                    <a:pt x="1576" y="575"/>
                    <a:pt x="1576" y="140"/>
                  </a:cubicBezTo>
                  <a:cubicBezTo>
                    <a:pt x="1576" y="92"/>
                    <a:pt x="1571" y="45"/>
                    <a:pt x="1563" y="0"/>
                  </a:cubicBezTo>
                  <a:cubicBezTo>
                    <a:pt x="1555" y="0"/>
                    <a:pt x="1555" y="0"/>
                    <a:pt x="1555" y="0"/>
                  </a:cubicBezTo>
                  <a:cubicBezTo>
                    <a:pt x="1563" y="45"/>
                    <a:pt x="1568" y="92"/>
                    <a:pt x="1568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51">
              <a:extLst>
                <a:ext uri="{FF2B5EF4-FFF2-40B4-BE49-F238E27FC236}">
                  <a16:creationId xmlns:a16="http://schemas.microsoft.com/office/drawing/2014/main" id="{EA17D0A7-E313-41A0-98CC-2E2867628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175" y="-26194"/>
              <a:ext cx="25400" cy="3175"/>
            </a:xfrm>
            <a:custGeom>
              <a:avLst/>
              <a:gdLst>
                <a:gd name="T0" fmla="*/ 8 w 8"/>
                <a:gd name="T1" fmla="*/ 1 h 1"/>
                <a:gd name="T2" fmla="*/ 8 w 8"/>
                <a:gd name="T3" fmla="*/ 0 h 1"/>
                <a:gd name="T4" fmla="*/ 0 w 8"/>
                <a:gd name="T5" fmla="*/ 0 h 1"/>
                <a:gd name="T6" fmla="*/ 0 w 8"/>
                <a:gd name="T7" fmla="*/ 1 h 1"/>
                <a:gd name="T8" fmla="*/ 8 w 8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8" y="1"/>
                  </a:moveTo>
                  <a:cubicBezTo>
                    <a:pt x="8" y="1"/>
                    <a:pt x="8" y="1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8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52">
              <a:extLst>
                <a:ext uri="{FF2B5EF4-FFF2-40B4-BE49-F238E27FC236}">
                  <a16:creationId xmlns:a16="http://schemas.microsoft.com/office/drawing/2014/main" id="{410B8D16-DFAA-44DB-9F8C-DB5663839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6475" y="-26194"/>
              <a:ext cx="25400" cy="3175"/>
            </a:xfrm>
            <a:custGeom>
              <a:avLst/>
              <a:gdLst>
                <a:gd name="T0" fmla="*/ 0 w 8"/>
                <a:gd name="T1" fmla="*/ 1 h 1"/>
                <a:gd name="T2" fmla="*/ 8 w 8"/>
                <a:gd name="T3" fmla="*/ 1 h 1"/>
                <a:gd name="T4" fmla="*/ 8 w 8"/>
                <a:gd name="T5" fmla="*/ 0 h 1"/>
                <a:gd name="T6" fmla="*/ 0 w 8"/>
                <a:gd name="T7" fmla="*/ 0 h 1"/>
                <a:gd name="T8" fmla="*/ 0 w 8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0" y="1"/>
                  </a:move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53">
              <a:extLst>
                <a:ext uri="{FF2B5EF4-FFF2-40B4-BE49-F238E27FC236}">
                  <a16:creationId xmlns:a16="http://schemas.microsoft.com/office/drawing/2014/main" id="{5914C65B-B85B-439A-AAA5-5C61AD640C5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900" y="-23019"/>
              <a:ext cx="4667250" cy="2782888"/>
            </a:xfrm>
            <a:custGeom>
              <a:avLst/>
              <a:gdLst>
                <a:gd name="T0" fmla="*/ 1462 w 1470"/>
                <a:gd name="T1" fmla="*/ 140 h 876"/>
                <a:gd name="T2" fmla="*/ 735 w 1470"/>
                <a:gd name="T3" fmla="*/ 868 h 876"/>
                <a:gd name="T4" fmla="*/ 7 w 1470"/>
                <a:gd name="T5" fmla="*/ 140 h 876"/>
                <a:gd name="T6" fmla="*/ 21 w 1470"/>
                <a:gd name="T7" fmla="*/ 0 h 876"/>
                <a:gd name="T8" fmla="*/ 13 w 1470"/>
                <a:gd name="T9" fmla="*/ 0 h 876"/>
                <a:gd name="T10" fmla="*/ 0 w 1470"/>
                <a:gd name="T11" fmla="*/ 140 h 876"/>
                <a:gd name="T12" fmla="*/ 735 w 1470"/>
                <a:gd name="T13" fmla="*/ 876 h 876"/>
                <a:gd name="T14" fmla="*/ 1470 w 1470"/>
                <a:gd name="T15" fmla="*/ 140 h 876"/>
                <a:gd name="T16" fmla="*/ 1457 w 1470"/>
                <a:gd name="T17" fmla="*/ 0 h 876"/>
                <a:gd name="T18" fmla="*/ 1449 w 1470"/>
                <a:gd name="T19" fmla="*/ 0 h 876"/>
                <a:gd name="T20" fmla="*/ 1462 w 1470"/>
                <a:gd name="T21" fmla="*/ 140 h 8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0" h="876">
                  <a:moveTo>
                    <a:pt x="1462" y="140"/>
                  </a:moveTo>
                  <a:cubicBezTo>
                    <a:pt x="1462" y="541"/>
                    <a:pt x="1136" y="868"/>
                    <a:pt x="735" y="868"/>
                  </a:cubicBezTo>
                  <a:cubicBezTo>
                    <a:pt x="334" y="868"/>
                    <a:pt x="7" y="541"/>
                    <a:pt x="7" y="140"/>
                  </a:cubicBezTo>
                  <a:cubicBezTo>
                    <a:pt x="7" y="92"/>
                    <a:pt x="12" y="45"/>
                    <a:pt x="21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4" y="45"/>
                    <a:pt x="0" y="92"/>
                    <a:pt x="0" y="140"/>
                  </a:cubicBezTo>
                  <a:cubicBezTo>
                    <a:pt x="0" y="546"/>
                    <a:pt x="329" y="876"/>
                    <a:pt x="735" y="876"/>
                  </a:cubicBezTo>
                  <a:cubicBezTo>
                    <a:pt x="1140" y="876"/>
                    <a:pt x="1470" y="546"/>
                    <a:pt x="1470" y="140"/>
                  </a:cubicBezTo>
                  <a:cubicBezTo>
                    <a:pt x="1470" y="92"/>
                    <a:pt x="1466" y="45"/>
                    <a:pt x="1457" y="0"/>
                  </a:cubicBezTo>
                  <a:cubicBezTo>
                    <a:pt x="1449" y="0"/>
                    <a:pt x="1449" y="0"/>
                    <a:pt x="1449" y="0"/>
                  </a:cubicBezTo>
                  <a:cubicBezTo>
                    <a:pt x="1458" y="45"/>
                    <a:pt x="1462" y="92"/>
                    <a:pt x="1462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54">
              <a:extLst>
                <a:ext uri="{FF2B5EF4-FFF2-40B4-BE49-F238E27FC236}">
                  <a16:creationId xmlns:a16="http://schemas.microsoft.com/office/drawing/2014/main" id="{C7B7B85C-FB66-4A10-A4F3-725A66061E82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8675" y="-26194"/>
              <a:ext cx="25400" cy="3175"/>
            </a:xfrm>
            <a:custGeom>
              <a:avLst/>
              <a:gdLst>
                <a:gd name="T0" fmla="*/ 0 w 8"/>
                <a:gd name="T1" fmla="*/ 0 h 1"/>
                <a:gd name="T2" fmla="*/ 0 w 8"/>
                <a:gd name="T3" fmla="*/ 1 h 1"/>
                <a:gd name="T4" fmla="*/ 8 w 8"/>
                <a:gd name="T5" fmla="*/ 1 h 1"/>
                <a:gd name="T6" fmla="*/ 8 w 8"/>
                <a:gd name="T7" fmla="*/ 0 h 1"/>
                <a:gd name="T8" fmla="*/ 0 w 8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55">
              <a:extLst>
                <a:ext uri="{FF2B5EF4-FFF2-40B4-BE49-F238E27FC236}">
                  <a16:creationId xmlns:a16="http://schemas.microsoft.com/office/drawing/2014/main" id="{4131AC18-190B-4561-AB47-B56120857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975" y="-26194"/>
              <a:ext cx="25400" cy="3175"/>
            </a:xfrm>
            <a:custGeom>
              <a:avLst/>
              <a:gdLst>
                <a:gd name="T0" fmla="*/ 8 w 8"/>
                <a:gd name="T1" fmla="*/ 0 h 1"/>
                <a:gd name="T2" fmla="*/ 0 w 8"/>
                <a:gd name="T3" fmla="*/ 0 h 1"/>
                <a:gd name="T4" fmla="*/ 0 w 8"/>
                <a:gd name="T5" fmla="*/ 1 h 1"/>
                <a:gd name="T6" fmla="*/ 8 w 8"/>
                <a:gd name="T7" fmla="*/ 1 h 1"/>
                <a:gd name="T8" fmla="*/ 8 w 8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56">
              <a:extLst>
                <a:ext uri="{FF2B5EF4-FFF2-40B4-BE49-F238E27FC236}">
                  <a16:creationId xmlns:a16="http://schemas.microsoft.com/office/drawing/2014/main" id="{6032E713-9CAF-445D-9298-FA3467CA938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350" y="-23019"/>
              <a:ext cx="4321175" cy="2608263"/>
            </a:xfrm>
            <a:custGeom>
              <a:avLst/>
              <a:gdLst>
                <a:gd name="T0" fmla="*/ 1353 w 1361"/>
                <a:gd name="T1" fmla="*/ 140 h 821"/>
                <a:gd name="T2" fmla="*/ 681 w 1361"/>
                <a:gd name="T3" fmla="*/ 813 h 821"/>
                <a:gd name="T4" fmla="*/ 8 w 1361"/>
                <a:gd name="T5" fmla="*/ 140 h 821"/>
                <a:gd name="T6" fmla="*/ 23 w 1361"/>
                <a:gd name="T7" fmla="*/ 0 h 821"/>
                <a:gd name="T8" fmla="*/ 15 w 1361"/>
                <a:gd name="T9" fmla="*/ 0 h 821"/>
                <a:gd name="T10" fmla="*/ 0 w 1361"/>
                <a:gd name="T11" fmla="*/ 140 h 821"/>
                <a:gd name="T12" fmla="*/ 681 w 1361"/>
                <a:gd name="T13" fmla="*/ 821 h 821"/>
                <a:gd name="T14" fmla="*/ 1361 w 1361"/>
                <a:gd name="T15" fmla="*/ 140 h 821"/>
                <a:gd name="T16" fmla="*/ 1347 w 1361"/>
                <a:gd name="T17" fmla="*/ 0 h 821"/>
                <a:gd name="T18" fmla="*/ 1339 w 1361"/>
                <a:gd name="T19" fmla="*/ 0 h 821"/>
                <a:gd name="T20" fmla="*/ 1353 w 1361"/>
                <a:gd name="T21" fmla="*/ 140 h 8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61" h="821">
                  <a:moveTo>
                    <a:pt x="1353" y="140"/>
                  </a:moveTo>
                  <a:cubicBezTo>
                    <a:pt x="1353" y="511"/>
                    <a:pt x="1052" y="813"/>
                    <a:pt x="681" y="813"/>
                  </a:cubicBezTo>
                  <a:cubicBezTo>
                    <a:pt x="310" y="813"/>
                    <a:pt x="8" y="511"/>
                    <a:pt x="8" y="140"/>
                  </a:cubicBezTo>
                  <a:cubicBezTo>
                    <a:pt x="8" y="92"/>
                    <a:pt x="13" y="45"/>
                    <a:pt x="23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5" y="45"/>
                    <a:pt x="0" y="92"/>
                    <a:pt x="0" y="140"/>
                  </a:cubicBezTo>
                  <a:cubicBezTo>
                    <a:pt x="0" y="515"/>
                    <a:pt x="306" y="821"/>
                    <a:pt x="681" y="821"/>
                  </a:cubicBezTo>
                  <a:cubicBezTo>
                    <a:pt x="1056" y="821"/>
                    <a:pt x="1361" y="515"/>
                    <a:pt x="1361" y="140"/>
                  </a:cubicBezTo>
                  <a:cubicBezTo>
                    <a:pt x="1361" y="92"/>
                    <a:pt x="1356" y="45"/>
                    <a:pt x="1347" y="0"/>
                  </a:cubicBezTo>
                  <a:cubicBezTo>
                    <a:pt x="1339" y="0"/>
                    <a:pt x="1339" y="0"/>
                    <a:pt x="1339" y="0"/>
                  </a:cubicBezTo>
                  <a:cubicBezTo>
                    <a:pt x="1348" y="45"/>
                    <a:pt x="1353" y="92"/>
                    <a:pt x="1353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57">
              <a:extLst>
                <a:ext uri="{FF2B5EF4-FFF2-40B4-BE49-F238E27FC236}">
                  <a16:creationId xmlns:a16="http://schemas.microsoft.com/office/drawing/2014/main" id="{62A064C6-B796-4755-B8F6-5F1247881D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3100" y="-26194"/>
              <a:ext cx="25400" cy="3175"/>
            </a:xfrm>
            <a:custGeom>
              <a:avLst/>
              <a:gdLst>
                <a:gd name="T0" fmla="*/ 0 w 8"/>
                <a:gd name="T1" fmla="*/ 1 h 1"/>
                <a:gd name="T2" fmla="*/ 8 w 8"/>
                <a:gd name="T3" fmla="*/ 1 h 1"/>
                <a:gd name="T4" fmla="*/ 8 w 8"/>
                <a:gd name="T5" fmla="*/ 0 h 1"/>
                <a:gd name="T6" fmla="*/ 0 w 8"/>
                <a:gd name="T7" fmla="*/ 0 h 1"/>
                <a:gd name="T8" fmla="*/ 0 w 8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0" y="1"/>
                  </a:move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58">
              <a:extLst>
                <a:ext uri="{FF2B5EF4-FFF2-40B4-BE49-F238E27FC236}">
                  <a16:creationId xmlns:a16="http://schemas.microsoft.com/office/drawing/2014/main" id="{C3CEC362-4AFD-4419-A6D5-01BFBAEADBF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550" y="-26194"/>
              <a:ext cx="25400" cy="3175"/>
            </a:xfrm>
            <a:custGeom>
              <a:avLst/>
              <a:gdLst>
                <a:gd name="T0" fmla="*/ 8 w 8"/>
                <a:gd name="T1" fmla="*/ 1 h 1"/>
                <a:gd name="T2" fmla="*/ 8 w 8"/>
                <a:gd name="T3" fmla="*/ 0 h 1"/>
                <a:gd name="T4" fmla="*/ 0 w 8"/>
                <a:gd name="T5" fmla="*/ 0 h 1"/>
                <a:gd name="T6" fmla="*/ 0 w 8"/>
                <a:gd name="T7" fmla="*/ 1 h 1"/>
                <a:gd name="T8" fmla="*/ 8 w 8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8" y="1"/>
                  </a:moveTo>
                  <a:cubicBezTo>
                    <a:pt x="8" y="1"/>
                    <a:pt x="8" y="1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8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59">
              <a:extLst>
                <a:ext uri="{FF2B5EF4-FFF2-40B4-BE49-F238E27FC236}">
                  <a16:creationId xmlns:a16="http://schemas.microsoft.com/office/drawing/2014/main" id="{5B843EE8-F7B5-46DD-8CD2-EF3D67D26C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750" y="-23019"/>
              <a:ext cx="4019550" cy="2455863"/>
            </a:xfrm>
            <a:custGeom>
              <a:avLst/>
              <a:gdLst>
                <a:gd name="T0" fmla="*/ 1258 w 1266"/>
                <a:gd name="T1" fmla="*/ 140 h 773"/>
                <a:gd name="T2" fmla="*/ 633 w 1266"/>
                <a:gd name="T3" fmla="*/ 765 h 773"/>
                <a:gd name="T4" fmla="*/ 8 w 1266"/>
                <a:gd name="T5" fmla="*/ 140 h 773"/>
                <a:gd name="T6" fmla="*/ 24 w 1266"/>
                <a:gd name="T7" fmla="*/ 0 h 773"/>
                <a:gd name="T8" fmla="*/ 16 w 1266"/>
                <a:gd name="T9" fmla="*/ 0 h 773"/>
                <a:gd name="T10" fmla="*/ 0 w 1266"/>
                <a:gd name="T11" fmla="*/ 140 h 773"/>
                <a:gd name="T12" fmla="*/ 633 w 1266"/>
                <a:gd name="T13" fmla="*/ 773 h 773"/>
                <a:gd name="T14" fmla="*/ 1266 w 1266"/>
                <a:gd name="T15" fmla="*/ 140 h 773"/>
                <a:gd name="T16" fmla="*/ 1250 w 1266"/>
                <a:gd name="T17" fmla="*/ 0 h 773"/>
                <a:gd name="T18" fmla="*/ 1242 w 1266"/>
                <a:gd name="T19" fmla="*/ 0 h 773"/>
                <a:gd name="T20" fmla="*/ 1258 w 1266"/>
                <a:gd name="T21" fmla="*/ 140 h 7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66" h="773">
                  <a:moveTo>
                    <a:pt x="1258" y="140"/>
                  </a:moveTo>
                  <a:cubicBezTo>
                    <a:pt x="1258" y="485"/>
                    <a:pt x="977" y="765"/>
                    <a:pt x="633" y="765"/>
                  </a:cubicBezTo>
                  <a:cubicBezTo>
                    <a:pt x="288" y="765"/>
                    <a:pt x="8" y="485"/>
                    <a:pt x="8" y="140"/>
                  </a:cubicBezTo>
                  <a:cubicBezTo>
                    <a:pt x="8" y="92"/>
                    <a:pt x="14" y="45"/>
                    <a:pt x="24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5" y="45"/>
                    <a:pt x="0" y="92"/>
                    <a:pt x="0" y="140"/>
                  </a:cubicBezTo>
                  <a:cubicBezTo>
                    <a:pt x="0" y="489"/>
                    <a:pt x="284" y="773"/>
                    <a:pt x="633" y="773"/>
                  </a:cubicBezTo>
                  <a:cubicBezTo>
                    <a:pt x="982" y="773"/>
                    <a:pt x="1266" y="489"/>
                    <a:pt x="1266" y="140"/>
                  </a:cubicBezTo>
                  <a:cubicBezTo>
                    <a:pt x="1266" y="92"/>
                    <a:pt x="1260" y="45"/>
                    <a:pt x="1250" y="0"/>
                  </a:cubicBezTo>
                  <a:cubicBezTo>
                    <a:pt x="1242" y="0"/>
                    <a:pt x="1242" y="0"/>
                    <a:pt x="1242" y="0"/>
                  </a:cubicBezTo>
                  <a:cubicBezTo>
                    <a:pt x="1252" y="45"/>
                    <a:pt x="1258" y="92"/>
                    <a:pt x="1258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1F0C7CAB-C81C-41B5-A18B-B0F8A4839BBB}"/>
              </a:ext>
            </a:extLst>
          </p:cNvPr>
          <p:cNvGrpSpPr/>
          <p:nvPr userDrawn="1"/>
        </p:nvGrpSpPr>
        <p:grpSpPr>
          <a:xfrm>
            <a:off x="3032411" y="173037"/>
            <a:ext cx="1497013" cy="1435100"/>
            <a:chOff x="688975" y="-5719961"/>
            <a:chExt cx="1497013" cy="1435100"/>
          </a:xfrm>
          <a:solidFill>
            <a:schemeClr val="tx1">
              <a:lumMod val="75000"/>
              <a:lumOff val="25000"/>
              <a:alpha val="5000"/>
            </a:schemeClr>
          </a:solidFill>
        </p:grpSpPr>
        <p:sp>
          <p:nvSpPr>
            <p:cNvPr id="79" name="Freeform 22">
              <a:extLst>
                <a:ext uri="{FF2B5EF4-FFF2-40B4-BE49-F238E27FC236}">
                  <a16:creationId xmlns:a16="http://schemas.microsoft.com/office/drawing/2014/main" id="{553B9D43-8545-4435-84A1-53ABA903152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450" y="-5583436"/>
              <a:ext cx="1008063" cy="60325"/>
            </a:xfrm>
            <a:custGeom>
              <a:avLst/>
              <a:gdLst>
                <a:gd name="T0" fmla="*/ 294 w 318"/>
                <a:gd name="T1" fmla="*/ 0 h 19"/>
                <a:gd name="T2" fmla="*/ 24 w 318"/>
                <a:gd name="T3" fmla="*/ 0 h 19"/>
                <a:gd name="T4" fmla="*/ 0 w 318"/>
                <a:gd name="T5" fmla="*/ 19 h 19"/>
                <a:gd name="T6" fmla="*/ 318 w 318"/>
                <a:gd name="T7" fmla="*/ 19 h 19"/>
                <a:gd name="T8" fmla="*/ 294 w 318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8" h="19">
                  <a:moveTo>
                    <a:pt x="29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16" y="6"/>
                    <a:pt x="8" y="12"/>
                    <a:pt x="0" y="19"/>
                  </a:cubicBezTo>
                  <a:cubicBezTo>
                    <a:pt x="318" y="19"/>
                    <a:pt x="318" y="19"/>
                    <a:pt x="318" y="19"/>
                  </a:cubicBezTo>
                  <a:cubicBezTo>
                    <a:pt x="310" y="12"/>
                    <a:pt x="302" y="6"/>
                    <a:pt x="294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23">
              <a:extLst>
                <a:ext uri="{FF2B5EF4-FFF2-40B4-BE49-F238E27FC236}">
                  <a16:creationId xmlns:a16="http://schemas.microsoft.com/office/drawing/2014/main" id="{1708E765-3EF5-41B7-B351-A206BED329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9350" y="-5719961"/>
              <a:ext cx="576263" cy="57150"/>
            </a:xfrm>
            <a:custGeom>
              <a:avLst/>
              <a:gdLst>
                <a:gd name="T0" fmla="*/ 91 w 182"/>
                <a:gd name="T1" fmla="*/ 0 h 18"/>
                <a:gd name="T2" fmla="*/ 0 w 182"/>
                <a:gd name="T3" fmla="*/ 18 h 18"/>
                <a:gd name="T4" fmla="*/ 182 w 182"/>
                <a:gd name="T5" fmla="*/ 18 h 18"/>
                <a:gd name="T6" fmla="*/ 91 w 182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2" h="18">
                  <a:moveTo>
                    <a:pt x="91" y="0"/>
                  </a:moveTo>
                  <a:cubicBezTo>
                    <a:pt x="59" y="0"/>
                    <a:pt x="28" y="7"/>
                    <a:pt x="0" y="18"/>
                  </a:cubicBezTo>
                  <a:cubicBezTo>
                    <a:pt x="182" y="18"/>
                    <a:pt x="182" y="18"/>
                    <a:pt x="182" y="18"/>
                  </a:cubicBezTo>
                  <a:cubicBezTo>
                    <a:pt x="154" y="7"/>
                    <a:pt x="123" y="0"/>
                    <a:pt x="9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24">
              <a:extLst>
                <a:ext uri="{FF2B5EF4-FFF2-40B4-BE49-F238E27FC236}">
                  <a16:creationId xmlns:a16="http://schemas.microsoft.com/office/drawing/2014/main" id="{0401B17B-0A44-4A98-979C-854945345432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975" y="-5446911"/>
              <a:ext cx="1243013" cy="60325"/>
            </a:xfrm>
            <a:custGeom>
              <a:avLst/>
              <a:gdLst>
                <a:gd name="T0" fmla="*/ 378 w 392"/>
                <a:gd name="T1" fmla="*/ 0 h 19"/>
                <a:gd name="T2" fmla="*/ 14 w 392"/>
                <a:gd name="T3" fmla="*/ 0 h 19"/>
                <a:gd name="T4" fmla="*/ 0 w 392"/>
                <a:gd name="T5" fmla="*/ 19 h 19"/>
                <a:gd name="T6" fmla="*/ 392 w 392"/>
                <a:gd name="T7" fmla="*/ 19 h 19"/>
                <a:gd name="T8" fmla="*/ 378 w 392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2" h="19">
                  <a:moveTo>
                    <a:pt x="378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9" y="6"/>
                    <a:pt x="4" y="12"/>
                    <a:pt x="0" y="19"/>
                  </a:cubicBezTo>
                  <a:cubicBezTo>
                    <a:pt x="392" y="19"/>
                    <a:pt x="392" y="19"/>
                    <a:pt x="392" y="19"/>
                  </a:cubicBezTo>
                  <a:cubicBezTo>
                    <a:pt x="387" y="12"/>
                    <a:pt x="383" y="6"/>
                    <a:pt x="378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25">
              <a:extLst>
                <a:ext uri="{FF2B5EF4-FFF2-40B4-BE49-F238E27FC236}">
                  <a16:creationId xmlns:a16="http://schemas.microsoft.com/office/drawing/2014/main" id="{D20B4BFB-255B-47EA-BC2B-8F1B03692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742950" y="-5310386"/>
              <a:ext cx="1389063" cy="60325"/>
            </a:xfrm>
            <a:custGeom>
              <a:avLst/>
              <a:gdLst>
                <a:gd name="T0" fmla="*/ 429 w 438"/>
                <a:gd name="T1" fmla="*/ 0 h 19"/>
                <a:gd name="T2" fmla="*/ 9 w 438"/>
                <a:gd name="T3" fmla="*/ 0 h 19"/>
                <a:gd name="T4" fmla="*/ 0 w 438"/>
                <a:gd name="T5" fmla="*/ 19 h 19"/>
                <a:gd name="T6" fmla="*/ 438 w 438"/>
                <a:gd name="T7" fmla="*/ 19 h 19"/>
                <a:gd name="T8" fmla="*/ 429 w 438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8" h="19">
                  <a:moveTo>
                    <a:pt x="42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5" y="7"/>
                    <a:pt x="3" y="13"/>
                    <a:pt x="0" y="19"/>
                  </a:cubicBezTo>
                  <a:cubicBezTo>
                    <a:pt x="438" y="19"/>
                    <a:pt x="438" y="19"/>
                    <a:pt x="438" y="19"/>
                  </a:cubicBezTo>
                  <a:cubicBezTo>
                    <a:pt x="435" y="13"/>
                    <a:pt x="432" y="7"/>
                    <a:pt x="429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26">
              <a:extLst>
                <a:ext uri="{FF2B5EF4-FFF2-40B4-BE49-F238E27FC236}">
                  <a16:creationId xmlns:a16="http://schemas.microsoft.com/office/drawing/2014/main" id="{403EDC1D-E79E-4E8C-A336-3F824231E1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675" y="-5170686"/>
              <a:ext cx="1468438" cy="60325"/>
            </a:xfrm>
            <a:custGeom>
              <a:avLst/>
              <a:gdLst>
                <a:gd name="T0" fmla="*/ 459 w 463"/>
                <a:gd name="T1" fmla="*/ 0 h 19"/>
                <a:gd name="T2" fmla="*/ 5 w 463"/>
                <a:gd name="T3" fmla="*/ 0 h 19"/>
                <a:gd name="T4" fmla="*/ 0 w 463"/>
                <a:gd name="T5" fmla="*/ 19 h 19"/>
                <a:gd name="T6" fmla="*/ 463 w 463"/>
                <a:gd name="T7" fmla="*/ 19 h 19"/>
                <a:gd name="T8" fmla="*/ 459 w 463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3" h="19">
                  <a:moveTo>
                    <a:pt x="45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3" y="6"/>
                    <a:pt x="2" y="12"/>
                    <a:pt x="0" y="19"/>
                  </a:cubicBezTo>
                  <a:cubicBezTo>
                    <a:pt x="463" y="19"/>
                    <a:pt x="463" y="19"/>
                    <a:pt x="463" y="19"/>
                  </a:cubicBezTo>
                  <a:cubicBezTo>
                    <a:pt x="462" y="12"/>
                    <a:pt x="461" y="6"/>
                    <a:pt x="459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27">
              <a:extLst>
                <a:ext uri="{FF2B5EF4-FFF2-40B4-BE49-F238E27FC236}">
                  <a16:creationId xmlns:a16="http://schemas.microsoft.com/office/drawing/2014/main" id="{774E66D5-B2F9-4D3E-9339-CDF5E97757CD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975" y="-5034161"/>
              <a:ext cx="1497013" cy="60325"/>
            </a:xfrm>
            <a:custGeom>
              <a:avLst/>
              <a:gdLst>
                <a:gd name="T0" fmla="*/ 471 w 472"/>
                <a:gd name="T1" fmla="*/ 0 h 19"/>
                <a:gd name="T2" fmla="*/ 1 w 472"/>
                <a:gd name="T3" fmla="*/ 0 h 19"/>
                <a:gd name="T4" fmla="*/ 0 w 472"/>
                <a:gd name="T5" fmla="*/ 19 h 19"/>
                <a:gd name="T6" fmla="*/ 472 w 472"/>
                <a:gd name="T7" fmla="*/ 19 h 19"/>
                <a:gd name="T8" fmla="*/ 471 w 472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2" h="19">
                  <a:moveTo>
                    <a:pt x="47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6"/>
                    <a:pt x="0" y="13"/>
                    <a:pt x="0" y="19"/>
                  </a:cubicBezTo>
                  <a:cubicBezTo>
                    <a:pt x="472" y="19"/>
                    <a:pt x="472" y="19"/>
                    <a:pt x="472" y="19"/>
                  </a:cubicBezTo>
                  <a:cubicBezTo>
                    <a:pt x="471" y="13"/>
                    <a:pt x="471" y="6"/>
                    <a:pt x="47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28">
              <a:extLst>
                <a:ext uri="{FF2B5EF4-FFF2-40B4-BE49-F238E27FC236}">
                  <a16:creationId xmlns:a16="http://schemas.microsoft.com/office/drawing/2014/main" id="{69E318F6-7B62-4A96-BE73-C5F3184F0D0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150" y="-4897636"/>
              <a:ext cx="1487488" cy="60325"/>
            </a:xfrm>
            <a:custGeom>
              <a:avLst/>
              <a:gdLst>
                <a:gd name="T0" fmla="*/ 469 w 469"/>
                <a:gd name="T1" fmla="*/ 0 h 19"/>
                <a:gd name="T2" fmla="*/ 0 w 469"/>
                <a:gd name="T3" fmla="*/ 0 h 19"/>
                <a:gd name="T4" fmla="*/ 3 w 469"/>
                <a:gd name="T5" fmla="*/ 19 h 19"/>
                <a:gd name="T6" fmla="*/ 467 w 469"/>
                <a:gd name="T7" fmla="*/ 19 h 19"/>
                <a:gd name="T8" fmla="*/ 469 w 469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9" h="19">
                  <a:moveTo>
                    <a:pt x="46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7"/>
                    <a:pt x="2" y="13"/>
                    <a:pt x="3" y="19"/>
                  </a:cubicBezTo>
                  <a:cubicBezTo>
                    <a:pt x="467" y="19"/>
                    <a:pt x="467" y="19"/>
                    <a:pt x="467" y="19"/>
                  </a:cubicBezTo>
                  <a:cubicBezTo>
                    <a:pt x="468" y="13"/>
                    <a:pt x="469" y="7"/>
                    <a:pt x="469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29">
              <a:extLst>
                <a:ext uri="{FF2B5EF4-FFF2-40B4-BE49-F238E27FC236}">
                  <a16:creationId xmlns:a16="http://schemas.microsoft.com/office/drawing/2014/main" id="{7E60674A-BACD-43CD-8B7F-9017E68D62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725" y="-4757936"/>
              <a:ext cx="1433513" cy="60325"/>
            </a:xfrm>
            <a:custGeom>
              <a:avLst/>
              <a:gdLst>
                <a:gd name="T0" fmla="*/ 452 w 452"/>
                <a:gd name="T1" fmla="*/ 0 h 19"/>
                <a:gd name="T2" fmla="*/ 0 w 452"/>
                <a:gd name="T3" fmla="*/ 0 h 19"/>
                <a:gd name="T4" fmla="*/ 6 w 452"/>
                <a:gd name="T5" fmla="*/ 19 h 19"/>
                <a:gd name="T6" fmla="*/ 445 w 452"/>
                <a:gd name="T7" fmla="*/ 19 h 19"/>
                <a:gd name="T8" fmla="*/ 452 w 452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2" h="19">
                  <a:moveTo>
                    <a:pt x="45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6"/>
                    <a:pt x="4" y="12"/>
                    <a:pt x="6" y="19"/>
                  </a:cubicBezTo>
                  <a:cubicBezTo>
                    <a:pt x="445" y="19"/>
                    <a:pt x="445" y="19"/>
                    <a:pt x="445" y="19"/>
                  </a:cubicBezTo>
                  <a:cubicBezTo>
                    <a:pt x="448" y="12"/>
                    <a:pt x="450" y="6"/>
                    <a:pt x="45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30">
              <a:extLst>
                <a:ext uri="{FF2B5EF4-FFF2-40B4-BE49-F238E27FC236}">
                  <a16:creationId xmlns:a16="http://schemas.microsoft.com/office/drawing/2014/main" id="{F4DB92E0-43AC-4F81-89AD-8985C9205326}"/>
                </a:ext>
              </a:extLst>
            </p:cNvPr>
            <p:cNvSpPr>
              <a:spLocks/>
            </p:cNvSpPr>
            <p:nvPr/>
          </p:nvSpPr>
          <p:spPr bwMode="auto">
            <a:xfrm>
              <a:off x="777875" y="-4621411"/>
              <a:ext cx="1319213" cy="60325"/>
            </a:xfrm>
            <a:custGeom>
              <a:avLst/>
              <a:gdLst>
                <a:gd name="T0" fmla="*/ 416 w 416"/>
                <a:gd name="T1" fmla="*/ 0 h 19"/>
                <a:gd name="T2" fmla="*/ 0 w 416"/>
                <a:gd name="T3" fmla="*/ 0 h 19"/>
                <a:gd name="T4" fmla="*/ 11 w 416"/>
                <a:gd name="T5" fmla="*/ 19 h 19"/>
                <a:gd name="T6" fmla="*/ 405 w 416"/>
                <a:gd name="T7" fmla="*/ 19 h 19"/>
                <a:gd name="T8" fmla="*/ 416 w 416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6" h="19">
                  <a:moveTo>
                    <a:pt x="41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" y="7"/>
                    <a:pt x="7" y="13"/>
                    <a:pt x="11" y="19"/>
                  </a:cubicBezTo>
                  <a:cubicBezTo>
                    <a:pt x="405" y="19"/>
                    <a:pt x="405" y="19"/>
                    <a:pt x="405" y="19"/>
                  </a:cubicBezTo>
                  <a:cubicBezTo>
                    <a:pt x="409" y="13"/>
                    <a:pt x="413" y="7"/>
                    <a:pt x="416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31">
              <a:extLst>
                <a:ext uri="{FF2B5EF4-FFF2-40B4-BE49-F238E27FC236}">
                  <a16:creationId xmlns:a16="http://schemas.microsoft.com/office/drawing/2014/main" id="{19DC0AD1-8BCD-40BD-AFA9-9E86D9D7619A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950" y="-4484886"/>
              <a:ext cx="1135063" cy="60325"/>
            </a:xfrm>
            <a:custGeom>
              <a:avLst/>
              <a:gdLst>
                <a:gd name="T0" fmla="*/ 358 w 358"/>
                <a:gd name="T1" fmla="*/ 0 h 19"/>
                <a:gd name="T2" fmla="*/ 0 w 358"/>
                <a:gd name="T3" fmla="*/ 0 h 19"/>
                <a:gd name="T4" fmla="*/ 18 w 358"/>
                <a:gd name="T5" fmla="*/ 19 h 19"/>
                <a:gd name="T6" fmla="*/ 339 w 358"/>
                <a:gd name="T7" fmla="*/ 19 h 19"/>
                <a:gd name="T8" fmla="*/ 358 w 358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8" h="19">
                  <a:moveTo>
                    <a:pt x="35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" y="7"/>
                    <a:pt x="12" y="13"/>
                    <a:pt x="18" y="19"/>
                  </a:cubicBezTo>
                  <a:cubicBezTo>
                    <a:pt x="339" y="19"/>
                    <a:pt x="339" y="19"/>
                    <a:pt x="339" y="19"/>
                  </a:cubicBezTo>
                  <a:cubicBezTo>
                    <a:pt x="346" y="13"/>
                    <a:pt x="352" y="7"/>
                    <a:pt x="358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32">
              <a:extLst>
                <a:ext uri="{FF2B5EF4-FFF2-40B4-BE49-F238E27FC236}">
                  <a16:creationId xmlns:a16="http://schemas.microsoft.com/office/drawing/2014/main" id="{53CD8091-772D-4EA7-ACC8-68B12D4370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5525" y="-4345186"/>
              <a:ext cx="820738" cy="60325"/>
            </a:xfrm>
            <a:custGeom>
              <a:avLst/>
              <a:gdLst>
                <a:gd name="T0" fmla="*/ 259 w 259"/>
                <a:gd name="T1" fmla="*/ 0 h 19"/>
                <a:gd name="T2" fmla="*/ 0 w 259"/>
                <a:gd name="T3" fmla="*/ 0 h 19"/>
                <a:gd name="T4" fmla="*/ 35 w 259"/>
                <a:gd name="T5" fmla="*/ 19 h 19"/>
                <a:gd name="T6" fmla="*/ 225 w 259"/>
                <a:gd name="T7" fmla="*/ 19 h 19"/>
                <a:gd name="T8" fmla="*/ 259 w 259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9" h="19">
                  <a:moveTo>
                    <a:pt x="25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1" y="7"/>
                    <a:pt x="23" y="13"/>
                    <a:pt x="35" y="19"/>
                  </a:cubicBezTo>
                  <a:cubicBezTo>
                    <a:pt x="225" y="19"/>
                    <a:pt x="225" y="19"/>
                    <a:pt x="225" y="19"/>
                  </a:cubicBezTo>
                  <a:cubicBezTo>
                    <a:pt x="237" y="13"/>
                    <a:pt x="248" y="7"/>
                    <a:pt x="259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1690047-4235-43F0-9F2A-44A8E93985C0}"/>
              </a:ext>
            </a:extLst>
          </p:cNvPr>
          <p:cNvCxnSpPr/>
          <p:nvPr userDrawn="1"/>
        </p:nvCxnSpPr>
        <p:spPr>
          <a:xfrm>
            <a:off x="9596819" y="6389084"/>
            <a:ext cx="0" cy="166687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7178CB75-44D5-4455-AF00-3EE241BA60A5}"/>
              </a:ext>
            </a:extLst>
          </p:cNvPr>
          <p:cNvSpPr txBox="1"/>
          <p:nvPr userDrawn="1"/>
        </p:nvSpPr>
        <p:spPr>
          <a:xfrm>
            <a:off x="6389517" y="6247955"/>
            <a:ext cx="2551789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300" b="1" spc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Company </a:t>
            </a:r>
            <a:r>
              <a:rPr lang="en-US" sz="2300" b="1" kern="1200" spc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Profil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3E3F71F8-364C-494F-BE6B-35DB365FE1BC}"/>
              </a:ext>
            </a:extLst>
          </p:cNvPr>
          <p:cNvGrpSpPr/>
          <p:nvPr userDrawn="1"/>
        </p:nvGrpSpPr>
        <p:grpSpPr>
          <a:xfrm>
            <a:off x="5956285" y="6264918"/>
            <a:ext cx="390675" cy="386876"/>
            <a:chOff x="942242" y="2841978"/>
            <a:chExt cx="1226108" cy="1214181"/>
          </a:xfrm>
        </p:grpSpPr>
        <p:sp>
          <p:nvSpPr>
            <p:cNvPr id="33" name="Freeform 63">
              <a:extLst>
                <a:ext uri="{FF2B5EF4-FFF2-40B4-BE49-F238E27FC236}">
                  <a16:creationId xmlns:a16="http://schemas.microsoft.com/office/drawing/2014/main" id="{62FDB4D7-C79E-43F4-B30D-58756C4DC5B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42242" y="2841978"/>
              <a:ext cx="1226108" cy="1211796"/>
            </a:xfrm>
            <a:custGeom>
              <a:avLst/>
              <a:gdLst>
                <a:gd name="T0" fmla="*/ 198 w 431"/>
                <a:gd name="T1" fmla="*/ 393 h 426"/>
                <a:gd name="T2" fmla="*/ 53 w 431"/>
                <a:gd name="T3" fmla="*/ 393 h 426"/>
                <a:gd name="T4" fmla="*/ 39 w 431"/>
                <a:gd name="T5" fmla="*/ 386 h 426"/>
                <a:gd name="T6" fmla="*/ 37 w 431"/>
                <a:gd name="T7" fmla="*/ 371 h 426"/>
                <a:gd name="T8" fmla="*/ 159 w 431"/>
                <a:gd name="T9" fmla="*/ 284 h 426"/>
                <a:gd name="T10" fmla="*/ 231 w 431"/>
                <a:gd name="T11" fmla="*/ 307 h 426"/>
                <a:gd name="T12" fmla="*/ 254 w 431"/>
                <a:gd name="T13" fmla="*/ 303 h 426"/>
                <a:gd name="T14" fmla="*/ 250 w 431"/>
                <a:gd name="T15" fmla="*/ 280 h 426"/>
                <a:gd name="T16" fmla="*/ 216 w 431"/>
                <a:gd name="T17" fmla="*/ 262 h 426"/>
                <a:gd name="T18" fmla="*/ 244 w 431"/>
                <a:gd name="T19" fmla="*/ 206 h 426"/>
                <a:gd name="T20" fmla="*/ 331 w 431"/>
                <a:gd name="T21" fmla="*/ 171 h 426"/>
                <a:gd name="T22" fmla="*/ 403 w 431"/>
                <a:gd name="T23" fmla="*/ 193 h 426"/>
                <a:gd name="T24" fmla="*/ 426 w 431"/>
                <a:gd name="T25" fmla="*/ 189 h 426"/>
                <a:gd name="T26" fmla="*/ 422 w 431"/>
                <a:gd name="T27" fmla="*/ 166 h 426"/>
                <a:gd name="T28" fmla="*/ 389 w 431"/>
                <a:gd name="T29" fmla="*/ 148 h 426"/>
                <a:gd name="T30" fmla="*/ 416 w 431"/>
                <a:gd name="T31" fmla="*/ 85 h 426"/>
                <a:gd name="T32" fmla="*/ 332 w 431"/>
                <a:gd name="T33" fmla="*/ 0 h 426"/>
                <a:gd name="T34" fmla="*/ 247 w 431"/>
                <a:gd name="T35" fmla="*/ 85 h 426"/>
                <a:gd name="T36" fmla="*/ 274 w 431"/>
                <a:gd name="T37" fmla="*/ 148 h 426"/>
                <a:gd name="T38" fmla="*/ 267 w 431"/>
                <a:gd name="T39" fmla="*/ 151 h 426"/>
                <a:gd name="T40" fmla="*/ 238 w 431"/>
                <a:gd name="T41" fmla="*/ 168 h 426"/>
                <a:gd name="T42" fmla="*/ 159 w 431"/>
                <a:gd name="T43" fmla="*/ 114 h 426"/>
                <a:gd name="T44" fmla="*/ 75 w 431"/>
                <a:gd name="T45" fmla="*/ 199 h 426"/>
                <a:gd name="T46" fmla="*/ 102 w 431"/>
                <a:gd name="T47" fmla="*/ 262 h 426"/>
                <a:gd name="T48" fmla="*/ 5 w 431"/>
                <a:gd name="T49" fmla="*/ 361 h 426"/>
                <a:gd name="T50" fmla="*/ 13 w 431"/>
                <a:gd name="T51" fmla="*/ 406 h 426"/>
                <a:gd name="T52" fmla="*/ 53 w 431"/>
                <a:gd name="T53" fmla="*/ 426 h 426"/>
                <a:gd name="T54" fmla="*/ 198 w 431"/>
                <a:gd name="T55" fmla="*/ 426 h 426"/>
                <a:gd name="T56" fmla="*/ 214 w 431"/>
                <a:gd name="T57" fmla="*/ 410 h 426"/>
                <a:gd name="T58" fmla="*/ 198 w 431"/>
                <a:gd name="T59" fmla="*/ 393 h 426"/>
                <a:gd name="T60" fmla="*/ 332 w 431"/>
                <a:gd name="T61" fmla="*/ 34 h 426"/>
                <a:gd name="T62" fmla="*/ 383 w 431"/>
                <a:gd name="T63" fmla="*/ 85 h 426"/>
                <a:gd name="T64" fmla="*/ 332 w 431"/>
                <a:gd name="T65" fmla="*/ 137 h 426"/>
                <a:gd name="T66" fmla="*/ 280 w 431"/>
                <a:gd name="T67" fmla="*/ 85 h 426"/>
                <a:gd name="T68" fmla="*/ 332 w 431"/>
                <a:gd name="T69" fmla="*/ 34 h 426"/>
                <a:gd name="T70" fmla="*/ 159 w 431"/>
                <a:gd name="T71" fmla="*/ 148 h 426"/>
                <a:gd name="T72" fmla="*/ 211 w 431"/>
                <a:gd name="T73" fmla="*/ 199 h 426"/>
                <a:gd name="T74" fmla="*/ 159 w 431"/>
                <a:gd name="T75" fmla="*/ 251 h 426"/>
                <a:gd name="T76" fmla="*/ 108 w 431"/>
                <a:gd name="T77" fmla="*/ 199 h 426"/>
                <a:gd name="T78" fmla="*/ 159 w 431"/>
                <a:gd name="T79" fmla="*/ 148 h 426"/>
                <a:gd name="T80" fmla="*/ 159 w 431"/>
                <a:gd name="T81" fmla="*/ 148 h 426"/>
                <a:gd name="T82" fmla="*/ 159 w 431"/>
                <a:gd name="T83" fmla="*/ 148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31" h="426">
                  <a:moveTo>
                    <a:pt x="198" y="393"/>
                  </a:moveTo>
                  <a:cubicBezTo>
                    <a:pt x="53" y="393"/>
                    <a:pt x="53" y="393"/>
                    <a:pt x="53" y="393"/>
                  </a:cubicBezTo>
                  <a:cubicBezTo>
                    <a:pt x="48" y="393"/>
                    <a:pt x="43" y="391"/>
                    <a:pt x="39" y="386"/>
                  </a:cubicBezTo>
                  <a:cubicBezTo>
                    <a:pt x="36" y="382"/>
                    <a:pt x="35" y="376"/>
                    <a:pt x="37" y="371"/>
                  </a:cubicBezTo>
                  <a:cubicBezTo>
                    <a:pt x="54" y="320"/>
                    <a:pt x="104" y="284"/>
                    <a:pt x="159" y="284"/>
                  </a:cubicBezTo>
                  <a:cubicBezTo>
                    <a:pt x="185" y="284"/>
                    <a:pt x="210" y="292"/>
                    <a:pt x="231" y="307"/>
                  </a:cubicBezTo>
                  <a:cubicBezTo>
                    <a:pt x="238" y="312"/>
                    <a:pt x="248" y="310"/>
                    <a:pt x="254" y="303"/>
                  </a:cubicBezTo>
                  <a:cubicBezTo>
                    <a:pt x="259" y="295"/>
                    <a:pt x="257" y="285"/>
                    <a:pt x="250" y="280"/>
                  </a:cubicBezTo>
                  <a:cubicBezTo>
                    <a:pt x="239" y="272"/>
                    <a:pt x="228" y="266"/>
                    <a:pt x="216" y="262"/>
                  </a:cubicBezTo>
                  <a:cubicBezTo>
                    <a:pt x="232" y="248"/>
                    <a:pt x="242" y="228"/>
                    <a:pt x="244" y="206"/>
                  </a:cubicBezTo>
                  <a:cubicBezTo>
                    <a:pt x="267" y="183"/>
                    <a:pt x="298" y="171"/>
                    <a:pt x="331" y="171"/>
                  </a:cubicBezTo>
                  <a:cubicBezTo>
                    <a:pt x="357" y="171"/>
                    <a:pt x="382" y="178"/>
                    <a:pt x="403" y="193"/>
                  </a:cubicBezTo>
                  <a:cubicBezTo>
                    <a:pt x="410" y="198"/>
                    <a:pt x="421" y="196"/>
                    <a:pt x="426" y="189"/>
                  </a:cubicBezTo>
                  <a:cubicBezTo>
                    <a:pt x="431" y="181"/>
                    <a:pt x="429" y="171"/>
                    <a:pt x="422" y="166"/>
                  </a:cubicBezTo>
                  <a:cubicBezTo>
                    <a:pt x="411" y="159"/>
                    <a:pt x="400" y="153"/>
                    <a:pt x="389" y="148"/>
                  </a:cubicBezTo>
                  <a:cubicBezTo>
                    <a:pt x="406" y="133"/>
                    <a:pt x="416" y="110"/>
                    <a:pt x="416" y="85"/>
                  </a:cubicBezTo>
                  <a:cubicBezTo>
                    <a:pt x="416" y="39"/>
                    <a:pt x="378" y="0"/>
                    <a:pt x="332" y="0"/>
                  </a:cubicBezTo>
                  <a:cubicBezTo>
                    <a:pt x="285" y="0"/>
                    <a:pt x="247" y="39"/>
                    <a:pt x="247" y="85"/>
                  </a:cubicBezTo>
                  <a:cubicBezTo>
                    <a:pt x="247" y="110"/>
                    <a:pt x="257" y="132"/>
                    <a:pt x="274" y="148"/>
                  </a:cubicBezTo>
                  <a:cubicBezTo>
                    <a:pt x="272" y="149"/>
                    <a:pt x="270" y="150"/>
                    <a:pt x="267" y="151"/>
                  </a:cubicBezTo>
                  <a:cubicBezTo>
                    <a:pt x="257" y="155"/>
                    <a:pt x="247" y="161"/>
                    <a:pt x="238" y="168"/>
                  </a:cubicBezTo>
                  <a:cubicBezTo>
                    <a:pt x="226" y="136"/>
                    <a:pt x="195" y="114"/>
                    <a:pt x="159" y="114"/>
                  </a:cubicBezTo>
                  <a:cubicBezTo>
                    <a:pt x="113" y="114"/>
                    <a:pt x="75" y="152"/>
                    <a:pt x="75" y="199"/>
                  </a:cubicBezTo>
                  <a:cubicBezTo>
                    <a:pt x="75" y="224"/>
                    <a:pt x="85" y="246"/>
                    <a:pt x="102" y="262"/>
                  </a:cubicBezTo>
                  <a:cubicBezTo>
                    <a:pt x="57" y="279"/>
                    <a:pt x="20" y="315"/>
                    <a:pt x="5" y="361"/>
                  </a:cubicBezTo>
                  <a:cubicBezTo>
                    <a:pt x="0" y="376"/>
                    <a:pt x="3" y="393"/>
                    <a:pt x="13" y="406"/>
                  </a:cubicBezTo>
                  <a:cubicBezTo>
                    <a:pt x="22" y="419"/>
                    <a:pt x="37" y="426"/>
                    <a:pt x="53" y="426"/>
                  </a:cubicBezTo>
                  <a:cubicBezTo>
                    <a:pt x="198" y="426"/>
                    <a:pt x="198" y="426"/>
                    <a:pt x="198" y="426"/>
                  </a:cubicBezTo>
                  <a:cubicBezTo>
                    <a:pt x="207" y="426"/>
                    <a:pt x="214" y="419"/>
                    <a:pt x="214" y="410"/>
                  </a:cubicBezTo>
                  <a:cubicBezTo>
                    <a:pt x="214" y="401"/>
                    <a:pt x="207" y="393"/>
                    <a:pt x="198" y="393"/>
                  </a:cubicBezTo>
                  <a:close/>
                  <a:moveTo>
                    <a:pt x="332" y="34"/>
                  </a:moveTo>
                  <a:cubicBezTo>
                    <a:pt x="360" y="34"/>
                    <a:pt x="383" y="57"/>
                    <a:pt x="383" y="85"/>
                  </a:cubicBezTo>
                  <a:cubicBezTo>
                    <a:pt x="383" y="114"/>
                    <a:pt x="360" y="137"/>
                    <a:pt x="332" y="137"/>
                  </a:cubicBezTo>
                  <a:cubicBezTo>
                    <a:pt x="303" y="137"/>
                    <a:pt x="280" y="114"/>
                    <a:pt x="280" y="85"/>
                  </a:cubicBezTo>
                  <a:cubicBezTo>
                    <a:pt x="280" y="57"/>
                    <a:pt x="303" y="34"/>
                    <a:pt x="332" y="34"/>
                  </a:cubicBezTo>
                  <a:close/>
                  <a:moveTo>
                    <a:pt x="159" y="148"/>
                  </a:moveTo>
                  <a:cubicBezTo>
                    <a:pt x="188" y="148"/>
                    <a:pt x="211" y="171"/>
                    <a:pt x="211" y="199"/>
                  </a:cubicBezTo>
                  <a:cubicBezTo>
                    <a:pt x="211" y="228"/>
                    <a:pt x="188" y="251"/>
                    <a:pt x="159" y="251"/>
                  </a:cubicBezTo>
                  <a:cubicBezTo>
                    <a:pt x="131" y="251"/>
                    <a:pt x="108" y="228"/>
                    <a:pt x="108" y="199"/>
                  </a:cubicBezTo>
                  <a:cubicBezTo>
                    <a:pt x="108" y="171"/>
                    <a:pt x="131" y="148"/>
                    <a:pt x="159" y="148"/>
                  </a:cubicBezTo>
                  <a:close/>
                  <a:moveTo>
                    <a:pt x="159" y="148"/>
                  </a:moveTo>
                  <a:cubicBezTo>
                    <a:pt x="159" y="148"/>
                    <a:pt x="159" y="148"/>
                    <a:pt x="159" y="148"/>
                  </a:cubicBezTo>
                </a:path>
              </a:pathLst>
            </a:custGeom>
            <a:gradFill flip="none" rotWithShape="1"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810000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64">
              <a:extLst>
                <a:ext uri="{FF2B5EF4-FFF2-40B4-BE49-F238E27FC236}">
                  <a16:creationId xmlns:a16="http://schemas.microsoft.com/office/drawing/2014/main" id="{EB6E356D-9626-437B-8F88-21040A95A2A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68415" y="3600543"/>
              <a:ext cx="599935" cy="455616"/>
            </a:xfrm>
            <a:custGeom>
              <a:avLst/>
              <a:gdLst>
                <a:gd name="T0" fmla="*/ 202 w 211"/>
                <a:gd name="T1" fmla="*/ 5 h 160"/>
                <a:gd name="T2" fmla="*/ 179 w 211"/>
                <a:gd name="T3" fmla="*/ 9 h 160"/>
                <a:gd name="T4" fmla="*/ 97 w 211"/>
                <a:gd name="T5" fmla="*/ 124 h 160"/>
                <a:gd name="T6" fmla="*/ 90 w 211"/>
                <a:gd name="T7" fmla="*/ 127 h 160"/>
                <a:gd name="T8" fmla="*/ 83 w 211"/>
                <a:gd name="T9" fmla="*/ 124 h 160"/>
                <a:gd name="T10" fmla="*/ 30 w 211"/>
                <a:gd name="T11" fmla="*/ 73 h 160"/>
                <a:gd name="T12" fmla="*/ 6 w 211"/>
                <a:gd name="T13" fmla="*/ 74 h 160"/>
                <a:gd name="T14" fmla="*/ 7 w 211"/>
                <a:gd name="T15" fmla="*/ 97 h 160"/>
                <a:gd name="T16" fmla="*/ 60 w 211"/>
                <a:gd name="T17" fmla="*/ 148 h 160"/>
                <a:gd name="T18" fmla="*/ 90 w 211"/>
                <a:gd name="T19" fmla="*/ 160 h 160"/>
                <a:gd name="T20" fmla="*/ 92 w 211"/>
                <a:gd name="T21" fmla="*/ 160 h 160"/>
                <a:gd name="T22" fmla="*/ 123 w 211"/>
                <a:gd name="T23" fmla="*/ 144 h 160"/>
                <a:gd name="T24" fmla="*/ 123 w 211"/>
                <a:gd name="T25" fmla="*/ 143 h 160"/>
                <a:gd name="T26" fmla="*/ 206 w 211"/>
                <a:gd name="T27" fmla="*/ 28 h 160"/>
                <a:gd name="T28" fmla="*/ 202 w 211"/>
                <a:gd name="T29" fmla="*/ 5 h 160"/>
                <a:gd name="T30" fmla="*/ 202 w 211"/>
                <a:gd name="T31" fmla="*/ 5 h 160"/>
                <a:gd name="T32" fmla="*/ 202 w 211"/>
                <a:gd name="T33" fmla="*/ 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11" h="160">
                  <a:moveTo>
                    <a:pt x="202" y="5"/>
                  </a:moveTo>
                  <a:cubicBezTo>
                    <a:pt x="194" y="0"/>
                    <a:pt x="184" y="2"/>
                    <a:pt x="179" y="9"/>
                  </a:cubicBezTo>
                  <a:cubicBezTo>
                    <a:pt x="97" y="124"/>
                    <a:pt x="97" y="124"/>
                    <a:pt x="97" y="124"/>
                  </a:cubicBezTo>
                  <a:cubicBezTo>
                    <a:pt x="94" y="126"/>
                    <a:pt x="92" y="127"/>
                    <a:pt x="90" y="127"/>
                  </a:cubicBezTo>
                  <a:cubicBezTo>
                    <a:pt x="89" y="127"/>
                    <a:pt x="86" y="127"/>
                    <a:pt x="83" y="124"/>
                  </a:cubicBezTo>
                  <a:cubicBezTo>
                    <a:pt x="30" y="73"/>
                    <a:pt x="30" y="73"/>
                    <a:pt x="30" y="73"/>
                  </a:cubicBezTo>
                  <a:cubicBezTo>
                    <a:pt x="23" y="67"/>
                    <a:pt x="13" y="67"/>
                    <a:pt x="6" y="74"/>
                  </a:cubicBezTo>
                  <a:cubicBezTo>
                    <a:pt x="0" y="80"/>
                    <a:pt x="0" y="91"/>
                    <a:pt x="7" y="97"/>
                  </a:cubicBezTo>
                  <a:cubicBezTo>
                    <a:pt x="60" y="148"/>
                    <a:pt x="60" y="148"/>
                    <a:pt x="60" y="148"/>
                  </a:cubicBezTo>
                  <a:cubicBezTo>
                    <a:pt x="68" y="156"/>
                    <a:pt x="79" y="160"/>
                    <a:pt x="90" y="160"/>
                  </a:cubicBezTo>
                  <a:cubicBezTo>
                    <a:pt x="91" y="160"/>
                    <a:pt x="91" y="160"/>
                    <a:pt x="92" y="160"/>
                  </a:cubicBezTo>
                  <a:cubicBezTo>
                    <a:pt x="104" y="159"/>
                    <a:pt x="115" y="153"/>
                    <a:pt x="123" y="144"/>
                  </a:cubicBezTo>
                  <a:cubicBezTo>
                    <a:pt x="123" y="144"/>
                    <a:pt x="123" y="144"/>
                    <a:pt x="123" y="143"/>
                  </a:cubicBezTo>
                  <a:cubicBezTo>
                    <a:pt x="206" y="28"/>
                    <a:pt x="206" y="28"/>
                    <a:pt x="206" y="28"/>
                  </a:cubicBezTo>
                  <a:cubicBezTo>
                    <a:pt x="211" y="21"/>
                    <a:pt x="209" y="11"/>
                    <a:pt x="202" y="5"/>
                  </a:cubicBezTo>
                  <a:close/>
                  <a:moveTo>
                    <a:pt x="202" y="5"/>
                  </a:moveTo>
                  <a:cubicBezTo>
                    <a:pt x="202" y="5"/>
                    <a:pt x="202" y="5"/>
                    <a:pt x="202" y="5"/>
                  </a:cubicBezTo>
                </a:path>
              </a:pathLst>
            </a:custGeom>
            <a:gradFill flip="none" rotWithShape="1"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810000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C6C13410-168C-4F8C-81CA-DD28C7DA65DE}"/>
              </a:ext>
            </a:extLst>
          </p:cNvPr>
          <p:cNvSpPr/>
          <p:nvPr userDrawn="1"/>
        </p:nvSpPr>
        <p:spPr>
          <a:xfrm>
            <a:off x="9154312" y="6309837"/>
            <a:ext cx="333533" cy="333533"/>
          </a:xfrm>
          <a:prstGeom prst="roundRect">
            <a:avLst>
              <a:gd name="adj" fmla="val 9599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2" name="Picture Placeholder 17">
            <a:extLst>
              <a:ext uri="{FF2B5EF4-FFF2-40B4-BE49-F238E27FC236}">
                <a16:creationId xmlns:a16="http://schemas.microsoft.com/office/drawing/2014/main" id="{69E797E5-AB73-4F00-8137-3AE6330BF3C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49380" y="1878756"/>
            <a:ext cx="2903682" cy="1781872"/>
          </a:xfrm>
          <a:custGeom>
            <a:avLst/>
            <a:gdLst>
              <a:gd name="connsiteX0" fmla="*/ 0 w 3194050"/>
              <a:gd name="connsiteY0" fmla="*/ 0 h 1960059"/>
              <a:gd name="connsiteX1" fmla="*/ 3194050 w 3194050"/>
              <a:gd name="connsiteY1" fmla="*/ 0 h 1960059"/>
              <a:gd name="connsiteX2" fmla="*/ 3194050 w 3194050"/>
              <a:gd name="connsiteY2" fmla="*/ 1960059 h 1960059"/>
              <a:gd name="connsiteX3" fmla="*/ 0 w 3194050"/>
              <a:gd name="connsiteY3" fmla="*/ 1960059 h 19600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94050" h="1960059">
                <a:moveTo>
                  <a:pt x="0" y="0"/>
                </a:moveTo>
                <a:lnTo>
                  <a:pt x="3194050" y="0"/>
                </a:lnTo>
                <a:lnTo>
                  <a:pt x="3194050" y="1960059"/>
                </a:lnTo>
                <a:lnTo>
                  <a:pt x="0" y="1960059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95" name="Picture Placeholder 17">
            <a:extLst>
              <a:ext uri="{FF2B5EF4-FFF2-40B4-BE49-F238E27FC236}">
                <a16:creationId xmlns:a16="http://schemas.microsoft.com/office/drawing/2014/main" id="{8225D1F5-04CA-4A44-ABD4-F90A0B9806B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208985" y="1878756"/>
            <a:ext cx="2903682" cy="1781872"/>
          </a:xfrm>
          <a:custGeom>
            <a:avLst/>
            <a:gdLst>
              <a:gd name="connsiteX0" fmla="*/ 0 w 3194050"/>
              <a:gd name="connsiteY0" fmla="*/ 0 h 1960059"/>
              <a:gd name="connsiteX1" fmla="*/ 3194050 w 3194050"/>
              <a:gd name="connsiteY1" fmla="*/ 0 h 1960059"/>
              <a:gd name="connsiteX2" fmla="*/ 3194050 w 3194050"/>
              <a:gd name="connsiteY2" fmla="*/ 1960059 h 1960059"/>
              <a:gd name="connsiteX3" fmla="*/ 0 w 3194050"/>
              <a:gd name="connsiteY3" fmla="*/ 1960059 h 19600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94050" h="1960059">
                <a:moveTo>
                  <a:pt x="0" y="0"/>
                </a:moveTo>
                <a:lnTo>
                  <a:pt x="3194050" y="0"/>
                </a:lnTo>
                <a:lnTo>
                  <a:pt x="3194050" y="1960059"/>
                </a:lnTo>
                <a:lnTo>
                  <a:pt x="0" y="1960059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96" name="Picture Placeholder 17">
            <a:extLst>
              <a:ext uri="{FF2B5EF4-FFF2-40B4-BE49-F238E27FC236}">
                <a16:creationId xmlns:a16="http://schemas.microsoft.com/office/drawing/2014/main" id="{A64F4352-3574-4318-902F-E63F447CCB5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68589" y="1878756"/>
            <a:ext cx="2903682" cy="1781872"/>
          </a:xfrm>
          <a:custGeom>
            <a:avLst/>
            <a:gdLst>
              <a:gd name="connsiteX0" fmla="*/ 0 w 3194050"/>
              <a:gd name="connsiteY0" fmla="*/ 0 h 1960059"/>
              <a:gd name="connsiteX1" fmla="*/ 3194050 w 3194050"/>
              <a:gd name="connsiteY1" fmla="*/ 0 h 1960059"/>
              <a:gd name="connsiteX2" fmla="*/ 3194050 w 3194050"/>
              <a:gd name="connsiteY2" fmla="*/ 1960059 h 1960059"/>
              <a:gd name="connsiteX3" fmla="*/ 0 w 3194050"/>
              <a:gd name="connsiteY3" fmla="*/ 1960059 h 19600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94050" h="1960059">
                <a:moveTo>
                  <a:pt x="0" y="0"/>
                </a:moveTo>
                <a:lnTo>
                  <a:pt x="3194050" y="0"/>
                </a:lnTo>
                <a:lnTo>
                  <a:pt x="3194050" y="1960059"/>
                </a:lnTo>
                <a:lnTo>
                  <a:pt x="0" y="1960059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90" name="Slide Number Placeholder 13">
            <a:extLst>
              <a:ext uri="{FF2B5EF4-FFF2-40B4-BE49-F238E27FC236}">
                <a16:creationId xmlns:a16="http://schemas.microsoft.com/office/drawing/2014/main" id="{2D3360C3-3CD2-4CAF-8FBC-B4108A2996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05250" y="6350048"/>
            <a:ext cx="431656" cy="2267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fld id="{1F70EEBF-E97C-49FF-B05B-3B4D348638DC}" type="slidenum">
              <a:rPr lang="en-US" smtClean="0"/>
              <a:pPr/>
              <a:t>‹Nr.›</a:t>
            </a:fld>
            <a:endParaRPr lang="en-US" dirty="0"/>
          </a:p>
        </p:txBody>
      </p:sp>
      <p:grpSp>
        <p:nvGrpSpPr>
          <p:cNvPr id="91" name="Group 90">
            <a:extLst>
              <a:ext uri="{FF2B5EF4-FFF2-40B4-BE49-F238E27FC236}">
                <a16:creationId xmlns:a16="http://schemas.microsoft.com/office/drawing/2014/main" id="{78DE4996-029D-4ACC-9BBB-84BF3ADF612A}"/>
              </a:ext>
            </a:extLst>
          </p:cNvPr>
          <p:cNvGrpSpPr/>
          <p:nvPr userDrawn="1"/>
        </p:nvGrpSpPr>
        <p:grpSpPr>
          <a:xfrm flipH="1">
            <a:off x="9760843" y="125"/>
            <a:ext cx="2431157" cy="2744859"/>
            <a:chOff x="1781175" y="-333375"/>
            <a:chExt cx="4314825" cy="6070600"/>
          </a:xfrm>
        </p:grpSpPr>
        <p:sp>
          <p:nvSpPr>
            <p:cNvPr id="93" name="Freeform 6">
              <a:extLst>
                <a:ext uri="{FF2B5EF4-FFF2-40B4-BE49-F238E27FC236}">
                  <a16:creationId xmlns:a16="http://schemas.microsoft.com/office/drawing/2014/main" id="{149F75FA-9B62-4DB3-BA6D-D5E84DFACA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81175" y="-333375"/>
              <a:ext cx="4314825" cy="6070600"/>
            </a:xfrm>
            <a:custGeom>
              <a:avLst/>
              <a:gdLst>
                <a:gd name="T0" fmla="*/ 877 w 2718"/>
                <a:gd name="T1" fmla="*/ 0 h 3824"/>
                <a:gd name="T2" fmla="*/ 0 w 2718"/>
                <a:gd name="T3" fmla="*/ 3793 h 3824"/>
                <a:gd name="T4" fmla="*/ 0 w 2718"/>
                <a:gd name="T5" fmla="*/ 3824 h 3824"/>
                <a:gd name="T6" fmla="*/ 2718 w 2718"/>
                <a:gd name="T7" fmla="*/ 0 h 3824"/>
                <a:gd name="T8" fmla="*/ 877 w 2718"/>
                <a:gd name="T9" fmla="*/ 0 h 3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18" h="3824">
                  <a:moveTo>
                    <a:pt x="877" y="0"/>
                  </a:moveTo>
                  <a:lnTo>
                    <a:pt x="0" y="3793"/>
                  </a:lnTo>
                  <a:lnTo>
                    <a:pt x="0" y="3824"/>
                  </a:lnTo>
                  <a:lnTo>
                    <a:pt x="2718" y="0"/>
                  </a:lnTo>
                  <a:lnTo>
                    <a:pt x="877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/>
                </a:gs>
                <a:gs pos="100000">
                  <a:schemeClr val="accent1"/>
                </a:gs>
              </a:gsLst>
              <a:lin ang="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7">
              <a:extLst>
                <a:ext uri="{FF2B5EF4-FFF2-40B4-BE49-F238E27FC236}">
                  <a16:creationId xmlns:a16="http://schemas.microsoft.com/office/drawing/2014/main" id="{98E2A206-ACEF-43FC-A215-4517BF841C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81175" y="-333375"/>
              <a:ext cx="1897064" cy="2189162"/>
            </a:xfrm>
            <a:custGeom>
              <a:avLst/>
              <a:gdLst>
                <a:gd name="T0" fmla="*/ 0 w 1195"/>
                <a:gd name="T1" fmla="*/ 0 h 1379"/>
                <a:gd name="T2" fmla="*/ 0 w 1195"/>
                <a:gd name="T3" fmla="*/ 1379 h 1379"/>
                <a:gd name="T4" fmla="*/ 1195 w 1195"/>
                <a:gd name="T5" fmla="*/ 0 h 1379"/>
                <a:gd name="T6" fmla="*/ 0 w 1195"/>
                <a:gd name="T7" fmla="*/ 0 h 1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95" h="1379">
                  <a:moveTo>
                    <a:pt x="0" y="0"/>
                  </a:moveTo>
                  <a:lnTo>
                    <a:pt x="0" y="1379"/>
                  </a:lnTo>
                  <a:lnTo>
                    <a:pt x="119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8">
              <a:extLst>
                <a:ext uri="{FF2B5EF4-FFF2-40B4-BE49-F238E27FC236}">
                  <a16:creationId xmlns:a16="http://schemas.microsoft.com/office/drawing/2014/main" id="{6694F2DC-DBB1-4BD7-8A4B-D86F217DD8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81175" y="-333375"/>
              <a:ext cx="1897063" cy="2189162"/>
            </a:xfrm>
            <a:custGeom>
              <a:avLst/>
              <a:gdLst>
                <a:gd name="T0" fmla="*/ 1176 w 1195"/>
                <a:gd name="T1" fmla="*/ 0 h 1379"/>
                <a:gd name="T2" fmla="*/ 0 w 1195"/>
                <a:gd name="T3" fmla="*/ 1184 h 1379"/>
                <a:gd name="T4" fmla="*/ 0 w 1195"/>
                <a:gd name="T5" fmla="*/ 1379 h 1379"/>
                <a:gd name="T6" fmla="*/ 1195 w 1195"/>
                <a:gd name="T7" fmla="*/ 0 h 1379"/>
                <a:gd name="T8" fmla="*/ 1176 w 1195"/>
                <a:gd name="T9" fmla="*/ 0 h 1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95" h="1379">
                  <a:moveTo>
                    <a:pt x="1176" y="0"/>
                  </a:moveTo>
                  <a:lnTo>
                    <a:pt x="0" y="1184"/>
                  </a:lnTo>
                  <a:lnTo>
                    <a:pt x="0" y="1379"/>
                  </a:lnTo>
                  <a:lnTo>
                    <a:pt x="1195" y="0"/>
                  </a:lnTo>
                  <a:lnTo>
                    <a:pt x="1176" y="0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  <a:alpha val="2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9">
              <a:extLst>
                <a:ext uri="{FF2B5EF4-FFF2-40B4-BE49-F238E27FC236}">
                  <a16:creationId xmlns:a16="http://schemas.microsoft.com/office/drawing/2014/main" id="{1CBDAF14-9219-432D-8F03-C0D0B9DB32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81175" y="-333375"/>
              <a:ext cx="1916113" cy="6040436"/>
            </a:xfrm>
            <a:custGeom>
              <a:avLst/>
              <a:gdLst>
                <a:gd name="T0" fmla="*/ 1195 w 1207"/>
                <a:gd name="T1" fmla="*/ 0 h 3805"/>
                <a:gd name="T2" fmla="*/ 0 w 1207"/>
                <a:gd name="T3" fmla="*/ 1379 h 3805"/>
                <a:gd name="T4" fmla="*/ 0 w 1207"/>
                <a:gd name="T5" fmla="*/ 3805 h 3805"/>
                <a:gd name="T6" fmla="*/ 1207 w 1207"/>
                <a:gd name="T7" fmla="*/ 0 h 3805"/>
                <a:gd name="T8" fmla="*/ 1195 w 1207"/>
                <a:gd name="T9" fmla="*/ 0 h 38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07" h="3805">
                  <a:moveTo>
                    <a:pt x="1195" y="0"/>
                  </a:moveTo>
                  <a:lnTo>
                    <a:pt x="0" y="1379"/>
                  </a:lnTo>
                  <a:lnTo>
                    <a:pt x="0" y="3805"/>
                  </a:lnTo>
                  <a:lnTo>
                    <a:pt x="1207" y="0"/>
                  </a:lnTo>
                  <a:lnTo>
                    <a:pt x="1195" y="0"/>
                  </a:ln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100000">
                  <a:schemeClr val="accent4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10">
              <a:extLst>
                <a:ext uri="{FF2B5EF4-FFF2-40B4-BE49-F238E27FC236}">
                  <a16:creationId xmlns:a16="http://schemas.microsoft.com/office/drawing/2014/main" id="{05496058-7296-4F75-A32E-5CFB4D6B0F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81175" y="1301750"/>
              <a:ext cx="1398587" cy="4405312"/>
            </a:xfrm>
            <a:custGeom>
              <a:avLst/>
              <a:gdLst>
                <a:gd name="T0" fmla="*/ 0 w 881"/>
                <a:gd name="T1" fmla="*/ 494 h 2775"/>
                <a:gd name="T2" fmla="*/ 0 w 881"/>
                <a:gd name="T3" fmla="*/ 2775 h 2775"/>
                <a:gd name="T4" fmla="*/ 881 w 881"/>
                <a:gd name="T5" fmla="*/ 0 h 2775"/>
                <a:gd name="T6" fmla="*/ 0 w 881"/>
                <a:gd name="T7" fmla="*/ 494 h 2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81" h="2775">
                  <a:moveTo>
                    <a:pt x="0" y="494"/>
                  </a:moveTo>
                  <a:lnTo>
                    <a:pt x="0" y="2775"/>
                  </a:lnTo>
                  <a:lnTo>
                    <a:pt x="881" y="0"/>
                  </a:lnTo>
                  <a:lnTo>
                    <a:pt x="0" y="494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/>
                </a:gs>
                <a:gs pos="100000">
                  <a:schemeClr val="accent4"/>
                </a:gs>
              </a:gsLst>
              <a:lin ang="1620000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217926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_Full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E8CACA21-A72F-4920-AA54-3E20921B1B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712402" y="6335762"/>
            <a:ext cx="2062071" cy="254745"/>
          </a:xfrm>
          <a:prstGeom prst="rect">
            <a:avLst/>
          </a:prstGeom>
        </p:spPr>
        <p:txBody>
          <a:bodyPr/>
          <a:lstStyle>
            <a:lvl1pPr algn="l">
              <a:defRPr sz="1200" spc="0" baseline="0">
                <a:solidFill>
                  <a:schemeClr val="bg1">
                    <a:lumMod val="65000"/>
                  </a:schemeClr>
                </a:solidFill>
                <a:effectLst/>
                <a:latin typeface="+mn-lt"/>
              </a:defRPr>
            </a:lvl1pPr>
          </a:lstStyle>
          <a:p>
            <a:r>
              <a:rPr lang="en-US"/>
              <a:t>insertyoururlhere.com</a:t>
            </a:r>
            <a:endParaRPr lang="en-US" dirty="0"/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08C84B09-FAEC-4A75-8886-DC153F75334C}"/>
              </a:ext>
            </a:extLst>
          </p:cNvPr>
          <p:cNvGrpSpPr/>
          <p:nvPr userDrawn="1"/>
        </p:nvGrpSpPr>
        <p:grpSpPr>
          <a:xfrm>
            <a:off x="855518" y="2510"/>
            <a:ext cx="1997364" cy="1405659"/>
            <a:chOff x="1450975" y="-26194"/>
            <a:chExt cx="2197100" cy="1546225"/>
          </a:xfrm>
          <a:solidFill>
            <a:schemeClr val="tx1">
              <a:lumMod val="75000"/>
              <a:lumOff val="25000"/>
              <a:alpha val="10000"/>
            </a:schemeClr>
          </a:solidFill>
        </p:grpSpPr>
        <p:sp>
          <p:nvSpPr>
            <p:cNvPr id="47" name="Freeform 30">
              <a:extLst>
                <a:ext uri="{FF2B5EF4-FFF2-40B4-BE49-F238E27FC236}">
                  <a16:creationId xmlns:a16="http://schemas.microsoft.com/office/drawing/2014/main" id="{8FD86F56-87BC-4766-9BB4-6324531D141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0125" y="-26194"/>
              <a:ext cx="12700" cy="3175"/>
            </a:xfrm>
            <a:custGeom>
              <a:avLst/>
              <a:gdLst>
                <a:gd name="T0" fmla="*/ 0 w 4"/>
                <a:gd name="T1" fmla="*/ 0 h 1"/>
                <a:gd name="T2" fmla="*/ 0 w 4"/>
                <a:gd name="T3" fmla="*/ 1 h 1"/>
                <a:gd name="T4" fmla="*/ 4 w 4"/>
                <a:gd name="T5" fmla="*/ 1 h 1"/>
                <a:gd name="T6" fmla="*/ 4 w 4"/>
                <a:gd name="T7" fmla="*/ 0 h 1"/>
                <a:gd name="T8" fmla="*/ 0 w 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31">
              <a:extLst>
                <a:ext uri="{FF2B5EF4-FFF2-40B4-BE49-F238E27FC236}">
                  <a16:creationId xmlns:a16="http://schemas.microsoft.com/office/drawing/2014/main" id="{62D41CD2-0B48-465B-9761-59D240850B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225" y="-26194"/>
              <a:ext cx="12700" cy="3175"/>
            </a:xfrm>
            <a:custGeom>
              <a:avLst/>
              <a:gdLst>
                <a:gd name="T0" fmla="*/ 4 w 4"/>
                <a:gd name="T1" fmla="*/ 0 h 1"/>
                <a:gd name="T2" fmla="*/ 0 w 4"/>
                <a:gd name="T3" fmla="*/ 0 h 1"/>
                <a:gd name="T4" fmla="*/ 0 w 4"/>
                <a:gd name="T5" fmla="*/ 1 h 1"/>
                <a:gd name="T6" fmla="*/ 4 w 4"/>
                <a:gd name="T7" fmla="*/ 1 h 1"/>
                <a:gd name="T8" fmla="*/ 4 w 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32">
              <a:extLst>
                <a:ext uri="{FF2B5EF4-FFF2-40B4-BE49-F238E27FC236}">
                  <a16:creationId xmlns:a16="http://schemas.microsoft.com/office/drawing/2014/main" id="{9D7D6241-E72C-45D3-9511-3BDF420D5AB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0975" y="-23019"/>
              <a:ext cx="2197100" cy="1543050"/>
            </a:xfrm>
            <a:custGeom>
              <a:avLst/>
              <a:gdLst>
                <a:gd name="T0" fmla="*/ 688 w 692"/>
                <a:gd name="T1" fmla="*/ 140 h 486"/>
                <a:gd name="T2" fmla="*/ 346 w 692"/>
                <a:gd name="T3" fmla="*/ 483 h 486"/>
                <a:gd name="T4" fmla="*/ 3 w 692"/>
                <a:gd name="T5" fmla="*/ 140 h 486"/>
                <a:gd name="T6" fmla="*/ 34 w 692"/>
                <a:gd name="T7" fmla="*/ 0 h 486"/>
                <a:gd name="T8" fmla="*/ 30 w 692"/>
                <a:gd name="T9" fmla="*/ 0 h 486"/>
                <a:gd name="T10" fmla="*/ 0 w 692"/>
                <a:gd name="T11" fmla="*/ 140 h 486"/>
                <a:gd name="T12" fmla="*/ 346 w 692"/>
                <a:gd name="T13" fmla="*/ 486 h 486"/>
                <a:gd name="T14" fmla="*/ 692 w 692"/>
                <a:gd name="T15" fmla="*/ 140 h 486"/>
                <a:gd name="T16" fmla="*/ 662 w 692"/>
                <a:gd name="T17" fmla="*/ 0 h 486"/>
                <a:gd name="T18" fmla="*/ 658 w 692"/>
                <a:gd name="T19" fmla="*/ 0 h 486"/>
                <a:gd name="T20" fmla="*/ 688 w 692"/>
                <a:gd name="T21" fmla="*/ 140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92" h="486">
                  <a:moveTo>
                    <a:pt x="688" y="140"/>
                  </a:moveTo>
                  <a:cubicBezTo>
                    <a:pt x="688" y="329"/>
                    <a:pt x="535" y="483"/>
                    <a:pt x="346" y="483"/>
                  </a:cubicBezTo>
                  <a:cubicBezTo>
                    <a:pt x="157" y="483"/>
                    <a:pt x="3" y="329"/>
                    <a:pt x="3" y="140"/>
                  </a:cubicBezTo>
                  <a:cubicBezTo>
                    <a:pt x="3" y="90"/>
                    <a:pt x="14" y="43"/>
                    <a:pt x="34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11" y="43"/>
                    <a:pt x="0" y="90"/>
                    <a:pt x="0" y="140"/>
                  </a:cubicBezTo>
                  <a:cubicBezTo>
                    <a:pt x="0" y="331"/>
                    <a:pt x="155" y="486"/>
                    <a:pt x="346" y="486"/>
                  </a:cubicBezTo>
                  <a:cubicBezTo>
                    <a:pt x="536" y="486"/>
                    <a:pt x="692" y="331"/>
                    <a:pt x="692" y="140"/>
                  </a:cubicBezTo>
                  <a:cubicBezTo>
                    <a:pt x="692" y="90"/>
                    <a:pt x="681" y="43"/>
                    <a:pt x="662" y="0"/>
                  </a:cubicBezTo>
                  <a:cubicBezTo>
                    <a:pt x="658" y="0"/>
                    <a:pt x="658" y="0"/>
                    <a:pt x="658" y="0"/>
                  </a:cubicBezTo>
                  <a:cubicBezTo>
                    <a:pt x="677" y="43"/>
                    <a:pt x="688" y="90"/>
                    <a:pt x="688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33">
              <a:extLst>
                <a:ext uri="{FF2B5EF4-FFF2-40B4-BE49-F238E27FC236}">
                  <a16:creationId xmlns:a16="http://schemas.microsoft.com/office/drawing/2014/main" id="{5950A7FD-AAE1-4253-8AE1-2B966BBDC88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3925" y="-26194"/>
              <a:ext cx="9525" cy="3175"/>
            </a:xfrm>
            <a:custGeom>
              <a:avLst/>
              <a:gdLst>
                <a:gd name="T0" fmla="*/ 0 w 3"/>
                <a:gd name="T1" fmla="*/ 1 h 1"/>
                <a:gd name="T2" fmla="*/ 3 w 3"/>
                <a:gd name="T3" fmla="*/ 1 h 1"/>
                <a:gd name="T4" fmla="*/ 3 w 3"/>
                <a:gd name="T5" fmla="*/ 0 h 1"/>
                <a:gd name="T6" fmla="*/ 0 w 3"/>
                <a:gd name="T7" fmla="*/ 0 h 1"/>
                <a:gd name="T8" fmla="*/ 0 w 3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34">
              <a:extLst>
                <a:ext uri="{FF2B5EF4-FFF2-40B4-BE49-F238E27FC236}">
                  <a16:creationId xmlns:a16="http://schemas.microsoft.com/office/drawing/2014/main" id="{A2B9865F-376A-4638-B3AA-FA96E16496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2425" y="-26194"/>
              <a:ext cx="12700" cy="3175"/>
            </a:xfrm>
            <a:custGeom>
              <a:avLst/>
              <a:gdLst>
                <a:gd name="T0" fmla="*/ 4 w 4"/>
                <a:gd name="T1" fmla="*/ 1 h 1"/>
                <a:gd name="T2" fmla="*/ 4 w 4"/>
                <a:gd name="T3" fmla="*/ 0 h 1"/>
                <a:gd name="T4" fmla="*/ 1 w 4"/>
                <a:gd name="T5" fmla="*/ 0 h 1"/>
                <a:gd name="T6" fmla="*/ 0 w 4"/>
                <a:gd name="T7" fmla="*/ 1 h 1"/>
                <a:gd name="T8" fmla="*/ 4 w 4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1"/>
                  </a:moveTo>
                  <a:cubicBezTo>
                    <a:pt x="4" y="1"/>
                    <a:pt x="4" y="1"/>
                    <a:pt x="4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35">
              <a:extLst>
                <a:ext uri="{FF2B5EF4-FFF2-40B4-BE49-F238E27FC236}">
                  <a16:creationId xmlns:a16="http://schemas.microsoft.com/office/drawing/2014/main" id="{7C0CAAD9-B35B-48A2-B02F-21ED7215DC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0825" y="-23019"/>
              <a:ext cx="2054225" cy="1473200"/>
            </a:xfrm>
            <a:custGeom>
              <a:avLst/>
              <a:gdLst>
                <a:gd name="T0" fmla="*/ 644 w 647"/>
                <a:gd name="T1" fmla="*/ 140 h 464"/>
                <a:gd name="T2" fmla="*/ 324 w 647"/>
                <a:gd name="T3" fmla="*/ 460 h 464"/>
                <a:gd name="T4" fmla="*/ 4 w 647"/>
                <a:gd name="T5" fmla="*/ 140 h 464"/>
                <a:gd name="T6" fmla="*/ 36 w 647"/>
                <a:gd name="T7" fmla="*/ 0 h 464"/>
                <a:gd name="T8" fmla="*/ 32 w 647"/>
                <a:gd name="T9" fmla="*/ 0 h 464"/>
                <a:gd name="T10" fmla="*/ 0 w 647"/>
                <a:gd name="T11" fmla="*/ 140 h 464"/>
                <a:gd name="T12" fmla="*/ 324 w 647"/>
                <a:gd name="T13" fmla="*/ 464 h 464"/>
                <a:gd name="T14" fmla="*/ 647 w 647"/>
                <a:gd name="T15" fmla="*/ 140 h 464"/>
                <a:gd name="T16" fmla="*/ 615 w 647"/>
                <a:gd name="T17" fmla="*/ 0 h 464"/>
                <a:gd name="T18" fmla="*/ 612 w 647"/>
                <a:gd name="T19" fmla="*/ 0 h 464"/>
                <a:gd name="T20" fmla="*/ 644 w 647"/>
                <a:gd name="T21" fmla="*/ 140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47" h="464">
                  <a:moveTo>
                    <a:pt x="644" y="140"/>
                  </a:moveTo>
                  <a:cubicBezTo>
                    <a:pt x="644" y="317"/>
                    <a:pt x="500" y="460"/>
                    <a:pt x="324" y="460"/>
                  </a:cubicBezTo>
                  <a:cubicBezTo>
                    <a:pt x="147" y="460"/>
                    <a:pt x="4" y="317"/>
                    <a:pt x="4" y="140"/>
                  </a:cubicBezTo>
                  <a:cubicBezTo>
                    <a:pt x="4" y="90"/>
                    <a:pt x="15" y="42"/>
                    <a:pt x="36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12" y="42"/>
                    <a:pt x="0" y="90"/>
                    <a:pt x="0" y="140"/>
                  </a:cubicBezTo>
                  <a:cubicBezTo>
                    <a:pt x="0" y="319"/>
                    <a:pt x="145" y="464"/>
                    <a:pt x="324" y="464"/>
                  </a:cubicBezTo>
                  <a:cubicBezTo>
                    <a:pt x="502" y="464"/>
                    <a:pt x="647" y="319"/>
                    <a:pt x="647" y="140"/>
                  </a:cubicBezTo>
                  <a:cubicBezTo>
                    <a:pt x="647" y="90"/>
                    <a:pt x="636" y="42"/>
                    <a:pt x="615" y="0"/>
                  </a:cubicBezTo>
                  <a:cubicBezTo>
                    <a:pt x="612" y="0"/>
                    <a:pt x="612" y="0"/>
                    <a:pt x="612" y="0"/>
                  </a:cubicBezTo>
                  <a:cubicBezTo>
                    <a:pt x="632" y="42"/>
                    <a:pt x="644" y="90"/>
                    <a:pt x="644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36">
              <a:extLst>
                <a:ext uri="{FF2B5EF4-FFF2-40B4-BE49-F238E27FC236}">
                  <a16:creationId xmlns:a16="http://schemas.microsoft.com/office/drawing/2014/main" id="{B8B8251C-1295-4342-BCC1-B378D183AF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-26194"/>
              <a:ext cx="12700" cy="3175"/>
            </a:xfrm>
            <a:custGeom>
              <a:avLst/>
              <a:gdLst>
                <a:gd name="T0" fmla="*/ 4 w 4"/>
                <a:gd name="T1" fmla="*/ 0 h 1"/>
                <a:gd name="T2" fmla="*/ 1 w 4"/>
                <a:gd name="T3" fmla="*/ 0 h 1"/>
                <a:gd name="T4" fmla="*/ 0 w 4"/>
                <a:gd name="T5" fmla="*/ 1 h 1"/>
                <a:gd name="T6" fmla="*/ 4 w 4"/>
                <a:gd name="T7" fmla="*/ 1 h 1"/>
                <a:gd name="T8" fmla="*/ 4 w 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7">
              <a:extLst>
                <a:ext uri="{FF2B5EF4-FFF2-40B4-BE49-F238E27FC236}">
                  <a16:creationId xmlns:a16="http://schemas.microsoft.com/office/drawing/2014/main" id="{5093996E-53D2-4A3B-BE91-71EBD6AC6524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4550" y="-26194"/>
              <a:ext cx="12700" cy="3175"/>
            </a:xfrm>
            <a:custGeom>
              <a:avLst/>
              <a:gdLst>
                <a:gd name="T0" fmla="*/ 0 w 4"/>
                <a:gd name="T1" fmla="*/ 0 h 1"/>
                <a:gd name="T2" fmla="*/ 1 w 4"/>
                <a:gd name="T3" fmla="*/ 1 h 1"/>
                <a:gd name="T4" fmla="*/ 4 w 4"/>
                <a:gd name="T5" fmla="*/ 1 h 1"/>
                <a:gd name="T6" fmla="*/ 4 w 4"/>
                <a:gd name="T7" fmla="*/ 0 h 1"/>
                <a:gd name="T8" fmla="*/ 0 w 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0" y="0"/>
                  </a:moveTo>
                  <a:cubicBezTo>
                    <a:pt x="0" y="1"/>
                    <a:pt x="1" y="1"/>
                    <a:pt x="1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8">
              <a:extLst>
                <a:ext uri="{FF2B5EF4-FFF2-40B4-BE49-F238E27FC236}">
                  <a16:creationId xmlns:a16="http://schemas.microsoft.com/office/drawing/2014/main" id="{3E187798-6D30-447C-A02A-C4C14ABB3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0675" y="-23019"/>
              <a:ext cx="1917700" cy="1403350"/>
            </a:xfrm>
            <a:custGeom>
              <a:avLst/>
              <a:gdLst>
                <a:gd name="T0" fmla="*/ 601 w 604"/>
                <a:gd name="T1" fmla="*/ 140 h 442"/>
                <a:gd name="T2" fmla="*/ 302 w 604"/>
                <a:gd name="T3" fmla="*/ 439 h 442"/>
                <a:gd name="T4" fmla="*/ 3 w 604"/>
                <a:gd name="T5" fmla="*/ 140 h 442"/>
                <a:gd name="T6" fmla="*/ 38 w 604"/>
                <a:gd name="T7" fmla="*/ 0 h 442"/>
                <a:gd name="T8" fmla="*/ 34 w 604"/>
                <a:gd name="T9" fmla="*/ 0 h 442"/>
                <a:gd name="T10" fmla="*/ 0 w 604"/>
                <a:gd name="T11" fmla="*/ 140 h 442"/>
                <a:gd name="T12" fmla="*/ 302 w 604"/>
                <a:gd name="T13" fmla="*/ 442 h 442"/>
                <a:gd name="T14" fmla="*/ 604 w 604"/>
                <a:gd name="T15" fmla="*/ 140 h 442"/>
                <a:gd name="T16" fmla="*/ 569 w 604"/>
                <a:gd name="T17" fmla="*/ 0 h 442"/>
                <a:gd name="T18" fmla="*/ 566 w 604"/>
                <a:gd name="T19" fmla="*/ 0 h 442"/>
                <a:gd name="T20" fmla="*/ 601 w 604"/>
                <a:gd name="T21" fmla="*/ 14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04" h="442">
                  <a:moveTo>
                    <a:pt x="601" y="140"/>
                  </a:moveTo>
                  <a:cubicBezTo>
                    <a:pt x="601" y="305"/>
                    <a:pt x="467" y="439"/>
                    <a:pt x="302" y="439"/>
                  </a:cubicBezTo>
                  <a:cubicBezTo>
                    <a:pt x="137" y="439"/>
                    <a:pt x="3" y="305"/>
                    <a:pt x="3" y="140"/>
                  </a:cubicBezTo>
                  <a:cubicBezTo>
                    <a:pt x="3" y="89"/>
                    <a:pt x="16" y="42"/>
                    <a:pt x="38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12" y="42"/>
                    <a:pt x="0" y="90"/>
                    <a:pt x="0" y="140"/>
                  </a:cubicBezTo>
                  <a:cubicBezTo>
                    <a:pt x="0" y="307"/>
                    <a:pt x="135" y="442"/>
                    <a:pt x="302" y="442"/>
                  </a:cubicBezTo>
                  <a:cubicBezTo>
                    <a:pt x="468" y="442"/>
                    <a:pt x="604" y="307"/>
                    <a:pt x="604" y="140"/>
                  </a:cubicBezTo>
                  <a:cubicBezTo>
                    <a:pt x="604" y="90"/>
                    <a:pt x="591" y="42"/>
                    <a:pt x="569" y="0"/>
                  </a:cubicBezTo>
                  <a:cubicBezTo>
                    <a:pt x="566" y="0"/>
                    <a:pt x="566" y="0"/>
                    <a:pt x="566" y="0"/>
                  </a:cubicBezTo>
                  <a:cubicBezTo>
                    <a:pt x="588" y="42"/>
                    <a:pt x="601" y="89"/>
                    <a:pt x="601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39">
              <a:extLst>
                <a:ext uri="{FF2B5EF4-FFF2-40B4-BE49-F238E27FC236}">
                  <a16:creationId xmlns:a16="http://schemas.microsoft.com/office/drawing/2014/main" id="{B250A47E-206F-457B-8000-99DFD78A17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1175" y="-26194"/>
              <a:ext cx="12700" cy="3175"/>
            </a:xfrm>
            <a:custGeom>
              <a:avLst/>
              <a:gdLst>
                <a:gd name="T0" fmla="*/ 4 w 4"/>
                <a:gd name="T1" fmla="*/ 1 h 1"/>
                <a:gd name="T2" fmla="*/ 4 w 4"/>
                <a:gd name="T3" fmla="*/ 0 h 1"/>
                <a:gd name="T4" fmla="*/ 0 w 4"/>
                <a:gd name="T5" fmla="*/ 0 h 1"/>
                <a:gd name="T6" fmla="*/ 0 w 4"/>
                <a:gd name="T7" fmla="*/ 1 h 1"/>
                <a:gd name="T8" fmla="*/ 4 w 4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1"/>
                  </a:moveTo>
                  <a:cubicBezTo>
                    <a:pt x="4" y="1"/>
                    <a:pt x="4" y="1"/>
                    <a:pt x="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40">
              <a:extLst>
                <a:ext uri="{FF2B5EF4-FFF2-40B4-BE49-F238E27FC236}">
                  <a16:creationId xmlns:a16="http://schemas.microsoft.com/office/drawing/2014/main" id="{54FC95A4-DC3D-4300-AFC9-9F8FCF54C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5175" y="-26194"/>
              <a:ext cx="12700" cy="3175"/>
            </a:xfrm>
            <a:custGeom>
              <a:avLst/>
              <a:gdLst>
                <a:gd name="T0" fmla="*/ 0 w 4"/>
                <a:gd name="T1" fmla="*/ 1 h 1"/>
                <a:gd name="T2" fmla="*/ 4 w 4"/>
                <a:gd name="T3" fmla="*/ 1 h 1"/>
                <a:gd name="T4" fmla="*/ 3 w 4"/>
                <a:gd name="T5" fmla="*/ 0 h 1"/>
                <a:gd name="T6" fmla="*/ 0 w 4"/>
                <a:gd name="T7" fmla="*/ 0 h 1"/>
                <a:gd name="T8" fmla="*/ 0 w 4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0" y="1"/>
                  </a:moveTo>
                  <a:cubicBezTo>
                    <a:pt x="4" y="1"/>
                    <a:pt x="4" y="1"/>
                    <a:pt x="4" y="1"/>
                  </a:cubicBezTo>
                  <a:cubicBezTo>
                    <a:pt x="3" y="1"/>
                    <a:pt x="3" y="1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41">
              <a:extLst>
                <a:ext uri="{FF2B5EF4-FFF2-40B4-BE49-F238E27FC236}">
                  <a16:creationId xmlns:a16="http://schemas.microsoft.com/office/drawing/2014/main" id="{BDD3DF79-B444-4FD5-8484-9A4802AA20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0525" y="-23019"/>
              <a:ext cx="1774825" cy="1333500"/>
            </a:xfrm>
            <a:custGeom>
              <a:avLst/>
              <a:gdLst>
                <a:gd name="T0" fmla="*/ 556 w 559"/>
                <a:gd name="T1" fmla="*/ 140 h 420"/>
                <a:gd name="T2" fmla="*/ 280 w 559"/>
                <a:gd name="T3" fmla="*/ 416 h 420"/>
                <a:gd name="T4" fmla="*/ 4 w 559"/>
                <a:gd name="T5" fmla="*/ 140 h 420"/>
                <a:gd name="T6" fmla="*/ 42 w 559"/>
                <a:gd name="T7" fmla="*/ 0 h 420"/>
                <a:gd name="T8" fmla="*/ 38 w 559"/>
                <a:gd name="T9" fmla="*/ 0 h 420"/>
                <a:gd name="T10" fmla="*/ 0 w 559"/>
                <a:gd name="T11" fmla="*/ 140 h 420"/>
                <a:gd name="T12" fmla="*/ 280 w 559"/>
                <a:gd name="T13" fmla="*/ 420 h 420"/>
                <a:gd name="T14" fmla="*/ 559 w 559"/>
                <a:gd name="T15" fmla="*/ 140 h 420"/>
                <a:gd name="T16" fmla="*/ 522 w 559"/>
                <a:gd name="T17" fmla="*/ 0 h 420"/>
                <a:gd name="T18" fmla="*/ 518 w 559"/>
                <a:gd name="T19" fmla="*/ 0 h 420"/>
                <a:gd name="T20" fmla="*/ 556 w 559"/>
                <a:gd name="T21" fmla="*/ 140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59" h="420">
                  <a:moveTo>
                    <a:pt x="556" y="140"/>
                  </a:moveTo>
                  <a:cubicBezTo>
                    <a:pt x="556" y="293"/>
                    <a:pt x="432" y="416"/>
                    <a:pt x="280" y="416"/>
                  </a:cubicBezTo>
                  <a:cubicBezTo>
                    <a:pt x="128" y="416"/>
                    <a:pt x="4" y="293"/>
                    <a:pt x="4" y="140"/>
                  </a:cubicBezTo>
                  <a:cubicBezTo>
                    <a:pt x="4" y="89"/>
                    <a:pt x="18" y="41"/>
                    <a:pt x="42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14" y="41"/>
                    <a:pt x="0" y="89"/>
                    <a:pt x="0" y="140"/>
                  </a:cubicBezTo>
                  <a:cubicBezTo>
                    <a:pt x="0" y="294"/>
                    <a:pt x="126" y="420"/>
                    <a:pt x="280" y="420"/>
                  </a:cubicBezTo>
                  <a:cubicBezTo>
                    <a:pt x="434" y="420"/>
                    <a:pt x="559" y="294"/>
                    <a:pt x="559" y="140"/>
                  </a:cubicBezTo>
                  <a:cubicBezTo>
                    <a:pt x="559" y="89"/>
                    <a:pt x="546" y="41"/>
                    <a:pt x="522" y="0"/>
                  </a:cubicBezTo>
                  <a:cubicBezTo>
                    <a:pt x="518" y="0"/>
                    <a:pt x="518" y="0"/>
                    <a:pt x="518" y="0"/>
                  </a:cubicBezTo>
                  <a:cubicBezTo>
                    <a:pt x="542" y="41"/>
                    <a:pt x="556" y="89"/>
                    <a:pt x="556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42">
              <a:extLst>
                <a:ext uri="{FF2B5EF4-FFF2-40B4-BE49-F238E27FC236}">
                  <a16:creationId xmlns:a16="http://schemas.microsoft.com/office/drawing/2014/main" id="{91E2A178-552E-476F-AEDA-F519B4623B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4200" y="-26194"/>
              <a:ext cx="12700" cy="3175"/>
            </a:xfrm>
            <a:custGeom>
              <a:avLst/>
              <a:gdLst>
                <a:gd name="T0" fmla="*/ 4 w 4"/>
                <a:gd name="T1" fmla="*/ 0 h 1"/>
                <a:gd name="T2" fmla="*/ 0 w 4"/>
                <a:gd name="T3" fmla="*/ 0 h 1"/>
                <a:gd name="T4" fmla="*/ 0 w 4"/>
                <a:gd name="T5" fmla="*/ 1 h 1"/>
                <a:gd name="T6" fmla="*/ 4 w 4"/>
                <a:gd name="T7" fmla="*/ 1 h 1"/>
                <a:gd name="T8" fmla="*/ 4 w 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43">
              <a:extLst>
                <a:ext uri="{FF2B5EF4-FFF2-40B4-BE49-F238E27FC236}">
                  <a16:creationId xmlns:a16="http://schemas.microsoft.com/office/drawing/2014/main" id="{4B8EF77E-47F9-40B2-BF83-77BF5EC2A1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8975" y="-26194"/>
              <a:ext cx="15875" cy="3175"/>
            </a:xfrm>
            <a:custGeom>
              <a:avLst/>
              <a:gdLst>
                <a:gd name="T0" fmla="*/ 0 w 5"/>
                <a:gd name="T1" fmla="*/ 0 h 1"/>
                <a:gd name="T2" fmla="*/ 1 w 5"/>
                <a:gd name="T3" fmla="*/ 1 h 1"/>
                <a:gd name="T4" fmla="*/ 5 w 5"/>
                <a:gd name="T5" fmla="*/ 1 h 1"/>
                <a:gd name="T6" fmla="*/ 4 w 5"/>
                <a:gd name="T7" fmla="*/ 0 h 1"/>
                <a:gd name="T8" fmla="*/ 0 w 5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">
                  <a:moveTo>
                    <a:pt x="0" y="0"/>
                  </a:moveTo>
                  <a:cubicBezTo>
                    <a:pt x="0" y="1"/>
                    <a:pt x="1" y="1"/>
                    <a:pt x="1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4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44">
              <a:extLst>
                <a:ext uri="{FF2B5EF4-FFF2-40B4-BE49-F238E27FC236}">
                  <a16:creationId xmlns:a16="http://schemas.microsoft.com/office/drawing/2014/main" id="{E6041A9A-462A-44C0-BB57-33EBCF6FB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4025" y="-23019"/>
              <a:ext cx="1651000" cy="1270000"/>
            </a:xfrm>
            <a:custGeom>
              <a:avLst/>
              <a:gdLst>
                <a:gd name="T0" fmla="*/ 517 w 520"/>
                <a:gd name="T1" fmla="*/ 140 h 400"/>
                <a:gd name="T2" fmla="*/ 260 w 520"/>
                <a:gd name="T3" fmla="*/ 397 h 400"/>
                <a:gd name="T4" fmla="*/ 3 w 520"/>
                <a:gd name="T5" fmla="*/ 140 h 400"/>
                <a:gd name="T6" fmla="*/ 45 w 520"/>
                <a:gd name="T7" fmla="*/ 0 h 400"/>
                <a:gd name="T8" fmla="*/ 41 w 520"/>
                <a:gd name="T9" fmla="*/ 0 h 400"/>
                <a:gd name="T10" fmla="*/ 0 w 520"/>
                <a:gd name="T11" fmla="*/ 140 h 400"/>
                <a:gd name="T12" fmla="*/ 260 w 520"/>
                <a:gd name="T13" fmla="*/ 400 h 400"/>
                <a:gd name="T14" fmla="*/ 520 w 520"/>
                <a:gd name="T15" fmla="*/ 140 h 400"/>
                <a:gd name="T16" fmla="*/ 479 w 520"/>
                <a:gd name="T17" fmla="*/ 0 h 400"/>
                <a:gd name="T18" fmla="*/ 475 w 520"/>
                <a:gd name="T19" fmla="*/ 0 h 400"/>
                <a:gd name="T20" fmla="*/ 517 w 520"/>
                <a:gd name="T21" fmla="*/ 14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20" h="400">
                  <a:moveTo>
                    <a:pt x="517" y="140"/>
                  </a:moveTo>
                  <a:cubicBezTo>
                    <a:pt x="517" y="282"/>
                    <a:pt x="401" y="397"/>
                    <a:pt x="260" y="397"/>
                  </a:cubicBezTo>
                  <a:cubicBezTo>
                    <a:pt x="118" y="397"/>
                    <a:pt x="3" y="282"/>
                    <a:pt x="3" y="140"/>
                  </a:cubicBezTo>
                  <a:cubicBezTo>
                    <a:pt x="3" y="88"/>
                    <a:pt x="19" y="40"/>
                    <a:pt x="45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15" y="40"/>
                    <a:pt x="0" y="89"/>
                    <a:pt x="0" y="140"/>
                  </a:cubicBezTo>
                  <a:cubicBezTo>
                    <a:pt x="0" y="284"/>
                    <a:pt x="117" y="400"/>
                    <a:pt x="260" y="400"/>
                  </a:cubicBezTo>
                  <a:cubicBezTo>
                    <a:pt x="403" y="400"/>
                    <a:pt x="520" y="284"/>
                    <a:pt x="520" y="140"/>
                  </a:cubicBezTo>
                  <a:cubicBezTo>
                    <a:pt x="520" y="89"/>
                    <a:pt x="505" y="40"/>
                    <a:pt x="479" y="0"/>
                  </a:cubicBezTo>
                  <a:cubicBezTo>
                    <a:pt x="475" y="0"/>
                    <a:pt x="475" y="0"/>
                    <a:pt x="475" y="0"/>
                  </a:cubicBezTo>
                  <a:cubicBezTo>
                    <a:pt x="501" y="40"/>
                    <a:pt x="517" y="88"/>
                    <a:pt x="517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310F98F8-496B-4E28-8835-0DDC8B332383}"/>
              </a:ext>
            </a:extLst>
          </p:cNvPr>
          <p:cNvGrpSpPr/>
          <p:nvPr userDrawn="1"/>
        </p:nvGrpSpPr>
        <p:grpSpPr>
          <a:xfrm>
            <a:off x="-13334" y="125"/>
            <a:ext cx="3924023" cy="2346065"/>
            <a:chOff x="-3175" y="-26194"/>
            <a:chExt cx="5222875" cy="3122613"/>
          </a:xfrm>
          <a:solidFill>
            <a:schemeClr val="tx1">
              <a:lumMod val="75000"/>
              <a:lumOff val="25000"/>
              <a:alpha val="10000"/>
            </a:schemeClr>
          </a:solidFill>
        </p:grpSpPr>
        <p:sp>
          <p:nvSpPr>
            <p:cNvPr id="63" name="Freeform 45">
              <a:extLst>
                <a:ext uri="{FF2B5EF4-FFF2-40B4-BE49-F238E27FC236}">
                  <a16:creationId xmlns:a16="http://schemas.microsoft.com/office/drawing/2014/main" id="{7A571FAD-0FE9-4DEE-A362-A390602AA4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6200" y="-26194"/>
              <a:ext cx="25400" cy="3175"/>
            </a:xfrm>
            <a:custGeom>
              <a:avLst/>
              <a:gdLst>
                <a:gd name="T0" fmla="*/ 0 w 8"/>
                <a:gd name="T1" fmla="*/ 1 h 1"/>
                <a:gd name="T2" fmla="*/ 8 w 8"/>
                <a:gd name="T3" fmla="*/ 1 h 1"/>
                <a:gd name="T4" fmla="*/ 8 w 8"/>
                <a:gd name="T5" fmla="*/ 0 h 1"/>
                <a:gd name="T6" fmla="*/ 0 w 8"/>
                <a:gd name="T7" fmla="*/ 0 h 1"/>
                <a:gd name="T8" fmla="*/ 0 w 8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0" y="1"/>
                  </a:move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46">
              <a:extLst>
                <a:ext uri="{FF2B5EF4-FFF2-40B4-BE49-F238E27FC236}">
                  <a16:creationId xmlns:a16="http://schemas.microsoft.com/office/drawing/2014/main" id="{BD56B81E-C723-47B1-962F-AF03A08CDBBB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75" y="1126331"/>
              <a:ext cx="25400" cy="168275"/>
            </a:xfrm>
            <a:custGeom>
              <a:avLst/>
              <a:gdLst>
                <a:gd name="T0" fmla="*/ 8 w 8"/>
                <a:gd name="T1" fmla="*/ 27 h 53"/>
                <a:gd name="T2" fmla="*/ 0 w 8"/>
                <a:gd name="T3" fmla="*/ 0 h 53"/>
                <a:gd name="T4" fmla="*/ 0 w 8"/>
                <a:gd name="T5" fmla="*/ 28 h 53"/>
                <a:gd name="T6" fmla="*/ 8 w 8"/>
                <a:gd name="T7" fmla="*/ 53 h 53"/>
                <a:gd name="T8" fmla="*/ 8 w 8"/>
                <a:gd name="T9" fmla="*/ 2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3">
                  <a:moveTo>
                    <a:pt x="8" y="27"/>
                  </a:moveTo>
                  <a:cubicBezTo>
                    <a:pt x="6" y="18"/>
                    <a:pt x="3" y="9"/>
                    <a:pt x="0" y="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3" y="36"/>
                    <a:pt x="6" y="44"/>
                    <a:pt x="8" y="53"/>
                  </a:cubicBezTo>
                  <a:lnTo>
                    <a:pt x="8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47">
              <a:extLst>
                <a:ext uri="{FF2B5EF4-FFF2-40B4-BE49-F238E27FC236}">
                  <a16:creationId xmlns:a16="http://schemas.microsoft.com/office/drawing/2014/main" id="{75F0A97D-03D6-4CD6-8F6E-007EED662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25" y="-23019"/>
              <a:ext cx="5197475" cy="3119438"/>
            </a:xfrm>
            <a:custGeom>
              <a:avLst/>
              <a:gdLst>
                <a:gd name="T0" fmla="*/ 1629 w 1637"/>
                <a:gd name="T1" fmla="*/ 140 h 982"/>
                <a:gd name="T2" fmla="*/ 796 w 1637"/>
                <a:gd name="T3" fmla="*/ 974 h 982"/>
                <a:gd name="T4" fmla="*/ 0 w 1637"/>
                <a:gd name="T5" fmla="*/ 389 h 982"/>
                <a:gd name="T6" fmla="*/ 0 w 1637"/>
                <a:gd name="T7" fmla="*/ 415 h 982"/>
                <a:gd name="T8" fmla="*/ 796 w 1637"/>
                <a:gd name="T9" fmla="*/ 982 h 982"/>
                <a:gd name="T10" fmla="*/ 1637 w 1637"/>
                <a:gd name="T11" fmla="*/ 140 h 982"/>
                <a:gd name="T12" fmla="*/ 1625 w 1637"/>
                <a:gd name="T13" fmla="*/ 0 h 982"/>
                <a:gd name="T14" fmla="*/ 1617 w 1637"/>
                <a:gd name="T15" fmla="*/ 0 h 982"/>
                <a:gd name="T16" fmla="*/ 1629 w 1637"/>
                <a:gd name="T17" fmla="*/ 140 h 9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37" h="982">
                  <a:moveTo>
                    <a:pt x="1629" y="140"/>
                  </a:moveTo>
                  <a:cubicBezTo>
                    <a:pt x="1629" y="600"/>
                    <a:pt x="1255" y="974"/>
                    <a:pt x="796" y="974"/>
                  </a:cubicBezTo>
                  <a:cubicBezTo>
                    <a:pt x="423" y="974"/>
                    <a:pt x="107" y="728"/>
                    <a:pt x="0" y="389"/>
                  </a:cubicBezTo>
                  <a:cubicBezTo>
                    <a:pt x="0" y="415"/>
                    <a:pt x="0" y="415"/>
                    <a:pt x="0" y="415"/>
                  </a:cubicBezTo>
                  <a:cubicBezTo>
                    <a:pt x="115" y="744"/>
                    <a:pt x="428" y="982"/>
                    <a:pt x="796" y="982"/>
                  </a:cubicBezTo>
                  <a:cubicBezTo>
                    <a:pt x="1260" y="982"/>
                    <a:pt x="1637" y="604"/>
                    <a:pt x="1637" y="140"/>
                  </a:cubicBezTo>
                  <a:cubicBezTo>
                    <a:pt x="1637" y="92"/>
                    <a:pt x="1633" y="45"/>
                    <a:pt x="1625" y="0"/>
                  </a:cubicBezTo>
                  <a:cubicBezTo>
                    <a:pt x="1617" y="0"/>
                    <a:pt x="1617" y="0"/>
                    <a:pt x="1617" y="0"/>
                  </a:cubicBezTo>
                  <a:cubicBezTo>
                    <a:pt x="1625" y="45"/>
                    <a:pt x="1629" y="92"/>
                    <a:pt x="1629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48">
              <a:extLst>
                <a:ext uri="{FF2B5EF4-FFF2-40B4-BE49-F238E27FC236}">
                  <a16:creationId xmlns:a16="http://schemas.microsoft.com/office/drawing/2014/main" id="{B5E4596F-2CF7-4E02-B395-9451BEF484D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4750" y="-26194"/>
              <a:ext cx="25400" cy="3175"/>
            </a:xfrm>
            <a:custGeom>
              <a:avLst/>
              <a:gdLst>
                <a:gd name="T0" fmla="*/ 0 w 8"/>
                <a:gd name="T1" fmla="*/ 0 h 1"/>
                <a:gd name="T2" fmla="*/ 0 w 8"/>
                <a:gd name="T3" fmla="*/ 1 h 1"/>
                <a:gd name="T4" fmla="*/ 8 w 8"/>
                <a:gd name="T5" fmla="*/ 1 h 1"/>
                <a:gd name="T6" fmla="*/ 8 w 8"/>
                <a:gd name="T7" fmla="*/ 0 h 1"/>
                <a:gd name="T8" fmla="*/ 0 w 8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49">
              <a:extLst>
                <a:ext uri="{FF2B5EF4-FFF2-40B4-BE49-F238E27FC236}">
                  <a16:creationId xmlns:a16="http://schemas.microsoft.com/office/drawing/2014/main" id="{0FE72423-3B99-46F4-9BEC-3964A003FC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8900" y="-26194"/>
              <a:ext cx="25400" cy="3175"/>
            </a:xfrm>
            <a:custGeom>
              <a:avLst/>
              <a:gdLst>
                <a:gd name="T0" fmla="*/ 8 w 8"/>
                <a:gd name="T1" fmla="*/ 0 h 1"/>
                <a:gd name="T2" fmla="*/ 0 w 8"/>
                <a:gd name="T3" fmla="*/ 0 h 1"/>
                <a:gd name="T4" fmla="*/ 0 w 8"/>
                <a:gd name="T5" fmla="*/ 1 h 1"/>
                <a:gd name="T6" fmla="*/ 8 w 8"/>
                <a:gd name="T7" fmla="*/ 1 h 1"/>
                <a:gd name="T8" fmla="*/ 8 w 8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50">
              <a:extLst>
                <a:ext uri="{FF2B5EF4-FFF2-40B4-BE49-F238E27FC236}">
                  <a16:creationId xmlns:a16="http://schemas.microsoft.com/office/drawing/2014/main" id="{89BB5F30-C1E8-4F42-8C78-98CF487E2E4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25" y="-23019"/>
              <a:ext cx="5003800" cy="2947988"/>
            </a:xfrm>
            <a:custGeom>
              <a:avLst/>
              <a:gdLst>
                <a:gd name="T0" fmla="*/ 1568 w 1576"/>
                <a:gd name="T1" fmla="*/ 140 h 928"/>
                <a:gd name="T2" fmla="*/ 788 w 1576"/>
                <a:gd name="T3" fmla="*/ 920 h 928"/>
                <a:gd name="T4" fmla="*/ 8 w 1576"/>
                <a:gd name="T5" fmla="*/ 140 h 928"/>
                <a:gd name="T6" fmla="*/ 21 w 1576"/>
                <a:gd name="T7" fmla="*/ 0 h 928"/>
                <a:gd name="T8" fmla="*/ 13 w 1576"/>
                <a:gd name="T9" fmla="*/ 0 h 928"/>
                <a:gd name="T10" fmla="*/ 0 w 1576"/>
                <a:gd name="T11" fmla="*/ 140 h 928"/>
                <a:gd name="T12" fmla="*/ 788 w 1576"/>
                <a:gd name="T13" fmla="*/ 928 h 928"/>
                <a:gd name="T14" fmla="*/ 1576 w 1576"/>
                <a:gd name="T15" fmla="*/ 140 h 928"/>
                <a:gd name="T16" fmla="*/ 1563 w 1576"/>
                <a:gd name="T17" fmla="*/ 0 h 928"/>
                <a:gd name="T18" fmla="*/ 1555 w 1576"/>
                <a:gd name="T19" fmla="*/ 0 h 928"/>
                <a:gd name="T20" fmla="*/ 1568 w 1576"/>
                <a:gd name="T21" fmla="*/ 140 h 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76" h="928">
                  <a:moveTo>
                    <a:pt x="1568" y="140"/>
                  </a:moveTo>
                  <a:cubicBezTo>
                    <a:pt x="1568" y="570"/>
                    <a:pt x="1218" y="920"/>
                    <a:pt x="788" y="920"/>
                  </a:cubicBezTo>
                  <a:cubicBezTo>
                    <a:pt x="358" y="920"/>
                    <a:pt x="8" y="570"/>
                    <a:pt x="8" y="140"/>
                  </a:cubicBezTo>
                  <a:cubicBezTo>
                    <a:pt x="8" y="92"/>
                    <a:pt x="13" y="45"/>
                    <a:pt x="21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4" y="45"/>
                    <a:pt x="0" y="92"/>
                    <a:pt x="0" y="140"/>
                  </a:cubicBezTo>
                  <a:cubicBezTo>
                    <a:pt x="0" y="575"/>
                    <a:pt x="354" y="928"/>
                    <a:pt x="788" y="928"/>
                  </a:cubicBezTo>
                  <a:cubicBezTo>
                    <a:pt x="1222" y="928"/>
                    <a:pt x="1576" y="575"/>
                    <a:pt x="1576" y="140"/>
                  </a:cubicBezTo>
                  <a:cubicBezTo>
                    <a:pt x="1576" y="92"/>
                    <a:pt x="1571" y="45"/>
                    <a:pt x="1563" y="0"/>
                  </a:cubicBezTo>
                  <a:cubicBezTo>
                    <a:pt x="1555" y="0"/>
                    <a:pt x="1555" y="0"/>
                    <a:pt x="1555" y="0"/>
                  </a:cubicBezTo>
                  <a:cubicBezTo>
                    <a:pt x="1563" y="45"/>
                    <a:pt x="1568" y="92"/>
                    <a:pt x="1568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51">
              <a:extLst>
                <a:ext uri="{FF2B5EF4-FFF2-40B4-BE49-F238E27FC236}">
                  <a16:creationId xmlns:a16="http://schemas.microsoft.com/office/drawing/2014/main" id="{EA17D0A7-E313-41A0-98CC-2E2867628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175" y="-26194"/>
              <a:ext cx="25400" cy="3175"/>
            </a:xfrm>
            <a:custGeom>
              <a:avLst/>
              <a:gdLst>
                <a:gd name="T0" fmla="*/ 8 w 8"/>
                <a:gd name="T1" fmla="*/ 1 h 1"/>
                <a:gd name="T2" fmla="*/ 8 w 8"/>
                <a:gd name="T3" fmla="*/ 0 h 1"/>
                <a:gd name="T4" fmla="*/ 0 w 8"/>
                <a:gd name="T5" fmla="*/ 0 h 1"/>
                <a:gd name="T6" fmla="*/ 0 w 8"/>
                <a:gd name="T7" fmla="*/ 1 h 1"/>
                <a:gd name="T8" fmla="*/ 8 w 8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8" y="1"/>
                  </a:moveTo>
                  <a:cubicBezTo>
                    <a:pt x="8" y="1"/>
                    <a:pt x="8" y="1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8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52">
              <a:extLst>
                <a:ext uri="{FF2B5EF4-FFF2-40B4-BE49-F238E27FC236}">
                  <a16:creationId xmlns:a16="http://schemas.microsoft.com/office/drawing/2014/main" id="{410B8D16-DFAA-44DB-9F8C-DB5663839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6475" y="-26194"/>
              <a:ext cx="25400" cy="3175"/>
            </a:xfrm>
            <a:custGeom>
              <a:avLst/>
              <a:gdLst>
                <a:gd name="T0" fmla="*/ 0 w 8"/>
                <a:gd name="T1" fmla="*/ 1 h 1"/>
                <a:gd name="T2" fmla="*/ 8 w 8"/>
                <a:gd name="T3" fmla="*/ 1 h 1"/>
                <a:gd name="T4" fmla="*/ 8 w 8"/>
                <a:gd name="T5" fmla="*/ 0 h 1"/>
                <a:gd name="T6" fmla="*/ 0 w 8"/>
                <a:gd name="T7" fmla="*/ 0 h 1"/>
                <a:gd name="T8" fmla="*/ 0 w 8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0" y="1"/>
                  </a:move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53">
              <a:extLst>
                <a:ext uri="{FF2B5EF4-FFF2-40B4-BE49-F238E27FC236}">
                  <a16:creationId xmlns:a16="http://schemas.microsoft.com/office/drawing/2014/main" id="{5914C65B-B85B-439A-AAA5-5C61AD640C5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900" y="-23019"/>
              <a:ext cx="4667250" cy="2782888"/>
            </a:xfrm>
            <a:custGeom>
              <a:avLst/>
              <a:gdLst>
                <a:gd name="T0" fmla="*/ 1462 w 1470"/>
                <a:gd name="T1" fmla="*/ 140 h 876"/>
                <a:gd name="T2" fmla="*/ 735 w 1470"/>
                <a:gd name="T3" fmla="*/ 868 h 876"/>
                <a:gd name="T4" fmla="*/ 7 w 1470"/>
                <a:gd name="T5" fmla="*/ 140 h 876"/>
                <a:gd name="T6" fmla="*/ 21 w 1470"/>
                <a:gd name="T7" fmla="*/ 0 h 876"/>
                <a:gd name="T8" fmla="*/ 13 w 1470"/>
                <a:gd name="T9" fmla="*/ 0 h 876"/>
                <a:gd name="T10" fmla="*/ 0 w 1470"/>
                <a:gd name="T11" fmla="*/ 140 h 876"/>
                <a:gd name="T12" fmla="*/ 735 w 1470"/>
                <a:gd name="T13" fmla="*/ 876 h 876"/>
                <a:gd name="T14" fmla="*/ 1470 w 1470"/>
                <a:gd name="T15" fmla="*/ 140 h 876"/>
                <a:gd name="T16" fmla="*/ 1457 w 1470"/>
                <a:gd name="T17" fmla="*/ 0 h 876"/>
                <a:gd name="T18" fmla="*/ 1449 w 1470"/>
                <a:gd name="T19" fmla="*/ 0 h 876"/>
                <a:gd name="T20" fmla="*/ 1462 w 1470"/>
                <a:gd name="T21" fmla="*/ 140 h 8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0" h="876">
                  <a:moveTo>
                    <a:pt x="1462" y="140"/>
                  </a:moveTo>
                  <a:cubicBezTo>
                    <a:pt x="1462" y="541"/>
                    <a:pt x="1136" y="868"/>
                    <a:pt x="735" y="868"/>
                  </a:cubicBezTo>
                  <a:cubicBezTo>
                    <a:pt x="334" y="868"/>
                    <a:pt x="7" y="541"/>
                    <a:pt x="7" y="140"/>
                  </a:cubicBezTo>
                  <a:cubicBezTo>
                    <a:pt x="7" y="92"/>
                    <a:pt x="12" y="45"/>
                    <a:pt x="21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4" y="45"/>
                    <a:pt x="0" y="92"/>
                    <a:pt x="0" y="140"/>
                  </a:cubicBezTo>
                  <a:cubicBezTo>
                    <a:pt x="0" y="546"/>
                    <a:pt x="329" y="876"/>
                    <a:pt x="735" y="876"/>
                  </a:cubicBezTo>
                  <a:cubicBezTo>
                    <a:pt x="1140" y="876"/>
                    <a:pt x="1470" y="546"/>
                    <a:pt x="1470" y="140"/>
                  </a:cubicBezTo>
                  <a:cubicBezTo>
                    <a:pt x="1470" y="92"/>
                    <a:pt x="1466" y="45"/>
                    <a:pt x="1457" y="0"/>
                  </a:cubicBezTo>
                  <a:cubicBezTo>
                    <a:pt x="1449" y="0"/>
                    <a:pt x="1449" y="0"/>
                    <a:pt x="1449" y="0"/>
                  </a:cubicBezTo>
                  <a:cubicBezTo>
                    <a:pt x="1458" y="45"/>
                    <a:pt x="1462" y="92"/>
                    <a:pt x="1462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54">
              <a:extLst>
                <a:ext uri="{FF2B5EF4-FFF2-40B4-BE49-F238E27FC236}">
                  <a16:creationId xmlns:a16="http://schemas.microsoft.com/office/drawing/2014/main" id="{C7B7B85C-FB66-4A10-A4F3-725A66061E82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8675" y="-26194"/>
              <a:ext cx="25400" cy="3175"/>
            </a:xfrm>
            <a:custGeom>
              <a:avLst/>
              <a:gdLst>
                <a:gd name="T0" fmla="*/ 0 w 8"/>
                <a:gd name="T1" fmla="*/ 0 h 1"/>
                <a:gd name="T2" fmla="*/ 0 w 8"/>
                <a:gd name="T3" fmla="*/ 1 h 1"/>
                <a:gd name="T4" fmla="*/ 8 w 8"/>
                <a:gd name="T5" fmla="*/ 1 h 1"/>
                <a:gd name="T6" fmla="*/ 8 w 8"/>
                <a:gd name="T7" fmla="*/ 0 h 1"/>
                <a:gd name="T8" fmla="*/ 0 w 8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55">
              <a:extLst>
                <a:ext uri="{FF2B5EF4-FFF2-40B4-BE49-F238E27FC236}">
                  <a16:creationId xmlns:a16="http://schemas.microsoft.com/office/drawing/2014/main" id="{4131AC18-190B-4561-AB47-B56120857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975" y="-26194"/>
              <a:ext cx="25400" cy="3175"/>
            </a:xfrm>
            <a:custGeom>
              <a:avLst/>
              <a:gdLst>
                <a:gd name="T0" fmla="*/ 8 w 8"/>
                <a:gd name="T1" fmla="*/ 0 h 1"/>
                <a:gd name="T2" fmla="*/ 0 w 8"/>
                <a:gd name="T3" fmla="*/ 0 h 1"/>
                <a:gd name="T4" fmla="*/ 0 w 8"/>
                <a:gd name="T5" fmla="*/ 1 h 1"/>
                <a:gd name="T6" fmla="*/ 8 w 8"/>
                <a:gd name="T7" fmla="*/ 1 h 1"/>
                <a:gd name="T8" fmla="*/ 8 w 8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56">
              <a:extLst>
                <a:ext uri="{FF2B5EF4-FFF2-40B4-BE49-F238E27FC236}">
                  <a16:creationId xmlns:a16="http://schemas.microsoft.com/office/drawing/2014/main" id="{6032E713-9CAF-445D-9298-FA3467CA938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350" y="-23019"/>
              <a:ext cx="4321175" cy="2608263"/>
            </a:xfrm>
            <a:custGeom>
              <a:avLst/>
              <a:gdLst>
                <a:gd name="T0" fmla="*/ 1353 w 1361"/>
                <a:gd name="T1" fmla="*/ 140 h 821"/>
                <a:gd name="T2" fmla="*/ 681 w 1361"/>
                <a:gd name="T3" fmla="*/ 813 h 821"/>
                <a:gd name="T4" fmla="*/ 8 w 1361"/>
                <a:gd name="T5" fmla="*/ 140 h 821"/>
                <a:gd name="T6" fmla="*/ 23 w 1361"/>
                <a:gd name="T7" fmla="*/ 0 h 821"/>
                <a:gd name="T8" fmla="*/ 15 w 1361"/>
                <a:gd name="T9" fmla="*/ 0 h 821"/>
                <a:gd name="T10" fmla="*/ 0 w 1361"/>
                <a:gd name="T11" fmla="*/ 140 h 821"/>
                <a:gd name="T12" fmla="*/ 681 w 1361"/>
                <a:gd name="T13" fmla="*/ 821 h 821"/>
                <a:gd name="T14" fmla="*/ 1361 w 1361"/>
                <a:gd name="T15" fmla="*/ 140 h 821"/>
                <a:gd name="T16" fmla="*/ 1347 w 1361"/>
                <a:gd name="T17" fmla="*/ 0 h 821"/>
                <a:gd name="T18" fmla="*/ 1339 w 1361"/>
                <a:gd name="T19" fmla="*/ 0 h 821"/>
                <a:gd name="T20" fmla="*/ 1353 w 1361"/>
                <a:gd name="T21" fmla="*/ 140 h 8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61" h="821">
                  <a:moveTo>
                    <a:pt x="1353" y="140"/>
                  </a:moveTo>
                  <a:cubicBezTo>
                    <a:pt x="1353" y="511"/>
                    <a:pt x="1052" y="813"/>
                    <a:pt x="681" y="813"/>
                  </a:cubicBezTo>
                  <a:cubicBezTo>
                    <a:pt x="310" y="813"/>
                    <a:pt x="8" y="511"/>
                    <a:pt x="8" y="140"/>
                  </a:cubicBezTo>
                  <a:cubicBezTo>
                    <a:pt x="8" y="92"/>
                    <a:pt x="13" y="45"/>
                    <a:pt x="23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5" y="45"/>
                    <a:pt x="0" y="92"/>
                    <a:pt x="0" y="140"/>
                  </a:cubicBezTo>
                  <a:cubicBezTo>
                    <a:pt x="0" y="515"/>
                    <a:pt x="306" y="821"/>
                    <a:pt x="681" y="821"/>
                  </a:cubicBezTo>
                  <a:cubicBezTo>
                    <a:pt x="1056" y="821"/>
                    <a:pt x="1361" y="515"/>
                    <a:pt x="1361" y="140"/>
                  </a:cubicBezTo>
                  <a:cubicBezTo>
                    <a:pt x="1361" y="92"/>
                    <a:pt x="1356" y="45"/>
                    <a:pt x="1347" y="0"/>
                  </a:cubicBezTo>
                  <a:cubicBezTo>
                    <a:pt x="1339" y="0"/>
                    <a:pt x="1339" y="0"/>
                    <a:pt x="1339" y="0"/>
                  </a:cubicBezTo>
                  <a:cubicBezTo>
                    <a:pt x="1348" y="45"/>
                    <a:pt x="1353" y="92"/>
                    <a:pt x="1353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57">
              <a:extLst>
                <a:ext uri="{FF2B5EF4-FFF2-40B4-BE49-F238E27FC236}">
                  <a16:creationId xmlns:a16="http://schemas.microsoft.com/office/drawing/2014/main" id="{62A064C6-B796-4755-B8F6-5F1247881D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3100" y="-26194"/>
              <a:ext cx="25400" cy="3175"/>
            </a:xfrm>
            <a:custGeom>
              <a:avLst/>
              <a:gdLst>
                <a:gd name="T0" fmla="*/ 0 w 8"/>
                <a:gd name="T1" fmla="*/ 1 h 1"/>
                <a:gd name="T2" fmla="*/ 8 w 8"/>
                <a:gd name="T3" fmla="*/ 1 h 1"/>
                <a:gd name="T4" fmla="*/ 8 w 8"/>
                <a:gd name="T5" fmla="*/ 0 h 1"/>
                <a:gd name="T6" fmla="*/ 0 w 8"/>
                <a:gd name="T7" fmla="*/ 0 h 1"/>
                <a:gd name="T8" fmla="*/ 0 w 8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0" y="1"/>
                  </a:move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58">
              <a:extLst>
                <a:ext uri="{FF2B5EF4-FFF2-40B4-BE49-F238E27FC236}">
                  <a16:creationId xmlns:a16="http://schemas.microsoft.com/office/drawing/2014/main" id="{C3CEC362-4AFD-4419-A6D5-01BFBAEADBF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550" y="-26194"/>
              <a:ext cx="25400" cy="3175"/>
            </a:xfrm>
            <a:custGeom>
              <a:avLst/>
              <a:gdLst>
                <a:gd name="T0" fmla="*/ 8 w 8"/>
                <a:gd name="T1" fmla="*/ 1 h 1"/>
                <a:gd name="T2" fmla="*/ 8 w 8"/>
                <a:gd name="T3" fmla="*/ 0 h 1"/>
                <a:gd name="T4" fmla="*/ 0 w 8"/>
                <a:gd name="T5" fmla="*/ 0 h 1"/>
                <a:gd name="T6" fmla="*/ 0 w 8"/>
                <a:gd name="T7" fmla="*/ 1 h 1"/>
                <a:gd name="T8" fmla="*/ 8 w 8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8" y="1"/>
                  </a:moveTo>
                  <a:cubicBezTo>
                    <a:pt x="8" y="1"/>
                    <a:pt x="8" y="1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8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59">
              <a:extLst>
                <a:ext uri="{FF2B5EF4-FFF2-40B4-BE49-F238E27FC236}">
                  <a16:creationId xmlns:a16="http://schemas.microsoft.com/office/drawing/2014/main" id="{5B843EE8-F7B5-46DD-8CD2-EF3D67D26C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750" y="-23019"/>
              <a:ext cx="4019550" cy="2455863"/>
            </a:xfrm>
            <a:custGeom>
              <a:avLst/>
              <a:gdLst>
                <a:gd name="T0" fmla="*/ 1258 w 1266"/>
                <a:gd name="T1" fmla="*/ 140 h 773"/>
                <a:gd name="T2" fmla="*/ 633 w 1266"/>
                <a:gd name="T3" fmla="*/ 765 h 773"/>
                <a:gd name="T4" fmla="*/ 8 w 1266"/>
                <a:gd name="T5" fmla="*/ 140 h 773"/>
                <a:gd name="T6" fmla="*/ 24 w 1266"/>
                <a:gd name="T7" fmla="*/ 0 h 773"/>
                <a:gd name="T8" fmla="*/ 16 w 1266"/>
                <a:gd name="T9" fmla="*/ 0 h 773"/>
                <a:gd name="T10" fmla="*/ 0 w 1266"/>
                <a:gd name="T11" fmla="*/ 140 h 773"/>
                <a:gd name="T12" fmla="*/ 633 w 1266"/>
                <a:gd name="T13" fmla="*/ 773 h 773"/>
                <a:gd name="T14" fmla="*/ 1266 w 1266"/>
                <a:gd name="T15" fmla="*/ 140 h 773"/>
                <a:gd name="T16" fmla="*/ 1250 w 1266"/>
                <a:gd name="T17" fmla="*/ 0 h 773"/>
                <a:gd name="T18" fmla="*/ 1242 w 1266"/>
                <a:gd name="T19" fmla="*/ 0 h 773"/>
                <a:gd name="T20" fmla="*/ 1258 w 1266"/>
                <a:gd name="T21" fmla="*/ 140 h 7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66" h="773">
                  <a:moveTo>
                    <a:pt x="1258" y="140"/>
                  </a:moveTo>
                  <a:cubicBezTo>
                    <a:pt x="1258" y="485"/>
                    <a:pt x="977" y="765"/>
                    <a:pt x="633" y="765"/>
                  </a:cubicBezTo>
                  <a:cubicBezTo>
                    <a:pt x="288" y="765"/>
                    <a:pt x="8" y="485"/>
                    <a:pt x="8" y="140"/>
                  </a:cubicBezTo>
                  <a:cubicBezTo>
                    <a:pt x="8" y="92"/>
                    <a:pt x="14" y="45"/>
                    <a:pt x="24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5" y="45"/>
                    <a:pt x="0" y="92"/>
                    <a:pt x="0" y="140"/>
                  </a:cubicBezTo>
                  <a:cubicBezTo>
                    <a:pt x="0" y="489"/>
                    <a:pt x="284" y="773"/>
                    <a:pt x="633" y="773"/>
                  </a:cubicBezTo>
                  <a:cubicBezTo>
                    <a:pt x="982" y="773"/>
                    <a:pt x="1266" y="489"/>
                    <a:pt x="1266" y="140"/>
                  </a:cubicBezTo>
                  <a:cubicBezTo>
                    <a:pt x="1266" y="92"/>
                    <a:pt x="1260" y="45"/>
                    <a:pt x="1250" y="0"/>
                  </a:cubicBezTo>
                  <a:cubicBezTo>
                    <a:pt x="1242" y="0"/>
                    <a:pt x="1242" y="0"/>
                    <a:pt x="1242" y="0"/>
                  </a:cubicBezTo>
                  <a:cubicBezTo>
                    <a:pt x="1252" y="45"/>
                    <a:pt x="1258" y="92"/>
                    <a:pt x="1258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1F0C7CAB-C81C-41B5-A18B-B0F8A4839BBB}"/>
              </a:ext>
            </a:extLst>
          </p:cNvPr>
          <p:cNvGrpSpPr/>
          <p:nvPr userDrawn="1"/>
        </p:nvGrpSpPr>
        <p:grpSpPr>
          <a:xfrm>
            <a:off x="3032411" y="173037"/>
            <a:ext cx="1497013" cy="1435100"/>
            <a:chOff x="688975" y="-5719961"/>
            <a:chExt cx="1497013" cy="1435100"/>
          </a:xfrm>
          <a:solidFill>
            <a:schemeClr val="tx1">
              <a:lumMod val="75000"/>
              <a:lumOff val="25000"/>
              <a:alpha val="5000"/>
            </a:schemeClr>
          </a:solidFill>
        </p:grpSpPr>
        <p:sp>
          <p:nvSpPr>
            <p:cNvPr id="79" name="Freeform 22">
              <a:extLst>
                <a:ext uri="{FF2B5EF4-FFF2-40B4-BE49-F238E27FC236}">
                  <a16:creationId xmlns:a16="http://schemas.microsoft.com/office/drawing/2014/main" id="{553B9D43-8545-4435-84A1-53ABA903152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450" y="-5583436"/>
              <a:ext cx="1008063" cy="60325"/>
            </a:xfrm>
            <a:custGeom>
              <a:avLst/>
              <a:gdLst>
                <a:gd name="T0" fmla="*/ 294 w 318"/>
                <a:gd name="T1" fmla="*/ 0 h 19"/>
                <a:gd name="T2" fmla="*/ 24 w 318"/>
                <a:gd name="T3" fmla="*/ 0 h 19"/>
                <a:gd name="T4" fmla="*/ 0 w 318"/>
                <a:gd name="T5" fmla="*/ 19 h 19"/>
                <a:gd name="T6" fmla="*/ 318 w 318"/>
                <a:gd name="T7" fmla="*/ 19 h 19"/>
                <a:gd name="T8" fmla="*/ 294 w 318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8" h="19">
                  <a:moveTo>
                    <a:pt x="29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16" y="6"/>
                    <a:pt x="8" y="12"/>
                    <a:pt x="0" y="19"/>
                  </a:cubicBezTo>
                  <a:cubicBezTo>
                    <a:pt x="318" y="19"/>
                    <a:pt x="318" y="19"/>
                    <a:pt x="318" y="19"/>
                  </a:cubicBezTo>
                  <a:cubicBezTo>
                    <a:pt x="310" y="12"/>
                    <a:pt x="302" y="6"/>
                    <a:pt x="294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23">
              <a:extLst>
                <a:ext uri="{FF2B5EF4-FFF2-40B4-BE49-F238E27FC236}">
                  <a16:creationId xmlns:a16="http://schemas.microsoft.com/office/drawing/2014/main" id="{1708E765-3EF5-41B7-B351-A206BED329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9350" y="-5719961"/>
              <a:ext cx="576263" cy="57150"/>
            </a:xfrm>
            <a:custGeom>
              <a:avLst/>
              <a:gdLst>
                <a:gd name="T0" fmla="*/ 91 w 182"/>
                <a:gd name="T1" fmla="*/ 0 h 18"/>
                <a:gd name="T2" fmla="*/ 0 w 182"/>
                <a:gd name="T3" fmla="*/ 18 h 18"/>
                <a:gd name="T4" fmla="*/ 182 w 182"/>
                <a:gd name="T5" fmla="*/ 18 h 18"/>
                <a:gd name="T6" fmla="*/ 91 w 182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2" h="18">
                  <a:moveTo>
                    <a:pt x="91" y="0"/>
                  </a:moveTo>
                  <a:cubicBezTo>
                    <a:pt x="59" y="0"/>
                    <a:pt x="28" y="7"/>
                    <a:pt x="0" y="18"/>
                  </a:cubicBezTo>
                  <a:cubicBezTo>
                    <a:pt x="182" y="18"/>
                    <a:pt x="182" y="18"/>
                    <a:pt x="182" y="18"/>
                  </a:cubicBezTo>
                  <a:cubicBezTo>
                    <a:pt x="154" y="7"/>
                    <a:pt x="123" y="0"/>
                    <a:pt x="9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24">
              <a:extLst>
                <a:ext uri="{FF2B5EF4-FFF2-40B4-BE49-F238E27FC236}">
                  <a16:creationId xmlns:a16="http://schemas.microsoft.com/office/drawing/2014/main" id="{0401B17B-0A44-4A98-979C-854945345432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975" y="-5446911"/>
              <a:ext cx="1243013" cy="60325"/>
            </a:xfrm>
            <a:custGeom>
              <a:avLst/>
              <a:gdLst>
                <a:gd name="T0" fmla="*/ 378 w 392"/>
                <a:gd name="T1" fmla="*/ 0 h 19"/>
                <a:gd name="T2" fmla="*/ 14 w 392"/>
                <a:gd name="T3" fmla="*/ 0 h 19"/>
                <a:gd name="T4" fmla="*/ 0 w 392"/>
                <a:gd name="T5" fmla="*/ 19 h 19"/>
                <a:gd name="T6" fmla="*/ 392 w 392"/>
                <a:gd name="T7" fmla="*/ 19 h 19"/>
                <a:gd name="T8" fmla="*/ 378 w 392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2" h="19">
                  <a:moveTo>
                    <a:pt x="378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9" y="6"/>
                    <a:pt x="4" y="12"/>
                    <a:pt x="0" y="19"/>
                  </a:cubicBezTo>
                  <a:cubicBezTo>
                    <a:pt x="392" y="19"/>
                    <a:pt x="392" y="19"/>
                    <a:pt x="392" y="19"/>
                  </a:cubicBezTo>
                  <a:cubicBezTo>
                    <a:pt x="387" y="12"/>
                    <a:pt x="383" y="6"/>
                    <a:pt x="378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25">
              <a:extLst>
                <a:ext uri="{FF2B5EF4-FFF2-40B4-BE49-F238E27FC236}">
                  <a16:creationId xmlns:a16="http://schemas.microsoft.com/office/drawing/2014/main" id="{D20B4BFB-255B-47EA-BC2B-8F1B03692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742950" y="-5310386"/>
              <a:ext cx="1389063" cy="60325"/>
            </a:xfrm>
            <a:custGeom>
              <a:avLst/>
              <a:gdLst>
                <a:gd name="T0" fmla="*/ 429 w 438"/>
                <a:gd name="T1" fmla="*/ 0 h 19"/>
                <a:gd name="T2" fmla="*/ 9 w 438"/>
                <a:gd name="T3" fmla="*/ 0 h 19"/>
                <a:gd name="T4" fmla="*/ 0 w 438"/>
                <a:gd name="T5" fmla="*/ 19 h 19"/>
                <a:gd name="T6" fmla="*/ 438 w 438"/>
                <a:gd name="T7" fmla="*/ 19 h 19"/>
                <a:gd name="T8" fmla="*/ 429 w 438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8" h="19">
                  <a:moveTo>
                    <a:pt x="42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5" y="7"/>
                    <a:pt x="3" y="13"/>
                    <a:pt x="0" y="19"/>
                  </a:cubicBezTo>
                  <a:cubicBezTo>
                    <a:pt x="438" y="19"/>
                    <a:pt x="438" y="19"/>
                    <a:pt x="438" y="19"/>
                  </a:cubicBezTo>
                  <a:cubicBezTo>
                    <a:pt x="435" y="13"/>
                    <a:pt x="432" y="7"/>
                    <a:pt x="429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26">
              <a:extLst>
                <a:ext uri="{FF2B5EF4-FFF2-40B4-BE49-F238E27FC236}">
                  <a16:creationId xmlns:a16="http://schemas.microsoft.com/office/drawing/2014/main" id="{403EDC1D-E79E-4E8C-A336-3F824231E1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675" y="-5170686"/>
              <a:ext cx="1468438" cy="60325"/>
            </a:xfrm>
            <a:custGeom>
              <a:avLst/>
              <a:gdLst>
                <a:gd name="T0" fmla="*/ 459 w 463"/>
                <a:gd name="T1" fmla="*/ 0 h 19"/>
                <a:gd name="T2" fmla="*/ 5 w 463"/>
                <a:gd name="T3" fmla="*/ 0 h 19"/>
                <a:gd name="T4" fmla="*/ 0 w 463"/>
                <a:gd name="T5" fmla="*/ 19 h 19"/>
                <a:gd name="T6" fmla="*/ 463 w 463"/>
                <a:gd name="T7" fmla="*/ 19 h 19"/>
                <a:gd name="T8" fmla="*/ 459 w 463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3" h="19">
                  <a:moveTo>
                    <a:pt x="45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3" y="6"/>
                    <a:pt x="2" y="12"/>
                    <a:pt x="0" y="19"/>
                  </a:cubicBezTo>
                  <a:cubicBezTo>
                    <a:pt x="463" y="19"/>
                    <a:pt x="463" y="19"/>
                    <a:pt x="463" y="19"/>
                  </a:cubicBezTo>
                  <a:cubicBezTo>
                    <a:pt x="462" y="12"/>
                    <a:pt x="461" y="6"/>
                    <a:pt x="459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27">
              <a:extLst>
                <a:ext uri="{FF2B5EF4-FFF2-40B4-BE49-F238E27FC236}">
                  <a16:creationId xmlns:a16="http://schemas.microsoft.com/office/drawing/2014/main" id="{774E66D5-B2F9-4D3E-9339-CDF5E97757CD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975" y="-5034161"/>
              <a:ext cx="1497013" cy="60325"/>
            </a:xfrm>
            <a:custGeom>
              <a:avLst/>
              <a:gdLst>
                <a:gd name="T0" fmla="*/ 471 w 472"/>
                <a:gd name="T1" fmla="*/ 0 h 19"/>
                <a:gd name="T2" fmla="*/ 1 w 472"/>
                <a:gd name="T3" fmla="*/ 0 h 19"/>
                <a:gd name="T4" fmla="*/ 0 w 472"/>
                <a:gd name="T5" fmla="*/ 19 h 19"/>
                <a:gd name="T6" fmla="*/ 472 w 472"/>
                <a:gd name="T7" fmla="*/ 19 h 19"/>
                <a:gd name="T8" fmla="*/ 471 w 472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2" h="19">
                  <a:moveTo>
                    <a:pt x="47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6"/>
                    <a:pt x="0" y="13"/>
                    <a:pt x="0" y="19"/>
                  </a:cubicBezTo>
                  <a:cubicBezTo>
                    <a:pt x="472" y="19"/>
                    <a:pt x="472" y="19"/>
                    <a:pt x="472" y="19"/>
                  </a:cubicBezTo>
                  <a:cubicBezTo>
                    <a:pt x="471" y="13"/>
                    <a:pt x="471" y="6"/>
                    <a:pt x="47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28">
              <a:extLst>
                <a:ext uri="{FF2B5EF4-FFF2-40B4-BE49-F238E27FC236}">
                  <a16:creationId xmlns:a16="http://schemas.microsoft.com/office/drawing/2014/main" id="{69E318F6-7B62-4A96-BE73-C5F3184F0D0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150" y="-4897636"/>
              <a:ext cx="1487488" cy="60325"/>
            </a:xfrm>
            <a:custGeom>
              <a:avLst/>
              <a:gdLst>
                <a:gd name="T0" fmla="*/ 469 w 469"/>
                <a:gd name="T1" fmla="*/ 0 h 19"/>
                <a:gd name="T2" fmla="*/ 0 w 469"/>
                <a:gd name="T3" fmla="*/ 0 h 19"/>
                <a:gd name="T4" fmla="*/ 3 w 469"/>
                <a:gd name="T5" fmla="*/ 19 h 19"/>
                <a:gd name="T6" fmla="*/ 467 w 469"/>
                <a:gd name="T7" fmla="*/ 19 h 19"/>
                <a:gd name="T8" fmla="*/ 469 w 469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9" h="19">
                  <a:moveTo>
                    <a:pt x="46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7"/>
                    <a:pt x="2" y="13"/>
                    <a:pt x="3" y="19"/>
                  </a:cubicBezTo>
                  <a:cubicBezTo>
                    <a:pt x="467" y="19"/>
                    <a:pt x="467" y="19"/>
                    <a:pt x="467" y="19"/>
                  </a:cubicBezTo>
                  <a:cubicBezTo>
                    <a:pt x="468" y="13"/>
                    <a:pt x="469" y="7"/>
                    <a:pt x="469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29">
              <a:extLst>
                <a:ext uri="{FF2B5EF4-FFF2-40B4-BE49-F238E27FC236}">
                  <a16:creationId xmlns:a16="http://schemas.microsoft.com/office/drawing/2014/main" id="{7E60674A-BACD-43CD-8B7F-9017E68D62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725" y="-4757936"/>
              <a:ext cx="1433513" cy="60325"/>
            </a:xfrm>
            <a:custGeom>
              <a:avLst/>
              <a:gdLst>
                <a:gd name="T0" fmla="*/ 452 w 452"/>
                <a:gd name="T1" fmla="*/ 0 h 19"/>
                <a:gd name="T2" fmla="*/ 0 w 452"/>
                <a:gd name="T3" fmla="*/ 0 h 19"/>
                <a:gd name="T4" fmla="*/ 6 w 452"/>
                <a:gd name="T5" fmla="*/ 19 h 19"/>
                <a:gd name="T6" fmla="*/ 445 w 452"/>
                <a:gd name="T7" fmla="*/ 19 h 19"/>
                <a:gd name="T8" fmla="*/ 452 w 452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2" h="19">
                  <a:moveTo>
                    <a:pt x="45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6"/>
                    <a:pt x="4" y="12"/>
                    <a:pt x="6" y="19"/>
                  </a:cubicBezTo>
                  <a:cubicBezTo>
                    <a:pt x="445" y="19"/>
                    <a:pt x="445" y="19"/>
                    <a:pt x="445" y="19"/>
                  </a:cubicBezTo>
                  <a:cubicBezTo>
                    <a:pt x="448" y="12"/>
                    <a:pt x="450" y="6"/>
                    <a:pt x="45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30">
              <a:extLst>
                <a:ext uri="{FF2B5EF4-FFF2-40B4-BE49-F238E27FC236}">
                  <a16:creationId xmlns:a16="http://schemas.microsoft.com/office/drawing/2014/main" id="{F4DB92E0-43AC-4F81-89AD-8985C9205326}"/>
                </a:ext>
              </a:extLst>
            </p:cNvPr>
            <p:cNvSpPr>
              <a:spLocks/>
            </p:cNvSpPr>
            <p:nvPr/>
          </p:nvSpPr>
          <p:spPr bwMode="auto">
            <a:xfrm>
              <a:off x="777875" y="-4621411"/>
              <a:ext cx="1319213" cy="60325"/>
            </a:xfrm>
            <a:custGeom>
              <a:avLst/>
              <a:gdLst>
                <a:gd name="T0" fmla="*/ 416 w 416"/>
                <a:gd name="T1" fmla="*/ 0 h 19"/>
                <a:gd name="T2" fmla="*/ 0 w 416"/>
                <a:gd name="T3" fmla="*/ 0 h 19"/>
                <a:gd name="T4" fmla="*/ 11 w 416"/>
                <a:gd name="T5" fmla="*/ 19 h 19"/>
                <a:gd name="T6" fmla="*/ 405 w 416"/>
                <a:gd name="T7" fmla="*/ 19 h 19"/>
                <a:gd name="T8" fmla="*/ 416 w 416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6" h="19">
                  <a:moveTo>
                    <a:pt x="41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" y="7"/>
                    <a:pt x="7" y="13"/>
                    <a:pt x="11" y="19"/>
                  </a:cubicBezTo>
                  <a:cubicBezTo>
                    <a:pt x="405" y="19"/>
                    <a:pt x="405" y="19"/>
                    <a:pt x="405" y="19"/>
                  </a:cubicBezTo>
                  <a:cubicBezTo>
                    <a:pt x="409" y="13"/>
                    <a:pt x="413" y="7"/>
                    <a:pt x="416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31">
              <a:extLst>
                <a:ext uri="{FF2B5EF4-FFF2-40B4-BE49-F238E27FC236}">
                  <a16:creationId xmlns:a16="http://schemas.microsoft.com/office/drawing/2014/main" id="{19DC0AD1-8BCD-40BD-AFA9-9E86D9D7619A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950" y="-4484886"/>
              <a:ext cx="1135063" cy="60325"/>
            </a:xfrm>
            <a:custGeom>
              <a:avLst/>
              <a:gdLst>
                <a:gd name="T0" fmla="*/ 358 w 358"/>
                <a:gd name="T1" fmla="*/ 0 h 19"/>
                <a:gd name="T2" fmla="*/ 0 w 358"/>
                <a:gd name="T3" fmla="*/ 0 h 19"/>
                <a:gd name="T4" fmla="*/ 18 w 358"/>
                <a:gd name="T5" fmla="*/ 19 h 19"/>
                <a:gd name="T6" fmla="*/ 339 w 358"/>
                <a:gd name="T7" fmla="*/ 19 h 19"/>
                <a:gd name="T8" fmla="*/ 358 w 358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8" h="19">
                  <a:moveTo>
                    <a:pt x="35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" y="7"/>
                    <a:pt x="12" y="13"/>
                    <a:pt x="18" y="19"/>
                  </a:cubicBezTo>
                  <a:cubicBezTo>
                    <a:pt x="339" y="19"/>
                    <a:pt x="339" y="19"/>
                    <a:pt x="339" y="19"/>
                  </a:cubicBezTo>
                  <a:cubicBezTo>
                    <a:pt x="346" y="13"/>
                    <a:pt x="352" y="7"/>
                    <a:pt x="358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32">
              <a:extLst>
                <a:ext uri="{FF2B5EF4-FFF2-40B4-BE49-F238E27FC236}">
                  <a16:creationId xmlns:a16="http://schemas.microsoft.com/office/drawing/2014/main" id="{53CD8091-772D-4EA7-ACC8-68B12D4370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5525" y="-4345186"/>
              <a:ext cx="820738" cy="60325"/>
            </a:xfrm>
            <a:custGeom>
              <a:avLst/>
              <a:gdLst>
                <a:gd name="T0" fmla="*/ 259 w 259"/>
                <a:gd name="T1" fmla="*/ 0 h 19"/>
                <a:gd name="T2" fmla="*/ 0 w 259"/>
                <a:gd name="T3" fmla="*/ 0 h 19"/>
                <a:gd name="T4" fmla="*/ 35 w 259"/>
                <a:gd name="T5" fmla="*/ 19 h 19"/>
                <a:gd name="T6" fmla="*/ 225 w 259"/>
                <a:gd name="T7" fmla="*/ 19 h 19"/>
                <a:gd name="T8" fmla="*/ 259 w 259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9" h="19">
                  <a:moveTo>
                    <a:pt x="25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1" y="7"/>
                    <a:pt x="23" y="13"/>
                    <a:pt x="35" y="19"/>
                  </a:cubicBezTo>
                  <a:cubicBezTo>
                    <a:pt x="225" y="19"/>
                    <a:pt x="225" y="19"/>
                    <a:pt x="225" y="19"/>
                  </a:cubicBezTo>
                  <a:cubicBezTo>
                    <a:pt x="237" y="13"/>
                    <a:pt x="248" y="7"/>
                    <a:pt x="259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1690047-4235-43F0-9F2A-44A8E93985C0}"/>
              </a:ext>
            </a:extLst>
          </p:cNvPr>
          <p:cNvCxnSpPr/>
          <p:nvPr userDrawn="1"/>
        </p:nvCxnSpPr>
        <p:spPr>
          <a:xfrm>
            <a:off x="9596819" y="6389084"/>
            <a:ext cx="0" cy="166687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7178CB75-44D5-4455-AF00-3EE241BA60A5}"/>
              </a:ext>
            </a:extLst>
          </p:cNvPr>
          <p:cNvSpPr txBox="1"/>
          <p:nvPr userDrawn="1"/>
        </p:nvSpPr>
        <p:spPr>
          <a:xfrm>
            <a:off x="6389517" y="6247955"/>
            <a:ext cx="2551789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300" b="1" spc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Company </a:t>
            </a:r>
            <a:r>
              <a:rPr lang="en-US" sz="2300" b="1" kern="1200" spc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Profil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3E3F71F8-364C-494F-BE6B-35DB365FE1BC}"/>
              </a:ext>
            </a:extLst>
          </p:cNvPr>
          <p:cNvGrpSpPr/>
          <p:nvPr userDrawn="1"/>
        </p:nvGrpSpPr>
        <p:grpSpPr>
          <a:xfrm>
            <a:off x="5956285" y="6264918"/>
            <a:ext cx="390675" cy="386876"/>
            <a:chOff x="942242" y="2841978"/>
            <a:chExt cx="1226108" cy="1214181"/>
          </a:xfrm>
        </p:grpSpPr>
        <p:sp>
          <p:nvSpPr>
            <p:cNvPr id="33" name="Freeform 63">
              <a:extLst>
                <a:ext uri="{FF2B5EF4-FFF2-40B4-BE49-F238E27FC236}">
                  <a16:creationId xmlns:a16="http://schemas.microsoft.com/office/drawing/2014/main" id="{62FDB4D7-C79E-43F4-B30D-58756C4DC5B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42242" y="2841978"/>
              <a:ext cx="1226108" cy="1211796"/>
            </a:xfrm>
            <a:custGeom>
              <a:avLst/>
              <a:gdLst>
                <a:gd name="T0" fmla="*/ 198 w 431"/>
                <a:gd name="T1" fmla="*/ 393 h 426"/>
                <a:gd name="T2" fmla="*/ 53 w 431"/>
                <a:gd name="T3" fmla="*/ 393 h 426"/>
                <a:gd name="T4" fmla="*/ 39 w 431"/>
                <a:gd name="T5" fmla="*/ 386 h 426"/>
                <a:gd name="T6" fmla="*/ 37 w 431"/>
                <a:gd name="T7" fmla="*/ 371 h 426"/>
                <a:gd name="T8" fmla="*/ 159 w 431"/>
                <a:gd name="T9" fmla="*/ 284 h 426"/>
                <a:gd name="T10" fmla="*/ 231 w 431"/>
                <a:gd name="T11" fmla="*/ 307 h 426"/>
                <a:gd name="T12" fmla="*/ 254 w 431"/>
                <a:gd name="T13" fmla="*/ 303 h 426"/>
                <a:gd name="T14" fmla="*/ 250 w 431"/>
                <a:gd name="T15" fmla="*/ 280 h 426"/>
                <a:gd name="T16" fmla="*/ 216 w 431"/>
                <a:gd name="T17" fmla="*/ 262 h 426"/>
                <a:gd name="T18" fmla="*/ 244 w 431"/>
                <a:gd name="T19" fmla="*/ 206 h 426"/>
                <a:gd name="T20" fmla="*/ 331 w 431"/>
                <a:gd name="T21" fmla="*/ 171 h 426"/>
                <a:gd name="T22" fmla="*/ 403 w 431"/>
                <a:gd name="T23" fmla="*/ 193 h 426"/>
                <a:gd name="T24" fmla="*/ 426 w 431"/>
                <a:gd name="T25" fmla="*/ 189 h 426"/>
                <a:gd name="T26" fmla="*/ 422 w 431"/>
                <a:gd name="T27" fmla="*/ 166 h 426"/>
                <a:gd name="T28" fmla="*/ 389 w 431"/>
                <a:gd name="T29" fmla="*/ 148 h 426"/>
                <a:gd name="T30" fmla="*/ 416 w 431"/>
                <a:gd name="T31" fmla="*/ 85 h 426"/>
                <a:gd name="T32" fmla="*/ 332 w 431"/>
                <a:gd name="T33" fmla="*/ 0 h 426"/>
                <a:gd name="T34" fmla="*/ 247 w 431"/>
                <a:gd name="T35" fmla="*/ 85 h 426"/>
                <a:gd name="T36" fmla="*/ 274 w 431"/>
                <a:gd name="T37" fmla="*/ 148 h 426"/>
                <a:gd name="T38" fmla="*/ 267 w 431"/>
                <a:gd name="T39" fmla="*/ 151 h 426"/>
                <a:gd name="T40" fmla="*/ 238 w 431"/>
                <a:gd name="T41" fmla="*/ 168 h 426"/>
                <a:gd name="T42" fmla="*/ 159 w 431"/>
                <a:gd name="T43" fmla="*/ 114 h 426"/>
                <a:gd name="T44" fmla="*/ 75 w 431"/>
                <a:gd name="T45" fmla="*/ 199 h 426"/>
                <a:gd name="T46" fmla="*/ 102 w 431"/>
                <a:gd name="T47" fmla="*/ 262 h 426"/>
                <a:gd name="T48" fmla="*/ 5 w 431"/>
                <a:gd name="T49" fmla="*/ 361 h 426"/>
                <a:gd name="T50" fmla="*/ 13 w 431"/>
                <a:gd name="T51" fmla="*/ 406 h 426"/>
                <a:gd name="T52" fmla="*/ 53 w 431"/>
                <a:gd name="T53" fmla="*/ 426 h 426"/>
                <a:gd name="T54" fmla="*/ 198 w 431"/>
                <a:gd name="T55" fmla="*/ 426 h 426"/>
                <a:gd name="T56" fmla="*/ 214 w 431"/>
                <a:gd name="T57" fmla="*/ 410 h 426"/>
                <a:gd name="T58" fmla="*/ 198 w 431"/>
                <a:gd name="T59" fmla="*/ 393 h 426"/>
                <a:gd name="T60" fmla="*/ 332 w 431"/>
                <a:gd name="T61" fmla="*/ 34 h 426"/>
                <a:gd name="T62" fmla="*/ 383 w 431"/>
                <a:gd name="T63" fmla="*/ 85 h 426"/>
                <a:gd name="T64" fmla="*/ 332 w 431"/>
                <a:gd name="T65" fmla="*/ 137 h 426"/>
                <a:gd name="T66" fmla="*/ 280 w 431"/>
                <a:gd name="T67" fmla="*/ 85 h 426"/>
                <a:gd name="T68" fmla="*/ 332 w 431"/>
                <a:gd name="T69" fmla="*/ 34 h 426"/>
                <a:gd name="T70" fmla="*/ 159 w 431"/>
                <a:gd name="T71" fmla="*/ 148 h 426"/>
                <a:gd name="T72" fmla="*/ 211 w 431"/>
                <a:gd name="T73" fmla="*/ 199 h 426"/>
                <a:gd name="T74" fmla="*/ 159 w 431"/>
                <a:gd name="T75" fmla="*/ 251 h 426"/>
                <a:gd name="T76" fmla="*/ 108 w 431"/>
                <a:gd name="T77" fmla="*/ 199 h 426"/>
                <a:gd name="T78" fmla="*/ 159 w 431"/>
                <a:gd name="T79" fmla="*/ 148 h 426"/>
                <a:gd name="T80" fmla="*/ 159 w 431"/>
                <a:gd name="T81" fmla="*/ 148 h 426"/>
                <a:gd name="T82" fmla="*/ 159 w 431"/>
                <a:gd name="T83" fmla="*/ 148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31" h="426">
                  <a:moveTo>
                    <a:pt x="198" y="393"/>
                  </a:moveTo>
                  <a:cubicBezTo>
                    <a:pt x="53" y="393"/>
                    <a:pt x="53" y="393"/>
                    <a:pt x="53" y="393"/>
                  </a:cubicBezTo>
                  <a:cubicBezTo>
                    <a:pt x="48" y="393"/>
                    <a:pt x="43" y="391"/>
                    <a:pt x="39" y="386"/>
                  </a:cubicBezTo>
                  <a:cubicBezTo>
                    <a:pt x="36" y="382"/>
                    <a:pt x="35" y="376"/>
                    <a:pt x="37" y="371"/>
                  </a:cubicBezTo>
                  <a:cubicBezTo>
                    <a:pt x="54" y="320"/>
                    <a:pt x="104" y="284"/>
                    <a:pt x="159" y="284"/>
                  </a:cubicBezTo>
                  <a:cubicBezTo>
                    <a:pt x="185" y="284"/>
                    <a:pt x="210" y="292"/>
                    <a:pt x="231" y="307"/>
                  </a:cubicBezTo>
                  <a:cubicBezTo>
                    <a:pt x="238" y="312"/>
                    <a:pt x="248" y="310"/>
                    <a:pt x="254" y="303"/>
                  </a:cubicBezTo>
                  <a:cubicBezTo>
                    <a:pt x="259" y="295"/>
                    <a:pt x="257" y="285"/>
                    <a:pt x="250" y="280"/>
                  </a:cubicBezTo>
                  <a:cubicBezTo>
                    <a:pt x="239" y="272"/>
                    <a:pt x="228" y="266"/>
                    <a:pt x="216" y="262"/>
                  </a:cubicBezTo>
                  <a:cubicBezTo>
                    <a:pt x="232" y="248"/>
                    <a:pt x="242" y="228"/>
                    <a:pt x="244" y="206"/>
                  </a:cubicBezTo>
                  <a:cubicBezTo>
                    <a:pt x="267" y="183"/>
                    <a:pt x="298" y="171"/>
                    <a:pt x="331" y="171"/>
                  </a:cubicBezTo>
                  <a:cubicBezTo>
                    <a:pt x="357" y="171"/>
                    <a:pt x="382" y="178"/>
                    <a:pt x="403" y="193"/>
                  </a:cubicBezTo>
                  <a:cubicBezTo>
                    <a:pt x="410" y="198"/>
                    <a:pt x="421" y="196"/>
                    <a:pt x="426" y="189"/>
                  </a:cubicBezTo>
                  <a:cubicBezTo>
                    <a:pt x="431" y="181"/>
                    <a:pt x="429" y="171"/>
                    <a:pt x="422" y="166"/>
                  </a:cubicBezTo>
                  <a:cubicBezTo>
                    <a:pt x="411" y="159"/>
                    <a:pt x="400" y="153"/>
                    <a:pt x="389" y="148"/>
                  </a:cubicBezTo>
                  <a:cubicBezTo>
                    <a:pt x="406" y="133"/>
                    <a:pt x="416" y="110"/>
                    <a:pt x="416" y="85"/>
                  </a:cubicBezTo>
                  <a:cubicBezTo>
                    <a:pt x="416" y="39"/>
                    <a:pt x="378" y="0"/>
                    <a:pt x="332" y="0"/>
                  </a:cubicBezTo>
                  <a:cubicBezTo>
                    <a:pt x="285" y="0"/>
                    <a:pt x="247" y="39"/>
                    <a:pt x="247" y="85"/>
                  </a:cubicBezTo>
                  <a:cubicBezTo>
                    <a:pt x="247" y="110"/>
                    <a:pt x="257" y="132"/>
                    <a:pt x="274" y="148"/>
                  </a:cubicBezTo>
                  <a:cubicBezTo>
                    <a:pt x="272" y="149"/>
                    <a:pt x="270" y="150"/>
                    <a:pt x="267" y="151"/>
                  </a:cubicBezTo>
                  <a:cubicBezTo>
                    <a:pt x="257" y="155"/>
                    <a:pt x="247" y="161"/>
                    <a:pt x="238" y="168"/>
                  </a:cubicBezTo>
                  <a:cubicBezTo>
                    <a:pt x="226" y="136"/>
                    <a:pt x="195" y="114"/>
                    <a:pt x="159" y="114"/>
                  </a:cubicBezTo>
                  <a:cubicBezTo>
                    <a:pt x="113" y="114"/>
                    <a:pt x="75" y="152"/>
                    <a:pt x="75" y="199"/>
                  </a:cubicBezTo>
                  <a:cubicBezTo>
                    <a:pt x="75" y="224"/>
                    <a:pt x="85" y="246"/>
                    <a:pt x="102" y="262"/>
                  </a:cubicBezTo>
                  <a:cubicBezTo>
                    <a:pt x="57" y="279"/>
                    <a:pt x="20" y="315"/>
                    <a:pt x="5" y="361"/>
                  </a:cubicBezTo>
                  <a:cubicBezTo>
                    <a:pt x="0" y="376"/>
                    <a:pt x="3" y="393"/>
                    <a:pt x="13" y="406"/>
                  </a:cubicBezTo>
                  <a:cubicBezTo>
                    <a:pt x="22" y="419"/>
                    <a:pt x="37" y="426"/>
                    <a:pt x="53" y="426"/>
                  </a:cubicBezTo>
                  <a:cubicBezTo>
                    <a:pt x="198" y="426"/>
                    <a:pt x="198" y="426"/>
                    <a:pt x="198" y="426"/>
                  </a:cubicBezTo>
                  <a:cubicBezTo>
                    <a:pt x="207" y="426"/>
                    <a:pt x="214" y="419"/>
                    <a:pt x="214" y="410"/>
                  </a:cubicBezTo>
                  <a:cubicBezTo>
                    <a:pt x="214" y="401"/>
                    <a:pt x="207" y="393"/>
                    <a:pt x="198" y="393"/>
                  </a:cubicBezTo>
                  <a:close/>
                  <a:moveTo>
                    <a:pt x="332" y="34"/>
                  </a:moveTo>
                  <a:cubicBezTo>
                    <a:pt x="360" y="34"/>
                    <a:pt x="383" y="57"/>
                    <a:pt x="383" y="85"/>
                  </a:cubicBezTo>
                  <a:cubicBezTo>
                    <a:pt x="383" y="114"/>
                    <a:pt x="360" y="137"/>
                    <a:pt x="332" y="137"/>
                  </a:cubicBezTo>
                  <a:cubicBezTo>
                    <a:pt x="303" y="137"/>
                    <a:pt x="280" y="114"/>
                    <a:pt x="280" y="85"/>
                  </a:cubicBezTo>
                  <a:cubicBezTo>
                    <a:pt x="280" y="57"/>
                    <a:pt x="303" y="34"/>
                    <a:pt x="332" y="34"/>
                  </a:cubicBezTo>
                  <a:close/>
                  <a:moveTo>
                    <a:pt x="159" y="148"/>
                  </a:moveTo>
                  <a:cubicBezTo>
                    <a:pt x="188" y="148"/>
                    <a:pt x="211" y="171"/>
                    <a:pt x="211" y="199"/>
                  </a:cubicBezTo>
                  <a:cubicBezTo>
                    <a:pt x="211" y="228"/>
                    <a:pt x="188" y="251"/>
                    <a:pt x="159" y="251"/>
                  </a:cubicBezTo>
                  <a:cubicBezTo>
                    <a:pt x="131" y="251"/>
                    <a:pt x="108" y="228"/>
                    <a:pt x="108" y="199"/>
                  </a:cubicBezTo>
                  <a:cubicBezTo>
                    <a:pt x="108" y="171"/>
                    <a:pt x="131" y="148"/>
                    <a:pt x="159" y="148"/>
                  </a:cubicBezTo>
                  <a:close/>
                  <a:moveTo>
                    <a:pt x="159" y="148"/>
                  </a:moveTo>
                  <a:cubicBezTo>
                    <a:pt x="159" y="148"/>
                    <a:pt x="159" y="148"/>
                    <a:pt x="159" y="148"/>
                  </a:cubicBezTo>
                </a:path>
              </a:pathLst>
            </a:custGeom>
            <a:gradFill flip="none" rotWithShape="1"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810000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64">
              <a:extLst>
                <a:ext uri="{FF2B5EF4-FFF2-40B4-BE49-F238E27FC236}">
                  <a16:creationId xmlns:a16="http://schemas.microsoft.com/office/drawing/2014/main" id="{EB6E356D-9626-437B-8F88-21040A95A2A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68415" y="3600543"/>
              <a:ext cx="599935" cy="455616"/>
            </a:xfrm>
            <a:custGeom>
              <a:avLst/>
              <a:gdLst>
                <a:gd name="T0" fmla="*/ 202 w 211"/>
                <a:gd name="T1" fmla="*/ 5 h 160"/>
                <a:gd name="T2" fmla="*/ 179 w 211"/>
                <a:gd name="T3" fmla="*/ 9 h 160"/>
                <a:gd name="T4" fmla="*/ 97 w 211"/>
                <a:gd name="T5" fmla="*/ 124 h 160"/>
                <a:gd name="T6" fmla="*/ 90 w 211"/>
                <a:gd name="T7" fmla="*/ 127 h 160"/>
                <a:gd name="T8" fmla="*/ 83 w 211"/>
                <a:gd name="T9" fmla="*/ 124 h 160"/>
                <a:gd name="T10" fmla="*/ 30 w 211"/>
                <a:gd name="T11" fmla="*/ 73 h 160"/>
                <a:gd name="T12" fmla="*/ 6 w 211"/>
                <a:gd name="T13" fmla="*/ 74 h 160"/>
                <a:gd name="T14" fmla="*/ 7 w 211"/>
                <a:gd name="T15" fmla="*/ 97 h 160"/>
                <a:gd name="T16" fmla="*/ 60 w 211"/>
                <a:gd name="T17" fmla="*/ 148 h 160"/>
                <a:gd name="T18" fmla="*/ 90 w 211"/>
                <a:gd name="T19" fmla="*/ 160 h 160"/>
                <a:gd name="T20" fmla="*/ 92 w 211"/>
                <a:gd name="T21" fmla="*/ 160 h 160"/>
                <a:gd name="T22" fmla="*/ 123 w 211"/>
                <a:gd name="T23" fmla="*/ 144 h 160"/>
                <a:gd name="T24" fmla="*/ 123 w 211"/>
                <a:gd name="T25" fmla="*/ 143 h 160"/>
                <a:gd name="T26" fmla="*/ 206 w 211"/>
                <a:gd name="T27" fmla="*/ 28 h 160"/>
                <a:gd name="T28" fmla="*/ 202 w 211"/>
                <a:gd name="T29" fmla="*/ 5 h 160"/>
                <a:gd name="T30" fmla="*/ 202 w 211"/>
                <a:gd name="T31" fmla="*/ 5 h 160"/>
                <a:gd name="T32" fmla="*/ 202 w 211"/>
                <a:gd name="T33" fmla="*/ 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11" h="160">
                  <a:moveTo>
                    <a:pt x="202" y="5"/>
                  </a:moveTo>
                  <a:cubicBezTo>
                    <a:pt x="194" y="0"/>
                    <a:pt x="184" y="2"/>
                    <a:pt x="179" y="9"/>
                  </a:cubicBezTo>
                  <a:cubicBezTo>
                    <a:pt x="97" y="124"/>
                    <a:pt x="97" y="124"/>
                    <a:pt x="97" y="124"/>
                  </a:cubicBezTo>
                  <a:cubicBezTo>
                    <a:pt x="94" y="126"/>
                    <a:pt x="92" y="127"/>
                    <a:pt x="90" y="127"/>
                  </a:cubicBezTo>
                  <a:cubicBezTo>
                    <a:pt x="89" y="127"/>
                    <a:pt x="86" y="127"/>
                    <a:pt x="83" y="124"/>
                  </a:cubicBezTo>
                  <a:cubicBezTo>
                    <a:pt x="30" y="73"/>
                    <a:pt x="30" y="73"/>
                    <a:pt x="30" y="73"/>
                  </a:cubicBezTo>
                  <a:cubicBezTo>
                    <a:pt x="23" y="67"/>
                    <a:pt x="13" y="67"/>
                    <a:pt x="6" y="74"/>
                  </a:cubicBezTo>
                  <a:cubicBezTo>
                    <a:pt x="0" y="80"/>
                    <a:pt x="0" y="91"/>
                    <a:pt x="7" y="97"/>
                  </a:cubicBezTo>
                  <a:cubicBezTo>
                    <a:pt x="60" y="148"/>
                    <a:pt x="60" y="148"/>
                    <a:pt x="60" y="148"/>
                  </a:cubicBezTo>
                  <a:cubicBezTo>
                    <a:pt x="68" y="156"/>
                    <a:pt x="79" y="160"/>
                    <a:pt x="90" y="160"/>
                  </a:cubicBezTo>
                  <a:cubicBezTo>
                    <a:pt x="91" y="160"/>
                    <a:pt x="91" y="160"/>
                    <a:pt x="92" y="160"/>
                  </a:cubicBezTo>
                  <a:cubicBezTo>
                    <a:pt x="104" y="159"/>
                    <a:pt x="115" y="153"/>
                    <a:pt x="123" y="144"/>
                  </a:cubicBezTo>
                  <a:cubicBezTo>
                    <a:pt x="123" y="144"/>
                    <a:pt x="123" y="144"/>
                    <a:pt x="123" y="143"/>
                  </a:cubicBezTo>
                  <a:cubicBezTo>
                    <a:pt x="206" y="28"/>
                    <a:pt x="206" y="28"/>
                    <a:pt x="206" y="28"/>
                  </a:cubicBezTo>
                  <a:cubicBezTo>
                    <a:pt x="211" y="21"/>
                    <a:pt x="209" y="11"/>
                    <a:pt x="202" y="5"/>
                  </a:cubicBezTo>
                  <a:close/>
                  <a:moveTo>
                    <a:pt x="202" y="5"/>
                  </a:moveTo>
                  <a:cubicBezTo>
                    <a:pt x="202" y="5"/>
                    <a:pt x="202" y="5"/>
                    <a:pt x="202" y="5"/>
                  </a:cubicBezTo>
                </a:path>
              </a:pathLst>
            </a:custGeom>
            <a:gradFill flip="none" rotWithShape="1"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810000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C6C13410-168C-4F8C-81CA-DD28C7DA65DE}"/>
              </a:ext>
            </a:extLst>
          </p:cNvPr>
          <p:cNvSpPr/>
          <p:nvPr userDrawn="1"/>
        </p:nvSpPr>
        <p:spPr>
          <a:xfrm>
            <a:off x="9154312" y="6309837"/>
            <a:ext cx="333533" cy="333533"/>
          </a:xfrm>
          <a:prstGeom prst="roundRect">
            <a:avLst>
              <a:gd name="adj" fmla="val 9599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Picture Placeholder 90">
            <a:extLst>
              <a:ext uri="{FF2B5EF4-FFF2-40B4-BE49-F238E27FC236}">
                <a16:creationId xmlns:a16="http://schemas.microsoft.com/office/drawing/2014/main" id="{2FDF165A-90D1-410F-9E3E-F1A18AE22C6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96927" y="1882992"/>
            <a:ext cx="4355642" cy="4116888"/>
          </a:xfrm>
          <a:custGeom>
            <a:avLst/>
            <a:gdLst>
              <a:gd name="connsiteX0" fmla="*/ 1135438 w 4355642"/>
              <a:gd name="connsiteY0" fmla="*/ 0 h 4116888"/>
              <a:gd name="connsiteX1" fmla="*/ 4355642 w 4355642"/>
              <a:gd name="connsiteY1" fmla="*/ 0 h 4116888"/>
              <a:gd name="connsiteX2" fmla="*/ 3220204 w 4355642"/>
              <a:gd name="connsiteY2" fmla="*/ 4116888 h 4116888"/>
              <a:gd name="connsiteX3" fmla="*/ 0 w 4355642"/>
              <a:gd name="connsiteY3" fmla="*/ 4116888 h 4116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55642" h="4116888">
                <a:moveTo>
                  <a:pt x="1135438" y="0"/>
                </a:moveTo>
                <a:lnTo>
                  <a:pt x="4355642" y="0"/>
                </a:lnTo>
                <a:lnTo>
                  <a:pt x="3220204" y="4116888"/>
                </a:lnTo>
                <a:lnTo>
                  <a:pt x="0" y="4116888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90" name="Slide Number Placeholder 13">
            <a:extLst>
              <a:ext uri="{FF2B5EF4-FFF2-40B4-BE49-F238E27FC236}">
                <a16:creationId xmlns:a16="http://schemas.microsoft.com/office/drawing/2014/main" id="{704D9F11-C304-46B3-A758-4B399D891C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05250" y="6350048"/>
            <a:ext cx="431656" cy="2267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fld id="{1F70EEBF-E97C-49FF-B05B-3B4D348638DC}" type="slidenum">
              <a:rPr lang="en-US" smtClean="0"/>
              <a:pPr/>
              <a:t>‹Nr.›</a:t>
            </a:fld>
            <a:endParaRPr lang="en-US" dirty="0"/>
          </a:p>
        </p:txBody>
      </p:sp>
      <p:grpSp>
        <p:nvGrpSpPr>
          <p:cNvPr id="92" name="Group 91">
            <a:extLst>
              <a:ext uri="{FF2B5EF4-FFF2-40B4-BE49-F238E27FC236}">
                <a16:creationId xmlns:a16="http://schemas.microsoft.com/office/drawing/2014/main" id="{2CC347AC-07C7-4A29-BCE2-CBFBC850771D}"/>
              </a:ext>
            </a:extLst>
          </p:cNvPr>
          <p:cNvGrpSpPr/>
          <p:nvPr userDrawn="1"/>
        </p:nvGrpSpPr>
        <p:grpSpPr>
          <a:xfrm flipH="1">
            <a:off x="9760843" y="125"/>
            <a:ext cx="2431157" cy="2744859"/>
            <a:chOff x="1781175" y="-333375"/>
            <a:chExt cx="4314825" cy="6070600"/>
          </a:xfrm>
        </p:grpSpPr>
        <p:sp>
          <p:nvSpPr>
            <p:cNvPr id="93" name="Freeform 6">
              <a:extLst>
                <a:ext uri="{FF2B5EF4-FFF2-40B4-BE49-F238E27FC236}">
                  <a16:creationId xmlns:a16="http://schemas.microsoft.com/office/drawing/2014/main" id="{B08216D3-3E19-4138-81AE-660484096A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81175" y="-333375"/>
              <a:ext cx="4314825" cy="6070600"/>
            </a:xfrm>
            <a:custGeom>
              <a:avLst/>
              <a:gdLst>
                <a:gd name="T0" fmla="*/ 877 w 2718"/>
                <a:gd name="T1" fmla="*/ 0 h 3824"/>
                <a:gd name="T2" fmla="*/ 0 w 2718"/>
                <a:gd name="T3" fmla="*/ 3793 h 3824"/>
                <a:gd name="T4" fmla="*/ 0 w 2718"/>
                <a:gd name="T5" fmla="*/ 3824 h 3824"/>
                <a:gd name="T6" fmla="*/ 2718 w 2718"/>
                <a:gd name="T7" fmla="*/ 0 h 3824"/>
                <a:gd name="T8" fmla="*/ 877 w 2718"/>
                <a:gd name="T9" fmla="*/ 0 h 3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18" h="3824">
                  <a:moveTo>
                    <a:pt x="877" y="0"/>
                  </a:moveTo>
                  <a:lnTo>
                    <a:pt x="0" y="3793"/>
                  </a:lnTo>
                  <a:lnTo>
                    <a:pt x="0" y="3824"/>
                  </a:lnTo>
                  <a:lnTo>
                    <a:pt x="2718" y="0"/>
                  </a:lnTo>
                  <a:lnTo>
                    <a:pt x="877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/>
                </a:gs>
                <a:gs pos="100000">
                  <a:schemeClr val="accent1"/>
                </a:gs>
              </a:gsLst>
              <a:lin ang="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7">
              <a:extLst>
                <a:ext uri="{FF2B5EF4-FFF2-40B4-BE49-F238E27FC236}">
                  <a16:creationId xmlns:a16="http://schemas.microsoft.com/office/drawing/2014/main" id="{F398DAA1-4B2B-4D07-A18B-4CBD7FE014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81175" y="-333375"/>
              <a:ext cx="1897064" cy="2189162"/>
            </a:xfrm>
            <a:custGeom>
              <a:avLst/>
              <a:gdLst>
                <a:gd name="T0" fmla="*/ 0 w 1195"/>
                <a:gd name="T1" fmla="*/ 0 h 1379"/>
                <a:gd name="T2" fmla="*/ 0 w 1195"/>
                <a:gd name="T3" fmla="*/ 1379 h 1379"/>
                <a:gd name="T4" fmla="*/ 1195 w 1195"/>
                <a:gd name="T5" fmla="*/ 0 h 1379"/>
                <a:gd name="T6" fmla="*/ 0 w 1195"/>
                <a:gd name="T7" fmla="*/ 0 h 1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95" h="1379">
                  <a:moveTo>
                    <a:pt x="0" y="0"/>
                  </a:moveTo>
                  <a:lnTo>
                    <a:pt x="0" y="1379"/>
                  </a:lnTo>
                  <a:lnTo>
                    <a:pt x="119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8">
              <a:extLst>
                <a:ext uri="{FF2B5EF4-FFF2-40B4-BE49-F238E27FC236}">
                  <a16:creationId xmlns:a16="http://schemas.microsoft.com/office/drawing/2014/main" id="{998B57D2-CDD5-4EEC-B371-5FDAD5658E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81175" y="-333375"/>
              <a:ext cx="1897063" cy="2189162"/>
            </a:xfrm>
            <a:custGeom>
              <a:avLst/>
              <a:gdLst>
                <a:gd name="T0" fmla="*/ 1176 w 1195"/>
                <a:gd name="T1" fmla="*/ 0 h 1379"/>
                <a:gd name="T2" fmla="*/ 0 w 1195"/>
                <a:gd name="T3" fmla="*/ 1184 h 1379"/>
                <a:gd name="T4" fmla="*/ 0 w 1195"/>
                <a:gd name="T5" fmla="*/ 1379 h 1379"/>
                <a:gd name="T6" fmla="*/ 1195 w 1195"/>
                <a:gd name="T7" fmla="*/ 0 h 1379"/>
                <a:gd name="T8" fmla="*/ 1176 w 1195"/>
                <a:gd name="T9" fmla="*/ 0 h 1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95" h="1379">
                  <a:moveTo>
                    <a:pt x="1176" y="0"/>
                  </a:moveTo>
                  <a:lnTo>
                    <a:pt x="0" y="1184"/>
                  </a:lnTo>
                  <a:lnTo>
                    <a:pt x="0" y="1379"/>
                  </a:lnTo>
                  <a:lnTo>
                    <a:pt x="1195" y="0"/>
                  </a:lnTo>
                  <a:lnTo>
                    <a:pt x="1176" y="0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  <a:alpha val="2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9">
              <a:extLst>
                <a:ext uri="{FF2B5EF4-FFF2-40B4-BE49-F238E27FC236}">
                  <a16:creationId xmlns:a16="http://schemas.microsoft.com/office/drawing/2014/main" id="{D7C41DEB-D25A-442E-8256-C1B6797C0C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81175" y="-333375"/>
              <a:ext cx="1916113" cy="6040436"/>
            </a:xfrm>
            <a:custGeom>
              <a:avLst/>
              <a:gdLst>
                <a:gd name="T0" fmla="*/ 1195 w 1207"/>
                <a:gd name="T1" fmla="*/ 0 h 3805"/>
                <a:gd name="T2" fmla="*/ 0 w 1207"/>
                <a:gd name="T3" fmla="*/ 1379 h 3805"/>
                <a:gd name="T4" fmla="*/ 0 w 1207"/>
                <a:gd name="T5" fmla="*/ 3805 h 3805"/>
                <a:gd name="T6" fmla="*/ 1207 w 1207"/>
                <a:gd name="T7" fmla="*/ 0 h 3805"/>
                <a:gd name="T8" fmla="*/ 1195 w 1207"/>
                <a:gd name="T9" fmla="*/ 0 h 38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07" h="3805">
                  <a:moveTo>
                    <a:pt x="1195" y="0"/>
                  </a:moveTo>
                  <a:lnTo>
                    <a:pt x="0" y="1379"/>
                  </a:lnTo>
                  <a:lnTo>
                    <a:pt x="0" y="3805"/>
                  </a:lnTo>
                  <a:lnTo>
                    <a:pt x="1207" y="0"/>
                  </a:lnTo>
                  <a:lnTo>
                    <a:pt x="1195" y="0"/>
                  </a:ln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100000">
                  <a:schemeClr val="accent4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10">
              <a:extLst>
                <a:ext uri="{FF2B5EF4-FFF2-40B4-BE49-F238E27FC236}">
                  <a16:creationId xmlns:a16="http://schemas.microsoft.com/office/drawing/2014/main" id="{11EC3531-8946-4BB2-888A-C3AF77E7DD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81175" y="1301750"/>
              <a:ext cx="1398587" cy="4405312"/>
            </a:xfrm>
            <a:custGeom>
              <a:avLst/>
              <a:gdLst>
                <a:gd name="T0" fmla="*/ 0 w 881"/>
                <a:gd name="T1" fmla="*/ 494 h 2775"/>
                <a:gd name="T2" fmla="*/ 0 w 881"/>
                <a:gd name="T3" fmla="*/ 2775 h 2775"/>
                <a:gd name="T4" fmla="*/ 881 w 881"/>
                <a:gd name="T5" fmla="*/ 0 h 2775"/>
                <a:gd name="T6" fmla="*/ 0 w 881"/>
                <a:gd name="T7" fmla="*/ 494 h 2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81" h="2775">
                  <a:moveTo>
                    <a:pt x="0" y="494"/>
                  </a:moveTo>
                  <a:lnTo>
                    <a:pt x="0" y="2775"/>
                  </a:lnTo>
                  <a:lnTo>
                    <a:pt x="881" y="0"/>
                  </a:lnTo>
                  <a:lnTo>
                    <a:pt x="0" y="494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/>
                </a:gs>
                <a:gs pos="100000">
                  <a:schemeClr val="accent4"/>
                </a:gs>
              </a:gsLst>
              <a:lin ang="1620000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841634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_Full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E8CACA21-A72F-4920-AA54-3E20921B1B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712402" y="6335762"/>
            <a:ext cx="2062071" cy="254745"/>
          </a:xfrm>
          <a:prstGeom prst="rect">
            <a:avLst/>
          </a:prstGeom>
        </p:spPr>
        <p:txBody>
          <a:bodyPr/>
          <a:lstStyle>
            <a:lvl1pPr algn="l">
              <a:defRPr sz="1200" spc="0" baseline="0">
                <a:solidFill>
                  <a:schemeClr val="bg1">
                    <a:lumMod val="65000"/>
                  </a:schemeClr>
                </a:solidFill>
                <a:effectLst/>
                <a:latin typeface="+mn-lt"/>
              </a:defRPr>
            </a:lvl1pPr>
          </a:lstStyle>
          <a:p>
            <a:r>
              <a:rPr lang="en-US"/>
              <a:t>insertyoururlhere.com</a:t>
            </a:r>
            <a:endParaRPr lang="en-US" dirty="0"/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08C84B09-FAEC-4A75-8886-DC153F75334C}"/>
              </a:ext>
            </a:extLst>
          </p:cNvPr>
          <p:cNvGrpSpPr/>
          <p:nvPr userDrawn="1"/>
        </p:nvGrpSpPr>
        <p:grpSpPr>
          <a:xfrm>
            <a:off x="855518" y="2510"/>
            <a:ext cx="1997364" cy="1405659"/>
            <a:chOff x="1450975" y="-26194"/>
            <a:chExt cx="2197100" cy="1546225"/>
          </a:xfrm>
          <a:solidFill>
            <a:schemeClr val="tx1">
              <a:lumMod val="75000"/>
              <a:lumOff val="25000"/>
              <a:alpha val="10000"/>
            </a:schemeClr>
          </a:solidFill>
        </p:grpSpPr>
        <p:sp>
          <p:nvSpPr>
            <p:cNvPr id="47" name="Freeform 30">
              <a:extLst>
                <a:ext uri="{FF2B5EF4-FFF2-40B4-BE49-F238E27FC236}">
                  <a16:creationId xmlns:a16="http://schemas.microsoft.com/office/drawing/2014/main" id="{8FD86F56-87BC-4766-9BB4-6324531D141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0125" y="-26194"/>
              <a:ext cx="12700" cy="3175"/>
            </a:xfrm>
            <a:custGeom>
              <a:avLst/>
              <a:gdLst>
                <a:gd name="T0" fmla="*/ 0 w 4"/>
                <a:gd name="T1" fmla="*/ 0 h 1"/>
                <a:gd name="T2" fmla="*/ 0 w 4"/>
                <a:gd name="T3" fmla="*/ 1 h 1"/>
                <a:gd name="T4" fmla="*/ 4 w 4"/>
                <a:gd name="T5" fmla="*/ 1 h 1"/>
                <a:gd name="T6" fmla="*/ 4 w 4"/>
                <a:gd name="T7" fmla="*/ 0 h 1"/>
                <a:gd name="T8" fmla="*/ 0 w 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31">
              <a:extLst>
                <a:ext uri="{FF2B5EF4-FFF2-40B4-BE49-F238E27FC236}">
                  <a16:creationId xmlns:a16="http://schemas.microsoft.com/office/drawing/2014/main" id="{62D41CD2-0B48-465B-9761-59D240850B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225" y="-26194"/>
              <a:ext cx="12700" cy="3175"/>
            </a:xfrm>
            <a:custGeom>
              <a:avLst/>
              <a:gdLst>
                <a:gd name="T0" fmla="*/ 4 w 4"/>
                <a:gd name="T1" fmla="*/ 0 h 1"/>
                <a:gd name="T2" fmla="*/ 0 w 4"/>
                <a:gd name="T3" fmla="*/ 0 h 1"/>
                <a:gd name="T4" fmla="*/ 0 w 4"/>
                <a:gd name="T5" fmla="*/ 1 h 1"/>
                <a:gd name="T6" fmla="*/ 4 w 4"/>
                <a:gd name="T7" fmla="*/ 1 h 1"/>
                <a:gd name="T8" fmla="*/ 4 w 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32">
              <a:extLst>
                <a:ext uri="{FF2B5EF4-FFF2-40B4-BE49-F238E27FC236}">
                  <a16:creationId xmlns:a16="http://schemas.microsoft.com/office/drawing/2014/main" id="{9D7D6241-E72C-45D3-9511-3BDF420D5AB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0975" y="-23019"/>
              <a:ext cx="2197100" cy="1543050"/>
            </a:xfrm>
            <a:custGeom>
              <a:avLst/>
              <a:gdLst>
                <a:gd name="T0" fmla="*/ 688 w 692"/>
                <a:gd name="T1" fmla="*/ 140 h 486"/>
                <a:gd name="T2" fmla="*/ 346 w 692"/>
                <a:gd name="T3" fmla="*/ 483 h 486"/>
                <a:gd name="T4" fmla="*/ 3 w 692"/>
                <a:gd name="T5" fmla="*/ 140 h 486"/>
                <a:gd name="T6" fmla="*/ 34 w 692"/>
                <a:gd name="T7" fmla="*/ 0 h 486"/>
                <a:gd name="T8" fmla="*/ 30 w 692"/>
                <a:gd name="T9" fmla="*/ 0 h 486"/>
                <a:gd name="T10" fmla="*/ 0 w 692"/>
                <a:gd name="T11" fmla="*/ 140 h 486"/>
                <a:gd name="T12" fmla="*/ 346 w 692"/>
                <a:gd name="T13" fmla="*/ 486 h 486"/>
                <a:gd name="T14" fmla="*/ 692 w 692"/>
                <a:gd name="T15" fmla="*/ 140 h 486"/>
                <a:gd name="T16" fmla="*/ 662 w 692"/>
                <a:gd name="T17" fmla="*/ 0 h 486"/>
                <a:gd name="T18" fmla="*/ 658 w 692"/>
                <a:gd name="T19" fmla="*/ 0 h 486"/>
                <a:gd name="T20" fmla="*/ 688 w 692"/>
                <a:gd name="T21" fmla="*/ 140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92" h="486">
                  <a:moveTo>
                    <a:pt x="688" y="140"/>
                  </a:moveTo>
                  <a:cubicBezTo>
                    <a:pt x="688" y="329"/>
                    <a:pt x="535" y="483"/>
                    <a:pt x="346" y="483"/>
                  </a:cubicBezTo>
                  <a:cubicBezTo>
                    <a:pt x="157" y="483"/>
                    <a:pt x="3" y="329"/>
                    <a:pt x="3" y="140"/>
                  </a:cubicBezTo>
                  <a:cubicBezTo>
                    <a:pt x="3" y="90"/>
                    <a:pt x="14" y="43"/>
                    <a:pt x="34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11" y="43"/>
                    <a:pt x="0" y="90"/>
                    <a:pt x="0" y="140"/>
                  </a:cubicBezTo>
                  <a:cubicBezTo>
                    <a:pt x="0" y="331"/>
                    <a:pt x="155" y="486"/>
                    <a:pt x="346" y="486"/>
                  </a:cubicBezTo>
                  <a:cubicBezTo>
                    <a:pt x="536" y="486"/>
                    <a:pt x="692" y="331"/>
                    <a:pt x="692" y="140"/>
                  </a:cubicBezTo>
                  <a:cubicBezTo>
                    <a:pt x="692" y="90"/>
                    <a:pt x="681" y="43"/>
                    <a:pt x="662" y="0"/>
                  </a:cubicBezTo>
                  <a:cubicBezTo>
                    <a:pt x="658" y="0"/>
                    <a:pt x="658" y="0"/>
                    <a:pt x="658" y="0"/>
                  </a:cubicBezTo>
                  <a:cubicBezTo>
                    <a:pt x="677" y="43"/>
                    <a:pt x="688" y="90"/>
                    <a:pt x="688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33">
              <a:extLst>
                <a:ext uri="{FF2B5EF4-FFF2-40B4-BE49-F238E27FC236}">
                  <a16:creationId xmlns:a16="http://schemas.microsoft.com/office/drawing/2014/main" id="{5950A7FD-AAE1-4253-8AE1-2B966BBDC88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3925" y="-26194"/>
              <a:ext cx="9525" cy="3175"/>
            </a:xfrm>
            <a:custGeom>
              <a:avLst/>
              <a:gdLst>
                <a:gd name="T0" fmla="*/ 0 w 3"/>
                <a:gd name="T1" fmla="*/ 1 h 1"/>
                <a:gd name="T2" fmla="*/ 3 w 3"/>
                <a:gd name="T3" fmla="*/ 1 h 1"/>
                <a:gd name="T4" fmla="*/ 3 w 3"/>
                <a:gd name="T5" fmla="*/ 0 h 1"/>
                <a:gd name="T6" fmla="*/ 0 w 3"/>
                <a:gd name="T7" fmla="*/ 0 h 1"/>
                <a:gd name="T8" fmla="*/ 0 w 3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34">
              <a:extLst>
                <a:ext uri="{FF2B5EF4-FFF2-40B4-BE49-F238E27FC236}">
                  <a16:creationId xmlns:a16="http://schemas.microsoft.com/office/drawing/2014/main" id="{A2B9865F-376A-4638-B3AA-FA96E16496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2425" y="-26194"/>
              <a:ext cx="12700" cy="3175"/>
            </a:xfrm>
            <a:custGeom>
              <a:avLst/>
              <a:gdLst>
                <a:gd name="T0" fmla="*/ 4 w 4"/>
                <a:gd name="T1" fmla="*/ 1 h 1"/>
                <a:gd name="T2" fmla="*/ 4 w 4"/>
                <a:gd name="T3" fmla="*/ 0 h 1"/>
                <a:gd name="T4" fmla="*/ 1 w 4"/>
                <a:gd name="T5" fmla="*/ 0 h 1"/>
                <a:gd name="T6" fmla="*/ 0 w 4"/>
                <a:gd name="T7" fmla="*/ 1 h 1"/>
                <a:gd name="T8" fmla="*/ 4 w 4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1"/>
                  </a:moveTo>
                  <a:cubicBezTo>
                    <a:pt x="4" y="1"/>
                    <a:pt x="4" y="1"/>
                    <a:pt x="4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35">
              <a:extLst>
                <a:ext uri="{FF2B5EF4-FFF2-40B4-BE49-F238E27FC236}">
                  <a16:creationId xmlns:a16="http://schemas.microsoft.com/office/drawing/2014/main" id="{7C0CAAD9-B35B-48A2-B02F-21ED7215DC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0825" y="-23019"/>
              <a:ext cx="2054225" cy="1473200"/>
            </a:xfrm>
            <a:custGeom>
              <a:avLst/>
              <a:gdLst>
                <a:gd name="T0" fmla="*/ 644 w 647"/>
                <a:gd name="T1" fmla="*/ 140 h 464"/>
                <a:gd name="T2" fmla="*/ 324 w 647"/>
                <a:gd name="T3" fmla="*/ 460 h 464"/>
                <a:gd name="T4" fmla="*/ 4 w 647"/>
                <a:gd name="T5" fmla="*/ 140 h 464"/>
                <a:gd name="T6" fmla="*/ 36 w 647"/>
                <a:gd name="T7" fmla="*/ 0 h 464"/>
                <a:gd name="T8" fmla="*/ 32 w 647"/>
                <a:gd name="T9" fmla="*/ 0 h 464"/>
                <a:gd name="T10" fmla="*/ 0 w 647"/>
                <a:gd name="T11" fmla="*/ 140 h 464"/>
                <a:gd name="T12" fmla="*/ 324 w 647"/>
                <a:gd name="T13" fmla="*/ 464 h 464"/>
                <a:gd name="T14" fmla="*/ 647 w 647"/>
                <a:gd name="T15" fmla="*/ 140 h 464"/>
                <a:gd name="T16" fmla="*/ 615 w 647"/>
                <a:gd name="T17" fmla="*/ 0 h 464"/>
                <a:gd name="T18" fmla="*/ 612 w 647"/>
                <a:gd name="T19" fmla="*/ 0 h 464"/>
                <a:gd name="T20" fmla="*/ 644 w 647"/>
                <a:gd name="T21" fmla="*/ 140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47" h="464">
                  <a:moveTo>
                    <a:pt x="644" y="140"/>
                  </a:moveTo>
                  <a:cubicBezTo>
                    <a:pt x="644" y="317"/>
                    <a:pt x="500" y="460"/>
                    <a:pt x="324" y="460"/>
                  </a:cubicBezTo>
                  <a:cubicBezTo>
                    <a:pt x="147" y="460"/>
                    <a:pt x="4" y="317"/>
                    <a:pt x="4" y="140"/>
                  </a:cubicBezTo>
                  <a:cubicBezTo>
                    <a:pt x="4" y="90"/>
                    <a:pt x="15" y="42"/>
                    <a:pt x="36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12" y="42"/>
                    <a:pt x="0" y="90"/>
                    <a:pt x="0" y="140"/>
                  </a:cubicBezTo>
                  <a:cubicBezTo>
                    <a:pt x="0" y="319"/>
                    <a:pt x="145" y="464"/>
                    <a:pt x="324" y="464"/>
                  </a:cubicBezTo>
                  <a:cubicBezTo>
                    <a:pt x="502" y="464"/>
                    <a:pt x="647" y="319"/>
                    <a:pt x="647" y="140"/>
                  </a:cubicBezTo>
                  <a:cubicBezTo>
                    <a:pt x="647" y="90"/>
                    <a:pt x="636" y="42"/>
                    <a:pt x="615" y="0"/>
                  </a:cubicBezTo>
                  <a:cubicBezTo>
                    <a:pt x="612" y="0"/>
                    <a:pt x="612" y="0"/>
                    <a:pt x="612" y="0"/>
                  </a:cubicBezTo>
                  <a:cubicBezTo>
                    <a:pt x="632" y="42"/>
                    <a:pt x="644" y="90"/>
                    <a:pt x="644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36">
              <a:extLst>
                <a:ext uri="{FF2B5EF4-FFF2-40B4-BE49-F238E27FC236}">
                  <a16:creationId xmlns:a16="http://schemas.microsoft.com/office/drawing/2014/main" id="{B8B8251C-1295-4342-BCC1-B378D183AF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-26194"/>
              <a:ext cx="12700" cy="3175"/>
            </a:xfrm>
            <a:custGeom>
              <a:avLst/>
              <a:gdLst>
                <a:gd name="T0" fmla="*/ 4 w 4"/>
                <a:gd name="T1" fmla="*/ 0 h 1"/>
                <a:gd name="T2" fmla="*/ 1 w 4"/>
                <a:gd name="T3" fmla="*/ 0 h 1"/>
                <a:gd name="T4" fmla="*/ 0 w 4"/>
                <a:gd name="T5" fmla="*/ 1 h 1"/>
                <a:gd name="T6" fmla="*/ 4 w 4"/>
                <a:gd name="T7" fmla="*/ 1 h 1"/>
                <a:gd name="T8" fmla="*/ 4 w 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7">
              <a:extLst>
                <a:ext uri="{FF2B5EF4-FFF2-40B4-BE49-F238E27FC236}">
                  <a16:creationId xmlns:a16="http://schemas.microsoft.com/office/drawing/2014/main" id="{5093996E-53D2-4A3B-BE91-71EBD6AC6524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4550" y="-26194"/>
              <a:ext cx="12700" cy="3175"/>
            </a:xfrm>
            <a:custGeom>
              <a:avLst/>
              <a:gdLst>
                <a:gd name="T0" fmla="*/ 0 w 4"/>
                <a:gd name="T1" fmla="*/ 0 h 1"/>
                <a:gd name="T2" fmla="*/ 1 w 4"/>
                <a:gd name="T3" fmla="*/ 1 h 1"/>
                <a:gd name="T4" fmla="*/ 4 w 4"/>
                <a:gd name="T5" fmla="*/ 1 h 1"/>
                <a:gd name="T6" fmla="*/ 4 w 4"/>
                <a:gd name="T7" fmla="*/ 0 h 1"/>
                <a:gd name="T8" fmla="*/ 0 w 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0" y="0"/>
                  </a:moveTo>
                  <a:cubicBezTo>
                    <a:pt x="0" y="1"/>
                    <a:pt x="1" y="1"/>
                    <a:pt x="1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8">
              <a:extLst>
                <a:ext uri="{FF2B5EF4-FFF2-40B4-BE49-F238E27FC236}">
                  <a16:creationId xmlns:a16="http://schemas.microsoft.com/office/drawing/2014/main" id="{3E187798-6D30-447C-A02A-C4C14ABB3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0675" y="-23019"/>
              <a:ext cx="1917700" cy="1403350"/>
            </a:xfrm>
            <a:custGeom>
              <a:avLst/>
              <a:gdLst>
                <a:gd name="T0" fmla="*/ 601 w 604"/>
                <a:gd name="T1" fmla="*/ 140 h 442"/>
                <a:gd name="T2" fmla="*/ 302 w 604"/>
                <a:gd name="T3" fmla="*/ 439 h 442"/>
                <a:gd name="T4" fmla="*/ 3 w 604"/>
                <a:gd name="T5" fmla="*/ 140 h 442"/>
                <a:gd name="T6" fmla="*/ 38 w 604"/>
                <a:gd name="T7" fmla="*/ 0 h 442"/>
                <a:gd name="T8" fmla="*/ 34 w 604"/>
                <a:gd name="T9" fmla="*/ 0 h 442"/>
                <a:gd name="T10" fmla="*/ 0 w 604"/>
                <a:gd name="T11" fmla="*/ 140 h 442"/>
                <a:gd name="T12" fmla="*/ 302 w 604"/>
                <a:gd name="T13" fmla="*/ 442 h 442"/>
                <a:gd name="T14" fmla="*/ 604 w 604"/>
                <a:gd name="T15" fmla="*/ 140 h 442"/>
                <a:gd name="T16" fmla="*/ 569 w 604"/>
                <a:gd name="T17" fmla="*/ 0 h 442"/>
                <a:gd name="T18" fmla="*/ 566 w 604"/>
                <a:gd name="T19" fmla="*/ 0 h 442"/>
                <a:gd name="T20" fmla="*/ 601 w 604"/>
                <a:gd name="T21" fmla="*/ 14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04" h="442">
                  <a:moveTo>
                    <a:pt x="601" y="140"/>
                  </a:moveTo>
                  <a:cubicBezTo>
                    <a:pt x="601" y="305"/>
                    <a:pt x="467" y="439"/>
                    <a:pt x="302" y="439"/>
                  </a:cubicBezTo>
                  <a:cubicBezTo>
                    <a:pt x="137" y="439"/>
                    <a:pt x="3" y="305"/>
                    <a:pt x="3" y="140"/>
                  </a:cubicBezTo>
                  <a:cubicBezTo>
                    <a:pt x="3" y="89"/>
                    <a:pt x="16" y="42"/>
                    <a:pt x="38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12" y="42"/>
                    <a:pt x="0" y="90"/>
                    <a:pt x="0" y="140"/>
                  </a:cubicBezTo>
                  <a:cubicBezTo>
                    <a:pt x="0" y="307"/>
                    <a:pt x="135" y="442"/>
                    <a:pt x="302" y="442"/>
                  </a:cubicBezTo>
                  <a:cubicBezTo>
                    <a:pt x="468" y="442"/>
                    <a:pt x="604" y="307"/>
                    <a:pt x="604" y="140"/>
                  </a:cubicBezTo>
                  <a:cubicBezTo>
                    <a:pt x="604" y="90"/>
                    <a:pt x="591" y="42"/>
                    <a:pt x="569" y="0"/>
                  </a:cubicBezTo>
                  <a:cubicBezTo>
                    <a:pt x="566" y="0"/>
                    <a:pt x="566" y="0"/>
                    <a:pt x="566" y="0"/>
                  </a:cubicBezTo>
                  <a:cubicBezTo>
                    <a:pt x="588" y="42"/>
                    <a:pt x="601" y="89"/>
                    <a:pt x="601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39">
              <a:extLst>
                <a:ext uri="{FF2B5EF4-FFF2-40B4-BE49-F238E27FC236}">
                  <a16:creationId xmlns:a16="http://schemas.microsoft.com/office/drawing/2014/main" id="{B250A47E-206F-457B-8000-99DFD78A17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1175" y="-26194"/>
              <a:ext cx="12700" cy="3175"/>
            </a:xfrm>
            <a:custGeom>
              <a:avLst/>
              <a:gdLst>
                <a:gd name="T0" fmla="*/ 4 w 4"/>
                <a:gd name="T1" fmla="*/ 1 h 1"/>
                <a:gd name="T2" fmla="*/ 4 w 4"/>
                <a:gd name="T3" fmla="*/ 0 h 1"/>
                <a:gd name="T4" fmla="*/ 0 w 4"/>
                <a:gd name="T5" fmla="*/ 0 h 1"/>
                <a:gd name="T6" fmla="*/ 0 w 4"/>
                <a:gd name="T7" fmla="*/ 1 h 1"/>
                <a:gd name="T8" fmla="*/ 4 w 4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1"/>
                  </a:moveTo>
                  <a:cubicBezTo>
                    <a:pt x="4" y="1"/>
                    <a:pt x="4" y="1"/>
                    <a:pt x="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40">
              <a:extLst>
                <a:ext uri="{FF2B5EF4-FFF2-40B4-BE49-F238E27FC236}">
                  <a16:creationId xmlns:a16="http://schemas.microsoft.com/office/drawing/2014/main" id="{54FC95A4-DC3D-4300-AFC9-9F8FCF54C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5175" y="-26194"/>
              <a:ext cx="12700" cy="3175"/>
            </a:xfrm>
            <a:custGeom>
              <a:avLst/>
              <a:gdLst>
                <a:gd name="T0" fmla="*/ 0 w 4"/>
                <a:gd name="T1" fmla="*/ 1 h 1"/>
                <a:gd name="T2" fmla="*/ 4 w 4"/>
                <a:gd name="T3" fmla="*/ 1 h 1"/>
                <a:gd name="T4" fmla="*/ 3 w 4"/>
                <a:gd name="T5" fmla="*/ 0 h 1"/>
                <a:gd name="T6" fmla="*/ 0 w 4"/>
                <a:gd name="T7" fmla="*/ 0 h 1"/>
                <a:gd name="T8" fmla="*/ 0 w 4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0" y="1"/>
                  </a:moveTo>
                  <a:cubicBezTo>
                    <a:pt x="4" y="1"/>
                    <a:pt x="4" y="1"/>
                    <a:pt x="4" y="1"/>
                  </a:cubicBezTo>
                  <a:cubicBezTo>
                    <a:pt x="3" y="1"/>
                    <a:pt x="3" y="1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41">
              <a:extLst>
                <a:ext uri="{FF2B5EF4-FFF2-40B4-BE49-F238E27FC236}">
                  <a16:creationId xmlns:a16="http://schemas.microsoft.com/office/drawing/2014/main" id="{BDD3DF79-B444-4FD5-8484-9A4802AA20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0525" y="-23019"/>
              <a:ext cx="1774825" cy="1333500"/>
            </a:xfrm>
            <a:custGeom>
              <a:avLst/>
              <a:gdLst>
                <a:gd name="T0" fmla="*/ 556 w 559"/>
                <a:gd name="T1" fmla="*/ 140 h 420"/>
                <a:gd name="T2" fmla="*/ 280 w 559"/>
                <a:gd name="T3" fmla="*/ 416 h 420"/>
                <a:gd name="T4" fmla="*/ 4 w 559"/>
                <a:gd name="T5" fmla="*/ 140 h 420"/>
                <a:gd name="T6" fmla="*/ 42 w 559"/>
                <a:gd name="T7" fmla="*/ 0 h 420"/>
                <a:gd name="T8" fmla="*/ 38 w 559"/>
                <a:gd name="T9" fmla="*/ 0 h 420"/>
                <a:gd name="T10" fmla="*/ 0 w 559"/>
                <a:gd name="T11" fmla="*/ 140 h 420"/>
                <a:gd name="T12" fmla="*/ 280 w 559"/>
                <a:gd name="T13" fmla="*/ 420 h 420"/>
                <a:gd name="T14" fmla="*/ 559 w 559"/>
                <a:gd name="T15" fmla="*/ 140 h 420"/>
                <a:gd name="T16" fmla="*/ 522 w 559"/>
                <a:gd name="T17" fmla="*/ 0 h 420"/>
                <a:gd name="T18" fmla="*/ 518 w 559"/>
                <a:gd name="T19" fmla="*/ 0 h 420"/>
                <a:gd name="T20" fmla="*/ 556 w 559"/>
                <a:gd name="T21" fmla="*/ 140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59" h="420">
                  <a:moveTo>
                    <a:pt x="556" y="140"/>
                  </a:moveTo>
                  <a:cubicBezTo>
                    <a:pt x="556" y="293"/>
                    <a:pt x="432" y="416"/>
                    <a:pt x="280" y="416"/>
                  </a:cubicBezTo>
                  <a:cubicBezTo>
                    <a:pt x="128" y="416"/>
                    <a:pt x="4" y="293"/>
                    <a:pt x="4" y="140"/>
                  </a:cubicBezTo>
                  <a:cubicBezTo>
                    <a:pt x="4" y="89"/>
                    <a:pt x="18" y="41"/>
                    <a:pt x="42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14" y="41"/>
                    <a:pt x="0" y="89"/>
                    <a:pt x="0" y="140"/>
                  </a:cubicBezTo>
                  <a:cubicBezTo>
                    <a:pt x="0" y="294"/>
                    <a:pt x="126" y="420"/>
                    <a:pt x="280" y="420"/>
                  </a:cubicBezTo>
                  <a:cubicBezTo>
                    <a:pt x="434" y="420"/>
                    <a:pt x="559" y="294"/>
                    <a:pt x="559" y="140"/>
                  </a:cubicBezTo>
                  <a:cubicBezTo>
                    <a:pt x="559" y="89"/>
                    <a:pt x="546" y="41"/>
                    <a:pt x="522" y="0"/>
                  </a:cubicBezTo>
                  <a:cubicBezTo>
                    <a:pt x="518" y="0"/>
                    <a:pt x="518" y="0"/>
                    <a:pt x="518" y="0"/>
                  </a:cubicBezTo>
                  <a:cubicBezTo>
                    <a:pt x="542" y="41"/>
                    <a:pt x="556" y="89"/>
                    <a:pt x="556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42">
              <a:extLst>
                <a:ext uri="{FF2B5EF4-FFF2-40B4-BE49-F238E27FC236}">
                  <a16:creationId xmlns:a16="http://schemas.microsoft.com/office/drawing/2014/main" id="{91E2A178-552E-476F-AEDA-F519B4623B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4200" y="-26194"/>
              <a:ext cx="12700" cy="3175"/>
            </a:xfrm>
            <a:custGeom>
              <a:avLst/>
              <a:gdLst>
                <a:gd name="T0" fmla="*/ 4 w 4"/>
                <a:gd name="T1" fmla="*/ 0 h 1"/>
                <a:gd name="T2" fmla="*/ 0 w 4"/>
                <a:gd name="T3" fmla="*/ 0 h 1"/>
                <a:gd name="T4" fmla="*/ 0 w 4"/>
                <a:gd name="T5" fmla="*/ 1 h 1"/>
                <a:gd name="T6" fmla="*/ 4 w 4"/>
                <a:gd name="T7" fmla="*/ 1 h 1"/>
                <a:gd name="T8" fmla="*/ 4 w 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43">
              <a:extLst>
                <a:ext uri="{FF2B5EF4-FFF2-40B4-BE49-F238E27FC236}">
                  <a16:creationId xmlns:a16="http://schemas.microsoft.com/office/drawing/2014/main" id="{4B8EF77E-47F9-40B2-BF83-77BF5EC2A1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8975" y="-26194"/>
              <a:ext cx="15875" cy="3175"/>
            </a:xfrm>
            <a:custGeom>
              <a:avLst/>
              <a:gdLst>
                <a:gd name="T0" fmla="*/ 0 w 5"/>
                <a:gd name="T1" fmla="*/ 0 h 1"/>
                <a:gd name="T2" fmla="*/ 1 w 5"/>
                <a:gd name="T3" fmla="*/ 1 h 1"/>
                <a:gd name="T4" fmla="*/ 5 w 5"/>
                <a:gd name="T5" fmla="*/ 1 h 1"/>
                <a:gd name="T6" fmla="*/ 4 w 5"/>
                <a:gd name="T7" fmla="*/ 0 h 1"/>
                <a:gd name="T8" fmla="*/ 0 w 5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">
                  <a:moveTo>
                    <a:pt x="0" y="0"/>
                  </a:moveTo>
                  <a:cubicBezTo>
                    <a:pt x="0" y="1"/>
                    <a:pt x="1" y="1"/>
                    <a:pt x="1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4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44">
              <a:extLst>
                <a:ext uri="{FF2B5EF4-FFF2-40B4-BE49-F238E27FC236}">
                  <a16:creationId xmlns:a16="http://schemas.microsoft.com/office/drawing/2014/main" id="{E6041A9A-462A-44C0-BB57-33EBCF6FB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4025" y="-23019"/>
              <a:ext cx="1651000" cy="1270000"/>
            </a:xfrm>
            <a:custGeom>
              <a:avLst/>
              <a:gdLst>
                <a:gd name="T0" fmla="*/ 517 w 520"/>
                <a:gd name="T1" fmla="*/ 140 h 400"/>
                <a:gd name="T2" fmla="*/ 260 w 520"/>
                <a:gd name="T3" fmla="*/ 397 h 400"/>
                <a:gd name="T4" fmla="*/ 3 w 520"/>
                <a:gd name="T5" fmla="*/ 140 h 400"/>
                <a:gd name="T6" fmla="*/ 45 w 520"/>
                <a:gd name="T7" fmla="*/ 0 h 400"/>
                <a:gd name="T8" fmla="*/ 41 w 520"/>
                <a:gd name="T9" fmla="*/ 0 h 400"/>
                <a:gd name="T10" fmla="*/ 0 w 520"/>
                <a:gd name="T11" fmla="*/ 140 h 400"/>
                <a:gd name="T12" fmla="*/ 260 w 520"/>
                <a:gd name="T13" fmla="*/ 400 h 400"/>
                <a:gd name="T14" fmla="*/ 520 w 520"/>
                <a:gd name="T15" fmla="*/ 140 h 400"/>
                <a:gd name="T16" fmla="*/ 479 w 520"/>
                <a:gd name="T17" fmla="*/ 0 h 400"/>
                <a:gd name="T18" fmla="*/ 475 w 520"/>
                <a:gd name="T19" fmla="*/ 0 h 400"/>
                <a:gd name="T20" fmla="*/ 517 w 520"/>
                <a:gd name="T21" fmla="*/ 14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20" h="400">
                  <a:moveTo>
                    <a:pt x="517" y="140"/>
                  </a:moveTo>
                  <a:cubicBezTo>
                    <a:pt x="517" y="282"/>
                    <a:pt x="401" y="397"/>
                    <a:pt x="260" y="397"/>
                  </a:cubicBezTo>
                  <a:cubicBezTo>
                    <a:pt x="118" y="397"/>
                    <a:pt x="3" y="282"/>
                    <a:pt x="3" y="140"/>
                  </a:cubicBezTo>
                  <a:cubicBezTo>
                    <a:pt x="3" y="88"/>
                    <a:pt x="19" y="40"/>
                    <a:pt x="45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15" y="40"/>
                    <a:pt x="0" y="89"/>
                    <a:pt x="0" y="140"/>
                  </a:cubicBezTo>
                  <a:cubicBezTo>
                    <a:pt x="0" y="284"/>
                    <a:pt x="117" y="400"/>
                    <a:pt x="260" y="400"/>
                  </a:cubicBezTo>
                  <a:cubicBezTo>
                    <a:pt x="403" y="400"/>
                    <a:pt x="520" y="284"/>
                    <a:pt x="520" y="140"/>
                  </a:cubicBezTo>
                  <a:cubicBezTo>
                    <a:pt x="520" y="89"/>
                    <a:pt x="505" y="40"/>
                    <a:pt x="479" y="0"/>
                  </a:cubicBezTo>
                  <a:cubicBezTo>
                    <a:pt x="475" y="0"/>
                    <a:pt x="475" y="0"/>
                    <a:pt x="475" y="0"/>
                  </a:cubicBezTo>
                  <a:cubicBezTo>
                    <a:pt x="501" y="40"/>
                    <a:pt x="517" y="88"/>
                    <a:pt x="517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310F98F8-496B-4E28-8835-0DDC8B332383}"/>
              </a:ext>
            </a:extLst>
          </p:cNvPr>
          <p:cNvGrpSpPr/>
          <p:nvPr userDrawn="1"/>
        </p:nvGrpSpPr>
        <p:grpSpPr>
          <a:xfrm>
            <a:off x="-13334" y="125"/>
            <a:ext cx="3924023" cy="2346065"/>
            <a:chOff x="-3175" y="-26194"/>
            <a:chExt cx="5222875" cy="3122613"/>
          </a:xfrm>
          <a:solidFill>
            <a:schemeClr val="tx1">
              <a:lumMod val="75000"/>
              <a:lumOff val="25000"/>
              <a:alpha val="10000"/>
            </a:schemeClr>
          </a:solidFill>
        </p:grpSpPr>
        <p:sp>
          <p:nvSpPr>
            <p:cNvPr id="63" name="Freeform 45">
              <a:extLst>
                <a:ext uri="{FF2B5EF4-FFF2-40B4-BE49-F238E27FC236}">
                  <a16:creationId xmlns:a16="http://schemas.microsoft.com/office/drawing/2014/main" id="{7A571FAD-0FE9-4DEE-A362-A390602AA4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6200" y="-26194"/>
              <a:ext cx="25400" cy="3175"/>
            </a:xfrm>
            <a:custGeom>
              <a:avLst/>
              <a:gdLst>
                <a:gd name="T0" fmla="*/ 0 w 8"/>
                <a:gd name="T1" fmla="*/ 1 h 1"/>
                <a:gd name="T2" fmla="*/ 8 w 8"/>
                <a:gd name="T3" fmla="*/ 1 h 1"/>
                <a:gd name="T4" fmla="*/ 8 w 8"/>
                <a:gd name="T5" fmla="*/ 0 h 1"/>
                <a:gd name="T6" fmla="*/ 0 w 8"/>
                <a:gd name="T7" fmla="*/ 0 h 1"/>
                <a:gd name="T8" fmla="*/ 0 w 8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0" y="1"/>
                  </a:move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46">
              <a:extLst>
                <a:ext uri="{FF2B5EF4-FFF2-40B4-BE49-F238E27FC236}">
                  <a16:creationId xmlns:a16="http://schemas.microsoft.com/office/drawing/2014/main" id="{BD56B81E-C723-47B1-962F-AF03A08CDBBB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75" y="1126331"/>
              <a:ext cx="25400" cy="168275"/>
            </a:xfrm>
            <a:custGeom>
              <a:avLst/>
              <a:gdLst>
                <a:gd name="T0" fmla="*/ 8 w 8"/>
                <a:gd name="T1" fmla="*/ 27 h 53"/>
                <a:gd name="T2" fmla="*/ 0 w 8"/>
                <a:gd name="T3" fmla="*/ 0 h 53"/>
                <a:gd name="T4" fmla="*/ 0 w 8"/>
                <a:gd name="T5" fmla="*/ 28 h 53"/>
                <a:gd name="T6" fmla="*/ 8 w 8"/>
                <a:gd name="T7" fmla="*/ 53 h 53"/>
                <a:gd name="T8" fmla="*/ 8 w 8"/>
                <a:gd name="T9" fmla="*/ 2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3">
                  <a:moveTo>
                    <a:pt x="8" y="27"/>
                  </a:moveTo>
                  <a:cubicBezTo>
                    <a:pt x="6" y="18"/>
                    <a:pt x="3" y="9"/>
                    <a:pt x="0" y="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3" y="36"/>
                    <a:pt x="6" y="44"/>
                    <a:pt x="8" y="53"/>
                  </a:cubicBezTo>
                  <a:lnTo>
                    <a:pt x="8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47">
              <a:extLst>
                <a:ext uri="{FF2B5EF4-FFF2-40B4-BE49-F238E27FC236}">
                  <a16:creationId xmlns:a16="http://schemas.microsoft.com/office/drawing/2014/main" id="{75F0A97D-03D6-4CD6-8F6E-007EED662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25" y="-23019"/>
              <a:ext cx="5197475" cy="3119438"/>
            </a:xfrm>
            <a:custGeom>
              <a:avLst/>
              <a:gdLst>
                <a:gd name="T0" fmla="*/ 1629 w 1637"/>
                <a:gd name="T1" fmla="*/ 140 h 982"/>
                <a:gd name="T2" fmla="*/ 796 w 1637"/>
                <a:gd name="T3" fmla="*/ 974 h 982"/>
                <a:gd name="T4" fmla="*/ 0 w 1637"/>
                <a:gd name="T5" fmla="*/ 389 h 982"/>
                <a:gd name="T6" fmla="*/ 0 w 1637"/>
                <a:gd name="T7" fmla="*/ 415 h 982"/>
                <a:gd name="T8" fmla="*/ 796 w 1637"/>
                <a:gd name="T9" fmla="*/ 982 h 982"/>
                <a:gd name="T10" fmla="*/ 1637 w 1637"/>
                <a:gd name="T11" fmla="*/ 140 h 982"/>
                <a:gd name="T12" fmla="*/ 1625 w 1637"/>
                <a:gd name="T13" fmla="*/ 0 h 982"/>
                <a:gd name="T14" fmla="*/ 1617 w 1637"/>
                <a:gd name="T15" fmla="*/ 0 h 982"/>
                <a:gd name="T16" fmla="*/ 1629 w 1637"/>
                <a:gd name="T17" fmla="*/ 140 h 9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37" h="982">
                  <a:moveTo>
                    <a:pt x="1629" y="140"/>
                  </a:moveTo>
                  <a:cubicBezTo>
                    <a:pt x="1629" y="600"/>
                    <a:pt x="1255" y="974"/>
                    <a:pt x="796" y="974"/>
                  </a:cubicBezTo>
                  <a:cubicBezTo>
                    <a:pt x="423" y="974"/>
                    <a:pt x="107" y="728"/>
                    <a:pt x="0" y="389"/>
                  </a:cubicBezTo>
                  <a:cubicBezTo>
                    <a:pt x="0" y="415"/>
                    <a:pt x="0" y="415"/>
                    <a:pt x="0" y="415"/>
                  </a:cubicBezTo>
                  <a:cubicBezTo>
                    <a:pt x="115" y="744"/>
                    <a:pt x="428" y="982"/>
                    <a:pt x="796" y="982"/>
                  </a:cubicBezTo>
                  <a:cubicBezTo>
                    <a:pt x="1260" y="982"/>
                    <a:pt x="1637" y="604"/>
                    <a:pt x="1637" y="140"/>
                  </a:cubicBezTo>
                  <a:cubicBezTo>
                    <a:pt x="1637" y="92"/>
                    <a:pt x="1633" y="45"/>
                    <a:pt x="1625" y="0"/>
                  </a:cubicBezTo>
                  <a:cubicBezTo>
                    <a:pt x="1617" y="0"/>
                    <a:pt x="1617" y="0"/>
                    <a:pt x="1617" y="0"/>
                  </a:cubicBezTo>
                  <a:cubicBezTo>
                    <a:pt x="1625" y="45"/>
                    <a:pt x="1629" y="92"/>
                    <a:pt x="1629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48">
              <a:extLst>
                <a:ext uri="{FF2B5EF4-FFF2-40B4-BE49-F238E27FC236}">
                  <a16:creationId xmlns:a16="http://schemas.microsoft.com/office/drawing/2014/main" id="{B5E4596F-2CF7-4E02-B395-9451BEF484D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4750" y="-26194"/>
              <a:ext cx="25400" cy="3175"/>
            </a:xfrm>
            <a:custGeom>
              <a:avLst/>
              <a:gdLst>
                <a:gd name="T0" fmla="*/ 0 w 8"/>
                <a:gd name="T1" fmla="*/ 0 h 1"/>
                <a:gd name="T2" fmla="*/ 0 w 8"/>
                <a:gd name="T3" fmla="*/ 1 h 1"/>
                <a:gd name="T4" fmla="*/ 8 w 8"/>
                <a:gd name="T5" fmla="*/ 1 h 1"/>
                <a:gd name="T6" fmla="*/ 8 w 8"/>
                <a:gd name="T7" fmla="*/ 0 h 1"/>
                <a:gd name="T8" fmla="*/ 0 w 8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49">
              <a:extLst>
                <a:ext uri="{FF2B5EF4-FFF2-40B4-BE49-F238E27FC236}">
                  <a16:creationId xmlns:a16="http://schemas.microsoft.com/office/drawing/2014/main" id="{0FE72423-3B99-46F4-9BEC-3964A003FC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8900" y="-26194"/>
              <a:ext cx="25400" cy="3175"/>
            </a:xfrm>
            <a:custGeom>
              <a:avLst/>
              <a:gdLst>
                <a:gd name="T0" fmla="*/ 8 w 8"/>
                <a:gd name="T1" fmla="*/ 0 h 1"/>
                <a:gd name="T2" fmla="*/ 0 w 8"/>
                <a:gd name="T3" fmla="*/ 0 h 1"/>
                <a:gd name="T4" fmla="*/ 0 w 8"/>
                <a:gd name="T5" fmla="*/ 1 h 1"/>
                <a:gd name="T6" fmla="*/ 8 w 8"/>
                <a:gd name="T7" fmla="*/ 1 h 1"/>
                <a:gd name="T8" fmla="*/ 8 w 8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50">
              <a:extLst>
                <a:ext uri="{FF2B5EF4-FFF2-40B4-BE49-F238E27FC236}">
                  <a16:creationId xmlns:a16="http://schemas.microsoft.com/office/drawing/2014/main" id="{89BB5F30-C1E8-4F42-8C78-98CF487E2E4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25" y="-23019"/>
              <a:ext cx="5003800" cy="2947988"/>
            </a:xfrm>
            <a:custGeom>
              <a:avLst/>
              <a:gdLst>
                <a:gd name="T0" fmla="*/ 1568 w 1576"/>
                <a:gd name="T1" fmla="*/ 140 h 928"/>
                <a:gd name="T2" fmla="*/ 788 w 1576"/>
                <a:gd name="T3" fmla="*/ 920 h 928"/>
                <a:gd name="T4" fmla="*/ 8 w 1576"/>
                <a:gd name="T5" fmla="*/ 140 h 928"/>
                <a:gd name="T6" fmla="*/ 21 w 1576"/>
                <a:gd name="T7" fmla="*/ 0 h 928"/>
                <a:gd name="T8" fmla="*/ 13 w 1576"/>
                <a:gd name="T9" fmla="*/ 0 h 928"/>
                <a:gd name="T10" fmla="*/ 0 w 1576"/>
                <a:gd name="T11" fmla="*/ 140 h 928"/>
                <a:gd name="T12" fmla="*/ 788 w 1576"/>
                <a:gd name="T13" fmla="*/ 928 h 928"/>
                <a:gd name="T14" fmla="*/ 1576 w 1576"/>
                <a:gd name="T15" fmla="*/ 140 h 928"/>
                <a:gd name="T16" fmla="*/ 1563 w 1576"/>
                <a:gd name="T17" fmla="*/ 0 h 928"/>
                <a:gd name="T18" fmla="*/ 1555 w 1576"/>
                <a:gd name="T19" fmla="*/ 0 h 928"/>
                <a:gd name="T20" fmla="*/ 1568 w 1576"/>
                <a:gd name="T21" fmla="*/ 140 h 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76" h="928">
                  <a:moveTo>
                    <a:pt x="1568" y="140"/>
                  </a:moveTo>
                  <a:cubicBezTo>
                    <a:pt x="1568" y="570"/>
                    <a:pt x="1218" y="920"/>
                    <a:pt x="788" y="920"/>
                  </a:cubicBezTo>
                  <a:cubicBezTo>
                    <a:pt x="358" y="920"/>
                    <a:pt x="8" y="570"/>
                    <a:pt x="8" y="140"/>
                  </a:cubicBezTo>
                  <a:cubicBezTo>
                    <a:pt x="8" y="92"/>
                    <a:pt x="13" y="45"/>
                    <a:pt x="21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4" y="45"/>
                    <a:pt x="0" y="92"/>
                    <a:pt x="0" y="140"/>
                  </a:cubicBezTo>
                  <a:cubicBezTo>
                    <a:pt x="0" y="575"/>
                    <a:pt x="354" y="928"/>
                    <a:pt x="788" y="928"/>
                  </a:cubicBezTo>
                  <a:cubicBezTo>
                    <a:pt x="1222" y="928"/>
                    <a:pt x="1576" y="575"/>
                    <a:pt x="1576" y="140"/>
                  </a:cubicBezTo>
                  <a:cubicBezTo>
                    <a:pt x="1576" y="92"/>
                    <a:pt x="1571" y="45"/>
                    <a:pt x="1563" y="0"/>
                  </a:cubicBezTo>
                  <a:cubicBezTo>
                    <a:pt x="1555" y="0"/>
                    <a:pt x="1555" y="0"/>
                    <a:pt x="1555" y="0"/>
                  </a:cubicBezTo>
                  <a:cubicBezTo>
                    <a:pt x="1563" y="45"/>
                    <a:pt x="1568" y="92"/>
                    <a:pt x="1568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51">
              <a:extLst>
                <a:ext uri="{FF2B5EF4-FFF2-40B4-BE49-F238E27FC236}">
                  <a16:creationId xmlns:a16="http://schemas.microsoft.com/office/drawing/2014/main" id="{EA17D0A7-E313-41A0-98CC-2E2867628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175" y="-26194"/>
              <a:ext cx="25400" cy="3175"/>
            </a:xfrm>
            <a:custGeom>
              <a:avLst/>
              <a:gdLst>
                <a:gd name="T0" fmla="*/ 8 w 8"/>
                <a:gd name="T1" fmla="*/ 1 h 1"/>
                <a:gd name="T2" fmla="*/ 8 w 8"/>
                <a:gd name="T3" fmla="*/ 0 h 1"/>
                <a:gd name="T4" fmla="*/ 0 w 8"/>
                <a:gd name="T5" fmla="*/ 0 h 1"/>
                <a:gd name="T6" fmla="*/ 0 w 8"/>
                <a:gd name="T7" fmla="*/ 1 h 1"/>
                <a:gd name="T8" fmla="*/ 8 w 8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8" y="1"/>
                  </a:moveTo>
                  <a:cubicBezTo>
                    <a:pt x="8" y="1"/>
                    <a:pt x="8" y="1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8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52">
              <a:extLst>
                <a:ext uri="{FF2B5EF4-FFF2-40B4-BE49-F238E27FC236}">
                  <a16:creationId xmlns:a16="http://schemas.microsoft.com/office/drawing/2014/main" id="{410B8D16-DFAA-44DB-9F8C-DB5663839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6475" y="-26194"/>
              <a:ext cx="25400" cy="3175"/>
            </a:xfrm>
            <a:custGeom>
              <a:avLst/>
              <a:gdLst>
                <a:gd name="T0" fmla="*/ 0 w 8"/>
                <a:gd name="T1" fmla="*/ 1 h 1"/>
                <a:gd name="T2" fmla="*/ 8 w 8"/>
                <a:gd name="T3" fmla="*/ 1 h 1"/>
                <a:gd name="T4" fmla="*/ 8 w 8"/>
                <a:gd name="T5" fmla="*/ 0 h 1"/>
                <a:gd name="T6" fmla="*/ 0 w 8"/>
                <a:gd name="T7" fmla="*/ 0 h 1"/>
                <a:gd name="T8" fmla="*/ 0 w 8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0" y="1"/>
                  </a:move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53">
              <a:extLst>
                <a:ext uri="{FF2B5EF4-FFF2-40B4-BE49-F238E27FC236}">
                  <a16:creationId xmlns:a16="http://schemas.microsoft.com/office/drawing/2014/main" id="{5914C65B-B85B-439A-AAA5-5C61AD640C5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900" y="-23019"/>
              <a:ext cx="4667250" cy="2782888"/>
            </a:xfrm>
            <a:custGeom>
              <a:avLst/>
              <a:gdLst>
                <a:gd name="T0" fmla="*/ 1462 w 1470"/>
                <a:gd name="T1" fmla="*/ 140 h 876"/>
                <a:gd name="T2" fmla="*/ 735 w 1470"/>
                <a:gd name="T3" fmla="*/ 868 h 876"/>
                <a:gd name="T4" fmla="*/ 7 w 1470"/>
                <a:gd name="T5" fmla="*/ 140 h 876"/>
                <a:gd name="T6" fmla="*/ 21 w 1470"/>
                <a:gd name="T7" fmla="*/ 0 h 876"/>
                <a:gd name="T8" fmla="*/ 13 w 1470"/>
                <a:gd name="T9" fmla="*/ 0 h 876"/>
                <a:gd name="T10" fmla="*/ 0 w 1470"/>
                <a:gd name="T11" fmla="*/ 140 h 876"/>
                <a:gd name="T12" fmla="*/ 735 w 1470"/>
                <a:gd name="T13" fmla="*/ 876 h 876"/>
                <a:gd name="T14" fmla="*/ 1470 w 1470"/>
                <a:gd name="T15" fmla="*/ 140 h 876"/>
                <a:gd name="T16" fmla="*/ 1457 w 1470"/>
                <a:gd name="T17" fmla="*/ 0 h 876"/>
                <a:gd name="T18" fmla="*/ 1449 w 1470"/>
                <a:gd name="T19" fmla="*/ 0 h 876"/>
                <a:gd name="T20" fmla="*/ 1462 w 1470"/>
                <a:gd name="T21" fmla="*/ 140 h 8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0" h="876">
                  <a:moveTo>
                    <a:pt x="1462" y="140"/>
                  </a:moveTo>
                  <a:cubicBezTo>
                    <a:pt x="1462" y="541"/>
                    <a:pt x="1136" y="868"/>
                    <a:pt x="735" y="868"/>
                  </a:cubicBezTo>
                  <a:cubicBezTo>
                    <a:pt x="334" y="868"/>
                    <a:pt x="7" y="541"/>
                    <a:pt x="7" y="140"/>
                  </a:cubicBezTo>
                  <a:cubicBezTo>
                    <a:pt x="7" y="92"/>
                    <a:pt x="12" y="45"/>
                    <a:pt x="21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4" y="45"/>
                    <a:pt x="0" y="92"/>
                    <a:pt x="0" y="140"/>
                  </a:cubicBezTo>
                  <a:cubicBezTo>
                    <a:pt x="0" y="546"/>
                    <a:pt x="329" y="876"/>
                    <a:pt x="735" y="876"/>
                  </a:cubicBezTo>
                  <a:cubicBezTo>
                    <a:pt x="1140" y="876"/>
                    <a:pt x="1470" y="546"/>
                    <a:pt x="1470" y="140"/>
                  </a:cubicBezTo>
                  <a:cubicBezTo>
                    <a:pt x="1470" y="92"/>
                    <a:pt x="1466" y="45"/>
                    <a:pt x="1457" y="0"/>
                  </a:cubicBezTo>
                  <a:cubicBezTo>
                    <a:pt x="1449" y="0"/>
                    <a:pt x="1449" y="0"/>
                    <a:pt x="1449" y="0"/>
                  </a:cubicBezTo>
                  <a:cubicBezTo>
                    <a:pt x="1458" y="45"/>
                    <a:pt x="1462" y="92"/>
                    <a:pt x="1462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54">
              <a:extLst>
                <a:ext uri="{FF2B5EF4-FFF2-40B4-BE49-F238E27FC236}">
                  <a16:creationId xmlns:a16="http://schemas.microsoft.com/office/drawing/2014/main" id="{C7B7B85C-FB66-4A10-A4F3-725A66061E82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8675" y="-26194"/>
              <a:ext cx="25400" cy="3175"/>
            </a:xfrm>
            <a:custGeom>
              <a:avLst/>
              <a:gdLst>
                <a:gd name="T0" fmla="*/ 0 w 8"/>
                <a:gd name="T1" fmla="*/ 0 h 1"/>
                <a:gd name="T2" fmla="*/ 0 w 8"/>
                <a:gd name="T3" fmla="*/ 1 h 1"/>
                <a:gd name="T4" fmla="*/ 8 w 8"/>
                <a:gd name="T5" fmla="*/ 1 h 1"/>
                <a:gd name="T6" fmla="*/ 8 w 8"/>
                <a:gd name="T7" fmla="*/ 0 h 1"/>
                <a:gd name="T8" fmla="*/ 0 w 8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55">
              <a:extLst>
                <a:ext uri="{FF2B5EF4-FFF2-40B4-BE49-F238E27FC236}">
                  <a16:creationId xmlns:a16="http://schemas.microsoft.com/office/drawing/2014/main" id="{4131AC18-190B-4561-AB47-B56120857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975" y="-26194"/>
              <a:ext cx="25400" cy="3175"/>
            </a:xfrm>
            <a:custGeom>
              <a:avLst/>
              <a:gdLst>
                <a:gd name="T0" fmla="*/ 8 w 8"/>
                <a:gd name="T1" fmla="*/ 0 h 1"/>
                <a:gd name="T2" fmla="*/ 0 w 8"/>
                <a:gd name="T3" fmla="*/ 0 h 1"/>
                <a:gd name="T4" fmla="*/ 0 w 8"/>
                <a:gd name="T5" fmla="*/ 1 h 1"/>
                <a:gd name="T6" fmla="*/ 8 w 8"/>
                <a:gd name="T7" fmla="*/ 1 h 1"/>
                <a:gd name="T8" fmla="*/ 8 w 8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56">
              <a:extLst>
                <a:ext uri="{FF2B5EF4-FFF2-40B4-BE49-F238E27FC236}">
                  <a16:creationId xmlns:a16="http://schemas.microsoft.com/office/drawing/2014/main" id="{6032E713-9CAF-445D-9298-FA3467CA938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350" y="-23019"/>
              <a:ext cx="4321175" cy="2608263"/>
            </a:xfrm>
            <a:custGeom>
              <a:avLst/>
              <a:gdLst>
                <a:gd name="T0" fmla="*/ 1353 w 1361"/>
                <a:gd name="T1" fmla="*/ 140 h 821"/>
                <a:gd name="T2" fmla="*/ 681 w 1361"/>
                <a:gd name="T3" fmla="*/ 813 h 821"/>
                <a:gd name="T4" fmla="*/ 8 w 1361"/>
                <a:gd name="T5" fmla="*/ 140 h 821"/>
                <a:gd name="T6" fmla="*/ 23 w 1361"/>
                <a:gd name="T7" fmla="*/ 0 h 821"/>
                <a:gd name="T8" fmla="*/ 15 w 1361"/>
                <a:gd name="T9" fmla="*/ 0 h 821"/>
                <a:gd name="T10" fmla="*/ 0 w 1361"/>
                <a:gd name="T11" fmla="*/ 140 h 821"/>
                <a:gd name="T12" fmla="*/ 681 w 1361"/>
                <a:gd name="T13" fmla="*/ 821 h 821"/>
                <a:gd name="T14" fmla="*/ 1361 w 1361"/>
                <a:gd name="T15" fmla="*/ 140 h 821"/>
                <a:gd name="T16" fmla="*/ 1347 w 1361"/>
                <a:gd name="T17" fmla="*/ 0 h 821"/>
                <a:gd name="T18" fmla="*/ 1339 w 1361"/>
                <a:gd name="T19" fmla="*/ 0 h 821"/>
                <a:gd name="T20" fmla="*/ 1353 w 1361"/>
                <a:gd name="T21" fmla="*/ 140 h 8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61" h="821">
                  <a:moveTo>
                    <a:pt x="1353" y="140"/>
                  </a:moveTo>
                  <a:cubicBezTo>
                    <a:pt x="1353" y="511"/>
                    <a:pt x="1052" y="813"/>
                    <a:pt x="681" y="813"/>
                  </a:cubicBezTo>
                  <a:cubicBezTo>
                    <a:pt x="310" y="813"/>
                    <a:pt x="8" y="511"/>
                    <a:pt x="8" y="140"/>
                  </a:cubicBezTo>
                  <a:cubicBezTo>
                    <a:pt x="8" y="92"/>
                    <a:pt x="13" y="45"/>
                    <a:pt x="23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5" y="45"/>
                    <a:pt x="0" y="92"/>
                    <a:pt x="0" y="140"/>
                  </a:cubicBezTo>
                  <a:cubicBezTo>
                    <a:pt x="0" y="515"/>
                    <a:pt x="306" y="821"/>
                    <a:pt x="681" y="821"/>
                  </a:cubicBezTo>
                  <a:cubicBezTo>
                    <a:pt x="1056" y="821"/>
                    <a:pt x="1361" y="515"/>
                    <a:pt x="1361" y="140"/>
                  </a:cubicBezTo>
                  <a:cubicBezTo>
                    <a:pt x="1361" y="92"/>
                    <a:pt x="1356" y="45"/>
                    <a:pt x="1347" y="0"/>
                  </a:cubicBezTo>
                  <a:cubicBezTo>
                    <a:pt x="1339" y="0"/>
                    <a:pt x="1339" y="0"/>
                    <a:pt x="1339" y="0"/>
                  </a:cubicBezTo>
                  <a:cubicBezTo>
                    <a:pt x="1348" y="45"/>
                    <a:pt x="1353" y="92"/>
                    <a:pt x="1353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57">
              <a:extLst>
                <a:ext uri="{FF2B5EF4-FFF2-40B4-BE49-F238E27FC236}">
                  <a16:creationId xmlns:a16="http://schemas.microsoft.com/office/drawing/2014/main" id="{62A064C6-B796-4755-B8F6-5F1247881D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3100" y="-26194"/>
              <a:ext cx="25400" cy="3175"/>
            </a:xfrm>
            <a:custGeom>
              <a:avLst/>
              <a:gdLst>
                <a:gd name="T0" fmla="*/ 0 w 8"/>
                <a:gd name="T1" fmla="*/ 1 h 1"/>
                <a:gd name="T2" fmla="*/ 8 w 8"/>
                <a:gd name="T3" fmla="*/ 1 h 1"/>
                <a:gd name="T4" fmla="*/ 8 w 8"/>
                <a:gd name="T5" fmla="*/ 0 h 1"/>
                <a:gd name="T6" fmla="*/ 0 w 8"/>
                <a:gd name="T7" fmla="*/ 0 h 1"/>
                <a:gd name="T8" fmla="*/ 0 w 8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0" y="1"/>
                  </a:move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58">
              <a:extLst>
                <a:ext uri="{FF2B5EF4-FFF2-40B4-BE49-F238E27FC236}">
                  <a16:creationId xmlns:a16="http://schemas.microsoft.com/office/drawing/2014/main" id="{C3CEC362-4AFD-4419-A6D5-01BFBAEADBF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550" y="-26194"/>
              <a:ext cx="25400" cy="3175"/>
            </a:xfrm>
            <a:custGeom>
              <a:avLst/>
              <a:gdLst>
                <a:gd name="T0" fmla="*/ 8 w 8"/>
                <a:gd name="T1" fmla="*/ 1 h 1"/>
                <a:gd name="T2" fmla="*/ 8 w 8"/>
                <a:gd name="T3" fmla="*/ 0 h 1"/>
                <a:gd name="T4" fmla="*/ 0 w 8"/>
                <a:gd name="T5" fmla="*/ 0 h 1"/>
                <a:gd name="T6" fmla="*/ 0 w 8"/>
                <a:gd name="T7" fmla="*/ 1 h 1"/>
                <a:gd name="T8" fmla="*/ 8 w 8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8" y="1"/>
                  </a:moveTo>
                  <a:cubicBezTo>
                    <a:pt x="8" y="1"/>
                    <a:pt x="8" y="1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8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59">
              <a:extLst>
                <a:ext uri="{FF2B5EF4-FFF2-40B4-BE49-F238E27FC236}">
                  <a16:creationId xmlns:a16="http://schemas.microsoft.com/office/drawing/2014/main" id="{5B843EE8-F7B5-46DD-8CD2-EF3D67D26C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750" y="-23019"/>
              <a:ext cx="4019550" cy="2455863"/>
            </a:xfrm>
            <a:custGeom>
              <a:avLst/>
              <a:gdLst>
                <a:gd name="T0" fmla="*/ 1258 w 1266"/>
                <a:gd name="T1" fmla="*/ 140 h 773"/>
                <a:gd name="T2" fmla="*/ 633 w 1266"/>
                <a:gd name="T3" fmla="*/ 765 h 773"/>
                <a:gd name="T4" fmla="*/ 8 w 1266"/>
                <a:gd name="T5" fmla="*/ 140 h 773"/>
                <a:gd name="T6" fmla="*/ 24 w 1266"/>
                <a:gd name="T7" fmla="*/ 0 h 773"/>
                <a:gd name="T8" fmla="*/ 16 w 1266"/>
                <a:gd name="T9" fmla="*/ 0 h 773"/>
                <a:gd name="T10" fmla="*/ 0 w 1266"/>
                <a:gd name="T11" fmla="*/ 140 h 773"/>
                <a:gd name="T12" fmla="*/ 633 w 1266"/>
                <a:gd name="T13" fmla="*/ 773 h 773"/>
                <a:gd name="T14" fmla="*/ 1266 w 1266"/>
                <a:gd name="T15" fmla="*/ 140 h 773"/>
                <a:gd name="T16" fmla="*/ 1250 w 1266"/>
                <a:gd name="T17" fmla="*/ 0 h 773"/>
                <a:gd name="T18" fmla="*/ 1242 w 1266"/>
                <a:gd name="T19" fmla="*/ 0 h 773"/>
                <a:gd name="T20" fmla="*/ 1258 w 1266"/>
                <a:gd name="T21" fmla="*/ 140 h 7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66" h="773">
                  <a:moveTo>
                    <a:pt x="1258" y="140"/>
                  </a:moveTo>
                  <a:cubicBezTo>
                    <a:pt x="1258" y="485"/>
                    <a:pt x="977" y="765"/>
                    <a:pt x="633" y="765"/>
                  </a:cubicBezTo>
                  <a:cubicBezTo>
                    <a:pt x="288" y="765"/>
                    <a:pt x="8" y="485"/>
                    <a:pt x="8" y="140"/>
                  </a:cubicBezTo>
                  <a:cubicBezTo>
                    <a:pt x="8" y="92"/>
                    <a:pt x="14" y="45"/>
                    <a:pt x="24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5" y="45"/>
                    <a:pt x="0" y="92"/>
                    <a:pt x="0" y="140"/>
                  </a:cubicBezTo>
                  <a:cubicBezTo>
                    <a:pt x="0" y="489"/>
                    <a:pt x="284" y="773"/>
                    <a:pt x="633" y="773"/>
                  </a:cubicBezTo>
                  <a:cubicBezTo>
                    <a:pt x="982" y="773"/>
                    <a:pt x="1266" y="489"/>
                    <a:pt x="1266" y="140"/>
                  </a:cubicBezTo>
                  <a:cubicBezTo>
                    <a:pt x="1266" y="92"/>
                    <a:pt x="1260" y="45"/>
                    <a:pt x="1250" y="0"/>
                  </a:cubicBezTo>
                  <a:cubicBezTo>
                    <a:pt x="1242" y="0"/>
                    <a:pt x="1242" y="0"/>
                    <a:pt x="1242" y="0"/>
                  </a:cubicBezTo>
                  <a:cubicBezTo>
                    <a:pt x="1252" y="45"/>
                    <a:pt x="1258" y="92"/>
                    <a:pt x="1258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1F0C7CAB-C81C-41B5-A18B-B0F8A4839BBB}"/>
              </a:ext>
            </a:extLst>
          </p:cNvPr>
          <p:cNvGrpSpPr/>
          <p:nvPr userDrawn="1"/>
        </p:nvGrpSpPr>
        <p:grpSpPr>
          <a:xfrm>
            <a:off x="3032411" y="173037"/>
            <a:ext cx="1497013" cy="1435100"/>
            <a:chOff x="688975" y="-5719961"/>
            <a:chExt cx="1497013" cy="1435100"/>
          </a:xfrm>
          <a:solidFill>
            <a:schemeClr val="tx1">
              <a:lumMod val="75000"/>
              <a:lumOff val="25000"/>
              <a:alpha val="5000"/>
            </a:schemeClr>
          </a:solidFill>
        </p:grpSpPr>
        <p:sp>
          <p:nvSpPr>
            <p:cNvPr id="79" name="Freeform 22">
              <a:extLst>
                <a:ext uri="{FF2B5EF4-FFF2-40B4-BE49-F238E27FC236}">
                  <a16:creationId xmlns:a16="http://schemas.microsoft.com/office/drawing/2014/main" id="{553B9D43-8545-4435-84A1-53ABA903152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450" y="-5583436"/>
              <a:ext cx="1008063" cy="60325"/>
            </a:xfrm>
            <a:custGeom>
              <a:avLst/>
              <a:gdLst>
                <a:gd name="T0" fmla="*/ 294 w 318"/>
                <a:gd name="T1" fmla="*/ 0 h 19"/>
                <a:gd name="T2" fmla="*/ 24 w 318"/>
                <a:gd name="T3" fmla="*/ 0 h 19"/>
                <a:gd name="T4" fmla="*/ 0 w 318"/>
                <a:gd name="T5" fmla="*/ 19 h 19"/>
                <a:gd name="T6" fmla="*/ 318 w 318"/>
                <a:gd name="T7" fmla="*/ 19 h 19"/>
                <a:gd name="T8" fmla="*/ 294 w 318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8" h="19">
                  <a:moveTo>
                    <a:pt x="29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16" y="6"/>
                    <a:pt x="8" y="12"/>
                    <a:pt x="0" y="19"/>
                  </a:cubicBezTo>
                  <a:cubicBezTo>
                    <a:pt x="318" y="19"/>
                    <a:pt x="318" y="19"/>
                    <a:pt x="318" y="19"/>
                  </a:cubicBezTo>
                  <a:cubicBezTo>
                    <a:pt x="310" y="12"/>
                    <a:pt x="302" y="6"/>
                    <a:pt x="294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23">
              <a:extLst>
                <a:ext uri="{FF2B5EF4-FFF2-40B4-BE49-F238E27FC236}">
                  <a16:creationId xmlns:a16="http://schemas.microsoft.com/office/drawing/2014/main" id="{1708E765-3EF5-41B7-B351-A206BED329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9350" y="-5719961"/>
              <a:ext cx="576263" cy="57150"/>
            </a:xfrm>
            <a:custGeom>
              <a:avLst/>
              <a:gdLst>
                <a:gd name="T0" fmla="*/ 91 w 182"/>
                <a:gd name="T1" fmla="*/ 0 h 18"/>
                <a:gd name="T2" fmla="*/ 0 w 182"/>
                <a:gd name="T3" fmla="*/ 18 h 18"/>
                <a:gd name="T4" fmla="*/ 182 w 182"/>
                <a:gd name="T5" fmla="*/ 18 h 18"/>
                <a:gd name="T6" fmla="*/ 91 w 182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2" h="18">
                  <a:moveTo>
                    <a:pt x="91" y="0"/>
                  </a:moveTo>
                  <a:cubicBezTo>
                    <a:pt x="59" y="0"/>
                    <a:pt x="28" y="7"/>
                    <a:pt x="0" y="18"/>
                  </a:cubicBezTo>
                  <a:cubicBezTo>
                    <a:pt x="182" y="18"/>
                    <a:pt x="182" y="18"/>
                    <a:pt x="182" y="18"/>
                  </a:cubicBezTo>
                  <a:cubicBezTo>
                    <a:pt x="154" y="7"/>
                    <a:pt x="123" y="0"/>
                    <a:pt x="9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24">
              <a:extLst>
                <a:ext uri="{FF2B5EF4-FFF2-40B4-BE49-F238E27FC236}">
                  <a16:creationId xmlns:a16="http://schemas.microsoft.com/office/drawing/2014/main" id="{0401B17B-0A44-4A98-979C-854945345432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975" y="-5446911"/>
              <a:ext cx="1243013" cy="60325"/>
            </a:xfrm>
            <a:custGeom>
              <a:avLst/>
              <a:gdLst>
                <a:gd name="T0" fmla="*/ 378 w 392"/>
                <a:gd name="T1" fmla="*/ 0 h 19"/>
                <a:gd name="T2" fmla="*/ 14 w 392"/>
                <a:gd name="T3" fmla="*/ 0 h 19"/>
                <a:gd name="T4" fmla="*/ 0 w 392"/>
                <a:gd name="T5" fmla="*/ 19 h 19"/>
                <a:gd name="T6" fmla="*/ 392 w 392"/>
                <a:gd name="T7" fmla="*/ 19 h 19"/>
                <a:gd name="T8" fmla="*/ 378 w 392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2" h="19">
                  <a:moveTo>
                    <a:pt x="378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9" y="6"/>
                    <a:pt x="4" y="12"/>
                    <a:pt x="0" y="19"/>
                  </a:cubicBezTo>
                  <a:cubicBezTo>
                    <a:pt x="392" y="19"/>
                    <a:pt x="392" y="19"/>
                    <a:pt x="392" y="19"/>
                  </a:cubicBezTo>
                  <a:cubicBezTo>
                    <a:pt x="387" y="12"/>
                    <a:pt x="383" y="6"/>
                    <a:pt x="378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25">
              <a:extLst>
                <a:ext uri="{FF2B5EF4-FFF2-40B4-BE49-F238E27FC236}">
                  <a16:creationId xmlns:a16="http://schemas.microsoft.com/office/drawing/2014/main" id="{D20B4BFB-255B-47EA-BC2B-8F1B03692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742950" y="-5310386"/>
              <a:ext cx="1389063" cy="60325"/>
            </a:xfrm>
            <a:custGeom>
              <a:avLst/>
              <a:gdLst>
                <a:gd name="T0" fmla="*/ 429 w 438"/>
                <a:gd name="T1" fmla="*/ 0 h 19"/>
                <a:gd name="T2" fmla="*/ 9 w 438"/>
                <a:gd name="T3" fmla="*/ 0 h 19"/>
                <a:gd name="T4" fmla="*/ 0 w 438"/>
                <a:gd name="T5" fmla="*/ 19 h 19"/>
                <a:gd name="T6" fmla="*/ 438 w 438"/>
                <a:gd name="T7" fmla="*/ 19 h 19"/>
                <a:gd name="T8" fmla="*/ 429 w 438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8" h="19">
                  <a:moveTo>
                    <a:pt x="42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5" y="7"/>
                    <a:pt x="3" y="13"/>
                    <a:pt x="0" y="19"/>
                  </a:cubicBezTo>
                  <a:cubicBezTo>
                    <a:pt x="438" y="19"/>
                    <a:pt x="438" y="19"/>
                    <a:pt x="438" y="19"/>
                  </a:cubicBezTo>
                  <a:cubicBezTo>
                    <a:pt x="435" y="13"/>
                    <a:pt x="432" y="7"/>
                    <a:pt x="429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26">
              <a:extLst>
                <a:ext uri="{FF2B5EF4-FFF2-40B4-BE49-F238E27FC236}">
                  <a16:creationId xmlns:a16="http://schemas.microsoft.com/office/drawing/2014/main" id="{403EDC1D-E79E-4E8C-A336-3F824231E1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675" y="-5170686"/>
              <a:ext cx="1468438" cy="60325"/>
            </a:xfrm>
            <a:custGeom>
              <a:avLst/>
              <a:gdLst>
                <a:gd name="T0" fmla="*/ 459 w 463"/>
                <a:gd name="T1" fmla="*/ 0 h 19"/>
                <a:gd name="T2" fmla="*/ 5 w 463"/>
                <a:gd name="T3" fmla="*/ 0 h 19"/>
                <a:gd name="T4" fmla="*/ 0 w 463"/>
                <a:gd name="T5" fmla="*/ 19 h 19"/>
                <a:gd name="T6" fmla="*/ 463 w 463"/>
                <a:gd name="T7" fmla="*/ 19 h 19"/>
                <a:gd name="T8" fmla="*/ 459 w 463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3" h="19">
                  <a:moveTo>
                    <a:pt x="45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3" y="6"/>
                    <a:pt x="2" y="12"/>
                    <a:pt x="0" y="19"/>
                  </a:cubicBezTo>
                  <a:cubicBezTo>
                    <a:pt x="463" y="19"/>
                    <a:pt x="463" y="19"/>
                    <a:pt x="463" y="19"/>
                  </a:cubicBezTo>
                  <a:cubicBezTo>
                    <a:pt x="462" y="12"/>
                    <a:pt x="461" y="6"/>
                    <a:pt x="459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27">
              <a:extLst>
                <a:ext uri="{FF2B5EF4-FFF2-40B4-BE49-F238E27FC236}">
                  <a16:creationId xmlns:a16="http://schemas.microsoft.com/office/drawing/2014/main" id="{774E66D5-B2F9-4D3E-9339-CDF5E97757CD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975" y="-5034161"/>
              <a:ext cx="1497013" cy="60325"/>
            </a:xfrm>
            <a:custGeom>
              <a:avLst/>
              <a:gdLst>
                <a:gd name="T0" fmla="*/ 471 w 472"/>
                <a:gd name="T1" fmla="*/ 0 h 19"/>
                <a:gd name="T2" fmla="*/ 1 w 472"/>
                <a:gd name="T3" fmla="*/ 0 h 19"/>
                <a:gd name="T4" fmla="*/ 0 w 472"/>
                <a:gd name="T5" fmla="*/ 19 h 19"/>
                <a:gd name="T6" fmla="*/ 472 w 472"/>
                <a:gd name="T7" fmla="*/ 19 h 19"/>
                <a:gd name="T8" fmla="*/ 471 w 472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2" h="19">
                  <a:moveTo>
                    <a:pt x="47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6"/>
                    <a:pt x="0" y="13"/>
                    <a:pt x="0" y="19"/>
                  </a:cubicBezTo>
                  <a:cubicBezTo>
                    <a:pt x="472" y="19"/>
                    <a:pt x="472" y="19"/>
                    <a:pt x="472" y="19"/>
                  </a:cubicBezTo>
                  <a:cubicBezTo>
                    <a:pt x="471" y="13"/>
                    <a:pt x="471" y="6"/>
                    <a:pt x="47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28">
              <a:extLst>
                <a:ext uri="{FF2B5EF4-FFF2-40B4-BE49-F238E27FC236}">
                  <a16:creationId xmlns:a16="http://schemas.microsoft.com/office/drawing/2014/main" id="{69E318F6-7B62-4A96-BE73-C5F3184F0D0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150" y="-4897636"/>
              <a:ext cx="1487488" cy="60325"/>
            </a:xfrm>
            <a:custGeom>
              <a:avLst/>
              <a:gdLst>
                <a:gd name="T0" fmla="*/ 469 w 469"/>
                <a:gd name="T1" fmla="*/ 0 h 19"/>
                <a:gd name="T2" fmla="*/ 0 w 469"/>
                <a:gd name="T3" fmla="*/ 0 h 19"/>
                <a:gd name="T4" fmla="*/ 3 w 469"/>
                <a:gd name="T5" fmla="*/ 19 h 19"/>
                <a:gd name="T6" fmla="*/ 467 w 469"/>
                <a:gd name="T7" fmla="*/ 19 h 19"/>
                <a:gd name="T8" fmla="*/ 469 w 469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9" h="19">
                  <a:moveTo>
                    <a:pt x="46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7"/>
                    <a:pt x="2" y="13"/>
                    <a:pt x="3" y="19"/>
                  </a:cubicBezTo>
                  <a:cubicBezTo>
                    <a:pt x="467" y="19"/>
                    <a:pt x="467" y="19"/>
                    <a:pt x="467" y="19"/>
                  </a:cubicBezTo>
                  <a:cubicBezTo>
                    <a:pt x="468" y="13"/>
                    <a:pt x="469" y="7"/>
                    <a:pt x="469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29">
              <a:extLst>
                <a:ext uri="{FF2B5EF4-FFF2-40B4-BE49-F238E27FC236}">
                  <a16:creationId xmlns:a16="http://schemas.microsoft.com/office/drawing/2014/main" id="{7E60674A-BACD-43CD-8B7F-9017E68D62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725" y="-4757936"/>
              <a:ext cx="1433513" cy="60325"/>
            </a:xfrm>
            <a:custGeom>
              <a:avLst/>
              <a:gdLst>
                <a:gd name="T0" fmla="*/ 452 w 452"/>
                <a:gd name="T1" fmla="*/ 0 h 19"/>
                <a:gd name="T2" fmla="*/ 0 w 452"/>
                <a:gd name="T3" fmla="*/ 0 h 19"/>
                <a:gd name="T4" fmla="*/ 6 w 452"/>
                <a:gd name="T5" fmla="*/ 19 h 19"/>
                <a:gd name="T6" fmla="*/ 445 w 452"/>
                <a:gd name="T7" fmla="*/ 19 h 19"/>
                <a:gd name="T8" fmla="*/ 452 w 452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2" h="19">
                  <a:moveTo>
                    <a:pt x="45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6"/>
                    <a:pt x="4" y="12"/>
                    <a:pt x="6" y="19"/>
                  </a:cubicBezTo>
                  <a:cubicBezTo>
                    <a:pt x="445" y="19"/>
                    <a:pt x="445" y="19"/>
                    <a:pt x="445" y="19"/>
                  </a:cubicBezTo>
                  <a:cubicBezTo>
                    <a:pt x="448" y="12"/>
                    <a:pt x="450" y="6"/>
                    <a:pt x="45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30">
              <a:extLst>
                <a:ext uri="{FF2B5EF4-FFF2-40B4-BE49-F238E27FC236}">
                  <a16:creationId xmlns:a16="http://schemas.microsoft.com/office/drawing/2014/main" id="{F4DB92E0-43AC-4F81-89AD-8985C9205326}"/>
                </a:ext>
              </a:extLst>
            </p:cNvPr>
            <p:cNvSpPr>
              <a:spLocks/>
            </p:cNvSpPr>
            <p:nvPr/>
          </p:nvSpPr>
          <p:spPr bwMode="auto">
            <a:xfrm>
              <a:off x="777875" y="-4621411"/>
              <a:ext cx="1319213" cy="60325"/>
            </a:xfrm>
            <a:custGeom>
              <a:avLst/>
              <a:gdLst>
                <a:gd name="T0" fmla="*/ 416 w 416"/>
                <a:gd name="T1" fmla="*/ 0 h 19"/>
                <a:gd name="T2" fmla="*/ 0 w 416"/>
                <a:gd name="T3" fmla="*/ 0 h 19"/>
                <a:gd name="T4" fmla="*/ 11 w 416"/>
                <a:gd name="T5" fmla="*/ 19 h 19"/>
                <a:gd name="T6" fmla="*/ 405 w 416"/>
                <a:gd name="T7" fmla="*/ 19 h 19"/>
                <a:gd name="T8" fmla="*/ 416 w 416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6" h="19">
                  <a:moveTo>
                    <a:pt x="41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" y="7"/>
                    <a:pt x="7" y="13"/>
                    <a:pt x="11" y="19"/>
                  </a:cubicBezTo>
                  <a:cubicBezTo>
                    <a:pt x="405" y="19"/>
                    <a:pt x="405" y="19"/>
                    <a:pt x="405" y="19"/>
                  </a:cubicBezTo>
                  <a:cubicBezTo>
                    <a:pt x="409" y="13"/>
                    <a:pt x="413" y="7"/>
                    <a:pt x="416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31">
              <a:extLst>
                <a:ext uri="{FF2B5EF4-FFF2-40B4-BE49-F238E27FC236}">
                  <a16:creationId xmlns:a16="http://schemas.microsoft.com/office/drawing/2014/main" id="{19DC0AD1-8BCD-40BD-AFA9-9E86D9D7619A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950" y="-4484886"/>
              <a:ext cx="1135063" cy="60325"/>
            </a:xfrm>
            <a:custGeom>
              <a:avLst/>
              <a:gdLst>
                <a:gd name="T0" fmla="*/ 358 w 358"/>
                <a:gd name="T1" fmla="*/ 0 h 19"/>
                <a:gd name="T2" fmla="*/ 0 w 358"/>
                <a:gd name="T3" fmla="*/ 0 h 19"/>
                <a:gd name="T4" fmla="*/ 18 w 358"/>
                <a:gd name="T5" fmla="*/ 19 h 19"/>
                <a:gd name="T6" fmla="*/ 339 w 358"/>
                <a:gd name="T7" fmla="*/ 19 h 19"/>
                <a:gd name="T8" fmla="*/ 358 w 358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8" h="19">
                  <a:moveTo>
                    <a:pt x="35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" y="7"/>
                    <a:pt x="12" y="13"/>
                    <a:pt x="18" y="19"/>
                  </a:cubicBezTo>
                  <a:cubicBezTo>
                    <a:pt x="339" y="19"/>
                    <a:pt x="339" y="19"/>
                    <a:pt x="339" y="19"/>
                  </a:cubicBezTo>
                  <a:cubicBezTo>
                    <a:pt x="346" y="13"/>
                    <a:pt x="352" y="7"/>
                    <a:pt x="358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32">
              <a:extLst>
                <a:ext uri="{FF2B5EF4-FFF2-40B4-BE49-F238E27FC236}">
                  <a16:creationId xmlns:a16="http://schemas.microsoft.com/office/drawing/2014/main" id="{53CD8091-772D-4EA7-ACC8-68B12D4370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5525" y="-4345186"/>
              <a:ext cx="820738" cy="60325"/>
            </a:xfrm>
            <a:custGeom>
              <a:avLst/>
              <a:gdLst>
                <a:gd name="T0" fmla="*/ 259 w 259"/>
                <a:gd name="T1" fmla="*/ 0 h 19"/>
                <a:gd name="T2" fmla="*/ 0 w 259"/>
                <a:gd name="T3" fmla="*/ 0 h 19"/>
                <a:gd name="T4" fmla="*/ 35 w 259"/>
                <a:gd name="T5" fmla="*/ 19 h 19"/>
                <a:gd name="T6" fmla="*/ 225 w 259"/>
                <a:gd name="T7" fmla="*/ 19 h 19"/>
                <a:gd name="T8" fmla="*/ 259 w 259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9" h="19">
                  <a:moveTo>
                    <a:pt x="25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1" y="7"/>
                    <a:pt x="23" y="13"/>
                    <a:pt x="35" y="19"/>
                  </a:cubicBezTo>
                  <a:cubicBezTo>
                    <a:pt x="225" y="19"/>
                    <a:pt x="225" y="19"/>
                    <a:pt x="225" y="19"/>
                  </a:cubicBezTo>
                  <a:cubicBezTo>
                    <a:pt x="237" y="13"/>
                    <a:pt x="248" y="7"/>
                    <a:pt x="259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1690047-4235-43F0-9F2A-44A8E93985C0}"/>
              </a:ext>
            </a:extLst>
          </p:cNvPr>
          <p:cNvCxnSpPr/>
          <p:nvPr userDrawn="1"/>
        </p:nvCxnSpPr>
        <p:spPr>
          <a:xfrm>
            <a:off x="9596819" y="6389084"/>
            <a:ext cx="0" cy="166687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7178CB75-44D5-4455-AF00-3EE241BA60A5}"/>
              </a:ext>
            </a:extLst>
          </p:cNvPr>
          <p:cNvSpPr txBox="1"/>
          <p:nvPr userDrawn="1"/>
        </p:nvSpPr>
        <p:spPr>
          <a:xfrm>
            <a:off x="6389517" y="6247955"/>
            <a:ext cx="2551789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300" b="1" spc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Company </a:t>
            </a:r>
            <a:r>
              <a:rPr lang="en-US" sz="2300" b="1" kern="1200" spc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Profil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3E3F71F8-364C-494F-BE6B-35DB365FE1BC}"/>
              </a:ext>
            </a:extLst>
          </p:cNvPr>
          <p:cNvGrpSpPr/>
          <p:nvPr userDrawn="1"/>
        </p:nvGrpSpPr>
        <p:grpSpPr>
          <a:xfrm>
            <a:off x="5956285" y="6264918"/>
            <a:ext cx="390675" cy="386876"/>
            <a:chOff x="942242" y="2841978"/>
            <a:chExt cx="1226108" cy="1214181"/>
          </a:xfrm>
        </p:grpSpPr>
        <p:sp>
          <p:nvSpPr>
            <p:cNvPr id="33" name="Freeform 63">
              <a:extLst>
                <a:ext uri="{FF2B5EF4-FFF2-40B4-BE49-F238E27FC236}">
                  <a16:creationId xmlns:a16="http://schemas.microsoft.com/office/drawing/2014/main" id="{62FDB4D7-C79E-43F4-B30D-58756C4DC5B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42242" y="2841978"/>
              <a:ext cx="1226108" cy="1211796"/>
            </a:xfrm>
            <a:custGeom>
              <a:avLst/>
              <a:gdLst>
                <a:gd name="T0" fmla="*/ 198 w 431"/>
                <a:gd name="T1" fmla="*/ 393 h 426"/>
                <a:gd name="T2" fmla="*/ 53 w 431"/>
                <a:gd name="T3" fmla="*/ 393 h 426"/>
                <a:gd name="T4" fmla="*/ 39 w 431"/>
                <a:gd name="T5" fmla="*/ 386 h 426"/>
                <a:gd name="T6" fmla="*/ 37 w 431"/>
                <a:gd name="T7" fmla="*/ 371 h 426"/>
                <a:gd name="T8" fmla="*/ 159 w 431"/>
                <a:gd name="T9" fmla="*/ 284 h 426"/>
                <a:gd name="T10" fmla="*/ 231 w 431"/>
                <a:gd name="T11" fmla="*/ 307 h 426"/>
                <a:gd name="T12" fmla="*/ 254 w 431"/>
                <a:gd name="T13" fmla="*/ 303 h 426"/>
                <a:gd name="T14" fmla="*/ 250 w 431"/>
                <a:gd name="T15" fmla="*/ 280 h 426"/>
                <a:gd name="T16" fmla="*/ 216 w 431"/>
                <a:gd name="T17" fmla="*/ 262 h 426"/>
                <a:gd name="T18" fmla="*/ 244 w 431"/>
                <a:gd name="T19" fmla="*/ 206 h 426"/>
                <a:gd name="T20" fmla="*/ 331 w 431"/>
                <a:gd name="T21" fmla="*/ 171 h 426"/>
                <a:gd name="T22" fmla="*/ 403 w 431"/>
                <a:gd name="T23" fmla="*/ 193 h 426"/>
                <a:gd name="T24" fmla="*/ 426 w 431"/>
                <a:gd name="T25" fmla="*/ 189 h 426"/>
                <a:gd name="T26" fmla="*/ 422 w 431"/>
                <a:gd name="T27" fmla="*/ 166 h 426"/>
                <a:gd name="T28" fmla="*/ 389 w 431"/>
                <a:gd name="T29" fmla="*/ 148 h 426"/>
                <a:gd name="T30" fmla="*/ 416 w 431"/>
                <a:gd name="T31" fmla="*/ 85 h 426"/>
                <a:gd name="T32" fmla="*/ 332 w 431"/>
                <a:gd name="T33" fmla="*/ 0 h 426"/>
                <a:gd name="T34" fmla="*/ 247 w 431"/>
                <a:gd name="T35" fmla="*/ 85 h 426"/>
                <a:gd name="T36" fmla="*/ 274 w 431"/>
                <a:gd name="T37" fmla="*/ 148 h 426"/>
                <a:gd name="T38" fmla="*/ 267 w 431"/>
                <a:gd name="T39" fmla="*/ 151 h 426"/>
                <a:gd name="T40" fmla="*/ 238 w 431"/>
                <a:gd name="T41" fmla="*/ 168 h 426"/>
                <a:gd name="T42" fmla="*/ 159 w 431"/>
                <a:gd name="T43" fmla="*/ 114 h 426"/>
                <a:gd name="T44" fmla="*/ 75 w 431"/>
                <a:gd name="T45" fmla="*/ 199 h 426"/>
                <a:gd name="T46" fmla="*/ 102 w 431"/>
                <a:gd name="T47" fmla="*/ 262 h 426"/>
                <a:gd name="T48" fmla="*/ 5 w 431"/>
                <a:gd name="T49" fmla="*/ 361 h 426"/>
                <a:gd name="T50" fmla="*/ 13 w 431"/>
                <a:gd name="T51" fmla="*/ 406 h 426"/>
                <a:gd name="T52" fmla="*/ 53 w 431"/>
                <a:gd name="T53" fmla="*/ 426 h 426"/>
                <a:gd name="T54" fmla="*/ 198 w 431"/>
                <a:gd name="T55" fmla="*/ 426 h 426"/>
                <a:gd name="T56" fmla="*/ 214 w 431"/>
                <a:gd name="T57" fmla="*/ 410 h 426"/>
                <a:gd name="T58" fmla="*/ 198 w 431"/>
                <a:gd name="T59" fmla="*/ 393 h 426"/>
                <a:gd name="T60" fmla="*/ 332 w 431"/>
                <a:gd name="T61" fmla="*/ 34 h 426"/>
                <a:gd name="T62" fmla="*/ 383 w 431"/>
                <a:gd name="T63" fmla="*/ 85 h 426"/>
                <a:gd name="T64" fmla="*/ 332 w 431"/>
                <a:gd name="T65" fmla="*/ 137 h 426"/>
                <a:gd name="T66" fmla="*/ 280 w 431"/>
                <a:gd name="T67" fmla="*/ 85 h 426"/>
                <a:gd name="T68" fmla="*/ 332 w 431"/>
                <a:gd name="T69" fmla="*/ 34 h 426"/>
                <a:gd name="T70" fmla="*/ 159 w 431"/>
                <a:gd name="T71" fmla="*/ 148 h 426"/>
                <a:gd name="T72" fmla="*/ 211 w 431"/>
                <a:gd name="T73" fmla="*/ 199 h 426"/>
                <a:gd name="T74" fmla="*/ 159 w 431"/>
                <a:gd name="T75" fmla="*/ 251 h 426"/>
                <a:gd name="T76" fmla="*/ 108 w 431"/>
                <a:gd name="T77" fmla="*/ 199 h 426"/>
                <a:gd name="T78" fmla="*/ 159 w 431"/>
                <a:gd name="T79" fmla="*/ 148 h 426"/>
                <a:gd name="T80" fmla="*/ 159 w 431"/>
                <a:gd name="T81" fmla="*/ 148 h 426"/>
                <a:gd name="T82" fmla="*/ 159 w 431"/>
                <a:gd name="T83" fmla="*/ 148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31" h="426">
                  <a:moveTo>
                    <a:pt x="198" y="393"/>
                  </a:moveTo>
                  <a:cubicBezTo>
                    <a:pt x="53" y="393"/>
                    <a:pt x="53" y="393"/>
                    <a:pt x="53" y="393"/>
                  </a:cubicBezTo>
                  <a:cubicBezTo>
                    <a:pt x="48" y="393"/>
                    <a:pt x="43" y="391"/>
                    <a:pt x="39" y="386"/>
                  </a:cubicBezTo>
                  <a:cubicBezTo>
                    <a:pt x="36" y="382"/>
                    <a:pt x="35" y="376"/>
                    <a:pt x="37" y="371"/>
                  </a:cubicBezTo>
                  <a:cubicBezTo>
                    <a:pt x="54" y="320"/>
                    <a:pt x="104" y="284"/>
                    <a:pt x="159" y="284"/>
                  </a:cubicBezTo>
                  <a:cubicBezTo>
                    <a:pt x="185" y="284"/>
                    <a:pt x="210" y="292"/>
                    <a:pt x="231" y="307"/>
                  </a:cubicBezTo>
                  <a:cubicBezTo>
                    <a:pt x="238" y="312"/>
                    <a:pt x="248" y="310"/>
                    <a:pt x="254" y="303"/>
                  </a:cubicBezTo>
                  <a:cubicBezTo>
                    <a:pt x="259" y="295"/>
                    <a:pt x="257" y="285"/>
                    <a:pt x="250" y="280"/>
                  </a:cubicBezTo>
                  <a:cubicBezTo>
                    <a:pt x="239" y="272"/>
                    <a:pt x="228" y="266"/>
                    <a:pt x="216" y="262"/>
                  </a:cubicBezTo>
                  <a:cubicBezTo>
                    <a:pt x="232" y="248"/>
                    <a:pt x="242" y="228"/>
                    <a:pt x="244" y="206"/>
                  </a:cubicBezTo>
                  <a:cubicBezTo>
                    <a:pt x="267" y="183"/>
                    <a:pt x="298" y="171"/>
                    <a:pt x="331" y="171"/>
                  </a:cubicBezTo>
                  <a:cubicBezTo>
                    <a:pt x="357" y="171"/>
                    <a:pt x="382" y="178"/>
                    <a:pt x="403" y="193"/>
                  </a:cubicBezTo>
                  <a:cubicBezTo>
                    <a:pt x="410" y="198"/>
                    <a:pt x="421" y="196"/>
                    <a:pt x="426" y="189"/>
                  </a:cubicBezTo>
                  <a:cubicBezTo>
                    <a:pt x="431" y="181"/>
                    <a:pt x="429" y="171"/>
                    <a:pt x="422" y="166"/>
                  </a:cubicBezTo>
                  <a:cubicBezTo>
                    <a:pt x="411" y="159"/>
                    <a:pt x="400" y="153"/>
                    <a:pt x="389" y="148"/>
                  </a:cubicBezTo>
                  <a:cubicBezTo>
                    <a:pt x="406" y="133"/>
                    <a:pt x="416" y="110"/>
                    <a:pt x="416" y="85"/>
                  </a:cubicBezTo>
                  <a:cubicBezTo>
                    <a:pt x="416" y="39"/>
                    <a:pt x="378" y="0"/>
                    <a:pt x="332" y="0"/>
                  </a:cubicBezTo>
                  <a:cubicBezTo>
                    <a:pt x="285" y="0"/>
                    <a:pt x="247" y="39"/>
                    <a:pt x="247" y="85"/>
                  </a:cubicBezTo>
                  <a:cubicBezTo>
                    <a:pt x="247" y="110"/>
                    <a:pt x="257" y="132"/>
                    <a:pt x="274" y="148"/>
                  </a:cubicBezTo>
                  <a:cubicBezTo>
                    <a:pt x="272" y="149"/>
                    <a:pt x="270" y="150"/>
                    <a:pt x="267" y="151"/>
                  </a:cubicBezTo>
                  <a:cubicBezTo>
                    <a:pt x="257" y="155"/>
                    <a:pt x="247" y="161"/>
                    <a:pt x="238" y="168"/>
                  </a:cubicBezTo>
                  <a:cubicBezTo>
                    <a:pt x="226" y="136"/>
                    <a:pt x="195" y="114"/>
                    <a:pt x="159" y="114"/>
                  </a:cubicBezTo>
                  <a:cubicBezTo>
                    <a:pt x="113" y="114"/>
                    <a:pt x="75" y="152"/>
                    <a:pt x="75" y="199"/>
                  </a:cubicBezTo>
                  <a:cubicBezTo>
                    <a:pt x="75" y="224"/>
                    <a:pt x="85" y="246"/>
                    <a:pt x="102" y="262"/>
                  </a:cubicBezTo>
                  <a:cubicBezTo>
                    <a:pt x="57" y="279"/>
                    <a:pt x="20" y="315"/>
                    <a:pt x="5" y="361"/>
                  </a:cubicBezTo>
                  <a:cubicBezTo>
                    <a:pt x="0" y="376"/>
                    <a:pt x="3" y="393"/>
                    <a:pt x="13" y="406"/>
                  </a:cubicBezTo>
                  <a:cubicBezTo>
                    <a:pt x="22" y="419"/>
                    <a:pt x="37" y="426"/>
                    <a:pt x="53" y="426"/>
                  </a:cubicBezTo>
                  <a:cubicBezTo>
                    <a:pt x="198" y="426"/>
                    <a:pt x="198" y="426"/>
                    <a:pt x="198" y="426"/>
                  </a:cubicBezTo>
                  <a:cubicBezTo>
                    <a:pt x="207" y="426"/>
                    <a:pt x="214" y="419"/>
                    <a:pt x="214" y="410"/>
                  </a:cubicBezTo>
                  <a:cubicBezTo>
                    <a:pt x="214" y="401"/>
                    <a:pt x="207" y="393"/>
                    <a:pt x="198" y="393"/>
                  </a:cubicBezTo>
                  <a:close/>
                  <a:moveTo>
                    <a:pt x="332" y="34"/>
                  </a:moveTo>
                  <a:cubicBezTo>
                    <a:pt x="360" y="34"/>
                    <a:pt x="383" y="57"/>
                    <a:pt x="383" y="85"/>
                  </a:cubicBezTo>
                  <a:cubicBezTo>
                    <a:pt x="383" y="114"/>
                    <a:pt x="360" y="137"/>
                    <a:pt x="332" y="137"/>
                  </a:cubicBezTo>
                  <a:cubicBezTo>
                    <a:pt x="303" y="137"/>
                    <a:pt x="280" y="114"/>
                    <a:pt x="280" y="85"/>
                  </a:cubicBezTo>
                  <a:cubicBezTo>
                    <a:pt x="280" y="57"/>
                    <a:pt x="303" y="34"/>
                    <a:pt x="332" y="34"/>
                  </a:cubicBezTo>
                  <a:close/>
                  <a:moveTo>
                    <a:pt x="159" y="148"/>
                  </a:moveTo>
                  <a:cubicBezTo>
                    <a:pt x="188" y="148"/>
                    <a:pt x="211" y="171"/>
                    <a:pt x="211" y="199"/>
                  </a:cubicBezTo>
                  <a:cubicBezTo>
                    <a:pt x="211" y="228"/>
                    <a:pt x="188" y="251"/>
                    <a:pt x="159" y="251"/>
                  </a:cubicBezTo>
                  <a:cubicBezTo>
                    <a:pt x="131" y="251"/>
                    <a:pt x="108" y="228"/>
                    <a:pt x="108" y="199"/>
                  </a:cubicBezTo>
                  <a:cubicBezTo>
                    <a:pt x="108" y="171"/>
                    <a:pt x="131" y="148"/>
                    <a:pt x="159" y="148"/>
                  </a:cubicBezTo>
                  <a:close/>
                  <a:moveTo>
                    <a:pt x="159" y="148"/>
                  </a:moveTo>
                  <a:cubicBezTo>
                    <a:pt x="159" y="148"/>
                    <a:pt x="159" y="148"/>
                    <a:pt x="159" y="148"/>
                  </a:cubicBezTo>
                </a:path>
              </a:pathLst>
            </a:custGeom>
            <a:gradFill flip="none" rotWithShape="1"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810000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64">
              <a:extLst>
                <a:ext uri="{FF2B5EF4-FFF2-40B4-BE49-F238E27FC236}">
                  <a16:creationId xmlns:a16="http://schemas.microsoft.com/office/drawing/2014/main" id="{EB6E356D-9626-437B-8F88-21040A95A2A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68415" y="3600543"/>
              <a:ext cx="599935" cy="455616"/>
            </a:xfrm>
            <a:custGeom>
              <a:avLst/>
              <a:gdLst>
                <a:gd name="T0" fmla="*/ 202 w 211"/>
                <a:gd name="T1" fmla="*/ 5 h 160"/>
                <a:gd name="T2" fmla="*/ 179 w 211"/>
                <a:gd name="T3" fmla="*/ 9 h 160"/>
                <a:gd name="T4" fmla="*/ 97 w 211"/>
                <a:gd name="T5" fmla="*/ 124 h 160"/>
                <a:gd name="T6" fmla="*/ 90 w 211"/>
                <a:gd name="T7" fmla="*/ 127 h 160"/>
                <a:gd name="T8" fmla="*/ 83 w 211"/>
                <a:gd name="T9" fmla="*/ 124 h 160"/>
                <a:gd name="T10" fmla="*/ 30 w 211"/>
                <a:gd name="T11" fmla="*/ 73 h 160"/>
                <a:gd name="T12" fmla="*/ 6 w 211"/>
                <a:gd name="T13" fmla="*/ 74 h 160"/>
                <a:gd name="T14" fmla="*/ 7 w 211"/>
                <a:gd name="T15" fmla="*/ 97 h 160"/>
                <a:gd name="T16" fmla="*/ 60 w 211"/>
                <a:gd name="T17" fmla="*/ 148 h 160"/>
                <a:gd name="T18" fmla="*/ 90 w 211"/>
                <a:gd name="T19" fmla="*/ 160 h 160"/>
                <a:gd name="T20" fmla="*/ 92 w 211"/>
                <a:gd name="T21" fmla="*/ 160 h 160"/>
                <a:gd name="T22" fmla="*/ 123 w 211"/>
                <a:gd name="T23" fmla="*/ 144 h 160"/>
                <a:gd name="T24" fmla="*/ 123 w 211"/>
                <a:gd name="T25" fmla="*/ 143 h 160"/>
                <a:gd name="T26" fmla="*/ 206 w 211"/>
                <a:gd name="T27" fmla="*/ 28 h 160"/>
                <a:gd name="T28" fmla="*/ 202 w 211"/>
                <a:gd name="T29" fmla="*/ 5 h 160"/>
                <a:gd name="T30" fmla="*/ 202 w 211"/>
                <a:gd name="T31" fmla="*/ 5 h 160"/>
                <a:gd name="T32" fmla="*/ 202 w 211"/>
                <a:gd name="T33" fmla="*/ 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11" h="160">
                  <a:moveTo>
                    <a:pt x="202" y="5"/>
                  </a:moveTo>
                  <a:cubicBezTo>
                    <a:pt x="194" y="0"/>
                    <a:pt x="184" y="2"/>
                    <a:pt x="179" y="9"/>
                  </a:cubicBezTo>
                  <a:cubicBezTo>
                    <a:pt x="97" y="124"/>
                    <a:pt x="97" y="124"/>
                    <a:pt x="97" y="124"/>
                  </a:cubicBezTo>
                  <a:cubicBezTo>
                    <a:pt x="94" y="126"/>
                    <a:pt x="92" y="127"/>
                    <a:pt x="90" y="127"/>
                  </a:cubicBezTo>
                  <a:cubicBezTo>
                    <a:pt x="89" y="127"/>
                    <a:pt x="86" y="127"/>
                    <a:pt x="83" y="124"/>
                  </a:cubicBezTo>
                  <a:cubicBezTo>
                    <a:pt x="30" y="73"/>
                    <a:pt x="30" y="73"/>
                    <a:pt x="30" y="73"/>
                  </a:cubicBezTo>
                  <a:cubicBezTo>
                    <a:pt x="23" y="67"/>
                    <a:pt x="13" y="67"/>
                    <a:pt x="6" y="74"/>
                  </a:cubicBezTo>
                  <a:cubicBezTo>
                    <a:pt x="0" y="80"/>
                    <a:pt x="0" y="91"/>
                    <a:pt x="7" y="97"/>
                  </a:cubicBezTo>
                  <a:cubicBezTo>
                    <a:pt x="60" y="148"/>
                    <a:pt x="60" y="148"/>
                    <a:pt x="60" y="148"/>
                  </a:cubicBezTo>
                  <a:cubicBezTo>
                    <a:pt x="68" y="156"/>
                    <a:pt x="79" y="160"/>
                    <a:pt x="90" y="160"/>
                  </a:cubicBezTo>
                  <a:cubicBezTo>
                    <a:pt x="91" y="160"/>
                    <a:pt x="91" y="160"/>
                    <a:pt x="92" y="160"/>
                  </a:cubicBezTo>
                  <a:cubicBezTo>
                    <a:pt x="104" y="159"/>
                    <a:pt x="115" y="153"/>
                    <a:pt x="123" y="144"/>
                  </a:cubicBezTo>
                  <a:cubicBezTo>
                    <a:pt x="123" y="144"/>
                    <a:pt x="123" y="144"/>
                    <a:pt x="123" y="143"/>
                  </a:cubicBezTo>
                  <a:cubicBezTo>
                    <a:pt x="206" y="28"/>
                    <a:pt x="206" y="28"/>
                    <a:pt x="206" y="28"/>
                  </a:cubicBezTo>
                  <a:cubicBezTo>
                    <a:pt x="211" y="21"/>
                    <a:pt x="209" y="11"/>
                    <a:pt x="202" y="5"/>
                  </a:cubicBezTo>
                  <a:close/>
                  <a:moveTo>
                    <a:pt x="202" y="5"/>
                  </a:moveTo>
                  <a:cubicBezTo>
                    <a:pt x="202" y="5"/>
                    <a:pt x="202" y="5"/>
                    <a:pt x="202" y="5"/>
                  </a:cubicBezTo>
                </a:path>
              </a:pathLst>
            </a:custGeom>
            <a:gradFill flip="none" rotWithShape="1"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810000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C6C13410-168C-4F8C-81CA-DD28C7DA65DE}"/>
              </a:ext>
            </a:extLst>
          </p:cNvPr>
          <p:cNvSpPr/>
          <p:nvPr userDrawn="1"/>
        </p:nvSpPr>
        <p:spPr>
          <a:xfrm>
            <a:off x="9154312" y="6309837"/>
            <a:ext cx="333533" cy="333533"/>
          </a:xfrm>
          <a:prstGeom prst="roundRect">
            <a:avLst>
              <a:gd name="adj" fmla="val 9599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lide Number Placeholder 13">
            <a:extLst>
              <a:ext uri="{FF2B5EF4-FFF2-40B4-BE49-F238E27FC236}">
                <a16:creationId xmlns:a16="http://schemas.microsoft.com/office/drawing/2014/main" id="{0DF210B9-04EE-48A7-9DC8-9124E52876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05250" y="6350048"/>
            <a:ext cx="431656" cy="2267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fld id="{1F70EEBF-E97C-49FF-B05B-3B4D348638DC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90" name="Picture Placeholder 12">
            <a:extLst>
              <a:ext uri="{FF2B5EF4-FFF2-40B4-BE49-F238E27FC236}">
                <a16:creationId xmlns:a16="http://schemas.microsoft.com/office/drawing/2014/main" id="{0B75FEF8-7696-4B85-9C2A-57263BD0A5F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56802" y="1874282"/>
            <a:ext cx="3394982" cy="2029316"/>
          </a:xfrm>
          <a:custGeom>
            <a:avLst/>
            <a:gdLst>
              <a:gd name="connsiteX0" fmla="*/ 0 w 3394982"/>
              <a:gd name="connsiteY0" fmla="*/ 0 h 2232248"/>
              <a:gd name="connsiteX1" fmla="*/ 3394982 w 3394982"/>
              <a:gd name="connsiteY1" fmla="*/ 0 h 2232248"/>
              <a:gd name="connsiteX2" fmla="*/ 3394982 w 3394982"/>
              <a:gd name="connsiteY2" fmla="*/ 2232248 h 2232248"/>
              <a:gd name="connsiteX3" fmla="*/ 0 w 3394982"/>
              <a:gd name="connsiteY3" fmla="*/ 2232248 h 22322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94982" h="2232248">
                <a:moveTo>
                  <a:pt x="0" y="0"/>
                </a:moveTo>
                <a:lnTo>
                  <a:pt x="3394982" y="0"/>
                </a:lnTo>
                <a:lnTo>
                  <a:pt x="3394982" y="2232248"/>
                </a:lnTo>
                <a:lnTo>
                  <a:pt x="0" y="2232248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92" name="Picture Placeholder 13">
            <a:extLst>
              <a:ext uri="{FF2B5EF4-FFF2-40B4-BE49-F238E27FC236}">
                <a16:creationId xmlns:a16="http://schemas.microsoft.com/office/drawing/2014/main" id="{43153CD0-A0E8-448C-9FBF-2D8835BC787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398509" y="1874282"/>
            <a:ext cx="3394982" cy="2029316"/>
          </a:xfrm>
          <a:custGeom>
            <a:avLst/>
            <a:gdLst>
              <a:gd name="connsiteX0" fmla="*/ 0 w 3394982"/>
              <a:gd name="connsiteY0" fmla="*/ 0 h 2232248"/>
              <a:gd name="connsiteX1" fmla="*/ 3394982 w 3394982"/>
              <a:gd name="connsiteY1" fmla="*/ 0 h 2232248"/>
              <a:gd name="connsiteX2" fmla="*/ 3394982 w 3394982"/>
              <a:gd name="connsiteY2" fmla="*/ 2232248 h 2232248"/>
              <a:gd name="connsiteX3" fmla="*/ 0 w 3394982"/>
              <a:gd name="connsiteY3" fmla="*/ 2232248 h 22322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94982" h="2232248">
                <a:moveTo>
                  <a:pt x="0" y="0"/>
                </a:moveTo>
                <a:lnTo>
                  <a:pt x="3394982" y="0"/>
                </a:lnTo>
                <a:lnTo>
                  <a:pt x="3394982" y="2232248"/>
                </a:lnTo>
                <a:lnTo>
                  <a:pt x="0" y="2232248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93" name="Picture Placeholder 14">
            <a:extLst>
              <a:ext uri="{FF2B5EF4-FFF2-40B4-BE49-F238E27FC236}">
                <a16:creationId xmlns:a16="http://schemas.microsoft.com/office/drawing/2014/main" id="{1A0587D8-A431-47C8-AEA0-64C8105D26A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040216" y="1874282"/>
            <a:ext cx="3394982" cy="2029316"/>
          </a:xfrm>
          <a:custGeom>
            <a:avLst/>
            <a:gdLst>
              <a:gd name="connsiteX0" fmla="*/ 0 w 3394982"/>
              <a:gd name="connsiteY0" fmla="*/ 0 h 2232248"/>
              <a:gd name="connsiteX1" fmla="*/ 3394982 w 3394982"/>
              <a:gd name="connsiteY1" fmla="*/ 0 h 2232248"/>
              <a:gd name="connsiteX2" fmla="*/ 3394982 w 3394982"/>
              <a:gd name="connsiteY2" fmla="*/ 2232248 h 2232248"/>
              <a:gd name="connsiteX3" fmla="*/ 0 w 3394982"/>
              <a:gd name="connsiteY3" fmla="*/ 2232248 h 22322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94982" h="2232248">
                <a:moveTo>
                  <a:pt x="0" y="0"/>
                </a:moveTo>
                <a:lnTo>
                  <a:pt x="3394982" y="0"/>
                </a:lnTo>
                <a:lnTo>
                  <a:pt x="3394982" y="2232248"/>
                </a:lnTo>
                <a:lnTo>
                  <a:pt x="0" y="2232248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91" name="Group 90">
            <a:extLst>
              <a:ext uri="{FF2B5EF4-FFF2-40B4-BE49-F238E27FC236}">
                <a16:creationId xmlns:a16="http://schemas.microsoft.com/office/drawing/2014/main" id="{1F6D117B-4D5A-4C70-821E-D26C91413FA1}"/>
              </a:ext>
            </a:extLst>
          </p:cNvPr>
          <p:cNvGrpSpPr/>
          <p:nvPr userDrawn="1"/>
        </p:nvGrpSpPr>
        <p:grpSpPr>
          <a:xfrm flipH="1">
            <a:off x="9759242" y="125"/>
            <a:ext cx="2431157" cy="2744859"/>
            <a:chOff x="1781175" y="-333375"/>
            <a:chExt cx="4314825" cy="6070600"/>
          </a:xfrm>
        </p:grpSpPr>
        <p:sp>
          <p:nvSpPr>
            <p:cNvPr id="94" name="Freeform 6">
              <a:extLst>
                <a:ext uri="{FF2B5EF4-FFF2-40B4-BE49-F238E27FC236}">
                  <a16:creationId xmlns:a16="http://schemas.microsoft.com/office/drawing/2014/main" id="{9BD7BBF8-8F39-414B-8C20-CD0D8DFA33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81175" y="-333375"/>
              <a:ext cx="4314825" cy="6070600"/>
            </a:xfrm>
            <a:custGeom>
              <a:avLst/>
              <a:gdLst>
                <a:gd name="T0" fmla="*/ 877 w 2718"/>
                <a:gd name="T1" fmla="*/ 0 h 3824"/>
                <a:gd name="T2" fmla="*/ 0 w 2718"/>
                <a:gd name="T3" fmla="*/ 3793 h 3824"/>
                <a:gd name="T4" fmla="*/ 0 w 2718"/>
                <a:gd name="T5" fmla="*/ 3824 h 3824"/>
                <a:gd name="T6" fmla="*/ 2718 w 2718"/>
                <a:gd name="T7" fmla="*/ 0 h 3824"/>
                <a:gd name="T8" fmla="*/ 877 w 2718"/>
                <a:gd name="T9" fmla="*/ 0 h 3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18" h="3824">
                  <a:moveTo>
                    <a:pt x="877" y="0"/>
                  </a:moveTo>
                  <a:lnTo>
                    <a:pt x="0" y="3793"/>
                  </a:lnTo>
                  <a:lnTo>
                    <a:pt x="0" y="3824"/>
                  </a:lnTo>
                  <a:lnTo>
                    <a:pt x="2718" y="0"/>
                  </a:lnTo>
                  <a:lnTo>
                    <a:pt x="877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/>
                </a:gs>
                <a:gs pos="100000">
                  <a:schemeClr val="accent1"/>
                </a:gs>
              </a:gsLst>
              <a:lin ang="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7">
              <a:extLst>
                <a:ext uri="{FF2B5EF4-FFF2-40B4-BE49-F238E27FC236}">
                  <a16:creationId xmlns:a16="http://schemas.microsoft.com/office/drawing/2014/main" id="{40AB4DAD-C4A0-498E-A9E8-6353E570D3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81175" y="-333375"/>
              <a:ext cx="1897064" cy="2189162"/>
            </a:xfrm>
            <a:custGeom>
              <a:avLst/>
              <a:gdLst>
                <a:gd name="T0" fmla="*/ 0 w 1195"/>
                <a:gd name="T1" fmla="*/ 0 h 1379"/>
                <a:gd name="T2" fmla="*/ 0 w 1195"/>
                <a:gd name="T3" fmla="*/ 1379 h 1379"/>
                <a:gd name="T4" fmla="*/ 1195 w 1195"/>
                <a:gd name="T5" fmla="*/ 0 h 1379"/>
                <a:gd name="T6" fmla="*/ 0 w 1195"/>
                <a:gd name="T7" fmla="*/ 0 h 1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95" h="1379">
                  <a:moveTo>
                    <a:pt x="0" y="0"/>
                  </a:moveTo>
                  <a:lnTo>
                    <a:pt x="0" y="1379"/>
                  </a:lnTo>
                  <a:lnTo>
                    <a:pt x="119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8">
              <a:extLst>
                <a:ext uri="{FF2B5EF4-FFF2-40B4-BE49-F238E27FC236}">
                  <a16:creationId xmlns:a16="http://schemas.microsoft.com/office/drawing/2014/main" id="{887F76C9-A66A-4002-9353-20EEADF35F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81175" y="-333375"/>
              <a:ext cx="1897063" cy="2189162"/>
            </a:xfrm>
            <a:custGeom>
              <a:avLst/>
              <a:gdLst>
                <a:gd name="T0" fmla="*/ 1176 w 1195"/>
                <a:gd name="T1" fmla="*/ 0 h 1379"/>
                <a:gd name="T2" fmla="*/ 0 w 1195"/>
                <a:gd name="T3" fmla="*/ 1184 h 1379"/>
                <a:gd name="T4" fmla="*/ 0 w 1195"/>
                <a:gd name="T5" fmla="*/ 1379 h 1379"/>
                <a:gd name="T6" fmla="*/ 1195 w 1195"/>
                <a:gd name="T7" fmla="*/ 0 h 1379"/>
                <a:gd name="T8" fmla="*/ 1176 w 1195"/>
                <a:gd name="T9" fmla="*/ 0 h 1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95" h="1379">
                  <a:moveTo>
                    <a:pt x="1176" y="0"/>
                  </a:moveTo>
                  <a:lnTo>
                    <a:pt x="0" y="1184"/>
                  </a:lnTo>
                  <a:lnTo>
                    <a:pt x="0" y="1379"/>
                  </a:lnTo>
                  <a:lnTo>
                    <a:pt x="1195" y="0"/>
                  </a:lnTo>
                  <a:lnTo>
                    <a:pt x="1176" y="0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  <a:alpha val="2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9">
              <a:extLst>
                <a:ext uri="{FF2B5EF4-FFF2-40B4-BE49-F238E27FC236}">
                  <a16:creationId xmlns:a16="http://schemas.microsoft.com/office/drawing/2014/main" id="{456AB0BE-7BE4-4CBF-B16B-CAB6EB1BBF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81175" y="-333375"/>
              <a:ext cx="1916113" cy="6040436"/>
            </a:xfrm>
            <a:custGeom>
              <a:avLst/>
              <a:gdLst>
                <a:gd name="T0" fmla="*/ 1195 w 1207"/>
                <a:gd name="T1" fmla="*/ 0 h 3805"/>
                <a:gd name="T2" fmla="*/ 0 w 1207"/>
                <a:gd name="T3" fmla="*/ 1379 h 3805"/>
                <a:gd name="T4" fmla="*/ 0 w 1207"/>
                <a:gd name="T5" fmla="*/ 3805 h 3805"/>
                <a:gd name="T6" fmla="*/ 1207 w 1207"/>
                <a:gd name="T7" fmla="*/ 0 h 3805"/>
                <a:gd name="T8" fmla="*/ 1195 w 1207"/>
                <a:gd name="T9" fmla="*/ 0 h 38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07" h="3805">
                  <a:moveTo>
                    <a:pt x="1195" y="0"/>
                  </a:moveTo>
                  <a:lnTo>
                    <a:pt x="0" y="1379"/>
                  </a:lnTo>
                  <a:lnTo>
                    <a:pt x="0" y="3805"/>
                  </a:lnTo>
                  <a:lnTo>
                    <a:pt x="1207" y="0"/>
                  </a:lnTo>
                  <a:lnTo>
                    <a:pt x="1195" y="0"/>
                  </a:ln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100000">
                  <a:schemeClr val="accent4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10">
              <a:extLst>
                <a:ext uri="{FF2B5EF4-FFF2-40B4-BE49-F238E27FC236}">
                  <a16:creationId xmlns:a16="http://schemas.microsoft.com/office/drawing/2014/main" id="{7C072571-E1CE-4A49-9BAF-6F68CE8C3F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81175" y="1301750"/>
              <a:ext cx="1398587" cy="4405312"/>
            </a:xfrm>
            <a:custGeom>
              <a:avLst/>
              <a:gdLst>
                <a:gd name="T0" fmla="*/ 0 w 881"/>
                <a:gd name="T1" fmla="*/ 494 h 2775"/>
                <a:gd name="T2" fmla="*/ 0 w 881"/>
                <a:gd name="T3" fmla="*/ 2775 h 2775"/>
                <a:gd name="T4" fmla="*/ 881 w 881"/>
                <a:gd name="T5" fmla="*/ 0 h 2775"/>
                <a:gd name="T6" fmla="*/ 0 w 881"/>
                <a:gd name="T7" fmla="*/ 494 h 2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81" h="2775">
                  <a:moveTo>
                    <a:pt x="0" y="494"/>
                  </a:moveTo>
                  <a:lnTo>
                    <a:pt x="0" y="2775"/>
                  </a:lnTo>
                  <a:lnTo>
                    <a:pt x="881" y="0"/>
                  </a:lnTo>
                  <a:lnTo>
                    <a:pt x="0" y="494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/>
                </a:gs>
                <a:gs pos="100000">
                  <a:schemeClr val="accent4"/>
                </a:gs>
              </a:gsLst>
              <a:lin ang="1620000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9468181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8_Full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E8CACA21-A72F-4920-AA54-3E20921B1B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712402" y="6335762"/>
            <a:ext cx="2062071" cy="254745"/>
          </a:xfrm>
          <a:prstGeom prst="rect">
            <a:avLst/>
          </a:prstGeom>
        </p:spPr>
        <p:txBody>
          <a:bodyPr/>
          <a:lstStyle>
            <a:lvl1pPr algn="l">
              <a:defRPr sz="1200" spc="0" baseline="0">
                <a:solidFill>
                  <a:schemeClr val="bg1">
                    <a:lumMod val="65000"/>
                  </a:schemeClr>
                </a:solidFill>
                <a:effectLst/>
                <a:latin typeface="+mn-lt"/>
              </a:defRPr>
            </a:lvl1pPr>
          </a:lstStyle>
          <a:p>
            <a:r>
              <a:rPr lang="en-US"/>
              <a:t>insertyoururlhere.com</a:t>
            </a:r>
            <a:endParaRPr lang="en-US" dirty="0"/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08C84B09-FAEC-4A75-8886-DC153F75334C}"/>
              </a:ext>
            </a:extLst>
          </p:cNvPr>
          <p:cNvGrpSpPr/>
          <p:nvPr userDrawn="1"/>
        </p:nvGrpSpPr>
        <p:grpSpPr>
          <a:xfrm>
            <a:off x="855518" y="2510"/>
            <a:ext cx="1997364" cy="1405659"/>
            <a:chOff x="1450975" y="-26194"/>
            <a:chExt cx="2197100" cy="1546225"/>
          </a:xfrm>
          <a:solidFill>
            <a:schemeClr val="tx1">
              <a:lumMod val="75000"/>
              <a:lumOff val="25000"/>
              <a:alpha val="10000"/>
            </a:schemeClr>
          </a:solidFill>
        </p:grpSpPr>
        <p:sp>
          <p:nvSpPr>
            <p:cNvPr id="47" name="Freeform 30">
              <a:extLst>
                <a:ext uri="{FF2B5EF4-FFF2-40B4-BE49-F238E27FC236}">
                  <a16:creationId xmlns:a16="http://schemas.microsoft.com/office/drawing/2014/main" id="{8FD86F56-87BC-4766-9BB4-6324531D141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0125" y="-26194"/>
              <a:ext cx="12700" cy="3175"/>
            </a:xfrm>
            <a:custGeom>
              <a:avLst/>
              <a:gdLst>
                <a:gd name="T0" fmla="*/ 0 w 4"/>
                <a:gd name="T1" fmla="*/ 0 h 1"/>
                <a:gd name="T2" fmla="*/ 0 w 4"/>
                <a:gd name="T3" fmla="*/ 1 h 1"/>
                <a:gd name="T4" fmla="*/ 4 w 4"/>
                <a:gd name="T5" fmla="*/ 1 h 1"/>
                <a:gd name="T6" fmla="*/ 4 w 4"/>
                <a:gd name="T7" fmla="*/ 0 h 1"/>
                <a:gd name="T8" fmla="*/ 0 w 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31">
              <a:extLst>
                <a:ext uri="{FF2B5EF4-FFF2-40B4-BE49-F238E27FC236}">
                  <a16:creationId xmlns:a16="http://schemas.microsoft.com/office/drawing/2014/main" id="{62D41CD2-0B48-465B-9761-59D240850B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225" y="-26194"/>
              <a:ext cx="12700" cy="3175"/>
            </a:xfrm>
            <a:custGeom>
              <a:avLst/>
              <a:gdLst>
                <a:gd name="T0" fmla="*/ 4 w 4"/>
                <a:gd name="T1" fmla="*/ 0 h 1"/>
                <a:gd name="T2" fmla="*/ 0 w 4"/>
                <a:gd name="T3" fmla="*/ 0 h 1"/>
                <a:gd name="T4" fmla="*/ 0 w 4"/>
                <a:gd name="T5" fmla="*/ 1 h 1"/>
                <a:gd name="T6" fmla="*/ 4 w 4"/>
                <a:gd name="T7" fmla="*/ 1 h 1"/>
                <a:gd name="T8" fmla="*/ 4 w 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32">
              <a:extLst>
                <a:ext uri="{FF2B5EF4-FFF2-40B4-BE49-F238E27FC236}">
                  <a16:creationId xmlns:a16="http://schemas.microsoft.com/office/drawing/2014/main" id="{9D7D6241-E72C-45D3-9511-3BDF420D5AB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0975" y="-23019"/>
              <a:ext cx="2197100" cy="1543050"/>
            </a:xfrm>
            <a:custGeom>
              <a:avLst/>
              <a:gdLst>
                <a:gd name="T0" fmla="*/ 688 w 692"/>
                <a:gd name="T1" fmla="*/ 140 h 486"/>
                <a:gd name="T2" fmla="*/ 346 w 692"/>
                <a:gd name="T3" fmla="*/ 483 h 486"/>
                <a:gd name="T4" fmla="*/ 3 w 692"/>
                <a:gd name="T5" fmla="*/ 140 h 486"/>
                <a:gd name="T6" fmla="*/ 34 w 692"/>
                <a:gd name="T7" fmla="*/ 0 h 486"/>
                <a:gd name="T8" fmla="*/ 30 w 692"/>
                <a:gd name="T9" fmla="*/ 0 h 486"/>
                <a:gd name="T10" fmla="*/ 0 w 692"/>
                <a:gd name="T11" fmla="*/ 140 h 486"/>
                <a:gd name="T12" fmla="*/ 346 w 692"/>
                <a:gd name="T13" fmla="*/ 486 h 486"/>
                <a:gd name="T14" fmla="*/ 692 w 692"/>
                <a:gd name="T15" fmla="*/ 140 h 486"/>
                <a:gd name="T16" fmla="*/ 662 w 692"/>
                <a:gd name="T17" fmla="*/ 0 h 486"/>
                <a:gd name="T18" fmla="*/ 658 w 692"/>
                <a:gd name="T19" fmla="*/ 0 h 486"/>
                <a:gd name="T20" fmla="*/ 688 w 692"/>
                <a:gd name="T21" fmla="*/ 140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92" h="486">
                  <a:moveTo>
                    <a:pt x="688" y="140"/>
                  </a:moveTo>
                  <a:cubicBezTo>
                    <a:pt x="688" y="329"/>
                    <a:pt x="535" y="483"/>
                    <a:pt x="346" y="483"/>
                  </a:cubicBezTo>
                  <a:cubicBezTo>
                    <a:pt x="157" y="483"/>
                    <a:pt x="3" y="329"/>
                    <a:pt x="3" y="140"/>
                  </a:cubicBezTo>
                  <a:cubicBezTo>
                    <a:pt x="3" y="90"/>
                    <a:pt x="14" y="43"/>
                    <a:pt x="34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11" y="43"/>
                    <a:pt x="0" y="90"/>
                    <a:pt x="0" y="140"/>
                  </a:cubicBezTo>
                  <a:cubicBezTo>
                    <a:pt x="0" y="331"/>
                    <a:pt x="155" y="486"/>
                    <a:pt x="346" y="486"/>
                  </a:cubicBezTo>
                  <a:cubicBezTo>
                    <a:pt x="536" y="486"/>
                    <a:pt x="692" y="331"/>
                    <a:pt x="692" y="140"/>
                  </a:cubicBezTo>
                  <a:cubicBezTo>
                    <a:pt x="692" y="90"/>
                    <a:pt x="681" y="43"/>
                    <a:pt x="662" y="0"/>
                  </a:cubicBezTo>
                  <a:cubicBezTo>
                    <a:pt x="658" y="0"/>
                    <a:pt x="658" y="0"/>
                    <a:pt x="658" y="0"/>
                  </a:cubicBezTo>
                  <a:cubicBezTo>
                    <a:pt x="677" y="43"/>
                    <a:pt x="688" y="90"/>
                    <a:pt x="688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33">
              <a:extLst>
                <a:ext uri="{FF2B5EF4-FFF2-40B4-BE49-F238E27FC236}">
                  <a16:creationId xmlns:a16="http://schemas.microsoft.com/office/drawing/2014/main" id="{5950A7FD-AAE1-4253-8AE1-2B966BBDC88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3925" y="-26194"/>
              <a:ext cx="9525" cy="3175"/>
            </a:xfrm>
            <a:custGeom>
              <a:avLst/>
              <a:gdLst>
                <a:gd name="T0" fmla="*/ 0 w 3"/>
                <a:gd name="T1" fmla="*/ 1 h 1"/>
                <a:gd name="T2" fmla="*/ 3 w 3"/>
                <a:gd name="T3" fmla="*/ 1 h 1"/>
                <a:gd name="T4" fmla="*/ 3 w 3"/>
                <a:gd name="T5" fmla="*/ 0 h 1"/>
                <a:gd name="T6" fmla="*/ 0 w 3"/>
                <a:gd name="T7" fmla="*/ 0 h 1"/>
                <a:gd name="T8" fmla="*/ 0 w 3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34">
              <a:extLst>
                <a:ext uri="{FF2B5EF4-FFF2-40B4-BE49-F238E27FC236}">
                  <a16:creationId xmlns:a16="http://schemas.microsoft.com/office/drawing/2014/main" id="{A2B9865F-376A-4638-B3AA-FA96E16496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2425" y="-26194"/>
              <a:ext cx="12700" cy="3175"/>
            </a:xfrm>
            <a:custGeom>
              <a:avLst/>
              <a:gdLst>
                <a:gd name="T0" fmla="*/ 4 w 4"/>
                <a:gd name="T1" fmla="*/ 1 h 1"/>
                <a:gd name="T2" fmla="*/ 4 w 4"/>
                <a:gd name="T3" fmla="*/ 0 h 1"/>
                <a:gd name="T4" fmla="*/ 1 w 4"/>
                <a:gd name="T5" fmla="*/ 0 h 1"/>
                <a:gd name="T6" fmla="*/ 0 w 4"/>
                <a:gd name="T7" fmla="*/ 1 h 1"/>
                <a:gd name="T8" fmla="*/ 4 w 4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1"/>
                  </a:moveTo>
                  <a:cubicBezTo>
                    <a:pt x="4" y="1"/>
                    <a:pt x="4" y="1"/>
                    <a:pt x="4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35">
              <a:extLst>
                <a:ext uri="{FF2B5EF4-FFF2-40B4-BE49-F238E27FC236}">
                  <a16:creationId xmlns:a16="http://schemas.microsoft.com/office/drawing/2014/main" id="{7C0CAAD9-B35B-48A2-B02F-21ED7215DC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0825" y="-23019"/>
              <a:ext cx="2054225" cy="1473200"/>
            </a:xfrm>
            <a:custGeom>
              <a:avLst/>
              <a:gdLst>
                <a:gd name="T0" fmla="*/ 644 w 647"/>
                <a:gd name="T1" fmla="*/ 140 h 464"/>
                <a:gd name="T2" fmla="*/ 324 w 647"/>
                <a:gd name="T3" fmla="*/ 460 h 464"/>
                <a:gd name="T4" fmla="*/ 4 w 647"/>
                <a:gd name="T5" fmla="*/ 140 h 464"/>
                <a:gd name="T6" fmla="*/ 36 w 647"/>
                <a:gd name="T7" fmla="*/ 0 h 464"/>
                <a:gd name="T8" fmla="*/ 32 w 647"/>
                <a:gd name="T9" fmla="*/ 0 h 464"/>
                <a:gd name="T10" fmla="*/ 0 w 647"/>
                <a:gd name="T11" fmla="*/ 140 h 464"/>
                <a:gd name="T12" fmla="*/ 324 w 647"/>
                <a:gd name="T13" fmla="*/ 464 h 464"/>
                <a:gd name="T14" fmla="*/ 647 w 647"/>
                <a:gd name="T15" fmla="*/ 140 h 464"/>
                <a:gd name="T16" fmla="*/ 615 w 647"/>
                <a:gd name="T17" fmla="*/ 0 h 464"/>
                <a:gd name="T18" fmla="*/ 612 w 647"/>
                <a:gd name="T19" fmla="*/ 0 h 464"/>
                <a:gd name="T20" fmla="*/ 644 w 647"/>
                <a:gd name="T21" fmla="*/ 140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47" h="464">
                  <a:moveTo>
                    <a:pt x="644" y="140"/>
                  </a:moveTo>
                  <a:cubicBezTo>
                    <a:pt x="644" y="317"/>
                    <a:pt x="500" y="460"/>
                    <a:pt x="324" y="460"/>
                  </a:cubicBezTo>
                  <a:cubicBezTo>
                    <a:pt x="147" y="460"/>
                    <a:pt x="4" y="317"/>
                    <a:pt x="4" y="140"/>
                  </a:cubicBezTo>
                  <a:cubicBezTo>
                    <a:pt x="4" y="90"/>
                    <a:pt x="15" y="42"/>
                    <a:pt x="36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12" y="42"/>
                    <a:pt x="0" y="90"/>
                    <a:pt x="0" y="140"/>
                  </a:cubicBezTo>
                  <a:cubicBezTo>
                    <a:pt x="0" y="319"/>
                    <a:pt x="145" y="464"/>
                    <a:pt x="324" y="464"/>
                  </a:cubicBezTo>
                  <a:cubicBezTo>
                    <a:pt x="502" y="464"/>
                    <a:pt x="647" y="319"/>
                    <a:pt x="647" y="140"/>
                  </a:cubicBezTo>
                  <a:cubicBezTo>
                    <a:pt x="647" y="90"/>
                    <a:pt x="636" y="42"/>
                    <a:pt x="615" y="0"/>
                  </a:cubicBezTo>
                  <a:cubicBezTo>
                    <a:pt x="612" y="0"/>
                    <a:pt x="612" y="0"/>
                    <a:pt x="612" y="0"/>
                  </a:cubicBezTo>
                  <a:cubicBezTo>
                    <a:pt x="632" y="42"/>
                    <a:pt x="644" y="90"/>
                    <a:pt x="644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36">
              <a:extLst>
                <a:ext uri="{FF2B5EF4-FFF2-40B4-BE49-F238E27FC236}">
                  <a16:creationId xmlns:a16="http://schemas.microsoft.com/office/drawing/2014/main" id="{B8B8251C-1295-4342-BCC1-B378D183AF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-26194"/>
              <a:ext cx="12700" cy="3175"/>
            </a:xfrm>
            <a:custGeom>
              <a:avLst/>
              <a:gdLst>
                <a:gd name="T0" fmla="*/ 4 w 4"/>
                <a:gd name="T1" fmla="*/ 0 h 1"/>
                <a:gd name="T2" fmla="*/ 1 w 4"/>
                <a:gd name="T3" fmla="*/ 0 h 1"/>
                <a:gd name="T4" fmla="*/ 0 w 4"/>
                <a:gd name="T5" fmla="*/ 1 h 1"/>
                <a:gd name="T6" fmla="*/ 4 w 4"/>
                <a:gd name="T7" fmla="*/ 1 h 1"/>
                <a:gd name="T8" fmla="*/ 4 w 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7">
              <a:extLst>
                <a:ext uri="{FF2B5EF4-FFF2-40B4-BE49-F238E27FC236}">
                  <a16:creationId xmlns:a16="http://schemas.microsoft.com/office/drawing/2014/main" id="{5093996E-53D2-4A3B-BE91-71EBD6AC6524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4550" y="-26194"/>
              <a:ext cx="12700" cy="3175"/>
            </a:xfrm>
            <a:custGeom>
              <a:avLst/>
              <a:gdLst>
                <a:gd name="T0" fmla="*/ 0 w 4"/>
                <a:gd name="T1" fmla="*/ 0 h 1"/>
                <a:gd name="T2" fmla="*/ 1 w 4"/>
                <a:gd name="T3" fmla="*/ 1 h 1"/>
                <a:gd name="T4" fmla="*/ 4 w 4"/>
                <a:gd name="T5" fmla="*/ 1 h 1"/>
                <a:gd name="T6" fmla="*/ 4 w 4"/>
                <a:gd name="T7" fmla="*/ 0 h 1"/>
                <a:gd name="T8" fmla="*/ 0 w 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0" y="0"/>
                  </a:moveTo>
                  <a:cubicBezTo>
                    <a:pt x="0" y="1"/>
                    <a:pt x="1" y="1"/>
                    <a:pt x="1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8">
              <a:extLst>
                <a:ext uri="{FF2B5EF4-FFF2-40B4-BE49-F238E27FC236}">
                  <a16:creationId xmlns:a16="http://schemas.microsoft.com/office/drawing/2014/main" id="{3E187798-6D30-447C-A02A-C4C14ABB3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0675" y="-23019"/>
              <a:ext cx="1917700" cy="1403350"/>
            </a:xfrm>
            <a:custGeom>
              <a:avLst/>
              <a:gdLst>
                <a:gd name="T0" fmla="*/ 601 w 604"/>
                <a:gd name="T1" fmla="*/ 140 h 442"/>
                <a:gd name="T2" fmla="*/ 302 w 604"/>
                <a:gd name="T3" fmla="*/ 439 h 442"/>
                <a:gd name="T4" fmla="*/ 3 w 604"/>
                <a:gd name="T5" fmla="*/ 140 h 442"/>
                <a:gd name="T6" fmla="*/ 38 w 604"/>
                <a:gd name="T7" fmla="*/ 0 h 442"/>
                <a:gd name="T8" fmla="*/ 34 w 604"/>
                <a:gd name="T9" fmla="*/ 0 h 442"/>
                <a:gd name="T10" fmla="*/ 0 w 604"/>
                <a:gd name="T11" fmla="*/ 140 h 442"/>
                <a:gd name="T12" fmla="*/ 302 w 604"/>
                <a:gd name="T13" fmla="*/ 442 h 442"/>
                <a:gd name="T14" fmla="*/ 604 w 604"/>
                <a:gd name="T15" fmla="*/ 140 h 442"/>
                <a:gd name="T16" fmla="*/ 569 w 604"/>
                <a:gd name="T17" fmla="*/ 0 h 442"/>
                <a:gd name="T18" fmla="*/ 566 w 604"/>
                <a:gd name="T19" fmla="*/ 0 h 442"/>
                <a:gd name="T20" fmla="*/ 601 w 604"/>
                <a:gd name="T21" fmla="*/ 14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04" h="442">
                  <a:moveTo>
                    <a:pt x="601" y="140"/>
                  </a:moveTo>
                  <a:cubicBezTo>
                    <a:pt x="601" y="305"/>
                    <a:pt x="467" y="439"/>
                    <a:pt x="302" y="439"/>
                  </a:cubicBezTo>
                  <a:cubicBezTo>
                    <a:pt x="137" y="439"/>
                    <a:pt x="3" y="305"/>
                    <a:pt x="3" y="140"/>
                  </a:cubicBezTo>
                  <a:cubicBezTo>
                    <a:pt x="3" y="89"/>
                    <a:pt x="16" y="42"/>
                    <a:pt x="38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12" y="42"/>
                    <a:pt x="0" y="90"/>
                    <a:pt x="0" y="140"/>
                  </a:cubicBezTo>
                  <a:cubicBezTo>
                    <a:pt x="0" y="307"/>
                    <a:pt x="135" y="442"/>
                    <a:pt x="302" y="442"/>
                  </a:cubicBezTo>
                  <a:cubicBezTo>
                    <a:pt x="468" y="442"/>
                    <a:pt x="604" y="307"/>
                    <a:pt x="604" y="140"/>
                  </a:cubicBezTo>
                  <a:cubicBezTo>
                    <a:pt x="604" y="90"/>
                    <a:pt x="591" y="42"/>
                    <a:pt x="569" y="0"/>
                  </a:cubicBezTo>
                  <a:cubicBezTo>
                    <a:pt x="566" y="0"/>
                    <a:pt x="566" y="0"/>
                    <a:pt x="566" y="0"/>
                  </a:cubicBezTo>
                  <a:cubicBezTo>
                    <a:pt x="588" y="42"/>
                    <a:pt x="601" y="89"/>
                    <a:pt x="601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39">
              <a:extLst>
                <a:ext uri="{FF2B5EF4-FFF2-40B4-BE49-F238E27FC236}">
                  <a16:creationId xmlns:a16="http://schemas.microsoft.com/office/drawing/2014/main" id="{B250A47E-206F-457B-8000-99DFD78A17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1175" y="-26194"/>
              <a:ext cx="12700" cy="3175"/>
            </a:xfrm>
            <a:custGeom>
              <a:avLst/>
              <a:gdLst>
                <a:gd name="T0" fmla="*/ 4 w 4"/>
                <a:gd name="T1" fmla="*/ 1 h 1"/>
                <a:gd name="T2" fmla="*/ 4 w 4"/>
                <a:gd name="T3" fmla="*/ 0 h 1"/>
                <a:gd name="T4" fmla="*/ 0 w 4"/>
                <a:gd name="T5" fmla="*/ 0 h 1"/>
                <a:gd name="T6" fmla="*/ 0 w 4"/>
                <a:gd name="T7" fmla="*/ 1 h 1"/>
                <a:gd name="T8" fmla="*/ 4 w 4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1"/>
                  </a:moveTo>
                  <a:cubicBezTo>
                    <a:pt x="4" y="1"/>
                    <a:pt x="4" y="1"/>
                    <a:pt x="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40">
              <a:extLst>
                <a:ext uri="{FF2B5EF4-FFF2-40B4-BE49-F238E27FC236}">
                  <a16:creationId xmlns:a16="http://schemas.microsoft.com/office/drawing/2014/main" id="{54FC95A4-DC3D-4300-AFC9-9F8FCF54C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5175" y="-26194"/>
              <a:ext cx="12700" cy="3175"/>
            </a:xfrm>
            <a:custGeom>
              <a:avLst/>
              <a:gdLst>
                <a:gd name="T0" fmla="*/ 0 w 4"/>
                <a:gd name="T1" fmla="*/ 1 h 1"/>
                <a:gd name="T2" fmla="*/ 4 w 4"/>
                <a:gd name="T3" fmla="*/ 1 h 1"/>
                <a:gd name="T4" fmla="*/ 3 w 4"/>
                <a:gd name="T5" fmla="*/ 0 h 1"/>
                <a:gd name="T6" fmla="*/ 0 w 4"/>
                <a:gd name="T7" fmla="*/ 0 h 1"/>
                <a:gd name="T8" fmla="*/ 0 w 4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0" y="1"/>
                  </a:moveTo>
                  <a:cubicBezTo>
                    <a:pt x="4" y="1"/>
                    <a:pt x="4" y="1"/>
                    <a:pt x="4" y="1"/>
                  </a:cubicBezTo>
                  <a:cubicBezTo>
                    <a:pt x="3" y="1"/>
                    <a:pt x="3" y="1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41">
              <a:extLst>
                <a:ext uri="{FF2B5EF4-FFF2-40B4-BE49-F238E27FC236}">
                  <a16:creationId xmlns:a16="http://schemas.microsoft.com/office/drawing/2014/main" id="{BDD3DF79-B444-4FD5-8484-9A4802AA20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0525" y="-23019"/>
              <a:ext cx="1774825" cy="1333500"/>
            </a:xfrm>
            <a:custGeom>
              <a:avLst/>
              <a:gdLst>
                <a:gd name="T0" fmla="*/ 556 w 559"/>
                <a:gd name="T1" fmla="*/ 140 h 420"/>
                <a:gd name="T2" fmla="*/ 280 w 559"/>
                <a:gd name="T3" fmla="*/ 416 h 420"/>
                <a:gd name="T4" fmla="*/ 4 w 559"/>
                <a:gd name="T5" fmla="*/ 140 h 420"/>
                <a:gd name="T6" fmla="*/ 42 w 559"/>
                <a:gd name="T7" fmla="*/ 0 h 420"/>
                <a:gd name="T8" fmla="*/ 38 w 559"/>
                <a:gd name="T9" fmla="*/ 0 h 420"/>
                <a:gd name="T10" fmla="*/ 0 w 559"/>
                <a:gd name="T11" fmla="*/ 140 h 420"/>
                <a:gd name="T12" fmla="*/ 280 w 559"/>
                <a:gd name="T13" fmla="*/ 420 h 420"/>
                <a:gd name="T14" fmla="*/ 559 w 559"/>
                <a:gd name="T15" fmla="*/ 140 h 420"/>
                <a:gd name="T16" fmla="*/ 522 w 559"/>
                <a:gd name="T17" fmla="*/ 0 h 420"/>
                <a:gd name="T18" fmla="*/ 518 w 559"/>
                <a:gd name="T19" fmla="*/ 0 h 420"/>
                <a:gd name="T20" fmla="*/ 556 w 559"/>
                <a:gd name="T21" fmla="*/ 140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59" h="420">
                  <a:moveTo>
                    <a:pt x="556" y="140"/>
                  </a:moveTo>
                  <a:cubicBezTo>
                    <a:pt x="556" y="293"/>
                    <a:pt x="432" y="416"/>
                    <a:pt x="280" y="416"/>
                  </a:cubicBezTo>
                  <a:cubicBezTo>
                    <a:pt x="128" y="416"/>
                    <a:pt x="4" y="293"/>
                    <a:pt x="4" y="140"/>
                  </a:cubicBezTo>
                  <a:cubicBezTo>
                    <a:pt x="4" y="89"/>
                    <a:pt x="18" y="41"/>
                    <a:pt x="42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14" y="41"/>
                    <a:pt x="0" y="89"/>
                    <a:pt x="0" y="140"/>
                  </a:cubicBezTo>
                  <a:cubicBezTo>
                    <a:pt x="0" y="294"/>
                    <a:pt x="126" y="420"/>
                    <a:pt x="280" y="420"/>
                  </a:cubicBezTo>
                  <a:cubicBezTo>
                    <a:pt x="434" y="420"/>
                    <a:pt x="559" y="294"/>
                    <a:pt x="559" y="140"/>
                  </a:cubicBezTo>
                  <a:cubicBezTo>
                    <a:pt x="559" y="89"/>
                    <a:pt x="546" y="41"/>
                    <a:pt x="522" y="0"/>
                  </a:cubicBezTo>
                  <a:cubicBezTo>
                    <a:pt x="518" y="0"/>
                    <a:pt x="518" y="0"/>
                    <a:pt x="518" y="0"/>
                  </a:cubicBezTo>
                  <a:cubicBezTo>
                    <a:pt x="542" y="41"/>
                    <a:pt x="556" y="89"/>
                    <a:pt x="556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42">
              <a:extLst>
                <a:ext uri="{FF2B5EF4-FFF2-40B4-BE49-F238E27FC236}">
                  <a16:creationId xmlns:a16="http://schemas.microsoft.com/office/drawing/2014/main" id="{91E2A178-552E-476F-AEDA-F519B4623B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4200" y="-26194"/>
              <a:ext cx="12700" cy="3175"/>
            </a:xfrm>
            <a:custGeom>
              <a:avLst/>
              <a:gdLst>
                <a:gd name="T0" fmla="*/ 4 w 4"/>
                <a:gd name="T1" fmla="*/ 0 h 1"/>
                <a:gd name="T2" fmla="*/ 0 w 4"/>
                <a:gd name="T3" fmla="*/ 0 h 1"/>
                <a:gd name="T4" fmla="*/ 0 w 4"/>
                <a:gd name="T5" fmla="*/ 1 h 1"/>
                <a:gd name="T6" fmla="*/ 4 w 4"/>
                <a:gd name="T7" fmla="*/ 1 h 1"/>
                <a:gd name="T8" fmla="*/ 4 w 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43">
              <a:extLst>
                <a:ext uri="{FF2B5EF4-FFF2-40B4-BE49-F238E27FC236}">
                  <a16:creationId xmlns:a16="http://schemas.microsoft.com/office/drawing/2014/main" id="{4B8EF77E-47F9-40B2-BF83-77BF5EC2A1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8975" y="-26194"/>
              <a:ext cx="15875" cy="3175"/>
            </a:xfrm>
            <a:custGeom>
              <a:avLst/>
              <a:gdLst>
                <a:gd name="T0" fmla="*/ 0 w 5"/>
                <a:gd name="T1" fmla="*/ 0 h 1"/>
                <a:gd name="T2" fmla="*/ 1 w 5"/>
                <a:gd name="T3" fmla="*/ 1 h 1"/>
                <a:gd name="T4" fmla="*/ 5 w 5"/>
                <a:gd name="T5" fmla="*/ 1 h 1"/>
                <a:gd name="T6" fmla="*/ 4 w 5"/>
                <a:gd name="T7" fmla="*/ 0 h 1"/>
                <a:gd name="T8" fmla="*/ 0 w 5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">
                  <a:moveTo>
                    <a:pt x="0" y="0"/>
                  </a:moveTo>
                  <a:cubicBezTo>
                    <a:pt x="0" y="1"/>
                    <a:pt x="1" y="1"/>
                    <a:pt x="1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4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44">
              <a:extLst>
                <a:ext uri="{FF2B5EF4-FFF2-40B4-BE49-F238E27FC236}">
                  <a16:creationId xmlns:a16="http://schemas.microsoft.com/office/drawing/2014/main" id="{E6041A9A-462A-44C0-BB57-33EBCF6FB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4025" y="-23019"/>
              <a:ext cx="1651000" cy="1270000"/>
            </a:xfrm>
            <a:custGeom>
              <a:avLst/>
              <a:gdLst>
                <a:gd name="T0" fmla="*/ 517 w 520"/>
                <a:gd name="T1" fmla="*/ 140 h 400"/>
                <a:gd name="T2" fmla="*/ 260 w 520"/>
                <a:gd name="T3" fmla="*/ 397 h 400"/>
                <a:gd name="T4" fmla="*/ 3 w 520"/>
                <a:gd name="T5" fmla="*/ 140 h 400"/>
                <a:gd name="T6" fmla="*/ 45 w 520"/>
                <a:gd name="T7" fmla="*/ 0 h 400"/>
                <a:gd name="T8" fmla="*/ 41 w 520"/>
                <a:gd name="T9" fmla="*/ 0 h 400"/>
                <a:gd name="T10" fmla="*/ 0 w 520"/>
                <a:gd name="T11" fmla="*/ 140 h 400"/>
                <a:gd name="T12" fmla="*/ 260 w 520"/>
                <a:gd name="T13" fmla="*/ 400 h 400"/>
                <a:gd name="T14" fmla="*/ 520 w 520"/>
                <a:gd name="T15" fmla="*/ 140 h 400"/>
                <a:gd name="T16" fmla="*/ 479 w 520"/>
                <a:gd name="T17" fmla="*/ 0 h 400"/>
                <a:gd name="T18" fmla="*/ 475 w 520"/>
                <a:gd name="T19" fmla="*/ 0 h 400"/>
                <a:gd name="T20" fmla="*/ 517 w 520"/>
                <a:gd name="T21" fmla="*/ 14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20" h="400">
                  <a:moveTo>
                    <a:pt x="517" y="140"/>
                  </a:moveTo>
                  <a:cubicBezTo>
                    <a:pt x="517" y="282"/>
                    <a:pt x="401" y="397"/>
                    <a:pt x="260" y="397"/>
                  </a:cubicBezTo>
                  <a:cubicBezTo>
                    <a:pt x="118" y="397"/>
                    <a:pt x="3" y="282"/>
                    <a:pt x="3" y="140"/>
                  </a:cubicBezTo>
                  <a:cubicBezTo>
                    <a:pt x="3" y="88"/>
                    <a:pt x="19" y="40"/>
                    <a:pt x="45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15" y="40"/>
                    <a:pt x="0" y="89"/>
                    <a:pt x="0" y="140"/>
                  </a:cubicBezTo>
                  <a:cubicBezTo>
                    <a:pt x="0" y="284"/>
                    <a:pt x="117" y="400"/>
                    <a:pt x="260" y="400"/>
                  </a:cubicBezTo>
                  <a:cubicBezTo>
                    <a:pt x="403" y="400"/>
                    <a:pt x="520" y="284"/>
                    <a:pt x="520" y="140"/>
                  </a:cubicBezTo>
                  <a:cubicBezTo>
                    <a:pt x="520" y="89"/>
                    <a:pt x="505" y="40"/>
                    <a:pt x="479" y="0"/>
                  </a:cubicBezTo>
                  <a:cubicBezTo>
                    <a:pt x="475" y="0"/>
                    <a:pt x="475" y="0"/>
                    <a:pt x="475" y="0"/>
                  </a:cubicBezTo>
                  <a:cubicBezTo>
                    <a:pt x="501" y="40"/>
                    <a:pt x="517" y="88"/>
                    <a:pt x="517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310F98F8-496B-4E28-8835-0DDC8B332383}"/>
              </a:ext>
            </a:extLst>
          </p:cNvPr>
          <p:cNvGrpSpPr/>
          <p:nvPr userDrawn="1"/>
        </p:nvGrpSpPr>
        <p:grpSpPr>
          <a:xfrm>
            <a:off x="-13334" y="125"/>
            <a:ext cx="3924023" cy="2346065"/>
            <a:chOff x="-3175" y="-26194"/>
            <a:chExt cx="5222875" cy="3122613"/>
          </a:xfrm>
          <a:solidFill>
            <a:schemeClr val="tx1">
              <a:lumMod val="75000"/>
              <a:lumOff val="25000"/>
              <a:alpha val="10000"/>
            </a:schemeClr>
          </a:solidFill>
        </p:grpSpPr>
        <p:sp>
          <p:nvSpPr>
            <p:cNvPr id="63" name="Freeform 45">
              <a:extLst>
                <a:ext uri="{FF2B5EF4-FFF2-40B4-BE49-F238E27FC236}">
                  <a16:creationId xmlns:a16="http://schemas.microsoft.com/office/drawing/2014/main" id="{7A571FAD-0FE9-4DEE-A362-A390602AA4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6200" y="-26194"/>
              <a:ext cx="25400" cy="3175"/>
            </a:xfrm>
            <a:custGeom>
              <a:avLst/>
              <a:gdLst>
                <a:gd name="T0" fmla="*/ 0 w 8"/>
                <a:gd name="T1" fmla="*/ 1 h 1"/>
                <a:gd name="T2" fmla="*/ 8 w 8"/>
                <a:gd name="T3" fmla="*/ 1 h 1"/>
                <a:gd name="T4" fmla="*/ 8 w 8"/>
                <a:gd name="T5" fmla="*/ 0 h 1"/>
                <a:gd name="T6" fmla="*/ 0 w 8"/>
                <a:gd name="T7" fmla="*/ 0 h 1"/>
                <a:gd name="T8" fmla="*/ 0 w 8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0" y="1"/>
                  </a:move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46">
              <a:extLst>
                <a:ext uri="{FF2B5EF4-FFF2-40B4-BE49-F238E27FC236}">
                  <a16:creationId xmlns:a16="http://schemas.microsoft.com/office/drawing/2014/main" id="{BD56B81E-C723-47B1-962F-AF03A08CDBBB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75" y="1126331"/>
              <a:ext cx="25400" cy="168275"/>
            </a:xfrm>
            <a:custGeom>
              <a:avLst/>
              <a:gdLst>
                <a:gd name="T0" fmla="*/ 8 w 8"/>
                <a:gd name="T1" fmla="*/ 27 h 53"/>
                <a:gd name="T2" fmla="*/ 0 w 8"/>
                <a:gd name="T3" fmla="*/ 0 h 53"/>
                <a:gd name="T4" fmla="*/ 0 w 8"/>
                <a:gd name="T5" fmla="*/ 28 h 53"/>
                <a:gd name="T6" fmla="*/ 8 w 8"/>
                <a:gd name="T7" fmla="*/ 53 h 53"/>
                <a:gd name="T8" fmla="*/ 8 w 8"/>
                <a:gd name="T9" fmla="*/ 2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3">
                  <a:moveTo>
                    <a:pt x="8" y="27"/>
                  </a:moveTo>
                  <a:cubicBezTo>
                    <a:pt x="6" y="18"/>
                    <a:pt x="3" y="9"/>
                    <a:pt x="0" y="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3" y="36"/>
                    <a:pt x="6" y="44"/>
                    <a:pt x="8" y="53"/>
                  </a:cubicBezTo>
                  <a:lnTo>
                    <a:pt x="8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47">
              <a:extLst>
                <a:ext uri="{FF2B5EF4-FFF2-40B4-BE49-F238E27FC236}">
                  <a16:creationId xmlns:a16="http://schemas.microsoft.com/office/drawing/2014/main" id="{75F0A97D-03D6-4CD6-8F6E-007EED662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25" y="-23019"/>
              <a:ext cx="5197475" cy="3119438"/>
            </a:xfrm>
            <a:custGeom>
              <a:avLst/>
              <a:gdLst>
                <a:gd name="T0" fmla="*/ 1629 w 1637"/>
                <a:gd name="T1" fmla="*/ 140 h 982"/>
                <a:gd name="T2" fmla="*/ 796 w 1637"/>
                <a:gd name="T3" fmla="*/ 974 h 982"/>
                <a:gd name="T4" fmla="*/ 0 w 1637"/>
                <a:gd name="T5" fmla="*/ 389 h 982"/>
                <a:gd name="T6" fmla="*/ 0 w 1637"/>
                <a:gd name="T7" fmla="*/ 415 h 982"/>
                <a:gd name="T8" fmla="*/ 796 w 1637"/>
                <a:gd name="T9" fmla="*/ 982 h 982"/>
                <a:gd name="T10" fmla="*/ 1637 w 1637"/>
                <a:gd name="T11" fmla="*/ 140 h 982"/>
                <a:gd name="T12" fmla="*/ 1625 w 1637"/>
                <a:gd name="T13" fmla="*/ 0 h 982"/>
                <a:gd name="T14" fmla="*/ 1617 w 1637"/>
                <a:gd name="T15" fmla="*/ 0 h 982"/>
                <a:gd name="T16" fmla="*/ 1629 w 1637"/>
                <a:gd name="T17" fmla="*/ 140 h 9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37" h="982">
                  <a:moveTo>
                    <a:pt x="1629" y="140"/>
                  </a:moveTo>
                  <a:cubicBezTo>
                    <a:pt x="1629" y="600"/>
                    <a:pt x="1255" y="974"/>
                    <a:pt x="796" y="974"/>
                  </a:cubicBezTo>
                  <a:cubicBezTo>
                    <a:pt x="423" y="974"/>
                    <a:pt x="107" y="728"/>
                    <a:pt x="0" y="389"/>
                  </a:cubicBezTo>
                  <a:cubicBezTo>
                    <a:pt x="0" y="415"/>
                    <a:pt x="0" y="415"/>
                    <a:pt x="0" y="415"/>
                  </a:cubicBezTo>
                  <a:cubicBezTo>
                    <a:pt x="115" y="744"/>
                    <a:pt x="428" y="982"/>
                    <a:pt x="796" y="982"/>
                  </a:cubicBezTo>
                  <a:cubicBezTo>
                    <a:pt x="1260" y="982"/>
                    <a:pt x="1637" y="604"/>
                    <a:pt x="1637" y="140"/>
                  </a:cubicBezTo>
                  <a:cubicBezTo>
                    <a:pt x="1637" y="92"/>
                    <a:pt x="1633" y="45"/>
                    <a:pt x="1625" y="0"/>
                  </a:cubicBezTo>
                  <a:cubicBezTo>
                    <a:pt x="1617" y="0"/>
                    <a:pt x="1617" y="0"/>
                    <a:pt x="1617" y="0"/>
                  </a:cubicBezTo>
                  <a:cubicBezTo>
                    <a:pt x="1625" y="45"/>
                    <a:pt x="1629" y="92"/>
                    <a:pt x="1629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48">
              <a:extLst>
                <a:ext uri="{FF2B5EF4-FFF2-40B4-BE49-F238E27FC236}">
                  <a16:creationId xmlns:a16="http://schemas.microsoft.com/office/drawing/2014/main" id="{B5E4596F-2CF7-4E02-B395-9451BEF484D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4750" y="-26194"/>
              <a:ext cx="25400" cy="3175"/>
            </a:xfrm>
            <a:custGeom>
              <a:avLst/>
              <a:gdLst>
                <a:gd name="T0" fmla="*/ 0 w 8"/>
                <a:gd name="T1" fmla="*/ 0 h 1"/>
                <a:gd name="T2" fmla="*/ 0 w 8"/>
                <a:gd name="T3" fmla="*/ 1 h 1"/>
                <a:gd name="T4" fmla="*/ 8 w 8"/>
                <a:gd name="T5" fmla="*/ 1 h 1"/>
                <a:gd name="T6" fmla="*/ 8 w 8"/>
                <a:gd name="T7" fmla="*/ 0 h 1"/>
                <a:gd name="T8" fmla="*/ 0 w 8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49">
              <a:extLst>
                <a:ext uri="{FF2B5EF4-FFF2-40B4-BE49-F238E27FC236}">
                  <a16:creationId xmlns:a16="http://schemas.microsoft.com/office/drawing/2014/main" id="{0FE72423-3B99-46F4-9BEC-3964A003FC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8900" y="-26194"/>
              <a:ext cx="25400" cy="3175"/>
            </a:xfrm>
            <a:custGeom>
              <a:avLst/>
              <a:gdLst>
                <a:gd name="T0" fmla="*/ 8 w 8"/>
                <a:gd name="T1" fmla="*/ 0 h 1"/>
                <a:gd name="T2" fmla="*/ 0 w 8"/>
                <a:gd name="T3" fmla="*/ 0 h 1"/>
                <a:gd name="T4" fmla="*/ 0 w 8"/>
                <a:gd name="T5" fmla="*/ 1 h 1"/>
                <a:gd name="T6" fmla="*/ 8 w 8"/>
                <a:gd name="T7" fmla="*/ 1 h 1"/>
                <a:gd name="T8" fmla="*/ 8 w 8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50">
              <a:extLst>
                <a:ext uri="{FF2B5EF4-FFF2-40B4-BE49-F238E27FC236}">
                  <a16:creationId xmlns:a16="http://schemas.microsoft.com/office/drawing/2014/main" id="{89BB5F30-C1E8-4F42-8C78-98CF487E2E4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25" y="-23019"/>
              <a:ext cx="5003800" cy="2947988"/>
            </a:xfrm>
            <a:custGeom>
              <a:avLst/>
              <a:gdLst>
                <a:gd name="T0" fmla="*/ 1568 w 1576"/>
                <a:gd name="T1" fmla="*/ 140 h 928"/>
                <a:gd name="T2" fmla="*/ 788 w 1576"/>
                <a:gd name="T3" fmla="*/ 920 h 928"/>
                <a:gd name="T4" fmla="*/ 8 w 1576"/>
                <a:gd name="T5" fmla="*/ 140 h 928"/>
                <a:gd name="T6" fmla="*/ 21 w 1576"/>
                <a:gd name="T7" fmla="*/ 0 h 928"/>
                <a:gd name="T8" fmla="*/ 13 w 1576"/>
                <a:gd name="T9" fmla="*/ 0 h 928"/>
                <a:gd name="T10" fmla="*/ 0 w 1576"/>
                <a:gd name="T11" fmla="*/ 140 h 928"/>
                <a:gd name="T12" fmla="*/ 788 w 1576"/>
                <a:gd name="T13" fmla="*/ 928 h 928"/>
                <a:gd name="T14" fmla="*/ 1576 w 1576"/>
                <a:gd name="T15" fmla="*/ 140 h 928"/>
                <a:gd name="T16" fmla="*/ 1563 w 1576"/>
                <a:gd name="T17" fmla="*/ 0 h 928"/>
                <a:gd name="T18" fmla="*/ 1555 w 1576"/>
                <a:gd name="T19" fmla="*/ 0 h 928"/>
                <a:gd name="T20" fmla="*/ 1568 w 1576"/>
                <a:gd name="T21" fmla="*/ 140 h 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76" h="928">
                  <a:moveTo>
                    <a:pt x="1568" y="140"/>
                  </a:moveTo>
                  <a:cubicBezTo>
                    <a:pt x="1568" y="570"/>
                    <a:pt x="1218" y="920"/>
                    <a:pt x="788" y="920"/>
                  </a:cubicBezTo>
                  <a:cubicBezTo>
                    <a:pt x="358" y="920"/>
                    <a:pt x="8" y="570"/>
                    <a:pt x="8" y="140"/>
                  </a:cubicBezTo>
                  <a:cubicBezTo>
                    <a:pt x="8" y="92"/>
                    <a:pt x="13" y="45"/>
                    <a:pt x="21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4" y="45"/>
                    <a:pt x="0" y="92"/>
                    <a:pt x="0" y="140"/>
                  </a:cubicBezTo>
                  <a:cubicBezTo>
                    <a:pt x="0" y="575"/>
                    <a:pt x="354" y="928"/>
                    <a:pt x="788" y="928"/>
                  </a:cubicBezTo>
                  <a:cubicBezTo>
                    <a:pt x="1222" y="928"/>
                    <a:pt x="1576" y="575"/>
                    <a:pt x="1576" y="140"/>
                  </a:cubicBezTo>
                  <a:cubicBezTo>
                    <a:pt x="1576" y="92"/>
                    <a:pt x="1571" y="45"/>
                    <a:pt x="1563" y="0"/>
                  </a:cubicBezTo>
                  <a:cubicBezTo>
                    <a:pt x="1555" y="0"/>
                    <a:pt x="1555" y="0"/>
                    <a:pt x="1555" y="0"/>
                  </a:cubicBezTo>
                  <a:cubicBezTo>
                    <a:pt x="1563" y="45"/>
                    <a:pt x="1568" y="92"/>
                    <a:pt x="1568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51">
              <a:extLst>
                <a:ext uri="{FF2B5EF4-FFF2-40B4-BE49-F238E27FC236}">
                  <a16:creationId xmlns:a16="http://schemas.microsoft.com/office/drawing/2014/main" id="{EA17D0A7-E313-41A0-98CC-2E2867628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175" y="-26194"/>
              <a:ext cx="25400" cy="3175"/>
            </a:xfrm>
            <a:custGeom>
              <a:avLst/>
              <a:gdLst>
                <a:gd name="T0" fmla="*/ 8 w 8"/>
                <a:gd name="T1" fmla="*/ 1 h 1"/>
                <a:gd name="T2" fmla="*/ 8 w 8"/>
                <a:gd name="T3" fmla="*/ 0 h 1"/>
                <a:gd name="T4" fmla="*/ 0 w 8"/>
                <a:gd name="T5" fmla="*/ 0 h 1"/>
                <a:gd name="T6" fmla="*/ 0 w 8"/>
                <a:gd name="T7" fmla="*/ 1 h 1"/>
                <a:gd name="T8" fmla="*/ 8 w 8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8" y="1"/>
                  </a:moveTo>
                  <a:cubicBezTo>
                    <a:pt x="8" y="1"/>
                    <a:pt x="8" y="1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8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52">
              <a:extLst>
                <a:ext uri="{FF2B5EF4-FFF2-40B4-BE49-F238E27FC236}">
                  <a16:creationId xmlns:a16="http://schemas.microsoft.com/office/drawing/2014/main" id="{410B8D16-DFAA-44DB-9F8C-DB5663839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6475" y="-26194"/>
              <a:ext cx="25400" cy="3175"/>
            </a:xfrm>
            <a:custGeom>
              <a:avLst/>
              <a:gdLst>
                <a:gd name="T0" fmla="*/ 0 w 8"/>
                <a:gd name="T1" fmla="*/ 1 h 1"/>
                <a:gd name="T2" fmla="*/ 8 w 8"/>
                <a:gd name="T3" fmla="*/ 1 h 1"/>
                <a:gd name="T4" fmla="*/ 8 w 8"/>
                <a:gd name="T5" fmla="*/ 0 h 1"/>
                <a:gd name="T6" fmla="*/ 0 w 8"/>
                <a:gd name="T7" fmla="*/ 0 h 1"/>
                <a:gd name="T8" fmla="*/ 0 w 8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0" y="1"/>
                  </a:move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53">
              <a:extLst>
                <a:ext uri="{FF2B5EF4-FFF2-40B4-BE49-F238E27FC236}">
                  <a16:creationId xmlns:a16="http://schemas.microsoft.com/office/drawing/2014/main" id="{5914C65B-B85B-439A-AAA5-5C61AD640C5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900" y="-23019"/>
              <a:ext cx="4667250" cy="2782888"/>
            </a:xfrm>
            <a:custGeom>
              <a:avLst/>
              <a:gdLst>
                <a:gd name="T0" fmla="*/ 1462 w 1470"/>
                <a:gd name="T1" fmla="*/ 140 h 876"/>
                <a:gd name="T2" fmla="*/ 735 w 1470"/>
                <a:gd name="T3" fmla="*/ 868 h 876"/>
                <a:gd name="T4" fmla="*/ 7 w 1470"/>
                <a:gd name="T5" fmla="*/ 140 h 876"/>
                <a:gd name="T6" fmla="*/ 21 w 1470"/>
                <a:gd name="T7" fmla="*/ 0 h 876"/>
                <a:gd name="T8" fmla="*/ 13 w 1470"/>
                <a:gd name="T9" fmla="*/ 0 h 876"/>
                <a:gd name="T10" fmla="*/ 0 w 1470"/>
                <a:gd name="T11" fmla="*/ 140 h 876"/>
                <a:gd name="T12" fmla="*/ 735 w 1470"/>
                <a:gd name="T13" fmla="*/ 876 h 876"/>
                <a:gd name="T14" fmla="*/ 1470 w 1470"/>
                <a:gd name="T15" fmla="*/ 140 h 876"/>
                <a:gd name="T16" fmla="*/ 1457 w 1470"/>
                <a:gd name="T17" fmla="*/ 0 h 876"/>
                <a:gd name="T18" fmla="*/ 1449 w 1470"/>
                <a:gd name="T19" fmla="*/ 0 h 876"/>
                <a:gd name="T20" fmla="*/ 1462 w 1470"/>
                <a:gd name="T21" fmla="*/ 140 h 8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0" h="876">
                  <a:moveTo>
                    <a:pt x="1462" y="140"/>
                  </a:moveTo>
                  <a:cubicBezTo>
                    <a:pt x="1462" y="541"/>
                    <a:pt x="1136" y="868"/>
                    <a:pt x="735" y="868"/>
                  </a:cubicBezTo>
                  <a:cubicBezTo>
                    <a:pt x="334" y="868"/>
                    <a:pt x="7" y="541"/>
                    <a:pt x="7" y="140"/>
                  </a:cubicBezTo>
                  <a:cubicBezTo>
                    <a:pt x="7" y="92"/>
                    <a:pt x="12" y="45"/>
                    <a:pt x="21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4" y="45"/>
                    <a:pt x="0" y="92"/>
                    <a:pt x="0" y="140"/>
                  </a:cubicBezTo>
                  <a:cubicBezTo>
                    <a:pt x="0" y="546"/>
                    <a:pt x="329" y="876"/>
                    <a:pt x="735" y="876"/>
                  </a:cubicBezTo>
                  <a:cubicBezTo>
                    <a:pt x="1140" y="876"/>
                    <a:pt x="1470" y="546"/>
                    <a:pt x="1470" y="140"/>
                  </a:cubicBezTo>
                  <a:cubicBezTo>
                    <a:pt x="1470" y="92"/>
                    <a:pt x="1466" y="45"/>
                    <a:pt x="1457" y="0"/>
                  </a:cubicBezTo>
                  <a:cubicBezTo>
                    <a:pt x="1449" y="0"/>
                    <a:pt x="1449" y="0"/>
                    <a:pt x="1449" y="0"/>
                  </a:cubicBezTo>
                  <a:cubicBezTo>
                    <a:pt x="1458" y="45"/>
                    <a:pt x="1462" y="92"/>
                    <a:pt x="1462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54">
              <a:extLst>
                <a:ext uri="{FF2B5EF4-FFF2-40B4-BE49-F238E27FC236}">
                  <a16:creationId xmlns:a16="http://schemas.microsoft.com/office/drawing/2014/main" id="{C7B7B85C-FB66-4A10-A4F3-725A66061E82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8675" y="-26194"/>
              <a:ext cx="25400" cy="3175"/>
            </a:xfrm>
            <a:custGeom>
              <a:avLst/>
              <a:gdLst>
                <a:gd name="T0" fmla="*/ 0 w 8"/>
                <a:gd name="T1" fmla="*/ 0 h 1"/>
                <a:gd name="T2" fmla="*/ 0 w 8"/>
                <a:gd name="T3" fmla="*/ 1 h 1"/>
                <a:gd name="T4" fmla="*/ 8 w 8"/>
                <a:gd name="T5" fmla="*/ 1 h 1"/>
                <a:gd name="T6" fmla="*/ 8 w 8"/>
                <a:gd name="T7" fmla="*/ 0 h 1"/>
                <a:gd name="T8" fmla="*/ 0 w 8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55">
              <a:extLst>
                <a:ext uri="{FF2B5EF4-FFF2-40B4-BE49-F238E27FC236}">
                  <a16:creationId xmlns:a16="http://schemas.microsoft.com/office/drawing/2014/main" id="{4131AC18-190B-4561-AB47-B56120857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975" y="-26194"/>
              <a:ext cx="25400" cy="3175"/>
            </a:xfrm>
            <a:custGeom>
              <a:avLst/>
              <a:gdLst>
                <a:gd name="T0" fmla="*/ 8 w 8"/>
                <a:gd name="T1" fmla="*/ 0 h 1"/>
                <a:gd name="T2" fmla="*/ 0 w 8"/>
                <a:gd name="T3" fmla="*/ 0 h 1"/>
                <a:gd name="T4" fmla="*/ 0 w 8"/>
                <a:gd name="T5" fmla="*/ 1 h 1"/>
                <a:gd name="T6" fmla="*/ 8 w 8"/>
                <a:gd name="T7" fmla="*/ 1 h 1"/>
                <a:gd name="T8" fmla="*/ 8 w 8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56">
              <a:extLst>
                <a:ext uri="{FF2B5EF4-FFF2-40B4-BE49-F238E27FC236}">
                  <a16:creationId xmlns:a16="http://schemas.microsoft.com/office/drawing/2014/main" id="{6032E713-9CAF-445D-9298-FA3467CA938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350" y="-23019"/>
              <a:ext cx="4321175" cy="2608263"/>
            </a:xfrm>
            <a:custGeom>
              <a:avLst/>
              <a:gdLst>
                <a:gd name="T0" fmla="*/ 1353 w 1361"/>
                <a:gd name="T1" fmla="*/ 140 h 821"/>
                <a:gd name="T2" fmla="*/ 681 w 1361"/>
                <a:gd name="T3" fmla="*/ 813 h 821"/>
                <a:gd name="T4" fmla="*/ 8 w 1361"/>
                <a:gd name="T5" fmla="*/ 140 h 821"/>
                <a:gd name="T6" fmla="*/ 23 w 1361"/>
                <a:gd name="T7" fmla="*/ 0 h 821"/>
                <a:gd name="T8" fmla="*/ 15 w 1361"/>
                <a:gd name="T9" fmla="*/ 0 h 821"/>
                <a:gd name="T10" fmla="*/ 0 w 1361"/>
                <a:gd name="T11" fmla="*/ 140 h 821"/>
                <a:gd name="T12" fmla="*/ 681 w 1361"/>
                <a:gd name="T13" fmla="*/ 821 h 821"/>
                <a:gd name="T14" fmla="*/ 1361 w 1361"/>
                <a:gd name="T15" fmla="*/ 140 h 821"/>
                <a:gd name="T16" fmla="*/ 1347 w 1361"/>
                <a:gd name="T17" fmla="*/ 0 h 821"/>
                <a:gd name="T18" fmla="*/ 1339 w 1361"/>
                <a:gd name="T19" fmla="*/ 0 h 821"/>
                <a:gd name="T20" fmla="*/ 1353 w 1361"/>
                <a:gd name="T21" fmla="*/ 140 h 8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61" h="821">
                  <a:moveTo>
                    <a:pt x="1353" y="140"/>
                  </a:moveTo>
                  <a:cubicBezTo>
                    <a:pt x="1353" y="511"/>
                    <a:pt x="1052" y="813"/>
                    <a:pt x="681" y="813"/>
                  </a:cubicBezTo>
                  <a:cubicBezTo>
                    <a:pt x="310" y="813"/>
                    <a:pt x="8" y="511"/>
                    <a:pt x="8" y="140"/>
                  </a:cubicBezTo>
                  <a:cubicBezTo>
                    <a:pt x="8" y="92"/>
                    <a:pt x="13" y="45"/>
                    <a:pt x="23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5" y="45"/>
                    <a:pt x="0" y="92"/>
                    <a:pt x="0" y="140"/>
                  </a:cubicBezTo>
                  <a:cubicBezTo>
                    <a:pt x="0" y="515"/>
                    <a:pt x="306" y="821"/>
                    <a:pt x="681" y="821"/>
                  </a:cubicBezTo>
                  <a:cubicBezTo>
                    <a:pt x="1056" y="821"/>
                    <a:pt x="1361" y="515"/>
                    <a:pt x="1361" y="140"/>
                  </a:cubicBezTo>
                  <a:cubicBezTo>
                    <a:pt x="1361" y="92"/>
                    <a:pt x="1356" y="45"/>
                    <a:pt x="1347" y="0"/>
                  </a:cubicBezTo>
                  <a:cubicBezTo>
                    <a:pt x="1339" y="0"/>
                    <a:pt x="1339" y="0"/>
                    <a:pt x="1339" y="0"/>
                  </a:cubicBezTo>
                  <a:cubicBezTo>
                    <a:pt x="1348" y="45"/>
                    <a:pt x="1353" y="92"/>
                    <a:pt x="1353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57">
              <a:extLst>
                <a:ext uri="{FF2B5EF4-FFF2-40B4-BE49-F238E27FC236}">
                  <a16:creationId xmlns:a16="http://schemas.microsoft.com/office/drawing/2014/main" id="{62A064C6-B796-4755-B8F6-5F1247881D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3100" y="-26194"/>
              <a:ext cx="25400" cy="3175"/>
            </a:xfrm>
            <a:custGeom>
              <a:avLst/>
              <a:gdLst>
                <a:gd name="T0" fmla="*/ 0 w 8"/>
                <a:gd name="T1" fmla="*/ 1 h 1"/>
                <a:gd name="T2" fmla="*/ 8 w 8"/>
                <a:gd name="T3" fmla="*/ 1 h 1"/>
                <a:gd name="T4" fmla="*/ 8 w 8"/>
                <a:gd name="T5" fmla="*/ 0 h 1"/>
                <a:gd name="T6" fmla="*/ 0 w 8"/>
                <a:gd name="T7" fmla="*/ 0 h 1"/>
                <a:gd name="T8" fmla="*/ 0 w 8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0" y="1"/>
                  </a:move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58">
              <a:extLst>
                <a:ext uri="{FF2B5EF4-FFF2-40B4-BE49-F238E27FC236}">
                  <a16:creationId xmlns:a16="http://schemas.microsoft.com/office/drawing/2014/main" id="{C3CEC362-4AFD-4419-A6D5-01BFBAEADBF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550" y="-26194"/>
              <a:ext cx="25400" cy="3175"/>
            </a:xfrm>
            <a:custGeom>
              <a:avLst/>
              <a:gdLst>
                <a:gd name="T0" fmla="*/ 8 w 8"/>
                <a:gd name="T1" fmla="*/ 1 h 1"/>
                <a:gd name="T2" fmla="*/ 8 w 8"/>
                <a:gd name="T3" fmla="*/ 0 h 1"/>
                <a:gd name="T4" fmla="*/ 0 w 8"/>
                <a:gd name="T5" fmla="*/ 0 h 1"/>
                <a:gd name="T6" fmla="*/ 0 w 8"/>
                <a:gd name="T7" fmla="*/ 1 h 1"/>
                <a:gd name="T8" fmla="*/ 8 w 8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8" y="1"/>
                  </a:moveTo>
                  <a:cubicBezTo>
                    <a:pt x="8" y="1"/>
                    <a:pt x="8" y="1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8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59">
              <a:extLst>
                <a:ext uri="{FF2B5EF4-FFF2-40B4-BE49-F238E27FC236}">
                  <a16:creationId xmlns:a16="http://schemas.microsoft.com/office/drawing/2014/main" id="{5B843EE8-F7B5-46DD-8CD2-EF3D67D26C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750" y="-23019"/>
              <a:ext cx="4019550" cy="2455863"/>
            </a:xfrm>
            <a:custGeom>
              <a:avLst/>
              <a:gdLst>
                <a:gd name="T0" fmla="*/ 1258 w 1266"/>
                <a:gd name="T1" fmla="*/ 140 h 773"/>
                <a:gd name="T2" fmla="*/ 633 w 1266"/>
                <a:gd name="T3" fmla="*/ 765 h 773"/>
                <a:gd name="T4" fmla="*/ 8 w 1266"/>
                <a:gd name="T5" fmla="*/ 140 h 773"/>
                <a:gd name="T6" fmla="*/ 24 w 1266"/>
                <a:gd name="T7" fmla="*/ 0 h 773"/>
                <a:gd name="T8" fmla="*/ 16 w 1266"/>
                <a:gd name="T9" fmla="*/ 0 h 773"/>
                <a:gd name="T10" fmla="*/ 0 w 1266"/>
                <a:gd name="T11" fmla="*/ 140 h 773"/>
                <a:gd name="T12" fmla="*/ 633 w 1266"/>
                <a:gd name="T13" fmla="*/ 773 h 773"/>
                <a:gd name="T14" fmla="*/ 1266 w 1266"/>
                <a:gd name="T15" fmla="*/ 140 h 773"/>
                <a:gd name="T16" fmla="*/ 1250 w 1266"/>
                <a:gd name="T17" fmla="*/ 0 h 773"/>
                <a:gd name="T18" fmla="*/ 1242 w 1266"/>
                <a:gd name="T19" fmla="*/ 0 h 773"/>
                <a:gd name="T20" fmla="*/ 1258 w 1266"/>
                <a:gd name="T21" fmla="*/ 140 h 7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66" h="773">
                  <a:moveTo>
                    <a:pt x="1258" y="140"/>
                  </a:moveTo>
                  <a:cubicBezTo>
                    <a:pt x="1258" y="485"/>
                    <a:pt x="977" y="765"/>
                    <a:pt x="633" y="765"/>
                  </a:cubicBezTo>
                  <a:cubicBezTo>
                    <a:pt x="288" y="765"/>
                    <a:pt x="8" y="485"/>
                    <a:pt x="8" y="140"/>
                  </a:cubicBezTo>
                  <a:cubicBezTo>
                    <a:pt x="8" y="92"/>
                    <a:pt x="14" y="45"/>
                    <a:pt x="24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5" y="45"/>
                    <a:pt x="0" y="92"/>
                    <a:pt x="0" y="140"/>
                  </a:cubicBezTo>
                  <a:cubicBezTo>
                    <a:pt x="0" y="489"/>
                    <a:pt x="284" y="773"/>
                    <a:pt x="633" y="773"/>
                  </a:cubicBezTo>
                  <a:cubicBezTo>
                    <a:pt x="982" y="773"/>
                    <a:pt x="1266" y="489"/>
                    <a:pt x="1266" y="140"/>
                  </a:cubicBezTo>
                  <a:cubicBezTo>
                    <a:pt x="1266" y="92"/>
                    <a:pt x="1260" y="45"/>
                    <a:pt x="1250" y="0"/>
                  </a:cubicBezTo>
                  <a:cubicBezTo>
                    <a:pt x="1242" y="0"/>
                    <a:pt x="1242" y="0"/>
                    <a:pt x="1242" y="0"/>
                  </a:cubicBezTo>
                  <a:cubicBezTo>
                    <a:pt x="1252" y="45"/>
                    <a:pt x="1258" y="92"/>
                    <a:pt x="1258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1F0C7CAB-C81C-41B5-A18B-B0F8A4839BBB}"/>
              </a:ext>
            </a:extLst>
          </p:cNvPr>
          <p:cNvGrpSpPr/>
          <p:nvPr userDrawn="1"/>
        </p:nvGrpSpPr>
        <p:grpSpPr>
          <a:xfrm>
            <a:off x="3032411" y="173037"/>
            <a:ext cx="1497013" cy="1435100"/>
            <a:chOff x="688975" y="-5719961"/>
            <a:chExt cx="1497013" cy="1435100"/>
          </a:xfrm>
          <a:solidFill>
            <a:schemeClr val="tx1">
              <a:lumMod val="75000"/>
              <a:lumOff val="25000"/>
              <a:alpha val="5000"/>
            </a:schemeClr>
          </a:solidFill>
        </p:grpSpPr>
        <p:sp>
          <p:nvSpPr>
            <p:cNvPr id="79" name="Freeform 22">
              <a:extLst>
                <a:ext uri="{FF2B5EF4-FFF2-40B4-BE49-F238E27FC236}">
                  <a16:creationId xmlns:a16="http://schemas.microsoft.com/office/drawing/2014/main" id="{553B9D43-8545-4435-84A1-53ABA903152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450" y="-5583436"/>
              <a:ext cx="1008063" cy="60325"/>
            </a:xfrm>
            <a:custGeom>
              <a:avLst/>
              <a:gdLst>
                <a:gd name="T0" fmla="*/ 294 w 318"/>
                <a:gd name="T1" fmla="*/ 0 h 19"/>
                <a:gd name="T2" fmla="*/ 24 w 318"/>
                <a:gd name="T3" fmla="*/ 0 h 19"/>
                <a:gd name="T4" fmla="*/ 0 w 318"/>
                <a:gd name="T5" fmla="*/ 19 h 19"/>
                <a:gd name="T6" fmla="*/ 318 w 318"/>
                <a:gd name="T7" fmla="*/ 19 h 19"/>
                <a:gd name="T8" fmla="*/ 294 w 318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8" h="19">
                  <a:moveTo>
                    <a:pt x="29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16" y="6"/>
                    <a:pt x="8" y="12"/>
                    <a:pt x="0" y="19"/>
                  </a:cubicBezTo>
                  <a:cubicBezTo>
                    <a:pt x="318" y="19"/>
                    <a:pt x="318" y="19"/>
                    <a:pt x="318" y="19"/>
                  </a:cubicBezTo>
                  <a:cubicBezTo>
                    <a:pt x="310" y="12"/>
                    <a:pt x="302" y="6"/>
                    <a:pt x="294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23">
              <a:extLst>
                <a:ext uri="{FF2B5EF4-FFF2-40B4-BE49-F238E27FC236}">
                  <a16:creationId xmlns:a16="http://schemas.microsoft.com/office/drawing/2014/main" id="{1708E765-3EF5-41B7-B351-A206BED329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9350" y="-5719961"/>
              <a:ext cx="576263" cy="57150"/>
            </a:xfrm>
            <a:custGeom>
              <a:avLst/>
              <a:gdLst>
                <a:gd name="T0" fmla="*/ 91 w 182"/>
                <a:gd name="T1" fmla="*/ 0 h 18"/>
                <a:gd name="T2" fmla="*/ 0 w 182"/>
                <a:gd name="T3" fmla="*/ 18 h 18"/>
                <a:gd name="T4" fmla="*/ 182 w 182"/>
                <a:gd name="T5" fmla="*/ 18 h 18"/>
                <a:gd name="T6" fmla="*/ 91 w 182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2" h="18">
                  <a:moveTo>
                    <a:pt x="91" y="0"/>
                  </a:moveTo>
                  <a:cubicBezTo>
                    <a:pt x="59" y="0"/>
                    <a:pt x="28" y="7"/>
                    <a:pt x="0" y="18"/>
                  </a:cubicBezTo>
                  <a:cubicBezTo>
                    <a:pt x="182" y="18"/>
                    <a:pt x="182" y="18"/>
                    <a:pt x="182" y="18"/>
                  </a:cubicBezTo>
                  <a:cubicBezTo>
                    <a:pt x="154" y="7"/>
                    <a:pt x="123" y="0"/>
                    <a:pt x="9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24">
              <a:extLst>
                <a:ext uri="{FF2B5EF4-FFF2-40B4-BE49-F238E27FC236}">
                  <a16:creationId xmlns:a16="http://schemas.microsoft.com/office/drawing/2014/main" id="{0401B17B-0A44-4A98-979C-854945345432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975" y="-5446911"/>
              <a:ext cx="1243013" cy="60325"/>
            </a:xfrm>
            <a:custGeom>
              <a:avLst/>
              <a:gdLst>
                <a:gd name="T0" fmla="*/ 378 w 392"/>
                <a:gd name="T1" fmla="*/ 0 h 19"/>
                <a:gd name="T2" fmla="*/ 14 w 392"/>
                <a:gd name="T3" fmla="*/ 0 h 19"/>
                <a:gd name="T4" fmla="*/ 0 w 392"/>
                <a:gd name="T5" fmla="*/ 19 h 19"/>
                <a:gd name="T6" fmla="*/ 392 w 392"/>
                <a:gd name="T7" fmla="*/ 19 h 19"/>
                <a:gd name="T8" fmla="*/ 378 w 392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2" h="19">
                  <a:moveTo>
                    <a:pt x="378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9" y="6"/>
                    <a:pt x="4" y="12"/>
                    <a:pt x="0" y="19"/>
                  </a:cubicBezTo>
                  <a:cubicBezTo>
                    <a:pt x="392" y="19"/>
                    <a:pt x="392" y="19"/>
                    <a:pt x="392" y="19"/>
                  </a:cubicBezTo>
                  <a:cubicBezTo>
                    <a:pt x="387" y="12"/>
                    <a:pt x="383" y="6"/>
                    <a:pt x="378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25">
              <a:extLst>
                <a:ext uri="{FF2B5EF4-FFF2-40B4-BE49-F238E27FC236}">
                  <a16:creationId xmlns:a16="http://schemas.microsoft.com/office/drawing/2014/main" id="{D20B4BFB-255B-47EA-BC2B-8F1B03692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742950" y="-5310386"/>
              <a:ext cx="1389063" cy="60325"/>
            </a:xfrm>
            <a:custGeom>
              <a:avLst/>
              <a:gdLst>
                <a:gd name="T0" fmla="*/ 429 w 438"/>
                <a:gd name="T1" fmla="*/ 0 h 19"/>
                <a:gd name="T2" fmla="*/ 9 w 438"/>
                <a:gd name="T3" fmla="*/ 0 h 19"/>
                <a:gd name="T4" fmla="*/ 0 w 438"/>
                <a:gd name="T5" fmla="*/ 19 h 19"/>
                <a:gd name="T6" fmla="*/ 438 w 438"/>
                <a:gd name="T7" fmla="*/ 19 h 19"/>
                <a:gd name="T8" fmla="*/ 429 w 438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8" h="19">
                  <a:moveTo>
                    <a:pt x="42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5" y="7"/>
                    <a:pt x="3" y="13"/>
                    <a:pt x="0" y="19"/>
                  </a:cubicBezTo>
                  <a:cubicBezTo>
                    <a:pt x="438" y="19"/>
                    <a:pt x="438" y="19"/>
                    <a:pt x="438" y="19"/>
                  </a:cubicBezTo>
                  <a:cubicBezTo>
                    <a:pt x="435" y="13"/>
                    <a:pt x="432" y="7"/>
                    <a:pt x="429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26">
              <a:extLst>
                <a:ext uri="{FF2B5EF4-FFF2-40B4-BE49-F238E27FC236}">
                  <a16:creationId xmlns:a16="http://schemas.microsoft.com/office/drawing/2014/main" id="{403EDC1D-E79E-4E8C-A336-3F824231E1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675" y="-5170686"/>
              <a:ext cx="1468438" cy="60325"/>
            </a:xfrm>
            <a:custGeom>
              <a:avLst/>
              <a:gdLst>
                <a:gd name="T0" fmla="*/ 459 w 463"/>
                <a:gd name="T1" fmla="*/ 0 h 19"/>
                <a:gd name="T2" fmla="*/ 5 w 463"/>
                <a:gd name="T3" fmla="*/ 0 h 19"/>
                <a:gd name="T4" fmla="*/ 0 w 463"/>
                <a:gd name="T5" fmla="*/ 19 h 19"/>
                <a:gd name="T6" fmla="*/ 463 w 463"/>
                <a:gd name="T7" fmla="*/ 19 h 19"/>
                <a:gd name="T8" fmla="*/ 459 w 463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3" h="19">
                  <a:moveTo>
                    <a:pt x="45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3" y="6"/>
                    <a:pt x="2" y="12"/>
                    <a:pt x="0" y="19"/>
                  </a:cubicBezTo>
                  <a:cubicBezTo>
                    <a:pt x="463" y="19"/>
                    <a:pt x="463" y="19"/>
                    <a:pt x="463" y="19"/>
                  </a:cubicBezTo>
                  <a:cubicBezTo>
                    <a:pt x="462" y="12"/>
                    <a:pt x="461" y="6"/>
                    <a:pt x="459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27">
              <a:extLst>
                <a:ext uri="{FF2B5EF4-FFF2-40B4-BE49-F238E27FC236}">
                  <a16:creationId xmlns:a16="http://schemas.microsoft.com/office/drawing/2014/main" id="{774E66D5-B2F9-4D3E-9339-CDF5E97757CD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975" y="-5034161"/>
              <a:ext cx="1497013" cy="60325"/>
            </a:xfrm>
            <a:custGeom>
              <a:avLst/>
              <a:gdLst>
                <a:gd name="T0" fmla="*/ 471 w 472"/>
                <a:gd name="T1" fmla="*/ 0 h 19"/>
                <a:gd name="T2" fmla="*/ 1 w 472"/>
                <a:gd name="T3" fmla="*/ 0 h 19"/>
                <a:gd name="T4" fmla="*/ 0 w 472"/>
                <a:gd name="T5" fmla="*/ 19 h 19"/>
                <a:gd name="T6" fmla="*/ 472 w 472"/>
                <a:gd name="T7" fmla="*/ 19 h 19"/>
                <a:gd name="T8" fmla="*/ 471 w 472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2" h="19">
                  <a:moveTo>
                    <a:pt x="47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6"/>
                    <a:pt x="0" y="13"/>
                    <a:pt x="0" y="19"/>
                  </a:cubicBezTo>
                  <a:cubicBezTo>
                    <a:pt x="472" y="19"/>
                    <a:pt x="472" y="19"/>
                    <a:pt x="472" y="19"/>
                  </a:cubicBezTo>
                  <a:cubicBezTo>
                    <a:pt x="471" y="13"/>
                    <a:pt x="471" y="6"/>
                    <a:pt x="47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28">
              <a:extLst>
                <a:ext uri="{FF2B5EF4-FFF2-40B4-BE49-F238E27FC236}">
                  <a16:creationId xmlns:a16="http://schemas.microsoft.com/office/drawing/2014/main" id="{69E318F6-7B62-4A96-BE73-C5F3184F0D0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150" y="-4897636"/>
              <a:ext cx="1487488" cy="60325"/>
            </a:xfrm>
            <a:custGeom>
              <a:avLst/>
              <a:gdLst>
                <a:gd name="T0" fmla="*/ 469 w 469"/>
                <a:gd name="T1" fmla="*/ 0 h 19"/>
                <a:gd name="T2" fmla="*/ 0 w 469"/>
                <a:gd name="T3" fmla="*/ 0 h 19"/>
                <a:gd name="T4" fmla="*/ 3 w 469"/>
                <a:gd name="T5" fmla="*/ 19 h 19"/>
                <a:gd name="T6" fmla="*/ 467 w 469"/>
                <a:gd name="T7" fmla="*/ 19 h 19"/>
                <a:gd name="T8" fmla="*/ 469 w 469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9" h="19">
                  <a:moveTo>
                    <a:pt x="46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7"/>
                    <a:pt x="2" y="13"/>
                    <a:pt x="3" y="19"/>
                  </a:cubicBezTo>
                  <a:cubicBezTo>
                    <a:pt x="467" y="19"/>
                    <a:pt x="467" y="19"/>
                    <a:pt x="467" y="19"/>
                  </a:cubicBezTo>
                  <a:cubicBezTo>
                    <a:pt x="468" y="13"/>
                    <a:pt x="469" y="7"/>
                    <a:pt x="469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29">
              <a:extLst>
                <a:ext uri="{FF2B5EF4-FFF2-40B4-BE49-F238E27FC236}">
                  <a16:creationId xmlns:a16="http://schemas.microsoft.com/office/drawing/2014/main" id="{7E60674A-BACD-43CD-8B7F-9017E68D62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725" y="-4757936"/>
              <a:ext cx="1433513" cy="60325"/>
            </a:xfrm>
            <a:custGeom>
              <a:avLst/>
              <a:gdLst>
                <a:gd name="T0" fmla="*/ 452 w 452"/>
                <a:gd name="T1" fmla="*/ 0 h 19"/>
                <a:gd name="T2" fmla="*/ 0 w 452"/>
                <a:gd name="T3" fmla="*/ 0 h 19"/>
                <a:gd name="T4" fmla="*/ 6 w 452"/>
                <a:gd name="T5" fmla="*/ 19 h 19"/>
                <a:gd name="T6" fmla="*/ 445 w 452"/>
                <a:gd name="T7" fmla="*/ 19 h 19"/>
                <a:gd name="T8" fmla="*/ 452 w 452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2" h="19">
                  <a:moveTo>
                    <a:pt x="45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6"/>
                    <a:pt x="4" y="12"/>
                    <a:pt x="6" y="19"/>
                  </a:cubicBezTo>
                  <a:cubicBezTo>
                    <a:pt x="445" y="19"/>
                    <a:pt x="445" y="19"/>
                    <a:pt x="445" y="19"/>
                  </a:cubicBezTo>
                  <a:cubicBezTo>
                    <a:pt x="448" y="12"/>
                    <a:pt x="450" y="6"/>
                    <a:pt x="45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30">
              <a:extLst>
                <a:ext uri="{FF2B5EF4-FFF2-40B4-BE49-F238E27FC236}">
                  <a16:creationId xmlns:a16="http://schemas.microsoft.com/office/drawing/2014/main" id="{F4DB92E0-43AC-4F81-89AD-8985C9205326}"/>
                </a:ext>
              </a:extLst>
            </p:cNvPr>
            <p:cNvSpPr>
              <a:spLocks/>
            </p:cNvSpPr>
            <p:nvPr/>
          </p:nvSpPr>
          <p:spPr bwMode="auto">
            <a:xfrm>
              <a:off x="777875" y="-4621411"/>
              <a:ext cx="1319213" cy="60325"/>
            </a:xfrm>
            <a:custGeom>
              <a:avLst/>
              <a:gdLst>
                <a:gd name="T0" fmla="*/ 416 w 416"/>
                <a:gd name="T1" fmla="*/ 0 h 19"/>
                <a:gd name="T2" fmla="*/ 0 w 416"/>
                <a:gd name="T3" fmla="*/ 0 h 19"/>
                <a:gd name="T4" fmla="*/ 11 w 416"/>
                <a:gd name="T5" fmla="*/ 19 h 19"/>
                <a:gd name="T6" fmla="*/ 405 w 416"/>
                <a:gd name="T7" fmla="*/ 19 h 19"/>
                <a:gd name="T8" fmla="*/ 416 w 416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6" h="19">
                  <a:moveTo>
                    <a:pt x="41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" y="7"/>
                    <a:pt x="7" y="13"/>
                    <a:pt x="11" y="19"/>
                  </a:cubicBezTo>
                  <a:cubicBezTo>
                    <a:pt x="405" y="19"/>
                    <a:pt x="405" y="19"/>
                    <a:pt x="405" y="19"/>
                  </a:cubicBezTo>
                  <a:cubicBezTo>
                    <a:pt x="409" y="13"/>
                    <a:pt x="413" y="7"/>
                    <a:pt x="416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31">
              <a:extLst>
                <a:ext uri="{FF2B5EF4-FFF2-40B4-BE49-F238E27FC236}">
                  <a16:creationId xmlns:a16="http://schemas.microsoft.com/office/drawing/2014/main" id="{19DC0AD1-8BCD-40BD-AFA9-9E86D9D7619A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950" y="-4484886"/>
              <a:ext cx="1135063" cy="60325"/>
            </a:xfrm>
            <a:custGeom>
              <a:avLst/>
              <a:gdLst>
                <a:gd name="T0" fmla="*/ 358 w 358"/>
                <a:gd name="T1" fmla="*/ 0 h 19"/>
                <a:gd name="T2" fmla="*/ 0 w 358"/>
                <a:gd name="T3" fmla="*/ 0 h 19"/>
                <a:gd name="T4" fmla="*/ 18 w 358"/>
                <a:gd name="T5" fmla="*/ 19 h 19"/>
                <a:gd name="T6" fmla="*/ 339 w 358"/>
                <a:gd name="T7" fmla="*/ 19 h 19"/>
                <a:gd name="T8" fmla="*/ 358 w 358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8" h="19">
                  <a:moveTo>
                    <a:pt x="35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" y="7"/>
                    <a:pt x="12" y="13"/>
                    <a:pt x="18" y="19"/>
                  </a:cubicBezTo>
                  <a:cubicBezTo>
                    <a:pt x="339" y="19"/>
                    <a:pt x="339" y="19"/>
                    <a:pt x="339" y="19"/>
                  </a:cubicBezTo>
                  <a:cubicBezTo>
                    <a:pt x="346" y="13"/>
                    <a:pt x="352" y="7"/>
                    <a:pt x="358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32">
              <a:extLst>
                <a:ext uri="{FF2B5EF4-FFF2-40B4-BE49-F238E27FC236}">
                  <a16:creationId xmlns:a16="http://schemas.microsoft.com/office/drawing/2014/main" id="{53CD8091-772D-4EA7-ACC8-68B12D4370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5525" y="-4345186"/>
              <a:ext cx="820738" cy="60325"/>
            </a:xfrm>
            <a:custGeom>
              <a:avLst/>
              <a:gdLst>
                <a:gd name="T0" fmla="*/ 259 w 259"/>
                <a:gd name="T1" fmla="*/ 0 h 19"/>
                <a:gd name="T2" fmla="*/ 0 w 259"/>
                <a:gd name="T3" fmla="*/ 0 h 19"/>
                <a:gd name="T4" fmla="*/ 35 w 259"/>
                <a:gd name="T5" fmla="*/ 19 h 19"/>
                <a:gd name="T6" fmla="*/ 225 w 259"/>
                <a:gd name="T7" fmla="*/ 19 h 19"/>
                <a:gd name="T8" fmla="*/ 259 w 259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9" h="19">
                  <a:moveTo>
                    <a:pt x="25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1" y="7"/>
                    <a:pt x="23" y="13"/>
                    <a:pt x="35" y="19"/>
                  </a:cubicBezTo>
                  <a:cubicBezTo>
                    <a:pt x="225" y="19"/>
                    <a:pt x="225" y="19"/>
                    <a:pt x="225" y="19"/>
                  </a:cubicBezTo>
                  <a:cubicBezTo>
                    <a:pt x="237" y="13"/>
                    <a:pt x="248" y="7"/>
                    <a:pt x="259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1690047-4235-43F0-9F2A-44A8E93985C0}"/>
              </a:ext>
            </a:extLst>
          </p:cNvPr>
          <p:cNvCxnSpPr/>
          <p:nvPr userDrawn="1"/>
        </p:nvCxnSpPr>
        <p:spPr>
          <a:xfrm>
            <a:off x="9596819" y="6389084"/>
            <a:ext cx="0" cy="166687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7178CB75-44D5-4455-AF00-3EE241BA60A5}"/>
              </a:ext>
            </a:extLst>
          </p:cNvPr>
          <p:cNvSpPr txBox="1"/>
          <p:nvPr userDrawn="1"/>
        </p:nvSpPr>
        <p:spPr>
          <a:xfrm>
            <a:off x="6389517" y="6247955"/>
            <a:ext cx="2551789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300" b="1" spc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Company </a:t>
            </a:r>
            <a:r>
              <a:rPr lang="en-US" sz="2300" b="1" kern="1200" spc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Profil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3E3F71F8-364C-494F-BE6B-35DB365FE1BC}"/>
              </a:ext>
            </a:extLst>
          </p:cNvPr>
          <p:cNvGrpSpPr/>
          <p:nvPr userDrawn="1"/>
        </p:nvGrpSpPr>
        <p:grpSpPr>
          <a:xfrm>
            <a:off x="5956285" y="6264918"/>
            <a:ext cx="390675" cy="386876"/>
            <a:chOff x="942242" y="2841978"/>
            <a:chExt cx="1226108" cy="1214181"/>
          </a:xfrm>
        </p:grpSpPr>
        <p:sp>
          <p:nvSpPr>
            <p:cNvPr id="33" name="Freeform 63">
              <a:extLst>
                <a:ext uri="{FF2B5EF4-FFF2-40B4-BE49-F238E27FC236}">
                  <a16:creationId xmlns:a16="http://schemas.microsoft.com/office/drawing/2014/main" id="{62FDB4D7-C79E-43F4-B30D-58756C4DC5B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42242" y="2841978"/>
              <a:ext cx="1226108" cy="1211796"/>
            </a:xfrm>
            <a:custGeom>
              <a:avLst/>
              <a:gdLst>
                <a:gd name="T0" fmla="*/ 198 w 431"/>
                <a:gd name="T1" fmla="*/ 393 h 426"/>
                <a:gd name="T2" fmla="*/ 53 w 431"/>
                <a:gd name="T3" fmla="*/ 393 h 426"/>
                <a:gd name="T4" fmla="*/ 39 w 431"/>
                <a:gd name="T5" fmla="*/ 386 h 426"/>
                <a:gd name="T6" fmla="*/ 37 w 431"/>
                <a:gd name="T7" fmla="*/ 371 h 426"/>
                <a:gd name="T8" fmla="*/ 159 w 431"/>
                <a:gd name="T9" fmla="*/ 284 h 426"/>
                <a:gd name="T10" fmla="*/ 231 w 431"/>
                <a:gd name="T11" fmla="*/ 307 h 426"/>
                <a:gd name="T12" fmla="*/ 254 w 431"/>
                <a:gd name="T13" fmla="*/ 303 h 426"/>
                <a:gd name="T14" fmla="*/ 250 w 431"/>
                <a:gd name="T15" fmla="*/ 280 h 426"/>
                <a:gd name="T16" fmla="*/ 216 w 431"/>
                <a:gd name="T17" fmla="*/ 262 h 426"/>
                <a:gd name="T18" fmla="*/ 244 w 431"/>
                <a:gd name="T19" fmla="*/ 206 h 426"/>
                <a:gd name="T20" fmla="*/ 331 w 431"/>
                <a:gd name="T21" fmla="*/ 171 h 426"/>
                <a:gd name="T22" fmla="*/ 403 w 431"/>
                <a:gd name="T23" fmla="*/ 193 h 426"/>
                <a:gd name="T24" fmla="*/ 426 w 431"/>
                <a:gd name="T25" fmla="*/ 189 h 426"/>
                <a:gd name="T26" fmla="*/ 422 w 431"/>
                <a:gd name="T27" fmla="*/ 166 h 426"/>
                <a:gd name="T28" fmla="*/ 389 w 431"/>
                <a:gd name="T29" fmla="*/ 148 h 426"/>
                <a:gd name="T30" fmla="*/ 416 w 431"/>
                <a:gd name="T31" fmla="*/ 85 h 426"/>
                <a:gd name="T32" fmla="*/ 332 w 431"/>
                <a:gd name="T33" fmla="*/ 0 h 426"/>
                <a:gd name="T34" fmla="*/ 247 w 431"/>
                <a:gd name="T35" fmla="*/ 85 h 426"/>
                <a:gd name="T36" fmla="*/ 274 w 431"/>
                <a:gd name="T37" fmla="*/ 148 h 426"/>
                <a:gd name="T38" fmla="*/ 267 w 431"/>
                <a:gd name="T39" fmla="*/ 151 h 426"/>
                <a:gd name="T40" fmla="*/ 238 w 431"/>
                <a:gd name="T41" fmla="*/ 168 h 426"/>
                <a:gd name="T42" fmla="*/ 159 w 431"/>
                <a:gd name="T43" fmla="*/ 114 h 426"/>
                <a:gd name="T44" fmla="*/ 75 w 431"/>
                <a:gd name="T45" fmla="*/ 199 h 426"/>
                <a:gd name="T46" fmla="*/ 102 w 431"/>
                <a:gd name="T47" fmla="*/ 262 h 426"/>
                <a:gd name="T48" fmla="*/ 5 w 431"/>
                <a:gd name="T49" fmla="*/ 361 h 426"/>
                <a:gd name="T50" fmla="*/ 13 w 431"/>
                <a:gd name="T51" fmla="*/ 406 h 426"/>
                <a:gd name="T52" fmla="*/ 53 w 431"/>
                <a:gd name="T53" fmla="*/ 426 h 426"/>
                <a:gd name="T54" fmla="*/ 198 w 431"/>
                <a:gd name="T55" fmla="*/ 426 h 426"/>
                <a:gd name="T56" fmla="*/ 214 w 431"/>
                <a:gd name="T57" fmla="*/ 410 h 426"/>
                <a:gd name="T58" fmla="*/ 198 w 431"/>
                <a:gd name="T59" fmla="*/ 393 h 426"/>
                <a:gd name="T60" fmla="*/ 332 w 431"/>
                <a:gd name="T61" fmla="*/ 34 h 426"/>
                <a:gd name="T62" fmla="*/ 383 w 431"/>
                <a:gd name="T63" fmla="*/ 85 h 426"/>
                <a:gd name="T64" fmla="*/ 332 w 431"/>
                <a:gd name="T65" fmla="*/ 137 h 426"/>
                <a:gd name="T66" fmla="*/ 280 w 431"/>
                <a:gd name="T67" fmla="*/ 85 h 426"/>
                <a:gd name="T68" fmla="*/ 332 w 431"/>
                <a:gd name="T69" fmla="*/ 34 h 426"/>
                <a:gd name="T70" fmla="*/ 159 w 431"/>
                <a:gd name="T71" fmla="*/ 148 h 426"/>
                <a:gd name="T72" fmla="*/ 211 w 431"/>
                <a:gd name="T73" fmla="*/ 199 h 426"/>
                <a:gd name="T74" fmla="*/ 159 w 431"/>
                <a:gd name="T75" fmla="*/ 251 h 426"/>
                <a:gd name="T76" fmla="*/ 108 w 431"/>
                <a:gd name="T77" fmla="*/ 199 h 426"/>
                <a:gd name="T78" fmla="*/ 159 w 431"/>
                <a:gd name="T79" fmla="*/ 148 h 426"/>
                <a:gd name="T80" fmla="*/ 159 w 431"/>
                <a:gd name="T81" fmla="*/ 148 h 426"/>
                <a:gd name="T82" fmla="*/ 159 w 431"/>
                <a:gd name="T83" fmla="*/ 148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31" h="426">
                  <a:moveTo>
                    <a:pt x="198" y="393"/>
                  </a:moveTo>
                  <a:cubicBezTo>
                    <a:pt x="53" y="393"/>
                    <a:pt x="53" y="393"/>
                    <a:pt x="53" y="393"/>
                  </a:cubicBezTo>
                  <a:cubicBezTo>
                    <a:pt x="48" y="393"/>
                    <a:pt x="43" y="391"/>
                    <a:pt x="39" y="386"/>
                  </a:cubicBezTo>
                  <a:cubicBezTo>
                    <a:pt x="36" y="382"/>
                    <a:pt x="35" y="376"/>
                    <a:pt x="37" y="371"/>
                  </a:cubicBezTo>
                  <a:cubicBezTo>
                    <a:pt x="54" y="320"/>
                    <a:pt x="104" y="284"/>
                    <a:pt x="159" y="284"/>
                  </a:cubicBezTo>
                  <a:cubicBezTo>
                    <a:pt x="185" y="284"/>
                    <a:pt x="210" y="292"/>
                    <a:pt x="231" y="307"/>
                  </a:cubicBezTo>
                  <a:cubicBezTo>
                    <a:pt x="238" y="312"/>
                    <a:pt x="248" y="310"/>
                    <a:pt x="254" y="303"/>
                  </a:cubicBezTo>
                  <a:cubicBezTo>
                    <a:pt x="259" y="295"/>
                    <a:pt x="257" y="285"/>
                    <a:pt x="250" y="280"/>
                  </a:cubicBezTo>
                  <a:cubicBezTo>
                    <a:pt x="239" y="272"/>
                    <a:pt x="228" y="266"/>
                    <a:pt x="216" y="262"/>
                  </a:cubicBezTo>
                  <a:cubicBezTo>
                    <a:pt x="232" y="248"/>
                    <a:pt x="242" y="228"/>
                    <a:pt x="244" y="206"/>
                  </a:cubicBezTo>
                  <a:cubicBezTo>
                    <a:pt x="267" y="183"/>
                    <a:pt x="298" y="171"/>
                    <a:pt x="331" y="171"/>
                  </a:cubicBezTo>
                  <a:cubicBezTo>
                    <a:pt x="357" y="171"/>
                    <a:pt x="382" y="178"/>
                    <a:pt x="403" y="193"/>
                  </a:cubicBezTo>
                  <a:cubicBezTo>
                    <a:pt x="410" y="198"/>
                    <a:pt x="421" y="196"/>
                    <a:pt x="426" y="189"/>
                  </a:cubicBezTo>
                  <a:cubicBezTo>
                    <a:pt x="431" y="181"/>
                    <a:pt x="429" y="171"/>
                    <a:pt x="422" y="166"/>
                  </a:cubicBezTo>
                  <a:cubicBezTo>
                    <a:pt x="411" y="159"/>
                    <a:pt x="400" y="153"/>
                    <a:pt x="389" y="148"/>
                  </a:cubicBezTo>
                  <a:cubicBezTo>
                    <a:pt x="406" y="133"/>
                    <a:pt x="416" y="110"/>
                    <a:pt x="416" y="85"/>
                  </a:cubicBezTo>
                  <a:cubicBezTo>
                    <a:pt x="416" y="39"/>
                    <a:pt x="378" y="0"/>
                    <a:pt x="332" y="0"/>
                  </a:cubicBezTo>
                  <a:cubicBezTo>
                    <a:pt x="285" y="0"/>
                    <a:pt x="247" y="39"/>
                    <a:pt x="247" y="85"/>
                  </a:cubicBezTo>
                  <a:cubicBezTo>
                    <a:pt x="247" y="110"/>
                    <a:pt x="257" y="132"/>
                    <a:pt x="274" y="148"/>
                  </a:cubicBezTo>
                  <a:cubicBezTo>
                    <a:pt x="272" y="149"/>
                    <a:pt x="270" y="150"/>
                    <a:pt x="267" y="151"/>
                  </a:cubicBezTo>
                  <a:cubicBezTo>
                    <a:pt x="257" y="155"/>
                    <a:pt x="247" y="161"/>
                    <a:pt x="238" y="168"/>
                  </a:cubicBezTo>
                  <a:cubicBezTo>
                    <a:pt x="226" y="136"/>
                    <a:pt x="195" y="114"/>
                    <a:pt x="159" y="114"/>
                  </a:cubicBezTo>
                  <a:cubicBezTo>
                    <a:pt x="113" y="114"/>
                    <a:pt x="75" y="152"/>
                    <a:pt x="75" y="199"/>
                  </a:cubicBezTo>
                  <a:cubicBezTo>
                    <a:pt x="75" y="224"/>
                    <a:pt x="85" y="246"/>
                    <a:pt x="102" y="262"/>
                  </a:cubicBezTo>
                  <a:cubicBezTo>
                    <a:pt x="57" y="279"/>
                    <a:pt x="20" y="315"/>
                    <a:pt x="5" y="361"/>
                  </a:cubicBezTo>
                  <a:cubicBezTo>
                    <a:pt x="0" y="376"/>
                    <a:pt x="3" y="393"/>
                    <a:pt x="13" y="406"/>
                  </a:cubicBezTo>
                  <a:cubicBezTo>
                    <a:pt x="22" y="419"/>
                    <a:pt x="37" y="426"/>
                    <a:pt x="53" y="426"/>
                  </a:cubicBezTo>
                  <a:cubicBezTo>
                    <a:pt x="198" y="426"/>
                    <a:pt x="198" y="426"/>
                    <a:pt x="198" y="426"/>
                  </a:cubicBezTo>
                  <a:cubicBezTo>
                    <a:pt x="207" y="426"/>
                    <a:pt x="214" y="419"/>
                    <a:pt x="214" y="410"/>
                  </a:cubicBezTo>
                  <a:cubicBezTo>
                    <a:pt x="214" y="401"/>
                    <a:pt x="207" y="393"/>
                    <a:pt x="198" y="393"/>
                  </a:cubicBezTo>
                  <a:close/>
                  <a:moveTo>
                    <a:pt x="332" y="34"/>
                  </a:moveTo>
                  <a:cubicBezTo>
                    <a:pt x="360" y="34"/>
                    <a:pt x="383" y="57"/>
                    <a:pt x="383" y="85"/>
                  </a:cubicBezTo>
                  <a:cubicBezTo>
                    <a:pt x="383" y="114"/>
                    <a:pt x="360" y="137"/>
                    <a:pt x="332" y="137"/>
                  </a:cubicBezTo>
                  <a:cubicBezTo>
                    <a:pt x="303" y="137"/>
                    <a:pt x="280" y="114"/>
                    <a:pt x="280" y="85"/>
                  </a:cubicBezTo>
                  <a:cubicBezTo>
                    <a:pt x="280" y="57"/>
                    <a:pt x="303" y="34"/>
                    <a:pt x="332" y="34"/>
                  </a:cubicBezTo>
                  <a:close/>
                  <a:moveTo>
                    <a:pt x="159" y="148"/>
                  </a:moveTo>
                  <a:cubicBezTo>
                    <a:pt x="188" y="148"/>
                    <a:pt x="211" y="171"/>
                    <a:pt x="211" y="199"/>
                  </a:cubicBezTo>
                  <a:cubicBezTo>
                    <a:pt x="211" y="228"/>
                    <a:pt x="188" y="251"/>
                    <a:pt x="159" y="251"/>
                  </a:cubicBezTo>
                  <a:cubicBezTo>
                    <a:pt x="131" y="251"/>
                    <a:pt x="108" y="228"/>
                    <a:pt x="108" y="199"/>
                  </a:cubicBezTo>
                  <a:cubicBezTo>
                    <a:pt x="108" y="171"/>
                    <a:pt x="131" y="148"/>
                    <a:pt x="159" y="148"/>
                  </a:cubicBezTo>
                  <a:close/>
                  <a:moveTo>
                    <a:pt x="159" y="148"/>
                  </a:moveTo>
                  <a:cubicBezTo>
                    <a:pt x="159" y="148"/>
                    <a:pt x="159" y="148"/>
                    <a:pt x="159" y="148"/>
                  </a:cubicBezTo>
                </a:path>
              </a:pathLst>
            </a:custGeom>
            <a:gradFill flip="none" rotWithShape="1"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810000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64">
              <a:extLst>
                <a:ext uri="{FF2B5EF4-FFF2-40B4-BE49-F238E27FC236}">
                  <a16:creationId xmlns:a16="http://schemas.microsoft.com/office/drawing/2014/main" id="{EB6E356D-9626-437B-8F88-21040A95A2A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68415" y="3600543"/>
              <a:ext cx="599935" cy="455616"/>
            </a:xfrm>
            <a:custGeom>
              <a:avLst/>
              <a:gdLst>
                <a:gd name="T0" fmla="*/ 202 w 211"/>
                <a:gd name="T1" fmla="*/ 5 h 160"/>
                <a:gd name="T2" fmla="*/ 179 w 211"/>
                <a:gd name="T3" fmla="*/ 9 h 160"/>
                <a:gd name="T4" fmla="*/ 97 w 211"/>
                <a:gd name="T5" fmla="*/ 124 h 160"/>
                <a:gd name="T6" fmla="*/ 90 w 211"/>
                <a:gd name="T7" fmla="*/ 127 h 160"/>
                <a:gd name="T8" fmla="*/ 83 w 211"/>
                <a:gd name="T9" fmla="*/ 124 h 160"/>
                <a:gd name="T10" fmla="*/ 30 w 211"/>
                <a:gd name="T11" fmla="*/ 73 h 160"/>
                <a:gd name="T12" fmla="*/ 6 w 211"/>
                <a:gd name="T13" fmla="*/ 74 h 160"/>
                <a:gd name="T14" fmla="*/ 7 w 211"/>
                <a:gd name="T15" fmla="*/ 97 h 160"/>
                <a:gd name="T16" fmla="*/ 60 w 211"/>
                <a:gd name="T17" fmla="*/ 148 h 160"/>
                <a:gd name="T18" fmla="*/ 90 w 211"/>
                <a:gd name="T19" fmla="*/ 160 h 160"/>
                <a:gd name="T20" fmla="*/ 92 w 211"/>
                <a:gd name="T21" fmla="*/ 160 h 160"/>
                <a:gd name="T22" fmla="*/ 123 w 211"/>
                <a:gd name="T23" fmla="*/ 144 h 160"/>
                <a:gd name="T24" fmla="*/ 123 w 211"/>
                <a:gd name="T25" fmla="*/ 143 h 160"/>
                <a:gd name="T26" fmla="*/ 206 w 211"/>
                <a:gd name="T27" fmla="*/ 28 h 160"/>
                <a:gd name="T28" fmla="*/ 202 w 211"/>
                <a:gd name="T29" fmla="*/ 5 h 160"/>
                <a:gd name="T30" fmla="*/ 202 w 211"/>
                <a:gd name="T31" fmla="*/ 5 h 160"/>
                <a:gd name="T32" fmla="*/ 202 w 211"/>
                <a:gd name="T33" fmla="*/ 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11" h="160">
                  <a:moveTo>
                    <a:pt x="202" y="5"/>
                  </a:moveTo>
                  <a:cubicBezTo>
                    <a:pt x="194" y="0"/>
                    <a:pt x="184" y="2"/>
                    <a:pt x="179" y="9"/>
                  </a:cubicBezTo>
                  <a:cubicBezTo>
                    <a:pt x="97" y="124"/>
                    <a:pt x="97" y="124"/>
                    <a:pt x="97" y="124"/>
                  </a:cubicBezTo>
                  <a:cubicBezTo>
                    <a:pt x="94" y="126"/>
                    <a:pt x="92" y="127"/>
                    <a:pt x="90" y="127"/>
                  </a:cubicBezTo>
                  <a:cubicBezTo>
                    <a:pt x="89" y="127"/>
                    <a:pt x="86" y="127"/>
                    <a:pt x="83" y="124"/>
                  </a:cubicBezTo>
                  <a:cubicBezTo>
                    <a:pt x="30" y="73"/>
                    <a:pt x="30" y="73"/>
                    <a:pt x="30" y="73"/>
                  </a:cubicBezTo>
                  <a:cubicBezTo>
                    <a:pt x="23" y="67"/>
                    <a:pt x="13" y="67"/>
                    <a:pt x="6" y="74"/>
                  </a:cubicBezTo>
                  <a:cubicBezTo>
                    <a:pt x="0" y="80"/>
                    <a:pt x="0" y="91"/>
                    <a:pt x="7" y="97"/>
                  </a:cubicBezTo>
                  <a:cubicBezTo>
                    <a:pt x="60" y="148"/>
                    <a:pt x="60" y="148"/>
                    <a:pt x="60" y="148"/>
                  </a:cubicBezTo>
                  <a:cubicBezTo>
                    <a:pt x="68" y="156"/>
                    <a:pt x="79" y="160"/>
                    <a:pt x="90" y="160"/>
                  </a:cubicBezTo>
                  <a:cubicBezTo>
                    <a:pt x="91" y="160"/>
                    <a:pt x="91" y="160"/>
                    <a:pt x="92" y="160"/>
                  </a:cubicBezTo>
                  <a:cubicBezTo>
                    <a:pt x="104" y="159"/>
                    <a:pt x="115" y="153"/>
                    <a:pt x="123" y="144"/>
                  </a:cubicBezTo>
                  <a:cubicBezTo>
                    <a:pt x="123" y="144"/>
                    <a:pt x="123" y="144"/>
                    <a:pt x="123" y="143"/>
                  </a:cubicBezTo>
                  <a:cubicBezTo>
                    <a:pt x="206" y="28"/>
                    <a:pt x="206" y="28"/>
                    <a:pt x="206" y="28"/>
                  </a:cubicBezTo>
                  <a:cubicBezTo>
                    <a:pt x="211" y="21"/>
                    <a:pt x="209" y="11"/>
                    <a:pt x="202" y="5"/>
                  </a:cubicBezTo>
                  <a:close/>
                  <a:moveTo>
                    <a:pt x="202" y="5"/>
                  </a:moveTo>
                  <a:cubicBezTo>
                    <a:pt x="202" y="5"/>
                    <a:pt x="202" y="5"/>
                    <a:pt x="202" y="5"/>
                  </a:cubicBezTo>
                </a:path>
              </a:pathLst>
            </a:custGeom>
            <a:gradFill flip="none" rotWithShape="1"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810000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C6C13410-168C-4F8C-81CA-DD28C7DA65DE}"/>
              </a:ext>
            </a:extLst>
          </p:cNvPr>
          <p:cNvSpPr/>
          <p:nvPr userDrawn="1"/>
        </p:nvSpPr>
        <p:spPr>
          <a:xfrm>
            <a:off x="9154312" y="6309837"/>
            <a:ext cx="333533" cy="333533"/>
          </a:xfrm>
          <a:prstGeom prst="roundRect">
            <a:avLst>
              <a:gd name="adj" fmla="val 9599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Picture Placeholder 9">
            <a:extLst>
              <a:ext uri="{FF2B5EF4-FFF2-40B4-BE49-F238E27FC236}">
                <a16:creationId xmlns:a16="http://schemas.microsoft.com/office/drawing/2014/main" id="{57D651DD-3870-4A09-9550-60B1167C3DD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30770" y="1879743"/>
            <a:ext cx="3798888" cy="4257675"/>
          </a:xfrm>
          <a:custGeom>
            <a:avLst/>
            <a:gdLst>
              <a:gd name="connsiteX0" fmla="*/ 258763 w 3798888"/>
              <a:gd name="connsiteY0" fmla="*/ 1892300 h 4257675"/>
              <a:gd name="connsiteX1" fmla="*/ 517525 w 3798888"/>
              <a:gd name="connsiteY1" fmla="*/ 2150487 h 4257675"/>
              <a:gd name="connsiteX2" fmla="*/ 517525 w 3798888"/>
              <a:gd name="connsiteY2" fmla="*/ 3539113 h 4257675"/>
              <a:gd name="connsiteX3" fmla="*/ 258763 w 3798888"/>
              <a:gd name="connsiteY3" fmla="*/ 3797300 h 4257675"/>
              <a:gd name="connsiteX4" fmla="*/ 0 w 3798888"/>
              <a:gd name="connsiteY4" fmla="*/ 3539113 h 4257675"/>
              <a:gd name="connsiteX5" fmla="*/ 0 w 3798888"/>
              <a:gd name="connsiteY5" fmla="*/ 2150487 h 4257675"/>
              <a:gd name="connsiteX6" fmla="*/ 258763 w 3798888"/>
              <a:gd name="connsiteY6" fmla="*/ 1892300 h 4257675"/>
              <a:gd name="connsiteX7" fmla="*/ 2884488 w 3798888"/>
              <a:gd name="connsiteY7" fmla="*/ 1508125 h 4257675"/>
              <a:gd name="connsiteX8" fmla="*/ 3143250 w 3798888"/>
              <a:gd name="connsiteY8" fmla="*/ 1766331 h 4257675"/>
              <a:gd name="connsiteX9" fmla="*/ 3143250 w 3798888"/>
              <a:gd name="connsiteY9" fmla="*/ 3999469 h 4257675"/>
              <a:gd name="connsiteX10" fmla="*/ 2884488 w 3798888"/>
              <a:gd name="connsiteY10" fmla="*/ 4257675 h 4257675"/>
              <a:gd name="connsiteX11" fmla="*/ 2625725 w 3798888"/>
              <a:gd name="connsiteY11" fmla="*/ 3999469 h 4257675"/>
              <a:gd name="connsiteX12" fmla="*/ 2625725 w 3798888"/>
              <a:gd name="connsiteY12" fmla="*/ 1766331 h 4257675"/>
              <a:gd name="connsiteX13" fmla="*/ 2884488 w 3798888"/>
              <a:gd name="connsiteY13" fmla="*/ 1508125 h 4257675"/>
              <a:gd name="connsiteX14" fmla="*/ 1571626 w 3798888"/>
              <a:gd name="connsiteY14" fmla="*/ 1382713 h 4257675"/>
              <a:gd name="connsiteX15" fmla="*/ 1830388 w 3798888"/>
              <a:gd name="connsiteY15" fmla="*/ 1640960 h 4257675"/>
              <a:gd name="connsiteX16" fmla="*/ 1830388 w 3798888"/>
              <a:gd name="connsiteY16" fmla="*/ 2778641 h 4257675"/>
              <a:gd name="connsiteX17" fmla="*/ 1571626 w 3798888"/>
              <a:gd name="connsiteY17" fmla="*/ 3036888 h 4257675"/>
              <a:gd name="connsiteX18" fmla="*/ 1312863 w 3798888"/>
              <a:gd name="connsiteY18" fmla="*/ 2778641 h 4257675"/>
              <a:gd name="connsiteX19" fmla="*/ 1312863 w 3798888"/>
              <a:gd name="connsiteY19" fmla="*/ 1640960 h 4257675"/>
              <a:gd name="connsiteX20" fmla="*/ 1571626 w 3798888"/>
              <a:gd name="connsiteY20" fmla="*/ 1382713 h 4257675"/>
              <a:gd name="connsiteX21" fmla="*/ 3540919 w 3798888"/>
              <a:gd name="connsiteY21" fmla="*/ 1096963 h 4257675"/>
              <a:gd name="connsiteX22" fmla="*/ 3798888 w 3798888"/>
              <a:gd name="connsiteY22" fmla="*/ 1355159 h 4257675"/>
              <a:gd name="connsiteX23" fmla="*/ 3798888 w 3798888"/>
              <a:gd name="connsiteY23" fmla="*/ 3148580 h 4257675"/>
              <a:gd name="connsiteX24" fmla="*/ 3540919 w 3798888"/>
              <a:gd name="connsiteY24" fmla="*/ 3406776 h 4257675"/>
              <a:gd name="connsiteX25" fmla="*/ 3282950 w 3798888"/>
              <a:gd name="connsiteY25" fmla="*/ 3148580 h 4257675"/>
              <a:gd name="connsiteX26" fmla="*/ 3282950 w 3798888"/>
              <a:gd name="connsiteY26" fmla="*/ 1355159 h 4257675"/>
              <a:gd name="connsiteX27" fmla="*/ 3540919 w 3798888"/>
              <a:gd name="connsiteY27" fmla="*/ 1096963 h 4257675"/>
              <a:gd name="connsiteX28" fmla="*/ 915194 w 3798888"/>
              <a:gd name="connsiteY28" fmla="*/ 873125 h 4257675"/>
              <a:gd name="connsiteX29" fmla="*/ 1173163 w 3798888"/>
              <a:gd name="connsiteY29" fmla="*/ 1131386 h 4257675"/>
              <a:gd name="connsiteX30" fmla="*/ 1173163 w 3798888"/>
              <a:gd name="connsiteY30" fmla="*/ 3727952 h 4257675"/>
              <a:gd name="connsiteX31" fmla="*/ 915194 w 3798888"/>
              <a:gd name="connsiteY31" fmla="*/ 3986213 h 4257675"/>
              <a:gd name="connsiteX32" fmla="*/ 657225 w 3798888"/>
              <a:gd name="connsiteY32" fmla="*/ 3727952 h 4257675"/>
              <a:gd name="connsiteX33" fmla="*/ 657225 w 3798888"/>
              <a:gd name="connsiteY33" fmla="*/ 1131386 h 4257675"/>
              <a:gd name="connsiteX34" fmla="*/ 915194 w 3798888"/>
              <a:gd name="connsiteY34" fmla="*/ 873125 h 4257675"/>
              <a:gd name="connsiteX35" fmla="*/ 2228057 w 3798888"/>
              <a:gd name="connsiteY35" fmla="*/ 0 h 4257675"/>
              <a:gd name="connsiteX36" fmla="*/ 2486026 w 3798888"/>
              <a:gd name="connsiteY36" fmla="*/ 258320 h 4257675"/>
              <a:gd name="connsiteX37" fmla="*/ 2486026 w 3798888"/>
              <a:gd name="connsiteY37" fmla="*/ 3023043 h 4257675"/>
              <a:gd name="connsiteX38" fmla="*/ 2228057 w 3798888"/>
              <a:gd name="connsiteY38" fmla="*/ 3281363 h 4257675"/>
              <a:gd name="connsiteX39" fmla="*/ 1970088 w 3798888"/>
              <a:gd name="connsiteY39" fmla="*/ 3023043 h 4257675"/>
              <a:gd name="connsiteX40" fmla="*/ 1970088 w 3798888"/>
              <a:gd name="connsiteY40" fmla="*/ 258320 h 4257675"/>
              <a:gd name="connsiteX41" fmla="*/ 2228057 w 3798888"/>
              <a:gd name="connsiteY41" fmla="*/ 0 h 4257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3798888" h="4257675">
                <a:moveTo>
                  <a:pt x="258763" y="1892300"/>
                </a:moveTo>
                <a:cubicBezTo>
                  <a:pt x="398634" y="1892300"/>
                  <a:pt x="517525" y="2010927"/>
                  <a:pt x="517525" y="2150487"/>
                </a:cubicBezTo>
                <a:lnTo>
                  <a:pt x="517525" y="3539113"/>
                </a:lnTo>
                <a:cubicBezTo>
                  <a:pt x="517525" y="3678674"/>
                  <a:pt x="398634" y="3797300"/>
                  <a:pt x="258763" y="3797300"/>
                </a:cubicBezTo>
                <a:cubicBezTo>
                  <a:pt x="111898" y="3797300"/>
                  <a:pt x="0" y="3678674"/>
                  <a:pt x="0" y="3539113"/>
                </a:cubicBezTo>
                <a:cubicBezTo>
                  <a:pt x="0" y="2150487"/>
                  <a:pt x="0" y="2150487"/>
                  <a:pt x="0" y="2150487"/>
                </a:cubicBezTo>
                <a:cubicBezTo>
                  <a:pt x="0" y="2010927"/>
                  <a:pt x="111898" y="1892300"/>
                  <a:pt x="258763" y="1892300"/>
                </a:cubicBezTo>
                <a:close/>
                <a:moveTo>
                  <a:pt x="2884488" y="1508125"/>
                </a:moveTo>
                <a:cubicBezTo>
                  <a:pt x="3024359" y="1508125"/>
                  <a:pt x="3143250" y="1626760"/>
                  <a:pt x="3143250" y="1766331"/>
                </a:cubicBezTo>
                <a:lnTo>
                  <a:pt x="3143250" y="3999469"/>
                </a:lnTo>
                <a:cubicBezTo>
                  <a:pt x="3143250" y="4139040"/>
                  <a:pt x="3024359" y="4257675"/>
                  <a:pt x="2884488" y="4257675"/>
                </a:cubicBezTo>
                <a:cubicBezTo>
                  <a:pt x="2744616" y="4257675"/>
                  <a:pt x="2625725" y="4139040"/>
                  <a:pt x="2625725" y="3999469"/>
                </a:cubicBezTo>
                <a:cubicBezTo>
                  <a:pt x="2625725" y="1766331"/>
                  <a:pt x="2625725" y="1766331"/>
                  <a:pt x="2625725" y="1766331"/>
                </a:cubicBezTo>
                <a:cubicBezTo>
                  <a:pt x="2625725" y="1626760"/>
                  <a:pt x="2744616" y="1508125"/>
                  <a:pt x="2884488" y="1508125"/>
                </a:cubicBezTo>
                <a:close/>
                <a:moveTo>
                  <a:pt x="1571626" y="1382713"/>
                </a:moveTo>
                <a:cubicBezTo>
                  <a:pt x="1711497" y="1382713"/>
                  <a:pt x="1830388" y="1494387"/>
                  <a:pt x="1830388" y="1640960"/>
                </a:cubicBezTo>
                <a:lnTo>
                  <a:pt x="1830388" y="2778641"/>
                </a:lnTo>
                <a:cubicBezTo>
                  <a:pt x="1830388" y="2918234"/>
                  <a:pt x="1711497" y="3036888"/>
                  <a:pt x="1571626" y="3036888"/>
                </a:cubicBezTo>
                <a:cubicBezTo>
                  <a:pt x="1431754" y="3036888"/>
                  <a:pt x="1312863" y="2918234"/>
                  <a:pt x="1312863" y="2778641"/>
                </a:cubicBezTo>
                <a:cubicBezTo>
                  <a:pt x="1312863" y="1640960"/>
                  <a:pt x="1312863" y="1640960"/>
                  <a:pt x="1312863" y="1640960"/>
                </a:cubicBezTo>
                <a:cubicBezTo>
                  <a:pt x="1312863" y="1494387"/>
                  <a:pt x="1431754" y="1382713"/>
                  <a:pt x="1571626" y="1382713"/>
                </a:cubicBezTo>
                <a:close/>
                <a:moveTo>
                  <a:pt x="3540919" y="1096963"/>
                </a:moveTo>
                <a:cubicBezTo>
                  <a:pt x="3687334" y="1096963"/>
                  <a:pt x="3798888" y="1215594"/>
                  <a:pt x="3798888" y="1355159"/>
                </a:cubicBezTo>
                <a:lnTo>
                  <a:pt x="3798888" y="3148580"/>
                </a:lnTo>
                <a:cubicBezTo>
                  <a:pt x="3798888" y="3288145"/>
                  <a:pt x="3687334" y="3406776"/>
                  <a:pt x="3540919" y="3406776"/>
                </a:cubicBezTo>
                <a:cubicBezTo>
                  <a:pt x="3401476" y="3406776"/>
                  <a:pt x="3282950" y="3288145"/>
                  <a:pt x="3282950" y="3148580"/>
                </a:cubicBezTo>
                <a:cubicBezTo>
                  <a:pt x="3282950" y="1355159"/>
                  <a:pt x="3282950" y="1355159"/>
                  <a:pt x="3282950" y="1355159"/>
                </a:cubicBezTo>
                <a:cubicBezTo>
                  <a:pt x="3282950" y="1215594"/>
                  <a:pt x="3401476" y="1096963"/>
                  <a:pt x="3540919" y="1096963"/>
                </a:cubicBezTo>
                <a:close/>
                <a:moveTo>
                  <a:pt x="915194" y="873125"/>
                </a:moveTo>
                <a:cubicBezTo>
                  <a:pt x="1054637" y="873125"/>
                  <a:pt x="1173163" y="991785"/>
                  <a:pt x="1173163" y="1131386"/>
                </a:cubicBezTo>
                <a:lnTo>
                  <a:pt x="1173163" y="3727952"/>
                </a:lnTo>
                <a:cubicBezTo>
                  <a:pt x="1173163" y="3867553"/>
                  <a:pt x="1054637" y="3986213"/>
                  <a:pt x="915194" y="3986213"/>
                </a:cubicBezTo>
                <a:cubicBezTo>
                  <a:pt x="768779" y="3986213"/>
                  <a:pt x="657225" y="3867553"/>
                  <a:pt x="657225" y="3727952"/>
                </a:cubicBezTo>
                <a:cubicBezTo>
                  <a:pt x="657225" y="1131386"/>
                  <a:pt x="657225" y="1131386"/>
                  <a:pt x="657225" y="1131386"/>
                </a:cubicBezTo>
                <a:cubicBezTo>
                  <a:pt x="657225" y="991785"/>
                  <a:pt x="768779" y="873125"/>
                  <a:pt x="915194" y="873125"/>
                </a:cubicBezTo>
                <a:close/>
                <a:moveTo>
                  <a:pt x="2228057" y="0"/>
                </a:moveTo>
                <a:cubicBezTo>
                  <a:pt x="2367500" y="0"/>
                  <a:pt x="2486026" y="118688"/>
                  <a:pt x="2486026" y="258320"/>
                </a:cubicBezTo>
                <a:lnTo>
                  <a:pt x="2486026" y="3023043"/>
                </a:lnTo>
                <a:cubicBezTo>
                  <a:pt x="2486026" y="3162676"/>
                  <a:pt x="2367500" y="3281363"/>
                  <a:pt x="2228057" y="3281363"/>
                </a:cubicBezTo>
                <a:cubicBezTo>
                  <a:pt x="2088614" y="3281363"/>
                  <a:pt x="1970088" y="3162676"/>
                  <a:pt x="1970088" y="3023043"/>
                </a:cubicBezTo>
                <a:cubicBezTo>
                  <a:pt x="1970088" y="258320"/>
                  <a:pt x="1970088" y="258320"/>
                  <a:pt x="1970088" y="258320"/>
                </a:cubicBezTo>
                <a:cubicBezTo>
                  <a:pt x="1970088" y="118688"/>
                  <a:pt x="2088614" y="0"/>
                  <a:pt x="2228057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94" name="Slide Number Placeholder 13">
            <a:extLst>
              <a:ext uri="{FF2B5EF4-FFF2-40B4-BE49-F238E27FC236}">
                <a16:creationId xmlns:a16="http://schemas.microsoft.com/office/drawing/2014/main" id="{B81C7E84-1285-4D0B-8E6A-5C0C8E98BA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05250" y="6350048"/>
            <a:ext cx="431656" cy="2267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fld id="{1F70EEBF-E97C-49FF-B05B-3B4D348638DC}" type="slidenum">
              <a:rPr lang="en-US" smtClean="0"/>
              <a:pPr/>
              <a:t>‹Nr.›</a:t>
            </a:fld>
            <a:endParaRPr lang="en-US" dirty="0"/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33D00EB6-7DD0-4BE2-81D9-5FA2B83127D6}"/>
              </a:ext>
            </a:extLst>
          </p:cNvPr>
          <p:cNvGrpSpPr/>
          <p:nvPr userDrawn="1"/>
        </p:nvGrpSpPr>
        <p:grpSpPr>
          <a:xfrm flipH="1">
            <a:off x="9760843" y="125"/>
            <a:ext cx="2431157" cy="2744859"/>
            <a:chOff x="1781175" y="-333375"/>
            <a:chExt cx="4314825" cy="6070600"/>
          </a:xfrm>
        </p:grpSpPr>
        <p:sp>
          <p:nvSpPr>
            <p:cNvPr id="92" name="Freeform 6">
              <a:extLst>
                <a:ext uri="{FF2B5EF4-FFF2-40B4-BE49-F238E27FC236}">
                  <a16:creationId xmlns:a16="http://schemas.microsoft.com/office/drawing/2014/main" id="{571401E2-F330-43DE-B590-43B34C85CF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81175" y="-333375"/>
              <a:ext cx="4314825" cy="6070600"/>
            </a:xfrm>
            <a:custGeom>
              <a:avLst/>
              <a:gdLst>
                <a:gd name="T0" fmla="*/ 877 w 2718"/>
                <a:gd name="T1" fmla="*/ 0 h 3824"/>
                <a:gd name="T2" fmla="*/ 0 w 2718"/>
                <a:gd name="T3" fmla="*/ 3793 h 3824"/>
                <a:gd name="T4" fmla="*/ 0 w 2718"/>
                <a:gd name="T5" fmla="*/ 3824 h 3824"/>
                <a:gd name="T6" fmla="*/ 2718 w 2718"/>
                <a:gd name="T7" fmla="*/ 0 h 3824"/>
                <a:gd name="T8" fmla="*/ 877 w 2718"/>
                <a:gd name="T9" fmla="*/ 0 h 3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18" h="3824">
                  <a:moveTo>
                    <a:pt x="877" y="0"/>
                  </a:moveTo>
                  <a:lnTo>
                    <a:pt x="0" y="3793"/>
                  </a:lnTo>
                  <a:lnTo>
                    <a:pt x="0" y="3824"/>
                  </a:lnTo>
                  <a:lnTo>
                    <a:pt x="2718" y="0"/>
                  </a:lnTo>
                  <a:lnTo>
                    <a:pt x="877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/>
                </a:gs>
                <a:gs pos="100000">
                  <a:schemeClr val="accent1"/>
                </a:gs>
              </a:gsLst>
              <a:lin ang="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7">
              <a:extLst>
                <a:ext uri="{FF2B5EF4-FFF2-40B4-BE49-F238E27FC236}">
                  <a16:creationId xmlns:a16="http://schemas.microsoft.com/office/drawing/2014/main" id="{0059DC0D-0AE2-4418-8BDA-C5336A9372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81175" y="-333375"/>
              <a:ext cx="1897064" cy="2189162"/>
            </a:xfrm>
            <a:custGeom>
              <a:avLst/>
              <a:gdLst>
                <a:gd name="T0" fmla="*/ 0 w 1195"/>
                <a:gd name="T1" fmla="*/ 0 h 1379"/>
                <a:gd name="T2" fmla="*/ 0 w 1195"/>
                <a:gd name="T3" fmla="*/ 1379 h 1379"/>
                <a:gd name="T4" fmla="*/ 1195 w 1195"/>
                <a:gd name="T5" fmla="*/ 0 h 1379"/>
                <a:gd name="T6" fmla="*/ 0 w 1195"/>
                <a:gd name="T7" fmla="*/ 0 h 1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95" h="1379">
                  <a:moveTo>
                    <a:pt x="0" y="0"/>
                  </a:moveTo>
                  <a:lnTo>
                    <a:pt x="0" y="1379"/>
                  </a:lnTo>
                  <a:lnTo>
                    <a:pt x="119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8">
              <a:extLst>
                <a:ext uri="{FF2B5EF4-FFF2-40B4-BE49-F238E27FC236}">
                  <a16:creationId xmlns:a16="http://schemas.microsoft.com/office/drawing/2014/main" id="{EDC70B0F-046B-4A30-ACE6-E54113BEA1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81175" y="-333375"/>
              <a:ext cx="1897063" cy="2189162"/>
            </a:xfrm>
            <a:custGeom>
              <a:avLst/>
              <a:gdLst>
                <a:gd name="T0" fmla="*/ 1176 w 1195"/>
                <a:gd name="T1" fmla="*/ 0 h 1379"/>
                <a:gd name="T2" fmla="*/ 0 w 1195"/>
                <a:gd name="T3" fmla="*/ 1184 h 1379"/>
                <a:gd name="T4" fmla="*/ 0 w 1195"/>
                <a:gd name="T5" fmla="*/ 1379 h 1379"/>
                <a:gd name="T6" fmla="*/ 1195 w 1195"/>
                <a:gd name="T7" fmla="*/ 0 h 1379"/>
                <a:gd name="T8" fmla="*/ 1176 w 1195"/>
                <a:gd name="T9" fmla="*/ 0 h 1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95" h="1379">
                  <a:moveTo>
                    <a:pt x="1176" y="0"/>
                  </a:moveTo>
                  <a:lnTo>
                    <a:pt x="0" y="1184"/>
                  </a:lnTo>
                  <a:lnTo>
                    <a:pt x="0" y="1379"/>
                  </a:lnTo>
                  <a:lnTo>
                    <a:pt x="1195" y="0"/>
                  </a:lnTo>
                  <a:lnTo>
                    <a:pt x="1176" y="0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  <a:alpha val="2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9">
              <a:extLst>
                <a:ext uri="{FF2B5EF4-FFF2-40B4-BE49-F238E27FC236}">
                  <a16:creationId xmlns:a16="http://schemas.microsoft.com/office/drawing/2014/main" id="{F8BDD9CF-6D06-4EAC-82AE-371F3E9502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81175" y="-333375"/>
              <a:ext cx="1916113" cy="6040436"/>
            </a:xfrm>
            <a:custGeom>
              <a:avLst/>
              <a:gdLst>
                <a:gd name="T0" fmla="*/ 1195 w 1207"/>
                <a:gd name="T1" fmla="*/ 0 h 3805"/>
                <a:gd name="T2" fmla="*/ 0 w 1207"/>
                <a:gd name="T3" fmla="*/ 1379 h 3805"/>
                <a:gd name="T4" fmla="*/ 0 w 1207"/>
                <a:gd name="T5" fmla="*/ 3805 h 3805"/>
                <a:gd name="T6" fmla="*/ 1207 w 1207"/>
                <a:gd name="T7" fmla="*/ 0 h 3805"/>
                <a:gd name="T8" fmla="*/ 1195 w 1207"/>
                <a:gd name="T9" fmla="*/ 0 h 38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07" h="3805">
                  <a:moveTo>
                    <a:pt x="1195" y="0"/>
                  </a:moveTo>
                  <a:lnTo>
                    <a:pt x="0" y="1379"/>
                  </a:lnTo>
                  <a:lnTo>
                    <a:pt x="0" y="3805"/>
                  </a:lnTo>
                  <a:lnTo>
                    <a:pt x="1207" y="0"/>
                  </a:lnTo>
                  <a:lnTo>
                    <a:pt x="1195" y="0"/>
                  </a:ln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100000">
                  <a:schemeClr val="accent4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10">
              <a:extLst>
                <a:ext uri="{FF2B5EF4-FFF2-40B4-BE49-F238E27FC236}">
                  <a16:creationId xmlns:a16="http://schemas.microsoft.com/office/drawing/2014/main" id="{813FCC65-90A2-49BB-B7CE-DC523576287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81175" y="1301750"/>
              <a:ext cx="1398587" cy="4405312"/>
            </a:xfrm>
            <a:custGeom>
              <a:avLst/>
              <a:gdLst>
                <a:gd name="T0" fmla="*/ 0 w 881"/>
                <a:gd name="T1" fmla="*/ 494 h 2775"/>
                <a:gd name="T2" fmla="*/ 0 w 881"/>
                <a:gd name="T3" fmla="*/ 2775 h 2775"/>
                <a:gd name="T4" fmla="*/ 881 w 881"/>
                <a:gd name="T5" fmla="*/ 0 h 2775"/>
                <a:gd name="T6" fmla="*/ 0 w 881"/>
                <a:gd name="T7" fmla="*/ 494 h 2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81" h="2775">
                  <a:moveTo>
                    <a:pt x="0" y="494"/>
                  </a:moveTo>
                  <a:lnTo>
                    <a:pt x="0" y="2775"/>
                  </a:lnTo>
                  <a:lnTo>
                    <a:pt x="881" y="0"/>
                  </a:lnTo>
                  <a:lnTo>
                    <a:pt x="0" y="494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/>
                </a:gs>
                <a:gs pos="100000">
                  <a:schemeClr val="accent4"/>
                </a:gs>
              </a:gsLst>
              <a:lin ang="1620000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9493858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493274"/>
            <a:ext cx="10515600" cy="4994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521280-44BC-4FB5-8C5F-8A61958559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07100" y="6356350"/>
            <a:ext cx="2146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insertyoururlhere.com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D2B828-8C16-4F20-B586-A9D09493C3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732011-D481-45FB-9785-75D7E31F883E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F630509-4152-457F-85A4-1C58B4ECA6F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MSIPCMContentMarking" descr="{&quot;HashCode&quot;:-5993732,&quot;Placement&quot;:&quot;Header&quot;,&quot;Top&quot;:0.0,&quot;Left&quot;:0.0,&quot;SlideWidth&quot;:960,&quot;SlideHeight&quot;:540}">
            <a:extLst>
              <a:ext uri="{FF2B5EF4-FFF2-40B4-BE49-F238E27FC236}">
                <a16:creationId xmlns:a16="http://schemas.microsoft.com/office/drawing/2014/main" id="{1B2D8657-734A-418C-9EBC-5131801AE281}"/>
              </a:ext>
            </a:extLst>
          </p:cNvPr>
          <p:cNvSpPr txBox="1"/>
          <p:nvPr userDrawn="1"/>
        </p:nvSpPr>
        <p:spPr>
          <a:xfrm>
            <a:off x="0" y="0"/>
            <a:ext cx="1276711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de-DE" sz="1000">
                <a:solidFill>
                  <a:srgbClr val="747474"/>
                </a:solidFill>
                <a:latin typeface="Calibri" panose="020F0502020204030204" pitchFamily="34" charset="0"/>
              </a:rPr>
              <a:t>FOR INTERNAL USE</a:t>
            </a:r>
          </a:p>
        </p:txBody>
      </p:sp>
    </p:spTree>
    <p:extLst>
      <p:ext uri="{BB962C8B-B14F-4D97-AF65-F5344CB8AC3E}">
        <p14:creationId xmlns:p14="http://schemas.microsoft.com/office/powerpoint/2010/main" val="1804289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8" r:id="rId2"/>
    <p:sldLayoutId id="2147483740" r:id="rId3"/>
    <p:sldLayoutId id="2147483741" r:id="rId4"/>
    <p:sldLayoutId id="2147483743" r:id="rId5"/>
    <p:sldLayoutId id="2147483742" r:id="rId6"/>
    <p:sldLayoutId id="2147483745" r:id="rId7"/>
    <p:sldLayoutId id="2147483746" r:id="rId8"/>
    <p:sldLayoutId id="2147483747" r:id="rId9"/>
    <p:sldLayoutId id="2147483744" r:id="rId10"/>
    <p:sldLayoutId id="2147483709" r:id="rId11"/>
  </p:sldLayoutIdLst>
  <p:hf hdr="0" dt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2500" b="1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0.xml"/><Relationship Id="rId13" Type="http://schemas.openxmlformats.org/officeDocument/2006/relationships/image" Target="../media/image26.png"/><Relationship Id="rId3" Type="http://schemas.openxmlformats.org/officeDocument/2006/relationships/tags" Target="../tags/tag4.xml"/><Relationship Id="rId7" Type="http://schemas.openxmlformats.org/officeDocument/2006/relationships/slideLayout" Target="../slideLayouts/slideLayout3.xml"/><Relationship Id="rId12" Type="http://schemas.openxmlformats.org/officeDocument/2006/relationships/image" Target="../media/image25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image" Target="../media/image24.png"/><Relationship Id="rId5" Type="http://schemas.openxmlformats.org/officeDocument/2006/relationships/tags" Target="../tags/tag6.xml"/><Relationship Id="rId10" Type="http://schemas.openxmlformats.org/officeDocument/2006/relationships/image" Target="../media/image23.png"/><Relationship Id="rId4" Type="http://schemas.openxmlformats.org/officeDocument/2006/relationships/tags" Target="../tags/tag5.xml"/><Relationship Id="rId9" Type="http://schemas.openxmlformats.org/officeDocument/2006/relationships/image" Target="../media/image22.png"/><Relationship Id="rId14" Type="http://schemas.openxmlformats.org/officeDocument/2006/relationships/image" Target="../media/image27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.jpeg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9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12" Type="http://schemas.openxmlformats.org/officeDocument/2006/relationships/image" Target="../media/image2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CDFA4C50-A484-46A6-B79A-ECBF08E22C26}"/>
              </a:ext>
            </a:extLst>
          </p:cNvPr>
          <p:cNvSpPr/>
          <p:nvPr/>
        </p:nvSpPr>
        <p:spPr>
          <a:xfrm>
            <a:off x="-5324" y="-1444"/>
            <a:ext cx="12197324" cy="6859443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4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989155B-4FF4-4D7B-BFD4-EA0A4085A955}"/>
              </a:ext>
            </a:extLst>
          </p:cNvPr>
          <p:cNvGrpSpPr/>
          <p:nvPr/>
        </p:nvGrpSpPr>
        <p:grpSpPr>
          <a:xfrm>
            <a:off x="7354454" y="-1443"/>
            <a:ext cx="4837546" cy="6234545"/>
            <a:chOff x="3436938" y="-3175"/>
            <a:chExt cx="5321301" cy="6858000"/>
          </a:xfrm>
          <a:gradFill flip="none" rotWithShape="1">
            <a:gsLst>
              <a:gs pos="0">
                <a:schemeClr val="accent1"/>
              </a:gs>
              <a:gs pos="100000">
                <a:schemeClr val="accent4"/>
              </a:gs>
            </a:gsLst>
            <a:path path="circle">
              <a:fillToRect l="100000" t="100000"/>
            </a:path>
            <a:tileRect r="-100000" b="-100000"/>
          </a:gradFill>
        </p:grpSpPr>
        <p:sp>
          <p:nvSpPr>
            <p:cNvPr id="5" name="Freeform 5">
              <a:extLst>
                <a:ext uri="{FF2B5EF4-FFF2-40B4-BE49-F238E27FC236}">
                  <a16:creationId xmlns:a16="http://schemas.microsoft.com/office/drawing/2014/main" id="{4B151675-E4B8-45E5-AFEE-6D50DD203E04}"/>
                </a:ext>
              </a:extLst>
            </p:cNvPr>
            <p:cNvSpPr>
              <a:spLocks/>
            </p:cNvSpPr>
            <p:nvPr/>
          </p:nvSpPr>
          <p:spPr bwMode="auto">
            <a:xfrm>
              <a:off x="8721726" y="-3175"/>
              <a:ext cx="36513" cy="17463"/>
            </a:xfrm>
            <a:custGeom>
              <a:avLst/>
              <a:gdLst>
                <a:gd name="T0" fmla="*/ 10 w 10"/>
                <a:gd name="T1" fmla="*/ 0 h 5"/>
                <a:gd name="T2" fmla="*/ 0 w 10"/>
                <a:gd name="T3" fmla="*/ 0 h 5"/>
                <a:gd name="T4" fmla="*/ 10 w 10"/>
                <a:gd name="T5" fmla="*/ 5 h 5"/>
                <a:gd name="T6" fmla="*/ 10 w 10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5">
                  <a:moveTo>
                    <a:pt x="1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" y="2"/>
                    <a:pt x="6" y="4"/>
                    <a:pt x="10" y="5"/>
                  </a:cubicBezTo>
                  <a:lnTo>
                    <a:pt x="1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" name="Freeform 6">
              <a:extLst>
                <a:ext uri="{FF2B5EF4-FFF2-40B4-BE49-F238E27FC236}">
                  <a16:creationId xmlns:a16="http://schemas.microsoft.com/office/drawing/2014/main" id="{8CF8F6E3-8F16-4542-AB49-57020265F71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6938" y="2949575"/>
              <a:ext cx="5321300" cy="3905250"/>
            </a:xfrm>
            <a:custGeom>
              <a:avLst/>
              <a:gdLst>
                <a:gd name="T0" fmla="*/ 977 w 1433"/>
                <a:gd name="T1" fmla="*/ 903 h 1052"/>
                <a:gd name="T2" fmla="*/ 149 w 1433"/>
                <a:gd name="T3" fmla="*/ 74 h 1052"/>
                <a:gd name="T4" fmla="*/ 74 w 1433"/>
                <a:gd name="T5" fmla="*/ 0 h 1052"/>
                <a:gd name="T6" fmla="*/ 0 w 1433"/>
                <a:gd name="T7" fmla="*/ 74 h 1052"/>
                <a:gd name="T8" fmla="*/ 76 w 1433"/>
                <a:gd name="T9" fmla="*/ 455 h 1052"/>
                <a:gd name="T10" fmla="*/ 286 w 1433"/>
                <a:gd name="T11" fmla="*/ 765 h 1052"/>
                <a:gd name="T12" fmla="*/ 597 w 1433"/>
                <a:gd name="T13" fmla="*/ 975 h 1052"/>
                <a:gd name="T14" fmla="*/ 977 w 1433"/>
                <a:gd name="T15" fmla="*/ 1052 h 1052"/>
                <a:gd name="T16" fmla="*/ 1357 w 1433"/>
                <a:gd name="T17" fmla="*/ 975 h 1052"/>
                <a:gd name="T18" fmla="*/ 1433 w 1433"/>
                <a:gd name="T19" fmla="*/ 939 h 1052"/>
                <a:gd name="T20" fmla="*/ 1433 w 1433"/>
                <a:gd name="T21" fmla="*/ 766 h 1052"/>
                <a:gd name="T22" fmla="*/ 977 w 1433"/>
                <a:gd name="T23" fmla="*/ 903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33" h="1052">
                  <a:moveTo>
                    <a:pt x="977" y="903"/>
                  </a:moveTo>
                  <a:cubicBezTo>
                    <a:pt x="520" y="903"/>
                    <a:pt x="149" y="531"/>
                    <a:pt x="149" y="74"/>
                  </a:cubicBezTo>
                  <a:cubicBezTo>
                    <a:pt x="149" y="33"/>
                    <a:pt x="115" y="0"/>
                    <a:pt x="74" y="0"/>
                  </a:cubicBezTo>
                  <a:cubicBezTo>
                    <a:pt x="33" y="0"/>
                    <a:pt x="0" y="33"/>
                    <a:pt x="0" y="74"/>
                  </a:cubicBezTo>
                  <a:cubicBezTo>
                    <a:pt x="0" y="206"/>
                    <a:pt x="25" y="334"/>
                    <a:pt x="76" y="455"/>
                  </a:cubicBezTo>
                  <a:cubicBezTo>
                    <a:pt x="126" y="571"/>
                    <a:pt x="196" y="676"/>
                    <a:pt x="286" y="765"/>
                  </a:cubicBezTo>
                  <a:cubicBezTo>
                    <a:pt x="376" y="855"/>
                    <a:pt x="480" y="926"/>
                    <a:pt x="597" y="975"/>
                  </a:cubicBezTo>
                  <a:cubicBezTo>
                    <a:pt x="717" y="1026"/>
                    <a:pt x="845" y="1052"/>
                    <a:pt x="977" y="1052"/>
                  </a:cubicBezTo>
                  <a:cubicBezTo>
                    <a:pt x="1109" y="1052"/>
                    <a:pt x="1237" y="1026"/>
                    <a:pt x="1357" y="975"/>
                  </a:cubicBezTo>
                  <a:cubicBezTo>
                    <a:pt x="1383" y="964"/>
                    <a:pt x="1408" y="952"/>
                    <a:pt x="1433" y="939"/>
                  </a:cubicBezTo>
                  <a:cubicBezTo>
                    <a:pt x="1433" y="766"/>
                    <a:pt x="1433" y="766"/>
                    <a:pt x="1433" y="766"/>
                  </a:cubicBezTo>
                  <a:cubicBezTo>
                    <a:pt x="1302" y="852"/>
                    <a:pt x="1145" y="903"/>
                    <a:pt x="977" y="90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7">
              <a:extLst>
                <a:ext uri="{FF2B5EF4-FFF2-40B4-BE49-F238E27FC236}">
                  <a16:creationId xmlns:a16="http://schemas.microsoft.com/office/drawing/2014/main" id="{CF231D36-28A2-44DC-9706-2F48A0010BD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8238" y="-3175"/>
              <a:ext cx="5080000" cy="2200275"/>
            </a:xfrm>
            <a:custGeom>
              <a:avLst/>
              <a:gdLst>
                <a:gd name="T0" fmla="*/ 16 w 1368"/>
                <a:gd name="T1" fmla="*/ 479 h 593"/>
                <a:gd name="T2" fmla="*/ 55 w 1368"/>
                <a:gd name="T3" fmla="*/ 577 h 593"/>
                <a:gd name="T4" fmla="*/ 153 w 1368"/>
                <a:gd name="T5" fmla="*/ 538 h 593"/>
                <a:gd name="T6" fmla="*/ 912 w 1368"/>
                <a:gd name="T7" fmla="*/ 42 h 593"/>
                <a:gd name="T8" fmla="*/ 1368 w 1368"/>
                <a:gd name="T9" fmla="*/ 179 h 593"/>
                <a:gd name="T10" fmla="*/ 1368 w 1368"/>
                <a:gd name="T11" fmla="*/ 5 h 593"/>
                <a:gd name="T12" fmla="*/ 1358 w 1368"/>
                <a:gd name="T13" fmla="*/ 0 h 593"/>
                <a:gd name="T14" fmla="*/ 467 w 1368"/>
                <a:gd name="T15" fmla="*/ 0 h 593"/>
                <a:gd name="T16" fmla="*/ 16 w 1368"/>
                <a:gd name="T17" fmla="*/ 479 h 5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68" h="593">
                  <a:moveTo>
                    <a:pt x="16" y="479"/>
                  </a:moveTo>
                  <a:cubicBezTo>
                    <a:pt x="0" y="516"/>
                    <a:pt x="17" y="560"/>
                    <a:pt x="55" y="577"/>
                  </a:cubicBezTo>
                  <a:cubicBezTo>
                    <a:pt x="92" y="593"/>
                    <a:pt x="136" y="576"/>
                    <a:pt x="153" y="538"/>
                  </a:cubicBezTo>
                  <a:cubicBezTo>
                    <a:pt x="285" y="237"/>
                    <a:pt x="583" y="42"/>
                    <a:pt x="912" y="42"/>
                  </a:cubicBezTo>
                  <a:cubicBezTo>
                    <a:pt x="1080" y="42"/>
                    <a:pt x="1237" y="92"/>
                    <a:pt x="1368" y="179"/>
                  </a:cubicBezTo>
                  <a:cubicBezTo>
                    <a:pt x="1368" y="5"/>
                    <a:pt x="1368" y="5"/>
                    <a:pt x="1368" y="5"/>
                  </a:cubicBezTo>
                  <a:cubicBezTo>
                    <a:pt x="1364" y="4"/>
                    <a:pt x="1361" y="2"/>
                    <a:pt x="1358" y="0"/>
                  </a:cubicBezTo>
                  <a:cubicBezTo>
                    <a:pt x="467" y="0"/>
                    <a:pt x="467" y="0"/>
                    <a:pt x="467" y="0"/>
                  </a:cubicBezTo>
                  <a:cubicBezTo>
                    <a:pt x="270" y="101"/>
                    <a:pt x="109" y="268"/>
                    <a:pt x="16" y="4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9EACB805-44E9-4F06-9B44-E783B743C95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5288" y="3700463"/>
              <a:ext cx="4552950" cy="2466975"/>
            </a:xfrm>
            <a:custGeom>
              <a:avLst/>
              <a:gdLst>
                <a:gd name="T0" fmla="*/ 770 w 1226"/>
                <a:gd name="T1" fmla="*/ 516 h 665"/>
                <a:gd name="T2" fmla="*/ 155 w 1226"/>
                <a:gd name="T3" fmla="*/ 62 h 665"/>
                <a:gd name="T4" fmla="*/ 62 w 1226"/>
                <a:gd name="T5" fmla="*/ 13 h 665"/>
                <a:gd name="T6" fmla="*/ 12 w 1226"/>
                <a:gd name="T7" fmla="*/ 106 h 665"/>
                <a:gd name="T8" fmla="*/ 123 w 1226"/>
                <a:gd name="T9" fmla="*/ 330 h 665"/>
                <a:gd name="T10" fmla="*/ 295 w 1226"/>
                <a:gd name="T11" fmla="*/ 507 h 665"/>
                <a:gd name="T12" fmla="*/ 770 w 1226"/>
                <a:gd name="T13" fmla="*/ 665 h 665"/>
                <a:gd name="T14" fmla="*/ 1079 w 1226"/>
                <a:gd name="T15" fmla="*/ 603 h 665"/>
                <a:gd name="T16" fmla="*/ 1226 w 1226"/>
                <a:gd name="T17" fmla="*/ 521 h 665"/>
                <a:gd name="T18" fmla="*/ 1226 w 1226"/>
                <a:gd name="T19" fmla="*/ 327 h 665"/>
                <a:gd name="T20" fmla="*/ 770 w 1226"/>
                <a:gd name="T21" fmla="*/ 516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26" h="665">
                  <a:moveTo>
                    <a:pt x="770" y="516"/>
                  </a:moveTo>
                  <a:cubicBezTo>
                    <a:pt x="485" y="516"/>
                    <a:pt x="238" y="333"/>
                    <a:pt x="155" y="62"/>
                  </a:cubicBezTo>
                  <a:cubicBezTo>
                    <a:pt x="142" y="22"/>
                    <a:pt x="101" y="0"/>
                    <a:pt x="62" y="13"/>
                  </a:cubicBezTo>
                  <a:cubicBezTo>
                    <a:pt x="22" y="25"/>
                    <a:pt x="0" y="66"/>
                    <a:pt x="12" y="106"/>
                  </a:cubicBezTo>
                  <a:cubicBezTo>
                    <a:pt x="37" y="186"/>
                    <a:pt x="74" y="261"/>
                    <a:pt x="123" y="330"/>
                  </a:cubicBezTo>
                  <a:cubicBezTo>
                    <a:pt x="170" y="397"/>
                    <a:pt x="228" y="457"/>
                    <a:pt x="295" y="507"/>
                  </a:cubicBezTo>
                  <a:cubicBezTo>
                    <a:pt x="433" y="610"/>
                    <a:pt x="597" y="665"/>
                    <a:pt x="770" y="665"/>
                  </a:cubicBezTo>
                  <a:cubicBezTo>
                    <a:pt x="877" y="665"/>
                    <a:pt x="981" y="644"/>
                    <a:pt x="1079" y="603"/>
                  </a:cubicBezTo>
                  <a:cubicBezTo>
                    <a:pt x="1131" y="581"/>
                    <a:pt x="1180" y="553"/>
                    <a:pt x="1226" y="521"/>
                  </a:cubicBezTo>
                  <a:cubicBezTo>
                    <a:pt x="1226" y="327"/>
                    <a:pt x="1226" y="327"/>
                    <a:pt x="1226" y="327"/>
                  </a:cubicBezTo>
                  <a:cubicBezTo>
                    <a:pt x="1109" y="444"/>
                    <a:pt x="948" y="516"/>
                    <a:pt x="770" y="5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9">
              <a:extLst>
                <a:ext uri="{FF2B5EF4-FFF2-40B4-BE49-F238E27FC236}">
                  <a16:creationId xmlns:a16="http://schemas.microsoft.com/office/drawing/2014/main" id="{58A2D972-DFFE-476F-8783-867DE0A5F2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1151" y="285750"/>
              <a:ext cx="4637088" cy="3217863"/>
            </a:xfrm>
            <a:custGeom>
              <a:avLst/>
              <a:gdLst>
                <a:gd name="T0" fmla="*/ 1102 w 1249"/>
                <a:gd name="T1" fmla="*/ 62 h 867"/>
                <a:gd name="T2" fmla="*/ 793 w 1249"/>
                <a:gd name="T3" fmla="*/ 0 h 867"/>
                <a:gd name="T4" fmla="*/ 484 w 1249"/>
                <a:gd name="T5" fmla="*/ 62 h 867"/>
                <a:gd name="T6" fmla="*/ 232 w 1249"/>
                <a:gd name="T7" fmla="*/ 232 h 867"/>
                <a:gd name="T8" fmla="*/ 63 w 1249"/>
                <a:gd name="T9" fmla="*/ 484 h 867"/>
                <a:gd name="T10" fmla="*/ 0 w 1249"/>
                <a:gd name="T11" fmla="*/ 792 h 867"/>
                <a:gd name="T12" fmla="*/ 75 w 1249"/>
                <a:gd name="T13" fmla="*/ 867 h 867"/>
                <a:gd name="T14" fmla="*/ 149 w 1249"/>
                <a:gd name="T15" fmla="*/ 792 h 867"/>
                <a:gd name="T16" fmla="*/ 793 w 1249"/>
                <a:gd name="T17" fmla="*/ 148 h 867"/>
                <a:gd name="T18" fmla="*/ 1249 w 1249"/>
                <a:gd name="T19" fmla="*/ 338 h 867"/>
                <a:gd name="T20" fmla="*/ 1249 w 1249"/>
                <a:gd name="T21" fmla="*/ 143 h 867"/>
                <a:gd name="T22" fmla="*/ 1102 w 1249"/>
                <a:gd name="T23" fmla="*/ 62 h 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9" h="867">
                  <a:moveTo>
                    <a:pt x="1102" y="62"/>
                  </a:moveTo>
                  <a:cubicBezTo>
                    <a:pt x="1004" y="20"/>
                    <a:pt x="900" y="0"/>
                    <a:pt x="793" y="0"/>
                  </a:cubicBezTo>
                  <a:cubicBezTo>
                    <a:pt x="686" y="0"/>
                    <a:pt x="582" y="20"/>
                    <a:pt x="484" y="62"/>
                  </a:cubicBezTo>
                  <a:cubicBezTo>
                    <a:pt x="390" y="102"/>
                    <a:pt x="305" y="159"/>
                    <a:pt x="232" y="232"/>
                  </a:cubicBezTo>
                  <a:cubicBezTo>
                    <a:pt x="160" y="304"/>
                    <a:pt x="103" y="389"/>
                    <a:pt x="63" y="484"/>
                  </a:cubicBezTo>
                  <a:cubicBezTo>
                    <a:pt x="21" y="581"/>
                    <a:pt x="0" y="685"/>
                    <a:pt x="0" y="792"/>
                  </a:cubicBezTo>
                  <a:cubicBezTo>
                    <a:pt x="0" y="833"/>
                    <a:pt x="34" y="867"/>
                    <a:pt x="75" y="867"/>
                  </a:cubicBezTo>
                  <a:cubicBezTo>
                    <a:pt x="116" y="867"/>
                    <a:pt x="149" y="833"/>
                    <a:pt x="149" y="792"/>
                  </a:cubicBezTo>
                  <a:cubicBezTo>
                    <a:pt x="149" y="437"/>
                    <a:pt x="438" y="148"/>
                    <a:pt x="793" y="148"/>
                  </a:cubicBezTo>
                  <a:cubicBezTo>
                    <a:pt x="971" y="148"/>
                    <a:pt x="1132" y="221"/>
                    <a:pt x="1249" y="338"/>
                  </a:cubicBezTo>
                  <a:cubicBezTo>
                    <a:pt x="1249" y="143"/>
                    <a:pt x="1249" y="143"/>
                    <a:pt x="1249" y="143"/>
                  </a:cubicBezTo>
                  <a:cubicBezTo>
                    <a:pt x="1203" y="111"/>
                    <a:pt x="1154" y="84"/>
                    <a:pt x="1102" y="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96" name="Group 195">
            <a:extLst>
              <a:ext uri="{FF2B5EF4-FFF2-40B4-BE49-F238E27FC236}">
                <a16:creationId xmlns:a16="http://schemas.microsoft.com/office/drawing/2014/main" id="{6E2F71E7-57B6-4313-9AAF-52849B863D73}"/>
              </a:ext>
            </a:extLst>
          </p:cNvPr>
          <p:cNvGrpSpPr/>
          <p:nvPr/>
        </p:nvGrpSpPr>
        <p:grpSpPr>
          <a:xfrm>
            <a:off x="9566275" y="2025650"/>
            <a:ext cx="2622550" cy="4659313"/>
            <a:chOff x="9566275" y="2066926"/>
            <a:chExt cx="2622550" cy="4659313"/>
          </a:xfrm>
          <a:solidFill>
            <a:schemeClr val="tx1">
              <a:lumMod val="85000"/>
              <a:lumOff val="15000"/>
              <a:alpha val="13000"/>
            </a:schemeClr>
          </a:solidFill>
        </p:grpSpPr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6F7FEB09-2456-4CFA-A2B5-2909AD9194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88825" y="670718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F03C87E6-8E00-4D4E-BC34-9F73AF3E2A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88825" y="2085976"/>
              <a:ext cx="0" cy="22225"/>
            </a:xfrm>
            <a:custGeom>
              <a:avLst/>
              <a:gdLst>
                <a:gd name="T0" fmla="*/ 7 h 7"/>
                <a:gd name="T1" fmla="*/ 7 h 7"/>
                <a:gd name="T2" fmla="*/ 0 h 7"/>
                <a:gd name="T3" fmla="*/ 0 h 7"/>
                <a:gd name="T4" fmla="*/ 7 h 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7">
                  <a:moveTo>
                    <a:pt x="0" y="7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114BD99F-7FA2-47CC-B5D5-D064F4DD28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88825" y="6684963"/>
              <a:ext cx="0" cy="22225"/>
            </a:xfrm>
            <a:custGeom>
              <a:avLst/>
              <a:gdLst>
                <a:gd name="T0" fmla="*/ 0 h 7"/>
                <a:gd name="T1" fmla="*/ 7 h 7"/>
                <a:gd name="T2" fmla="*/ 7 h 7"/>
                <a:gd name="T3" fmla="*/ 0 h 7"/>
                <a:gd name="T4" fmla="*/ 0 h 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7">
                  <a:moveTo>
                    <a:pt x="0" y="0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E16A9A5F-84F9-4AAD-A26A-BE5A6269EB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566275" y="2066926"/>
              <a:ext cx="2622550" cy="4659313"/>
            </a:xfrm>
            <a:custGeom>
              <a:avLst/>
              <a:gdLst>
                <a:gd name="T0" fmla="*/ 7 w 826"/>
                <a:gd name="T1" fmla="*/ 734 h 1467"/>
                <a:gd name="T2" fmla="*/ 733 w 826"/>
                <a:gd name="T3" fmla="*/ 7 h 1467"/>
                <a:gd name="T4" fmla="*/ 826 w 826"/>
                <a:gd name="T5" fmla="*/ 13 h 1467"/>
                <a:gd name="T6" fmla="*/ 826 w 826"/>
                <a:gd name="T7" fmla="*/ 6 h 1467"/>
                <a:gd name="T8" fmla="*/ 733 w 826"/>
                <a:gd name="T9" fmla="*/ 0 h 1467"/>
                <a:gd name="T10" fmla="*/ 0 w 826"/>
                <a:gd name="T11" fmla="*/ 734 h 1467"/>
                <a:gd name="T12" fmla="*/ 733 w 826"/>
                <a:gd name="T13" fmla="*/ 1467 h 1467"/>
                <a:gd name="T14" fmla="*/ 826 w 826"/>
                <a:gd name="T15" fmla="*/ 1461 h 1467"/>
                <a:gd name="T16" fmla="*/ 826 w 826"/>
                <a:gd name="T17" fmla="*/ 1454 h 1467"/>
                <a:gd name="T18" fmla="*/ 733 w 826"/>
                <a:gd name="T19" fmla="*/ 1460 h 1467"/>
                <a:gd name="T20" fmla="*/ 7 w 826"/>
                <a:gd name="T21" fmla="*/ 734 h 1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26" h="1467">
                  <a:moveTo>
                    <a:pt x="7" y="734"/>
                  </a:moveTo>
                  <a:cubicBezTo>
                    <a:pt x="7" y="333"/>
                    <a:pt x="333" y="7"/>
                    <a:pt x="733" y="7"/>
                  </a:cubicBezTo>
                  <a:cubicBezTo>
                    <a:pt x="765" y="7"/>
                    <a:pt x="796" y="9"/>
                    <a:pt x="826" y="13"/>
                  </a:cubicBezTo>
                  <a:cubicBezTo>
                    <a:pt x="826" y="6"/>
                    <a:pt x="826" y="6"/>
                    <a:pt x="826" y="6"/>
                  </a:cubicBezTo>
                  <a:cubicBezTo>
                    <a:pt x="796" y="2"/>
                    <a:pt x="765" y="0"/>
                    <a:pt x="733" y="0"/>
                  </a:cubicBezTo>
                  <a:cubicBezTo>
                    <a:pt x="329" y="0"/>
                    <a:pt x="0" y="329"/>
                    <a:pt x="0" y="734"/>
                  </a:cubicBezTo>
                  <a:cubicBezTo>
                    <a:pt x="0" y="1138"/>
                    <a:pt x="329" y="1467"/>
                    <a:pt x="733" y="1467"/>
                  </a:cubicBezTo>
                  <a:cubicBezTo>
                    <a:pt x="765" y="1467"/>
                    <a:pt x="796" y="1465"/>
                    <a:pt x="826" y="1461"/>
                  </a:cubicBezTo>
                  <a:cubicBezTo>
                    <a:pt x="826" y="1454"/>
                    <a:pt x="826" y="1454"/>
                    <a:pt x="826" y="1454"/>
                  </a:cubicBezTo>
                  <a:cubicBezTo>
                    <a:pt x="796" y="1458"/>
                    <a:pt x="765" y="1460"/>
                    <a:pt x="733" y="1460"/>
                  </a:cubicBezTo>
                  <a:cubicBezTo>
                    <a:pt x="333" y="1460"/>
                    <a:pt x="7" y="1134"/>
                    <a:pt x="7" y="7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9B32BF3A-EEFF-4135-8861-79E9F758DF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88825" y="6532563"/>
              <a:ext cx="0" cy="22225"/>
            </a:xfrm>
            <a:custGeom>
              <a:avLst/>
              <a:gdLst>
                <a:gd name="T0" fmla="*/ 0 h 7"/>
                <a:gd name="T1" fmla="*/ 7 h 7"/>
                <a:gd name="T2" fmla="*/ 7 h 7"/>
                <a:gd name="T3" fmla="*/ 0 h 7"/>
                <a:gd name="T4" fmla="*/ 0 h 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7">
                  <a:moveTo>
                    <a:pt x="0" y="0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9">
              <a:extLst>
                <a:ext uri="{FF2B5EF4-FFF2-40B4-BE49-F238E27FC236}">
                  <a16:creationId xmlns:a16="http://schemas.microsoft.com/office/drawing/2014/main" id="{9C71E676-F95E-4A18-88A7-ED332D32EF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88825" y="2238376"/>
              <a:ext cx="0" cy="22225"/>
            </a:xfrm>
            <a:custGeom>
              <a:avLst/>
              <a:gdLst>
                <a:gd name="T0" fmla="*/ 7 h 7"/>
                <a:gd name="T1" fmla="*/ 0 h 7"/>
                <a:gd name="T2" fmla="*/ 0 h 7"/>
                <a:gd name="T3" fmla="*/ 7 h 7"/>
                <a:gd name="T4" fmla="*/ 7 h 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7">
                  <a:moveTo>
                    <a:pt x="0" y="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Freeform 20">
              <a:extLst>
                <a:ext uri="{FF2B5EF4-FFF2-40B4-BE49-F238E27FC236}">
                  <a16:creationId xmlns:a16="http://schemas.microsoft.com/office/drawing/2014/main" id="{723F8D46-37C5-435D-A843-920081ED89AE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5500" y="2216151"/>
              <a:ext cx="2473325" cy="4360863"/>
            </a:xfrm>
            <a:custGeom>
              <a:avLst/>
              <a:gdLst>
                <a:gd name="T0" fmla="*/ 0 w 779"/>
                <a:gd name="T1" fmla="*/ 687 h 1373"/>
                <a:gd name="T2" fmla="*/ 686 w 779"/>
                <a:gd name="T3" fmla="*/ 1373 h 1373"/>
                <a:gd name="T4" fmla="*/ 779 w 779"/>
                <a:gd name="T5" fmla="*/ 1366 h 1373"/>
                <a:gd name="T6" fmla="*/ 779 w 779"/>
                <a:gd name="T7" fmla="*/ 1359 h 1373"/>
                <a:gd name="T8" fmla="*/ 686 w 779"/>
                <a:gd name="T9" fmla="*/ 1366 h 1373"/>
                <a:gd name="T10" fmla="*/ 7 w 779"/>
                <a:gd name="T11" fmla="*/ 687 h 1373"/>
                <a:gd name="T12" fmla="*/ 686 w 779"/>
                <a:gd name="T13" fmla="*/ 7 h 1373"/>
                <a:gd name="T14" fmla="*/ 779 w 779"/>
                <a:gd name="T15" fmla="*/ 14 h 1373"/>
                <a:gd name="T16" fmla="*/ 779 w 779"/>
                <a:gd name="T17" fmla="*/ 7 h 1373"/>
                <a:gd name="T18" fmla="*/ 686 w 779"/>
                <a:gd name="T19" fmla="*/ 0 h 1373"/>
                <a:gd name="T20" fmla="*/ 0 w 779"/>
                <a:gd name="T21" fmla="*/ 687 h 1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79" h="1373">
                  <a:moveTo>
                    <a:pt x="0" y="687"/>
                  </a:moveTo>
                  <a:cubicBezTo>
                    <a:pt x="0" y="1065"/>
                    <a:pt x="308" y="1373"/>
                    <a:pt x="686" y="1373"/>
                  </a:cubicBezTo>
                  <a:cubicBezTo>
                    <a:pt x="718" y="1373"/>
                    <a:pt x="749" y="1371"/>
                    <a:pt x="779" y="1366"/>
                  </a:cubicBezTo>
                  <a:cubicBezTo>
                    <a:pt x="779" y="1359"/>
                    <a:pt x="779" y="1359"/>
                    <a:pt x="779" y="1359"/>
                  </a:cubicBezTo>
                  <a:cubicBezTo>
                    <a:pt x="749" y="1364"/>
                    <a:pt x="718" y="1366"/>
                    <a:pt x="686" y="1366"/>
                  </a:cubicBezTo>
                  <a:cubicBezTo>
                    <a:pt x="312" y="1366"/>
                    <a:pt x="7" y="1061"/>
                    <a:pt x="7" y="687"/>
                  </a:cubicBezTo>
                  <a:cubicBezTo>
                    <a:pt x="7" y="312"/>
                    <a:pt x="312" y="7"/>
                    <a:pt x="686" y="7"/>
                  </a:cubicBezTo>
                  <a:cubicBezTo>
                    <a:pt x="718" y="7"/>
                    <a:pt x="749" y="9"/>
                    <a:pt x="779" y="14"/>
                  </a:cubicBezTo>
                  <a:cubicBezTo>
                    <a:pt x="779" y="7"/>
                    <a:pt x="779" y="7"/>
                    <a:pt x="779" y="7"/>
                  </a:cubicBezTo>
                  <a:cubicBezTo>
                    <a:pt x="749" y="2"/>
                    <a:pt x="718" y="0"/>
                    <a:pt x="686" y="0"/>
                  </a:cubicBezTo>
                  <a:cubicBezTo>
                    <a:pt x="308" y="0"/>
                    <a:pt x="0" y="308"/>
                    <a:pt x="0" y="6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Freeform 21">
              <a:extLst>
                <a:ext uri="{FF2B5EF4-FFF2-40B4-BE49-F238E27FC236}">
                  <a16:creationId xmlns:a16="http://schemas.microsoft.com/office/drawing/2014/main" id="{9C1E23FB-30F9-419A-878F-5E40B81B45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88825" y="6386513"/>
              <a:ext cx="0" cy="22225"/>
            </a:xfrm>
            <a:custGeom>
              <a:avLst/>
              <a:gdLst>
                <a:gd name="T0" fmla="*/ 0 h 7"/>
                <a:gd name="T1" fmla="*/ 7 h 7"/>
                <a:gd name="T2" fmla="*/ 7 h 7"/>
                <a:gd name="T3" fmla="*/ 0 h 7"/>
                <a:gd name="T4" fmla="*/ 0 h 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7">
                  <a:moveTo>
                    <a:pt x="0" y="0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Freeform 22">
              <a:extLst>
                <a:ext uri="{FF2B5EF4-FFF2-40B4-BE49-F238E27FC236}">
                  <a16:creationId xmlns:a16="http://schemas.microsoft.com/office/drawing/2014/main" id="{5F480318-C7F8-485A-9481-C37708083C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88825" y="2384426"/>
              <a:ext cx="0" cy="22225"/>
            </a:xfrm>
            <a:custGeom>
              <a:avLst/>
              <a:gdLst>
                <a:gd name="T0" fmla="*/ 7 h 7"/>
                <a:gd name="T1" fmla="*/ 0 h 7"/>
                <a:gd name="T2" fmla="*/ 0 h 7"/>
                <a:gd name="T3" fmla="*/ 7 h 7"/>
                <a:gd name="T4" fmla="*/ 7 h 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7">
                  <a:moveTo>
                    <a:pt x="0" y="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Freeform 23">
              <a:extLst>
                <a:ext uri="{FF2B5EF4-FFF2-40B4-BE49-F238E27FC236}">
                  <a16:creationId xmlns:a16="http://schemas.microsoft.com/office/drawing/2014/main" id="{B33B43DD-7CDB-4584-B89E-B719FCB8D830}"/>
                </a:ext>
              </a:extLst>
            </p:cNvPr>
            <p:cNvSpPr>
              <a:spLocks/>
            </p:cNvSpPr>
            <p:nvPr/>
          </p:nvSpPr>
          <p:spPr bwMode="auto">
            <a:xfrm>
              <a:off x="9861550" y="2362201"/>
              <a:ext cx="2327275" cy="4068763"/>
            </a:xfrm>
            <a:custGeom>
              <a:avLst/>
              <a:gdLst>
                <a:gd name="T0" fmla="*/ 640 w 733"/>
                <a:gd name="T1" fmla="*/ 1274 h 1281"/>
                <a:gd name="T2" fmla="*/ 7 w 733"/>
                <a:gd name="T3" fmla="*/ 641 h 1281"/>
                <a:gd name="T4" fmla="*/ 640 w 733"/>
                <a:gd name="T5" fmla="*/ 7 h 1281"/>
                <a:gd name="T6" fmla="*/ 733 w 733"/>
                <a:gd name="T7" fmla="*/ 14 h 1281"/>
                <a:gd name="T8" fmla="*/ 733 w 733"/>
                <a:gd name="T9" fmla="*/ 7 h 1281"/>
                <a:gd name="T10" fmla="*/ 640 w 733"/>
                <a:gd name="T11" fmla="*/ 0 h 1281"/>
                <a:gd name="T12" fmla="*/ 0 w 733"/>
                <a:gd name="T13" fmla="*/ 641 h 1281"/>
                <a:gd name="T14" fmla="*/ 640 w 733"/>
                <a:gd name="T15" fmla="*/ 1281 h 1281"/>
                <a:gd name="T16" fmla="*/ 733 w 733"/>
                <a:gd name="T17" fmla="*/ 1274 h 1281"/>
                <a:gd name="T18" fmla="*/ 733 w 733"/>
                <a:gd name="T19" fmla="*/ 1267 h 1281"/>
                <a:gd name="T20" fmla="*/ 640 w 733"/>
                <a:gd name="T21" fmla="*/ 1274 h 1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33" h="1281">
                  <a:moveTo>
                    <a:pt x="640" y="1274"/>
                  </a:moveTo>
                  <a:cubicBezTo>
                    <a:pt x="291" y="1274"/>
                    <a:pt x="7" y="990"/>
                    <a:pt x="7" y="641"/>
                  </a:cubicBezTo>
                  <a:cubicBezTo>
                    <a:pt x="7" y="291"/>
                    <a:pt x="291" y="7"/>
                    <a:pt x="640" y="7"/>
                  </a:cubicBezTo>
                  <a:cubicBezTo>
                    <a:pt x="672" y="7"/>
                    <a:pt x="703" y="9"/>
                    <a:pt x="733" y="14"/>
                  </a:cubicBezTo>
                  <a:cubicBezTo>
                    <a:pt x="733" y="7"/>
                    <a:pt x="733" y="7"/>
                    <a:pt x="733" y="7"/>
                  </a:cubicBezTo>
                  <a:cubicBezTo>
                    <a:pt x="703" y="2"/>
                    <a:pt x="672" y="0"/>
                    <a:pt x="640" y="0"/>
                  </a:cubicBezTo>
                  <a:cubicBezTo>
                    <a:pt x="287" y="0"/>
                    <a:pt x="0" y="287"/>
                    <a:pt x="0" y="641"/>
                  </a:cubicBezTo>
                  <a:cubicBezTo>
                    <a:pt x="0" y="994"/>
                    <a:pt x="287" y="1281"/>
                    <a:pt x="640" y="1281"/>
                  </a:cubicBezTo>
                  <a:cubicBezTo>
                    <a:pt x="672" y="1281"/>
                    <a:pt x="703" y="1279"/>
                    <a:pt x="733" y="1274"/>
                  </a:cubicBezTo>
                  <a:cubicBezTo>
                    <a:pt x="733" y="1267"/>
                    <a:pt x="733" y="1267"/>
                    <a:pt x="733" y="1267"/>
                  </a:cubicBezTo>
                  <a:cubicBezTo>
                    <a:pt x="703" y="1272"/>
                    <a:pt x="672" y="1274"/>
                    <a:pt x="640" y="12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Freeform 24">
              <a:extLst>
                <a:ext uri="{FF2B5EF4-FFF2-40B4-BE49-F238E27FC236}">
                  <a16:creationId xmlns:a16="http://schemas.microsoft.com/office/drawing/2014/main" id="{5ED5FAFE-5324-4098-AEAC-97CC53B94A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88825" y="2536826"/>
              <a:ext cx="0" cy="22225"/>
            </a:xfrm>
            <a:custGeom>
              <a:avLst/>
              <a:gdLst>
                <a:gd name="T0" fmla="*/ 7 h 7"/>
                <a:gd name="T1" fmla="*/ 0 h 7"/>
                <a:gd name="T2" fmla="*/ 0 h 7"/>
                <a:gd name="T3" fmla="*/ 7 h 7"/>
                <a:gd name="T4" fmla="*/ 7 h 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7">
                  <a:moveTo>
                    <a:pt x="0" y="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2" name="Freeform 25">
              <a:extLst>
                <a:ext uri="{FF2B5EF4-FFF2-40B4-BE49-F238E27FC236}">
                  <a16:creationId xmlns:a16="http://schemas.microsoft.com/office/drawing/2014/main" id="{99C0E03F-F31A-4F0A-BD57-888F9AD87F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88825" y="6234113"/>
              <a:ext cx="0" cy="22225"/>
            </a:xfrm>
            <a:custGeom>
              <a:avLst/>
              <a:gdLst>
                <a:gd name="T0" fmla="*/ 0 h 7"/>
                <a:gd name="T1" fmla="*/ 7 h 7"/>
                <a:gd name="T2" fmla="*/ 7 h 7"/>
                <a:gd name="T3" fmla="*/ 0 h 7"/>
                <a:gd name="T4" fmla="*/ 0 h 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7">
                  <a:moveTo>
                    <a:pt x="0" y="0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3" name="Freeform 26">
              <a:extLst>
                <a:ext uri="{FF2B5EF4-FFF2-40B4-BE49-F238E27FC236}">
                  <a16:creationId xmlns:a16="http://schemas.microsoft.com/office/drawing/2014/main" id="{523BDC80-E60D-42C4-8697-BA161BC97E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0775" y="2514601"/>
              <a:ext cx="2178050" cy="3767138"/>
            </a:xfrm>
            <a:custGeom>
              <a:avLst/>
              <a:gdLst>
                <a:gd name="T0" fmla="*/ 0 w 686"/>
                <a:gd name="T1" fmla="*/ 593 h 1186"/>
                <a:gd name="T2" fmla="*/ 593 w 686"/>
                <a:gd name="T3" fmla="*/ 1186 h 1186"/>
                <a:gd name="T4" fmla="*/ 686 w 686"/>
                <a:gd name="T5" fmla="*/ 1178 h 1186"/>
                <a:gd name="T6" fmla="*/ 686 w 686"/>
                <a:gd name="T7" fmla="*/ 1171 h 1186"/>
                <a:gd name="T8" fmla="*/ 593 w 686"/>
                <a:gd name="T9" fmla="*/ 1179 h 1186"/>
                <a:gd name="T10" fmla="*/ 7 w 686"/>
                <a:gd name="T11" fmla="*/ 593 h 1186"/>
                <a:gd name="T12" fmla="*/ 593 w 686"/>
                <a:gd name="T13" fmla="*/ 6 h 1186"/>
                <a:gd name="T14" fmla="*/ 686 w 686"/>
                <a:gd name="T15" fmla="*/ 14 h 1186"/>
                <a:gd name="T16" fmla="*/ 686 w 686"/>
                <a:gd name="T17" fmla="*/ 7 h 1186"/>
                <a:gd name="T18" fmla="*/ 593 w 686"/>
                <a:gd name="T19" fmla="*/ 0 h 1186"/>
                <a:gd name="T20" fmla="*/ 0 w 686"/>
                <a:gd name="T21" fmla="*/ 593 h 1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86" h="1186">
                  <a:moveTo>
                    <a:pt x="0" y="593"/>
                  </a:moveTo>
                  <a:cubicBezTo>
                    <a:pt x="0" y="919"/>
                    <a:pt x="266" y="1186"/>
                    <a:pt x="593" y="1186"/>
                  </a:cubicBezTo>
                  <a:cubicBezTo>
                    <a:pt x="625" y="1186"/>
                    <a:pt x="656" y="1183"/>
                    <a:pt x="686" y="1178"/>
                  </a:cubicBezTo>
                  <a:cubicBezTo>
                    <a:pt x="686" y="1171"/>
                    <a:pt x="686" y="1171"/>
                    <a:pt x="686" y="1171"/>
                  </a:cubicBezTo>
                  <a:cubicBezTo>
                    <a:pt x="656" y="1176"/>
                    <a:pt x="625" y="1179"/>
                    <a:pt x="593" y="1179"/>
                  </a:cubicBezTo>
                  <a:cubicBezTo>
                    <a:pt x="270" y="1179"/>
                    <a:pt x="7" y="916"/>
                    <a:pt x="7" y="593"/>
                  </a:cubicBezTo>
                  <a:cubicBezTo>
                    <a:pt x="7" y="269"/>
                    <a:pt x="270" y="6"/>
                    <a:pt x="593" y="6"/>
                  </a:cubicBezTo>
                  <a:cubicBezTo>
                    <a:pt x="625" y="6"/>
                    <a:pt x="656" y="9"/>
                    <a:pt x="686" y="14"/>
                  </a:cubicBezTo>
                  <a:cubicBezTo>
                    <a:pt x="686" y="7"/>
                    <a:pt x="686" y="7"/>
                    <a:pt x="686" y="7"/>
                  </a:cubicBezTo>
                  <a:cubicBezTo>
                    <a:pt x="656" y="2"/>
                    <a:pt x="625" y="0"/>
                    <a:pt x="593" y="0"/>
                  </a:cubicBezTo>
                  <a:cubicBezTo>
                    <a:pt x="266" y="0"/>
                    <a:pt x="0" y="266"/>
                    <a:pt x="0" y="59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4" name="Freeform 27">
              <a:extLst>
                <a:ext uri="{FF2B5EF4-FFF2-40B4-BE49-F238E27FC236}">
                  <a16:creationId xmlns:a16="http://schemas.microsoft.com/office/drawing/2014/main" id="{2AD5ACBF-CB1F-4A19-B04F-DC8616F7FB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88825" y="2670176"/>
              <a:ext cx="0" cy="22225"/>
            </a:xfrm>
            <a:custGeom>
              <a:avLst/>
              <a:gdLst>
                <a:gd name="T0" fmla="*/ 7 h 7"/>
                <a:gd name="T1" fmla="*/ 0 h 7"/>
                <a:gd name="T2" fmla="*/ 0 h 7"/>
                <a:gd name="T3" fmla="*/ 7 h 7"/>
                <a:gd name="T4" fmla="*/ 7 h 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7">
                  <a:moveTo>
                    <a:pt x="0" y="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1" name="Freeform 28">
              <a:extLst>
                <a:ext uri="{FF2B5EF4-FFF2-40B4-BE49-F238E27FC236}">
                  <a16:creationId xmlns:a16="http://schemas.microsoft.com/office/drawing/2014/main" id="{E9D67A8C-E0DF-434B-9B75-7AC25218A3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88825" y="6100763"/>
              <a:ext cx="0" cy="22225"/>
            </a:xfrm>
            <a:custGeom>
              <a:avLst/>
              <a:gdLst>
                <a:gd name="T0" fmla="*/ 0 h 7"/>
                <a:gd name="T1" fmla="*/ 7 h 7"/>
                <a:gd name="T2" fmla="*/ 7 h 7"/>
                <a:gd name="T3" fmla="*/ 0 h 7"/>
                <a:gd name="T4" fmla="*/ 0 h 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7">
                  <a:moveTo>
                    <a:pt x="0" y="0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2" name="Freeform 29">
              <a:extLst>
                <a:ext uri="{FF2B5EF4-FFF2-40B4-BE49-F238E27FC236}">
                  <a16:creationId xmlns:a16="http://schemas.microsoft.com/office/drawing/2014/main" id="{81BC3134-20FC-4FC8-8883-B4B6F9EBC9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44125" y="2644776"/>
              <a:ext cx="2044700" cy="3503613"/>
            </a:xfrm>
            <a:custGeom>
              <a:avLst/>
              <a:gdLst>
                <a:gd name="T0" fmla="*/ 551 w 644"/>
                <a:gd name="T1" fmla="*/ 1096 h 1103"/>
                <a:gd name="T2" fmla="*/ 7 w 644"/>
                <a:gd name="T3" fmla="*/ 552 h 1103"/>
                <a:gd name="T4" fmla="*/ 551 w 644"/>
                <a:gd name="T5" fmla="*/ 7 h 1103"/>
                <a:gd name="T6" fmla="*/ 644 w 644"/>
                <a:gd name="T7" fmla="*/ 15 h 1103"/>
                <a:gd name="T8" fmla="*/ 644 w 644"/>
                <a:gd name="T9" fmla="*/ 8 h 1103"/>
                <a:gd name="T10" fmla="*/ 551 w 644"/>
                <a:gd name="T11" fmla="*/ 0 h 1103"/>
                <a:gd name="T12" fmla="*/ 0 w 644"/>
                <a:gd name="T13" fmla="*/ 552 h 1103"/>
                <a:gd name="T14" fmla="*/ 551 w 644"/>
                <a:gd name="T15" fmla="*/ 1103 h 1103"/>
                <a:gd name="T16" fmla="*/ 644 w 644"/>
                <a:gd name="T17" fmla="*/ 1095 h 1103"/>
                <a:gd name="T18" fmla="*/ 644 w 644"/>
                <a:gd name="T19" fmla="*/ 1088 h 1103"/>
                <a:gd name="T20" fmla="*/ 551 w 644"/>
                <a:gd name="T21" fmla="*/ 1096 h 1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44" h="1103">
                  <a:moveTo>
                    <a:pt x="551" y="1096"/>
                  </a:moveTo>
                  <a:cubicBezTo>
                    <a:pt x="251" y="1096"/>
                    <a:pt x="7" y="852"/>
                    <a:pt x="7" y="552"/>
                  </a:cubicBezTo>
                  <a:cubicBezTo>
                    <a:pt x="7" y="251"/>
                    <a:pt x="251" y="7"/>
                    <a:pt x="551" y="7"/>
                  </a:cubicBezTo>
                  <a:cubicBezTo>
                    <a:pt x="583" y="7"/>
                    <a:pt x="614" y="10"/>
                    <a:pt x="644" y="15"/>
                  </a:cubicBezTo>
                  <a:cubicBezTo>
                    <a:pt x="644" y="8"/>
                    <a:pt x="644" y="8"/>
                    <a:pt x="644" y="8"/>
                  </a:cubicBezTo>
                  <a:cubicBezTo>
                    <a:pt x="614" y="3"/>
                    <a:pt x="583" y="0"/>
                    <a:pt x="551" y="0"/>
                  </a:cubicBezTo>
                  <a:cubicBezTo>
                    <a:pt x="247" y="0"/>
                    <a:pt x="0" y="247"/>
                    <a:pt x="0" y="552"/>
                  </a:cubicBezTo>
                  <a:cubicBezTo>
                    <a:pt x="0" y="856"/>
                    <a:pt x="247" y="1103"/>
                    <a:pt x="551" y="1103"/>
                  </a:cubicBezTo>
                  <a:cubicBezTo>
                    <a:pt x="583" y="1103"/>
                    <a:pt x="614" y="1100"/>
                    <a:pt x="644" y="1095"/>
                  </a:cubicBezTo>
                  <a:cubicBezTo>
                    <a:pt x="644" y="1088"/>
                    <a:pt x="644" y="1088"/>
                    <a:pt x="644" y="1088"/>
                  </a:cubicBezTo>
                  <a:cubicBezTo>
                    <a:pt x="614" y="1093"/>
                    <a:pt x="583" y="1096"/>
                    <a:pt x="551" y="10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32" name="Group 331">
            <a:extLst>
              <a:ext uri="{FF2B5EF4-FFF2-40B4-BE49-F238E27FC236}">
                <a16:creationId xmlns:a16="http://schemas.microsoft.com/office/drawing/2014/main" id="{B512FF3C-E28E-4655-9800-B4C1161FB117}"/>
              </a:ext>
            </a:extLst>
          </p:cNvPr>
          <p:cNvGrpSpPr/>
          <p:nvPr/>
        </p:nvGrpSpPr>
        <p:grpSpPr>
          <a:xfrm>
            <a:off x="855518" y="2510"/>
            <a:ext cx="1997364" cy="1405659"/>
            <a:chOff x="1450975" y="-26194"/>
            <a:chExt cx="2197100" cy="1546225"/>
          </a:xfrm>
          <a:solidFill>
            <a:schemeClr val="tx1">
              <a:alpha val="20000"/>
            </a:schemeClr>
          </a:solidFill>
        </p:grpSpPr>
        <p:sp>
          <p:nvSpPr>
            <p:cNvPr id="243" name="Freeform 30">
              <a:extLst>
                <a:ext uri="{FF2B5EF4-FFF2-40B4-BE49-F238E27FC236}">
                  <a16:creationId xmlns:a16="http://schemas.microsoft.com/office/drawing/2014/main" id="{C0CE4597-FA12-4F68-9041-63ED6343CDD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0125" y="-26194"/>
              <a:ext cx="12700" cy="3175"/>
            </a:xfrm>
            <a:custGeom>
              <a:avLst/>
              <a:gdLst>
                <a:gd name="T0" fmla="*/ 0 w 4"/>
                <a:gd name="T1" fmla="*/ 0 h 1"/>
                <a:gd name="T2" fmla="*/ 0 w 4"/>
                <a:gd name="T3" fmla="*/ 1 h 1"/>
                <a:gd name="T4" fmla="*/ 4 w 4"/>
                <a:gd name="T5" fmla="*/ 1 h 1"/>
                <a:gd name="T6" fmla="*/ 4 w 4"/>
                <a:gd name="T7" fmla="*/ 0 h 1"/>
                <a:gd name="T8" fmla="*/ 0 w 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4" name="Freeform 31">
              <a:extLst>
                <a:ext uri="{FF2B5EF4-FFF2-40B4-BE49-F238E27FC236}">
                  <a16:creationId xmlns:a16="http://schemas.microsoft.com/office/drawing/2014/main" id="{167B9FF1-C78E-44F1-80B3-749142897B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225" y="-26194"/>
              <a:ext cx="12700" cy="3175"/>
            </a:xfrm>
            <a:custGeom>
              <a:avLst/>
              <a:gdLst>
                <a:gd name="T0" fmla="*/ 4 w 4"/>
                <a:gd name="T1" fmla="*/ 0 h 1"/>
                <a:gd name="T2" fmla="*/ 0 w 4"/>
                <a:gd name="T3" fmla="*/ 0 h 1"/>
                <a:gd name="T4" fmla="*/ 0 w 4"/>
                <a:gd name="T5" fmla="*/ 1 h 1"/>
                <a:gd name="T6" fmla="*/ 4 w 4"/>
                <a:gd name="T7" fmla="*/ 1 h 1"/>
                <a:gd name="T8" fmla="*/ 4 w 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5" name="Freeform 32">
              <a:extLst>
                <a:ext uri="{FF2B5EF4-FFF2-40B4-BE49-F238E27FC236}">
                  <a16:creationId xmlns:a16="http://schemas.microsoft.com/office/drawing/2014/main" id="{8F233832-6433-4DFE-B0F6-A142C3BBB6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0975" y="-23019"/>
              <a:ext cx="2197100" cy="1543050"/>
            </a:xfrm>
            <a:custGeom>
              <a:avLst/>
              <a:gdLst>
                <a:gd name="T0" fmla="*/ 688 w 692"/>
                <a:gd name="T1" fmla="*/ 140 h 486"/>
                <a:gd name="T2" fmla="*/ 346 w 692"/>
                <a:gd name="T3" fmla="*/ 483 h 486"/>
                <a:gd name="T4" fmla="*/ 3 w 692"/>
                <a:gd name="T5" fmla="*/ 140 h 486"/>
                <a:gd name="T6" fmla="*/ 34 w 692"/>
                <a:gd name="T7" fmla="*/ 0 h 486"/>
                <a:gd name="T8" fmla="*/ 30 w 692"/>
                <a:gd name="T9" fmla="*/ 0 h 486"/>
                <a:gd name="T10" fmla="*/ 0 w 692"/>
                <a:gd name="T11" fmla="*/ 140 h 486"/>
                <a:gd name="T12" fmla="*/ 346 w 692"/>
                <a:gd name="T13" fmla="*/ 486 h 486"/>
                <a:gd name="T14" fmla="*/ 692 w 692"/>
                <a:gd name="T15" fmla="*/ 140 h 486"/>
                <a:gd name="T16" fmla="*/ 662 w 692"/>
                <a:gd name="T17" fmla="*/ 0 h 486"/>
                <a:gd name="T18" fmla="*/ 658 w 692"/>
                <a:gd name="T19" fmla="*/ 0 h 486"/>
                <a:gd name="T20" fmla="*/ 688 w 692"/>
                <a:gd name="T21" fmla="*/ 140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92" h="486">
                  <a:moveTo>
                    <a:pt x="688" y="140"/>
                  </a:moveTo>
                  <a:cubicBezTo>
                    <a:pt x="688" y="329"/>
                    <a:pt x="535" y="483"/>
                    <a:pt x="346" y="483"/>
                  </a:cubicBezTo>
                  <a:cubicBezTo>
                    <a:pt x="157" y="483"/>
                    <a:pt x="3" y="329"/>
                    <a:pt x="3" y="140"/>
                  </a:cubicBezTo>
                  <a:cubicBezTo>
                    <a:pt x="3" y="90"/>
                    <a:pt x="14" y="43"/>
                    <a:pt x="34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11" y="43"/>
                    <a:pt x="0" y="90"/>
                    <a:pt x="0" y="140"/>
                  </a:cubicBezTo>
                  <a:cubicBezTo>
                    <a:pt x="0" y="331"/>
                    <a:pt x="155" y="486"/>
                    <a:pt x="346" y="486"/>
                  </a:cubicBezTo>
                  <a:cubicBezTo>
                    <a:pt x="536" y="486"/>
                    <a:pt x="692" y="331"/>
                    <a:pt x="692" y="140"/>
                  </a:cubicBezTo>
                  <a:cubicBezTo>
                    <a:pt x="692" y="90"/>
                    <a:pt x="681" y="43"/>
                    <a:pt x="662" y="0"/>
                  </a:cubicBezTo>
                  <a:cubicBezTo>
                    <a:pt x="658" y="0"/>
                    <a:pt x="658" y="0"/>
                    <a:pt x="658" y="0"/>
                  </a:cubicBezTo>
                  <a:cubicBezTo>
                    <a:pt x="677" y="43"/>
                    <a:pt x="688" y="90"/>
                    <a:pt x="688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6" name="Freeform 33">
              <a:extLst>
                <a:ext uri="{FF2B5EF4-FFF2-40B4-BE49-F238E27FC236}">
                  <a16:creationId xmlns:a16="http://schemas.microsoft.com/office/drawing/2014/main" id="{C26A9F43-7E7C-4F65-815D-C8903B582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3925" y="-26194"/>
              <a:ext cx="9525" cy="3175"/>
            </a:xfrm>
            <a:custGeom>
              <a:avLst/>
              <a:gdLst>
                <a:gd name="T0" fmla="*/ 0 w 3"/>
                <a:gd name="T1" fmla="*/ 1 h 1"/>
                <a:gd name="T2" fmla="*/ 3 w 3"/>
                <a:gd name="T3" fmla="*/ 1 h 1"/>
                <a:gd name="T4" fmla="*/ 3 w 3"/>
                <a:gd name="T5" fmla="*/ 0 h 1"/>
                <a:gd name="T6" fmla="*/ 0 w 3"/>
                <a:gd name="T7" fmla="*/ 0 h 1"/>
                <a:gd name="T8" fmla="*/ 0 w 3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7" name="Freeform 34">
              <a:extLst>
                <a:ext uri="{FF2B5EF4-FFF2-40B4-BE49-F238E27FC236}">
                  <a16:creationId xmlns:a16="http://schemas.microsoft.com/office/drawing/2014/main" id="{F904BC1E-A251-4622-A177-26AFC694EB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2425" y="-26194"/>
              <a:ext cx="12700" cy="3175"/>
            </a:xfrm>
            <a:custGeom>
              <a:avLst/>
              <a:gdLst>
                <a:gd name="T0" fmla="*/ 4 w 4"/>
                <a:gd name="T1" fmla="*/ 1 h 1"/>
                <a:gd name="T2" fmla="*/ 4 w 4"/>
                <a:gd name="T3" fmla="*/ 0 h 1"/>
                <a:gd name="T4" fmla="*/ 1 w 4"/>
                <a:gd name="T5" fmla="*/ 0 h 1"/>
                <a:gd name="T6" fmla="*/ 0 w 4"/>
                <a:gd name="T7" fmla="*/ 1 h 1"/>
                <a:gd name="T8" fmla="*/ 4 w 4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1"/>
                  </a:moveTo>
                  <a:cubicBezTo>
                    <a:pt x="4" y="1"/>
                    <a:pt x="4" y="1"/>
                    <a:pt x="4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8" name="Freeform 35">
              <a:extLst>
                <a:ext uri="{FF2B5EF4-FFF2-40B4-BE49-F238E27FC236}">
                  <a16:creationId xmlns:a16="http://schemas.microsoft.com/office/drawing/2014/main" id="{F2EEF769-612A-4DF9-A294-B21180E038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0825" y="-23019"/>
              <a:ext cx="2054225" cy="1473200"/>
            </a:xfrm>
            <a:custGeom>
              <a:avLst/>
              <a:gdLst>
                <a:gd name="T0" fmla="*/ 644 w 647"/>
                <a:gd name="T1" fmla="*/ 140 h 464"/>
                <a:gd name="T2" fmla="*/ 324 w 647"/>
                <a:gd name="T3" fmla="*/ 460 h 464"/>
                <a:gd name="T4" fmla="*/ 4 w 647"/>
                <a:gd name="T5" fmla="*/ 140 h 464"/>
                <a:gd name="T6" fmla="*/ 36 w 647"/>
                <a:gd name="T7" fmla="*/ 0 h 464"/>
                <a:gd name="T8" fmla="*/ 32 w 647"/>
                <a:gd name="T9" fmla="*/ 0 h 464"/>
                <a:gd name="T10" fmla="*/ 0 w 647"/>
                <a:gd name="T11" fmla="*/ 140 h 464"/>
                <a:gd name="T12" fmla="*/ 324 w 647"/>
                <a:gd name="T13" fmla="*/ 464 h 464"/>
                <a:gd name="T14" fmla="*/ 647 w 647"/>
                <a:gd name="T15" fmla="*/ 140 h 464"/>
                <a:gd name="T16" fmla="*/ 615 w 647"/>
                <a:gd name="T17" fmla="*/ 0 h 464"/>
                <a:gd name="T18" fmla="*/ 612 w 647"/>
                <a:gd name="T19" fmla="*/ 0 h 464"/>
                <a:gd name="T20" fmla="*/ 644 w 647"/>
                <a:gd name="T21" fmla="*/ 140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47" h="464">
                  <a:moveTo>
                    <a:pt x="644" y="140"/>
                  </a:moveTo>
                  <a:cubicBezTo>
                    <a:pt x="644" y="317"/>
                    <a:pt x="500" y="460"/>
                    <a:pt x="324" y="460"/>
                  </a:cubicBezTo>
                  <a:cubicBezTo>
                    <a:pt x="147" y="460"/>
                    <a:pt x="4" y="317"/>
                    <a:pt x="4" y="140"/>
                  </a:cubicBezTo>
                  <a:cubicBezTo>
                    <a:pt x="4" y="90"/>
                    <a:pt x="15" y="42"/>
                    <a:pt x="36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12" y="42"/>
                    <a:pt x="0" y="90"/>
                    <a:pt x="0" y="140"/>
                  </a:cubicBezTo>
                  <a:cubicBezTo>
                    <a:pt x="0" y="319"/>
                    <a:pt x="145" y="464"/>
                    <a:pt x="324" y="464"/>
                  </a:cubicBezTo>
                  <a:cubicBezTo>
                    <a:pt x="502" y="464"/>
                    <a:pt x="647" y="319"/>
                    <a:pt x="647" y="140"/>
                  </a:cubicBezTo>
                  <a:cubicBezTo>
                    <a:pt x="647" y="90"/>
                    <a:pt x="636" y="42"/>
                    <a:pt x="615" y="0"/>
                  </a:cubicBezTo>
                  <a:cubicBezTo>
                    <a:pt x="612" y="0"/>
                    <a:pt x="612" y="0"/>
                    <a:pt x="612" y="0"/>
                  </a:cubicBezTo>
                  <a:cubicBezTo>
                    <a:pt x="632" y="42"/>
                    <a:pt x="644" y="90"/>
                    <a:pt x="644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9" name="Freeform 36">
              <a:extLst>
                <a:ext uri="{FF2B5EF4-FFF2-40B4-BE49-F238E27FC236}">
                  <a16:creationId xmlns:a16="http://schemas.microsoft.com/office/drawing/2014/main" id="{A65120EB-5D76-4F10-ACD8-B043BFF577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-26194"/>
              <a:ext cx="12700" cy="3175"/>
            </a:xfrm>
            <a:custGeom>
              <a:avLst/>
              <a:gdLst>
                <a:gd name="T0" fmla="*/ 4 w 4"/>
                <a:gd name="T1" fmla="*/ 0 h 1"/>
                <a:gd name="T2" fmla="*/ 1 w 4"/>
                <a:gd name="T3" fmla="*/ 0 h 1"/>
                <a:gd name="T4" fmla="*/ 0 w 4"/>
                <a:gd name="T5" fmla="*/ 1 h 1"/>
                <a:gd name="T6" fmla="*/ 4 w 4"/>
                <a:gd name="T7" fmla="*/ 1 h 1"/>
                <a:gd name="T8" fmla="*/ 4 w 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0" name="Freeform 37">
              <a:extLst>
                <a:ext uri="{FF2B5EF4-FFF2-40B4-BE49-F238E27FC236}">
                  <a16:creationId xmlns:a16="http://schemas.microsoft.com/office/drawing/2014/main" id="{F86FA1D6-1FA7-4607-A029-95BD62D2BC7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4550" y="-26194"/>
              <a:ext cx="12700" cy="3175"/>
            </a:xfrm>
            <a:custGeom>
              <a:avLst/>
              <a:gdLst>
                <a:gd name="T0" fmla="*/ 0 w 4"/>
                <a:gd name="T1" fmla="*/ 0 h 1"/>
                <a:gd name="T2" fmla="*/ 1 w 4"/>
                <a:gd name="T3" fmla="*/ 1 h 1"/>
                <a:gd name="T4" fmla="*/ 4 w 4"/>
                <a:gd name="T5" fmla="*/ 1 h 1"/>
                <a:gd name="T6" fmla="*/ 4 w 4"/>
                <a:gd name="T7" fmla="*/ 0 h 1"/>
                <a:gd name="T8" fmla="*/ 0 w 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0" y="0"/>
                  </a:moveTo>
                  <a:cubicBezTo>
                    <a:pt x="0" y="1"/>
                    <a:pt x="1" y="1"/>
                    <a:pt x="1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1" name="Freeform 38">
              <a:extLst>
                <a:ext uri="{FF2B5EF4-FFF2-40B4-BE49-F238E27FC236}">
                  <a16:creationId xmlns:a16="http://schemas.microsoft.com/office/drawing/2014/main" id="{12B6EEE7-7076-457B-8721-233904CF58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0675" y="-23019"/>
              <a:ext cx="1917700" cy="1403350"/>
            </a:xfrm>
            <a:custGeom>
              <a:avLst/>
              <a:gdLst>
                <a:gd name="T0" fmla="*/ 601 w 604"/>
                <a:gd name="T1" fmla="*/ 140 h 442"/>
                <a:gd name="T2" fmla="*/ 302 w 604"/>
                <a:gd name="T3" fmla="*/ 439 h 442"/>
                <a:gd name="T4" fmla="*/ 3 w 604"/>
                <a:gd name="T5" fmla="*/ 140 h 442"/>
                <a:gd name="T6" fmla="*/ 38 w 604"/>
                <a:gd name="T7" fmla="*/ 0 h 442"/>
                <a:gd name="T8" fmla="*/ 34 w 604"/>
                <a:gd name="T9" fmla="*/ 0 h 442"/>
                <a:gd name="T10" fmla="*/ 0 w 604"/>
                <a:gd name="T11" fmla="*/ 140 h 442"/>
                <a:gd name="T12" fmla="*/ 302 w 604"/>
                <a:gd name="T13" fmla="*/ 442 h 442"/>
                <a:gd name="T14" fmla="*/ 604 w 604"/>
                <a:gd name="T15" fmla="*/ 140 h 442"/>
                <a:gd name="T16" fmla="*/ 569 w 604"/>
                <a:gd name="T17" fmla="*/ 0 h 442"/>
                <a:gd name="T18" fmla="*/ 566 w 604"/>
                <a:gd name="T19" fmla="*/ 0 h 442"/>
                <a:gd name="T20" fmla="*/ 601 w 604"/>
                <a:gd name="T21" fmla="*/ 14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04" h="442">
                  <a:moveTo>
                    <a:pt x="601" y="140"/>
                  </a:moveTo>
                  <a:cubicBezTo>
                    <a:pt x="601" y="305"/>
                    <a:pt x="467" y="439"/>
                    <a:pt x="302" y="439"/>
                  </a:cubicBezTo>
                  <a:cubicBezTo>
                    <a:pt x="137" y="439"/>
                    <a:pt x="3" y="305"/>
                    <a:pt x="3" y="140"/>
                  </a:cubicBezTo>
                  <a:cubicBezTo>
                    <a:pt x="3" y="89"/>
                    <a:pt x="16" y="42"/>
                    <a:pt x="38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12" y="42"/>
                    <a:pt x="0" y="90"/>
                    <a:pt x="0" y="140"/>
                  </a:cubicBezTo>
                  <a:cubicBezTo>
                    <a:pt x="0" y="307"/>
                    <a:pt x="135" y="442"/>
                    <a:pt x="302" y="442"/>
                  </a:cubicBezTo>
                  <a:cubicBezTo>
                    <a:pt x="468" y="442"/>
                    <a:pt x="604" y="307"/>
                    <a:pt x="604" y="140"/>
                  </a:cubicBezTo>
                  <a:cubicBezTo>
                    <a:pt x="604" y="90"/>
                    <a:pt x="591" y="42"/>
                    <a:pt x="569" y="0"/>
                  </a:cubicBezTo>
                  <a:cubicBezTo>
                    <a:pt x="566" y="0"/>
                    <a:pt x="566" y="0"/>
                    <a:pt x="566" y="0"/>
                  </a:cubicBezTo>
                  <a:cubicBezTo>
                    <a:pt x="588" y="42"/>
                    <a:pt x="601" y="89"/>
                    <a:pt x="601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2" name="Freeform 39">
              <a:extLst>
                <a:ext uri="{FF2B5EF4-FFF2-40B4-BE49-F238E27FC236}">
                  <a16:creationId xmlns:a16="http://schemas.microsoft.com/office/drawing/2014/main" id="{E29EA169-ABAF-4527-9F3E-E51E70397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1175" y="-26194"/>
              <a:ext cx="12700" cy="3175"/>
            </a:xfrm>
            <a:custGeom>
              <a:avLst/>
              <a:gdLst>
                <a:gd name="T0" fmla="*/ 4 w 4"/>
                <a:gd name="T1" fmla="*/ 1 h 1"/>
                <a:gd name="T2" fmla="*/ 4 w 4"/>
                <a:gd name="T3" fmla="*/ 0 h 1"/>
                <a:gd name="T4" fmla="*/ 0 w 4"/>
                <a:gd name="T5" fmla="*/ 0 h 1"/>
                <a:gd name="T6" fmla="*/ 0 w 4"/>
                <a:gd name="T7" fmla="*/ 1 h 1"/>
                <a:gd name="T8" fmla="*/ 4 w 4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1"/>
                  </a:moveTo>
                  <a:cubicBezTo>
                    <a:pt x="4" y="1"/>
                    <a:pt x="4" y="1"/>
                    <a:pt x="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3" name="Freeform 40">
              <a:extLst>
                <a:ext uri="{FF2B5EF4-FFF2-40B4-BE49-F238E27FC236}">
                  <a16:creationId xmlns:a16="http://schemas.microsoft.com/office/drawing/2014/main" id="{950391AD-84FF-4579-9C8B-8B53248AF35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5175" y="-26194"/>
              <a:ext cx="12700" cy="3175"/>
            </a:xfrm>
            <a:custGeom>
              <a:avLst/>
              <a:gdLst>
                <a:gd name="T0" fmla="*/ 0 w 4"/>
                <a:gd name="T1" fmla="*/ 1 h 1"/>
                <a:gd name="T2" fmla="*/ 4 w 4"/>
                <a:gd name="T3" fmla="*/ 1 h 1"/>
                <a:gd name="T4" fmla="*/ 3 w 4"/>
                <a:gd name="T5" fmla="*/ 0 h 1"/>
                <a:gd name="T6" fmla="*/ 0 w 4"/>
                <a:gd name="T7" fmla="*/ 0 h 1"/>
                <a:gd name="T8" fmla="*/ 0 w 4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0" y="1"/>
                  </a:moveTo>
                  <a:cubicBezTo>
                    <a:pt x="4" y="1"/>
                    <a:pt x="4" y="1"/>
                    <a:pt x="4" y="1"/>
                  </a:cubicBezTo>
                  <a:cubicBezTo>
                    <a:pt x="3" y="1"/>
                    <a:pt x="3" y="1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4" name="Freeform 41">
              <a:extLst>
                <a:ext uri="{FF2B5EF4-FFF2-40B4-BE49-F238E27FC236}">
                  <a16:creationId xmlns:a16="http://schemas.microsoft.com/office/drawing/2014/main" id="{78D4412F-A288-4A93-A8B1-2CCD9675C7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0525" y="-23019"/>
              <a:ext cx="1774825" cy="1333500"/>
            </a:xfrm>
            <a:custGeom>
              <a:avLst/>
              <a:gdLst>
                <a:gd name="T0" fmla="*/ 556 w 559"/>
                <a:gd name="T1" fmla="*/ 140 h 420"/>
                <a:gd name="T2" fmla="*/ 280 w 559"/>
                <a:gd name="T3" fmla="*/ 416 h 420"/>
                <a:gd name="T4" fmla="*/ 4 w 559"/>
                <a:gd name="T5" fmla="*/ 140 h 420"/>
                <a:gd name="T6" fmla="*/ 42 w 559"/>
                <a:gd name="T7" fmla="*/ 0 h 420"/>
                <a:gd name="T8" fmla="*/ 38 w 559"/>
                <a:gd name="T9" fmla="*/ 0 h 420"/>
                <a:gd name="T10" fmla="*/ 0 w 559"/>
                <a:gd name="T11" fmla="*/ 140 h 420"/>
                <a:gd name="T12" fmla="*/ 280 w 559"/>
                <a:gd name="T13" fmla="*/ 420 h 420"/>
                <a:gd name="T14" fmla="*/ 559 w 559"/>
                <a:gd name="T15" fmla="*/ 140 h 420"/>
                <a:gd name="T16" fmla="*/ 522 w 559"/>
                <a:gd name="T17" fmla="*/ 0 h 420"/>
                <a:gd name="T18" fmla="*/ 518 w 559"/>
                <a:gd name="T19" fmla="*/ 0 h 420"/>
                <a:gd name="T20" fmla="*/ 556 w 559"/>
                <a:gd name="T21" fmla="*/ 140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59" h="420">
                  <a:moveTo>
                    <a:pt x="556" y="140"/>
                  </a:moveTo>
                  <a:cubicBezTo>
                    <a:pt x="556" y="293"/>
                    <a:pt x="432" y="416"/>
                    <a:pt x="280" y="416"/>
                  </a:cubicBezTo>
                  <a:cubicBezTo>
                    <a:pt x="128" y="416"/>
                    <a:pt x="4" y="293"/>
                    <a:pt x="4" y="140"/>
                  </a:cubicBezTo>
                  <a:cubicBezTo>
                    <a:pt x="4" y="89"/>
                    <a:pt x="18" y="41"/>
                    <a:pt x="42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14" y="41"/>
                    <a:pt x="0" y="89"/>
                    <a:pt x="0" y="140"/>
                  </a:cubicBezTo>
                  <a:cubicBezTo>
                    <a:pt x="0" y="294"/>
                    <a:pt x="126" y="420"/>
                    <a:pt x="280" y="420"/>
                  </a:cubicBezTo>
                  <a:cubicBezTo>
                    <a:pt x="434" y="420"/>
                    <a:pt x="559" y="294"/>
                    <a:pt x="559" y="140"/>
                  </a:cubicBezTo>
                  <a:cubicBezTo>
                    <a:pt x="559" y="89"/>
                    <a:pt x="546" y="41"/>
                    <a:pt x="522" y="0"/>
                  </a:cubicBezTo>
                  <a:cubicBezTo>
                    <a:pt x="518" y="0"/>
                    <a:pt x="518" y="0"/>
                    <a:pt x="518" y="0"/>
                  </a:cubicBezTo>
                  <a:cubicBezTo>
                    <a:pt x="542" y="41"/>
                    <a:pt x="556" y="89"/>
                    <a:pt x="556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5" name="Freeform 42">
              <a:extLst>
                <a:ext uri="{FF2B5EF4-FFF2-40B4-BE49-F238E27FC236}">
                  <a16:creationId xmlns:a16="http://schemas.microsoft.com/office/drawing/2014/main" id="{A28E010E-ECA4-41E2-9E28-29D4186A48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4200" y="-26194"/>
              <a:ext cx="12700" cy="3175"/>
            </a:xfrm>
            <a:custGeom>
              <a:avLst/>
              <a:gdLst>
                <a:gd name="T0" fmla="*/ 4 w 4"/>
                <a:gd name="T1" fmla="*/ 0 h 1"/>
                <a:gd name="T2" fmla="*/ 0 w 4"/>
                <a:gd name="T3" fmla="*/ 0 h 1"/>
                <a:gd name="T4" fmla="*/ 0 w 4"/>
                <a:gd name="T5" fmla="*/ 1 h 1"/>
                <a:gd name="T6" fmla="*/ 4 w 4"/>
                <a:gd name="T7" fmla="*/ 1 h 1"/>
                <a:gd name="T8" fmla="*/ 4 w 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43">
              <a:extLst>
                <a:ext uri="{FF2B5EF4-FFF2-40B4-BE49-F238E27FC236}">
                  <a16:creationId xmlns:a16="http://schemas.microsoft.com/office/drawing/2014/main" id="{EBFE811B-11FD-4179-8E26-B20116A7CDE3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8975" y="-26194"/>
              <a:ext cx="15875" cy="3175"/>
            </a:xfrm>
            <a:custGeom>
              <a:avLst/>
              <a:gdLst>
                <a:gd name="T0" fmla="*/ 0 w 5"/>
                <a:gd name="T1" fmla="*/ 0 h 1"/>
                <a:gd name="T2" fmla="*/ 1 w 5"/>
                <a:gd name="T3" fmla="*/ 1 h 1"/>
                <a:gd name="T4" fmla="*/ 5 w 5"/>
                <a:gd name="T5" fmla="*/ 1 h 1"/>
                <a:gd name="T6" fmla="*/ 4 w 5"/>
                <a:gd name="T7" fmla="*/ 0 h 1"/>
                <a:gd name="T8" fmla="*/ 0 w 5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">
                  <a:moveTo>
                    <a:pt x="0" y="0"/>
                  </a:moveTo>
                  <a:cubicBezTo>
                    <a:pt x="0" y="1"/>
                    <a:pt x="1" y="1"/>
                    <a:pt x="1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4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44">
              <a:extLst>
                <a:ext uri="{FF2B5EF4-FFF2-40B4-BE49-F238E27FC236}">
                  <a16:creationId xmlns:a16="http://schemas.microsoft.com/office/drawing/2014/main" id="{C4EC44F8-A6DD-471F-A238-83B1721428B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4025" y="-23019"/>
              <a:ext cx="1651000" cy="1270000"/>
            </a:xfrm>
            <a:custGeom>
              <a:avLst/>
              <a:gdLst>
                <a:gd name="T0" fmla="*/ 517 w 520"/>
                <a:gd name="T1" fmla="*/ 140 h 400"/>
                <a:gd name="T2" fmla="*/ 260 w 520"/>
                <a:gd name="T3" fmla="*/ 397 h 400"/>
                <a:gd name="T4" fmla="*/ 3 w 520"/>
                <a:gd name="T5" fmla="*/ 140 h 400"/>
                <a:gd name="T6" fmla="*/ 45 w 520"/>
                <a:gd name="T7" fmla="*/ 0 h 400"/>
                <a:gd name="T8" fmla="*/ 41 w 520"/>
                <a:gd name="T9" fmla="*/ 0 h 400"/>
                <a:gd name="T10" fmla="*/ 0 w 520"/>
                <a:gd name="T11" fmla="*/ 140 h 400"/>
                <a:gd name="T12" fmla="*/ 260 w 520"/>
                <a:gd name="T13" fmla="*/ 400 h 400"/>
                <a:gd name="T14" fmla="*/ 520 w 520"/>
                <a:gd name="T15" fmla="*/ 140 h 400"/>
                <a:gd name="T16" fmla="*/ 479 w 520"/>
                <a:gd name="T17" fmla="*/ 0 h 400"/>
                <a:gd name="T18" fmla="*/ 475 w 520"/>
                <a:gd name="T19" fmla="*/ 0 h 400"/>
                <a:gd name="T20" fmla="*/ 517 w 520"/>
                <a:gd name="T21" fmla="*/ 14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20" h="400">
                  <a:moveTo>
                    <a:pt x="517" y="140"/>
                  </a:moveTo>
                  <a:cubicBezTo>
                    <a:pt x="517" y="282"/>
                    <a:pt x="401" y="397"/>
                    <a:pt x="260" y="397"/>
                  </a:cubicBezTo>
                  <a:cubicBezTo>
                    <a:pt x="118" y="397"/>
                    <a:pt x="3" y="282"/>
                    <a:pt x="3" y="140"/>
                  </a:cubicBezTo>
                  <a:cubicBezTo>
                    <a:pt x="3" y="88"/>
                    <a:pt x="19" y="40"/>
                    <a:pt x="45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15" y="40"/>
                    <a:pt x="0" y="89"/>
                    <a:pt x="0" y="140"/>
                  </a:cubicBezTo>
                  <a:cubicBezTo>
                    <a:pt x="0" y="284"/>
                    <a:pt x="117" y="400"/>
                    <a:pt x="260" y="400"/>
                  </a:cubicBezTo>
                  <a:cubicBezTo>
                    <a:pt x="403" y="400"/>
                    <a:pt x="520" y="284"/>
                    <a:pt x="520" y="140"/>
                  </a:cubicBezTo>
                  <a:cubicBezTo>
                    <a:pt x="520" y="89"/>
                    <a:pt x="505" y="40"/>
                    <a:pt x="479" y="0"/>
                  </a:cubicBezTo>
                  <a:cubicBezTo>
                    <a:pt x="475" y="0"/>
                    <a:pt x="475" y="0"/>
                    <a:pt x="475" y="0"/>
                  </a:cubicBezTo>
                  <a:cubicBezTo>
                    <a:pt x="501" y="40"/>
                    <a:pt x="517" y="88"/>
                    <a:pt x="517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40" name="Group 339">
            <a:extLst>
              <a:ext uri="{FF2B5EF4-FFF2-40B4-BE49-F238E27FC236}">
                <a16:creationId xmlns:a16="http://schemas.microsoft.com/office/drawing/2014/main" id="{C6D4254A-ADE8-493A-931F-95F94E383891}"/>
              </a:ext>
            </a:extLst>
          </p:cNvPr>
          <p:cNvGrpSpPr/>
          <p:nvPr/>
        </p:nvGrpSpPr>
        <p:grpSpPr>
          <a:xfrm>
            <a:off x="-13334" y="125"/>
            <a:ext cx="3924023" cy="2346065"/>
            <a:chOff x="-3175" y="-26194"/>
            <a:chExt cx="5222875" cy="3122613"/>
          </a:xfrm>
          <a:solidFill>
            <a:schemeClr val="tx1">
              <a:alpha val="20000"/>
            </a:schemeClr>
          </a:solidFill>
        </p:grpSpPr>
        <p:sp>
          <p:nvSpPr>
            <p:cNvPr id="137" name="Freeform 45">
              <a:extLst>
                <a:ext uri="{FF2B5EF4-FFF2-40B4-BE49-F238E27FC236}">
                  <a16:creationId xmlns:a16="http://schemas.microsoft.com/office/drawing/2014/main" id="{27847BA4-93A2-4128-8FAF-D6B62ED51E88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6200" y="-26194"/>
              <a:ext cx="25400" cy="3175"/>
            </a:xfrm>
            <a:custGeom>
              <a:avLst/>
              <a:gdLst>
                <a:gd name="T0" fmla="*/ 0 w 8"/>
                <a:gd name="T1" fmla="*/ 1 h 1"/>
                <a:gd name="T2" fmla="*/ 8 w 8"/>
                <a:gd name="T3" fmla="*/ 1 h 1"/>
                <a:gd name="T4" fmla="*/ 8 w 8"/>
                <a:gd name="T5" fmla="*/ 0 h 1"/>
                <a:gd name="T6" fmla="*/ 0 w 8"/>
                <a:gd name="T7" fmla="*/ 0 h 1"/>
                <a:gd name="T8" fmla="*/ 0 w 8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0" y="1"/>
                  </a:move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46">
              <a:extLst>
                <a:ext uri="{FF2B5EF4-FFF2-40B4-BE49-F238E27FC236}">
                  <a16:creationId xmlns:a16="http://schemas.microsoft.com/office/drawing/2014/main" id="{DF20C6FE-A88A-4CA8-AFE9-D8AE31A6F6C5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75" y="1126331"/>
              <a:ext cx="25400" cy="168275"/>
            </a:xfrm>
            <a:custGeom>
              <a:avLst/>
              <a:gdLst>
                <a:gd name="T0" fmla="*/ 8 w 8"/>
                <a:gd name="T1" fmla="*/ 27 h 53"/>
                <a:gd name="T2" fmla="*/ 0 w 8"/>
                <a:gd name="T3" fmla="*/ 0 h 53"/>
                <a:gd name="T4" fmla="*/ 0 w 8"/>
                <a:gd name="T5" fmla="*/ 28 h 53"/>
                <a:gd name="T6" fmla="*/ 8 w 8"/>
                <a:gd name="T7" fmla="*/ 53 h 53"/>
                <a:gd name="T8" fmla="*/ 8 w 8"/>
                <a:gd name="T9" fmla="*/ 2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3">
                  <a:moveTo>
                    <a:pt x="8" y="27"/>
                  </a:moveTo>
                  <a:cubicBezTo>
                    <a:pt x="6" y="18"/>
                    <a:pt x="3" y="9"/>
                    <a:pt x="0" y="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3" y="36"/>
                    <a:pt x="6" y="44"/>
                    <a:pt x="8" y="53"/>
                  </a:cubicBezTo>
                  <a:lnTo>
                    <a:pt x="8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47">
              <a:extLst>
                <a:ext uri="{FF2B5EF4-FFF2-40B4-BE49-F238E27FC236}">
                  <a16:creationId xmlns:a16="http://schemas.microsoft.com/office/drawing/2014/main" id="{9CBD4880-0076-41D9-B6D2-2C812E24626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25" y="-23019"/>
              <a:ext cx="5197475" cy="3119438"/>
            </a:xfrm>
            <a:custGeom>
              <a:avLst/>
              <a:gdLst>
                <a:gd name="T0" fmla="*/ 1629 w 1637"/>
                <a:gd name="T1" fmla="*/ 140 h 982"/>
                <a:gd name="T2" fmla="*/ 796 w 1637"/>
                <a:gd name="T3" fmla="*/ 974 h 982"/>
                <a:gd name="T4" fmla="*/ 0 w 1637"/>
                <a:gd name="T5" fmla="*/ 389 h 982"/>
                <a:gd name="T6" fmla="*/ 0 w 1637"/>
                <a:gd name="T7" fmla="*/ 415 h 982"/>
                <a:gd name="T8" fmla="*/ 796 w 1637"/>
                <a:gd name="T9" fmla="*/ 982 h 982"/>
                <a:gd name="T10" fmla="*/ 1637 w 1637"/>
                <a:gd name="T11" fmla="*/ 140 h 982"/>
                <a:gd name="T12" fmla="*/ 1625 w 1637"/>
                <a:gd name="T13" fmla="*/ 0 h 982"/>
                <a:gd name="T14" fmla="*/ 1617 w 1637"/>
                <a:gd name="T15" fmla="*/ 0 h 982"/>
                <a:gd name="T16" fmla="*/ 1629 w 1637"/>
                <a:gd name="T17" fmla="*/ 140 h 9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37" h="982">
                  <a:moveTo>
                    <a:pt x="1629" y="140"/>
                  </a:moveTo>
                  <a:cubicBezTo>
                    <a:pt x="1629" y="600"/>
                    <a:pt x="1255" y="974"/>
                    <a:pt x="796" y="974"/>
                  </a:cubicBezTo>
                  <a:cubicBezTo>
                    <a:pt x="423" y="974"/>
                    <a:pt x="107" y="728"/>
                    <a:pt x="0" y="389"/>
                  </a:cubicBezTo>
                  <a:cubicBezTo>
                    <a:pt x="0" y="415"/>
                    <a:pt x="0" y="415"/>
                    <a:pt x="0" y="415"/>
                  </a:cubicBezTo>
                  <a:cubicBezTo>
                    <a:pt x="115" y="744"/>
                    <a:pt x="428" y="982"/>
                    <a:pt x="796" y="982"/>
                  </a:cubicBezTo>
                  <a:cubicBezTo>
                    <a:pt x="1260" y="982"/>
                    <a:pt x="1637" y="604"/>
                    <a:pt x="1637" y="140"/>
                  </a:cubicBezTo>
                  <a:cubicBezTo>
                    <a:pt x="1637" y="92"/>
                    <a:pt x="1633" y="45"/>
                    <a:pt x="1625" y="0"/>
                  </a:cubicBezTo>
                  <a:cubicBezTo>
                    <a:pt x="1617" y="0"/>
                    <a:pt x="1617" y="0"/>
                    <a:pt x="1617" y="0"/>
                  </a:cubicBezTo>
                  <a:cubicBezTo>
                    <a:pt x="1625" y="45"/>
                    <a:pt x="1629" y="92"/>
                    <a:pt x="1629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48">
              <a:extLst>
                <a:ext uri="{FF2B5EF4-FFF2-40B4-BE49-F238E27FC236}">
                  <a16:creationId xmlns:a16="http://schemas.microsoft.com/office/drawing/2014/main" id="{76B5F017-7B9D-4D0C-8182-329D5857C758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4750" y="-26194"/>
              <a:ext cx="25400" cy="3175"/>
            </a:xfrm>
            <a:custGeom>
              <a:avLst/>
              <a:gdLst>
                <a:gd name="T0" fmla="*/ 0 w 8"/>
                <a:gd name="T1" fmla="*/ 0 h 1"/>
                <a:gd name="T2" fmla="*/ 0 w 8"/>
                <a:gd name="T3" fmla="*/ 1 h 1"/>
                <a:gd name="T4" fmla="*/ 8 w 8"/>
                <a:gd name="T5" fmla="*/ 1 h 1"/>
                <a:gd name="T6" fmla="*/ 8 w 8"/>
                <a:gd name="T7" fmla="*/ 0 h 1"/>
                <a:gd name="T8" fmla="*/ 0 w 8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49">
              <a:extLst>
                <a:ext uri="{FF2B5EF4-FFF2-40B4-BE49-F238E27FC236}">
                  <a16:creationId xmlns:a16="http://schemas.microsoft.com/office/drawing/2014/main" id="{471DA159-A054-4E58-8701-B3E98FAF308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900" y="-26194"/>
              <a:ext cx="25400" cy="3175"/>
            </a:xfrm>
            <a:custGeom>
              <a:avLst/>
              <a:gdLst>
                <a:gd name="T0" fmla="*/ 8 w 8"/>
                <a:gd name="T1" fmla="*/ 0 h 1"/>
                <a:gd name="T2" fmla="*/ 0 w 8"/>
                <a:gd name="T3" fmla="*/ 0 h 1"/>
                <a:gd name="T4" fmla="*/ 0 w 8"/>
                <a:gd name="T5" fmla="*/ 1 h 1"/>
                <a:gd name="T6" fmla="*/ 8 w 8"/>
                <a:gd name="T7" fmla="*/ 1 h 1"/>
                <a:gd name="T8" fmla="*/ 8 w 8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50">
              <a:extLst>
                <a:ext uri="{FF2B5EF4-FFF2-40B4-BE49-F238E27FC236}">
                  <a16:creationId xmlns:a16="http://schemas.microsoft.com/office/drawing/2014/main" id="{87A9805E-F5DD-464B-A456-4B90E7D811F3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25" y="-23019"/>
              <a:ext cx="5003800" cy="2947988"/>
            </a:xfrm>
            <a:custGeom>
              <a:avLst/>
              <a:gdLst>
                <a:gd name="T0" fmla="*/ 1568 w 1576"/>
                <a:gd name="T1" fmla="*/ 140 h 928"/>
                <a:gd name="T2" fmla="*/ 788 w 1576"/>
                <a:gd name="T3" fmla="*/ 920 h 928"/>
                <a:gd name="T4" fmla="*/ 8 w 1576"/>
                <a:gd name="T5" fmla="*/ 140 h 928"/>
                <a:gd name="T6" fmla="*/ 21 w 1576"/>
                <a:gd name="T7" fmla="*/ 0 h 928"/>
                <a:gd name="T8" fmla="*/ 13 w 1576"/>
                <a:gd name="T9" fmla="*/ 0 h 928"/>
                <a:gd name="T10" fmla="*/ 0 w 1576"/>
                <a:gd name="T11" fmla="*/ 140 h 928"/>
                <a:gd name="T12" fmla="*/ 788 w 1576"/>
                <a:gd name="T13" fmla="*/ 928 h 928"/>
                <a:gd name="T14" fmla="*/ 1576 w 1576"/>
                <a:gd name="T15" fmla="*/ 140 h 928"/>
                <a:gd name="T16" fmla="*/ 1563 w 1576"/>
                <a:gd name="T17" fmla="*/ 0 h 928"/>
                <a:gd name="T18" fmla="*/ 1555 w 1576"/>
                <a:gd name="T19" fmla="*/ 0 h 928"/>
                <a:gd name="T20" fmla="*/ 1568 w 1576"/>
                <a:gd name="T21" fmla="*/ 140 h 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76" h="928">
                  <a:moveTo>
                    <a:pt x="1568" y="140"/>
                  </a:moveTo>
                  <a:cubicBezTo>
                    <a:pt x="1568" y="570"/>
                    <a:pt x="1218" y="920"/>
                    <a:pt x="788" y="920"/>
                  </a:cubicBezTo>
                  <a:cubicBezTo>
                    <a:pt x="358" y="920"/>
                    <a:pt x="8" y="570"/>
                    <a:pt x="8" y="140"/>
                  </a:cubicBezTo>
                  <a:cubicBezTo>
                    <a:pt x="8" y="92"/>
                    <a:pt x="13" y="45"/>
                    <a:pt x="21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4" y="45"/>
                    <a:pt x="0" y="92"/>
                    <a:pt x="0" y="140"/>
                  </a:cubicBezTo>
                  <a:cubicBezTo>
                    <a:pt x="0" y="575"/>
                    <a:pt x="354" y="928"/>
                    <a:pt x="788" y="928"/>
                  </a:cubicBezTo>
                  <a:cubicBezTo>
                    <a:pt x="1222" y="928"/>
                    <a:pt x="1576" y="575"/>
                    <a:pt x="1576" y="140"/>
                  </a:cubicBezTo>
                  <a:cubicBezTo>
                    <a:pt x="1576" y="92"/>
                    <a:pt x="1571" y="45"/>
                    <a:pt x="1563" y="0"/>
                  </a:cubicBezTo>
                  <a:cubicBezTo>
                    <a:pt x="1555" y="0"/>
                    <a:pt x="1555" y="0"/>
                    <a:pt x="1555" y="0"/>
                  </a:cubicBezTo>
                  <a:cubicBezTo>
                    <a:pt x="1563" y="45"/>
                    <a:pt x="1568" y="92"/>
                    <a:pt x="1568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51">
              <a:extLst>
                <a:ext uri="{FF2B5EF4-FFF2-40B4-BE49-F238E27FC236}">
                  <a16:creationId xmlns:a16="http://schemas.microsoft.com/office/drawing/2014/main" id="{D3785058-EB8C-4CD0-978F-840772CEE61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175" y="-26194"/>
              <a:ext cx="25400" cy="3175"/>
            </a:xfrm>
            <a:custGeom>
              <a:avLst/>
              <a:gdLst>
                <a:gd name="T0" fmla="*/ 8 w 8"/>
                <a:gd name="T1" fmla="*/ 1 h 1"/>
                <a:gd name="T2" fmla="*/ 8 w 8"/>
                <a:gd name="T3" fmla="*/ 0 h 1"/>
                <a:gd name="T4" fmla="*/ 0 w 8"/>
                <a:gd name="T5" fmla="*/ 0 h 1"/>
                <a:gd name="T6" fmla="*/ 0 w 8"/>
                <a:gd name="T7" fmla="*/ 1 h 1"/>
                <a:gd name="T8" fmla="*/ 8 w 8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8" y="1"/>
                  </a:moveTo>
                  <a:cubicBezTo>
                    <a:pt x="8" y="1"/>
                    <a:pt x="8" y="1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8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52">
              <a:extLst>
                <a:ext uri="{FF2B5EF4-FFF2-40B4-BE49-F238E27FC236}">
                  <a16:creationId xmlns:a16="http://schemas.microsoft.com/office/drawing/2014/main" id="{75EDAD21-83E1-40BF-BEBC-5DB0602A83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6475" y="-26194"/>
              <a:ext cx="25400" cy="3175"/>
            </a:xfrm>
            <a:custGeom>
              <a:avLst/>
              <a:gdLst>
                <a:gd name="T0" fmla="*/ 0 w 8"/>
                <a:gd name="T1" fmla="*/ 1 h 1"/>
                <a:gd name="T2" fmla="*/ 8 w 8"/>
                <a:gd name="T3" fmla="*/ 1 h 1"/>
                <a:gd name="T4" fmla="*/ 8 w 8"/>
                <a:gd name="T5" fmla="*/ 0 h 1"/>
                <a:gd name="T6" fmla="*/ 0 w 8"/>
                <a:gd name="T7" fmla="*/ 0 h 1"/>
                <a:gd name="T8" fmla="*/ 0 w 8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0" y="1"/>
                  </a:move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53">
              <a:extLst>
                <a:ext uri="{FF2B5EF4-FFF2-40B4-BE49-F238E27FC236}">
                  <a16:creationId xmlns:a16="http://schemas.microsoft.com/office/drawing/2014/main" id="{29E12117-908C-4DF3-BB42-34351D34709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900" y="-23019"/>
              <a:ext cx="4667250" cy="2782888"/>
            </a:xfrm>
            <a:custGeom>
              <a:avLst/>
              <a:gdLst>
                <a:gd name="T0" fmla="*/ 1462 w 1470"/>
                <a:gd name="T1" fmla="*/ 140 h 876"/>
                <a:gd name="T2" fmla="*/ 735 w 1470"/>
                <a:gd name="T3" fmla="*/ 868 h 876"/>
                <a:gd name="T4" fmla="*/ 7 w 1470"/>
                <a:gd name="T5" fmla="*/ 140 h 876"/>
                <a:gd name="T6" fmla="*/ 21 w 1470"/>
                <a:gd name="T7" fmla="*/ 0 h 876"/>
                <a:gd name="T8" fmla="*/ 13 w 1470"/>
                <a:gd name="T9" fmla="*/ 0 h 876"/>
                <a:gd name="T10" fmla="*/ 0 w 1470"/>
                <a:gd name="T11" fmla="*/ 140 h 876"/>
                <a:gd name="T12" fmla="*/ 735 w 1470"/>
                <a:gd name="T13" fmla="*/ 876 h 876"/>
                <a:gd name="T14" fmla="*/ 1470 w 1470"/>
                <a:gd name="T15" fmla="*/ 140 h 876"/>
                <a:gd name="T16" fmla="*/ 1457 w 1470"/>
                <a:gd name="T17" fmla="*/ 0 h 876"/>
                <a:gd name="T18" fmla="*/ 1449 w 1470"/>
                <a:gd name="T19" fmla="*/ 0 h 876"/>
                <a:gd name="T20" fmla="*/ 1462 w 1470"/>
                <a:gd name="T21" fmla="*/ 140 h 8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0" h="876">
                  <a:moveTo>
                    <a:pt x="1462" y="140"/>
                  </a:moveTo>
                  <a:cubicBezTo>
                    <a:pt x="1462" y="541"/>
                    <a:pt x="1136" y="868"/>
                    <a:pt x="735" y="868"/>
                  </a:cubicBezTo>
                  <a:cubicBezTo>
                    <a:pt x="334" y="868"/>
                    <a:pt x="7" y="541"/>
                    <a:pt x="7" y="140"/>
                  </a:cubicBezTo>
                  <a:cubicBezTo>
                    <a:pt x="7" y="92"/>
                    <a:pt x="12" y="45"/>
                    <a:pt x="21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4" y="45"/>
                    <a:pt x="0" y="92"/>
                    <a:pt x="0" y="140"/>
                  </a:cubicBezTo>
                  <a:cubicBezTo>
                    <a:pt x="0" y="546"/>
                    <a:pt x="329" y="876"/>
                    <a:pt x="735" y="876"/>
                  </a:cubicBezTo>
                  <a:cubicBezTo>
                    <a:pt x="1140" y="876"/>
                    <a:pt x="1470" y="546"/>
                    <a:pt x="1470" y="140"/>
                  </a:cubicBezTo>
                  <a:cubicBezTo>
                    <a:pt x="1470" y="92"/>
                    <a:pt x="1466" y="45"/>
                    <a:pt x="1457" y="0"/>
                  </a:cubicBezTo>
                  <a:cubicBezTo>
                    <a:pt x="1449" y="0"/>
                    <a:pt x="1449" y="0"/>
                    <a:pt x="1449" y="0"/>
                  </a:cubicBezTo>
                  <a:cubicBezTo>
                    <a:pt x="1458" y="45"/>
                    <a:pt x="1462" y="92"/>
                    <a:pt x="1462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54">
              <a:extLst>
                <a:ext uri="{FF2B5EF4-FFF2-40B4-BE49-F238E27FC236}">
                  <a16:creationId xmlns:a16="http://schemas.microsoft.com/office/drawing/2014/main" id="{A1E2D26A-C66A-41A2-ABF1-E951E0A0B17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8675" y="-26194"/>
              <a:ext cx="25400" cy="3175"/>
            </a:xfrm>
            <a:custGeom>
              <a:avLst/>
              <a:gdLst>
                <a:gd name="T0" fmla="*/ 0 w 8"/>
                <a:gd name="T1" fmla="*/ 0 h 1"/>
                <a:gd name="T2" fmla="*/ 0 w 8"/>
                <a:gd name="T3" fmla="*/ 1 h 1"/>
                <a:gd name="T4" fmla="*/ 8 w 8"/>
                <a:gd name="T5" fmla="*/ 1 h 1"/>
                <a:gd name="T6" fmla="*/ 8 w 8"/>
                <a:gd name="T7" fmla="*/ 0 h 1"/>
                <a:gd name="T8" fmla="*/ 0 w 8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55">
              <a:extLst>
                <a:ext uri="{FF2B5EF4-FFF2-40B4-BE49-F238E27FC236}">
                  <a16:creationId xmlns:a16="http://schemas.microsoft.com/office/drawing/2014/main" id="{292B6F60-E7A8-4745-B548-E749304D4BEC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975" y="-26194"/>
              <a:ext cx="25400" cy="3175"/>
            </a:xfrm>
            <a:custGeom>
              <a:avLst/>
              <a:gdLst>
                <a:gd name="T0" fmla="*/ 8 w 8"/>
                <a:gd name="T1" fmla="*/ 0 h 1"/>
                <a:gd name="T2" fmla="*/ 0 w 8"/>
                <a:gd name="T3" fmla="*/ 0 h 1"/>
                <a:gd name="T4" fmla="*/ 0 w 8"/>
                <a:gd name="T5" fmla="*/ 1 h 1"/>
                <a:gd name="T6" fmla="*/ 8 w 8"/>
                <a:gd name="T7" fmla="*/ 1 h 1"/>
                <a:gd name="T8" fmla="*/ 8 w 8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56">
              <a:extLst>
                <a:ext uri="{FF2B5EF4-FFF2-40B4-BE49-F238E27FC236}">
                  <a16:creationId xmlns:a16="http://schemas.microsoft.com/office/drawing/2014/main" id="{5664BAE2-151C-4840-AE81-EE02142AE53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350" y="-23019"/>
              <a:ext cx="4321175" cy="2608263"/>
            </a:xfrm>
            <a:custGeom>
              <a:avLst/>
              <a:gdLst>
                <a:gd name="T0" fmla="*/ 1353 w 1361"/>
                <a:gd name="T1" fmla="*/ 140 h 821"/>
                <a:gd name="T2" fmla="*/ 681 w 1361"/>
                <a:gd name="T3" fmla="*/ 813 h 821"/>
                <a:gd name="T4" fmla="*/ 8 w 1361"/>
                <a:gd name="T5" fmla="*/ 140 h 821"/>
                <a:gd name="T6" fmla="*/ 23 w 1361"/>
                <a:gd name="T7" fmla="*/ 0 h 821"/>
                <a:gd name="T8" fmla="*/ 15 w 1361"/>
                <a:gd name="T9" fmla="*/ 0 h 821"/>
                <a:gd name="T10" fmla="*/ 0 w 1361"/>
                <a:gd name="T11" fmla="*/ 140 h 821"/>
                <a:gd name="T12" fmla="*/ 681 w 1361"/>
                <a:gd name="T13" fmla="*/ 821 h 821"/>
                <a:gd name="T14" fmla="*/ 1361 w 1361"/>
                <a:gd name="T15" fmla="*/ 140 h 821"/>
                <a:gd name="T16" fmla="*/ 1347 w 1361"/>
                <a:gd name="T17" fmla="*/ 0 h 821"/>
                <a:gd name="T18" fmla="*/ 1339 w 1361"/>
                <a:gd name="T19" fmla="*/ 0 h 821"/>
                <a:gd name="T20" fmla="*/ 1353 w 1361"/>
                <a:gd name="T21" fmla="*/ 140 h 8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61" h="821">
                  <a:moveTo>
                    <a:pt x="1353" y="140"/>
                  </a:moveTo>
                  <a:cubicBezTo>
                    <a:pt x="1353" y="511"/>
                    <a:pt x="1052" y="813"/>
                    <a:pt x="681" y="813"/>
                  </a:cubicBezTo>
                  <a:cubicBezTo>
                    <a:pt x="310" y="813"/>
                    <a:pt x="8" y="511"/>
                    <a:pt x="8" y="140"/>
                  </a:cubicBezTo>
                  <a:cubicBezTo>
                    <a:pt x="8" y="92"/>
                    <a:pt x="13" y="45"/>
                    <a:pt x="23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5" y="45"/>
                    <a:pt x="0" y="92"/>
                    <a:pt x="0" y="140"/>
                  </a:cubicBezTo>
                  <a:cubicBezTo>
                    <a:pt x="0" y="515"/>
                    <a:pt x="306" y="821"/>
                    <a:pt x="681" y="821"/>
                  </a:cubicBezTo>
                  <a:cubicBezTo>
                    <a:pt x="1056" y="821"/>
                    <a:pt x="1361" y="515"/>
                    <a:pt x="1361" y="140"/>
                  </a:cubicBezTo>
                  <a:cubicBezTo>
                    <a:pt x="1361" y="92"/>
                    <a:pt x="1356" y="45"/>
                    <a:pt x="1347" y="0"/>
                  </a:cubicBezTo>
                  <a:cubicBezTo>
                    <a:pt x="1339" y="0"/>
                    <a:pt x="1339" y="0"/>
                    <a:pt x="1339" y="0"/>
                  </a:cubicBezTo>
                  <a:cubicBezTo>
                    <a:pt x="1348" y="45"/>
                    <a:pt x="1353" y="92"/>
                    <a:pt x="1353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57">
              <a:extLst>
                <a:ext uri="{FF2B5EF4-FFF2-40B4-BE49-F238E27FC236}">
                  <a16:creationId xmlns:a16="http://schemas.microsoft.com/office/drawing/2014/main" id="{A73A4CDE-849D-4295-BCA0-5271322F8E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3100" y="-26194"/>
              <a:ext cx="25400" cy="3175"/>
            </a:xfrm>
            <a:custGeom>
              <a:avLst/>
              <a:gdLst>
                <a:gd name="T0" fmla="*/ 0 w 8"/>
                <a:gd name="T1" fmla="*/ 1 h 1"/>
                <a:gd name="T2" fmla="*/ 8 w 8"/>
                <a:gd name="T3" fmla="*/ 1 h 1"/>
                <a:gd name="T4" fmla="*/ 8 w 8"/>
                <a:gd name="T5" fmla="*/ 0 h 1"/>
                <a:gd name="T6" fmla="*/ 0 w 8"/>
                <a:gd name="T7" fmla="*/ 0 h 1"/>
                <a:gd name="T8" fmla="*/ 0 w 8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0" y="1"/>
                  </a:move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8">
              <a:extLst>
                <a:ext uri="{FF2B5EF4-FFF2-40B4-BE49-F238E27FC236}">
                  <a16:creationId xmlns:a16="http://schemas.microsoft.com/office/drawing/2014/main" id="{C174E966-E6CF-473A-AB7B-391CF9F3A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550" y="-26194"/>
              <a:ext cx="25400" cy="3175"/>
            </a:xfrm>
            <a:custGeom>
              <a:avLst/>
              <a:gdLst>
                <a:gd name="T0" fmla="*/ 8 w 8"/>
                <a:gd name="T1" fmla="*/ 1 h 1"/>
                <a:gd name="T2" fmla="*/ 8 w 8"/>
                <a:gd name="T3" fmla="*/ 0 h 1"/>
                <a:gd name="T4" fmla="*/ 0 w 8"/>
                <a:gd name="T5" fmla="*/ 0 h 1"/>
                <a:gd name="T6" fmla="*/ 0 w 8"/>
                <a:gd name="T7" fmla="*/ 1 h 1"/>
                <a:gd name="T8" fmla="*/ 8 w 8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8" y="1"/>
                  </a:moveTo>
                  <a:cubicBezTo>
                    <a:pt x="8" y="1"/>
                    <a:pt x="8" y="1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8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9">
              <a:extLst>
                <a:ext uri="{FF2B5EF4-FFF2-40B4-BE49-F238E27FC236}">
                  <a16:creationId xmlns:a16="http://schemas.microsoft.com/office/drawing/2014/main" id="{CB8A1EE2-5F59-4382-A814-F673EBABD3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750" y="-23019"/>
              <a:ext cx="4019550" cy="2455863"/>
            </a:xfrm>
            <a:custGeom>
              <a:avLst/>
              <a:gdLst>
                <a:gd name="T0" fmla="*/ 1258 w 1266"/>
                <a:gd name="T1" fmla="*/ 140 h 773"/>
                <a:gd name="T2" fmla="*/ 633 w 1266"/>
                <a:gd name="T3" fmla="*/ 765 h 773"/>
                <a:gd name="T4" fmla="*/ 8 w 1266"/>
                <a:gd name="T5" fmla="*/ 140 h 773"/>
                <a:gd name="T6" fmla="*/ 24 w 1266"/>
                <a:gd name="T7" fmla="*/ 0 h 773"/>
                <a:gd name="T8" fmla="*/ 16 w 1266"/>
                <a:gd name="T9" fmla="*/ 0 h 773"/>
                <a:gd name="T10" fmla="*/ 0 w 1266"/>
                <a:gd name="T11" fmla="*/ 140 h 773"/>
                <a:gd name="T12" fmla="*/ 633 w 1266"/>
                <a:gd name="T13" fmla="*/ 773 h 773"/>
                <a:gd name="T14" fmla="*/ 1266 w 1266"/>
                <a:gd name="T15" fmla="*/ 140 h 773"/>
                <a:gd name="T16" fmla="*/ 1250 w 1266"/>
                <a:gd name="T17" fmla="*/ 0 h 773"/>
                <a:gd name="T18" fmla="*/ 1242 w 1266"/>
                <a:gd name="T19" fmla="*/ 0 h 773"/>
                <a:gd name="T20" fmla="*/ 1258 w 1266"/>
                <a:gd name="T21" fmla="*/ 140 h 7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66" h="773">
                  <a:moveTo>
                    <a:pt x="1258" y="140"/>
                  </a:moveTo>
                  <a:cubicBezTo>
                    <a:pt x="1258" y="485"/>
                    <a:pt x="977" y="765"/>
                    <a:pt x="633" y="765"/>
                  </a:cubicBezTo>
                  <a:cubicBezTo>
                    <a:pt x="288" y="765"/>
                    <a:pt x="8" y="485"/>
                    <a:pt x="8" y="140"/>
                  </a:cubicBezTo>
                  <a:cubicBezTo>
                    <a:pt x="8" y="92"/>
                    <a:pt x="14" y="45"/>
                    <a:pt x="24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5" y="45"/>
                    <a:pt x="0" y="92"/>
                    <a:pt x="0" y="140"/>
                  </a:cubicBezTo>
                  <a:cubicBezTo>
                    <a:pt x="0" y="489"/>
                    <a:pt x="284" y="773"/>
                    <a:pt x="633" y="773"/>
                  </a:cubicBezTo>
                  <a:cubicBezTo>
                    <a:pt x="982" y="773"/>
                    <a:pt x="1266" y="489"/>
                    <a:pt x="1266" y="140"/>
                  </a:cubicBezTo>
                  <a:cubicBezTo>
                    <a:pt x="1266" y="92"/>
                    <a:pt x="1260" y="45"/>
                    <a:pt x="1250" y="0"/>
                  </a:cubicBezTo>
                  <a:cubicBezTo>
                    <a:pt x="1242" y="0"/>
                    <a:pt x="1242" y="0"/>
                    <a:pt x="1242" y="0"/>
                  </a:cubicBezTo>
                  <a:cubicBezTo>
                    <a:pt x="1252" y="45"/>
                    <a:pt x="1258" y="92"/>
                    <a:pt x="1258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7" name="Group 256">
            <a:extLst>
              <a:ext uri="{FF2B5EF4-FFF2-40B4-BE49-F238E27FC236}">
                <a16:creationId xmlns:a16="http://schemas.microsoft.com/office/drawing/2014/main" id="{A29DB5B7-0555-459B-9F65-3319DED168F5}"/>
              </a:ext>
            </a:extLst>
          </p:cNvPr>
          <p:cNvGrpSpPr/>
          <p:nvPr/>
        </p:nvGrpSpPr>
        <p:grpSpPr>
          <a:xfrm>
            <a:off x="7174030" y="1876"/>
            <a:ext cx="1823657" cy="1583922"/>
            <a:chOff x="6653646" y="-7355168"/>
            <a:chExt cx="2427288" cy="2108200"/>
          </a:xfrm>
          <a:solidFill>
            <a:schemeClr val="tx1">
              <a:lumMod val="85000"/>
              <a:lumOff val="15000"/>
              <a:alpha val="10000"/>
            </a:schemeClr>
          </a:solidFill>
        </p:grpSpPr>
        <p:sp>
          <p:nvSpPr>
            <p:cNvPr id="321" name="Freeform 12">
              <a:extLst>
                <a:ext uri="{FF2B5EF4-FFF2-40B4-BE49-F238E27FC236}">
                  <a16:creationId xmlns:a16="http://schemas.microsoft.com/office/drawing/2014/main" id="{F7A96A7E-AB5C-47E5-9D4A-3E5F195E6915}"/>
                </a:ext>
              </a:extLst>
            </p:cNvPr>
            <p:cNvSpPr>
              <a:spLocks/>
            </p:cNvSpPr>
            <p:nvPr/>
          </p:nvSpPr>
          <p:spPr bwMode="auto">
            <a:xfrm>
              <a:off x="7050521" y="-7355168"/>
              <a:ext cx="1633538" cy="98425"/>
            </a:xfrm>
            <a:custGeom>
              <a:avLst/>
              <a:gdLst>
                <a:gd name="T0" fmla="*/ 477 w 515"/>
                <a:gd name="T1" fmla="*/ 0 h 31"/>
                <a:gd name="T2" fmla="*/ 38 w 515"/>
                <a:gd name="T3" fmla="*/ 0 h 31"/>
                <a:gd name="T4" fmla="*/ 0 w 515"/>
                <a:gd name="T5" fmla="*/ 31 h 31"/>
                <a:gd name="T6" fmla="*/ 515 w 515"/>
                <a:gd name="T7" fmla="*/ 31 h 31"/>
                <a:gd name="T8" fmla="*/ 477 w 515"/>
                <a:gd name="T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5" h="31">
                  <a:moveTo>
                    <a:pt x="477" y="0"/>
                  </a:moveTo>
                  <a:cubicBezTo>
                    <a:pt x="38" y="0"/>
                    <a:pt x="38" y="0"/>
                    <a:pt x="38" y="0"/>
                  </a:cubicBezTo>
                  <a:cubicBezTo>
                    <a:pt x="25" y="10"/>
                    <a:pt x="12" y="20"/>
                    <a:pt x="0" y="31"/>
                  </a:cubicBezTo>
                  <a:cubicBezTo>
                    <a:pt x="515" y="31"/>
                    <a:pt x="515" y="31"/>
                    <a:pt x="515" y="31"/>
                  </a:cubicBezTo>
                  <a:cubicBezTo>
                    <a:pt x="503" y="20"/>
                    <a:pt x="490" y="10"/>
                    <a:pt x="477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2" name="Freeform 13">
              <a:extLst>
                <a:ext uri="{FF2B5EF4-FFF2-40B4-BE49-F238E27FC236}">
                  <a16:creationId xmlns:a16="http://schemas.microsoft.com/office/drawing/2014/main" id="{4950D9C4-4A87-42A8-B79F-AC4500886101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0021" y="-7129743"/>
              <a:ext cx="2017713" cy="95250"/>
            </a:xfrm>
            <a:custGeom>
              <a:avLst/>
              <a:gdLst>
                <a:gd name="T0" fmla="*/ 613 w 636"/>
                <a:gd name="T1" fmla="*/ 0 h 30"/>
                <a:gd name="T2" fmla="*/ 22 w 636"/>
                <a:gd name="T3" fmla="*/ 0 h 30"/>
                <a:gd name="T4" fmla="*/ 0 w 636"/>
                <a:gd name="T5" fmla="*/ 30 h 30"/>
                <a:gd name="T6" fmla="*/ 636 w 636"/>
                <a:gd name="T7" fmla="*/ 30 h 30"/>
                <a:gd name="T8" fmla="*/ 613 w 636"/>
                <a:gd name="T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6" h="30">
                  <a:moveTo>
                    <a:pt x="613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14" y="9"/>
                    <a:pt x="7" y="20"/>
                    <a:pt x="0" y="30"/>
                  </a:cubicBezTo>
                  <a:cubicBezTo>
                    <a:pt x="636" y="30"/>
                    <a:pt x="636" y="30"/>
                    <a:pt x="636" y="30"/>
                  </a:cubicBezTo>
                  <a:cubicBezTo>
                    <a:pt x="629" y="20"/>
                    <a:pt x="621" y="9"/>
                    <a:pt x="613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3" name="Freeform 14">
              <a:extLst>
                <a:ext uri="{FF2B5EF4-FFF2-40B4-BE49-F238E27FC236}">
                  <a16:creationId xmlns:a16="http://schemas.microsoft.com/office/drawing/2014/main" id="{30D6FC18-4D3F-4E8F-AB95-6D5FFC6ED9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742546" y="-6907493"/>
              <a:ext cx="2252663" cy="98425"/>
            </a:xfrm>
            <a:custGeom>
              <a:avLst/>
              <a:gdLst>
                <a:gd name="T0" fmla="*/ 696 w 710"/>
                <a:gd name="T1" fmla="*/ 0 h 31"/>
                <a:gd name="T2" fmla="*/ 13 w 710"/>
                <a:gd name="T3" fmla="*/ 0 h 31"/>
                <a:gd name="T4" fmla="*/ 0 w 710"/>
                <a:gd name="T5" fmla="*/ 31 h 31"/>
                <a:gd name="T6" fmla="*/ 710 w 710"/>
                <a:gd name="T7" fmla="*/ 31 h 31"/>
                <a:gd name="T8" fmla="*/ 696 w 710"/>
                <a:gd name="T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0" h="31">
                  <a:moveTo>
                    <a:pt x="69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8" y="10"/>
                    <a:pt x="4" y="20"/>
                    <a:pt x="0" y="31"/>
                  </a:cubicBezTo>
                  <a:cubicBezTo>
                    <a:pt x="710" y="31"/>
                    <a:pt x="710" y="31"/>
                    <a:pt x="710" y="31"/>
                  </a:cubicBezTo>
                  <a:cubicBezTo>
                    <a:pt x="706" y="20"/>
                    <a:pt x="701" y="10"/>
                    <a:pt x="696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4" name="Freeform 15">
              <a:extLst>
                <a:ext uri="{FF2B5EF4-FFF2-40B4-BE49-F238E27FC236}">
                  <a16:creationId xmlns:a16="http://schemas.microsoft.com/office/drawing/2014/main" id="{4F3DA40D-BD17-4160-8E19-930EAEAC5FEA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5871" y="-6685243"/>
              <a:ext cx="2382838" cy="98425"/>
            </a:xfrm>
            <a:custGeom>
              <a:avLst/>
              <a:gdLst>
                <a:gd name="T0" fmla="*/ 744 w 751"/>
                <a:gd name="T1" fmla="*/ 0 h 31"/>
                <a:gd name="T2" fmla="*/ 7 w 751"/>
                <a:gd name="T3" fmla="*/ 0 h 31"/>
                <a:gd name="T4" fmla="*/ 0 w 751"/>
                <a:gd name="T5" fmla="*/ 31 h 31"/>
                <a:gd name="T6" fmla="*/ 751 w 751"/>
                <a:gd name="T7" fmla="*/ 31 h 31"/>
                <a:gd name="T8" fmla="*/ 744 w 751"/>
                <a:gd name="T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1" h="31">
                  <a:moveTo>
                    <a:pt x="744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4" y="10"/>
                    <a:pt x="2" y="20"/>
                    <a:pt x="0" y="31"/>
                  </a:cubicBezTo>
                  <a:cubicBezTo>
                    <a:pt x="751" y="31"/>
                    <a:pt x="751" y="31"/>
                    <a:pt x="751" y="31"/>
                  </a:cubicBezTo>
                  <a:cubicBezTo>
                    <a:pt x="749" y="20"/>
                    <a:pt x="747" y="10"/>
                    <a:pt x="744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5" name="Freeform 16">
              <a:extLst>
                <a:ext uri="{FF2B5EF4-FFF2-40B4-BE49-F238E27FC236}">
                  <a16:creationId xmlns:a16="http://schemas.microsoft.com/office/drawing/2014/main" id="{57466519-CA32-4EF9-AFED-F5DC8778F5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3646" y="-6462993"/>
              <a:ext cx="2427288" cy="98425"/>
            </a:xfrm>
            <a:custGeom>
              <a:avLst/>
              <a:gdLst>
                <a:gd name="T0" fmla="*/ 764 w 765"/>
                <a:gd name="T1" fmla="*/ 0 h 31"/>
                <a:gd name="T2" fmla="*/ 2 w 765"/>
                <a:gd name="T3" fmla="*/ 0 h 31"/>
                <a:gd name="T4" fmla="*/ 0 w 765"/>
                <a:gd name="T5" fmla="*/ 31 h 31"/>
                <a:gd name="T6" fmla="*/ 765 w 765"/>
                <a:gd name="T7" fmla="*/ 31 h 31"/>
                <a:gd name="T8" fmla="*/ 764 w 765"/>
                <a:gd name="T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5" h="31">
                  <a:moveTo>
                    <a:pt x="764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11"/>
                    <a:pt x="0" y="21"/>
                    <a:pt x="0" y="31"/>
                  </a:cubicBezTo>
                  <a:cubicBezTo>
                    <a:pt x="765" y="31"/>
                    <a:pt x="765" y="31"/>
                    <a:pt x="765" y="31"/>
                  </a:cubicBezTo>
                  <a:cubicBezTo>
                    <a:pt x="765" y="21"/>
                    <a:pt x="765" y="11"/>
                    <a:pt x="764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6" name="Freeform 17">
              <a:extLst>
                <a:ext uri="{FF2B5EF4-FFF2-40B4-BE49-F238E27FC236}">
                  <a16:creationId xmlns:a16="http://schemas.microsoft.com/office/drawing/2014/main" id="{70E490E4-29A5-45E0-AE26-3E64D993E8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9996" y="-6237568"/>
              <a:ext cx="2414588" cy="95250"/>
            </a:xfrm>
            <a:custGeom>
              <a:avLst/>
              <a:gdLst>
                <a:gd name="T0" fmla="*/ 761 w 761"/>
                <a:gd name="T1" fmla="*/ 0 h 30"/>
                <a:gd name="T2" fmla="*/ 0 w 761"/>
                <a:gd name="T3" fmla="*/ 0 h 30"/>
                <a:gd name="T4" fmla="*/ 4 w 761"/>
                <a:gd name="T5" fmla="*/ 30 h 30"/>
                <a:gd name="T6" fmla="*/ 757 w 761"/>
                <a:gd name="T7" fmla="*/ 30 h 30"/>
                <a:gd name="T8" fmla="*/ 761 w 761"/>
                <a:gd name="T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1" h="30">
                  <a:moveTo>
                    <a:pt x="76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10"/>
                    <a:pt x="3" y="20"/>
                    <a:pt x="4" y="30"/>
                  </a:cubicBezTo>
                  <a:cubicBezTo>
                    <a:pt x="757" y="30"/>
                    <a:pt x="757" y="30"/>
                    <a:pt x="757" y="30"/>
                  </a:cubicBezTo>
                  <a:cubicBezTo>
                    <a:pt x="759" y="20"/>
                    <a:pt x="760" y="10"/>
                    <a:pt x="76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7" name="Freeform 18">
              <a:extLst>
                <a:ext uri="{FF2B5EF4-FFF2-40B4-BE49-F238E27FC236}">
                  <a16:creationId xmlns:a16="http://schemas.microsoft.com/office/drawing/2014/main" id="{ADF44C51-D053-43D4-A527-280670B361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4446" y="-6015318"/>
              <a:ext cx="2325688" cy="98425"/>
            </a:xfrm>
            <a:custGeom>
              <a:avLst/>
              <a:gdLst>
                <a:gd name="T0" fmla="*/ 733 w 733"/>
                <a:gd name="T1" fmla="*/ 0 h 31"/>
                <a:gd name="T2" fmla="*/ 0 w 733"/>
                <a:gd name="T3" fmla="*/ 0 h 31"/>
                <a:gd name="T4" fmla="*/ 10 w 733"/>
                <a:gd name="T5" fmla="*/ 31 h 31"/>
                <a:gd name="T6" fmla="*/ 723 w 733"/>
                <a:gd name="T7" fmla="*/ 31 h 31"/>
                <a:gd name="T8" fmla="*/ 733 w 733"/>
                <a:gd name="T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3" h="31">
                  <a:moveTo>
                    <a:pt x="73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" y="11"/>
                    <a:pt x="6" y="21"/>
                    <a:pt x="10" y="31"/>
                  </a:cubicBezTo>
                  <a:cubicBezTo>
                    <a:pt x="723" y="31"/>
                    <a:pt x="723" y="31"/>
                    <a:pt x="723" y="31"/>
                  </a:cubicBezTo>
                  <a:cubicBezTo>
                    <a:pt x="727" y="21"/>
                    <a:pt x="730" y="11"/>
                    <a:pt x="733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8" name="Freeform 19">
              <a:extLst>
                <a:ext uri="{FF2B5EF4-FFF2-40B4-BE49-F238E27FC236}">
                  <a16:creationId xmlns:a16="http://schemas.microsoft.com/office/drawing/2014/main" id="{084336B6-5E12-4ADA-AFFF-6F2DCEC5799E}"/>
                </a:ext>
              </a:extLst>
            </p:cNvPr>
            <p:cNvSpPr>
              <a:spLocks/>
            </p:cNvSpPr>
            <p:nvPr/>
          </p:nvSpPr>
          <p:spPr bwMode="auto">
            <a:xfrm>
              <a:off x="6796521" y="-5793068"/>
              <a:ext cx="2144713" cy="98425"/>
            </a:xfrm>
            <a:custGeom>
              <a:avLst/>
              <a:gdLst>
                <a:gd name="T0" fmla="*/ 676 w 676"/>
                <a:gd name="T1" fmla="*/ 0 h 31"/>
                <a:gd name="T2" fmla="*/ 0 w 676"/>
                <a:gd name="T3" fmla="*/ 0 h 31"/>
                <a:gd name="T4" fmla="*/ 18 w 676"/>
                <a:gd name="T5" fmla="*/ 31 h 31"/>
                <a:gd name="T6" fmla="*/ 658 w 676"/>
                <a:gd name="T7" fmla="*/ 31 h 31"/>
                <a:gd name="T8" fmla="*/ 676 w 676"/>
                <a:gd name="T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6" h="31">
                  <a:moveTo>
                    <a:pt x="67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" y="11"/>
                    <a:pt x="11" y="21"/>
                    <a:pt x="18" y="31"/>
                  </a:cubicBezTo>
                  <a:cubicBezTo>
                    <a:pt x="658" y="31"/>
                    <a:pt x="658" y="31"/>
                    <a:pt x="658" y="31"/>
                  </a:cubicBezTo>
                  <a:cubicBezTo>
                    <a:pt x="664" y="21"/>
                    <a:pt x="670" y="11"/>
                    <a:pt x="676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9" name="Freeform 20">
              <a:extLst>
                <a:ext uri="{FF2B5EF4-FFF2-40B4-BE49-F238E27FC236}">
                  <a16:creationId xmlns:a16="http://schemas.microsoft.com/office/drawing/2014/main" id="{F5236D35-F2B0-4525-8E68-2B71ED428B19}"/>
                </a:ext>
              </a:extLst>
            </p:cNvPr>
            <p:cNvSpPr>
              <a:spLocks/>
            </p:cNvSpPr>
            <p:nvPr/>
          </p:nvSpPr>
          <p:spPr bwMode="auto">
            <a:xfrm>
              <a:off x="6948921" y="-5567643"/>
              <a:ext cx="1839913" cy="95250"/>
            </a:xfrm>
            <a:custGeom>
              <a:avLst/>
              <a:gdLst>
                <a:gd name="T0" fmla="*/ 580 w 580"/>
                <a:gd name="T1" fmla="*/ 0 h 30"/>
                <a:gd name="T2" fmla="*/ 0 w 580"/>
                <a:gd name="T3" fmla="*/ 0 h 30"/>
                <a:gd name="T4" fmla="*/ 29 w 580"/>
                <a:gd name="T5" fmla="*/ 30 h 30"/>
                <a:gd name="T6" fmla="*/ 550 w 580"/>
                <a:gd name="T7" fmla="*/ 30 h 30"/>
                <a:gd name="T8" fmla="*/ 580 w 580"/>
                <a:gd name="T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0" h="30">
                  <a:moveTo>
                    <a:pt x="58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11"/>
                    <a:pt x="19" y="21"/>
                    <a:pt x="29" y="30"/>
                  </a:cubicBezTo>
                  <a:cubicBezTo>
                    <a:pt x="550" y="30"/>
                    <a:pt x="550" y="30"/>
                    <a:pt x="550" y="30"/>
                  </a:cubicBezTo>
                  <a:cubicBezTo>
                    <a:pt x="561" y="21"/>
                    <a:pt x="570" y="11"/>
                    <a:pt x="58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0" name="Freeform 21">
              <a:extLst>
                <a:ext uri="{FF2B5EF4-FFF2-40B4-BE49-F238E27FC236}">
                  <a16:creationId xmlns:a16="http://schemas.microsoft.com/office/drawing/2014/main" id="{C599B44A-05A9-4838-8587-449C692CB40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2921" y="-5345393"/>
              <a:ext cx="1331913" cy="98425"/>
            </a:xfrm>
            <a:custGeom>
              <a:avLst/>
              <a:gdLst>
                <a:gd name="T0" fmla="*/ 420 w 420"/>
                <a:gd name="T1" fmla="*/ 0 h 31"/>
                <a:gd name="T2" fmla="*/ 0 w 420"/>
                <a:gd name="T3" fmla="*/ 0 h 31"/>
                <a:gd name="T4" fmla="*/ 56 w 420"/>
                <a:gd name="T5" fmla="*/ 31 h 31"/>
                <a:gd name="T6" fmla="*/ 364 w 420"/>
                <a:gd name="T7" fmla="*/ 31 h 31"/>
                <a:gd name="T8" fmla="*/ 420 w 420"/>
                <a:gd name="T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0" h="31">
                  <a:moveTo>
                    <a:pt x="42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7" y="12"/>
                    <a:pt x="36" y="22"/>
                    <a:pt x="56" y="31"/>
                  </a:cubicBezTo>
                  <a:cubicBezTo>
                    <a:pt x="364" y="31"/>
                    <a:pt x="364" y="31"/>
                    <a:pt x="364" y="31"/>
                  </a:cubicBezTo>
                  <a:cubicBezTo>
                    <a:pt x="383" y="22"/>
                    <a:pt x="402" y="12"/>
                    <a:pt x="42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8" name="Group 257">
            <a:extLst>
              <a:ext uri="{FF2B5EF4-FFF2-40B4-BE49-F238E27FC236}">
                <a16:creationId xmlns:a16="http://schemas.microsoft.com/office/drawing/2014/main" id="{61772B6B-264A-4DC2-9F6E-D737597DCE2D}"/>
              </a:ext>
            </a:extLst>
          </p:cNvPr>
          <p:cNvGrpSpPr/>
          <p:nvPr/>
        </p:nvGrpSpPr>
        <p:grpSpPr>
          <a:xfrm>
            <a:off x="3032411" y="173037"/>
            <a:ext cx="1497013" cy="1435100"/>
            <a:chOff x="688975" y="-5719961"/>
            <a:chExt cx="1497013" cy="1435100"/>
          </a:xfrm>
          <a:solidFill>
            <a:schemeClr val="tx1">
              <a:lumMod val="85000"/>
              <a:lumOff val="15000"/>
              <a:alpha val="10000"/>
            </a:schemeClr>
          </a:solidFill>
        </p:grpSpPr>
        <p:sp>
          <p:nvSpPr>
            <p:cNvPr id="310" name="Freeform 22">
              <a:extLst>
                <a:ext uri="{FF2B5EF4-FFF2-40B4-BE49-F238E27FC236}">
                  <a16:creationId xmlns:a16="http://schemas.microsoft.com/office/drawing/2014/main" id="{7812916D-0F4F-4A84-86EA-DD1342D43B24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450" y="-5583436"/>
              <a:ext cx="1008063" cy="60325"/>
            </a:xfrm>
            <a:custGeom>
              <a:avLst/>
              <a:gdLst>
                <a:gd name="T0" fmla="*/ 294 w 318"/>
                <a:gd name="T1" fmla="*/ 0 h 19"/>
                <a:gd name="T2" fmla="*/ 24 w 318"/>
                <a:gd name="T3" fmla="*/ 0 h 19"/>
                <a:gd name="T4" fmla="*/ 0 w 318"/>
                <a:gd name="T5" fmla="*/ 19 h 19"/>
                <a:gd name="T6" fmla="*/ 318 w 318"/>
                <a:gd name="T7" fmla="*/ 19 h 19"/>
                <a:gd name="T8" fmla="*/ 294 w 318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8" h="19">
                  <a:moveTo>
                    <a:pt x="29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16" y="6"/>
                    <a:pt x="8" y="12"/>
                    <a:pt x="0" y="19"/>
                  </a:cubicBezTo>
                  <a:cubicBezTo>
                    <a:pt x="318" y="19"/>
                    <a:pt x="318" y="19"/>
                    <a:pt x="318" y="19"/>
                  </a:cubicBezTo>
                  <a:cubicBezTo>
                    <a:pt x="310" y="12"/>
                    <a:pt x="302" y="6"/>
                    <a:pt x="294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1" name="Freeform 23">
              <a:extLst>
                <a:ext uri="{FF2B5EF4-FFF2-40B4-BE49-F238E27FC236}">
                  <a16:creationId xmlns:a16="http://schemas.microsoft.com/office/drawing/2014/main" id="{D1DAFE6B-5A1C-4C85-9C75-43A0CB8085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9350" y="-5719961"/>
              <a:ext cx="576263" cy="57150"/>
            </a:xfrm>
            <a:custGeom>
              <a:avLst/>
              <a:gdLst>
                <a:gd name="T0" fmla="*/ 91 w 182"/>
                <a:gd name="T1" fmla="*/ 0 h 18"/>
                <a:gd name="T2" fmla="*/ 0 w 182"/>
                <a:gd name="T3" fmla="*/ 18 h 18"/>
                <a:gd name="T4" fmla="*/ 182 w 182"/>
                <a:gd name="T5" fmla="*/ 18 h 18"/>
                <a:gd name="T6" fmla="*/ 91 w 182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2" h="18">
                  <a:moveTo>
                    <a:pt x="91" y="0"/>
                  </a:moveTo>
                  <a:cubicBezTo>
                    <a:pt x="59" y="0"/>
                    <a:pt x="28" y="7"/>
                    <a:pt x="0" y="18"/>
                  </a:cubicBezTo>
                  <a:cubicBezTo>
                    <a:pt x="182" y="18"/>
                    <a:pt x="182" y="18"/>
                    <a:pt x="182" y="18"/>
                  </a:cubicBezTo>
                  <a:cubicBezTo>
                    <a:pt x="154" y="7"/>
                    <a:pt x="123" y="0"/>
                    <a:pt x="9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2" name="Freeform 24">
              <a:extLst>
                <a:ext uri="{FF2B5EF4-FFF2-40B4-BE49-F238E27FC236}">
                  <a16:creationId xmlns:a16="http://schemas.microsoft.com/office/drawing/2014/main" id="{FDFBFE35-40AE-448D-9BCC-188842AE938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975" y="-5446911"/>
              <a:ext cx="1243013" cy="60325"/>
            </a:xfrm>
            <a:custGeom>
              <a:avLst/>
              <a:gdLst>
                <a:gd name="T0" fmla="*/ 378 w 392"/>
                <a:gd name="T1" fmla="*/ 0 h 19"/>
                <a:gd name="T2" fmla="*/ 14 w 392"/>
                <a:gd name="T3" fmla="*/ 0 h 19"/>
                <a:gd name="T4" fmla="*/ 0 w 392"/>
                <a:gd name="T5" fmla="*/ 19 h 19"/>
                <a:gd name="T6" fmla="*/ 392 w 392"/>
                <a:gd name="T7" fmla="*/ 19 h 19"/>
                <a:gd name="T8" fmla="*/ 378 w 392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2" h="19">
                  <a:moveTo>
                    <a:pt x="378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9" y="6"/>
                    <a:pt x="4" y="12"/>
                    <a:pt x="0" y="19"/>
                  </a:cubicBezTo>
                  <a:cubicBezTo>
                    <a:pt x="392" y="19"/>
                    <a:pt x="392" y="19"/>
                    <a:pt x="392" y="19"/>
                  </a:cubicBezTo>
                  <a:cubicBezTo>
                    <a:pt x="387" y="12"/>
                    <a:pt x="383" y="6"/>
                    <a:pt x="378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3" name="Freeform 25">
              <a:extLst>
                <a:ext uri="{FF2B5EF4-FFF2-40B4-BE49-F238E27FC236}">
                  <a16:creationId xmlns:a16="http://schemas.microsoft.com/office/drawing/2014/main" id="{E445E5B9-F728-42A0-BECA-3044BEA07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742950" y="-5310386"/>
              <a:ext cx="1389063" cy="60325"/>
            </a:xfrm>
            <a:custGeom>
              <a:avLst/>
              <a:gdLst>
                <a:gd name="T0" fmla="*/ 429 w 438"/>
                <a:gd name="T1" fmla="*/ 0 h 19"/>
                <a:gd name="T2" fmla="*/ 9 w 438"/>
                <a:gd name="T3" fmla="*/ 0 h 19"/>
                <a:gd name="T4" fmla="*/ 0 w 438"/>
                <a:gd name="T5" fmla="*/ 19 h 19"/>
                <a:gd name="T6" fmla="*/ 438 w 438"/>
                <a:gd name="T7" fmla="*/ 19 h 19"/>
                <a:gd name="T8" fmla="*/ 429 w 438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8" h="19">
                  <a:moveTo>
                    <a:pt x="42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5" y="7"/>
                    <a:pt x="3" y="13"/>
                    <a:pt x="0" y="19"/>
                  </a:cubicBezTo>
                  <a:cubicBezTo>
                    <a:pt x="438" y="19"/>
                    <a:pt x="438" y="19"/>
                    <a:pt x="438" y="19"/>
                  </a:cubicBezTo>
                  <a:cubicBezTo>
                    <a:pt x="435" y="13"/>
                    <a:pt x="432" y="7"/>
                    <a:pt x="429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4" name="Freeform 26">
              <a:extLst>
                <a:ext uri="{FF2B5EF4-FFF2-40B4-BE49-F238E27FC236}">
                  <a16:creationId xmlns:a16="http://schemas.microsoft.com/office/drawing/2014/main" id="{9E33C4D1-BC7F-49B3-80E2-648A3DF8249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675" y="-5170686"/>
              <a:ext cx="1468438" cy="60325"/>
            </a:xfrm>
            <a:custGeom>
              <a:avLst/>
              <a:gdLst>
                <a:gd name="T0" fmla="*/ 459 w 463"/>
                <a:gd name="T1" fmla="*/ 0 h 19"/>
                <a:gd name="T2" fmla="*/ 5 w 463"/>
                <a:gd name="T3" fmla="*/ 0 h 19"/>
                <a:gd name="T4" fmla="*/ 0 w 463"/>
                <a:gd name="T5" fmla="*/ 19 h 19"/>
                <a:gd name="T6" fmla="*/ 463 w 463"/>
                <a:gd name="T7" fmla="*/ 19 h 19"/>
                <a:gd name="T8" fmla="*/ 459 w 463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3" h="19">
                  <a:moveTo>
                    <a:pt x="45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3" y="6"/>
                    <a:pt x="2" y="12"/>
                    <a:pt x="0" y="19"/>
                  </a:cubicBezTo>
                  <a:cubicBezTo>
                    <a:pt x="463" y="19"/>
                    <a:pt x="463" y="19"/>
                    <a:pt x="463" y="19"/>
                  </a:cubicBezTo>
                  <a:cubicBezTo>
                    <a:pt x="462" y="12"/>
                    <a:pt x="461" y="6"/>
                    <a:pt x="459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5" name="Freeform 27">
              <a:extLst>
                <a:ext uri="{FF2B5EF4-FFF2-40B4-BE49-F238E27FC236}">
                  <a16:creationId xmlns:a16="http://schemas.microsoft.com/office/drawing/2014/main" id="{21902084-F071-4C5B-8DB7-0C4B40963A5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975" y="-5034161"/>
              <a:ext cx="1497013" cy="60325"/>
            </a:xfrm>
            <a:custGeom>
              <a:avLst/>
              <a:gdLst>
                <a:gd name="T0" fmla="*/ 471 w 472"/>
                <a:gd name="T1" fmla="*/ 0 h 19"/>
                <a:gd name="T2" fmla="*/ 1 w 472"/>
                <a:gd name="T3" fmla="*/ 0 h 19"/>
                <a:gd name="T4" fmla="*/ 0 w 472"/>
                <a:gd name="T5" fmla="*/ 19 h 19"/>
                <a:gd name="T6" fmla="*/ 472 w 472"/>
                <a:gd name="T7" fmla="*/ 19 h 19"/>
                <a:gd name="T8" fmla="*/ 471 w 472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2" h="19">
                  <a:moveTo>
                    <a:pt x="47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6"/>
                    <a:pt x="0" y="13"/>
                    <a:pt x="0" y="19"/>
                  </a:cubicBezTo>
                  <a:cubicBezTo>
                    <a:pt x="472" y="19"/>
                    <a:pt x="472" y="19"/>
                    <a:pt x="472" y="19"/>
                  </a:cubicBezTo>
                  <a:cubicBezTo>
                    <a:pt x="471" y="13"/>
                    <a:pt x="471" y="6"/>
                    <a:pt x="47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6" name="Freeform 28">
              <a:extLst>
                <a:ext uri="{FF2B5EF4-FFF2-40B4-BE49-F238E27FC236}">
                  <a16:creationId xmlns:a16="http://schemas.microsoft.com/office/drawing/2014/main" id="{F94EED32-F336-4E3B-9D72-F7DD705B88F9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150" y="-4897636"/>
              <a:ext cx="1487488" cy="60325"/>
            </a:xfrm>
            <a:custGeom>
              <a:avLst/>
              <a:gdLst>
                <a:gd name="T0" fmla="*/ 469 w 469"/>
                <a:gd name="T1" fmla="*/ 0 h 19"/>
                <a:gd name="T2" fmla="*/ 0 w 469"/>
                <a:gd name="T3" fmla="*/ 0 h 19"/>
                <a:gd name="T4" fmla="*/ 3 w 469"/>
                <a:gd name="T5" fmla="*/ 19 h 19"/>
                <a:gd name="T6" fmla="*/ 467 w 469"/>
                <a:gd name="T7" fmla="*/ 19 h 19"/>
                <a:gd name="T8" fmla="*/ 469 w 469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9" h="19">
                  <a:moveTo>
                    <a:pt x="46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7"/>
                    <a:pt x="2" y="13"/>
                    <a:pt x="3" y="19"/>
                  </a:cubicBezTo>
                  <a:cubicBezTo>
                    <a:pt x="467" y="19"/>
                    <a:pt x="467" y="19"/>
                    <a:pt x="467" y="19"/>
                  </a:cubicBezTo>
                  <a:cubicBezTo>
                    <a:pt x="468" y="13"/>
                    <a:pt x="469" y="7"/>
                    <a:pt x="469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7" name="Freeform 29">
              <a:extLst>
                <a:ext uri="{FF2B5EF4-FFF2-40B4-BE49-F238E27FC236}">
                  <a16:creationId xmlns:a16="http://schemas.microsoft.com/office/drawing/2014/main" id="{AB03FBEF-38A7-4FE7-88B1-B4B3705BCE5E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725" y="-4757936"/>
              <a:ext cx="1433513" cy="60325"/>
            </a:xfrm>
            <a:custGeom>
              <a:avLst/>
              <a:gdLst>
                <a:gd name="T0" fmla="*/ 452 w 452"/>
                <a:gd name="T1" fmla="*/ 0 h 19"/>
                <a:gd name="T2" fmla="*/ 0 w 452"/>
                <a:gd name="T3" fmla="*/ 0 h 19"/>
                <a:gd name="T4" fmla="*/ 6 w 452"/>
                <a:gd name="T5" fmla="*/ 19 h 19"/>
                <a:gd name="T6" fmla="*/ 445 w 452"/>
                <a:gd name="T7" fmla="*/ 19 h 19"/>
                <a:gd name="T8" fmla="*/ 452 w 452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2" h="19">
                  <a:moveTo>
                    <a:pt x="45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6"/>
                    <a:pt x="4" y="12"/>
                    <a:pt x="6" y="19"/>
                  </a:cubicBezTo>
                  <a:cubicBezTo>
                    <a:pt x="445" y="19"/>
                    <a:pt x="445" y="19"/>
                    <a:pt x="445" y="19"/>
                  </a:cubicBezTo>
                  <a:cubicBezTo>
                    <a:pt x="448" y="12"/>
                    <a:pt x="450" y="6"/>
                    <a:pt x="45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8" name="Freeform 30">
              <a:extLst>
                <a:ext uri="{FF2B5EF4-FFF2-40B4-BE49-F238E27FC236}">
                  <a16:creationId xmlns:a16="http://schemas.microsoft.com/office/drawing/2014/main" id="{5C0CDD3D-5F4B-4F85-82A0-6C4F6E9CEC8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7875" y="-4621411"/>
              <a:ext cx="1319213" cy="60325"/>
            </a:xfrm>
            <a:custGeom>
              <a:avLst/>
              <a:gdLst>
                <a:gd name="T0" fmla="*/ 416 w 416"/>
                <a:gd name="T1" fmla="*/ 0 h 19"/>
                <a:gd name="T2" fmla="*/ 0 w 416"/>
                <a:gd name="T3" fmla="*/ 0 h 19"/>
                <a:gd name="T4" fmla="*/ 11 w 416"/>
                <a:gd name="T5" fmla="*/ 19 h 19"/>
                <a:gd name="T6" fmla="*/ 405 w 416"/>
                <a:gd name="T7" fmla="*/ 19 h 19"/>
                <a:gd name="T8" fmla="*/ 416 w 416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6" h="19">
                  <a:moveTo>
                    <a:pt x="41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" y="7"/>
                    <a:pt x="7" y="13"/>
                    <a:pt x="11" y="19"/>
                  </a:cubicBezTo>
                  <a:cubicBezTo>
                    <a:pt x="405" y="19"/>
                    <a:pt x="405" y="19"/>
                    <a:pt x="405" y="19"/>
                  </a:cubicBezTo>
                  <a:cubicBezTo>
                    <a:pt x="409" y="13"/>
                    <a:pt x="413" y="7"/>
                    <a:pt x="416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9" name="Freeform 31">
              <a:extLst>
                <a:ext uri="{FF2B5EF4-FFF2-40B4-BE49-F238E27FC236}">
                  <a16:creationId xmlns:a16="http://schemas.microsoft.com/office/drawing/2014/main" id="{76CC0CF1-C267-47E1-BC64-5264A04EA893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950" y="-4484886"/>
              <a:ext cx="1135063" cy="60325"/>
            </a:xfrm>
            <a:custGeom>
              <a:avLst/>
              <a:gdLst>
                <a:gd name="T0" fmla="*/ 358 w 358"/>
                <a:gd name="T1" fmla="*/ 0 h 19"/>
                <a:gd name="T2" fmla="*/ 0 w 358"/>
                <a:gd name="T3" fmla="*/ 0 h 19"/>
                <a:gd name="T4" fmla="*/ 18 w 358"/>
                <a:gd name="T5" fmla="*/ 19 h 19"/>
                <a:gd name="T6" fmla="*/ 339 w 358"/>
                <a:gd name="T7" fmla="*/ 19 h 19"/>
                <a:gd name="T8" fmla="*/ 358 w 358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8" h="19">
                  <a:moveTo>
                    <a:pt x="35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" y="7"/>
                    <a:pt x="12" y="13"/>
                    <a:pt x="18" y="19"/>
                  </a:cubicBezTo>
                  <a:cubicBezTo>
                    <a:pt x="339" y="19"/>
                    <a:pt x="339" y="19"/>
                    <a:pt x="339" y="19"/>
                  </a:cubicBezTo>
                  <a:cubicBezTo>
                    <a:pt x="346" y="13"/>
                    <a:pt x="352" y="7"/>
                    <a:pt x="358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0" name="Freeform 32">
              <a:extLst>
                <a:ext uri="{FF2B5EF4-FFF2-40B4-BE49-F238E27FC236}">
                  <a16:creationId xmlns:a16="http://schemas.microsoft.com/office/drawing/2014/main" id="{06AFD8FE-C0CB-4566-9807-116F6BDAA8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5525" y="-4345186"/>
              <a:ext cx="820738" cy="60325"/>
            </a:xfrm>
            <a:custGeom>
              <a:avLst/>
              <a:gdLst>
                <a:gd name="T0" fmla="*/ 259 w 259"/>
                <a:gd name="T1" fmla="*/ 0 h 19"/>
                <a:gd name="T2" fmla="*/ 0 w 259"/>
                <a:gd name="T3" fmla="*/ 0 h 19"/>
                <a:gd name="T4" fmla="*/ 35 w 259"/>
                <a:gd name="T5" fmla="*/ 19 h 19"/>
                <a:gd name="T6" fmla="*/ 225 w 259"/>
                <a:gd name="T7" fmla="*/ 19 h 19"/>
                <a:gd name="T8" fmla="*/ 259 w 259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9" h="19">
                  <a:moveTo>
                    <a:pt x="25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1" y="7"/>
                    <a:pt x="23" y="13"/>
                    <a:pt x="35" y="19"/>
                  </a:cubicBezTo>
                  <a:cubicBezTo>
                    <a:pt x="225" y="19"/>
                    <a:pt x="225" y="19"/>
                    <a:pt x="225" y="19"/>
                  </a:cubicBezTo>
                  <a:cubicBezTo>
                    <a:pt x="237" y="13"/>
                    <a:pt x="248" y="7"/>
                    <a:pt x="259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9" name="Group 258">
            <a:extLst>
              <a:ext uri="{FF2B5EF4-FFF2-40B4-BE49-F238E27FC236}">
                <a16:creationId xmlns:a16="http://schemas.microsoft.com/office/drawing/2014/main" id="{2935AF15-BF75-4397-A0FE-1471B7890829}"/>
              </a:ext>
            </a:extLst>
          </p:cNvPr>
          <p:cNvGrpSpPr/>
          <p:nvPr/>
        </p:nvGrpSpPr>
        <p:grpSpPr>
          <a:xfrm>
            <a:off x="10136188" y="5267325"/>
            <a:ext cx="1658938" cy="1590675"/>
            <a:chOff x="10136188" y="-2081411"/>
            <a:chExt cx="1658938" cy="1590675"/>
          </a:xfrm>
          <a:solidFill>
            <a:schemeClr val="tx1">
              <a:lumMod val="85000"/>
              <a:lumOff val="15000"/>
              <a:alpha val="10000"/>
            </a:schemeClr>
          </a:solidFill>
        </p:grpSpPr>
        <p:sp>
          <p:nvSpPr>
            <p:cNvPr id="299" name="Freeform 33">
              <a:extLst>
                <a:ext uri="{FF2B5EF4-FFF2-40B4-BE49-F238E27FC236}">
                  <a16:creationId xmlns:a16="http://schemas.microsoft.com/office/drawing/2014/main" id="{DCD2B1FF-FA8D-4D13-B0EB-7E4265A05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06063" y="-1932186"/>
              <a:ext cx="1119188" cy="66675"/>
            </a:xfrm>
            <a:custGeom>
              <a:avLst/>
              <a:gdLst>
                <a:gd name="T0" fmla="*/ 327 w 353"/>
                <a:gd name="T1" fmla="*/ 0 h 21"/>
                <a:gd name="T2" fmla="*/ 26 w 353"/>
                <a:gd name="T3" fmla="*/ 0 h 21"/>
                <a:gd name="T4" fmla="*/ 0 w 353"/>
                <a:gd name="T5" fmla="*/ 21 h 21"/>
                <a:gd name="T6" fmla="*/ 353 w 353"/>
                <a:gd name="T7" fmla="*/ 21 h 21"/>
                <a:gd name="T8" fmla="*/ 327 w 353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3" h="21">
                  <a:moveTo>
                    <a:pt x="327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17" y="6"/>
                    <a:pt x="8" y="13"/>
                    <a:pt x="0" y="21"/>
                  </a:cubicBezTo>
                  <a:cubicBezTo>
                    <a:pt x="353" y="21"/>
                    <a:pt x="353" y="21"/>
                    <a:pt x="353" y="21"/>
                  </a:cubicBezTo>
                  <a:cubicBezTo>
                    <a:pt x="344" y="13"/>
                    <a:pt x="336" y="6"/>
                    <a:pt x="327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0" name="Freeform 34">
              <a:extLst>
                <a:ext uri="{FF2B5EF4-FFF2-40B4-BE49-F238E27FC236}">
                  <a16:creationId xmlns:a16="http://schemas.microsoft.com/office/drawing/2014/main" id="{493DB2AA-17BC-4EAB-9E7F-CAD86FAF1B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7363" y="-2081411"/>
              <a:ext cx="636588" cy="63500"/>
            </a:xfrm>
            <a:custGeom>
              <a:avLst/>
              <a:gdLst>
                <a:gd name="T0" fmla="*/ 100 w 201"/>
                <a:gd name="T1" fmla="*/ 0 h 20"/>
                <a:gd name="T2" fmla="*/ 0 w 201"/>
                <a:gd name="T3" fmla="*/ 20 h 20"/>
                <a:gd name="T4" fmla="*/ 201 w 201"/>
                <a:gd name="T5" fmla="*/ 20 h 20"/>
                <a:gd name="T6" fmla="*/ 100 w 201"/>
                <a:gd name="T7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1" h="20">
                  <a:moveTo>
                    <a:pt x="100" y="0"/>
                  </a:moveTo>
                  <a:cubicBezTo>
                    <a:pt x="65" y="0"/>
                    <a:pt x="31" y="7"/>
                    <a:pt x="0" y="20"/>
                  </a:cubicBezTo>
                  <a:cubicBezTo>
                    <a:pt x="201" y="20"/>
                    <a:pt x="201" y="20"/>
                    <a:pt x="201" y="20"/>
                  </a:cubicBezTo>
                  <a:cubicBezTo>
                    <a:pt x="170" y="7"/>
                    <a:pt x="136" y="0"/>
                    <a:pt x="10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1" name="Freeform 35">
              <a:extLst>
                <a:ext uri="{FF2B5EF4-FFF2-40B4-BE49-F238E27FC236}">
                  <a16:creationId xmlns:a16="http://schemas.microsoft.com/office/drawing/2014/main" id="{7CE04211-26E5-46B8-91BF-1F0CED7E2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75888" y="-1779786"/>
              <a:ext cx="1379538" cy="66675"/>
            </a:xfrm>
            <a:custGeom>
              <a:avLst/>
              <a:gdLst>
                <a:gd name="T0" fmla="*/ 420 w 435"/>
                <a:gd name="T1" fmla="*/ 0 h 21"/>
                <a:gd name="T2" fmla="*/ 15 w 435"/>
                <a:gd name="T3" fmla="*/ 0 h 21"/>
                <a:gd name="T4" fmla="*/ 0 w 435"/>
                <a:gd name="T5" fmla="*/ 21 h 21"/>
                <a:gd name="T6" fmla="*/ 435 w 435"/>
                <a:gd name="T7" fmla="*/ 21 h 21"/>
                <a:gd name="T8" fmla="*/ 420 w 435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5" h="21">
                  <a:moveTo>
                    <a:pt x="420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0" y="7"/>
                    <a:pt x="5" y="14"/>
                    <a:pt x="0" y="21"/>
                  </a:cubicBezTo>
                  <a:cubicBezTo>
                    <a:pt x="435" y="21"/>
                    <a:pt x="435" y="21"/>
                    <a:pt x="435" y="21"/>
                  </a:cubicBezTo>
                  <a:cubicBezTo>
                    <a:pt x="430" y="14"/>
                    <a:pt x="425" y="7"/>
                    <a:pt x="42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2" name="Freeform 36">
              <a:extLst>
                <a:ext uri="{FF2B5EF4-FFF2-40B4-BE49-F238E27FC236}">
                  <a16:creationId xmlns:a16="http://schemas.microsoft.com/office/drawing/2014/main" id="{2E80F8A1-3714-4019-A997-2DDBA493BB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93338" y="-1627386"/>
              <a:ext cx="1544638" cy="66675"/>
            </a:xfrm>
            <a:custGeom>
              <a:avLst/>
              <a:gdLst>
                <a:gd name="T0" fmla="*/ 477 w 487"/>
                <a:gd name="T1" fmla="*/ 0 h 21"/>
                <a:gd name="T2" fmla="*/ 10 w 487"/>
                <a:gd name="T3" fmla="*/ 0 h 21"/>
                <a:gd name="T4" fmla="*/ 0 w 487"/>
                <a:gd name="T5" fmla="*/ 21 h 21"/>
                <a:gd name="T6" fmla="*/ 487 w 487"/>
                <a:gd name="T7" fmla="*/ 21 h 21"/>
                <a:gd name="T8" fmla="*/ 477 w 487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7" h="21">
                  <a:moveTo>
                    <a:pt x="477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6" y="7"/>
                    <a:pt x="3" y="14"/>
                    <a:pt x="0" y="21"/>
                  </a:cubicBezTo>
                  <a:cubicBezTo>
                    <a:pt x="487" y="21"/>
                    <a:pt x="487" y="21"/>
                    <a:pt x="487" y="21"/>
                  </a:cubicBezTo>
                  <a:cubicBezTo>
                    <a:pt x="484" y="14"/>
                    <a:pt x="481" y="7"/>
                    <a:pt x="477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3" name="Freeform 37">
              <a:extLst>
                <a:ext uri="{FF2B5EF4-FFF2-40B4-BE49-F238E27FC236}">
                  <a16:creationId xmlns:a16="http://schemas.microsoft.com/office/drawing/2014/main" id="{FE1E7B6C-ABCA-42DE-B82A-CCB899D1336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48888" y="-1474986"/>
              <a:ext cx="1633538" cy="66675"/>
            </a:xfrm>
            <a:custGeom>
              <a:avLst/>
              <a:gdLst>
                <a:gd name="T0" fmla="*/ 510 w 515"/>
                <a:gd name="T1" fmla="*/ 0 h 21"/>
                <a:gd name="T2" fmla="*/ 5 w 515"/>
                <a:gd name="T3" fmla="*/ 0 h 21"/>
                <a:gd name="T4" fmla="*/ 0 w 515"/>
                <a:gd name="T5" fmla="*/ 21 h 21"/>
                <a:gd name="T6" fmla="*/ 515 w 515"/>
                <a:gd name="T7" fmla="*/ 21 h 21"/>
                <a:gd name="T8" fmla="*/ 510 w 515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5" h="21">
                  <a:moveTo>
                    <a:pt x="51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3" y="7"/>
                    <a:pt x="2" y="14"/>
                    <a:pt x="0" y="21"/>
                  </a:cubicBezTo>
                  <a:cubicBezTo>
                    <a:pt x="515" y="21"/>
                    <a:pt x="515" y="21"/>
                    <a:pt x="515" y="21"/>
                  </a:cubicBezTo>
                  <a:cubicBezTo>
                    <a:pt x="513" y="14"/>
                    <a:pt x="512" y="7"/>
                    <a:pt x="51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4" name="Freeform 38">
              <a:extLst>
                <a:ext uri="{FF2B5EF4-FFF2-40B4-BE49-F238E27FC236}">
                  <a16:creationId xmlns:a16="http://schemas.microsoft.com/office/drawing/2014/main" id="{2218700D-E43C-41CA-B67B-42576415A2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36188" y="-1319411"/>
              <a:ext cx="1658938" cy="66675"/>
            </a:xfrm>
            <a:custGeom>
              <a:avLst/>
              <a:gdLst>
                <a:gd name="T0" fmla="*/ 522 w 523"/>
                <a:gd name="T1" fmla="*/ 0 h 21"/>
                <a:gd name="T2" fmla="*/ 1 w 523"/>
                <a:gd name="T3" fmla="*/ 0 h 21"/>
                <a:gd name="T4" fmla="*/ 0 w 523"/>
                <a:gd name="T5" fmla="*/ 21 h 21"/>
                <a:gd name="T6" fmla="*/ 523 w 523"/>
                <a:gd name="T7" fmla="*/ 21 h 21"/>
                <a:gd name="T8" fmla="*/ 522 w 523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3" h="21">
                  <a:moveTo>
                    <a:pt x="522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6"/>
                    <a:pt x="0" y="13"/>
                    <a:pt x="0" y="21"/>
                  </a:cubicBezTo>
                  <a:cubicBezTo>
                    <a:pt x="523" y="21"/>
                    <a:pt x="523" y="21"/>
                    <a:pt x="523" y="21"/>
                  </a:cubicBezTo>
                  <a:cubicBezTo>
                    <a:pt x="523" y="13"/>
                    <a:pt x="523" y="6"/>
                    <a:pt x="52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5" name="Freeform 39">
              <a:extLst>
                <a:ext uri="{FF2B5EF4-FFF2-40B4-BE49-F238E27FC236}">
                  <a16:creationId xmlns:a16="http://schemas.microsoft.com/office/drawing/2014/main" id="{2D9D76FB-3F15-4A28-A477-0A0DEAEA45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39363" y="-1167011"/>
              <a:ext cx="1652588" cy="66675"/>
            </a:xfrm>
            <a:custGeom>
              <a:avLst/>
              <a:gdLst>
                <a:gd name="T0" fmla="*/ 521 w 521"/>
                <a:gd name="T1" fmla="*/ 0 h 21"/>
                <a:gd name="T2" fmla="*/ 0 w 521"/>
                <a:gd name="T3" fmla="*/ 0 h 21"/>
                <a:gd name="T4" fmla="*/ 3 w 521"/>
                <a:gd name="T5" fmla="*/ 21 h 21"/>
                <a:gd name="T6" fmla="*/ 518 w 521"/>
                <a:gd name="T7" fmla="*/ 21 h 21"/>
                <a:gd name="T8" fmla="*/ 521 w 521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1" h="21">
                  <a:moveTo>
                    <a:pt x="52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7"/>
                    <a:pt x="2" y="14"/>
                    <a:pt x="3" y="21"/>
                  </a:cubicBezTo>
                  <a:cubicBezTo>
                    <a:pt x="518" y="21"/>
                    <a:pt x="518" y="21"/>
                    <a:pt x="518" y="21"/>
                  </a:cubicBezTo>
                  <a:cubicBezTo>
                    <a:pt x="519" y="14"/>
                    <a:pt x="520" y="7"/>
                    <a:pt x="52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6" name="Freeform 40">
              <a:extLst>
                <a:ext uri="{FF2B5EF4-FFF2-40B4-BE49-F238E27FC236}">
                  <a16:creationId xmlns:a16="http://schemas.microsoft.com/office/drawing/2014/main" id="{E123AC84-02B8-4584-8A9B-4367698A866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67938" y="-1014611"/>
              <a:ext cx="1595438" cy="66675"/>
            </a:xfrm>
            <a:custGeom>
              <a:avLst/>
              <a:gdLst>
                <a:gd name="T0" fmla="*/ 503 w 503"/>
                <a:gd name="T1" fmla="*/ 0 h 21"/>
                <a:gd name="T2" fmla="*/ 0 w 503"/>
                <a:gd name="T3" fmla="*/ 0 h 21"/>
                <a:gd name="T4" fmla="*/ 8 w 503"/>
                <a:gd name="T5" fmla="*/ 21 h 21"/>
                <a:gd name="T6" fmla="*/ 495 w 503"/>
                <a:gd name="T7" fmla="*/ 21 h 21"/>
                <a:gd name="T8" fmla="*/ 503 w 503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3" h="21">
                  <a:moveTo>
                    <a:pt x="50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7"/>
                    <a:pt x="5" y="14"/>
                    <a:pt x="8" y="21"/>
                  </a:cubicBezTo>
                  <a:cubicBezTo>
                    <a:pt x="495" y="21"/>
                    <a:pt x="495" y="21"/>
                    <a:pt x="495" y="21"/>
                  </a:cubicBezTo>
                  <a:cubicBezTo>
                    <a:pt x="498" y="14"/>
                    <a:pt x="500" y="7"/>
                    <a:pt x="503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7" name="Freeform 41">
              <a:extLst>
                <a:ext uri="{FF2B5EF4-FFF2-40B4-BE49-F238E27FC236}">
                  <a16:creationId xmlns:a16="http://schemas.microsoft.com/office/drawing/2014/main" id="{5878B319-F7AB-4A46-BCAA-A8086FC45BD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1438" y="-862211"/>
              <a:ext cx="1468438" cy="66675"/>
            </a:xfrm>
            <a:custGeom>
              <a:avLst/>
              <a:gdLst>
                <a:gd name="T0" fmla="*/ 463 w 463"/>
                <a:gd name="T1" fmla="*/ 0 h 21"/>
                <a:gd name="T2" fmla="*/ 0 w 463"/>
                <a:gd name="T3" fmla="*/ 0 h 21"/>
                <a:gd name="T4" fmla="*/ 12 w 463"/>
                <a:gd name="T5" fmla="*/ 21 h 21"/>
                <a:gd name="T6" fmla="*/ 450 w 463"/>
                <a:gd name="T7" fmla="*/ 21 h 21"/>
                <a:gd name="T8" fmla="*/ 463 w 463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3" h="21">
                  <a:moveTo>
                    <a:pt x="46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7"/>
                    <a:pt x="8" y="14"/>
                    <a:pt x="12" y="21"/>
                  </a:cubicBezTo>
                  <a:cubicBezTo>
                    <a:pt x="450" y="21"/>
                    <a:pt x="450" y="21"/>
                    <a:pt x="450" y="21"/>
                  </a:cubicBezTo>
                  <a:cubicBezTo>
                    <a:pt x="455" y="14"/>
                    <a:pt x="459" y="7"/>
                    <a:pt x="463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8" name="Freeform 42">
              <a:extLst>
                <a:ext uri="{FF2B5EF4-FFF2-40B4-BE49-F238E27FC236}">
                  <a16:creationId xmlns:a16="http://schemas.microsoft.com/office/drawing/2014/main" id="{F05460CB-E06B-442C-9354-7F1907431F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36213" y="-709811"/>
              <a:ext cx="1258888" cy="66675"/>
            </a:xfrm>
            <a:custGeom>
              <a:avLst/>
              <a:gdLst>
                <a:gd name="T0" fmla="*/ 397 w 397"/>
                <a:gd name="T1" fmla="*/ 0 h 21"/>
                <a:gd name="T2" fmla="*/ 0 w 397"/>
                <a:gd name="T3" fmla="*/ 0 h 21"/>
                <a:gd name="T4" fmla="*/ 20 w 397"/>
                <a:gd name="T5" fmla="*/ 21 h 21"/>
                <a:gd name="T6" fmla="*/ 377 w 397"/>
                <a:gd name="T7" fmla="*/ 21 h 21"/>
                <a:gd name="T8" fmla="*/ 397 w 397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7" h="21">
                  <a:moveTo>
                    <a:pt x="39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" y="7"/>
                    <a:pt x="13" y="14"/>
                    <a:pt x="20" y="21"/>
                  </a:cubicBezTo>
                  <a:cubicBezTo>
                    <a:pt x="377" y="21"/>
                    <a:pt x="377" y="21"/>
                    <a:pt x="377" y="21"/>
                  </a:cubicBezTo>
                  <a:cubicBezTo>
                    <a:pt x="384" y="14"/>
                    <a:pt x="391" y="7"/>
                    <a:pt x="397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9" name="Freeform 43">
              <a:extLst>
                <a:ext uri="{FF2B5EF4-FFF2-40B4-BE49-F238E27FC236}">
                  <a16:creationId xmlns:a16="http://schemas.microsoft.com/office/drawing/2014/main" id="{BE5098B0-B8A8-4996-B307-44F7FF9053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0838" y="-557411"/>
              <a:ext cx="909638" cy="66675"/>
            </a:xfrm>
            <a:custGeom>
              <a:avLst/>
              <a:gdLst>
                <a:gd name="T0" fmla="*/ 287 w 287"/>
                <a:gd name="T1" fmla="*/ 0 h 21"/>
                <a:gd name="T2" fmla="*/ 0 w 287"/>
                <a:gd name="T3" fmla="*/ 0 h 21"/>
                <a:gd name="T4" fmla="*/ 38 w 287"/>
                <a:gd name="T5" fmla="*/ 21 h 21"/>
                <a:gd name="T6" fmla="*/ 249 w 287"/>
                <a:gd name="T7" fmla="*/ 21 h 21"/>
                <a:gd name="T8" fmla="*/ 287 w 287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7" h="21">
                  <a:moveTo>
                    <a:pt x="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" y="8"/>
                    <a:pt x="25" y="15"/>
                    <a:pt x="38" y="21"/>
                  </a:cubicBezTo>
                  <a:cubicBezTo>
                    <a:pt x="249" y="21"/>
                    <a:pt x="249" y="21"/>
                    <a:pt x="249" y="21"/>
                  </a:cubicBezTo>
                  <a:cubicBezTo>
                    <a:pt x="262" y="15"/>
                    <a:pt x="275" y="8"/>
                    <a:pt x="287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0" name="Group 259">
            <a:extLst>
              <a:ext uri="{FF2B5EF4-FFF2-40B4-BE49-F238E27FC236}">
                <a16:creationId xmlns:a16="http://schemas.microsoft.com/office/drawing/2014/main" id="{B86DE0E1-E085-4FA5-9E40-E1EAA6AF7D6B}"/>
              </a:ext>
            </a:extLst>
          </p:cNvPr>
          <p:cNvGrpSpPr/>
          <p:nvPr/>
        </p:nvGrpSpPr>
        <p:grpSpPr>
          <a:xfrm>
            <a:off x="8648700" y="3038475"/>
            <a:ext cx="1865313" cy="1787525"/>
            <a:chOff x="8648700" y="-4310261"/>
            <a:chExt cx="1865313" cy="1787525"/>
          </a:xfrm>
          <a:solidFill>
            <a:schemeClr val="tx1">
              <a:lumMod val="85000"/>
              <a:lumOff val="15000"/>
              <a:alpha val="10000"/>
            </a:schemeClr>
          </a:solidFill>
        </p:grpSpPr>
        <p:sp>
          <p:nvSpPr>
            <p:cNvPr id="288" name="Freeform 44">
              <a:extLst>
                <a:ext uri="{FF2B5EF4-FFF2-40B4-BE49-F238E27FC236}">
                  <a16:creationId xmlns:a16="http://schemas.microsoft.com/office/drawing/2014/main" id="{546C4EA8-6261-4560-8AD9-723D50A0BD8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53500" y="-4141986"/>
              <a:ext cx="1255713" cy="76200"/>
            </a:xfrm>
            <a:custGeom>
              <a:avLst/>
              <a:gdLst>
                <a:gd name="T0" fmla="*/ 367 w 396"/>
                <a:gd name="T1" fmla="*/ 0 h 24"/>
                <a:gd name="T2" fmla="*/ 30 w 396"/>
                <a:gd name="T3" fmla="*/ 0 h 24"/>
                <a:gd name="T4" fmla="*/ 0 w 396"/>
                <a:gd name="T5" fmla="*/ 24 h 24"/>
                <a:gd name="T6" fmla="*/ 396 w 396"/>
                <a:gd name="T7" fmla="*/ 24 h 24"/>
                <a:gd name="T8" fmla="*/ 367 w 396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6" h="24">
                  <a:moveTo>
                    <a:pt x="367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19" y="8"/>
                    <a:pt x="10" y="15"/>
                    <a:pt x="0" y="24"/>
                  </a:cubicBezTo>
                  <a:cubicBezTo>
                    <a:pt x="396" y="24"/>
                    <a:pt x="396" y="24"/>
                    <a:pt x="396" y="24"/>
                  </a:cubicBezTo>
                  <a:cubicBezTo>
                    <a:pt x="387" y="15"/>
                    <a:pt x="377" y="8"/>
                    <a:pt x="367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9" name="Freeform 45">
              <a:extLst>
                <a:ext uri="{FF2B5EF4-FFF2-40B4-BE49-F238E27FC236}">
                  <a16:creationId xmlns:a16="http://schemas.microsoft.com/office/drawing/2014/main" id="{09C2AABE-89F4-4E54-A886-5DEBF2782224}"/>
                </a:ext>
              </a:extLst>
            </p:cNvPr>
            <p:cNvSpPr>
              <a:spLocks/>
            </p:cNvSpPr>
            <p:nvPr/>
          </p:nvSpPr>
          <p:spPr bwMode="auto">
            <a:xfrm>
              <a:off x="9221788" y="-4310261"/>
              <a:ext cx="717550" cy="73025"/>
            </a:xfrm>
            <a:custGeom>
              <a:avLst/>
              <a:gdLst>
                <a:gd name="T0" fmla="*/ 113 w 226"/>
                <a:gd name="T1" fmla="*/ 0 h 23"/>
                <a:gd name="T2" fmla="*/ 0 w 226"/>
                <a:gd name="T3" fmla="*/ 23 h 23"/>
                <a:gd name="T4" fmla="*/ 226 w 226"/>
                <a:gd name="T5" fmla="*/ 23 h 23"/>
                <a:gd name="T6" fmla="*/ 113 w 226"/>
                <a:gd name="T7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6" h="23">
                  <a:moveTo>
                    <a:pt x="113" y="0"/>
                  </a:moveTo>
                  <a:cubicBezTo>
                    <a:pt x="73" y="0"/>
                    <a:pt x="35" y="8"/>
                    <a:pt x="0" y="23"/>
                  </a:cubicBezTo>
                  <a:cubicBezTo>
                    <a:pt x="226" y="23"/>
                    <a:pt x="226" y="23"/>
                    <a:pt x="226" y="23"/>
                  </a:cubicBezTo>
                  <a:cubicBezTo>
                    <a:pt x="191" y="8"/>
                    <a:pt x="153" y="0"/>
                    <a:pt x="113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0" name="Freeform 46">
              <a:extLst>
                <a:ext uri="{FF2B5EF4-FFF2-40B4-BE49-F238E27FC236}">
                  <a16:creationId xmlns:a16="http://schemas.microsoft.com/office/drawing/2014/main" id="{EC271BE4-4A62-4CFD-A321-DB09A206C42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07450" y="-3970536"/>
              <a:ext cx="1547813" cy="76200"/>
            </a:xfrm>
            <a:custGeom>
              <a:avLst/>
              <a:gdLst>
                <a:gd name="T0" fmla="*/ 471 w 488"/>
                <a:gd name="T1" fmla="*/ 0 h 24"/>
                <a:gd name="T2" fmla="*/ 17 w 488"/>
                <a:gd name="T3" fmla="*/ 0 h 24"/>
                <a:gd name="T4" fmla="*/ 0 w 488"/>
                <a:gd name="T5" fmla="*/ 24 h 24"/>
                <a:gd name="T6" fmla="*/ 488 w 488"/>
                <a:gd name="T7" fmla="*/ 24 h 24"/>
                <a:gd name="T8" fmla="*/ 471 w 488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8" h="24">
                  <a:moveTo>
                    <a:pt x="471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1" y="8"/>
                    <a:pt x="5" y="16"/>
                    <a:pt x="0" y="24"/>
                  </a:cubicBezTo>
                  <a:cubicBezTo>
                    <a:pt x="488" y="24"/>
                    <a:pt x="488" y="24"/>
                    <a:pt x="488" y="24"/>
                  </a:cubicBezTo>
                  <a:cubicBezTo>
                    <a:pt x="483" y="16"/>
                    <a:pt x="477" y="8"/>
                    <a:pt x="47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1" name="Freeform 47">
              <a:extLst>
                <a:ext uri="{FF2B5EF4-FFF2-40B4-BE49-F238E27FC236}">
                  <a16:creationId xmlns:a16="http://schemas.microsoft.com/office/drawing/2014/main" id="{FB13F1AC-A9B9-48FC-829D-648027571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8715375" y="-3799086"/>
              <a:ext cx="1731963" cy="76200"/>
            </a:xfrm>
            <a:custGeom>
              <a:avLst/>
              <a:gdLst>
                <a:gd name="T0" fmla="*/ 535 w 546"/>
                <a:gd name="T1" fmla="*/ 0 h 24"/>
                <a:gd name="T2" fmla="*/ 11 w 546"/>
                <a:gd name="T3" fmla="*/ 0 h 24"/>
                <a:gd name="T4" fmla="*/ 0 w 546"/>
                <a:gd name="T5" fmla="*/ 24 h 24"/>
                <a:gd name="T6" fmla="*/ 546 w 546"/>
                <a:gd name="T7" fmla="*/ 24 h 24"/>
                <a:gd name="T8" fmla="*/ 535 w 546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6" h="24">
                  <a:moveTo>
                    <a:pt x="535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7" y="8"/>
                    <a:pt x="3" y="16"/>
                    <a:pt x="0" y="24"/>
                  </a:cubicBezTo>
                  <a:cubicBezTo>
                    <a:pt x="546" y="24"/>
                    <a:pt x="546" y="24"/>
                    <a:pt x="546" y="24"/>
                  </a:cubicBezTo>
                  <a:cubicBezTo>
                    <a:pt x="543" y="16"/>
                    <a:pt x="539" y="8"/>
                    <a:pt x="535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2" name="Freeform 48">
              <a:extLst>
                <a:ext uri="{FF2B5EF4-FFF2-40B4-BE49-F238E27FC236}">
                  <a16:creationId xmlns:a16="http://schemas.microsoft.com/office/drawing/2014/main" id="{56A6D320-C204-4280-875E-2139485816C7}"/>
                </a:ext>
              </a:extLst>
            </p:cNvPr>
            <p:cNvSpPr>
              <a:spLocks/>
            </p:cNvSpPr>
            <p:nvPr/>
          </p:nvSpPr>
          <p:spPr bwMode="auto">
            <a:xfrm>
              <a:off x="8667750" y="-3627636"/>
              <a:ext cx="1830388" cy="76200"/>
            </a:xfrm>
            <a:custGeom>
              <a:avLst/>
              <a:gdLst>
                <a:gd name="T0" fmla="*/ 571 w 577"/>
                <a:gd name="T1" fmla="*/ 0 h 24"/>
                <a:gd name="T2" fmla="*/ 5 w 577"/>
                <a:gd name="T3" fmla="*/ 0 h 24"/>
                <a:gd name="T4" fmla="*/ 0 w 577"/>
                <a:gd name="T5" fmla="*/ 24 h 24"/>
                <a:gd name="T6" fmla="*/ 577 w 577"/>
                <a:gd name="T7" fmla="*/ 24 h 24"/>
                <a:gd name="T8" fmla="*/ 571 w 577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7" h="24">
                  <a:moveTo>
                    <a:pt x="571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3" y="8"/>
                    <a:pt x="1" y="16"/>
                    <a:pt x="0" y="24"/>
                  </a:cubicBezTo>
                  <a:cubicBezTo>
                    <a:pt x="577" y="24"/>
                    <a:pt x="577" y="24"/>
                    <a:pt x="577" y="24"/>
                  </a:cubicBezTo>
                  <a:cubicBezTo>
                    <a:pt x="575" y="16"/>
                    <a:pt x="573" y="8"/>
                    <a:pt x="57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3" name="Freeform 49">
              <a:extLst>
                <a:ext uri="{FF2B5EF4-FFF2-40B4-BE49-F238E27FC236}">
                  <a16:creationId xmlns:a16="http://schemas.microsoft.com/office/drawing/2014/main" id="{743791D2-5FE9-4033-BCE7-B384C261D4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648700" y="-3456186"/>
              <a:ext cx="1865313" cy="76200"/>
            </a:xfrm>
            <a:custGeom>
              <a:avLst/>
              <a:gdLst>
                <a:gd name="T0" fmla="*/ 587 w 588"/>
                <a:gd name="T1" fmla="*/ 0 h 24"/>
                <a:gd name="T2" fmla="*/ 1 w 588"/>
                <a:gd name="T3" fmla="*/ 0 h 24"/>
                <a:gd name="T4" fmla="*/ 0 w 588"/>
                <a:gd name="T5" fmla="*/ 24 h 24"/>
                <a:gd name="T6" fmla="*/ 588 w 588"/>
                <a:gd name="T7" fmla="*/ 24 h 24"/>
                <a:gd name="T8" fmla="*/ 587 w 588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8" h="24">
                  <a:moveTo>
                    <a:pt x="587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8"/>
                    <a:pt x="0" y="16"/>
                    <a:pt x="0" y="24"/>
                  </a:cubicBezTo>
                  <a:cubicBezTo>
                    <a:pt x="588" y="24"/>
                    <a:pt x="588" y="24"/>
                    <a:pt x="588" y="24"/>
                  </a:cubicBezTo>
                  <a:cubicBezTo>
                    <a:pt x="588" y="16"/>
                    <a:pt x="588" y="8"/>
                    <a:pt x="587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4" name="Freeform 50">
              <a:extLst>
                <a:ext uri="{FF2B5EF4-FFF2-40B4-BE49-F238E27FC236}">
                  <a16:creationId xmlns:a16="http://schemas.microsoft.com/office/drawing/2014/main" id="{C4C090D8-F057-44C0-B02A-0751C2C8C4E4}"/>
                </a:ext>
              </a:extLst>
            </p:cNvPr>
            <p:cNvSpPr>
              <a:spLocks/>
            </p:cNvSpPr>
            <p:nvPr/>
          </p:nvSpPr>
          <p:spPr bwMode="auto">
            <a:xfrm>
              <a:off x="8655050" y="-3281561"/>
              <a:ext cx="1852613" cy="73025"/>
            </a:xfrm>
            <a:custGeom>
              <a:avLst/>
              <a:gdLst>
                <a:gd name="T0" fmla="*/ 584 w 584"/>
                <a:gd name="T1" fmla="*/ 0 h 23"/>
                <a:gd name="T2" fmla="*/ 0 w 584"/>
                <a:gd name="T3" fmla="*/ 0 h 23"/>
                <a:gd name="T4" fmla="*/ 3 w 584"/>
                <a:gd name="T5" fmla="*/ 23 h 23"/>
                <a:gd name="T6" fmla="*/ 581 w 584"/>
                <a:gd name="T7" fmla="*/ 23 h 23"/>
                <a:gd name="T8" fmla="*/ 584 w 584"/>
                <a:gd name="T9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4" h="23">
                  <a:moveTo>
                    <a:pt x="58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7"/>
                    <a:pt x="2" y="15"/>
                    <a:pt x="3" y="23"/>
                  </a:cubicBezTo>
                  <a:cubicBezTo>
                    <a:pt x="581" y="23"/>
                    <a:pt x="581" y="23"/>
                    <a:pt x="581" y="23"/>
                  </a:cubicBezTo>
                  <a:cubicBezTo>
                    <a:pt x="583" y="15"/>
                    <a:pt x="584" y="7"/>
                    <a:pt x="584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5" name="Freeform 51">
              <a:extLst>
                <a:ext uri="{FF2B5EF4-FFF2-40B4-BE49-F238E27FC236}">
                  <a16:creationId xmlns:a16="http://schemas.microsoft.com/office/drawing/2014/main" id="{855D8335-580E-4354-9540-DE1F4C8B1894}"/>
                </a:ext>
              </a:extLst>
            </p:cNvPr>
            <p:cNvSpPr>
              <a:spLocks/>
            </p:cNvSpPr>
            <p:nvPr/>
          </p:nvSpPr>
          <p:spPr bwMode="auto">
            <a:xfrm>
              <a:off x="8686800" y="-3110111"/>
              <a:ext cx="1789113" cy="73025"/>
            </a:xfrm>
            <a:custGeom>
              <a:avLst/>
              <a:gdLst>
                <a:gd name="T0" fmla="*/ 564 w 564"/>
                <a:gd name="T1" fmla="*/ 0 h 23"/>
                <a:gd name="T2" fmla="*/ 0 w 564"/>
                <a:gd name="T3" fmla="*/ 0 h 23"/>
                <a:gd name="T4" fmla="*/ 8 w 564"/>
                <a:gd name="T5" fmla="*/ 23 h 23"/>
                <a:gd name="T6" fmla="*/ 556 w 564"/>
                <a:gd name="T7" fmla="*/ 23 h 23"/>
                <a:gd name="T8" fmla="*/ 564 w 564"/>
                <a:gd name="T9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4" h="23">
                  <a:moveTo>
                    <a:pt x="56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" y="8"/>
                    <a:pt x="5" y="15"/>
                    <a:pt x="8" y="23"/>
                  </a:cubicBezTo>
                  <a:cubicBezTo>
                    <a:pt x="556" y="23"/>
                    <a:pt x="556" y="23"/>
                    <a:pt x="556" y="23"/>
                  </a:cubicBezTo>
                  <a:cubicBezTo>
                    <a:pt x="559" y="15"/>
                    <a:pt x="562" y="8"/>
                    <a:pt x="564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6" name="Freeform 52">
              <a:extLst>
                <a:ext uri="{FF2B5EF4-FFF2-40B4-BE49-F238E27FC236}">
                  <a16:creationId xmlns:a16="http://schemas.microsoft.com/office/drawing/2014/main" id="{A8088CC6-3E85-484A-B5E0-969BFE6F0C13}"/>
                </a:ext>
              </a:extLst>
            </p:cNvPr>
            <p:cNvSpPr>
              <a:spLocks/>
            </p:cNvSpPr>
            <p:nvPr/>
          </p:nvSpPr>
          <p:spPr bwMode="auto">
            <a:xfrm>
              <a:off x="8756650" y="-2938661"/>
              <a:ext cx="1649413" cy="73025"/>
            </a:xfrm>
            <a:custGeom>
              <a:avLst/>
              <a:gdLst>
                <a:gd name="T0" fmla="*/ 520 w 520"/>
                <a:gd name="T1" fmla="*/ 0 h 23"/>
                <a:gd name="T2" fmla="*/ 0 w 520"/>
                <a:gd name="T3" fmla="*/ 0 h 23"/>
                <a:gd name="T4" fmla="*/ 14 w 520"/>
                <a:gd name="T5" fmla="*/ 23 h 23"/>
                <a:gd name="T6" fmla="*/ 506 w 520"/>
                <a:gd name="T7" fmla="*/ 23 h 23"/>
                <a:gd name="T8" fmla="*/ 520 w 520"/>
                <a:gd name="T9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0" h="23">
                  <a:moveTo>
                    <a:pt x="52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" y="8"/>
                    <a:pt x="9" y="16"/>
                    <a:pt x="14" y="23"/>
                  </a:cubicBezTo>
                  <a:cubicBezTo>
                    <a:pt x="506" y="23"/>
                    <a:pt x="506" y="23"/>
                    <a:pt x="506" y="23"/>
                  </a:cubicBezTo>
                  <a:cubicBezTo>
                    <a:pt x="511" y="16"/>
                    <a:pt x="516" y="8"/>
                    <a:pt x="52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7" name="Freeform 53">
              <a:extLst>
                <a:ext uri="{FF2B5EF4-FFF2-40B4-BE49-F238E27FC236}">
                  <a16:creationId xmlns:a16="http://schemas.microsoft.com/office/drawing/2014/main" id="{7BAB0449-6A0B-466D-AB5A-CB3359CF460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74125" y="-2767211"/>
              <a:ext cx="1414463" cy="73025"/>
            </a:xfrm>
            <a:custGeom>
              <a:avLst/>
              <a:gdLst>
                <a:gd name="T0" fmla="*/ 446 w 446"/>
                <a:gd name="T1" fmla="*/ 0 h 23"/>
                <a:gd name="T2" fmla="*/ 0 w 446"/>
                <a:gd name="T3" fmla="*/ 0 h 23"/>
                <a:gd name="T4" fmla="*/ 23 w 446"/>
                <a:gd name="T5" fmla="*/ 23 h 23"/>
                <a:gd name="T6" fmla="*/ 423 w 446"/>
                <a:gd name="T7" fmla="*/ 23 h 23"/>
                <a:gd name="T8" fmla="*/ 446 w 446"/>
                <a:gd name="T9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6" h="23">
                  <a:moveTo>
                    <a:pt x="44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7" y="8"/>
                    <a:pt x="15" y="16"/>
                    <a:pt x="23" y="23"/>
                  </a:cubicBezTo>
                  <a:cubicBezTo>
                    <a:pt x="423" y="23"/>
                    <a:pt x="423" y="23"/>
                    <a:pt x="423" y="23"/>
                  </a:cubicBezTo>
                  <a:cubicBezTo>
                    <a:pt x="431" y="16"/>
                    <a:pt x="439" y="8"/>
                    <a:pt x="446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8" name="Freeform 54">
              <a:extLst>
                <a:ext uri="{FF2B5EF4-FFF2-40B4-BE49-F238E27FC236}">
                  <a16:creationId xmlns:a16="http://schemas.microsoft.com/office/drawing/2014/main" id="{7DF963AE-1745-4791-BB98-94DC263BE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9069388" y="-2595761"/>
              <a:ext cx="1025525" cy="73025"/>
            </a:xfrm>
            <a:custGeom>
              <a:avLst/>
              <a:gdLst>
                <a:gd name="T0" fmla="*/ 323 w 323"/>
                <a:gd name="T1" fmla="*/ 0 h 23"/>
                <a:gd name="T2" fmla="*/ 0 w 323"/>
                <a:gd name="T3" fmla="*/ 0 h 23"/>
                <a:gd name="T4" fmla="*/ 43 w 323"/>
                <a:gd name="T5" fmla="*/ 23 h 23"/>
                <a:gd name="T6" fmla="*/ 279 w 323"/>
                <a:gd name="T7" fmla="*/ 23 h 23"/>
                <a:gd name="T8" fmla="*/ 323 w 323"/>
                <a:gd name="T9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3" h="23">
                  <a:moveTo>
                    <a:pt x="32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3" y="9"/>
                    <a:pt x="28" y="17"/>
                    <a:pt x="43" y="23"/>
                  </a:cubicBezTo>
                  <a:cubicBezTo>
                    <a:pt x="279" y="23"/>
                    <a:pt x="279" y="23"/>
                    <a:pt x="279" y="23"/>
                  </a:cubicBezTo>
                  <a:cubicBezTo>
                    <a:pt x="294" y="17"/>
                    <a:pt x="309" y="9"/>
                    <a:pt x="323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2" name="Group 261">
            <a:extLst>
              <a:ext uri="{FF2B5EF4-FFF2-40B4-BE49-F238E27FC236}">
                <a16:creationId xmlns:a16="http://schemas.microsoft.com/office/drawing/2014/main" id="{F6065352-D332-4635-99F5-5988195FCCBF}"/>
              </a:ext>
            </a:extLst>
          </p:cNvPr>
          <p:cNvGrpSpPr/>
          <p:nvPr/>
        </p:nvGrpSpPr>
        <p:grpSpPr>
          <a:xfrm>
            <a:off x="-22673" y="5373142"/>
            <a:ext cx="966096" cy="1086452"/>
            <a:chOff x="0" y="-2979936"/>
            <a:chExt cx="1414463" cy="1590675"/>
          </a:xfrm>
          <a:solidFill>
            <a:schemeClr val="tx1">
              <a:lumMod val="85000"/>
              <a:lumOff val="15000"/>
              <a:alpha val="10000"/>
            </a:schemeClr>
          </a:solidFill>
        </p:grpSpPr>
        <p:sp>
          <p:nvSpPr>
            <p:cNvPr id="277" name="Freeform 57">
              <a:extLst>
                <a:ext uri="{FF2B5EF4-FFF2-40B4-BE49-F238E27FC236}">
                  <a16:creationId xmlns:a16="http://schemas.microsoft.com/office/drawing/2014/main" id="{0A121797-BD69-4F1C-AE5A-CEDB3DB0AF5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00" y="-2830711"/>
              <a:ext cx="1117600" cy="66675"/>
            </a:xfrm>
            <a:custGeom>
              <a:avLst/>
              <a:gdLst>
                <a:gd name="T0" fmla="*/ 326 w 352"/>
                <a:gd name="T1" fmla="*/ 0 h 21"/>
                <a:gd name="T2" fmla="*/ 26 w 352"/>
                <a:gd name="T3" fmla="*/ 0 h 21"/>
                <a:gd name="T4" fmla="*/ 0 w 352"/>
                <a:gd name="T5" fmla="*/ 21 h 21"/>
                <a:gd name="T6" fmla="*/ 352 w 352"/>
                <a:gd name="T7" fmla="*/ 21 h 21"/>
                <a:gd name="T8" fmla="*/ 326 w 352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2" h="21">
                  <a:moveTo>
                    <a:pt x="3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17" y="6"/>
                    <a:pt x="8" y="13"/>
                    <a:pt x="0" y="21"/>
                  </a:cubicBezTo>
                  <a:cubicBezTo>
                    <a:pt x="352" y="21"/>
                    <a:pt x="352" y="21"/>
                    <a:pt x="352" y="21"/>
                  </a:cubicBezTo>
                  <a:cubicBezTo>
                    <a:pt x="344" y="13"/>
                    <a:pt x="335" y="6"/>
                    <a:pt x="326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" name="Freeform 58">
              <a:extLst>
                <a:ext uri="{FF2B5EF4-FFF2-40B4-BE49-F238E27FC236}">
                  <a16:creationId xmlns:a16="http://schemas.microsoft.com/office/drawing/2014/main" id="{9CAD5700-7698-4B16-880E-1C41D355988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525" y="-2979936"/>
              <a:ext cx="641350" cy="63500"/>
            </a:xfrm>
            <a:custGeom>
              <a:avLst/>
              <a:gdLst>
                <a:gd name="T0" fmla="*/ 101 w 202"/>
                <a:gd name="T1" fmla="*/ 0 h 20"/>
                <a:gd name="T2" fmla="*/ 0 w 202"/>
                <a:gd name="T3" fmla="*/ 20 h 20"/>
                <a:gd name="T4" fmla="*/ 202 w 202"/>
                <a:gd name="T5" fmla="*/ 20 h 20"/>
                <a:gd name="T6" fmla="*/ 101 w 202"/>
                <a:gd name="T7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2" h="20">
                  <a:moveTo>
                    <a:pt x="101" y="0"/>
                  </a:moveTo>
                  <a:cubicBezTo>
                    <a:pt x="65" y="0"/>
                    <a:pt x="31" y="7"/>
                    <a:pt x="0" y="20"/>
                  </a:cubicBezTo>
                  <a:cubicBezTo>
                    <a:pt x="202" y="20"/>
                    <a:pt x="202" y="20"/>
                    <a:pt x="202" y="20"/>
                  </a:cubicBezTo>
                  <a:cubicBezTo>
                    <a:pt x="171" y="7"/>
                    <a:pt x="137" y="0"/>
                    <a:pt x="10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9" name="Freeform 59">
              <a:extLst>
                <a:ext uri="{FF2B5EF4-FFF2-40B4-BE49-F238E27FC236}">
                  <a16:creationId xmlns:a16="http://schemas.microsoft.com/office/drawing/2014/main" id="{3C0E07F6-A669-4C88-8B0C-4888A9A3B96E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-2678311"/>
              <a:ext cx="1274763" cy="66675"/>
            </a:xfrm>
            <a:custGeom>
              <a:avLst/>
              <a:gdLst>
                <a:gd name="T0" fmla="*/ 386 w 402"/>
                <a:gd name="T1" fmla="*/ 0 h 21"/>
                <a:gd name="T2" fmla="*/ 0 w 402"/>
                <a:gd name="T3" fmla="*/ 0 h 21"/>
                <a:gd name="T4" fmla="*/ 0 w 402"/>
                <a:gd name="T5" fmla="*/ 21 h 21"/>
                <a:gd name="T6" fmla="*/ 402 w 402"/>
                <a:gd name="T7" fmla="*/ 21 h 21"/>
                <a:gd name="T8" fmla="*/ 386 w 402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2" h="21">
                  <a:moveTo>
                    <a:pt x="38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402" y="21"/>
                    <a:pt x="402" y="21"/>
                    <a:pt x="402" y="21"/>
                  </a:cubicBezTo>
                  <a:cubicBezTo>
                    <a:pt x="397" y="14"/>
                    <a:pt x="392" y="7"/>
                    <a:pt x="386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" name="Freeform 60">
              <a:extLst>
                <a:ext uri="{FF2B5EF4-FFF2-40B4-BE49-F238E27FC236}">
                  <a16:creationId xmlns:a16="http://schemas.microsoft.com/office/drawing/2014/main" id="{EE3AD2F5-FC8F-4A67-BBC3-01CA013CAE6B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-2525911"/>
              <a:ext cx="1354138" cy="66675"/>
            </a:xfrm>
            <a:custGeom>
              <a:avLst/>
              <a:gdLst>
                <a:gd name="T0" fmla="*/ 418 w 427"/>
                <a:gd name="T1" fmla="*/ 0 h 21"/>
                <a:gd name="T2" fmla="*/ 0 w 427"/>
                <a:gd name="T3" fmla="*/ 0 h 21"/>
                <a:gd name="T4" fmla="*/ 0 w 427"/>
                <a:gd name="T5" fmla="*/ 21 h 21"/>
                <a:gd name="T6" fmla="*/ 427 w 427"/>
                <a:gd name="T7" fmla="*/ 21 h 21"/>
                <a:gd name="T8" fmla="*/ 418 w 427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21">
                  <a:moveTo>
                    <a:pt x="41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427" y="21"/>
                    <a:pt x="427" y="21"/>
                    <a:pt x="427" y="21"/>
                  </a:cubicBezTo>
                  <a:cubicBezTo>
                    <a:pt x="424" y="14"/>
                    <a:pt x="421" y="7"/>
                    <a:pt x="418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" name="Freeform 61">
              <a:extLst>
                <a:ext uri="{FF2B5EF4-FFF2-40B4-BE49-F238E27FC236}">
                  <a16:creationId xmlns:a16="http://schemas.microsoft.com/office/drawing/2014/main" id="{9AE58AB9-89D7-4A78-849A-F1210EBCEF7A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-2373511"/>
              <a:ext cx="1398588" cy="66675"/>
            </a:xfrm>
            <a:custGeom>
              <a:avLst/>
              <a:gdLst>
                <a:gd name="T0" fmla="*/ 436 w 441"/>
                <a:gd name="T1" fmla="*/ 0 h 21"/>
                <a:gd name="T2" fmla="*/ 0 w 441"/>
                <a:gd name="T3" fmla="*/ 0 h 21"/>
                <a:gd name="T4" fmla="*/ 0 w 441"/>
                <a:gd name="T5" fmla="*/ 21 h 21"/>
                <a:gd name="T6" fmla="*/ 441 w 441"/>
                <a:gd name="T7" fmla="*/ 21 h 21"/>
                <a:gd name="T8" fmla="*/ 436 w 441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1" h="21">
                  <a:moveTo>
                    <a:pt x="4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441" y="21"/>
                    <a:pt x="441" y="21"/>
                    <a:pt x="441" y="21"/>
                  </a:cubicBezTo>
                  <a:cubicBezTo>
                    <a:pt x="440" y="14"/>
                    <a:pt x="438" y="7"/>
                    <a:pt x="436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" name="Freeform 62">
              <a:extLst>
                <a:ext uri="{FF2B5EF4-FFF2-40B4-BE49-F238E27FC236}">
                  <a16:creationId xmlns:a16="http://schemas.microsoft.com/office/drawing/2014/main" id="{17FA3C06-C151-45B8-9E15-2B55358DD55E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-2217936"/>
              <a:ext cx="1414463" cy="66675"/>
            </a:xfrm>
            <a:custGeom>
              <a:avLst/>
              <a:gdLst>
                <a:gd name="T0" fmla="*/ 445 w 446"/>
                <a:gd name="T1" fmla="*/ 0 h 21"/>
                <a:gd name="T2" fmla="*/ 0 w 446"/>
                <a:gd name="T3" fmla="*/ 0 h 21"/>
                <a:gd name="T4" fmla="*/ 0 w 446"/>
                <a:gd name="T5" fmla="*/ 21 h 21"/>
                <a:gd name="T6" fmla="*/ 446 w 446"/>
                <a:gd name="T7" fmla="*/ 21 h 21"/>
                <a:gd name="T8" fmla="*/ 445 w 446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6" h="21">
                  <a:moveTo>
                    <a:pt x="44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446" y="21"/>
                    <a:pt x="446" y="21"/>
                    <a:pt x="446" y="21"/>
                  </a:cubicBezTo>
                  <a:cubicBezTo>
                    <a:pt x="446" y="14"/>
                    <a:pt x="445" y="7"/>
                    <a:pt x="445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" name="Freeform 63">
              <a:extLst>
                <a:ext uri="{FF2B5EF4-FFF2-40B4-BE49-F238E27FC236}">
                  <a16:creationId xmlns:a16="http://schemas.microsoft.com/office/drawing/2014/main" id="{12395491-04BA-40B3-A92E-5908E92C7731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-2065536"/>
              <a:ext cx="1408113" cy="66675"/>
            </a:xfrm>
            <a:custGeom>
              <a:avLst/>
              <a:gdLst>
                <a:gd name="T0" fmla="*/ 444 w 444"/>
                <a:gd name="T1" fmla="*/ 0 h 21"/>
                <a:gd name="T2" fmla="*/ 0 w 444"/>
                <a:gd name="T3" fmla="*/ 0 h 21"/>
                <a:gd name="T4" fmla="*/ 0 w 444"/>
                <a:gd name="T5" fmla="*/ 21 h 21"/>
                <a:gd name="T6" fmla="*/ 441 w 444"/>
                <a:gd name="T7" fmla="*/ 21 h 21"/>
                <a:gd name="T8" fmla="*/ 444 w 444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4" h="21">
                  <a:moveTo>
                    <a:pt x="44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441" y="21"/>
                    <a:pt x="441" y="21"/>
                    <a:pt x="441" y="21"/>
                  </a:cubicBezTo>
                  <a:cubicBezTo>
                    <a:pt x="443" y="14"/>
                    <a:pt x="444" y="7"/>
                    <a:pt x="444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" name="Freeform 64">
              <a:extLst>
                <a:ext uri="{FF2B5EF4-FFF2-40B4-BE49-F238E27FC236}">
                  <a16:creationId xmlns:a16="http://schemas.microsoft.com/office/drawing/2014/main" id="{7571EB75-4271-4A10-9801-A549AF0B5816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-1913136"/>
              <a:ext cx="1379538" cy="66675"/>
            </a:xfrm>
            <a:custGeom>
              <a:avLst/>
              <a:gdLst>
                <a:gd name="T0" fmla="*/ 435 w 435"/>
                <a:gd name="T1" fmla="*/ 0 h 21"/>
                <a:gd name="T2" fmla="*/ 0 w 435"/>
                <a:gd name="T3" fmla="*/ 0 h 21"/>
                <a:gd name="T4" fmla="*/ 0 w 435"/>
                <a:gd name="T5" fmla="*/ 21 h 21"/>
                <a:gd name="T6" fmla="*/ 428 w 435"/>
                <a:gd name="T7" fmla="*/ 21 h 21"/>
                <a:gd name="T8" fmla="*/ 435 w 435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5" h="21">
                  <a:moveTo>
                    <a:pt x="43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428" y="21"/>
                    <a:pt x="428" y="21"/>
                    <a:pt x="428" y="21"/>
                  </a:cubicBezTo>
                  <a:cubicBezTo>
                    <a:pt x="430" y="14"/>
                    <a:pt x="433" y="7"/>
                    <a:pt x="435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" name="Freeform 65">
              <a:extLst>
                <a:ext uri="{FF2B5EF4-FFF2-40B4-BE49-F238E27FC236}">
                  <a16:creationId xmlns:a16="http://schemas.microsoft.com/office/drawing/2014/main" id="{7B2E00CB-76AE-4422-BDE2-24DA767C9DDF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-1760736"/>
              <a:ext cx="1316038" cy="66675"/>
            </a:xfrm>
            <a:custGeom>
              <a:avLst/>
              <a:gdLst>
                <a:gd name="T0" fmla="*/ 415 w 415"/>
                <a:gd name="T1" fmla="*/ 0 h 21"/>
                <a:gd name="T2" fmla="*/ 0 w 415"/>
                <a:gd name="T3" fmla="*/ 0 h 21"/>
                <a:gd name="T4" fmla="*/ 0 w 415"/>
                <a:gd name="T5" fmla="*/ 21 h 21"/>
                <a:gd name="T6" fmla="*/ 403 w 415"/>
                <a:gd name="T7" fmla="*/ 21 h 21"/>
                <a:gd name="T8" fmla="*/ 415 w 415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5" h="21">
                  <a:moveTo>
                    <a:pt x="41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403" y="21"/>
                    <a:pt x="403" y="21"/>
                    <a:pt x="403" y="21"/>
                  </a:cubicBezTo>
                  <a:cubicBezTo>
                    <a:pt x="407" y="14"/>
                    <a:pt x="412" y="7"/>
                    <a:pt x="415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" name="Freeform 66">
              <a:extLst>
                <a:ext uri="{FF2B5EF4-FFF2-40B4-BE49-F238E27FC236}">
                  <a16:creationId xmlns:a16="http://schemas.microsoft.com/office/drawing/2014/main" id="{B0F5AA1C-7DCA-42B5-8A27-187DFD521BF1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-1608336"/>
              <a:ext cx="1211263" cy="66675"/>
            </a:xfrm>
            <a:custGeom>
              <a:avLst/>
              <a:gdLst>
                <a:gd name="T0" fmla="*/ 382 w 382"/>
                <a:gd name="T1" fmla="*/ 0 h 21"/>
                <a:gd name="T2" fmla="*/ 0 w 382"/>
                <a:gd name="T3" fmla="*/ 0 h 21"/>
                <a:gd name="T4" fmla="*/ 0 w 382"/>
                <a:gd name="T5" fmla="*/ 15 h 21"/>
                <a:gd name="T6" fmla="*/ 5 w 382"/>
                <a:gd name="T7" fmla="*/ 21 h 21"/>
                <a:gd name="T8" fmla="*/ 362 w 382"/>
                <a:gd name="T9" fmla="*/ 21 h 21"/>
                <a:gd name="T10" fmla="*/ 382 w 382"/>
                <a:gd name="T11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2" h="21">
                  <a:moveTo>
                    <a:pt x="38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2" y="17"/>
                    <a:pt x="3" y="19"/>
                    <a:pt x="5" y="21"/>
                  </a:cubicBezTo>
                  <a:cubicBezTo>
                    <a:pt x="362" y="21"/>
                    <a:pt x="362" y="21"/>
                    <a:pt x="362" y="21"/>
                  </a:cubicBezTo>
                  <a:cubicBezTo>
                    <a:pt x="369" y="15"/>
                    <a:pt x="376" y="8"/>
                    <a:pt x="38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7" name="Freeform 67">
              <a:extLst>
                <a:ext uri="{FF2B5EF4-FFF2-40B4-BE49-F238E27FC236}">
                  <a16:creationId xmlns:a16="http://schemas.microsoft.com/office/drawing/2014/main" id="{1C0A7D99-3E4F-4041-AA45-ECF923F869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000" y="-1455936"/>
              <a:ext cx="914400" cy="66675"/>
            </a:xfrm>
            <a:custGeom>
              <a:avLst/>
              <a:gdLst>
                <a:gd name="T0" fmla="*/ 288 w 288"/>
                <a:gd name="T1" fmla="*/ 0 h 21"/>
                <a:gd name="T2" fmla="*/ 0 w 288"/>
                <a:gd name="T3" fmla="*/ 0 h 21"/>
                <a:gd name="T4" fmla="*/ 39 w 288"/>
                <a:gd name="T5" fmla="*/ 21 h 21"/>
                <a:gd name="T6" fmla="*/ 249 w 288"/>
                <a:gd name="T7" fmla="*/ 21 h 21"/>
                <a:gd name="T8" fmla="*/ 288 w 288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8" h="21">
                  <a:moveTo>
                    <a:pt x="28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" y="8"/>
                    <a:pt x="25" y="15"/>
                    <a:pt x="39" y="21"/>
                  </a:cubicBezTo>
                  <a:cubicBezTo>
                    <a:pt x="249" y="21"/>
                    <a:pt x="249" y="21"/>
                    <a:pt x="249" y="21"/>
                  </a:cubicBezTo>
                  <a:cubicBezTo>
                    <a:pt x="263" y="15"/>
                    <a:pt x="276" y="8"/>
                    <a:pt x="288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3" name="Group 262">
            <a:extLst>
              <a:ext uri="{FF2B5EF4-FFF2-40B4-BE49-F238E27FC236}">
                <a16:creationId xmlns:a16="http://schemas.microsoft.com/office/drawing/2014/main" id="{D4666F8E-9ACD-45C9-B0DC-D9C3ECD066F2}"/>
              </a:ext>
            </a:extLst>
          </p:cNvPr>
          <p:cNvGrpSpPr/>
          <p:nvPr/>
        </p:nvGrpSpPr>
        <p:grpSpPr>
          <a:xfrm>
            <a:off x="10669588" y="663575"/>
            <a:ext cx="1519237" cy="1590675"/>
            <a:chOff x="10669588" y="-6685161"/>
            <a:chExt cx="1519237" cy="1590675"/>
          </a:xfrm>
          <a:solidFill>
            <a:schemeClr val="tx1">
              <a:lumMod val="85000"/>
              <a:lumOff val="15000"/>
              <a:alpha val="10000"/>
            </a:schemeClr>
          </a:solidFill>
        </p:grpSpPr>
        <p:sp>
          <p:nvSpPr>
            <p:cNvPr id="265" name="Freeform 56">
              <a:extLst>
                <a:ext uri="{FF2B5EF4-FFF2-40B4-BE49-F238E27FC236}">
                  <a16:creationId xmlns:a16="http://schemas.microsoft.com/office/drawing/2014/main" id="{751B2E56-7046-4C72-8517-DDC0677574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82475" y="-6329561"/>
              <a:ext cx="6350" cy="12700"/>
            </a:xfrm>
            <a:custGeom>
              <a:avLst/>
              <a:gdLst>
                <a:gd name="T0" fmla="*/ 0 w 2"/>
                <a:gd name="T1" fmla="*/ 0 h 4"/>
                <a:gd name="T2" fmla="*/ 0 w 2"/>
                <a:gd name="T3" fmla="*/ 4 h 4"/>
                <a:gd name="T4" fmla="*/ 2 w 2"/>
                <a:gd name="T5" fmla="*/ 4 h 4"/>
                <a:gd name="T6" fmla="*/ 0 w 2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0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3"/>
                    <a:pt x="0" y="1"/>
                    <a:pt x="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" name="Freeform 68">
              <a:extLst>
                <a:ext uri="{FF2B5EF4-FFF2-40B4-BE49-F238E27FC236}">
                  <a16:creationId xmlns:a16="http://schemas.microsoft.com/office/drawing/2014/main" id="{A0565C92-370C-4DE5-B18E-23054F3B67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39463" y="-6535936"/>
              <a:ext cx="1119188" cy="66675"/>
            </a:xfrm>
            <a:custGeom>
              <a:avLst/>
              <a:gdLst>
                <a:gd name="T0" fmla="*/ 326 w 353"/>
                <a:gd name="T1" fmla="*/ 0 h 21"/>
                <a:gd name="T2" fmla="*/ 26 w 353"/>
                <a:gd name="T3" fmla="*/ 0 h 21"/>
                <a:gd name="T4" fmla="*/ 0 w 353"/>
                <a:gd name="T5" fmla="*/ 21 h 21"/>
                <a:gd name="T6" fmla="*/ 353 w 353"/>
                <a:gd name="T7" fmla="*/ 21 h 21"/>
                <a:gd name="T8" fmla="*/ 326 w 353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3" h="21">
                  <a:moveTo>
                    <a:pt x="3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17" y="6"/>
                    <a:pt x="8" y="13"/>
                    <a:pt x="0" y="21"/>
                  </a:cubicBezTo>
                  <a:cubicBezTo>
                    <a:pt x="353" y="21"/>
                    <a:pt x="353" y="21"/>
                    <a:pt x="353" y="21"/>
                  </a:cubicBezTo>
                  <a:cubicBezTo>
                    <a:pt x="344" y="13"/>
                    <a:pt x="336" y="6"/>
                    <a:pt x="326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" name="Freeform 69">
              <a:extLst>
                <a:ext uri="{FF2B5EF4-FFF2-40B4-BE49-F238E27FC236}">
                  <a16:creationId xmlns:a16="http://schemas.microsoft.com/office/drawing/2014/main" id="{4491FA6A-D5CB-4EEF-AC73-D530D536EF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79175" y="-6685161"/>
              <a:ext cx="638175" cy="63500"/>
            </a:xfrm>
            <a:custGeom>
              <a:avLst/>
              <a:gdLst>
                <a:gd name="T0" fmla="*/ 100 w 201"/>
                <a:gd name="T1" fmla="*/ 0 h 20"/>
                <a:gd name="T2" fmla="*/ 0 w 201"/>
                <a:gd name="T3" fmla="*/ 20 h 20"/>
                <a:gd name="T4" fmla="*/ 201 w 201"/>
                <a:gd name="T5" fmla="*/ 20 h 20"/>
                <a:gd name="T6" fmla="*/ 100 w 201"/>
                <a:gd name="T7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1" h="20">
                  <a:moveTo>
                    <a:pt x="100" y="0"/>
                  </a:moveTo>
                  <a:cubicBezTo>
                    <a:pt x="65" y="0"/>
                    <a:pt x="31" y="7"/>
                    <a:pt x="0" y="20"/>
                  </a:cubicBezTo>
                  <a:cubicBezTo>
                    <a:pt x="201" y="20"/>
                    <a:pt x="201" y="20"/>
                    <a:pt x="201" y="20"/>
                  </a:cubicBezTo>
                  <a:cubicBezTo>
                    <a:pt x="170" y="7"/>
                    <a:pt x="136" y="0"/>
                    <a:pt x="10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" name="Freeform 70">
              <a:extLst>
                <a:ext uri="{FF2B5EF4-FFF2-40B4-BE49-F238E27FC236}">
                  <a16:creationId xmlns:a16="http://schemas.microsoft.com/office/drawing/2014/main" id="{E0BB4452-3046-47DD-A764-DBF8FC9356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09288" y="-6383536"/>
              <a:ext cx="1373188" cy="66675"/>
            </a:xfrm>
            <a:custGeom>
              <a:avLst/>
              <a:gdLst>
                <a:gd name="T0" fmla="*/ 420 w 433"/>
                <a:gd name="T1" fmla="*/ 0 h 21"/>
                <a:gd name="T2" fmla="*/ 15 w 433"/>
                <a:gd name="T3" fmla="*/ 0 h 21"/>
                <a:gd name="T4" fmla="*/ 0 w 433"/>
                <a:gd name="T5" fmla="*/ 21 h 21"/>
                <a:gd name="T6" fmla="*/ 433 w 433"/>
                <a:gd name="T7" fmla="*/ 21 h 21"/>
                <a:gd name="T8" fmla="*/ 433 w 433"/>
                <a:gd name="T9" fmla="*/ 17 h 21"/>
                <a:gd name="T10" fmla="*/ 420 w 433"/>
                <a:gd name="T11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3" h="21">
                  <a:moveTo>
                    <a:pt x="420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0" y="7"/>
                    <a:pt x="5" y="14"/>
                    <a:pt x="0" y="21"/>
                  </a:cubicBezTo>
                  <a:cubicBezTo>
                    <a:pt x="433" y="21"/>
                    <a:pt x="433" y="21"/>
                    <a:pt x="433" y="21"/>
                  </a:cubicBezTo>
                  <a:cubicBezTo>
                    <a:pt x="433" y="17"/>
                    <a:pt x="433" y="17"/>
                    <a:pt x="433" y="17"/>
                  </a:cubicBezTo>
                  <a:cubicBezTo>
                    <a:pt x="428" y="11"/>
                    <a:pt x="424" y="5"/>
                    <a:pt x="42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" name="Freeform 71">
              <a:extLst>
                <a:ext uri="{FF2B5EF4-FFF2-40B4-BE49-F238E27FC236}">
                  <a16:creationId xmlns:a16="http://schemas.microsoft.com/office/drawing/2014/main" id="{7F60D23C-B7C8-40DD-BE54-D8A0D97C52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26738" y="-6231136"/>
              <a:ext cx="1455738" cy="66675"/>
            </a:xfrm>
            <a:custGeom>
              <a:avLst/>
              <a:gdLst>
                <a:gd name="T0" fmla="*/ 459 w 459"/>
                <a:gd name="T1" fmla="*/ 0 h 21"/>
                <a:gd name="T2" fmla="*/ 10 w 459"/>
                <a:gd name="T3" fmla="*/ 0 h 21"/>
                <a:gd name="T4" fmla="*/ 0 w 459"/>
                <a:gd name="T5" fmla="*/ 21 h 21"/>
                <a:gd name="T6" fmla="*/ 459 w 459"/>
                <a:gd name="T7" fmla="*/ 21 h 21"/>
                <a:gd name="T8" fmla="*/ 459 w 459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9" h="21">
                  <a:moveTo>
                    <a:pt x="459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6" y="7"/>
                    <a:pt x="3" y="14"/>
                    <a:pt x="0" y="21"/>
                  </a:cubicBezTo>
                  <a:cubicBezTo>
                    <a:pt x="459" y="21"/>
                    <a:pt x="459" y="21"/>
                    <a:pt x="459" y="21"/>
                  </a:cubicBezTo>
                  <a:cubicBezTo>
                    <a:pt x="459" y="0"/>
                    <a:pt x="459" y="0"/>
                    <a:pt x="459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" name="Freeform 72">
              <a:extLst>
                <a:ext uri="{FF2B5EF4-FFF2-40B4-BE49-F238E27FC236}">
                  <a16:creationId xmlns:a16="http://schemas.microsoft.com/office/drawing/2014/main" id="{0FB94173-7B21-4FAF-8B6E-D9FA896293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82288" y="-6078736"/>
              <a:ext cx="1500188" cy="66675"/>
            </a:xfrm>
            <a:custGeom>
              <a:avLst/>
              <a:gdLst>
                <a:gd name="T0" fmla="*/ 473 w 473"/>
                <a:gd name="T1" fmla="*/ 0 h 21"/>
                <a:gd name="T2" fmla="*/ 5 w 473"/>
                <a:gd name="T3" fmla="*/ 0 h 21"/>
                <a:gd name="T4" fmla="*/ 0 w 473"/>
                <a:gd name="T5" fmla="*/ 21 h 21"/>
                <a:gd name="T6" fmla="*/ 473 w 473"/>
                <a:gd name="T7" fmla="*/ 21 h 21"/>
                <a:gd name="T8" fmla="*/ 473 w 473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3" h="21">
                  <a:moveTo>
                    <a:pt x="473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3" y="7"/>
                    <a:pt x="2" y="14"/>
                    <a:pt x="0" y="21"/>
                  </a:cubicBezTo>
                  <a:cubicBezTo>
                    <a:pt x="473" y="21"/>
                    <a:pt x="473" y="21"/>
                    <a:pt x="473" y="21"/>
                  </a:cubicBezTo>
                  <a:cubicBezTo>
                    <a:pt x="473" y="0"/>
                    <a:pt x="473" y="0"/>
                    <a:pt x="473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" name="Freeform 73">
              <a:extLst>
                <a:ext uri="{FF2B5EF4-FFF2-40B4-BE49-F238E27FC236}">
                  <a16:creationId xmlns:a16="http://schemas.microsoft.com/office/drawing/2014/main" id="{E1C3EBD0-C306-4597-9B11-DCABCBCDD9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69588" y="-5926336"/>
              <a:ext cx="1512888" cy="66675"/>
            </a:xfrm>
            <a:custGeom>
              <a:avLst/>
              <a:gdLst>
                <a:gd name="T0" fmla="*/ 477 w 477"/>
                <a:gd name="T1" fmla="*/ 0 h 21"/>
                <a:gd name="T2" fmla="*/ 1 w 477"/>
                <a:gd name="T3" fmla="*/ 0 h 21"/>
                <a:gd name="T4" fmla="*/ 0 w 477"/>
                <a:gd name="T5" fmla="*/ 21 h 21"/>
                <a:gd name="T6" fmla="*/ 477 w 477"/>
                <a:gd name="T7" fmla="*/ 21 h 21"/>
                <a:gd name="T8" fmla="*/ 477 w 477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7" h="21">
                  <a:moveTo>
                    <a:pt x="477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7"/>
                    <a:pt x="0" y="14"/>
                    <a:pt x="0" y="21"/>
                  </a:cubicBezTo>
                  <a:cubicBezTo>
                    <a:pt x="477" y="21"/>
                    <a:pt x="477" y="21"/>
                    <a:pt x="477" y="21"/>
                  </a:cubicBezTo>
                  <a:cubicBezTo>
                    <a:pt x="477" y="0"/>
                    <a:pt x="477" y="0"/>
                    <a:pt x="477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" name="Freeform 74">
              <a:extLst>
                <a:ext uri="{FF2B5EF4-FFF2-40B4-BE49-F238E27FC236}">
                  <a16:creationId xmlns:a16="http://schemas.microsoft.com/office/drawing/2014/main" id="{285549D7-33D9-4D36-BADD-C3B25029C2C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2763" y="-5773936"/>
              <a:ext cx="1509713" cy="66675"/>
            </a:xfrm>
            <a:custGeom>
              <a:avLst/>
              <a:gdLst>
                <a:gd name="T0" fmla="*/ 476 w 476"/>
                <a:gd name="T1" fmla="*/ 0 h 21"/>
                <a:gd name="T2" fmla="*/ 0 w 476"/>
                <a:gd name="T3" fmla="*/ 0 h 21"/>
                <a:gd name="T4" fmla="*/ 3 w 476"/>
                <a:gd name="T5" fmla="*/ 21 h 21"/>
                <a:gd name="T6" fmla="*/ 476 w 476"/>
                <a:gd name="T7" fmla="*/ 21 h 21"/>
                <a:gd name="T8" fmla="*/ 476 w 476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6" h="21">
                  <a:moveTo>
                    <a:pt x="47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8"/>
                    <a:pt x="2" y="15"/>
                    <a:pt x="3" y="21"/>
                  </a:cubicBezTo>
                  <a:cubicBezTo>
                    <a:pt x="476" y="21"/>
                    <a:pt x="476" y="21"/>
                    <a:pt x="476" y="21"/>
                  </a:cubicBezTo>
                  <a:cubicBezTo>
                    <a:pt x="476" y="0"/>
                    <a:pt x="476" y="0"/>
                    <a:pt x="476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" name="Freeform 75">
              <a:extLst>
                <a:ext uri="{FF2B5EF4-FFF2-40B4-BE49-F238E27FC236}">
                  <a16:creationId xmlns:a16="http://schemas.microsoft.com/office/drawing/2014/main" id="{EC35A182-63D8-4E48-A428-0570C04341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01338" y="-5618361"/>
              <a:ext cx="1481138" cy="66675"/>
            </a:xfrm>
            <a:custGeom>
              <a:avLst/>
              <a:gdLst>
                <a:gd name="T0" fmla="*/ 467 w 467"/>
                <a:gd name="T1" fmla="*/ 0 h 21"/>
                <a:gd name="T2" fmla="*/ 0 w 467"/>
                <a:gd name="T3" fmla="*/ 0 h 21"/>
                <a:gd name="T4" fmla="*/ 8 w 467"/>
                <a:gd name="T5" fmla="*/ 21 h 21"/>
                <a:gd name="T6" fmla="*/ 467 w 467"/>
                <a:gd name="T7" fmla="*/ 21 h 21"/>
                <a:gd name="T8" fmla="*/ 467 w 467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7" h="21">
                  <a:moveTo>
                    <a:pt x="46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7"/>
                    <a:pt x="5" y="14"/>
                    <a:pt x="8" y="21"/>
                  </a:cubicBezTo>
                  <a:cubicBezTo>
                    <a:pt x="467" y="21"/>
                    <a:pt x="467" y="21"/>
                    <a:pt x="467" y="21"/>
                  </a:cubicBezTo>
                  <a:cubicBezTo>
                    <a:pt x="467" y="0"/>
                    <a:pt x="467" y="0"/>
                    <a:pt x="467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" name="Freeform 76">
              <a:extLst>
                <a:ext uri="{FF2B5EF4-FFF2-40B4-BE49-F238E27FC236}">
                  <a16:creationId xmlns:a16="http://schemas.microsoft.com/office/drawing/2014/main" id="{52C53214-CB53-426C-9DFC-68094B8EDA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64838" y="-5465961"/>
              <a:ext cx="1417638" cy="66675"/>
            </a:xfrm>
            <a:custGeom>
              <a:avLst/>
              <a:gdLst>
                <a:gd name="T0" fmla="*/ 447 w 447"/>
                <a:gd name="T1" fmla="*/ 0 h 21"/>
                <a:gd name="T2" fmla="*/ 0 w 447"/>
                <a:gd name="T3" fmla="*/ 0 h 21"/>
                <a:gd name="T4" fmla="*/ 12 w 447"/>
                <a:gd name="T5" fmla="*/ 21 h 21"/>
                <a:gd name="T6" fmla="*/ 447 w 447"/>
                <a:gd name="T7" fmla="*/ 21 h 21"/>
                <a:gd name="T8" fmla="*/ 447 w 447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7" h="21">
                  <a:moveTo>
                    <a:pt x="44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7"/>
                    <a:pt x="8" y="14"/>
                    <a:pt x="12" y="21"/>
                  </a:cubicBezTo>
                  <a:cubicBezTo>
                    <a:pt x="447" y="21"/>
                    <a:pt x="447" y="21"/>
                    <a:pt x="447" y="21"/>
                  </a:cubicBezTo>
                  <a:cubicBezTo>
                    <a:pt x="447" y="0"/>
                    <a:pt x="447" y="0"/>
                    <a:pt x="447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" name="Freeform 77">
              <a:extLst>
                <a:ext uri="{FF2B5EF4-FFF2-40B4-BE49-F238E27FC236}">
                  <a16:creationId xmlns:a16="http://schemas.microsoft.com/office/drawing/2014/main" id="{3C9C2029-6F4E-4981-845E-E6DBB99B714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69613" y="-5313561"/>
              <a:ext cx="1258888" cy="66675"/>
            </a:xfrm>
            <a:custGeom>
              <a:avLst/>
              <a:gdLst>
                <a:gd name="T0" fmla="*/ 397 w 397"/>
                <a:gd name="T1" fmla="*/ 0 h 21"/>
                <a:gd name="T2" fmla="*/ 335 w 397"/>
                <a:gd name="T3" fmla="*/ 0 h 21"/>
                <a:gd name="T4" fmla="*/ 261 w 397"/>
                <a:gd name="T5" fmla="*/ 0 h 21"/>
                <a:gd name="T6" fmla="*/ 0 w 397"/>
                <a:gd name="T7" fmla="*/ 0 h 21"/>
                <a:gd name="T8" fmla="*/ 20 w 397"/>
                <a:gd name="T9" fmla="*/ 21 h 21"/>
                <a:gd name="T10" fmla="*/ 229 w 397"/>
                <a:gd name="T11" fmla="*/ 21 h 21"/>
                <a:gd name="T12" fmla="*/ 368 w 397"/>
                <a:gd name="T13" fmla="*/ 21 h 21"/>
                <a:gd name="T14" fmla="*/ 377 w 397"/>
                <a:gd name="T15" fmla="*/ 21 h 21"/>
                <a:gd name="T16" fmla="*/ 397 w 397"/>
                <a:gd name="T1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7" h="21">
                  <a:moveTo>
                    <a:pt x="397" y="0"/>
                  </a:moveTo>
                  <a:cubicBezTo>
                    <a:pt x="335" y="0"/>
                    <a:pt x="335" y="0"/>
                    <a:pt x="335" y="0"/>
                  </a:cubicBezTo>
                  <a:cubicBezTo>
                    <a:pt x="261" y="0"/>
                    <a:pt x="261" y="0"/>
                    <a:pt x="26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" y="7"/>
                    <a:pt x="13" y="14"/>
                    <a:pt x="20" y="21"/>
                  </a:cubicBezTo>
                  <a:cubicBezTo>
                    <a:pt x="229" y="21"/>
                    <a:pt x="229" y="21"/>
                    <a:pt x="229" y="21"/>
                  </a:cubicBezTo>
                  <a:cubicBezTo>
                    <a:pt x="368" y="21"/>
                    <a:pt x="368" y="21"/>
                    <a:pt x="368" y="21"/>
                  </a:cubicBezTo>
                  <a:cubicBezTo>
                    <a:pt x="377" y="21"/>
                    <a:pt x="377" y="21"/>
                    <a:pt x="377" y="21"/>
                  </a:cubicBezTo>
                  <a:cubicBezTo>
                    <a:pt x="384" y="14"/>
                    <a:pt x="391" y="7"/>
                    <a:pt x="397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" name="Freeform 78">
              <a:extLst>
                <a:ext uri="{FF2B5EF4-FFF2-40B4-BE49-F238E27FC236}">
                  <a16:creationId xmlns:a16="http://schemas.microsoft.com/office/drawing/2014/main" id="{BF06F1AE-B6FF-4533-9FA4-F9A1FFF4E5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42650" y="-5161161"/>
              <a:ext cx="911225" cy="66675"/>
            </a:xfrm>
            <a:custGeom>
              <a:avLst/>
              <a:gdLst>
                <a:gd name="T0" fmla="*/ 287 w 287"/>
                <a:gd name="T1" fmla="*/ 0 h 21"/>
                <a:gd name="T2" fmla="*/ 154 w 287"/>
                <a:gd name="T3" fmla="*/ 0 h 21"/>
                <a:gd name="T4" fmla="*/ 0 w 287"/>
                <a:gd name="T5" fmla="*/ 0 h 21"/>
                <a:gd name="T6" fmla="*/ 38 w 287"/>
                <a:gd name="T7" fmla="*/ 21 h 21"/>
                <a:gd name="T8" fmla="*/ 146 w 287"/>
                <a:gd name="T9" fmla="*/ 21 h 21"/>
                <a:gd name="T10" fmla="*/ 249 w 287"/>
                <a:gd name="T11" fmla="*/ 21 h 21"/>
                <a:gd name="T12" fmla="*/ 287 w 287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7" h="21">
                  <a:moveTo>
                    <a:pt x="287" y="0"/>
                  </a:moveTo>
                  <a:cubicBezTo>
                    <a:pt x="154" y="0"/>
                    <a:pt x="154" y="0"/>
                    <a:pt x="15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8"/>
                    <a:pt x="25" y="15"/>
                    <a:pt x="38" y="21"/>
                  </a:cubicBezTo>
                  <a:cubicBezTo>
                    <a:pt x="146" y="21"/>
                    <a:pt x="146" y="21"/>
                    <a:pt x="146" y="21"/>
                  </a:cubicBezTo>
                  <a:cubicBezTo>
                    <a:pt x="249" y="21"/>
                    <a:pt x="249" y="21"/>
                    <a:pt x="249" y="21"/>
                  </a:cubicBezTo>
                  <a:cubicBezTo>
                    <a:pt x="262" y="15"/>
                    <a:pt x="275" y="8"/>
                    <a:pt x="287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64" name="Freeform 11">
            <a:extLst>
              <a:ext uri="{FF2B5EF4-FFF2-40B4-BE49-F238E27FC236}">
                <a16:creationId xmlns:a16="http://schemas.microsoft.com/office/drawing/2014/main" id="{D0F9B4B6-D13D-490B-9203-34133C294E6E}"/>
              </a:ext>
            </a:extLst>
          </p:cNvPr>
          <p:cNvSpPr>
            <a:spLocks noEditPoints="1"/>
          </p:cNvSpPr>
          <p:nvPr/>
        </p:nvSpPr>
        <p:spPr bwMode="auto">
          <a:xfrm>
            <a:off x="8596012" y="1635919"/>
            <a:ext cx="631825" cy="631825"/>
          </a:xfrm>
          <a:custGeom>
            <a:avLst/>
            <a:gdLst>
              <a:gd name="T0" fmla="*/ 169 w 199"/>
              <a:gd name="T1" fmla="*/ 28 h 199"/>
              <a:gd name="T2" fmla="*/ 30 w 199"/>
              <a:gd name="T3" fmla="*/ 28 h 199"/>
              <a:gd name="T4" fmla="*/ 10 w 199"/>
              <a:gd name="T5" fmla="*/ 55 h 199"/>
              <a:gd name="T6" fmla="*/ 143 w 199"/>
              <a:gd name="T7" fmla="*/ 55 h 199"/>
              <a:gd name="T8" fmla="*/ 143 w 199"/>
              <a:gd name="T9" fmla="*/ 55 h 199"/>
              <a:gd name="T10" fmla="*/ 105 w 199"/>
              <a:gd name="T11" fmla="*/ 76 h 199"/>
              <a:gd name="T12" fmla="*/ 2 w 199"/>
              <a:gd name="T13" fmla="*/ 76 h 199"/>
              <a:gd name="T14" fmla="*/ 0 w 199"/>
              <a:gd name="T15" fmla="*/ 99 h 199"/>
              <a:gd name="T16" fmla="*/ 99 w 199"/>
              <a:gd name="T17" fmla="*/ 199 h 199"/>
              <a:gd name="T18" fmla="*/ 199 w 199"/>
              <a:gd name="T19" fmla="*/ 99 h 199"/>
              <a:gd name="T20" fmla="*/ 169 w 199"/>
              <a:gd name="T21" fmla="*/ 28 h 199"/>
              <a:gd name="T22" fmla="*/ 99 w 199"/>
              <a:gd name="T23" fmla="*/ 0 h 199"/>
              <a:gd name="T24" fmla="*/ 62 w 199"/>
              <a:gd name="T25" fmla="*/ 7 h 199"/>
              <a:gd name="T26" fmla="*/ 136 w 199"/>
              <a:gd name="T27" fmla="*/ 7 h 199"/>
              <a:gd name="T28" fmla="*/ 99 w 199"/>
              <a:gd name="T29" fmla="*/ 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99" h="199">
                <a:moveTo>
                  <a:pt x="169" y="28"/>
                </a:moveTo>
                <a:cubicBezTo>
                  <a:pt x="30" y="28"/>
                  <a:pt x="30" y="28"/>
                  <a:pt x="30" y="28"/>
                </a:cubicBezTo>
                <a:cubicBezTo>
                  <a:pt x="22" y="36"/>
                  <a:pt x="15" y="45"/>
                  <a:pt x="10" y="55"/>
                </a:cubicBezTo>
                <a:cubicBezTo>
                  <a:pt x="143" y="55"/>
                  <a:pt x="143" y="55"/>
                  <a:pt x="143" y="55"/>
                </a:cubicBezTo>
                <a:cubicBezTo>
                  <a:pt x="143" y="55"/>
                  <a:pt x="143" y="55"/>
                  <a:pt x="143" y="55"/>
                </a:cubicBezTo>
                <a:cubicBezTo>
                  <a:pt x="131" y="63"/>
                  <a:pt x="118" y="70"/>
                  <a:pt x="105" y="76"/>
                </a:cubicBezTo>
                <a:cubicBezTo>
                  <a:pt x="2" y="76"/>
                  <a:pt x="2" y="76"/>
                  <a:pt x="2" y="76"/>
                </a:cubicBezTo>
                <a:cubicBezTo>
                  <a:pt x="1" y="84"/>
                  <a:pt x="0" y="91"/>
                  <a:pt x="0" y="99"/>
                </a:cubicBezTo>
                <a:cubicBezTo>
                  <a:pt x="0" y="154"/>
                  <a:pt x="44" y="199"/>
                  <a:pt x="99" y="199"/>
                </a:cubicBezTo>
                <a:cubicBezTo>
                  <a:pt x="154" y="199"/>
                  <a:pt x="199" y="154"/>
                  <a:pt x="199" y="99"/>
                </a:cubicBezTo>
                <a:cubicBezTo>
                  <a:pt x="199" y="71"/>
                  <a:pt x="187" y="46"/>
                  <a:pt x="169" y="28"/>
                </a:cubicBezTo>
                <a:moveTo>
                  <a:pt x="99" y="0"/>
                </a:moveTo>
                <a:cubicBezTo>
                  <a:pt x="86" y="0"/>
                  <a:pt x="74" y="2"/>
                  <a:pt x="62" y="7"/>
                </a:cubicBezTo>
                <a:cubicBezTo>
                  <a:pt x="136" y="7"/>
                  <a:pt x="136" y="7"/>
                  <a:pt x="136" y="7"/>
                </a:cubicBezTo>
                <a:cubicBezTo>
                  <a:pt x="125" y="2"/>
                  <a:pt x="112" y="0"/>
                  <a:pt x="99" y="0"/>
                </a:cubicBezTo>
              </a:path>
            </a:pathLst>
          </a:custGeom>
          <a:solidFill>
            <a:schemeClr val="tx1">
              <a:lumMod val="85000"/>
              <a:lumOff val="15000"/>
              <a:alpha val="1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42" name="TextBox 341">
            <a:extLst>
              <a:ext uri="{FF2B5EF4-FFF2-40B4-BE49-F238E27FC236}">
                <a16:creationId xmlns:a16="http://schemas.microsoft.com/office/drawing/2014/main" id="{9B24DB6E-3031-4B38-8E17-620474C813C8}"/>
              </a:ext>
            </a:extLst>
          </p:cNvPr>
          <p:cNvSpPr txBox="1"/>
          <p:nvPr/>
        </p:nvSpPr>
        <p:spPr>
          <a:xfrm>
            <a:off x="798569" y="2435160"/>
            <a:ext cx="7205173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4000" spc="-200" dirty="0">
                <a:solidFill>
                  <a:schemeClr val="bg1"/>
                </a:solidFill>
                <a:latin typeface="+mj-lt"/>
              </a:rPr>
              <a:t>Europäischer Vergleich der Regulierungsintensität im Postsektor</a:t>
            </a:r>
          </a:p>
          <a:p>
            <a:r>
              <a:rPr lang="de-DE" sz="3200" spc="-200" dirty="0">
                <a:solidFill>
                  <a:schemeClr val="bg1"/>
                </a:solidFill>
              </a:rPr>
              <a:t>Rolf Büttner</a:t>
            </a:r>
            <a:endParaRPr lang="en-US" sz="2800" spc="-200" dirty="0">
              <a:solidFill>
                <a:schemeClr val="bg1"/>
              </a:solidFill>
            </a:endParaRP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54FE905B-541F-4491-B399-37CE6D01C0D2}"/>
              </a:ext>
            </a:extLst>
          </p:cNvPr>
          <p:cNvSpPr/>
          <p:nvPr/>
        </p:nvSpPr>
        <p:spPr>
          <a:xfrm>
            <a:off x="5073512" y="4488460"/>
            <a:ext cx="236456" cy="733136"/>
          </a:xfrm>
          <a:prstGeom prst="rect">
            <a:avLst/>
          </a:pr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BBE39E52-E2AE-4266-8464-94F95430A67A}"/>
              </a:ext>
            </a:extLst>
          </p:cNvPr>
          <p:cNvSpPr/>
          <p:nvPr/>
        </p:nvSpPr>
        <p:spPr>
          <a:xfrm>
            <a:off x="5380941" y="4488460"/>
            <a:ext cx="190751" cy="733136"/>
          </a:xfrm>
          <a:prstGeom prst="rect">
            <a:avLst/>
          </a:prstGeom>
          <a:solidFill>
            <a:schemeClr val="tx1">
              <a:alpha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Bildplatzhalter 12" descr="Ein Bild, das Text enthält.&#10;&#10;Automatisch generierte Beschreibung">
            <a:extLst>
              <a:ext uri="{FF2B5EF4-FFF2-40B4-BE49-F238E27FC236}">
                <a16:creationId xmlns:a16="http://schemas.microsoft.com/office/drawing/2014/main" id="{3144BB05-EA4E-4682-A180-8729062744CF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/>
          <a:srcRect l="20276" r="20276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91974701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5" name="Gerader Verbinder 104">
            <a:extLst>
              <a:ext uri="{FF2B5EF4-FFF2-40B4-BE49-F238E27FC236}">
                <a16:creationId xmlns:a16="http://schemas.microsoft.com/office/drawing/2014/main" id="{D69D67E6-08AE-4ABA-9CC7-ED4AF62F7DC2}"/>
              </a:ext>
            </a:extLst>
          </p:cNvPr>
          <p:cNvCxnSpPr>
            <a:cxnSpLocks/>
          </p:cNvCxnSpPr>
          <p:nvPr/>
        </p:nvCxnSpPr>
        <p:spPr>
          <a:xfrm flipH="1">
            <a:off x="3732156" y="5342233"/>
            <a:ext cx="6924580" cy="9404"/>
          </a:xfrm>
          <a:prstGeom prst="line">
            <a:avLst/>
          </a:prstGeom>
          <a:ln w="254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746319-778D-4FBC-9CA5-614FACA00834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4175206" y="6325766"/>
            <a:ext cx="4900087" cy="293322"/>
          </a:xfrm>
        </p:spPr>
        <p:txBody>
          <a:bodyPr/>
          <a:lstStyle/>
          <a:p>
            <a:r>
              <a:rPr lang="en-US" dirty="0" err="1"/>
              <a:t>Europäischer</a:t>
            </a:r>
            <a:r>
              <a:rPr lang="en-US" dirty="0"/>
              <a:t> </a:t>
            </a:r>
            <a:r>
              <a:rPr lang="en-US" dirty="0" err="1"/>
              <a:t>Vergleich</a:t>
            </a:r>
            <a:r>
              <a:rPr lang="en-US" dirty="0"/>
              <a:t> der </a:t>
            </a:r>
            <a:r>
              <a:rPr lang="en-US" dirty="0" err="1"/>
              <a:t>Regulierungsintensität</a:t>
            </a:r>
            <a:r>
              <a:rPr lang="en-US" dirty="0"/>
              <a:t> </a:t>
            </a:r>
            <a:r>
              <a:rPr lang="en-US" dirty="0" err="1"/>
              <a:t>im</a:t>
            </a:r>
            <a:r>
              <a:rPr lang="en-US" dirty="0"/>
              <a:t> </a:t>
            </a:r>
            <a:r>
              <a:rPr lang="en-US" dirty="0" err="1"/>
              <a:t>Postsektor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A51AE9-2B16-4F40-B911-5FF43E4529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F70EEBF-E97C-49FF-B05B-3B4D348638DC}" type="slidenum">
              <a:rPr lang="en-US" smtClean="0"/>
              <a:pPr/>
              <a:t>10</a:t>
            </a:fld>
            <a:endParaRPr lang="en-US" dirty="0"/>
          </a:p>
        </p:txBody>
      </p:sp>
      <p:grpSp>
        <p:nvGrpSpPr>
          <p:cNvPr id="67" name="Group 1">
            <a:extLst>
              <a:ext uri="{FF2B5EF4-FFF2-40B4-BE49-F238E27FC236}">
                <a16:creationId xmlns:a16="http://schemas.microsoft.com/office/drawing/2014/main" id="{DF724E20-F84B-40AA-890B-11CDA80E2947}"/>
              </a:ext>
            </a:extLst>
          </p:cNvPr>
          <p:cNvGrpSpPr/>
          <p:nvPr/>
        </p:nvGrpSpPr>
        <p:grpSpPr>
          <a:xfrm>
            <a:off x="796928" y="591989"/>
            <a:ext cx="8160258" cy="830997"/>
            <a:chOff x="796928" y="738477"/>
            <a:chExt cx="8160258" cy="830997"/>
          </a:xfrm>
        </p:grpSpPr>
        <p:sp>
          <p:nvSpPr>
            <p:cNvPr id="92" name="TextBox 142">
              <a:extLst>
                <a:ext uri="{FF2B5EF4-FFF2-40B4-BE49-F238E27FC236}">
                  <a16:creationId xmlns:a16="http://schemas.microsoft.com/office/drawing/2014/main" id="{6C7E8A18-012B-46B1-9680-98BB430D987C}"/>
                </a:ext>
              </a:extLst>
            </p:cNvPr>
            <p:cNvSpPr txBox="1"/>
            <p:nvPr/>
          </p:nvSpPr>
          <p:spPr>
            <a:xfrm>
              <a:off x="1069295" y="738477"/>
              <a:ext cx="7887891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dirty="0" err="1">
                  <a:solidFill>
                    <a:schemeClr val="accent1"/>
                  </a:solidFill>
                  <a:latin typeface="+mj-lt"/>
                </a:rPr>
                <a:t>Anteil</a:t>
              </a:r>
              <a:r>
                <a:rPr lang="en-US" sz="2400" dirty="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2400" dirty="0" err="1">
                  <a:solidFill>
                    <a:schemeClr val="accent1"/>
                  </a:solidFill>
                  <a:latin typeface="+mj-lt"/>
                </a:rPr>
                <a:t>Sendungsmengen</a:t>
              </a:r>
              <a:r>
                <a:rPr lang="en-US" sz="2400" dirty="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2400" dirty="0" err="1">
                  <a:solidFill>
                    <a:schemeClr val="accent1"/>
                  </a:solidFill>
                  <a:latin typeface="+mj-lt"/>
                </a:rPr>
                <a:t>im</a:t>
              </a:r>
              <a:r>
                <a:rPr lang="en-US" sz="2400" dirty="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2400" dirty="0" err="1">
                  <a:solidFill>
                    <a:schemeClr val="accent1"/>
                  </a:solidFill>
                  <a:latin typeface="+mj-lt"/>
                </a:rPr>
                <a:t>Deutschen</a:t>
              </a:r>
              <a:r>
                <a:rPr lang="en-US" sz="2400" dirty="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2400" dirty="0" err="1">
                  <a:solidFill>
                    <a:schemeClr val="accent1"/>
                  </a:solidFill>
                  <a:latin typeface="+mj-lt"/>
                </a:rPr>
                <a:t>Paketmark</a:t>
              </a:r>
              <a:r>
                <a:rPr lang="en-US" sz="2400" dirty="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2400" dirty="0" err="1">
                  <a:solidFill>
                    <a:schemeClr val="accent1"/>
                  </a:solidFill>
                  <a:latin typeface="+mj-lt"/>
                </a:rPr>
                <a:t>nach</a:t>
              </a:r>
              <a:r>
                <a:rPr lang="en-US" sz="2400" dirty="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2400" dirty="0" err="1">
                  <a:solidFill>
                    <a:schemeClr val="accent1"/>
                  </a:solidFill>
                  <a:latin typeface="+mj-lt"/>
                </a:rPr>
                <a:t>Wettbewerbern</a:t>
              </a:r>
              <a:r>
                <a:rPr lang="en-US" sz="2400" dirty="0">
                  <a:solidFill>
                    <a:schemeClr val="accent1"/>
                  </a:solidFill>
                  <a:latin typeface="+mj-lt"/>
                </a:rPr>
                <a:t> (2020) </a:t>
              </a:r>
              <a:endParaRPr lang="en-US" sz="2400" spc="-200" dirty="0">
                <a:solidFill>
                  <a:schemeClr val="accent1"/>
                </a:solidFill>
                <a:latin typeface="+mj-lt"/>
              </a:endParaRPr>
            </a:p>
          </p:txBody>
        </p:sp>
        <p:cxnSp>
          <p:nvCxnSpPr>
            <p:cNvPr id="93" name="Straight Connector 145">
              <a:extLst>
                <a:ext uri="{FF2B5EF4-FFF2-40B4-BE49-F238E27FC236}">
                  <a16:creationId xmlns:a16="http://schemas.microsoft.com/office/drawing/2014/main" id="{D4D4BFBA-6AF9-43D9-B65E-7983B5A4EC19}"/>
                </a:ext>
              </a:extLst>
            </p:cNvPr>
            <p:cNvCxnSpPr>
              <a:cxnSpLocks/>
            </p:cNvCxnSpPr>
            <p:nvPr/>
          </p:nvCxnSpPr>
          <p:spPr>
            <a:xfrm>
              <a:off x="796928" y="858120"/>
              <a:ext cx="0" cy="531091"/>
            </a:xfrm>
            <a:prstGeom prst="line">
              <a:avLst/>
            </a:prstGeom>
            <a:ln w="889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9" name="Textfeld 148">
            <a:extLst>
              <a:ext uri="{FF2B5EF4-FFF2-40B4-BE49-F238E27FC236}">
                <a16:creationId xmlns:a16="http://schemas.microsoft.com/office/drawing/2014/main" id="{4F2E1C45-CDF7-4B4F-AE0C-3C99E9708FC0}"/>
              </a:ext>
            </a:extLst>
          </p:cNvPr>
          <p:cNvSpPr txBox="1"/>
          <p:nvPr/>
        </p:nvSpPr>
        <p:spPr>
          <a:xfrm>
            <a:off x="765137" y="6598338"/>
            <a:ext cx="6264998" cy="14561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lvl1pPr>
              <a:buFont typeface="Arial"/>
              <a:buChar char="•"/>
            </a:lvl1pPr>
            <a:lvl2pPr>
              <a:buFont typeface="Arial"/>
              <a:buChar char="•"/>
            </a:lvl2pPr>
            <a:lvl3pPr>
              <a:buFont typeface="Arial"/>
              <a:buChar char="•"/>
            </a:lvl3pPr>
            <a:lvl4pPr>
              <a:buFont typeface="Arial"/>
              <a:buChar char="•"/>
            </a:lvl4pPr>
            <a:lvl5pPr>
              <a:buFont typeface="Arial"/>
              <a:buChar char="•"/>
            </a:lvl5pPr>
            <a:lvl6pPr>
              <a:buFont typeface="Arial"/>
              <a:buChar char="•"/>
            </a:lvl6pPr>
            <a:lvl7pPr>
              <a:buFont typeface="Arial"/>
              <a:buChar char="•"/>
            </a:lvl7pPr>
            <a:lvl8pPr>
              <a:buFont typeface="Arial"/>
              <a:buChar char="•"/>
            </a:lvl8pPr>
            <a:lvl9pPr>
              <a:buFont typeface="Arial"/>
              <a:buChar char="•"/>
            </a:lvl9pPr>
          </a:lstStyle>
          <a:p>
            <a:pPr algn="l">
              <a:lnSpc>
                <a:spcPct val="110000"/>
              </a:lnSpc>
              <a:spcAft>
                <a:spcPts val="500"/>
              </a:spcAft>
              <a:buNone/>
            </a:pPr>
            <a:r>
              <a:rPr lang="de-DE" sz="900" dirty="0">
                <a:solidFill>
                  <a:srgbClr val="878787"/>
                </a:solidFill>
              </a:rPr>
              <a:t>Quellen: BNetzA Tätigkeitsbericht Post 2020/21, veröffentlicht Dezember 2021</a:t>
            </a:r>
          </a:p>
        </p:txBody>
      </p:sp>
      <p:grpSp>
        <p:nvGrpSpPr>
          <p:cNvPr id="28" name="Group 46">
            <a:extLst>
              <a:ext uri="{FF2B5EF4-FFF2-40B4-BE49-F238E27FC236}">
                <a16:creationId xmlns:a16="http://schemas.microsoft.com/office/drawing/2014/main" id="{D10C5521-2D69-4D2C-B144-BE5A7B6A2AC0}"/>
              </a:ext>
            </a:extLst>
          </p:cNvPr>
          <p:cNvGrpSpPr/>
          <p:nvPr/>
        </p:nvGrpSpPr>
        <p:grpSpPr>
          <a:xfrm>
            <a:off x="796928" y="1712406"/>
            <a:ext cx="2862262" cy="4241800"/>
            <a:chOff x="4216401" y="1131888"/>
            <a:chExt cx="3752850" cy="5191125"/>
          </a:xfr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</p:grpSpPr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6703D59F-BA8D-41BF-BF74-45D5159BC6F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0451" y="2551113"/>
              <a:ext cx="1063625" cy="1379538"/>
            </a:xfrm>
            <a:custGeom>
              <a:avLst/>
              <a:gdLst/>
              <a:ahLst/>
              <a:cxnLst>
                <a:cxn ang="0">
                  <a:pos x="278" y="20"/>
                </a:cxn>
                <a:cxn ang="0">
                  <a:pos x="299" y="30"/>
                </a:cxn>
                <a:cxn ang="0">
                  <a:pos x="336" y="55"/>
                </a:cxn>
                <a:cxn ang="0">
                  <a:pos x="383" y="67"/>
                </a:cxn>
                <a:cxn ang="0">
                  <a:pos x="413" y="96"/>
                </a:cxn>
                <a:cxn ang="0">
                  <a:pos x="412" y="140"/>
                </a:cxn>
                <a:cxn ang="0">
                  <a:pos x="397" y="175"/>
                </a:cxn>
                <a:cxn ang="0">
                  <a:pos x="397" y="212"/>
                </a:cxn>
                <a:cxn ang="0">
                  <a:pos x="425" y="210"/>
                </a:cxn>
                <a:cxn ang="0">
                  <a:pos x="420" y="253"/>
                </a:cxn>
                <a:cxn ang="0">
                  <a:pos x="417" y="318"/>
                </a:cxn>
                <a:cxn ang="0">
                  <a:pos x="420" y="362"/>
                </a:cxn>
                <a:cxn ang="0">
                  <a:pos x="470" y="417"/>
                </a:cxn>
                <a:cxn ang="0">
                  <a:pos x="517" y="436"/>
                </a:cxn>
                <a:cxn ang="0">
                  <a:pos x="555" y="436"/>
                </a:cxn>
                <a:cxn ang="0">
                  <a:pos x="609" y="461"/>
                </a:cxn>
                <a:cxn ang="0">
                  <a:pos x="633" y="476"/>
                </a:cxn>
                <a:cxn ang="0">
                  <a:pos x="663" y="521"/>
                </a:cxn>
                <a:cxn ang="0">
                  <a:pos x="658" y="557"/>
                </a:cxn>
                <a:cxn ang="0">
                  <a:pos x="632" y="575"/>
                </a:cxn>
                <a:cxn ang="0">
                  <a:pos x="598" y="560"/>
                </a:cxn>
                <a:cxn ang="0">
                  <a:pos x="562" y="572"/>
                </a:cxn>
                <a:cxn ang="0">
                  <a:pos x="525" y="587"/>
                </a:cxn>
                <a:cxn ang="0">
                  <a:pos x="453" y="605"/>
                </a:cxn>
                <a:cxn ang="0">
                  <a:pos x="418" y="635"/>
                </a:cxn>
                <a:cxn ang="0">
                  <a:pos x="419" y="690"/>
                </a:cxn>
                <a:cxn ang="0">
                  <a:pos x="405" y="728"/>
                </a:cxn>
                <a:cxn ang="0">
                  <a:pos x="423" y="795"/>
                </a:cxn>
                <a:cxn ang="0">
                  <a:pos x="436" y="816"/>
                </a:cxn>
                <a:cxn ang="0">
                  <a:pos x="438" y="848"/>
                </a:cxn>
                <a:cxn ang="0">
                  <a:pos x="415" y="860"/>
                </a:cxn>
                <a:cxn ang="0">
                  <a:pos x="368" y="859"/>
                </a:cxn>
                <a:cxn ang="0">
                  <a:pos x="320" y="832"/>
                </a:cxn>
                <a:cxn ang="0">
                  <a:pos x="289" y="803"/>
                </a:cxn>
                <a:cxn ang="0">
                  <a:pos x="239" y="804"/>
                </a:cxn>
                <a:cxn ang="0">
                  <a:pos x="213" y="767"/>
                </a:cxn>
                <a:cxn ang="0">
                  <a:pos x="217" y="730"/>
                </a:cxn>
                <a:cxn ang="0">
                  <a:pos x="198" y="694"/>
                </a:cxn>
                <a:cxn ang="0">
                  <a:pos x="123" y="676"/>
                </a:cxn>
                <a:cxn ang="0">
                  <a:pos x="98" y="636"/>
                </a:cxn>
                <a:cxn ang="0">
                  <a:pos x="93" y="605"/>
                </a:cxn>
                <a:cxn ang="0">
                  <a:pos x="84" y="593"/>
                </a:cxn>
                <a:cxn ang="0">
                  <a:pos x="27" y="584"/>
                </a:cxn>
                <a:cxn ang="0">
                  <a:pos x="1" y="513"/>
                </a:cxn>
                <a:cxn ang="0">
                  <a:pos x="11" y="455"/>
                </a:cxn>
                <a:cxn ang="0">
                  <a:pos x="24" y="416"/>
                </a:cxn>
                <a:cxn ang="0">
                  <a:pos x="97" y="407"/>
                </a:cxn>
                <a:cxn ang="0">
                  <a:pos x="112" y="380"/>
                </a:cxn>
                <a:cxn ang="0">
                  <a:pos x="120" y="328"/>
                </a:cxn>
                <a:cxn ang="0">
                  <a:pos x="104" y="289"/>
                </a:cxn>
                <a:cxn ang="0">
                  <a:pos x="119" y="279"/>
                </a:cxn>
                <a:cxn ang="0">
                  <a:pos x="92" y="239"/>
                </a:cxn>
                <a:cxn ang="0">
                  <a:pos x="101" y="214"/>
                </a:cxn>
                <a:cxn ang="0">
                  <a:pos x="84" y="173"/>
                </a:cxn>
                <a:cxn ang="0">
                  <a:pos x="50" y="103"/>
                </a:cxn>
                <a:cxn ang="0">
                  <a:pos x="90" y="78"/>
                </a:cxn>
                <a:cxn ang="0">
                  <a:pos x="124" y="54"/>
                </a:cxn>
                <a:cxn ang="0">
                  <a:pos x="157" y="63"/>
                </a:cxn>
                <a:cxn ang="0">
                  <a:pos x="215" y="48"/>
                </a:cxn>
                <a:cxn ang="0">
                  <a:pos x="240" y="10"/>
                </a:cxn>
              </a:cxnLst>
              <a:rect l="0" t="0" r="r" b="b"/>
              <a:pathLst>
                <a:path w="670" h="869">
                  <a:moveTo>
                    <a:pt x="258" y="0"/>
                  </a:moveTo>
                  <a:lnTo>
                    <a:pt x="259" y="0"/>
                  </a:lnTo>
                  <a:lnTo>
                    <a:pt x="259" y="2"/>
                  </a:lnTo>
                  <a:lnTo>
                    <a:pt x="261" y="6"/>
                  </a:lnTo>
                  <a:lnTo>
                    <a:pt x="267" y="11"/>
                  </a:lnTo>
                  <a:lnTo>
                    <a:pt x="274" y="15"/>
                  </a:lnTo>
                  <a:lnTo>
                    <a:pt x="278" y="20"/>
                  </a:lnTo>
                  <a:lnTo>
                    <a:pt x="281" y="23"/>
                  </a:lnTo>
                  <a:lnTo>
                    <a:pt x="285" y="24"/>
                  </a:lnTo>
                  <a:lnTo>
                    <a:pt x="291" y="25"/>
                  </a:lnTo>
                  <a:lnTo>
                    <a:pt x="295" y="25"/>
                  </a:lnTo>
                  <a:lnTo>
                    <a:pt x="298" y="26"/>
                  </a:lnTo>
                  <a:lnTo>
                    <a:pt x="298" y="28"/>
                  </a:lnTo>
                  <a:lnTo>
                    <a:pt x="299" y="30"/>
                  </a:lnTo>
                  <a:lnTo>
                    <a:pt x="303" y="33"/>
                  </a:lnTo>
                  <a:lnTo>
                    <a:pt x="309" y="36"/>
                  </a:lnTo>
                  <a:lnTo>
                    <a:pt x="313" y="40"/>
                  </a:lnTo>
                  <a:lnTo>
                    <a:pt x="313" y="48"/>
                  </a:lnTo>
                  <a:lnTo>
                    <a:pt x="319" y="51"/>
                  </a:lnTo>
                  <a:lnTo>
                    <a:pt x="327" y="53"/>
                  </a:lnTo>
                  <a:lnTo>
                    <a:pt x="336" y="55"/>
                  </a:lnTo>
                  <a:lnTo>
                    <a:pt x="344" y="56"/>
                  </a:lnTo>
                  <a:lnTo>
                    <a:pt x="350" y="58"/>
                  </a:lnTo>
                  <a:lnTo>
                    <a:pt x="355" y="58"/>
                  </a:lnTo>
                  <a:lnTo>
                    <a:pt x="362" y="57"/>
                  </a:lnTo>
                  <a:lnTo>
                    <a:pt x="374" y="57"/>
                  </a:lnTo>
                  <a:lnTo>
                    <a:pt x="378" y="61"/>
                  </a:lnTo>
                  <a:lnTo>
                    <a:pt x="383" y="67"/>
                  </a:lnTo>
                  <a:lnTo>
                    <a:pt x="389" y="68"/>
                  </a:lnTo>
                  <a:lnTo>
                    <a:pt x="401" y="68"/>
                  </a:lnTo>
                  <a:lnTo>
                    <a:pt x="405" y="70"/>
                  </a:lnTo>
                  <a:lnTo>
                    <a:pt x="409" y="75"/>
                  </a:lnTo>
                  <a:lnTo>
                    <a:pt x="413" y="84"/>
                  </a:lnTo>
                  <a:lnTo>
                    <a:pt x="414" y="91"/>
                  </a:lnTo>
                  <a:lnTo>
                    <a:pt x="413" y="96"/>
                  </a:lnTo>
                  <a:lnTo>
                    <a:pt x="411" y="99"/>
                  </a:lnTo>
                  <a:lnTo>
                    <a:pt x="408" y="103"/>
                  </a:lnTo>
                  <a:lnTo>
                    <a:pt x="405" y="108"/>
                  </a:lnTo>
                  <a:lnTo>
                    <a:pt x="404" y="115"/>
                  </a:lnTo>
                  <a:lnTo>
                    <a:pt x="405" y="123"/>
                  </a:lnTo>
                  <a:lnTo>
                    <a:pt x="409" y="131"/>
                  </a:lnTo>
                  <a:lnTo>
                    <a:pt x="412" y="140"/>
                  </a:lnTo>
                  <a:lnTo>
                    <a:pt x="414" y="147"/>
                  </a:lnTo>
                  <a:lnTo>
                    <a:pt x="413" y="153"/>
                  </a:lnTo>
                  <a:lnTo>
                    <a:pt x="409" y="156"/>
                  </a:lnTo>
                  <a:lnTo>
                    <a:pt x="403" y="159"/>
                  </a:lnTo>
                  <a:lnTo>
                    <a:pt x="399" y="162"/>
                  </a:lnTo>
                  <a:lnTo>
                    <a:pt x="398" y="167"/>
                  </a:lnTo>
                  <a:lnTo>
                    <a:pt x="397" y="175"/>
                  </a:lnTo>
                  <a:lnTo>
                    <a:pt x="393" y="183"/>
                  </a:lnTo>
                  <a:lnTo>
                    <a:pt x="388" y="191"/>
                  </a:lnTo>
                  <a:lnTo>
                    <a:pt x="385" y="196"/>
                  </a:lnTo>
                  <a:lnTo>
                    <a:pt x="384" y="199"/>
                  </a:lnTo>
                  <a:lnTo>
                    <a:pt x="387" y="203"/>
                  </a:lnTo>
                  <a:lnTo>
                    <a:pt x="392" y="208"/>
                  </a:lnTo>
                  <a:lnTo>
                    <a:pt x="397" y="212"/>
                  </a:lnTo>
                  <a:lnTo>
                    <a:pt x="401" y="213"/>
                  </a:lnTo>
                  <a:lnTo>
                    <a:pt x="405" y="211"/>
                  </a:lnTo>
                  <a:lnTo>
                    <a:pt x="409" y="208"/>
                  </a:lnTo>
                  <a:lnTo>
                    <a:pt x="413" y="204"/>
                  </a:lnTo>
                  <a:lnTo>
                    <a:pt x="417" y="203"/>
                  </a:lnTo>
                  <a:lnTo>
                    <a:pt x="420" y="206"/>
                  </a:lnTo>
                  <a:lnTo>
                    <a:pt x="425" y="210"/>
                  </a:lnTo>
                  <a:lnTo>
                    <a:pt x="430" y="213"/>
                  </a:lnTo>
                  <a:lnTo>
                    <a:pt x="432" y="215"/>
                  </a:lnTo>
                  <a:lnTo>
                    <a:pt x="432" y="221"/>
                  </a:lnTo>
                  <a:lnTo>
                    <a:pt x="430" y="228"/>
                  </a:lnTo>
                  <a:lnTo>
                    <a:pt x="427" y="237"/>
                  </a:lnTo>
                  <a:lnTo>
                    <a:pt x="423" y="245"/>
                  </a:lnTo>
                  <a:lnTo>
                    <a:pt x="420" y="253"/>
                  </a:lnTo>
                  <a:lnTo>
                    <a:pt x="418" y="259"/>
                  </a:lnTo>
                  <a:lnTo>
                    <a:pt x="418" y="275"/>
                  </a:lnTo>
                  <a:lnTo>
                    <a:pt x="419" y="285"/>
                  </a:lnTo>
                  <a:lnTo>
                    <a:pt x="418" y="295"/>
                  </a:lnTo>
                  <a:lnTo>
                    <a:pt x="413" y="310"/>
                  </a:lnTo>
                  <a:lnTo>
                    <a:pt x="414" y="314"/>
                  </a:lnTo>
                  <a:lnTo>
                    <a:pt x="417" y="318"/>
                  </a:lnTo>
                  <a:lnTo>
                    <a:pt x="421" y="321"/>
                  </a:lnTo>
                  <a:lnTo>
                    <a:pt x="423" y="324"/>
                  </a:lnTo>
                  <a:lnTo>
                    <a:pt x="422" y="327"/>
                  </a:lnTo>
                  <a:lnTo>
                    <a:pt x="418" y="333"/>
                  </a:lnTo>
                  <a:lnTo>
                    <a:pt x="415" y="342"/>
                  </a:lnTo>
                  <a:lnTo>
                    <a:pt x="415" y="352"/>
                  </a:lnTo>
                  <a:lnTo>
                    <a:pt x="420" y="362"/>
                  </a:lnTo>
                  <a:lnTo>
                    <a:pt x="428" y="373"/>
                  </a:lnTo>
                  <a:lnTo>
                    <a:pt x="438" y="385"/>
                  </a:lnTo>
                  <a:lnTo>
                    <a:pt x="446" y="398"/>
                  </a:lnTo>
                  <a:lnTo>
                    <a:pt x="453" y="407"/>
                  </a:lnTo>
                  <a:lnTo>
                    <a:pt x="458" y="413"/>
                  </a:lnTo>
                  <a:lnTo>
                    <a:pt x="464" y="416"/>
                  </a:lnTo>
                  <a:lnTo>
                    <a:pt x="470" y="417"/>
                  </a:lnTo>
                  <a:lnTo>
                    <a:pt x="476" y="417"/>
                  </a:lnTo>
                  <a:lnTo>
                    <a:pt x="480" y="416"/>
                  </a:lnTo>
                  <a:lnTo>
                    <a:pt x="486" y="418"/>
                  </a:lnTo>
                  <a:lnTo>
                    <a:pt x="492" y="423"/>
                  </a:lnTo>
                  <a:lnTo>
                    <a:pt x="500" y="429"/>
                  </a:lnTo>
                  <a:lnTo>
                    <a:pt x="510" y="435"/>
                  </a:lnTo>
                  <a:lnTo>
                    <a:pt x="517" y="436"/>
                  </a:lnTo>
                  <a:lnTo>
                    <a:pt x="522" y="435"/>
                  </a:lnTo>
                  <a:lnTo>
                    <a:pt x="525" y="432"/>
                  </a:lnTo>
                  <a:lnTo>
                    <a:pt x="528" y="430"/>
                  </a:lnTo>
                  <a:lnTo>
                    <a:pt x="532" y="428"/>
                  </a:lnTo>
                  <a:lnTo>
                    <a:pt x="536" y="429"/>
                  </a:lnTo>
                  <a:lnTo>
                    <a:pt x="544" y="432"/>
                  </a:lnTo>
                  <a:lnTo>
                    <a:pt x="555" y="436"/>
                  </a:lnTo>
                  <a:lnTo>
                    <a:pt x="567" y="441"/>
                  </a:lnTo>
                  <a:lnTo>
                    <a:pt x="577" y="447"/>
                  </a:lnTo>
                  <a:lnTo>
                    <a:pt x="584" y="453"/>
                  </a:lnTo>
                  <a:lnTo>
                    <a:pt x="589" y="457"/>
                  </a:lnTo>
                  <a:lnTo>
                    <a:pt x="593" y="458"/>
                  </a:lnTo>
                  <a:lnTo>
                    <a:pt x="604" y="458"/>
                  </a:lnTo>
                  <a:lnTo>
                    <a:pt x="609" y="461"/>
                  </a:lnTo>
                  <a:lnTo>
                    <a:pt x="614" y="465"/>
                  </a:lnTo>
                  <a:lnTo>
                    <a:pt x="617" y="467"/>
                  </a:lnTo>
                  <a:lnTo>
                    <a:pt x="620" y="468"/>
                  </a:lnTo>
                  <a:lnTo>
                    <a:pt x="626" y="468"/>
                  </a:lnTo>
                  <a:lnTo>
                    <a:pt x="630" y="469"/>
                  </a:lnTo>
                  <a:lnTo>
                    <a:pt x="632" y="472"/>
                  </a:lnTo>
                  <a:lnTo>
                    <a:pt x="633" y="476"/>
                  </a:lnTo>
                  <a:lnTo>
                    <a:pt x="636" y="480"/>
                  </a:lnTo>
                  <a:lnTo>
                    <a:pt x="642" y="483"/>
                  </a:lnTo>
                  <a:lnTo>
                    <a:pt x="649" y="487"/>
                  </a:lnTo>
                  <a:lnTo>
                    <a:pt x="656" y="494"/>
                  </a:lnTo>
                  <a:lnTo>
                    <a:pt x="661" y="503"/>
                  </a:lnTo>
                  <a:lnTo>
                    <a:pt x="663" y="513"/>
                  </a:lnTo>
                  <a:lnTo>
                    <a:pt x="663" y="521"/>
                  </a:lnTo>
                  <a:lnTo>
                    <a:pt x="662" y="527"/>
                  </a:lnTo>
                  <a:lnTo>
                    <a:pt x="663" y="532"/>
                  </a:lnTo>
                  <a:lnTo>
                    <a:pt x="669" y="538"/>
                  </a:lnTo>
                  <a:lnTo>
                    <a:pt x="670" y="541"/>
                  </a:lnTo>
                  <a:lnTo>
                    <a:pt x="669" y="545"/>
                  </a:lnTo>
                  <a:lnTo>
                    <a:pt x="665" y="551"/>
                  </a:lnTo>
                  <a:lnTo>
                    <a:pt x="658" y="557"/>
                  </a:lnTo>
                  <a:lnTo>
                    <a:pt x="652" y="563"/>
                  </a:lnTo>
                  <a:lnTo>
                    <a:pt x="645" y="568"/>
                  </a:lnTo>
                  <a:lnTo>
                    <a:pt x="642" y="570"/>
                  </a:lnTo>
                  <a:lnTo>
                    <a:pt x="639" y="573"/>
                  </a:lnTo>
                  <a:lnTo>
                    <a:pt x="638" y="576"/>
                  </a:lnTo>
                  <a:lnTo>
                    <a:pt x="636" y="579"/>
                  </a:lnTo>
                  <a:lnTo>
                    <a:pt x="632" y="575"/>
                  </a:lnTo>
                  <a:lnTo>
                    <a:pt x="629" y="573"/>
                  </a:lnTo>
                  <a:lnTo>
                    <a:pt x="625" y="571"/>
                  </a:lnTo>
                  <a:lnTo>
                    <a:pt x="615" y="571"/>
                  </a:lnTo>
                  <a:lnTo>
                    <a:pt x="611" y="570"/>
                  </a:lnTo>
                  <a:lnTo>
                    <a:pt x="607" y="567"/>
                  </a:lnTo>
                  <a:lnTo>
                    <a:pt x="604" y="563"/>
                  </a:lnTo>
                  <a:lnTo>
                    <a:pt x="598" y="560"/>
                  </a:lnTo>
                  <a:lnTo>
                    <a:pt x="592" y="558"/>
                  </a:lnTo>
                  <a:lnTo>
                    <a:pt x="588" y="559"/>
                  </a:lnTo>
                  <a:lnTo>
                    <a:pt x="584" y="562"/>
                  </a:lnTo>
                  <a:lnTo>
                    <a:pt x="579" y="567"/>
                  </a:lnTo>
                  <a:lnTo>
                    <a:pt x="571" y="571"/>
                  </a:lnTo>
                  <a:lnTo>
                    <a:pt x="565" y="573"/>
                  </a:lnTo>
                  <a:lnTo>
                    <a:pt x="562" y="572"/>
                  </a:lnTo>
                  <a:lnTo>
                    <a:pt x="558" y="570"/>
                  </a:lnTo>
                  <a:lnTo>
                    <a:pt x="554" y="570"/>
                  </a:lnTo>
                  <a:lnTo>
                    <a:pt x="549" y="573"/>
                  </a:lnTo>
                  <a:lnTo>
                    <a:pt x="542" y="577"/>
                  </a:lnTo>
                  <a:lnTo>
                    <a:pt x="537" y="581"/>
                  </a:lnTo>
                  <a:lnTo>
                    <a:pt x="531" y="585"/>
                  </a:lnTo>
                  <a:lnTo>
                    <a:pt x="525" y="587"/>
                  </a:lnTo>
                  <a:lnTo>
                    <a:pt x="516" y="588"/>
                  </a:lnTo>
                  <a:lnTo>
                    <a:pt x="505" y="588"/>
                  </a:lnTo>
                  <a:lnTo>
                    <a:pt x="493" y="590"/>
                  </a:lnTo>
                  <a:lnTo>
                    <a:pt x="480" y="592"/>
                  </a:lnTo>
                  <a:lnTo>
                    <a:pt x="469" y="596"/>
                  </a:lnTo>
                  <a:lnTo>
                    <a:pt x="460" y="601"/>
                  </a:lnTo>
                  <a:lnTo>
                    <a:pt x="453" y="605"/>
                  </a:lnTo>
                  <a:lnTo>
                    <a:pt x="446" y="607"/>
                  </a:lnTo>
                  <a:lnTo>
                    <a:pt x="438" y="608"/>
                  </a:lnTo>
                  <a:lnTo>
                    <a:pt x="432" y="610"/>
                  </a:lnTo>
                  <a:lnTo>
                    <a:pt x="426" y="613"/>
                  </a:lnTo>
                  <a:lnTo>
                    <a:pt x="422" y="618"/>
                  </a:lnTo>
                  <a:lnTo>
                    <a:pt x="419" y="627"/>
                  </a:lnTo>
                  <a:lnTo>
                    <a:pt x="418" y="635"/>
                  </a:lnTo>
                  <a:lnTo>
                    <a:pt x="416" y="642"/>
                  </a:lnTo>
                  <a:lnTo>
                    <a:pt x="412" y="649"/>
                  </a:lnTo>
                  <a:lnTo>
                    <a:pt x="409" y="656"/>
                  </a:lnTo>
                  <a:lnTo>
                    <a:pt x="410" y="664"/>
                  </a:lnTo>
                  <a:lnTo>
                    <a:pt x="413" y="673"/>
                  </a:lnTo>
                  <a:lnTo>
                    <a:pt x="417" y="681"/>
                  </a:lnTo>
                  <a:lnTo>
                    <a:pt x="419" y="690"/>
                  </a:lnTo>
                  <a:lnTo>
                    <a:pt x="419" y="696"/>
                  </a:lnTo>
                  <a:lnTo>
                    <a:pt x="415" y="701"/>
                  </a:lnTo>
                  <a:lnTo>
                    <a:pt x="410" y="704"/>
                  </a:lnTo>
                  <a:lnTo>
                    <a:pt x="406" y="708"/>
                  </a:lnTo>
                  <a:lnTo>
                    <a:pt x="403" y="712"/>
                  </a:lnTo>
                  <a:lnTo>
                    <a:pt x="403" y="718"/>
                  </a:lnTo>
                  <a:lnTo>
                    <a:pt x="405" y="728"/>
                  </a:lnTo>
                  <a:lnTo>
                    <a:pt x="408" y="740"/>
                  </a:lnTo>
                  <a:lnTo>
                    <a:pt x="410" y="752"/>
                  </a:lnTo>
                  <a:lnTo>
                    <a:pt x="411" y="763"/>
                  </a:lnTo>
                  <a:lnTo>
                    <a:pt x="412" y="771"/>
                  </a:lnTo>
                  <a:lnTo>
                    <a:pt x="414" y="779"/>
                  </a:lnTo>
                  <a:lnTo>
                    <a:pt x="418" y="788"/>
                  </a:lnTo>
                  <a:lnTo>
                    <a:pt x="423" y="795"/>
                  </a:lnTo>
                  <a:lnTo>
                    <a:pt x="430" y="799"/>
                  </a:lnTo>
                  <a:lnTo>
                    <a:pt x="436" y="801"/>
                  </a:lnTo>
                  <a:lnTo>
                    <a:pt x="442" y="807"/>
                  </a:lnTo>
                  <a:lnTo>
                    <a:pt x="441" y="809"/>
                  </a:lnTo>
                  <a:lnTo>
                    <a:pt x="439" y="812"/>
                  </a:lnTo>
                  <a:lnTo>
                    <a:pt x="438" y="814"/>
                  </a:lnTo>
                  <a:lnTo>
                    <a:pt x="436" y="816"/>
                  </a:lnTo>
                  <a:lnTo>
                    <a:pt x="434" y="821"/>
                  </a:lnTo>
                  <a:lnTo>
                    <a:pt x="435" y="827"/>
                  </a:lnTo>
                  <a:lnTo>
                    <a:pt x="437" y="833"/>
                  </a:lnTo>
                  <a:lnTo>
                    <a:pt x="440" y="838"/>
                  </a:lnTo>
                  <a:lnTo>
                    <a:pt x="441" y="842"/>
                  </a:lnTo>
                  <a:lnTo>
                    <a:pt x="441" y="844"/>
                  </a:lnTo>
                  <a:lnTo>
                    <a:pt x="438" y="848"/>
                  </a:lnTo>
                  <a:lnTo>
                    <a:pt x="430" y="862"/>
                  </a:lnTo>
                  <a:lnTo>
                    <a:pt x="428" y="867"/>
                  </a:lnTo>
                  <a:lnTo>
                    <a:pt x="427" y="869"/>
                  </a:lnTo>
                  <a:lnTo>
                    <a:pt x="426" y="869"/>
                  </a:lnTo>
                  <a:lnTo>
                    <a:pt x="424" y="868"/>
                  </a:lnTo>
                  <a:lnTo>
                    <a:pt x="418" y="862"/>
                  </a:lnTo>
                  <a:lnTo>
                    <a:pt x="415" y="860"/>
                  </a:lnTo>
                  <a:lnTo>
                    <a:pt x="408" y="858"/>
                  </a:lnTo>
                  <a:lnTo>
                    <a:pt x="402" y="858"/>
                  </a:lnTo>
                  <a:lnTo>
                    <a:pt x="396" y="859"/>
                  </a:lnTo>
                  <a:lnTo>
                    <a:pt x="390" y="859"/>
                  </a:lnTo>
                  <a:lnTo>
                    <a:pt x="383" y="860"/>
                  </a:lnTo>
                  <a:lnTo>
                    <a:pt x="374" y="861"/>
                  </a:lnTo>
                  <a:lnTo>
                    <a:pt x="368" y="859"/>
                  </a:lnTo>
                  <a:lnTo>
                    <a:pt x="361" y="853"/>
                  </a:lnTo>
                  <a:lnTo>
                    <a:pt x="354" y="845"/>
                  </a:lnTo>
                  <a:lnTo>
                    <a:pt x="347" y="838"/>
                  </a:lnTo>
                  <a:lnTo>
                    <a:pt x="339" y="832"/>
                  </a:lnTo>
                  <a:lnTo>
                    <a:pt x="332" y="830"/>
                  </a:lnTo>
                  <a:lnTo>
                    <a:pt x="326" y="830"/>
                  </a:lnTo>
                  <a:lnTo>
                    <a:pt x="320" y="832"/>
                  </a:lnTo>
                  <a:lnTo>
                    <a:pt x="315" y="834"/>
                  </a:lnTo>
                  <a:lnTo>
                    <a:pt x="308" y="835"/>
                  </a:lnTo>
                  <a:lnTo>
                    <a:pt x="303" y="833"/>
                  </a:lnTo>
                  <a:lnTo>
                    <a:pt x="300" y="829"/>
                  </a:lnTo>
                  <a:lnTo>
                    <a:pt x="297" y="823"/>
                  </a:lnTo>
                  <a:lnTo>
                    <a:pt x="293" y="810"/>
                  </a:lnTo>
                  <a:lnTo>
                    <a:pt x="289" y="803"/>
                  </a:lnTo>
                  <a:lnTo>
                    <a:pt x="283" y="799"/>
                  </a:lnTo>
                  <a:lnTo>
                    <a:pt x="277" y="799"/>
                  </a:lnTo>
                  <a:lnTo>
                    <a:pt x="271" y="801"/>
                  </a:lnTo>
                  <a:lnTo>
                    <a:pt x="264" y="804"/>
                  </a:lnTo>
                  <a:lnTo>
                    <a:pt x="258" y="804"/>
                  </a:lnTo>
                  <a:lnTo>
                    <a:pt x="249" y="803"/>
                  </a:lnTo>
                  <a:lnTo>
                    <a:pt x="239" y="804"/>
                  </a:lnTo>
                  <a:lnTo>
                    <a:pt x="229" y="803"/>
                  </a:lnTo>
                  <a:lnTo>
                    <a:pt x="223" y="801"/>
                  </a:lnTo>
                  <a:lnTo>
                    <a:pt x="220" y="797"/>
                  </a:lnTo>
                  <a:lnTo>
                    <a:pt x="218" y="783"/>
                  </a:lnTo>
                  <a:lnTo>
                    <a:pt x="218" y="776"/>
                  </a:lnTo>
                  <a:lnTo>
                    <a:pt x="216" y="771"/>
                  </a:lnTo>
                  <a:lnTo>
                    <a:pt x="213" y="767"/>
                  </a:lnTo>
                  <a:lnTo>
                    <a:pt x="203" y="761"/>
                  </a:lnTo>
                  <a:lnTo>
                    <a:pt x="200" y="757"/>
                  </a:lnTo>
                  <a:lnTo>
                    <a:pt x="200" y="753"/>
                  </a:lnTo>
                  <a:lnTo>
                    <a:pt x="204" y="747"/>
                  </a:lnTo>
                  <a:lnTo>
                    <a:pt x="209" y="742"/>
                  </a:lnTo>
                  <a:lnTo>
                    <a:pt x="214" y="736"/>
                  </a:lnTo>
                  <a:lnTo>
                    <a:pt x="217" y="730"/>
                  </a:lnTo>
                  <a:lnTo>
                    <a:pt x="216" y="726"/>
                  </a:lnTo>
                  <a:lnTo>
                    <a:pt x="213" y="720"/>
                  </a:lnTo>
                  <a:lnTo>
                    <a:pt x="211" y="713"/>
                  </a:lnTo>
                  <a:lnTo>
                    <a:pt x="210" y="706"/>
                  </a:lnTo>
                  <a:lnTo>
                    <a:pt x="209" y="701"/>
                  </a:lnTo>
                  <a:lnTo>
                    <a:pt x="206" y="698"/>
                  </a:lnTo>
                  <a:lnTo>
                    <a:pt x="198" y="694"/>
                  </a:lnTo>
                  <a:lnTo>
                    <a:pt x="187" y="690"/>
                  </a:lnTo>
                  <a:lnTo>
                    <a:pt x="175" y="687"/>
                  </a:lnTo>
                  <a:lnTo>
                    <a:pt x="164" y="684"/>
                  </a:lnTo>
                  <a:lnTo>
                    <a:pt x="154" y="682"/>
                  </a:lnTo>
                  <a:lnTo>
                    <a:pt x="147" y="682"/>
                  </a:lnTo>
                  <a:lnTo>
                    <a:pt x="139" y="681"/>
                  </a:lnTo>
                  <a:lnTo>
                    <a:pt x="123" y="676"/>
                  </a:lnTo>
                  <a:lnTo>
                    <a:pt x="115" y="675"/>
                  </a:lnTo>
                  <a:lnTo>
                    <a:pt x="109" y="674"/>
                  </a:lnTo>
                  <a:lnTo>
                    <a:pt x="105" y="670"/>
                  </a:lnTo>
                  <a:lnTo>
                    <a:pt x="104" y="665"/>
                  </a:lnTo>
                  <a:lnTo>
                    <a:pt x="104" y="653"/>
                  </a:lnTo>
                  <a:lnTo>
                    <a:pt x="102" y="645"/>
                  </a:lnTo>
                  <a:lnTo>
                    <a:pt x="98" y="636"/>
                  </a:lnTo>
                  <a:lnTo>
                    <a:pt x="94" y="626"/>
                  </a:lnTo>
                  <a:lnTo>
                    <a:pt x="90" y="617"/>
                  </a:lnTo>
                  <a:lnTo>
                    <a:pt x="89" y="614"/>
                  </a:lnTo>
                  <a:lnTo>
                    <a:pt x="89" y="609"/>
                  </a:lnTo>
                  <a:lnTo>
                    <a:pt x="90" y="607"/>
                  </a:lnTo>
                  <a:lnTo>
                    <a:pt x="91" y="606"/>
                  </a:lnTo>
                  <a:lnTo>
                    <a:pt x="93" y="605"/>
                  </a:lnTo>
                  <a:lnTo>
                    <a:pt x="94" y="605"/>
                  </a:lnTo>
                  <a:lnTo>
                    <a:pt x="95" y="604"/>
                  </a:lnTo>
                  <a:lnTo>
                    <a:pt x="96" y="604"/>
                  </a:lnTo>
                  <a:lnTo>
                    <a:pt x="97" y="603"/>
                  </a:lnTo>
                  <a:lnTo>
                    <a:pt x="96" y="601"/>
                  </a:lnTo>
                  <a:lnTo>
                    <a:pt x="91" y="597"/>
                  </a:lnTo>
                  <a:lnTo>
                    <a:pt x="84" y="593"/>
                  </a:lnTo>
                  <a:lnTo>
                    <a:pt x="76" y="589"/>
                  </a:lnTo>
                  <a:lnTo>
                    <a:pt x="68" y="586"/>
                  </a:lnTo>
                  <a:lnTo>
                    <a:pt x="62" y="584"/>
                  </a:lnTo>
                  <a:lnTo>
                    <a:pt x="58" y="584"/>
                  </a:lnTo>
                  <a:lnTo>
                    <a:pt x="53" y="585"/>
                  </a:lnTo>
                  <a:lnTo>
                    <a:pt x="45" y="584"/>
                  </a:lnTo>
                  <a:lnTo>
                    <a:pt x="27" y="584"/>
                  </a:lnTo>
                  <a:lnTo>
                    <a:pt x="24" y="570"/>
                  </a:lnTo>
                  <a:lnTo>
                    <a:pt x="23" y="559"/>
                  </a:lnTo>
                  <a:lnTo>
                    <a:pt x="20" y="550"/>
                  </a:lnTo>
                  <a:lnTo>
                    <a:pt x="14" y="541"/>
                  </a:lnTo>
                  <a:lnTo>
                    <a:pt x="7" y="533"/>
                  </a:lnTo>
                  <a:lnTo>
                    <a:pt x="3" y="523"/>
                  </a:lnTo>
                  <a:lnTo>
                    <a:pt x="1" y="513"/>
                  </a:lnTo>
                  <a:lnTo>
                    <a:pt x="0" y="505"/>
                  </a:lnTo>
                  <a:lnTo>
                    <a:pt x="2" y="497"/>
                  </a:lnTo>
                  <a:lnTo>
                    <a:pt x="14" y="485"/>
                  </a:lnTo>
                  <a:lnTo>
                    <a:pt x="16" y="479"/>
                  </a:lnTo>
                  <a:lnTo>
                    <a:pt x="15" y="472"/>
                  </a:lnTo>
                  <a:lnTo>
                    <a:pt x="13" y="465"/>
                  </a:lnTo>
                  <a:lnTo>
                    <a:pt x="11" y="455"/>
                  </a:lnTo>
                  <a:lnTo>
                    <a:pt x="8" y="445"/>
                  </a:lnTo>
                  <a:lnTo>
                    <a:pt x="4" y="435"/>
                  </a:lnTo>
                  <a:lnTo>
                    <a:pt x="3" y="431"/>
                  </a:lnTo>
                  <a:lnTo>
                    <a:pt x="5" y="427"/>
                  </a:lnTo>
                  <a:lnTo>
                    <a:pt x="10" y="425"/>
                  </a:lnTo>
                  <a:lnTo>
                    <a:pt x="20" y="419"/>
                  </a:lnTo>
                  <a:lnTo>
                    <a:pt x="24" y="416"/>
                  </a:lnTo>
                  <a:lnTo>
                    <a:pt x="29" y="414"/>
                  </a:lnTo>
                  <a:lnTo>
                    <a:pt x="39" y="412"/>
                  </a:lnTo>
                  <a:lnTo>
                    <a:pt x="51" y="411"/>
                  </a:lnTo>
                  <a:lnTo>
                    <a:pt x="65" y="410"/>
                  </a:lnTo>
                  <a:lnTo>
                    <a:pt x="78" y="409"/>
                  </a:lnTo>
                  <a:lnTo>
                    <a:pt x="89" y="408"/>
                  </a:lnTo>
                  <a:lnTo>
                    <a:pt x="97" y="407"/>
                  </a:lnTo>
                  <a:lnTo>
                    <a:pt x="100" y="404"/>
                  </a:lnTo>
                  <a:lnTo>
                    <a:pt x="99" y="401"/>
                  </a:lnTo>
                  <a:lnTo>
                    <a:pt x="96" y="397"/>
                  </a:lnTo>
                  <a:lnTo>
                    <a:pt x="94" y="395"/>
                  </a:lnTo>
                  <a:lnTo>
                    <a:pt x="94" y="392"/>
                  </a:lnTo>
                  <a:lnTo>
                    <a:pt x="99" y="388"/>
                  </a:lnTo>
                  <a:lnTo>
                    <a:pt x="112" y="380"/>
                  </a:lnTo>
                  <a:lnTo>
                    <a:pt x="117" y="376"/>
                  </a:lnTo>
                  <a:lnTo>
                    <a:pt x="121" y="372"/>
                  </a:lnTo>
                  <a:lnTo>
                    <a:pt x="121" y="366"/>
                  </a:lnTo>
                  <a:lnTo>
                    <a:pt x="117" y="348"/>
                  </a:lnTo>
                  <a:lnTo>
                    <a:pt x="116" y="340"/>
                  </a:lnTo>
                  <a:lnTo>
                    <a:pt x="119" y="333"/>
                  </a:lnTo>
                  <a:lnTo>
                    <a:pt x="120" y="328"/>
                  </a:lnTo>
                  <a:lnTo>
                    <a:pt x="118" y="322"/>
                  </a:lnTo>
                  <a:lnTo>
                    <a:pt x="115" y="317"/>
                  </a:lnTo>
                  <a:lnTo>
                    <a:pt x="113" y="311"/>
                  </a:lnTo>
                  <a:lnTo>
                    <a:pt x="113" y="302"/>
                  </a:lnTo>
                  <a:lnTo>
                    <a:pt x="110" y="297"/>
                  </a:lnTo>
                  <a:lnTo>
                    <a:pt x="107" y="293"/>
                  </a:lnTo>
                  <a:lnTo>
                    <a:pt x="104" y="289"/>
                  </a:lnTo>
                  <a:lnTo>
                    <a:pt x="103" y="286"/>
                  </a:lnTo>
                  <a:lnTo>
                    <a:pt x="104" y="284"/>
                  </a:lnTo>
                  <a:lnTo>
                    <a:pt x="110" y="282"/>
                  </a:lnTo>
                  <a:lnTo>
                    <a:pt x="113" y="282"/>
                  </a:lnTo>
                  <a:lnTo>
                    <a:pt x="116" y="281"/>
                  </a:lnTo>
                  <a:lnTo>
                    <a:pt x="118" y="280"/>
                  </a:lnTo>
                  <a:lnTo>
                    <a:pt x="119" y="279"/>
                  </a:lnTo>
                  <a:lnTo>
                    <a:pt x="119" y="275"/>
                  </a:lnTo>
                  <a:lnTo>
                    <a:pt x="117" y="271"/>
                  </a:lnTo>
                  <a:lnTo>
                    <a:pt x="112" y="266"/>
                  </a:lnTo>
                  <a:lnTo>
                    <a:pt x="105" y="260"/>
                  </a:lnTo>
                  <a:lnTo>
                    <a:pt x="100" y="253"/>
                  </a:lnTo>
                  <a:lnTo>
                    <a:pt x="95" y="246"/>
                  </a:lnTo>
                  <a:lnTo>
                    <a:pt x="92" y="239"/>
                  </a:lnTo>
                  <a:lnTo>
                    <a:pt x="94" y="233"/>
                  </a:lnTo>
                  <a:lnTo>
                    <a:pt x="99" y="227"/>
                  </a:lnTo>
                  <a:lnTo>
                    <a:pt x="102" y="224"/>
                  </a:lnTo>
                  <a:lnTo>
                    <a:pt x="104" y="223"/>
                  </a:lnTo>
                  <a:lnTo>
                    <a:pt x="104" y="221"/>
                  </a:lnTo>
                  <a:lnTo>
                    <a:pt x="104" y="219"/>
                  </a:lnTo>
                  <a:lnTo>
                    <a:pt x="101" y="214"/>
                  </a:lnTo>
                  <a:lnTo>
                    <a:pt x="95" y="202"/>
                  </a:lnTo>
                  <a:lnTo>
                    <a:pt x="93" y="192"/>
                  </a:lnTo>
                  <a:lnTo>
                    <a:pt x="96" y="184"/>
                  </a:lnTo>
                  <a:lnTo>
                    <a:pt x="97" y="181"/>
                  </a:lnTo>
                  <a:lnTo>
                    <a:pt x="94" y="178"/>
                  </a:lnTo>
                  <a:lnTo>
                    <a:pt x="90" y="175"/>
                  </a:lnTo>
                  <a:lnTo>
                    <a:pt x="84" y="173"/>
                  </a:lnTo>
                  <a:lnTo>
                    <a:pt x="79" y="169"/>
                  </a:lnTo>
                  <a:lnTo>
                    <a:pt x="75" y="165"/>
                  </a:lnTo>
                  <a:lnTo>
                    <a:pt x="72" y="159"/>
                  </a:lnTo>
                  <a:lnTo>
                    <a:pt x="68" y="150"/>
                  </a:lnTo>
                  <a:lnTo>
                    <a:pt x="63" y="139"/>
                  </a:lnTo>
                  <a:lnTo>
                    <a:pt x="53" y="114"/>
                  </a:lnTo>
                  <a:lnTo>
                    <a:pt x="50" y="103"/>
                  </a:lnTo>
                  <a:lnTo>
                    <a:pt x="48" y="94"/>
                  </a:lnTo>
                  <a:lnTo>
                    <a:pt x="49" y="88"/>
                  </a:lnTo>
                  <a:lnTo>
                    <a:pt x="53" y="85"/>
                  </a:lnTo>
                  <a:lnTo>
                    <a:pt x="59" y="84"/>
                  </a:lnTo>
                  <a:lnTo>
                    <a:pt x="75" y="84"/>
                  </a:lnTo>
                  <a:lnTo>
                    <a:pt x="83" y="82"/>
                  </a:lnTo>
                  <a:lnTo>
                    <a:pt x="90" y="78"/>
                  </a:lnTo>
                  <a:lnTo>
                    <a:pt x="95" y="72"/>
                  </a:lnTo>
                  <a:lnTo>
                    <a:pt x="99" y="67"/>
                  </a:lnTo>
                  <a:lnTo>
                    <a:pt x="101" y="62"/>
                  </a:lnTo>
                  <a:lnTo>
                    <a:pt x="104" y="58"/>
                  </a:lnTo>
                  <a:lnTo>
                    <a:pt x="108" y="55"/>
                  </a:lnTo>
                  <a:lnTo>
                    <a:pt x="116" y="54"/>
                  </a:lnTo>
                  <a:lnTo>
                    <a:pt x="124" y="54"/>
                  </a:lnTo>
                  <a:lnTo>
                    <a:pt x="128" y="55"/>
                  </a:lnTo>
                  <a:lnTo>
                    <a:pt x="131" y="56"/>
                  </a:lnTo>
                  <a:lnTo>
                    <a:pt x="133" y="57"/>
                  </a:lnTo>
                  <a:lnTo>
                    <a:pt x="137" y="58"/>
                  </a:lnTo>
                  <a:lnTo>
                    <a:pt x="144" y="58"/>
                  </a:lnTo>
                  <a:lnTo>
                    <a:pt x="151" y="59"/>
                  </a:lnTo>
                  <a:lnTo>
                    <a:pt x="157" y="63"/>
                  </a:lnTo>
                  <a:lnTo>
                    <a:pt x="164" y="70"/>
                  </a:lnTo>
                  <a:lnTo>
                    <a:pt x="168" y="71"/>
                  </a:lnTo>
                  <a:lnTo>
                    <a:pt x="173" y="69"/>
                  </a:lnTo>
                  <a:lnTo>
                    <a:pt x="181" y="65"/>
                  </a:lnTo>
                  <a:lnTo>
                    <a:pt x="192" y="60"/>
                  </a:lnTo>
                  <a:lnTo>
                    <a:pt x="204" y="54"/>
                  </a:lnTo>
                  <a:lnTo>
                    <a:pt x="215" y="48"/>
                  </a:lnTo>
                  <a:lnTo>
                    <a:pt x="223" y="42"/>
                  </a:lnTo>
                  <a:lnTo>
                    <a:pt x="228" y="37"/>
                  </a:lnTo>
                  <a:lnTo>
                    <a:pt x="229" y="31"/>
                  </a:lnTo>
                  <a:lnTo>
                    <a:pt x="227" y="21"/>
                  </a:lnTo>
                  <a:lnTo>
                    <a:pt x="229" y="17"/>
                  </a:lnTo>
                  <a:lnTo>
                    <a:pt x="232" y="14"/>
                  </a:lnTo>
                  <a:lnTo>
                    <a:pt x="240" y="10"/>
                  </a:lnTo>
                  <a:lnTo>
                    <a:pt x="258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7">
              <a:extLst>
                <a:ext uri="{FF2B5EF4-FFF2-40B4-BE49-F238E27FC236}">
                  <a16:creationId xmlns:a16="http://schemas.microsoft.com/office/drawing/2014/main" id="{95ABB1EF-0427-4057-9F74-50642E503E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8401" y="3457576"/>
              <a:ext cx="1028700" cy="1477963"/>
            </a:xfrm>
            <a:custGeom>
              <a:avLst/>
              <a:gdLst/>
              <a:ahLst/>
              <a:cxnLst>
                <a:cxn ang="0">
                  <a:pos x="480" y="13"/>
                </a:cxn>
                <a:cxn ang="0">
                  <a:pos x="500" y="40"/>
                </a:cxn>
                <a:cxn ang="0">
                  <a:pos x="487" y="77"/>
                </a:cxn>
                <a:cxn ang="0">
                  <a:pos x="477" y="120"/>
                </a:cxn>
                <a:cxn ang="0">
                  <a:pos x="496" y="142"/>
                </a:cxn>
                <a:cxn ang="0">
                  <a:pos x="528" y="143"/>
                </a:cxn>
                <a:cxn ang="0">
                  <a:pos x="521" y="116"/>
                </a:cxn>
                <a:cxn ang="0">
                  <a:pos x="551" y="113"/>
                </a:cxn>
                <a:cxn ang="0">
                  <a:pos x="570" y="108"/>
                </a:cxn>
                <a:cxn ang="0">
                  <a:pos x="582" y="157"/>
                </a:cxn>
                <a:cxn ang="0">
                  <a:pos x="611" y="179"/>
                </a:cxn>
                <a:cxn ang="0">
                  <a:pos x="637" y="219"/>
                </a:cxn>
                <a:cxn ang="0">
                  <a:pos x="624" y="244"/>
                </a:cxn>
                <a:cxn ang="0">
                  <a:pos x="630" y="272"/>
                </a:cxn>
                <a:cxn ang="0">
                  <a:pos x="596" y="286"/>
                </a:cxn>
                <a:cxn ang="0">
                  <a:pos x="592" y="314"/>
                </a:cxn>
                <a:cxn ang="0">
                  <a:pos x="573" y="356"/>
                </a:cxn>
                <a:cxn ang="0">
                  <a:pos x="565" y="427"/>
                </a:cxn>
                <a:cxn ang="0">
                  <a:pos x="590" y="408"/>
                </a:cxn>
                <a:cxn ang="0">
                  <a:pos x="596" y="480"/>
                </a:cxn>
                <a:cxn ang="0">
                  <a:pos x="526" y="516"/>
                </a:cxn>
                <a:cxn ang="0">
                  <a:pos x="498" y="573"/>
                </a:cxn>
                <a:cxn ang="0">
                  <a:pos x="460" y="588"/>
                </a:cxn>
                <a:cxn ang="0">
                  <a:pos x="456" y="634"/>
                </a:cxn>
                <a:cxn ang="0">
                  <a:pos x="416" y="635"/>
                </a:cxn>
                <a:cxn ang="0">
                  <a:pos x="361" y="639"/>
                </a:cxn>
                <a:cxn ang="0">
                  <a:pos x="319" y="659"/>
                </a:cxn>
                <a:cxn ang="0">
                  <a:pos x="328" y="697"/>
                </a:cxn>
                <a:cxn ang="0">
                  <a:pos x="346" y="769"/>
                </a:cxn>
                <a:cxn ang="0">
                  <a:pos x="348" y="835"/>
                </a:cxn>
                <a:cxn ang="0">
                  <a:pos x="336" y="848"/>
                </a:cxn>
                <a:cxn ang="0">
                  <a:pos x="351" y="880"/>
                </a:cxn>
                <a:cxn ang="0">
                  <a:pos x="320" y="888"/>
                </a:cxn>
                <a:cxn ang="0">
                  <a:pos x="301" y="910"/>
                </a:cxn>
                <a:cxn ang="0">
                  <a:pos x="270" y="929"/>
                </a:cxn>
                <a:cxn ang="0">
                  <a:pos x="283" y="897"/>
                </a:cxn>
                <a:cxn ang="0">
                  <a:pos x="242" y="872"/>
                </a:cxn>
                <a:cxn ang="0">
                  <a:pos x="212" y="846"/>
                </a:cxn>
                <a:cxn ang="0">
                  <a:pos x="181" y="855"/>
                </a:cxn>
                <a:cxn ang="0">
                  <a:pos x="166" y="797"/>
                </a:cxn>
                <a:cxn ang="0">
                  <a:pos x="156" y="754"/>
                </a:cxn>
                <a:cxn ang="0">
                  <a:pos x="136" y="680"/>
                </a:cxn>
                <a:cxn ang="0">
                  <a:pos x="40" y="683"/>
                </a:cxn>
                <a:cxn ang="0">
                  <a:pos x="7" y="642"/>
                </a:cxn>
                <a:cxn ang="0">
                  <a:pos x="28" y="606"/>
                </a:cxn>
                <a:cxn ang="0">
                  <a:pos x="67" y="585"/>
                </a:cxn>
                <a:cxn ang="0">
                  <a:pos x="96" y="566"/>
                </a:cxn>
                <a:cxn ang="0">
                  <a:pos x="69" y="521"/>
                </a:cxn>
                <a:cxn ang="0">
                  <a:pos x="65" y="476"/>
                </a:cxn>
                <a:cxn ang="0">
                  <a:pos x="86" y="461"/>
                </a:cxn>
                <a:cxn ang="0">
                  <a:pos x="91" y="409"/>
                </a:cxn>
                <a:cxn ang="0">
                  <a:pos x="108" y="347"/>
                </a:cxn>
                <a:cxn ang="0">
                  <a:pos x="161" y="322"/>
                </a:cxn>
                <a:cxn ang="0">
                  <a:pos x="199" y="276"/>
                </a:cxn>
                <a:cxn ang="0">
                  <a:pos x="233" y="231"/>
                </a:cxn>
                <a:cxn ang="0">
                  <a:pos x="258" y="174"/>
                </a:cxn>
                <a:cxn ang="0">
                  <a:pos x="217" y="154"/>
                </a:cxn>
                <a:cxn ang="0">
                  <a:pos x="274" y="112"/>
                </a:cxn>
                <a:cxn ang="0">
                  <a:pos x="309" y="70"/>
                </a:cxn>
                <a:cxn ang="0">
                  <a:pos x="378" y="83"/>
                </a:cxn>
                <a:cxn ang="0">
                  <a:pos x="425" y="17"/>
                </a:cxn>
              </a:cxnLst>
              <a:rect l="0" t="0" r="r" b="b"/>
              <a:pathLst>
                <a:path w="648" h="931">
                  <a:moveTo>
                    <a:pt x="458" y="0"/>
                  </a:moveTo>
                  <a:lnTo>
                    <a:pt x="460" y="0"/>
                  </a:lnTo>
                  <a:lnTo>
                    <a:pt x="460" y="3"/>
                  </a:lnTo>
                  <a:lnTo>
                    <a:pt x="460" y="5"/>
                  </a:lnTo>
                  <a:lnTo>
                    <a:pt x="460" y="11"/>
                  </a:lnTo>
                  <a:lnTo>
                    <a:pt x="460" y="13"/>
                  </a:lnTo>
                  <a:lnTo>
                    <a:pt x="463" y="15"/>
                  </a:lnTo>
                  <a:lnTo>
                    <a:pt x="467" y="15"/>
                  </a:lnTo>
                  <a:lnTo>
                    <a:pt x="473" y="14"/>
                  </a:lnTo>
                  <a:lnTo>
                    <a:pt x="480" y="13"/>
                  </a:lnTo>
                  <a:lnTo>
                    <a:pt x="487" y="15"/>
                  </a:lnTo>
                  <a:lnTo>
                    <a:pt x="496" y="21"/>
                  </a:lnTo>
                  <a:lnTo>
                    <a:pt x="502" y="27"/>
                  </a:lnTo>
                  <a:lnTo>
                    <a:pt x="505" y="33"/>
                  </a:lnTo>
                  <a:lnTo>
                    <a:pt x="505" y="39"/>
                  </a:lnTo>
                  <a:lnTo>
                    <a:pt x="504" y="41"/>
                  </a:lnTo>
                  <a:lnTo>
                    <a:pt x="503" y="42"/>
                  </a:lnTo>
                  <a:lnTo>
                    <a:pt x="502" y="41"/>
                  </a:lnTo>
                  <a:lnTo>
                    <a:pt x="501" y="41"/>
                  </a:lnTo>
                  <a:lnTo>
                    <a:pt x="500" y="40"/>
                  </a:lnTo>
                  <a:lnTo>
                    <a:pt x="498" y="39"/>
                  </a:lnTo>
                  <a:lnTo>
                    <a:pt x="497" y="38"/>
                  </a:lnTo>
                  <a:lnTo>
                    <a:pt x="495" y="39"/>
                  </a:lnTo>
                  <a:lnTo>
                    <a:pt x="494" y="40"/>
                  </a:lnTo>
                  <a:lnTo>
                    <a:pt x="491" y="44"/>
                  </a:lnTo>
                  <a:lnTo>
                    <a:pt x="489" y="47"/>
                  </a:lnTo>
                  <a:lnTo>
                    <a:pt x="487" y="53"/>
                  </a:lnTo>
                  <a:lnTo>
                    <a:pt x="484" y="60"/>
                  </a:lnTo>
                  <a:lnTo>
                    <a:pt x="484" y="68"/>
                  </a:lnTo>
                  <a:lnTo>
                    <a:pt x="487" y="77"/>
                  </a:lnTo>
                  <a:lnTo>
                    <a:pt x="491" y="87"/>
                  </a:lnTo>
                  <a:lnTo>
                    <a:pt x="494" y="95"/>
                  </a:lnTo>
                  <a:lnTo>
                    <a:pt x="494" y="103"/>
                  </a:lnTo>
                  <a:lnTo>
                    <a:pt x="492" y="107"/>
                  </a:lnTo>
                  <a:lnTo>
                    <a:pt x="488" y="109"/>
                  </a:lnTo>
                  <a:lnTo>
                    <a:pt x="484" y="109"/>
                  </a:lnTo>
                  <a:lnTo>
                    <a:pt x="481" y="110"/>
                  </a:lnTo>
                  <a:lnTo>
                    <a:pt x="478" y="112"/>
                  </a:lnTo>
                  <a:lnTo>
                    <a:pt x="477" y="116"/>
                  </a:lnTo>
                  <a:lnTo>
                    <a:pt x="477" y="120"/>
                  </a:lnTo>
                  <a:lnTo>
                    <a:pt x="476" y="122"/>
                  </a:lnTo>
                  <a:lnTo>
                    <a:pt x="474" y="123"/>
                  </a:lnTo>
                  <a:lnTo>
                    <a:pt x="473" y="124"/>
                  </a:lnTo>
                  <a:lnTo>
                    <a:pt x="464" y="124"/>
                  </a:lnTo>
                  <a:lnTo>
                    <a:pt x="463" y="125"/>
                  </a:lnTo>
                  <a:lnTo>
                    <a:pt x="466" y="127"/>
                  </a:lnTo>
                  <a:lnTo>
                    <a:pt x="476" y="133"/>
                  </a:lnTo>
                  <a:lnTo>
                    <a:pt x="481" y="135"/>
                  </a:lnTo>
                  <a:lnTo>
                    <a:pt x="487" y="138"/>
                  </a:lnTo>
                  <a:lnTo>
                    <a:pt x="496" y="142"/>
                  </a:lnTo>
                  <a:lnTo>
                    <a:pt x="505" y="147"/>
                  </a:lnTo>
                  <a:lnTo>
                    <a:pt x="512" y="152"/>
                  </a:lnTo>
                  <a:lnTo>
                    <a:pt x="515" y="154"/>
                  </a:lnTo>
                  <a:lnTo>
                    <a:pt x="519" y="154"/>
                  </a:lnTo>
                  <a:lnTo>
                    <a:pt x="521" y="153"/>
                  </a:lnTo>
                  <a:lnTo>
                    <a:pt x="522" y="151"/>
                  </a:lnTo>
                  <a:lnTo>
                    <a:pt x="524" y="150"/>
                  </a:lnTo>
                  <a:lnTo>
                    <a:pt x="526" y="146"/>
                  </a:lnTo>
                  <a:lnTo>
                    <a:pt x="527" y="145"/>
                  </a:lnTo>
                  <a:lnTo>
                    <a:pt x="528" y="143"/>
                  </a:lnTo>
                  <a:lnTo>
                    <a:pt x="529" y="142"/>
                  </a:lnTo>
                  <a:lnTo>
                    <a:pt x="528" y="140"/>
                  </a:lnTo>
                  <a:lnTo>
                    <a:pt x="526" y="139"/>
                  </a:lnTo>
                  <a:lnTo>
                    <a:pt x="523" y="137"/>
                  </a:lnTo>
                  <a:lnTo>
                    <a:pt x="520" y="136"/>
                  </a:lnTo>
                  <a:lnTo>
                    <a:pt x="516" y="133"/>
                  </a:lnTo>
                  <a:lnTo>
                    <a:pt x="513" y="127"/>
                  </a:lnTo>
                  <a:lnTo>
                    <a:pt x="513" y="122"/>
                  </a:lnTo>
                  <a:lnTo>
                    <a:pt x="515" y="119"/>
                  </a:lnTo>
                  <a:lnTo>
                    <a:pt x="521" y="116"/>
                  </a:lnTo>
                  <a:lnTo>
                    <a:pt x="527" y="111"/>
                  </a:lnTo>
                  <a:lnTo>
                    <a:pt x="533" y="108"/>
                  </a:lnTo>
                  <a:lnTo>
                    <a:pt x="535" y="108"/>
                  </a:lnTo>
                  <a:lnTo>
                    <a:pt x="538" y="109"/>
                  </a:lnTo>
                  <a:lnTo>
                    <a:pt x="540" y="111"/>
                  </a:lnTo>
                  <a:lnTo>
                    <a:pt x="543" y="113"/>
                  </a:lnTo>
                  <a:lnTo>
                    <a:pt x="545" y="114"/>
                  </a:lnTo>
                  <a:lnTo>
                    <a:pt x="548" y="115"/>
                  </a:lnTo>
                  <a:lnTo>
                    <a:pt x="549" y="115"/>
                  </a:lnTo>
                  <a:lnTo>
                    <a:pt x="551" y="113"/>
                  </a:lnTo>
                  <a:lnTo>
                    <a:pt x="552" y="111"/>
                  </a:lnTo>
                  <a:lnTo>
                    <a:pt x="552" y="109"/>
                  </a:lnTo>
                  <a:lnTo>
                    <a:pt x="553" y="107"/>
                  </a:lnTo>
                  <a:lnTo>
                    <a:pt x="553" y="105"/>
                  </a:lnTo>
                  <a:lnTo>
                    <a:pt x="556" y="102"/>
                  </a:lnTo>
                  <a:lnTo>
                    <a:pt x="559" y="101"/>
                  </a:lnTo>
                  <a:lnTo>
                    <a:pt x="562" y="101"/>
                  </a:lnTo>
                  <a:lnTo>
                    <a:pt x="565" y="103"/>
                  </a:lnTo>
                  <a:lnTo>
                    <a:pt x="568" y="106"/>
                  </a:lnTo>
                  <a:lnTo>
                    <a:pt x="570" y="108"/>
                  </a:lnTo>
                  <a:lnTo>
                    <a:pt x="572" y="113"/>
                  </a:lnTo>
                  <a:lnTo>
                    <a:pt x="568" y="117"/>
                  </a:lnTo>
                  <a:lnTo>
                    <a:pt x="565" y="122"/>
                  </a:lnTo>
                  <a:lnTo>
                    <a:pt x="564" y="128"/>
                  </a:lnTo>
                  <a:lnTo>
                    <a:pt x="566" y="135"/>
                  </a:lnTo>
                  <a:lnTo>
                    <a:pt x="570" y="142"/>
                  </a:lnTo>
                  <a:lnTo>
                    <a:pt x="575" y="148"/>
                  </a:lnTo>
                  <a:lnTo>
                    <a:pt x="579" y="156"/>
                  </a:lnTo>
                  <a:lnTo>
                    <a:pt x="580" y="157"/>
                  </a:lnTo>
                  <a:lnTo>
                    <a:pt x="582" y="157"/>
                  </a:lnTo>
                  <a:lnTo>
                    <a:pt x="583" y="156"/>
                  </a:lnTo>
                  <a:lnTo>
                    <a:pt x="586" y="154"/>
                  </a:lnTo>
                  <a:lnTo>
                    <a:pt x="587" y="152"/>
                  </a:lnTo>
                  <a:lnTo>
                    <a:pt x="589" y="151"/>
                  </a:lnTo>
                  <a:lnTo>
                    <a:pt x="590" y="151"/>
                  </a:lnTo>
                  <a:lnTo>
                    <a:pt x="592" y="153"/>
                  </a:lnTo>
                  <a:lnTo>
                    <a:pt x="595" y="157"/>
                  </a:lnTo>
                  <a:lnTo>
                    <a:pt x="603" y="169"/>
                  </a:lnTo>
                  <a:lnTo>
                    <a:pt x="606" y="175"/>
                  </a:lnTo>
                  <a:lnTo>
                    <a:pt x="611" y="179"/>
                  </a:lnTo>
                  <a:lnTo>
                    <a:pt x="620" y="183"/>
                  </a:lnTo>
                  <a:lnTo>
                    <a:pt x="630" y="187"/>
                  </a:lnTo>
                  <a:lnTo>
                    <a:pt x="639" y="190"/>
                  </a:lnTo>
                  <a:lnTo>
                    <a:pt x="645" y="193"/>
                  </a:lnTo>
                  <a:lnTo>
                    <a:pt x="648" y="198"/>
                  </a:lnTo>
                  <a:lnTo>
                    <a:pt x="647" y="203"/>
                  </a:lnTo>
                  <a:lnTo>
                    <a:pt x="644" y="209"/>
                  </a:lnTo>
                  <a:lnTo>
                    <a:pt x="640" y="216"/>
                  </a:lnTo>
                  <a:lnTo>
                    <a:pt x="639" y="218"/>
                  </a:lnTo>
                  <a:lnTo>
                    <a:pt x="637" y="219"/>
                  </a:lnTo>
                  <a:lnTo>
                    <a:pt x="636" y="219"/>
                  </a:lnTo>
                  <a:lnTo>
                    <a:pt x="633" y="216"/>
                  </a:lnTo>
                  <a:lnTo>
                    <a:pt x="629" y="214"/>
                  </a:lnTo>
                  <a:lnTo>
                    <a:pt x="619" y="214"/>
                  </a:lnTo>
                  <a:lnTo>
                    <a:pt x="619" y="216"/>
                  </a:lnTo>
                  <a:lnTo>
                    <a:pt x="620" y="218"/>
                  </a:lnTo>
                  <a:lnTo>
                    <a:pt x="622" y="221"/>
                  </a:lnTo>
                  <a:lnTo>
                    <a:pt x="624" y="229"/>
                  </a:lnTo>
                  <a:lnTo>
                    <a:pt x="625" y="237"/>
                  </a:lnTo>
                  <a:lnTo>
                    <a:pt x="624" y="244"/>
                  </a:lnTo>
                  <a:lnTo>
                    <a:pt x="626" y="247"/>
                  </a:lnTo>
                  <a:lnTo>
                    <a:pt x="636" y="257"/>
                  </a:lnTo>
                  <a:lnTo>
                    <a:pt x="641" y="263"/>
                  </a:lnTo>
                  <a:lnTo>
                    <a:pt x="642" y="266"/>
                  </a:lnTo>
                  <a:lnTo>
                    <a:pt x="642" y="269"/>
                  </a:lnTo>
                  <a:lnTo>
                    <a:pt x="641" y="270"/>
                  </a:lnTo>
                  <a:lnTo>
                    <a:pt x="639" y="270"/>
                  </a:lnTo>
                  <a:lnTo>
                    <a:pt x="637" y="271"/>
                  </a:lnTo>
                  <a:lnTo>
                    <a:pt x="633" y="271"/>
                  </a:lnTo>
                  <a:lnTo>
                    <a:pt x="630" y="272"/>
                  </a:lnTo>
                  <a:lnTo>
                    <a:pt x="628" y="273"/>
                  </a:lnTo>
                  <a:lnTo>
                    <a:pt x="622" y="273"/>
                  </a:lnTo>
                  <a:lnTo>
                    <a:pt x="614" y="271"/>
                  </a:lnTo>
                  <a:lnTo>
                    <a:pt x="605" y="269"/>
                  </a:lnTo>
                  <a:lnTo>
                    <a:pt x="594" y="269"/>
                  </a:lnTo>
                  <a:lnTo>
                    <a:pt x="588" y="271"/>
                  </a:lnTo>
                  <a:lnTo>
                    <a:pt x="587" y="274"/>
                  </a:lnTo>
                  <a:lnTo>
                    <a:pt x="589" y="278"/>
                  </a:lnTo>
                  <a:lnTo>
                    <a:pt x="592" y="282"/>
                  </a:lnTo>
                  <a:lnTo>
                    <a:pt x="596" y="286"/>
                  </a:lnTo>
                  <a:lnTo>
                    <a:pt x="598" y="291"/>
                  </a:lnTo>
                  <a:lnTo>
                    <a:pt x="597" y="295"/>
                  </a:lnTo>
                  <a:lnTo>
                    <a:pt x="594" y="296"/>
                  </a:lnTo>
                  <a:lnTo>
                    <a:pt x="589" y="297"/>
                  </a:lnTo>
                  <a:lnTo>
                    <a:pt x="580" y="297"/>
                  </a:lnTo>
                  <a:lnTo>
                    <a:pt x="576" y="299"/>
                  </a:lnTo>
                  <a:lnTo>
                    <a:pt x="576" y="302"/>
                  </a:lnTo>
                  <a:lnTo>
                    <a:pt x="580" y="306"/>
                  </a:lnTo>
                  <a:lnTo>
                    <a:pt x="585" y="310"/>
                  </a:lnTo>
                  <a:lnTo>
                    <a:pt x="592" y="314"/>
                  </a:lnTo>
                  <a:lnTo>
                    <a:pt x="597" y="318"/>
                  </a:lnTo>
                  <a:lnTo>
                    <a:pt x="600" y="320"/>
                  </a:lnTo>
                  <a:lnTo>
                    <a:pt x="599" y="324"/>
                  </a:lnTo>
                  <a:lnTo>
                    <a:pt x="596" y="330"/>
                  </a:lnTo>
                  <a:lnTo>
                    <a:pt x="593" y="337"/>
                  </a:lnTo>
                  <a:lnTo>
                    <a:pt x="591" y="342"/>
                  </a:lnTo>
                  <a:lnTo>
                    <a:pt x="588" y="346"/>
                  </a:lnTo>
                  <a:lnTo>
                    <a:pt x="585" y="348"/>
                  </a:lnTo>
                  <a:lnTo>
                    <a:pt x="578" y="351"/>
                  </a:lnTo>
                  <a:lnTo>
                    <a:pt x="573" y="356"/>
                  </a:lnTo>
                  <a:lnTo>
                    <a:pt x="569" y="364"/>
                  </a:lnTo>
                  <a:lnTo>
                    <a:pt x="565" y="383"/>
                  </a:lnTo>
                  <a:lnTo>
                    <a:pt x="565" y="391"/>
                  </a:lnTo>
                  <a:lnTo>
                    <a:pt x="563" y="399"/>
                  </a:lnTo>
                  <a:lnTo>
                    <a:pt x="558" y="406"/>
                  </a:lnTo>
                  <a:lnTo>
                    <a:pt x="554" y="411"/>
                  </a:lnTo>
                  <a:lnTo>
                    <a:pt x="552" y="417"/>
                  </a:lnTo>
                  <a:lnTo>
                    <a:pt x="554" y="422"/>
                  </a:lnTo>
                  <a:lnTo>
                    <a:pt x="559" y="425"/>
                  </a:lnTo>
                  <a:lnTo>
                    <a:pt x="565" y="427"/>
                  </a:lnTo>
                  <a:lnTo>
                    <a:pt x="569" y="428"/>
                  </a:lnTo>
                  <a:lnTo>
                    <a:pt x="571" y="428"/>
                  </a:lnTo>
                  <a:lnTo>
                    <a:pt x="573" y="426"/>
                  </a:lnTo>
                  <a:lnTo>
                    <a:pt x="574" y="424"/>
                  </a:lnTo>
                  <a:lnTo>
                    <a:pt x="575" y="421"/>
                  </a:lnTo>
                  <a:lnTo>
                    <a:pt x="575" y="418"/>
                  </a:lnTo>
                  <a:lnTo>
                    <a:pt x="576" y="415"/>
                  </a:lnTo>
                  <a:lnTo>
                    <a:pt x="580" y="411"/>
                  </a:lnTo>
                  <a:lnTo>
                    <a:pt x="585" y="409"/>
                  </a:lnTo>
                  <a:lnTo>
                    <a:pt x="590" y="408"/>
                  </a:lnTo>
                  <a:lnTo>
                    <a:pt x="594" y="409"/>
                  </a:lnTo>
                  <a:lnTo>
                    <a:pt x="597" y="412"/>
                  </a:lnTo>
                  <a:lnTo>
                    <a:pt x="600" y="416"/>
                  </a:lnTo>
                  <a:lnTo>
                    <a:pt x="602" y="421"/>
                  </a:lnTo>
                  <a:lnTo>
                    <a:pt x="603" y="426"/>
                  </a:lnTo>
                  <a:lnTo>
                    <a:pt x="601" y="429"/>
                  </a:lnTo>
                  <a:lnTo>
                    <a:pt x="598" y="434"/>
                  </a:lnTo>
                  <a:lnTo>
                    <a:pt x="597" y="443"/>
                  </a:lnTo>
                  <a:lnTo>
                    <a:pt x="597" y="468"/>
                  </a:lnTo>
                  <a:lnTo>
                    <a:pt x="596" y="480"/>
                  </a:lnTo>
                  <a:lnTo>
                    <a:pt x="593" y="488"/>
                  </a:lnTo>
                  <a:lnTo>
                    <a:pt x="586" y="496"/>
                  </a:lnTo>
                  <a:lnTo>
                    <a:pt x="567" y="510"/>
                  </a:lnTo>
                  <a:lnTo>
                    <a:pt x="558" y="515"/>
                  </a:lnTo>
                  <a:lnTo>
                    <a:pt x="550" y="518"/>
                  </a:lnTo>
                  <a:lnTo>
                    <a:pt x="546" y="519"/>
                  </a:lnTo>
                  <a:lnTo>
                    <a:pt x="544" y="519"/>
                  </a:lnTo>
                  <a:lnTo>
                    <a:pt x="538" y="516"/>
                  </a:lnTo>
                  <a:lnTo>
                    <a:pt x="533" y="515"/>
                  </a:lnTo>
                  <a:lnTo>
                    <a:pt x="526" y="516"/>
                  </a:lnTo>
                  <a:lnTo>
                    <a:pt x="521" y="519"/>
                  </a:lnTo>
                  <a:lnTo>
                    <a:pt x="519" y="523"/>
                  </a:lnTo>
                  <a:lnTo>
                    <a:pt x="519" y="537"/>
                  </a:lnTo>
                  <a:lnTo>
                    <a:pt x="521" y="545"/>
                  </a:lnTo>
                  <a:lnTo>
                    <a:pt x="522" y="551"/>
                  </a:lnTo>
                  <a:lnTo>
                    <a:pt x="520" y="557"/>
                  </a:lnTo>
                  <a:lnTo>
                    <a:pt x="515" y="561"/>
                  </a:lnTo>
                  <a:lnTo>
                    <a:pt x="508" y="565"/>
                  </a:lnTo>
                  <a:lnTo>
                    <a:pt x="502" y="569"/>
                  </a:lnTo>
                  <a:lnTo>
                    <a:pt x="498" y="573"/>
                  </a:lnTo>
                  <a:lnTo>
                    <a:pt x="497" y="577"/>
                  </a:lnTo>
                  <a:lnTo>
                    <a:pt x="496" y="579"/>
                  </a:lnTo>
                  <a:lnTo>
                    <a:pt x="495" y="582"/>
                  </a:lnTo>
                  <a:lnTo>
                    <a:pt x="492" y="585"/>
                  </a:lnTo>
                  <a:lnTo>
                    <a:pt x="486" y="589"/>
                  </a:lnTo>
                  <a:lnTo>
                    <a:pt x="479" y="592"/>
                  </a:lnTo>
                  <a:lnTo>
                    <a:pt x="475" y="592"/>
                  </a:lnTo>
                  <a:lnTo>
                    <a:pt x="470" y="590"/>
                  </a:lnTo>
                  <a:lnTo>
                    <a:pt x="466" y="588"/>
                  </a:lnTo>
                  <a:lnTo>
                    <a:pt x="460" y="588"/>
                  </a:lnTo>
                  <a:lnTo>
                    <a:pt x="456" y="590"/>
                  </a:lnTo>
                  <a:lnTo>
                    <a:pt x="455" y="594"/>
                  </a:lnTo>
                  <a:lnTo>
                    <a:pt x="456" y="600"/>
                  </a:lnTo>
                  <a:lnTo>
                    <a:pt x="458" y="606"/>
                  </a:lnTo>
                  <a:lnTo>
                    <a:pt x="459" y="612"/>
                  </a:lnTo>
                  <a:lnTo>
                    <a:pt x="460" y="617"/>
                  </a:lnTo>
                  <a:lnTo>
                    <a:pt x="458" y="620"/>
                  </a:lnTo>
                  <a:lnTo>
                    <a:pt x="454" y="624"/>
                  </a:lnTo>
                  <a:lnTo>
                    <a:pt x="454" y="629"/>
                  </a:lnTo>
                  <a:lnTo>
                    <a:pt x="456" y="634"/>
                  </a:lnTo>
                  <a:lnTo>
                    <a:pt x="456" y="639"/>
                  </a:lnTo>
                  <a:lnTo>
                    <a:pt x="453" y="643"/>
                  </a:lnTo>
                  <a:lnTo>
                    <a:pt x="447" y="645"/>
                  </a:lnTo>
                  <a:lnTo>
                    <a:pt x="431" y="647"/>
                  </a:lnTo>
                  <a:lnTo>
                    <a:pt x="425" y="647"/>
                  </a:lnTo>
                  <a:lnTo>
                    <a:pt x="424" y="645"/>
                  </a:lnTo>
                  <a:lnTo>
                    <a:pt x="422" y="644"/>
                  </a:lnTo>
                  <a:lnTo>
                    <a:pt x="420" y="640"/>
                  </a:lnTo>
                  <a:lnTo>
                    <a:pt x="418" y="638"/>
                  </a:lnTo>
                  <a:lnTo>
                    <a:pt x="416" y="635"/>
                  </a:lnTo>
                  <a:lnTo>
                    <a:pt x="410" y="630"/>
                  </a:lnTo>
                  <a:lnTo>
                    <a:pt x="403" y="627"/>
                  </a:lnTo>
                  <a:lnTo>
                    <a:pt x="395" y="625"/>
                  </a:lnTo>
                  <a:lnTo>
                    <a:pt x="383" y="624"/>
                  </a:lnTo>
                  <a:lnTo>
                    <a:pt x="376" y="624"/>
                  </a:lnTo>
                  <a:lnTo>
                    <a:pt x="373" y="625"/>
                  </a:lnTo>
                  <a:lnTo>
                    <a:pt x="371" y="628"/>
                  </a:lnTo>
                  <a:lnTo>
                    <a:pt x="369" y="634"/>
                  </a:lnTo>
                  <a:lnTo>
                    <a:pt x="365" y="637"/>
                  </a:lnTo>
                  <a:lnTo>
                    <a:pt x="361" y="639"/>
                  </a:lnTo>
                  <a:lnTo>
                    <a:pt x="358" y="639"/>
                  </a:lnTo>
                  <a:lnTo>
                    <a:pt x="355" y="636"/>
                  </a:lnTo>
                  <a:lnTo>
                    <a:pt x="352" y="634"/>
                  </a:lnTo>
                  <a:lnTo>
                    <a:pt x="347" y="633"/>
                  </a:lnTo>
                  <a:lnTo>
                    <a:pt x="339" y="635"/>
                  </a:lnTo>
                  <a:lnTo>
                    <a:pt x="333" y="641"/>
                  </a:lnTo>
                  <a:lnTo>
                    <a:pt x="327" y="648"/>
                  </a:lnTo>
                  <a:lnTo>
                    <a:pt x="322" y="656"/>
                  </a:lnTo>
                  <a:lnTo>
                    <a:pt x="320" y="658"/>
                  </a:lnTo>
                  <a:lnTo>
                    <a:pt x="319" y="659"/>
                  </a:lnTo>
                  <a:lnTo>
                    <a:pt x="319" y="661"/>
                  </a:lnTo>
                  <a:lnTo>
                    <a:pt x="320" y="661"/>
                  </a:lnTo>
                  <a:lnTo>
                    <a:pt x="322" y="663"/>
                  </a:lnTo>
                  <a:lnTo>
                    <a:pt x="324" y="664"/>
                  </a:lnTo>
                  <a:lnTo>
                    <a:pt x="330" y="668"/>
                  </a:lnTo>
                  <a:lnTo>
                    <a:pt x="334" y="673"/>
                  </a:lnTo>
                  <a:lnTo>
                    <a:pt x="335" y="679"/>
                  </a:lnTo>
                  <a:lnTo>
                    <a:pt x="334" y="686"/>
                  </a:lnTo>
                  <a:lnTo>
                    <a:pt x="331" y="692"/>
                  </a:lnTo>
                  <a:lnTo>
                    <a:pt x="328" y="697"/>
                  </a:lnTo>
                  <a:lnTo>
                    <a:pt x="326" y="702"/>
                  </a:lnTo>
                  <a:lnTo>
                    <a:pt x="326" y="711"/>
                  </a:lnTo>
                  <a:lnTo>
                    <a:pt x="327" y="720"/>
                  </a:lnTo>
                  <a:lnTo>
                    <a:pt x="329" y="730"/>
                  </a:lnTo>
                  <a:lnTo>
                    <a:pt x="330" y="738"/>
                  </a:lnTo>
                  <a:lnTo>
                    <a:pt x="331" y="743"/>
                  </a:lnTo>
                  <a:lnTo>
                    <a:pt x="334" y="750"/>
                  </a:lnTo>
                  <a:lnTo>
                    <a:pt x="339" y="756"/>
                  </a:lnTo>
                  <a:lnTo>
                    <a:pt x="343" y="763"/>
                  </a:lnTo>
                  <a:lnTo>
                    <a:pt x="346" y="769"/>
                  </a:lnTo>
                  <a:lnTo>
                    <a:pt x="354" y="783"/>
                  </a:lnTo>
                  <a:lnTo>
                    <a:pt x="356" y="788"/>
                  </a:lnTo>
                  <a:lnTo>
                    <a:pt x="355" y="793"/>
                  </a:lnTo>
                  <a:lnTo>
                    <a:pt x="353" y="801"/>
                  </a:lnTo>
                  <a:lnTo>
                    <a:pt x="350" y="809"/>
                  </a:lnTo>
                  <a:lnTo>
                    <a:pt x="342" y="817"/>
                  </a:lnTo>
                  <a:lnTo>
                    <a:pt x="343" y="820"/>
                  </a:lnTo>
                  <a:lnTo>
                    <a:pt x="345" y="825"/>
                  </a:lnTo>
                  <a:lnTo>
                    <a:pt x="347" y="832"/>
                  </a:lnTo>
                  <a:lnTo>
                    <a:pt x="348" y="835"/>
                  </a:lnTo>
                  <a:lnTo>
                    <a:pt x="347" y="837"/>
                  </a:lnTo>
                  <a:lnTo>
                    <a:pt x="347" y="839"/>
                  </a:lnTo>
                  <a:lnTo>
                    <a:pt x="345" y="839"/>
                  </a:lnTo>
                  <a:lnTo>
                    <a:pt x="344" y="840"/>
                  </a:lnTo>
                  <a:lnTo>
                    <a:pt x="342" y="840"/>
                  </a:lnTo>
                  <a:lnTo>
                    <a:pt x="341" y="841"/>
                  </a:lnTo>
                  <a:lnTo>
                    <a:pt x="339" y="842"/>
                  </a:lnTo>
                  <a:lnTo>
                    <a:pt x="338" y="843"/>
                  </a:lnTo>
                  <a:lnTo>
                    <a:pt x="337" y="845"/>
                  </a:lnTo>
                  <a:lnTo>
                    <a:pt x="336" y="848"/>
                  </a:lnTo>
                  <a:lnTo>
                    <a:pt x="337" y="851"/>
                  </a:lnTo>
                  <a:lnTo>
                    <a:pt x="341" y="857"/>
                  </a:lnTo>
                  <a:lnTo>
                    <a:pt x="344" y="860"/>
                  </a:lnTo>
                  <a:lnTo>
                    <a:pt x="341" y="861"/>
                  </a:lnTo>
                  <a:lnTo>
                    <a:pt x="339" y="861"/>
                  </a:lnTo>
                  <a:lnTo>
                    <a:pt x="337" y="863"/>
                  </a:lnTo>
                  <a:lnTo>
                    <a:pt x="338" y="865"/>
                  </a:lnTo>
                  <a:lnTo>
                    <a:pt x="342" y="870"/>
                  </a:lnTo>
                  <a:lnTo>
                    <a:pt x="347" y="875"/>
                  </a:lnTo>
                  <a:lnTo>
                    <a:pt x="351" y="880"/>
                  </a:lnTo>
                  <a:lnTo>
                    <a:pt x="354" y="884"/>
                  </a:lnTo>
                  <a:lnTo>
                    <a:pt x="353" y="885"/>
                  </a:lnTo>
                  <a:lnTo>
                    <a:pt x="348" y="885"/>
                  </a:lnTo>
                  <a:lnTo>
                    <a:pt x="340" y="884"/>
                  </a:lnTo>
                  <a:lnTo>
                    <a:pt x="335" y="884"/>
                  </a:lnTo>
                  <a:lnTo>
                    <a:pt x="331" y="885"/>
                  </a:lnTo>
                  <a:lnTo>
                    <a:pt x="330" y="887"/>
                  </a:lnTo>
                  <a:lnTo>
                    <a:pt x="328" y="889"/>
                  </a:lnTo>
                  <a:lnTo>
                    <a:pt x="323" y="889"/>
                  </a:lnTo>
                  <a:lnTo>
                    <a:pt x="320" y="888"/>
                  </a:lnTo>
                  <a:lnTo>
                    <a:pt x="316" y="887"/>
                  </a:lnTo>
                  <a:lnTo>
                    <a:pt x="309" y="887"/>
                  </a:lnTo>
                  <a:lnTo>
                    <a:pt x="305" y="891"/>
                  </a:lnTo>
                  <a:lnTo>
                    <a:pt x="303" y="894"/>
                  </a:lnTo>
                  <a:lnTo>
                    <a:pt x="302" y="896"/>
                  </a:lnTo>
                  <a:lnTo>
                    <a:pt x="301" y="899"/>
                  </a:lnTo>
                  <a:lnTo>
                    <a:pt x="301" y="902"/>
                  </a:lnTo>
                  <a:lnTo>
                    <a:pt x="303" y="906"/>
                  </a:lnTo>
                  <a:lnTo>
                    <a:pt x="303" y="909"/>
                  </a:lnTo>
                  <a:lnTo>
                    <a:pt x="301" y="910"/>
                  </a:lnTo>
                  <a:lnTo>
                    <a:pt x="298" y="911"/>
                  </a:lnTo>
                  <a:lnTo>
                    <a:pt x="295" y="913"/>
                  </a:lnTo>
                  <a:lnTo>
                    <a:pt x="293" y="918"/>
                  </a:lnTo>
                  <a:lnTo>
                    <a:pt x="291" y="924"/>
                  </a:lnTo>
                  <a:lnTo>
                    <a:pt x="288" y="929"/>
                  </a:lnTo>
                  <a:lnTo>
                    <a:pt x="285" y="931"/>
                  </a:lnTo>
                  <a:lnTo>
                    <a:pt x="281" y="931"/>
                  </a:lnTo>
                  <a:lnTo>
                    <a:pt x="275" y="930"/>
                  </a:lnTo>
                  <a:lnTo>
                    <a:pt x="273" y="929"/>
                  </a:lnTo>
                  <a:lnTo>
                    <a:pt x="270" y="929"/>
                  </a:lnTo>
                  <a:lnTo>
                    <a:pt x="266" y="927"/>
                  </a:lnTo>
                  <a:lnTo>
                    <a:pt x="265" y="926"/>
                  </a:lnTo>
                  <a:lnTo>
                    <a:pt x="265" y="924"/>
                  </a:lnTo>
                  <a:lnTo>
                    <a:pt x="266" y="921"/>
                  </a:lnTo>
                  <a:lnTo>
                    <a:pt x="269" y="914"/>
                  </a:lnTo>
                  <a:lnTo>
                    <a:pt x="270" y="907"/>
                  </a:lnTo>
                  <a:lnTo>
                    <a:pt x="272" y="901"/>
                  </a:lnTo>
                  <a:lnTo>
                    <a:pt x="274" y="898"/>
                  </a:lnTo>
                  <a:lnTo>
                    <a:pt x="276" y="897"/>
                  </a:lnTo>
                  <a:lnTo>
                    <a:pt x="283" y="897"/>
                  </a:lnTo>
                  <a:lnTo>
                    <a:pt x="284" y="896"/>
                  </a:lnTo>
                  <a:lnTo>
                    <a:pt x="286" y="892"/>
                  </a:lnTo>
                  <a:lnTo>
                    <a:pt x="285" y="888"/>
                  </a:lnTo>
                  <a:lnTo>
                    <a:pt x="280" y="886"/>
                  </a:lnTo>
                  <a:lnTo>
                    <a:pt x="270" y="884"/>
                  </a:lnTo>
                  <a:lnTo>
                    <a:pt x="266" y="880"/>
                  </a:lnTo>
                  <a:lnTo>
                    <a:pt x="261" y="879"/>
                  </a:lnTo>
                  <a:lnTo>
                    <a:pt x="254" y="878"/>
                  </a:lnTo>
                  <a:lnTo>
                    <a:pt x="248" y="876"/>
                  </a:lnTo>
                  <a:lnTo>
                    <a:pt x="242" y="872"/>
                  </a:lnTo>
                  <a:lnTo>
                    <a:pt x="239" y="866"/>
                  </a:lnTo>
                  <a:lnTo>
                    <a:pt x="238" y="857"/>
                  </a:lnTo>
                  <a:lnTo>
                    <a:pt x="238" y="849"/>
                  </a:lnTo>
                  <a:lnTo>
                    <a:pt x="237" y="842"/>
                  </a:lnTo>
                  <a:lnTo>
                    <a:pt x="235" y="838"/>
                  </a:lnTo>
                  <a:lnTo>
                    <a:pt x="231" y="837"/>
                  </a:lnTo>
                  <a:lnTo>
                    <a:pt x="224" y="837"/>
                  </a:lnTo>
                  <a:lnTo>
                    <a:pt x="218" y="839"/>
                  </a:lnTo>
                  <a:lnTo>
                    <a:pt x="213" y="842"/>
                  </a:lnTo>
                  <a:lnTo>
                    <a:pt x="212" y="846"/>
                  </a:lnTo>
                  <a:lnTo>
                    <a:pt x="216" y="856"/>
                  </a:lnTo>
                  <a:lnTo>
                    <a:pt x="218" y="862"/>
                  </a:lnTo>
                  <a:lnTo>
                    <a:pt x="219" y="867"/>
                  </a:lnTo>
                  <a:lnTo>
                    <a:pt x="217" y="869"/>
                  </a:lnTo>
                  <a:lnTo>
                    <a:pt x="213" y="870"/>
                  </a:lnTo>
                  <a:lnTo>
                    <a:pt x="208" y="872"/>
                  </a:lnTo>
                  <a:lnTo>
                    <a:pt x="200" y="873"/>
                  </a:lnTo>
                  <a:lnTo>
                    <a:pt x="196" y="867"/>
                  </a:lnTo>
                  <a:lnTo>
                    <a:pt x="189" y="861"/>
                  </a:lnTo>
                  <a:lnTo>
                    <a:pt x="181" y="855"/>
                  </a:lnTo>
                  <a:lnTo>
                    <a:pt x="173" y="851"/>
                  </a:lnTo>
                  <a:lnTo>
                    <a:pt x="166" y="849"/>
                  </a:lnTo>
                  <a:lnTo>
                    <a:pt x="161" y="846"/>
                  </a:lnTo>
                  <a:lnTo>
                    <a:pt x="156" y="840"/>
                  </a:lnTo>
                  <a:lnTo>
                    <a:pt x="153" y="832"/>
                  </a:lnTo>
                  <a:lnTo>
                    <a:pt x="148" y="817"/>
                  </a:lnTo>
                  <a:lnTo>
                    <a:pt x="150" y="811"/>
                  </a:lnTo>
                  <a:lnTo>
                    <a:pt x="154" y="805"/>
                  </a:lnTo>
                  <a:lnTo>
                    <a:pt x="161" y="800"/>
                  </a:lnTo>
                  <a:lnTo>
                    <a:pt x="166" y="797"/>
                  </a:lnTo>
                  <a:lnTo>
                    <a:pt x="170" y="793"/>
                  </a:lnTo>
                  <a:lnTo>
                    <a:pt x="172" y="788"/>
                  </a:lnTo>
                  <a:lnTo>
                    <a:pt x="175" y="781"/>
                  </a:lnTo>
                  <a:lnTo>
                    <a:pt x="176" y="779"/>
                  </a:lnTo>
                  <a:lnTo>
                    <a:pt x="175" y="777"/>
                  </a:lnTo>
                  <a:lnTo>
                    <a:pt x="173" y="775"/>
                  </a:lnTo>
                  <a:lnTo>
                    <a:pt x="164" y="775"/>
                  </a:lnTo>
                  <a:lnTo>
                    <a:pt x="160" y="773"/>
                  </a:lnTo>
                  <a:lnTo>
                    <a:pt x="158" y="768"/>
                  </a:lnTo>
                  <a:lnTo>
                    <a:pt x="156" y="754"/>
                  </a:lnTo>
                  <a:lnTo>
                    <a:pt x="156" y="742"/>
                  </a:lnTo>
                  <a:lnTo>
                    <a:pt x="152" y="734"/>
                  </a:lnTo>
                  <a:lnTo>
                    <a:pt x="147" y="728"/>
                  </a:lnTo>
                  <a:lnTo>
                    <a:pt x="144" y="723"/>
                  </a:lnTo>
                  <a:lnTo>
                    <a:pt x="143" y="719"/>
                  </a:lnTo>
                  <a:lnTo>
                    <a:pt x="147" y="711"/>
                  </a:lnTo>
                  <a:lnTo>
                    <a:pt x="148" y="706"/>
                  </a:lnTo>
                  <a:lnTo>
                    <a:pt x="146" y="697"/>
                  </a:lnTo>
                  <a:lnTo>
                    <a:pt x="142" y="688"/>
                  </a:lnTo>
                  <a:lnTo>
                    <a:pt x="136" y="680"/>
                  </a:lnTo>
                  <a:lnTo>
                    <a:pt x="130" y="676"/>
                  </a:lnTo>
                  <a:lnTo>
                    <a:pt x="124" y="674"/>
                  </a:lnTo>
                  <a:lnTo>
                    <a:pt x="115" y="670"/>
                  </a:lnTo>
                  <a:lnTo>
                    <a:pt x="104" y="668"/>
                  </a:lnTo>
                  <a:lnTo>
                    <a:pt x="95" y="667"/>
                  </a:lnTo>
                  <a:lnTo>
                    <a:pt x="87" y="668"/>
                  </a:lnTo>
                  <a:lnTo>
                    <a:pt x="78" y="672"/>
                  </a:lnTo>
                  <a:lnTo>
                    <a:pt x="67" y="675"/>
                  </a:lnTo>
                  <a:lnTo>
                    <a:pt x="52" y="680"/>
                  </a:lnTo>
                  <a:lnTo>
                    <a:pt x="40" y="683"/>
                  </a:lnTo>
                  <a:lnTo>
                    <a:pt x="29" y="681"/>
                  </a:lnTo>
                  <a:lnTo>
                    <a:pt x="21" y="677"/>
                  </a:lnTo>
                  <a:lnTo>
                    <a:pt x="18" y="673"/>
                  </a:lnTo>
                  <a:lnTo>
                    <a:pt x="16" y="669"/>
                  </a:lnTo>
                  <a:lnTo>
                    <a:pt x="10" y="664"/>
                  </a:lnTo>
                  <a:lnTo>
                    <a:pt x="4" y="658"/>
                  </a:lnTo>
                  <a:lnTo>
                    <a:pt x="0" y="652"/>
                  </a:lnTo>
                  <a:lnTo>
                    <a:pt x="0" y="648"/>
                  </a:lnTo>
                  <a:lnTo>
                    <a:pt x="3" y="645"/>
                  </a:lnTo>
                  <a:lnTo>
                    <a:pt x="7" y="642"/>
                  </a:lnTo>
                  <a:lnTo>
                    <a:pt x="12" y="639"/>
                  </a:lnTo>
                  <a:lnTo>
                    <a:pt x="20" y="629"/>
                  </a:lnTo>
                  <a:lnTo>
                    <a:pt x="23" y="629"/>
                  </a:lnTo>
                  <a:lnTo>
                    <a:pt x="28" y="631"/>
                  </a:lnTo>
                  <a:lnTo>
                    <a:pt x="33" y="632"/>
                  </a:lnTo>
                  <a:lnTo>
                    <a:pt x="35" y="630"/>
                  </a:lnTo>
                  <a:lnTo>
                    <a:pt x="35" y="626"/>
                  </a:lnTo>
                  <a:lnTo>
                    <a:pt x="31" y="614"/>
                  </a:lnTo>
                  <a:lnTo>
                    <a:pt x="29" y="609"/>
                  </a:lnTo>
                  <a:lnTo>
                    <a:pt x="28" y="606"/>
                  </a:lnTo>
                  <a:lnTo>
                    <a:pt x="30" y="604"/>
                  </a:lnTo>
                  <a:lnTo>
                    <a:pt x="34" y="603"/>
                  </a:lnTo>
                  <a:lnTo>
                    <a:pt x="39" y="601"/>
                  </a:lnTo>
                  <a:lnTo>
                    <a:pt x="43" y="599"/>
                  </a:lnTo>
                  <a:lnTo>
                    <a:pt x="44" y="597"/>
                  </a:lnTo>
                  <a:lnTo>
                    <a:pt x="45" y="593"/>
                  </a:lnTo>
                  <a:lnTo>
                    <a:pt x="49" y="590"/>
                  </a:lnTo>
                  <a:lnTo>
                    <a:pt x="56" y="587"/>
                  </a:lnTo>
                  <a:lnTo>
                    <a:pt x="64" y="586"/>
                  </a:lnTo>
                  <a:lnTo>
                    <a:pt x="67" y="585"/>
                  </a:lnTo>
                  <a:lnTo>
                    <a:pt x="69" y="585"/>
                  </a:lnTo>
                  <a:lnTo>
                    <a:pt x="70" y="584"/>
                  </a:lnTo>
                  <a:lnTo>
                    <a:pt x="70" y="579"/>
                  </a:lnTo>
                  <a:lnTo>
                    <a:pt x="69" y="577"/>
                  </a:lnTo>
                  <a:lnTo>
                    <a:pt x="69" y="573"/>
                  </a:lnTo>
                  <a:lnTo>
                    <a:pt x="72" y="570"/>
                  </a:lnTo>
                  <a:lnTo>
                    <a:pt x="77" y="569"/>
                  </a:lnTo>
                  <a:lnTo>
                    <a:pt x="90" y="567"/>
                  </a:lnTo>
                  <a:lnTo>
                    <a:pt x="95" y="567"/>
                  </a:lnTo>
                  <a:lnTo>
                    <a:pt x="96" y="566"/>
                  </a:lnTo>
                  <a:lnTo>
                    <a:pt x="92" y="564"/>
                  </a:lnTo>
                  <a:lnTo>
                    <a:pt x="85" y="562"/>
                  </a:lnTo>
                  <a:lnTo>
                    <a:pt x="78" y="560"/>
                  </a:lnTo>
                  <a:lnTo>
                    <a:pt x="71" y="559"/>
                  </a:lnTo>
                  <a:lnTo>
                    <a:pt x="68" y="557"/>
                  </a:lnTo>
                  <a:lnTo>
                    <a:pt x="67" y="554"/>
                  </a:lnTo>
                  <a:lnTo>
                    <a:pt x="71" y="542"/>
                  </a:lnTo>
                  <a:lnTo>
                    <a:pt x="76" y="532"/>
                  </a:lnTo>
                  <a:lnTo>
                    <a:pt x="75" y="527"/>
                  </a:lnTo>
                  <a:lnTo>
                    <a:pt x="69" y="521"/>
                  </a:lnTo>
                  <a:lnTo>
                    <a:pt x="57" y="514"/>
                  </a:lnTo>
                  <a:lnTo>
                    <a:pt x="55" y="511"/>
                  </a:lnTo>
                  <a:lnTo>
                    <a:pt x="55" y="507"/>
                  </a:lnTo>
                  <a:lnTo>
                    <a:pt x="58" y="503"/>
                  </a:lnTo>
                  <a:lnTo>
                    <a:pt x="61" y="500"/>
                  </a:lnTo>
                  <a:lnTo>
                    <a:pt x="65" y="497"/>
                  </a:lnTo>
                  <a:lnTo>
                    <a:pt x="67" y="494"/>
                  </a:lnTo>
                  <a:lnTo>
                    <a:pt x="67" y="489"/>
                  </a:lnTo>
                  <a:lnTo>
                    <a:pt x="66" y="483"/>
                  </a:lnTo>
                  <a:lnTo>
                    <a:pt x="65" y="476"/>
                  </a:lnTo>
                  <a:lnTo>
                    <a:pt x="65" y="470"/>
                  </a:lnTo>
                  <a:lnTo>
                    <a:pt x="66" y="466"/>
                  </a:lnTo>
                  <a:lnTo>
                    <a:pt x="66" y="464"/>
                  </a:lnTo>
                  <a:lnTo>
                    <a:pt x="69" y="461"/>
                  </a:lnTo>
                  <a:lnTo>
                    <a:pt x="73" y="459"/>
                  </a:lnTo>
                  <a:lnTo>
                    <a:pt x="76" y="458"/>
                  </a:lnTo>
                  <a:lnTo>
                    <a:pt x="78" y="457"/>
                  </a:lnTo>
                  <a:lnTo>
                    <a:pt x="81" y="457"/>
                  </a:lnTo>
                  <a:lnTo>
                    <a:pt x="85" y="459"/>
                  </a:lnTo>
                  <a:lnTo>
                    <a:pt x="86" y="461"/>
                  </a:lnTo>
                  <a:lnTo>
                    <a:pt x="87" y="463"/>
                  </a:lnTo>
                  <a:lnTo>
                    <a:pt x="89" y="464"/>
                  </a:lnTo>
                  <a:lnTo>
                    <a:pt x="91" y="463"/>
                  </a:lnTo>
                  <a:lnTo>
                    <a:pt x="93" y="459"/>
                  </a:lnTo>
                  <a:lnTo>
                    <a:pt x="95" y="453"/>
                  </a:lnTo>
                  <a:lnTo>
                    <a:pt x="98" y="447"/>
                  </a:lnTo>
                  <a:lnTo>
                    <a:pt x="105" y="440"/>
                  </a:lnTo>
                  <a:lnTo>
                    <a:pt x="104" y="435"/>
                  </a:lnTo>
                  <a:lnTo>
                    <a:pt x="92" y="417"/>
                  </a:lnTo>
                  <a:lnTo>
                    <a:pt x="91" y="409"/>
                  </a:lnTo>
                  <a:lnTo>
                    <a:pt x="94" y="401"/>
                  </a:lnTo>
                  <a:lnTo>
                    <a:pt x="99" y="392"/>
                  </a:lnTo>
                  <a:lnTo>
                    <a:pt x="106" y="385"/>
                  </a:lnTo>
                  <a:lnTo>
                    <a:pt x="108" y="381"/>
                  </a:lnTo>
                  <a:lnTo>
                    <a:pt x="107" y="374"/>
                  </a:lnTo>
                  <a:lnTo>
                    <a:pt x="105" y="368"/>
                  </a:lnTo>
                  <a:lnTo>
                    <a:pt x="102" y="362"/>
                  </a:lnTo>
                  <a:lnTo>
                    <a:pt x="101" y="358"/>
                  </a:lnTo>
                  <a:lnTo>
                    <a:pt x="103" y="354"/>
                  </a:lnTo>
                  <a:lnTo>
                    <a:pt x="108" y="347"/>
                  </a:lnTo>
                  <a:lnTo>
                    <a:pt x="120" y="331"/>
                  </a:lnTo>
                  <a:lnTo>
                    <a:pt x="127" y="323"/>
                  </a:lnTo>
                  <a:lnTo>
                    <a:pt x="133" y="318"/>
                  </a:lnTo>
                  <a:lnTo>
                    <a:pt x="136" y="315"/>
                  </a:lnTo>
                  <a:lnTo>
                    <a:pt x="139" y="315"/>
                  </a:lnTo>
                  <a:lnTo>
                    <a:pt x="144" y="318"/>
                  </a:lnTo>
                  <a:lnTo>
                    <a:pt x="148" y="322"/>
                  </a:lnTo>
                  <a:lnTo>
                    <a:pt x="153" y="326"/>
                  </a:lnTo>
                  <a:lnTo>
                    <a:pt x="157" y="326"/>
                  </a:lnTo>
                  <a:lnTo>
                    <a:pt x="161" y="322"/>
                  </a:lnTo>
                  <a:lnTo>
                    <a:pt x="165" y="315"/>
                  </a:lnTo>
                  <a:lnTo>
                    <a:pt x="169" y="309"/>
                  </a:lnTo>
                  <a:lnTo>
                    <a:pt x="173" y="304"/>
                  </a:lnTo>
                  <a:lnTo>
                    <a:pt x="178" y="302"/>
                  </a:lnTo>
                  <a:lnTo>
                    <a:pt x="183" y="301"/>
                  </a:lnTo>
                  <a:lnTo>
                    <a:pt x="187" y="300"/>
                  </a:lnTo>
                  <a:lnTo>
                    <a:pt x="189" y="296"/>
                  </a:lnTo>
                  <a:lnTo>
                    <a:pt x="190" y="290"/>
                  </a:lnTo>
                  <a:lnTo>
                    <a:pt x="194" y="283"/>
                  </a:lnTo>
                  <a:lnTo>
                    <a:pt x="199" y="276"/>
                  </a:lnTo>
                  <a:lnTo>
                    <a:pt x="205" y="270"/>
                  </a:lnTo>
                  <a:lnTo>
                    <a:pt x="208" y="263"/>
                  </a:lnTo>
                  <a:lnTo>
                    <a:pt x="208" y="255"/>
                  </a:lnTo>
                  <a:lnTo>
                    <a:pt x="207" y="247"/>
                  </a:lnTo>
                  <a:lnTo>
                    <a:pt x="206" y="238"/>
                  </a:lnTo>
                  <a:lnTo>
                    <a:pt x="208" y="232"/>
                  </a:lnTo>
                  <a:lnTo>
                    <a:pt x="211" y="228"/>
                  </a:lnTo>
                  <a:lnTo>
                    <a:pt x="217" y="228"/>
                  </a:lnTo>
                  <a:lnTo>
                    <a:pt x="225" y="229"/>
                  </a:lnTo>
                  <a:lnTo>
                    <a:pt x="233" y="231"/>
                  </a:lnTo>
                  <a:lnTo>
                    <a:pt x="241" y="232"/>
                  </a:lnTo>
                  <a:lnTo>
                    <a:pt x="246" y="230"/>
                  </a:lnTo>
                  <a:lnTo>
                    <a:pt x="248" y="226"/>
                  </a:lnTo>
                  <a:lnTo>
                    <a:pt x="249" y="220"/>
                  </a:lnTo>
                  <a:lnTo>
                    <a:pt x="251" y="211"/>
                  </a:lnTo>
                  <a:lnTo>
                    <a:pt x="256" y="205"/>
                  </a:lnTo>
                  <a:lnTo>
                    <a:pt x="261" y="200"/>
                  </a:lnTo>
                  <a:lnTo>
                    <a:pt x="262" y="196"/>
                  </a:lnTo>
                  <a:lnTo>
                    <a:pt x="262" y="190"/>
                  </a:lnTo>
                  <a:lnTo>
                    <a:pt x="258" y="174"/>
                  </a:lnTo>
                  <a:lnTo>
                    <a:pt x="255" y="166"/>
                  </a:lnTo>
                  <a:lnTo>
                    <a:pt x="252" y="159"/>
                  </a:lnTo>
                  <a:lnTo>
                    <a:pt x="248" y="156"/>
                  </a:lnTo>
                  <a:lnTo>
                    <a:pt x="244" y="157"/>
                  </a:lnTo>
                  <a:lnTo>
                    <a:pt x="239" y="160"/>
                  </a:lnTo>
                  <a:lnTo>
                    <a:pt x="228" y="171"/>
                  </a:lnTo>
                  <a:lnTo>
                    <a:pt x="226" y="170"/>
                  </a:lnTo>
                  <a:lnTo>
                    <a:pt x="223" y="167"/>
                  </a:lnTo>
                  <a:lnTo>
                    <a:pt x="217" y="157"/>
                  </a:lnTo>
                  <a:lnTo>
                    <a:pt x="217" y="154"/>
                  </a:lnTo>
                  <a:lnTo>
                    <a:pt x="219" y="151"/>
                  </a:lnTo>
                  <a:lnTo>
                    <a:pt x="222" y="146"/>
                  </a:lnTo>
                  <a:lnTo>
                    <a:pt x="228" y="140"/>
                  </a:lnTo>
                  <a:lnTo>
                    <a:pt x="233" y="133"/>
                  </a:lnTo>
                  <a:lnTo>
                    <a:pt x="239" y="127"/>
                  </a:lnTo>
                  <a:lnTo>
                    <a:pt x="243" y="122"/>
                  </a:lnTo>
                  <a:lnTo>
                    <a:pt x="246" y="119"/>
                  </a:lnTo>
                  <a:lnTo>
                    <a:pt x="252" y="117"/>
                  </a:lnTo>
                  <a:lnTo>
                    <a:pt x="262" y="115"/>
                  </a:lnTo>
                  <a:lnTo>
                    <a:pt x="274" y="112"/>
                  </a:lnTo>
                  <a:lnTo>
                    <a:pt x="286" y="111"/>
                  </a:lnTo>
                  <a:lnTo>
                    <a:pt x="295" y="110"/>
                  </a:lnTo>
                  <a:lnTo>
                    <a:pt x="305" y="109"/>
                  </a:lnTo>
                  <a:lnTo>
                    <a:pt x="311" y="107"/>
                  </a:lnTo>
                  <a:lnTo>
                    <a:pt x="314" y="102"/>
                  </a:lnTo>
                  <a:lnTo>
                    <a:pt x="313" y="97"/>
                  </a:lnTo>
                  <a:lnTo>
                    <a:pt x="309" y="90"/>
                  </a:lnTo>
                  <a:lnTo>
                    <a:pt x="306" y="83"/>
                  </a:lnTo>
                  <a:lnTo>
                    <a:pt x="306" y="76"/>
                  </a:lnTo>
                  <a:lnTo>
                    <a:pt x="309" y="70"/>
                  </a:lnTo>
                  <a:lnTo>
                    <a:pt x="314" y="66"/>
                  </a:lnTo>
                  <a:lnTo>
                    <a:pt x="321" y="64"/>
                  </a:lnTo>
                  <a:lnTo>
                    <a:pt x="328" y="63"/>
                  </a:lnTo>
                  <a:lnTo>
                    <a:pt x="337" y="66"/>
                  </a:lnTo>
                  <a:lnTo>
                    <a:pt x="347" y="73"/>
                  </a:lnTo>
                  <a:lnTo>
                    <a:pt x="354" y="83"/>
                  </a:lnTo>
                  <a:lnTo>
                    <a:pt x="358" y="87"/>
                  </a:lnTo>
                  <a:lnTo>
                    <a:pt x="364" y="87"/>
                  </a:lnTo>
                  <a:lnTo>
                    <a:pt x="371" y="86"/>
                  </a:lnTo>
                  <a:lnTo>
                    <a:pt x="378" y="83"/>
                  </a:lnTo>
                  <a:lnTo>
                    <a:pt x="383" y="80"/>
                  </a:lnTo>
                  <a:lnTo>
                    <a:pt x="388" y="76"/>
                  </a:lnTo>
                  <a:lnTo>
                    <a:pt x="396" y="70"/>
                  </a:lnTo>
                  <a:lnTo>
                    <a:pt x="414" y="54"/>
                  </a:lnTo>
                  <a:lnTo>
                    <a:pt x="420" y="45"/>
                  </a:lnTo>
                  <a:lnTo>
                    <a:pt x="423" y="38"/>
                  </a:lnTo>
                  <a:lnTo>
                    <a:pt x="422" y="30"/>
                  </a:lnTo>
                  <a:lnTo>
                    <a:pt x="421" y="24"/>
                  </a:lnTo>
                  <a:lnTo>
                    <a:pt x="421" y="20"/>
                  </a:lnTo>
                  <a:lnTo>
                    <a:pt x="425" y="17"/>
                  </a:lnTo>
                  <a:lnTo>
                    <a:pt x="427" y="16"/>
                  </a:lnTo>
                  <a:lnTo>
                    <a:pt x="429" y="14"/>
                  </a:lnTo>
                  <a:lnTo>
                    <a:pt x="430" y="11"/>
                  </a:lnTo>
                  <a:lnTo>
                    <a:pt x="430" y="8"/>
                  </a:lnTo>
                  <a:lnTo>
                    <a:pt x="440" y="6"/>
                  </a:lnTo>
                  <a:lnTo>
                    <a:pt x="458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3D6756CA-50A2-4648-A2A9-B4A229C59660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4013" y="3436938"/>
              <a:ext cx="1265238" cy="987425"/>
            </a:xfrm>
            <a:custGeom>
              <a:avLst/>
              <a:gdLst/>
              <a:ahLst/>
              <a:cxnLst>
                <a:cxn ang="0">
                  <a:pos x="273" y="14"/>
                </a:cxn>
                <a:cxn ang="0">
                  <a:pos x="320" y="56"/>
                </a:cxn>
                <a:cxn ang="0">
                  <a:pos x="320" y="95"/>
                </a:cxn>
                <a:cxn ang="0">
                  <a:pos x="340" y="114"/>
                </a:cxn>
                <a:cxn ang="0">
                  <a:pos x="409" y="117"/>
                </a:cxn>
                <a:cxn ang="0">
                  <a:pos x="503" y="108"/>
                </a:cxn>
                <a:cxn ang="0">
                  <a:pos x="538" y="88"/>
                </a:cxn>
                <a:cxn ang="0">
                  <a:pos x="572" y="36"/>
                </a:cxn>
                <a:cxn ang="0">
                  <a:pos x="609" y="51"/>
                </a:cxn>
                <a:cxn ang="0">
                  <a:pos x="677" y="23"/>
                </a:cxn>
                <a:cxn ang="0">
                  <a:pos x="698" y="15"/>
                </a:cxn>
                <a:cxn ang="0">
                  <a:pos x="708" y="25"/>
                </a:cxn>
                <a:cxn ang="0">
                  <a:pos x="774" y="65"/>
                </a:cxn>
                <a:cxn ang="0">
                  <a:pos x="795" y="153"/>
                </a:cxn>
                <a:cxn ang="0">
                  <a:pos x="766" y="274"/>
                </a:cxn>
                <a:cxn ang="0">
                  <a:pos x="730" y="325"/>
                </a:cxn>
                <a:cxn ang="0">
                  <a:pos x="703" y="290"/>
                </a:cxn>
                <a:cxn ang="0">
                  <a:pos x="682" y="276"/>
                </a:cxn>
                <a:cxn ang="0">
                  <a:pos x="660" y="238"/>
                </a:cxn>
                <a:cxn ang="0">
                  <a:pos x="622" y="244"/>
                </a:cxn>
                <a:cxn ang="0">
                  <a:pos x="604" y="262"/>
                </a:cxn>
                <a:cxn ang="0">
                  <a:pos x="624" y="264"/>
                </a:cxn>
                <a:cxn ang="0">
                  <a:pos x="637" y="299"/>
                </a:cxn>
                <a:cxn ang="0">
                  <a:pos x="580" y="326"/>
                </a:cxn>
                <a:cxn ang="0">
                  <a:pos x="515" y="357"/>
                </a:cxn>
                <a:cxn ang="0">
                  <a:pos x="445" y="382"/>
                </a:cxn>
                <a:cxn ang="0">
                  <a:pos x="406" y="425"/>
                </a:cxn>
                <a:cxn ang="0">
                  <a:pos x="364" y="436"/>
                </a:cxn>
                <a:cxn ang="0">
                  <a:pos x="335" y="476"/>
                </a:cxn>
                <a:cxn ang="0">
                  <a:pos x="285" y="506"/>
                </a:cxn>
                <a:cxn ang="0">
                  <a:pos x="233" y="503"/>
                </a:cxn>
                <a:cxn ang="0">
                  <a:pos x="196" y="524"/>
                </a:cxn>
                <a:cxn ang="0">
                  <a:pos x="146" y="546"/>
                </a:cxn>
                <a:cxn ang="0">
                  <a:pos x="112" y="601"/>
                </a:cxn>
                <a:cxn ang="0">
                  <a:pos x="102" y="617"/>
                </a:cxn>
                <a:cxn ang="0">
                  <a:pos x="91" y="582"/>
                </a:cxn>
                <a:cxn ang="0">
                  <a:pos x="63" y="557"/>
                </a:cxn>
                <a:cxn ang="0">
                  <a:pos x="17" y="545"/>
                </a:cxn>
                <a:cxn ang="0">
                  <a:pos x="6" y="484"/>
                </a:cxn>
                <a:cxn ang="0">
                  <a:pos x="28" y="473"/>
                </a:cxn>
                <a:cxn ang="0">
                  <a:pos x="49" y="461"/>
                </a:cxn>
                <a:cxn ang="0">
                  <a:pos x="74" y="432"/>
                </a:cxn>
                <a:cxn ang="0">
                  <a:pos x="98" y="409"/>
                </a:cxn>
                <a:cxn ang="0">
                  <a:pos x="90" y="368"/>
                </a:cxn>
                <a:cxn ang="0">
                  <a:pos x="116" y="353"/>
                </a:cxn>
                <a:cxn ang="0">
                  <a:pos x="158" y="327"/>
                </a:cxn>
                <a:cxn ang="0">
                  <a:pos x="183" y="300"/>
                </a:cxn>
                <a:cxn ang="0">
                  <a:pos x="148" y="272"/>
                </a:cxn>
                <a:cxn ang="0">
                  <a:pos x="105" y="244"/>
                </a:cxn>
                <a:cxn ang="0">
                  <a:pos x="68" y="237"/>
                </a:cxn>
                <a:cxn ang="0">
                  <a:pos x="48" y="160"/>
                </a:cxn>
                <a:cxn ang="0">
                  <a:pos x="58" y="115"/>
                </a:cxn>
                <a:cxn ang="0">
                  <a:pos x="71" y="55"/>
                </a:cxn>
                <a:cxn ang="0">
                  <a:pos x="138" y="32"/>
                </a:cxn>
                <a:cxn ang="0">
                  <a:pos x="199" y="12"/>
                </a:cxn>
                <a:cxn ang="0">
                  <a:pos x="237" y="0"/>
                </a:cxn>
              </a:cxnLst>
              <a:rect l="0" t="0" r="r" b="b"/>
              <a:pathLst>
                <a:path w="797" h="622">
                  <a:moveTo>
                    <a:pt x="237" y="0"/>
                  </a:moveTo>
                  <a:lnTo>
                    <a:pt x="243" y="2"/>
                  </a:lnTo>
                  <a:lnTo>
                    <a:pt x="249" y="5"/>
                  </a:lnTo>
                  <a:lnTo>
                    <a:pt x="252" y="9"/>
                  </a:lnTo>
                  <a:lnTo>
                    <a:pt x="256" y="12"/>
                  </a:lnTo>
                  <a:lnTo>
                    <a:pt x="260" y="13"/>
                  </a:lnTo>
                  <a:lnTo>
                    <a:pt x="266" y="13"/>
                  </a:lnTo>
                  <a:lnTo>
                    <a:pt x="273" y="14"/>
                  </a:lnTo>
                  <a:lnTo>
                    <a:pt x="279" y="19"/>
                  </a:lnTo>
                  <a:lnTo>
                    <a:pt x="285" y="25"/>
                  </a:lnTo>
                  <a:lnTo>
                    <a:pt x="292" y="31"/>
                  </a:lnTo>
                  <a:lnTo>
                    <a:pt x="298" y="34"/>
                  </a:lnTo>
                  <a:lnTo>
                    <a:pt x="306" y="36"/>
                  </a:lnTo>
                  <a:lnTo>
                    <a:pt x="312" y="42"/>
                  </a:lnTo>
                  <a:lnTo>
                    <a:pt x="317" y="48"/>
                  </a:lnTo>
                  <a:lnTo>
                    <a:pt x="320" y="56"/>
                  </a:lnTo>
                  <a:lnTo>
                    <a:pt x="322" y="64"/>
                  </a:lnTo>
                  <a:lnTo>
                    <a:pt x="323" y="70"/>
                  </a:lnTo>
                  <a:lnTo>
                    <a:pt x="320" y="75"/>
                  </a:lnTo>
                  <a:lnTo>
                    <a:pt x="318" y="78"/>
                  </a:lnTo>
                  <a:lnTo>
                    <a:pt x="319" y="82"/>
                  </a:lnTo>
                  <a:lnTo>
                    <a:pt x="321" y="86"/>
                  </a:lnTo>
                  <a:lnTo>
                    <a:pt x="322" y="91"/>
                  </a:lnTo>
                  <a:lnTo>
                    <a:pt x="320" y="95"/>
                  </a:lnTo>
                  <a:lnTo>
                    <a:pt x="317" y="99"/>
                  </a:lnTo>
                  <a:lnTo>
                    <a:pt x="315" y="104"/>
                  </a:lnTo>
                  <a:lnTo>
                    <a:pt x="314" y="109"/>
                  </a:lnTo>
                  <a:lnTo>
                    <a:pt x="315" y="112"/>
                  </a:lnTo>
                  <a:lnTo>
                    <a:pt x="318" y="113"/>
                  </a:lnTo>
                  <a:lnTo>
                    <a:pt x="328" y="111"/>
                  </a:lnTo>
                  <a:lnTo>
                    <a:pt x="333" y="112"/>
                  </a:lnTo>
                  <a:lnTo>
                    <a:pt x="340" y="114"/>
                  </a:lnTo>
                  <a:lnTo>
                    <a:pt x="348" y="114"/>
                  </a:lnTo>
                  <a:lnTo>
                    <a:pt x="355" y="109"/>
                  </a:lnTo>
                  <a:lnTo>
                    <a:pt x="363" y="104"/>
                  </a:lnTo>
                  <a:lnTo>
                    <a:pt x="371" y="100"/>
                  </a:lnTo>
                  <a:lnTo>
                    <a:pt x="377" y="100"/>
                  </a:lnTo>
                  <a:lnTo>
                    <a:pt x="385" y="105"/>
                  </a:lnTo>
                  <a:lnTo>
                    <a:pt x="396" y="111"/>
                  </a:lnTo>
                  <a:lnTo>
                    <a:pt x="409" y="117"/>
                  </a:lnTo>
                  <a:lnTo>
                    <a:pt x="422" y="121"/>
                  </a:lnTo>
                  <a:lnTo>
                    <a:pt x="435" y="123"/>
                  </a:lnTo>
                  <a:lnTo>
                    <a:pt x="445" y="122"/>
                  </a:lnTo>
                  <a:lnTo>
                    <a:pt x="457" y="120"/>
                  </a:lnTo>
                  <a:lnTo>
                    <a:pt x="470" y="117"/>
                  </a:lnTo>
                  <a:lnTo>
                    <a:pt x="483" y="113"/>
                  </a:lnTo>
                  <a:lnTo>
                    <a:pt x="494" y="110"/>
                  </a:lnTo>
                  <a:lnTo>
                    <a:pt x="503" y="108"/>
                  </a:lnTo>
                  <a:lnTo>
                    <a:pt x="509" y="108"/>
                  </a:lnTo>
                  <a:lnTo>
                    <a:pt x="514" y="111"/>
                  </a:lnTo>
                  <a:lnTo>
                    <a:pt x="525" y="121"/>
                  </a:lnTo>
                  <a:lnTo>
                    <a:pt x="528" y="122"/>
                  </a:lnTo>
                  <a:lnTo>
                    <a:pt x="531" y="119"/>
                  </a:lnTo>
                  <a:lnTo>
                    <a:pt x="534" y="111"/>
                  </a:lnTo>
                  <a:lnTo>
                    <a:pt x="536" y="100"/>
                  </a:lnTo>
                  <a:lnTo>
                    <a:pt x="538" y="88"/>
                  </a:lnTo>
                  <a:lnTo>
                    <a:pt x="540" y="77"/>
                  </a:lnTo>
                  <a:lnTo>
                    <a:pt x="542" y="69"/>
                  </a:lnTo>
                  <a:lnTo>
                    <a:pt x="545" y="65"/>
                  </a:lnTo>
                  <a:lnTo>
                    <a:pt x="549" y="61"/>
                  </a:lnTo>
                  <a:lnTo>
                    <a:pt x="554" y="53"/>
                  </a:lnTo>
                  <a:lnTo>
                    <a:pt x="560" y="45"/>
                  </a:lnTo>
                  <a:lnTo>
                    <a:pt x="566" y="39"/>
                  </a:lnTo>
                  <a:lnTo>
                    <a:pt x="572" y="36"/>
                  </a:lnTo>
                  <a:lnTo>
                    <a:pt x="581" y="37"/>
                  </a:lnTo>
                  <a:lnTo>
                    <a:pt x="592" y="38"/>
                  </a:lnTo>
                  <a:lnTo>
                    <a:pt x="601" y="41"/>
                  </a:lnTo>
                  <a:lnTo>
                    <a:pt x="607" y="45"/>
                  </a:lnTo>
                  <a:lnTo>
                    <a:pt x="608" y="46"/>
                  </a:lnTo>
                  <a:lnTo>
                    <a:pt x="608" y="48"/>
                  </a:lnTo>
                  <a:lnTo>
                    <a:pt x="609" y="49"/>
                  </a:lnTo>
                  <a:lnTo>
                    <a:pt x="609" y="51"/>
                  </a:lnTo>
                  <a:lnTo>
                    <a:pt x="611" y="51"/>
                  </a:lnTo>
                  <a:lnTo>
                    <a:pt x="612" y="50"/>
                  </a:lnTo>
                  <a:lnTo>
                    <a:pt x="618" y="46"/>
                  </a:lnTo>
                  <a:lnTo>
                    <a:pt x="625" y="42"/>
                  </a:lnTo>
                  <a:lnTo>
                    <a:pt x="637" y="37"/>
                  </a:lnTo>
                  <a:lnTo>
                    <a:pt x="650" y="33"/>
                  </a:lnTo>
                  <a:lnTo>
                    <a:pt x="662" y="29"/>
                  </a:lnTo>
                  <a:lnTo>
                    <a:pt x="677" y="23"/>
                  </a:lnTo>
                  <a:lnTo>
                    <a:pt x="680" y="23"/>
                  </a:lnTo>
                  <a:lnTo>
                    <a:pt x="683" y="25"/>
                  </a:lnTo>
                  <a:lnTo>
                    <a:pt x="687" y="29"/>
                  </a:lnTo>
                  <a:lnTo>
                    <a:pt x="690" y="30"/>
                  </a:lnTo>
                  <a:lnTo>
                    <a:pt x="693" y="28"/>
                  </a:lnTo>
                  <a:lnTo>
                    <a:pt x="695" y="23"/>
                  </a:lnTo>
                  <a:lnTo>
                    <a:pt x="696" y="18"/>
                  </a:lnTo>
                  <a:lnTo>
                    <a:pt x="698" y="15"/>
                  </a:lnTo>
                  <a:lnTo>
                    <a:pt x="702" y="12"/>
                  </a:lnTo>
                  <a:lnTo>
                    <a:pt x="704" y="11"/>
                  </a:lnTo>
                  <a:lnTo>
                    <a:pt x="709" y="11"/>
                  </a:lnTo>
                  <a:lnTo>
                    <a:pt x="712" y="10"/>
                  </a:lnTo>
                  <a:lnTo>
                    <a:pt x="711" y="14"/>
                  </a:lnTo>
                  <a:lnTo>
                    <a:pt x="709" y="17"/>
                  </a:lnTo>
                  <a:lnTo>
                    <a:pt x="708" y="21"/>
                  </a:lnTo>
                  <a:lnTo>
                    <a:pt x="708" y="25"/>
                  </a:lnTo>
                  <a:lnTo>
                    <a:pt x="712" y="30"/>
                  </a:lnTo>
                  <a:lnTo>
                    <a:pt x="720" y="35"/>
                  </a:lnTo>
                  <a:lnTo>
                    <a:pt x="732" y="41"/>
                  </a:lnTo>
                  <a:lnTo>
                    <a:pt x="745" y="46"/>
                  </a:lnTo>
                  <a:lnTo>
                    <a:pt x="756" y="51"/>
                  </a:lnTo>
                  <a:lnTo>
                    <a:pt x="766" y="55"/>
                  </a:lnTo>
                  <a:lnTo>
                    <a:pt x="771" y="59"/>
                  </a:lnTo>
                  <a:lnTo>
                    <a:pt x="774" y="65"/>
                  </a:lnTo>
                  <a:lnTo>
                    <a:pt x="776" y="73"/>
                  </a:lnTo>
                  <a:lnTo>
                    <a:pt x="776" y="94"/>
                  </a:lnTo>
                  <a:lnTo>
                    <a:pt x="779" y="105"/>
                  </a:lnTo>
                  <a:lnTo>
                    <a:pt x="785" y="116"/>
                  </a:lnTo>
                  <a:lnTo>
                    <a:pt x="791" y="125"/>
                  </a:lnTo>
                  <a:lnTo>
                    <a:pt x="796" y="135"/>
                  </a:lnTo>
                  <a:lnTo>
                    <a:pt x="797" y="142"/>
                  </a:lnTo>
                  <a:lnTo>
                    <a:pt x="795" y="153"/>
                  </a:lnTo>
                  <a:lnTo>
                    <a:pt x="792" y="165"/>
                  </a:lnTo>
                  <a:lnTo>
                    <a:pt x="788" y="178"/>
                  </a:lnTo>
                  <a:lnTo>
                    <a:pt x="785" y="190"/>
                  </a:lnTo>
                  <a:lnTo>
                    <a:pt x="782" y="201"/>
                  </a:lnTo>
                  <a:lnTo>
                    <a:pt x="780" y="219"/>
                  </a:lnTo>
                  <a:lnTo>
                    <a:pt x="778" y="232"/>
                  </a:lnTo>
                  <a:lnTo>
                    <a:pt x="770" y="261"/>
                  </a:lnTo>
                  <a:lnTo>
                    <a:pt x="766" y="274"/>
                  </a:lnTo>
                  <a:lnTo>
                    <a:pt x="761" y="285"/>
                  </a:lnTo>
                  <a:lnTo>
                    <a:pt x="753" y="297"/>
                  </a:lnTo>
                  <a:lnTo>
                    <a:pt x="751" y="303"/>
                  </a:lnTo>
                  <a:lnTo>
                    <a:pt x="750" y="311"/>
                  </a:lnTo>
                  <a:lnTo>
                    <a:pt x="747" y="321"/>
                  </a:lnTo>
                  <a:lnTo>
                    <a:pt x="743" y="325"/>
                  </a:lnTo>
                  <a:lnTo>
                    <a:pt x="737" y="326"/>
                  </a:lnTo>
                  <a:lnTo>
                    <a:pt x="730" y="325"/>
                  </a:lnTo>
                  <a:lnTo>
                    <a:pt x="722" y="323"/>
                  </a:lnTo>
                  <a:lnTo>
                    <a:pt x="706" y="317"/>
                  </a:lnTo>
                  <a:lnTo>
                    <a:pt x="699" y="314"/>
                  </a:lnTo>
                  <a:lnTo>
                    <a:pt x="695" y="310"/>
                  </a:lnTo>
                  <a:lnTo>
                    <a:pt x="694" y="305"/>
                  </a:lnTo>
                  <a:lnTo>
                    <a:pt x="696" y="300"/>
                  </a:lnTo>
                  <a:lnTo>
                    <a:pt x="700" y="295"/>
                  </a:lnTo>
                  <a:lnTo>
                    <a:pt x="703" y="290"/>
                  </a:lnTo>
                  <a:lnTo>
                    <a:pt x="705" y="286"/>
                  </a:lnTo>
                  <a:lnTo>
                    <a:pt x="705" y="284"/>
                  </a:lnTo>
                  <a:lnTo>
                    <a:pt x="702" y="285"/>
                  </a:lnTo>
                  <a:lnTo>
                    <a:pt x="697" y="285"/>
                  </a:lnTo>
                  <a:lnTo>
                    <a:pt x="692" y="286"/>
                  </a:lnTo>
                  <a:lnTo>
                    <a:pt x="686" y="284"/>
                  </a:lnTo>
                  <a:lnTo>
                    <a:pt x="683" y="280"/>
                  </a:lnTo>
                  <a:lnTo>
                    <a:pt x="682" y="276"/>
                  </a:lnTo>
                  <a:lnTo>
                    <a:pt x="684" y="271"/>
                  </a:lnTo>
                  <a:lnTo>
                    <a:pt x="686" y="267"/>
                  </a:lnTo>
                  <a:lnTo>
                    <a:pt x="687" y="263"/>
                  </a:lnTo>
                  <a:lnTo>
                    <a:pt x="686" y="258"/>
                  </a:lnTo>
                  <a:lnTo>
                    <a:pt x="681" y="255"/>
                  </a:lnTo>
                  <a:lnTo>
                    <a:pt x="674" y="249"/>
                  </a:lnTo>
                  <a:lnTo>
                    <a:pt x="665" y="242"/>
                  </a:lnTo>
                  <a:lnTo>
                    <a:pt x="660" y="238"/>
                  </a:lnTo>
                  <a:lnTo>
                    <a:pt x="656" y="238"/>
                  </a:lnTo>
                  <a:lnTo>
                    <a:pt x="650" y="241"/>
                  </a:lnTo>
                  <a:lnTo>
                    <a:pt x="646" y="244"/>
                  </a:lnTo>
                  <a:lnTo>
                    <a:pt x="639" y="247"/>
                  </a:lnTo>
                  <a:lnTo>
                    <a:pt x="632" y="249"/>
                  </a:lnTo>
                  <a:lnTo>
                    <a:pt x="627" y="248"/>
                  </a:lnTo>
                  <a:lnTo>
                    <a:pt x="625" y="246"/>
                  </a:lnTo>
                  <a:lnTo>
                    <a:pt x="622" y="244"/>
                  </a:lnTo>
                  <a:lnTo>
                    <a:pt x="617" y="241"/>
                  </a:lnTo>
                  <a:lnTo>
                    <a:pt x="611" y="241"/>
                  </a:lnTo>
                  <a:lnTo>
                    <a:pt x="607" y="244"/>
                  </a:lnTo>
                  <a:lnTo>
                    <a:pt x="605" y="248"/>
                  </a:lnTo>
                  <a:lnTo>
                    <a:pt x="604" y="254"/>
                  </a:lnTo>
                  <a:lnTo>
                    <a:pt x="603" y="258"/>
                  </a:lnTo>
                  <a:lnTo>
                    <a:pt x="603" y="260"/>
                  </a:lnTo>
                  <a:lnTo>
                    <a:pt x="604" y="262"/>
                  </a:lnTo>
                  <a:lnTo>
                    <a:pt x="605" y="263"/>
                  </a:lnTo>
                  <a:lnTo>
                    <a:pt x="610" y="263"/>
                  </a:lnTo>
                  <a:lnTo>
                    <a:pt x="613" y="262"/>
                  </a:lnTo>
                  <a:lnTo>
                    <a:pt x="615" y="262"/>
                  </a:lnTo>
                  <a:lnTo>
                    <a:pt x="618" y="261"/>
                  </a:lnTo>
                  <a:lnTo>
                    <a:pt x="622" y="261"/>
                  </a:lnTo>
                  <a:lnTo>
                    <a:pt x="623" y="262"/>
                  </a:lnTo>
                  <a:lnTo>
                    <a:pt x="624" y="264"/>
                  </a:lnTo>
                  <a:lnTo>
                    <a:pt x="624" y="274"/>
                  </a:lnTo>
                  <a:lnTo>
                    <a:pt x="625" y="278"/>
                  </a:lnTo>
                  <a:lnTo>
                    <a:pt x="626" y="279"/>
                  </a:lnTo>
                  <a:lnTo>
                    <a:pt x="629" y="280"/>
                  </a:lnTo>
                  <a:lnTo>
                    <a:pt x="632" y="282"/>
                  </a:lnTo>
                  <a:lnTo>
                    <a:pt x="635" y="285"/>
                  </a:lnTo>
                  <a:lnTo>
                    <a:pt x="637" y="292"/>
                  </a:lnTo>
                  <a:lnTo>
                    <a:pt x="637" y="299"/>
                  </a:lnTo>
                  <a:lnTo>
                    <a:pt x="634" y="303"/>
                  </a:lnTo>
                  <a:lnTo>
                    <a:pt x="630" y="305"/>
                  </a:lnTo>
                  <a:lnTo>
                    <a:pt x="625" y="307"/>
                  </a:lnTo>
                  <a:lnTo>
                    <a:pt x="618" y="308"/>
                  </a:lnTo>
                  <a:lnTo>
                    <a:pt x="610" y="309"/>
                  </a:lnTo>
                  <a:lnTo>
                    <a:pt x="600" y="313"/>
                  </a:lnTo>
                  <a:lnTo>
                    <a:pt x="590" y="319"/>
                  </a:lnTo>
                  <a:lnTo>
                    <a:pt x="580" y="326"/>
                  </a:lnTo>
                  <a:lnTo>
                    <a:pt x="570" y="334"/>
                  </a:lnTo>
                  <a:lnTo>
                    <a:pt x="560" y="339"/>
                  </a:lnTo>
                  <a:lnTo>
                    <a:pt x="550" y="342"/>
                  </a:lnTo>
                  <a:lnTo>
                    <a:pt x="539" y="344"/>
                  </a:lnTo>
                  <a:lnTo>
                    <a:pt x="529" y="345"/>
                  </a:lnTo>
                  <a:lnTo>
                    <a:pt x="522" y="347"/>
                  </a:lnTo>
                  <a:lnTo>
                    <a:pt x="517" y="351"/>
                  </a:lnTo>
                  <a:lnTo>
                    <a:pt x="515" y="357"/>
                  </a:lnTo>
                  <a:lnTo>
                    <a:pt x="512" y="363"/>
                  </a:lnTo>
                  <a:lnTo>
                    <a:pt x="508" y="370"/>
                  </a:lnTo>
                  <a:lnTo>
                    <a:pt x="502" y="375"/>
                  </a:lnTo>
                  <a:lnTo>
                    <a:pt x="494" y="378"/>
                  </a:lnTo>
                  <a:lnTo>
                    <a:pt x="483" y="380"/>
                  </a:lnTo>
                  <a:lnTo>
                    <a:pt x="470" y="380"/>
                  </a:lnTo>
                  <a:lnTo>
                    <a:pt x="458" y="381"/>
                  </a:lnTo>
                  <a:lnTo>
                    <a:pt x="445" y="382"/>
                  </a:lnTo>
                  <a:lnTo>
                    <a:pt x="436" y="383"/>
                  </a:lnTo>
                  <a:lnTo>
                    <a:pt x="428" y="385"/>
                  </a:lnTo>
                  <a:lnTo>
                    <a:pt x="421" y="387"/>
                  </a:lnTo>
                  <a:lnTo>
                    <a:pt x="417" y="390"/>
                  </a:lnTo>
                  <a:lnTo>
                    <a:pt x="415" y="396"/>
                  </a:lnTo>
                  <a:lnTo>
                    <a:pt x="413" y="412"/>
                  </a:lnTo>
                  <a:lnTo>
                    <a:pt x="410" y="420"/>
                  </a:lnTo>
                  <a:lnTo>
                    <a:pt x="406" y="425"/>
                  </a:lnTo>
                  <a:lnTo>
                    <a:pt x="400" y="428"/>
                  </a:lnTo>
                  <a:lnTo>
                    <a:pt x="396" y="427"/>
                  </a:lnTo>
                  <a:lnTo>
                    <a:pt x="390" y="419"/>
                  </a:lnTo>
                  <a:lnTo>
                    <a:pt x="387" y="414"/>
                  </a:lnTo>
                  <a:lnTo>
                    <a:pt x="383" y="413"/>
                  </a:lnTo>
                  <a:lnTo>
                    <a:pt x="379" y="417"/>
                  </a:lnTo>
                  <a:lnTo>
                    <a:pt x="370" y="431"/>
                  </a:lnTo>
                  <a:lnTo>
                    <a:pt x="364" y="436"/>
                  </a:lnTo>
                  <a:lnTo>
                    <a:pt x="359" y="439"/>
                  </a:lnTo>
                  <a:lnTo>
                    <a:pt x="352" y="439"/>
                  </a:lnTo>
                  <a:lnTo>
                    <a:pt x="347" y="440"/>
                  </a:lnTo>
                  <a:lnTo>
                    <a:pt x="343" y="443"/>
                  </a:lnTo>
                  <a:lnTo>
                    <a:pt x="341" y="449"/>
                  </a:lnTo>
                  <a:lnTo>
                    <a:pt x="341" y="456"/>
                  </a:lnTo>
                  <a:lnTo>
                    <a:pt x="339" y="472"/>
                  </a:lnTo>
                  <a:lnTo>
                    <a:pt x="335" y="476"/>
                  </a:lnTo>
                  <a:lnTo>
                    <a:pt x="328" y="479"/>
                  </a:lnTo>
                  <a:lnTo>
                    <a:pt x="319" y="480"/>
                  </a:lnTo>
                  <a:lnTo>
                    <a:pt x="309" y="481"/>
                  </a:lnTo>
                  <a:lnTo>
                    <a:pt x="301" y="483"/>
                  </a:lnTo>
                  <a:lnTo>
                    <a:pt x="294" y="485"/>
                  </a:lnTo>
                  <a:lnTo>
                    <a:pt x="289" y="491"/>
                  </a:lnTo>
                  <a:lnTo>
                    <a:pt x="287" y="498"/>
                  </a:lnTo>
                  <a:lnTo>
                    <a:pt x="285" y="506"/>
                  </a:lnTo>
                  <a:lnTo>
                    <a:pt x="283" y="513"/>
                  </a:lnTo>
                  <a:lnTo>
                    <a:pt x="279" y="518"/>
                  </a:lnTo>
                  <a:lnTo>
                    <a:pt x="274" y="519"/>
                  </a:lnTo>
                  <a:lnTo>
                    <a:pt x="269" y="516"/>
                  </a:lnTo>
                  <a:lnTo>
                    <a:pt x="263" y="512"/>
                  </a:lnTo>
                  <a:lnTo>
                    <a:pt x="255" y="508"/>
                  </a:lnTo>
                  <a:lnTo>
                    <a:pt x="246" y="504"/>
                  </a:lnTo>
                  <a:lnTo>
                    <a:pt x="233" y="503"/>
                  </a:lnTo>
                  <a:lnTo>
                    <a:pt x="223" y="503"/>
                  </a:lnTo>
                  <a:lnTo>
                    <a:pt x="217" y="505"/>
                  </a:lnTo>
                  <a:lnTo>
                    <a:pt x="214" y="508"/>
                  </a:lnTo>
                  <a:lnTo>
                    <a:pt x="212" y="512"/>
                  </a:lnTo>
                  <a:lnTo>
                    <a:pt x="210" y="520"/>
                  </a:lnTo>
                  <a:lnTo>
                    <a:pt x="208" y="523"/>
                  </a:lnTo>
                  <a:lnTo>
                    <a:pt x="202" y="525"/>
                  </a:lnTo>
                  <a:lnTo>
                    <a:pt x="196" y="524"/>
                  </a:lnTo>
                  <a:lnTo>
                    <a:pt x="189" y="522"/>
                  </a:lnTo>
                  <a:lnTo>
                    <a:pt x="183" y="522"/>
                  </a:lnTo>
                  <a:lnTo>
                    <a:pt x="178" y="523"/>
                  </a:lnTo>
                  <a:lnTo>
                    <a:pt x="171" y="524"/>
                  </a:lnTo>
                  <a:lnTo>
                    <a:pt x="164" y="526"/>
                  </a:lnTo>
                  <a:lnTo>
                    <a:pt x="157" y="531"/>
                  </a:lnTo>
                  <a:lnTo>
                    <a:pt x="152" y="537"/>
                  </a:lnTo>
                  <a:lnTo>
                    <a:pt x="146" y="546"/>
                  </a:lnTo>
                  <a:lnTo>
                    <a:pt x="140" y="553"/>
                  </a:lnTo>
                  <a:lnTo>
                    <a:pt x="133" y="557"/>
                  </a:lnTo>
                  <a:lnTo>
                    <a:pt x="128" y="562"/>
                  </a:lnTo>
                  <a:lnTo>
                    <a:pt x="124" y="571"/>
                  </a:lnTo>
                  <a:lnTo>
                    <a:pt x="120" y="581"/>
                  </a:lnTo>
                  <a:lnTo>
                    <a:pt x="115" y="589"/>
                  </a:lnTo>
                  <a:lnTo>
                    <a:pt x="112" y="594"/>
                  </a:lnTo>
                  <a:lnTo>
                    <a:pt x="112" y="601"/>
                  </a:lnTo>
                  <a:lnTo>
                    <a:pt x="113" y="608"/>
                  </a:lnTo>
                  <a:lnTo>
                    <a:pt x="112" y="617"/>
                  </a:lnTo>
                  <a:lnTo>
                    <a:pt x="110" y="620"/>
                  </a:lnTo>
                  <a:lnTo>
                    <a:pt x="108" y="622"/>
                  </a:lnTo>
                  <a:lnTo>
                    <a:pt x="107" y="622"/>
                  </a:lnTo>
                  <a:lnTo>
                    <a:pt x="105" y="621"/>
                  </a:lnTo>
                  <a:lnTo>
                    <a:pt x="104" y="620"/>
                  </a:lnTo>
                  <a:lnTo>
                    <a:pt x="102" y="617"/>
                  </a:lnTo>
                  <a:lnTo>
                    <a:pt x="101" y="614"/>
                  </a:lnTo>
                  <a:lnTo>
                    <a:pt x="101" y="607"/>
                  </a:lnTo>
                  <a:lnTo>
                    <a:pt x="100" y="600"/>
                  </a:lnTo>
                  <a:lnTo>
                    <a:pt x="97" y="595"/>
                  </a:lnTo>
                  <a:lnTo>
                    <a:pt x="93" y="591"/>
                  </a:lnTo>
                  <a:lnTo>
                    <a:pt x="92" y="586"/>
                  </a:lnTo>
                  <a:lnTo>
                    <a:pt x="92" y="582"/>
                  </a:lnTo>
                  <a:lnTo>
                    <a:pt x="91" y="582"/>
                  </a:lnTo>
                  <a:lnTo>
                    <a:pt x="90" y="581"/>
                  </a:lnTo>
                  <a:lnTo>
                    <a:pt x="80" y="581"/>
                  </a:lnTo>
                  <a:lnTo>
                    <a:pt x="77" y="579"/>
                  </a:lnTo>
                  <a:lnTo>
                    <a:pt x="76" y="575"/>
                  </a:lnTo>
                  <a:lnTo>
                    <a:pt x="76" y="570"/>
                  </a:lnTo>
                  <a:lnTo>
                    <a:pt x="74" y="565"/>
                  </a:lnTo>
                  <a:lnTo>
                    <a:pt x="70" y="560"/>
                  </a:lnTo>
                  <a:lnTo>
                    <a:pt x="63" y="557"/>
                  </a:lnTo>
                  <a:lnTo>
                    <a:pt x="55" y="557"/>
                  </a:lnTo>
                  <a:lnTo>
                    <a:pt x="55" y="561"/>
                  </a:lnTo>
                  <a:lnTo>
                    <a:pt x="57" y="563"/>
                  </a:lnTo>
                  <a:lnTo>
                    <a:pt x="58" y="565"/>
                  </a:lnTo>
                  <a:lnTo>
                    <a:pt x="43" y="562"/>
                  </a:lnTo>
                  <a:lnTo>
                    <a:pt x="31" y="557"/>
                  </a:lnTo>
                  <a:lnTo>
                    <a:pt x="23" y="551"/>
                  </a:lnTo>
                  <a:lnTo>
                    <a:pt x="17" y="545"/>
                  </a:lnTo>
                  <a:lnTo>
                    <a:pt x="13" y="540"/>
                  </a:lnTo>
                  <a:lnTo>
                    <a:pt x="9" y="532"/>
                  </a:lnTo>
                  <a:lnTo>
                    <a:pt x="5" y="527"/>
                  </a:lnTo>
                  <a:lnTo>
                    <a:pt x="0" y="517"/>
                  </a:lnTo>
                  <a:lnTo>
                    <a:pt x="5" y="512"/>
                  </a:lnTo>
                  <a:lnTo>
                    <a:pt x="7" y="506"/>
                  </a:lnTo>
                  <a:lnTo>
                    <a:pt x="7" y="490"/>
                  </a:lnTo>
                  <a:lnTo>
                    <a:pt x="6" y="484"/>
                  </a:lnTo>
                  <a:lnTo>
                    <a:pt x="6" y="481"/>
                  </a:lnTo>
                  <a:lnTo>
                    <a:pt x="7" y="479"/>
                  </a:lnTo>
                  <a:lnTo>
                    <a:pt x="9" y="477"/>
                  </a:lnTo>
                  <a:lnTo>
                    <a:pt x="11" y="476"/>
                  </a:lnTo>
                  <a:lnTo>
                    <a:pt x="14" y="475"/>
                  </a:lnTo>
                  <a:lnTo>
                    <a:pt x="16" y="474"/>
                  </a:lnTo>
                  <a:lnTo>
                    <a:pt x="19" y="473"/>
                  </a:lnTo>
                  <a:lnTo>
                    <a:pt x="28" y="473"/>
                  </a:lnTo>
                  <a:lnTo>
                    <a:pt x="30" y="474"/>
                  </a:lnTo>
                  <a:lnTo>
                    <a:pt x="33" y="474"/>
                  </a:lnTo>
                  <a:lnTo>
                    <a:pt x="35" y="473"/>
                  </a:lnTo>
                  <a:lnTo>
                    <a:pt x="36" y="472"/>
                  </a:lnTo>
                  <a:lnTo>
                    <a:pt x="39" y="466"/>
                  </a:lnTo>
                  <a:lnTo>
                    <a:pt x="41" y="464"/>
                  </a:lnTo>
                  <a:lnTo>
                    <a:pt x="44" y="462"/>
                  </a:lnTo>
                  <a:lnTo>
                    <a:pt x="49" y="461"/>
                  </a:lnTo>
                  <a:lnTo>
                    <a:pt x="57" y="463"/>
                  </a:lnTo>
                  <a:lnTo>
                    <a:pt x="61" y="463"/>
                  </a:lnTo>
                  <a:lnTo>
                    <a:pt x="64" y="460"/>
                  </a:lnTo>
                  <a:lnTo>
                    <a:pt x="66" y="455"/>
                  </a:lnTo>
                  <a:lnTo>
                    <a:pt x="66" y="442"/>
                  </a:lnTo>
                  <a:lnTo>
                    <a:pt x="67" y="436"/>
                  </a:lnTo>
                  <a:lnTo>
                    <a:pt x="69" y="433"/>
                  </a:lnTo>
                  <a:lnTo>
                    <a:pt x="74" y="432"/>
                  </a:lnTo>
                  <a:lnTo>
                    <a:pt x="83" y="431"/>
                  </a:lnTo>
                  <a:lnTo>
                    <a:pt x="91" y="432"/>
                  </a:lnTo>
                  <a:lnTo>
                    <a:pt x="97" y="432"/>
                  </a:lnTo>
                  <a:lnTo>
                    <a:pt x="99" y="430"/>
                  </a:lnTo>
                  <a:lnTo>
                    <a:pt x="101" y="426"/>
                  </a:lnTo>
                  <a:lnTo>
                    <a:pt x="102" y="420"/>
                  </a:lnTo>
                  <a:lnTo>
                    <a:pt x="101" y="414"/>
                  </a:lnTo>
                  <a:lnTo>
                    <a:pt x="98" y="409"/>
                  </a:lnTo>
                  <a:lnTo>
                    <a:pt x="93" y="405"/>
                  </a:lnTo>
                  <a:lnTo>
                    <a:pt x="89" y="399"/>
                  </a:lnTo>
                  <a:lnTo>
                    <a:pt x="87" y="394"/>
                  </a:lnTo>
                  <a:lnTo>
                    <a:pt x="88" y="392"/>
                  </a:lnTo>
                  <a:lnTo>
                    <a:pt x="89" y="388"/>
                  </a:lnTo>
                  <a:lnTo>
                    <a:pt x="91" y="381"/>
                  </a:lnTo>
                  <a:lnTo>
                    <a:pt x="91" y="374"/>
                  </a:lnTo>
                  <a:lnTo>
                    <a:pt x="90" y="368"/>
                  </a:lnTo>
                  <a:lnTo>
                    <a:pt x="90" y="366"/>
                  </a:lnTo>
                  <a:lnTo>
                    <a:pt x="91" y="363"/>
                  </a:lnTo>
                  <a:lnTo>
                    <a:pt x="93" y="362"/>
                  </a:lnTo>
                  <a:lnTo>
                    <a:pt x="96" y="360"/>
                  </a:lnTo>
                  <a:lnTo>
                    <a:pt x="100" y="359"/>
                  </a:lnTo>
                  <a:lnTo>
                    <a:pt x="105" y="358"/>
                  </a:lnTo>
                  <a:lnTo>
                    <a:pt x="112" y="356"/>
                  </a:lnTo>
                  <a:lnTo>
                    <a:pt x="116" y="353"/>
                  </a:lnTo>
                  <a:lnTo>
                    <a:pt x="120" y="349"/>
                  </a:lnTo>
                  <a:lnTo>
                    <a:pt x="124" y="348"/>
                  </a:lnTo>
                  <a:lnTo>
                    <a:pt x="130" y="347"/>
                  </a:lnTo>
                  <a:lnTo>
                    <a:pt x="135" y="343"/>
                  </a:lnTo>
                  <a:lnTo>
                    <a:pt x="139" y="339"/>
                  </a:lnTo>
                  <a:lnTo>
                    <a:pt x="142" y="335"/>
                  </a:lnTo>
                  <a:lnTo>
                    <a:pt x="146" y="331"/>
                  </a:lnTo>
                  <a:lnTo>
                    <a:pt x="158" y="327"/>
                  </a:lnTo>
                  <a:lnTo>
                    <a:pt x="163" y="327"/>
                  </a:lnTo>
                  <a:lnTo>
                    <a:pt x="168" y="326"/>
                  </a:lnTo>
                  <a:lnTo>
                    <a:pt x="184" y="320"/>
                  </a:lnTo>
                  <a:lnTo>
                    <a:pt x="190" y="318"/>
                  </a:lnTo>
                  <a:lnTo>
                    <a:pt x="192" y="315"/>
                  </a:lnTo>
                  <a:lnTo>
                    <a:pt x="191" y="311"/>
                  </a:lnTo>
                  <a:lnTo>
                    <a:pt x="188" y="306"/>
                  </a:lnTo>
                  <a:lnTo>
                    <a:pt x="183" y="300"/>
                  </a:lnTo>
                  <a:lnTo>
                    <a:pt x="178" y="295"/>
                  </a:lnTo>
                  <a:lnTo>
                    <a:pt x="173" y="291"/>
                  </a:lnTo>
                  <a:lnTo>
                    <a:pt x="166" y="288"/>
                  </a:lnTo>
                  <a:lnTo>
                    <a:pt x="161" y="287"/>
                  </a:lnTo>
                  <a:lnTo>
                    <a:pt x="158" y="285"/>
                  </a:lnTo>
                  <a:lnTo>
                    <a:pt x="157" y="282"/>
                  </a:lnTo>
                  <a:lnTo>
                    <a:pt x="154" y="278"/>
                  </a:lnTo>
                  <a:lnTo>
                    <a:pt x="148" y="272"/>
                  </a:lnTo>
                  <a:lnTo>
                    <a:pt x="140" y="265"/>
                  </a:lnTo>
                  <a:lnTo>
                    <a:pt x="131" y="258"/>
                  </a:lnTo>
                  <a:lnTo>
                    <a:pt x="123" y="254"/>
                  </a:lnTo>
                  <a:lnTo>
                    <a:pt x="117" y="252"/>
                  </a:lnTo>
                  <a:lnTo>
                    <a:pt x="113" y="250"/>
                  </a:lnTo>
                  <a:lnTo>
                    <a:pt x="110" y="248"/>
                  </a:lnTo>
                  <a:lnTo>
                    <a:pt x="108" y="246"/>
                  </a:lnTo>
                  <a:lnTo>
                    <a:pt x="105" y="244"/>
                  </a:lnTo>
                  <a:lnTo>
                    <a:pt x="99" y="243"/>
                  </a:lnTo>
                  <a:lnTo>
                    <a:pt x="93" y="243"/>
                  </a:lnTo>
                  <a:lnTo>
                    <a:pt x="91" y="244"/>
                  </a:lnTo>
                  <a:lnTo>
                    <a:pt x="88" y="247"/>
                  </a:lnTo>
                  <a:lnTo>
                    <a:pt x="87" y="249"/>
                  </a:lnTo>
                  <a:lnTo>
                    <a:pt x="81" y="243"/>
                  </a:lnTo>
                  <a:lnTo>
                    <a:pt x="75" y="241"/>
                  </a:lnTo>
                  <a:lnTo>
                    <a:pt x="68" y="237"/>
                  </a:lnTo>
                  <a:lnTo>
                    <a:pt x="63" y="230"/>
                  </a:lnTo>
                  <a:lnTo>
                    <a:pt x="59" y="221"/>
                  </a:lnTo>
                  <a:lnTo>
                    <a:pt x="57" y="213"/>
                  </a:lnTo>
                  <a:lnTo>
                    <a:pt x="56" y="205"/>
                  </a:lnTo>
                  <a:lnTo>
                    <a:pt x="55" y="194"/>
                  </a:lnTo>
                  <a:lnTo>
                    <a:pt x="53" y="182"/>
                  </a:lnTo>
                  <a:lnTo>
                    <a:pt x="50" y="170"/>
                  </a:lnTo>
                  <a:lnTo>
                    <a:pt x="48" y="160"/>
                  </a:lnTo>
                  <a:lnTo>
                    <a:pt x="48" y="154"/>
                  </a:lnTo>
                  <a:lnTo>
                    <a:pt x="51" y="150"/>
                  </a:lnTo>
                  <a:lnTo>
                    <a:pt x="55" y="146"/>
                  </a:lnTo>
                  <a:lnTo>
                    <a:pt x="60" y="143"/>
                  </a:lnTo>
                  <a:lnTo>
                    <a:pt x="64" y="138"/>
                  </a:lnTo>
                  <a:lnTo>
                    <a:pt x="64" y="132"/>
                  </a:lnTo>
                  <a:lnTo>
                    <a:pt x="62" y="123"/>
                  </a:lnTo>
                  <a:lnTo>
                    <a:pt x="58" y="115"/>
                  </a:lnTo>
                  <a:lnTo>
                    <a:pt x="55" y="106"/>
                  </a:lnTo>
                  <a:lnTo>
                    <a:pt x="54" y="98"/>
                  </a:lnTo>
                  <a:lnTo>
                    <a:pt x="57" y="91"/>
                  </a:lnTo>
                  <a:lnTo>
                    <a:pt x="61" y="84"/>
                  </a:lnTo>
                  <a:lnTo>
                    <a:pt x="63" y="77"/>
                  </a:lnTo>
                  <a:lnTo>
                    <a:pt x="64" y="69"/>
                  </a:lnTo>
                  <a:lnTo>
                    <a:pt x="67" y="60"/>
                  </a:lnTo>
                  <a:lnTo>
                    <a:pt x="71" y="55"/>
                  </a:lnTo>
                  <a:lnTo>
                    <a:pt x="77" y="52"/>
                  </a:lnTo>
                  <a:lnTo>
                    <a:pt x="83" y="50"/>
                  </a:lnTo>
                  <a:lnTo>
                    <a:pt x="91" y="49"/>
                  </a:lnTo>
                  <a:lnTo>
                    <a:pt x="98" y="47"/>
                  </a:lnTo>
                  <a:lnTo>
                    <a:pt x="105" y="43"/>
                  </a:lnTo>
                  <a:lnTo>
                    <a:pt x="114" y="38"/>
                  </a:lnTo>
                  <a:lnTo>
                    <a:pt x="125" y="34"/>
                  </a:lnTo>
                  <a:lnTo>
                    <a:pt x="138" y="32"/>
                  </a:lnTo>
                  <a:lnTo>
                    <a:pt x="150" y="30"/>
                  </a:lnTo>
                  <a:lnTo>
                    <a:pt x="161" y="30"/>
                  </a:lnTo>
                  <a:lnTo>
                    <a:pt x="170" y="29"/>
                  </a:lnTo>
                  <a:lnTo>
                    <a:pt x="176" y="27"/>
                  </a:lnTo>
                  <a:lnTo>
                    <a:pt x="182" y="23"/>
                  </a:lnTo>
                  <a:lnTo>
                    <a:pt x="187" y="19"/>
                  </a:lnTo>
                  <a:lnTo>
                    <a:pt x="194" y="15"/>
                  </a:lnTo>
                  <a:lnTo>
                    <a:pt x="199" y="12"/>
                  </a:lnTo>
                  <a:lnTo>
                    <a:pt x="203" y="12"/>
                  </a:lnTo>
                  <a:lnTo>
                    <a:pt x="207" y="14"/>
                  </a:lnTo>
                  <a:lnTo>
                    <a:pt x="210" y="15"/>
                  </a:lnTo>
                  <a:lnTo>
                    <a:pt x="216" y="13"/>
                  </a:lnTo>
                  <a:lnTo>
                    <a:pt x="224" y="9"/>
                  </a:lnTo>
                  <a:lnTo>
                    <a:pt x="229" y="4"/>
                  </a:lnTo>
                  <a:lnTo>
                    <a:pt x="233" y="1"/>
                  </a:lnTo>
                  <a:lnTo>
                    <a:pt x="237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9">
              <a:extLst>
                <a:ext uri="{FF2B5EF4-FFF2-40B4-BE49-F238E27FC236}">
                  <a16:creationId xmlns:a16="http://schemas.microsoft.com/office/drawing/2014/main" id="{94F324AB-3BBC-4993-A15F-EAC9FBBA5816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3301" y="4687888"/>
              <a:ext cx="1306513" cy="1446213"/>
            </a:xfrm>
            <a:custGeom>
              <a:avLst/>
              <a:gdLst/>
              <a:ahLst/>
              <a:cxnLst>
                <a:cxn ang="0">
                  <a:pos x="597" y="3"/>
                </a:cxn>
                <a:cxn ang="0">
                  <a:pos x="612" y="28"/>
                </a:cxn>
                <a:cxn ang="0">
                  <a:pos x="644" y="50"/>
                </a:cxn>
                <a:cxn ang="0">
                  <a:pos x="658" y="95"/>
                </a:cxn>
                <a:cxn ang="0">
                  <a:pos x="676" y="124"/>
                </a:cxn>
                <a:cxn ang="0">
                  <a:pos x="722" y="131"/>
                </a:cxn>
                <a:cxn ang="0">
                  <a:pos x="715" y="179"/>
                </a:cxn>
                <a:cxn ang="0">
                  <a:pos x="737" y="250"/>
                </a:cxn>
                <a:cxn ang="0">
                  <a:pos x="756" y="287"/>
                </a:cxn>
                <a:cxn ang="0">
                  <a:pos x="788" y="318"/>
                </a:cxn>
                <a:cxn ang="0">
                  <a:pos x="811" y="385"/>
                </a:cxn>
                <a:cxn ang="0">
                  <a:pos x="823" y="449"/>
                </a:cxn>
                <a:cxn ang="0">
                  <a:pos x="802" y="448"/>
                </a:cxn>
                <a:cxn ang="0">
                  <a:pos x="763" y="456"/>
                </a:cxn>
                <a:cxn ang="0">
                  <a:pos x="756" y="526"/>
                </a:cxn>
                <a:cxn ang="0">
                  <a:pos x="688" y="581"/>
                </a:cxn>
                <a:cxn ang="0">
                  <a:pos x="728" y="706"/>
                </a:cxn>
                <a:cxn ang="0">
                  <a:pos x="719" y="812"/>
                </a:cxn>
                <a:cxn ang="0">
                  <a:pos x="720" y="845"/>
                </a:cxn>
                <a:cxn ang="0">
                  <a:pos x="650" y="868"/>
                </a:cxn>
                <a:cxn ang="0">
                  <a:pos x="564" y="900"/>
                </a:cxn>
                <a:cxn ang="0">
                  <a:pos x="502" y="867"/>
                </a:cxn>
                <a:cxn ang="0">
                  <a:pos x="430" y="806"/>
                </a:cxn>
                <a:cxn ang="0">
                  <a:pos x="457" y="862"/>
                </a:cxn>
                <a:cxn ang="0">
                  <a:pos x="426" y="841"/>
                </a:cxn>
                <a:cxn ang="0">
                  <a:pos x="411" y="860"/>
                </a:cxn>
                <a:cxn ang="0">
                  <a:pos x="373" y="851"/>
                </a:cxn>
                <a:cxn ang="0">
                  <a:pos x="340" y="852"/>
                </a:cxn>
                <a:cxn ang="0">
                  <a:pos x="321" y="817"/>
                </a:cxn>
                <a:cxn ang="0">
                  <a:pos x="305" y="819"/>
                </a:cxn>
                <a:cxn ang="0">
                  <a:pos x="262" y="830"/>
                </a:cxn>
                <a:cxn ang="0">
                  <a:pos x="278" y="865"/>
                </a:cxn>
                <a:cxn ang="0">
                  <a:pos x="283" y="886"/>
                </a:cxn>
                <a:cxn ang="0">
                  <a:pos x="262" y="904"/>
                </a:cxn>
                <a:cxn ang="0">
                  <a:pos x="182" y="883"/>
                </a:cxn>
                <a:cxn ang="0">
                  <a:pos x="102" y="893"/>
                </a:cxn>
                <a:cxn ang="0">
                  <a:pos x="34" y="900"/>
                </a:cxn>
                <a:cxn ang="0">
                  <a:pos x="15" y="891"/>
                </a:cxn>
                <a:cxn ang="0">
                  <a:pos x="11" y="793"/>
                </a:cxn>
                <a:cxn ang="0">
                  <a:pos x="24" y="707"/>
                </a:cxn>
                <a:cxn ang="0">
                  <a:pos x="55" y="606"/>
                </a:cxn>
                <a:cxn ang="0">
                  <a:pos x="83" y="523"/>
                </a:cxn>
                <a:cxn ang="0">
                  <a:pos x="122" y="439"/>
                </a:cxn>
                <a:cxn ang="0">
                  <a:pos x="174" y="383"/>
                </a:cxn>
                <a:cxn ang="0">
                  <a:pos x="230" y="308"/>
                </a:cxn>
                <a:cxn ang="0">
                  <a:pos x="262" y="210"/>
                </a:cxn>
                <a:cxn ang="0">
                  <a:pos x="288" y="145"/>
                </a:cxn>
                <a:cxn ang="0">
                  <a:pos x="293" y="106"/>
                </a:cxn>
                <a:cxn ang="0">
                  <a:pos x="316" y="71"/>
                </a:cxn>
                <a:cxn ang="0">
                  <a:pos x="352" y="101"/>
                </a:cxn>
                <a:cxn ang="0">
                  <a:pos x="378" y="123"/>
                </a:cxn>
                <a:cxn ang="0">
                  <a:pos x="385" y="156"/>
                </a:cxn>
                <a:cxn ang="0">
                  <a:pos x="405" y="124"/>
                </a:cxn>
                <a:cxn ang="0">
                  <a:pos x="439" y="109"/>
                </a:cxn>
                <a:cxn ang="0">
                  <a:pos x="453" y="85"/>
                </a:cxn>
                <a:cxn ang="0">
                  <a:pos x="507" y="57"/>
                </a:cxn>
                <a:cxn ang="0">
                  <a:pos x="534" y="27"/>
                </a:cxn>
                <a:cxn ang="0">
                  <a:pos x="511" y="22"/>
                </a:cxn>
              </a:cxnLst>
              <a:rect l="0" t="0" r="r" b="b"/>
              <a:pathLst>
                <a:path w="823" h="911">
                  <a:moveTo>
                    <a:pt x="550" y="0"/>
                  </a:moveTo>
                  <a:lnTo>
                    <a:pt x="555" y="0"/>
                  </a:lnTo>
                  <a:lnTo>
                    <a:pt x="560" y="3"/>
                  </a:lnTo>
                  <a:lnTo>
                    <a:pt x="565" y="7"/>
                  </a:lnTo>
                  <a:lnTo>
                    <a:pt x="570" y="10"/>
                  </a:lnTo>
                  <a:lnTo>
                    <a:pt x="573" y="10"/>
                  </a:lnTo>
                  <a:lnTo>
                    <a:pt x="578" y="8"/>
                  </a:lnTo>
                  <a:lnTo>
                    <a:pt x="584" y="5"/>
                  </a:lnTo>
                  <a:lnTo>
                    <a:pt x="590" y="3"/>
                  </a:lnTo>
                  <a:lnTo>
                    <a:pt x="595" y="2"/>
                  </a:lnTo>
                  <a:lnTo>
                    <a:pt x="597" y="3"/>
                  </a:lnTo>
                  <a:lnTo>
                    <a:pt x="597" y="7"/>
                  </a:lnTo>
                  <a:lnTo>
                    <a:pt x="595" y="13"/>
                  </a:lnTo>
                  <a:lnTo>
                    <a:pt x="593" y="19"/>
                  </a:lnTo>
                  <a:lnTo>
                    <a:pt x="591" y="25"/>
                  </a:lnTo>
                  <a:lnTo>
                    <a:pt x="591" y="31"/>
                  </a:lnTo>
                  <a:lnTo>
                    <a:pt x="592" y="34"/>
                  </a:lnTo>
                  <a:lnTo>
                    <a:pt x="596" y="35"/>
                  </a:lnTo>
                  <a:lnTo>
                    <a:pt x="601" y="34"/>
                  </a:lnTo>
                  <a:lnTo>
                    <a:pt x="605" y="30"/>
                  </a:lnTo>
                  <a:lnTo>
                    <a:pt x="609" y="28"/>
                  </a:lnTo>
                  <a:lnTo>
                    <a:pt x="612" y="28"/>
                  </a:lnTo>
                  <a:lnTo>
                    <a:pt x="612" y="29"/>
                  </a:lnTo>
                  <a:lnTo>
                    <a:pt x="613" y="30"/>
                  </a:lnTo>
                  <a:lnTo>
                    <a:pt x="614" y="32"/>
                  </a:lnTo>
                  <a:lnTo>
                    <a:pt x="616" y="34"/>
                  </a:lnTo>
                  <a:lnTo>
                    <a:pt x="619" y="34"/>
                  </a:lnTo>
                  <a:lnTo>
                    <a:pt x="634" y="28"/>
                  </a:lnTo>
                  <a:lnTo>
                    <a:pt x="638" y="28"/>
                  </a:lnTo>
                  <a:lnTo>
                    <a:pt x="641" y="31"/>
                  </a:lnTo>
                  <a:lnTo>
                    <a:pt x="643" y="36"/>
                  </a:lnTo>
                  <a:lnTo>
                    <a:pt x="644" y="43"/>
                  </a:lnTo>
                  <a:lnTo>
                    <a:pt x="644" y="50"/>
                  </a:lnTo>
                  <a:lnTo>
                    <a:pt x="645" y="55"/>
                  </a:lnTo>
                  <a:lnTo>
                    <a:pt x="652" y="62"/>
                  </a:lnTo>
                  <a:lnTo>
                    <a:pt x="655" y="67"/>
                  </a:lnTo>
                  <a:lnTo>
                    <a:pt x="655" y="72"/>
                  </a:lnTo>
                  <a:lnTo>
                    <a:pt x="653" y="79"/>
                  </a:lnTo>
                  <a:lnTo>
                    <a:pt x="651" y="85"/>
                  </a:lnTo>
                  <a:lnTo>
                    <a:pt x="650" y="91"/>
                  </a:lnTo>
                  <a:lnTo>
                    <a:pt x="651" y="95"/>
                  </a:lnTo>
                  <a:lnTo>
                    <a:pt x="653" y="96"/>
                  </a:lnTo>
                  <a:lnTo>
                    <a:pt x="655" y="96"/>
                  </a:lnTo>
                  <a:lnTo>
                    <a:pt x="658" y="95"/>
                  </a:lnTo>
                  <a:lnTo>
                    <a:pt x="660" y="93"/>
                  </a:lnTo>
                  <a:lnTo>
                    <a:pt x="662" y="90"/>
                  </a:lnTo>
                  <a:lnTo>
                    <a:pt x="663" y="88"/>
                  </a:lnTo>
                  <a:lnTo>
                    <a:pt x="665" y="87"/>
                  </a:lnTo>
                  <a:lnTo>
                    <a:pt x="666" y="86"/>
                  </a:lnTo>
                  <a:lnTo>
                    <a:pt x="668" y="89"/>
                  </a:lnTo>
                  <a:lnTo>
                    <a:pt x="669" y="97"/>
                  </a:lnTo>
                  <a:lnTo>
                    <a:pt x="671" y="106"/>
                  </a:lnTo>
                  <a:lnTo>
                    <a:pt x="672" y="115"/>
                  </a:lnTo>
                  <a:lnTo>
                    <a:pt x="673" y="121"/>
                  </a:lnTo>
                  <a:lnTo>
                    <a:pt x="676" y="124"/>
                  </a:lnTo>
                  <a:lnTo>
                    <a:pt x="680" y="126"/>
                  </a:lnTo>
                  <a:lnTo>
                    <a:pt x="692" y="126"/>
                  </a:lnTo>
                  <a:lnTo>
                    <a:pt x="697" y="124"/>
                  </a:lnTo>
                  <a:lnTo>
                    <a:pt x="702" y="119"/>
                  </a:lnTo>
                  <a:lnTo>
                    <a:pt x="706" y="112"/>
                  </a:lnTo>
                  <a:lnTo>
                    <a:pt x="709" y="106"/>
                  </a:lnTo>
                  <a:lnTo>
                    <a:pt x="712" y="103"/>
                  </a:lnTo>
                  <a:lnTo>
                    <a:pt x="715" y="105"/>
                  </a:lnTo>
                  <a:lnTo>
                    <a:pt x="718" y="113"/>
                  </a:lnTo>
                  <a:lnTo>
                    <a:pt x="721" y="122"/>
                  </a:lnTo>
                  <a:lnTo>
                    <a:pt x="722" y="131"/>
                  </a:lnTo>
                  <a:lnTo>
                    <a:pt x="722" y="138"/>
                  </a:lnTo>
                  <a:lnTo>
                    <a:pt x="723" y="144"/>
                  </a:lnTo>
                  <a:lnTo>
                    <a:pt x="725" y="148"/>
                  </a:lnTo>
                  <a:lnTo>
                    <a:pt x="728" y="153"/>
                  </a:lnTo>
                  <a:lnTo>
                    <a:pt x="731" y="158"/>
                  </a:lnTo>
                  <a:lnTo>
                    <a:pt x="731" y="163"/>
                  </a:lnTo>
                  <a:lnTo>
                    <a:pt x="729" y="165"/>
                  </a:lnTo>
                  <a:lnTo>
                    <a:pt x="721" y="169"/>
                  </a:lnTo>
                  <a:lnTo>
                    <a:pt x="718" y="171"/>
                  </a:lnTo>
                  <a:lnTo>
                    <a:pt x="716" y="173"/>
                  </a:lnTo>
                  <a:lnTo>
                    <a:pt x="715" y="179"/>
                  </a:lnTo>
                  <a:lnTo>
                    <a:pt x="716" y="186"/>
                  </a:lnTo>
                  <a:lnTo>
                    <a:pt x="720" y="194"/>
                  </a:lnTo>
                  <a:lnTo>
                    <a:pt x="724" y="201"/>
                  </a:lnTo>
                  <a:lnTo>
                    <a:pt x="726" y="207"/>
                  </a:lnTo>
                  <a:lnTo>
                    <a:pt x="726" y="211"/>
                  </a:lnTo>
                  <a:lnTo>
                    <a:pt x="724" y="215"/>
                  </a:lnTo>
                  <a:lnTo>
                    <a:pt x="725" y="222"/>
                  </a:lnTo>
                  <a:lnTo>
                    <a:pt x="727" y="229"/>
                  </a:lnTo>
                  <a:lnTo>
                    <a:pt x="729" y="237"/>
                  </a:lnTo>
                  <a:lnTo>
                    <a:pt x="732" y="243"/>
                  </a:lnTo>
                  <a:lnTo>
                    <a:pt x="737" y="250"/>
                  </a:lnTo>
                  <a:lnTo>
                    <a:pt x="746" y="257"/>
                  </a:lnTo>
                  <a:lnTo>
                    <a:pt x="754" y="263"/>
                  </a:lnTo>
                  <a:lnTo>
                    <a:pt x="760" y="267"/>
                  </a:lnTo>
                  <a:lnTo>
                    <a:pt x="761" y="268"/>
                  </a:lnTo>
                  <a:lnTo>
                    <a:pt x="759" y="272"/>
                  </a:lnTo>
                  <a:lnTo>
                    <a:pt x="757" y="274"/>
                  </a:lnTo>
                  <a:lnTo>
                    <a:pt x="755" y="275"/>
                  </a:lnTo>
                  <a:lnTo>
                    <a:pt x="753" y="277"/>
                  </a:lnTo>
                  <a:lnTo>
                    <a:pt x="751" y="281"/>
                  </a:lnTo>
                  <a:lnTo>
                    <a:pt x="752" y="282"/>
                  </a:lnTo>
                  <a:lnTo>
                    <a:pt x="756" y="287"/>
                  </a:lnTo>
                  <a:lnTo>
                    <a:pt x="761" y="293"/>
                  </a:lnTo>
                  <a:lnTo>
                    <a:pt x="765" y="300"/>
                  </a:lnTo>
                  <a:lnTo>
                    <a:pt x="766" y="303"/>
                  </a:lnTo>
                  <a:lnTo>
                    <a:pt x="767" y="305"/>
                  </a:lnTo>
                  <a:lnTo>
                    <a:pt x="769" y="306"/>
                  </a:lnTo>
                  <a:lnTo>
                    <a:pt x="770" y="306"/>
                  </a:lnTo>
                  <a:lnTo>
                    <a:pt x="772" y="307"/>
                  </a:lnTo>
                  <a:lnTo>
                    <a:pt x="775" y="307"/>
                  </a:lnTo>
                  <a:lnTo>
                    <a:pt x="778" y="308"/>
                  </a:lnTo>
                  <a:lnTo>
                    <a:pt x="782" y="311"/>
                  </a:lnTo>
                  <a:lnTo>
                    <a:pt x="788" y="318"/>
                  </a:lnTo>
                  <a:lnTo>
                    <a:pt x="795" y="326"/>
                  </a:lnTo>
                  <a:lnTo>
                    <a:pt x="802" y="335"/>
                  </a:lnTo>
                  <a:lnTo>
                    <a:pt x="808" y="344"/>
                  </a:lnTo>
                  <a:lnTo>
                    <a:pt x="813" y="350"/>
                  </a:lnTo>
                  <a:lnTo>
                    <a:pt x="814" y="354"/>
                  </a:lnTo>
                  <a:lnTo>
                    <a:pt x="814" y="358"/>
                  </a:lnTo>
                  <a:lnTo>
                    <a:pt x="812" y="361"/>
                  </a:lnTo>
                  <a:lnTo>
                    <a:pt x="810" y="366"/>
                  </a:lnTo>
                  <a:lnTo>
                    <a:pt x="811" y="371"/>
                  </a:lnTo>
                  <a:lnTo>
                    <a:pt x="812" y="377"/>
                  </a:lnTo>
                  <a:lnTo>
                    <a:pt x="811" y="385"/>
                  </a:lnTo>
                  <a:lnTo>
                    <a:pt x="809" y="396"/>
                  </a:lnTo>
                  <a:lnTo>
                    <a:pt x="806" y="406"/>
                  </a:lnTo>
                  <a:lnTo>
                    <a:pt x="806" y="416"/>
                  </a:lnTo>
                  <a:lnTo>
                    <a:pt x="805" y="423"/>
                  </a:lnTo>
                  <a:lnTo>
                    <a:pt x="806" y="429"/>
                  </a:lnTo>
                  <a:lnTo>
                    <a:pt x="810" y="432"/>
                  </a:lnTo>
                  <a:lnTo>
                    <a:pt x="814" y="435"/>
                  </a:lnTo>
                  <a:lnTo>
                    <a:pt x="817" y="439"/>
                  </a:lnTo>
                  <a:lnTo>
                    <a:pt x="821" y="444"/>
                  </a:lnTo>
                  <a:lnTo>
                    <a:pt x="822" y="447"/>
                  </a:lnTo>
                  <a:lnTo>
                    <a:pt x="823" y="449"/>
                  </a:lnTo>
                  <a:lnTo>
                    <a:pt x="821" y="453"/>
                  </a:lnTo>
                  <a:lnTo>
                    <a:pt x="815" y="456"/>
                  </a:lnTo>
                  <a:lnTo>
                    <a:pt x="814" y="456"/>
                  </a:lnTo>
                  <a:lnTo>
                    <a:pt x="812" y="457"/>
                  </a:lnTo>
                  <a:lnTo>
                    <a:pt x="811" y="458"/>
                  </a:lnTo>
                  <a:lnTo>
                    <a:pt x="809" y="458"/>
                  </a:lnTo>
                  <a:lnTo>
                    <a:pt x="808" y="456"/>
                  </a:lnTo>
                  <a:lnTo>
                    <a:pt x="808" y="455"/>
                  </a:lnTo>
                  <a:lnTo>
                    <a:pt x="806" y="451"/>
                  </a:lnTo>
                  <a:lnTo>
                    <a:pt x="804" y="449"/>
                  </a:lnTo>
                  <a:lnTo>
                    <a:pt x="802" y="448"/>
                  </a:lnTo>
                  <a:lnTo>
                    <a:pt x="798" y="448"/>
                  </a:lnTo>
                  <a:lnTo>
                    <a:pt x="795" y="451"/>
                  </a:lnTo>
                  <a:lnTo>
                    <a:pt x="792" y="457"/>
                  </a:lnTo>
                  <a:lnTo>
                    <a:pt x="790" y="459"/>
                  </a:lnTo>
                  <a:lnTo>
                    <a:pt x="786" y="459"/>
                  </a:lnTo>
                  <a:lnTo>
                    <a:pt x="782" y="457"/>
                  </a:lnTo>
                  <a:lnTo>
                    <a:pt x="777" y="453"/>
                  </a:lnTo>
                  <a:lnTo>
                    <a:pt x="772" y="450"/>
                  </a:lnTo>
                  <a:lnTo>
                    <a:pt x="768" y="449"/>
                  </a:lnTo>
                  <a:lnTo>
                    <a:pt x="764" y="450"/>
                  </a:lnTo>
                  <a:lnTo>
                    <a:pt x="763" y="456"/>
                  </a:lnTo>
                  <a:lnTo>
                    <a:pt x="765" y="464"/>
                  </a:lnTo>
                  <a:lnTo>
                    <a:pt x="769" y="474"/>
                  </a:lnTo>
                  <a:lnTo>
                    <a:pt x="773" y="485"/>
                  </a:lnTo>
                  <a:lnTo>
                    <a:pt x="776" y="495"/>
                  </a:lnTo>
                  <a:lnTo>
                    <a:pt x="777" y="503"/>
                  </a:lnTo>
                  <a:lnTo>
                    <a:pt x="776" y="509"/>
                  </a:lnTo>
                  <a:lnTo>
                    <a:pt x="774" y="512"/>
                  </a:lnTo>
                  <a:lnTo>
                    <a:pt x="770" y="513"/>
                  </a:lnTo>
                  <a:lnTo>
                    <a:pt x="766" y="515"/>
                  </a:lnTo>
                  <a:lnTo>
                    <a:pt x="763" y="519"/>
                  </a:lnTo>
                  <a:lnTo>
                    <a:pt x="756" y="526"/>
                  </a:lnTo>
                  <a:lnTo>
                    <a:pt x="747" y="531"/>
                  </a:lnTo>
                  <a:lnTo>
                    <a:pt x="736" y="535"/>
                  </a:lnTo>
                  <a:lnTo>
                    <a:pt x="725" y="538"/>
                  </a:lnTo>
                  <a:lnTo>
                    <a:pt x="709" y="540"/>
                  </a:lnTo>
                  <a:lnTo>
                    <a:pt x="703" y="542"/>
                  </a:lnTo>
                  <a:lnTo>
                    <a:pt x="700" y="545"/>
                  </a:lnTo>
                  <a:lnTo>
                    <a:pt x="700" y="556"/>
                  </a:lnTo>
                  <a:lnTo>
                    <a:pt x="696" y="565"/>
                  </a:lnTo>
                  <a:lnTo>
                    <a:pt x="691" y="571"/>
                  </a:lnTo>
                  <a:lnTo>
                    <a:pt x="688" y="577"/>
                  </a:lnTo>
                  <a:lnTo>
                    <a:pt x="688" y="581"/>
                  </a:lnTo>
                  <a:lnTo>
                    <a:pt x="689" y="588"/>
                  </a:lnTo>
                  <a:lnTo>
                    <a:pt x="698" y="606"/>
                  </a:lnTo>
                  <a:lnTo>
                    <a:pt x="702" y="616"/>
                  </a:lnTo>
                  <a:lnTo>
                    <a:pt x="706" y="625"/>
                  </a:lnTo>
                  <a:lnTo>
                    <a:pt x="709" y="632"/>
                  </a:lnTo>
                  <a:lnTo>
                    <a:pt x="711" y="641"/>
                  </a:lnTo>
                  <a:lnTo>
                    <a:pt x="717" y="667"/>
                  </a:lnTo>
                  <a:lnTo>
                    <a:pt x="721" y="680"/>
                  </a:lnTo>
                  <a:lnTo>
                    <a:pt x="724" y="692"/>
                  </a:lnTo>
                  <a:lnTo>
                    <a:pt x="727" y="700"/>
                  </a:lnTo>
                  <a:lnTo>
                    <a:pt x="728" y="706"/>
                  </a:lnTo>
                  <a:lnTo>
                    <a:pt x="726" y="715"/>
                  </a:lnTo>
                  <a:lnTo>
                    <a:pt x="722" y="724"/>
                  </a:lnTo>
                  <a:lnTo>
                    <a:pt x="717" y="733"/>
                  </a:lnTo>
                  <a:lnTo>
                    <a:pt x="713" y="741"/>
                  </a:lnTo>
                  <a:lnTo>
                    <a:pt x="711" y="748"/>
                  </a:lnTo>
                  <a:lnTo>
                    <a:pt x="710" y="757"/>
                  </a:lnTo>
                  <a:lnTo>
                    <a:pt x="714" y="777"/>
                  </a:lnTo>
                  <a:lnTo>
                    <a:pt x="714" y="793"/>
                  </a:lnTo>
                  <a:lnTo>
                    <a:pt x="717" y="801"/>
                  </a:lnTo>
                  <a:lnTo>
                    <a:pt x="720" y="807"/>
                  </a:lnTo>
                  <a:lnTo>
                    <a:pt x="719" y="812"/>
                  </a:lnTo>
                  <a:lnTo>
                    <a:pt x="715" y="819"/>
                  </a:lnTo>
                  <a:lnTo>
                    <a:pt x="710" y="827"/>
                  </a:lnTo>
                  <a:lnTo>
                    <a:pt x="709" y="829"/>
                  </a:lnTo>
                  <a:lnTo>
                    <a:pt x="710" y="830"/>
                  </a:lnTo>
                  <a:lnTo>
                    <a:pt x="710" y="831"/>
                  </a:lnTo>
                  <a:lnTo>
                    <a:pt x="712" y="832"/>
                  </a:lnTo>
                  <a:lnTo>
                    <a:pt x="717" y="832"/>
                  </a:lnTo>
                  <a:lnTo>
                    <a:pt x="719" y="833"/>
                  </a:lnTo>
                  <a:lnTo>
                    <a:pt x="721" y="835"/>
                  </a:lnTo>
                  <a:lnTo>
                    <a:pt x="721" y="837"/>
                  </a:lnTo>
                  <a:lnTo>
                    <a:pt x="720" y="845"/>
                  </a:lnTo>
                  <a:lnTo>
                    <a:pt x="720" y="862"/>
                  </a:lnTo>
                  <a:lnTo>
                    <a:pt x="717" y="865"/>
                  </a:lnTo>
                  <a:lnTo>
                    <a:pt x="709" y="867"/>
                  </a:lnTo>
                  <a:lnTo>
                    <a:pt x="689" y="867"/>
                  </a:lnTo>
                  <a:lnTo>
                    <a:pt x="682" y="870"/>
                  </a:lnTo>
                  <a:lnTo>
                    <a:pt x="677" y="873"/>
                  </a:lnTo>
                  <a:lnTo>
                    <a:pt x="673" y="876"/>
                  </a:lnTo>
                  <a:lnTo>
                    <a:pt x="668" y="876"/>
                  </a:lnTo>
                  <a:lnTo>
                    <a:pt x="663" y="873"/>
                  </a:lnTo>
                  <a:lnTo>
                    <a:pt x="656" y="869"/>
                  </a:lnTo>
                  <a:lnTo>
                    <a:pt x="650" y="868"/>
                  </a:lnTo>
                  <a:lnTo>
                    <a:pt x="644" y="871"/>
                  </a:lnTo>
                  <a:lnTo>
                    <a:pt x="637" y="877"/>
                  </a:lnTo>
                  <a:lnTo>
                    <a:pt x="631" y="884"/>
                  </a:lnTo>
                  <a:lnTo>
                    <a:pt x="625" y="890"/>
                  </a:lnTo>
                  <a:lnTo>
                    <a:pt x="617" y="894"/>
                  </a:lnTo>
                  <a:lnTo>
                    <a:pt x="609" y="895"/>
                  </a:lnTo>
                  <a:lnTo>
                    <a:pt x="599" y="896"/>
                  </a:lnTo>
                  <a:lnTo>
                    <a:pt x="594" y="898"/>
                  </a:lnTo>
                  <a:lnTo>
                    <a:pt x="588" y="901"/>
                  </a:lnTo>
                  <a:lnTo>
                    <a:pt x="581" y="906"/>
                  </a:lnTo>
                  <a:lnTo>
                    <a:pt x="564" y="900"/>
                  </a:lnTo>
                  <a:lnTo>
                    <a:pt x="558" y="896"/>
                  </a:lnTo>
                  <a:lnTo>
                    <a:pt x="555" y="891"/>
                  </a:lnTo>
                  <a:lnTo>
                    <a:pt x="553" y="887"/>
                  </a:lnTo>
                  <a:lnTo>
                    <a:pt x="551" y="882"/>
                  </a:lnTo>
                  <a:lnTo>
                    <a:pt x="544" y="876"/>
                  </a:lnTo>
                  <a:lnTo>
                    <a:pt x="534" y="871"/>
                  </a:lnTo>
                  <a:lnTo>
                    <a:pt x="523" y="866"/>
                  </a:lnTo>
                  <a:lnTo>
                    <a:pt x="517" y="865"/>
                  </a:lnTo>
                  <a:lnTo>
                    <a:pt x="512" y="865"/>
                  </a:lnTo>
                  <a:lnTo>
                    <a:pt x="507" y="867"/>
                  </a:lnTo>
                  <a:lnTo>
                    <a:pt x="502" y="867"/>
                  </a:lnTo>
                  <a:lnTo>
                    <a:pt x="496" y="865"/>
                  </a:lnTo>
                  <a:lnTo>
                    <a:pt x="488" y="860"/>
                  </a:lnTo>
                  <a:lnTo>
                    <a:pt x="482" y="853"/>
                  </a:lnTo>
                  <a:lnTo>
                    <a:pt x="478" y="847"/>
                  </a:lnTo>
                  <a:lnTo>
                    <a:pt x="476" y="841"/>
                  </a:lnTo>
                  <a:lnTo>
                    <a:pt x="473" y="837"/>
                  </a:lnTo>
                  <a:lnTo>
                    <a:pt x="465" y="831"/>
                  </a:lnTo>
                  <a:lnTo>
                    <a:pt x="453" y="824"/>
                  </a:lnTo>
                  <a:lnTo>
                    <a:pt x="444" y="817"/>
                  </a:lnTo>
                  <a:lnTo>
                    <a:pt x="437" y="811"/>
                  </a:lnTo>
                  <a:lnTo>
                    <a:pt x="430" y="806"/>
                  </a:lnTo>
                  <a:lnTo>
                    <a:pt x="424" y="806"/>
                  </a:lnTo>
                  <a:lnTo>
                    <a:pt x="423" y="808"/>
                  </a:lnTo>
                  <a:lnTo>
                    <a:pt x="433" y="818"/>
                  </a:lnTo>
                  <a:lnTo>
                    <a:pt x="439" y="823"/>
                  </a:lnTo>
                  <a:lnTo>
                    <a:pt x="447" y="829"/>
                  </a:lnTo>
                  <a:lnTo>
                    <a:pt x="453" y="834"/>
                  </a:lnTo>
                  <a:lnTo>
                    <a:pt x="457" y="837"/>
                  </a:lnTo>
                  <a:lnTo>
                    <a:pt x="460" y="841"/>
                  </a:lnTo>
                  <a:lnTo>
                    <a:pt x="460" y="848"/>
                  </a:lnTo>
                  <a:lnTo>
                    <a:pt x="458" y="860"/>
                  </a:lnTo>
                  <a:lnTo>
                    <a:pt x="457" y="862"/>
                  </a:lnTo>
                  <a:lnTo>
                    <a:pt x="455" y="863"/>
                  </a:lnTo>
                  <a:lnTo>
                    <a:pt x="452" y="864"/>
                  </a:lnTo>
                  <a:lnTo>
                    <a:pt x="450" y="864"/>
                  </a:lnTo>
                  <a:lnTo>
                    <a:pt x="447" y="863"/>
                  </a:lnTo>
                  <a:lnTo>
                    <a:pt x="445" y="862"/>
                  </a:lnTo>
                  <a:lnTo>
                    <a:pt x="441" y="858"/>
                  </a:lnTo>
                  <a:lnTo>
                    <a:pt x="436" y="854"/>
                  </a:lnTo>
                  <a:lnTo>
                    <a:pt x="434" y="851"/>
                  </a:lnTo>
                  <a:lnTo>
                    <a:pt x="431" y="848"/>
                  </a:lnTo>
                  <a:lnTo>
                    <a:pt x="430" y="845"/>
                  </a:lnTo>
                  <a:lnTo>
                    <a:pt x="426" y="841"/>
                  </a:lnTo>
                  <a:lnTo>
                    <a:pt x="418" y="839"/>
                  </a:lnTo>
                  <a:lnTo>
                    <a:pt x="409" y="837"/>
                  </a:lnTo>
                  <a:lnTo>
                    <a:pt x="401" y="836"/>
                  </a:lnTo>
                  <a:lnTo>
                    <a:pt x="398" y="837"/>
                  </a:lnTo>
                  <a:lnTo>
                    <a:pt x="397" y="837"/>
                  </a:lnTo>
                  <a:lnTo>
                    <a:pt x="397" y="840"/>
                  </a:lnTo>
                  <a:lnTo>
                    <a:pt x="403" y="845"/>
                  </a:lnTo>
                  <a:lnTo>
                    <a:pt x="406" y="847"/>
                  </a:lnTo>
                  <a:lnTo>
                    <a:pt x="410" y="851"/>
                  </a:lnTo>
                  <a:lnTo>
                    <a:pt x="410" y="857"/>
                  </a:lnTo>
                  <a:lnTo>
                    <a:pt x="411" y="860"/>
                  </a:lnTo>
                  <a:lnTo>
                    <a:pt x="411" y="861"/>
                  </a:lnTo>
                  <a:lnTo>
                    <a:pt x="412" y="861"/>
                  </a:lnTo>
                  <a:lnTo>
                    <a:pt x="412" y="862"/>
                  </a:lnTo>
                  <a:lnTo>
                    <a:pt x="405" y="867"/>
                  </a:lnTo>
                  <a:lnTo>
                    <a:pt x="398" y="871"/>
                  </a:lnTo>
                  <a:lnTo>
                    <a:pt x="392" y="873"/>
                  </a:lnTo>
                  <a:lnTo>
                    <a:pt x="385" y="871"/>
                  </a:lnTo>
                  <a:lnTo>
                    <a:pt x="379" y="866"/>
                  </a:lnTo>
                  <a:lnTo>
                    <a:pt x="375" y="860"/>
                  </a:lnTo>
                  <a:lnTo>
                    <a:pt x="373" y="854"/>
                  </a:lnTo>
                  <a:lnTo>
                    <a:pt x="373" y="851"/>
                  </a:lnTo>
                  <a:lnTo>
                    <a:pt x="372" y="849"/>
                  </a:lnTo>
                  <a:lnTo>
                    <a:pt x="372" y="847"/>
                  </a:lnTo>
                  <a:lnTo>
                    <a:pt x="370" y="846"/>
                  </a:lnTo>
                  <a:lnTo>
                    <a:pt x="368" y="846"/>
                  </a:lnTo>
                  <a:lnTo>
                    <a:pt x="365" y="845"/>
                  </a:lnTo>
                  <a:lnTo>
                    <a:pt x="355" y="845"/>
                  </a:lnTo>
                  <a:lnTo>
                    <a:pt x="352" y="847"/>
                  </a:lnTo>
                  <a:lnTo>
                    <a:pt x="350" y="849"/>
                  </a:lnTo>
                  <a:lnTo>
                    <a:pt x="349" y="852"/>
                  </a:lnTo>
                  <a:lnTo>
                    <a:pt x="346" y="853"/>
                  </a:lnTo>
                  <a:lnTo>
                    <a:pt x="340" y="852"/>
                  </a:lnTo>
                  <a:lnTo>
                    <a:pt x="335" y="849"/>
                  </a:lnTo>
                  <a:lnTo>
                    <a:pt x="333" y="843"/>
                  </a:lnTo>
                  <a:lnTo>
                    <a:pt x="333" y="838"/>
                  </a:lnTo>
                  <a:lnTo>
                    <a:pt x="334" y="832"/>
                  </a:lnTo>
                  <a:lnTo>
                    <a:pt x="335" y="828"/>
                  </a:lnTo>
                  <a:lnTo>
                    <a:pt x="333" y="827"/>
                  </a:lnTo>
                  <a:lnTo>
                    <a:pt x="331" y="827"/>
                  </a:lnTo>
                  <a:lnTo>
                    <a:pt x="330" y="826"/>
                  </a:lnTo>
                  <a:lnTo>
                    <a:pt x="328" y="822"/>
                  </a:lnTo>
                  <a:lnTo>
                    <a:pt x="324" y="818"/>
                  </a:lnTo>
                  <a:lnTo>
                    <a:pt x="321" y="817"/>
                  </a:lnTo>
                  <a:lnTo>
                    <a:pt x="319" y="816"/>
                  </a:lnTo>
                  <a:lnTo>
                    <a:pt x="317" y="816"/>
                  </a:lnTo>
                  <a:lnTo>
                    <a:pt x="315" y="818"/>
                  </a:lnTo>
                  <a:lnTo>
                    <a:pt x="315" y="819"/>
                  </a:lnTo>
                  <a:lnTo>
                    <a:pt x="314" y="821"/>
                  </a:lnTo>
                  <a:lnTo>
                    <a:pt x="314" y="822"/>
                  </a:lnTo>
                  <a:lnTo>
                    <a:pt x="312" y="823"/>
                  </a:lnTo>
                  <a:lnTo>
                    <a:pt x="308" y="823"/>
                  </a:lnTo>
                  <a:lnTo>
                    <a:pt x="306" y="822"/>
                  </a:lnTo>
                  <a:lnTo>
                    <a:pt x="305" y="821"/>
                  </a:lnTo>
                  <a:lnTo>
                    <a:pt x="305" y="819"/>
                  </a:lnTo>
                  <a:lnTo>
                    <a:pt x="302" y="813"/>
                  </a:lnTo>
                  <a:lnTo>
                    <a:pt x="299" y="811"/>
                  </a:lnTo>
                  <a:lnTo>
                    <a:pt x="295" y="809"/>
                  </a:lnTo>
                  <a:lnTo>
                    <a:pt x="290" y="808"/>
                  </a:lnTo>
                  <a:lnTo>
                    <a:pt x="287" y="810"/>
                  </a:lnTo>
                  <a:lnTo>
                    <a:pt x="285" y="814"/>
                  </a:lnTo>
                  <a:lnTo>
                    <a:pt x="284" y="818"/>
                  </a:lnTo>
                  <a:lnTo>
                    <a:pt x="282" y="821"/>
                  </a:lnTo>
                  <a:lnTo>
                    <a:pt x="278" y="822"/>
                  </a:lnTo>
                  <a:lnTo>
                    <a:pt x="269" y="824"/>
                  </a:lnTo>
                  <a:lnTo>
                    <a:pt x="262" y="830"/>
                  </a:lnTo>
                  <a:lnTo>
                    <a:pt x="258" y="837"/>
                  </a:lnTo>
                  <a:lnTo>
                    <a:pt x="255" y="841"/>
                  </a:lnTo>
                  <a:lnTo>
                    <a:pt x="251" y="845"/>
                  </a:lnTo>
                  <a:lnTo>
                    <a:pt x="248" y="849"/>
                  </a:lnTo>
                  <a:lnTo>
                    <a:pt x="247" y="854"/>
                  </a:lnTo>
                  <a:lnTo>
                    <a:pt x="250" y="861"/>
                  </a:lnTo>
                  <a:lnTo>
                    <a:pt x="255" y="867"/>
                  </a:lnTo>
                  <a:lnTo>
                    <a:pt x="261" y="869"/>
                  </a:lnTo>
                  <a:lnTo>
                    <a:pt x="267" y="869"/>
                  </a:lnTo>
                  <a:lnTo>
                    <a:pt x="273" y="867"/>
                  </a:lnTo>
                  <a:lnTo>
                    <a:pt x="278" y="865"/>
                  </a:lnTo>
                  <a:lnTo>
                    <a:pt x="284" y="863"/>
                  </a:lnTo>
                  <a:lnTo>
                    <a:pt x="292" y="863"/>
                  </a:lnTo>
                  <a:lnTo>
                    <a:pt x="301" y="865"/>
                  </a:lnTo>
                  <a:lnTo>
                    <a:pt x="308" y="869"/>
                  </a:lnTo>
                  <a:lnTo>
                    <a:pt x="311" y="874"/>
                  </a:lnTo>
                  <a:lnTo>
                    <a:pt x="309" y="880"/>
                  </a:lnTo>
                  <a:lnTo>
                    <a:pt x="306" y="885"/>
                  </a:lnTo>
                  <a:lnTo>
                    <a:pt x="301" y="891"/>
                  </a:lnTo>
                  <a:lnTo>
                    <a:pt x="297" y="894"/>
                  </a:lnTo>
                  <a:lnTo>
                    <a:pt x="293" y="894"/>
                  </a:lnTo>
                  <a:lnTo>
                    <a:pt x="283" y="886"/>
                  </a:lnTo>
                  <a:lnTo>
                    <a:pt x="278" y="883"/>
                  </a:lnTo>
                  <a:lnTo>
                    <a:pt x="272" y="883"/>
                  </a:lnTo>
                  <a:lnTo>
                    <a:pt x="269" y="884"/>
                  </a:lnTo>
                  <a:lnTo>
                    <a:pt x="267" y="886"/>
                  </a:lnTo>
                  <a:lnTo>
                    <a:pt x="266" y="888"/>
                  </a:lnTo>
                  <a:lnTo>
                    <a:pt x="265" y="891"/>
                  </a:lnTo>
                  <a:lnTo>
                    <a:pt x="266" y="894"/>
                  </a:lnTo>
                  <a:lnTo>
                    <a:pt x="268" y="898"/>
                  </a:lnTo>
                  <a:lnTo>
                    <a:pt x="269" y="902"/>
                  </a:lnTo>
                  <a:lnTo>
                    <a:pt x="267" y="903"/>
                  </a:lnTo>
                  <a:lnTo>
                    <a:pt x="262" y="904"/>
                  </a:lnTo>
                  <a:lnTo>
                    <a:pt x="255" y="903"/>
                  </a:lnTo>
                  <a:lnTo>
                    <a:pt x="247" y="903"/>
                  </a:lnTo>
                  <a:lnTo>
                    <a:pt x="239" y="902"/>
                  </a:lnTo>
                  <a:lnTo>
                    <a:pt x="231" y="902"/>
                  </a:lnTo>
                  <a:lnTo>
                    <a:pt x="223" y="901"/>
                  </a:lnTo>
                  <a:lnTo>
                    <a:pt x="216" y="897"/>
                  </a:lnTo>
                  <a:lnTo>
                    <a:pt x="210" y="891"/>
                  </a:lnTo>
                  <a:lnTo>
                    <a:pt x="203" y="886"/>
                  </a:lnTo>
                  <a:lnTo>
                    <a:pt x="194" y="883"/>
                  </a:lnTo>
                  <a:lnTo>
                    <a:pt x="187" y="882"/>
                  </a:lnTo>
                  <a:lnTo>
                    <a:pt x="182" y="883"/>
                  </a:lnTo>
                  <a:lnTo>
                    <a:pt x="178" y="885"/>
                  </a:lnTo>
                  <a:lnTo>
                    <a:pt x="176" y="888"/>
                  </a:lnTo>
                  <a:lnTo>
                    <a:pt x="173" y="892"/>
                  </a:lnTo>
                  <a:lnTo>
                    <a:pt x="168" y="898"/>
                  </a:lnTo>
                  <a:lnTo>
                    <a:pt x="161" y="902"/>
                  </a:lnTo>
                  <a:lnTo>
                    <a:pt x="150" y="905"/>
                  </a:lnTo>
                  <a:lnTo>
                    <a:pt x="137" y="905"/>
                  </a:lnTo>
                  <a:lnTo>
                    <a:pt x="124" y="904"/>
                  </a:lnTo>
                  <a:lnTo>
                    <a:pt x="114" y="903"/>
                  </a:lnTo>
                  <a:lnTo>
                    <a:pt x="107" y="900"/>
                  </a:lnTo>
                  <a:lnTo>
                    <a:pt x="102" y="893"/>
                  </a:lnTo>
                  <a:lnTo>
                    <a:pt x="97" y="887"/>
                  </a:lnTo>
                  <a:lnTo>
                    <a:pt x="92" y="886"/>
                  </a:lnTo>
                  <a:lnTo>
                    <a:pt x="86" y="889"/>
                  </a:lnTo>
                  <a:lnTo>
                    <a:pt x="80" y="895"/>
                  </a:lnTo>
                  <a:lnTo>
                    <a:pt x="74" y="900"/>
                  </a:lnTo>
                  <a:lnTo>
                    <a:pt x="65" y="905"/>
                  </a:lnTo>
                  <a:lnTo>
                    <a:pt x="56" y="909"/>
                  </a:lnTo>
                  <a:lnTo>
                    <a:pt x="46" y="911"/>
                  </a:lnTo>
                  <a:lnTo>
                    <a:pt x="39" y="910"/>
                  </a:lnTo>
                  <a:lnTo>
                    <a:pt x="34" y="906"/>
                  </a:lnTo>
                  <a:lnTo>
                    <a:pt x="34" y="900"/>
                  </a:lnTo>
                  <a:lnTo>
                    <a:pt x="36" y="892"/>
                  </a:lnTo>
                  <a:lnTo>
                    <a:pt x="41" y="881"/>
                  </a:lnTo>
                  <a:lnTo>
                    <a:pt x="42" y="877"/>
                  </a:lnTo>
                  <a:lnTo>
                    <a:pt x="41" y="877"/>
                  </a:lnTo>
                  <a:lnTo>
                    <a:pt x="38" y="878"/>
                  </a:lnTo>
                  <a:lnTo>
                    <a:pt x="35" y="881"/>
                  </a:lnTo>
                  <a:lnTo>
                    <a:pt x="30" y="885"/>
                  </a:lnTo>
                  <a:lnTo>
                    <a:pt x="26" y="889"/>
                  </a:lnTo>
                  <a:lnTo>
                    <a:pt x="21" y="892"/>
                  </a:lnTo>
                  <a:lnTo>
                    <a:pt x="18" y="893"/>
                  </a:lnTo>
                  <a:lnTo>
                    <a:pt x="15" y="891"/>
                  </a:lnTo>
                  <a:lnTo>
                    <a:pt x="7" y="871"/>
                  </a:lnTo>
                  <a:lnTo>
                    <a:pt x="3" y="858"/>
                  </a:lnTo>
                  <a:lnTo>
                    <a:pt x="0" y="849"/>
                  </a:lnTo>
                  <a:lnTo>
                    <a:pt x="0" y="841"/>
                  </a:lnTo>
                  <a:lnTo>
                    <a:pt x="2" y="835"/>
                  </a:lnTo>
                  <a:lnTo>
                    <a:pt x="6" y="829"/>
                  </a:lnTo>
                  <a:lnTo>
                    <a:pt x="8" y="823"/>
                  </a:lnTo>
                  <a:lnTo>
                    <a:pt x="7" y="816"/>
                  </a:lnTo>
                  <a:lnTo>
                    <a:pt x="5" y="809"/>
                  </a:lnTo>
                  <a:lnTo>
                    <a:pt x="7" y="802"/>
                  </a:lnTo>
                  <a:lnTo>
                    <a:pt x="11" y="793"/>
                  </a:lnTo>
                  <a:lnTo>
                    <a:pt x="12" y="784"/>
                  </a:lnTo>
                  <a:lnTo>
                    <a:pt x="12" y="775"/>
                  </a:lnTo>
                  <a:lnTo>
                    <a:pt x="14" y="768"/>
                  </a:lnTo>
                  <a:lnTo>
                    <a:pt x="17" y="760"/>
                  </a:lnTo>
                  <a:lnTo>
                    <a:pt x="27" y="742"/>
                  </a:lnTo>
                  <a:lnTo>
                    <a:pt x="32" y="734"/>
                  </a:lnTo>
                  <a:lnTo>
                    <a:pt x="34" y="728"/>
                  </a:lnTo>
                  <a:lnTo>
                    <a:pt x="33" y="722"/>
                  </a:lnTo>
                  <a:lnTo>
                    <a:pt x="31" y="718"/>
                  </a:lnTo>
                  <a:lnTo>
                    <a:pt x="27" y="713"/>
                  </a:lnTo>
                  <a:lnTo>
                    <a:pt x="24" y="707"/>
                  </a:lnTo>
                  <a:lnTo>
                    <a:pt x="22" y="700"/>
                  </a:lnTo>
                  <a:lnTo>
                    <a:pt x="21" y="689"/>
                  </a:lnTo>
                  <a:lnTo>
                    <a:pt x="22" y="678"/>
                  </a:lnTo>
                  <a:lnTo>
                    <a:pt x="25" y="668"/>
                  </a:lnTo>
                  <a:lnTo>
                    <a:pt x="29" y="661"/>
                  </a:lnTo>
                  <a:lnTo>
                    <a:pt x="36" y="653"/>
                  </a:lnTo>
                  <a:lnTo>
                    <a:pt x="42" y="642"/>
                  </a:lnTo>
                  <a:lnTo>
                    <a:pt x="47" y="631"/>
                  </a:lnTo>
                  <a:lnTo>
                    <a:pt x="52" y="622"/>
                  </a:lnTo>
                  <a:lnTo>
                    <a:pt x="54" y="614"/>
                  </a:lnTo>
                  <a:lnTo>
                    <a:pt x="55" y="606"/>
                  </a:lnTo>
                  <a:lnTo>
                    <a:pt x="57" y="598"/>
                  </a:lnTo>
                  <a:lnTo>
                    <a:pt x="63" y="591"/>
                  </a:lnTo>
                  <a:lnTo>
                    <a:pt x="69" y="583"/>
                  </a:lnTo>
                  <a:lnTo>
                    <a:pt x="72" y="576"/>
                  </a:lnTo>
                  <a:lnTo>
                    <a:pt x="72" y="567"/>
                  </a:lnTo>
                  <a:lnTo>
                    <a:pt x="73" y="559"/>
                  </a:lnTo>
                  <a:lnTo>
                    <a:pt x="75" y="550"/>
                  </a:lnTo>
                  <a:lnTo>
                    <a:pt x="78" y="543"/>
                  </a:lnTo>
                  <a:lnTo>
                    <a:pt x="79" y="537"/>
                  </a:lnTo>
                  <a:lnTo>
                    <a:pt x="80" y="530"/>
                  </a:lnTo>
                  <a:lnTo>
                    <a:pt x="83" y="523"/>
                  </a:lnTo>
                  <a:lnTo>
                    <a:pt x="89" y="517"/>
                  </a:lnTo>
                  <a:lnTo>
                    <a:pt x="92" y="512"/>
                  </a:lnTo>
                  <a:lnTo>
                    <a:pt x="94" y="503"/>
                  </a:lnTo>
                  <a:lnTo>
                    <a:pt x="95" y="493"/>
                  </a:lnTo>
                  <a:lnTo>
                    <a:pt x="96" y="482"/>
                  </a:lnTo>
                  <a:lnTo>
                    <a:pt x="96" y="472"/>
                  </a:lnTo>
                  <a:lnTo>
                    <a:pt x="98" y="465"/>
                  </a:lnTo>
                  <a:lnTo>
                    <a:pt x="103" y="456"/>
                  </a:lnTo>
                  <a:lnTo>
                    <a:pt x="109" y="448"/>
                  </a:lnTo>
                  <a:lnTo>
                    <a:pt x="117" y="443"/>
                  </a:lnTo>
                  <a:lnTo>
                    <a:pt x="122" y="439"/>
                  </a:lnTo>
                  <a:lnTo>
                    <a:pt x="128" y="433"/>
                  </a:lnTo>
                  <a:lnTo>
                    <a:pt x="132" y="427"/>
                  </a:lnTo>
                  <a:lnTo>
                    <a:pt x="135" y="421"/>
                  </a:lnTo>
                  <a:lnTo>
                    <a:pt x="136" y="417"/>
                  </a:lnTo>
                  <a:lnTo>
                    <a:pt x="138" y="413"/>
                  </a:lnTo>
                  <a:lnTo>
                    <a:pt x="143" y="409"/>
                  </a:lnTo>
                  <a:lnTo>
                    <a:pt x="149" y="404"/>
                  </a:lnTo>
                  <a:lnTo>
                    <a:pt x="152" y="401"/>
                  </a:lnTo>
                  <a:lnTo>
                    <a:pt x="157" y="397"/>
                  </a:lnTo>
                  <a:lnTo>
                    <a:pt x="166" y="391"/>
                  </a:lnTo>
                  <a:lnTo>
                    <a:pt x="174" y="383"/>
                  </a:lnTo>
                  <a:lnTo>
                    <a:pt x="180" y="373"/>
                  </a:lnTo>
                  <a:lnTo>
                    <a:pt x="191" y="347"/>
                  </a:lnTo>
                  <a:lnTo>
                    <a:pt x="196" y="339"/>
                  </a:lnTo>
                  <a:lnTo>
                    <a:pt x="197" y="337"/>
                  </a:lnTo>
                  <a:lnTo>
                    <a:pt x="197" y="335"/>
                  </a:lnTo>
                  <a:lnTo>
                    <a:pt x="193" y="331"/>
                  </a:lnTo>
                  <a:lnTo>
                    <a:pt x="207" y="328"/>
                  </a:lnTo>
                  <a:lnTo>
                    <a:pt x="217" y="324"/>
                  </a:lnTo>
                  <a:lnTo>
                    <a:pt x="224" y="319"/>
                  </a:lnTo>
                  <a:lnTo>
                    <a:pt x="227" y="313"/>
                  </a:lnTo>
                  <a:lnTo>
                    <a:pt x="230" y="308"/>
                  </a:lnTo>
                  <a:lnTo>
                    <a:pt x="231" y="303"/>
                  </a:lnTo>
                  <a:lnTo>
                    <a:pt x="234" y="295"/>
                  </a:lnTo>
                  <a:lnTo>
                    <a:pt x="240" y="286"/>
                  </a:lnTo>
                  <a:lnTo>
                    <a:pt x="245" y="277"/>
                  </a:lnTo>
                  <a:lnTo>
                    <a:pt x="249" y="270"/>
                  </a:lnTo>
                  <a:lnTo>
                    <a:pt x="250" y="261"/>
                  </a:lnTo>
                  <a:lnTo>
                    <a:pt x="251" y="249"/>
                  </a:lnTo>
                  <a:lnTo>
                    <a:pt x="252" y="235"/>
                  </a:lnTo>
                  <a:lnTo>
                    <a:pt x="253" y="224"/>
                  </a:lnTo>
                  <a:lnTo>
                    <a:pt x="256" y="216"/>
                  </a:lnTo>
                  <a:lnTo>
                    <a:pt x="262" y="210"/>
                  </a:lnTo>
                  <a:lnTo>
                    <a:pt x="270" y="206"/>
                  </a:lnTo>
                  <a:lnTo>
                    <a:pt x="277" y="202"/>
                  </a:lnTo>
                  <a:lnTo>
                    <a:pt x="281" y="198"/>
                  </a:lnTo>
                  <a:lnTo>
                    <a:pt x="280" y="194"/>
                  </a:lnTo>
                  <a:lnTo>
                    <a:pt x="278" y="188"/>
                  </a:lnTo>
                  <a:lnTo>
                    <a:pt x="275" y="180"/>
                  </a:lnTo>
                  <a:lnTo>
                    <a:pt x="275" y="170"/>
                  </a:lnTo>
                  <a:lnTo>
                    <a:pt x="279" y="160"/>
                  </a:lnTo>
                  <a:lnTo>
                    <a:pt x="283" y="153"/>
                  </a:lnTo>
                  <a:lnTo>
                    <a:pt x="287" y="147"/>
                  </a:lnTo>
                  <a:lnTo>
                    <a:pt x="288" y="145"/>
                  </a:lnTo>
                  <a:lnTo>
                    <a:pt x="287" y="142"/>
                  </a:lnTo>
                  <a:lnTo>
                    <a:pt x="284" y="139"/>
                  </a:lnTo>
                  <a:lnTo>
                    <a:pt x="272" y="135"/>
                  </a:lnTo>
                  <a:lnTo>
                    <a:pt x="270" y="132"/>
                  </a:lnTo>
                  <a:lnTo>
                    <a:pt x="270" y="127"/>
                  </a:lnTo>
                  <a:lnTo>
                    <a:pt x="271" y="121"/>
                  </a:lnTo>
                  <a:lnTo>
                    <a:pt x="273" y="115"/>
                  </a:lnTo>
                  <a:lnTo>
                    <a:pt x="273" y="111"/>
                  </a:lnTo>
                  <a:lnTo>
                    <a:pt x="275" y="109"/>
                  </a:lnTo>
                  <a:lnTo>
                    <a:pt x="279" y="108"/>
                  </a:lnTo>
                  <a:lnTo>
                    <a:pt x="293" y="106"/>
                  </a:lnTo>
                  <a:lnTo>
                    <a:pt x="299" y="104"/>
                  </a:lnTo>
                  <a:lnTo>
                    <a:pt x="303" y="102"/>
                  </a:lnTo>
                  <a:lnTo>
                    <a:pt x="304" y="99"/>
                  </a:lnTo>
                  <a:lnTo>
                    <a:pt x="304" y="98"/>
                  </a:lnTo>
                  <a:lnTo>
                    <a:pt x="312" y="97"/>
                  </a:lnTo>
                  <a:lnTo>
                    <a:pt x="317" y="95"/>
                  </a:lnTo>
                  <a:lnTo>
                    <a:pt x="321" y="94"/>
                  </a:lnTo>
                  <a:lnTo>
                    <a:pt x="323" y="92"/>
                  </a:lnTo>
                  <a:lnTo>
                    <a:pt x="322" y="87"/>
                  </a:lnTo>
                  <a:lnTo>
                    <a:pt x="320" y="81"/>
                  </a:lnTo>
                  <a:lnTo>
                    <a:pt x="316" y="71"/>
                  </a:lnTo>
                  <a:lnTo>
                    <a:pt x="317" y="67"/>
                  </a:lnTo>
                  <a:lnTo>
                    <a:pt x="322" y="64"/>
                  </a:lnTo>
                  <a:lnTo>
                    <a:pt x="328" y="62"/>
                  </a:lnTo>
                  <a:lnTo>
                    <a:pt x="335" y="62"/>
                  </a:lnTo>
                  <a:lnTo>
                    <a:pt x="339" y="63"/>
                  </a:lnTo>
                  <a:lnTo>
                    <a:pt x="341" y="67"/>
                  </a:lnTo>
                  <a:lnTo>
                    <a:pt x="342" y="74"/>
                  </a:lnTo>
                  <a:lnTo>
                    <a:pt x="342" y="82"/>
                  </a:lnTo>
                  <a:lnTo>
                    <a:pt x="343" y="91"/>
                  </a:lnTo>
                  <a:lnTo>
                    <a:pt x="346" y="97"/>
                  </a:lnTo>
                  <a:lnTo>
                    <a:pt x="352" y="101"/>
                  </a:lnTo>
                  <a:lnTo>
                    <a:pt x="358" y="103"/>
                  </a:lnTo>
                  <a:lnTo>
                    <a:pt x="365" y="104"/>
                  </a:lnTo>
                  <a:lnTo>
                    <a:pt x="370" y="105"/>
                  </a:lnTo>
                  <a:lnTo>
                    <a:pt x="374" y="109"/>
                  </a:lnTo>
                  <a:lnTo>
                    <a:pt x="384" y="111"/>
                  </a:lnTo>
                  <a:lnTo>
                    <a:pt x="389" y="113"/>
                  </a:lnTo>
                  <a:lnTo>
                    <a:pt x="390" y="117"/>
                  </a:lnTo>
                  <a:lnTo>
                    <a:pt x="388" y="121"/>
                  </a:lnTo>
                  <a:lnTo>
                    <a:pt x="387" y="122"/>
                  </a:lnTo>
                  <a:lnTo>
                    <a:pt x="380" y="122"/>
                  </a:lnTo>
                  <a:lnTo>
                    <a:pt x="378" y="123"/>
                  </a:lnTo>
                  <a:lnTo>
                    <a:pt x="376" y="126"/>
                  </a:lnTo>
                  <a:lnTo>
                    <a:pt x="374" y="132"/>
                  </a:lnTo>
                  <a:lnTo>
                    <a:pt x="373" y="139"/>
                  </a:lnTo>
                  <a:lnTo>
                    <a:pt x="370" y="146"/>
                  </a:lnTo>
                  <a:lnTo>
                    <a:pt x="369" y="149"/>
                  </a:lnTo>
                  <a:lnTo>
                    <a:pt x="369" y="151"/>
                  </a:lnTo>
                  <a:lnTo>
                    <a:pt x="370" y="152"/>
                  </a:lnTo>
                  <a:lnTo>
                    <a:pt x="374" y="154"/>
                  </a:lnTo>
                  <a:lnTo>
                    <a:pt x="377" y="154"/>
                  </a:lnTo>
                  <a:lnTo>
                    <a:pt x="379" y="155"/>
                  </a:lnTo>
                  <a:lnTo>
                    <a:pt x="385" y="156"/>
                  </a:lnTo>
                  <a:lnTo>
                    <a:pt x="389" y="156"/>
                  </a:lnTo>
                  <a:lnTo>
                    <a:pt x="392" y="154"/>
                  </a:lnTo>
                  <a:lnTo>
                    <a:pt x="395" y="149"/>
                  </a:lnTo>
                  <a:lnTo>
                    <a:pt x="397" y="143"/>
                  </a:lnTo>
                  <a:lnTo>
                    <a:pt x="399" y="138"/>
                  </a:lnTo>
                  <a:lnTo>
                    <a:pt x="402" y="136"/>
                  </a:lnTo>
                  <a:lnTo>
                    <a:pt x="405" y="135"/>
                  </a:lnTo>
                  <a:lnTo>
                    <a:pt x="407" y="134"/>
                  </a:lnTo>
                  <a:lnTo>
                    <a:pt x="407" y="131"/>
                  </a:lnTo>
                  <a:lnTo>
                    <a:pt x="405" y="127"/>
                  </a:lnTo>
                  <a:lnTo>
                    <a:pt x="405" y="124"/>
                  </a:lnTo>
                  <a:lnTo>
                    <a:pt x="406" y="121"/>
                  </a:lnTo>
                  <a:lnTo>
                    <a:pt x="407" y="119"/>
                  </a:lnTo>
                  <a:lnTo>
                    <a:pt x="409" y="116"/>
                  </a:lnTo>
                  <a:lnTo>
                    <a:pt x="413" y="112"/>
                  </a:lnTo>
                  <a:lnTo>
                    <a:pt x="420" y="112"/>
                  </a:lnTo>
                  <a:lnTo>
                    <a:pt x="424" y="113"/>
                  </a:lnTo>
                  <a:lnTo>
                    <a:pt x="427" y="114"/>
                  </a:lnTo>
                  <a:lnTo>
                    <a:pt x="432" y="114"/>
                  </a:lnTo>
                  <a:lnTo>
                    <a:pt x="434" y="112"/>
                  </a:lnTo>
                  <a:lnTo>
                    <a:pt x="435" y="110"/>
                  </a:lnTo>
                  <a:lnTo>
                    <a:pt x="439" y="109"/>
                  </a:lnTo>
                  <a:lnTo>
                    <a:pt x="444" y="109"/>
                  </a:lnTo>
                  <a:lnTo>
                    <a:pt x="452" y="110"/>
                  </a:lnTo>
                  <a:lnTo>
                    <a:pt x="457" y="110"/>
                  </a:lnTo>
                  <a:lnTo>
                    <a:pt x="458" y="109"/>
                  </a:lnTo>
                  <a:lnTo>
                    <a:pt x="455" y="105"/>
                  </a:lnTo>
                  <a:lnTo>
                    <a:pt x="451" y="100"/>
                  </a:lnTo>
                  <a:lnTo>
                    <a:pt x="446" y="95"/>
                  </a:lnTo>
                  <a:lnTo>
                    <a:pt x="442" y="90"/>
                  </a:lnTo>
                  <a:lnTo>
                    <a:pt x="442" y="87"/>
                  </a:lnTo>
                  <a:lnTo>
                    <a:pt x="446" y="85"/>
                  </a:lnTo>
                  <a:lnTo>
                    <a:pt x="453" y="85"/>
                  </a:lnTo>
                  <a:lnTo>
                    <a:pt x="461" y="84"/>
                  </a:lnTo>
                  <a:lnTo>
                    <a:pt x="489" y="84"/>
                  </a:lnTo>
                  <a:lnTo>
                    <a:pt x="496" y="83"/>
                  </a:lnTo>
                  <a:lnTo>
                    <a:pt x="499" y="79"/>
                  </a:lnTo>
                  <a:lnTo>
                    <a:pt x="501" y="75"/>
                  </a:lnTo>
                  <a:lnTo>
                    <a:pt x="501" y="70"/>
                  </a:lnTo>
                  <a:lnTo>
                    <a:pt x="500" y="66"/>
                  </a:lnTo>
                  <a:lnTo>
                    <a:pt x="500" y="63"/>
                  </a:lnTo>
                  <a:lnTo>
                    <a:pt x="501" y="60"/>
                  </a:lnTo>
                  <a:lnTo>
                    <a:pt x="504" y="58"/>
                  </a:lnTo>
                  <a:lnTo>
                    <a:pt x="507" y="57"/>
                  </a:lnTo>
                  <a:lnTo>
                    <a:pt x="511" y="57"/>
                  </a:lnTo>
                  <a:lnTo>
                    <a:pt x="517" y="58"/>
                  </a:lnTo>
                  <a:lnTo>
                    <a:pt x="523" y="57"/>
                  </a:lnTo>
                  <a:lnTo>
                    <a:pt x="529" y="57"/>
                  </a:lnTo>
                  <a:lnTo>
                    <a:pt x="533" y="55"/>
                  </a:lnTo>
                  <a:lnTo>
                    <a:pt x="536" y="50"/>
                  </a:lnTo>
                  <a:lnTo>
                    <a:pt x="538" y="36"/>
                  </a:lnTo>
                  <a:lnTo>
                    <a:pt x="537" y="30"/>
                  </a:lnTo>
                  <a:lnTo>
                    <a:pt x="536" y="28"/>
                  </a:lnTo>
                  <a:lnTo>
                    <a:pt x="535" y="27"/>
                  </a:lnTo>
                  <a:lnTo>
                    <a:pt x="534" y="27"/>
                  </a:lnTo>
                  <a:lnTo>
                    <a:pt x="532" y="28"/>
                  </a:lnTo>
                  <a:lnTo>
                    <a:pt x="531" y="29"/>
                  </a:lnTo>
                  <a:lnTo>
                    <a:pt x="528" y="31"/>
                  </a:lnTo>
                  <a:lnTo>
                    <a:pt x="525" y="32"/>
                  </a:lnTo>
                  <a:lnTo>
                    <a:pt x="523" y="33"/>
                  </a:lnTo>
                  <a:lnTo>
                    <a:pt x="522" y="33"/>
                  </a:lnTo>
                  <a:lnTo>
                    <a:pt x="521" y="32"/>
                  </a:lnTo>
                  <a:lnTo>
                    <a:pt x="521" y="29"/>
                  </a:lnTo>
                  <a:lnTo>
                    <a:pt x="519" y="25"/>
                  </a:lnTo>
                  <a:lnTo>
                    <a:pt x="515" y="23"/>
                  </a:lnTo>
                  <a:lnTo>
                    <a:pt x="511" y="22"/>
                  </a:lnTo>
                  <a:lnTo>
                    <a:pt x="509" y="20"/>
                  </a:lnTo>
                  <a:lnTo>
                    <a:pt x="508" y="18"/>
                  </a:lnTo>
                  <a:lnTo>
                    <a:pt x="508" y="15"/>
                  </a:lnTo>
                  <a:lnTo>
                    <a:pt x="509" y="13"/>
                  </a:lnTo>
                  <a:lnTo>
                    <a:pt x="510" y="10"/>
                  </a:lnTo>
                  <a:lnTo>
                    <a:pt x="514" y="7"/>
                  </a:lnTo>
                  <a:lnTo>
                    <a:pt x="522" y="5"/>
                  </a:lnTo>
                  <a:lnTo>
                    <a:pt x="532" y="2"/>
                  </a:lnTo>
                  <a:lnTo>
                    <a:pt x="542" y="1"/>
                  </a:lnTo>
                  <a:lnTo>
                    <a:pt x="550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10">
              <a:extLst>
                <a:ext uri="{FF2B5EF4-FFF2-40B4-BE49-F238E27FC236}">
                  <a16:creationId xmlns:a16="http://schemas.microsoft.com/office/drawing/2014/main" id="{04AD10D2-B453-41D7-AC9E-9A0FA8DDD9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91051" y="1990726"/>
              <a:ext cx="1958975" cy="1711325"/>
            </a:xfrm>
            <a:custGeom>
              <a:avLst/>
              <a:gdLst/>
              <a:ahLst/>
              <a:cxnLst>
                <a:cxn ang="0">
                  <a:pos x="530" y="347"/>
                </a:cxn>
                <a:cxn ang="0">
                  <a:pos x="573" y="302"/>
                </a:cxn>
                <a:cxn ang="0">
                  <a:pos x="486" y="280"/>
                </a:cxn>
                <a:cxn ang="0">
                  <a:pos x="598" y="19"/>
                </a:cxn>
                <a:cxn ang="0">
                  <a:pos x="688" y="59"/>
                </a:cxn>
                <a:cxn ang="0">
                  <a:pos x="785" y="176"/>
                </a:cxn>
                <a:cxn ang="0">
                  <a:pos x="883" y="210"/>
                </a:cxn>
                <a:cxn ang="0">
                  <a:pos x="972" y="221"/>
                </a:cxn>
                <a:cxn ang="0">
                  <a:pos x="1027" y="253"/>
                </a:cxn>
                <a:cxn ang="0">
                  <a:pos x="1119" y="303"/>
                </a:cxn>
                <a:cxn ang="0">
                  <a:pos x="1146" y="323"/>
                </a:cxn>
                <a:cxn ang="0">
                  <a:pos x="1229" y="352"/>
                </a:cxn>
                <a:cxn ang="0">
                  <a:pos x="1144" y="424"/>
                </a:cxn>
                <a:cxn ang="0">
                  <a:pos x="1075" y="420"/>
                </a:cxn>
                <a:cxn ang="0">
                  <a:pos x="1051" y="518"/>
                </a:cxn>
                <a:cxn ang="0">
                  <a:pos x="1075" y="580"/>
                </a:cxn>
                <a:cxn ang="0">
                  <a:pos x="1080" y="637"/>
                </a:cxn>
                <a:cxn ang="0">
                  <a:pos x="1097" y="725"/>
                </a:cxn>
                <a:cxn ang="0">
                  <a:pos x="1015" y="765"/>
                </a:cxn>
                <a:cxn ang="0">
                  <a:pos x="978" y="850"/>
                </a:cxn>
                <a:cxn ang="0">
                  <a:pos x="997" y="953"/>
                </a:cxn>
                <a:cxn ang="0">
                  <a:pos x="922" y="970"/>
                </a:cxn>
                <a:cxn ang="0">
                  <a:pos x="829" y="1027"/>
                </a:cxn>
                <a:cxn ang="0">
                  <a:pos x="793" y="1039"/>
                </a:cxn>
                <a:cxn ang="0">
                  <a:pos x="764" y="1060"/>
                </a:cxn>
                <a:cxn ang="0">
                  <a:pos x="749" y="1071"/>
                </a:cxn>
                <a:cxn ang="0">
                  <a:pos x="725" y="1034"/>
                </a:cxn>
                <a:cxn ang="0">
                  <a:pos x="739" y="963"/>
                </a:cxn>
                <a:cxn ang="0">
                  <a:pos x="717" y="938"/>
                </a:cxn>
                <a:cxn ang="0">
                  <a:pos x="682" y="890"/>
                </a:cxn>
                <a:cxn ang="0">
                  <a:pos x="660" y="826"/>
                </a:cxn>
                <a:cxn ang="0">
                  <a:pos x="623" y="785"/>
                </a:cxn>
                <a:cxn ang="0">
                  <a:pos x="581" y="727"/>
                </a:cxn>
                <a:cxn ang="0">
                  <a:pos x="580" y="666"/>
                </a:cxn>
                <a:cxn ang="0">
                  <a:pos x="606" y="578"/>
                </a:cxn>
                <a:cxn ang="0">
                  <a:pos x="508" y="603"/>
                </a:cxn>
                <a:cxn ang="0">
                  <a:pos x="443" y="582"/>
                </a:cxn>
                <a:cxn ang="0">
                  <a:pos x="409" y="597"/>
                </a:cxn>
                <a:cxn ang="0">
                  <a:pos x="450" y="706"/>
                </a:cxn>
                <a:cxn ang="0">
                  <a:pos x="378" y="739"/>
                </a:cxn>
                <a:cxn ang="0">
                  <a:pos x="303" y="731"/>
                </a:cxn>
                <a:cxn ang="0">
                  <a:pos x="301" y="696"/>
                </a:cxn>
                <a:cxn ang="0">
                  <a:pos x="293" y="622"/>
                </a:cxn>
                <a:cxn ang="0">
                  <a:pos x="227" y="598"/>
                </a:cxn>
                <a:cxn ang="0">
                  <a:pos x="112" y="659"/>
                </a:cxn>
                <a:cxn ang="0">
                  <a:pos x="81" y="589"/>
                </a:cxn>
                <a:cxn ang="0">
                  <a:pos x="13" y="570"/>
                </a:cxn>
                <a:cxn ang="0">
                  <a:pos x="12" y="507"/>
                </a:cxn>
                <a:cxn ang="0">
                  <a:pos x="79" y="502"/>
                </a:cxn>
                <a:cxn ang="0">
                  <a:pos x="105" y="437"/>
                </a:cxn>
                <a:cxn ang="0">
                  <a:pos x="140" y="287"/>
                </a:cxn>
                <a:cxn ang="0">
                  <a:pos x="153" y="220"/>
                </a:cxn>
                <a:cxn ang="0">
                  <a:pos x="109" y="142"/>
                </a:cxn>
                <a:cxn ang="0">
                  <a:pos x="164" y="78"/>
                </a:cxn>
                <a:cxn ang="0">
                  <a:pos x="330" y="66"/>
                </a:cxn>
                <a:cxn ang="0">
                  <a:pos x="379" y="148"/>
                </a:cxn>
                <a:cxn ang="0">
                  <a:pos x="365" y="176"/>
                </a:cxn>
                <a:cxn ang="0">
                  <a:pos x="415" y="147"/>
                </a:cxn>
                <a:cxn ang="0">
                  <a:pos x="429" y="119"/>
                </a:cxn>
                <a:cxn ang="0">
                  <a:pos x="460" y="166"/>
                </a:cxn>
                <a:cxn ang="0">
                  <a:pos x="473" y="46"/>
                </a:cxn>
              </a:cxnLst>
              <a:rect l="0" t="0" r="r" b="b"/>
              <a:pathLst>
                <a:path w="1234" h="1078">
                  <a:moveTo>
                    <a:pt x="471" y="276"/>
                  </a:moveTo>
                  <a:lnTo>
                    <a:pt x="466" y="277"/>
                  </a:lnTo>
                  <a:lnTo>
                    <a:pt x="464" y="281"/>
                  </a:lnTo>
                  <a:lnTo>
                    <a:pt x="467" y="285"/>
                  </a:lnTo>
                  <a:lnTo>
                    <a:pt x="472" y="291"/>
                  </a:lnTo>
                  <a:lnTo>
                    <a:pt x="480" y="296"/>
                  </a:lnTo>
                  <a:lnTo>
                    <a:pt x="487" y="302"/>
                  </a:lnTo>
                  <a:lnTo>
                    <a:pt x="493" y="308"/>
                  </a:lnTo>
                  <a:lnTo>
                    <a:pt x="500" y="320"/>
                  </a:lnTo>
                  <a:lnTo>
                    <a:pt x="505" y="332"/>
                  </a:lnTo>
                  <a:lnTo>
                    <a:pt x="511" y="343"/>
                  </a:lnTo>
                  <a:lnTo>
                    <a:pt x="516" y="346"/>
                  </a:lnTo>
                  <a:lnTo>
                    <a:pt x="521" y="347"/>
                  </a:lnTo>
                  <a:lnTo>
                    <a:pt x="530" y="347"/>
                  </a:lnTo>
                  <a:lnTo>
                    <a:pt x="535" y="349"/>
                  </a:lnTo>
                  <a:lnTo>
                    <a:pt x="544" y="353"/>
                  </a:lnTo>
                  <a:lnTo>
                    <a:pt x="554" y="355"/>
                  </a:lnTo>
                  <a:lnTo>
                    <a:pt x="565" y="356"/>
                  </a:lnTo>
                  <a:lnTo>
                    <a:pt x="572" y="354"/>
                  </a:lnTo>
                  <a:lnTo>
                    <a:pt x="577" y="349"/>
                  </a:lnTo>
                  <a:lnTo>
                    <a:pt x="579" y="342"/>
                  </a:lnTo>
                  <a:lnTo>
                    <a:pt x="580" y="334"/>
                  </a:lnTo>
                  <a:lnTo>
                    <a:pt x="580" y="327"/>
                  </a:lnTo>
                  <a:lnTo>
                    <a:pt x="579" y="321"/>
                  </a:lnTo>
                  <a:lnTo>
                    <a:pt x="579" y="316"/>
                  </a:lnTo>
                  <a:lnTo>
                    <a:pt x="579" y="309"/>
                  </a:lnTo>
                  <a:lnTo>
                    <a:pt x="578" y="305"/>
                  </a:lnTo>
                  <a:lnTo>
                    <a:pt x="573" y="302"/>
                  </a:lnTo>
                  <a:lnTo>
                    <a:pt x="567" y="300"/>
                  </a:lnTo>
                  <a:lnTo>
                    <a:pt x="563" y="301"/>
                  </a:lnTo>
                  <a:lnTo>
                    <a:pt x="561" y="304"/>
                  </a:lnTo>
                  <a:lnTo>
                    <a:pt x="558" y="307"/>
                  </a:lnTo>
                  <a:lnTo>
                    <a:pt x="554" y="309"/>
                  </a:lnTo>
                  <a:lnTo>
                    <a:pt x="549" y="308"/>
                  </a:lnTo>
                  <a:lnTo>
                    <a:pt x="542" y="303"/>
                  </a:lnTo>
                  <a:lnTo>
                    <a:pt x="534" y="297"/>
                  </a:lnTo>
                  <a:lnTo>
                    <a:pt x="526" y="292"/>
                  </a:lnTo>
                  <a:lnTo>
                    <a:pt x="518" y="291"/>
                  </a:lnTo>
                  <a:lnTo>
                    <a:pt x="511" y="290"/>
                  </a:lnTo>
                  <a:lnTo>
                    <a:pt x="503" y="287"/>
                  </a:lnTo>
                  <a:lnTo>
                    <a:pt x="494" y="284"/>
                  </a:lnTo>
                  <a:lnTo>
                    <a:pt x="486" y="280"/>
                  </a:lnTo>
                  <a:lnTo>
                    <a:pt x="478" y="277"/>
                  </a:lnTo>
                  <a:lnTo>
                    <a:pt x="471" y="276"/>
                  </a:lnTo>
                  <a:close/>
                  <a:moveTo>
                    <a:pt x="500" y="0"/>
                  </a:moveTo>
                  <a:lnTo>
                    <a:pt x="505" y="1"/>
                  </a:lnTo>
                  <a:lnTo>
                    <a:pt x="511" y="7"/>
                  </a:lnTo>
                  <a:lnTo>
                    <a:pt x="518" y="13"/>
                  </a:lnTo>
                  <a:lnTo>
                    <a:pt x="526" y="17"/>
                  </a:lnTo>
                  <a:lnTo>
                    <a:pt x="533" y="19"/>
                  </a:lnTo>
                  <a:lnTo>
                    <a:pt x="543" y="21"/>
                  </a:lnTo>
                  <a:lnTo>
                    <a:pt x="556" y="23"/>
                  </a:lnTo>
                  <a:lnTo>
                    <a:pt x="569" y="24"/>
                  </a:lnTo>
                  <a:lnTo>
                    <a:pt x="581" y="24"/>
                  </a:lnTo>
                  <a:lnTo>
                    <a:pt x="591" y="22"/>
                  </a:lnTo>
                  <a:lnTo>
                    <a:pt x="598" y="19"/>
                  </a:lnTo>
                  <a:lnTo>
                    <a:pt x="609" y="13"/>
                  </a:lnTo>
                  <a:lnTo>
                    <a:pt x="621" y="9"/>
                  </a:lnTo>
                  <a:lnTo>
                    <a:pt x="635" y="10"/>
                  </a:lnTo>
                  <a:lnTo>
                    <a:pt x="647" y="14"/>
                  </a:lnTo>
                  <a:lnTo>
                    <a:pt x="653" y="19"/>
                  </a:lnTo>
                  <a:lnTo>
                    <a:pt x="660" y="27"/>
                  </a:lnTo>
                  <a:lnTo>
                    <a:pt x="674" y="45"/>
                  </a:lnTo>
                  <a:lnTo>
                    <a:pt x="680" y="53"/>
                  </a:lnTo>
                  <a:lnTo>
                    <a:pt x="685" y="60"/>
                  </a:lnTo>
                  <a:lnTo>
                    <a:pt x="688" y="64"/>
                  </a:lnTo>
                  <a:lnTo>
                    <a:pt x="689" y="64"/>
                  </a:lnTo>
                  <a:lnTo>
                    <a:pt x="689" y="63"/>
                  </a:lnTo>
                  <a:lnTo>
                    <a:pt x="688" y="61"/>
                  </a:lnTo>
                  <a:lnTo>
                    <a:pt x="688" y="59"/>
                  </a:lnTo>
                  <a:lnTo>
                    <a:pt x="697" y="71"/>
                  </a:lnTo>
                  <a:lnTo>
                    <a:pt x="704" y="85"/>
                  </a:lnTo>
                  <a:lnTo>
                    <a:pt x="711" y="97"/>
                  </a:lnTo>
                  <a:lnTo>
                    <a:pt x="717" y="106"/>
                  </a:lnTo>
                  <a:lnTo>
                    <a:pt x="720" y="112"/>
                  </a:lnTo>
                  <a:lnTo>
                    <a:pt x="725" y="117"/>
                  </a:lnTo>
                  <a:lnTo>
                    <a:pt x="733" y="123"/>
                  </a:lnTo>
                  <a:lnTo>
                    <a:pt x="751" y="135"/>
                  </a:lnTo>
                  <a:lnTo>
                    <a:pt x="758" y="139"/>
                  </a:lnTo>
                  <a:lnTo>
                    <a:pt x="763" y="142"/>
                  </a:lnTo>
                  <a:lnTo>
                    <a:pt x="768" y="146"/>
                  </a:lnTo>
                  <a:lnTo>
                    <a:pt x="773" y="155"/>
                  </a:lnTo>
                  <a:lnTo>
                    <a:pt x="779" y="165"/>
                  </a:lnTo>
                  <a:lnTo>
                    <a:pt x="785" y="176"/>
                  </a:lnTo>
                  <a:lnTo>
                    <a:pt x="789" y="186"/>
                  </a:lnTo>
                  <a:lnTo>
                    <a:pt x="794" y="193"/>
                  </a:lnTo>
                  <a:lnTo>
                    <a:pt x="800" y="197"/>
                  </a:lnTo>
                  <a:lnTo>
                    <a:pt x="808" y="199"/>
                  </a:lnTo>
                  <a:lnTo>
                    <a:pt x="828" y="199"/>
                  </a:lnTo>
                  <a:lnTo>
                    <a:pt x="836" y="198"/>
                  </a:lnTo>
                  <a:lnTo>
                    <a:pt x="842" y="195"/>
                  </a:lnTo>
                  <a:lnTo>
                    <a:pt x="846" y="192"/>
                  </a:lnTo>
                  <a:lnTo>
                    <a:pt x="854" y="188"/>
                  </a:lnTo>
                  <a:lnTo>
                    <a:pt x="859" y="190"/>
                  </a:lnTo>
                  <a:lnTo>
                    <a:pt x="864" y="195"/>
                  </a:lnTo>
                  <a:lnTo>
                    <a:pt x="870" y="203"/>
                  </a:lnTo>
                  <a:lnTo>
                    <a:pt x="877" y="208"/>
                  </a:lnTo>
                  <a:lnTo>
                    <a:pt x="883" y="210"/>
                  </a:lnTo>
                  <a:lnTo>
                    <a:pt x="888" y="209"/>
                  </a:lnTo>
                  <a:lnTo>
                    <a:pt x="891" y="207"/>
                  </a:lnTo>
                  <a:lnTo>
                    <a:pt x="893" y="203"/>
                  </a:lnTo>
                  <a:lnTo>
                    <a:pt x="895" y="200"/>
                  </a:lnTo>
                  <a:lnTo>
                    <a:pt x="899" y="197"/>
                  </a:lnTo>
                  <a:lnTo>
                    <a:pt x="907" y="195"/>
                  </a:lnTo>
                  <a:lnTo>
                    <a:pt x="915" y="195"/>
                  </a:lnTo>
                  <a:lnTo>
                    <a:pt x="922" y="198"/>
                  </a:lnTo>
                  <a:lnTo>
                    <a:pt x="928" y="201"/>
                  </a:lnTo>
                  <a:lnTo>
                    <a:pt x="936" y="206"/>
                  </a:lnTo>
                  <a:lnTo>
                    <a:pt x="946" y="210"/>
                  </a:lnTo>
                  <a:lnTo>
                    <a:pt x="956" y="215"/>
                  </a:lnTo>
                  <a:lnTo>
                    <a:pt x="965" y="219"/>
                  </a:lnTo>
                  <a:lnTo>
                    <a:pt x="972" y="221"/>
                  </a:lnTo>
                  <a:lnTo>
                    <a:pt x="979" y="221"/>
                  </a:lnTo>
                  <a:lnTo>
                    <a:pt x="988" y="220"/>
                  </a:lnTo>
                  <a:lnTo>
                    <a:pt x="996" y="219"/>
                  </a:lnTo>
                  <a:lnTo>
                    <a:pt x="1003" y="219"/>
                  </a:lnTo>
                  <a:lnTo>
                    <a:pt x="1008" y="221"/>
                  </a:lnTo>
                  <a:lnTo>
                    <a:pt x="1011" y="224"/>
                  </a:lnTo>
                  <a:lnTo>
                    <a:pt x="1011" y="228"/>
                  </a:lnTo>
                  <a:lnTo>
                    <a:pt x="1010" y="234"/>
                  </a:lnTo>
                  <a:lnTo>
                    <a:pt x="1011" y="242"/>
                  </a:lnTo>
                  <a:lnTo>
                    <a:pt x="1013" y="246"/>
                  </a:lnTo>
                  <a:lnTo>
                    <a:pt x="1016" y="247"/>
                  </a:lnTo>
                  <a:lnTo>
                    <a:pt x="1020" y="248"/>
                  </a:lnTo>
                  <a:lnTo>
                    <a:pt x="1023" y="249"/>
                  </a:lnTo>
                  <a:lnTo>
                    <a:pt x="1027" y="253"/>
                  </a:lnTo>
                  <a:lnTo>
                    <a:pt x="1031" y="258"/>
                  </a:lnTo>
                  <a:lnTo>
                    <a:pt x="1038" y="264"/>
                  </a:lnTo>
                  <a:lnTo>
                    <a:pt x="1047" y="271"/>
                  </a:lnTo>
                  <a:lnTo>
                    <a:pt x="1057" y="279"/>
                  </a:lnTo>
                  <a:lnTo>
                    <a:pt x="1068" y="286"/>
                  </a:lnTo>
                  <a:lnTo>
                    <a:pt x="1078" y="294"/>
                  </a:lnTo>
                  <a:lnTo>
                    <a:pt x="1092" y="304"/>
                  </a:lnTo>
                  <a:lnTo>
                    <a:pt x="1096" y="307"/>
                  </a:lnTo>
                  <a:lnTo>
                    <a:pt x="1101" y="308"/>
                  </a:lnTo>
                  <a:lnTo>
                    <a:pt x="1105" y="306"/>
                  </a:lnTo>
                  <a:lnTo>
                    <a:pt x="1109" y="303"/>
                  </a:lnTo>
                  <a:lnTo>
                    <a:pt x="1115" y="302"/>
                  </a:lnTo>
                  <a:lnTo>
                    <a:pt x="1117" y="302"/>
                  </a:lnTo>
                  <a:lnTo>
                    <a:pt x="1119" y="303"/>
                  </a:lnTo>
                  <a:lnTo>
                    <a:pt x="1120" y="305"/>
                  </a:lnTo>
                  <a:lnTo>
                    <a:pt x="1120" y="306"/>
                  </a:lnTo>
                  <a:lnTo>
                    <a:pt x="1122" y="310"/>
                  </a:lnTo>
                  <a:lnTo>
                    <a:pt x="1123" y="313"/>
                  </a:lnTo>
                  <a:lnTo>
                    <a:pt x="1127" y="317"/>
                  </a:lnTo>
                  <a:lnTo>
                    <a:pt x="1129" y="317"/>
                  </a:lnTo>
                  <a:lnTo>
                    <a:pt x="1130" y="316"/>
                  </a:lnTo>
                  <a:lnTo>
                    <a:pt x="1132" y="315"/>
                  </a:lnTo>
                  <a:lnTo>
                    <a:pt x="1133" y="314"/>
                  </a:lnTo>
                  <a:lnTo>
                    <a:pt x="1134" y="312"/>
                  </a:lnTo>
                  <a:lnTo>
                    <a:pt x="1135" y="311"/>
                  </a:lnTo>
                  <a:lnTo>
                    <a:pt x="1138" y="311"/>
                  </a:lnTo>
                  <a:lnTo>
                    <a:pt x="1142" y="315"/>
                  </a:lnTo>
                  <a:lnTo>
                    <a:pt x="1146" y="323"/>
                  </a:lnTo>
                  <a:lnTo>
                    <a:pt x="1151" y="332"/>
                  </a:lnTo>
                  <a:lnTo>
                    <a:pt x="1154" y="339"/>
                  </a:lnTo>
                  <a:lnTo>
                    <a:pt x="1157" y="342"/>
                  </a:lnTo>
                  <a:lnTo>
                    <a:pt x="1161" y="342"/>
                  </a:lnTo>
                  <a:lnTo>
                    <a:pt x="1166" y="341"/>
                  </a:lnTo>
                  <a:lnTo>
                    <a:pt x="1172" y="340"/>
                  </a:lnTo>
                  <a:lnTo>
                    <a:pt x="1177" y="339"/>
                  </a:lnTo>
                  <a:lnTo>
                    <a:pt x="1185" y="339"/>
                  </a:lnTo>
                  <a:lnTo>
                    <a:pt x="1194" y="342"/>
                  </a:lnTo>
                  <a:lnTo>
                    <a:pt x="1202" y="346"/>
                  </a:lnTo>
                  <a:lnTo>
                    <a:pt x="1206" y="348"/>
                  </a:lnTo>
                  <a:lnTo>
                    <a:pt x="1214" y="350"/>
                  </a:lnTo>
                  <a:lnTo>
                    <a:pt x="1222" y="351"/>
                  </a:lnTo>
                  <a:lnTo>
                    <a:pt x="1229" y="352"/>
                  </a:lnTo>
                  <a:lnTo>
                    <a:pt x="1234" y="353"/>
                  </a:lnTo>
                  <a:lnTo>
                    <a:pt x="1216" y="363"/>
                  </a:lnTo>
                  <a:lnTo>
                    <a:pt x="1208" y="367"/>
                  </a:lnTo>
                  <a:lnTo>
                    <a:pt x="1205" y="370"/>
                  </a:lnTo>
                  <a:lnTo>
                    <a:pt x="1203" y="374"/>
                  </a:lnTo>
                  <a:lnTo>
                    <a:pt x="1205" y="384"/>
                  </a:lnTo>
                  <a:lnTo>
                    <a:pt x="1204" y="390"/>
                  </a:lnTo>
                  <a:lnTo>
                    <a:pt x="1199" y="395"/>
                  </a:lnTo>
                  <a:lnTo>
                    <a:pt x="1191" y="401"/>
                  </a:lnTo>
                  <a:lnTo>
                    <a:pt x="1180" y="407"/>
                  </a:lnTo>
                  <a:lnTo>
                    <a:pt x="1168" y="413"/>
                  </a:lnTo>
                  <a:lnTo>
                    <a:pt x="1157" y="418"/>
                  </a:lnTo>
                  <a:lnTo>
                    <a:pt x="1149" y="422"/>
                  </a:lnTo>
                  <a:lnTo>
                    <a:pt x="1144" y="424"/>
                  </a:lnTo>
                  <a:lnTo>
                    <a:pt x="1140" y="423"/>
                  </a:lnTo>
                  <a:lnTo>
                    <a:pt x="1133" y="416"/>
                  </a:lnTo>
                  <a:lnTo>
                    <a:pt x="1127" y="412"/>
                  </a:lnTo>
                  <a:lnTo>
                    <a:pt x="1120" y="411"/>
                  </a:lnTo>
                  <a:lnTo>
                    <a:pt x="1113" y="411"/>
                  </a:lnTo>
                  <a:lnTo>
                    <a:pt x="1109" y="410"/>
                  </a:lnTo>
                  <a:lnTo>
                    <a:pt x="1107" y="409"/>
                  </a:lnTo>
                  <a:lnTo>
                    <a:pt x="1104" y="408"/>
                  </a:lnTo>
                  <a:lnTo>
                    <a:pt x="1100" y="407"/>
                  </a:lnTo>
                  <a:lnTo>
                    <a:pt x="1092" y="407"/>
                  </a:lnTo>
                  <a:lnTo>
                    <a:pt x="1084" y="408"/>
                  </a:lnTo>
                  <a:lnTo>
                    <a:pt x="1080" y="411"/>
                  </a:lnTo>
                  <a:lnTo>
                    <a:pt x="1077" y="415"/>
                  </a:lnTo>
                  <a:lnTo>
                    <a:pt x="1075" y="420"/>
                  </a:lnTo>
                  <a:lnTo>
                    <a:pt x="1071" y="425"/>
                  </a:lnTo>
                  <a:lnTo>
                    <a:pt x="1066" y="431"/>
                  </a:lnTo>
                  <a:lnTo>
                    <a:pt x="1059" y="435"/>
                  </a:lnTo>
                  <a:lnTo>
                    <a:pt x="1051" y="437"/>
                  </a:lnTo>
                  <a:lnTo>
                    <a:pt x="1035" y="437"/>
                  </a:lnTo>
                  <a:lnTo>
                    <a:pt x="1029" y="438"/>
                  </a:lnTo>
                  <a:lnTo>
                    <a:pt x="1025" y="441"/>
                  </a:lnTo>
                  <a:lnTo>
                    <a:pt x="1024" y="447"/>
                  </a:lnTo>
                  <a:lnTo>
                    <a:pt x="1026" y="456"/>
                  </a:lnTo>
                  <a:lnTo>
                    <a:pt x="1029" y="467"/>
                  </a:lnTo>
                  <a:lnTo>
                    <a:pt x="1039" y="492"/>
                  </a:lnTo>
                  <a:lnTo>
                    <a:pt x="1044" y="503"/>
                  </a:lnTo>
                  <a:lnTo>
                    <a:pt x="1048" y="512"/>
                  </a:lnTo>
                  <a:lnTo>
                    <a:pt x="1051" y="518"/>
                  </a:lnTo>
                  <a:lnTo>
                    <a:pt x="1055" y="522"/>
                  </a:lnTo>
                  <a:lnTo>
                    <a:pt x="1060" y="526"/>
                  </a:lnTo>
                  <a:lnTo>
                    <a:pt x="1066" y="528"/>
                  </a:lnTo>
                  <a:lnTo>
                    <a:pt x="1070" y="531"/>
                  </a:lnTo>
                  <a:lnTo>
                    <a:pt x="1073" y="534"/>
                  </a:lnTo>
                  <a:lnTo>
                    <a:pt x="1072" y="537"/>
                  </a:lnTo>
                  <a:lnTo>
                    <a:pt x="1069" y="545"/>
                  </a:lnTo>
                  <a:lnTo>
                    <a:pt x="1071" y="555"/>
                  </a:lnTo>
                  <a:lnTo>
                    <a:pt x="1077" y="567"/>
                  </a:lnTo>
                  <a:lnTo>
                    <a:pt x="1080" y="572"/>
                  </a:lnTo>
                  <a:lnTo>
                    <a:pt x="1080" y="574"/>
                  </a:lnTo>
                  <a:lnTo>
                    <a:pt x="1080" y="576"/>
                  </a:lnTo>
                  <a:lnTo>
                    <a:pt x="1078" y="577"/>
                  </a:lnTo>
                  <a:lnTo>
                    <a:pt x="1075" y="580"/>
                  </a:lnTo>
                  <a:lnTo>
                    <a:pt x="1070" y="586"/>
                  </a:lnTo>
                  <a:lnTo>
                    <a:pt x="1068" y="592"/>
                  </a:lnTo>
                  <a:lnTo>
                    <a:pt x="1071" y="599"/>
                  </a:lnTo>
                  <a:lnTo>
                    <a:pt x="1076" y="606"/>
                  </a:lnTo>
                  <a:lnTo>
                    <a:pt x="1081" y="613"/>
                  </a:lnTo>
                  <a:lnTo>
                    <a:pt x="1088" y="619"/>
                  </a:lnTo>
                  <a:lnTo>
                    <a:pt x="1093" y="624"/>
                  </a:lnTo>
                  <a:lnTo>
                    <a:pt x="1095" y="628"/>
                  </a:lnTo>
                  <a:lnTo>
                    <a:pt x="1095" y="632"/>
                  </a:lnTo>
                  <a:lnTo>
                    <a:pt x="1094" y="633"/>
                  </a:lnTo>
                  <a:lnTo>
                    <a:pt x="1092" y="634"/>
                  </a:lnTo>
                  <a:lnTo>
                    <a:pt x="1089" y="635"/>
                  </a:lnTo>
                  <a:lnTo>
                    <a:pt x="1086" y="635"/>
                  </a:lnTo>
                  <a:lnTo>
                    <a:pt x="1080" y="637"/>
                  </a:lnTo>
                  <a:lnTo>
                    <a:pt x="1079" y="639"/>
                  </a:lnTo>
                  <a:lnTo>
                    <a:pt x="1080" y="642"/>
                  </a:lnTo>
                  <a:lnTo>
                    <a:pt x="1083" y="646"/>
                  </a:lnTo>
                  <a:lnTo>
                    <a:pt x="1086" y="650"/>
                  </a:lnTo>
                  <a:lnTo>
                    <a:pt x="1089" y="655"/>
                  </a:lnTo>
                  <a:lnTo>
                    <a:pt x="1089" y="664"/>
                  </a:lnTo>
                  <a:lnTo>
                    <a:pt x="1091" y="670"/>
                  </a:lnTo>
                  <a:lnTo>
                    <a:pt x="1094" y="675"/>
                  </a:lnTo>
                  <a:lnTo>
                    <a:pt x="1096" y="681"/>
                  </a:lnTo>
                  <a:lnTo>
                    <a:pt x="1095" y="686"/>
                  </a:lnTo>
                  <a:lnTo>
                    <a:pt x="1092" y="693"/>
                  </a:lnTo>
                  <a:lnTo>
                    <a:pt x="1093" y="701"/>
                  </a:lnTo>
                  <a:lnTo>
                    <a:pt x="1097" y="719"/>
                  </a:lnTo>
                  <a:lnTo>
                    <a:pt x="1097" y="725"/>
                  </a:lnTo>
                  <a:lnTo>
                    <a:pt x="1093" y="729"/>
                  </a:lnTo>
                  <a:lnTo>
                    <a:pt x="1088" y="733"/>
                  </a:lnTo>
                  <a:lnTo>
                    <a:pt x="1075" y="741"/>
                  </a:lnTo>
                  <a:lnTo>
                    <a:pt x="1070" y="745"/>
                  </a:lnTo>
                  <a:lnTo>
                    <a:pt x="1070" y="748"/>
                  </a:lnTo>
                  <a:lnTo>
                    <a:pt x="1072" y="750"/>
                  </a:lnTo>
                  <a:lnTo>
                    <a:pt x="1075" y="754"/>
                  </a:lnTo>
                  <a:lnTo>
                    <a:pt x="1076" y="757"/>
                  </a:lnTo>
                  <a:lnTo>
                    <a:pt x="1073" y="760"/>
                  </a:lnTo>
                  <a:lnTo>
                    <a:pt x="1065" y="761"/>
                  </a:lnTo>
                  <a:lnTo>
                    <a:pt x="1054" y="762"/>
                  </a:lnTo>
                  <a:lnTo>
                    <a:pt x="1041" y="763"/>
                  </a:lnTo>
                  <a:lnTo>
                    <a:pt x="1027" y="764"/>
                  </a:lnTo>
                  <a:lnTo>
                    <a:pt x="1015" y="765"/>
                  </a:lnTo>
                  <a:lnTo>
                    <a:pt x="1005" y="767"/>
                  </a:lnTo>
                  <a:lnTo>
                    <a:pt x="1000" y="769"/>
                  </a:lnTo>
                  <a:lnTo>
                    <a:pt x="996" y="772"/>
                  </a:lnTo>
                  <a:lnTo>
                    <a:pt x="986" y="778"/>
                  </a:lnTo>
                  <a:lnTo>
                    <a:pt x="981" y="780"/>
                  </a:lnTo>
                  <a:lnTo>
                    <a:pt x="979" y="784"/>
                  </a:lnTo>
                  <a:lnTo>
                    <a:pt x="980" y="788"/>
                  </a:lnTo>
                  <a:lnTo>
                    <a:pt x="984" y="798"/>
                  </a:lnTo>
                  <a:lnTo>
                    <a:pt x="987" y="808"/>
                  </a:lnTo>
                  <a:lnTo>
                    <a:pt x="989" y="818"/>
                  </a:lnTo>
                  <a:lnTo>
                    <a:pt x="991" y="825"/>
                  </a:lnTo>
                  <a:lnTo>
                    <a:pt x="992" y="832"/>
                  </a:lnTo>
                  <a:lnTo>
                    <a:pt x="990" y="838"/>
                  </a:lnTo>
                  <a:lnTo>
                    <a:pt x="978" y="850"/>
                  </a:lnTo>
                  <a:lnTo>
                    <a:pt x="976" y="858"/>
                  </a:lnTo>
                  <a:lnTo>
                    <a:pt x="977" y="866"/>
                  </a:lnTo>
                  <a:lnTo>
                    <a:pt x="979" y="876"/>
                  </a:lnTo>
                  <a:lnTo>
                    <a:pt x="983" y="886"/>
                  </a:lnTo>
                  <a:lnTo>
                    <a:pt x="990" y="894"/>
                  </a:lnTo>
                  <a:lnTo>
                    <a:pt x="996" y="903"/>
                  </a:lnTo>
                  <a:lnTo>
                    <a:pt x="999" y="912"/>
                  </a:lnTo>
                  <a:lnTo>
                    <a:pt x="1000" y="923"/>
                  </a:lnTo>
                  <a:lnTo>
                    <a:pt x="1003" y="937"/>
                  </a:lnTo>
                  <a:lnTo>
                    <a:pt x="1000" y="937"/>
                  </a:lnTo>
                  <a:lnTo>
                    <a:pt x="996" y="939"/>
                  </a:lnTo>
                  <a:lnTo>
                    <a:pt x="994" y="943"/>
                  </a:lnTo>
                  <a:lnTo>
                    <a:pt x="995" y="948"/>
                  </a:lnTo>
                  <a:lnTo>
                    <a:pt x="997" y="953"/>
                  </a:lnTo>
                  <a:lnTo>
                    <a:pt x="998" y="958"/>
                  </a:lnTo>
                  <a:lnTo>
                    <a:pt x="997" y="961"/>
                  </a:lnTo>
                  <a:lnTo>
                    <a:pt x="993" y="963"/>
                  </a:lnTo>
                  <a:lnTo>
                    <a:pt x="985" y="963"/>
                  </a:lnTo>
                  <a:lnTo>
                    <a:pt x="977" y="964"/>
                  </a:lnTo>
                  <a:lnTo>
                    <a:pt x="970" y="966"/>
                  </a:lnTo>
                  <a:lnTo>
                    <a:pt x="964" y="967"/>
                  </a:lnTo>
                  <a:lnTo>
                    <a:pt x="957" y="964"/>
                  </a:lnTo>
                  <a:lnTo>
                    <a:pt x="950" y="960"/>
                  </a:lnTo>
                  <a:lnTo>
                    <a:pt x="943" y="957"/>
                  </a:lnTo>
                  <a:lnTo>
                    <a:pt x="936" y="955"/>
                  </a:lnTo>
                  <a:lnTo>
                    <a:pt x="931" y="957"/>
                  </a:lnTo>
                  <a:lnTo>
                    <a:pt x="926" y="963"/>
                  </a:lnTo>
                  <a:lnTo>
                    <a:pt x="922" y="970"/>
                  </a:lnTo>
                  <a:lnTo>
                    <a:pt x="917" y="979"/>
                  </a:lnTo>
                  <a:lnTo>
                    <a:pt x="911" y="987"/>
                  </a:lnTo>
                  <a:lnTo>
                    <a:pt x="903" y="994"/>
                  </a:lnTo>
                  <a:lnTo>
                    <a:pt x="896" y="997"/>
                  </a:lnTo>
                  <a:lnTo>
                    <a:pt x="881" y="997"/>
                  </a:lnTo>
                  <a:lnTo>
                    <a:pt x="876" y="999"/>
                  </a:lnTo>
                  <a:lnTo>
                    <a:pt x="874" y="1002"/>
                  </a:lnTo>
                  <a:lnTo>
                    <a:pt x="872" y="1014"/>
                  </a:lnTo>
                  <a:lnTo>
                    <a:pt x="871" y="1019"/>
                  </a:lnTo>
                  <a:lnTo>
                    <a:pt x="867" y="1022"/>
                  </a:lnTo>
                  <a:lnTo>
                    <a:pt x="861" y="1024"/>
                  </a:lnTo>
                  <a:lnTo>
                    <a:pt x="845" y="1024"/>
                  </a:lnTo>
                  <a:lnTo>
                    <a:pt x="837" y="1025"/>
                  </a:lnTo>
                  <a:lnTo>
                    <a:pt x="829" y="1027"/>
                  </a:lnTo>
                  <a:lnTo>
                    <a:pt x="822" y="1031"/>
                  </a:lnTo>
                  <a:lnTo>
                    <a:pt x="816" y="1037"/>
                  </a:lnTo>
                  <a:lnTo>
                    <a:pt x="814" y="1032"/>
                  </a:lnTo>
                  <a:lnTo>
                    <a:pt x="812" y="1030"/>
                  </a:lnTo>
                  <a:lnTo>
                    <a:pt x="809" y="1027"/>
                  </a:lnTo>
                  <a:lnTo>
                    <a:pt x="806" y="1025"/>
                  </a:lnTo>
                  <a:lnTo>
                    <a:pt x="803" y="1025"/>
                  </a:lnTo>
                  <a:lnTo>
                    <a:pt x="800" y="1026"/>
                  </a:lnTo>
                  <a:lnTo>
                    <a:pt x="797" y="1029"/>
                  </a:lnTo>
                  <a:lnTo>
                    <a:pt x="797" y="1031"/>
                  </a:lnTo>
                  <a:lnTo>
                    <a:pt x="796" y="1033"/>
                  </a:lnTo>
                  <a:lnTo>
                    <a:pt x="796" y="1035"/>
                  </a:lnTo>
                  <a:lnTo>
                    <a:pt x="795" y="1037"/>
                  </a:lnTo>
                  <a:lnTo>
                    <a:pt x="793" y="1039"/>
                  </a:lnTo>
                  <a:lnTo>
                    <a:pt x="792" y="1039"/>
                  </a:lnTo>
                  <a:lnTo>
                    <a:pt x="789" y="1038"/>
                  </a:lnTo>
                  <a:lnTo>
                    <a:pt x="787" y="1037"/>
                  </a:lnTo>
                  <a:lnTo>
                    <a:pt x="784" y="1035"/>
                  </a:lnTo>
                  <a:lnTo>
                    <a:pt x="782" y="1033"/>
                  </a:lnTo>
                  <a:lnTo>
                    <a:pt x="779" y="1032"/>
                  </a:lnTo>
                  <a:lnTo>
                    <a:pt x="777" y="1032"/>
                  </a:lnTo>
                  <a:lnTo>
                    <a:pt x="771" y="1035"/>
                  </a:lnTo>
                  <a:lnTo>
                    <a:pt x="765" y="1040"/>
                  </a:lnTo>
                  <a:lnTo>
                    <a:pt x="759" y="1043"/>
                  </a:lnTo>
                  <a:lnTo>
                    <a:pt x="757" y="1046"/>
                  </a:lnTo>
                  <a:lnTo>
                    <a:pt x="757" y="1051"/>
                  </a:lnTo>
                  <a:lnTo>
                    <a:pt x="760" y="1057"/>
                  </a:lnTo>
                  <a:lnTo>
                    <a:pt x="764" y="1060"/>
                  </a:lnTo>
                  <a:lnTo>
                    <a:pt x="767" y="1061"/>
                  </a:lnTo>
                  <a:lnTo>
                    <a:pt x="770" y="1063"/>
                  </a:lnTo>
                  <a:lnTo>
                    <a:pt x="772" y="1064"/>
                  </a:lnTo>
                  <a:lnTo>
                    <a:pt x="773" y="1066"/>
                  </a:lnTo>
                  <a:lnTo>
                    <a:pt x="772" y="1067"/>
                  </a:lnTo>
                  <a:lnTo>
                    <a:pt x="771" y="1069"/>
                  </a:lnTo>
                  <a:lnTo>
                    <a:pt x="770" y="1070"/>
                  </a:lnTo>
                  <a:lnTo>
                    <a:pt x="768" y="1074"/>
                  </a:lnTo>
                  <a:lnTo>
                    <a:pt x="766" y="1075"/>
                  </a:lnTo>
                  <a:lnTo>
                    <a:pt x="765" y="1077"/>
                  </a:lnTo>
                  <a:lnTo>
                    <a:pt x="763" y="1078"/>
                  </a:lnTo>
                  <a:lnTo>
                    <a:pt x="759" y="1078"/>
                  </a:lnTo>
                  <a:lnTo>
                    <a:pt x="756" y="1076"/>
                  </a:lnTo>
                  <a:lnTo>
                    <a:pt x="749" y="1071"/>
                  </a:lnTo>
                  <a:lnTo>
                    <a:pt x="740" y="1066"/>
                  </a:lnTo>
                  <a:lnTo>
                    <a:pt x="731" y="1062"/>
                  </a:lnTo>
                  <a:lnTo>
                    <a:pt x="725" y="1059"/>
                  </a:lnTo>
                  <a:lnTo>
                    <a:pt x="720" y="1057"/>
                  </a:lnTo>
                  <a:lnTo>
                    <a:pt x="710" y="1051"/>
                  </a:lnTo>
                  <a:lnTo>
                    <a:pt x="707" y="1049"/>
                  </a:lnTo>
                  <a:lnTo>
                    <a:pt x="708" y="1048"/>
                  </a:lnTo>
                  <a:lnTo>
                    <a:pt x="717" y="1048"/>
                  </a:lnTo>
                  <a:lnTo>
                    <a:pt x="718" y="1047"/>
                  </a:lnTo>
                  <a:lnTo>
                    <a:pt x="720" y="1046"/>
                  </a:lnTo>
                  <a:lnTo>
                    <a:pt x="721" y="1044"/>
                  </a:lnTo>
                  <a:lnTo>
                    <a:pt x="721" y="1040"/>
                  </a:lnTo>
                  <a:lnTo>
                    <a:pt x="722" y="1036"/>
                  </a:lnTo>
                  <a:lnTo>
                    <a:pt x="725" y="1034"/>
                  </a:lnTo>
                  <a:lnTo>
                    <a:pt x="728" y="1033"/>
                  </a:lnTo>
                  <a:lnTo>
                    <a:pt x="732" y="1033"/>
                  </a:lnTo>
                  <a:lnTo>
                    <a:pt x="736" y="1031"/>
                  </a:lnTo>
                  <a:lnTo>
                    <a:pt x="738" y="1027"/>
                  </a:lnTo>
                  <a:lnTo>
                    <a:pt x="738" y="1019"/>
                  </a:lnTo>
                  <a:lnTo>
                    <a:pt x="735" y="1011"/>
                  </a:lnTo>
                  <a:lnTo>
                    <a:pt x="731" y="1001"/>
                  </a:lnTo>
                  <a:lnTo>
                    <a:pt x="728" y="992"/>
                  </a:lnTo>
                  <a:lnTo>
                    <a:pt x="728" y="984"/>
                  </a:lnTo>
                  <a:lnTo>
                    <a:pt x="731" y="977"/>
                  </a:lnTo>
                  <a:lnTo>
                    <a:pt x="733" y="971"/>
                  </a:lnTo>
                  <a:lnTo>
                    <a:pt x="735" y="968"/>
                  </a:lnTo>
                  <a:lnTo>
                    <a:pt x="738" y="964"/>
                  </a:lnTo>
                  <a:lnTo>
                    <a:pt x="739" y="963"/>
                  </a:lnTo>
                  <a:lnTo>
                    <a:pt x="741" y="962"/>
                  </a:lnTo>
                  <a:lnTo>
                    <a:pt x="742" y="963"/>
                  </a:lnTo>
                  <a:lnTo>
                    <a:pt x="744" y="964"/>
                  </a:lnTo>
                  <a:lnTo>
                    <a:pt x="745" y="965"/>
                  </a:lnTo>
                  <a:lnTo>
                    <a:pt x="746" y="965"/>
                  </a:lnTo>
                  <a:lnTo>
                    <a:pt x="747" y="966"/>
                  </a:lnTo>
                  <a:lnTo>
                    <a:pt x="748" y="965"/>
                  </a:lnTo>
                  <a:lnTo>
                    <a:pt x="749" y="963"/>
                  </a:lnTo>
                  <a:lnTo>
                    <a:pt x="749" y="957"/>
                  </a:lnTo>
                  <a:lnTo>
                    <a:pt x="746" y="951"/>
                  </a:lnTo>
                  <a:lnTo>
                    <a:pt x="740" y="945"/>
                  </a:lnTo>
                  <a:lnTo>
                    <a:pt x="731" y="939"/>
                  </a:lnTo>
                  <a:lnTo>
                    <a:pt x="724" y="937"/>
                  </a:lnTo>
                  <a:lnTo>
                    <a:pt x="717" y="938"/>
                  </a:lnTo>
                  <a:lnTo>
                    <a:pt x="711" y="939"/>
                  </a:lnTo>
                  <a:lnTo>
                    <a:pt x="707" y="939"/>
                  </a:lnTo>
                  <a:lnTo>
                    <a:pt x="704" y="937"/>
                  </a:lnTo>
                  <a:lnTo>
                    <a:pt x="704" y="935"/>
                  </a:lnTo>
                  <a:lnTo>
                    <a:pt x="704" y="929"/>
                  </a:lnTo>
                  <a:lnTo>
                    <a:pt x="704" y="927"/>
                  </a:lnTo>
                  <a:lnTo>
                    <a:pt x="704" y="924"/>
                  </a:lnTo>
                  <a:lnTo>
                    <a:pt x="702" y="924"/>
                  </a:lnTo>
                  <a:lnTo>
                    <a:pt x="684" y="930"/>
                  </a:lnTo>
                  <a:lnTo>
                    <a:pt x="674" y="932"/>
                  </a:lnTo>
                  <a:lnTo>
                    <a:pt x="674" y="911"/>
                  </a:lnTo>
                  <a:lnTo>
                    <a:pt x="675" y="905"/>
                  </a:lnTo>
                  <a:lnTo>
                    <a:pt x="678" y="897"/>
                  </a:lnTo>
                  <a:lnTo>
                    <a:pt x="682" y="890"/>
                  </a:lnTo>
                  <a:lnTo>
                    <a:pt x="688" y="885"/>
                  </a:lnTo>
                  <a:lnTo>
                    <a:pt x="691" y="880"/>
                  </a:lnTo>
                  <a:lnTo>
                    <a:pt x="693" y="873"/>
                  </a:lnTo>
                  <a:lnTo>
                    <a:pt x="693" y="864"/>
                  </a:lnTo>
                  <a:lnTo>
                    <a:pt x="694" y="855"/>
                  </a:lnTo>
                  <a:lnTo>
                    <a:pt x="694" y="847"/>
                  </a:lnTo>
                  <a:lnTo>
                    <a:pt x="695" y="843"/>
                  </a:lnTo>
                  <a:lnTo>
                    <a:pt x="694" y="842"/>
                  </a:lnTo>
                  <a:lnTo>
                    <a:pt x="690" y="841"/>
                  </a:lnTo>
                  <a:lnTo>
                    <a:pt x="670" y="841"/>
                  </a:lnTo>
                  <a:lnTo>
                    <a:pt x="665" y="840"/>
                  </a:lnTo>
                  <a:lnTo>
                    <a:pt x="664" y="838"/>
                  </a:lnTo>
                  <a:lnTo>
                    <a:pt x="664" y="832"/>
                  </a:lnTo>
                  <a:lnTo>
                    <a:pt x="660" y="826"/>
                  </a:lnTo>
                  <a:lnTo>
                    <a:pt x="654" y="821"/>
                  </a:lnTo>
                  <a:lnTo>
                    <a:pt x="647" y="818"/>
                  </a:lnTo>
                  <a:lnTo>
                    <a:pt x="644" y="816"/>
                  </a:lnTo>
                  <a:lnTo>
                    <a:pt x="643" y="812"/>
                  </a:lnTo>
                  <a:lnTo>
                    <a:pt x="645" y="807"/>
                  </a:lnTo>
                  <a:lnTo>
                    <a:pt x="646" y="801"/>
                  </a:lnTo>
                  <a:lnTo>
                    <a:pt x="647" y="796"/>
                  </a:lnTo>
                  <a:lnTo>
                    <a:pt x="646" y="793"/>
                  </a:lnTo>
                  <a:lnTo>
                    <a:pt x="641" y="792"/>
                  </a:lnTo>
                  <a:lnTo>
                    <a:pt x="636" y="794"/>
                  </a:lnTo>
                  <a:lnTo>
                    <a:pt x="631" y="795"/>
                  </a:lnTo>
                  <a:lnTo>
                    <a:pt x="625" y="794"/>
                  </a:lnTo>
                  <a:lnTo>
                    <a:pt x="622" y="790"/>
                  </a:lnTo>
                  <a:lnTo>
                    <a:pt x="623" y="785"/>
                  </a:lnTo>
                  <a:lnTo>
                    <a:pt x="625" y="779"/>
                  </a:lnTo>
                  <a:lnTo>
                    <a:pt x="626" y="773"/>
                  </a:lnTo>
                  <a:lnTo>
                    <a:pt x="626" y="768"/>
                  </a:lnTo>
                  <a:lnTo>
                    <a:pt x="624" y="763"/>
                  </a:lnTo>
                  <a:lnTo>
                    <a:pt x="625" y="758"/>
                  </a:lnTo>
                  <a:lnTo>
                    <a:pt x="626" y="753"/>
                  </a:lnTo>
                  <a:lnTo>
                    <a:pt x="624" y="747"/>
                  </a:lnTo>
                  <a:lnTo>
                    <a:pt x="619" y="741"/>
                  </a:lnTo>
                  <a:lnTo>
                    <a:pt x="613" y="735"/>
                  </a:lnTo>
                  <a:lnTo>
                    <a:pt x="610" y="731"/>
                  </a:lnTo>
                  <a:lnTo>
                    <a:pt x="607" y="729"/>
                  </a:lnTo>
                  <a:lnTo>
                    <a:pt x="600" y="728"/>
                  </a:lnTo>
                  <a:lnTo>
                    <a:pt x="590" y="727"/>
                  </a:lnTo>
                  <a:lnTo>
                    <a:pt x="581" y="727"/>
                  </a:lnTo>
                  <a:lnTo>
                    <a:pt x="578" y="726"/>
                  </a:lnTo>
                  <a:lnTo>
                    <a:pt x="576" y="723"/>
                  </a:lnTo>
                  <a:lnTo>
                    <a:pt x="576" y="718"/>
                  </a:lnTo>
                  <a:lnTo>
                    <a:pt x="577" y="713"/>
                  </a:lnTo>
                  <a:lnTo>
                    <a:pt x="577" y="705"/>
                  </a:lnTo>
                  <a:lnTo>
                    <a:pt x="578" y="702"/>
                  </a:lnTo>
                  <a:lnTo>
                    <a:pt x="581" y="700"/>
                  </a:lnTo>
                  <a:lnTo>
                    <a:pt x="591" y="696"/>
                  </a:lnTo>
                  <a:lnTo>
                    <a:pt x="594" y="694"/>
                  </a:lnTo>
                  <a:lnTo>
                    <a:pt x="594" y="690"/>
                  </a:lnTo>
                  <a:lnTo>
                    <a:pt x="592" y="685"/>
                  </a:lnTo>
                  <a:lnTo>
                    <a:pt x="588" y="680"/>
                  </a:lnTo>
                  <a:lnTo>
                    <a:pt x="583" y="674"/>
                  </a:lnTo>
                  <a:lnTo>
                    <a:pt x="580" y="666"/>
                  </a:lnTo>
                  <a:lnTo>
                    <a:pt x="579" y="657"/>
                  </a:lnTo>
                  <a:lnTo>
                    <a:pt x="579" y="643"/>
                  </a:lnTo>
                  <a:lnTo>
                    <a:pt x="580" y="641"/>
                  </a:lnTo>
                  <a:lnTo>
                    <a:pt x="584" y="640"/>
                  </a:lnTo>
                  <a:lnTo>
                    <a:pt x="589" y="639"/>
                  </a:lnTo>
                  <a:lnTo>
                    <a:pt x="595" y="637"/>
                  </a:lnTo>
                  <a:lnTo>
                    <a:pt x="601" y="633"/>
                  </a:lnTo>
                  <a:lnTo>
                    <a:pt x="605" y="627"/>
                  </a:lnTo>
                  <a:lnTo>
                    <a:pt x="608" y="620"/>
                  </a:lnTo>
                  <a:lnTo>
                    <a:pt x="610" y="610"/>
                  </a:lnTo>
                  <a:lnTo>
                    <a:pt x="611" y="599"/>
                  </a:lnTo>
                  <a:lnTo>
                    <a:pt x="611" y="590"/>
                  </a:lnTo>
                  <a:lnTo>
                    <a:pt x="610" y="582"/>
                  </a:lnTo>
                  <a:lnTo>
                    <a:pt x="606" y="578"/>
                  </a:lnTo>
                  <a:lnTo>
                    <a:pt x="600" y="577"/>
                  </a:lnTo>
                  <a:lnTo>
                    <a:pt x="594" y="581"/>
                  </a:lnTo>
                  <a:lnTo>
                    <a:pt x="587" y="587"/>
                  </a:lnTo>
                  <a:lnTo>
                    <a:pt x="581" y="595"/>
                  </a:lnTo>
                  <a:lnTo>
                    <a:pt x="577" y="603"/>
                  </a:lnTo>
                  <a:lnTo>
                    <a:pt x="573" y="609"/>
                  </a:lnTo>
                  <a:lnTo>
                    <a:pt x="567" y="613"/>
                  </a:lnTo>
                  <a:lnTo>
                    <a:pt x="557" y="616"/>
                  </a:lnTo>
                  <a:lnTo>
                    <a:pt x="545" y="618"/>
                  </a:lnTo>
                  <a:lnTo>
                    <a:pt x="523" y="620"/>
                  </a:lnTo>
                  <a:lnTo>
                    <a:pt x="517" y="620"/>
                  </a:lnTo>
                  <a:lnTo>
                    <a:pt x="513" y="618"/>
                  </a:lnTo>
                  <a:lnTo>
                    <a:pt x="510" y="612"/>
                  </a:lnTo>
                  <a:lnTo>
                    <a:pt x="508" y="603"/>
                  </a:lnTo>
                  <a:lnTo>
                    <a:pt x="506" y="595"/>
                  </a:lnTo>
                  <a:lnTo>
                    <a:pt x="505" y="587"/>
                  </a:lnTo>
                  <a:lnTo>
                    <a:pt x="505" y="581"/>
                  </a:lnTo>
                  <a:lnTo>
                    <a:pt x="503" y="576"/>
                  </a:lnTo>
                  <a:lnTo>
                    <a:pt x="498" y="571"/>
                  </a:lnTo>
                  <a:lnTo>
                    <a:pt x="491" y="568"/>
                  </a:lnTo>
                  <a:lnTo>
                    <a:pt x="483" y="569"/>
                  </a:lnTo>
                  <a:lnTo>
                    <a:pt x="476" y="571"/>
                  </a:lnTo>
                  <a:lnTo>
                    <a:pt x="470" y="572"/>
                  </a:lnTo>
                  <a:lnTo>
                    <a:pt x="463" y="573"/>
                  </a:lnTo>
                  <a:lnTo>
                    <a:pt x="453" y="574"/>
                  </a:lnTo>
                  <a:lnTo>
                    <a:pt x="447" y="575"/>
                  </a:lnTo>
                  <a:lnTo>
                    <a:pt x="444" y="578"/>
                  </a:lnTo>
                  <a:lnTo>
                    <a:pt x="443" y="582"/>
                  </a:lnTo>
                  <a:lnTo>
                    <a:pt x="444" y="587"/>
                  </a:lnTo>
                  <a:lnTo>
                    <a:pt x="444" y="591"/>
                  </a:lnTo>
                  <a:lnTo>
                    <a:pt x="443" y="596"/>
                  </a:lnTo>
                  <a:lnTo>
                    <a:pt x="440" y="600"/>
                  </a:lnTo>
                  <a:lnTo>
                    <a:pt x="436" y="599"/>
                  </a:lnTo>
                  <a:lnTo>
                    <a:pt x="430" y="596"/>
                  </a:lnTo>
                  <a:lnTo>
                    <a:pt x="421" y="592"/>
                  </a:lnTo>
                  <a:lnTo>
                    <a:pt x="417" y="591"/>
                  </a:lnTo>
                  <a:lnTo>
                    <a:pt x="414" y="591"/>
                  </a:lnTo>
                  <a:lnTo>
                    <a:pt x="412" y="592"/>
                  </a:lnTo>
                  <a:lnTo>
                    <a:pt x="411" y="592"/>
                  </a:lnTo>
                  <a:lnTo>
                    <a:pt x="410" y="594"/>
                  </a:lnTo>
                  <a:lnTo>
                    <a:pt x="410" y="595"/>
                  </a:lnTo>
                  <a:lnTo>
                    <a:pt x="409" y="597"/>
                  </a:lnTo>
                  <a:lnTo>
                    <a:pt x="409" y="606"/>
                  </a:lnTo>
                  <a:lnTo>
                    <a:pt x="411" y="611"/>
                  </a:lnTo>
                  <a:lnTo>
                    <a:pt x="417" y="615"/>
                  </a:lnTo>
                  <a:lnTo>
                    <a:pt x="425" y="620"/>
                  </a:lnTo>
                  <a:lnTo>
                    <a:pt x="434" y="626"/>
                  </a:lnTo>
                  <a:lnTo>
                    <a:pt x="441" y="634"/>
                  </a:lnTo>
                  <a:lnTo>
                    <a:pt x="445" y="643"/>
                  </a:lnTo>
                  <a:lnTo>
                    <a:pt x="446" y="654"/>
                  </a:lnTo>
                  <a:lnTo>
                    <a:pt x="444" y="676"/>
                  </a:lnTo>
                  <a:lnTo>
                    <a:pt x="441" y="688"/>
                  </a:lnTo>
                  <a:lnTo>
                    <a:pt x="442" y="691"/>
                  </a:lnTo>
                  <a:lnTo>
                    <a:pt x="445" y="695"/>
                  </a:lnTo>
                  <a:lnTo>
                    <a:pt x="448" y="701"/>
                  </a:lnTo>
                  <a:lnTo>
                    <a:pt x="450" y="706"/>
                  </a:lnTo>
                  <a:lnTo>
                    <a:pt x="449" y="711"/>
                  </a:lnTo>
                  <a:lnTo>
                    <a:pt x="444" y="716"/>
                  </a:lnTo>
                  <a:lnTo>
                    <a:pt x="437" y="722"/>
                  </a:lnTo>
                  <a:lnTo>
                    <a:pt x="429" y="729"/>
                  </a:lnTo>
                  <a:lnTo>
                    <a:pt x="424" y="733"/>
                  </a:lnTo>
                  <a:lnTo>
                    <a:pt x="421" y="733"/>
                  </a:lnTo>
                  <a:lnTo>
                    <a:pt x="417" y="731"/>
                  </a:lnTo>
                  <a:lnTo>
                    <a:pt x="411" y="729"/>
                  </a:lnTo>
                  <a:lnTo>
                    <a:pt x="401" y="727"/>
                  </a:lnTo>
                  <a:lnTo>
                    <a:pt x="393" y="727"/>
                  </a:lnTo>
                  <a:lnTo>
                    <a:pt x="387" y="728"/>
                  </a:lnTo>
                  <a:lnTo>
                    <a:pt x="385" y="730"/>
                  </a:lnTo>
                  <a:lnTo>
                    <a:pt x="381" y="736"/>
                  </a:lnTo>
                  <a:lnTo>
                    <a:pt x="378" y="739"/>
                  </a:lnTo>
                  <a:lnTo>
                    <a:pt x="370" y="743"/>
                  </a:lnTo>
                  <a:lnTo>
                    <a:pt x="359" y="745"/>
                  </a:lnTo>
                  <a:lnTo>
                    <a:pt x="349" y="746"/>
                  </a:lnTo>
                  <a:lnTo>
                    <a:pt x="340" y="746"/>
                  </a:lnTo>
                  <a:lnTo>
                    <a:pt x="334" y="748"/>
                  </a:lnTo>
                  <a:lnTo>
                    <a:pt x="329" y="753"/>
                  </a:lnTo>
                  <a:lnTo>
                    <a:pt x="324" y="758"/>
                  </a:lnTo>
                  <a:lnTo>
                    <a:pt x="318" y="763"/>
                  </a:lnTo>
                  <a:lnTo>
                    <a:pt x="312" y="763"/>
                  </a:lnTo>
                  <a:lnTo>
                    <a:pt x="307" y="758"/>
                  </a:lnTo>
                  <a:lnTo>
                    <a:pt x="303" y="750"/>
                  </a:lnTo>
                  <a:lnTo>
                    <a:pt x="300" y="741"/>
                  </a:lnTo>
                  <a:lnTo>
                    <a:pt x="300" y="735"/>
                  </a:lnTo>
                  <a:lnTo>
                    <a:pt x="303" y="731"/>
                  </a:lnTo>
                  <a:lnTo>
                    <a:pt x="308" y="729"/>
                  </a:lnTo>
                  <a:lnTo>
                    <a:pt x="315" y="728"/>
                  </a:lnTo>
                  <a:lnTo>
                    <a:pt x="327" y="728"/>
                  </a:lnTo>
                  <a:lnTo>
                    <a:pt x="329" y="727"/>
                  </a:lnTo>
                  <a:lnTo>
                    <a:pt x="329" y="723"/>
                  </a:lnTo>
                  <a:lnTo>
                    <a:pt x="327" y="719"/>
                  </a:lnTo>
                  <a:lnTo>
                    <a:pt x="327" y="715"/>
                  </a:lnTo>
                  <a:lnTo>
                    <a:pt x="328" y="713"/>
                  </a:lnTo>
                  <a:lnTo>
                    <a:pt x="329" y="708"/>
                  </a:lnTo>
                  <a:lnTo>
                    <a:pt x="329" y="705"/>
                  </a:lnTo>
                  <a:lnTo>
                    <a:pt x="323" y="703"/>
                  </a:lnTo>
                  <a:lnTo>
                    <a:pt x="312" y="700"/>
                  </a:lnTo>
                  <a:lnTo>
                    <a:pt x="305" y="698"/>
                  </a:lnTo>
                  <a:lnTo>
                    <a:pt x="301" y="696"/>
                  </a:lnTo>
                  <a:lnTo>
                    <a:pt x="301" y="693"/>
                  </a:lnTo>
                  <a:lnTo>
                    <a:pt x="302" y="690"/>
                  </a:lnTo>
                  <a:lnTo>
                    <a:pt x="304" y="687"/>
                  </a:lnTo>
                  <a:lnTo>
                    <a:pt x="305" y="684"/>
                  </a:lnTo>
                  <a:lnTo>
                    <a:pt x="307" y="679"/>
                  </a:lnTo>
                  <a:lnTo>
                    <a:pt x="310" y="673"/>
                  </a:lnTo>
                  <a:lnTo>
                    <a:pt x="312" y="666"/>
                  </a:lnTo>
                  <a:lnTo>
                    <a:pt x="312" y="654"/>
                  </a:lnTo>
                  <a:lnTo>
                    <a:pt x="314" y="649"/>
                  </a:lnTo>
                  <a:lnTo>
                    <a:pt x="316" y="643"/>
                  </a:lnTo>
                  <a:lnTo>
                    <a:pt x="314" y="639"/>
                  </a:lnTo>
                  <a:lnTo>
                    <a:pt x="309" y="633"/>
                  </a:lnTo>
                  <a:lnTo>
                    <a:pt x="302" y="627"/>
                  </a:lnTo>
                  <a:lnTo>
                    <a:pt x="293" y="622"/>
                  </a:lnTo>
                  <a:lnTo>
                    <a:pt x="285" y="621"/>
                  </a:lnTo>
                  <a:lnTo>
                    <a:pt x="275" y="620"/>
                  </a:lnTo>
                  <a:lnTo>
                    <a:pt x="265" y="616"/>
                  </a:lnTo>
                  <a:lnTo>
                    <a:pt x="257" y="609"/>
                  </a:lnTo>
                  <a:lnTo>
                    <a:pt x="254" y="600"/>
                  </a:lnTo>
                  <a:lnTo>
                    <a:pt x="253" y="591"/>
                  </a:lnTo>
                  <a:lnTo>
                    <a:pt x="250" y="584"/>
                  </a:lnTo>
                  <a:lnTo>
                    <a:pt x="244" y="580"/>
                  </a:lnTo>
                  <a:lnTo>
                    <a:pt x="234" y="578"/>
                  </a:lnTo>
                  <a:lnTo>
                    <a:pt x="227" y="579"/>
                  </a:lnTo>
                  <a:lnTo>
                    <a:pt x="224" y="582"/>
                  </a:lnTo>
                  <a:lnTo>
                    <a:pt x="223" y="587"/>
                  </a:lnTo>
                  <a:lnTo>
                    <a:pt x="224" y="593"/>
                  </a:lnTo>
                  <a:lnTo>
                    <a:pt x="227" y="598"/>
                  </a:lnTo>
                  <a:lnTo>
                    <a:pt x="229" y="604"/>
                  </a:lnTo>
                  <a:lnTo>
                    <a:pt x="226" y="609"/>
                  </a:lnTo>
                  <a:lnTo>
                    <a:pt x="221" y="615"/>
                  </a:lnTo>
                  <a:lnTo>
                    <a:pt x="212" y="620"/>
                  </a:lnTo>
                  <a:lnTo>
                    <a:pt x="204" y="623"/>
                  </a:lnTo>
                  <a:lnTo>
                    <a:pt x="193" y="630"/>
                  </a:lnTo>
                  <a:lnTo>
                    <a:pt x="181" y="637"/>
                  </a:lnTo>
                  <a:lnTo>
                    <a:pt x="169" y="646"/>
                  </a:lnTo>
                  <a:lnTo>
                    <a:pt x="159" y="653"/>
                  </a:lnTo>
                  <a:lnTo>
                    <a:pt x="152" y="659"/>
                  </a:lnTo>
                  <a:lnTo>
                    <a:pt x="146" y="661"/>
                  </a:lnTo>
                  <a:lnTo>
                    <a:pt x="139" y="661"/>
                  </a:lnTo>
                  <a:lnTo>
                    <a:pt x="121" y="659"/>
                  </a:lnTo>
                  <a:lnTo>
                    <a:pt x="112" y="659"/>
                  </a:lnTo>
                  <a:lnTo>
                    <a:pt x="104" y="661"/>
                  </a:lnTo>
                  <a:lnTo>
                    <a:pt x="97" y="665"/>
                  </a:lnTo>
                  <a:lnTo>
                    <a:pt x="92" y="668"/>
                  </a:lnTo>
                  <a:lnTo>
                    <a:pt x="85" y="669"/>
                  </a:lnTo>
                  <a:lnTo>
                    <a:pt x="84" y="661"/>
                  </a:lnTo>
                  <a:lnTo>
                    <a:pt x="82" y="652"/>
                  </a:lnTo>
                  <a:lnTo>
                    <a:pt x="82" y="643"/>
                  </a:lnTo>
                  <a:lnTo>
                    <a:pt x="84" y="637"/>
                  </a:lnTo>
                  <a:lnTo>
                    <a:pt x="90" y="621"/>
                  </a:lnTo>
                  <a:lnTo>
                    <a:pt x="93" y="615"/>
                  </a:lnTo>
                  <a:lnTo>
                    <a:pt x="94" y="609"/>
                  </a:lnTo>
                  <a:lnTo>
                    <a:pt x="92" y="605"/>
                  </a:lnTo>
                  <a:lnTo>
                    <a:pt x="85" y="598"/>
                  </a:lnTo>
                  <a:lnTo>
                    <a:pt x="81" y="589"/>
                  </a:lnTo>
                  <a:lnTo>
                    <a:pt x="78" y="580"/>
                  </a:lnTo>
                  <a:lnTo>
                    <a:pt x="78" y="578"/>
                  </a:lnTo>
                  <a:lnTo>
                    <a:pt x="77" y="577"/>
                  </a:lnTo>
                  <a:lnTo>
                    <a:pt x="75" y="576"/>
                  </a:lnTo>
                  <a:lnTo>
                    <a:pt x="73" y="577"/>
                  </a:lnTo>
                  <a:lnTo>
                    <a:pt x="70" y="578"/>
                  </a:lnTo>
                  <a:lnTo>
                    <a:pt x="64" y="584"/>
                  </a:lnTo>
                  <a:lnTo>
                    <a:pt x="61" y="586"/>
                  </a:lnTo>
                  <a:lnTo>
                    <a:pt x="56" y="585"/>
                  </a:lnTo>
                  <a:lnTo>
                    <a:pt x="49" y="583"/>
                  </a:lnTo>
                  <a:lnTo>
                    <a:pt x="37" y="579"/>
                  </a:lnTo>
                  <a:lnTo>
                    <a:pt x="27" y="581"/>
                  </a:lnTo>
                  <a:lnTo>
                    <a:pt x="23" y="578"/>
                  </a:lnTo>
                  <a:lnTo>
                    <a:pt x="13" y="570"/>
                  </a:lnTo>
                  <a:lnTo>
                    <a:pt x="6" y="567"/>
                  </a:lnTo>
                  <a:lnTo>
                    <a:pt x="2" y="564"/>
                  </a:lnTo>
                  <a:lnTo>
                    <a:pt x="0" y="559"/>
                  </a:lnTo>
                  <a:lnTo>
                    <a:pt x="1" y="553"/>
                  </a:lnTo>
                  <a:lnTo>
                    <a:pt x="4" y="547"/>
                  </a:lnTo>
                  <a:lnTo>
                    <a:pt x="10" y="537"/>
                  </a:lnTo>
                  <a:lnTo>
                    <a:pt x="13" y="534"/>
                  </a:lnTo>
                  <a:lnTo>
                    <a:pt x="16" y="532"/>
                  </a:lnTo>
                  <a:lnTo>
                    <a:pt x="19" y="529"/>
                  </a:lnTo>
                  <a:lnTo>
                    <a:pt x="18" y="526"/>
                  </a:lnTo>
                  <a:lnTo>
                    <a:pt x="14" y="521"/>
                  </a:lnTo>
                  <a:lnTo>
                    <a:pt x="10" y="515"/>
                  </a:lnTo>
                  <a:lnTo>
                    <a:pt x="10" y="511"/>
                  </a:lnTo>
                  <a:lnTo>
                    <a:pt x="12" y="507"/>
                  </a:lnTo>
                  <a:lnTo>
                    <a:pt x="17" y="503"/>
                  </a:lnTo>
                  <a:lnTo>
                    <a:pt x="26" y="497"/>
                  </a:lnTo>
                  <a:lnTo>
                    <a:pt x="28" y="495"/>
                  </a:lnTo>
                  <a:lnTo>
                    <a:pt x="31" y="495"/>
                  </a:lnTo>
                  <a:lnTo>
                    <a:pt x="33" y="497"/>
                  </a:lnTo>
                  <a:lnTo>
                    <a:pt x="34" y="497"/>
                  </a:lnTo>
                  <a:lnTo>
                    <a:pt x="35" y="498"/>
                  </a:lnTo>
                  <a:lnTo>
                    <a:pt x="54" y="498"/>
                  </a:lnTo>
                  <a:lnTo>
                    <a:pt x="63" y="499"/>
                  </a:lnTo>
                  <a:lnTo>
                    <a:pt x="70" y="501"/>
                  </a:lnTo>
                  <a:lnTo>
                    <a:pt x="73" y="502"/>
                  </a:lnTo>
                  <a:lnTo>
                    <a:pt x="75" y="503"/>
                  </a:lnTo>
                  <a:lnTo>
                    <a:pt x="78" y="503"/>
                  </a:lnTo>
                  <a:lnTo>
                    <a:pt x="79" y="502"/>
                  </a:lnTo>
                  <a:lnTo>
                    <a:pt x="81" y="502"/>
                  </a:lnTo>
                  <a:lnTo>
                    <a:pt x="83" y="501"/>
                  </a:lnTo>
                  <a:lnTo>
                    <a:pt x="88" y="501"/>
                  </a:lnTo>
                  <a:lnTo>
                    <a:pt x="90" y="503"/>
                  </a:lnTo>
                  <a:lnTo>
                    <a:pt x="91" y="505"/>
                  </a:lnTo>
                  <a:lnTo>
                    <a:pt x="93" y="507"/>
                  </a:lnTo>
                  <a:lnTo>
                    <a:pt x="94" y="505"/>
                  </a:lnTo>
                  <a:lnTo>
                    <a:pt x="96" y="497"/>
                  </a:lnTo>
                  <a:lnTo>
                    <a:pt x="98" y="486"/>
                  </a:lnTo>
                  <a:lnTo>
                    <a:pt x="99" y="474"/>
                  </a:lnTo>
                  <a:lnTo>
                    <a:pt x="101" y="461"/>
                  </a:lnTo>
                  <a:lnTo>
                    <a:pt x="102" y="450"/>
                  </a:lnTo>
                  <a:lnTo>
                    <a:pt x="103" y="443"/>
                  </a:lnTo>
                  <a:lnTo>
                    <a:pt x="105" y="437"/>
                  </a:lnTo>
                  <a:lnTo>
                    <a:pt x="109" y="427"/>
                  </a:lnTo>
                  <a:lnTo>
                    <a:pt x="113" y="415"/>
                  </a:lnTo>
                  <a:lnTo>
                    <a:pt x="119" y="402"/>
                  </a:lnTo>
                  <a:lnTo>
                    <a:pt x="124" y="389"/>
                  </a:lnTo>
                  <a:lnTo>
                    <a:pt x="129" y="378"/>
                  </a:lnTo>
                  <a:lnTo>
                    <a:pt x="133" y="370"/>
                  </a:lnTo>
                  <a:lnTo>
                    <a:pt x="136" y="365"/>
                  </a:lnTo>
                  <a:lnTo>
                    <a:pt x="138" y="360"/>
                  </a:lnTo>
                  <a:lnTo>
                    <a:pt x="139" y="351"/>
                  </a:lnTo>
                  <a:lnTo>
                    <a:pt x="139" y="330"/>
                  </a:lnTo>
                  <a:lnTo>
                    <a:pt x="138" y="319"/>
                  </a:lnTo>
                  <a:lnTo>
                    <a:pt x="137" y="311"/>
                  </a:lnTo>
                  <a:lnTo>
                    <a:pt x="137" y="298"/>
                  </a:lnTo>
                  <a:lnTo>
                    <a:pt x="140" y="287"/>
                  </a:lnTo>
                  <a:lnTo>
                    <a:pt x="144" y="278"/>
                  </a:lnTo>
                  <a:lnTo>
                    <a:pt x="145" y="272"/>
                  </a:lnTo>
                  <a:lnTo>
                    <a:pt x="143" y="264"/>
                  </a:lnTo>
                  <a:lnTo>
                    <a:pt x="140" y="254"/>
                  </a:lnTo>
                  <a:lnTo>
                    <a:pt x="144" y="254"/>
                  </a:lnTo>
                  <a:lnTo>
                    <a:pt x="147" y="253"/>
                  </a:lnTo>
                  <a:lnTo>
                    <a:pt x="149" y="252"/>
                  </a:lnTo>
                  <a:lnTo>
                    <a:pt x="150" y="251"/>
                  </a:lnTo>
                  <a:lnTo>
                    <a:pt x="150" y="246"/>
                  </a:lnTo>
                  <a:lnTo>
                    <a:pt x="151" y="240"/>
                  </a:lnTo>
                  <a:lnTo>
                    <a:pt x="151" y="234"/>
                  </a:lnTo>
                  <a:lnTo>
                    <a:pt x="153" y="230"/>
                  </a:lnTo>
                  <a:lnTo>
                    <a:pt x="154" y="226"/>
                  </a:lnTo>
                  <a:lnTo>
                    <a:pt x="153" y="220"/>
                  </a:lnTo>
                  <a:lnTo>
                    <a:pt x="149" y="216"/>
                  </a:lnTo>
                  <a:lnTo>
                    <a:pt x="142" y="213"/>
                  </a:lnTo>
                  <a:lnTo>
                    <a:pt x="134" y="214"/>
                  </a:lnTo>
                  <a:lnTo>
                    <a:pt x="127" y="215"/>
                  </a:lnTo>
                  <a:lnTo>
                    <a:pt x="118" y="216"/>
                  </a:lnTo>
                  <a:lnTo>
                    <a:pt x="111" y="214"/>
                  </a:lnTo>
                  <a:lnTo>
                    <a:pt x="103" y="208"/>
                  </a:lnTo>
                  <a:lnTo>
                    <a:pt x="99" y="200"/>
                  </a:lnTo>
                  <a:lnTo>
                    <a:pt x="98" y="189"/>
                  </a:lnTo>
                  <a:lnTo>
                    <a:pt x="98" y="177"/>
                  </a:lnTo>
                  <a:lnTo>
                    <a:pt x="100" y="165"/>
                  </a:lnTo>
                  <a:lnTo>
                    <a:pt x="102" y="154"/>
                  </a:lnTo>
                  <a:lnTo>
                    <a:pt x="106" y="146"/>
                  </a:lnTo>
                  <a:lnTo>
                    <a:pt x="109" y="142"/>
                  </a:lnTo>
                  <a:lnTo>
                    <a:pt x="113" y="141"/>
                  </a:lnTo>
                  <a:lnTo>
                    <a:pt x="128" y="141"/>
                  </a:lnTo>
                  <a:lnTo>
                    <a:pt x="131" y="138"/>
                  </a:lnTo>
                  <a:lnTo>
                    <a:pt x="132" y="133"/>
                  </a:lnTo>
                  <a:lnTo>
                    <a:pt x="129" y="126"/>
                  </a:lnTo>
                  <a:lnTo>
                    <a:pt x="125" y="120"/>
                  </a:lnTo>
                  <a:lnTo>
                    <a:pt x="121" y="116"/>
                  </a:lnTo>
                  <a:lnTo>
                    <a:pt x="119" y="112"/>
                  </a:lnTo>
                  <a:lnTo>
                    <a:pt x="121" y="108"/>
                  </a:lnTo>
                  <a:lnTo>
                    <a:pt x="128" y="103"/>
                  </a:lnTo>
                  <a:lnTo>
                    <a:pt x="137" y="96"/>
                  </a:lnTo>
                  <a:lnTo>
                    <a:pt x="147" y="89"/>
                  </a:lnTo>
                  <a:lnTo>
                    <a:pt x="156" y="82"/>
                  </a:lnTo>
                  <a:lnTo>
                    <a:pt x="164" y="78"/>
                  </a:lnTo>
                  <a:lnTo>
                    <a:pt x="175" y="75"/>
                  </a:lnTo>
                  <a:lnTo>
                    <a:pt x="188" y="74"/>
                  </a:lnTo>
                  <a:lnTo>
                    <a:pt x="200" y="74"/>
                  </a:lnTo>
                  <a:lnTo>
                    <a:pt x="209" y="76"/>
                  </a:lnTo>
                  <a:lnTo>
                    <a:pt x="225" y="80"/>
                  </a:lnTo>
                  <a:lnTo>
                    <a:pt x="240" y="79"/>
                  </a:lnTo>
                  <a:lnTo>
                    <a:pt x="256" y="73"/>
                  </a:lnTo>
                  <a:lnTo>
                    <a:pt x="268" y="71"/>
                  </a:lnTo>
                  <a:lnTo>
                    <a:pt x="280" y="70"/>
                  </a:lnTo>
                  <a:lnTo>
                    <a:pt x="292" y="71"/>
                  </a:lnTo>
                  <a:lnTo>
                    <a:pt x="303" y="70"/>
                  </a:lnTo>
                  <a:lnTo>
                    <a:pt x="312" y="68"/>
                  </a:lnTo>
                  <a:lnTo>
                    <a:pt x="322" y="67"/>
                  </a:lnTo>
                  <a:lnTo>
                    <a:pt x="330" y="66"/>
                  </a:lnTo>
                  <a:lnTo>
                    <a:pt x="338" y="67"/>
                  </a:lnTo>
                  <a:lnTo>
                    <a:pt x="344" y="68"/>
                  </a:lnTo>
                  <a:lnTo>
                    <a:pt x="347" y="71"/>
                  </a:lnTo>
                  <a:lnTo>
                    <a:pt x="348" y="80"/>
                  </a:lnTo>
                  <a:lnTo>
                    <a:pt x="350" y="91"/>
                  </a:lnTo>
                  <a:lnTo>
                    <a:pt x="353" y="102"/>
                  </a:lnTo>
                  <a:lnTo>
                    <a:pt x="358" y="112"/>
                  </a:lnTo>
                  <a:lnTo>
                    <a:pt x="365" y="122"/>
                  </a:lnTo>
                  <a:lnTo>
                    <a:pt x="371" y="129"/>
                  </a:lnTo>
                  <a:lnTo>
                    <a:pt x="376" y="131"/>
                  </a:lnTo>
                  <a:lnTo>
                    <a:pt x="378" y="133"/>
                  </a:lnTo>
                  <a:lnTo>
                    <a:pt x="380" y="137"/>
                  </a:lnTo>
                  <a:lnTo>
                    <a:pt x="381" y="143"/>
                  </a:lnTo>
                  <a:lnTo>
                    <a:pt x="379" y="148"/>
                  </a:lnTo>
                  <a:lnTo>
                    <a:pt x="376" y="153"/>
                  </a:lnTo>
                  <a:lnTo>
                    <a:pt x="369" y="154"/>
                  </a:lnTo>
                  <a:lnTo>
                    <a:pt x="359" y="154"/>
                  </a:lnTo>
                  <a:lnTo>
                    <a:pt x="356" y="155"/>
                  </a:lnTo>
                  <a:lnTo>
                    <a:pt x="355" y="156"/>
                  </a:lnTo>
                  <a:lnTo>
                    <a:pt x="354" y="158"/>
                  </a:lnTo>
                  <a:lnTo>
                    <a:pt x="356" y="164"/>
                  </a:lnTo>
                  <a:lnTo>
                    <a:pt x="358" y="169"/>
                  </a:lnTo>
                  <a:lnTo>
                    <a:pt x="359" y="173"/>
                  </a:lnTo>
                  <a:lnTo>
                    <a:pt x="360" y="175"/>
                  </a:lnTo>
                  <a:lnTo>
                    <a:pt x="362" y="177"/>
                  </a:lnTo>
                  <a:lnTo>
                    <a:pt x="363" y="177"/>
                  </a:lnTo>
                  <a:lnTo>
                    <a:pt x="364" y="176"/>
                  </a:lnTo>
                  <a:lnTo>
                    <a:pt x="365" y="176"/>
                  </a:lnTo>
                  <a:lnTo>
                    <a:pt x="367" y="175"/>
                  </a:lnTo>
                  <a:lnTo>
                    <a:pt x="369" y="175"/>
                  </a:lnTo>
                  <a:lnTo>
                    <a:pt x="372" y="176"/>
                  </a:lnTo>
                  <a:lnTo>
                    <a:pt x="376" y="178"/>
                  </a:lnTo>
                  <a:lnTo>
                    <a:pt x="385" y="193"/>
                  </a:lnTo>
                  <a:lnTo>
                    <a:pt x="388" y="197"/>
                  </a:lnTo>
                  <a:lnTo>
                    <a:pt x="394" y="198"/>
                  </a:lnTo>
                  <a:lnTo>
                    <a:pt x="401" y="195"/>
                  </a:lnTo>
                  <a:lnTo>
                    <a:pt x="408" y="187"/>
                  </a:lnTo>
                  <a:lnTo>
                    <a:pt x="413" y="177"/>
                  </a:lnTo>
                  <a:lnTo>
                    <a:pt x="416" y="166"/>
                  </a:lnTo>
                  <a:lnTo>
                    <a:pt x="418" y="155"/>
                  </a:lnTo>
                  <a:lnTo>
                    <a:pt x="418" y="149"/>
                  </a:lnTo>
                  <a:lnTo>
                    <a:pt x="415" y="147"/>
                  </a:lnTo>
                  <a:lnTo>
                    <a:pt x="412" y="146"/>
                  </a:lnTo>
                  <a:lnTo>
                    <a:pt x="408" y="146"/>
                  </a:lnTo>
                  <a:lnTo>
                    <a:pt x="404" y="147"/>
                  </a:lnTo>
                  <a:lnTo>
                    <a:pt x="401" y="146"/>
                  </a:lnTo>
                  <a:lnTo>
                    <a:pt x="400" y="144"/>
                  </a:lnTo>
                  <a:lnTo>
                    <a:pt x="400" y="139"/>
                  </a:lnTo>
                  <a:lnTo>
                    <a:pt x="401" y="131"/>
                  </a:lnTo>
                  <a:lnTo>
                    <a:pt x="404" y="123"/>
                  </a:lnTo>
                  <a:lnTo>
                    <a:pt x="408" y="116"/>
                  </a:lnTo>
                  <a:lnTo>
                    <a:pt x="414" y="110"/>
                  </a:lnTo>
                  <a:lnTo>
                    <a:pt x="420" y="108"/>
                  </a:lnTo>
                  <a:lnTo>
                    <a:pt x="425" y="110"/>
                  </a:lnTo>
                  <a:lnTo>
                    <a:pt x="428" y="113"/>
                  </a:lnTo>
                  <a:lnTo>
                    <a:pt x="429" y="119"/>
                  </a:lnTo>
                  <a:lnTo>
                    <a:pt x="431" y="124"/>
                  </a:lnTo>
                  <a:lnTo>
                    <a:pt x="434" y="128"/>
                  </a:lnTo>
                  <a:lnTo>
                    <a:pt x="439" y="130"/>
                  </a:lnTo>
                  <a:lnTo>
                    <a:pt x="446" y="131"/>
                  </a:lnTo>
                  <a:lnTo>
                    <a:pt x="461" y="137"/>
                  </a:lnTo>
                  <a:lnTo>
                    <a:pt x="467" y="141"/>
                  </a:lnTo>
                  <a:lnTo>
                    <a:pt x="471" y="144"/>
                  </a:lnTo>
                  <a:lnTo>
                    <a:pt x="472" y="145"/>
                  </a:lnTo>
                  <a:lnTo>
                    <a:pt x="470" y="147"/>
                  </a:lnTo>
                  <a:lnTo>
                    <a:pt x="467" y="151"/>
                  </a:lnTo>
                  <a:lnTo>
                    <a:pt x="463" y="156"/>
                  </a:lnTo>
                  <a:lnTo>
                    <a:pt x="460" y="161"/>
                  </a:lnTo>
                  <a:lnTo>
                    <a:pt x="459" y="165"/>
                  </a:lnTo>
                  <a:lnTo>
                    <a:pt x="460" y="166"/>
                  </a:lnTo>
                  <a:lnTo>
                    <a:pt x="464" y="165"/>
                  </a:lnTo>
                  <a:lnTo>
                    <a:pt x="470" y="163"/>
                  </a:lnTo>
                  <a:lnTo>
                    <a:pt x="475" y="159"/>
                  </a:lnTo>
                  <a:lnTo>
                    <a:pt x="478" y="155"/>
                  </a:lnTo>
                  <a:lnTo>
                    <a:pt x="479" y="146"/>
                  </a:lnTo>
                  <a:lnTo>
                    <a:pt x="477" y="135"/>
                  </a:lnTo>
                  <a:lnTo>
                    <a:pt x="474" y="123"/>
                  </a:lnTo>
                  <a:lnTo>
                    <a:pt x="469" y="114"/>
                  </a:lnTo>
                  <a:lnTo>
                    <a:pt x="463" y="103"/>
                  </a:lnTo>
                  <a:lnTo>
                    <a:pt x="459" y="91"/>
                  </a:lnTo>
                  <a:lnTo>
                    <a:pt x="459" y="79"/>
                  </a:lnTo>
                  <a:lnTo>
                    <a:pt x="463" y="69"/>
                  </a:lnTo>
                  <a:lnTo>
                    <a:pt x="468" y="58"/>
                  </a:lnTo>
                  <a:lnTo>
                    <a:pt x="473" y="46"/>
                  </a:lnTo>
                  <a:lnTo>
                    <a:pt x="477" y="36"/>
                  </a:lnTo>
                  <a:lnTo>
                    <a:pt x="479" y="29"/>
                  </a:lnTo>
                  <a:lnTo>
                    <a:pt x="480" y="22"/>
                  </a:lnTo>
                  <a:lnTo>
                    <a:pt x="484" y="15"/>
                  </a:lnTo>
                  <a:lnTo>
                    <a:pt x="489" y="8"/>
                  </a:lnTo>
                  <a:lnTo>
                    <a:pt x="495" y="3"/>
                  </a:lnTo>
                  <a:lnTo>
                    <a:pt x="500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803EB770-7529-4888-8F55-85426AFA692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7651" y="2428876"/>
              <a:ext cx="184150" cy="127000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14" y="1"/>
                </a:cxn>
                <a:cxn ang="0">
                  <a:pos x="22" y="4"/>
                </a:cxn>
                <a:cxn ang="0">
                  <a:pos x="30" y="8"/>
                </a:cxn>
                <a:cxn ang="0">
                  <a:pos x="39" y="11"/>
                </a:cxn>
                <a:cxn ang="0">
                  <a:pos x="47" y="14"/>
                </a:cxn>
                <a:cxn ang="0">
                  <a:pos x="54" y="15"/>
                </a:cxn>
                <a:cxn ang="0">
                  <a:pos x="62" y="16"/>
                </a:cxn>
                <a:cxn ang="0">
                  <a:pos x="70" y="21"/>
                </a:cxn>
                <a:cxn ang="0">
                  <a:pos x="78" y="27"/>
                </a:cxn>
                <a:cxn ang="0">
                  <a:pos x="85" y="32"/>
                </a:cxn>
                <a:cxn ang="0">
                  <a:pos x="90" y="33"/>
                </a:cxn>
                <a:cxn ang="0">
                  <a:pos x="94" y="31"/>
                </a:cxn>
                <a:cxn ang="0">
                  <a:pos x="97" y="28"/>
                </a:cxn>
                <a:cxn ang="0">
                  <a:pos x="99" y="25"/>
                </a:cxn>
                <a:cxn ang="0">
                  <a:pos x="103" y="24"/>
                </a:cxn>
                <a:cxn ang="0">
                  <a:pos x="109" y="26"/>
                </a:cxn>
                <a:cxn ang="0">
                  <a:pos x="114" y="29"/>
                </a:cxn>
                <a:cxn ang="0">
                  <a:pos x="115" y="33"/>
                </a:cxn>
                <a:cxn ang="0">
                  <a:pos x="115" y="40"/>
                </a:cxn>
                <a:cxn ang="0">
                  <a:pos x="115" y="45"/>
                </a:cxn>
                <a:cxn ang="0">
                  <a:pos x="116" y="51"/>
                </a:cxn>
                <a:cxn ang="0">
                  <a:pos x="116" y="58"/>
                </a:cxn>
                <a:cxn ang="0">
                  <a:pos x="115" y="66"/>
                </a:cxn>
                <a:cxn ang="0">
                  <a:pos x="113" y="73"/>
                </a:cxn>
                <a:cxn ang="0">
                  <a:pos x="108" y="78"/>
                </a:cxn>
                <a:cxn ang="0">
                  <a:pos x="101" y="80"/>
                </a:cxn>
                <a:cxn ang="0">
                  <a:pos x="90" y="79"/>
                </a:cxn>
                <a:cxn ang="0">
                  <a:pos x="80" y="77"/>
                </a:cxn>
                <a:cxn ang="0">
                  <a:pos x="71" y="73"/>
                </a:cxn>
                <a:cxn ang="0">
                  <a:pos x="66" y="71"/>
                </a:cxn>
                <a:cxn ang="0">
                  <a:pos x="57" y="71"/>
                </a:cxn>
                <a:cxn ang="0">
                  <a:pos x="52" y="70"/>
                </a:cxn>
                <a:cxn ang="0">
                  <a:pos x="47" y="67"/>
                </a:cxn>
                <a:cxn ang="0">
                  <a:pos x="41" y="56"/>
                </a:cxn>
                <a:cxn ang="0">
                  <a:pos x="36" y="44"/>
                </a:cxn>
                <a:cxn ang="0">
                  <a:pos x="29" y="32"/>
                </a:cxn>
                <a:cxn ang="0">
                  <a:pos x="23" y="26"/>
                </a:cxn>
                <a:cxn ang="0">
                  <a:pos x="16" y="20"/>
                </a:cxn>
                <a:cxn ang="0">
                  <a:pos x="8" y="15"/>
                </a:cxn>
                <a:cxn ang="0">
                  <a:pos x="3" y="9"/>
                </a:cxn>
                <a:cxn ang="0">
                  <a:pos x="0" y="5"/>
                </a:cxn>
                <a:cxn ang="0">
                  <a:pos x="2" y="1"/>
                </a:cxn>
                <a:cxn ang="0">
                  <a:pos x="7" y="0"/>
                </a:cxn>
              </a:cxnLst>
              <a:rect l="0" t="0" r="r" b="b"/>
              <a:pathLst>
                <a:path w="116" h="80">
                  <a:moveTo>
                    <a:pt x="7" y="0"/>
                  </a:moveTo>
                  <a:lnTo>
                    <a:pt x="14" y="1"/>
                  </a:lnTo>
                  <a:lnTo>
                    <a:pt x="22" y="4"/>
                  </a:lnTo>
                  <a:lnTo>
                    <a:pt x="30" y="8"/>
                  </a:lnTo>
                  <a:lnTo>
                    <a:pt x="39" y="11"/>
                  </a:lnTo>
                  <a:lnTo>
                    <a:pt x="47" y="14"/>
                  </a:lnTo>
                  <a:lnTo>
                    <a:pt x="54" y="15"/>
                  </a:lnTo>
                  <a:lnTo>
                    <a:pt x="62" y="16"/>
                  </a:lnTo>
                  <a:lnTo>
                    <a:pt x="70" y="21"/>
                  </a:lnTo>
                  <a:lnTo>
                    <a:pt x="78" y="27"/>
                  </a:lnTo>
                  <a:lnTo>
                    <a:pt x="85" y="32"/>
                  </a:lnTo>
                  <a:lnTo>
                    <a:pt x="90" y="33"/>
                  </a:lnTo>
                  <a:lnTo>
                    <a:pt x="94" y="31"/>
                  </a:lnTo>
                  <a:lnTo>
                    <a:pt x="97" y="28"/>
                  </a:lnTo>
                  <a:lnTo>
                    <a:pt x="99" y="25"/>
                  </a:lnTo>
                  <a:lnTo>
                    <a:pt x="103" y="24"/>
                  </a:lnTo>
                  <a:lnTo>
                    <a:pt x="109" y="26"/>
                  </a:lnTo>
                  <a:lnTo>
                    <a:pt x="114" y="29"/>
                  </a:lnTo>
                  <a:lnTo>
                    <a:pt x="115" y="33"/>
                  </a:lnTo>
                  <a:lnTo>
                    <a:pt x="115" y="40"/>
                  </a:lnTo>
                  <a:lnTo>
                    <a:pt x="115" y="45"/>
                  </a:lnTo>
                  <a:lnTo>
                    <a:pt x="116" y="51"/>
                  </a:lnTo>
                  <a:lnTo>
                    <a:pt x="116" y="58"/>
                  </a:lnTo>
                  <a:lnTo>
                    <a:pt x="115" y="66"/>
                  </a:lnTo>
                  <a:lnTo>
                    <a:pt x="113" y="73"/>
                  </a:lnTo>
                  <a:lnTo>
                    <a:pt x="108" y="78"/>
                  </a:lnTo>
                  <a:lnTo>
                    <a:pt x="101" y="80"/>
                  </a:lnTo>
                  <a:lnTo>
                    <a:pt x="90" y="79"/>
                  </a:lnTo>
                  <a:lnTo>
                    <a:pt x="80" y="77"/>
                  </a:lnTo>
                  <a:lnTo>
                    <a:pt x="71" y="73"/>
                  </a:lnTo>
                  <a:lnTo>
                    <a:pt x="66" y="71"/>
                  </a:lnTo>
                  <a:lnTo>
                    <a:pt x="57" y="71"/>
                  </a:lnTo>
                  <a:lnTo>
                    <a:pt x="52" y="70"/>
                  </a:lnTo>
                  <a:lnTo>
                    <a:pt x="47" y="67"/>
                  </a:lnTo>
                  <a:lnTo>
                    <a:pt x="41" y="56"/>
                  </a:lnTo>
                  <a:lnTo>
                    <a:pt x="36" y="44"/>
                  </a:lnTo>
                  <a:lnTo>
                    <a:pt x="29" y="32"/>
                  </a:lnTo>
                  <a:lnTo>
                    <a:pt x="23" y="26"/>
                  </a:lnTo>
                  <a:lnTo>
                    <a:pt x="16" y="20"/>
                  </a:lnTo>
                  <a:lnTo>
                    <a:pt x="8" y="15"/>
                  </a:lnTo>
                  <a:lnTo>
                    <a:pt x="3" y="9"/>
                  </a:lnTo>
                  <a:lnTo>
                    <a:pt x="0" y="5"/>
                  </a:lnTo>
                  <a:lnTo>
                    <a:pt x="2" y="1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105270EA-21BE-4A6B-9763-7B0ADA02DE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4701" y="3478213"/>
              <a:ext cx="1154113" cy="935038"/>
            </a:xfrm>
            <a:custGeom>
              <a:avLst/>
              <a:gdLst/>
              <a:ahLst/>
              <a:cxnLst>
                <a:cxn ang="0">
                  <a:pos x="256" y="5"/>
                </a:cxn>
                <a:cxn ang="0">
                  <a:pos x="273" y="21"/>
                </a:cxn>
                <a:cxn ang="0">
                  <a:pos x="282" y="61"/>
                </a:cxn>
                <a:cxn ang="0">
                  <a:pos x="327" y="98"/>
                </a:cxn>
                <a:cxn ang="0">
                  <a:pos x="390" y="122"/>
                </a:cxn>
                <a:cxn ang="0">
                  <a:pos x="380" y="169"/>
                </a:cxn>
                <a:cxn ang="0">
                  <a:pos x="403" y="217"/>
                </a:cxn>
                <a:cxn ang="0">
                  <a:pos x="463" y="215"/>
                </a:cxn>
                <a:cxn ang="0">
                  <a:pos x="500" y="248"/>
                </a:cxn>
                <a:cxn ang="0">
                  <a:pos x="554" y="277"/>
                </a:cxn>
                <a:cxn ang="0">
                  <a:pos x="604" y="284"/>
                </a:cxn>
                <a:cxn ang="0">
                  <a:pos x="620" y="254"/>
                </a:cxn>
                <a:cxn ang="0">
                  <a:pos x="628" y="217"/>
                </a:cxn>
                <a:cxn ang="0">
                  <a:pos x="666" y="232"/>
                </a:cxn>
                <a:cxn ang="0">
                  <a:pos x="708" y="265"/>
                </a:cxn>
                <a:cxn ang="0">
                  <a:pos x="703" y="300"/>
                </a:cxn>
                <a:cxn ang="0">
                  <a:pos x="659" y="322"/>
                </a:cxn>
                <a:cxn ang="0">
                  <a:pos x="626" y="337"/>
                </a:cxn>
                <a:cxn ang="0">
                  <a:pos x="624" y="373"/>
                </a:cxn>
                <a:cxn ang="0">
                  <a:pos x="626" y="406"/>
                </a:cxn>
                <a:cxn ang="0">
                  <a:pos x="596" y="437"/>
                </a:cxn>
                <a:cxn ang="0">
                  <a:pos x="568" y="448"/>
                </a:cxn>
                <a:cxn ang="0">
                  <a:pos x="542" y="453"/>
                </a:cxn>
                <a:cxn ang="0">
                  <a:pos x="536" y="494"/>
                </a:cxn>
                <a:cxn ang="0">
                  <a:pos x="503" y="501"/>
                </a:cxn>
                <a:cxn ang="0">
                  <a:pos x="443" y="515"/>
                </a:cxn>
                <a:cxn ang="0">
                  <a:pos x="409" y="488"/>
                </a:cxn>
                <a:cxn ang="0">
                  <a:pos x="381" y="462"/>
                </a:cxn>
                <a:cxn ang="0">
                  <a:pos x="369" y="525"/>
                </a:cxn>
                <a:cxn ang="0">
                  <a:pos x="338" y="556"/>
                </a:cxn>
                <a:cxn ang="0">
                  <a:pos x="314" y="527"/>
                </a:cxn>
                <a:cxn ang="0">
                  <a:pos x="298" y="519"/>
                </a:cxn>
                <a:cxn ang="0">
                  <a:pos x="278" y="514"/>
                </a:cxn>
                <a:cxn ang="0">
                  <a:pos x="225" y="530"/>
                </a:cxn>
                <a:cxn ang="0">
                  <a:pos x="252" y="575"/>
                </a:cxn>
                <a:cxn ang="0">
                  <a:pos x="221" y="578"/>
                </a:cxn>
                <a:cxn ang="0">
                  <a:pos x="188" y="573"/>
                </a:cxn>
                <a:cxn ang="0">
                  <a:pos x="158" y="520"/>
                </a:cxn>
                <a:cxn ang="0">
                  <a:pos x="127" y="490"/>
                </a:cxn>
                <a:cxn ang="0">
                  <a:pos x="88" y="452"/>
                </a:cxn>
                <a:cxn ang="0">
                  <a:pos x="49" y="416"/>
                </a:cxn>
                <a:cxn ang="0">
                  <a:pos x="28" y="398"/>
                </a:cxn>
                <a:cxn ang="0">
                  <a:pos x="13" y="414"/>
                </a:cxn>
                <a:cxn ang="0">
                  <a:pos x="13" y="370"/>
                </a:cxn>
                <a:cxn ang="0">
                  <a:pos x="44" y="317"/>
                </a:cxn>
                <a:cxn ang="0">
                  <a:pos x="24" y="286"/>
                </a:cxn>
                <a:cxn ang="0">
                  <a:pos x="37" y="265"/>
                </a:cxn>
                <a:cxn ang="0">
                  <a:pos x="78" y="259"/>
                </a:cxn>
                <a:cxn ang="0">
                  <a:pos x="84" y="244"/>
                </a:cxn>
                <a:cxn ang="0">
                  <a:pos x="67" y="201"/>
                </a:cxn>
                <a:cxn ang="0">
                  <a:pos x="95" y="190"/>
                </a:cxn>
                <a:cxn ang="0">
                  <a:pos x="51" y="156"/>
                </a:cxn>
                <a:cxn ang="0">
                  <a:pos x="30" y="144"/>
                </a:cxn>
                <a:cxn ang="0">
                  <a:pos x="19" y="102"/>
                </a:cxn>
                <a:cxn ang="0">
                  <a:pos x="76" y="77"/>
                </a:cxn>
                <a:cxn ang="0">
                  <a:pos x="126" y="33"/>
                </a:cxn>
                <a:cxn ang="0">
                  <a:pos x="174" y="29"/>
                </a:cxn>
                <a:cxn ang="0">
                  <a:pos x="198" y="6"/>
                </a:cxn>
              </a:cxnLst>
              <a:rect l="0" t="0" r="r" b="b"/>
              <a:pathLst>
                <a:path w="727" h="589">
                  <a:moveTo>
                    <a:pt x="205" y="0"/>
                  </a:moveTo>
                  <a:lnTo>
                    <a:pt x="214" y="0"/>
                  </a:lnTo>
                  <a:lnTo>
                    <a:pt x="223" y="1"/>
                  </a:lnTo>
                  <a:lnTo>
                    <a:pt x="232" y="1"/>
                  </a:lnTo>
                  <a:lnTo>
                    <a:pt x="238" y="0"/>
                  </a:lnTo>
                  <a:lnTo>
                    <a:pt x="242" y="0"/>
                  </a:lnTo>
                  <a:lnTo>
                    <a:pt x="248" y="2"/>
                  </a:lnTo>
                  <a:lnTo>
                    <a:pt x="256" y="5"/>
                  </a:lnTo>
                  <a:lnTo>
                    <a:pt x="264" y="9"/>
                  </a:lnTo>
                  <a:lnTo>
                    <a:pt x="271" y="13"/>
                  </a:lnTo>
                  <a:lnTo>
                    <a:pt x="276" y="17"/>
                  </a:lnTo>
                  <a:lnTo>
                    <a:pt x="277" y="19"/>
                  </a:lnTo>
                  <a:lnTo>
                    <a:pt x="276" y="20"/>
                  </a:lnTo>
                  <a:lnTo>
                    <a:pt x="275" y="20"/>
                  </a:lnTo>
                  <a:lnTo>
                    <a:pt x="274" y="21"/>
                  </a:lnTo>
                  <a:lnTo>
                    <a:pt x="273" y="21"/>
                  </a:lnTo>
                  <a:lnTo>
                    <a:pt x="271" y="22"/>
                  </a:lnTo>
                  <a:lnTo>
                    <a:pt x="270" y="23"/>
                  </a:lnTo>
                  <a:lnTo>
                    <a:pt x="269" y="25"/>
                  </a:lnTo>
                  <a:lnTo>
                    <a:pt x="269" y="30"/>
                  </a:lnTo>
                  <a:lnTo>
                    <a:pt x="270" y="33"/>
                  </a:lnTo>
                  <a:lnTo>
                    <a:pt x="274" y="42"/>
                  </a:lnTo>
                  <a:lnTo>
                    <a:pt x="278" y="52"/>
                  </a:lnTo>
                  <a:lnTo>
                    <a:pt x="282" y="61"/>
                  </a:lnTo>
                  <a:lnTo>
                    <a:pt x="284" y="69"/>
                  </a:lnTo>
                  <a:lnTo>
                    <a:pt x="284" y="81"/>
                  </a:lnTo>
                  <a:lnTo>
                    <a:pt x="285" y="86"/>
                  </a:lnTo>
                  <a:lnTo>
                    <a:pt x="289" y="90"/>
                  </a:lnTo>
                  <a:lnTo>
                    <a:pt x="295" y="91"/>
                  </a:lnTo>
                  <a:lnTo>
                    <a:pt x="303" y="92"/>
                  </a:lnTo>
                  <a:lnTo>
                    <a:pt x="319" y="97"/>
                  </a:lnTo>
                  <a:lnTo>
                    <a:pt x="327" y="98"/>
                  </a:lnTo>
                  <a:lnTo>
                    <a:pt x="334" y="98"/>
                  </a:lnTo>
                  <a:lnTo>
                    <a:pt x="344" y="100"/>
                  </a:lnTo>
                  <a:lnTo>
                    <a:pt x="355" y="103"/>
                  </a:lnTo>
                  <a:lnTo>
                    <a:pt x="367" y="106"/>
                  </a:lnTo>
                  <a:lnTo>
                    <a:pt x="378" y="110"/>
                  </a:lnTo>
                  <a:lnTo>
                    <a:pt x="386" y="114"/>
                  </a:lnTo>
                  <a:lnTo>
                    <a:pt x="389" y="117"/>
                  </a:lnTo>
                  <a:lnTo>
                    <a:pt x="390" y="122"/>
                  </a:lnTo>
                  <a:lnTo>
                    <a:pt x="391" y="129"/>
                  </a:lnTo>
                  <a:lnTo>
                    <a:pt x="393" y="136"/>
                  </a:lnTo>
                  <a:lnTo>
                    <a:pt x="396" y="142"/>
                  </a:lnTo>
                  <a:lnTo>
                    <a:pt x="397" y="146"/>
                  </a:lnTo>
                  <a:lnTo>
                    <a:pt x="394" y="152"/>
                  </a:lnTo>
                  <a:lnTo>
                    <a:pt x="389" y="158"/>
                  </a:lnTo>
                  <a:lnTo>
                    <a:pt x="384" y="163"/>
                  </a:lnTo>
                  <a:lnTo>
                    <a:pt x="380" y="169"/>
                  </a:lnTo>
                  <a:lnTo>
                    <a:pt x="380" y="173"/>
                  </a:lnTo>
                  <a:lnTo>
                    <a:pt x="383" y="177"/>
                  </a:lnTo>
                  <a:lnTo>
                    <a:pt x="393" y="183"/>
                  </a:lnTo>
                  <a:lnTo>
                    <a:pt x="396" y="187"/>
                  </a:lnTo>
                  <a:lnTo>
                    <a:pt x="398" y="192"/>
                  </a:lnTo>
                  <a:lnTo>
                    <a:pt x="398" y="199"/>
                  </a:lnTo>
                  <a:lnTo>
                    <a:pt x="400" y="213"/>
                  </a:lnTo>
                  <a:lnTo>
                    <a:pt x="403" y="217"/>
                  </a:lnTo>
                  <a:lnTo>
                    <a:pt x="409" y="219"/>
                  </a:lnTo>
                  <a:lnTo>
                    <a:pt x="419" y="220"/>
                  </a:lnTo>
                  <a:lnTo>
                    <a:pt x="429" y="219"/>
                  </a:lnTo>
                  <a:lnTo>
                    <a:pt x="438" y="220"/>
                  </a:lnTo>
                  <a:lnTo>
                    <a:pt x="444" y="220"/>
                  </a:lnTo>
                  <a:lnTo>
                    <a:pt x="451" y="217"/>
                  </a:lnTo>
                  <a:lnTo>
                    <a:pt x="457" y="215"/>
                  </a:lnTo>
                  <a:lnTo>
                    <a:pt x="463" y="215"/>
                  </a:lnTo>
                  <a:lnTo>
                    <a:pt x="469" y="219"/>
                  </a:lnTo>
                  <a:lnTo>
                    <a:pt x="473" y="226"/>
                  </a:lnTo>
                  <a:lnTo>
                    <a:pt x="477" y="239"/>
                  </a:lnTo>
                  <a:lnTo>
                    <a:pt x="480" y="245"/>
                  </a:lnTo>
                  <a:lnTo>
                    <a:pt x="483" y="249"/>
                  </a:lnTo>
                  <a:lnTo>
                    <a:pt x="488" y="251"/>
                  </a:lnTo>
                  <a:lnTo>
                    <a:pt x="495" y="250"/>
                  </a:lnTo>
                  <a:lnTo>
                    <a:pt x="500" y="248"/>
                  </a:lnTo>
                  <a:lnTo>
                    <a:pt x="506" y="246"/>
                  </a:lnTo>
                  <a:lnTo>
                    <a:pt x="512" y="246"/>
                  </a:lnTo>
                  <a:lnTo>
                    <a:pt x="519" y="248"/>
                  </a:lnTo>
                  <a:lnTo>
                    <a:pt x="527" y="254"/>
                  </a:lnTo>
                  <a:lnTo>
                    <a:pt x="534" y="261"/>
                  </a:lnTo>
                  <a:lnTo>
                    <a:pt x="541" y="269"/>
                  </a:lnTo>
                  <a:lnTo>
                    <a:pt x="548" y="275"/>
                  </a:lnTo>
                  <a:lnTo>
                    <a:pt x="554" y="277"/>
                  </a:lnTo>
                  <a:lnTo>
                    <a:pt x="563" y="276"/>
                  </a:lnTo>
                  <a:lnTo>
                    <a:pt x="570" y="275"/>
                  </a:lnTo>
                  <a:lnTo>
                    <a:pt x="576" y="275"/>
                  </a:lnTo>
                  <a:lnTo>
                    <a:pt x="582" y="274"/>
                  </a:lnTo>
                  <a:lnTo>
                    <a:pt x="588" y="274"/>
                  </a:lnTo>
                  <a:lnTo>
                    <a:pt x="595" y="276"/>
                  </a:lnTo>
                  <a:lnTo>
                    <a:pt x="598" y="278"/>
                  </a:lnTo>
                  <a:lnTo>
                    <a:pt x="604" y="284"/>
                  </a:lnTo>
                  <a:lnTo>
                    <a:pt x="606" y="285"/>
                  </a:lnTo>
                  <a:lnTo>
                    <a:pt x="607" y="285"/>
                  </a:lnTo>
                  <a:lnTo>
                    <a:pt x="608" y="283"/>
                  </a:lnTo>
                  <a:lnTo>
                    <a:pt x="610" y="278"/>
                  </a:lnTo>
                  <a:lnTo>
                    <a:pt x="618" y="264"/>
                  </a:lnTo>
                  <a:lnTo>
                    <a:pt x="621" y="260"/>
                  </a:lnTo>
                  <a:lnTo>
                    <a:pt x="621" y="258"/>
                  </a:lnTo>
                  <a:lnTo>
                    <a:pt x="620" y="254"/>
                  </a:lnTo>
                  <a:lnTo>
                    <a:pt x="617" y="249"/>
                  </a:lnTo>
                  <a:lnTo>
                    <a:pt x="615" y="243"/>
                  </a:lnTo>
                  <a:lnTo>
                    <a:pt x="614" y="237"/>
                  </a:lnTo>
                  <a:lnTo>
                    <a:pt x="616" y="232"/>
                  </a:lnTo>
                  <a:lnTo>
                    <a:pt x="620" y="228"/>
                  </a:lnTo>
                  <a:lnTo>
                    <a:pt x="622" y="223"/>
                  </a:lnTo>
                  <a:lnTo>
                    <a:pt x="624" y="220"/>
                  </a:lnTo>
                  <a:lnTo>
                    <a:pt x="628" y="217"/>
                  </a:lnTo>
                  <a:lnTo>
                    <a:pt x="634" y="217"/>
                  </a:lnTo>
                  <a:lnTo>
                    <a:pt x="640" y="218"/>
                  </a:lnTo>
                  <a:lnTo>
                    <a:pt x="643" y="220"/>
                  </a:lnTo>
                  <a:lnTo>
                    <a:pt x="645" y="222"/>
                  </a:lnTo>
                  <a:lnTo>
                    <a:pt x="648" y="224"/>
                  </a:lnTo>
                  <a:lnTo>
                    <a:pt x="652" y="226"/>
                  </a:lnTo>
                  <a:lnTo>
                    <a:pt x="658" y="228"/>
                  </a:lnTo>
                  <a:lnTo>
                    <a:pt x="666" y="232"/>
                  </a:lnTo>
                  <a:lnTo>
                    <a:pt x="675" y="239"/>
                  </a:lnTo>
                  <a:lnTo>
                    <a:pt x="683" y="246"/>
                  </a:lnTo>
                  <a:lnTo>
                    <a:pt x="689" y="252"/>
                  </a:lnTo>
                  <a:lnTo>
                    <a:pt x="692" y="256"/>
                  </a:lnTo>
                  <a:lnTo>
                    <a:pt x="693" y="259"/>
                  </a:lnTo>
                  <a:lnTo>
                    <a:pt x="696" y="261"/>
                  </a:lnTo>
                  <a:lnTo>
                    <a:pt x="701" y="262"/>
                  </a:lnTo>
                  <a:lnTo>
                    <a:pt x="708" y="265"/>
                  </a:lnTo>
                  <a:lnTo>
                    <a:pt x="713" y="269"/>
                  </a:lnTo>
                  <a:lnTo>
                    <a:pt x="718" y="274"/>
                  </a:lnTo>
                  <a:lnTo>
                    <a:pt x="723" y="280"/>
                  </a:lnTo>
                  <a:lnTo>
                    <a:pt x="726" y="285"/>
                  </a:lnTo>
                  <a:lnTo>
                    <a:pt x="727" y="289"/>
                  </a:lnTo>
                  <a:lnTo>
                    <a:pt x="725" y="292"/>
                  </a:lnTo>
                  <a:lnTo>
                    <a:pt x="719" y="294"/>
                  </a:lnTo>
                  <a:lnTo>
                    <a:pt x="703" y="300"/>
                  </a:lnTo>
                  <a:lnTo>
                    <a:pt x="698" y="301"/>
                  </a:lnTo>
                  <a:lnTo>
                    <a:pt x="693" y="301"/>
                  </a:lnTo>
                  <a:lnTo>
                    <a:pt x="681" y="305"/>
                  </a:lnTo>
                  <a:lnTo>
                    <a:pt x="677" y="309"/>
                  </a:lnTo>
                  <a:lnTo>
                    <a:pt x="674" y="313"/>
                  </a:lnTo>
                  <a:lnTo>
                    <a:pt x="670" y="317"/>
                  </a:lnTo>
                  <a:lnTo>
                    <a:pt x="665" y="321"/>
                  </a:lnTo>
                  <a:lnTo>
                    <a:pt x="659" y="322"/>
                  </a:lnTo>
                  <a:lnTo>
                    <a:pt x="655" y="323"/>
                  </a:lnTo>
                  <a:lnTo>
                    <a:pt x="651" y="327"/>
                  </a:lnTo>
                  <a:lnTo>
                    <a:pt x="647" y="330"/>
                  </a:lnTo>
                  <a:lnTo>
                    <a:pt x="640" y="332"/>
                  </a:lnTo>
                  <a:lnTo>
                    <a:pt x="635" y="333"/>
                  </a:lnTo>
                  <a:lnTo>
                    <a:pt x="631" y="334"/>
                  </a:lnTo>
                  <a:lnTo>
                    <a:pt x="628" y="336"/>
                  </a:lnTo>
                  <a:lnTo>
                    <a:pt x="626" y="337"/>
                  </a:lnTo>
                  <a:lnTo>
                    <a:pt x="625" y="340"/>
                  </a:lnTo>
                  <a:lnTo>
                    <a:pt x="625" y="342"/>
                  </a:lnTo>
                  <a:lnTo>
                    <a:pt x="626" y="348"/>
                  </a:lnTo>
                  <a:lnTo>
                    <a:pt x="626" y="355"/>
                  </a:lnTo>
                  <a:lnTo>
                    <a:pt x="624" y="362"/>
                  </a:lnTo>
                  <a:lnTo>
                    <a:pt x="623" y="366"/>
                  </a:lnTo>
                  <a:lnTo>
                    <a:pt x="622" y="368"/>
                  </a:lnTo>
                  <a:lnTo>
                    <a:pt x="624" y="373"/>
                  </a:lnTo>
                  <a:lnTo>
                    <a:pt x="628" y="379"/>
                  </a:lnTo>
                  <a:lnTo>
                    <a:pt x="633" y="383"/>
                  </a:lnTo>
                  <a:lnTo>
                    <a:pt x="636" y="388"/>
                  </a:lnTo>
                  <a:lnTo>
                    <a:pt x="637" y="394"/>
                  </a:lnTo>
                  <a:lnTo>
                    <a:pt x="636" y="400"/>
                  </a:lnTo>
                  <a:lnTo>
                    <a:pt x="634" y="404"/>
                  </a:lnTo>
                  <a:lnTo>
                    <a:pt x="632" y="406"/>
                  </a:lnTo>
                  <a:lnTo>
                    <a:pt x="626" y="406"/>
                  </a:lnTo>
                  <a:lnTo>
                    <a:pt x="618" y="405"/>
                  </a:lnTo>
                  <a:lnTo>
                    <a:pt x="609" y="406"/>
                  </a:lnTo>
                  <a:lnTo>
                    <a:pt x="604" y="407"/>
                  </a:lnTo>
                  <a:lnTo>
                    <a:pt x="602" y="410"/>
                  </a:lnTo>
                  <a:lnTo>
                    <a:pt x="601" y="416"/>
                  </a:lnTo>
                  <a:lnTo>
                    <a:pt x="601" y="429"/>
                  </a:lnTo>
                  <a:lnTo>
                    <a:pt x="599" y="434"/>
                  </a:lnTo>
                  <a:lnTo>
                    <a:pt x="596" y="437"/>
                  </a:lnTo>
                  <a:lnTo>
                    <a:pt x="592" y="437"/>
                  </a:lnTo>
                  <a:lnTo>
                    <a:pt x="584" y="435"/>
                  </a:lnTo>
                  <a:lnTo>
                    <a:pt x="579" y="436"/>
                  </a:lnTo>
                  <a:lnTo>
                    <a:pt x="576" y="438"/>
                  </a:lnTo>
                  <a:lnTo>
                    <a:pt x="574" y="440"/>
                  </a:lnTo>
                  <a:lnTo>
                    <a:pt x="571" y="446"/>
                  </a:lnTo>
                  <a:lnTo>
                    <a:pt x="570" y="447"/>
                  </a:lnTo>
                  <a:lnTo>
                    <a:pt x="568" y="448"/>
                  </a:lnTo>
                  <a:lnTo>
                    <a:pt x="565" y="448"/>
                  </a:lnTo>
                  <a:lnTo>
                    <a:pt x="563" y="447"/>
                  </a:lnTo>
                  <a:lnTo>
                    <a:pt x="554" y="447"/>
                  </a:lnTo>
                  <a:lnTo>
                    <a:pt x="551" y="448"/>
                  </a:lnTo>
                  <a:lnTo>
                    <a:pt x="549" y="449"/>
                  </a:lnTo>
                  <a:lnTo>
                    <a:pt x="546" y="450"/>
                  </a:lnTo>
                  <a:lnTo>
                    <a:pt x="544" y="451"/>
                  </a:lnTo>
                  <a:lnTo>
                    <a:pt x="542" y="453"/>
                  </a:lnTo>
                  <a:lnTo>
                    <a:pt x="541" y="455"/>
                  </a:lnTo>
                  <a:lnTo>
                    <a:pt x="541" y="458"/>
                  </a:lnTo>
                  <a:lnTo>
                    <a:pt x="542" y="464"/>
                  </a:lnTo>
                  <a:lnTo>
                    <a:pt x="542" y="480"/>
                  </a:lnTo>
                  <a:lnTo>
                    <a:pt x="540" y="486"/>
                  </a:lnTo>
                  <a:lnTo>
                    <a:pt x="537" y="489"/>
                  </a:lnTo>
                  <a:lnTo>
                    <a:pt x="536" y="489"/>
                  </a:lnTo>
                  <a:lnTo>
                    <a:pt x="536" y="494"/>
                  </a:lnTo>
                  <a:lnTo>
                    <a:pt x="538" y="497"/>
                  </a:lnTo>
                  <a:lnTo>
                    <a:pt x="539" y="499"/>
                  </a:lnTo>
                  <a:lnTo>
                    <a:pt x="529" y="504"/>
                  </a:lnTo>
                  <a:lnTo>
                    <a:pt x="519" y="506"/>
                  </a:lnTo>
                  <a:lnTo>
                    <a:pt x="512" y="508"/>
                  </a:lnTo>
                  <a:lnTo>
                    <a:pt x="507" y="508"/>
                  </a:lnTo>
                  <a:lnTo>
                    <a:pt x="505" y="506"/>
                  </a:lnTo>
                  <a:lnTo>
                    <a:pt x="503" y="501"/>
                  </a:lnTo>
                  <a:lnTo>
                    <a:pt x="501" y="500"/>
                  </a:lnTo>
                  <a:lnTo>
                    <a:pt x="496" y="501"/>
                  </a:lnTo>
                  <a:lnTo>
                    <a:pt x="483" y="506"/>
                  </a:lnTo>
                  <a:lnTo>
                    <a:pt x="471" y="509"/>
                  </a:lnTo>
                  <a:lnTo>
                    <a:pt x="458" y="510"/>
                  </a:lnTo>
                  <a:lnTo>
                    <a:pt x="450" y="511"/>
                  </a:lnTo>
                  <a:lnTo>
                    <a:pt x="446" y="512"/>
                  </a:lnTo>
                  <a:lnTo>
                    <a:pt x="443" y="515"/>
                  </a:lnTo>
                  <a:lnTo>
                    <a:pt x="439" y="518"/>
                  </a:lnTo>
                  <a:lnTo>
                    <a:pt x="435" y="519"/>
                  </a:lnTo>
                  <a:lnTo>
                    <a:pt x="430" y="515"/>
                  </a:lnTo>
                  <a:lnTo>
                    <a:pt x="426" y="509"/>
                  </a:lnTo>
                  <a:lnTo>
                    <a:pt x="421" y="500"/>
                  </a:lnTo>
                  <a:lnTo>
                    <a:pt x="419" y="497"/>
                  </a:lnTo>
                  <a:lnTo>
                    <a:pt x="415" y="493"/>
                  </a:lnTo>
                  <a:lnTo>
                    <a:pt x="409" y="488"/>
                  </a:lnTo>
                  <a:lnTo>
                    <a:pt x="405" y="484"/>
                  </a:lnTo>
                  <a:lnTo>
                    <a:pt x="400" y="481"/>
                  </a:lnTo>
                  <a:lnTo>
                    <a:pt x="397" y="477"/>
                  </a:lnTo>
                  <a:lnTo>
                    <a:pt x="396" y="471"/>
                  </a:lnTo>
                  <a:lnTo>
                    <a:pt x="395" y="464"/>
                  </a:lnTo>
                  <a:lnTo>
                    <a:pt x="394" y="458"/>
                  </a:lnTo>
                  <a:lnTo>
                    <a:pt x="391" y="457"/>
                  </a:lnTo>
                  <a:lnTo>
                    <a:pt x="381" y="462"/>
                  </a:lnTo>
                  <a:lnTo>
                    <a:pt x="375" y="466"/>
                  </a:lnTo>
                  <a:lnTo>
                    <a:pt x="366" y="475"/>
                  </a:lnTo>
                  <a:lnTo>
                    <a:pt x="364" y="480"/>
                  </a:lnTo>
                  <a:lnTo>
                    <a:pt x="364" y="489"/>
                  </a:lnTo>
                  <a:lnTo>
                    <a:pt x="365" y="499"/>
                  </a:lnTo>
                  <a:lnTo>
                    <a:pt x="367" y="509"/>
                  </a:lnTo>
                  <a:lnTo>
                    <a:pt x="368" y="519"/>
                  </a:lnTo>
                  <a:lnTo>
                    <a:pt x="369" y="525"/>
                  </a:lnTo>
                  <a:lnTo>
                    <a:pt x="368" y="532"/>
                  </a:lnTo>
                  <a:lnTo>
                    <a:pt x="367" y="541"/>
                  </a:lnTo>
                  <a:lnTo>
                    <a:pt x="365" y="550"/>
                  </a:lnTo>
                  <a:lnTo>
                    <a:pt x="363" y="556"/>
                  </a:lnTo>
                  <a:lnTo>
                    <a:pt x="359" y="558"/>
                  </a:lnTo>
                  <a:lnTo>
                    <a:pt x="353" y="558"/>
                  </a:lnTo>
                  <a:lnTo>
                    <a:pt x="345" y="557"/>
                  </a:lnTo>
                  <a:lnTo>
                    <a:pt x="338" y="556"/>
                  </a:lnTo>
                  <a:lnTo>
                    <a:pt x="335" y="554"/>
                  </a:lnTo>
                  <a:lnTo>
                    <a:pt x="333" y="551"/>
                  </a:lnTo>
                  <a:lnTo>
                    <a:pt x="332" y="545"/>
                  </a:lnTo>
                  <a:lnTo>
                    <a:pt x="332" y="539"/>
                  </a:lnTo>
                  <a:lnTo>
                    <a:pt x="333" y="534"/>
                  </a:lnTo>
                  <a:lnTo>
                    <a:pt x="332" y="530"/>
                  </a:lnTo>
                  <a:lnTo>
                    <a:pt x="328" y="527"/>
                  </a:lnTo>
                  <a:lnTo>
                    <a:pt x="314" y="527"/>
                  </a:lnTo>
                  <a:lnTo>
                    <a:pt x="308" y="528"/>
                  </a:lnTo>
                  <a:lnTo>
                    <a:pt x="304" y="528"/>
                  </a:lnTo>
                  <a:lnTo>
                    <a:pt x="303" y="527"/>
                  </a:lnTo>
                  <a:lnTo>
                    <a:pt x="303" y="526"/>
                  </a:lnTo>
                  <a:lnTo>
                    <a:pt x="302" y="525"/>
                  </a:lnTo>
                  <a:lnTo>
                    <a:pt x="302" y="524"/>
                  </a:lnTo>
                  <a:lnTo>
                    <a:pt x="301" y="522"/>
                  </a:lnTo>
                  <a:lnTo>
                    <a:pt x="298" y="519"/>
                  </a:lnTo>
                  <a:lnTo>
                    <a:pt x="296" y="520"/>
                  </a:lnTo>
                  <a:lnTo>
                    <a:pt x="295" y="522"/>
                  </a:lnTo>
                  <a:lnTo>
                    <a:pt x="289" y="526"/>
                  </a:lnTo>
                  <a:lnTo>
                    <a:pt x="287" y="527"/>
                  </a:lnTo>
                  <a:lnTo>
                    <a:pt x="285" y="526"/>
                  </a:lnTo>
                  <a:lnTo>
                    <a:pt x="284" y="526"/>
                  </a:lnTo>
                  <a:lnTo>
                    <a:pt x="280" y="516"/>
                  </a:lnTo>
                  <a:lnTo>
                    <a:pt x="278" y="514"/>
                  </a:lnTo>
                  <a:lnTo>
                    <a:pt x="276" y="513"/>
                  </a:lnTo>
                  <a:lnTo>
                    <a:pt x="269" y="512"/>
                  </a:lnTo>
                  <a:lnTo>
                    <a:pt x="261" y="513"/>
                  </a:lnTo>
                  <a:lnTo>
                    <a:pt x="253" y="515"/>
                  </a:lnTo>
                  <a:lnTo>
                    <a:pt x="246" y="518"/>
                  </a:lnTo>
                  <a:lnTo>
                    <a:pt x="236" y="524"/>
                  </a:lnTo>
                  <a:lnTo>
                    <a:pt x="230" y="527"/>
                  </a:lnTo>
                  <a:lnTo>
                    <a:pt x="225" y="530"/>
                  </a:lnTo>
                  <a:lnTo>
                    <a:pt x="222" y="535"/>
                  </a:lnTo>
                  <a:lnTo>
                    <a:pt x="224" y="540"/>
                  </a:lnTo>
                  <a:lnTo>
                    <a:pt x="230" y="546"/>
                  </a:lnTo>
                  <a:lnTo>
                    <a:pt x="239" y="553"/>
                  </a:lnTo>
                  <a:lnTo>
                    <a:pt x="247" y="561"/>
                  </a:lnTo>
                  <a:lnTo>
                    <a:pt x="253" y="569"/>
                  </a:lnTo>
                  <a:lnTo>
                    <a:pt x="254" y="573"/>
                  </a:lnTo>
                  <a:lnTo>
                    <a:pt x="252" y="575"/>
                  </a:lnTo>
                  <a:lnTo>
                    <a:pt x="248" y="574"/>
                  </a:lnTo>
                  <a:lnTo>
                    <a:pt x="243" y="573"/>
                  </a:lnTo>
                  <a:lnTo>
                    <a:pt x="237" y="571"/>
                  </a:lnTo>
                  <a:lnTo>
                    <a:pt x="232" y="569"/>
                  </a:lnTo>
                  <a:lnTo>
                    <a:pt x="228" y="568"/>
                  </a:lnTo>
                  <a:lnTo>
                    <a:pt x="224" y="569"/>
                  </a:lnTo>
                  <a:lnTo>
                    <a:pt x="222" y="573"/>
                  </a:lnTo>
                  <a:lnTo>
                    <a:pt x="221" y="578"/>
                  </a:lnTo>
                  <a:lnTo>
                    <a:pt x="220" y="586"/>
                  </a:lnTo>
                  <a:lnTo>
                    <a:pt x="218" y="589"/>
                  </a:lnTo>
                  <a:lnTo>
                    <a:pt x="214" y="589"/>
                  </a:lnTo>
                  <a:lnTo>
                    <a:pt x="209" y="587"/>
                  </a:lnTo>
                  <a:lnTo>
                    <a:pt x="197" y="581"/>
                  </a:lnTo>
                  <a:lnTo>
                    <a:pt x="192" y="580"/>
                  </a:lnTo>
                  <a:lnTo>
                    <a:pt x="189" y="578"/>
                  </a:lnTo>
                  <a:lnTo>
                    <a:pt x="188" y="573"/>
                  </a:lnTo>
                  <a:lnTo>
                    <a:pt x="187" y="566"/>
                  </a:lnTo>
                  <a:lnTo>
                    <a:pt x="187" y="542"/>
                  </a:lnTo>
                  <a:lnTo>
                    <a:pt x="185" y="536"/>
                  </a:lnTo>
                  <a:lnTo>
                    <a:pt x="180" y="529"/>
                  </a:lnTo>
                  <a:lnTo>
                    <a:pt x="174" y="526"/>
                  </a:lnTo>
                  <a:lnTo>
                    <a:pt x="165" y="524"/>
                  </a:lnTo>
                  <a:lnTo>
                    <a:pt x="160" y="522"/>
                  </a:lnTo>
                  <a:lnTo>
                    <a:pt x="158" y="520"/>
                  </a:lnTo>
                  <a:lnTo>
                    <a:pt x="157" y="517"/>
                  </a:lnTo>
                  <a:lnTo>
                    <a:pt x="154" y="513"/>
                  </a:lnTo>
                  <a:lnTo>
                    <a:pt x="150" y="511"/>
                  </a:lnTo>
                  <a:lnTo>
                    <a:pt x="134" y="507"/>
                  </a:lnTo>
                  <a:lnTo>
                    <a:pt x="130" y="505"/>
                  </a:lnTo>
                  <a:lnTo>
                    <a:pt x="128" y="500"/>
                  </a:lnTo>
                  <a:lnTo>
                    <a:pt x="127" y="495"/>
                  </a:lnTo>
                  <a:lnTo>
                    <a:pt x="127" y="490"/>
                  </a:lnTo>
                  <a:lnTo>
                    <a:pt x="126" y="485"/>
                  </a:lnTo>
                  <a:lnTo>
                    <a:pt x="122" y="477"/>
                  </a:lnTo>
                  <a:lnTo>
                    <a:pt x="114" y="472"/>
                  </a:lnTo>
                  <a:lnTo>
                    <a:pt x="96" y="466"/>
                  </a:lnTo>
                  <a:lnTo>
                    <a:pt x="92" y="463"/>
                  </a:lnTo>
                  <a:lnTo>
                    <a:pt x="91" y="460"/>
                  </a:lnTo>
                  <a:lnTo>
                    <a:pt x="90" y="456"/>
                  </a:lnTo>
                  <a:lnTo>
                    <a:pt x="88" y="452"/>
                  </a:lnTo>
                  <a:lnTo>
                    <a:pt x="84" y="449"/>
                  </a:lnTo>
                  <a:lnTo>
                    <a:pt x="79" y="448"/>
                  </a:lnTo>
                  <a:lnTo>
                    <a:pt x="63" y="448"/>
                  </a:lnTo>
                  <a:lnTo>
                    <a:pt x="54" y="449"/>
                  </a:lnTo>
                  <a:lnTo>
                    <a:pt x="45" y="453"/>
                  </a:lnTo>
                  <a:lnTo>
                    <a:pt x="45" y="430"/>
                  </a:lnTo>
                  <a:lnTo>
                    <a:pt x="46" y="421"/>
                  </a:lnTo>
                  <a:lnTo>
                    <a:pt x="49" y="416"/>
                  </a:lnTo>
                  <a:lnTo>
                    <a:pt x="51" y="413"/>
                  </a:lnTo>
                  <a:lnTo>
                    <a:pt x="50" y="408"/>
                  </a:lnTo>
                  <a:lnTo>
                    <a:pt x="48" y="403"/>
                  </a:lnTo>
                  <a:lnTo>
                    <a:pt x="45" y="399"/>
                  </a:lnTo>
                  <a:lnTo>
                    <a:pt x="42" y="396"/>
                  </a:lnTo>
                  <a:lnTo>
                    <a:pt x="38" y="395"/>
                  </a:lnTo>
                  <a:lnTo>
                    <a:pt x="33" y="396"/>
                  </a:lnTo>
                  <a:lnTo>
                    <a:pt x="28" y="398"/>
                  </a:lnTo>
                  <a:lnTo>
                    <a:pt x="24" y="402"/>
                  </a:lnTo>
                  <a:lnTo>
                    <a:pt x="23" y="405"/>
                  </a:lnTo>
                  <a:lnTo>
                    <a:pt x="23" y="408"/>
                  </a:lnTo>
                  <a:lnTo>
                    <a:pt x="22" y="411"/>
                  </a:lnTo>
                  <a:lnTo>
                    <a:pt x="21" y="413"/>
                  </a:lnTo>
                  <a:lnTo>
                    <a:pt x="19" y="415"/>
                  </a:lnTo>
                  <a:lnTo>
                    <a:pt x="17" y="415"/>
                  </a:lnTo>
                  <a:lnTo>
                    <a:pt x="13" y="414"/>
                  </a:lnTo>
                  <a:lnTo>
                    <a:pt x="7" y="412"/>
                  </a:lnTo>
                  <a:lnTo>
                    <a:pt x="2" y="409"/>
                  </a:lnTo>
                  <a:lnTo>
                    <a:pt x="0" y="404"/>
                  </a:lnTo>
                  <a:lnTo>
                    <a:pt x="2" y="398"/>
                  </a:lnTo>
                  <a:lnTo>
                    <a:pt x="6" y="393"/>
                  </a:lnTo>
                  <a:lnTo>
                    <a:pt x="11" y="386"/>
                  </a:lnTo>
                  <a:lnTo>
                    <a:pt x="13" y="378"/>
                  </a:lnTo>
                  <a:lnTo>
                    <a:pt x="13" y="370"/>
                  </a:lnTo>
                  <a:lnTo>
                    <a:pt x="17" y="351"/>
                  </a:lnTo>
                  <a:lnTo>
                    <a:pt x="21" y="343"/>
                  </a:lnTo>
                  <a:lnTo>
                    <a:pt x="26" y="338"/>
                  </a:lnTo>
                  <a:lnTo>
                    <a:pt x="33" y="335"/>
                  </a:lnTo>
                  <a:lnTo>
                    <a:pt x="36" y="333"/>
                  </a:lnTo>
                  <a:lnTo>
                    <a:pt x="39" y="329"/>
                  </a:lnTo>
                  <a:lnTo>
                    <a:pt x="41" y="324"/>
                  </a:lnTo>
                  <a:lnTo>
                    <a:pt x="44" y="317"/>
                  </a:lnTo>
                  <a:lnTo>
                    <a:pt x="47" y="311"/>
                  </a:lnTo>
                  <a:lnTo>
                    <a:pt x="48" y="307"/>
                  </a:lnTo>
                  <a:lnTo>
                    <a:pt x="45" y="305"/>
                  </a:lnTo>
                  <a:lnTo>
                    <a:pt x="40" y="301"/>
                  </a:lnTo>
                  <a:lnTo>
                    <a:pt x="33" y="297"/>
                  </a:lnTo>
                  <a:lnTo>
                    <a:pt x="28" y="293"/>
                  </a:lnTo>
                  <a:lnTo>
                    <a:pt x="24" y="289"/>
                  </a:lnTo>
                  <a:lnTo>
                    <a:pt x="24" y="286"/>
                  </a:lnTo>
                  <a:lnTo>
                    <a:pt x="28" y="284"/>
                  </a:lnTo>
                  <a:lnTo>
                    <a:pt x="37" y="284"/>
                  </a:lnTo>
                  <a:lnTo>
                    <a:pt x="42" y="283"/>
                  </a:lnTo>
                  <a:lnTo>
                    <a:pt x="45" y="282"/>
                  </a:lnTo>
                  <a:lnTo>
                    <a:pt x="46" y="278"/>
                  </a:lnTo>
                  <a:lnTo>
                    <a:pt x="44" y="273"/>
                  </a:lnTo>
                  <a:lnTo>
                    <a:pt x="40" y="269"/>
                  </a:lnTo>
                  <a:lnTo>
                    <a:pt x="37" y="265"/>
                  </a:lnTo>
                  <a:lnTo>
                    <a:pt x="35" y="261"/>
                  </a:lnTo>
                  <a:lnTo>
                    <a:pt x="36" y="258"/>
                  </a:lnTo>
                  <a:lnTo>
                    <a:pt x="42" y="256"/>
                  </a:lnTo>
                  <a:lnTo>
                    <a:pt x="53" y="256"/>
                  </a:lnTo>
                  <a:lnTo>
                    <a:pt x="62" y="258"/>
                  </a:lnTo>
                  <a:lnTo>
                    <a:pt x="70" y="260"/>
                  </a:lnTo>
                  <a:lnTo>
                    <a:pt x="76" y="260"/>
                  </a:lnTo>
                  <a:lnTo>
                    <a:pt x="78" y="259"/>
                  </a:lnTo>
                  <a:lnTo>
                    <a:pt x="81" y="258"/>
                  </a:lnTo>
                  <a:lnTo>
                    <a:pt x="85" y="258"/>
                  </a:lnTo>
                  <a:lnTo>
                    <a:pt x="87" y="257"/>
                  </a:lnTo>
                  <a:lnTo>
                    <a:pt x="89" y="257"/>
                  </a:lnTo>
                  <a:lnTo>
                    <a:pt x="90" y="256"/>
                  </a:lnTo>
                  <a:lnTo>
                    <a:pt x="90" y="253"/>
                  </a:lnTo>
                  <a:lnTo>
                    <a:pt x="89" y="250"/>
                  </a:lnTo>
                  <a:lnTo>
                    <a:pt x="84" y="244"/>
                  </a:lnTo>
                  <a:lnTo>
                    <a:pt x="74" y="234"/>
                  </a:lnTo>
                  <a:lnTo>
                    <a:pt x="72" y="231"/>
                  </a:lnTo>
                  <a:lnTo>
                    <a:pt x="73" y="224"/>
                  </a:lnTo>
                  <a:lnTo>
                    <a:pt x="72" y="216"/>
                  </a:lnTo>
                  <a:lnTo>
                    <a:pt x="70" y="208"/>
                  </a:lnTo>
                  <a:lnTo>
                    <a:pt x="68" y="205"/>
                  </a:lnTo>
                  <a:lnTo>
                    <a:pt x="67" y="203"/>
                  </a:lnTo>
                  <a:lnTo>
                    <a:pt x="67" y="201"/>
                  </a:lnTo>
                  <a:lnTo>
                    <a:pt x="77" y="201"/>
                  </a:lnTo>
                  <a:lnTo>
                    <a:pt x="81" y="203"/>
                  </a:lnTo>
                  <a:lnTo>
                    <a:pt x="84" y="206"/>
                  </a:lnTo>
                  <a:lnTo>
                    <a:pt x="85" y="206"/>
                  </a:lnTo>
                  <a:lnTo>
                    <a:pt x="87" y="205"/>
                  </a:lnTo>
                  <a:lnTo>
                    <a:pt x="88" y="203"/>
                  </a:lnTo>
                  <a:lnTo>
                    <a:pt x="92" y="196"/>
                  </a:lnTo>
                  <a:lnTo>
                    <a:pt x="95" y="190"/>
                  </a:lnTo>
                  <a:lnTo>
                    <a:pt x="96" y="185"/>
                  </a:lnTo>
                  <a:lnTo>
                    <a:pt x="93" y="180"/>
                  </a:lnTo>
                  <a:lnTo>
                    <a:pt x="87" y="177"/>
                  </a:lnTo>
                  <a:lnTo>
                    <a:pt x="78" y="174"/>
                  </a:lnTo>
                  <a:lnTo>
                    <a:pt x="68" y="170"/>
                  </a:lnTo>
                  <a:lnTo>
                    <a:pt x="59" y="166"/>
                  </a:lnTo>
                  <a:lnTo>
                    <a:pt x="54" y="162"/>
                  </a:lnTo>
                  <a:lnTo>
                    <a:pt x="51" y="156"/>
                  </a:lnTo>
                  <a:lnTo>
                    <a:pt x="43" y="144"/>
                  </a:lnTo>
                  <a:lnTo>
                    <a:pt x="40" y="140"/>
                  </a:lnTo>
                  <a:lnTo>
                    <a:pt x="38" y="138"/>
                  </a:lnTo>
                  <a:lnTo>
                    <a:pt x="37" y="138"/>
                  </a:lnTo>
                  <a:lnTo>
                    <a:pt x="35" y="139"/>
                  </a:lnTo>
                  <a:lnTo>
                    <a:pt x="34" y="141"/>
                  </a:lnTo>
                  <a:lnTo>
                    <a:pt x="31" y="143"/>
                  </a:lnTo>
                  <a:lnTo>
                    <a:pt x="30" y="144"/>
                  </a:lnTo>
                  <a:lnTo>
                    <a:pt x="28" y="144"/>
                  </a:lnTo>
                  <a:lnTo>
                    <a:pt x="27" y="143"/>
                  </a:lnTo>
                  <a:lnTo>
                    <a:pt x="23" y="135"/>
                  </a:lnTo>
                  <a:lnTo>
                    <a:pt x="18" y="129"/>
                  </a:lnTo>
                  <a:lnTo>
                    <a:pt x="14" y="122"/>
                  </a:lnTo>
                  <a:lnTo>
                    <a:pt x="12" y="115"/>
                  </a:lnTo>
                  <a:lnTo>
                    <a:pt x="13" y="109"/>
                  </a:lnTo>
                  <a:lnTo>
                    <a:pt x="19" y="102"/>
                  </a:lnTo>
                  <a:lnTo>
                    <a:pt x="26" y="95"/>
                  </a:lnTo>
                  <a:lnTo>
                    <a:pt x="33" y="91"/>
                  </a:lnTo>
                  <a:lnTo>
                    <a:pt x="41" y="88"/>
                  </a:lnTo>
                  <a:lnTo>
                    <a:pt x="49" y="87"/>
                  </a:lnTo>
                  <a:lnTo>
                    <a:pt x="65" y="87"/>
                  </a:lnTo>
                  <a:lnTo>
                    <a:pt x="71" y="85"/>
                  </a:lnTo>
                  <a:lnTo>
                    <a:pt x="75" y="82"/>
                  </a:lnTo>
                  <a:lnTo>
                    <a:pt x="76" y="77"/>
                  </a:lnTo>
                  <a:lnTo>
                    <a:pt x="78" y="65"/>
                  </a:lnTo>
                  <a:lnTo>
                    <a:pt x="80" y="62"/>
                  </a:lnTo>
                  <a:lnTo>
                    <a:pt x="85" y="60"/>
                  </a:lnTo>
                  <a:lnTo>
                    <a:pt x="100" y="60"/>
                  </a:lnTo>
                  <a:lnTo>
                    <a:pt x="107" y="57"/>
                  </a:lnTo>
                  <a:lnTo>
                    <a:pt x="115" y="50"/>
                  </a:lnTo>
                  <a:lnTo>
                    <a:pt x="121" y="42"/>
                  </a:lnTo>
                  <a:lnTo>
                    <a:pt x="126" y="33"/>
                  </a:lnTo>
                  <a:lnTo>
                    <a:pt x="130" y="26"/>
                  </a:lnTo>
                  <a:lnTo>
                    <a:pt x="135" y="20"/>
                  </a:lnTo>
                  <a:lnTo>
                    <a:pt x="140" y="18"/>
                  </a:lnTo>
                  <a:lnTo>
                    <a:pt x="147" y="20"/>
                  </a:lnTo>
                  <a:lnTo>
                    <a:pt x="154" y="23"/>
                  </a:lnTo>
                  <a:lnTo>
                    <a:pt x="161" y="27"/>
                  </a:lnTo>
                  <a:lnTo>
                    <a:pt x="168" y="30"/>
                  </a:lnTo>
                  <a:lnTo>
                    <a:pt x="174" y="29"/>
                  </a:lnTo>
                  <a:lnTo>
                    <a:pt x="181" y="27"/>
                  </a:lnTo>
                  <a:lnTo>
                    <a:pt x="189" y="26"/>
                  </a:lnTo>
                  <a:lnTo>
                    <a:pt x="197" y="26"/>
                  </a:lnTo>
                  <a:lnTo>
                    <a:pt x="201" y="24"/>
                  </a:lnTo>
                  <a:lnTo>
                    <a:pt x="202" y="21"/>
                  </a:lnTo>
                  <a:lnTo>
                    <a:pt x="201" y="16"/>
                  </a:lnTo>
                  <a:lnTo>
                    <a:pt x="199" y="11"/>
                  </a:lnTo>
                  <a:lnTo>
                    <a:pt x="198" y="6"/>
                  </a:lnTo>
                  <a:lnTo>
                    <a:pt x="200" y="2"/>
                  </a:lnTo>
                  <a:lnTo>
                    <a:pt x="205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517C2B96-1041-4690-B422-98318E8ABE22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4813" y="4189413"/>
              <a:ext cx="2070100" cy="2133600"/>
            </a:xfrm>
            <a:custGeom>
              <a:avLst/>
              <a:gdLst/>
              <a:ahLst/>
              <a:cxnLst>
                <a:cxn ang="0">
                  <a:pos x="367" y="59"/>
                </a:cxn>
                <a:cxn ang="0">
                  <a:pos x="442" y="139"/>
                </a:cxn>
                <a:cxn ang="0">
                  <a:pos x="472" y="105"/>
                </a:cxn>
                <a:cxn ang="0">
                  <a:pos x="520" y="79"/>
                </a:cxn>
                <a:cxn ang="0">
                  <a:pos x="565" y="91"/>
                </a:cxn>
                <a:cxn ang="0">
                  <a:pos x="597" y="41"/>
                </a:cxn>
                <a:cxn ang="0">
                  <a:pos x="659" y="61"/>
                </a:cxn>
                <a:cxn ang="0">
                  <a:pos x="752" y="58"/>
                </a:cxn>
                <a:cxn ang="0">
                  <a:pos x="825" y="119"/>
                </a:cxn>
                <a:cxn ang="0">
                  <a:pos x="869" y="196"/>
                </a:cxn>
                <a:cxn ang="0">
                  <a:pos x="940" y="246"/>
                </a:cxn>
                <a:cxn ang="0">
                  <a:pos x="911" y="332"/>
                </a:cxn>
                <a:cxn ang="0">
                  <a:pos x="962" y="408"/>
                </a:cxn>
                <a:cxn ang="0">
                  <a:pos x="1032" y="488"/>
                </a:cxn>
                <a:cxn ang="0">
                  <a:pos x="1107" y="546"/>
                </a:cxn>
                <a:cxn ang="0">
                  <a:pos x="1211" y="635"/>
                </a:cxn>
                <a:cxn ang="0">
                  <a:pos x="1276" y="664"/>
                </a:cxn>
                <a:cxn ang="0">
                  <a:pos x="1290" y="788"/>
                </a:cxn>
                <a:cxn ang="0">
                  <a:pos x="1209" y="789"/>
                </a:cxn>
                <a:cxn ang="0">
                  <a:pos x="1171" y="897"/>
                </a:cxn>
                <a:cxn ang="0">
                  <a:pos x="1048" y="961"/>
                </a:cxn>
                <a:cxn ang="0">
                  <a:pos x="1072" y="1050"/>
                </a:cxn>
                <a:cxn ang="0">
                  <a:pos x="1103" y="1147"/>
                </a:cxn>
                <a:cxn ang="0">
                  <a:pos x="1107" y="1221"/>
                </a:cxn>
                <a:cxn ang="0">
                  <a:pos x="1039" y="1209"/>
                </a:cxn>
                <a:cxn ang="0">
                  <a:pos x="967" y="1186"/>
                </a:cxn>
                <a:cxn ang="0">
                  <a:pos x="887" y="1162"/>
                </a:cxn>
                <a:cxn ang="0">
                  <a:pos x="873" y="1192"/>
                </a:cxn>
                <a:cxn ang="0">
                  <a:pos x="713" y="1216"/>
                </a:cxn>
                <a:cxn ang="0">
                  <a:pos x="630" y="1278"/>
                </a:cxn>
                <a:cxn ang="0">
                  <a:pos x="541" y="1294"/>
                </a:cxn>
                <a:cxn ang="0">
                  <a:pos x="513" y="1243"/>
                </a:cxn>
                <a:cxn ang="0">
                  <a:pos x="407" y="1235"/>
                </a:cxn>
                <a:cxn ang="0">
                  <a:pos x="389" y="1249"/>
                </a:cxn>
                <a:cxn ang="0">
                  <a:pos x="312" y="1343"/>
                </a:cxn>
                <a:cxn ang="0">
                  <a:pos x="290" y="1300"/>
                </a:cxn>
                <a:cxn ang="0">
                  <a:pos x="232" y="1235"/>
                </a:cxn>
                <a:cxn ang="0">
                  <a:pos x="172" y="1233"/>
                </a:cxn>
                <a:cxn ang="0">
                  <a:pos x="233" y="1183"/>
                </a:cxn>
                <a:cxn ang="0">
                  <a:pos x="287" y="1145"/>
                </a:cxn>
                <a:cxn ang="0">
                  <a:pos x="305" y="1020"/>
                </a:cxn>
                <a:cxn ang="0">
                  <a:pos x="277" y="859"/>
                </a:cxn>
                <a:cxn ang="0">
                  <a:pos x="342" y="778"/>
                </a:cxn>
                <a:cxn ang="0">
                  <a:pos x="385" y="770"/>
                </a:cxn>
                <a:cxn ang="0">
                  <a:pos x="383" y="720"/>
                </a:cxn>
                <a:cxn ang="0">
                  <a:pos x="352" y="621"/>
                </a:cxn>
                <a:cxn ang="0">
                  <a:pos x="337" y="581"/>
                </a:cxn>
                <a:cxn ang="0">
                  <a:pos x="295" y="485"/>
                </a:cxn>
                <a:cxn ang="0">
                  <a:pos x="279" y="433"/>
                </a:cxn>
                <a:cxn ang="0">
                  <a:pos x="232" y="410"/>
                </a:cxn>
                <a:cxn ang="0">
                  <a:pos x="196" y="348"/>
                </a:cxn>
                <a:cxn ang="0">
                  <a:pos x="174" y="317"/>
                </a:cxn>
                <a:cxn ang="0">
                  <a:pos x="86" y="327"/>
                </a:cxn>
                <a:cxn ang="0">
                  <a:pos x="112" y="341"/>
                </a:cxn>
                <a:cxn ang="0">
                  <a:pos x="78" y="389"/>
                </a:cxn>
                <a:cxn ang="0">
                  <a:pos x="26" y="378"/>
                </a:cxn>
                <a:cxn ang="0">
                  <a:pos x="15" y="289"/>
                </a:cxn>
                <a:cxn ang="0">
                  <a:pos x="0" y="200"/>
                </a:cxn>
                <a:cxn ang="0">
                  <a:pos x="57" y="163"/>
                </a:cxn>
                <a:cxn ang="0">
                  <a:pos x="135" y="168"/>
                </a:cxn>
                <a:cxn ang="0">
                  <a:pos x="176" y="121"/>
                </a:cxn>
                <a:cxn ang="0">
                  <a:pos x="225" y="58"/>
                </a:cxn>
              </a:cxnLst>
              <a:rect l="0" t="0" r="r" b="b"/>
              <a:pathLst>
                <a:path w="1304" h="1344">
                  <a:moveTo>
                    <a:pt x="296" y="0"/>
                  </a:moveTo>
                  <a:lnTo>
                    <a:pt x="312" y="0"/>
                  </a:lnTo>
                  <a:lnTo>
                    <a:pt x="317" y="1"/>
                  </a:lnTo>
                  <a:lnTo>
                    <a:pt x="321" y="4"/>
                  </a:lnTo>
                  <a:lnTo>
                    <a:pt x="323" y="8"/>
                  </a:lnTo>
                  <a:lnTo>
                    <a:pt x="324" y="12"/>
                  </a:lnTo>
                  <a:lnTo>
                    <a:pt x="325" y="15"/>
                  </a:lnTo>
                  <a:lnTo>
                    <a:pt x="329" y="18"/>
                  </a:lnTo>
                  <a:lnTo>
                    <a:pt x="347" y="24"/>
                  </a:lnTo>
                  <a:lnTo>
                    <a:pt x="355" y="29"/>
                  </a:lnTo>
                  <a:lnTo>
                    <a:pt x="359" y="37"/>
                  </a:lnTo>
                  <a:lnTo>
                    <a:pt x="360" y="42"/>
                  </a:lnTo>
                  <a:lnTo>
                    <a:pt x="360" y="47"/>
                  </a:lnTo>
                  <a:lnTo>
                    <a:pt x="361" y="52"/>
                  </a:lnTo>
                  <a:lnTo>
                    <a:pt x="363" y="57"/>
                  </a:lnTo>
                  <a:lnTo>
                    <a:pt x="367" y="59"/>
                  </a:lnTo>
                  <a:lnTo>
                    <a:pt x="383" y="63"/>
                  </a:lnTo>
                  <a:lnTo>
                    <a:pt x="387" y="65"/>
                  </a:lnTo>
                  <a:lnTo>
                    <a:pt x="390" y="69"/>
                  </a:lnTo>
                  <a:lnTo>
                    <a:pt x="391" y="72"/>
                  </a:lnTo>
                  <a:lnTo>
                    <a:pt x="393" y="74"/>
                  </a:lnTo>
                  <a:lnTo>
                    <a:pt x="398" y="76"/>
                  </a:lnTo>
                  <a:lnTo>
                    <a:pt x="407" y="78"/>
                  </a:lnTo>
                  <a:lnTo>
                    <a:pt x="413" y="81"/>
                  </a:lnTo>
                  <a:lnTo>
                    <a:pt x="418" y="88"/>
                  </a:lnTo>
                  <a:lnTo>
                    <a:pt x="420" y="94"/>
                  </a:lnTo>
                  <a:lnTo>
                    <a:pt x="420" y="118"/>
                  </a:lnTo>
                  <a:lnTo>
                    <a:pt x="421" y="125"/>
                  </a:lnTo>
                  <a:lnTo>
                    <a:pt x="422" y="130"/>
                  </a:lnTo>
                  <a:lnTo>
                    <a:pt x="425" y="132"/>
                  </a:lnTo>
                  <a:lnTo>
                    <a:pt x="430" y="133"/>
                  </a:lnTo>
                  <a:lnTo>
                    <a:pt x="442" y="139"/>
                  </a:lnTo>
                  <a:lnTo>
                    <a:pt x="447" y="141"/>
                  </a:lnTo>
                  <a:lnTo>
                    <a:pt x="451" y="141"/>
                  </a:lnTo>
                  <a:lnTo>
                    <a:pt x="453" y="138"/>
                  </a:lnTo>
                  <a:lnTo>
                    <a:pt x="454" y="130"/>
                  </a:lnTo>
                  <a:lnTo>
                    <a:pt x="455" y="125"/>
                  </a:lnTo>
                  <a:lnTo>
                    <a:pt x="457" y="121"/>
                  </a:lnTo>
                  <a:lnTo>
                    <a:pt x="461" y="120"/>
                  </a:lnTo>
                  <a:lnTo>
                    <a:pt x="465" y="121"/>
                  </a:lnTo>
                  <a:lnTo>
                    <a:pt x="470" y="123"/>
                  </a:lnTo>
                  <a:lnTo>
                    <a:pt x="476" y="125"/>
                  </a:lnTo>
                  <a:lnTo>
                    <a:pt x="481" y="126"/>
                  </a:lnTo>
                  <a:lnTo>
                    <a:pt x="485" y="127"/>
                  </a:lnTo>
                  <a:lnTo>
                    <a:pt x="487" y="125"/>
                  </a:lnTo>
                  <a:lnTo>
                    <a:pt x="486" y="121"/>
                  </a:lnTo>
                  <a:lnTo>
                    <a:pt x="480" y="113"/>
                  </a:lnTo>
                  <a:lnTo>
                    <a:pt x="472" y="105"/>
                  </a:lnTo>
                  <a:lnTo>
                    <a:pt x="463" y="98"/>
                  </a:lnTo>
                  <a:lnTo>
                    <a:pt x="457" y="92"/>
                  </a:lnTo>
                  <a:lnTo>
                    <a:pt x="455" y="87"/>
                  </a:lnTo>
                  <a:lnTo>
                    <a:pt x="458" y="82"/>
                  </a:lnTo>
                  <a:lnTo>
                    <a:pt x="463" y="79"/>
                  </a:lnTo>
                  <a:lnTo>
                    <a:pt x="469" y="76"/>
                  </a:lnTo>
                  <a:lnTo>
                    <a:pt x="479" y="70"/>
                  </a:lnTo>
                  <a:lnTo>
                    <a:pt x="486" y="67"/>
                  </a:lnTo>
                  <a:lnTo>
                    <a:pt x="494" y="65"/>
                  </a:lnTo>
                  <a:lnTo>
                    <a:pt x="502" y="64"/>
                  </a:lnTo>
                  <a:lnTo>
                    <a:pt x="509" y="65"/>
                  </a:lnTo>
                  <a:lnTo>
                    <a:pt x="511" y="66"/>
                  </a:lnTo>
                  <a:lnTo>
                    <a:pt x="513" y="68"/>
                  </a:lnTo>
                  <a:lnTo>
                    <a:pt x="517" y="78"/>
                  </a:lnTo>
                  <a:lnTo>
                    <a:pt x="518" y="78"/>
                  </a:lnTo>
                  <a:lnTo>
                    <a:pt x="520" y="79"/>
                  </a:lnTo>
                  <a:lnTo>
                    <a:pt x="522" y="78"/>
                  </a:lnTo>
                  <a:lnTo>
                    <a:pt x="528" y="74"/>
                  </a:lnTo>
                  <a:lnTo>
                    <a:pt x="529" y="72"/>
                  </a:lnTo>
                  <a:lnTo>
                    <a:pt x="531" y="71"/>
                  </a:lnTo>
                  <a:lnTo>
                    <a:pt x="534" y="74"/>
                  </a:lnTo>
                  <a:lnTo>
                    <a:pt x="535" y="76"/>
                  </a:lnTo>
                  <a:lnTo>
                    <a:pt x="535" y="77"/>
                  </a:lnTo>
                  <a:lnTo>
                    <a:pt x="536" y="78"/>
                  </a:lnTo>
                  <a:lnTo>
                    <a:pt x="536" y="79"/>
                  </a:lnTo>
                  <a:lnTo>
                    <a:pt x="537" y="80"/>
                  </a:lnTo>
                  <a:lnTo>
                    <a:pt x="541" y="80"/>
                  </a:lnTo>
                  <a:lnTo>
                    <a:pt x="547" y="79"/>
                  </a:lnTo>
                  <a:lnTo>
                    <a:pt x="561" y="79"/>
                  </a:lnTo>
                  <a:lnTo>
                    <a:pt x="565" y="82"/>
                  </a:lnTo>
                  <a:lnTo>
                    <a:pt x="566" y="86"/>
                  </a:lnTo>
                  <a:lnTo>
                    <a:pt x="565" y="91"/>
                  </a:lnTo>
                  <a:lnTo>
                    <a:pt x="565" y="97"/>
                  </a:lnTo>
                  <a:lnTo>
                    <a:pt x="566" y="103"/>
                  </a:lnTo>
                  <a:lnTo>
                    <a:pt x="568" y="106"/>
                  </a:lnTo>
                  <a:lnTo>
                    <a:pt x="571" y="108"/>
                  </a:lnTo>
                  <a:lnTo>
                    <a:pt x="578" y="109"/>
                  </a:lnTo>
                  <a:lnTo>
                    <a:pt x="586" y="110"/>
                  </a:lnTo>
                  <a:lnTo>
                    <a:pt x="592" y="110"/>
                  </a:lnTo>
                  <a:lnTo>
                    <a:pt x="596" y="108"/>
                  </a:lnTo>
                  <a:lnTo>
                    <a:pt x="598" y="102"/>
                  </a:lnTo>
                  <a:lnTo>
                    <a:pt x="600" y="93"/>
                  </a:lnTo>
                  <a:lnTo>
                    <a:pt x="601" y="84"/>
                  </a:lnTo>
                  <a:lnTo>
                    <a:pt x="602" y="77"/>
                  </a:lnTo>
                  <a:lnTo>
                    <a:pt x="601" y="71"/>
                  </a:lnTo>
                  <a:lnTo>
                    <a:pt x="600" y="61"/>
                  </a:lnTo>
                  <a:lnTo>
                    <a:pt x="598" y="51"/>
                  </a:lnTo>
                  <a:lnTo>
                    <a:pt x="597" y="41"/>
                  </a:lnTo>
                  <a:lnTo>
                    <a:pt x="597" y="32"/>
                  </a:lnTo>
                  <a:lnTo>
                    <a:pt x="599" y="27"/>
                  </a:lnTo>
                  <a:lnTo>
                    <a:pt x="608" y="18"/>
                  </a:lnTo>
                  <a:lnTo>
                    <a:pt x="614" y="14"/>
                  </a:lnTo>
                  <a:lnTo>
                    <a:pt x="624" y="9"/>
                  </a:lnTo>
                  <a:lnTo>
                    <a:pt x="627" y="10"/>
                  </a:lnTo>
                  <a:lnTo>
                    <a:pt x="628" y="16"/>
                  </a:lnTo>
                  <a:lnTo>
                    <a:pt x="629" y="23"/>
                  </a:lnTo>
                  <a:lnTo>
                    <a:pt x="630" y="29"/>
                  </a:lnTo>
                  <a:lnTo>
                    <a:pt x="633" y="33"/>
                  </a:lnTo>
                  <a:lnTo>
                    <a:pt x="638" y="36"/>
                  </a:lnTo>
                  <a:lnTo>
                    <a:pt x="642" y="40"/>
                  </a:lnTo>
                  <a:lnTo>
                    <a:pt x="648" y="45"/>
                  </a:lnTo>
                  <a:lnTo>
                    <a:pt x="652" y="49"/>
                  </a:lnTo>
                  <a:lnTo>
                    <a:pt x="654" y="52"/>
                  </a:lnTo>
                  <a:lnTo>
                    <a:pt x="659" y="61"/>
                  </a:lnTo>
                  <a:lnTo>
                    <a:pt x="663" y="67"/>
                  </a:lnTo>
                  <a:lnTo>
                    <a:pt x="668" y="71"/>
                  </a:lnTo>
                  <a:lnTo>
                    <a:pt x="672" y="70"/>
                  </a:lnTo>
                  <a:lnTo>
                    <a:pt x="676" y="67"/>
                  </a:lnTo>
                  <a:lnTo>
                    <a:pt x="679" y="64"/>
                  </a:lnTo>
                  <a:lnTo>
                    <a:pt x="683" y="63"/>
                  </a:lnTo>
                  <a:lnTo>
                    <a:pt x="691" y="62"/>
                  </a:lnTo>
                  <a:lnTo>
                    <a:pt x="704" y="61"/>
                  </a:lnTo>
                  <a:lnTo>
                    <a:pt x="716" y="58"/>
                  </a:lnTo>
                  <a:lnTo>
                    <a:pt x="729" y="53"/>
                  </a:lnTo>
                  <a:lnTo>
                    <a:pt x="734" y="52"/>
                  </a:lnTo>
                  <a:lnTo>
                    <a:pt x="736" y="53"/>
                  </a:lnTo>
                  <a:lnTo>
                    <a:pt x="738" y="58"/>
                  </a:lnTo>
                  <a:lnTo>
                    <a:pt x="740" y="60"/>
                  </a:lnTo>
                  <a:lnTo>
                    <a:pt x="745" y="60"/>
                  </a:lnTo>
                  <a:lnTo>
                    <a:pt x="752" y="58"/>
                  </a:lnTo>
                  <a:lnTo>
                    <a:pt x="762" y="56"/>
                  </a:lnTo>
                  <a:lnTo>
                    <a:pt x="772" y="51"/>
                  </a:lnTo>
                  <a:lnTo>
                    <a:pt x="778" y="59"/>
                  </a:lnTo>
                  <a:lnTo>
                    <a:pt x="779" y="62"/>
                  </a:lnTo>
                  <a:lnTo>
                    <a:pt x="781" y="66"/>
                  </a:lnTo>
                  <a:lnTo>
                    <a:pt x="785" y="71"/>
                  </a:lnTo>
                  <a:lnTo>
                    <a:pt x="791" y="77"/>
                  </a:lnTo>
                  <a:lnTo>
                    <a:pt x="799" y="83"/>
                  </a:lnTo>
                  <a:lnTo>
                    <a:pt x="811" y="88"/>
                  </a:lnTo>
                  <a:lnTo>
                    <a:pt x="826" y="91"/>
                  </a:lnTo>
                  <a:lnTo>
                    <a:pt x="828" y="94"/>
                  </a:lnTo>
                  <a:lnTo>
                    <a:pt x="830" y="100"/>
                  </a:lnTo>
                  <a:lnTo>
                    <a:pt x="829" y="105"/>
                  </a:lnTo>
                  <a:lnTo>
                    <a:pt x="820" y="114"/>
                  </a:lnTo>
                  <a:lnTo>
                    <a:pt x="820" y="117"/>
                  </a:lnTo>
                  <a:lnTo>
                    <a:pt x="825" y="119"/>
                  </a:lnTo>
                  <a:lnTo>
                    <a:pt x="834" y="123"/>
                  </a:lnTo>
                  <a:lnTo>
                    <a:pt x="840" y="128"/>
                  </a:lnTo>
                  <a:lnTo>
                    <a:pt x="844" y="133"/>
                  </a:lnTo>
                  <a:lnTo>
                    <a:pt x="848" y="139"/>
                  </a:lnTo>
                  <a:lnTo>
                    <a:pt x="850" y="144"/>
                  </a:lnTo>
                  <a:lnTo>
                    <a:pt x="849" y="148"/>
                  </a:lnTo>
                  <a:lnTo>
                    <a:pt x="847" y="152"/>
                  </a:lnTo>
                  <a:lnTo>
                    <a:pt x="844" y="155"/>
                  </a:lnTo>
                  <a:lnTo>
                    <a:pt x="842" y="158"/>
                  </a:lnTo>
                  <a:lnTo>
                    <a:pt x="843" y="163"/>
                  </a:lnTo>
                  <a:lnTo>
                    <a:pt x="848" y="169"/>
                  </a:lnTo>
                  <a:lnTo>
                    <a:pt x="854" y="175"/>
                  </a:lnTo>
                  <a:lnTo>
                    <a:pt x="860" y="182"/>
                  </a:lnTo>
                  <a:lnTo>
                    <a:pt x="862" y="188"/>
                  </a:lnTo>
                  <a:lnTo>
                    <a:pt x="864" y="193"/>
                  </a:lnTo>
                  <a:lnTo>
                    <a:pt x="869" y="196"/>
                  </a:lnTo>
                  <a:lnTo>
                    <a:pt x="877" y="199"/>
                  </a:lnTo>
                  <a:lnTo>
                    <a:pt x="887" y="204"/>
                  </a:lnTo>
                  <a:lnTo>
                    <a:pt x="896" y="210"/>
                  </a:lnTo>
                  <a:lnTo>
                    <a:pt x="904" y="216"/>
                  </a:lnTo>
                  <a:lnTo>
                    <a:pt x="909" y="219"/>
                  </a:lnTo>
                  <a:lnTo>
                    <a:pt x="913" y="221"/>
                  </a:lnTo>
                  <a:lnTo>
                    <a:pt x="916" y="221"/>
                  </a:lnTo>
                  <a:lnTo>
                    <a:pt x="920" y="222"/>
                  </a:lnTo>
                  <a:lnTo>
                    <a:pt x="923" y="224"/>
                  </a:lnTo>
                  <a:lnTo>
                    <a:pt x="924" y="229"/>
                  </a:lnTo>
                  <a:lnTo>
                    <a:pt x="923" y="234"/>
                  </a:lnTo>
                  <a:lnTo>
                    <a:pt x="923" y="239"/>
                  </a:lnTo>
                  <a:lnTo>
                    <a:pt x="925" y="242"/>
                  </a:lnTo>
                  <a:lnTo>
                    <a:pt x="931" y="244"/>
                  </a:lnTo>
                  <a:lnTo>
                    <a:pt x="936" y="245"/>
                  </a:lnTo>
                  <a:lnTo>
                    <a:pt x="940" y="246"/>
                  </a:lnTo>
                  <a:lnTo>
                    <a:pt x="942" y="250"/>
                  </a:lnTo>
                  <a:lnTo>
                    <a:pt x="941" y="259"/>
                  </a:lnTo>
                  <a:lnTo>
                    <a:pt x="937" y="269"/>
                  </a:lnTo>
                  <a:lnTo>
                    <a:pt x="931" y="277"/>
                  </a:lnTo>
                  <a:lnTo>
                    <a:pt x="928" y="280"/>
                  </a:lnTo>
                  <a:lnTo>
                    <a:pt x="927" y="283"/>
                  </a:lnTo>
                  <a:lnTo>
                    <a:pt x="927" y="287"/>
                  </a:lnTo>
                  <a:lnTo>
                    <a:pt x="925" y="293"/>
                  </a:lnTo>
                  <a:lnTo>
                    <a:pt x="921" y="299"/>
                  </a:lnTo>
                  <a:lnTo>
                    <a:pt x="917" y="302"/>
                  </a:lnTo>
                  <a:lnTo>
                    <a:pt x="912" y="305"/>
                  </a:lnTo>
                  <a:lnTo>
                    <a:pt x="908" y="309"/>
                  </a:lnTo>
                  <a:lnTo>
                    <a:pt x="906" y="314"/>
                  </a:lnTo>
                  <a:lnTo>
                    <a:pt x="907" y="319"/>
                  </a:lnTo>
                  <a:lnTo>
                    <a:pt x="909" y="325"/>
                  </a:lnTo>
                  <a:lnTo>
                    <a:pt x="911" y="332"/>
                  </a:lnTo>
                  <a:lnTo>
                    <a:pt x="915" y="336"/>
                  </a:lnTo>
                  <a:lnTo>
                    <a:pt x="920" y="340"/>
                  </a:lnTo>
                  <a:lnTo>
                    <a:pt x="927" y="344"/>
                  </a:lnTo>
                  <a:lnTo>
                    <a:pt x="932" y="347"/>
                  </a:lnTo>
                  <a:lnTo>
                    <a:pt x="934" y="350"/>
                  </a:lnTo>
                  <a:lnTo>
                    <a:pt x="933" y="353"/>
                  </a:lnTo>
                  <a:lnTo>
                    <a:pt x="930" y="357"/>
                  </a:lnTo>
                  <a:lnTo>
                    <a:pt x="932" y="361"/>
                  </a:lnTo>
                  <a:lnTo>
                    <a:pt x="935" y="364"/>
                  </a:lnTo>
                  <a:lnTo>
                    <a:pt x="939" y="367"/>
                  </a:lnTo>
                  <a:lnTo>
                    <a:pt x="943" y="369"/>
                  </a:lnTo>
                  <a:lnTo>
                    <a:pt x="948" y="375"/>
                  </a:lnTo>
                  <a:lnTo>
                    <a:pt x="952" y="384"/>
                  </a:lnTo>
                  <a:lnTo>
                    <a:pt x="957" y="397"/>
                  </a:lnTo>
                  <a:lnTo>
                    <a:pt x="960" y="404"/>
                  </a:lnTo>
                  <a:lnTo>
                    <a:pt x="962" y="408"/>
                  </a:lnTo>
                  <a:lnTo>
                    <a:pt x="965" y="410"/>
                  </a:lnTo>
                  <a:lnTo>
                    <a:pt x="968" y="413"/>
                  </a:lnTo>
                  <a:lnTo>
                    <a:pt x="971" y="419"/>
                  </a:lnTo>
                  <a:lnTo>
                    <a:pt x="975" y="429"/>
                  </a:lnTo>
                  <a:lnTo>
                    <a:pt x="977" y="438"/>
                  </a:lnTo>
                  <a:lnTo>
                    <a:pt x="979" y="444"/>
                  </a:lnTo>
                  <a:lnTo>
                    <a:pt x="984" y="448"/>
                  </a:lnTo>
                  <a:lnTo>
                    <a:pt x="992" y="452"/>
                  </a:lnTo>
                  <a:lnTo>
                    <a:pt x="1000" y="458"/>
                  </a:lnTo>
                  <a:lnTo>
                    <a:pt x="1008" y="467"/>
                  </a:lnTo>
                  <a:lnTo>
                    <a:pt x="1013" y="476"/>
                  </a:lnTo>
                  <a:lnTo>
                    <a:pt x="1016" y="483"/>
                  </a:lnTo>
                  <a:lnTo>
                    <a:pt x="1019" y="485"/>
                  </a:lnTo>
                  <a:lnTo>
                    <a:pt x="1023" y="486"/>
                  </a:lnTo>
                  <a:lnTo>
                    <a:pt x="1027" y="486"/>
                  </a:lnTo>
                  <a:lnTo>
                    <a:pt x="1032" y="488"/>
                  </a:lnTo>
                  <a:lnTo>
                    <a:pt x="1034" y="489"/>
                  </a:lnTo>
                  <a:lnTo>
                    <a:pt x="1035" y="490"/>
                  </a:lnTo>
                  <a:lnTo>
                    <a:pt x="1037" y="488"/>
                  </a:lnTo>
                  <a:lnTo>
                    <a:pt x="1037" y="487"/>
                  </a:lnTo>
                  <a:lnTo>
                    <a:pt x="1039" y="483"/>
                  </a:lnTo>
                  <a:lnTo>
                    <a:pt x="1040" y="482"/>
                  </a:lnTo>
                  <a:lnTo>
                    <a:pt x="1041" y="480"/>
                  </a:lnTo>
                  <a:lnTo>
                    <a:pt x="1043" y="479"/>
                  </a:lnTo>
                  <a:lnTo>
                    <a:pt x="1045" y="479"/>
                  </a:lnTo>
                  <a:lnTo>
                    <a:pt x="1052" y="481"/>
                  </a:lnTo>
                  <a:lnTo>
                    <a:pt x="1060" y="485"/>
                  </a:lnTo>
                  <a:lnTo>
                    <a:pt x="1067" y="492"/>
                  </a:lnTo>
                  <a:lnTo>
                    <a:pt x="1074" y="500"/>
                  </a:lnTo>
                  <a:lnTo>
                    <a:pt x="1084" y="516"/>
                  </a:lnTo>
                  <a:lnTo>
                    <a:pt x="1091" y="526"/>
                  </a:lnTo>
                  <a:lnTo>
                    <a:pt x="1107" y="546"/>
                  </a:lnTo>
                  <a:lnTo>
                    <a:pt x="1114" y="555"/>
                  </a:lnTo>
                  <a:lnTo>
                    <a:pt x="1118" y="563"/>
                  </a:lnTo>
                  <a:lnTo>
                    <a:pt x="1122" y="569"/>
                  </a:lnTo>
                  <a:lnTo>
                    <a:pt x="1128" y="571"/>
                  </a:lnTo>
                  <a:lnTo>
                    <a:pt x="1153" y="571"/>
                  </a:lnTo>
                  <a:lnTo>
                    <a:pt x="1161" y="574"/>
                  </a:lnTo>
                  <a:lnTo>
                    <a:pt x="1168" y="582"/>
                  </a:lnTo>
                  <a:lnTo>
                    <a:pt x="1174" y="591"/>
                  </a:lnTo>
                  <a:lnTo>
                    <a:pt x="1178" y="601"/>
                  </a:lnTo>
                  <a:lnTo>
                    <a:pt x="1181" y="609"/>
                  </a:lnTo>
                  <a:lnTo>
                    <a:pt x="1182" y="615"/>
                  </a:lnTo>
                  <a:lnTo>
                    <a:pt x="1185" y="621"/>
                  </a:lnTo>
                  <a:lnTo>
                    <a:pt x="1192" y="626"/>
                  </a:lnTo>
                  <a:lnTo>
                    <a:pt x="1200" y="630"/>
                  </a:lnTo>
                  <a:lnTo>
                    <a:pt x="1209" y="634"/>
                  </a:lnTo>
                  <a:lnTo>
                    <a:pt x="1211" y="635"/>
                  </a:lnTo>
                  <a:lnTo>
                    <a:pt x="1213" y="634"/>
                  </a:lnTo>
                  <a:lnTo>
                    <a:pt x="1213" y="631"/>
                  </a:lnTo>
                  <a:lnTo>
                    <a:pt x="1212" y="629"/>
                  </a:lnTo>
                  <a:lnTo>
                    <a:pt x="1212" y="627"/>
                  </a:lnTo>
                  <a:lnTo>
                    <a:pt x="1211" y="625"/>
                  </a:lnTo>
                  <a:lnTo>
                    <a:pt x="1211" y="624"/>
                  </a:lnTo>
                  <a:lnTo>
                    <a:pt x="1210" y="622"/>
                  </a:lnTo>
                  <a:lnTo>
                    <a:pt x="1212" y="620"/>
                  </a:lnTo>
                  <a:lnTo>
                    <a:pt x="1216" y="621"/>
                  </a:lnTo>
                  <a:lnTo>
                    <a:pt x="1222" y="624"/>
                  </a:lnTo>
                  <a:lnTo>
                    <a:pt x="1229" y="629"/>
                  </a:lnTo>
                  <a:lnTo>
                    <a:pt x="1249" y="649"/>
                  </a:lnTo>
                  <a:lnTo>
                    <a:pt x="1254" y="655"/>
                  </a:lnTo>
                  <a:lnTo>
                    <a:pt x="1260" y="661"/>
                  </a:lnTo>
                  <a:lnTo>
                    <a:pt x="1266" y="664"/>
                  </a:lnTo>
                  <a:lnTo>
                    <a:pt x="1276" y="664"/>
                  </a:lnTo>
                  <a:lnTo>
                    <a:pt x="1280" y="666"/>
                  </a:lnTo>
                  <a:lnTo>
                    <a:pt x="1284" y="672"/>
                  </a:lnTo>
                  <a:lnTo>
                    <a:pt x="1289" y="679"/>
                  </a:lnTo>
                  <a:lnTo>
                    <a:pt x="1297" y="695"/>
                  </a:lnTo>
                  <a:lnTo>
                    <a:pt x="1299" y="700"/>
                  </a:lnTo>
                  <a:lnTo>
                    <a:pt x="1299" y="708"/>
                  </a:lnTo>
                  <a:lnTo>
                    <a:pt x="1296" y="715"/>
                  </a:lnTo>
                  <a:lnTo>
                    <a:pt x="1292" y="724"/>
                  </a:lnTo>
                  <a:lnTo>
                    <a:pt x="1291" y="732"/>
                  </a:lnTo>
                  <a:lnTo>
                    <a:pt x="1295" y="740"/>
                  </a:lnTo>
                  <a:lnTo>
                    <a:pt x="1300" y="747"/>
                  </a:lnTo>
                  <a:lnTo>
                    <a:pt x="1304" y="755"/>
                  </a:lnTo>
                  <a:lnTo>
                    <a:pt x="1304" y="764"/>
                  </a:lnTo>
                  <a:lnTo>
                    <a:pt x="1302" y="774"/>
                  </a:lnTo>
                  <a:lnTo>
                    <a:pt x="1297" y="782"/>
                  </a:lnTo>
                  <a:lnTo>
                    <a:pt x="1290" y="788"/>
                  </a:lnTo>
                  <a:lnTo>
                    <a:pt x="1285" y="792"/>
                  </a:lnTo>
                  <a:lnTo>
                    <a:pt x="1282" y="797"/>
                  </a:lnTo>
                  <a:lnTo>
                    <a:pt x="1280" y="802"/>
                  </a:lnTo>
                  <a:lnTo>
                    <a:pt x="1274" y="808"/>
                  </a:lnTo>
                  <a:lnTo>
                    <a:pt x="1268" y="810"/>
                  </a:lnTo>
                  <a:lnTo>
                    <a:pt x="1263" y="808"/>
                  </a:lnTo>
                  <a:lnTo>
                    <a:pt x="1257" y="803"/>
                  </a:lnTo>
                  <a:lnTo>
                    <a:pt x="1251" y="799"/>
                  </a:lnTo>
                  <a:lnTo>
                    <a:pt x="1243" y="797"/>
                  </a:lnTo>
                  <a:lnTo>
                    <a:pt x="1236" y="796"/>
                  </a:lnTo>
                  <a:lnTo>
                    <a:pt x="1230" y="794"/>
                  </a:lnTo>
                  <a:lnTo>
                    <a:pt x="1227" y="791"/>
                  </a:lnTo>
                  <a:lnTo>
                    <a:pt x="1224" y="789"/>
                  </a:lnTo>
                  <a:lnTo>
                    <a:pt x="1220" y="787"/>
                  </a:lnTo>
                  <a:lnTo>
                    <a:pt x="1214" y="787"/>
                  </a:lnTo>
                  <a:lnTo>
                    <a:pt x="1209" y="789"/>
                  </a:lnTo>
                  <a:lnTo>
                    <a:pt x="1204" y="795"/>
                  </a:lnTo>
                  <a:lnTo>
                    <a:pt x="1203" y="803"/>
                  </a:lnTo>
                  <a:lnTo>
                    <a:pt x="1204" y="810"/>
                  </a:lnTo>
                  <a:lnTo>
                    <a:pt x="1206" y="816"/>
                  </a:lnTo>
                  <a:lnTo>
                    <a:pt x="1206" y="821"/>
                  </a:lnTo>
                  <a:lnTo>
                    <a:pt x="1203" y="827"/>
                  </a:lnTo>
                  <a:lnTo>
                    <a:pt x="1201" y="833"/>
                  </a:lnTo>
                  <a:lnTo>
                    <a:pt x="1202" y="838"/>
                  </a:lnTo>
                  <a:lnTo>
                    <a:pt x="1205" y="843"/>
                  </a:lnTo>
                  <a:lnTo>
                    <a:pt x="1207" y="849"/>
                  </a:lnTo>
                  <a:lnTo>
                    <a:pt x="1208" y="857"/>
                  </a:lnTo>
                  <a:lnTo>
                    <a:pt x="1205" y="865"/>
                  </a:lnTo>
                  <a:lnTo>
                    <a:pt x="1198" y="874"/>
                  </a:lnTo>
                  <a:lnTo>
                    <a:pt x="1189" y="881"/>
                  </a:lnTo>
                  <a:lnTo>
                    <a:pt x="1179" y="889"/>
                  </a:lnTo>
                  <a:lnTo>
                    <a:pt x="1171" y="897"/>
                  </a:lnTo>
                  <a:lnTo>
                    <a:pt x="1164" y="902"/>
                  </a:lnTo>
                  <a:lnTo>
                    <a:pt x="1158" y="904"/>
                  </a:lnTo>
                  <a:lnTo>
                    <a:pt x="1151" y="905"/>
                  </a:lnTo>
                  <a:lnTo>
                    <a:pt x="1142" y="907"/>
                  </a:lnTo>
                  <a:lnTo>
                    <a:pt x="1132" y="910"/>
                  </a:lnTo>
                  <a:lnTo>
                    <a:pt x="1117" y="915"/>
                  </a:lnTo>
                  <a:lnTo>
                    <a:pt x="1105" y="920"/>
                  </a:lnTo>
                  <a:lnTo>
                    <a:pt x="1094" y="926"/>
                  </a:lnTo>
                  <a:lnTo>
                    <a:pt x="1084" y="934"/>
                  </a:lnTo>
                  <a:lnTo>
                    <a:pt x="1078" y="940"/>
                  </a:lnTo>
                  <a:lnTo>
                    <a:pt x="1071" y="943"/>
                  </a:lnTo>
                  <a:lnTo>
                    <a:pt x="1064" y="945"/>
                  </a:lnTo>
                  <a:lnTo>
                    <a:pt x="1058" y="946"/>
                  </a:lnTo>
                  <a:lnTo>
                    <a:pt x="1053" y="949"/>
                  </a:lnTo>
                  <a:lnTo>
                    <a:pt x="1051" y="953"/>
                  </a:lnTo>
                  <a:lnTo>
                    <a:pt x="1048" y="961"/>
                  </a:lnTo>
                  <a:lnTo>
                    <a:pt x="1042" y="968"/>
                  </a:lnTo>
                  <a:lnTo>
                    <a:pt x="1034" y="975"/>
                  </a:lnTo>
                  <a:lnTo>
                    <a:pt x="1026" y="981"/>
                  </a:lnTo>
                  <a:lnTo>
                    <a:pt x="1023" y="986"/>
                  </a:lnTo>
                  <a:lnTo>
                    <a:pt x="1023" y="992"/>
                  </a:lnTo>
                  <a:lnTo>
                    <a:pt x="1026" y="999"/>
                  </a:lnTo>
                  <a:lnTo>
                    <a:pt x="1031" y="1007"/>
                  </a:lnTo>
                  <a:lnTo>
                    <a:pt x="1038" y="1015"/>
                  </a:lnTo>
                  <a:lnTo>
                    <a:pt x="1047" y="1021"/>
                  </a:lnTo>
                  <a:lnTo>
                    <a:pt x="1054" y="1028"/>
                  </a:lnTo>
                  <a:lnTo>
                    <a:pt x="1057" y="1033"/>
                  </a:lnTo>
                  <a:lnTo>
                    <a:pt x="1058" y="1038"/>
                  </a:lnTo>
                  <a:lnTo>
                    <a:pt x="1059" y="1042"/>
                  </a:lnTo>
                  <a:lnTo>
                    <a:pt x="1061" y="1044"/>
                  </a:lnTo>
                  <a:lnTo>
                    <a:pt x="1065" y="1046"/>
                  </a:lnTo>
                  <a:lnTo>
                    <a:pt x="1072" y="1050"/>
                  </a:lnTo>
                  <a:lnTo>
                    <a:pt x="1077" y="1058"/>
                  </a:lnTo>
                  <a:lnTo>
                    <a:pt x="1085" y="1076"/>
                  </a:lnTo>
                  <a:lnTo>
                    <a:pt x="1089" y="1083"/>
                  </a:lnTo>
                  <a:lnTo>
                    <a:pt x="1094" y="1091"/>
                  </a:lnTo>
                  <a:lnTo>
                    <a:pt x="1093" y="1099"/>
                  </a:lnTo>
                  <a:lnTo>
                    <a:pt x="1087" y="1107"/>
                  </a:lnTo>
                  <a:lnTo>
                    <a:pt x="1082" y="1113"/>
                  </a:lnTo>
                  <a:lnTo>
                    <a:pt x="1079" y="1122"/>
                  </a:lnTo>
                  <a:lnTo>
                    <a:pt x="1077" y="1132"/>
                  </a:lnTo>
                  <a:lnTo>
                    <a:pt x="1075" y="1141"/>
                  </a:lnTo>
                  <a:lnTo>
                    <a:pt x="1073" y="1148"/>
                  </a:lnTo>
                  <a:lnTo>
                    <a:pt x="1073" y="1151"/>
                  </a:lnTo>
                  <a:lnTo>
                    <a:pt x="1077" y="1152"/>
                  </a:lnTo>
                  <a:lnTo>
                    <a:pt x="1082" y="1152"/>
                  </a:lnTo>
                  <a:lnTo>
                    <a:pt x="1089" y="1151"/>
                  </a:lnTo>
                  <a:lnTo>
                    <a:pt x="1103" y="1147"/>
                  </a:lnTo>
                  <a:lnTo>
                    <a:pt x="1108" y="1146"/>
                  </a:lnTo>
                  <a:lnTo>
                    <a:pt x="1112" y="1147"/>
                  </a:lnTo>
                  <a:lnTo>
                    <a:pt x="1116" y="1152"/>
                  </a:lnTo>
                  <a:lnTo>
                    <a:pt x="1120" y="1157"/>
                  </a:lnTo>
                  <a:lnTo>
                    <a:pt x="1123" y="1165"/>
                  </a:lnTo>
                  <a:lnTo>
                    <a:pt x="1124" y="1171"/>
                  </a:lnTo>
                  <a:lnTo>
                    <a:pt x="1123" y="1175"/>
                  </a:lnTo>
                  <a:lnTo>
                    <a:pt x="1120" y="1181"/>
                  </a:lnTo>
                  <a:lnTo>
                    <a:pt x="1114" y="1197"/>
                  </a:lnTo>
                  <a:lnTo>
                    <a:pt x="1110" y="1202"/>
                  </a:lnTo>
                  <a:lnTo>
                    <a:pt x="1109" y="1205"/>
                  </a:lnTo>
                  <a:lnTo>
                    <a:pt x="1110" y="1210"/>
                  </a:lnTo>
                  <a:lnTo>
                    <a:pt x="1112" y="1214"/>
                  </a:lnTo>
                  <a:lnTo>
                    <a:pt x="1113" y="1217"/>
                  </a:lnTo>
                  <a:lnTo>
                    <a:pt x="1111" y="1219"/>
                  </a:lnTo>
                  <a:lnTo>
                    <a:pt x="1107" y="1221"/>
                  </a:lnTo>
                  <a:lnTo>
                    <a:pt x="1107" y="1223"/>
                  </a:lnTo>
                  <a:lnTo>
                    <a:pt x="1109" y="1229"/>
                  </a:lnTo>
                  <a:lnTo>
                    <a:pt x="1112" y="1233"/>
                  </a:lnTo>
                  <a:lnTo>
                    <a:pt x="1113" y="1238"/>
                  </a:lnTo>
                  <a:lnTo>
                    <a:pt x="1109" y="1241"/>
                  </a:lnTo>
                  <a:lnTo>
                    <a:pt x="1102" y="1244"/>
                  </a:lnTo>
                  <a:lnTo>
                    <a:pt x="1084" y="1244"/>
                  </a:lnTo>
                  <a:lnTo>
                    <a:pt x="1076" y="1242"/>
                  </a:lnTo>
                  <a:lnTo>
                    <a:pt x="1071" y="1238"/>
                  </a:lnTo>
                  <a:lnTo>
                    <a:pt x="1065" y="1228"/>
                  </a:lnTo>
                  <a:lnTo>
                    <a:pt x="1062" y="1222"/>
                  </a:lnTo>
                  <a:lnTo>
                    <a:pt x="1057" y="1217"/>
                  </a:lnTo>
                  <a:lnTo>
                    <a:pt x="1052" y="1215"/>
                  </a:lnTo>
                  <a:lnTo>
                    <a:pt x="1046" y="1213"/>
                  </a:lnTo>
                  <a:lnTo>
                    <a:pt x="1041" y="1211"/>
                  </a:lnTo>
                  <a:lnTo>
                    <a:pt x="1039" y="1209"/>
                  </a:lnTo>
                  <a:lnTo>
                    <a:pt x="1040" y="1202"/>
                  </a:lnTo>
                  <a:lnTo>
                    <a:pt x="1044" y="1195"/>
                  </a:lnTo>
                  <a:lnTo>
                    <a:pt x="1048" y="1190"/>
                  </a:lnTo>
                  <a:lnTo>
                    <a:pt x="1048" y="1186"/>
                  </a:lnTo>
                  <a:lnTo>
                    <a:pt x="1036" y="1174"/>
                  </a:lnTo>
                  <a:lnTo>
                    <a:pt x="1034" y="1170"/>
                  </a:lnTo>
                  <a:lnTo>
                    <a:pt x="1032" y="1167"/>
                  </a:lnTo>
                  <a:lnTo>
                    <a:pt x="1025" y="1165"/>
                  </a:lnTo>
                  <a:lnTo>
                    <a:pt x="1017" y="1164"/>
                  </a:lnTo>
                  <a:lnTo>
                    <a:pt x="1009" y="1164"/>
                  </a:lnTo>
                  <a:lnTo>
                    <a:pt x="1000" y="1165"/>
                  </a:lnTo>
                  <a:lnTo>
                    <a:pt x="994" y="1167"/>
                  </a:lnTo>
                  <a:lnTo>
                    <a:pt x="990" y="1170"/>
                  </a:lnTo>
                  <a:lnTo>
                    <a:pt x="982" y="1180"/>
                  </a:lnTo>
                  <a:lnTo>
                    <a:pt x="976" y="1184"/>
                  </a:lnTo>
                  <a:lnTo>
                    <a:pt x="967" y="1186"/>
                  </a:lnTo>
                  <a:lnTo>
                    <a:pt x="959" y="1185"/>
                  </a:lnTo>
                  <a:lnTo>
                    <a:pt x="953" y="1182"/>
                  </a:lnTo>
                  <a:lnTo>
                    <a:pt x="948" y="1178"/>
                  </a:lnTo>
                  <a:lnTo>
                    <a:pt x="944" y="1172"/>
                  </a:lnTo>
                  <a:lnTo>
                    <a:pt x="941" y="1167"/>
                  </a:lnTo>
                  <a:lnTo>
                    <a:pt x="938" y="1163"/>
                  </a:lnTo>
                  <a:lnTo>
                    <a:pt x="933" y="1161"/>
                  </a:lnTo>
                  <a:lnTo>
                    <a:pt x="929" y="1161"/>
                  </a:lnTo>
                  <a:lnTo>
                    <a:pt x="925" y="1163"/>
                  </a:lnTo>
                  <a:lnTo>
                    <a:pt x="919" y="1164"/>
                  </a:lnTo>
                  <a:lnTo>
                    <a:pt x="913" y="1163"/>
                  </a:lnTo>
                  <a:lnTo>
                    <a:pt x="906" y="1162"/>
                  </a:lnTo>
                  <a:lnTo>
                    <a:pt x="901" y="1162"/>
                  </a:lnTo>
                  <a:lnTo>
                    <a:pt x="896" y="1164"/>
                  </a:lnTo>
                  <a:lnTo>
                    <a:pt x="891" y="1164"/>
                  </a:lnTo>
                  <a:lnTo>
                    <a:pt x="887" y="1162"/>
                  </a:lnTo>
                  <a:lnTo>
                    <a:pt x="885" y="1158"/>
                  </a:lnTo>
                  <a:lnTo>
                    <a:pt x="885" y="1154"/>
                  </a:lnTo>
                  <a:lnTo>
                    <a:pt x="886" y="1149"/>
                  </a:lnTo>
                  <a:lnTo>
                    <a:pt x="888" y="1145"/>
                  </a:lnTo>
                  <a:lnTo>
                    <a:pt x="888" y="1144"/>
                  </a:lnTo>
                  <a:lnTo>
                    <a:pt x="885" y="1145"/>
                  </a:lnTo>
                  <a:lnTo>
                    <a:pt x="880" y="1148"/>
                  </a:lnTo>
                  <a:lnTo>
                    <a:pt x="870" y="1155"/>
                  </a:lnTo>
                  <a:lnTo>
                    <a:pt x="866" y="1158"/>
                  </a:lnTo>
                  <a:lnTo>
                    <a:pt x="863" y="1162"/>
                  </a:lnTo>
                  <a:lnTo>
                    <a:pt x="864" y="1166"/>
                  </a:lnTo>
                  <a:lnTo>
                    <a:pt x="866" y="1171"/>
                  </a:lnTo>
                  <a:lnTo>
                    <a:pt x="869" y="1177"/>
                  </a:lnTo>
                  <a:lnTo>
                    <a:pt x="870" y="1181"/>
                  </a:lnTo>
                  <a:lnTo>
                    <a:pt x="872" y="1187"/>
                  </a:lnTo>
                  <a:lnTo>
                    <a:pt x="873" y="1192"/>
                  </a:lnTo>
                  <a:lnTo>
                    <a:pt x="873" y="1196"/>
                  </a:lnTo>
                  <a:lnTo>
                    <a:pt x="869" y="1199"/>
                  </a:lnTo>
                  <a:lnTo>
                    <a:pt x="863" y="1200"/>
                  </a:lnTo>
                  <a:lnTo>
                    <a:pt x="853" y="1200"/>
                  </a:lnTo>
                  <a:lnTo>
                    <a:pt x="839" y="1199"/>
                  </a:lnTo>
                  <a:lnTo>
                    <a:pt x="809" y="1199"/>
                  </a:lnTo>
                  <a:lnTo>
                    <a:pt x="796" y="1200"/>
                  </a:lnTo>
                  <a:lnTo>
                    <a:pt x="789" y="1202"/>
                  </a:lnTo>
                  <a:lnTo>
                    <a:pt x="783" y="1205"/>
                  </a:lnTo>
                  <a:lnTo>
                    <a:pt x="777" y="1209"/>
                  </a:lnTo>
                  <a:lnTo>
                    <a:pt x="768" y="1212"/>
                  </a:lnTo>
                  <a:lnTo>
                    <a:pt x="759" y="1213"/>
                  </a:lnTo>
                  <a:lnTo>
                    <a:pt x="747" y="1212"/>
                  </a:lnTo>
                  <a:lnTo>
                    <a:pt x="732" y="1211"/>
                  </a:lnTo>
                  <a:lnTo>
                    <a:pt x="720" y="1212"/>
                  </a:lnTo>
                  <a:lnTo>
                    <a:pt x="713" y="1216"/>
                  </a:lnTo>
                  <a:lnTo>
                    <a:pt x="709" y="1221"/>
                  </a:lnTo>
                  <a:lnTo>
                    <a:pt x="706" y="1228"/>
                  </a:lnTo>
                  <a:lnTo>
                    <a:pt x="701" y="1235"/>
                  </a:lnTo>
                  <a:lnTo>
                    <a:pt x="694" y="1241"/>
                  </a:lnTo>
                  <a:lnTo>
                    <a:pt x="684" y="1243"/>
                  </a:lnTo>
                  <a:lnTo>
                    <a:pt x="674" y="1243"/>
                  </a:lnTo>
                  <a:lnTo>
                    <a:pt x="665" y="1245"/>
                  </a:lnTo>
                  <a:lnTo>
                    <a:pt x="658" y="1247"/>
                  </a:lnTo>
                  <a:lnTo>
                    <a:pt x="654" y="1250"/>
                  </a:lnTo>
                  <a:lnTo>
                    <a:pt x="653" y="1254"/>
                  </a:lnTo>
                  <a:lnTo>
                    <a:pt x="652" y="1259"/>
                  </a:lnTo>
                  <a:lnTo>
                    <a:pt x="650" y="1264"/>
                  </a:lnTo>
                  <a:lnTo>
                    <a:pt x="646" y="1269"/>
                  </a:lnTo>
                  <a:lnTo>
                    <a:pt x="641" y="1271"/>
                  </a:lnTo>
                  <a:lnTo>
                    <a:pt x="634" y="1274"/>
                  </a:lnTo>
                  <a:lnTo>
                    <a:pt x="630" y="1278"/>
                  </a:lnTo>
                  <a:lnTo>
                    <a:pt x="622" y="1288"/>
                  </a:lnTo>
                  <a:lnTo>
                    <a:pt x="617" y="1290"/>
                  </a:lnTo>
                  <a:lnTo>
                    <a:pt x="614" y="1291"/>
                  </a:lnTo>
                  <a:lnTo>
                    <a:pt x="612" y="1291"/>
                  </a:lnTo>
                  <a:lnTo>
                    <a:pt x="610" y="1289"/>
                  </a:lnTo>
                  <a:lnTo>
                    <a:pt x="610" y="1287"/>
                  </a:lnTo>
                  <a:lnTo>
                    <a:pt x="608" y="1283"/>
                  </a:lnTo>
                  <a:lnTo>
                    <a:pt x="605" y="1280"/>
                  </a:lnTo>
                  <a:lnTo>
                    <a:pt x="599" y="1278"/>
                  </a:lnTo>
                  <a:lnTo>
                    <a:pt x="592" y="1281"/>
                  </a:lnTo>
                  <a:lnTo>
                    <a:pt x="585" y="1285"/>
                  </a:lnTo>
                  <a:lnTo>
                    <a:pt x="578" y="1290"/>
                  </a:lnTo>
                  <a:lnTo>
                    <a:pt x="568" y="1294"/>
                  </a:lnTo>
                  <a:lnTo>
                    <a:pt x="557" y="1295"/>
                  </a:lnTo>
                  <a:lnTo>
                    <a:pt x="546" y="1295"/>
                  </a:lnTo>
                  <a:lnTo>
                    <a:pt x="541" y="1294"/>
                  </a:lnTo>
                  <a:lnTo>
                    <a:pt x="540" y="1292"/>
                  </a:lnTo>
                  <a:lnTo>
                    <a:pt x="540" y="1286"/>
                  </a:lnTo>
                  <a:lnTo>
                    <a:pt x="538" y="1280"/>
                  </a:lnTo>
                  <a:lnTo>
                    <a:pt x="533" y="1271"/>
                  </a:lnTo>
                  <a:lnTo>
                    <a:pt x="530" y="1265"/>
                  </a:lnTo>
                  <a:lnTo>
                    <a:pt x="528" y="1259"/>
                  </a:lnTo>
                  <a:lnTo>
                    <a:pt x="526" y="1256"/>
                  </a:lnTo>
                  <a:lnTo>
                    <a:pt x="521" y="1255"/>
                  </a:lnTo>
                  <a:lnTo>
                    <a:pt x="509" y="1255"/>
                  </a:lnTo>
                  <a:lnTo>
                    <a:pt x="507" y="1254"/>
                  </a:lnTo>
                  <a:lnTo>
                    <a:pt x="506" y="1253"/>
                  </a:lnTo>
                  <a:lnTo>
                    <a:pt x="506" y="1250"/>
                  </a:lnTo>
                  <a:lnTo>
                    <a:pt x="507" y="1248"/>
                  </a:lnTo>
                  <a:lnTo>
                    <a:pt x="509" y="1246"/>
                  </a:lnTo>
                  <a:lnTo>
                    <a:pt x="511" y="1245"/>
                  </a:lnTo>
                  <a:lnTo>
                    <a:pt x="513" y="1243"/>
                  </a:lnTo>
                  <a:lnTo>
                    <a:pt x="517" y="1241"/>
                  </a:lnTo>
                  <a:lnTo>
                    <a:pt x="517" y="1239"/>
                  </a:lnTo>
                  <a:lnTo>
                    <a:pt x="513" y="1237"/>
                  </a:lnTo>
                  <a:lnTo>
                    <a:pt x="506" y="1237"/>
                  </a:lnTo>
                  <a:lnTo>
                    <a:pt x="503" y="1238"/>
                  </a:lnTo>
                  <a:lnTo>
                    <a:pt x="496" y="1239"/>
                  </a:lnTo>
                  <a:lnTo>
                    <a:pt x="471" y="1239"/>
                  </a:lnTo>
                  <a:lnTo>
                    <a:pt x="464" y="1237"/>
                  </a:lnTo>
                  <a:lnTo>
                    <a:pt x="457" y="1232"/>
                  </a:lnTo>
                  <a:lnTo>
                    <a:pt x="452" y="1228"/>
                  </a:lnTo>
                  <a:lnTo>
                    <a:pt x="446" y="1226"/>
                  </a:lnTo>
                  <a:lnTo>
                    <a:pt x="440" y="1226"/>
                  </a:lnTo>
                  <a:lnTo>
                    <a:pt x="434" y="1228"/>
                  </a:lnTo>
                  <a:lnTo>
                    <a:pt x="426" y="1234"/>
                  </a:lnTo>
                  <a:lnTo>
                    <a:pt x="414" y="1236"/>
                  </a:lnTo>
                  <a:lnTo>
                    <a:pt x="407" y="1235"/>
                  </a:lnTo>
                  <a:lnTo>
                    <a:pt x="401" y="1235"/>
                  </a:lnTo>
                  <a:lnTo>
                    <a:pt x="396" y="1233"/>
                  </a:lnTo>
                  <a:lnTo>
                    <a:pt x="394" y="1228"/>
                  </a:lnTo>
                  <a:lnTo>
                    <a:pt x="394" y="1222"/>
                  </a:lnTo>
                  <a:lnTo>
                    <a:pt x="395" y="1218"/>
                  </a:lnTo>
                  <a:lnTo>
                    <a:pt x="395" y="1216"/>
                  </a:lnTo>
                  <a:lnTo>
                    <a:pt x="392" y="1214"/>
                  </a:lnTo>
                  <a:lnTo>
                    <a:pt x="383" y="1214"/>
                  </a:lnTo>
                  <a:lnTo>
                    <a:pt x="380" y="1215"/>
                  </a:lnTo>
                  <a:lnTo>
                    <a:pt x="378" y="1217"/>
                  </a:lnTo>
                  <a:lnTo>
                    <a:pt x="379" y="1220"/>
                  </a:lnTo>
                  <a:lnTo>
                    <a:pt x="382" y="1224"/>
                  </a:lnTo>
                  <a:lnTo>
                    <a:pt x="383" y="1228"/>
                  </a:lnTo>
                  <a:lnTo>
                    <a:pt x="385" y="1232"/>
                  </a:lnTo>
                  <a:lnTo>
                    <a:pt x="386" y="1239"/>
                  </a:lnTo>
                  <a:lnTo>
                    <a:pt x="389" y="1249"/>
                  </a:lnTo>
                  <a:lnTo>
                    <a:pt x="395" y="1260"/>
                  </a:lnTo>
                  <a:lnTo>
                    <a:pt x="398" y="1268"/>
                  </a:lnTo>
                  <a:lnTo>
                    <a:pt x="397" y="1277"/>
                  </a:lnTo>
                  <a:lnTo>
                    <a:pt x="394" y="1284"/>
                  </a:lnTo>
                  <a:lnTo>
                    <a:pt x="390" y="1291"/>
                  </a:lnTo>
                  <a:lnTo>
                    <a:pt x="380" y="1300"/>
                  </a:lnTo>
                  <a:lnTo>
                    <a:pt x="374" y="1308"/>
                  </a:lnTo>
                  <a:lnTo>
                    <a:pt x="368" y="1317"/>
                  </a:lnTo>
                  <a:lnTo>
                    <a:pt x="362" y="1325"/>
                  </a:lnTo>
                  <a:lnTo>
                    <a:pt x="357" y="1331"/>
                  </a:lnTo>
                  <a:lnTo>
                    <a:pt x="351" y="1335"/>
                  </a:lnTo>
                  <a:lnTo>
                    <a:pt x="342" y="1339"/>
                  </a:lnTo>
                  <a:lnTo>
                    <a:pt x="332" y="1342"/>
                  </a:lnTo>
                  <a:lnTo>
                    <a:pt x="322" y="1343"/>
                  </a:lnTo>
                  <a:lnTo>
                    <a:pt x="314" y="1344"/>
                  </a:lnTo>
                  <a:lnTo>
                    <a:pt x="312" y="1343"/>
                  </a:lnTo>
                  <a:lnTo>
                    <a:pt x="312" y="1340"/>
                  </a:lnTo>
                  <a:lnTo>
                    <a:pt x="315" y="1336"/>
                  </a:lnTo>
                  <a:lnTo>
                    <a:pt x="319" y="1331"/>
                  </a:lnTo>
                  <a:lnTo>
                    <a:pt x="321" y="1326"/>
                  </a:lnTo>
                  <a:lnTo>
                    <a:pt x="321" y="1322"/>
                  </a:lnTo>
                  <a:lnTo>
                    <a:pt x="320" y="1317"/>
                  </a:lnTo>
                  <a:lnTo>
                    <a:pt x="321" y="1311"/>
                  </a:lnTo>
                  <a:lnTo>
                    <a:pt x="323" y="1304"/>
                  </a:lnTo>
                  <a:lnTo>
                    <a:pt x="323" y="1298"/>
                  </a:lnTo>
                  <a:lnTo>
                    <a:pt x="322" y="1296"/>
                  </a:lnTo>
                  <a:lnTo>
                    <a:pt x="318" y="1296"/>
                  </a:lnTo>
                  <a:lnTo>
                    <a:pt x="314" y="1299"/>
                  </a:lnTo>
                  <a:lnTo>
                    <a:pt x="308" y="1302"/>
                  </a:lnTo>
                  <a:lnTo>
                    <a:pt x="302" y="1304"/>
                  </a:lnTo>
                  <a:lnTo>
                    <a:pt x="295" y="1303"/>
                  </a:lnTo>
                  <a:lnTo>
                    <a:pt x="290" y="1300"/>
                  </a:lnTo>
                  <a:lnTo>
                    <a:pt x="287" y="1295"/>
                  </a:lnTo>
                  <a:lnTo>
                    <a:pt x="287" y="1284"/>
                  </a:lnTo>
                  <a:lnTo>
                    <a:pt x="289" y="1279"/>
                  </a:lnTo>
                  <a:lnTo>
                    <a:pt x="291" y="1275"/>
                  </a:lnTo>
                  <a:lnTo>
                    <a:pt x="291" y="1270"/>
                  </a:lnTo>
                  <a:lnTo>
                    <a:pt x="287" y="1265"/>
                  </a:lnTo>
                  <a:lnTo>
                    <a:pt x="281" y="1260"/>
                  </a:lnTo>
                  <a:lnTo>
                    <a:pt x="273" y="1256"/>
                  </a:lnTo>
                  <a:lnTo>
                    <a:pt x="266" y="1254"/>
                  </a:lnTo>
                  <a:lnTo>
                    <a:pt x="264" y="1250"/>
                  </a:lnTo>
                  <a:lnTo>
                    <a:pt x="262" y="1246"/>
                  </a:lnTo>
                  <a:lnTo>
                    <a:pt x="260" y="1240"/>
                  </a:lnTo>
                  <a:lnTo>
                    <a:pt x="256" y="1236"/>
                  </a:lnTo>
                  <a:lnTo>
                    <a:pt x="249" y="1234"/>
                  </a:lnTo>
                  <a:lnTo>
                    <a:pt x="240" y="1234"/>
                  </a:lnTo>
                  <a:lnTo>
                    <a:pt x="232" y="1235"/>
                  </a:lnTo>
                  <a:lnTo>
                    <a:pt x="225" y="1236"/>
                  </a:lnTo>
                  <a:lnTo>
                    <a:pt x="221" y="1236"/>
                  </a:lnTo>
                  <a:lnTo>
                    <a:pt x="220" y="1233"/>
                  </a:lnTo>
                  <a:lnTo>
                    <a:pt x="220" y="1224"/>
                  </a:lnTo>
                  <a:lnTo>
                    <a:pt x="219" y="1219"/>
                  </a:lnTo>
                  <a:lnTo>
                    <a:pt x="215" y="1216"/>
                  </a:lnTo>
                  <a:lnTo>
                    <a:pt x="209" y="1215"/>
                  </a:lnTo>
                  <a:lnTo>
                    <a:pt x="204" y="1219"/>
                  </a:lnTo>
                  <a:lnTo>
                    <a:pt x="199" y="1225"/>
                  </a:lnTo>
                  <a:lnTo>
                    <a:pt x="195" y="1232"/>
                  </a:lnTo>
                  <a:lnTo>
                    <a:pt x="192" y="1237"/>
                  </a:lnTo>
                  <a:lnTo>
                    <a:pt x="188" y="1239"/>
                  </a:lnTo>
                  <a:lnTo>
                    <a:pt x="183" y="1240"/>
                  </a:lnTo>
                  <a:lnTo>
                    <a:pt x="175" y="1238"/>
                  </a:lnTo>
                  <a:lnTo>
                    <a:pt x="173" y="1236"/>
                  </a:lnTo>
                  <a:lnTo>
                    <a:pt x="172" y="1233"/>
                  </a:lnTo>
                  <a:lnTo>
                    <a:pt x="171" y="1231"/>
                  </a:lnTo>
                  <a:lnTo>
                    <a:pt x="168" y="1227"/>
                  </a:lnTo>
                  <a:lnTo>
                    <a:pt x="165" y="1224"/>
                  </a:lnTo>
                  <a:lnTo>
                    <a:pt x="162" y="1222"/>
                  </a:lnTo>
                  <a:lnTo>
                    <a:pt x="158" y="1220"/>
                  </a:lnTo>
                  <a:lnTo>
                    <a:pt x="165" y="1215"/>
                  </a:lnTo>
                  <a:lnTo>
                    <a:pt x="171" y="1212"/>
                  </a:lnTo>
                  <a:lnTo>
                    <a:pt x="176" y="1210"/>
                  </a:lnTo>
                  <a:lnTo>
                    <a:pt x="186" y="1209"/>
                  </a:lnTo>
                  <a:lnTo>
                    <a:pt x="194" y="1208"/>
                  </a:lnTo>
                  <a:lnTo>
                    <a:pt x="202" y="1204"/>
                  </a:lnTo>
                  <a:lnTo>
                    <a:pt x="208" y="1198"/>
                  </a:lnTo>
                  <a:lnTo>
                    <a:pt x="214" y="1191"/>
                  </a:lnTo>
                  <a:lnTo>
                    <a:pt x="221" y="1185"/>
                  </a:lnTo>
                  <a:lnTo>
                    <a:pt x="227" y="1182"/>
                  </a:lnTo>
                  <a:lnTo>
                    <a:pt x="233" y="1183"/>
                  </a:lnTo>
                  <a:lnTo>
                    <a:pt x="240" y="1187"/>
                  </a:lnTo>
                  <a:lnTo>
                    <a:pt x="245" y="1190"/>
                  </a:lnTo>
                  <a:lnTo>
                    <a:pt x="250" y="1190"/>
                  </a:lnTo>
                  <a:lnTo>
                    <a:pt x="254" y="1187"/>
                  </a:lnTo>
                  <a:lnTo>
                    <a:pt x="259" y="1184"/>
                  </a:lnTo>
                  <a:lnTo>
                    <a:pt x="266" y="1181"/>
                  </a:lnTo>
                  <a:lnTo>
                    <a:pt x="286" y="1181"/>
                  </a:lnTo>
                  <a:lnTo>
                    <a:pt x="294" y="1179"/>
                  </a:lnTo>
                  <a:lnTo>
                    <a:pt x="297" y="1176"/>
                  </a:lnTo>
                  <a:lnTo>
                    <a:pt x="297" y="1159"/>
                  </a:lnTo>
                  <a:lnTo>
                    <a:pt x="298" y="1151"/>
                  </a:lnTo>
                  <a:lnTo>
                    <a:pt x="298" y="1149"/>
                  </a:lnTo>
                  <a:lnTo>
                    <a:pt x="296" y="1147"/>
                  </a:lnTo>
                  <a:lnTo>
                    <a:pt x="294" y="1146"/>
                  </a:lnTo>
                  <a:lnTo>
                    <a:pt x="289" y="1146"/>
                  </a:lnTo>
                  <a:lnTo>
                    <a:pt x="287" y="1145"/>
                  </a:lnTo>
                  <a:lnTo>
                    <a:pt x="287" y="1144"/>
                  </a:lnTo>
                  <a:lnTo>
                    <a:pt x="286" y="1143"/>
                  </a:lnTo>
                  <a:lnTo>
                    <a:pt x="287" y="1141"/>
                  </a:lnTo>
                  <a:lnTo>
                    <a:pt x="292" y="1133"/>
                  </a:lnTo>
                  <a:lnTo>
                    <a:pt x="296" y="1126"/>
                  </a:lnTo>
                  <a:lnTo>
                    <a:pt x="297" y="1121"/>
                  </a:lnTo>
                  <a:lnTo>
                    <a:pt x="294" y="1115"/>
                  </a:lnTo>
                  <a:lnTo>
                    <a:pt x="291" y="1107"/>
                  </a:lnTo>
                  <a:lnTo>
                    <a:pt x="291" y="1091"/>
                  </a:lnTo>
                  <a:lnTo>
                    <a:pt x="287" y="1071"/>
                  </a:lnTo>
                  <a:lnTo>
                    <a:pt x="288" y="1062"/>
                  </a:lnTo>
                  <a:lnTo>
                    <a:pt x="290" y="1055"/>
                  </a:lnTo>
                  <a:lnTo>
                    <a:pt x="294" y="1047"/>
                  </a:lnTo>
                  <a:lnTo>
                    <a:pt x="299" y="1038"/>
                  </a:lnTo>
                  <a:lnTo>
                    <a:pt x="303" y="1029"/>
                  </a:lnTo>
                  <a:lnTo>
                    <a:pt x="305" y="1020"/>
                  </a:lnTo>
                  <a:lnTo>
                    <a:pt x="304" y="1014"/>
                  </a:lnTo>
                  <a:lnTo>
                    <a:pt x="301" y="1006"/>
                  </a:lnTo>
                  <a:lnTo>
                    <a:pt x="298" y="994"/>
                  </a:lnTo>
                  <a:lnTo>
                    <a:pt x="294" y="981"/>
                  </a:lnTo>
                  <a:lnTo>
                    <a:pt x="288" y="955"/>
                  </a:lnTo>
                  <a:lnTo>
                    <a:pt x="286" y="946"/>
                  </a:lnTo>
                  <a:lnTo>
                    <a:pt x="283" y="939"/>
                  </a:lnTo>
                  <a:lnTo>
                    <a:pt x="279" y="930"/>
                  </a:lnTo>
                  <a:lnTo>
                    <a:pt x="275" y="920"/>
                  </a:lnTo>
                  <a:lnTo>
                    <a:pt x="266" y="902"/>
                  </a:lnTo>
                  <a:lnTo>
                    <a:pt x="265" y="895"/>
                  </a:lnTo>
                  <a:lnTo>
                    <a:pt x="265" y="891"/>
                  </a:lnTo>
                  <a:lnTo>
                    <a:pt x="268" y="885"/>
                  </a:lnTo>
                  <a:lnTo>
                    <a:pt x="273" y="879"/>
                  </a:lnTo>
                  <a:lnTo>
                    <a:pt x="277" y="870"/>
                  </a:lnTo>
                  <a:lnTo>
                    <a:pt x="277" y="859"/>
                  </a:lnTo>
                  <a:lnTo>
                    <a:pt x="280" y="856"/>
                  </a:lnTo>
                  <a:lnTo>
                    <a:pt x="286" y="854"/>
                  </a:lnTo>
                  <a:lnTo>
                    <a:pt x="302" y="852"/>
                  </a:lnTo>
                  <a:lnTo>
                    <a:pt x="313" y="849"/>
                  </a:lnTo>
                  <a:lnTo>
                    <a:pt x="324" y="845"/>
                  </a:lnTo>
                  <a:lnTo>
                    <a:pt x="333" y="840"/>
                  </a:lnTo>
                  <a:lnTo>
                    <a:pt x="340" y="833"/>
                  </a:lnTo>
                  <a:lnTo>
                    <a:pt x="343" y="829"/>
                  </a:lnTo>
                  <a:lnTo>
                    <a:pt x="347" y="827"/>
                  </a:lnTo>
                  <a:lnTo>
                    <a:pt x="351" y="826"/>
                  </a:lnTo>
                  <a:lnTo>
                    <a:pt x="353" y="823"/>
                  </a:lnTo>
                  <a:lnTo>
                    <a:pt x="354" y="817"/>
                  </a:lnTo>
                  <a:lnTo>
                    <a:pt x="353" y="809"/>
                  </a:lnTo>
                  <a:lnTo>
                    <a:pt x="350" y="799"/>
                  </a:lnTo>
                  <a:lnTo>
                    <a:pt x="346" y="788"/>
                  </a:lnTo>
                  <a:lnTo>
                    <a:pt x="342" y="778"/>
                  </a:lnTo>
                  <a:lnTo>
                    <a:pt x="340" y="770"/>
                  </a:lnTo>
                  <a:lnTo>
                    <a:pt x="341" y="764"/>
                  </a:lnTo>
                  <a:lnTo>
                    <a:pt x="345" y="763"/>
                  </a:lnTo>
                  <a:lnTo>
                    <a:pt x="349" y="764"/>
                  </a:lnTo>
                  <a:lnTo>
                    <a:pt x="354" y="767"/>
                  </a:lnTo>
                  <a:lnTo>
                    <a:pt x="359" y="771"/>
                  </a:lnTo>
                  <a:lnTo>
                    <a:pt x="363" y="773"/>
                  </a:lnTo>
                  <a:lnTo>
                    <a:pt x="367" y="773"/>
                  </a:lnTo>
                  <a:lnTo>
                    <a:pt x="369" y="771"/>
                  </a:lnTo>
                  <a:lnTo>
                    <a:pt x="372" y="765"/>
                  </a:lnTo>
                  <a:lnTo>
                    <a:pt x="375" y="762"/>
                  </a:lnTo>
                  <a:lnTo>
                    <a:pt x="379" y="762"/>
                  </a:lnTo>
                  <a:lnTo>
                    <a:pt x="381" y="763"/>
                  </a:lnTo>
                  <a:lnTo>
                    <a:pt x="383" y="765"/>
                  </a:lnTo>
                  <a:lnTo>
                    <a:pt x="385" y="769"/>
                  </a:lnTo>
                  <a:lnTo>
                    <a:pt x="385" y="770"/>
                  </a:lnTo>
                  <a:lnTo>
                    <a:pt x="386" y="772"/>
                  </a:lnTo>
                  <a:lnTo>
                    <a:pt x="388" y="772"/>
                  </a:lnTo>
                  <a:lnTo>
                    <a:pt x="389" y="771"/>
                  </a:lnTo>
                  <a:lnTo>
                    <a:pt x="391" y="770"/>
                  </a:lnTo>
                  <a:lnTo>
                    <a:pt x="392" y="770"/>
                  </a:lnTo>
                  <a:lnTo>
                    <a:pt x="398" y="767"/>
                  </a:lnTo>
                  <a:lnTo>
                    <a:pt x="400" y="763"/>
                  </a:lnTo>
                  <a:lnTo>
                    <a:pt x="399" y="761"/>
                  </a:lnTo>
                  <a:lnTo>
                    <a:pt x="398" y="758"/>
                  </a:lnTo>
                  <a:lnTo>
                    <a:pt x="394" y="753"/>
                  </a:lnTo>
                  <a:lnTo>
                    <a:pt x="391" y="749"/>
                  </a:lnTo>
                  <a:lnTo>
                    <a:pt x="387" y="746"/>
                  </a:lnTo>
                  <a:lnTo>
                    <a:pt x="383" y="743"/>
                  </a:lnTo>
                  <a:lnTo>
                    <a:pt x="382" y="737"/>
                  </a:lnTo>
                  <a:lnTo>
                    <a:pt x="383" y="730"/>
                  </a:lnTo>
                  <a:lnTo>
                    <a:pt x="383" y="720"/>
                  </a:lnTo>
                  <a:lnTo>
                    <a:pt x="386" y="710"/>
                  </a:lnTo>
                  <a:lnTo>
                    <a:pt x="388" y="699"/>
                  </a:lnTo>
                  <a:lnTo>
                    <a:pt x="389" y="691"/>
                  </a:lnTo>
                  <a:lnTo>
                    <a:pt x="388" y="685"/>
                  </a:lnTo>
                  <a:lnTo>
                    <a:pt x="387" y="680"/>
                  </a:lnTo>
                  <a:lnTo>
                    <a:pt x="389" y="675"/>
                  </a:lnTo>
                  <a:lnTo>
                    <a:pt x="391" y="672"/>
                  </a:lnTo>
                  <a:lnTo>
                    <a:pt x="391" y="668"/>
                  </a:lnTo>
                  <a:lnTo>
                    <a:pt x="390" y="664"/>
                  </a:lnTo>
                  <a:lnTo>
                    <a:pt x="385" y="658"/>
                  </a:lnTo>
                  <a:lnTo>
                    <a:pt x="379" y="649"/>
                  </a:lnTo>
                  <a:lnTo>
                    <a:pt x="372" y="640"/>
                  </a:lnTo>
                  <a:lnTo>
                    <a:pt x="365" y="632"/>
                  </a:lnTo>
                  <a:lnTo>
                    <a:pt x="359" y="625"/>
                  </a:lnTo>
                  <a:lnTo>
                    <a:pt x="355" y="622"/>
                  </a:lnTo>
                  <a:lnTo>
                    <a:pt x="352" y="621"/>
                  </a:lnTo>
                  <a:lnTo>
                    <a:pt x="349" y="621"/>
                  </a:lnTo>
                  <a:lnTo>
                    <a:pt x="347" y="620"/>
                  </a:lnTo>
                  <a:lnTo>
                    <a:pt x="346" y="620"/>
                  </a:lnTo>
                  <a:lnTo>
                    <a:pt x="344" y="619"/>
                  </a:lnTo>
                  <a:lnTo>
                    <a:pt x="343" y="617"/>
                  </a:lnTo>
                  <a:lnTo>
                    <a:pt x="342" y="614"/>
                  </a:lnTo>
                  <a:lnTo>
                    <a:pt x="338" y="607"/>
                  </a:lnTo>
                  <a:lnTo>
                    <a:pt x="333" y="601"/>
                  </a:lnTo>
                  <a:lnTo>
                    <a:pt x="329" y="596"/>
                  </a:lnTo>
                  <a:lnTo>
                    <a:pt x="328" y="595"/>
                  </a:lnTo>
                  <a:lnTo>
                    <a:pt x="330" y="591"/>
                  </a:lnTo>
                  <a:lnTo>
                    <a:pt x="332" y="589"/>
                  </a:lnTo>
                  <a:lnTo>
                    <a:pt x="334" y="588"/>
                  </a:lnTo>
                  <a:lnTo>
                    <a:pt x="336" y="586"/>
                  </a:lnTo>
                  <a:lnTo>
                    <a:pt x="338" y="582"/>
                  </a:lnTo>
                  <a:lnTo>
                    <a:pt x="337" y="581"/>
                  </a:lnTo>
                  <a:lnTo>
                    <a:pt x="331" y="577"/>
                  </a:lnTo>
                  <a:lnTo>
                    <a:pt x="323" y="571"/>
                  </a:lnTo>
                  <a:lnTo>
                    <a:pt x="314" y="564"/>
                  </a:lnTo>
                  <a:lnTo>
                    <a:pt x="309" y="557"/>
                  </a:lnTo>
                  <a:lnTo>
                    <a:pt x="306" y="551"/>
                  </a:lnTo>
                  <a:lnTo>
                    <a:pt x="304" y="543"/>
                  </a:lnTo>
                  <a:lnTo>
                    <a:pt x="302" y="536"/>
                  </a:lnTo>
                  <a:lnTo>
                    <a:pt x="301" y="529"/>
                  </a:lnTo>
                  <a:lnTo>
                    <a:pt x="303" y="525"/>
                  </a:lnTo>
                  <a:lnTo>
                    <a:pt x="303" y="521"/>
                  </a:lnTo>
                  <a:lnTo>
                    <a:pt x="301" y="515"/>
                  </a:lnTo>
                  <a:lnTo>
                    <a:pt x="297" y="508"/>
                  </a:lnTo>
                  <a:lnTo>
                    <a:pt x="293" y="500"/>
                  </a:lnTo>
                  <a:lnTo>
                    <a:pt x="292" y="493"/>
                  </a:lnTo>
                  <a:lnTo>
                    <a:pt x="293" y="487"/>
                  </a:lnTo>
                  <a:lnTo>
                    <a:pt x="295" y="485"/>
                  </a:lnTo>
                  <a:lnTo>
                    <a:pt x="298" y="483"/>
                  </a:lnTo>
                  <a:lnTo>
                    <a:pt x="306" y="479"/>
                  </a:lnTo>
                  <a:lnTo>
                    <a:pt x="308" y="477"/>
                  </a:lnTo>
                  <a:lnTo>
                    <a:pt x="308" y="472"/>
                  </a:lnTo>
                  <a:lnTo>
                    <a:pt x="305" y="467"/>
                  </a:lnTo>
                  <a:lnTo>
                    <a:pt x="302" y="462"/>
                  </a:lnTo>
                  <a:lnTo>
                    <a:pt x="300" y="458"/>
                  </a:lnTo>
                  <a:lnTo>
                    <a:pt x="299" y="452"/>
                  </a:lnTo>
                  <a:lnTo>
                    <a:pt x="299" y="445"/>
                  </a:lnTo>
                  <a:lnTo>
                    <a:pt x="298" y="436"/>
                  </a:lnTo>
                  <a:lnTo>
                    <a:pt x="295" y="427"/>
                  </a:lnTo>
                  <a:lnTo>
                    <a:pt x="292" y="419"/>
                  </a:lnTo>
                  <a:lnTo>
                    <a:pt x="289" y="417"/>
                  </a:lnTo>
                  <a:lnTo>
                    <a:pt x="286" y="420"/>
                  </a:lnTo>
                  <a:lnTo>
                    <a:pt x="283" y="426"/>
                  </a:lnTo>
                  <a:lnTo>
                    <a:pt x="279" y="433"/>
                  </a:lnTo>
                  <a:lnTo>
                    <a:pt x="274" y="438"/>
                  </a:lnTo>
                  <a:lnTo>
                    <a:pt x="269" y="440"/>
                  </a:lnTo>
                  <a:lnTo>
                    <a:pt x="257" y="440"/>
                  </a:lnTo>
                  <a:lnTo>
                    <a:pt x="253" y="438"/>
                  </a:lnTo>
                  <a:lnTo>
                    <a:pt x="250" y="435"/>
                  </a:lnTo>
                  <a:lnTo>
                    <a:pt x="249" y="429"/>
                  </a:lnTo>
                  <a:lnTo>
                    <a:pt x="248" y="420"/>
                  </a:lnTo>
                  <a:lnTo>
                    <a:pt x="246" y="411"/>
                  </a:lnTo>
                  <a:lnTo>
                    <a:pt x="245" y="403"/>
                  </a:lnTo>
                  <a:lnTo>
                    <a:pt x="243" y="400"/>
                  </a:lnTo>
                  <a:lnTo>
                    <a:pt x="242" y="401"/>
                  </a:lnTo>
                  <a:lnTo>
                    <a:pt x="240" y="402"/>
                  </a:lnTo>
                  <a:lnTo>
                    <a:pt x="239" y="404"/>
                  </a:lnTo>
                  <a:lnTo>
                    <a:pt x="237" y="407"/>
                  </a:lnTo>
                  <a:lnTo>
                    <a:pt x="235" y="409"/>
                  </a:lnTo>
                  <a:lnTo>
                    <a:pt x="232" y="410"/>
                  </a:lnTo>
                  <a:lnTo>
                    <a:pt x="230" y="410"/>
                  </a:lnTo>
                  <a:lnTo>
                    <a:pt x="228" y="409"/>
                  </a:lnTo>
                  <a:lnTo>
                    <a:pt x="227" y="405"/>
                  </a:lnTo>
                  <a:lnTo>
                    <a:pt x="228" y="399"/>
                  </a:lnTo>
                  <a:lnTo>
                    <a:pt x="230" y="393"/>
                  </a:lnTo>
                  <a:lnTo>
                    <a:pt x="232" y="386"/>
                  </a:lnTo>
                  <a:lnTo>
                    <a:pt x="232" y="381"/>
                  </a:lnTo>
                  <a:lnTo>
                    <a:pt x="229" y="376"/>
                  </a:lnTo>
                  <a:lnTo>
                    <a:pt x="222" y="369"/>
                  </a:lnTo>
                  <a:lnTo>
                    <a:pt x="221" y="364"/>
                  </a:lnTo>
                  <a:lnTo>
                    <a:pt x="221" y="357"/>
                  </a:lnTo>
                  <a:lnTo>
                    <a:pt x="220" y="350"/>
                  </a:lnTo>
                  <a:lnTo>
                    <a:pt x="218" y="345"/>
                  </a:lnTo>
                  <a:lnTo>
                    <a:pt x="215" y="342"/>
                  </a:lnTo>
                  <a:lnTo>
                    <a:pt x="211" y="342"/>
                  </a:lnTo>
                  <a:lnTo>
                    <a:pt x="196" y="348"/>
                  </a:lnTo>
                  <a:lnTo>
                    <a:pt x="193" y="348"/>
                  </a:lnTo>
                  <a:lnTo>
                    <a:pt x="191" y="346"/>
                  </a:lnTo>
                  <a:lnTo>
                    <a:pt x="190" y="344"/>
                  </a:lnTo>
                  <a:lnTo>
                    <a:pt x="189" y="343"/>
                  </a:lnTo>
                  <a:lnTo>
                    <a:pt x="189" y="342"/>
                  </a:lnTo>
                  <a:lnTo>
                    <a:pt x="186" y="342"/>
                  </a:lnTo>
                  <a:lnTo>
                    <a:pt x="182" y="344"/>
                  </a:lnTo>
                  <a:lnTo>
                    <a:pt x="178" y="348"/>
                  </a:lnTo>
                  <a:lnTo>
                    <a:pt x="173" y="349"/>
                  </a:lnTo>
                  <a:lnTo>
                    <a:pt x="169" y="348"/>
                  </a:lnTo>
                  <a:lnTo>
                    <a:pt x="168" y="345"/>
                  </a:lnTo>
                  <a:lnTo>
                    <a:pt x="168" y="339"/>
                  </a:lnTo>
                  <a:lnTo>
                    <a:pt x="170" y="333"/>
                  </a:lnTo>
                  <a:lnTo>
                    <a:pt x="172" y="327"/>
                  </a:lnTo>
                  <a:lnTo>
                    <a:pt x="174" y="321"/>
                  </a:lnTo>
                  <a:lnTo>
                    <a:pt x="174" y="317"/>
                  </a:lnTo>
                  <a:lnTo>
                    <a:pt x="172" y="316"/>
                  </a:lnTo>
                  <a:lnTo>
                    <a:pt x="167" y="317"/>
                  </a:lnTo>
                  <a:lnTo>
                    <a:pt x="161" y="319"/>
                  </a:lnTo>
                  <a:lnTo>
                    <a:pt x="155" y="322"/>
                  </a:lnTo>
                  <a:lnTo>
                    <a:pt x="150" y="324"/>
                  </a:lnTo>
                  <a:lnTo>
                    <a:pt x="147" y="324"/>
                  </a:lnTo>
                  <a:lnTo>
                    <a:pt x="142" y="321"/>
                  </a:lnTo>
                  <a:lnTo>
                    <a:pt x="137" y="317"/>
                  </a:lnTo>
                  <a:lnTo>
                    <a:pt x="132" y="314"/>
                  </a:lnTo>
                  <a:lnTo>
                    <a:pt x="127" y="314"/>
                  </a:lnTo>
                  <a:lnTo>
                    <a:pt x="119" y="315"/>
                  </a:lnTo>
                  <a:lnTo>
                    <a:pt x="109" y="316"/>
                  </a:lnTo>
                  <a:lnTo>
                    <a:pt x="99" y="319"/>
                  </a:lnTo>
                  <a:lnTo>
                    <a:pt x="91" y="321"/>
                  </a:lnTo>
                  <a:lnTo>
                    <a:pt x="87" y="324"/>
                  </a:lnTo>
                  <a:lnTo>
                    <a:pt x="86" y="327"/>
                  </a:lnTo>
                  <a:lnTo>
                    <a:pt x="85" y="329"/>
                  </a:lnTo>
                  <a:lnTo>
                    <a:pt x="85" y="332"/>
                  </a:lnTo>
                  <a:lnTo>
                    <a:pt x="86" y="334"/>
                  </a:lnTo>
                  <a:lnTo>
                    <a:pt x="88" y="336"/>
                  </a:lnTo>
                  <a:lnTo>
                    <a:pt x="92" y="337"/>
                  </a:lnTo>
                  <a:lnTo>
                    <a:pt x="96" y="339"/>
                  </a:lnTo>
                  <a:lnTo>
                    <a:pt x="98" y="343"/>
                  </a:lnTo>
                  <a:lnTo>
                    <a:pt x="98" y="346"/>
                  </a:lnTo>
                  <a:lnTo>
                    <a:pt x="99" y="347"/>
                  </a:lnTo>
                  <a:lnTo>
                    <a:pt x="100" y="347"/>
                  </a:lnTo>
                  <a:lnTo>
                    <a:pt x="102" y="346"/>
                  </a:lnTo>
                  <a:lnTo>
                    <a:pt x="105" y="345"/>
                  </a:lnTo>
                  <a:lnTo>
                    <a:pt x="108" y="343"/>
                  </a:lnTo>
                  <a:lnTo>
                    <a:pt x="109" y="342"/>
                  </a:lnTo>
                  <a:lnTo>
                    <a:pt x="111" y="341"/>
                  </a:lnTo>
                  <a:lnTo>
                    <a:pt x="112" y="341"/>
                  </a:lnTo>
                  <a:lnTo>
                    <a:pt x="113" y="342"/>
                  </a:lnTo>
                  <a:lnTo>
                    <a:pt x="114" y="344"/>
                  </a:lnTo>
                  <a:lnTo>
                    <a:pt x="115" y="350"/>
                  </a:lnTo>
                  <a:lnTo>
                    <a:pt x="113" y="364"/>
                  </a:lnTo>
                  <a:lnTo>
                    <a:pt x="110" y="369"/>
                  </a:lnTo>
                  <a:lnTo>
                    <a:pt x="106" y="371"/>
                  </a:lnTo>
                  <a:lnTo>
                    <a:pt x="100" y="371"/>
                  </a:lnTo>
                  <a:lnTo>
                    <a:pt x="94" y="372"/>
                  </a:lnTo>
                  <a:lnTo>
                    <a:pt x="88" y="371"/>
                  </a:lnTo>
                  <a:lnTo>
                    <a:pt x="84" y="371"/>
                  </a:lnTo>
                  <a:lnTo>
                    <a:pt x="81" y="372"/>
                  </a:lnTo>
                  <a:lnTo>
                    <a:pt x="78" y="374"/>
                  </a:lnTo>
                  <a:lnTo>
                    <a:pt x="77" y="377"/>
                  </a:lnTo>
                  <a:lnTo>
                    <a:pt x="77" y="380"/>
                  </a:lnTo>
                  <a:lnTo>
                    <a:pt x="78" y="384"/>
                  </a:lnTo>
                  <a:lnTo>
                    <a:pt x="78" y="389"/>
                  </a:lnTo>
                  <a:lnTo>
                    <a:pt x="76" y="393"/>
                  </a:lnTo>
                  <a:lnTo>
                    <a:pt x="73" y="397"/>
                  </a:lnTo>
                  <a:lnTo>
                    <a:pt x="66" y="398"/>
                  </a:lnTo>
                  <a:lnTo>
                    <a:pt x="56" y="398"/>
                  </a:lnTo>
                  <a:lnTo>
                    <a:pt x="45" y="399"/>
                  </a:lnTo>
                  <a:lnTo>
                    <a:pt x="25" y="399"/>
                  </a:lnTo>
                  <a:lnTo>
                    <a:pt x="22" y="396"/>
                  </a:lnTo>
                  <a:lnTo>
                    <a:pt x="18" y="390"/>
                  </a:lnTo>
                  <a:lnTo>
                    <a:pt x="17" y="387"/>
                  </a:lnTo>
                  <a:lnTo>
                    <a:pt x="18" y="384"/>
                  </a:lnTo>
                  <a:lnTo>
                    <a:pt x="19" y="382"/>
                  </a:lnTo>
                  <a:lnTo>
                    <a:pt x="20" y="381"/>
                  </a:lnTo>
                  <a:lnTo>
                    <a:pt x="22" y="380"/>
                  </a:lnTo>
                  <a:lnTo>
                    <a:pt x="23" y="379"/>
                  </a:lnTo>
                  <a:lnTo>
                    <a:pt x="25" y="379"/>
                  </a:lnTo>
                  <a:lnTo>
                    <a:pt x="26" y="378"/>
                  </a:lnTo>
                  <a:lnTo>
                    <a:pt x="28" y="378"/>
                  </a:lnTo>
                  <a:lnTo>
                    <a:pt x="28" y="376"/>
                  </a:lnTo>
                  <a:lnTo>
                    <a:pt x="29" y="374"/>
                  </a:lnTo>
                  <a:lnTo>
                    <a:pt x="28" y="371"/>
                  </a:lnTo>
                  <a:lnTo>
                    <a:pt x="26" y="364"/>
                  </a:lnTo>
                  <a:lnTo>
                    <a:pt x="24" y="359"/>
                  </a:lnTo>
                  <a:lnTo>
                    <a:pt x="23" y="356"/>
                  </a:lnTo>
                  <a:lnTo>
                    <a:pt x="31" y="348"/>
                  </a:lnTo>
                  <a:lnTo>
                    <a:pt x="34" y="340"/>
                  </a:lnTo>
                  <a:lnTo>
                    <a:pt x="36" y="332"/>
                  </a:lnTo>
                  <a:lnTo>
                    <a:pt x="37" y="327"/>
                  </a:lnTo>
                  <a:lnTo>
                    <a:pt x="35" y="322"/>
                  </a:lnTo>
                  <a:lnTo>
                    <a:pt x="27" y="308"/>
                  </a:lnTo>
                  <a:lnTo>
                    <a:pt x="24" y="302"/>
                  </a:lnTo>
                  <a:lnTo>
                    <a:pt x="20" y="295"/>
                  </a:lnTo>
                  <a:lnTo>
                    <a:pt x="15" y="289"/>
                  </a:lnTo>
                  <a:lnTo>
                    <a:pt x="12" y="282"/>
                  </a:lnTo>
                  <a:lnTo>
                    <a:pt x="11" y="277"/>
                  </a:lnTo>
                  <a:lnTo>
                    <a:pt x="10" y="269"/>
                  </a:lnTo>
                  <a:lnTo>
                    <a:pt x="8" y="259"/>
                  </a:lnTo>
                  <a:lnTo>
                    <a:pt x="7" y="250"/>
                  </a:lnTo>
                  <a:lnTo>
                    <a:pt x="7" y="241"/>
                  </a:lnTo>
                  <a:lnTo>
                    <a:pt x="9" y="236"/>
                  </a:lnTo>
                  <a:lnTo>
                    <a:pt x="12" y="231"/>
                  </a:lnTo>
                  <a:lnTo>
                    <a:pt x="15" y="225"/>
                  </a:lnTo>
                  <a:lnTo>
                    <a:pt x="16" y="218"/>
                  </a:lnTo>
                  <a:lnTo>
                    <a:pt x="15" y="212"/>
                  </a:lnTo>
                  <a:lnTo>
                    <a:pt x="11" y="207"/>
                  </a:lnTo>
                  <a:lnTo>
                    <a:pt x="5" y="203"/>
                  </a:lnTo>
                  <a:lnTo>
                    <a:pt x="3" y="202"/>
                  </a:lnTo>
                  <a:lnTo>
                    <a:pt x="1" y="200"/>
                  </a:lnTo>
                  <a:lnTo>
                    <a:pt x="0" y="200"/>
                  </a:lnTo>
                  <a:lnTo>
                    <a:pt x="0" y="198"/>
                  </a:lnTo>
                  <a:lnTo>
                    <a:pt x="1" y="197"/>
                  </a:lnTo>
                  <a:lnTo>
                    <a:pt x="3" y="195"/>
                  </a:lnTo>
                  <a:lnTo>
                    <a:pt x="8" y="187"/>
                  </a:lnTo>
                  <a:lnTo>
                    <a:pt x="14" y="180"/>
                  </a:lnTo>
                  <a:lnTo>
                    <a:pt x="20" y="174"/>
                  </a:lnTo>
                  <a:lnTo>
                    <a:pt x="28" y="172"/>
                  </a:lnTo>
                  <a:lnTo>
                    <a:pt x="33" y="173"/>
                  </a:lnTo>
                  <a:lnTo>
                    <a:pt x="36" y="175"/>
                  </a:lnTo>
                  <a:lnTo>
                    <a:pt x="39" y="178"/>
                  </a:lnTo>
                  <a:lnTo>
                    <a:pt x="42" y="178"/>
                  </a:lnTo>
                  <a:lnTo>
                    <a:pt x="46" y="176"/>
                  </a:lnTo>
                  <a:lnTo>
                    <a:pt x="50" y="173"/>
                  </a:lnTo>
                  <a:lnTo>
                    <a:pt x="52" y="167"/>
                  </a:lnTo>
                  <a:lnTo>
                    <a:pt x="54" y="164"/>
                  </a:lnTo>
                  <a:lnTo>
                    <a:pt x="57" y="163"/>
                  </a:lnTo>
                  <a:lnTo>
                    <a:pt x="64" y="163"/>
                  </a:lnTo>
                  <a:lnTo>
                    <a:pt x="76" y="164"/>
                  </a:lnTo>
                  <a:lnTo>
                    <a:pt x="84" y="166"/>
                  </a:lnTo>
                  <a:lnTo>
                    <a:pt x="91" y="169"/>
                  </a:lnTo>
                  <a:lnTo>
                    <a:pt x="97" y="174"/>
                  </a:lnTo>
                  <a:lnTo>
                    <a:pt x="99" y="177"/>
                  </a:lnTo>
                  <a:lnTo>
                    <a:pt x="101" y="179"/>
                  </a:lnTo>
                  <a:lnTo>
                    <a:pt x="103" y="183"/>
                  </a:lnTo>
                  <a:lnTo>
                    <a:pt x="105" y="184"/>
                  </a:lnTo>
                  <a:lnTo>
                    <a:pt x="106" y="186"/>
                  </a:lnTo>
                  <a:lnTo>
                    <a:pt x="112" y="186"/>
                  </a:lnTo>
                  <a:lnTo>
                    <a:pt x="128" y="184"/>
                  </a:lnTo>
                  <a:lnTo>
                    <a:pt x="134" y="182"/>
                  </a:lnTo>
                  <a:lnTo>
                    <a:pt x="137" y="178"/>
                  </a:lnTo>
                  <a:lnTo>
                    <a:pt x="137" y="173"/>
                  </a:lnTo>
                  <a:lnTo>
                    <a:pt x="135" y="168"/>
                  </a:lnTo>
                  <a:lnTo>
                    <a:pt x="135" y="163"/>
                  </a:lnTo>
                  <a:lnTo>
                    <a:pt x="139" y="159"/>
                  </a:lnTo>
                  <a:lnTo>
                    <a:pt x="141" y="156"/>
                  </a:lnTo>
                  <a:lnTo>
                    <a:pt x="140" y="151"/>
                  </a:lnTo>
                  <a:lnTo>
                    <a:pt x="139" y="145"/>
                  </a:lnTo>
                  <a:lnTo>
                    <a:pt x="137" y="139"/>
                  </a:lnTo>
                  <a:lnTo>
                    <a:pt x="136" y="133"/>
                  </a:lnTo>
                  <a:lnTo>
                    <a:pt x="137" y="129"/>
                  </a:lnTo>
                  <a:lnTo>
                    <a:pt x="141" y="127"/>
                  </a:lnTo>
                  <a:lnTo>
                    <a:pt x="147" y="127"/>
                  </a:lnTo>
                  <a:lnTo>
                    <a:pt x="151" y="129"/>
                  </a:lnTo>
                  <a:lnTo>
                    <a:pt x="156" y="131"/>
                  </a:lnTo>
                  <a:lnTo>
                    <a:pt x="160" y="131"/>
                  </a:lnTo>
                  <a:lnTo>
                    <a:pt x="167" y="128"/>
                  </a:lnTo>
                  <a:lnTo>
                    <a:pt x="173" y="124"/>
                  </a:lnTo>
                  <a:lnTo>
                    <a:pt x="176" y="121"/>
                  </a:lnTo>
                  <a:lnTo>
                    <a:pt x="177" y="118"/>
                  </a:lnTo>
                  <a:lnTo>
                    <a:pt x="178" y="116"/>
                  </a:lnTo>
                  <a:lnTo>
                    <a:pt x="179" y="112"/>
                  </a:lnTo>
                  <a:lnTo>
                    <a:pt x="183" y="108"/>
                  </a:lnTo>
                  <a:lnTo>
                    <a:pt x="189" y="104"/>
                  </a:lnTo>
                  <a:lnTo>
                    <a:pt x="196" y="100"/>
                  </a:lnTo>
                  <a:lnTo>
                    <a:pt x="201" y="96"/>
                  </a:lnTo>
                  <a:lnTo>
                    <a:pt x="203" y="90"/>
                  </a:lnTo>
                  <a:lnTo>
                    <a:pt x="202" y="84"/>
                  </a:lnTo>
                  <a:lnTo>
                    <a:pt x="200" y="76"/>
                  </a:lnTo>
                  <a:lnTo>
                    <a:pt x="200" y="62"/>
                  </a:lnTo>
                  <a:lnTo>
                    <a:pt x="202" y="58"/>
                  </a:lnTo>
                  <a:lnTo>
                    <a:pt x="207" y="55"/>
                  </a:lnTo>
                  <a:lnTo>
                    <a:pt x="214" y="54"/>
                  </a:lnTo>
                  <a:lnTo>
                    <a:pt x="219" y="55"/>
                  </a:lnTo>
                  <a:lnTo>
                    <a:pt x="225" y="58"/>
                  </a:lnTo>
                  <a:lnTo>
                    <a:pt x="227" y="58"/>
                  </a:lnTo>
                  <a:lnTo>
                    <a:pt x="231" y="57"/>
                  </a:lnTo>
                  <a:lnTo>
                    <a:pt x="239" y="54"/>
                  </a:lnTo>
                  <a:lnTo>
                    <a:pt x="248" y="49"/>
                  </a:lnTo>
                  <a:lnTo>
                    <a:pt x="267" y="35"/>
                  </a:lnTo>
                  <a:lnTo>
                    <a:pt x="274" y="27"/>
                  </a:lnTo>
                  <a:lnTo>
                    <a:pt x="277" y="19"/>
                  </a:lnTo>
                  <a:lnTo>
                    <a:pt x="278" y="15"/>
                  </a:lnTo>
                  <a:lnTo>
                    <a:pt x="278" y="5"/>
                  </a:lnTo>
                  <a:lnTo>
                    <a:pt x="287" y="1"/>
                  </a:lnTo>
                  <a:lnTo>
                    <a:pt x="296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FE367A35-DF1F-4E0F-88CD-EEE53133F5F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3076" y="3921126"/>
              <a:ext cx="1012825" cy="1292225"/>
            </a:xfrm>
            <a:custGeom>
              <a:avLst/>
              <a:gdLst/>
              <a:ahLst/>
              <a:cxnLst>
                <a:cxn ang="0">
                  <a:pos x="473" y="28"/>
                </a:cxn>
                <a:cxn ang="0">
                  <a:pos x="506" y="48"/>
                </a:cxn>
                <a:cxn ang="0">
                  <a:pos x="518" y="97"/>
                </a:cxn>
                <a:cxn ang="0">
                  <a:pos x="530" y="125"/>
                </a:cxn>
                <a:cxn ang="0">
                  <a:pos x="525" y="171"/>
                </a:cxn>
                <a:cxn ang="0">
                  <a:pos x="504" y="172"/>
                </a:cxn>
                <a:cxn ang="0">
                  <a:pos x="499" y="208"/>
                </a:cxn>
                <a:cxn ang="0">
                  <a:pos x="509" y="250"/>
                </a:cxn>
                <a:cxn ang="0">
                  <a:pos x="533" y="275"/>
                </a:cxn>
                <a:cxn ang="0">
                  <a:pos x="507" y="293"/>
                </a:cxn>
                <a:cxn ang="0">
                  <a:pos x="477" y="309"/>
                </a:cxn>
                <a:cxn ang="0">
                  <a:pos x="471" y="340"/>
                </a:cxn>
                <a:cxn ang="0">
                  <a:pos x="438" y="360"/>
                </a:cxn>
                <a:cxn ang="0">
                  <a:pos x="490" y="388"/>
                </a:cxn>
                <a:cxn ang="0">
                  <a:pos x="568" y="384"/>
                </a:cxn>
                <a:cxn ang="0">
                  <a:pos x="585" y="436"/>
                </a:cxn>
                <a:cxn ang="0">
                  <a:pos x="613" y="485"/>
                </a:cxn>
                <a:cxn ang="0">
                  <a:pos x="588" y="519"/>
                </a:cxn>
                <a:cxn ang="0">
                  <a:pos x="627" y="569"/>
                </a:cxn>
                <a:cxn ang="0">
                  <a:pos x="607" y="594"/>
                </a:cxn>
                <a:cxn ang="0">
                  <a:pos x="622" y="628"/>
                </a:cxn>
                <a:cxn ang="0">
                  <a:pos x="615" y="681"/>
                </a:cxn>
                <a:cxn ang="0">
                  <a:pos x="584" y="744"/>
                </a:cxn>
                <a:cxn ang="0">
                  <a:pos x="558" y="802"/>
                </a:cxn>
                <a:cxn ang="0">
                  <a:pos x="486" y="785"/>
                </a:cxn>
                <a:cxn ang="0">
                  <a:pos x="441" y="773"/>
                </a:cxn>
                <a:cxn ang="0">
                  <a:pos x="386" y="772"/>
                </a:cxn>
                <a:cxn ang="0">
                  <a:pos x="351" y="741"/>
                </a:cxn>
                <a:cxn ang="0">
                  <a:pos x="314" y="721"/>
                </a:cxn>
                <a:cxn ang="0">
                  <a:pos x="292" y="696"/>
                </a:cxn>
                <a:cxn ang="0">
                  <a:pos x="322" y="653"/>
                </a:cxn>
                <a:cxn ang="0">
                  <a:pos x="295" y="620"/>
                </a:cxn>
                <a:cxn ang="0">
                  <a:pos x="304" y="573"/>
                </a:cxn>
                <a:cxn ang="0">
                  <a:pos x="273" y="555"/>
                </a:cxn>
                <a:cxn ang="0">
                  <a:pos x="212" y="528"/>
                </a:cxn>
                <a:cxn ang="0">
                  <a:pos x="136" y="557"/>
                </a:cxn>
                <a:cxn ang="0">
                  <a:pos x="52" y="545"/>
                </a:cxn>
                <a:cxn ang="0">
                  <a:pos x="92" y="493"/>
                </a:cxn>
                <a:cxn ang="0">
                  <a:pos x="97" y="448"/>
                </a:cxn>
                <a:cxn ang="0">
                  <a:pos x="63" y="431"/>
                </a:cxn>
                <a:cxn ang="0">
                  <a:pos x="27" y="402"/>
                </a:cxn>
                <a:cxn ang="0">
                  <a:pos x="1" y="353"/>
                </a:cxn>
                <a:cxn ang="0">
                  <a:pos x="11" y="293"/>
                </a:cxn>
                <a:cxn ang="0">
                  <a:pos x="18" y="266"/>
                </a:cxn>
                <a:cxn ang="0">
                  <a:pos x="59" y="233"/>
                </a:cxn>
                <a:cxn ang="0">
                  <a:pos x="82" y="230"/>
                </a:cxn>
                <a:cxn ang="0">
                  <a:pos x="94" y="227"/>
                </a:cxn>
                <a:cxn ang="0">
                  <a:pos x="134" y="219"/>
                </a:cxn>
                <a:cxn ang="0">
                  <a:pos x="153" y="227"/>
                </a:cxn>
                <a:cxn ang="0">
                  <a:pos x="182" y="222"/>
                </a:cxn>
                <a:cxn ang="0">
                  <a:pos x="186" y="174"/>
                </a:cxn>
                <a:cxn ang="0">
                  <a:pos x="215" y="156"/>
                </a:cxn>
                <a:cxn ang="0">
                  <a:pos x="262" y="137"/>
                </a:cxn>
                <a:cxn ang="0">
                  <a:pos x="308" y="121"/>
                </a:cxn>
                <a:cxn ang="0">
                  <a:pos x="345" y="91"/>
                </a:cxn>
                <a:cxn ang="0">
                  <a:pos x="424" y="56"/>
                </a:cxn>
                <a:cxn ang="0">
                  <a:pos x="445" y="32"/>
                </a:cxn>
              </a:cxnLst>
              <a:rect l="0" t="0" r="r" b="b"/>
              <a:pathLst>
                <a:path w="638" h="814">
                  <a:moveTo>
                    <a:pt x="449" y="0"/>
                  </a:moveTo>
                  <a:lnTo>
                    <a:pt x="461" y="0"/>
                  </a:lnTo>
                  <a:lnTo>
                    <a:pt x="466" y="2"/>
                  </a:lnTo>
                  <a:lnTo>
                    <a:pt x="469" y="6"/>
                  </a:lnTo>
                  <a:lnTo>
                    <a:pt x="469" y="10"/>
                  </a:lnTo>
                  <a:lnTo>
                    <a:pt x="467" y="17"/>
                  </a:lnTo>
                  <a:lnTo>
                    <a:pt x="469" y="24"/>
                  </a:lnTo>
                  <a:lnTo>
                    <a:pt x="473" y="28"/>
                  </a:lnTo>
                  <a:lnTo>
                    <a:pt x="476" y="30"/>
                  </a:lnTo>
                  <a:lnTo>
                    <a:pt x="482" y="38"/>
                  </a:lnTo>
                  <a:lnTo>
                    <a:pt x="486" y="42"/>
                  </a:lnTo>
                  <a:lnTo>
                    <a:pt x="491" y="43"/>
                  </a:lnTo>
                  <a:lnTo>
                    <a:pt x="499" y="43"/>
                  </a:lnTo>
                  <a:lnTo>
                    <a:pt x="502" y="44"/>
                  </a:lnTo>
                  <a:lnTo>
                    <a:pt x="505" y="46"/>
                  </a:lnTo>
                  <a:lnTo>
                    <a:pt x="506" y="48"/>
                  </a:lnTo>
                  <a:lnTo>
                    <a:pt x="507" y="51"/>
                  </a:lnTo>
                  <a:lnTo>
                    <a:pt x="506" y="55"/>
                  </a:lnTo>
                  <a:lnTo>
                    <a:pt x="503" y="62"/>
                  </a:lnTo>
                  <a:lnTo>
                    <a:pt x="500" y="68"/>
                  </a:lnTo>
                  <a:lnTo>
                    <a:pt x="500" y="74"/>
                  </a:lnTo>
                  <a:lnTo>
                    <a:pt x="502" y="80"/>
                  </a:lnTo>
                  <a:lnTo>
                    <a:pt x="507" y="87"/>
                  </a:lnTo>
                  <a:lnTo>
                    <a:pt x="518" y="97"/>
                  </a:lnTo>
                  <a:lnTo>
                    <a:pt x="522" y="99"/>
                  </a:lnTo>
                  <a:lnTo>
                    <a:pt x="525" y="99"/>
                  </a:lnTo>
                  <a:lnTo>
                    <a:pt x="528" y="100"/>
                  </a:lnTo>
                  <a:lnTo>
                    <a:pt x="532" y="101"/>
                  </a:lnTo>
                  <a:lnTo>
                    <a:pt x="536" y="103"/>
                  </a:lnTo>
                  <a:lnTo>
                    <a:pt x="531" y="110"/>
                  </a:lnTo>
                  <a:lnTo>
                    <a:pt x="529" y="118"/>
                  </a:lnTo>
                  <a:lnTo>
                    <a:pt x="530" y="125"/>
                  </a:lnTo>
                  <a:lnTo>
                    <a:pt x="542" y="143"/>
                  </a:lnTo>
                  <a:lnTo>
                    <a:pt x="543" y="148"/>
                  </a:lnTo>
                  <a:lnTo>
                    <a:pt x="536" y="155"/>
                  </a:lnTo>
                  <a:lnTo>
                    <a:pt x="533" y="161"/>
                  </a:lnTo>
                  <a:lnTo>
                    <a:pt x="531" y="167"/>
                  </a:lnTo>
                  <a:lnTo>
                    <a:pt x="529" y="171"/>
                  </a:lnTo>
                  <a:lnTo>
                    <a:pt x="527" y="172"/>
                  </a:lnTo>
                  <a:lnTo>
                    <a:pt x="525" y="171"/>
                  </a:lnTo>
                  <a:lnTo>
                    <a:pt x="524" y="169"/>
                  </a:lnTo>
                  <a:lnTo>
                    <a:pt x="523" y="167"/>
                  </a:lnTo>
                  <a:lnTo>
                    <a:pt x="519" y="165"/>
                  </a:lnTo>
                  <a:lnTo>
                    <a:pt x="516" y="165"/>
                  </a:lnTo>
                  <a:lnTo>
                    <a:pt x="514" y="166"/>
                  </a:lnTo>
                  <a:lnTo>
                    <a:pt x="511" y="167"/>
                  </a:lnTo>
                  <a:lnTo>
                    <a:pt x="507" y="169"/>
                  </a:lnTo>
                  <a:lnTo>
                    <a:pt x="504" y="172"/>
                  </a:lnTo>
                  <a:lnTo>
                    <a:pt x="504" y="174"/>
                  </a:lnTo>
                  <a:lnTo>
                    <a:pt x="503" y="178"/>
                  </a:lnTo>
                  <a:lnTo>
                    <a:pt x="503" y="184"/>
                  </a:lnTo>
                  <a:lnTo>
                    <a:pt x="504" y="191"/>
                  </a:lnTo>
                  <a:lnTo>
                    <a:pt x="505" y="197"/>
                  </a:lnTo>
                  <a:lnTo>
                    <a:pt x="505" y="202"/>
                  </a:lnTo>
                  <a:lnTo>
                    <a:pt x="503" y="205"/>
                  </a:lnTo>
                  <a:lnTo>
                    <a:pt x="499" y="208"/>
                  </a:lnTo>
                  <a:lnTo>
                    <a:pt x="496" y="211"/>
                  </a:lnTo>
                  <a:lnTo>
                    <a:pt x="493" y="215"/>
                  </a:lnTo>
                  <a:lnTo>
                    <a:pt x="493" y="219"/>
                  </a:lnTo>
                  <a:lnTo>
                    <a:pt x="495" y="222"/>
                  </a:lnTo>
                  <a:lnTo>
                    <a:pt x="507" y="229"/>
                  </a:lnTo>
                  <a:lnTo>
                    <a:pt x="513" y="235"/>
                  </a:lnTo>
                  <a:lnTo>
                    <a:pt x="514" y="240"/>
                  </a:lnTo>
                  <a:lnTo>
                    <a:pt x="509" y="250"/>
                  </a:lnTo>
                  <a:lnTo>
                    <a:pt x="505" y="262"/>
                  </a:lnTo>
                  <a:lnTo>
                    <a:pt x="506" y="265"/>
                  </a:lnTo>
                  <a:lnTo>
                    <a:pt x="509" y="267"/>
                  </a:lnTo>
                  <a:lnTo>
                    <a:pt x="516" y="268"/>
                  </a:lnTo>
                  <a:lnTo>
                    <a:pt x="523" y="270"/>
                  </a:lnTo>
                  <a:lnTo>
                    <a:pt x="530" y="272"/>
                  </a:lnTo>
                  <a:lnTo>
                    <a:pt x="534" y="274"/>
                  </a:lnTo>
                  <a:lnTo>
                    <a:pt x="533" y="275"/>
                  </a:lnTo>
                  <a:lnTo>
                    <a:pt x="528" y="275"/>
                  </a:lnTo>
                  <a:lnTo>
                    <a:pt x="515" y="277"/>
                  </a:lnTo>
                  <a:lnTo>
                    <a:pt x="510" y="278"/>
                  </a:lnTo>
                  <a:lnTo>
                    <a:pt x="507" y="281"/>
                  </a:lnTo>
                  <a:lnTo>
                    <a:pt x="507" y="285"/>
                  </a:lnTo>
                  <a:lnTo>
                    <a:pt x="508" y="287"/>
                  </a:lnTo>
                  <a:lnTo>
                    <a:pt x="508" y="292"/>
                  </a:lnTo>
                  <a:lnTo>
                    <a:pt x="507" y="293"/>
                  </a:lnTo>
                  <a:lnTo>
                    <a:pt x="505" y="293"/>
                  </a:lnTo>
                  <a:lnTo>
                    <a:pt x="502" y="294"/>
                  </a:lnTo>
                  <a:lnTo>
                    <a:pt x="494" y="295"/>
                  </a:lnTo>
                  <a:lnTo>
                    <a:pt x="487" y="298"/>
                  </a:lnTo>
                  <a:lnTo>
                    <a:pt x="483" y="301"/>
                  </a:lnTo>
                  <a:lnTo>
                    <a:pt x="482" y="305"/>
                  </a:lnTo>
                  <a:lnTo>
                    <a:pt x="481" y="307"/>
                  </a:lnTo>
                  <a:lnTo>
                    <a:pt x="477" y="309"/>
                  </a:lnTo>
                  <a:lnTo>
                    <a:pt x="472" y="311"/>
                  </a:lnTo>
                  <a:lnTo>
                    <a:pt x="468" y="312"/>
                  </a:lnTo>
                  <a:lnTo>
                    <a:pt x="466" y="314"/>
                  </a:lnTo>
                  <a:lnTo>
                    <a:pt x="467" y="317"/>
                  </a:lnTo>
                  <a:lnTo>
                    <a:pt x="469" y="322"/>
                  </a:lnTo>
                  <a:lnTo>
                    <a:pt x="473" y="334"/>
                  </a:lnTo>
                  <a:lnTo>
                    <a:pt x="473" y="338"/>
                  </a:lnTo>
                  <a:lnTo>
                    <a:pt x="471" y="340"/>
                  </a:lnTo>
                  <a:lnTo>
                    <a:pt x="466" y="339"/>
                  </a:lnTo>
                  <a:lnTo>
                    <a:pt x="461" y="337"/>
                  </a:lnTo>
                  <a:lnTo>
                    <a:pt x="458" y="337"/>
                  </a:lnTo>
                  <a:lnTo>
                    <a:pt x="450" y="347"/>
                  </a:lnTo>
                  <a:lnTo>
                    <a:pt x="445" y="350"/>
                  </a:lnTo>
                  <a:lnTo>
                    <a:pt x="441" y="353"/>
                  </a:lnTo>
                  <a:lnTo>
                    <a:pt x="438" y="356"/>
                  </a:lnTo>
                  <a:lnTo>
                    <a:pt x="438" y="360"/>
                  </a:lnTo>
                  <a:lnTo>
                    <a:pt x="442" y="366"/>
                  </a:lnTo>
                  <a:lnTo>
                    <a:pt x="448" y="372"/>
                  </a:lnTo>
                  <a:lnTo>
                    <a:pt x="454" y="377"/>
                  </a:lnTo>
                  <a:lnTo>
                    <a:pt x="456" y="381"/>
                  </a:lnTo>
                  <a:lnTo>
                    <a:pt x="459" y="385"/>
                  </a:lnTo>
                  <a:lnTo>
                    <a:pt x="467" y="389"/>
                  </a:lnTo>
                  <a:lnTo>
                    <a:pt x="478" y="391"/>
                  </a:lnTo>
                  <a:lnTo>
                    <a:pt x="490" y="388"/>
                  </a:lnTo>
                  <a:lnTo>
                    <a:pt x="505" y="383"/>
                  </a:lnTo>
                  <a:lnTo>
                    <a:pt x="516" y="380"/>
                  </a:lnTo>
                  <a:lnTo>
                    <a:pt x="525" y="376"/>
                  </a:lnTo>
                  <a:lnTo>
                    <a:pt x="533" y="375"/>
                  </a:lnTo>
                  <a:lnTo>
                    <a:pt x="542" y="376"/>
                  </a:lnTo>
                  <a:lnTo>
                    <a:pt x="553" y="378"/>
                  </a:lnTo>
                  <a:lnTo>
                    <a:pt x="562" y="382"/>
                  </a:lnTo>
                  <a:lnTo>
                    <a:pt x="568" y="384"/>
                  </a:lnTo>
                  <a:lnTo>
                    <a:pt x="574" y="388"/>
                  </a:lnTo>
                  <a:lnTo>
                    <a:pt x="580" y="396"/>
                  </a:lnTo>
                  <a:lnTo>
                    <a:pt x="584" y="405"/>
                  </a:lnTo>
                  <a:lnTo>
                    <a:pt x="586" y="414"/>
                  </a:lnTo>
                  <a:lnTo>
                    <a:pt x="585" y="419"/>
                  </a:lnTo>
                  <a:lnTo>
                    <a:pt x="581" y="427"/>
                  </a:lnTo>
                  <a:lnTo>
                    <a:pt x="582" y="431"/>
                  </a:lnTo>
                  <a:lnTo>
                    <a:pt x="585" y="436"/>
                  </a:lnTo>
                  <a:lnTo>
                    <a:pt x="590" y="442"/>
                  </a:lnTo>
                  <a:lnTo>
                    <a:pt x="594" y="450"/>
                  </a:lnTo>
                  <a:lnTo>
                    <a:pt x="594" y="462"/>
                  </a:lnTo>
                  <a:lnTo>
                    <a:pt x="596" y="476"/>
                  </a:lnTo>
                  <a:lnTo>
                    <a:pt x="598" y="481"/>
                  </a:lnTo>
                  <a:lnTo>
                    <a:pt x="602" y="483"/>
                  </a:lnTo>
                  <a:lnTo>
                    <a:pt x="611" y="483"/>
                  </a:lnTo>
                  <a:lnTo>
                    <a:pt x="613" y="485"/>
                  </a:lnTo>
                  <a:lnTo>
                    <a:pt x="614" y="487"/>
                  </a:lnTo>
                  <a:lnTo>
                    <a:pt x="613" y="489"/>
                  </a:lnTo>
                  <a:lnTo>
                    <a:pt x="610" y="496"/>
                  </a:lnTo>
                  <a:lnTo>
                    <a:pt x="608" y="501"/>
                  </a:lnTo>
                  <a:lnTo>
                    <a:pt x="604" y="505"/>
                  </a:lnTo>
                  <a:lnTo>
                    <a:pt x="599" y="508"/>
                  </a:lnTo>
                  <a:lnTo>
                    <a:pt x="592" y="513"/>
                  </a:lnTo>
                  <a:lnTo>
                    <a:pt x="588" y="519"/>
                  </a:lnTo>
                  <a:lnTo>
                    <a:pt x="586" y="525"/>
                  </a:lnTo>
                  <a:lnTo>
                    <a:pt x="591" y="540"/>
                  </a:lnTo>
                  <a:lnTo>
                    <a:pt x="594" y="548"/>
                  </a:lnTo>
                  <a:lnTo>
                    <a:pt x="599" y="554"/>
                  </a:lnTo>
                  <a:lnTo>
                    <a:pt x="604" y="557"/>
                  </a:lnTo>
                  <a:lnTo>
                    <a:pt x="611" y="559"/>
                  </a:lnTo>
                  <a:lnTo>
                    <a:pt x="619" y="563"/>
                  </a:lnTo>
                  <a:lnTo>
                    <a:pt x="627" y="569"/>
                  </a:lnTo>
                  <a:lnTo>
                    <a:pt x="634" y="576"/>
                  </a:lnTo>
                  <a:lnTo>
                    <a:pt x="638" y="582"/>
                  </a:lnTo>
                  <a:lnTo>
                    <a:pt x="637" y="585"/>
                  </a:lnTo>
                  <a:lnTo>
                    <a:pt x="633" y="587"/>
                  </a:lnTo>
                  <a:lnTo>
                    <a:pt x="627" y="589"/>
                  </a:lnTo>
                  <a:lnTo>
                    <a:pt x="613" y="591"/>
                  </a:lnTo>
                  <a:lnTo>
                    <a:pt x="609" y="592"/>
                  </a:lnTo>
                  <a:lnTo>
                    <a:pt x="607" y="594"/>
                  </a:lnTo>
                  <a:lnTo>
                    <a:pt x="607" y="598"/>
                  </a:lnTo>
                  <a:lnTo>
                    <a:pt x="605" y="604"/>
                  </a:lnTo>
                  <a:lnTo>
                    <a:pt x="604" y="610"/>
                  </a:lnTo>
                  <a:lnTo>
                    <a:pt x="604" y="615"/>
                  </a:lnTo>
                  <a:lnTo>
                    <a:pt x="606" y="618"/>
                  </a:lnTo>
                  <a:lnTo>
                    <a:pt x="618" y="622"/>
                  </a:lnTo>
                  <a:lnTo>
                    <a:pt x="621" y="625"/>
                  </a:lnTo>
                  <a:lnTo>
                    <a:pt x="622" y="628"/>
                  </a:lnTo>
                  <a:lnTo>
                    <a:pt x="621" y="630"/>
                  </a:lnTo>
                  <a:lnTo>
                    <a:pt x="617" y="636"/>
                  </a:lnTo>
                  <a:lnTo>
                    <a:pt x="613" y="643"/>
                  </a:lnTo>
                  <a:lnTo>
                    <a:pt x="609" y="653"/>
                  </a:lnTo>
                  <a:lnTo>
                    <a:pt x="609" y="663"/>
                  </a:lnTo>
                  <a:lnTo>
                    <a:pt x="612" y="671"/>
                  </a:lnTo>
                  <a:lnTo>
                    <a:pt x="614" y="677"/>
                  </a:lnTo>
                  <a:lnTo>
                    <a:pt x="615" y="681"/>
                  </a:lnTo>
                  <a:lnTo>
                    <a:pt x="611" y="685"/>
                  </a:lnTo>
                  <a:lnTo>
                    <a:pt x="604" y="689"/>
                  </a:lnTo>
                  <a:lnTo>
                    <a:pt x="596" y="693"/>
                  </a:lnTo>
                  <a:lnTo>
                    <a:pt x="590" y="699"/>
                  </a:lnTo>
                  <a:lnTo>
                    <a:pt x="587" y="707"/>
                  </a:lnTo>
                  <a:lnTo>
                    <a:pt x="586" y="718"/>
                  </a:lnTo>
                  <a:lnTo>
                    <a:pt x="585" y="732"/>
                  </a:lnTo>
                  <a:lnTo>
                    <a:pt x="584" y="744"/>
                  </a:lnTo>
                  <a:lnTo>
                    <a:pt x="583" y="753"/>
                  </a:lnTo>
                  <a:lnTo>
                    <a:pt x="579" y="760"/>
                  </a:lnTo>
                  <a:lnTo>
                    <a:pt x="574" y="769"/>
                  </a:lnTo>
                  <a:lnTo>
                    <a:pt x="568" y="778"/>
                  </a:lnTo>
                  <a:lnTo>
                    <a:pt x="565" y="786"/>
                  </a:lnTo>
                  <a:lnTo>
                    <a:pt x="564" y="791"/>
                  </a:lnTo>
                  <a:lnTo>
                    <a:pt x="561" y="796"/>
                  </a:lnTo>
                  <a:lnTo>
                    <a:pt x="558" y="802"/>
                  </a:lnTo>
                  <a:lnTo>
                    <a:pt x="551" y="807"/>
                  </a:lnTo>
                  <a:lnTo>
                    <a:pt x="541" y="811"/>
                  </a:lnTo>
                  <a:lnTo>
                    <a:pt x="527" y="814"/>
                  </a:lnTo>
                  <a:lnTo>
                    <a:pt x="518" y="809"/>
                  </a:lnTo>
                  <a:lnTo>
                    <a:pt x="507" y="803"/>
                  </a:lnTo>
                  <a:lnTo>
                    <a:pt x="499" y="797"/>
                  </a:lnTo>
                  <a:lnTo>
                    <a:pt x="493" y="791"/>
                  </a:lnTo>
                  <a:lnTo>
                    <a:pt x="486" y="785"/>
                  </a:lnTo>
                  <a:lnTo>
                    <a:pt x="478" y="780"/>
                  </a:lnTo>
                  <a:lnTo>
                    <a:pt x="470" y="778"/>
                  </a:lnTo>
                  <a:lnTo>
                    <a:pt x="463" y="780"/>
                  </a:lnTo>
                  <a:lnTo>
                    <a:pt x="458" y="782"/>
                  </a:lnTo>
                  <a:lnTo>
                    <a:pt x="455" y="781"/>
                  </a:lnTo>
                  <a:lnTo>
                    <a:pt x="451" y="779"/>
                  </a:lnTo>
                  <a:lnTo>
                    <a:pt x="447" y="775"/>
                  </a:lnTo>
                  <a:lnTo>
                    <a:pt x="441" y="773"/>
                  </a:lnTo>
                  <a:lnTo>
                    <a:pt x="431" y="771"/>
                  </a:lnTo>
                  <a:lnTo>
                    <a:pt x="419" y="769"/>
                  </a:lnTo>
                  <a:lnTo>
                    <a:pt x="411" y="769"/>
                  </a:lnTo>
                  <a:lnTo>
                    <a:pt x="405" y="770"/>
                  </a:lnTo>
                  <a:lnTo>
                    <a:pt x="400" y="772"/>
                  </a:lnTo>
                  <a:lnTo>
                    <a:pt x="394" y="774"/>
                  </a:lnTo>
                  <a:lnTo>
                    <a:pt x="389" y="774"/>
                  </a:lnTo>
                  <a:lnTo>
                    <a:pt x="386" y="772"/>
                  </a:lnTo>
                  <a:lnTo>
                    <a:pt x="384" y="769"/>
                  </a:lnTo>
                  <a:lnTo>
                    <a:pt x="383" y="766"/>
                  </a:lnTo>
                  <a:lnTo>
                    <a:pt x="381" y="764"/>
                  </a:lnTo>
                  <a:lnTo>
                    <a:pt x="378" y="764"/>
                  </a:lnTo>
                  <a:lnTo>
                    <a:pt x="372" y="763"/>
                  </a:lnTo>
                  <a:lnTo>
                    <a:pt x="366" y="758"/>
                  </a:lnTo>
                  <a:lnTo>
                    <a:pt x="358" y="750"/>
                  </a:lnTo>
                  <a:lnTo>
                    <a:pt x="351" y="741"/>
                  </a:lnTo>
                  <a:lnTo>
                    <a:pt x="347" y="734"/>
                  </a:lnTo>
                  <a:lnTo>
                    <a:pt x="347" y="724"/>
                  </a:lnTo>
                  <a:lnTo>
                    <a:pt x="343" y="722"/>
                  </a:lnTo>
                  <a:lnTo>
                    <a:pt x="337" y="720"/>
                  </a:lnTo>
                  <a:lnTo>
                    <a:pt x="330" y="716"/>
                  </a:lnTo>
                  <a:lnTo>
                    <a:pt x="323" y="715"/>
                  </a:lnTo>
                  <a:lnTo>
                    <a:pt x="318" y="717"/>
                  </a:lnTo>
                  <a:lnTo>
                    <a:pt x="314" y="721"/>
                  </a:lnTo>
                  <a:lnTo>
                    <a:pt x="311" y="726"/>
                  </a:lnTo>
                  <a:lnTo>
                    <a:pt x="311" y="727"/>
                  </a:lnTo>
                  <a:lnTo>
                    <a:pt x="310" y="727"/>
                  </a:lnTo>
                  <a:lnTo>
                    <a:pt x="310" y="728"/>
                  </a:lnTo>
                  <a:lnTo>
                    <a:pt x="301" y="719"/>
                  </a:lnTo>
                  <a:lnTo>
                    <a:pt x="294" y="711"/>
                  </a:lnTo>
                  <a:lnTo>
                    <a:pt x="290" y="703"/>
                  </a:lnTo>
                  <a:lnTo>
                    <a:pt x="292" y="696"/>
                  </a:lnTo>
                  <a:lnTo>
                    <a:pt x="299" y="688"/>
                  </a:lnTo>
                  <a:lnTo>
                    <a:pt x="304" y="681"/>
                  </a:lnTo>
                  <a:lnTo>
                    <a:pt x="308" y="675"/>
                  </a:lnTo>
                  <a:lnTo>
                    <a:pt x="309" y="668"/>
                  </a:lnTo>
                  <a:lnTo>
                    <a:pt x="310" y="664"/>
                  </a:lnTo>
                  <a:lnTo>
                    <a:pt x="314" y="660"/>
                  </a:lnTo>
                  <a:lnTo>
                    <a:pt x="318" y="657"/>
                  </a:lnTo>
                  <a:lnTo>
                    <a:pt x="322" y="653"/>
                  </a:lnTo>
                  <a:lnTo>
                    <a:pt x="324" y="649"/>
                  </a:lnTo>
                  <a:lnTo>
                    <a:pt x="323" y="643"/>
                  </a:lnTo>
                  <a:lnTo>
                    <a:pt x="319" y="638"/>
                  </a:lnTo>
                  <a:lnTo>
                    <a:pt x="314" y="635"/>
                  </a:lnTo>
                  <a:lnTo>
                    <a:pt x="309" y="633"/>
                  </a:lnTo>
                  <a:lnTo>
                    <a:pt x="304" y="630"/>
                  </a:lnTo>
                  <a:lnTo>
                    <a:pt x="299" y="626"/>
                  </a:lnTo>
                  <a:lnTo>
                    <a:pt x="295" y="620"/>
                  </a:lnTo>
                  <a:lnTo>
                    <a:pt x="288" y="613"/>
                  </a:lnTo>
                  <a:lnTo>
                    <a:pt x="288" y="609"/>
                  </a:lnTo>
                  <a:lnTo>
                    <a:pt x="291" y="605"/>
                  </a:lnTo>
                  <a:lnTo>
                    <a:pt x="300" y="597"/>
                  </a:lnTo>
                  <a:lnTo>
                    <a:pt x="306" y="590"/>
                  </a:lnTo>
                  <a:lnTo>
                    <a:pt x="308" y="584"/>
                  </a:lnTo>
                  <a:lnTo>
                    <a:pt x="307" y="580"/>
                  </a:lnTo>
                  <a:lnTo>
                    <a:pt x="304" y="573"/>
                  </a:lnTo>
                  <a:lnTo>
                    <a:pt x="301" y="565"/>
                  </a:lnTo>
                  <a:lnTo>
                    <a:pt x="297" y="558"/>
                  </a:lnTo>
                  <a:lnTo>
                    <a:pt x="293" y="552"/>
                  </a:lnTo>
                  <a:lnTo>
                    <a:pt x="291" y="551"/>
                  </a:lnTo>
                  <a:lnTo>
                    <a:pt x="289" y="553"/>
                  </a:lnTo>
                  <a:lnTo>
                    <a:pt x="283" y="557"/>
                  </a:lnTo>
                  <a:lnTo>
                    <a:pt x="278" y="557"/>
                  </a:lnTo>
                  <a:lnTo>
                    <a:pt x="273" y="555"/>
                  </a:lnTo>
                  <a:lnTo>
                    <a:pt x="266" y="550"/>
                  </a:lnTo>
                  <a:lnTo>
                    <a:pt x="257" y="547"/>
                  </a:lnTo>
                  <a:lnTo>
                    <a:pt x="247" y="542"/>
                  </a:lnTo>
                  <a:lnTo>
                    <a:pt x="238" y="536"/>
                  </a:lnTo>
                  <a:lnTo>
                    <a:pt x="231" y="532"/>
                  </a:lnTo>
                  <a:lnTo>
                    <a:pt x="225" y="532"/>
                  </a:lnTo>
                  <a:lnTo>
                    <a:pt x="218" y="531"/>
                  </a:lnTo>
                  <a:lnTo>
                    <a:pt x="212" y="528"/>
                  </a:lnTo>
                  <a:lnTo>
                    <a:pt x="207" y="527"/>
                  </a:lnTo>
                  <a:lnTo>
                    <a:pt x="199" y="529"/>
                  </a:lnTo>
                  <a:lnTo>
                    <a:pt x="189" y="532"/>
                  </a:lnTo>
                  <a:lnTo>
                    <a:pt x="177" y="537"/>
                  </a:lnTo>
                  <a:lnTo>
                    <a:pt x="165" y="543"/>
                  </a:lnTo>
                  <a:lnTo>
                    <a:pt x="154" y="548"/>
                  </a:lnTo>
                  <a:lnTo>
                    <a:pt x="145" y="553"/>
                  </a:lnTo>
                  <a:lnTo>
                    <a:pt x="136" y="557"/>
                  </a:lnTo>
                  <a:lnTo>
                    <a:pt x="131" y="558"/>
                  </a:lnTo>
                  <a:lnTo>
                    <a:pt x="123" y="559"/>
                  </a:lnTo>
                  <a:lnTo>
                    <a:pt x="110" y="560"/>
                  </a:lnTo>
                  <a:lnTo>
                    <a:pt x="93" y="562"/>
                  </a:lnTo>
                  <a:lnTo>
                    <a:pt x="72" y="563"/>
                  </a:lnTo>
                  <a:lnTo>
                    <a:pt x="49" y="562"/>
                  </a:lnTo>
                  <a:lnTo>
                    <a:pt x="51" y="554"/>
                  </a:lnTo>
                  <a:lnTo>
                    <a:pt x="52" y="545"/>
                  </a:lnTo>
                  <a:lnTo>
                    <a:pt x="54" y="536"/>
                  </a:lnTo>
                  <a:lnTo>
                    <a:pt x="59" y="528"/>
                  </a:lnTo>
                  <a:lnTo>
                    <a:pt x="66" y="518"/>
                  </a:lnTo>
                  <a:lnTo>
                    <a:pt x="69" y="509"/>
                  </a:lnTo>
                  <a:lnTo>
                    <a:pt x="70" y="503"/>
                  </a:lnTo>
                  <a:lnTo>
                    <a:pt x="72" y="500"/>
                  </a:lnTo>
                  <a:lnTo>
                    <a:pt x="78" y="497"/>
                  </a:lnTo>
                  <a:lnTo>
                    <a:pt x="92" y="493"/>
                  </a:lnTo>
                  <a:lnTo>
                    <a:pt x="95" y="491"/>
                  </a:lnTo>
                  <a:lnTo>
                    <a:pt x="95" y="482"/>
                  </a:lnTo>
                  <a:lnTo>
                    <a:pt x="94" y="478"/>
                  </a:lnTo>
                  <a:lnTo>
                    <a:pt x="95" y="473"/>
                  </a:lnTo>
                  <a:lnTo>
                    <a:pt x="97" y="467"/>
                  </a:lnTo>
                  <a:lnTo>
                    <a:pt x="96" y="460"/>
                  </a:lnTo>
                  <a:lnTo>
                    <a:pt x="96" y="453"/>
                  </a:lnTo>
                  <a:lnTo>
                    <a:pt x="97" y="448"/>
                  </a:lnTo>
                  <a:lnTo>
                    <a:pt x="96" y="445"/>
                  </a:lnTo>
                  <a:lnTo>
                    <a:pt x="91" y="444"/>
                  </a:lnTo>
                  <a:lnTo>
                    <a:pt x="85" y="444"/>
                  </a:lnTo>
                  <a:lnTo>
                    <a:pt x="81" y="446"/>
                  </a:lnTo>
                  <a:lnTo>
                    <a:pt x="78" y="447"/>
                  </a:lnTo>
                  <a:lnTo>
                    <a:pt x="73" y="444"/>
                  </a:lnTo>
                  <a:lnTo>
                    <a:pt x="68" y="438"/>
                  </a:lnTo>
                  <a:lnTo>
                    <a:pt x="63" y="431"/>
                  </a:lnTo>
                  <a:lnTo>
                    <a:pt x="60" y="428"/>
                  </a:lnTo>
                  <a:lnTo>
                    <a:pt x="57" y="428"/>
                  </a:lnTo>
                  <a:lnTo>
                    <a:pt x="54" y="429"/>
                  </a:lnTo>
                  <a:lnTo>
                    <a:pt x="51" y="429"/>
                  </a:lnTo>
                  <a:lnTo>
                    <a:pt x="47" y="426"/>
                  </a:lnTo>
                  <a:lnTo>
                    <a:pt x="40" y="418"/>
                  </a:lnTo>
                  <a:lnTo>
                    <a:pt x="34" y="411"/>
                  </a:lnTo>
                  <a:lnTo>
                    <a:pt x="27" y="402"/>
                  </a:lnTo>
                  <a:lnTo>
                    <a:pt x="23" y="395"/>
                  </a:lnTo>
                  <a:lnTo>
                    <a:pt x="22" y="389"/>
                  </a:lnTo>
                  <a:lnTo>
                    <a:pt x="20" y="384"/>
                  </a:lnTo>
                  <a:lnTo>
                    <a:pt x="16" y="382"/>
                  </a:lnTo>
                  <a:lnTo>
                    <a:pt x="12" y="379"/>
                  </a:lnTo>
                  <a:lnTo>
                    <a:pt x="8" y="372"/>
                  </a:lnTo>
                  <a:lnTo>
                    <a:pt x="4" y="363"/>
                  </a:lnTo>
                  <a:lnTo>
                    <a:pt x="1" y="353"/>
                  </a:lnTo>
                  <a:lnTo>
                    <a:pt x="0" y="345"/>
                  </a:lnTo>
                  <a:lnTo>
                    <a:pt x="0" y="336"/>
                  </a:lnTo>
                  <a:lnTo>
                    <a:pt x="1" y="325"/>
                  </a:lnTo>
                  <a:lnTo>
                    <a:pt x="3" y="314"/>
                  </a:lnTo>
                  <a:lnTo>
                    <a:pt x="4" y="306"/>
                  </a:lnTo>
                  <a:lnTo>
                    <a:pt x="4" y="299"/>
                  </a:lnTo>
                  <a:lnTo>
                    <a:pt x="8" y="295"/>
                  </a:lnTo>
                  <a:lnTo>
                    <a:pt x="11" y="293"/>
                  </a:lnTo>
                  <a:lnTo>
                    <a:pt x="14" y="290"/>
                  </a:lnTo>
                  <a:lnTo>
                    <a:pt x="19" y="287"/>
                  </a:lnTo>
                  <a:lnTo>
                    <a:pt x="22" y="284"/>
                  </a:lnTo>
                  <a:lnTo>
                    <a:pt x="22" y="281"/>
                  </a:lnTo>
                  <a:lnTo>
                    <a:pt x="19" y="279"/>
                  </a:lnTo>
                  <a:lnTo>
                    <a:pt x="16" y="276"/>
                  </a:lnTo>
                  <a:lnTo>
                    <a:pt x="15" y="271"/>
                  </a:lnTo>
                  <a:lnTo>
                    <a:pt x="18" y="266"/>
                  </a:lnTo>
                  <a:lnTo>
                    <a:pt x="23" y="262"/>
                  </a:lnTo>
                  <a:lnTo>
                    <a:pt x="31" y="258"/>
                  </a:lnTo>
                  <a:lnTo>
                    <a:pt x="39" y="256"/>
                  </a:lnTo>
                  <a:lnTo>
                    <a:pt x="45" y="254"/>
                  </a:lnTo>
                  <a:lnTo>
                    <a:pt x="49" y="251"/>
                  </a:lnTo>
                  <a:lnTo>
                    <a:pt x="52" y="245"/>
                  </a:lnTo>
                  <a:lnTo>
                    <a:pt x="55" y="238"/>
                  </a:lnTo>
                  <a:lnTo>
                    <a:pt x="59" y="233"/>
                  </a:lnTo>
                  <a:lnTo>
                    <a:pt x="61" y="231"/>
                  </a:lnTo>
                  <a:lnTo>
                    <a:pt x="64" y="231"/>
                  </a:lnTo>
                  <a:lnTo>
                    <a:pt x="65" y="232"/>
                  </a:lnTo>
                  <a:lnTo>
                    <a:pt x="65" y="233"/>
                  </a:lnTo>
                  <a:lnTo>
                    <a:pt x="66" y="235"/>
                  </a:lnTo>
                  <a:lnTo>
                    <a:pt x="67" y="236"/>
                  </a:lnTo>
                  <a:lnTo>
                    <a:pt x="73" y="239"/>
                  </a:lnTo>
                  <a:lnTo>
                    <a:pt x="82" y="230"/>
                  </a:lnTo>
                  <a:lnTo>
                    <a:pt x="82" y="227"/>
                  </a:lnTo>
                  <a:lnTo>
                    <a:pt x="76" y="222"/>
                  </a:lnTo>
                  <a:lnTo>
                    <a:pt x="78" y="216"/>
                  </a:lnTo>
                  <a:lnTo>
                    <a:pt x="78" y="214"/>
                  </a:lnTo>
                  <a:lnTo>
                    <a:pt x="80" y="212"/>
                  </a:lnTo>
                  <a:lnTo>
                    <a:pt x="82" y="212"/>
                  </a:lnTo>
                  <a:lnTo>
                    <a:pt x="86" y="215"/>
                  </a:lnTo>
                  <a:lnTo>
                    <a:pt x="94" y="227"/>
                  </a:lnTo>
                  <a:lnTo>
                    <a:pt x="98" y="230"/>
                  </a:lnTo>
                  <a:lnTo>
                    <a:pt x="103" y="230"/>
                  </a:lnTo>
                  <a:lnTo>
                    <a:pt x="109" y="227"/>
                  </a:lnTo>
                  <a:lnTo>
                    <a:pt x="114" y="222"/>
                  </a:lnTo>
                  <a:lnTo>
                    <a:pt x="120" y="218"/>
                  </a:lnTo>
                  <a:lnTo>
                    <a:pt x="126" y="216"/>
                  </a:lnTo>
                  <a:lnTo>
                    <a:pt x="131" y="217"/>
                  </a:lnTo>
                  <a:lnTo>
                    <a:pt x="134" y="219"/>
                  </a:lnTo>
                  <a:lnTo>
                    <a:pt x="136" y="222"/>
                  </a:lnTo>
                  <a:lnTo>
                    <a:pt x="138" y="224"/>
                  </a:lnTo>
                  <a:lnTo>
                    <a:pt x="139" y="226"/>
                  </a:lnTo>
                  <a:lnTo>
                    <a:pt x="141" y="227"/>
                  </a:lnTo>
                  <a:lnTo>
                    <a:pt x="142" y="227"/>
                  </a:lnTo>
                  <a:lnTo>
                    <a:pt x="146" y="226"/>
                  </a:lnTo>
                  <a:lnTo>
                    <a:pt x="149" y="225"/>
                  </a:lnTo>
                  <a:lnTo>
                    <a:pt x="153" y="227"/>
                  </a:lnTo>
                  <a:lnTo>
                    <a:pt x="158" y="230"/>
                  </a:lnTo>
                  <a:lnTo>
                    <a:pt x="163" y="232"/>
                  </a:lnTo>
                  <a:lnTo>
                    <a:pt x="169" y="232"/>
                  </a:lnTo>
                  <a:lnTo>
                    <a:pt x="175" y="230"/>
                  </a:lnTo>
                  <a:lnTo>
                    <a:pt x="180" y="230"/>
                  </a:lnTo>
                  <a:lnTo>
                    <a:pt x="181" y="229"/>
                  </a:lnTo>
                  <a:lnTo>
                    <a:pt x="182" y="229"/>
                  </a:lnTo>
                  <a:lnTo>
                    <a:pt x="182" y="222"/>
                  </a:lnTo>
                  <a:lnTo>
                    <a:pt x="180" y="212"/>
                  </a:lnTo>
                  <a:lnTo>
                    <a:pt x="177" y="203"/>
                  </a:lnTo>
                  <a:lnTo>
                    <a:pt x="175" y="196"/>
                  </a:lnTo>
                  <a:lnTo>
                    <a:pt x="175" y="190"/>
                  </a:lnTo>
                  <a:lnTo>
                    <a:pt x="177" y="185"/>
                  </a:lnTo>
                  <a:lnTo>
                    <a:pt x="179" y="179"/>
                  </a:lnTo>
                  <a:lnTo>
                    <a:pt x="182" y="176"/>
                  </a:lnTo>
                  <a:lnTo>
                    <a:pt x="186" y="174"/>
                  </a:lnTo>
                  <a:lnTo>
                    <a:pt x="190" y="175"/>
                  </a:lnTo>
                  <a:lnTo>
                    <a:pt x="195" y="178"/>
                  </a:lnTo>
                  <a:lnTo>
                    <a:pt x="201" y="181"/>
                  </a:lnTo>
                  <a:lnTo>
                    <a:pt x="207" y="183"/>
                  </a:lnTo>
                  <a:lnTo>
                    <a:pt x="211" y="184"/>
                  </a:lnTo>
                  <a:lnTo>
                    <a:pt x="214" y="182"/>
                  </a:lnTo>
                  <a:lnTo>
                    <a:pt x="215" y="176"/>
                  </a:lnTo>
                  <a:lnTo>
                    <a:pt x="215" y="156"/>
                  </a:lnTo>
                  <a:lnTo>
                    <a:pt x="217" y="152"/>
                  </a:lnTo>
                  <a:lnTo>
                    <a:pt x="224" y="150"/>
                  </a:lnTo>
                  <a:lnTo>
                    <a:pt x="233" y="147"/>
                  </a:lnTo>
                  <a:lnTo>
                    <a:pt x="243" y="143"/>
                  </a:lnTo>
                  <a:lnTo>
                    <a:pt x="250" y="137"/>
                  </a:lnTo>
                  <a:lnTo>
                    <a:pt x="254" y="134"/>
                  </a:lnTo>
                  <a:lnTo>
                    <a:pt x="258" y="135"/>
                  </a:lnTo>
                  <a:lnTo>
                    <a:pt x="262" y="137"/>
                  </a:lnTo>
                  <a:lnTo>
                    <a:pt x="268" y="138"/>
                  </a:lnTo>
                  <a:lnTo>
                    <a:pt x="273" y="136"/>
                  </a:lnTo>
                  <a:lnTo>
                    <a:pt x="280" y="131"/>
                  </a:lnTo>
                  <a:lnTo>
                    <a:pt x="284" y="125"/>
                  </a:lnTo>
                  <a:lnTo>
                    <a:pt x="288" y="121"/>
                  </a:lnTo>
                  <a:lnTo>
                    <a:pt x="293" y="118"/>
                  </a:lnTo>
                  <a:lnTo>
                    <a:pt x="299" y="119"/>
                  </a:lnTo>
                  <a:lnTo>
                    <a:pt x="308" y="121"/>
                  </a:lnTo>
                  <a:lnTo>
                    <a:pt x="318" y="122"/>
                  </a:lnTo>
                  <a:lnTo>
                    <a:pt x="327" y="121"/>
                  </a:lnTo>
                  <a:lnTo>
                    <a:pt x="334" y="117"/>
                  </a:lnTo>
                  <a:lnTo>
                    <a:pt x="337" y="113"/>
                  </a:lnTo>
                  <a:lnTo>
                    <a:pt x="338" y="108"/>
                  </a:lnTo>
                  <a:lnTo>
                    <a:pt x="339" y="102"/>
                  </a:lnTo>
                  <a:lnTo>
                    <a:pt x="341" y="96"/>
                  </a:lnTo>
                  <a:lnTo>
                    <a:pt x="345" y="91"/>
                  </a:lnTo>
                  <a:lnTo>
                    <a:pt x="352" y="89"/>
                  </a:lnTo>
                  <a:lnTo>
                    <a:pt x="362" y="89"/>
                  </a:lnTo>
                  <a:lnTo>
                    <a:pt x="375" y="86"/>
                  </a:lnTo>
                  <a:lnTo>
                    <a:pt x="402" y="76"/>
                  </a:lnTo>
                  <a:lnTo>
                    <a:pt x="414" y="71"/>
                  </a:lnTo>
                  <a:lnTo>
                    <a:pt x="422" y="66"/>
                  </a:lnTo>
                  <a:lnTo>
                    <a:pt x="425" y="61"/>
                  </a:lnTo>
                  <a:lnTo>
                    <a:pt x="424" y="56"/>
                  </a:lnTo>
                  <a:lnTo>
                    <a:pt x="421" y="53"/>
                  </a:lnTo>
                  <a:lnTo>
                    <a:pt x="420" y="50"/>
                  </a:lnTo>
                  <a:lnTo>
                    <a:pt x="420" y="47"/>
                  </a:lnTo>
                  <a:lnTo>
                    <a:pt x="424" y="44"/>
                  </a:lnTo>
                  <a:lnTo>
                    <a:pt x="432" y="41"/>
                  </a:lnTo>
                  <a:lnTo>
                    <a:pt x="439" y="38"/>
                  </a:lnTo>
                  <a:lnTo>
                    <a:pt x="443" y="36"/>
                  </a:lnTo>
                  <a:lnTo>
                    <a:pt x="445" y="32"/>
                  </a:lnTo>
                  <a:lnTo>
                    <a:pt x="445" y="28"/>
                  </a:lnTo>
                  <a:lnTo>
                    <a:pt x="444" y="21"/>
                  </a:lnTo>
                  <a:lnTo>
                    <a:pt x="444" y="7"/>
                  </a:lnTo>
                  <a:lnTo>
                    <a:pt x="446" y="2"/>
                  </a:lnTo>
                  <a:lnTo>
                    <a:pt x="449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5">
              <a:extLst>
                <a:ext uri="{FF2B5EF4-FFF2-40B4-BE49-F238E27FC236}">
                  <a16:creationId xmlns:a16="http://schemas.microsoft.com/office/drawing/2014/main" id="{29B7C74E-BB1F-4687-9270-75E36A11177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9276" y="4757738"/>
              <a:ext cx="438150" cy="342900"/>
            </a:xfrm>
            <a:custGeom>
              <a:avLst/>
              <a:gdLst/>
              <a:ahLst/>
              <a:cxnLst>
                <a:cxn ang="0">
                  <a:pos x="170" y="4"/>
                </a:cxn>
                <a:cxn ang="0">
                  <a:pos x="190" y="9"/>
                </a:cxn>
                <a:cxn ang="0">
                  <a:pos x="218" y="23"/>
                </a:cxn>
                <a:cxn ang="0">
                  <a:pos x="235" y="30"/>
                </a:cxn>
                <a:cxn ang="0">
                  <a:pos x="245" y="25"/>
                </a:cxn>
                <a:cxn ang="0">
                  <a:pos x="256" y="46"/>
                </a:cxn>
                <a:cxn ang="0">
                  <a:pos x="258" y="63"/>
                </a:cxn>
                <a:cxn ang="0">
                  <a:pos x="240" y="82"/>
                </a:cxn>
                <a:cxn ang="0">
                  <a:pos x="251" y="99"/>
                </a:cxn>
                <a:cxn ang="0">
                  <a:pos x="266" y="108"/>
                </a:cxn>
                <a:cxn ang="0">
                  <a:pos x="276" y="122"/>
                </a:cxn>
                <a:cxn ang="0">
                  <a:pos x="266" y="133"/>
                </a:cxn>
                <a:cxn ang="0">
                  <a:pos x="260" y="148"/>
                </a:cxn>
                <a:cxn ang="0">
                  <a:pos x="244" y="169"/>
                </a:cxn>
                <a:cxn ang="0">
                  <a:pos x="253" y="192"/>
                </a:cxn>
                <a:cxn ang="0">
                  <a:pos x="247" y="211"/>
                </a:cxn>
                <a:cxn ang="0">
                  <a:pos x="231" y="214"/>
                </a:cxn>
                <a:cxn ang="0">
                  <a:pos x="214" y="213"/>
                </a:cxn>
                <a:cxn ang="0">
                  <a:pos x="204" y="212"/>
                </a:cxn>
                <a:cxn ang="0">
                  <a:pos x="198" y="202"/>
                </a:cxn>
                <a:cxn ang="0">
                  <a:pos x="191" y="202"/>
                </a:cxn>
                <a:cxn ang="0">
                  <a:pos x="188" y="209"/>
                </a:cxn>
                <a:cxn ang="0">
                  <a:pos x="184" y="216"/>
                </a:cxn>
                <a:cxn ang="0">
                  <a:pos x="177" y="201"/>
                </a:cxn>
                <a:cxn ang="0">
                  <a:pos x="172" y="179"/>
                </a:cxn>
                <a:cxn ang="0">
                  <a:pos x="149" y="172"/>
                </a:cxn>
                <a:cxn ang="0">
                  <a:pos x="138" y="169"/>
                </a:cxn>
                <a:cxn ang="0">
                  <a:pos x="129" y="170"/>
                </a:cxn>
                <a:cxn ang="0">
                  <a:pos x="132" y="187"/>
                </a:cxn>
                <a:cxn ang="0">
                  <a:pos x="99" y="187"/>
                </a:cxn>
                <a:cxn ang="0">
                  <a:pos x="97" y="172"/>
                </a:cxn>
                <a:cxn ang="0">
                  <a:pos x="86" y="161"/>
                </a:cxn>
                <a:cxn ang="0">
                  <a:pos x="79" y="141"/>
                </a:cxn>
                <a:cxn ang="0">
                  <a:pos x="59" y="116"/>
                </a:cxn>
                <a:cxn ang="0">
                  <a:pos x="60" y="99"/>
                </a:cxn>
                <a:cxn ang="0">
                  <a:pos x="48" y="86"/>
                </a:cxn>
                <a:cxn ang="0">
                  <a:pos x="38" y="70"/>
                </a:cxn>
                <a:cxn ang="0">
                  <a:pos x="16" y="59"/>
                </a:cxn>
                <a:cxn ang="0">
                  <a:pos x="2" y="55"/>
                </a:cxn>
                <a:cxn ang="0">
                  <a:pos x="1" y="35"/>
                </a:cxn>
                <a:cxn ang="0">
                  <a:pos x="62" y="33"/>
                </a:cxn>
                <a:cxn ang="0">
                  <a:pos x="88" y="30"/>
                </a:cxn>
                <a:cxn ang="0">
                  <a:pos x="117" y="16"/>
                </a:cxn>
                <a:cxn ang="0">
                  <a:pos x="151" y="2"/>
                </a:cxn>
              </a:cxnLst>
              <a:rect l="0" t="0" r="r" b="b"/>
              <a:pathLst>
                <a:path w="276" h="216">
                  <a:moveTo>
                    <a:pt x="159" y="0"/>
                  </a:moveTo>
                  <a:lnTo>
                    <a:pt x="164" y="1"/>
                  </a:lnTo>
                  <a:lnTo>
                    <a:pt x="170" y="4"/>
                  </a:lnTo>
                  <a:lnTo>
                    <a:pt x="177" y="5"/>
                  </a:lnTo>
                  <a:lnTo>
                    <a:pt x="183" y="5"/>
                  </a:lnTo>
                  <a:lnTo>
                    <a:pt x="190" y="9"/>
                  </a:lnTo>
                  <a:lnTo>
                    <a:pt x="199" y="15"/>
                  </a:lnTo>
                  <a:lnTo>
                    <a:pt x="209" y="20"/>
                  </a:lnTo>
                  <a:lnTo>
                    <a:pt x="218" y="23"/>
                  </a:lnTo>
                  <a:lnTo>
                    <a:pt x="225" y="28"/>
                  </a:lnTo>
                  <a:lnTo>
                    <a:pt x="230" y="30"/>
                  </a:lnTo>
                  <a:lnTo>
                    <a:pt x="235" y="30"/>
                  </a:lnTo>
                  <a:lnTo>
                    <a:pt x="241" y="26"/>
                  </a:lnTo>
                  <a:lnTo>
                    <a:pt x="243" y="24"/>
                  </a:lnTo>
                  <a:lnTo>
                    <a:pt x="245" y="25"/>
                  </a:lnTo>
                  <a:lnTo>
                    <a:pt x="249" y="31"/>
                  </a:lnTo>
                  <a:lnTo>
                    <a:pt x="253" y="38"/>
                  </a:lnTo>
                  <a:lnTo>
                    <a:pt x="256" y="46"/>
                  </a:lnTo>
                  <a:lnTo>
                    <a:pt x="259" y="53"/>
                  </a:lnTo>
                  <a:lnTo>
                    <a:pt x="260" y="57"/>
                  </a:lnTo>
                  <a:lnTo>
                    <a:pt x="258" y="63"/>
                  </a:lnTo>
                  <a:lnTo>
                    <a:pt x="252" y="70"/>
                  </a:lnTo>
                  <a:lnTo>
                    <a:pt x="243" y="78"/>
                  </a:lnTo>
                  <a:lnTo>
                    <a:pt x="240" y="82"/>
                  </a:lnTo>
                  <a:lnTo>
                    <a:pt x="240" y="86"/>
                  </a:lnTo>
                  <a:lnTo>
                    <a:pt x="247" y="93"/>
                  </a:lnTo>
                  <a:lnTo>
                    <a:pt x="251" y="99"/>
                  </a:lnTo>
                  <a:lnTo>
                    <a:pt x="256" y="103"/>
                  </a:lnTo>
                  <a:lnTo>
                    <a:pt x="261" y="106"/>
                  </a:lnTo>
                  <a:lnTo>
                    <a:pt x="266" y="108"/>
                  </a:lnTo>
                  <a:lnTo>
                    <a:pt x="271" y="111"/>
                  </a:lnTo>
                  <a:lnTo>
                    <a:pt x="275" y="116"/>
                  </a:lnTo>
                  <a:lnTo>
                    <a:pt x="276" y="122"/>
                  </a:lnTo>
                  <a:lnTo>
                    <a:pt x="274" y="126"/>
                  </a:lnTo>
                  <a:lnTo>
                    <a:pt x="270" y="130"/>
                  </a:lnTo>
                  <a:lnTo>
                    <a:pt x="266" y="133"/>
                  </a:lnTo>
                  <a:lnTo>
                    <a:pt x="262" y="137"/>
                  </a:lnTo>
                  <a:lnTo>
                    <a:pt x="261" y="141"/>
                  </a:lnTo>
                  <a:lnTo>
                    <a:pt x="260" y="148"/>
                  </a:lnTo>
                  <a:lnTo>
                    <a:pt x="256" y="154"/>
                  </a:lnTo>
                  <a:lnTo>
                    <a:pt x="251" y="161"/>
                  </a:lnTo>
                  <a:lnTo>
                    <a:pt x="244" y="169"/>
                  </a:lnTo>
                  <a:lnTo>
                    <a:pt x="242" y="176"/>
                  </a:lnTo>
                  <a:lnTo>
                    <a:pt x="246" y="184"/>
                  </a:lnTo>
                  <a:lnTo>
                    <a:pt x="253" y="192"/>
                  </a:lnTo>
                  <a:lnTo>
                    <a:pt x="262" y="201"/>
                  </a:lnTo>
                  <a:lnTo>
                    <a:pt x="256" y="206"/>
                  </a:lnTo>
                  <a:lnTo>
                    <a:pt x="247" y="211"/>
                  </a:lnTo>
                  <a:lnTo>
                    <a:pt x="239" y="214"/>
                  </a:lnTo>
                  <a:lnTo>
                    <a:pt x="235" y="215"/>
                  </a:lnTo>
                  <a:lnTo>
                    <a:pt x="231" y="214"/>
                  </a:lnTo>
                  <a:lnTo>
                    <a:pt x="227" y="212"/>
                  </a:lnTo>
                  <a:lnTo>
                    <a:pt x="222" y="212"/>
                  </a:lnTo>
                  <a:lnTo>
                    <a:pt x="214" y="213"/>
                  </a:lnTo>
                  <a:lnTo>
                    <a:pt x="208" y="214"/>
                  </a:lnTo>
                  <a:lnTo>
                    <a:pt x="205" y="213"/>
                  </a:lnTo>
                  <a:lnTo>
                    <a:pt x="204" y="212"/>
                  </a:lnTo>
                  <a:lnTo>
                    <a:pt x="203" y="209"/>
                  </a:lnTo>
                  <a:lnTo>
                    <a:pt x="201" y="206"/>
                  </a:lnTo>
                  <a:lnTo>
                    <a:pt x="198" y="202"/>
                  </a:lnTo>
                  <a:lnTo>
                    <a:pt x="194" y="200"/>
                  </a:lnTo>
                  <a:lnTo>
                    <a:pt x="192" y="201"/>
                  </a:lnTo>
                  <a:lnTo>
                    <a:pt x="191" y="202"/>
                  </a:lnTo>
                  <a:lnTo>
                    <a:pt x="189" y="205"/>
                  </a:lnTo>
                  <a:lnTo>
                    <a:pt x="188" y="207"/>
                  </a:lnTo>
                  <a:lnTo>
                    <a:pt x="188" y="209"/>
                  </a:lnTo>
                  <a:lnTo>
                    <a:pt x="187" y="212"/>
                  </a:lnTo>
                  <a:lnTo>
                    <a:pt x="185" y="214"/>
                  </a:lnTo>
                  <a:lnTo>
                    <a:pt x="184" y="216"/>
                  </a:lnTo>
                  <a:lnTo>
                    <a:pt x="182" y="215"/>
                  </a:lnTo>
                  <a:lnTo>
                    <a:pt x="179" y="209"/>
                  </a:lnTo>
                  <a:lnTo>
                    <a:pt x="177" y="201"/>
                  </a:lnTo>
                  <a:lnTo>
                    <a:pt x="176" y="193"/>
                  </a:lnTo>
                  <a:lnTo>
                    <a:pt x="175" y="186"/>
                  </a:lnTo>
                  <a:lnTo>
                    <a:pt x="172" y="179"/>
                  </a:lnTo>
                  <a:lnTo>
                    <a:pt x="165" y="174"/>
                  </a:lnTo>
                  <a:lnTo>
                    <a:pt x="157" y="171"/>
                  </a:lnTo>
                  <a:lnTo>
                    <a:pt x="149" y="172"/>
                  </a:lnTo>
                  <a:lnTo>
                    <a:pt x="146" y="173"/>
                  </a:lnTo>
                  <a:lnTo>
                    <a:pt x="142" y="173"/>
                  </a:lnTo>
                  <a:lnTo>
                    <a:pt x="138" y="169"/>
                  </a:lnTo>
                  <a:lnTo>
                    <a:pt x="136" y="168"/>
                  </a:lnTo>
                  <a:lnTo>
                    <a:pt x="131" y="168"/>
                  </a:lnTo>
                  <a:lnTo>
                    <a:pt x="129" y="170"/>
                  </a:lnTo>
                  <a:lnTo>
                    <a:pt x="129" y="174"/>
                  </a:lnTo>
                  <a:lnTo>
                    <a:pt x="132" y="183"/>
                  </a:lnTo>
                  <a:lnTo>
                    <a:pt x="132" y="187"/>
                  </a:lnTo>
                  <a:lnTo>
                    <a:pt x="128" y="189"/>
                  </a:lnTo>
                  <a:lnTo>
                    <a:pt x="102" y="189"/>
                  </a:lnTo>
                  <a:lnTo>
                    <a:pt x="99" y="187"/>
                  </a:lnTo>
                  <a:lnTo>
                    <a:pt x="98" y="183"/>
                  </a:lnTo>
                  <a:lnTo>
                    <a:pt x="98" y="178"/>
                  </a:lnTo>
                  <a:lnTo>
                    <a:pt x="97" y="172"/>
                  </a:lnTo>
                  <a:lnTo>
                    <a:pt x="96" y="167"/>
                  </a:lnTo>
                  <a:lnTo>
                    <a:pt x="93" y="165"/>
                  </a:lnTo>
                  <a:lnTo>
                    <a:pt x="86" y="161"/>
                  </a:lnTo>
                  <a:lnTo>
                    <a:pt x="81" y="156"/>
                  </a:lnTo>
                  <a:lnTo>
                    <a:pt x="80" y="147"/>
                  </a:lnTo>
                  <a:lnTo>
                    <a:pt x="79" y="141"/>
                  </a:lnTo>
                  <a:lnTo>
                    <a:pt x="76" y="136"/>
                  </a:lnTo>
                  <a:lnTo>
                    <a:pt x="64" y="124"/>
                  </a:lnTo>
                  <a:lnTo>
                    <a:pt x="59" y="116"/>
                  </a:lnTo>
                  <a:lnTo>
                    <a:pt x="59" y="110"/>
                  </a:lnTo>
                  <a:lnTo>
                    <a:pt x="60" y="104"/>
                  </a:lnTo>
                  <a:lnTo>
                    <a:pt x="60" y="99"/>
                  </a:lnTo>
                  <a:lnTo>
                    <a:pt x="58" y="96"/>
                  </a:lnTo>
                  <a:lnTo>
                    <a:pt x="50" y="90"/>
                  </a:lnTo>
                  <a:lnTo>
                    <a:pt x="48" y="86"/>
                  </a:lnTo>
                  <a:lnTo>
                    <a:pt x="50" y="78"/>
                  </a:lnTo>
                  <a:lnTo>
                    <a:pt x="48" y="76"/>
                  </a:lnTo>
                  <a:lnTo>
                    <a:pt x="38" y="70"/>
                  </a:lnTo>
                  <a:lnTo>
                    <a:pt x="26" y="60"/>
                  </a:lnTo>
                  <a:lnTo>
                    <a:pt x="21" y="58"/>
                  </a:lnTo>
                  <a:lnTo>
                    <a:pt x="16" y="59"/>
                  </a:lnTo>
                  <a:lnTo>
                    <a:pt x="10" y="60"/>
                  </a:lnTo>
                  <a:lnTo>
                    <a:pt x="5" y="60"/>
                  </a:lnTo>
                  <a:lnTo>
                    <a:pt x="2" y="55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1" y="35"/>
                  </a:lnTo>
                  <a:lnTo>
                    <a:pt x="24" y="36"/>
                  </a:lnTo>
                  <a:lnTo>
                    <a:pt x="45" y="35"/>
                  </a:lnTo>
                  <a:lnTo>
                    <a:pt x="62" y="33"/>
                  </a:lnTo>
                  <a:lnTo>
                    <a:pt x="75" y="32"/>
                  </a:lnTo>
                  <a:lnTo>
                    <a:pt x="83" y="31"/>
                  </a:lnTo>
                  <a:lnTo>
                    <a:pt x="88" y="30"/>
                  </a:lnTo>
                  <a:lnTo>
                    <a:pt x="97" y="26"/>
                  </a:lnTo>
                  <a:lnTo>
                    <a:pt x="106" y="21"/>
                  </a:lnTo>
                  <a:lnTo>
                    <a:pt x="117" y="16"/>
                  </a:lnTo>
                  <a:lnTo>
                    <a:pt x="129" y="10"/>
                  </a:lnTo>
                  <a:lnTo>
                    <a:pt x="141" y="5"/>
                  </a:lnTo>
                  <a:lnTo>
                    <a:pt x="151" y="2"/>
                  </a:lnTo>
                  <a:lnTo>
                    <a:pt x="159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6">
              <a:extLst>
                <a:ext uri="{FF2B5EF4-FFF2-40B4-BE49-F238E27FC236}">
                  <a16:creationId xmlns:a16="http://schemas.microsoft.com/office/drawing/2014/main" id="{340D88DA-EF60-485D-9A75-9B39F6A6133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6401" y="2892426"/>
              <a:ext cx="1477963" cy="1397000"/>
            </a:xfrm>
            <a:custGeom>
              <a:avLst/>
              <a:gdLst/>
              <a:ahLst/>
              <a:cxnLst>
                <a:cxn ang="0">
                  <a:pos x="759" y="52"/>
                </a:cxn>
                <a:cxn ang="0">
                  <a:pos x="846" y="14"/>
                </a:cxn>
                <a:cxn ang="0">
                  <a:pos x="815" y="75"/>
                </a:cxn>
                <a:cxn ang="0">
                  <a:pos x="813" y="137"/>
                </a:cxn>
                <a:cxn ang="0">
                  <a:pos x="855" y="173"/>
                </a:cxn>
                <a:cxn ang="0">
                  <a:pos x="867" y="227"/>
                </a:cxn>
                <a:cxn ang="0">
                  <a:pos x="896" y="258"/>
                </a:cxn>
                <a:cxn ang="0">
                  <a:pos x="929" y="305"/>
                </a:cxn>
                <a:cxn ang="0">
                  <a:pos x="901" y="380"/>
                </a:cxn>
                <a:cxn ang="0">
                  <a:pos x="838" y="443"/>
                </a:cxn>
                <a:cxn ang="0">
                  <a:pos x="793" y="453"/>
                </a:cxn>
                <a:cxn ang="0">
                  <a:pos x="719" y="483"/>
                </a:cxn>
                <a:cxn ang="0">
                  <a:pos x="724" y="513"/>
                </a:cxn>
                <a:cxn ang="0">
                  <a:pos x="728" y="582"/>
                </a:cxn>
                <a:cxn ang="0">
                  <a:pos x="688" y="619"/>
                </a:cxn>
                <a:cxn ang="0">
                  <a:pos x="645" y="671"/>
                </a:cxn>
                <a:cxn ang="0">
                  <a:pos x="588" y="703"/>
                </a:cxn>
                <a:cxn ang="0">
                  <a:pos x="570" y="748"/>
                </a:cxn>
                <a:cxn ang="0">
                  <a:pos x="548" y="696"/>
                </a:cxn>
                <a:cxn ang="0">
                  <a:pos x="511" y="658"/>
                </a:cxn>
                <a:cxn ang="0">
                  <a:pos x="481" y="686"/>
                </a:cxn>
                <a:cxn ang="0">
                  <a:pos x="417" y="734"/>
                </a:cxn>
                <a:cxn ang="0">
                  <a:pos x="350" y="769"/>
                </a:cxn>
                <a:cxn ang="0">
                  <a:pos x="292" y="785"/>
                </a:cxn>
                <a:cxn ang="0">
                  <a:pos x="237" y="826"/>
                </a:cxn>
                <a:cxn ang="0">
                  <a:pos x="224" y="877"/>
                </a:cxn>
                <a:cxn ang="0">
                  <a:pos x="183" y="875"/>
                </a:cxn>
                <a:cxn ang="0">
                  <a:pos x="140" y="878"/>
                </a:cxn>
                <a:cxn ang="0">
                  <a:pos x="108" y="853"/>
                </a:cxn>
                <a:cxn ang="0">
                  <a:pos x="74" y="804"/>
                </a:cxn>
                <a:cxn ang="0">
                  <a:pos x="75" y="753"/>
                </a:cxn>
                <a:cxn ang="0">
                  <a:pos x="29" y="717"/>
                </a:cxn>
                <a:cxn ang="0">
                  <a:pos x="27" y="672"/>
                </a:cxn>
                <a:cxn ang="0">
                  <a:pos x="45" y="635"/>
                </a:cxn>
                <a:cxn ang="0">
                  <a:pos x="1" y="590"/>
                </a:cxn>
                <a:cxn ang="0">
                  <a:pos x="22" y="578"/>
                </a:cxn>
                <a:cxn ang="0">
                  <a:pos x="75" y="535"/>
                </a:cxn>
                <a:cxn ang="0">
                  <a:pos x="59" y="496"/>
                </a:cxn>
                <a:cxn ang="0">
                  <a:pos x="91" y="383"/>
                </a:cxn>
                <a:cxn ang="0">
                  <a:pos x="67" y="324"/>
                </a:cxn>
                <a:cxn ang="0">
                  <a:pos x="42" y="280"/>
                </a:cxn>
                <a:cxn ang="0">
                  <a:pos x="83" y="247"/>
                </a:cxn>
                <a:cxn ang="0">
                  <a:pos x="115" y="242"/>
                </a:cxn>
                <a:cxn ang="0">
                  <a:pos x="162" y="246"/>
                </a:cxn>
                <a:cxn ang="0">
                  <a:pos x="238" y="235"/>
                </a:cxn>
                <a:cxn ang="0">
                  <a:pos x="232" y="181"/>
                </a:cxn>
                <a:cxn ang="0">
                  <a:pos x="250" y="153"/>
                </a:cxn>
                <a:cxn ang="0">
                  <a:pos x="312" y="105"/>
                </a:cxn>
                <a:cxn ang="0">
                  <a:pos x="382" y="93"/>
                </a:cxn>
                <a:cxn ang="0">
                  <a:pos x="463" y="30"/>
                </a:cxn>
                <a:cxn ang="0">
                  <a:pos x="501" y="48"/>
                </a:cxn>
                <a:cxn ang="0">
                  <a:pos x="546" y="105"/>
                </a:cxn>
                <a:cxn ang="0">
                  <a:pos x="565" y="140"/>
                </a:cxn>
                <a:cxn ang="0">
                  <a:pos x="536" y="173"/>
                </a:cxn>
                <a:cxn ang="0">
                  <a:pos x="606" y="175"/>
                </a:cxn>
                <a:cxn ang="0">
                  <a:pos x="665" y="161"/>
                </a:cxn>
                <a:cxn ang="0">
                  <a:pos x="681" y="75"/>
                </a:cxn>
                <a:cxn ang="0">
                  <a:pos x="648" y="24"/>
                </a:cxn>
                <a:cxn ang="0">
                  <a:pos x="680" y="10"/>
                </a:cxn>
              </a:cxnLst>
              <a:rect l="0" t="0" r="r" b="b"/>
              <a:pathLst>
                <a:path w="931" h="880">
                  <a:moveTo>
                    <a:pt x="727" y="0"/>
                  </a:moveTo>
                  <a:lnTo>
                    <a:pt x="734" y="3"/>
                  </a:lnTo>
                  <a:lnTo>
                    <a:pt x="739" y="8"/>
                  </a:lnTo>
                  <a:lnTo>
                    <a:pt x="741" y="13"/>
                  </a:lnTo>
                  <a:lnTo>
                    <a:pt x="741" y="19"/>
                  </a:lnTo>
                  <a:lnTo>
                    <a:pt x="742" y="27"/>
                  </a:lnTo>
                  <a:lnTo>
                    <a:pt x="744" y="35"/>
                  </a:lnTo>
                  <a:lnTo>
                    <a:pt x="746" y="44"/>
                  </a:lnTo>
                  <a:lnTo>
                    <a:pt x="749" y="50"/>
                  </a:lnTo>
                  <a:lnTo>
                    <a:pt x="753" y="52"/>
                  </a:lnTo>
                  <a:lnTo>
                    <a:pt x="759" y="52"/>
                  </a:lnTo>
                  <a:lnTo>
                    <a:pt x="781" y="50"/>
                  </a:lnTo>
                  <a:lnTo>
                    <a:pt x="793" y="48"/>
                  </a:lnTo>
                  <a:lnTo>
                    <a:pt x="803" y="45"/>
                  </a:lnTo>
                  <a:lnTo>
                    <a:pt x="809" y="41"/>
                  </a:lnTo>
                  <a:lnTo>
                    <a:pt x="813" y="35"/>
                  </a:lnTo>
                  <a:lnTo>
                    <a:pt x="817" y="27"/>
                  </a:lnTo>
                  <a:lnTo>
                    <a:pt x="823" y="19"/>
                  </a:lnTo>
                  <a:lnTo>
                    <a:pt x="830" y="13"/>
                  </a:lnTo>
                  <a:lnTo>
                    <a:pt x="836" y="9"/>
                  </a:lnTo>
                  <a:lnTo>
                    <a:pt x="842" y="10"/>
                  </a:lnTo>
                  <a:lnTo>
                    <a:pt x="846" y="14"/>
                  </a:lnTo>
                  <a:lnTo>
                    <a:pt x="847" y="22"/>
                  </a:lnTo>
                  <a:lnTo>
                    <a:pt x="847" y="31"/>
                  </a:lnTo>
                  <a:lnTo>
                    <a:pt x="846" y="42"/>
                  </a:lnTo>
                  <a:lnTo>
                    <a:pt x="844" y="52"/>
                  </a:lnTo>
                  <a:lnTo>
                    <a:pt x="841" y="59"/>
                  </a:lnTo>
                  <a:lnTo>
                    <a:pt x="837" y="65"/>
                  </a:lnTo>
                  <a:lnTo>
                    <a:pt x="831" y="69"/>
                  </a:lnTo>
                  <a:lnTo>
                    <a:pt x="825" y="71"/>
                  </a:lnTo>
                  <a:lnTo>
                    <a:pt x="820" y="72"/>
                  </a:lnTo>
                  <a:lnTo>
                    <a:pt x="816" y="73"/>
                  </a:lnTo>
                  <a:lnTo>
                    <a:pt x="815" y="75"/>
                  </a:lnTo>
                  <a:lnTo>
                    <a:pt x="815" y="89"/>
                  </a:lnTo>
                  <a:lnTo>
                    <a:pt x="816" y="98"/>
                  </a:lnTo>
                  <a:lnTo>
                    <a:pt x="819" y="106"/>
                  </a:lnTo>
                  <a:lnTo>
                    <a:pt x="824" y="112"/>
                  </a:lnTo>
                  <a:lnTo>
                    <a:pt x="828" y="117"/>
                  </a:lnTo>
                  <a:lnTo>
                    <a:pt x="830" y="122"/>
                  </a:lnTo>
                  <a:lnTo>
                    <a:pt x="830" y="126"/>
                  </a:lnTo>
                  <a:lnTo>
                    <a:pt x="827" y="128"/>
                  </a:lnTo>
                  <a:lnTo>
                    <a:pt x="817" y="132"/>
                  </a:lnTo>
                  <a:lnTo>
                    <a:pt x="814" y="134"/>
                  </a:lnTo>
                  <a:lnTo>
                    <a:pt x="813" y="137"/>
                  </a:lnTo>
                  <a:lnTo>
                    <a:pt x="813" y="145"/>
                  </a:lnTo>
                  <a:lnTo>
                    <a:pt x="812" y="150"/>
                  </a:lnTo>
                  <a:lnTo>
                    <a:pt x="812" y="155"/>
                  </a:lnTo>
                  <a:lnTo>
                    <a:pt x="814" y="158"/>
                  </a:lnTo>
                  <a:lnTo>
                    <a:pt x="817" y="159"/>
                  </a:lnTo>
                  <a:lnTo>
                    <a:pt x="826" y="159"/>
                  </a:lnTo>
                  <a:lnTo>
                    <a:pt x="836" y="160"/>
                  </a:lnTo>
                  <a:lnTo>
                    <a:pt x="843" y="161"/>
                  </a:lnTo>
                  <a:lnTo>
                    <a:pt x="846" y="163"/>
                  </a:lnTo>
                  <a:lnTo>
                    <a:pt x="849" y="167"/>
                  </a:lnTo>
                  <a:lnTo>
                    <a:pt x="855" y="173"/>
                  </a:lnTo>
                  <a:lnTo>
                    <a:pt x="860" y="179"/>
                  </a:lnTo>
                  <a:lnTo>
                    <a:pt x="862" y="185"/>
                  </a:lnTo>
                  <a:lnTo>
                    <a:pt x="861" y="190"/>
                  </a:lnTo>
                  <a:lnTo>
                    <a:pt x="860" y="195"/>
                  </a:lnTo>
                  <a:lnTo>
                    <a:pt x="862" y="200"/>
                  </a:lnTo>
                  <a:lnTo>
                    <a:pt x="862" y="205"/>
                  </a:lnTo>
                  <a:lnTo>
                    <a:pt x="861" y="211"/>
                  </a:lnTo>
                  <a:lnTo>
                    <a:pt x="859" y="217"/>
                  </a:lnTo>
                  <a:lnTo>
                    <a:pt x="858" y="222"/>
                  </a:lnTo>
                  <a:lnTo>
                    <a:pt x="861" y="226"/>
                  </a:lnTo>
                  <a:lnTo>
                    <a:pt x="867" y="227"/>
                  </a:lnTo>
                  <a:lnTo>
                    <a:pt x="872" y="226"/>
                  </a:lnTo>
                  <a:lnTo>
                    <a:pt x="877" y="224"/>
                  </a:lnTo>
                  <a:lnTo>
                    <a:pt x="882" y="225"/>
                  </a:lnTo>
                  <a:lnTo>
                    <a:pt x="883" y="228"/>
                  </a:lnTo>
                  <a:lnTo>
                    <a:pt x="882" y="233"/>
                  </a:lnTo>
                  <a:lnTo>
                    <a:pt x="881" y="239"/>
                  </a:lnTo>
                  <a:lnTo>
                    <a:pt x="879" y="244"/>
                  </a:lnTo>
                  <a:lnTo>
                    <a:pt x="880" y="248"/>
                  </a:lnTo>
                  <a:lnTo>
                    <a:pt x="883" y="250"/>
                  </a:lnTo>
                  <a:lnTo>
                    <a:pt x="890" y="253"/>
                  </a:lnTo>
                  <a:lnTo>
                    <a:pt x="896" y="258"/>
                  </a:lnTo>
                  <a:lnTo>
                    <a:pt x="900" y="264"/>
                  </a:lnTo>
                  <a:lnTo>
                    <a:pt x="900" y="270"/>
                  </a:lnTo>
                  <a:lnTo>
                    <a:pt x="901" y="272"/>
                  </a:lnTo>
                  <a:lnTo>
                    <a:pt x="906" y="273"/>
                  </a:lnTo>
                  <a:lnTo>
                    <a:pt x="926" y="273"/>
                  </a:lnTo>
                  <a:lnTo>
                    <a:pt x="930" y="274"/>
                  </a:lnTo>
                  <a:lnTo>
                    <a:pt x="931" y="275"/>
                  </a:lnTo>
                  <a:lnTo>
                    <a:pt x="930" y="279"/>
                  </a:lnTo>
                  <a:lnTo>
                    <a:pt x="930" y="287"/>
                  </a:lnTo>
                  <a:lnTo>
                    <a:pt x="929" y="296"/>
                  </a:lnTo>
                  <a:lnTo>
                    <a:pt x="929" y="305"/>
                  </a:lnTo>
                  <a:lnTo>
                    <a:pt x="927" y="312"/>
                  </a:lnTo>
                  <a:lnTo>
                    <a:pt x="924" y="317"/>
                  </a:lnTo>
                  <a:lnTo>
                    <a:pt x="918" y="322"/>
                  </a:lnTo>
                  <a:lnTo>
                    <a:pt x="914" y="329"/>
                  </a:lnTo>
                  <a:lnTo>
                    <a:pt x="911" y="337"/>
                  </a:lnTo>
                  <a:lnTo>
                    <a:pt x="910" y="343"/>
                  </a:lnTo>
                  <a:lnTo>
                    <a:pt x="910" y="363"/>
                  </a:lnTo>
                  <a:lnTo>
                    <a:pt x="909" y="369"/>
                  </a:lnTo>
                  <a:lnTo>
                    <a:pt x="905" y="373"/>
                  </a:lnTo>
                  <a:lnTo>
                    <a:pt x="901" y="376"/>
                  </a:lnTo>
                  <a:lnTo>
                    <a:pt x="901" y="380"/>
                  </a:lnTo>
                  <a:lnTo>
                    <a:pt x="902" y="386"/>
                  </a:lnTo>
                  <a:lnTo>
                    <a:pt x="903" y="394"/>
                  </a:lnTo>
                  <a:lnTo>
                    <a:pt x="900" y="401"/>
                  </a:lnTo>
                  <a:lnTo>
                    <a:pt x="894" y="410"/>
                  </a:lnTo>
                  <a:lnTo>
                    <a:pt x="876" y="426"/>
                  </a:lnTo>
                  <a:lnTo>
                    <a:pt x="868" y="432"/>
                  </a:lnTo>
                  <a:lnTo>
                    <a:pt x="863" y="436"/>
                  </a:lnTo>
                  <a:lnTo>
                    <a:pt x="858" y="439"/>
                  </a:lnTo>
                  <a:lnTo>
                    <a:pt x="851" y="442"/>
                  </a:lnTo>
                  <a:lnTo>
                    <a:pt x="844" y="443"/>
                  </a:lnTo>
                  <a:lnTo>
                    <a:pt x="838" y="443"/>
                  </a:lnTo>
                  <a:lnTo>
                    <a:pt x="834" y="439"/>
                  </a:lnTo>
                  <a:lnTo>
                    <a:pt x="827" y="429"/>
                  </a:lnTo>
                  <a:lnTo>
                    <a:pt x="817" y="422"/>
                  </a:lnTo>
                  <a:lnTo>
                    <a:pt x="808" y="419"/>
                  </a:lnTo>
                  <a:lnTo>
                    <a:pt x="801" y="420"/>
                  </a:lnTo>
                  <a:lnTo>
                    <a:pt x="794" y="422"/>
                  </a:lnTo>
                  <a:lnTo>
                    <a:pt x="789" y="426"/>
                  </a:lnTo>
                  <a:lnTo>
                    <a:pt x="786" y="432"/>
                  </a:lnTo>
                  <a:lnTo>
                    <a:pt x="786" y="439"/>
                  </a:lnTo>
                  <a:lnTo>
                    <a:pt x="789" y="446"/>
                  </a:lnTo>
                  <a:lnTo>
                    <a:pt x="793" y="453"/>
                  </a:lnTo>
                  <a:lnTo>
                    <a:pt x="794" y="458"/>
                  </a:lnTo>
                  <a:lnTo>
                    <a:pt x="791" y="463"/>
                  </a:lnTo>
                  <a:lnTo>
                    <a:pt x="785" y="465"/>
                  </a:lnTo>
                  <a:lnTo>
                    <a:pt x="775" y="466"/>
                  </a:lnTo>
                  <a:lnTo>
                    <a:pt x="766" y="467"/>
                  </a:lnTo>
                  <a:lnTo>
                    <a:pt x="754" y="468"/>
                  </a:lnTo>
                  <a:lnTo>
                    <a:pt x="742" y="471"/>
                  </a:lnTo>
                  <a:lnTo>
                    <a:pt x="732" y="473"/>
                  </a:lnTo>
                  <a:lnTo>
                    <a:pt x="726" y="475"/>
                  </a:lnTo>
                  <a:lnTo>
                    <a:pt x="723" y="478"/>
                  </a:lnTo>
                  <a:lnTo>
                    <a:pt x="719" y="483"/>
                  </a:lnTo>
                  <a:lnTo>
                    <a:pt x="713" y="489"/>
                  </a:lnTo>
                  <a:lnTo>
                    <a:pt x="708" y="496"/>
                  </a:lnTo>
                  <a:lnTo>
                    <a:pt x="702" y="502"/>
                  </a:lnTo>
                  <a:lnTo>
                    <a:pt x="699" y="507"/>
                  </a:lnTo>
                  <a:lnTo>
                    <a:pt x="697" y="510"/>
                  </a:lnTo>
                  <a:lnTo>
                    <a:pt x="697" y="513"/>
                  </a:lnTo>
                  <a:lnTo>
                    <a:pt x="703" y="523"/>
                  </a:lnTo>
                  <a:lnTo>
                    <a:pt x="706" y="526"/>
                  </a:lnTo>
                  <a:lnTo>
                    <a:pt x="708" y="527"/>
                  </a:lnTo>
                  <a:lnTo>
                    <a:pt x="719" y="516"/>
                  </a:lnTo>
                  <a:lnTo>
                    <a:pt x="724" y="513"/>
                  </a:lnTo>
                  <a:lnTo>
                    <a:pt x="728" y="512"/>
                  </a:lnTo>
                  <a:lnTo>
                    <a:pt x="732" y="515"/>
                  </a:lnTo>
                  <a:lnTo>
                    <a:pt x="735" y="522"/>
                  </a:lnTo>
                  <a:lnTo>
                    <a:pt x="738" y="530"/>
                  </a:lnTo>
                  <a:lnTo>
                    <a:pt x="742" y="546"/>
                  </a:lnTo>
                  <a:lnTo>
                    <a:pt x="742" y="552"/>
                  </a:lnTo>
                  <a:lnTo>
                    <a:pt x="741" y="556"/>
                  </a:lnTo>
                  <a:lnTo>
                    <a:pt x="736" y="561"/>
                  </a:lnTo>
                  <a:lnTo>
                    <a:pt x="731" y="567"/>
                  </a:lnTo>
                  <a:lnTo>
                    <a:pt x="729" y="576"/>
                  </a:lnTo>
                  <a:lnTo>
                    <a:pt x="728" y="582"/>
                  </a:lnTo>
                  <a:lnTo>
                    <a:pt x="726" y="586"/>
                  </a:lnTo>
                  <a:lnTo>
                    <a:pt x="721" y="588"/>
                  </a:lnTo>
                  <a:lnTo>
                    <a:pt x="713" y="587"/>
                  </a:lnTo>
                  <a:lnTo>
                    <a:pt x="705" y="585"/>
                  </a:lnTo>
                  <a:lnTo>
                    <a:pt x="697" y="584"/>
                  </a:lnTo>
                  <a:lnTo>
                    <a:pt x="691" y="584"/>
                  </a:lnTo>
                  <a:lnTo>
                    <a:pt x="688" y="588"/>
                  </a:lnTo>
                  <a:lnTo>
                    <a:pt x="686" y="594"/>
                  </a:lnTo>
                  <a:lnTo>
                    <a:pt x="687" y="603"/>
                  </a:lnTo>
                  <a:lnTo>
                    <a:pt x="688" y="611"/>
                  </a:lnTo>
                  <a:lnTo>
                    <a:pt x="688" y="619"/>
                  </a:lnTo>
                  <a:lnTo>
                    <a:pt x="685" y="626"/>
                  </a:lnTo>
                  <a:lnTo>
                    <a:pt x="679" y="632"/>
                  </a:lnTo>
                  <a:lnTo>
                    <a:pt x="674" y="639"/>
                  </a:lnTo>
                  <a:lnTo>
                    <a:pt x="670" y="646"/>
                  </a:lnTo>
                  <a:lnTo>
                    <a:pt x="669" y="652"/>
                  </a:lnTo>
                  <a:lnTo>
                    <a:pt x="667" y="656"/>
                  </a:lnTo>
                  <a:lnTo>
                    <a:pt x="663" y="657"/>
                  </a:lnTo>
                  <a:lnTo>
                    <a:pt x="658" y="658"/>
                  </a:lnTo>
                  <a:lnTo>
                    <a:pt x="653" y="660"/>
                  </a:lnTo>
                  <a:lnTo>
                    <a:pt x="649" y="665"/>
                  </a:lnTo>
                  <a:lnTo>
                    <a:pt x="645" y="671"/>
                  </a:lnTo>
                  <a:lnTo>
                    <a:pt x="641" y="678"/>
                  </a:lnTo>
                  <a:lnTo>
                    <a:pt x="637" y="682"/>
                  </a:lnTo>
                  <a:lnTo>
                    <a:pt x="633" y="682"/>
                  </a:lnTo>
                  <a:lnTo>
                    <a:pt x="628" y="678"/>
                  </a:lnTo>
                  <a:lnTo>
                    <a:pt x="624" y="674"/>
                  </a:lnTo>
                  <a:lnTo>
                    <a:pt x="619" y="671"/>
                  </a:lnTo>
                  <a:lnTo>
                    <a:pt x="616" y="671"/>
                  </a:lnTo>
                  <a:lnTo>
                    <a:pt x="613" y="674"/>
                  </a:lnTo>
                  <a:lnTo>
                    <a:pt x="607" y="679"/>
                  </a:lnTo>
                  <a:lnTo>
                    <a:pt x="600" y="687"/>
                  </a:lnTo>
                  <a:lnTo>
                    <a:pt x="588" y="703"/>
                  </a:lnTo>
                  <a:lnTo>
                    <a:pt x="583" y="710"/>
                  </a:lnTo>
                  <a:lnTo>
                    <a:pt x="581" y="714"/>
                  </a:lnTo>
                  <a:lnTo>
                    <a:pt x="582" y="718"/>
                  </a:lnTo>
                  <a:lnTo>
                    <a:pt x="585" y="724"/>
                  </a:lnTo>
                  <a:lnTo>
                    <a:pt x="587" y="730"/>
                  </a:lnTo>
                  <a:lnTo>
                    <a:pt x="588" y="737"/>
                  </a:lnTo>
                  <a:lnTo>
                    <a:pt x="586" y="741"/>
                  </a:lnTo>
                  <a:lnTo>
                    <a:pt x="580" y="747"/>
                  </a:lnTo>
                  <a:lnTo>
                    <a:pt x="578" y="751"/>
                  </a:lnTo>
                  <a:lnTo>
                    <a:pt x="574" y="749"/>
                  </a:lnTo>
                  <a:lnTo>
                    <a:pt x="570" y="748"/>
                  </a:lnTo>
                  <a:lnTo>
                    <a:pt x="567" y="747"/>
                  </a:lnTo>
                  <a:lnTo>
                    <a:pt x="564" y="747"/>
                  </a:lnTo>
                  <a:lnTo>
                    <a:pt x="560" y="745"/>
                  </a:lnTo>
                  <a:lnTo>
                    <a:pt x="549" y="735"/>
                  </a:lnTo>
                  <a:lnTo>
                    <a:pt x="544" y="728"/>
                  </a:lnTo>
                  <a:lnTo>
                    <a:pt x="542" y="722"/>
                  </a:lnTo>
                  <a:lnTo>
                    <a:pt x="542" y="716"/>
                  </a:lnTo>
                  <a:lnTo>
                    <a:pt x="545" y="710"/>
                  </a:lnTo>
                  <a:lnTo>
                    <a:pt x="548" y="703"/>
                  </a:lnTo>
                  <a:lnTo>
                    <a:pt x="549" y="699"/>
                  </a:lnTo>
                  <a:lnTo>
                    <a:pt x="548" y="696"/>
                  </a:lnTo>
                  <a:lnTo>
                    <a:pt x="547" y="694"/>
                  </a:lnTo>
                  <a:lnTo>
                    <a:pt x="544" y="692"/>
                  </a:lnTo>
                  <a:lnTo>
                    <a:pt x="541" y="691"/>
                  </a:lnTo>
                  <a:lnTo>
                    <a:pt x="533" y="691"/>
                  </a:lnTo>
                  <a:lnTo>
                    <a:pt x="528" y="690"/>
                  </a:lnTo>
                  <a:lnTo>
                    <a:pt x="524" y="686"/>
                  </a:lnTo>
                  <a:lnTo>
                    <a:pt x="518" y="678"/>
                  </a:lnTo>
                  <a:lnTo>
                    <a:pt x="515" y="676"/>
                  </a:lnTo>
                  <a:lnTo>
                    <a:pt x="511" y="672"/>
                  </a:lnTo>
                  <a:lnTo>
                    <a:pt x="509" y="665"/>
                  </a:lnTo>
                  <a:lnTo>
                    <a:pt x="511" y="658"/>
                  </a:lnTo>
                  <a:lnTo>
                    <a:pt x="511" y="654"/>
                  </a:lnTo>
                  <a:lnTo>
                    <a:pt x="508" y="650"/>
                  </a:lnTo>
                  <a:lnTo>
                    <a:pt x="503" y="648"/>
                  </a:lnTo>
                  <a:lnTo>
                    <a:pt x="491" y="648"/>
                  </a:lnTo>
                  <a:lnTo>
                    <a:pt x="488" y="650"/>
                  </a:lnTo>
                  <a:lnTo>
                    <a:pt x="486" y="655"/>
                  </a:lnTo>
                  <a:lnTo>
                    <a:pt x="486" y="669"/>
                  </a:lnTo>
                  <a:lnTo>
                    <a:pt x="487" y="676"/>
                  </a:lnTo>
                  <a:lnTo>
                    <a:pt x="487" y="680"/>
                  </a:lnTo>
                  <a:lnTo>
                    <a:pt x="485" y="684"/>
                  </a:lnTo>
                  <a:lnTo>
                    <a:pt x="481" y="686"/>
                  </a:lnTo>
                  <a:lnTo>
                    <a:pt x="474" y="689"/>
                  </a:lnTo>
                  <a:lnTo>
                    <a:pt x="466" y="692"/>
                  </a:lnTo>
                  <a:lnTo>
                    <a:pt x="462" y="695"/>
                  </a:lnTo>
                  <a:lnTo>
                    <a:pt x="462" y="698"/>
                  </a:lnTo>
                  <a:lnTo>
                    <a:pt x="463" y="701"/>
                  </a:lnTo>
                  <a:lnTo>
                    <a:pt x="466" y="704"/>
                  </a:lnTo>
                  <a:lnTo>
                    <a:pt x="467" y="709"/>
                  </a:lnTo>
                  <a:lnTo>
                    <a:pt x="464" y="714"/>
                  </a:lnTo>
                  <a:lnTo>
                    <a:pt x="456" y="719"/>
                  </a:lnTo>
                  <a:lnTo>
                    <a:pt x="444" y="724"/>
                  </a:lnTo>
                  <a:lnTo>
                    <a:pt x="417" y="734"/>
                  </a:lnTo>
                  <a:lnTo>
                    <a:pt x="404" y="737"/>
                  </a:lnTo>
                  <a:lnTo>
                    <a:pt x="394" y="737"/>
                  </a:lnTo>
                  <a:lnTo>
                    <a:pt x="387" y="739"/>
                  </a:lnTo>
                  <a:lnTo>
                    <a:pt x="383" y="744"/>
                  </a:lnTo>
                  <a:lnTo>
                    <a:pt x="381" y="750"/>
                  </a:lnTo>
                  <a:lnTo>
                    <a:pt x="380" y="756"/>
                  </a:lnTo>
                  <a:lnTo>
                    <a:pt x="379" y="761"/>
                  </a:lnTo>
                  <a:lnTo>
                    <a:pt x="376" y="765"/>
                  </a:lnTo>
                  <a:lnTo>
                    <a:pt x="369" y="769"/>
                  </a:lnTo>
                  <a:lnTo>
                    <a:pt x="360" y="770"/>
                  </a:lnTo>
                  <a:lnTo>
                    <a:pt x="350" y="769"/>
                  </a:lnTo>
                  <a:lnTo>
                    <a:pt x="341" y="767"/>
                  </a:lnTo>
                  <a:lnTo>
                    <a:pt x="335" y="766"/>
                  </a:lnTo>
                  <a:lnTo>
                    <a:pt x="330" y="769"/>
                  </a:lnTo>
                  <a:lnTo>
                    <a:pt x="326" y="773"/>
                  </a:lnTo>
                  <a:lnTo>
                    <a:pt x="322" y="779"/>
                  </a:lnTo>
                  <a:lnTo>
                    <a:pt x="315" y="784"/>
                  </a:lnTo>
                  <a:lnTo>
                    <a:pt x="310" y="786"/>
                  </a:lnTo>
                  <a:lnTo>
                    <a:pt x="304" y="785"/>
                  </a:lnTo>
                  <a:lnTo>
                    <a:pt x="300" y="783"/>
                  </a:lnTo>
                  <a:lnTo>
                    <a:pt x="296" y="782"/>
                  </a:lnTo>
                  <a:lnTo>
                    <a:pt x="292" y="785"/>
                  </a:lnTo>
                  <a:lnTo>
                    <a:pt x="285" y="791"/>
                  </a:lnTo>
                  <a:lnTo>
                    <a:pt x="275" y="795"/>
                  </a:lnTo>
                  <a:lnTo>
                    <a:pt x="266" y="798"/>
                  </a:lnTo>
                  <a:lnTo>
                    <a:pt x="259" y="800"/>
                  </a:lnTo>
                  <a:lnTo>
                    <a:pt x="257" y="804"/>
                  </a:lnTo>
                  <a:lnTo>
                    <a:pt x="257" y="824"/>
                  </a:lnTo>
                  <a:lnTo>
                    <a:pt x="256" y="830"/>
                  </a:lnTo>
                  <a:lnTo>
                    <a:pt x="253" y="832"/>
                  </a:lnTo>
                  <a:lnTo>
                    <a:pt x="249" y="831"/>
                  </a:lnTo>
                  <a:lnTo>
                    <a:pt x="243" y="829"/>
                  </a:lnTo>
                  <a:lnTo>
                    <a:pt x="237" y="826"/>
                  </a:lnTo>
                  <a:lnTo>
                    <a:pt x="232" y="823"/>
                  </a:lnTo>
                  <a:lnTo>
                    <a:pt x="228" y="822"/>
                  </a:lnTo>
                  <a:lnTo>
                    <a:pt x="224" y="824"/>
                  </a:lnTo>
                  <a:lnTo>
                    <a:pt x="221" y="827"/>
                  </a:lnTo>
                  <a:lnTo>
                    <a:pt x="219" y="833"/>
                  </a:lnTo>
                  <a:lnTo>
                    <a:pt x="217" y="838"/>
                  </a:lnTo>
                  <a:lnTo>
                    <a:pt x="217" y="844"/>
                  </a:lnTo>
                  <a:lnTo>
                    <a:pt x="219" y="851"/>
                  </a:lnTo>
                  <a:lnTo>
                    <a:pt x="222" y="860"/>
                  </a:lnTo>
                  <a:lnTo>
                    <a:pt x="224" y="870"/>
                  </a:lnTo>
                  <a:lnTo>
                    <a:pt x="224" y="877"/>
                  </a:lnTo>
                  <a:lnTo>
                    <a:pt x="223" y="877"/>
                  </a:lnTo>
                  <a:lnTo>
                    <a:pt x="222" y="878"/>
                  </a:lnTo>
                  <a:lnTo>
                    <a:pt x="217" y="878"/>
                  </a:lnTo>
                  <a:lnTo>
                    <a:pt x="211" y="880"/>
                  </a:lnTo>
                  <a:lnTo>
                    <a:pt x="205" y="880"/>
                  </a:lnTo>
                  <a:lnTo>
                    <a:pt x="200" y="878"/>
                  </a:lnTo>
                  <a:lnTo>
                    <a:pt x="195" y="875"/>
                  </a:lnTo>
                  <a:lnTo>
                    <a:pt x="191" y="873"/>
                  </a:lnTo>
                  <a:lnTo>
                    <a:pt x="188" y="874"/>
                  </a:lnTo>
                  <a:lnTo>
                    <a:pt x="184" y="875"/>
                  </a:lnTo>
                  <a:lnTo>
                    <a:pt x="183" y="875"/>
                  </a:lnTo>
                  <a:lnTo>
                    <a:pt x="181" y="874"/>
                  </a:lnTo>
                  <a:lnTo>
                    <a:pt x="180" y="872"/>
                  </a:lnTo>
                  <a:lnTo>
                    <a:pt x="178" y="870"/>
                  </a:lnTo>
                  <a:lnTo>
                    <a:pt x="176" y="867"/>
                  </a:lnTo>
                  <a:lnTo>
                    <a:pt x="173" y="865"/>
                  </a:lnTo>
                  <a:lnTo>
                    <a:pt x="168" y="864"/>
                  </a:lnTo>
                  <a:lnTo>
                    <a:pt x="162" y="866"/>
                  </a:lnTo>
                  <a:lnTo>
                    <a:pt x="156" y="870"/>
                  </a:lnTo>
                  <a:lnTo>
                    <a:pt x="151" y="875"/>
                  </a:lnTo>
                  <a:lnTo>
                    <a:pt x="145" y="878"/>
                  </a:lnTo>
                  <a:lnTo>
                    <a:pt x="140" y="878"/>
                  </a:lnTo>
                  <a:lnTo>
                    <a:pt x="136" y="875"/>
                  </a:lnTo>
                  <a:lnTo>
                    <a:pt x="128" y="863"/>
                  </a:lnTo>
                  <a:lnTo>
                    <a:pt x="124" y="860"/>
                  </a:lnTo>
                  <a:lnTo>
                    <a:pt x="122" y="860"/>
                  </a:lnTo>
                  <a:lnTo>
                    <a:pt x="120" y="862"/>
                  </a:lnTo>
                  <a:lnTo>
                    <a:pt x="120" y="864"/>
                  </a:lnTo>
                  <a:lnTo>
                    <a:pt x="118" y="870"/>
                  </a:lnTo>
                  <a:lnTo>
                    <a:pt x="114" y="867"/>
                  </a:lnTo>
                  <a:lnTo>
                    <a:pt x="109" y="862"/>
                  </a:lnTo>
                  <a:lnTo>
                    <a:pt x="107" y="857"/>
                  </a:lnTo>
                  <a:lnTo>
                    <a:pt x="108" y="853"/>
                  </a:lnTo>
                  <a:lnTo>
                    <a:pt x="116" y="843"/>
                  </a:lnTo>
                  <a:lnTo>
                    <a:pt x="118" y="838"/>
                  </a:lnTo>
                  <a:lnTo>
                    <a:pt x="116" y="832"/>
                  </a:lnTo>
                  <a:lnTo>
                    <a:pt x="113" y="826"/>
                  </a:lnTo>
                  <a:lnTo>
                    <a:pt x="111" y="820"/>
                  </a:lnTo>
                  <a:lnTo>
                    <a:pt x="110" y="816"/>
                  </a:lnTo>
                  <a:lnTo>
                    <a:pt x="108" y="813"/>
                  </a:lnTo>
                  <a:lnTo>
                    <a:pt x="102" y="810"/>
                  </a:lnTo>
                  <a:lnTo>
                    <a:pt x="86" y="806"/>
                  </a:lnTo>
                  <a:lnTo>
                    <a:pt x="79" y="806"/>
                  </a:lnTo>
                  <a:lnTo>
                    <a:pt x="74" y="804"/>
                  </a:lnTo>
                  <a:lnTo>
                    <a:pt x="72" y="800"/>
                  </a:lnTo>
                  <a:lnTo>
                    <a:pt x="70" y="794"/>
                  </a:lnTo>
                  <a:lnTo>
                    <a:pt x="69" y="788"/>
                  </a:lnTo>
                  <a:lnTo>
                    <a:pt x="68" y="783"/>
                  </a:lnTo>
                  <a:lnTo>
                    <a:pt x="70" y="778"/>
                  </a:lnTo>
                  <a:lnTo>
                    <a:pt x="75" y="773"/>
                  </a:lnTo>
                  <a:lnTo>
                    <a:pt x="81" y="768"/>
                  </a:lnTo>
                  <a:lnTo>
                    <a:pt x="85" y="763"/>
                  </a:lnTo>
                  <a:lnTo>
                    <a:pt x="84" y="759"/>
                  </a:lnTo>
                  <a:lnTo>
                    <a:pt x="80" y="756"/>
                  </a:lnTo>
                  <a:lnTo>
                    <a:pt x="75" y="753"/>
                  </a:lnTo>
                  <a:lnTo>
                    <a:pt x="71" y="750"/>
                  </a:lnTo>
                  <a:lnTo>
                    <a:pt x="71" y="742"/>
                  </a:lnTo>
                  <a:lnTo>
                    <a:pt x="67" y="737"/>
                  </a:lnTo>
                  <a:lnTo>
                    <a:pt x="63" y="732"/>
                  </a:lnTo>
                  <a:lnTo>
                    <a:pt x="57" y="726"/>
                  </a:lnTo>
                  <a:lnTo>
                    <a:pt x="52" y="720"/>
                  </a:lnTo>
                  <a:lnTo>
                    <a:pt x="46" y="712"/>
                  </a:lnTo>
                  <a:lnTo>
                    <a:pt x="43" y="712"/>
                  </a:lnTo>
                  <a:lnTo>
                    <a:pt x="38" y="714"/>
                  </a:lnTo>
                  <a:lnTo>
                    <a:pt x="33" y="717"/>
                  </a:lnTo>
                  <a:lnTo>
                    <a:pt x="29" y="717"/>
                  </a:lnTo>
                  <a:lnTo>
                    <a:pt x="27" y="713"/>
                  </a:lnTo>
                  <a:lnTo>
                    <a:pt x="25" y="708"/>
                  </a:lnTo>
                  <a:lnTo>
                    <a:pt x="25" y="703"/>
                  </a:lnTo>
                  <a:lnTo>
                    <a:pt x="27" y="695"/>
                  </a:lnTo>
                  <a:lnTo>
                    <a:pt x="26" y="691"/>
                  </a:lnTo>
                  <a:lnTo>
                    <a:pt x="23" y="685"/>
                  </a:lnTo>
                  <a:lnTo>
                    <a:pt x="21" y="680"/>
                  </a:lnTo>
                  <a:lnTo>
                    <a:pt x="20" y="678"/>
                  </a:lnTo>
                  <a:lnTo>
                    <a:pt x="21" y="676"/>
                  </a:lnTo>
                  <a:lnTo>
                    <a:pt x="24" y="673"/>
                  </a:lnTo>
                  <a:lnTo>
                    <a:pt x="27" y="672"/>
                  </a:lnTo>
                  <a:lnTo>
                    <a:pt x="29" y="671"/>
                  </a:lnTo>
                  <a:lnTo>
                    <a:pt x="32" y="668"/>
                  </a:lnTo>
                  <a:lnTo>
                    <a:pt x="35" y="662"/>
                  </a:lnTo>
                  <a:lnTo>
                    <a:pt x="37" y="660"/>
                  </a:lnTo>
                  <a:lnTo>
                    <a:pt x="40" y="658"/>
                  </a:lnTo>
                  <a:lnTo>
                    <a:pt x="43" y="657"/>
                  </a:lnTo>
                  <a:lnTo>
                    <a:pt x="46" y="655"/>
                  </a:lnTo>
                  <a:lnTo>
                    <a:pt x="48" y="654"/>
                  </a:lnTo>
                  <a:lnTo>
                    <a:pt x="49" y="649"/>
                  </a:lnTo>
                  <a:lnTo>
                    <a:pt x="48" y="642"/>
                  </a:lnTo>
                  <a:lnTo>
                    <a:pt x="45" y="635"/>
                  </a:lnTo>
                  <a:lnTo>
                    <a:pt x="40" y="630"/>
                  </a:lnTo>
                  <a:lnTo>
                    <a:pt x="36" y="625"/>
                  </a:lnTo>
                  <a:lnTo>
                    <a:pt x="34" y="619"/>
                  </a:lnTo>
                  <a:lnTo>
                    <a:pt x="33" y="612"/>
                  </a:lnTo>
                  <a:lnTo>
                    <a:pt x="34" y="607"/>
                  </a:lnTo>
                  <a:lnTo>
                    <a:pt x="33" y="605"/>
                  </a:lnTo>
                  <a:lnTo>
                    <a:pt x="28" y="604"/>
                  </a:lnTo>
                  <a:lnTo>
                    <a:pt x="6" y="604"/>
                  </a:lnTo>
                  <a:lnTo>
                    <a:pt x="2" y="602"/>
                  </a:lnTo>
                  <a:lnTo>
                    <a:pt x="0" y="598"/>
                  </a:lnTo>
                  <a:lnTo>
                    <a:pt x="1" y="590"/>
                  </a:lnTo>
                  <a:lnTo>
                    <a:pt x="2" y="583"/>
                  </a:lnTo>
                  <a:lnTo>
                    <a:pt x="5" y="576"/>
                  </a:lnTo>
                  <a:lnTo>
                    <a:pt x="8" y="572"/>
                  </a:lnTo>
                  <a:lnTo>
                    <a:pt x="10" y="571"/>
                  </a:lnTo>
                  <a:lnTo>
                    <a:pt x="11" y="571"/>
                  </a:lnTo>
                  <a:lnTo>
                    <a:pt x="13" y="572"/>
                  </a:lnTo>
                  <a:lnTo>
                    <a:pt x="13" y="574"/>
                  </a:lnTo>
                  <a:lnTo>
                    <a:pt x="17" y="578"/>
                  </a:lnTo>
                  <a:lnTo>
                    <a:pt x="19" y="579"/>
                  </a:lnTo>
                  <a:lnTo>
                    <a:pt x="21" y="579"/>
                  </a:lnTo>
                  <a:lnTo>
                    <a:pt x="22" y="578"/>
                  </a:lnTo>
                  <a:lnTo>
                    <a:pt x="24" y="577"/>
                  </a:lnTo>
                  <a:lnTo>
                    <a:pt x="25" y="574"/>
                  </a:lnTo>
                  <a:lnTo>
                    <a:pt x="27" y="572"/>
                  </a:lnTo>
                  <a:lnTo>
                    <a:pt x="28" y="569"/>
                  </a:lnTo>
                  <a:lnTo>
                    <a:pt x="34" y="563"/>
                  </a:lnTo>
                  <a:lnTo>
                    <a:pt x="42" y="558"/>
                  </a:lnTo>
                  <a:lnTo>
                    <a:pt x="60" y="546"/>
                  </a:lnTo>
                  <a:lnTo>
                    <a:pt x="67" y="541"/>
                  </a:lnTo>
                  <a:lnTo>
                    <a:pt x="72" y="538"/>
                  </a:lnTo>
                  <a:lnTo>
                    <a:pt x="74" y="537"/>
                  </a:lnTo>
                  <a:lnTo>
                    <a:pt x="75" y="535"/>
                  </a:lnTo>
                  <a:lnTo>
                    <a:pt x="74" y="534"/>
                  </a:lnTo>
                  <a:lnTo>
                    <a:pt x="73" y="532"/>
                  </a:lnTo>
                  <a:lnTo>
                    <a:pt x="71" y="531"/>
                  </a:lnTo>
                  <a:lnTo>
                    <a:pt x="67" y="531"/>
                  </a:lnTo>
                  <a:lnTo>
                    <a:pt x="64" y="532"/>
                  </a:lnTo>
                  <a:lnTo>
                    <a:pt x="60" y="533"/>
                  </a:lnTo>
                  <a:lnTo>
                    <a:pt x="56" y="529"/>
                  </a:lnTo>
                  <a:lnTo>
                    <a:pt x="54" y="522"/>
                  </a:lnTo>
                  <a:lnTo>
                    <a:pt x="53" y="513"/>
                  </a:lnTo>
                  <a:lnTo>
                    <a:pt x="55" y="505"/>
                  </a:lnTo>
                  <a:lnTo>
                    <a:pt x="59" y="496"/>
                  </a:lnTo>
                  <a:lnTo>
                    <a:pt x="70" y="476"/>
                  </a:lnTo>
                  <a:lnTo>
                    <a:pt x="76" y="469"/>
                  </a:lnTo>
                  <a:lnTo>
                    <a:pt x="81" y="465"/>
                  </a:lnTo>
                  <a:lnTo>
                    <a:pt x="87" y="459"/>
                  </a:lnTo>
                  <a:lnTo>
                    <a:pt x="91" y="450"/>
                  </a:lnTo>
                  <a:lnTo>
                    <a:pt x="92" y="439"/>
                  </a:lnTo>
                  <a:lnTo>
                    <a:pt x="92" y="419"/>
                  </a:lnTo>
                  <a:lnTo>
                    <a:pt x="96" y="410"/>
                  </a:lnTo>
                  <a:lnTo>
                    <a:pt x="98" y="403"/>
                  </a:lnTo>
                  <a:lnTo>
                    <a:pt x="96" y="394"/>
                  </a:lnTo>
                  <a:lnTo>
                    <a:pt x="91" y="383"/>
                  </a:lnTo>
                  <a:lnTo>
                    <a:pt x="84" y="371"/>
                  </a:lnTo>
                  <a:lnTo>
                    <a:pt x="76" y="359"/>
                  </a:lnTo>
                  <a:lnTo>
                    <a:pt x="71" y="352"/>
                  </a:lnTo>
                  <a:lnTo>
                    <a:pt x="68" y="347"/>
                  </a:lnTo>
                  <a:lnTo>
                    <a:pt x="68" y="343"/>
                  </a:lnTo>
                  <a:lnTo>
                    <a:pt x="70" y="337"/>
                  </a:lnTo>
                  <a:lnTo>
                    <a:pt x="72" y="334"/>
                  </a:lnTo>
                  <a:lnTo>
                    <a:pt x="73" y="330"/>
                  </a:lnTo>
                  <a:lnTo>
                    <a:pt x="73" y="326"/>
                  </a:lnTo>
                  <a:lnTo>
                    <a:pt x="71" y="324"/>
                  </a:lnTo>
                  <a:lnTo>
                    <a:pt x="67" y="324"/>
                  </a:lnTo>
                  <a:lnTo>
                    <a:pt x="63" y="323"/>
                  </a:lnTo>
                  <a:lnTo>
                    <a:pt x="58" y="321"/>
                  </a:lnTo>
                  <a:lnTo>
                    <a:pt x="55" y="317"/>
                  </a:lnTo>
                  <a:lnTo>
                    <a:pt x="53" y="312"/>
                  </a:lnTo>
                  <a:lnTo>
                    <a:pt x="51" y="305"/>
                  </a:lnTo>
                  <a:lnTo>
                    <a:pt x="48" y="300"/>
                  </a:lnTo>
                  <a:lnTo>
                    <a:pt x="43" y="296"/>
                  </a:lnTo>
                  <a:lnTo>
                    <a:pt x="37" y="292"/>
                  </a:lnTo>
                  <a:lnTo>
                    <a:pt x="36" y="287"/>
                  </a:lnTo>
                  <a:lnTo>
                    <a:pt x="37" y="283"/>
                  </a:lnTo>
                  <a:lnTo>
                    <a:pt x="42" y="280"/>
                  </a:lnTo>
                  <a:lnTo>
                    <a:pt x="44" y="277"/>
                  </a:lnTo>
                  <a:lnTo>
                    <a:pt x="45" y="272"/>
                  </a:lnTo>
                  <a:lnTo>
                    <a:pt x="43" y="262"/>
                  </a:lnTo>
                  <a:lnTo>
                    <a:pt x="43" y="258"/>
                  </a:lnTo>
                  <a:lnTo>
                    <a:pt x="45" y="256"/>
                  </a:lnTo>
                  <a:lnTo>
                    <a:pt x="51" y="253"/>
                  </a:lnTo>
                  <a:lnTo>
                    <a:pt x="58" y="247"/>
                  </a:lnTo>
                  <a:lnTo>
                    <a:pt x="65" y="242"/>
                  </a:lnTo>
                  <a:lnTo>
                    <a:pt x="71" y="242"/>
                  </a:lnTo>
                  <a:lnTo>
                    <a:pt x="77" y="244"/>
                  </a:lnTo>
                  <a:lnTo>
                    <a:pt x="83" y="247"/>
                  </a:lnTo>
                  <a:lnTo>
                    <a:pt x="88" y="249"/>
                  </a:lnTo>
                  <a:lnTo>
                    <a:pt x="91" y="248"/>
                  </a:lnTo>
                  <a:lnTo>
                    <a:pt x="91" y="244"/>
                  </a:lnTo>
                  <a:lnTo>
                    <a:pt x="87" y="238"/>
                  </a:lnTo>
                  <a:lnTo>
                    <a:pt x="83" y="233"/>
                  </a:lnTo>
                  <a:lnTo>
                    <a:pt x="82" y="226"/>
                  </a:lnTo>
                  <a:lnTo>
                    <a:pt x="85" y="224"/>
                  </a:lnTo>
                  <a:lnTo>
                    <a:pt x="89" y="225"/>
                  </a:lnTo>
                  <a:lnTo>
                    <a:pt x="95" y="228"/>
                  </a:lnTo>
                  <a:lnTo>
                    <a:pt x="109" y="238"/>
                  </a:lnTo>
                  <a:lnTo>
                    <a:pt x="115" y="242"/>
                  </a:lnTo>
                  <a:lnTo>
                    <a:pt x="120" y="244"/>
                  </a:lnTo>
                  <a:lnTo>
                    <a:pt x="127" y="248"/>
                  </a:lnTo>
                  <a:lnTo>
                    <a:pt x="141" y="260"/>
                  </a:lnTo>
                  <a:lnTo>
                    <a:pt x="147" y="264"/>
                  </a:lnTo>
                  <a:lnTo>
                    <a:pt x="150" y="263"/>
                  </a:lnTo>
                  <a:lnTo>
                    <a:pt x="152" y="259"/>
                  </a:lnTo>
                  <a:lnTo>
                    <a:pt x="152" y="254"/>
                  </a:lnTo>
                  <a:lnTo>
                    <a:pt x="153" y="249"/>
                  </a:lnTo>
                  <a:lnTo>
                    <a:pt x="155" y="245"/>
                  </a:lnTo>
                  <a:lnTo>
                    <a:pt x="158" y="244"/>
                  </a:lnTo>
                  <a:lnTo>
                    <a:pt x="162" y="246"/>
                  </a:lnTo>
                  <a:lnTo>
                    <a:pt x="167" y="249"/>
                  </a:lnTo>
                  <a:lnTo>
                    <a:pt x="173" y="251"/>
                  </a:lnTo>
                  <a:lnTo>
                    <a:pt x="179" y="251"/>
                  </a:lnTo>
                  <a:lnTo>
                    <a:pt x="187" y="248"/>
                  </a:lnTo>
                  <a:lnTo>
                    <a:pt x="195" y="244"/>
                  </a:lnTo>
                  <a:lnTo>
                    <a:pt x="205" y="240"/>
                  </a:lnTo>
                  <a:lnTo>
                    <a:pt x="219" y="233"/>
                  </a:lnTo>
                  <a:lnTo>
                    <a:pt x="225" y="232"/>
                  </a:lnTo>
                  <a:lnTo>
                    <a:pt x="229" y="232"/>
                  </a:lnTo>
                  <a:lnTo>
                    <a:pt x="233" y="233"/>
                  </a:lnTo>
                  <a:lnTo>
                    <a:pt x="238" y="235"/>
                  </a:lnTo>
                  <a:lnTo>
                    <a:pt x="243" y="234"/>
                  </a:lnTo>
                  <a:lnTo>
                    <a:pt x="251" y="224"/>
                  </a:lnTo>
                  <a:lnTo>
                    <a:pt x="254" y="220"/>
                  </a:lnTo>
                  <a:lnTo>
                    <a:pt x="257" y="215"/>
                  </a:lnTo>
                  <a:lnTo>
                    <a:pt x="260" y="208"/>
                  </a:lnTo>
                  <a:lnTo>
                    <a:pt x="261" y="202"/>
                  </a:lnTo>
                  <a:lnTo>
                    <a:pt x="260" y="198"/>
                  </a:lnTo>
                  <a:lnTo>
                    <a:pt x="256" y="194"/>
                  </a:lnTo>
                  <a:lnTo>
                    <a:pt x="242" y="185"/>
                  </a:lnTo>
                  <a:lnTo>
                    <a:pt x="235" y="182"/>
                  </a:lnTo>
                  <a:lnTo>
                    <a:pt x="232" y="181"/>
                  </a:lnTo>
                  <a:lnTo>
                    <a:pt x="231" y="179"/>
                  </a:lnTo>
                  <a:lnTo>
                    <a:pt x="231" y="175"/>
                  </a:lnTo>
                  <a:lnTo>
                    <a:pt x="232" y="173"/>
                  </a:lnTo>
                  <a:lnTo>
                    <a:pt x="236" y="169"/>
                  </a:lnTo>
                  <a:lnTo>
                    <a:pt x="242" y="166"/>
                  </a:lnTo>
                  <a:lnTo>
                    <a:pt x="244" y="164"/>
                  </a:lnTo>
                  <a:lnTo>
                    <a:pt x="246" y="161"/>
                  </a:lnTo>
                  <a:lnTo>
                    <a:pt x="247" y="159"/>
                  </a:lnTo>
                  <a:lnTo>
                    <a:pt x="248" y="156"/>
                  </a:lnTo>
                  <a:lnTo>
                    <a:pt x="249" y="154"/>
                  </a:lnTo>
                  <a:lnTo>
                    <a:pt x="250" y="153"/>
                  </a:lnTo>
                  <a:lnTo>
                    <a:pt x="252" y="152"/>
                  </a:lnTo>
                  <a:lnTo>
                    <a:pt x="258" y="152"/>
                  </a:lnTo>
                  <a:lnTo>
                    <a:pt x="265" y="150"/>
                  </a:lnTo>
                  <a:lnTo>
                    <a:pt x="272" y="147"/>
                  </a:lnTo>
                  <a:lnTo>
                    <a:pt x="276" y="143"/>
                  </a:lnTo>
                  <a:lnTo>
                    <a:pt x="280" y="137"/>
                  </a:lnTo>
                  <a:lnTo>
                    <a:pt x="286" y="131"/>
                  </a:lnTo>
                  <a:lnTo>
                    <a:pt x="294" y="127"/>
                  </a:lnTo>
                  <a:lnTo>
                    <a:pt x="299" y="124"/>
                  </a:lnTo>
                  <a:lnTo>
                    <a:pt x="308" y="109"/>
                  </a:lnTo>
                  <a:lnTo>
                    <a:pt x="312" y="105"/>
                  </a:lnTo>
                  <a:lnTo>
                    <a:pt x="317" y="105"/>
                  </a:lnTo>
                  <a:lnTo>
                    <a:pt x="319" y="104"/>
                  </a:lnTo>
                  <a:lnTo>
                    <a:pt x="321" y="102"/>
                  </a:lnTo>
                  <a:lnTo>
                    <a:pt x="321" y="101"/>
                  </a:lnTo>
                  <a:lnTo>
                    <a:pt x="328" y="100"/>
                  </a:lnTo>
                  <a:lnTo>
                    <a:pt x="333" y="97"/>
                  </a:lnTo>
                  <a:lnTo>
                    <a:pt x="340" y="93"/>
                  </a:lnTo>
                  <a:lnTo>
                    <a:pt x="348" y="91"/>
                  </a:lnTo>
                  <a:lnTo>
                    <a:pt x="357" y="91"/>
                  </a:lnTo>
                  <a:lnTo>
                    <a:pt x="375" y="93"/>
                  </a:lnTo>
                  <a:lnTo>
                    <a:pt x="382" y="93"/>
                  </a:lnTo>
                  <a:lnTo>
                    <a:pt x="388" y="91"/>
                  </a:lnTo>
                  <a:lnTo>
                    <a:pt x="395" y="85"/>
                  </a:lnTo>
                  <a:lnTo>
                    <a:pt x="405" y="78"/>
                  </a:lnTo>
                  <a:lnTo>
                    <a:pt x="417" y="69"/>
                  </a:lnTo>
                  <a:lnTo>
                    <a:pt x="429" y="62"/>
                  </a:lnTo>
                  <a:lnTo>
                    <a:pt x="440" y="55"/>
                  </a:lnTo>
                  <a:lnTo>
                    <a:pt x="448" y="52"/>
                  </a:lnTo>
                  <a:lnTo>
                    <a:pt x="457" y="47"/>
                  </a:lnTo>
                  <a:lnTo>
                    <a:pt x="462" y="41"/>
                  </a:lnTo>
                  <a:lnTo>
                    <a:pt x="465" y="36"/>
                  </a:lnTo>
                  <a:lnTo>
                    <a:pt x="463" y="30"/>
                  </a:lnTo>
                  <a:lnTo>
                    <a:pt x="460" y="25"/>
                  </a:lnTo>
                  <a:lnTo>
                    <a:pt x="459" y="19"/>
                  </a:lnTo>
                  <a:lnTo>
                    <a:pt x="460" y="14"/>
                  </a:lnTo>
                  <a:lnTo>
                    <a:pt x="463" y="11"/>
                  </a:lnTo>
                  <a:lnTo>
                    <a:pt x="470" y="10"/>
                  </a:lnTo>
                  <a:lnTo>
                    <a:pt x="480" y="12"/>
                  </a:lnTo>
                  <a:lnTo>
                    <a:pt x="486" y="16"/>
                  </a:lnTo>
                  <a:lnTo>
                    <a:pt x="489" y="23"/>
                  </a:lnTo>
                  <a:lnTo>
                    <a:pt x="490" y="32"/>
                  </a:lnTo>
                  <a:lnTo>
                    <a:pt x="493" y="41"/>
                  </a:lnTo>
                  <a:lnTo>
                    <a:pt x="501" y="48"/>
                  </a:lnTo>
                  <a:lnTo>
                    <a:pt x="511" y="52"/>
                  </a:lnTo>
                  <a:lnTo>
                    <a:pt x="521" y="53"/>
                  </a:lnTo>
                  <a:lnTo>
                    <a:pt x="529" y="54"/>
                  </a:lnTo>
                  <a:lnTo>
                    <a:pt x="538" y="59"/>
                  </a:lnTo>
                  <a:lnTo>
                    <a:pt x="545" y="65"/>
                  </a:lnTo>
                  <a:lnTo>
                    <a:pt x="550" y="71"/>
                  </a:lnTo>
                  <a:lnTo>
                    <a:pt x="552" y="75"/>
                  </a:lnTo>
                  <a:lnTo>
                    <a:pt x="550" y="81"/>
                  </a:lnTo>
                  <a:lnTo>
                    <a:pt x="548" y="86"/>
                  </a:lnTo>
                  <a:lnTo>
                    <a:pt x="548" y="98"/>
                  </a:lnTo>
                  <a:lnTo>
                    <a:pt x="546" y="105"/>
                  </a:lnTo>
                  <a:lnTo>
                    <a:pt x="543" y="111"/>
                  </a:lnTo>
                  <a:lnTo>
                    <a:pt x="541" y="116"/>
                  </a:lnTo>
                  <a:lnTo>
                    <a:pt x="540" y="119"/>
                  </a:lnTo>
                  <a:lnTo>
                    <a:pt x="538" y="122"/>
                  </a:lnTo>
                  <a:lnTo>
                    <a:pt x="537" y="125"/>
                  </a:lnTo>
                  <a:lnTo>
                    <a:pt x="537" y="128"/>
                  </a:lnTo>
                  <a:lnTo>
                    <a:pt x="541" y="130"/>
                  </a:lnTo>
                  <a:lnTo>
                    <a:pt x="548" y="132"/>
                  </a:lnTo>
                  <a:lnTo>
                    <a:pt x="559" y="135"/>
                  </a:lnTo>
                  <a:lnTo>
                    <a:pt x="565" y="137"/>
                  </a:lnTo>
                  <a:lnTo>
                    <a:pt x="565" y="140"/>
                  </a:lnTo>
                  <a:lnTo>
                    <a:pt x="564" y="145"/>
                  </a:lnTo>
                  <a:lnTo>
                    <a:pt x="563" y="147"/>
                  </a:lnTo>
                  <a:lnTo>
                    <a:pt x="563" y="151"/>
                  </a:lnTo>
                  <a:lnTo>
                    <a:pt x="565" y="155"/>
                  </a:lnTo>
                  <a:lnTo>
                    <a:pt x="565" y="159"/>
                  </a:lnTo>
                  <a:lnTo>
                    <a:pt x="563" y="160"/>
                  </a:lnTo>
                  <a:lnTo>
                    <a:pt x="551" y="160"/>
                  </a:lnTo>
                  <a:lnTo>
                    <a:pt x="544" y="161"/>
                  </a:lnTo>
                  <a:lnTo>
                    <a:pt x="539" y="163"/>
                  </a:lnTo>
                  <a:lnTo>
                    <a:pt x="536" y="167"/>
                  </a:lnTo>
                  <a:lnTo>
                    <a:pt x="536" y="173"/>
                  </a:lnTo>
                  <a:lnTo>
                    <a:pt x="539" y="182"/>
                  </a:lnTo>
                  <a:lnTo>
                    <a:pt x="543" y="190"/>
                  </a:lnTo>
                  <a:lnTo>
                    <a:pt x="548" y="195"/>
                  </a:lnTo>
                  <a:lnTo>
                    <a:pt x="554" y="195"/>
                  </a:lnTo>
                  <a:lnTo>
                    <a:pt x="560" y="190"/>
                  </a:lnTo>
                  <a:lnTo>
                    <a:pt x="565" y="185"/>
                  </a:lnTo>
                  <a:lnTo>
                    <a:pt x="570" y="180"/>
                  </a:lnTo>
                  <a:lnTo>
                    <a:pt x="576" y="178"/>
                  </a:lnTo>
                  <a:lnTo>
                    <a:pt x="585" y="178"/>
                  </a:lnTo>
                  <a:lnTo>
                    <a:pt x="595" y="177"/>
                  </a:lnTo>
                  <a:lnTo>
                    <a:pt x="606" y="175"/>
                  </a:lnTo>
                  <a:lnTo>
                    <a:pt x="614" y="171"/>
                  </a:lnTo>
                  <a:lnTo>
                    <a:pt x="617" y="168"/>
                  </a:lnTo>
                  <a:lnTo>
                    <a:pt x="621" y="162"/>
                  </a:lnTo>
                  <a:lnTo>
                    <a:pt x="623" y="160"/>
                  </a:lnTo>
                  <a:lnTo>
                    <a:pt x="629" y="159"/>
                  </a:lnTo>
                  <a:lnTo>
                    <a:pt x="637" y="159"/>
                  </a:lnTo>
                  <a:lnTo>
                    <a:pt x="647" y="161"/>
                  </a:lnTo>
                  <a:lnTo>
                    <a:pt x="653" y="163"/>
                  </a:lnTo>
                  <a:lnTo>
                    <a:pt x="657" y="165"/>
                  </a:lnTo>
                  <a:lnTo>
                    <a:pt x="660" y="165"/>
                  </a:lnTo>
                  <a:lnTo>
                    <a:pt x="665" y="161"/>
                  </a:lnTo>
                  <a:lnTo>
                    <a:pt x="673" y="154"/>
                  </a:lnTo>
                  <a:lnTo>
                    <a:pt x="680" y="148"/>
                  </a:lnTo>
                  <a:lnTo>
                    <a:pt x="685" y="143"/>
                  </a:lnTo>
                  <a:lnTo>
                    <a:pt x="686" y="138"/>
                  </a:lnTo>
                  <a:lnTo>
                    <a:pt x="684" y="133"/>
                  </a:lnTo>
                  <a:lnTo>
                    <a:pt x="681" y="127"/>
                  </a:lnTo>
                  <a:lnTo>
                    <a:pt x="678" y="123"/>
                  </a:lnTo>
                  <a:lnTo>
                    <a:pt x="677" y="120"/>
                  </a:lnTo>
                  <a:lnTo>
                    <a:pt x="680" y="108"/>
                  </a:lnTo>
                  <a:lnTo>
                    <a:pt x="682" y="86"/>
                  </a:lnTo>
                  <a:lnTo>
                    <a:pt x="681" y="75"/>
                  </a:lnTo>
                  <a:lnTo>
                    <a:pt x="677" y="66"/>
                  </a:lnTo>
                  <a:lnTo>
                    <a:pt x="670" y="58"/>
                  </a:lnTo>
                  <a:lnTo>
                    <a:pt x="661" y="52"/>
                  </a:lnTo>
                  <a:lnTo>
                    <a:pt x="653" y="47"/>
                  </a:lnTo>
                  <a:lnTo>
                    <a:pt x="647" y="43"/>
                  </a:lnTo>
                  <a:lnTo>
                    <a:pt x="645" y="38"/>
                  </a:lnTo>
                  <a:lnTo>
                    <a:pt x="645" y="29"/>
                  </a:lnTo>
                  <a:lnTo>
                    <a:pt x="646" y="27"/>
                  </a:lnTo>
                  <a:lnTo>
                    <a:pt x="646" y="26"/>
                  </a:lnTo>
                  <a:lnTo>
                    <a:pt x="647" y="24"/>
                  </a:lnTo>
                  <a:lnTo>
                    <a:pt x="648" y="24"/>
                  </a:lnTo>
                  <a:lnTo>
                    <a:pt x="650" y="23"/>
                  </a:lnTo>
                  <a:lnTo>
                    <a:pt x="653" y="23"/>
                  </a:lnTo>
                  <a:lnTo>
                    <a:pt x="657" y="24"/>
                  </a:lnTo>
                  <a:lnTo>
                    <a:pt x="666" y="28"/>
                  </a:lnTo>
                  <a:lnTo>
                    <a:pt x="672" y="31"/>
                  </a:lnTo>
                  <a:lnTo>
                    <a:pt x="676" y="32"/>
                  </a:lnTo>
                  <a:lnTo>
                    <a:pt x="679" y="28"/>
                  </a:lnTo>
                  <a:lnTo>
                    <a:pt x="680" y="23"/>
                  </a:lnTo>
                  <a:lnTo>
                    <a:pt x="680" y="19"/>
                  </a:lnTo>
                  <a:lnTo>
                    <a:pt x="679" y="14"/>
                  </a:lnTo>
                  <a:lnTo>
                    <a:pt x="680" y="10"/>
                  </a:lnTo>
                  <a:lnTo>
                    <a:pt x="683" y="7"/>
                  </a:lnTo>
                  <a:lnTo>
                    <a:pt x="689" y="6"/>
                  </a:lnTo>
                  <a:lnTo>
                    <a:pt x="699" y="5"/>
                  </a:lnTo>
                  <a:lnTo>
                    <a:pt x="706" y="4"/>
                  </a:lnTo>
                  <a:lnTo>
                    <a:pt x="712" y="3"/>
                  </a:lnTo>
                  <a:lnTo>
                    <a:pt x="719" y="1"/>
                  </a:lnTo>
                  <a:lnTo>
                    <a:pt x="727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7">
              <a:extLst>
                <a:ext uri="{FF2B5EF4-FFF2-40B4-BE49-F238E27FC236}">
                  <a16:creationId xmlns:a16="http://schemas.microsoft.com/office/drawing/2014/main" id="{EA9A769E-87DC-4AB9-8C61-F675774466B3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3901" y="2105026"/>
              <a:ext cx="238125" cy="219075"/>
            </a:xfrm>
            <a:custGeom>
              <a:avLst/>
              <a:gdLst/>
              <a:ahLst/>
              <a:cxnLst>
                <a:cxn ang="0">
                  <a:pos x="113" y="0"/>
                </a:cxn>
                <a:cxn ang="0">
                  <a:pos x="112" y="20"/>
                </a:cxn>
                <a:cxn ang="0">
                  <a:pos x="118" y="28"/>
                </a:cxn>
                <a:cxn ang="0">
                  <a:pos x="125" y="42"/>
                </a:cxn>
                <a:cxn ang="0">
                  <a:pos x="119" y="55"/>
                </a:cxn>
                <a:cxn ang="0">
                  <a:pos x="114" y="70"/>
                </a:cxn>
                <a:cxn ang="0">
                  <a:pos x="117" y="82"/>
                </a:cxn>
                <a:cxn ang="0">
                  <a:pos x="127" y="93"/>
                </a:cxn>
                <a:cxn ang="0">
                  <a:pos x="142" y="113"/>
                </a:cxn>
                <a:cxn ang="0">
                  <a:pos x="142" y="124"/>
                </a:cxn>
                <a:cxn ang="0">
                  <a:pos x="131" y="128"/>
                </a:cxn>
                <a:cxn ang="0">
                  <a:pos x="127" y="135"/>
                </a:cxn>
                <a:cxn ang="0">
                  <a:pos x="119" y="138"/>
                </a:cxn>
                <a:cxn ang="0">
                  <a:pos x="106" y="131"/>
                </a:cxn>
                <a:cxn ang="0">
                  <a:pos x="95" y="118"/>
                </a:cxn>
                <a:cxn ang="0">
                  <a:pos x="82" y="120"/>
                </a:cxn>
                <a:cxn ang="0">
                  <a:pos x="72" y="126"/>
                </a:cxn>
                <a:cxn ang="0">
                  <a:pos x="44" y="127"/>
                </a:cxn>
                <a:cxn ang="0">
                  <a:pos x="30" y="121"/>
                </a:cxn>
                <a:cxn ang="0">
                  <a:pos x="21" y="105"/>
                </a:cxn>
                <a:cxn ang="0">
                  <a:pos x="10" y="84"/>
                </a:cxn>
                <a:cxn ang="0">
                  <a:pos x="0" y="70"/>
                </a:cxn>
                <a:cxn ang="0">
                  <a:pos x="8" y="49"/>
                </a:cxn>
                <a:cxn ang="0">
                  <a:pos x="17" y="41"/>
                </a:cxn>
                <a:cxn ang="0">
                  <a:pos x="23" y="45"/>
                </a:cxn>
                <a:cxn ang="0">
                  <a:pos x="27" y="52"/>
                </a:cxn>
                <a:cxn ang="0">
                  <a:pos x="31" y="51"/>
                </a:cxn>
                <a:cxn ang="0">
                  <a:pos x="39" y="41"/>
                </a:cxn>
                <a:cxn ang="0">
                  <a:pos x="49" y="33"/>
                </a:cxn>
                <a:cxn ang="0">
                  <a:pos x="63" y="30"/>
                </a:cxn>
                <a:cxn ang="0">
                  <a:pos x="70" y="22"/>
                </a:cxn>
                <a:cxn ang="0">
                  <a:pos x="75" y="20"/>
                </a:cxn>
                <a:cxn ang="0">
                  <a:pos x="80" y="22"/>
                </a:cxn>
                <a:cxn ang="0">
                  <a:pos x="83" y="27"/>
                </a:cxn>
                <a:cxn ang="0">
                  <a:pos x="86" y="34"/>
                </a:cxn>
                <a:cxn ang="0">
                  <a:pos x="90" y="32"/>
                </a:cxn>
                <a:cxn ang="0">
                  <a:pos x="90" y="23"/>
                </a:cxn>
                <a:cxn ang="0">
                  <a:pos x="88" y="13"/>
                </a:cxn>
                <a:cxn ang="0">
                  <a:pos x="93" y="6"/>
                </a:cxn>
                <a:cxn ang="0">
                  <a:pos x="109" y="0"/>
                </a:cxn>
              </a:cxnLst>
              <a:rect l="0" t="0" r="r" b="b"/>
              <a:pathLst>
                <a:path w="150" h="138">
                  <a:moveTo>
                    <a:pt x="109" y="0"/>
                  </a:moveTo>
                  <a:lnTo>
                    <a:pt x="113" y="0"/>
                  </a:lnTo>
                  <a:lnTo>
                    <a:pt x="115" y="2"/>
                  </a:lnTo>
                  <a:lnTo>
                    <a:pt x="112" y="20"/>
                  </a:lnTo>
                  <a:lnTo>
                    <a:pt x="114" y="24"/>
                  </a:lnTo>
                  <a:lnTo>
                    <a:pt x="118" y="28"/>
                  </a:lnTo>
                  <a:lnTo>
                    <a:pt x="123" y="35"/>
                  </a:lnTo>
                  <a:lnTo>
                    <a:pt x="125" y="42"/>
                  </a:lnTo>
                  <a:lnTo>
                    <a:pt x="123" y="49"/>
                  </a:lnTo>
                  <a:lnTo>
                    <a:pt x="119" y="55"/>
                  </a:lnTo>
                  <a:lnTo>
                    <a:pt x="116" y="62"/>
                  </a:lnTo>
                  <a:lnTo>
                    <a:pt x="114" y="70"/>
                  </a:lnTo>
                  <a:lnTo>
                    <a:pt x="114" y="77"/>
                  </a:lnTo>
                  <a:lnTo>
                    <a:pt x="117" y="82"/>
                  </a:lnTo>
                  <a:lnTo>
                    <a:pt x="121" y="86"/>
                  </a:lnTo>
                  <a:lnTo>
                    <a:pt x="127" y="93"/>
                  </a:lnTo>
                  <a:lnTo>
                    <a:pt x="135" y="103"/>
                  </a:lnTo>
                  <a:lnTo>
                    <a:pt x="142" y="113"/>
                  </a:lnTo>
                  <a:lnTo>
                    <a:pt x="150" y="124"/>
                  </a:lnTo>
                  <a:lnTo>
                    <a:pt x="142" y="124"/>
                  </a:lnTo>
                  <a:lnTo>
                    <a:pt x="135" y="125"/>
                  </a:lnTo>
                  <a:lnTo>
                    <a:pt x="131" y="128"/>
                  </a:lnTo>
                  <a:lnTo>
                    <a:pt x="129" y="131"/>
                  </a:lnTo>
                  <a:lnTo>
                    <a:pt x="127" y="135"/>
                  </a:lnTo>
                  <a:lnTo>
                    <a:pt x="124" y="137"/>
                  </a:lnTo>
                  <a:lnTo>
                    <a:pt x="119" y="138"/>
                  </a:lnTo>
                  <a:lnTo>
                    <a:pt x="113" y="136"/>
                  </a:lnTo>
                  <a:lnTo>
                    <a:pt x="106" y="131"/>
                  </a:lnTo>
                  <a:lnTo>
                    <a:pt x="100" y="123"/>
                  </a:lnTo>
                  <a:lnTo>
                    <a:pt x="95" y="118"/>
                  </a:lnTo>
                  <a:lnTo>
                    <a:pt x="90" y="116"/>
                  </a:lnTo>
                  <a:lnTo>
                    <a:pt x="82" y="120"/>
                  </a:lnTo>
                  <a:lnTo>
                    <a:pt x="78" y="123"/>
                  </a:lnTo>
                  <a:lnTo>
                    <a:pt x="72" y="126"/>
                  </a:lnTo>
                  <a:lnTo>
                    <a:pt x="64" y="127"/>
                  </a:lnTo>
                  <a:lnTo>
                    <a:pt x="44" y="127"/>
                  </a:lnTo>
                  <a:lnTo>
                    <a:pt x="36" y="125"/>
                  </a:lnTo>
                  <a:lnTo>
                    <a:pt x="30" y="121"/>
                  </a:lnTo>
                  <a:lnTo>
                    <a:pt x="25" y="114"/>
                  </a:lnTo>
                  <a:lnTo>
                    <a:pt x="21" y="105"/>
                  </a:lnTo>
                  <a:lnTo>
                    <a:pt x="16" y="94"/>
                  </a:lnTo>
                  <a:lnTo>
                    <a:pt x="10" y="84"/>
                  </a:lnTo>
                  <a:lnTo>
                    <a:pt x="4" y="75"/>
                  </a:lnTo>
                  <a:lnTo>
                    <a:pt x="0" y="70"/>
                  </a:lnTo>
                  <a:lnTo>
                    <a:pt x="4" y="59"/>
                  </a:lnTo>
                  <a:lnTo>
                    <a:pt x="8" y="49"/>
                  </a:lnTo>
                  <a:lnTo>
                    <a:pt x="13" y="43"/>
                  </a:lnTo>
                  <a:lnTo>
                    <a:pt x="17" y="41"/>
                  </a:lnTo>
                  <a:lnTo>
                    <a:pt x="20" y="42"/>
                  </a:lnTo>
                  <a:lnTo>
                    <a:pt x="23" y="45"/>
                  </a:lnTo>
                  <a:lnTo>
                    <a:pt x="26" y="51"/>
                  </a:lnTo>
                  <a:lnTo>
                    <a:pt x="27" y="52"/>
                  </a:lnTo>
                  <a:lnTo>
                    <a:pt x="29" y="52"/>
                  </a:lnTo>
                  <a:lnTo>
                    <a:pt x="31" y="51"/>
                  </a:lnTo>
                  <a:lnTo>
                    <a:pt x="35" y="47"/>
                  </a:lnTo>
                  <a:lnTo>
                    <a:pt x="39" y="41"/>
                  </a:lnTo>
                  <a:lnTo>
                    <a:pt x="44" y="36"/>
                  </a:lnTo>
                  <a:lnTo>
                    <a:pt x="49" y="33"/>
                  </a:lnTo>
                  <a:lnTo>
                    <a:pt x="57" y="31"/>
                  </a:lnTo>
                  <a:lnTo>
                    <a:pt x="63" y="30"/>
                  </a:lnTo>
                  <a:lnTo>
                    <a:pt x="66" y="28"/>
                  </a:lnTo>
                  <a:lnTo>
                    <a:pt x="70" y="22"/>
                  </a:lnTo>
                  <a:lnTo>
                    <a:pt x="72" y="20"/>
                  </a:lnTo>
                  <a:lnTo>
                    <a:pt x="75" y="20"/>
                  </a:lnTo>
                  <a:lnTo>
                    <a:pt x="77" y="21"/>
                  </a:lnTo>
                  <a:lnTo>
                    <a:pt x="80" y="22"/>
                  </a:lnTo>
                  <a:lnTo>
                    <a:pt x="81" y="25"/>
                  </a:lnTo>
                  <a:lnTo>
                    <a:pt x="83" y="27"/>
                  </a:lnTo>
                  <a:lnTo>
                    <a:pt x="84" y="30"/>
                  </a:lnTo>
                  <a:lnTo>
                    <a:pt x="86" y="34"/>
                  </a:lnTo>
                  <a:lnTo>
                    <a:pt x="89" y="34"/>
                  </a:lnTo>
                  <a:lnTo>
                    <a:pt x="90" y="32"/>
                  </a:lnTo>
                  <a:lnTo>
                    <a:pt x="91" y="28"/>
                  </a:lnTo>
                  <a:lnTo>
                    <a:pt x="90" y="23"/>
                  </a:lnTo>
                  <a:lnTo>
                    <a:pt x="88" y="17"/>
                  </a:lnTo>
                  <a:lnTo>
                    <a:pt x="88" y="13"/>
                  </a:lnTo>
                  <a:lnTo>
                    <a:pt x="89" y="9"/>
                  </a:lnTo>
                  <a:lnTo>
                    <a:pt x="93" y="6"/>
                  </a:lnTo>
                  <a:lnTo>
                    <a:pt x="102" y="3"/>
                  </a:lnTo>
                  <a:lnTo>
                    <a:pt x="109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18">
              <a:extLst>
                <a:ext uri="{FF2B5EF4-FFF2-40B4-BE49-F238E27FC236}">
                  <a16:creationId xmlns:a16="http://schemas.microsoft.com/office/drawing/2014/main" id="{7EA151EC-393D-44B8-A62E-4C4AE5A80A8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2101" y="1319213"/>
              <a:ext cx="960438" cy="1022350"/>
            </a:xfrm>
            <a:custGeom>
              <a:avLst/>
              <a:gdLst/>
              <a:ahLst/>
              <a:cxnLst>
                <a:cxn ang="0">
                  <a:pos x="111" y="19"/>
                </a:cxn>
                <a:cxn ang="0">
                  <a:pos x="155" y="44"/>
                </a:cxn>
                <a:cxn ang="0">
                  <a:pos x="201" y="35"/>
                </a:cxn>
                <a:cxn ang="0">
                  <a:pos x="213" y="40"/>
                </a:cxn>
                <a:cxn ang="0">
                  <a:pos x="246" y="38"/>
                </a:cxn>
                <a:cxn ang="0">
                  <a:pos x="283" y="54"/>
                </a:cxn>
                <a:cxn ang="0">
                  <a:pos x="316" y="54"/>
                </a:cxn>
                <a:cxn ang="0">
                  <a:pos x="342" y="92"/>
                </a:cxn>
                <a:cxn ang="0">
                  <a:pos x="331" y="100"/>
                </a:cxn>
                <a:cxn ang="0">
                  <a:pos x="344" y="147"/>
                </a:cxn>
                <a:cxn ang="0">
                  <a:pos x="323" y="188"/>
                </a:cxn>
                <a:cxn ang="0">
                  <a:pos x="380" y="184"/>
                </a:cxn>
                <a:cxn ang="0">
                  <a:pos x="385" y="214"/>
                </a:cxn>
                <a:cxn ang="0">
                  <a:pos x="376" y="247"/>
                </a:cxn>
                <a:cxn ang="0">
                  <a:pos x="405" y="205"/>
                </a:cxn>
                <a:cxn ang="0">
                  <a:pos x="463" y="222"/>
                </a:cxn>
                <a:cxn ang="0">
                  <a:pos x="509" y="251"/>
                </a:cxn>
                <a:cxn ang="0">
                  <a:pos x="561" y="220"/>
                </a:cxn>
                <a:cxn ang="0">
                  <a:pos x="599" y="232"/>
                </a:cxn>
                <a:cxn ang="0">
                  <a:pos x="604" y="292"/>
                </a:cxn>
                <a:cxn ang="0">
                  <a:pos x="552" y="343"/>
                </a:cxn>
                <a:cxn ang="0">
                  <a:pos x="522" y="363"/>
                </a:cxn>
                <a:cxn ang="0">
                  <a:pos x="547" y="381"/>
                </a:cxn>
                <a:cxn ang="0">
                  <a:pos x="558" y="402"/>
                </a:cxn>
                <a:cxn ang="0">
                  <a:pos x="530" y="438"/>
                </a:cxn>
                <a:cxn ang="0">
                  <a:pos x="534" y="494"/>
                </a:cxn>
                <a:cxn ang="0">
                  <a:pos x="574" y="523"/>
                </a:cxn>
                <a:cxn ang="0">
                  <a:pos x="567" y="564"/>
                </a:cxn>
                <a:cxn ang="0">
                  <a:pos x="538" y="581"/>
                </a:cxn>
                <a:cxn ang="0">
                  <a:pos x="497" y="613"/>
                </a:cxn>
                <a:cxn ang="0">
                  <a:pos x="454" y="633"/>
                </a:cxn>
                <a:cxn ang="0">
                  <a:pos x="399" y="588"/>
                </a:cxn>
                <a:cxn ang="0">
                  <a:pos x="395" y="544"/>
                </a:cxn>
                <a:cxn ang="0">
                  <a:pos x="385" y="495"/>
                </a:cxn>
                <a:cxn ang="0">
                  <a:pos x="362" y="518"/>
                </a:cxn>
                <a:cxn ang="0">
                  <a:pos x="353" y="520"/>
                </a:cxn>
                <a:cxn ang="0">
                  <a:pos x="335" y="525"/>
                </a:cxn>
                <a:cxn ang="0">
                  <a:pos x="301" y="547"/>
                </a:cxn>
                <a:cxn ang="0">
                  <a:pos x="280" y="544"/>
                </a:cxn>
                <a:cxn ang="0">
                  <a:pos x="233" y="540"/>
                </a:cxn>
                <a:cxn ang="0">
                  <a:pos x="194" y="474"/>
                </a:cxn>
                <a:cxn ang="0">
                  <a:pos x="144" y="425"/>
                </a:cxn>
                <a:cxn ang="0">
                  <a:pos x="72" y="403"/>
                </a:cxn>
                <a:cxn ang="0">
                  <a:pos x="78" y="364"/>
                </a:cxn>
                <a:cxn ang="0">
                  <a:pos x="100" y="342"/>
                </a:cxn>
                <a:cxn ang="0">
                  <a:pos x="67" y="322"/>
                </a:cxn>
                <a:cxn ang="0">
                  <a:pos x="61" y="284"/>
                </a:cxn>
                <a:cxn ang="0">
                  <a:pos x="87" y="257"/>
                </a:cxn>
                <a:cxn ang="0">
                  <a:pos x="52" y="259"/>
                </a:cxn>
                <a:cxn ang="0">
                  <a:pos x="14" y="265"/>
                </a:cxn>
                <a:cxn ang="0">
                  <a:pos x="3" y="231"/>
                </a:cxn>
                <a:cxn ang="0">
                  <a:pos x="18" y="221"/>
                </a:cxn>
                <a:cxn ang="0">
                  <a:pos x="10" y="215"/>
                </a:cxn>
                <a:cxn ang="0">
                  <a:pos x="50" y="207"/>
                </a:cxn>
                <a:cxn ang="0">
                  <a:pos x="98" y="188"/>
                </a:cxn>
                <a:cxn ang="0">
                  <a:pos x="80" y="143"/>
                </a:cxn>
                <a:cxn ang="0">
                  <a:pos x="58" y="105"/>
                </a:cxn>
                <a:cxn ang="0">
                  <a:pos x="26" y="66"/>
                </a:cxn>
                <a:cxn ang="0">
                  <a:pos x="27" y="6"/>
                </a:cxn>
              </a:cxnLst>
              <a:rect l="0" t="0" r="r" b="b"/>
              <a:pathLst>
                <a:path w="605" h="644">
                  <a:moveTo>
                    <a:pt x="53" y="0"/>
                  </a:moveTo>
                  <a:lnTo>
                    <a:pt x="62" y="0"/>
                  </a:lnTo>
                  <a:lnTo>
                    <a:pt x="70" y="2"/>
                  </a:lnTo>
                  <a:lnTo>
                    <a:pt x="78" y="6"/>
                  </a:lnTo>
                  <a:lnTo>
                    <a:pt x="87" y="10"/>
                  </a:lnTo>
                  <a:lnTo>
                    <a:pt x="97" y="15"/>
                  </a:lnTo>
                  <a:lnTo>
                    <a:pt x="111" y="19"/>
                  </a:lnTo>
                  <a:lnTo>
                    <a:pt x="126" y="21"/>
                  </a:lnTo>
                  <a:lnTo>
                    <a:pt x="147" y="21"/>
                  </a:lnTo>
                  <a:lnTo>
                    <a:pt x="153" y="23"/>
                  </a:lnTo>
                  <a:lnTo>
                    <a:pt x="155" y="27"/>
                  </a:lnTo>
                  <a:lnTo>
                    <a:pt x="155" y="33"/>
                  </a:lnTo>
                  <a:lnTo>
                    <a:pt x="154" y="39"/>
                  </a:lnTo>
                  <a:lnTo>
                    <a:pt x="155" y="44"/>
                  </a:lnTo>
                  <a:lnTo>
                    <a:pt x="158" y="48"/>
                  </a:lnTo>
                  <a:lnTo>
                    <a:pt x="164" y="49"/>
                  </a:lnTo>
                  <a:lnTo>
                    <a:pt x="174" y="47"/>
                  </a:lnTo>
                  <a:lnTo>
                    <a:pt x="184" y="44"/>
                  </a:lnTo>
                  <a:lnTo>
                    <a:pt x="192" y="41"/>
                  </a:lnTo>
                  <a:lnTo>
                    <a:pt x="197" y="37"/>
                  </a:lnTo>
                  <a:lnTo>
                    <a:pt x="201" y="35"/>
                  </a:lnTo>
                  <a:lnTo>
                    <a:pt x="207" y="33"/>
                  </a:lnTo>
                  <a:lnTo>
                    <a:pt x="213" y="32"/>
                  </a:lnTo>
                  <a:lnTo>
                    <a:pt x="212" y="34"/>
                  </a:lnTo>
                  <a:lnTo>
                    <a:pt x="210" y="38"/>
                  </a:lnTo>
                  <a:lnTo>
                    <a:pt x="210" y="39"/>
                  </a:lnTo>
                  <a:lnTo>
                    <a:pt x="211" y="40"/>
                  </a:lnTo>
                  <a:lnTo>
                    <a:pt x="213" y="40"/>
                  </a:lnTo>
                  <a:lnTo>
                    <a:pt x="220" y="38"/>
                  </a:lnTo>
                  <a:lnTo>
                    <a:pt x="227" y="33"/>
                  </a:lnTo>
                  <a:lnTo>
                    <a:pt x="233" y="29"/>
                  </a:lnTo>
                  <a:lnTo>
                    <a:pt x="237" y="27"/>
                  </a:lnTo>
                  <a:lnTo>
                    <a:pt x="240" y="28"/>
                  </a:lnTo>
                  <a:lnTo>
                    <a:pt x="242" y="33"/>
                  </a:lnTo>
                  <a:lnTo>
                    <a:pt x="246" y="38"/>
                  </a:lnTo>
                  <a:lnTo>
                    <a:pt x="250" y="42"/>
                  </a:lnTo>
                  <a:lnTo>
                    <a:pt x="255" y="44"/>
                  </a:lnTo>
                  <a:lnTo>
                    <a:pt x="260" y="44"/>
                  </a:lnTo>
                  <a:lnTo>
                    <a:pt x="266" y="43"/>
                  </a:lnTo>
                  <a:lnTo>
                    <a:pt x="273" y="45"/>
                  </a:lnTo>
                  <a:lnTo>
                    <a:pt x="279" y="49"/>
                  </a:lnTo>
                  <a:lnTo>
                    <a:pt x="283" y="54"/>
                  </a:lnTo>
                  <a:lnTo>
                    <a:pt x="291" y="66"/>
                  </a:lnTo>
                  <a:lnTo>
                    <a:pt x="296" y="69"/>
                  </a:lnTo>
                  <a:lnTo>
                    <a:pt x="302" y="70"/>
                  </a:lnTo>
                  <a:lnTo>
                    <a:pt x="307" y="67"/>
                  </a:lnTo>
                  <a:lnTo>
                    <a:pt x="311" y="63"/>
                  </a:lnTo>
                  <a:lnTo>
                    <a:pt x="314" y="58"/>
                  </a:lnTo>
                  <a:lnTo>
                    <a:pt x="316" y="54"/>
                  </a:lnTo>
                  <a:lnTo>
                    <a:pt x="319" y="53"/>
                  </a:lnTo>
                  <a:lnTo>
                    <a:pt x="324" y="56"/>
                  </a:lnTo>
                  <a:lnTo>
                    <a:pt x="329" y="63"/>
                  </a:lnTo>
                  <a:lnTo>
                    <a:pt x="337" y="77"/>
                  </a:lnTo>
                  <a:lnTo>
                    <a:pt x="339" y="82"/>
                  </a:lnTo>
                  <a:lnTo>
                    <a:pt x="341" y="88"/>
                  </a:lnTo>
                  <a:lnTo>
                    <a:pt x="342" y="92"/>
                  </a:lnTo>
                  <a:lnTo>
                    <a:pt x="340" y="94"/>
                  </a:lnTo>
                  <a:lnTo>
                    <a:pt x="336" y="95"/>
                  </a:lnTo>
                  <a:lnTo>
                    <a:pt x="330" y="96"/>
                  </a:lnTo>
                  <a:lnTo>
                    <a:pt x="325" y="98"/>
                  </a:lnTo>
                  <a:lnTo>
                    <a:pt x="323" y="99"/>
                  </a:lnTo>
                  <a:lnTo>
                    <a:pt x="325" y="100"/>
                  </a:lnTo>
                  <a:lnTo>
                    <a:pt x="331" y="100"/>
                  </a:lnTo>
                  <a:lnTo>
                    <a:pt x="337" y="101"/>
                  </a:lnTo>
                  <a:lnTo>
                    <a:pt x="342" y="104"/>
                  </a:lnTo>
                  <a:lnTo>
                    <a:pt x="344" y="109"/>
                  </a:lnTo>
                  <a:lnTo>
                    <a:pt x="344" y="115"/>
                  </a:lnTo>
                  <a:lnTo>
                    <a:pt x="345" y="125"/>
                  </a:lnTo>
                  <a:lnTo>
                    <a:pt x="345" y="136"/>
                  </a:lnTo>
                  <a:lnTo>
                    <a:pt x="344" y="147"/>
                  </a:lnTo>
                  <a:lnTo>
                    <a:pt x="342" y="156"/>
                  </a:lnTo>
                  <a:lnTo>
                    <a:pt x="338" y="163"/>
                  </a:lnTo>
                  <a:lnTo>
                    <a:pt x="315" y="178"/>
                  </a:lnTo>
                  <a:lnTo>
                    <a:pt x="310" y="182"/>
                  </a:lnTo>
                  <a:lnTo>
                    <a:pt x="310" y="186"/>
                  </a:lnTo>
                  <a:lnTo>
                    <a:pt x="315" y="188"/>
                  </a:lnTo>
                  <a:lnTo>
                    <a:pt x="323" y="188"/>
                  </a:lnTo>
                  <a:lnTo>
                    <a:pt x="331" y="186"/>
                  </a:lnTo>
                  <a:lnTo>
                    <a:pt x="337" y="184"/>
                  </a:lnTo>
                  <a:lnTo>
                    <a:pt x="344" y="181"/>
                  </a:lnTo>
                  <a:lnTo>
                    <a:pt x="353" y="177"/>
                  </a:lnTo>
                  <a:lnTo>
                    <a:pt x="363" y="176"/>
                  </a:lnTo>
                  <a:lnTo>
                    <a:pt x="373" y="179"/>
                  </a:lnTo>
                  <a:lnTo>
                    <a:pt x="380" y="184"/>
                  </a:lnTo>
                  <a:lnTo>
                    <a:pt x="383" y="189"/>
                  </a:lnTo>
                  <a:lnTo>
                    <a:pt x="384" y="193"/>
                  </a:lnTo>
                  <a:lnTo>
                    <a:pt x="383" y="195"/>
                  </a:lnTo>
                  <a:lnTo>
                    <a:pt x="384" y="198"/>
                  </a:lnTo>
                  <a:lnTo>
                    <a:pt x="386" y="202"/>
                  </a:lnTo>
                  <a:lnTo>
                    <a:pt x="387" y="207"/>
                  </a:lnTo>
                  <a:lnTo>
                    <a:pt x="385" y="214"/>
                  </a:lnTo>
                  <a:lnTo>
                    <a:pt x="383" y="217"/>
                  </a:lnTo>
                  <a:lnTo>
                    <a:pt x="381" y="219"/>
                  </a:lnTo>
                  <a:lnTo>
                    <a:pt x="380" y="220"/>
                  </a:lnTo>
                  <a:lnTo>
                    <a:pt x="378" y="222"/>
                  </a:lnTo>
                  <a:lnTo>
                    <a:pt x="378" y="232"/>
                  </a:lnTo>
                  <a:lnTo>
                    <a:pt x="376" y="244"/>
                  </a:lnTo>
                  <a:lnTo>
                    <a:pt x="376" y="247"/>
                  </a:lnTo>
                  <a:lnTo>
                    <a:pt x="378" y="246"/>
                  </a:lnTo>
                  <a:lnTo>
                    <a:pt x="381" y="241"/>
                  </a:lnTo>
                  <a:lnTo>
                    <a:pt x="384" y="232"/>
                  </a:lnTo>
                  <a:lnTo>
                    <a:pt x="389" y="222"/>
                  </a:lnTo>
                  <a:lnTo>
                    <a:pt x="394" y="214"/>
                  </a:lnTo>
                  <a:lnTo>
                    <a:pt x="399" y="209"/>
                  </a:lnTo>
                  <a:lnTo>
                    <a:pt x="405" y="205"/>
                  </a:lnTo>
                  <a:lnTo>
                    <a:pt x="412" y="200"/>
                  </a:lnTo>
                  <a:lnTo>
                    <a:pt x="419" y="197"/>
                  </a:lnTo>
                  <a:lnTo>
                    <a:pt x="425" y="199"/>
                  </a:lnTo>
                  <a:lnTo>
                    <a:pt x="432" y="204"/>
                  </a:lnTo>
                  <a:lnTo>
                    <a:pt x="443" y="211"/>
                  </a:lnTo>
                  <a:lnTo>
                    <a:pt x="454" y="217"/>
                  </a:lnTo>
                  <a:lnTo>
                    <a:pt x="463" y="222"/>
                  </a:lnTo>
                  <a:lnTo>
                    <a:pt x="473" y="226"/>
                  </a:lnTo>
                  <a:lnTo>
                    <a:pt x="481" y="230"/>
                  </a:lnTo>
                  <a:lnTo>
                    <a:pt x="488" y="235"/>
                  </a:lnTo>
                  <a:lnTo>
                    <a:pt x="493" y="238"/>
                  </a:lnTo>
                  <a:lnTo>
                    <a:pt x="496" y="242"/>
                  </a:lnTo>
                  <a:lnTo>
                    <a:pt x="502" y="247"/>
                  </a:lnTo>
                  <a:lnTo>
                    <a:pt x="509" y="251"/>
                  </a:lnTo>
                  <a:lnTo>
                    <a:pt x="518" y="251"/>
                  </a:lnTo>
                  <a:lnTo>
                    <a:pt x="524" y="248"/>
                  </a:lnTo>
                  <a:lnTo>
                    <a:pt x="532" y="243"/>
                  </a:lnTo>
                  <a:lnTo>
                    <a:pt x="541" y="236"/>
                  </a:lnTo>
                  <a:lnTo>
                    <a:pt x="549" y="230"/>
                  </a:lnTo>
                  <a:lnTo>
                    <a:pt x="556" y="224"/>
                  </a:lnTo>
                  <a:lnTo>
                    <a:pt x="561" y="220"/>
                  </a:lnTo>
                  <a:lnTo>
                    <a:pt x="569" y="220"/>
                  </a:lnTo>
                  <a:lnTo>
                    <a:pt x="578" y="220"/>
                  </a:lnTo>
                  <a:lnTo>
                    <a:pt x="587" y="223"/>
                  </a:lnTo>
                  <a:lnTo>
                    <a:pt x="592" y="224"/>
                  </a:lnTo>
                  <a:lnTo>
                    <a:pt x="595" y="225"/>
                  </a:lnTo>
                  <a:lnTo>
                    <a:pt x="597" y="226"/>
                  </a:lnTo>
                  <a:lnTo>
                    <a:pt x="599" y="232"/>
                  </a:lnTo>
                  <a:lnTo>
                    <a:pt x="599" y="236"/>
                  </a:lnTo>
                  <a:lnTo>
                    <a:pt x="600" y="241"/>
                  </a:lnTo>
                  <a:lnTo>
                    <a:pt x="601" y="250"/>
                  </a:lnTo>
                  <a:lnTo>
                    <a:pt x="603" y="261"/>
                  </a:lnTo>
                  <a:lnTo>
                    <a:pt x="604" y="273"/>
                  </a:lnTo>
                  <a:lnTo>
                    <a:pt x="605" y="284"/>
                  </a:lnTo>
                  <a:lnTo>
                    <a:pt x="604" y="292"/>
                  </a:lnTo>
                  <a:lnTo>
                    <a:pt x="603" y="297"/>
                  </a:lnTo>
                  <a:lnTo>
                    <a:pt x="587" y="314"/>
                  </a:lnTo>
                  <a:lnTo>
                    <a:pt x="578" y="322"/>
                  </a:lnTo>
                  <a:lnTo>
                    <a:pt x="570" y="330"/>
                  </a:lnTo>
                  <a:lnTo>
                    <a:pt x="562" y="337"/>
                  </a:lnTo>
                  <a:lnTo>
                    <a:pt x="556" y="341"/>
                  </a:lnTo>
                  <a:lnTo>
                    <a:pt x="552" y="343"/>
                  </a:lnTo>
                  <a:lnTo>
                    <a:pt x="546" y="342"/>
                  </a:lnTo>
                  <a:lnTo>
                    <a:pt x="540" y="342"/>
                  </a:lnTo>
                  <a:lnTo>
                    <a:pt x="534" y="344"/>
                  </a:lnTo>
                  <a:lnTo>
                    <a:pt x="531" y="348"/>
                  </a:lnTo>
                  <a:lnTo>
                    <a:pt x="527" y="353"/>
                  </a:lnTo>
                  <a:lnTo>
                    <a:pt x="524" y="358"/>
                  </a:lnTo>
                  <a:lnTo>
                    <a:pt x="522" y="363"/>
                  </a:lnTo>
                  <a:lnTo>
                    <a:pt x="522" y="366"/>
                  </a:lnTo>
                  <a:lnTo>
                    <a:pt x="523" y="369"/>
                  </a:lnTo>
                  <a:lnTo>
                    <a:pt x="527" y="377"/>
                  </a:lnTo>
                  <a:lnTo>
                    <a:pt x="531" y="381"/>
                  </a:lnTo>
                  <a:lnTo>
                    <a:pt x="536" y="382"/>
                  </a:lnTo>
                  <a:lnTo>
                    <a:pt x="544" y="382"/>
                  </a:lnTo>
                  <a:lnTo>
                    <a:pt x="547" y="381"/>
                  </a:lnTo>
                  <a:lnTo>
                    <a:pt x="549" y="382"/>
                  </a:lnTo>
                  <a:lnTo>
                    <a:pt x="551" y="382"/>
                  </a:lnTo>
                  <a:lnTo>
                    <a:pt x="551" y="387"/>
                  </a:lnTo>
                  <a:lnTo>
                    <a:pt x="552" y="389"/>
                  </a:lnTo>
                  <a:lnTo>
                    <a:pt x="555" y="392"/>
                  </a:lnTo>
                  <a:lnTo>
                    <a:pt x="558" y="393"/>
                  </a:lnTo>
                  <a:lnTo>
                    <a:pt x="558" y="402"/>
                  </a:lnTo>
                  <a:lnTo>
                    <a:pt x="559" y="410"/>
                  </a:lnTo>
                  <a:lnTo>
                    <a:pt x="558" y="415"/>
                  </a:lnTo>
                  <a:lnTo>
                    <a:pt x="556" y="417"/>
                  </a:lnTo>
                  <a:lnTo>
                    <a:pt x="550" y="419"/>
                  </a:lnTo>
                  <a:lnTo>
                    <a:pt x="543" y="422"/>
                  </a:lnTo>
                  <a:lnTo>
                    <a:pt x="532" y="433"/>
                  </a:lnTo>
                  <a:lnTo>
                    <a:pt x="530" y="438"/>
                  </a:lnTo>
                  <a:lnTo>
                    <a:pt x="530" y="449"/>
                  </a:lnTo>
                  <a:lnTo>
                    <a:pt x="528" y="462"/>
                  </a:lnTo>
                  <a:lnTo>
                    <a:pt x="524" y="477"/>
                  </a:lnTo>
                  <a:lnTo>
                    <a:pt x="523" y="483"/>
                  </a:lnTo>
                  <a:lnTo>
                    <a:pt x="525" y="487"/>
                  </a:lnTo>
                  <a:lnTo>
                    <a:pt x="531" y="491"/>
                  </a:lnTo>
                  <a:lnTo>
                    <a:pt x="534" y="494"/>
                  </a:lnTo>
                  <a:lnTo>
                    <a:pt x="541" y="500"/>
                  </a:lnTo>
                  <a:lnTo>
                    <a:pt x="551" y="504"/>
                  </a:lnTo>
                  <a:lnTo>
                    <a:pt x="564" y="506"/>
                  </a:lnTo>
                  <a:lnTo>
                    <a:pt x="569" y="508"/>
                  </a:lnTo>
                  <a:lnTo>
                    <a:pt x="573" y="512"/>
                  </a:lnTo>
                  <a:lnTo>
                    <a:pt x="574" y="517"/>
                  </a:lnTo>
                  <a:lnTo>
                    <a:pt x="574" y="523"/>
                  </a:lnTo>
                  <a:lnTo>
                    <a:pt x="573" y="530"/>
                  </a:lnTo>
                  <a:lnTo>
                    <a:pt x="571" y="540"/>
                  </a:lnTo>
                  <a:lnTo>
                    <a:pt x="571" y="544"/>
                  </a:lnTo>
                  <a:lnTo>
                    <a:pt x="572" y="548"/>
                  </a:lnTo>
                  <a:lnTo>
                    <a:pt x="573" y="553"/>
                  </a:lnTo>
                  <a:lnTo>
                    <a:pt x="571" y="560"/>
                  </a:lnTo>
                  <a:lnTo>
                    <a:pt x="567" y="564"/>
                  </a:lnTo>
                  <a:lnTo>
                    <a:pt x="562" y="565"/>
                  </a:lnTo>
                  <a:lnTo>
                    <a:pt x="556" y="564"/>
                  </a:lnTo>
                  <a:lnTo>
                    <a:pt x="551" y="563"/>
                  </a:lnTo>
                  <a:lnTo>
                    <a:pt x="546" y="563"/>
                  </a:lnTo>
                  <a:lnTo>
                    <a:pt x="544" y="565"/>
                  </a:lnTo>
                  <a:lnTo>
                    <a:pt x="542" y="572"/>
                  </a:lnTo>
                  <a:lnTo>
                    <a:pt x="538" y="581"/>
                  </a:lnTo>
                  <a:lnTo>
                    <a:pt x="533" y="590"/>
                  </a:lnTo>
                  <a:lnTo>
                    <a:pt x="529" y="596"/>
                  </a:lnTo>
                  <a:lnTo>
                    <a:pt x="523" y="599"/>
                  </a:lnTo>
                  <a:lnTo>
                    <a:pt x="514" y="602"/>
                  </a:lnTo>
                  <a:lnTo>
                    <a:pt x="506" y="605"/>
                  </a:lnTo>
                  <a:lnTo>
                    <a:pt x="499" y="608"/>
                  </a:lnTo>
                  <a:lnTo>
                    <a:pt x="497" y="613"/>
                  </a:lnTo>
                  <a:lnTo>
                    <a:pt x="495" y="621"/>
                  </a:lnTo>
                  <a:lnTo>
                    <a:pt x="494" y="631"/>
                  </a:lnTo>
                  <a:lnTo>
                    <a:pt x="493" y="644"/>
                  </a:lnTo>
                  <a:lnTo>
                    <a:pt x="480" y="644"/>
                  </a:lnTo>
                  <a:lnTo>
                    <a:pt x="473" y="642"/>
                  </a:lnTo>
                  <a:lnTo>
                    <a:pt x="464" y="638"/>
                  </a:lnTo>
                  <a:lnTo>
                    <a:pt x="454" y="633"/>
                  </a:lnTo>
                  <a:lnTo>
                    <a:pt x="444" y="629"/>
                  </a:lnTo>
                  <a:lnTo>
                    <a:pt x="436" y="624"/>
                  </a:lnTo>
                  <a:lnTo>
                    <a:pt x="430" y="621"/>
                  </a:lnTo>
                  <a:lnTo>
                    <a:pt x="422" y="619"/>
                  </a:lnTo>
                  <a:lnTo>
                    <a:pt x="414" y="608"/>
                  </a:lnTo>
                  <a:lnTo>
                    <a:pt x="407" y="598"/>
                  </a:lnTo>
                  <a:lnTo>
                    <a:pt x="399" y="588"/>
                  </a:lnTo>
                  <a:lnTo>
                    <a:pt x="393" y="581"/>
                  </a:lnTo>
                  <a:lnTo>
                    <a:pt x="389" y="577"/>
                  </a:lnTo>
                  <a:lnTo>
                    <a:pt x="386" y="572"/>
                  </a:lnTo>
                  <a:lnTo>
                    <a:pt x="386" y="565"/>
                  </a:lnTo>
                  <a:lnTo>
                    <a:pt x="388" y="557"/>
                  </a:lnTo>
                  <a:lnTo>
                    <a:pt x="391" y="550"/>
                  </a:lnTo>
                  <a:lnTo>
                    <a:pt x="395" y="544"/>
                  </a:lnTo>
                  <a:lnTo>
                    <a:pt x="397" y="537"/>
                  </a:lnTo>
                  <a:lnTo>
                    <a:pt x="395" y="530"/>
                  </a:lnTo>
                  <a:lnTo>
                    <a:pt x="390" y="523"/>
                  </a:lnTo>
                  <a:lnTo>
                    <a:pt x="386" y="519"/>
                  </a:lnTo>
                  <a:lnTo>
                    <a:pt x="384" y="515"/>
                  </a:lnTo>
                  <a:lnTo>
                    <a:pt x="387" y="497"/>
                  </a:lnTo>
                  <a:lnTo>
                    <a:pt x="385" y="495"/>
                  </a:lnTo>
                  <a:lnTo>
                    <a:pt x="381" y="495"/>
                  </a:lnTo>
                  <a:lnTo>
                    <a:pt x="374" y="498"/>
                  </a:lnTo>
                  <a:lnTo>
                    <a:pt x="365" y="501"/>
                  </a:lnTo>
                  <a:lnTo>
                    <a:pt x="361" y="504"/>
                  </a:lnTo>
                  <a:lnTo>
                    <a:pt x="360" y="508"/>
                  </a:lnTo>
                  <a:lnTo>
                    <a:pt x="360" y="512"/>
                  </a:lnTo>
                  <a:lnTo>
                    <a:pt x="362" y="518"/>
                  </a:lnTo>
                  <a:lnTo>
                    <a:pt x="363" y="523"/>
                  </a:lnTo>
                  <a:lnTo>
                    <a:pt x="362" y="527"/>
                  </a:lnTo>
                  <a:lnTo>
                    <a:pt x="361" y="529"/>
                  </a:lnTo>
                  <a:lnTo>
                    <a:pt x="358" y="529"/>
                  </a:lnTo>
                  <a:lnTo>
                    <a:pt x="356" y="525"/>
                  </a:lnTo>
                  <a:lnTo>
                    <a:pt x="355" y="522"/>
                  </a:lnTo>
                  <a:lnTo>
                    <a:pt x="353" y="520"/>
                  </a:lnTo>
                  <a:lnTo>
                    <a:pt x="352" y="517"/>
                  </a:lnTo>
                  <a:lnTo>
                    <a:pt x="349" y="516"/>
                  </a:lnTo>
                  <a:lnTo>
                    <a:pt x="347" y="515"/>
                  </a:lnTo>
                  <a:lnTo>
                    <a:pt x="344" y="515"/>
                  </a:lnTo>
                  <a:lnTo>
                    <a:pt x="342" y="517"/>
                  </a:lnTo>
                  <a:lnTo>
                    <a:pt x="338" y="523"/>
                  </a:lnTo>
                  <a:lnTo>
                    <a:pt x="335" y="525"/>
                  </a:lnTo>
                  <a:lnTo>
                    <a:pt x="329" y="526"/>
                  </a:lnTo>
                  <a:lnTo>
                    <a:pt x="321" y="528"/>
                  </a:lnTo>
                  <a:lnTo>
                    <a:pt x="316" y="531"/>
                  </a:lnTo>
                  <a:lnTo>
                    <a:pt x="311" y="536"/>
                  </a:lnTo>
                  <a:lnTo>
                    <a:pt x="307" y="542"/>
                  </a:lnTo>
                  <a:lnTo>
                    <a:pt x="303" y="546"/>
                  </a:lnTo>
                  <a:lnTo>
                    <a:pt x="301" y="547"/>
                  </a:lnTo>
                  <a:lnTo>
                    <a:pt x="299" y="547"/>
                  </a:lnTo>
                  <a:lnTo>
                    <a:pt x="298" y="546"/>
                  </a:lnTo>
                  <a:lnTo>
                    <a:pt x="295" y="540"/>
                  </a:lnTo>
                  <a:lnTo>
                    <a:pt x="292" y="537"/>
                  </a:lnTo>
                  <a:lnTo>
                    <a:pt x="289" y="536"/>
                  </a:lnTo>
                  <a:lnTo>
                    <a:pt x="285" y="538"/>
                  </a:lnTo>
                  <a:lnTo>
                    <a:pt x="280" y="544"/>
                  </a:lnTo>
                  <a:lnTo>
                    <a:pt x="276" y="554"/>
                  </a:lnTo>
                  <a:lnTo>
                    <a:pt x="272" y="565"/>
                  </a:lnTo>
                  <a:lnTo>
                    <a:pt x="271" y="565"/>
                  </a:lnTo>
                  <a:lnTo>
                    <a:pt x="266" y="562"/>
                  </a:lnTo>
                  <a:lnTo>
                    <a:pt x="259" y="558"/>
                  </a:lnTo>
                  <a:lnTo>
                    <a:pt x="241" y="546"/>
                  </a:lnTo>
                  <a:lnTo>
                    <a:pt x="233" y="540"/>
                  </a:lnTo>
                  <a:lnTo>
                    <a:pt x="228" y="535"/>
                  </a:lnTo>
                  <a:lnTo>
                    <a:pt x="225" y="529"/>
                  </a:lnTo>
                  <a:lnTo>
                    <a:pt x="219" y="520"/>
                  </a:lnTo>
                  <a:lnTo>
                    <a:pt x="212" y="508"/>
                  </a:lnTo>
                  <a:lnTo>
                    <a:pt x="205" y="494"/>
                  </a:lnTo>
                  <a:lnTo>
                    <a:pt x="196" y="482"/>
                  </a:lnTo>
                  <a:lnTo>
                    <a:pt x="194" y="474"/>
                  </a:lnTo>
                  <a:lnTo>
                    <a:pt x="190" y="465"/>
                  </a:lnTo>
                  <a:lnTo>
                    <a:pt x="185" y="454"/>
                  </a:lnTo>
                  <a:lnTo>
                    <a:pt x="179" y="445"/>
                  </a:lnTo>
                  <a:lnTo>
                    <a:pt x="172" y="439"/>
                  </a:lnTo>
                  <a:lnTo>
                    <a:pt x="163" y="434"/>
                  </a:lnTo>
                  <a:lnTo>
                    <a:pt x="153" y="429"/>
                  </a:lnTo>
                  <a:lnTo>
                    <a:pt x="144" y="425"/>
                  </a:lnTo>
                  <a:lnTo>
                    <a:pt x="135" y="422"/>
                  </a:lnTo>
                  <a:lnTo>
                    <a:pt x="116" y="422"/>
                  </a:lnTo>
                  <a:lnTo>
                    <a:pt x="107" y="421"/>
                  </a:lnTo>
                  <a:lnTo>
                    <a:pt x="93" y="421"/>
                  </a:lnTo>
                  <a:lnTo>
                    <a:pt x="87" y="419"/>
                  </a:lnTo>
                  <a:lnTo>
                    <a:pt x="80" y="414"/>
                  </a:lnTo>
                  <a:lnTo>
                    <a:pt x="72" y="403"/>
                  </a:lnTo>
                  <a:lnTo>
                    <a:pt x="66" y="392"/>
                  </a:lnTo>
                  <a:lnTo>
                    <a:pt x="57" y="374"/>
                  </a:lnTo>
                  <a:lnTo>
                    <a:pt x="57" y="367"/>
                  </a:lnTo>
                  <a:lnTo>
                    <a:pt x="60" y="362"/>
                  </a:lnTo>
                  <a:lnTo>
                    <a:pt x="65" y="361"/>
                  </a:lnTo>
                  <a:lnTo>
                    <a:pt x="71" y="362"/>
                  </a:lnTo>
                  <a:lnTo>
                    <a:pt x="78" y="364"/>
                  </a:lnTo>
                  <a:lnTo>
                    <a:pt x="85" y="367"/>
                  </a:lnTo>
                  <a:lnTo>
                    <a:pt x="91" y="369"/>
                  </a:lnTo>
                  <a:lnTo>
                    <a:pt x="96" y="369"/>
                  </a:lnTo>
                  <a:lnTo>
                    <a:pt x="99" y="366"/>
                  </a:lnTo>
                  <a:lnTo>
                    <a:pt x="101" y="360"/>
                  </a:lnTo>
                  <a:lnTo>
                    <a:pt x="101" y="352"/>
                  </a:lnTo>
                  <a:lnTo>
                    <a:pt x="100" y="342"/>
                  </a:lnTo>
                  <a:lnTo>
                    <a:pt x="98" y="333"/>
                  </a:lnTo>
                  <a:lnTo>
                    <a:pt x="95" y="324"/>
                  </a:lnTo>
                  <a:lnTo>
                    <a:pt x="91" y="318"/>
                  </a:lnTo>
                  <a:lnTo>
                    <a:pt x="87" y="316"/>
                  </a:lnTo>
                  <a:lnTo>
                    <a:pt x="79" y="317"/>
                  </a:lnTo>
                  <a:lnTo>
                    <a:pt x="73" y="319"/>
                  </a:lnTo>
                  <a:lnTo>
                    <a:pt x="67" y="322"/>
                  </a:lnTo>
                  <a:lnTo>
                    <a:pt x="62" y="323"/>
                  </a:lnTo>
                  <a:lnTo>
                    <a:pt x="59" y="321"/>
                  </a:lnTo>
                  <a:lnTo>
                    <a:pt x="53" y="311"/>
                  </a:lnTo>
                  <a:lnTo>
                    <a:pt x="52" y="305"/>
                  </a:lnTo>
                  <a:lnTo>
                    <a:pt x="55" y="297"/>
                  </a:lnTo>
                  <a:lnTo>
                    <a:pt x="59" y="290"/>
                  </a:lnTo>
                  <a:lnTo>
                    <a:pt x="61" y="284"/>
                  </a:lnTo>
                  <a:lnTo>
                    <a:pt x="62" y="279"/>
                  </a:lnTo>
                  <a:lnTo>
                    <a:pt x="62" y="274"/>
                  </a:lnTo>
                  <a:lnTo>
                    <a:pt x="64" y="271"/>
                  </a:lnTo>
                  <a:lnTo>
                    <a:pt x="69" y="269"/>
                  </a:lnTo>
                  <a:lnTo>
                    <a:pt x="76" y="265"/>
                  </a:lnTo>
                  <a:lnTo>
                    <a:pt x="82" y="261"/>
                  </a:lnTo>
                  <a:lnTo>
                    <a:pt x="87" y="257"/>
                  </a:lnTo>
                  <a:lnTo>
                    <a:pt x="87" y="252"/>
                  </a:lnTo>
                  <a:lnTo>
                    <a:pt x="84" y="249"/>
                  </a:lnTo>
                  <a:lnTo>
                    <a:pt x="79" y="249"/>
                  </a:lnTo>
                  <a:lnTo>
                    <a:pt x="69" y="253"/>
                  </a:lnTo>
                  <a:lnTo>
                    <a:pt x="63" y="251"/>
                  </a:lnTo>
                  <a:lnTo>
                    <a:pt x="57" y="257"/>
                  </a:lnTo>
                  <a:lnTo>
                    <a:pt x="52" y="259"/>
                  </a:lnTo>
                  <a:lnTo>
                    <a:pt x="47" y="259"/>
                  </a:lnTo>
                  <a:lnTo>
                    <a:pt x="38" y="258"/>
                  </a:lnTo>
                  <a:lnTo>
                    <a:pt x="30" y="259"/>
                  </a:lnTo>
                  <a:lnTo>
                    <a:pt x="25" y="262"/>
                  </a:lnTo>
                  <a:lnTo>
                    <a:pt x="23" y="264"/>
                  </a:lnTo>
                  <a:lnTo>
                    <a:pt x="19" y="265"/>
                  </a:lnTo>
                  <a:lnTo>
                    <a:pt x="14" y="265"/>
                  </a:lnTo>
                  <a:lnTo>
                    <a:pt x="10" y="262"/>
                  </a:lnTo>
                  <a:lnTo>
                    <a:pt x="7" y="257"/>
                  </a:lnTo>
                  <a:lnTo>
                    <a:pt x="4" y="250"/>
                  </a:lnTo>
                  <a:lnTo>
                    <a:pt x="2" y="243"/>
                  </a:lnTo>
                  <a:lnTo>
                    <a:pt x="0" y="237"/>
                  </a:lnTo>
                  <a:lnTo>
                    <a:pt x="0" y="233"/>
                  </a:lnTo>
                  <a:lnTo>
                    <a:pt x="3" y="231"/>
                  </a:lnTo>
                  <a:lnTo>
                    <a:pt x="8" y="232"/>
                  </a:lnTo>
                  <a:lnTo>
                    <a:pt x="14" y="232"/>
                  </a:lnTo>
                  <a:lnTo>
                    <a:pt x="18" y="231"/>
                  </a:lnTo>
                  <a:lnTo>
                    <a:pt x="21" y="228"/>
                  </a:lnTo>
                  <a:lnTo>
                    <a:pt x="21" y="224"/>
                  </a:lnTo>
                  <a:lnTo>
                    <a:pt x="20" y="222"/>
                  </a:lnTo>
                  <a:lnTo>
                    <a:pt x="18" y="221"/>
                  </a:lnTo>
                  <a:lnTo>
                    <a:pt x="17" y="221"/>
                  </a:lnTo>
                  <a:lnTo>
                    <a:pt x="15" y="222"/>
                  </a:lnTo>
                  <a:lnTo>
                    <a:pt x="14" y="223"/>
                  </a:lnTo>
                  <a:lnTo>
                    <a:pt x="12" y="223"/>
                  </a:lnTo>
                  <a:lnTo>
                    <a:pt x="11" y="222"/>
                  </a:lnTo>
                  <a:lnTo>
                    <a:pt x="10" y="220"/>
                  </a:lnTo>
                  <a:lnTo>
                    <a:pt x="10" y="215"/>
                  </a:lnTo>
                  <a:lnTo>
                    <a:pt x="14" y="211"/>
                  </a:lnTo>
                  <a:lnTo>
                    <a:pt x="17" y="210"/>
                  </a:lnTo>
                  <a:lnTo>
                    <a:pt x="20" y="210"/>
                  </a:lnTo>
                  <a:lnTo>
                    <a:pt x="27" y="209"/>
                  </a:lnTo>
                  <a:lnTo>
                    <a:pt x="34" y="209"/>
                  </a:lnTo>
                  <a:lnTo>
                    <a:pt x="43" y="207"/>
                  </a:lnTo>
                  <a:lnTo>
                    <a:pt x="50" y="207"/>
                  </a:lnTo>
                  <a:lnTo>
                    <a:pt x="58" y="210"/>
                  </a:lnTo>
                  <a:lnTo>
                    <a:pt x="65" y="212"/>
                  </a:lnTo>
                  <a:lnTo>
                    <a:pt x="71" y="210"/>
                  </a:lnTo>
                  <a:lnTo>
                    <a:pt x="77" y="205"/>
                  </a:lnTo>
                  <a:lnTo>
                    <a:pt x="83" y="199"/>
                  </a:lnTo>
                  <a:lnTo>
                    <a:pt x="88" y="194"/>
                  </a:lnTo>
                  <a:lnTo>
                    <a:pt x="98" y="188"/>
                  </a:lnTo>
                  <a:lnTo>
                    <a:pt x="102" y="182"/>
                  </a:lnTo>
                  <a:lnTo>
                    <a:pt x="105" y="175"/>
                  </a:lnTo>
                  <a:lnTo>
                    <a:pt x="104" y="166"/>
                  </a:lnTo>
                  <a:lnTo>
                    <a:pt x="98" y="158"/>
                  </a:lnTo>
                  <a:lnTo>
                    <a:pt x="90" y="152"/>
                  </a:lnTo>
                  <a:lnTo>
                    <a:pt x="84" y="147"/>
                  </a:lnTo>
                  <a:lnTo>
                    <a:pt x="80" y="143"/>
                  </a:lnTo>
                  <a:lnTo>
                    <a:pt x="77" y="136"/>
                  </a:lnTo>
                  <a:lnTo>
                    <a:pt x="72" y="129"/>
                  </a:lnTo>
                  <a:lnTo>
                    <a:pt x="65" y="124"/>
                  </a:lnTo>
                  <a:lnTo>
                    <a:pt x="61" y="121"/>
                  </a:lnTo>
                  <a:lnTo>
                    <a:pt x="61" y="118"/>
                  </a:lnTo>
                  <a:lnTo>
                    <a:pt x="60" y="113"/>
                  </a:lnTo>
                  <a:lnTo>
                    <a:pt x="58" y="105"/>
                  </a:lnTo>
                  <a:lnTo>
                    <a:pt x="53" y="96"/>
                  </a:lnTo>
                  <a:lnTo>
                    <a:pt x="47" y="88"/>
                  </a:lnTo>
                  <a:lnTo>
                    <a:pt x="40" y="81"/>
                  </a:lnTo>
                  <a:lnTo>
                    <a:pt x="32" y="76"/>
                  </a:lnTo>
                  <a:lnTo>
                    <a:pt x="27" y="73"/>
                  </a:lnTo>
                  <a:lnTo>
                    <a:pt x="26" y="70"/>
                  </a:lnTo>
                  <a:lnTo>
                    <a:pt x="26" y="66"/>
                  </a:lnTo>
                  <a:lnTo>
                    <a:pt x="25" y="62"/>
                  </a:lnTo>
                  <a:lnTo>
                    <a:pt x="23" y="57"/>
                  </a:lnTo>
                  <a:lnTo>
                    <a:pt x="18" y="47"/>
                  </a:lnTo>
                  <a:lnTo>
                    <a:pt x="16" y="35"/>
                  </a:lnTo>
                  <a:lnTo>
                    <a:pt x="18" y="22"/>
                  </a:lnTo>
                  <a:lnTo>
                    <a:pt x="24" y="4"/>
                  </a:lnTo>
                  <a:lnTo>
                    <a:pt x="27" y="6"/>
                  </a:lnTo>
                  <a:lnTo>
                    <a:pt x="30" y="7"/>
                  </a:lnTo>
                  <a:lnTo>
                    <a:pt x="32" y="8"/>
                  </a:lnTo>
                  <a:lnTo>
                    <a:pt x="34" y="8"/>
                  </a:lnTo>
                  <a:lnTo>
                    <a:pt x="39" y="6"/>
                  </a:lnTo>
                  <a:lnTo>
                    <a:pt x="45" y="2"/>
                  </a:lnTo>
                  <a:lnTo>
                    <a:pt x="53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19">
              <a:extLst>
                <a:ext uri="{FF2B5EF4-FFF2-40B4-BE49-F238E27FC236}">
                  <a16:creationId xmlns:a16="http://schemas.microsoft.com/office/drawing/2014/main" id="{51EE49A8-CDEA-4C48-BC67-1009450B78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54738" y="1589088"/>
              <a:ext cx="1489075" cy="962025"/>
            </a:xfrm>
            <a:custGeom>
              <a:avLst/>
              <a:gdLst/>
              <a:ahLst/>
              <a:cxnLst>
                <a:cxn ang="0">
                  <a:pos x="480" y="436"/>
                </a:cxn>
                <a:cxn ang="0">
                  <a:pos x="507" y="453"/>
                </a:cxn>
                <a:cxn ang="0">
                  <a:pos x="530" y="455"/>
                </a:cxn>
                <a:cxn ang="0">
                  <a:pos x="516" y="425"/>
                </a:cxn>
                <a:cxn ang="0">
                  <a:pos x="454" y="2"/>
                </a:cxn>
                <a:cxn ang="0">
                  <a:pos x="541" y="24"/>
                </a:cxn>
                <a:cxn ang="0">
                  <a:pos x="488" y="28"/>
                </a:cxn>
                <a:cxn ang="0">
                  <a:pos x="432" y="56"/>
                </a:cxn>
                <a:cxn ang="0">
                  <a:pos x="439" y="100"/>
                </a:cxn>
                <a:cxn ang="0">
                  <a:pos x="465" y="55"/>
                </a:cxn>
                <a:cxn ang="0">
                  <a:pos x="525" y="50"/>
                </a:cxn>
                <a:cxn ang="0">
                  <a:pos x="571" y="18"/>
                </a:cxn>
                <a:cxn ang="0">
                  <a:pos x="590" y="47"/>
                </a:cxn>
                <a:cxn ang="0">
                  <a:pos x="626" y="95"/>
                </a:cxn>
                <a:cxn ang="0">
                  <a:pos x="668" y="125"/>
                </a:cxn>
                <a:cxn ang="0">
                  <a:pos x="693" y="153"/>
                </a:cxn>
                <a:cxn ang="0">
                  <a:pos x="740" y="121"/>
                </a:cxn>
                <a:cxn ang="0">
                  <a:pos x="758" y="137"/>
                </a:cxn>
                <a:cxn ang="0">
                  <a:pos x="769" y="188"/>
                </a:cxn>
                <a:cxn ang="0">
                  <a:pos x="797" y="220"/>
                </a:cxn>
                <a:cxn ang="0">
                  <a:pos x="775" y="245"/>
                </a:cxn>
                <a:cxn ang="0">
                  <a:pos x="827" y="284"/>
                </a:cxn>
                <a:cxn ang="0">
                  <a:pos x="880" y="298"/>
                </a:cxn>
                <a:cxn ang="0">
                  <a:pos x="910" y="345"/>
                </a:cxn>
                <a:cxn ang="0">
                  <a:pos x="938" y="458"/>
                </a:cxn>
                <a:cxn ang="0">
                  <a:pos x="864" y="489"/>
                </a:cxn>
                <a:cxn ang="0">
                  <a:pos x="808" y="432"/>
                </a:cxn>
                <a:cxn ang="0">
                  <a:pos x="718" y="464"/>
                </a:cxn>
                <a:cxn ang="0">
                  <a:pos x="691" y="512"/>
                </a:cxn>
                <a:cxn ang="0">
                  <a:pos x="665" y="495"/>
                </a:cxn>
                <a:cxn ang="0">
                  <a:pos x="641" y="514"/>
                </a:cxn>
                <a:cxn ang="0">
                  <a:pos x="619" y="516"/>
                </a:cxn>
                <a:cxn ang="0">
                  <a:pos x="577" y="545"/>
                </a:cxn>
                <a:cxn ang="0">
                  <a:pos x="527" y="526"/>
                </a:cxn>
                <a:cxn ang="0">
                  <a:pos x="477" y="505"/>
                </a:cxn>
                <a:cxn ang="0">
                  <a:pos x="431" y="491"/>
                </a:cxn>
                <a:cxn ang="0">
                  <a:pos x="363" y="472"/>
                </a:cxn>
                <a:cxn ang="0">
                  <a:pos x="315" y="507"/>
                </a:cxn>
                <a:cxn ang="0">
                  <a:pos x="273" y="510"/>
                </a:cxn>
                <a:cxn ang="0">
                  <a:pos x="226" y="561"/>
                </a:cxn>
                <a:cxn ang="0">
                  <a:pos x="264" y="599"/>
                </a:cxn>
                <a:cxn ang="0">
                  <a:pos x="200" y="592"/>
                </a:cxn>
                <a:cxn ang="0">
                  <a:pos x="153" y="564"/>
                </a:cxn>
                <a:cxn ang="0">
                  <a:pos x="135" y="559"/>
                </a:cxn>
                <a:cxn ang="0">
                  <a:pos x="93" y="547"/>
                </a:cxn>
                <a:cxn ang="0">
                  <a:pos x="28" y="499"/>
                </a:cxn>
                <a:cxn ang="0">
                  <a:pos x="2" y="451"/>
                </a:cxn>
                <a:cxn ang="0">
                  <a:pos x="51" y="395"/>
                </a:cxn>
                <a:cxn ang="0">
                  <a:pos x="78" y="370"/>
                </a:cxn>
                <a:cxn ang="0">
                  <a:pos x="38" y="321"/>
                </a:cxn>
                <a:cxn ang="0">
                  <a:pos x="63" y="247"/>
                </a:cxn>
                <a:cxn ang="0">
                  <a:pos x="111" y="206"/>
                </a:cxn>
                <a:cxn ang="0">
                  <a:pos x="145" y="221"/>
                </a:cxn>
                <a:cxn ang="0">
                  <a:pos x="176" y="231"/>
                </a:cxn>
                <a:cxn ang="0">
                  <a:pos x="206" y="229"/>
                </a:cxn>
                <a:cxn ang="0">
                  <a:pos x="239" y="168"/>
                </a:cxn>
                <a:cxn ang="0">
                  <a:pos x="330" y="132"/>
                </a:cxn>
                <a:cxn ang="0">
                  <a:pos x="415" y="72"/>
                </a:cxn>
                <a:cxn ang="0">
                  <a:pos x="450" y="1"/>
                </a:cxn>
              </a:cxnLst>
              <a:rect l="0" t="0" r="r" b="b"/>
              <a:pathLst>
                <a:path w="938" h="606">
                  <a:moveTo>
                    <a:pt x="500" y="393"/>
                  </a:moveTo>
                  <a:lnTo>
                    <a:pt x="500" y="394"/>
                  </a:lnTo>
                  <a:lnTo>
                    <a:pt x="498" y="398"/>
                  </a:lnTo>
                  <a:lnTo>
                    <a:pt x="497" y="401"/>
                  </a:lnTo>
                  <a:lnTo>
                    <a:pt x="495" y="408"/>
                  </a:lnTo>
                  <a:lnTo>
                    <a:pt x="491" y="416"/>
                  </a:lnTo>
                  <a:lnTo>
                    <a:pt x="486" y="424"/>
                  </a:lnTo>
                  <a:lnTo>
                    <a:pt x="482" y="431"/>
                  </a:lnTo>
                  <a:lnTo>
                    <a:pt x="480" y="435"/>
                  </a:lnTo>
                  <a:lnTo>
                    <a:pt x="480" y="436"/>
                  </a:lnTo>
                  <a:lnTo>
                    <a:pt x="481" y="437"/>
                  </a:lnTo>
                  <a:lnTo>
                    <a:pt x="483" y="438"/>
                  </a:lnTo>
                  <a:lnTo>
                    <a:pt x="492" y="438"/>
                  </a:lnTo>
                  <a:lnTo>
                    <a:pt x="494" y="440"/>
                  </a:lnTo>
                  <a:lnTo>
                    <a:pt x="495" y="442"/>
                  </a:lnTo>
                  <a:lnTo>
                    <a:pt x="497" y="443"/>
                  </a:lnTo>
                  <a:lnTo>
                    <a:pt x="501" y="447"/>
                  </a:lnTo>
                  <a:lnTo>
                    <a:pt x="504" y="447"/>
                  </a:lnTo>
                  <a:lnTo>
                    <a:pt x="506" y="449"/>
                  </a:lnTo>
                  <a:lnTo>
                    <a:pt x="507" y="453"/>
                  </a:lnTo>
                  <a:lnTo>
                    <a:pt x="507" y="464"/>
                  </a:lnTo>
                  <a:lnTo>
                    <a:pt x="508" y="470"/>
                  </a:lnTo>
                  <a:lnTo>
                    <a:pt x="510" y="473"/>
                  </a:lnTo>
                  <a:lnTo>
                    <a:pt x="514" y="473"/>
                  </a:lnTo>
                  <a:lnTo>
                    <a:pt x="516" y="470"/>
                  </a:lnTo>
                  <a:lnTo>
                    <a:pt x="518" y="466"/>
                  </a:lnTo>
                  <a:lnTo>
                    <a:pt x="520" y="461"/>
                  </a:lnTo>
                  <a:lnTo>
                    <a:pt x="523" y="458"/>
                  </a:lnTo>
                  <a:lnTo>
                    <a:pt x="527" y="456"/>
                  </a:lnTo>
                  <a:lnTo>
                    <a:pt x="530" y="455"/>
                  </a:lnTo>
                  <a:lnTo>
                    <a:pt x="532" y="454"/>
                  </a:lnTo>
                  <a:lnTo>
                    <a:pt x="533" y="453"/>
                  </a:lnTo>
                  <a:lnTo>
                    <a:pt x="534" y="451"/>
                  </a:lnTo>
                  <a:lnTo>
                    <a:pt x="533" y="449"/>
                  </a:lnTo>
                  <a:lnTo>
                    <a:pt x="533" y="447"/>
                  </a:lnTo>
                  <a:lnTo>
                    <a:pt x="532" y="444"/>
                  </a:lnTo>
                  <a:lnTo>
                    <a:pt x="532" y="442"/>
                  </a:lnTo>
                  <a:lnTo>
                    <a:pt x="530" y="437"/>
                  </a:lnTo>
                  <a:lnTo>
                    <a:pt x="524" y="431"/>
                  </a:lnTo>
                  <a:lnTo>
                    <a:pt x="516" y="425"/>
                  </a:lnTo>
                  <a:lnTo>
                    <a:pt x="510" y="419"/>
                  </a:lnTo>
                  <a:lnTo>
                    <a:pt x="506" y="411"/>
                  </a:lnTo>
                  <a:lnTo>
                    <a:pt x="504" y="404"/>
                  </a:lnTo>
                  <a:lnTo>
                    <a:pt x="503" y="396"/>
                  </a:lnTo>
                  <a:lnTo>
                    <a:pt x="502" y="394"/>
                  </a:lnTo>
                  <a:lnTo>
                    <a:pt x="501" y="393"/>
                  </a:lnTo>
                  <a:lnTo>
                    <a:pt x="500" y="393"/>
                  </a:lnTo>
                  <a:close/>
                  <a:moveTo>
                    <a:pt x="452" y="0"/>
                  </a:moveTo>
                  <a:lnTo>
                    <a:pt x="453" y="0"/>
                  </a:lnTo>
                  <a:lnTo>
                    <a:pt x="454" y="2"/>
                  </a:lnTo>
                  <a:lnTo>
                    <a:pt x="459" y="7"/>
                  </a:lnTo>
                  <a:lnTo>
                    <a:pt x="468" y="10"/>
                  </a:lnTo>
                  <a:lnTo>
                    <a:pt x="480" y="14"/>
                  </a:lnTo>
                  <a:lnTo>
                    <a:pt x="488" y="15"/>
                  </a:lnTo>
                  <a:lnTo>
                    <a:pt x="542" y="15"/>
                  </a:lnTo>
                  <a:lnTo>
                    <a:pt x="545" y="16"/>
                  </a:lnTo>
                  <a:lnTo>
                    <a:pt x="545" y="18"/>
                  </a:lnTo>
                  <a:lnTo>
                    <a:pt x="544" y="19"/>
                  </a:lnTo>
                  <a:lnTo>
                    <a:pt x="543" y="22"/>
                  </a:lnTo>
                  <a:lnTo>
                    <a:pt x="541" y="24"/>
                  </a:lnTo>
                  <a:lnTo>
                    <a:pt x="538" y="25"/>
                  </a:lnTo>
                  <a:lnTo>
                    <a:pt x="535" y="27"/>
                  </a:lnTo>
                  <a:lnTo>
                    <a:pt x="532" y="27"/>
                  </a:lnTo>
                  <a:lnTo>
                    <a:pt x="526" y="26"/>
                  </a:lnTo>
                  <a:lnTo>
                    <a:pt x="518" y="25"/>
                  </a:lnTo>
                  <a:lnTo>
                    <a:pt x="509" y="24"/>
                  </a:lnTo>
                  <a:lnTo>
                    <a:pt x="502" y="23"/>
                  </a:lnTo>
                  <a:lnTo>
                    <a:pt x="498" y="22"/>
                  </a:lnTo>
                  <a:lnTo>
                    <a:pt x="493" y="24"/>
                  </a:lnTo>
                  <a:lnTo>
                    <a:pt x="488" y="28"/>
                  </a:lnTo>
                  <a:lnTo>
                    <a:pt x="482" y="29"/>
                  </a:lnTo>
                  <a:lnTo>
                    <a:pt x="478" y="30"/>
                  </a:lnTo>
                  <a:lnTo>
                    <a:pt x="474" y="33"/>
                  </a:lnTo>
                  <a:lnTo>
                    <a:pt x="465" y="41"/>
                  </a:lnTo>
                  <a:lnTo>
                    <a:pt x="460" y="43"/>
                  </a:lnTo>
                  <a:lnTo>
                    <a:pt x="446" y="41"/>
                  </a:lnTo>
                  <a:lnTo>
                    <a:pt x="442" y="42"/>
                  </a:lnTo>
                  <a:lnTo>
                    <a:pt x="440" y="44"/>
                  </a:lnTo>
                  <a:lnTo>
                    <a:pt x="436" y="49"/>
                  </a:lnTo>
                  <a:lnTo>
                    <a:pt x="432" y="56"/>
                  </a:lnTo>
                  <a:lnTo>
                    <a:pt x="427" y="63"/>
                  </a:lnTo>
                  <a:lnTo>
                    <a:pt x="420" y="77"/>
                  </a:lnTo>
                  <a:lnTo>
                    <a:pt x="419" y="81"/>
                  </a:lnTo>
                  <a:lnTo>
                    <a:pt x="419" y="86"/>
                  </a:lnTo>
                  <a:lnTo>
                    <a:pt x="421" y="92"/>
                  </a:lnTo>
                  <a:lnTo>
                    <a:pt x="422" y="98"/>
                  </a:lnTo>
                  <a:lnTo>
                    <a:pt x="425" y="101"/>
                  </a:lnTo>
                  <a:lnTo>
                    <a:pt x="435" y="101"/>
                  </a:lnTo>
                  <a:lnTo>
                    <a:pt x="437" y="100"/>
                  </a:lnTo>
                  <a:lnTo>
                    <a:pt x="439" y="100"/>
                  </a:lnTo>
                  <a:lnTo>
                    <a:pt x="439" y="98"/>
                  </a:lnTo>
                  <a:lnTo>
                    <a:pt x="437" y="95"/>
                  </a:lnTo>
                  <a:lnTo>
                    <a:pt x="436" y="90"/>
                  </a:lnTo>
                  <a:lnTo>
                    <a:pt x="436" y="85"/>
                  </a:lnTo>
                  <a:lnTo>
                    <a:pt x="437" y="82"/>
                  </a:lnTo>
                  <a:lnTo>
                    <a:pt x="441" y="75"/>
                  </a:lnTo>
                  <a:lnTo>
                    <a:pt x="445" y="66"/>
                  </a:lnTo>
                  <a:lnTo>
                    <a:pt x="450" y="61"/>
                  </a:lnTo>
                  <a:lnTo>
                    <a:pt x="458" y="57"/>
                  </a:lnTo>
                  <a:lnTo>
                    <a:pt x="465" y="55"/>
                  </a:lnTo>
                  <a:lnTo>
                    <a:pt x="470" y="50"/>
                  </a:lnTo>
                  <a:lnTo>
                    <a:pt x="486" y="44"/>
                  </a:lnTo>
                  <a:lnTo>
                    <a:pt x="492" y="40"/>
                  </a:lnTo>
                  <a:lnTo>
                    <a:pt x="495" y="39"/>
                  </a:lnTo>
                  <a:lnTo>
                    <a:pt x="499" y="41"/>
                  </a:lnTo>
                  <a:lnTo>
                    <a:pt x="504" y="44"/>
                  </a:lnTo>
                  <a:lnTo>
                    <a:pt x="509" y="46"/>
                  </a:lnTo>
                  <a:lnTo>
                    <a:pt x="515" y="45"/>
                  </a:lnTo>
                  <a:lnTo>
                    <a:pt x="519" y="45"/>
                  </a:lnTo>
                  <a:lnTo>
                    <a:pt x="525" y="50"/>
                  </a:lnTo>
                  <a:lnTo>
                    <a:pt x="527" y="54"/>
                  </a:lnTo>
                  <a:lnTo>
                    <a:pt x="530" y="55"/>
                  </a:lnTo>
                  <a:lnTo>
                    <a:pt x="533" y="54"/>
                  </a:lnTo>
                  <a:lnTo>
                    <a:pt x="538" y="49"/>
                  </a:lnTo>
                  <a:lnTo>
                    <a:pt x="543" y="41"/>
                  </a:lnTo>
                  <a:lnTo>
                    <a:pt x="548" y="34"/>
                  </a:lnTo>
                  <a:lnTo>
                    <a:pt x="553" y="29"/>
                  </a:lnTo>
                  <a:lnTo>
                    <a:pt x="559" y="25"/>
                  </a:lnTo>
                  <a:lnTo>
                    <a:pt x="567" y="17"/>
                  </a:lnTo>
                  <a:lnTo>
                    <a:pt x="571" y="18"/>
                  </a:lnTo>
                  <a:lnTo>
                    <a:pt x="573" y="21"/>
                  </a:lnTo>
                  <a:lnTo>
                    <a:pt x="574" y="27"/>
                  </a:lnTo>
                  <a:lnTo>
                    <a:pt x="574" y="33"/>
                  </a:lnTo>
                  <a:lnTo>
                    <a:pt x="575" y="38"/>
                  </a:lnTo>
                  <a:lnTo>
                    <a:pt x="577" y="40"/>
                  </a:lnTo>
                  <a:lnTo>
                    <a:pt x="584" y="40"/>
                  </a:lnTo>
                  <a:lnTo>
                    <a:pt x="587" y="41"/>
                  </a:lnTo>
                  <a:lnTo>
                    <a:pt x="591" y="43"/>
                  </a:lnTo>
                  <a:lnTo>
                    <a:pt x="591" y="45"/>
                  </a:lnTo>
                  <a:lnTo>
                    <a:pt x="590" y="47"/>
                  </a:lnTo>
                  <a:lnTo>
                    <a:pt x="588" y="52"/>
                  </a:lnTo>
                  <a:lnTo>
                    <a:pt x="588" y="58"/>
                  </a:lnTo>
                  <a:lnTo>
                    <a:pt x="590" y="65"/>
                  </a:lnTo>
                  <a:lnTo>
                    <a:pt x="595" y="75"/>
                  </a:lnTo>
                  <a:lnTo>
                    <a:pt x="600" y="80"/>
                  </a:lnTo>
                  <a:lnTo>
                    <a:pt x="604" y="85"/>
                  </a:lnTo>
                  <a:lnTo>
                    <a:pt x="608" y="87"/>
                  </a:lnTo>
                  <a:lnTo>
                    <a:pt x="613" y="88"/>
                  </a:lnTo>
                  <a:lnTo>
                    <a:pt x="620" y="91"/>
                  </a:lnTo>
                  <a:lnTo>
                    <a:pt x="626" y="95"/>
                  </a:lnTo>
                  <a:lnTo>
                    <a:pt x="629" y="98"/>
                  </a:lnTo>
                  <a:lnTo>
                    <a:pt x="632" y="99"/>
                  </a:lnTo>
                  <a:lnTo>
                    <a:pt x="642" y="101"/>
                  </a:lnTo>
                  <a:lnTo>
                    <a:pt x="646" y="104"/>
                  </a:lnTo>
                  <a:lnTo>
                    <a:pt x="648" y="109"/>
                  </a:lnTo>
                  <a:lnTo>
                    <a:pt x="651" y="115"/>
                  </a:lnTo>
                  <a:lnTo>
                    <a:pt x="656" y="120"/>
                  </a:lnTo>
                  <a:lnTo>
                    <a:pt x="665" y="123"/>
                  </a:lnTo>
                  <a:lnTo>
                    <a:pt x="667" y="124"/>
                  </a:lnTo>
                  <a:lnTo>
                    <a:pt x="668" y="125"/>
                  </a:lnTo>
                  <a:lnTo>
                    <a:pt x="671" y="131"/>
                  </a:lnTo>
                  <a:lnTo>
                    <a:pt x="672" y="132"/>
                  </a:lnTo>
                  <a:lnTo>
                    <a:pt x="674" y="133"/>
                  </a:lnTo>
                  <a:lnTo>
                    <a:pt x="677" y="137"/>
                  </a:lnTo>
                  <a:lnTo>
                    <a:pt x="679" y="143"/>
                  </a:lnTo>
                  <a:lnTo>
                    <a:pt x="682" y="150"/>
                  </a:lnTo>
                  <a:lnTo>
                    <a:pt x="685" y="156"/>
                  </a:lnTo>
                  <a:lnTo>
                    <a:pt x="689" y="158"/>
                  </a:lnTo>
                  <a:lnTo>
                    <a:pt x="692" y="156"/>
                  </a:lnTo>
                  <a:lnTo>
                    <a:pt x="693" y="153"/>
                  </a:lnTo>
                  <a:lnTo>
                    <a:pt x="694" y="148"/>
                  </a:lnTo>
                  <a:lnTo>
                    <a:pt x="694" y="144"/>
                  </a:lnTo>
                  <a:lnTo>
                    <a:pt x="695" y="141"/>
                  </a:lnTo>
                  <a:lnTo>
                    <a:pt x="698" y="139"/>
                  </a:lnTo>
                  <a:lnTo>
                    <a:pt x="714" y="137"/>
                  </a:lnTo>
                  <a:lnTo>
                    <a:pt x="720" y="136"/>
                  </a:lnTo>
                  <a:lnTo>
                    <a:pt x="726" y="133"/>
                  </a:lnTo>
                  <a:lnTo>
                    <a:pt x="730" y="130"/>
                  </a:lnTo>
                  <a:lnTo>
                    <a:pt x="735" y="125"/>
                  </a:lnTo>
                  <a:lnTo>
                    <a:pt x="740" y="121"/>
                  </a:lnTo>
                  <a:lnTo>
                    <a:pt x="744" y="120"/>
                  </a:lnTo>
                  <a:lnTo>
                    <a:pt x="746" y="121"/>
                  </a:lnTo>
                  <a:lnTo>
                    <a:pt x="747" y="123"/>
                  </a:lnTo>
                  <a:lnTo>
                    <a:pt x="747" y="127"/>
                  </a:lnTo>
                  <a:lnTo>
                    <a:pt x="746" y="129"/>
                  </a:lnTo>
                  <a:lnTo>
                    <a:pt x="746" y="131"/>
                  </a:lnTo>
                  <a:lnTo>
                    <a:pt x="747" y="133"/>
                  </a:lnTo>
                  <a:lnTo>
                    <a:pt x="749" y="135"/>
                  </a:lnTo>
                  <a:lnTo>
                    <a:pt x="752" y="136"/>
                  </a:lnTo>
                  <a:lnTo>
                    <a:pt x="758" y="137"/>
                  </a:lnTo>
                  <a:lnTo>
                    <a:pt x="764" y="141"/>
                  </a:lnTo>
                  <a:lnTo>
                    <a:pt x="768" y="146"/>
                  </a:lnTo>
                  <a:lnTo>
                    <a:pt x="770" y="151"/>
                  </a:lnTo>
                  <a:lnTo>
                    <a:pt x="767" y="158"/>
                  </a:lnTo>
                  <a:lnTo>
                    <a:pt x="762" y="166"/>
                  </a:lnTo>
                  <a:lnTo>
                    <a:pt x="758" y="174"/>
                  </a:lnTo>
                  <a:lnTo>
                    <a:pt x="757" y="180"/>
                  </a:lnTo>
                  <a:lnTo>
                    <a:pt x="759" y="184"/>
                  </a:lnTo>
                  <a:lnTo>
                    <a:pt x="764" y="187"/>
                  </a:lnTo>
                  <a:lnTo>
                    <a:pt x="769" y="188"/>
                  </a:lnTo>
                  <a:lnTo>
                    <a:pt x="773" y="190"/>
                  </a:lnTo>
                  <a:lnTo>
                    <a:pt x="775" y="192"/>
                  </a:lnTo>
                  <a:lnTo>
                    <a:pt x="776" y="195"/>
                  </a:lnTo>
                  <a:lnTo>
                    <a:pt x="779" y="200"/>
                  </a:lnTo>
                  <a:lnTo>
                    <a:pt x="783" y="205"/>
                  </a:lnTo>
                  <a:lnTo>
                    <a:pt x="786" y="208"/>
                  </a:lnTo>
                  <a:lnTo>
                    <a:pt x="789" y="210"/>
                  </a:lnTo>
                  <a:lnTo>
                    <a:pt x="792" y="213"/>
                  </a:lnTo>
                  <a:lnTo>
                    <a:pt x="795" y="217"/>
                  </a:lnTo>
                  <a:lnTo>
                    <a:pt x="797" y="220"/>
                  </a:lnTo>
                  <a:lnTo>
                    <a:pt x="797" y="223"/>
                  </a:lnTo>
                  <a:lnTo>
                    <a:pt x="793" y="225"/>
                  </a:lnTo>
                  <a:lnTo>
                    <a:pt x="789" y="226"/>
                  </a:lnTo>
                  <a:lnTo>
                    <a:pt x="787" y="227"/>
                  </a:lnTo>
                  <a:lnTo>
                    <a:pt x="783" y="231"/>
                  </a:lnTo>
                  <a:lnTo>
                    <a:pt x="782" y="233"/>
                  </a:lnTo>
                  <a:lnTo>
                    <a:pt x="780" y="236"/>
                  </a:lnTo>
                  <a:lnTo>
                    <a:pt x="778" y="240"/>
                  </a:lnTo>
                  <a:lnTo>
                    <a:pt x="776" y="243"/>
                  </a:lnTo>
                  <a:lnTo>
                    <a:pt x="775" y="245"/>
                  </a:lnTo>
                  <a:lnTo>
                    <a:pt x="775" y="248"/>
                  </a:lnTo>
                  <a:lnTo>
                    <a:pt x="776" y="250"/>
                  </a:lnTo>
                  <a:lnTo>
                    <a:pt x="778" y="251"/>
                  </a:lnTo>
                  <a:lnTo>
                    <a:pt x="780" y="253"/>
                  </a:lnTo>
                  <a:lnTo>
                    <a:pt x="783" y="255"/>
                  </a:lnTo>
                  <a:lnTo>
                    <a:pt x="791" y="262"/>
                  </a:lnTo>
                  <a:lnTo>
                    <a:pt x="799" y="268"/>
                  </a:lnTo>
                  <a:lnTo>
                    <a:pt x="810" y="275"/>
                  </a:lnTo>
                  <a:lnTo>
                    <a:pt x="818" y="279"/>
                  </a:lnTo>
                  <a:lnTo>
                    <a:pt x="827" y="284"/>
                  </a:lnTo>
                  <a:lnTo>
                    <a:pt x="838" y="290"/>
                  </a:lnTo>
                  <a:lnTo>
                    <a:pt x="848" y="294"/>
                  </a:lnTo>
                  <a:lnTo>
                    <a:pt x="858" y="296"/>
                  </a:lnTo>
                  <a:lnTo>
                    <a:pt x="866" y="295"/>
                  </a:lnTo>
                  <a:lnTo>
                    <a:pt x="874" y="290"/>
                  </a:lnTo>
                  <a:lnTo>
                    <a:pt x="878" y="286"/>
                  </a:lnTo>
                  <a:lnTo>
                    <a:pt x="881" y="284"/>
                  </a:lnTo>
                  <a:lnTo>
                    <a:pt x="883" y="285"/>
                  </a:lnTo>
                  <a:lnTo>
                    <a:pt x="884" y="288"/>
                  </a:lnTo>
                  <a:lnTo>
                    <a:pt x="880" y="298"/>
                  </a:lnTo>
                  <a:lnTo>
                    <a:pt x="879" y="304"/>
                  </a:lnTo>
                  <a:lnTo>
                    <a:pt x="879" y="307"/>
                  </a:lnTo>
                  <a:lnTo>
                    <a:pt x="882" y="309"/>
                  </a:lnTo>
                  <a:lnTo>
                    <a:pt x="887" y="309"/>
                  </a:lnTo>
                  <a:lnTo>
                    <a:pt x="893" y="307"/>
                  </a:lnTo>
                  <a:lnTo>
                    <a:pt x="895" y="306"/>
                  </a:lnTo>
                  <a:lnTo>
                    <a:pt x="899" y="317"/>
                  </a:lnTo>
                  <a:lnTo>
                    <a:pt x="904" y="327"/>
                  </a:lnTo>
                  <a:lnTo>
                    <a:pt x="907" y="337"/>
                  </a:lnTo>
                  <a:lnTo>
                    <a:pt x="910" y="345"/>
                  </a:lnTo>
                  <a:lnTo>
                    <a:pt x="911" y="351"/>
                  </a:lnTo>
                  <a:lnTo>
                    <a:pt x="911" y="363"/>
                  </a:lnTo>
                  <a:lnTo>
                    <a:pt x="912" y="375"/>
                  </a:lnTo>
                  <a:lnTo>
                    <a:pt x="915" y="387"/>
                  </a:lnTo>
                  <a:lnTo>
                    <a:pt x="918" y="393"/>
                  </a:lnTo>
                  <a:lnTo>
                    <a:pt x="921" y="403"/>
                  </a:lnTo>
                  <a:lnTo>
                    <a:pt x="925" y="415"/>
                  </a:lnTo>
                  <a:lnTo>
                    <a:pt x="930" y="429"/>
                  </a:lnTo>
                  <a:lnTo>
                    <a:pt x="934" y="444"/>
                  </a:lnTo>
                  <a:lnTo>
                    <a:pt x="938" y="458"/>
                  </a:lnTo>
                  <a:lnTo>
                    <a:pt x="929" y="460"/>
                  </a:lnTo>
                  <a:lnTo>
                    <a:pt x="921" y="461"/>
                  </a:lnTo>
                  <a:lnTo>
                    <a:pt x="915" y="463"/>
                  </a:lnTo>
                  <a:lnTo>
                    <a:pt x="907" y="466"/>
                  </a:lnTo>
                  <a:lnTo>
                    <a:pt x="895" y="478"/>
                  </a:lnTo>
                  <a:lnTo>
                    <a:pt x="891" y="484"/>
                  </a:lnTo>
                  <a:lnTo>
                    <a:pt x="886" y="489"/>
                  </a:lnTo>
                  <a:lnTo>
                    <a:pt x="880" y="492"/>
                  </a:lnTo>
                  <a:lnTo>
                    <a:pt x="872" y="492"/>
                  </a:lnTo>
                  <a:lnTo>
                    <a:pt x="864" y="489"/>
                  </a:lnTo>
                  <a:lnTo>
                    <a:pt x="859" y="484"/>
                  </a:lnTo>
                  <a:lnTo>
                    <a:pt x="855" y="476"/>
                  </a:lnTo>
                  <a:lnTo>
                    <a:pt x="851" y="465"/>
                  </a:lnTo>
                  <a:lnTo>
                    <a:pt x="840" y="442"/>
                  </a:lnTo>
                  <a:lnTo>
                    <a:pt x="833" y="431"/>
                  </a:lnTo>
                  <a:lnTo>
                    <a:pt x="827" y="426"/>
                  </a:lnTo>
                  <a:lnTo>
                    <a:pt x="822" y="424"/>
                  </a:lnTo>
                  <a:lnTo>
                    <a:pt x="817" y="425"/>
                  </a:lnTo>
                  <a:lnTo>
                    <a:pt x="812" y="428"/>
                  </a:lnTo>
                  <a:lnTo>
                    <a:pt x="808" y="432"/>
                  </a:lnTo>
                  <a:lnTo>
                    <a:pt x="802" y="436"/>
                  </a:lnTo>
                  <a:lnTo>
                    <a:pt x="793" y="439"/>
                  </a:lnTo>
                  <a:lnTo>
                    <a:pt x="780" y="440"/>
                  </a:lnTo>
                  <a:lnTo>
                    <a:pt x="766" y="440"/>
                  </a:lnTo>
                  <a:lnTo>
                    <a:pt x="753" y="439"/>
                  </a:lnTo>
                  <a:lnTo>
                    <a:pt x="743" y="439"/>
                  </a:lnTo>
                  <a:lnTo>
                    <a:pt x="734" y="441"/>
                  </a:lnTo>
                  <a:lnTo>
                    <a:pt x="727" y="447"/>
                  </a:lnTo>
                  <a:lnTo>
                    <a:pt x="721" y="456"/>
                  </a:lnTo>
                  <a:lnTo>
                    <a:pt x="718" y="464"/>
                  </a:lnTo>
                  <a:lnTo>
                    <a:pt x="717" y="470"/>
                  </a:lnTo>
                  <a:lnTo>
                    <a:pt x="716" y="474"/>
                  </a:lnTo>
                  <a:lnTo>
                    <a:pt x="715" y="477"/>
                  </a:lnTo>
                  <a:lnTo>
                    <a:pt x="712" y="480"/>
                  </a:lnTo>
                  <a:lnTo>
                    <a:pt x="706" y="484"/>
                  </a:lnTo>
                  <a:lnTo>
                    <a:pt x="699" y="488"/>
                  </a:lnTo>
                  <a:lnTo>
                    <a:pt x="696" y="494"/>
                  </a:lnTo>
                  <a:lnTo>
                    <a:pt x="694" y="500"/>
                  </a:lnTo>
                  <a:lnTo>
                    <a:pt x="694" y="506"/>
                  </a:lnTo>
                  <a:lnTo>
                    <a:pt x="691" y="512"/>
                  </a:lnTo>
                  <a:lnTo>
                    <a:pt x="689" y="512"/>
                  </a:lnTo>
                  <a:lnTo>
                    <a:pt x="688" y="511"/>
                  </a:lnTo>
                  <a:lnTo>
                    <a:pt x="686" y="507"/>
                  </a:lnTo>
                  <a:lnTo>
                    <a:pt x="686" y="505"/>
                  </a:lnTo>
                  <a:lnTo>
                    <a:pt x="685" y="502"/>
                  </a:lnTo>
                  <a:lnTo>
                    <a:pt x="685" y="500"/>
                  </a:lnTo>
                  <a:lnTo>
                    <a:pt x="683" y="497"/>
                  </a:lnTo>
                  <a:lnTo>
                    <a:pt x="678" y="496"/>
                  </a:lnTo>
                  <a:lnTo>
                    <a:pt x="672" y="495"/>
                  </a:lnTo>
                  <a:lnTo>
                    <a:pt x="665" y="495"/>
                  </a:lnTo>
                  <a:lnTo>
                    <a:pt x="661" y="496"/>
                  </a:lnTo>
                  <a:lnTo>
                    <a:pt x="658" y="499"/>
                  </a:lnTo>
                  <a:lnTo>
                    <a:pt x="656" y="504"/>
                  </a:lnTo>
                  <a:lnTo>
                    <a:pt x="652" y="509"/>
                  </a:lnTo>
                  <a:lnTo>
                    <a:pt x="647" y="515"/>
                  </a:lnTo>
                  <a:lnTo>
                    <a:pt x="644" y="518"/>
                  </a:lnTo>
                  <a:lnTo>
                    <a:pt x="643" y="518"/>
                  </a:lnTo>
                  <a:lnTo>
                    <a:pt x="642" y="517"/>
                  </a:lnTo>
                  <a:lnTo>
                    <a:pt x="641" y="515"/>
                  </a:lnTo>
                  <a:lnTo>
                    <a:pt x="641" y="514"/>
                  </a:lnTo>
                  <a:lnTo>
                    <a:pt x="640" y="512"/>
                  </a:lnTo>
                  <a:lnTo>
                    <a:pt x="638" y="511"/>
                  </a:lnTo>
                  <a:lnTo>
                    <a:pt x="636" y="509"/>
                  </a:lnTo>
                  <a:lnTo>
                    <a:pt x="633" y="508"/>
                  </a:lnTo>
                  <a:lnTo>
                    <a:pt x="629" y="507"/>
                  </a:lnTo>
                  <a:lnTo>
                    <a:pt x="623" y="507"/>
                  </a:lnTo>
                  <a:lnTo>
                    <a:pt x="620" y="510"/>
                  </a:lnTo>
                  <a:lnTo>
                    <a:pt x="620" y="512"/>
                  </a:lnTo>
                  <a:lnTo>
                    <a:pt x="619" y="514"/>
                  </a:lnTo>
                  <a:lnTo>
                    <a:pt x="619" y="516"/>
                  </a:lnTo>
                  <a:lnTo>
                    <a:pt x="616" y="522"/>
                  </a:lnTo>
                  <a:lnTo>
                    <a:pt x="610" y="528"/>
                  </a:lnTo>
                  <a:lnTo>
                    <a:pt x="601" y="535"/>
                  </a:lnTo>
                  <a:lnTo>
                    <a:pt x="593" y="540"/>
                  </a:lnTo>
                  <a:lnTo>
                    <a:pt x="585" y="545"/>
                  </a:lnTo>
                  <a:lnTo>
                    <a:pt x="582" y="546"/>
                  </a:lnTo>
                  <a:lnTo>
                    <a:pt x="580" y="547"/>
                  </a:lnTo>
                  <a:lnTo>
                    <a:pt x="578" y="547"/>
                  </a:lnTo>
                  <a:lnTo>
                    <a:pt x="578" y="546"/>
                  </a:lnTo>
                  <a:lnTo>
                    <a:pt x="577" y="545"/>
                  </a:lnTo>
                  <a:lnTo>
                    <a:pt x="577" y="543"/>
                  </a:lnTo>
                  <a:lnTo>
                    <a:pt x="578" y="542"/>
                  </a:lnTo>
                  <a:lnTo>
                    <a:pt x="578" y="539"/>
                  </a:lnTo>
                  <a:lnTo>
                    <a:pt x="577" y="538"/>
                  </a:lnTo>
                  <a:lnTo>
                    <a:pt x="573" y="537"/>
                  </a:lnTo>
                  <a:lnTo>
                    <a:pt x="565" y="536"/>
                  </a:lnTo>
                  <a:lnTo>
                    <a:pt x="530" y="536"/>
                  </a:lnTo>
                  <a:lnTo>
                    <a:pt x="526" y="534"/>
                  </a:lnTo>
                  <a:lnTo>
                    <a:pt x="526" y="528"/>
                  </a:lnTo>
                  <a:lnTo>
                    <a:pt x="527" y="526"/>
                  </a:lnTo>
                  <a:lnTo>
                    <a:pt x="527" y="524"/>
                  </a:lnTo>
                  <a:lnTo>
                    <a:pt x="525" y="522"/>
                  </a:lnTo>
                  <a:lnTo>
                    <a:pt x="521" y="521"/>
                  </a:lnTo>
                  <a:lnTo>
                    <a:pt x="516" y="521"/>
                  </a:lnTo>
                  <a:lnTo>
                    <a:pt x="510" y="519"/>
                  </a:lnTo>
                  <a:lnTo>
                    <a:pt x="504" y="516"/>
                  </a:lnTo>
                  <a:lnTo>
                    <a:pt x="497" y="512"/>
                  </a:lnTo>
                  <a:lnTo>
                    <a:pt x="489" y="510"/>
                  </a:lnTo>
                  <a:lnTo>
                    <a:pt x="482" y="508"/>
                  </a:lnTo>
                  <a:lnTo>
                    <a:pt x="477" y="505"/>
                  </a:lnTo>
                  <a:lnTo>
                    <a:pt x="473" y="503"/>
                  </a:lnTo>
                  <a:lnTo>
                    <a:pt x="470" y="502"/>
                  </a:lnTo>
                  <a:lnTo>
                    <a:pt x="463" y="504"/>
                  </a:lnTo>
                  <a:lnTo>
                    <a:pt x="453" y="506"/>
                  </a:lnTo>
                  <a:lnTo>
                    <a:pt x="447" y="507"/>
                  </a:lnTo>
                  <a:lnTo>
                    <a:pt x="443" y="506"/>
                  </a:lnTo>
                  <a:lnTo>
                    <a:pt x="441" y="504"/>
                  </a:lnTo>
                  <a:lnTo>
                    <a:pt x="439" y="500"/>
                  </a:lnTo>
                  <a:lnTo>
                    <a:pt x="436" y="496"/>
                  </a:lnTo>
                  <a:lnTo>
                    <a:pt x="431" y="491"/>
                  </a:lnTo>
                  <a:lnTo>
                    <a:pt x="420" y="484"/>
                  </a:lnTo>
                  <a:lnTo>
                    <a:pt x="409" y="478"/>
                  </a:lnTo>
                  <a:lnTo>
                    <a:pt x="400" y="473"/>
                  </a:lnTo>
                  <a:lnTo>
                    <a:pt x="394" y="469"/>
                  </a:lnTo>
                  <a:lnTo>
                    <a:pt x="389" y="467"/>
                  </a:lnTo>
                  <a:lnTo>
                    <a:pt x="384" y="469"/>
                  </a:lnTo>
                  <a:lnTo>
                    <a:pt x="377" y="474"/>
                  </a:lnTo>
                  <a:lnTo>
                    <a:pt x="371" y="476"/>
                  </a:lnTo>
                  <a:lnTo>
                    <a:pt x="367" y="475"/>
                  </a:lnTo>
                  <a:lnTo>
                    <a:pt x="363" y="472"/>
                  </a:lnTo>
                  <a:lnTo>
                    <a:pt x="357" y="470"/>
                  </a:lnTo>
                  <a:lnTo>
                    <a:pt x="351" y="470"/>
                  </a:lnTo>
                  <a:lnTo>
                    <a:pt x="346" y="474"/>
                  </a:lnTo>
                  <a:lnTo>
                    <a:pt x="343" y="479"/>
                  </a:lnTo>
                  <a:lnTo>
                    <a:pt x="342" y="486"/>
                  </a:lnTo>
                  <a:lnTo>
                    <a:pt x="340" y="493"/>
                  </a:lnTo>
                  <a:lnTo>
                    <a:pt x="335" y="499"/>
                  </a:lnTo>
                  <a:lnTo>
                    <a:pt x="329" y="503"/>
                  </a:lnTo>
                  <a:lnTo>
                    <a:pt x="321" y="505"/>
                  </a:lnTo>
                  <a:lnTo>
                    <a:pt x="315" y="507"/>
                  </a:lnTo>
                  <a:lnTo>
                    <a:pt x="305" y="515"/>
                  </a:lnTo>
                  <a:lnTo>
                    <a:pt x="299" y="517"/>
                  </a:lnTo>
                  <a:lnTo>
                    <a:pt x="295" y="516"/>
                  </a:lnTo>
                  <a:lnTo>
                    <a:pt x="293" y="512"/>
                  </a:lnTo>
                  <a:lnTo>
                    <a:pt x="293" y="501"/>
                  </a:lnTo>
                  <a:lnTo>
                    <a:pt x="294" y="496"/>
                  </a:lnTo>
                  <a:lnTo>
                    <a:pt x="294" y="492"/>
                  </a:lnTo>
                  <a:lnTo>
                    <a:pt x="293" y="491"/>
                  </a:lnTo>
                  <a:lnTo>
                    <a:pt x="290" y="493"/>
                  </a:lnTo>
                  <a:lnTo>
                    <a:pt x="273" y="510"/>
                  </a:lnTo>
                  <a:lnTo>
                    <a:pt x="266" y="516"/>
                  </a:lnTo>
                  <a:lnTo>
                    <a:pt x="259" y="521"/>
                  </a:lnTo>
                  <a:lnTo>
                    <a:pt x="253" y="523"/>
                  </a:lnTo>
                  <a:lnTo>
                    <a:pt x="242" y="526"/>
                  </a:lnTo>
                  <a:lnTo>
                    <a:pt x="232" y="532"/>
                  </a:lnTo>
                  <a:lnTo>
                    <a:pt x="223" y="539"/>
                  </a:lnTo>
                  <a:lnTo>
                    <a:pt x="217" y="547"/>
                  </a:lnTo>
                  <a:lnTo>
                    <a:pt x="216" y="552"/>
                  </a:lnTo>
                  <a:lnTo>
                    <a:pt x="220" y="556"/>
                  </a:lnTo>
                  <a:lnTo>
                    <a:pt x="226" y="561"/>
                  </a:lnTo>
                  <a:lnTo>
                    <a:pt x="234" y="565"/>
                  </a:lnTo>
                  <a:lnTo>
                    <a:pt x="241" y="570"/>
                  </a:lnTo>
                  <a:lnTo>
                    <a:pt x="246" y="576"/>
                  </a:lnTo>
                  <a:lnTo>
                    <a:pt x="250" y="582"/>
                  </a:lnTo>
                  <a:lnTo>
                    <a:pt x="254" y="584"/>
                  </a:lnTo>
                  <a:lnTo>
                    <a:pt x="257" y="584"/>
                  </a:lnTo>
                  <a:lnTo>
                    <a:pt x="263" y="586"/>
                  </a:lnTo>
                  <a:lnTo>
                    <a:pt x="266" y="591"/>
                  </a:lnTo>
                  <a:lnTo>
                    <a:pt x="266" y="596"/>
                  </a:lnTo>
                  <a:lnTo>
                    <a:pt x="264" y="599"/>
                  </a:lnTo>
                  <a:lnTo>
                    <a:pt x="261" y="601"/>
                  </a:lnTo>
                  <a:lnTo>
                    <a:pt x="259" y="601"/>
                  </a:lnTo>
                  <a:lnTo>
                    <a:pt x="249" y="606"/>
                  </a:lnTo>
                  <a:lnTo>
                    <a:pt x="244" y="605"/>
                  </a:lnTo>
                  <a:lnTo>
                    <a:pt x="237" y="604"/>
                  </a:lnTo>
                  <a:lnTo>
                    <a:pt x="229" y="603"/>
                  </a:lnTo>
                  <a:lnTo>
                    <a:pt x="221" y="601"/>
                  </a:lnTo>
                  <a:lnTo>
                    <a:pt x="217" y="599"/>
                  </a:lnTo>
                  <a:lnTo>
                    <a:pt x="209" y="595"/>
                  </a:lnTo>
                  <a:lnTo>
                    <a:pt x="200" y="592"/>
                  </a:lnTo>
                  <a:lnTo>
                    <a:pt x="192" y="592"/>
                  </a:lnTo>
                  <a:lnTo>
                    <a:pt x="187" y="593"/>
                  </a:lnTo>
                  <a:lnTo>
                    <a:pt x="181" y="594"/>
                  </a:lnTo>
                  <a:lnTo>
                    <a:pt x="176" y="595"/>
                  </a:lnTo>
                  <a:lnTo>
                    <a:pt x="172" y="595"/>
                  </a:lnTo>
                  <a:lnTo>
                    <a:pt x="169" y="592"/>
                  </a:lnTo>
                  <a:lnTo>
                    <a:pt x="166" y="585"/>
                  </a:lnTo>
                  <a:lnTo>
                    <a:pt x="161" y="576"/>
                  </a:lnTo>
                  <a:lnTo>
                    <a:pt x="157" y="568"/>
                  </a:lnTo>
                  <a:lnTo>
                    <a:pt x="153" y="564"/>
                  </a:lnTo>
                  <a:lnTo>
                    <a:pt x="150" y="564"/>
                  </a:lnTo>
                  <a:lnTo>
                    <a:pt x="149" y="565"/>
                  </a:lnTo>
                  <a:lnTo>
                    <a:pt x="148" y="567"/>
                  </a:lnTo>
                  <a:lnTo>
                    <a:pt x="147" y="568"/>
                  </a:lnTo>
                  <a:lnTo>
                    <a:pt x="145" y="569"/>
                  </a:lnTo>
                  <a:lnTo>
                    <a:pt x="144" y="570"/>
                  </a:lnTo>
                  <a:lnTo>
                    <a:pt x="142" y="570"/>
                  </a:lnTo>
                  <a:lnTo>
                    <a:pt x="138" y="566"/>
                  </a:lnTo>
                  <a:lnTo>
                    <a:pt x="137" y="563"/>
                  </a:lnTo>
                  <a:lnTo>
                    <a:pt x="135" y="559"/>
                  </a:lnTo>
                  <a:lnTo>
                    <a:pt x="135" y="558"/>
                  </a:lnTo>
                  <a:lnTo>
                    <a:pt x="134" y="556"/>
                  </a:lnTo>
                  <a:lnTo>
                    <a:pt x="132" y="555"/>
                  </a:lnTo>
                  <a:lnTo>
                    <a:pt x="130" y="555"/>
                  </a:lnTo>
                  <a:lnTo>
                    <a:pt x="124" y="556"/>
                  </a:lnTo>
                  <a:lnTo>
                    <a:pt x="120" y="559"/>
                  </a:lnTo>
                  <a:lnTo>
                    <a:pt x="116" y="561"/>
                  </a:lnTo>
                  <a:lnTo>
                    <a:pt x="111" y="560"/>
                  </a:lnTo>
                  <a:lnTo>
                    <a:pt x="107" y="557"/>
                  </a:lnTo>
                  <a:lnTo>
                    <a:pt x="93" y="547"/>
                  </a:lnTo>
                  <a:lnTo>
                    <a:pt x="83" y="539"/>
                  </a:lnTo>
                  <a:lnTo>
                    <a:pt x="72" y="532"/>
                  </a:lnTo>
                  <a:lnTo>
                    <a:pt x="62" y="524"/>
                  </a:lnTo>
                  <a:lnTo>
                    <a:pt x="53" y="517"/>
                  </a:lnTo>
                  <a:lnTo>
                    <a:pt x="46" y="511"/>
                  </a:lnTo>
                  <a:lnTo>
                    <a:pt x="42" y="506"/>
                  </a:lnTo>
                  <a:lnTo>
                    <a:pt x="38" y="502"/>
                  </a:lnTo>
                  <a:lnTo>
                    <a:pt x="35" y="501"/>
                  </a:lnTo>
                  <a:lnTo>
                    <a:pt x="31" y="500"/>
                  </a:lnTo>
                  <a:lnTo>
                    <a:pt x="28" y="499"/>
                  </a:lnTo>
                  <a:lnTo>
                    <a:pt x="26" y="495"/>
                  </a:lnTo>
                  <a:lnTo>
                    <a:pt x="25" y="487"/>
                  </a:lnTo>
                  <a:lnTo>
                    <a:pt x="26" y="481"/>
                  </a:lnTo>
                  <a:lnTo>
                    <a:pt x="26" y="477"/>
                  </a:lnTo>
                  <a:lnTo>
                    <a:pt x="23" y="474"/>
                  </a:lnTo>
                  <a:lnTo>
                    <a:pt x="20" y="473"/>
                  </a:lnTo>
                  <a:lnTo>
                    <a:pt x="14" y="472"/>
                  </a:lnTo>
                  <a:lnTo>
                    <a:pt x="0" y="474"/>
                  </a:lnTo>
                  <a:lnTo>
                    <a:pt x="1" y="461"/>
                  </a:lnTo>
                  <a:lnTo>
                    <a:pt x="2" y="451"/>
                  </a:lnTo>
                  <a:lnTo>
                    <a:pt x="4" y="443"/>
                  </a:lnTo>
                  <a:lnTo>
                    <a:pt x="6" y="438"/>
                  </a:lnTo>
                  <a:lnTo>
                    <a:pt x="13" y="435"/>
                  </a:lnTo>
                  <a:lnTo>
                    <a:pt x="21" y="432"/>
                  </a:lnTo>
                  <a:lnTo>
                    <a:pt x="30" y="429"/>
                  </a:lnTo>
                  <a:lnTo>
                    <a:pt x="36" y="426"/>
                  </a:lnTo>
                  <a:lnTo>
                    <a:pt x="40" y="420"/>
                  </a:lnTo>
                  <a:lnTo>
                    <a:pt x="45" y="411"/>
                  </a:lnTo>
                  <a:lnTo>
                    <a:pt x="49" y="402"/>
                  </a:lnTo>
                  <a:lnTo>
                    <a:pt x="51" y="395"/>
                  </a:lnTo>
                  <a:lnTo>
                    <a:pt x="53" y="393"/>
                  </a:lnTo>
                  <a:lnTo>
                    <a:pt x="58" y="393"/>
                  </a:lnTo>
                  <a:lnTo>
                    <a:pt x="63" y="394"/>
                  </a:lnTo>
                  <a:lnTo>
                    <a:pt x="69" y="395"/>
                  </a:lnTo>
                  <a:lnTo>
                    <a:pt x="74" y="394"/>
                  </a:lnTo>
                  <a:lnTo>
                    <a:pt x="78" y="390"/>
                  </a:lnTo>
                  <a:lnTo>
                    <a:pt x="80" y="383"/>
                  </a:lnTo>
                  <a:lnTo>
                    <a:pt x="79" y="378"/>
                  </a:lnTo>
                  <a:lnTo>
                    <a:pt x="78" y="374"/>
                  </a:lnTo>
                  <a:lnTo>
                    <a:pt x="78" y="370"/>
                  </a:lnTo>
                  <a:lnTo>
                    <a:pt x="80" y="360"/>
                  </a:lnTo>
                  <a:lnTo>
                    <a:pt x="81" y="353"/>
                  </a:lnTo>
                  <a:lnTo>
                    <a:pt x="81" y="347"/>
                  </a:lnTo>
                  <a:lnTo>
                    <a:pt x="80" y="342"/>
                  </a:lnTo>
                  <a:lnTo>
                    <a:pt x="76" y="338"/>
                  </a:lnTo>
                  <a:lnTo>
                    <a:pt x="71" y="336"/>
                  </a:lnTo>
                  <a:lnTo>
                    <a:pt x="58" y="334"/>
                  </a:lnTo>
                  <a:lnTo>
                    <a:pt x="48" y="330"/>
                  </a:lnTo>
                  <a:lnTo>
                    <a:pt x="41" y="324"/>
                  </a:lnTo>
                  <a:lnTo>
                    <a:pt x="38" y="321"/>
                  </a:lnTo>
                  <a:lnTo>
                    <a:pt x="32" y="317"/>
                  </a:lnTo>
                  <a:lnTo>
                    <a:pt x="30" y="313"/>
                  </a:lnTo>
                  <a:lnTo>
                    <a:pt x="31" y="307"/>
                  </a:lnTo>
                  <a:lnTo>
                    <a:pt x="35" y="292"/>
                  </a:lnTo>
                  <a:lnTo>
                    <a:pt x="37" y="279"/>
                  </a:lnTo>
                  <a:lnTo>
                    <a:pt x="37" y="268"/>
                  </a:lnTo>
                  <a:lnTo>
                    <a:pt x="39" y="263"/>
                  </a:lnTo>
                  <a:lnTo>
                    <a:pt x="50" y="252"/>
                  </a:lnTo>
                  <a:lnTo>
                    <a:pt x="57" y="249"/>
                  </a:lnTo>
                  <a:lnTo>
                    <a:pt x="63" y="247"/>
                  </a:lnTo>
                  <a:lnTo>
                    <a:pt x="65" y="245"/>
                  </a:lnTo>
                  <a:lnTo>
                    <a:pt x="66" y="240"/>
                  </a:lnTo>
                  <a:lnTo>
                    <a:pt x="65" y="232"/>
                  </a:lnTo>
                  <a:lnTo>
                    <a:pt x="65" y="223"/>
                  </a:lnTo>
                  <a:lnTo>
                    <a:pt x="67" y="223"/>
                  </a:lnTo>
                  <a:lnTo>
                    <a:pt x="70" y="222"/>
                  </a:lnTo>
                  <a:lnTo>
                    <a:pt x="78" y="219"/>
                  </a:lnTo>
                  <a:lnTo>
                    <a:pt x="89" y="215"/>
                  </a:lnTo>
                  <a:lnTo>
                    <a:pt x="99" y="210"/>
                  </a:lnTo>
                  <a:lnTo>
                    <a:pt x="111" y="206"/>
                  </a:lnTo>
                  <a:lnTo>
                    <a:pt x="122" y="204"/>
                  </a:lnTo>
                  <a:lnTo>
                    <a:pt x="129" y="205"/>
                  </a:lnTo>
                  <a:lnTo>
                    <a:pt x="133" y="207"/>
                  </a:lnTo>
                  <a:lnTo>
                    <a:pt x="135" y="211"/>
                  </a:lnTo>
                  <a:lnTo>
                    <a:pt x="137" y="214"/>
                  </a:lnTo>
                  <a:lnTo>
                    <a:pt x="138" y="217"/>
                  </a:lnTo>
                  <a:lnTo>
                    <a:pt x="141" y="218"/>
                  </a:lnTo>
                  <a:lnTo>
                    <a:pt x="143" y="218"/>
                  </a:lnTo>
                  <a:lnTo>
                    <a:pt x="144" y="219"/>
                  </a:lnTo>
                  <a:lnTo>
                    <a:pt x="145" y="221"/>
                  </a:lnTo>
                  <a:lnTo>
                    <a:pt x="145" y="229"/>
                  </a:lnTo>
                  <a:lnTo>
                    <a:pt x="146" y="231"/>
                  </a:lnTo>
                  <a:lnTo>
                    <a:pt x="147" y="232"/>
                  </a:lnTo>
                  <a:lnTo>
                    <a:pt x="149" y="233"/>
                  </a:lnTo>
                  <a:lnTo>
                    <a:pt x="161" y="233"/>
                  </a:lnTo>
                  <a:lnTo>
                    <a:pt x="168" y="232"/>
                  </a:lnTo>
                  <a:lnTo>
                    <a:pt x="173" y="231"/>
                  </a:lnTo>
                  <a:lnTo>
                    <a:pt x="175" y="231"/>
                  </a:lnTo>
                  <a:lnTo>
                    <a:pt x="176" y="230"/>
                  </a:lnTo>
                  <a:lnTo>
                    <a:pt x="176" y="231"/>
                  </a:lnTo>
                  <a:lnTo>
                    <a:pt x="177" y="231"/>
                  </a:lnTo>
                  <a:lnTo>
                    <a:pt x="177" y="232"/>
                  </a:lnTo>
                  <a:lnTo>
                    <a:pt x="178" y="233"/>
                  </a:lnTo>
                  <a:lnTo>
                    <a:pt x="184" y="235"/>
                  </a:lnTo>
                  <a:lnTo>
                    <a:pt x="191" y="238"/>
                  </a:lnTo>
                  <a:lnTo>
                    <a:pt x="196" y="241"/>
                  </a:lnTo>
                  <a:lnTo>
                    <a:pt x="199" y="244"/>
                  </a:lnTo>
                  <a:lnTo>
                    <a:pt x="202" y="243"/>
                  </a:lnTo>
                  <a:lnTo>
                    <a:pt x="205" y="237"/>
                  </a:lnTo>
                  <a:lnTo>
                    <a:pt x="206" y="229"/>
                  </a:lnTo>
                  <a:lnTo>
                    <a:pt x="208" y="220"/>
                  </a:lnTo>
                  <a:lnTo>
                    <a:pt x="210" y="213"/>
                  </a:lnTo>
                  <a:lnTo>
                    <a:pt x="213" y="206"/>
                  </a:lnTo>
                  <a:lnTo>
                    <a:pt x="216" y="200"/>
                  </a:lnTo>
                  <a:lnTo>
                    <a:pt x="223" y="194"/>
                  </a:lnTo>
                  <a:lnTo>
                    <a:pt x="228" y="189"/>
                  </a:lnTo>
                  <a:lnTo>
                    <a:pt x="233" y="183"/>
                  </a:lnTo>
                  <a:lnTo>
                    <a:pt x="237" y="177"/>
                  </a:lnTo>
                  <a:lnTo>
                    <a:pt x="238" y="173"/>
                  </a:lnTo>
                  <a:lnTo>
                    <a:pt x="239" y="168"/>
                  </a:lnTo>
                  <a:lnTo>
                    <a:pt x="240" y="161"/>
                  </a:lnTo>
                  <a:lnTo>
                    <a:pt x="244" y="153"/>
                  </a:lnTo>
                  <a:lnTo>
                    <a:pt x="249" y="146"/>
                  </a:lnTo>
                  <a:lnTo>
                    <a:pt x="257" y="142"/>
                  </a:lnTo>
                  <a:lnTo>
                    <a:pt x="268" y="142"/>
                  </a:lnTo>
                  <a:lnTo>
                    <a:pt x="286" y="148"/>
                  </a:lnTo>
                  <a:lnTo>
                    <a:pt x="294" y="146"/>
                  </a:lnTo>
                  <a:lnTo>
                    <a:pt x="303" y="141"/>
                  </a:lnTo>
                  <a:lnTo>
                    <a:pt x="316" y="136"/>
                  </a:lnTo>
                  <a:lnTo>
                    <a:pt x="330" y="132"/>
                  </a:lnTo>
                  <a:lnTo>
                    <a:pt x="343" y="129"/>
                  </a:lnTo>
                  <a:lnTo>
                    <a:pt x="351" y="127"/>
                  </a:lnTo>
                  <a:lnTo>
                    <a:pt x="357" y="124"/>
                  </a:lnTo>
                  <a:lnTo>
                    <a:pt x="361" y="118"/>
                  </a:lnTo>
                  <a:lnTo>
                    <a:pt x="365" y="111"/>
                  </a:lnTo>
                  <a:lnTo>
                    <a:pt x="370" y="104"/>
                  </a:lnTo>
                  <a:lnTo>
                    <a:pt x="377" y="99"/>
                  </a:lnTo>
                  <a:lnTo>
                    <a:pt x="391" y="92"/>
                  </a:lnTo>
                  <a:lnTo>
                    <a:pt x="405" y="83"/>
                  </a:lnTo>
                  <a:lnTo>
                    <a:pt x="415" y="72"/>
                  </a:lnTo>
                  <a:lnTo>
                    <a:pt x="420" y="65"/>
                  </a:lnTo>
                  <a:lnTo>
                    <a:pt x="425" y="55"/>
                  </a:lnTo>
                  <a:lnTo>
                    <a:pt x="431" y="45"/>
                  </a:lnTo>
                  <a:lnTo>
                    <a:pt x="436" y="34"/>
                  </a:lnTo>
                  <a:lnTo>
                    <a:pt x="441" y="24"/>
                  </a:lnTo>
                  <a:lnTo>
                    <a:pt x="444" y="17"/>
                  </a:lnTo>
                  <a:lnTo>
                    <a:pt x="446" y="9"/>
                  </a:lnTo>
                  <a:lnTo>
                    <a:pt x="448" y="6"/>
                  </a:lnTo>
                  <a:lnTo>
                    <a:pt x="449" y="3"/>
                  </a:lnTo>
                  <a:lnTo>
                    <a:pt x="450" y="1"/>
                  </a:lnTo>
                  <a:lnTo>
                    <a:pt x="452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0">
              <a:extLst>
                <a:ext uri="{FF2B5EF4-FFF2-40B4-BE49-F238E27FC236}">
                  <a16:creationId xmlns:a16="http://schemas.microsoft.com/office/drawing/2014/main" id="{FD8FE3B3-3638-4AE5-8AAC-D1D9EFF589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97638" y="2262188"/>
              <a:ext cx="1344613" cy="1370013"/>
            </a:xfrm>
            <a:custGeom>
              <a:avLst/>
              <a:gdLst/>
              <a:ahLst/>
              <a:cxnLst>
                <a:cxn ang="0">
                  <a:pos x="444" y="335"/>
                </a:cxn>
                <a:cxn ang="0">
                  <a:pos x="413" y="402"/>
                </a:cxn>
                <a:cxn ang="0">
                  <a:pos x="449" y="426"/>
                </a:cxn>
                <a:cxn ang="0">
                  <a:pos x="495" y="426"/>
                </a:cxn>
                <a:cxn ang="0">
                  <a:pos x="558" y="445"/>
                </a:cxn>
                <a:cxn ang="0">
                  <a:pos x="553" y="397"/>
                </a:cxn>
                <a:cxn ang="0">
                  <a:pos x="526" y="363"/>
                </a:cxn>
                <a:cxn ang="0">
                  <a:pos x="611" y="2"/>
                </a:cxn>
                <a:cxn ang="0">
                  <a:pos x="675" y="60"/>
                </a:cxn>
                <a:cxn ang="0">
                  <a:pos x="728" y="77"/>
                </a:cxn>
                <a:cxn ang="0">
                  <a:pos x="661" y="184"/>
                </a:cxn>
                <a:cxn ang="0">
                  <a:pos x="660" y="242"/>
                </a:cxn>
                <a:cxn ang="0">
                  <a:pos x="718" y="274"/>
                </a:cxn>
                <a:cxn ang="0">
                  <a:pos x="793" y="343"/>
                </a:cxn>
                <a:cxn ang="0">
                  <a:pos x="784" y="398"/>
                </a:cxn>
                <a:cxn ang="0">
                  <a:pos x="802" y="473"/>
                </a:cxn>
                <a:cxn ang="0">
                  <a:pos x="816" y="492"/>
                </a:cxn>
                <a:cxn ang="0">
                  <a:pos x="816" y="519"/>
                </a:cxn>
                <a:cxn ang="0">
                  <a:pos x="831" y="561"/>
                </a:cxn>
                <a:cxn ang="0">
                  <a:pos x="804" y="643"/>
                </a:cxn>
                <a:cxn ang="0">
                  <a:pos x="844" y="724"/>
                </a:cxn>
                <a:cxn ang="0">
                  <a:pos x="823" y="768"/>
                </a:cxn>
                <a:cxn ang="0">
                  <a:pos x="748" y="786"/>
                </a:cxn>
                <a:cxn ang="0">
                  <a:pos x="711" y="777"/>
                </a:cxn>
                <a:cxn ang="0">
                  <a:pos x="666" y="840"/>
                </a:cxn>
                <a:cxn ang="0">
                  <a:pos x="600" y="857"/>
                </a:cxn>
                <a:cxn ang="0">
                  <a:pos x="493" y="844"/>
                </a:cxn>
                <a:cxn ang="0">
                  <a:pos x="447" y="839"/>
                </a:cxn>
                <a:cxn ang="0">
                  <a:pos x="447" y="788"/>
                </a:cxn>
                <a:cxn ang="0">
                  <a:pos x="420" y="750"/>
                </a:cxn>
                <a:cxn ang="0">
                  <a:pos x="438" y="695"/>
                </a:cxn>
                <a:cxn ang="0">
                  <a:pos x="395" y="650"/>
                </a:cxn>
                <a:cxn ang="0">
                  <a:pos x="330" y="618"/>
                </a:cxn>
                <a:cxn ang="0">
                  <a:pos x="267" y="605"/>
                </a:cxn>
                <a:cxn ang="0">
                  <a:pos x="203" y="555"/>
                </a:cxn>
                <a:cxn ang="0">
                  <a:pos x="188" y="492"/>
                </a:cxn>
                <a:cxn ang="0">
                  <a:pos x="207" y="397"/>
                </a:cxn>
                <a:cxn ang="0">
                  <a:pos x="167" y="390"/>
                </a:cxn>
                <a:cxn ang="0">
                  <a:pos x="184" y="338"/>
                </a:cxn>
                <a:cxn ang="0">
                  <a:pos x="188" y="278"/>
                </a:cxn>
                <a:cxn ang="0">
                  <a:pos x="137" y="239"/>
                </a:cxn>
                <a:cxn ang="0">
                  <a:pos x="78" y="215"/>
                </a:cxn>
                <a:cxn ang="0">
                  <a:pos x="42" y="193"/>
                </a:cxn>
                <a:cxn ang="0">
                  <a:pos x="47" y="162"/>
                </a:cxn>
                <a:cxn ang="0">
                  <a:pos x="1" y="123"/>
                </a:cxn>
                <a:cxn ang="0">
                  <a:pos x="78" y="68"/>
                </a:cxn>
                <a:cxn ang="0">
                  <a:pos x="119" y="75"/>
                </a:cxn>
                <a:cxn ang="0">
                  <a:pos x="161" y="50"/>
                </a:cxn>
                <a:cxn ang="0">
                  <a:pos x="225" y="80"/>
                </a:cxn>
                <a:cxn ang="0">
                  <a:pos x="281" y="88"/>
                </a:cxn>
                <a:cxn ang="0">
                  <a:pos x="314" y="112"/>
                </a:cxn>
                <a:cxn ang="0">
                  <a:pos x="364" y="123"/>
                </a:cxn>
                <a:cxn ang="0">
                  <a:pos x="404" y="86"/>
                </a:cxn>
                <a:cxn ang="0">
                  <a:pos x="427" y="94"/>
                </a:cxn>
                <a:cxn ang="0">
                  <a:pos x="467" y="73"/>
                </a:cxn>
                <a:cxn ang="0">
                  <a:pos x="480" y="70"/>
                </a:cxn>
                <a:cxn ang="0">
                  <a:pos x="518" y="17"/>
                </a:cxn>
                <a:cxn ang="0">
                  <a:pos x="606" y="0"/>
                </a:cxn>
              </a:cxnLst>
              <a:rect l="0" t="0" r="r" b="b"/>
              <a:pathLst>
                <a:path w="847" h="863">
                  <a:moveTo>
                    <a:pt x="500" y="319"/>
                  </a:moveTo>
                  <a:lnTo>
                    <a:pt x="495" y="324"/>
                  </a:lnTo>
                  <a:lnTo>
                    <a:pt x="492" y="326"/>
                  </a:lnTo>
                  <a:lnTo>
                    <a:pt x="490" y="329"/>
                  </a:lnTo>
                  <a:lnTo>
                    <a:pt x="484" y="334"/>
                  </a:lnTo>
                  <a:lnTo>
                    <a:pt x="476" y="337"/>
                  </a:lnTo>
                  <a:lnTo>
                    <a:pt x="467" y="339"/>
                  </a:lnTo>
                  <a:lnTo>
                    <a:pt x="459" y="338"/>
                  </a:lnTo>
                  <a:lnTo>
                    <a:pt x="451" y="336"/>
                  </a:lnTo>
                  <a:lnTo>
                    <a:pt x="444" y="335"/>
                  </a:lnTo>
                  <a:lnTo>
                    <a:pt x="438" y="337"/>
                  </a:lnTo>
                  <a:lnTo>
                    <a:pt x="433" y="341"/>
                  </a:lnTo>
                  <a:lnTo>
                    <a:pt x="430" y="347"/>
                  </a:lnTo>
                  <a:lnTo>
                    <a:pt x="427" y="352"/>
                  </a:lnTo>
                  <a:lnTo>
                    <a:pt x="422" y="357"/>
                  </a:lnTo>
                  <a:lnTo>
                    <a:pt x="419" y="361"/>
                  </a:lnTo>
                  <a:lnTo>
                    <a:pt x="418" y="369"/>
                  </a:lnTo>
                  <a:lnTo>
                    <a:pt x="416" y="389"/>
                  </a:lnTo>
                  <a:lnTo>
                    <a:pt x="415" y="397"/>
                  </a:lnTo>
                  <a:lnTo>
                    <a:pt x="413" y="402"/>
                  </a:lnTo>
                  <a:lnTo>
                    <a:pt x="410" y="408"/>
                  </a:lnTo>
                  <a:lnTo>
                    <a:pt x="410" y="417"/>
                  </a:lnTo>
                  <a:lnTo>
                    <a:pt x="411" y="425"/>
                  </a:lnTo>
                  <a:lnTo>
                    <a:pt x="415" y="432"/>
                  </a:lnTo>
                  <a:lnTo>
                    <a:pt x="420" y="434"/>
                  </a:lnTo>
                  <a:lnTo>
                    <a:pt x="427" y="433"/>
                  </a:lnTo>
                  <a:lnTo>
                    <a:pt x="434" y="431"/>
                  </a:lnTo>
                  <a:lnTo>
                    <a:pt x="441" y="428"/>
                  </a:lnTo>
                  <a:lnTo>
                    <a:pt x="445" y="426"/>
                  </a:lnTo>
                  <a:lnTo>
                    <a:pt x="449" y="426"/>
                  </a:lnTo>
                  <a:lnTo>
                    <a:pt x="454" y="429"/>
                  </a:lnTo>
                  <a:lnTo>
                    <a:pt x="460" y="433"/>
                  </a:lnTo>
                  <a:lnTo>
                    <a:pt x="470" y="439"/>
                  </a:lnTo>
                  <a:lnTo>
                    <a:pt x="477" y="440"/>
                  </a:lnTo>
                  <a:lnTo>
                    <a:pt x="491" y="440"/>
                  </a:lnTo>
                  <a:lnTo>
                    <a:pt x="493" y="438"/>
                  </a:lnTo>
                  <a:lnTo>
                    <a:pt x="493" y="430"/>
                  </a:lnTo>
                  <a:lnTo>
                    <a:pt x="494" y="428"/>
                  </a:lnTo>
                  <a:lnTo>
                    <a:pt x="494" y="427"/>
                  </a:lnTo>
                  <a:lnTo>
                    <a:pt x="495" y="426"/>
                  </a:lnTo>
                  <a:lnTo>
                    <a:pt x="499" y="426"/>
                  </a:lnTo>
                  <a:lnTo>
                    <a:pt x="504" y="427"/>
                  </a:lnTo>
                  <a:lnTo>
                    <a:pt x="508" y="429"/>
                  </a:lnTo>
                  <a:lnTo>
                    <a:pt x="512" y="429"/>
                  </a:lnTo>
                  <a:lnTo>
                    <a:pt x="517" y="430"/>
                  </a:lnTo>
                  <a:lnTo>
                    <a:pt x="525" y="434"/>
                  </a:lnTo>
                  <a:lnTo>
                    <a:pt x="543" y="444"/>
                  </a:lnTo>
                  <a:lnTo>
                    <a:pt x="550" y="448"/>
                  </a:lnTo>
                  <a:lnTo>
                    <a:pt x="555" y="448"/>
                  </a:lnTo>
                  <a:lnTo>
                    <a:pt x="558" y="445"/>
                  </a:lnTo>
                  <a:lnTo>
                    <a:pt x="561" y="440"/>
                  </a:lnTo>
                  <a:lnTo>
                    <a:pt x="563" y="434"/>
                  </a:lnTo>
                  <a:lnTo>
                    <a:pt x="563" y="428"/>
                  </a:lnTo>
                  <a:lnTo>
                    <a:pt x="564" y="420"/>
                  </a:lnTo>
                  <a:lnTo>
                    <a:pt x="568" y="413"/>
                  </a:lnTo>
                  <a:lnTo>
                    <a:pt x="572" y="408"/>
                  </a:lnTo>
                  <a:lnTo>
                    <a:pt x="572" y="405"/>
                  </a:lnTo>
                  <a:lnTo>
                    <a:pt x="568" y="402"/>
                  </a:lnTo>
                  <a:lnTo>
                    <a:pt x="561" y="399"/>
                  </a:lnTo>
                  <a:lnTo>
                    <a:pt x="553" y="397"/>
                  </a:lnTo>
                  <a:lnTo>
                    <a:pt x="546" y="396"/>
                  </a:lnTo>
                  <a:lnTo>
                    <a:pt x="540" y="395"/>
                  </a:lnTo>
                  <a:lnTo>
                    <a:pt x="538" y="394"/>
                  </a:lnTo>
                  <a:lnTo>
                    <a:pt x="538" y="391"/>
                  </a:lnTo>
                  <a:lnTo>
                    <a:pt x="540" y="386"/>
                  </a:lnTo>
                  <a:lnTo>
                    <a:pt x="542" y="382"/>
                  </a:lnTo>
                  <a:lnTo>
                    <a:pt x="542" y="378"/>
                  </a:lnTo>
                  <a:lnTo>
                    <a:pt x="540" y="375"/>
                  </a:lnTo>
                  <a:lnTo>
                    <a:pt x="534" y="370"/>
                  </a:lnTo>
                  <a:lnTo>
                    <a:pt x="526" y="363"/>
                  </a:lnTo>
                  <a:lnTo>
                    <a:pt x="518" y="355"/>
                  </a:lnTo>
                  <a:lnTo>
                    <a:pt x="511" y="351"/>
                  </a:lnTo>
                  <a:lnTo>
                    <a:pt x="507" y="348"/>
                  </a:lnTo>
                  <a:lnTo>
                    <a:pt x="505" y="342"/>
                  </a:lnTo>
                  <a:lnTo>
                    <a:pt x="504" y="328"/>
                  </a:lnTo>
                  <a:lnTo>
                    <a:pt x="503" y="322"/>
                  </a:lnTo>
                  <a:lnTo>
                    <a:pt x="502" y="320"/>
                  </a:lnTo>
                  <a:lnTo>
                    <a:pt x="500" y="319"/>
                  </a:lnTo>
                  <a:close/>
                  <a:moveTo>
                    <a:pt x="606" y="0"/>
                  </a:moveTo>
                  <a:lnTo>
                    <a:pt x="611" y="2"/>
                  </a:lnTo>
                  <a:lnTo>
                    <a:pt x="617" y="7"/>
                  </a:lnTo>
                  <a:lnTo>
                    <a:pt x="624" y="18"/>
                  </a:lnTo>
                  <a:lnTo>
                    <a:pt x="635" y="41"/>
                  </a:lnTo>
                  <a:lnTo>
                    <a:pt x="639" y="52"/>
                  </a:lnTo>
                  <a:lnTo>
                    <a:pt x="643" y="60"/>
                  </a:lnTo>
                  <a:lnTo>
                    <a:pt x="648" y="65"/>
                  </a:lnTo>
                  <a:lnTo>
                    <a:pt x="656" y="68"/>
                  </a:lnTo>
                  <a:lnTo>
                    <a:pt x="664" y="68"/>
                  </a:lnTo>
                  <a:lnTo>
                    <a:pt x="670" y="65"/>
                  </a:lnTo>
                  <a:lnTo>
                    <a:pt x="675" y="60"/>
                  </a:lnTo>
                  <a:lnTo>
                    <a:pt x="679" y="54"/>
                  </a:lnTo>
                  <a:lnTo>
                    <a:pt x="691" y="42"/>
                  </a:lnTo>
                  <a:lnTo>
                    <a:pt x="699" y="39"/>
                  </a:lnTo>
                  <a:lnTo>
                    <a:pt x="705" y="37"/>
                  </a:lnTo>
                  <a:lnTo>
                    <a:pt x="713" y="36"/>
                  </a:lnTo>
                  <a:lnTo>
                    <a:pt x="722" y="34"/>
                  </a:lnTo>
                  <a:lnTo>
                    <a:pt x="726" y="48"/>
                  </a:lnTo>
                  <a:lnTo>
                    <a:pt x="729" y="60"/>
                  </a:lnTo>
                  <a:lnTo>
                    <a:pt x="730" y="67"/>
                  </a:lnTo>
                  <a:lnTo>
                    <a:pt x="728" y="77"/>
                  </a:lnTo>
                  <a:lnTo>
                    <a:pt x="723" y="87"/>
                  </a:lnTo>
                  <a:lnTo>
                    <a:pt x="718" y="96"/>
                  </a:lnTo>
                  <a:lnTo>
                    <a:pt x="716" y="106"/>
                  </a:lnTo>
                  <a:lnTo>
                    <a:pt x="716" y="133"/>
                  </a:lnTo>
                  <a:lnTo>
                    <a:pt x="714" y="149"/>
                  </a:lnTo>
                  <a:lnTo>
                    <a:pt x="709" y="157"/>
                  </a:lnTo>
                  <a:lnTo>
                    <a:pt x="700" y="165"/>
                  </a:lnTo>
                  <a:lnTo>
                    <a:pt x="678" y="176"/>
                  </a:lnTo>
                  <a:lnTo>
                    <a:pt x="668" y="181"/>
                  </a:lnTo>
                  <a:lnTo>
                    <a:pt x="661" y="184"/>
                  </a:lnTo>
                  <a:lnTo>
                    <a:pt x="658" y="187"/>
                  </a:lnTo>
                  <a:lnTo>
                    <a:pt x="657" y="191"/>
                  </a:lnTo>
                  <a:lnTo>
                    <a:pt x="659" y="197"/>
                  </a:lnTo>
                  <a:lnTo>
                    <a:pt x="663" y="203"/>
                  </a:lnTo>
                  <a:lnTo>
                    <a:pt x="666" y="210"/>
                  </a:lnTo>
                  <a:lnTo>
                    <a:pt x="667" y="218"/>
                  </a:lnTo>
                  <a:lnTo>
                    <a:pt x="665" y="225"/>
                  </a:lnTo>
                  <a:lnTo>
                    <a:pt x="662" y="232"/>
                  </a:lnTo>
                  <a:lnTo>
                    <a:pt x="659" y="238"/>
                  </a:lnTo>
                  <a:lnTo>
                    <a:pt x="660" y="242"/>
                  </a:lnTo>
                  <a:lnTo>
                    <a:pt x="665" y="245"/>
                  </a:lnTo>
                  <a:lnTo>
                    <a:pt x="671" y="247"/>
                  </a:lnTo>
                  <a:lnTo>
                    <a:pt x="677" y="248"/>
                  </a:lnTo>
                  <a:lnTo>
                    <a:pt x="681" y="250"/>
                  </a:lnTo>
                  <a:lnTo>
                    <a:pt x="688" y="254"/>
                  </a:lnTo>
                  <a:lnTo>
                    <a:pt x="696" y="259"/>
                  </a:lnTo>
                  <a:lnTo>
                    <a:pt x="703" y="265"/>
                  </a:lnTo>
                  <a:lnTo>
                    <a:pt x="710" y="269"/>
                  </a:lnTo>
                  <a:lnTo>
                    <a:pt x="714" y="271"/>
                  </a:lnTo>
                  <a:lnTo>
                    <a:pt x="718" y="274"/>
                  </a:lnTo>
                  <a:lnTo>
                    <a:pt x="725" y="281"/>
                  </a:lnTo>
                  <a:lnTo>
                    <a:pt x="733" y="290"/>
                  </a:lnTo>
                  <a:lnTo>
                    <a:pt x="741" y="300"/>
                  </a:lnTo>
                  <a:lnTo>
                    <a:pt x="748" y="310"/>
                  </a:lnTo>
                  <a:lnTo>
                    <a:pt x="755" y="317"/>
                  </a:lnTo>
                  <a:lnTo>
                    <a:pt x="766" y="323"/>
                  </a:lnTo>
                  <a:lnTo>
                    <a:pt x="777" y="328"/>
                  </a:lnTo>
                  <a:lnTo>
                    <a:pt x="786" y="332"/>
                  </a:lnTo>
                  <a:lnTo>
                    <a:pt x="791" y="337"/>
                  </a:lnTo>
                  <a:lnTo>
                    <a:pt x="793" y="343"/>
                  </a:lnTo>
                  <a:lnTo>
                    <a:pt x="791" y="349"/>
                  </a:lnTo>
                  <a:lnTo>
                    <a:pt x="788" y="354"/>
                  </a:lnTo>
                  <a:lnTo>
                    <a:pt x="786" y="359"/>
                  </a:lnTo>
                  <a:lnTo>
                    <a:pt x="786" y="365"/>
                  </a:lnTo>
                  <a:lnTo>
                    <a:pt x="789" y="369"/>
                  </a:lnTo>
                  <a:lnTo>
                    <a:pt x="792" y="374"/>
                  </a:lnTo>
                  <a:lnTo>
                    <a:pt x="794" y="379"/>
                  </a:lnTo>
                  <a:lnTo>
                    <a:pt x="793" y="385"/>
                  </a:lnTo>
                  <a:lnTo>
                    <a:pt x="789" y="391"/>
                  </a:lnTo>
                  <a:lnTo>
                    <a:pt x="784" y="398"/>
                  </a:lnTo>
                  <a:lnTo>
                    <a:pt x="774" y="410"/>
                  </a:lnTo>
                  <a:lnTo>
                    <a:pt x="772" y="416"/>
                  </a:lnTo>
                  <a:lnTo>
                    <a:pt x="773" y="424"/>
                  </a:lnTo>
                  <a:lnTo>
                    <a:pt x="776" y="433"/>
                  </a:lnTo>
                  <a:lnTo>
                    <a:pt x="780" y="443"/>
                  </a:lnTo>
                  <a:lnTo>
                    <a:pt x="784" y="451"/>
                  </a:lnTo>
                  <a:lnTo>
                    <a:pt x="787" y="460"/>
                  </a:lnTo>
                  <a:lnTo>
                    <a:pt x="791" y="467"/>
                  </a:lnTo>
                  <a:lnTo>
                    <a:pt x="796" y="471"/>
                  </a:lnTo>
                  <a:lnTo>
                    <a:pt x="802" y="473"/>
                  </a:lnTo>
                  <a:lnTo>
                    <a:pt x="808" y="474"/>
                  </a:lnTo>
                  <a:lnTo>
                    <a:pt x="813" y="476"/>
                  </a:lnTo>
                  <a:lnTo>
                    <a:pt x="817" y="479"/>
                  </a:lnTo>
                  <a:lnTo>
                    <a:pt x="819" y="482"/>
                  </a:lnTo>
                  <a:lnTo>
                    <a:pt x="820" y="484"/>
                  </a:lnTo>
                  <a:lnTo>
                    <a:pt x="821" y="485"/>
                  </a:lnTo>
                  <a:lnTo>
                    <a:pt x="820" y="486"/>
                  </a:lnTo>
                  <a:lnTo>
                    <a:pt x="820" y="487"/>
                  </a:lnTo>
                  <a:lnTo>
                    <a:pt x="817" y="490"/>
                  </a:lnTo>
                  <a:lnTo>
                    <a:pt x="816" y="492"/>
                  </a:lnTo>
                  <a:lnTo>
                    <a:pt x="815" y="496"/>
                  </a:lnTo>
                  <a:lnTo>
                    <a:pt x="816" y="499"/>
                  </a:lnTo>
                  <a:lnTo>
                    <a:pt x="818" y="503"/>
                  </a:lnTo>
                  <a:lnTo>
                    <a:pt x="820" y="509"/>
                  </a:lnTo>
                  <a:lnTo>
                    <a:pt x="820" y="515"/>
                  </a:lnTo>
                  <a:lnTo>
                    <a:pt x="819" y="515"/>
                  </a:lnTo>
                  <a:lnTo>
                    <a:pt x="818" y="516"/>
                  </a:lnTo>
                  <a:lnTo>
                    <a:pt x="817" y="516"/>
                  </a:lnTo>
                  <a:lnTo>
                    <a:pt x="816" y="517"/>
                  </a:lnTo>
                  <a:lnTo>
                    <a:pt x="816" y="519"/>
                  </a:lnTo>
                  <a:lnTo>
                    <a:pt x="815" y="521"/>
                  </a:lnTo>
                  <a:lnTo>
                    <a:pt x="815" y="524"/>
                  </a:lnTo>
                  <a:lnTo>
                    <a:pt x="817" y="531"/>
                  </a:lnTo>
                  <a:lnTo>
                    <a:pt x="822" y="536"/>
                  </a:lnTo>
                  <a:lnTo>
                    <a:pt x="828" y="540"/>
                  </a:lnTo>
                  <a:lnTo>
                    <a:pt x="834" y="543"/>
                  </a:lnTo>
                  <a:lnTo>
                    <a:pt x="837" y="546"/>
                  </a:lnTo>
                  <a:lnTo>
                    <a:pt x="837" y="549"/>
                  </a:lnTo>
                  <a:lnTo>
                    <a:pt x="834" y="554"/>
                  </a:lnTo>
                  <a:lnTo>
                    <a:pt x="831" y="561"/>
                  </a:lnTo>
                  <a:lnTo>
                    <a:pt x="828" y="569"/>
                  </a:lnTo>
                  <a:lnTo>
                    <a:pt x="826" y="578"/>
                  </a:lnTo>
                  <a:lnTo>
                    <a:pt x="825" y="586"/>
                  </a:lnTo>
                  <a:lnTo>
                    <a:pt x="827" y="593"/>
                  </a:lnTo>
                  <a:lnTo>
                    <a:pt x="829" y="603"/>
                  </a:lnTo>
                  <a:lnTo>
                    <a:pt x="827" y="613"/>
                  </a:lnTo>
                  <a:lnTo>
                    <a:pt x="822" y="622"/>
                  </a:lnTo>
                  <a:lnTo>
                    <a:pt x="816" y="631"/>
                  </a:lnTo>
                  <a:lnTo>
                    <a:pt x="809" y="637"/>
                  </a:lnTo>
                  <a:lnTo>
                    <a:pt x="804" y="643"/>
                  </a:lnTo>
                  <a:lnTo>
                    <a:pt x="803" y="650"/>
                  </a:lnTo>
                  <a:lnTo>
                    <a:pt x="805" y="656"/>
                  </a:lnTo>
                  <a:lnTo>
                    <a:pt x="808" y="662"/>
                  </a:lnTo>
                  <a:lnTo>
                    <a:pt x="813" y="669"/>
                  </a:lnTo>
                  <a:lnTo>
                    <a:pt x="817" y="679"/>
                  </a:lnTo>
                  <a:lnTo>
                    <a:pt x="820" y="690"/>
                  </a:lnTo>
                  <a:lnTo>
                    <a:pt x="823" y="699"/>
                  </a:lnTo>
                  <a:lnTo>
                    <a:pt x="830" y="708"/>
                  </a:lnTo>
                  <a:lnTo>
                    <a:pt x="838" y="716"/>
                  </a:lnTo>
                  <a:lnTo>
                    <a:pt x="844" y="724"/>
                  </a:lnTo>
                  <a:lnTo>
                    <a:pt x="847" y="733"/>
                  </a:lnTo>
                  <a:lnTo>
                    <a:pt x="846" y="742"/>
                  </a:lnTo>
                  <a:lnTo>
                    <a:pt x="842" y="750"/>
                  </a:lnTo>
                  <a:lnTo>
                    <a:pt x="839" y="751"/>
                  </a:lnTo>
                  <a:lnTo>
                    <a:pt x="834" y="751"/>
                  </a:lnTo>
                  <a:lnTo>
                    <a:pt x="832" y="752"/>
                  </a:lnTo>
                  <a:lnTo>
                    <a:pt x="828" y="755"/>
                  </a:lnTo>
                  <a:lnTo>
                    <a:pt x="826" y="758"/>
                  </a:lnTo>
                  <a:lnTo>
                    <a:pt x="825" y="763"/>
                  </a:lnTo>
                  <a:lnTo>
                    <a:pt x="823" y="768"/>
                  </a:lnTo>
                  <a:lnTo>
                    <a:pt x="820" y="770"/>
                  </a:lnTo>
                  <a:lnTo>
                    <a:pt x="817" y="769"/>
                  </a:lnTo>
                  <a:lnTo>
                    <a:pt x="813" y="765"/>
                  </a:lnTo>
                  <a:lnTo>
                    <a:pt x="810" y="763"/>
                  </a:lnTo>
                  <a:lnTo>
                    <a:pt x="807" y="763"/>
                  </a:lnTo>
                  <a:lnTo>
                    <a:pt x="792" y="769"/>
                  </a:lnTo>
                  <a:lnTo>
                    <a:pt x="780" y="773"/>
                  </a:lnTo>
                  <a:lnTo>
                    <a:pt x="767" y="777"/>
                  </a:lnTo>
                  <a:lnTo>
                    <a:pt x="755" y="782"/>
                  </a:lnTo>
                  <a:lnTo>
                    <a:pt x="748" y="786"/>
                  </a:lnTo>
                  <a:lnTo>
                    <a:pt x="742" y="790"/>
                  </a:lnTo>
                  <a:lnTo>
                    <a:pt x="741" y="791"/>
                  </a:lnTo>
                  <a:lnTo>
                    <a:pt x="739" y="791"/>
                  </a:lnTo>
                  <a:lnTo>
                    <a:pt x="739" y="789"/>
                  </a:lnTo>
                  <a:lnTo>
                    <a:pt x="738" y="788"/>
                  </a:lnTo>
                  <a:lnTo>
                    <a:pt x="738" y="786"/>
                  </a:lnTo>
                  <a:lnTo>
                    <a:pt x="737" y="785"/>
                  </a:lnTo>
                  <a:lnTo>
                    <a:pt x="731" y="781"/>
                  </a:lnTo>
                  <a:lnTo>
                    <a:pt x="722" y="778"/>
                  </a:lnTo>
                  <a:lnTo>
                    <a:pt x="711" y="777"/>
                  </a:lnTo>
                  <a:lnTo>
                    <a:pt x="702" y="776"/>
                  </a:lnTo>
                  <a:lnTo>
                    <a:pt x="696" y="779"/>
                  </a:lnTo>
                  <a:lnTo>
                    <a:pt x="690" y="785"/>
                  </a:lnTo>
                  <a:lnTo>
                    <a:pt x="684" y="793"/>
                  </a:lnTo>
                  <a:lnTo>
                    <a:pt x="679" y="801"/>
                  </a:lnTo>
                  <a:lnTo>
                    <a:pt x="675" y="805"/>
                  </a:lnTo>
                  <a:lnTo>
                    <a:pt x="672" y="809"/>
                  </a:lnTo>
                  <a:lnTo>
                    <a:pt x="670" y="817"/>
                  </a:lnTo>
                  <a:lnTo>
                    <a:pt x="668" y="828"/>
                  </a:lnTo>
                  <a:lnTo>
                    <a:pt x="666" y="840"/>
                  </a:lnTo>
                  <a:lnTo>
                    <a:pt x="664" y="851"/>
                  </a:lnTo>
                  <a:lnTo>
                    <a:pt x="661" y="859"/>
                  </a:lnTo>
                  <a:lnTo>
                    <a:pt x="658" y="862"/>
                  </a:lnTo>
                  <a:lnTo>
                    <a:pt x="655" y="861"/>
                  </a:lnTo>
                  <a:lnTo>
                    <a:pt x="644" y="851"/>
                  </a:lnTo>
                  <a:lnTo>
                    <a:pt x="639" y="848"/>
                  </a:lnTo>
                  <a:lnTo>
                    <a:pt x="633" y="848"/>
                  </a:lnTo>
                  <a:lnTo>
                    <a:pt x="624" y="850"/>
                  </a:lnTo>
                  <a:lnTo>
                    <a:pt x="613" y="853"/>
                  </a:lnTo>
                  <a:lnTo>
                    <a:pt x="600" y="857"/>
                  </a:lnTo>
                  <a:lnTo>
                    <a:pt x="587" y="860"/>
                  </a:lnTo>
                  <a:lnTo>
                    <a:pt x="575" y="862"/>
                  </a:lnTo>
                  <a:lnTo>
                    <a:pt x="565" y="863"/>
                  </a:lnTo>
                  <a:lnTo>
                    <a:pt x="552" y="861"/>
                  </a:lnTo>
                  <a:lnTo>
                    <a:pt x="539" y="857"/>
                  </a:lnTo>
                  <a:lnTo>
                    <a:pt x="526" y="851"/>
                  </a:lnTo>
                  <a:lnTo>
                    <a:pt x="515" y="845"/>
                  </a:lnTo>
                  <a:lnTo>
                    <a:pt x="507" y="840"/>
                  </a:lnTo>
                  <a:lnTo>
                    <a:pt x="501" y="840"/>
                  </a:lnTo>
                  <a:lnTo>
                    <a:pt x="493" y="844"/>
                  </a:lnTo>
                  <a:lnTo>
                    <a:pt x="485" y="849"/>
                  </a:lnTo>
                  <a:lnTo>
                    <a:pt x="478" y="854"/>
                  </a:lnTo>
                  <a:lnTo>
                    <a:pt x="470" y="854"/>
                  </a:lnTo>
                  <a:lnTo>
                    <a:pt x="463" y="852"/>
                  </a:lnTo>
                  <a:lnTo>
                    <a:pt x="458" y="851"/>
                  </a:lnTo>
                  <a:lnTo>
                    <a:pt x="448" y="853"/>
                  </a:lnTo>
                  <a:lnTo>
                    <a:pt x="445" y="852"/>
                  </a:lnTo>
                  <a:lnTo>
                    <a:pt x="444" y="849"/>
                  </a:lnTo>
                  <a:lnTo>
                    <a:pt x="445" y="844"/>
                  </a:lnTo>
                  <a:lnTo>
                    <a:pt x="447" y="839"/>
                  </a:lnTo>
                  <a:lnTo>
                    <a:pt x="450" y="835"/>
                  </a:lnTo>
                  <a:lnTo>
                    <a:pt x="452" y="831"/>
                  </a:lnTo>
                  <a:lnTo>
                    <a:pt x="451" y="826"/>
                  </a:lnTo>
                  <a:lnTo>
                    <a:pt x="449" y="822"/>
                  </a:lnTo>
                  <a:lnTo>
                    <a:pt x="448" y="818"/>
                  </a:lnTo>
                  <a:lnTo>
                    <a:pt x="450" y="815"/>
                  </a:lnTo>
                  <a:lnTo>
                    <a:pt x="453" y="810"/>
                  </a:lnTo>
                  <a:lnTo>
                    <a:pt x="452" y="804"/>
                  </a:lnTo>
                  <a:lnTo>
                    <a:pt x="450" y="796"/>
                  </a:lnTo>
                  <a:lnTo>
                    <a:pt x="447" y="788"/>
                  </a:lnTo>
                  <a:lnTo>
                    <a:pt x="442" y="782"/>
                  </a:lnTo>
                  <a:lnTo>
                    <a:pt x="436" y="776"/>
                  </a:lnTo>
                  <a:lnTo>
                    <a:pt x="428" y="774"/>
                  </a:lnTo>
                  <a:lnTo>
                    <a:pt x="422" y="771"/>
                  </a:lnTo>
                  <a:lnTo>
                    <a:pt x="416" y="766"/>
                  </a:lnTo>
                  <a:lnTo>
                    <a:pt x="411" y="761"/>
                  </a:lnTo>
                  <a:lnTo>
                    <a:pt x="413" y="758"/>
                  </a:lnTo>
                  <a:lnTo>
                    <a:pt x="414" y="755"/>
                  </a:lnTo>
                  <a:lnTo>
                    <a:pt x="417" y="752"/>
                  </a:lnTo>
                  <a:lnTo>
                    <a:pt x="420" y="750"/>
                  </a:lnTo>
                  <a:lnTo>
                    <a:pt x="427" y="745"/>
                  </a:lnTo>
                  <a:lnTo>
                    <a:pt x="433" y="739"/>
                  </a:lnTo>
                  <a:lnTo>
                    <a:pt x="440" y="733"/>
                  </a:lnTo>
                  <a:lnTo>
                    <a:pt x="444" y="727"/>
                  </a:lnTo>
                  <a:lnTo>
                    <a:pt x="445" y="723"/>
                  </a:lnTo>
                  <a:lnTo>
                    <a:pt x="444" y="720"/>
                  </a:lnTo>
                  <a:lnTo>
                    <a:pt x="438" y="714"/>
                  </a:lnTo>
                  <a:lnTo>
                    <a:pt x="437" y="709"/>
                  </a:lnTo>
                  <a:lnTo>
                    <a:pt x="438" y="703"/>
                  </a:lnTo>
                  <a:lnTo>
                    <a:pt x="438" y="695"/>
                  </a:lnTo>
                  <a:lnTo>
                    <a:pt x="436" y="685"/>
                  </a:lnTo>
                  <a:lnTo>
                    <a:pt x="431" y="676"/>
                  </a:lnTo>
                  <a:lnTo>
                    <a:pt x="424" y="669"/>
                  </a:lnTo>
                  <a:lnTo>
                    <a:pt x="417" y="665"/>
                  </a:lnTo>
                  <a:lnTo>
                    <a:pt x="411" y="662"/>
                  </a:lnTo>
                  <a:lnTo>
                    <a:pt x="408" y="658"/>
                  </a:lnTo>
                  <a:lnTo>
                    <a:pt x="407" y="654"/>
                  </a:lnTo>
                  <a:lnTo>
                    <a:pt x="405" y="651"/>
                  </a:lnTo>
                  <a:lnTo>
                    <a:pt x="401" y="650"/>
                  </a:lnTo>
                  <a:lnTo>
                    <a:pt x="395" y="650"/>
                  </a:lnTo>
                  <a:lnTo>
                    <a:pt x="392" y="649"/>
                  </a:lnTo>
                  <a:lnTo>
                    <a:pt x="389" y="647"/>
                  </a:lnTo>
                  <a:lnTo>
                    <a:pt x="384" y="643"/>
                  </a:lnTo>
                  <a:lnTo>
                    <a:pt x="379" y="640"/>
                  </a:lnTo>
                  <a:lnTo>
                    <a:pt x="368" y="640"/>
                  </a:lnTo>
                  <a:lnTo>
                    <a:pt x="364" y="639"/>
                  </a:lnTo>
                  <a:lnTo>
                    <a:pt x="359" y="635"/>
                  </a:lnTo>
                  <a:lnTo>
                    <a:pt x="352" y="629"/>
                  </a:lnTo>
                  <a:lnTo>
                    <a:pt x="342" y="623"/>
                  </a:lnTo>
                  <a:lnTo>
                    <a:pt x="330" y="618"/>
                  </a:lnTo>
                  <a:lnTo>
                    <a:pt x="319" y="614"/>
                  </a:lnTo>
                  <a:lnTo>
                    <a:pt x="311" y="611"/>
                  </a:lnTo>
                  <a:lnTo>
                    <a:pt x="307" y="610"/>
                  </a:lnTo>
                  <a:lnTo>
                    <a:pt x="303" y="612"/>
                  </a:lnTo>
                  <a:lnTo>
                    <a:pt x="300" y="614"/>
                  </a:lnTo>
                  <a:lnTo>
                    <a:pt x="297" y="617"/>
                  </a:lnTo>
                  <a:lnTo>
                    <a:pt x="292" y="618"/>
                  </a:lnTo>
                  <a:lnTo>
                    <a:pt x="285" y="617"/>
                  </a:lnTo>
                  <a:lnTo>
                    <a:pt x="275" y="611"/>
                  </a:lnTo>
                  <a:lnTo>
                    <a:pt x="267" y="605"/>
                  </a:lnTo>
                  <a:lnTo>
                    <a:pt x="261" y="600"/>
                  </a:lnTo>
                  <a:lnTo>
                    <a:pt x="255" y="598"/>
                  </a:lnTo>
                  <a:lnTo>
                    <a:pt x="251" y="599"/>
                  </a:lnTo>
                  <a:lnTo>
                    <a:pt x="245" y="599"/>
                  </a:lnTo>
                  <a:lnTo>
                    <a:pt x="239" y="598"/>
                  </a:lnTo>
                  <a:lnTo>
                    <a:pt x="233" y="595"/>
                  </a:lnTo>
                  <a:lnTo>
                    <a:pt x="228" y="589"/>
                  </a:lnTo>
                  <a:lnTo>
                    <a:pt x="221" y="580"/>
                  </a:lnTo>
                  <a:lnTo>
                    <a:pt x="213" y="567"/>
                  </a:lnTo>
                  <a:lnTo>
                    <a:pt x="203" y="555"/>
                  </a:lnTo>
                  <a:lnTo>
                    <a:pt x="195" y="544"/>
                  </a:lnTo>
                  <a:lnTo>
                    <a:pt x="190" y="534"/>
                  </a:lnTo>
                  <a:lnTo>
                    <a:pt x="190" y="524"/>
                  </a:lnTo>
                  <a:lnTo>
                    <a:pt x="193" y="515"/>
                  </a:lnTo>
                  <a:lnTo>
                    <a:pt x="197" y="509"/>
                  </a:lnTo>
                  <a:lnTo>
                    <a:pt x="198" y="506"/>
                  </a:lnTo>
                  <a:lnTo>
                    <a:pt x="196" y="503"/>
                  </a:lnTo>
                  <a:lnTo>
                    <a:pt x="192" y="500"/>
                  </a:lnTo>
                  <a:lnTo>
                    <a:pt x="189" y="496"/>
                  </a:lnTo>
                  <a:lnTo>
                    <a:pt x="188" y="492"/>
                  </a:lnTo>
                  <a:lnTo>
                    <a:pt x="193" y="477"/>
                  </a:lnTo>
                  <a:lnTo>
                    <a:pt x="194" y="467"/>
                  </a:lnTo>
                  <a:lnTo>
                    <a:pt x="193" y="457"/>
                  </a:lnTo>
                  <a:lnTo>
                    <a:pt x="193" y="441"/>
                  </a:lnTo>
                  <a:lnTo>
                    <a:pt x="195" y="435"/>
                  </a:lnTo>
                  <a:lnTo>
                    <a:pt x="198" y="427"/>
                  </a:lnTo>
                  <a:lnTo>
                    <a:pt x="202" y="419"/>
                  </a:lnTo>
                  <a:lnTo>
                    <a:pt x="205" y="410"/>
                  </a:lnTo>
                  <a:lnTo>
                    <a:pt x="207" y="403"/>
                  </a:lnTo>
                  <a:lnTo>
                    <a:pt x="207" y="397"/>
                  </a:lnTo>
                  <a:lnTo>
                    <a:pt x="205" y="395"/>
                  </a:lnTo>
                  <a:lnTo>
                    <a:pt x="200" y="392"/>
                  </a:lnTo>
                  <a:lnTo>
                    <a:pt x="195" y="388"/>
                  </a:lnTo>
                  <a:lnTo>
                    <a:pt x="192" y="385"/>
                  </a:lnTo>
                  <a:lnTo>
                    <a:pt x="188" y="386"/>
                  </a:lnTo>
                  <a:lnTo>
                    <a:pt x="184" y="390"/>
                  </a:lnTo>
                  <a:lnTo>
                    <a:pt x="180" y="393"/>
                  </a:lnTo>
                  <a:lnTo>
                    <a:pt x="176" y="395"/>
                  </a:lnTo>
                  <a:lnTo>
                    <a:pt x="172" y="394"/>
                  </a:lnTo>
                  <a:lnTo>
                    <a:pt x="167" y="390"/>
                  </a:lnTo>
                  <a:lnTo>
                    <a:pt x="162" y="385"/>
                  </a:lnTo>
                  <a:lnTo>
                    <a:pt x="159" y="381"/>
                  </a:lnTo>
                  <a:lnTo>
                    <a:pt x="160" y="378"/>
                  </a:lnTo>
                  <a:lnTo>
                    <a:pt x="163" y="373"/>
                  </a:lnTo>
                  <a:lnTo>
                    <a:pt x="168" y="365"/>
                  </a:lnTo>
                  <a:lnTo>
                    <a:pt x="172" y="357"/>
                  </a:lnTo>
                  <a:lnTo>
                    <a:pt x="173" y="349"/>
                  </a:lnTo>
                  <a:lnTo>
                    <a:pt x="174" y="344"/>
                  </a:lnTo>
                  <a:lnTo>
                    <a:pt x="178" y="341"/>
                  </a:lnTo>
                  <a:lnTo>
                    <a:pt x="184" y="338"/>
                  </a:lnTo>
                  <a:lnTo>
                    <a:pt x="188" y="335"/>
                  </a:lnTo>
                  <a:lnTo>
                    <a:pt x="189" y="329"/>
                  </a:lnTo>
                  <a:lnTo>
                    <a:pt x="187" y="322"/>
                  </a:lnTo>
                  <a:lnTo>
                    <a:pt x="184" y="313"/>
                  </a:lnTo>
                  <a:lnTo>
                    <a:pt x="180" y="305"/>
                  </a:lnTo>
                  <a:lnTo>
                    <a:pt x="179" y="297"/>
                  </a:lnTo>
                  <a:lnTo>
                    <a:pt x="180" y="290"/>
                  </a:lnTo>
                  <a:lnTo>
                    <a:pt x="183" y="285"/>
                  </a:lnTo>
                  <a:lnTo>
                    <a:pt x="186" y="281"/>
                  </a:lnTo>
                  <a:lnTo>
                    <a:pt x="188" y="278"/>
                  </a:lnTo>
                  <a:lnTo>
                    <a:pt x="189" y="273"/>
                  </a:lnTo>
                  <a:lnTo>
                    <a:pt x="188" y="266"/>
                  </a:lnTo>
                  <a:lnTo>
                    <a:pt x="184" y="257"/>
                  </a:lnTo>
                  <a:lnTo>
                    <a:pt x="180" y="252"/>
                  </a:lnTo>
                  <a:lnTo>
                    <a:pt x="176" y="250"/>
                  </a:lnTo>
                  <a:lnTo>
                    <a:pt x="164" y="250"/>
                  </a:lnTo>
                  <a:lnTo>
                    <a:pt x="158" y="249"/>
                  </a:lnTo>
                  <a:lnTo>
                    <a:pt x="153" y="243"/>
                  </a:lnTo>
                  <a:lnTo>
                    <a:pt x="149" y="239"/>
                  </a:lnTo>
                  <a:lnTo>
                    <a:pt x="137" y="239"/>
                  </a:lnTo>
                  <a:lnTo>
                    <a:pt x="130" y="240"/>
                  </a:lnTo>
                  <a:lnTo>
                    <a:pt x="125" y="240"/>
                  </a:lnTo>
                  <a:lnTo>
                    <a:pt x="119" y="238"/>
                  </a:lnTo>
                  <a:lnTo>
                    <a:pt x="111" y="237"/>
                  </a:lnTo>
                  <a:lnTo>
                    <a:pt x="102" y="235"/>
                  </a:lnTo>
                  <a:lnTo>
                    <a:pt x="94" y="233"/>
                  </a:lnTo>
                  <a:lnTo>
                    <a:pt x="88" y="230"/>
                  </a:lnTo>
                  <a:lnTo>
                    <a:pt x="88" y="222"/>
                  </a:lnTo>
                  <a:lnTo>
                    <a:pt x="84" y="218"/>
                  </a:lnTo>
                  <a:lnTo>
                    <a:pt x="78" y="215"/>
                  </a:lnTo>
                  <a:lnTo>
                    <a:pt x="74" y="212"/>
                  </a:lnTo>
                  <a:lnTo>
                    <a:pt x="73" y="210"/>
                  </a:lnTo>
                  <a:lnTo>
                    <a:pt x="73" y="208"/>
                  </a:lnTo>
                  <a:lnTo>
                    <a:pt x="70" y="207"/>
                  </a:lnTo>
                  <a:lnTo>
                    <a:pt x="66" y="207"/>
                  </a:lnTo>
                  <a:lnTo>
                    <a:pt x="60" y="206"/>
                  </a:lnTo>
                  <a:lnTo>
                    <a:pt x="56" y="205"/>
                  </a:lnTo>
                  <a:lnTo>
                    <a:pt x="53" y="202"/>
                  </a:lnTo>
                  <a:lnTo>
                    <a:pt x="49" y="197"/>
                  </a:lnTo>
                  <a:lnTo>
                    <a:pt x="42" y="193"/>
                  </a:lnTo>
                  <a:lnTo>
                    <a:pt x="36" y="188"/>
                  </a:lnTo>
                  <a:lnTo>
                    <a:pt x="34" y="184"/>
                  </a:lnTo>
                  <a:lnTo>
                    <a:pt x="34" y="182"/>
                  </a:lnTo>
                  <a:lnTo>
                    <a:pt x="33" y="182"/>
                  </a:lnTo>
                  <a:lnTo>
                    <a:pt x="43" y="177"/>
                  </a:lnTo>
                  <a:lnTo>
                    <a:pt x="45" y="177"/>
                  </a:lnTo>
                  <a:lnTo>
                    <a:pt x="48" y="175"/>
                  </a:lnTo>
                  <a:lnTo>
                    <a:pt x="50" y="172"/>
                  </a:lnTo>
                  <a:lnTo>
                    <a:pt x="50" y="167"/>
                  </a:lnTo>
                  <a:lnTo>
                    <a:pt x="47" y="162"/>
                  </a:lnTo>
                  <a:lnTo>
                    <a:pt x="41" y="160"/>
                  </a:lnTo>
                  <a:lnTo>
                    <a:pt x="38" y="160"/>
                  </a:lnTo>
                  <a:lnTo>
                    <a:pt x="34" y="158"/>
                  </a:lnTo>
                  <a:lnTo>
                    <a:pt x="30" y="152"/>
                  </a:lnTo>
                  <a:lnTo>
                    <a:pt x="25" y="146"/>
                  </a:lnTo>
                  <a:lnTo>
                    <a:pt x="18" y="141"/>
                  </a:lnTo>
                  <a:lnTo>
                    <a:pt x="10" y="137"/>
                  </a:lnTo>
                  <a:lnTo>
                    <a:pt x="4" y="132"/>
                  </a:lnTo>
                  <a:lnTo>
                    <a:pt x="0" y="128"/>
                  </a:lnTo>
                  <a:lnTo>
                    <a:pt x="1" y="123"/>
                  </a:lnTo>
                  <a:lnTo>
                    <a:pt x="7" y="115"/>
                  </a:lnTo>
                  <a:lnTo>
                    <a:pt x="16" y="108"/>
                  </a:lnTo>
                  <a:lnTo>
                    <a:pt x="26" y="102"/>
                  </a:lnTo>
                  <a:lnTo>
                    <a:pt x="37" y="99"/>
                  </a:lnTo>
                  <a:lnTo>
                    <a:pt x="43" y="97"/>
                  </a:lnTo>
                  <a:lnTo>
                    <a:pt x="50" y="92"/>
                  </a:lnTo>
                  <a:lnTo>
                    <a:pt x="57" y="86"/>
                  </a:lnTo>
                  <a:lnTo>
                    <a:pt x="74" y="69"/>
                  </a:lnTo>
                  <a:lnTo>
                    <a:pt x="77" y="67"/>
                  </a:lnTo>
                  <a:lnTo>
                    <a:pt x="78" y="68"/>
                  </a:lnTo>
                  <a:lnTo>
                    <a:pt x="78" y="72"/>
                  </a:lnTo>
                  <a:lnTo>
                    <a:pt x="77" y="77"/>
                  </a:lnTo>
                  <a:lnTo>
                    <a:pt x="77" y="88"/>
                  </a:lnTo>
                  <a:lnTo>
                    <a:pt x="79" y="92"/>
                  </a:lnTo>
                  <a:lnTo>
                    <a:pt x="83" y="93"/>
                  </a:lnTo>
                  <a:lnTo>
                    <a:pt x="89" y="91"/>
                  </a:lnTo>
                  <a:lnTo>
                    <a:pt x="99" y="83"/>
                  </a:lnTo>
                  <a:lnTo>
                    <a:pt x="105" y="81"/>
                  </a:lnTo>
                  <a:lnTo>
                    <a:pt x="113" y="79"/>
                  </a:lnTo>
                  <a:lnTo>
                    <a:pt x="119" y="75"/>
                  </a:lnTo>
                  <a:lnTo>
                    <a:pt x="124" y="69"/>
                  </a:lnTo>
                  <a:lnTo>
                    <a:pt x="126" y="62"/>
                  </a:lnTo>
                  <a:lnTo>
                    <a:pt x="127" y="55"/>
                  </a:lnTo>
                  <a:lnTo>
                    <a:pt x="130" y="50"/>
                  </a:lnTo>
                  <a:lnTo>
                    <a:pt x="135" y="46"/>
                  </a:lnTo>
                  <a:lnTo>
                    <a:pt x="141" y="46"/>
                  </a:lnTo>
                  <a:lnTo>
                    <a:pt x="147" y="48"/>
                  </a:lnTo>
                  <a:lnTo>
                    <a:pt x="151" y="51"/>
                  </a:lnTo>
                  <a:lnTo>
                    <a:pt x="155" y="52"/>
                  </a:lnTo>
                  <a:lnTo>
                    <a:pt x="161" y="50"/>
                  </a:lnTo>
                  <a:lnTo>
                    <a:pt x="168" y="45"/>
                  </a:lnTo>
                  <a:lnTo>
                    <a:pt x="173" y="43"/>
                  </a:lnTo>
                  <a:lnTo>
                    <a:pt x="178" y="45"/>
                  </a:lnTo>
                  <a:lnTo>
                    <a:pt x="184" y="49"/>
                  </a:lnTo>
                  <a:lnTo>
                    <a:pt x="193" y="54"/>
                  </a:lnTo>
                  <a:lnTo>
                    <a:pt x="204" y="60"/>
                  </a:lnTo>
                  <a:lnTo>
                    <a:pt x="215" y="67"/>
                  </a:lnTo>
                  <a:lnTo>
                    <a:pt x="220" y="72"/>
                  </a:lnTo>
                  <a:lnTo>
                    <a:pt x="223" y="76"/>
                  </a:lnTo>
                  <a:lnTo>
                    <a:pt x="225" y="80"/>
                  </a:lnTo>
                  <a:lnTo>
                    <a:pt x="227" y="82"/>
                  </a:lnTo>
                  <a:lnTo>
                    <a:pt x="231" y="83"/>
                  </a:lnTo>
                  <a:lnTo>
                    <a:pt x="237" y="82"/>
                  </a:lnTo>
                  <a:lnTo>
                    <a:pt x="247" y="80"/>
                  </a:lnTo>
                  <a:lnTo>
                    <a:pt x="254" y="78"/>
                  </a:lnTo>
                  <a:lnTo>
                    <a:pt x="257" y="79"/>
                  </a:lnTo>
                  <a:lnTo>
                    <a:pt x="261" y="81"/>
                  </a:lnTo>
                  <a:lnTo>
                    <a:pt x="266" y="84"/>
                  </a:lnTo>
                  <a:lnTo>
                    <a:pt x="273" y="86"/>
                  </a:lnTo>
                  <a:lnTo>
                    <a:pt x="281" y="88"/>
                  </a:lnTo>
                  <a:lnTo>
                    <a:pt x="288" y="92"/>
                  </a:lnTo>
                  <a:lnTo>
                    <a:pt x="294" y="95"/>
                  </a:lnTo>
                  <a:lnTo>
                    <a:pt x="300" y="97"/>
                  </a:lnTo>
                  <a:lnTo>
                    <a:pt x="305" y="97"/>
                  </a:lnTo>
                  <a:lnTo>
                    <a:pt x="309" y="98"/>
                  </a:lnTo>
                  <a:lnTo>
                    <a:pt x="311" y="100"/>
                  </a:lnTo>
                  <a:lnTo>
                    <a:pt x="311" y="102"/>
                  </a:lnTo>
                  <a:lnTo>
                    <a:pt x="310" y="104"/>
                  </a:lnTo>
                  <a:lnTo>
                    <a:pt x="310" y="110"/>
                  </a:lnTo>
                  <a:lnTo>
                    <a:pt x="314" y="112"/>
                  </a:lnTo>
                  <a:lnTo>
                    <a:pt x="349" y="112"/>
                  </a:lnTo>
                  <a:lnTo>
                    <a:pt x="357" y="113"/>
                  </a:lnTo>
                  <a:lnTo>
                    <a:pt x="361" y="114"/>
                  </a:lnTo>
                  <a:lnTo>
                    <a:pt x="362" y="115"/>
                  </a:lnTo>
                  <a:lnTo>
                    <a:pt x="362" y="118"/>
                  </a:lnTo>
                  <a:lnTo>
                    <a:pt x="361" y="119"/>
                  </a:lnTo>
                  <a:lnTo>
                    <a:pt x="361" y="121"/>
                  </a:lnTo>
                  <a:lnTo>
                    <a:pt x="362" y="122"/>
                  </a:lnTo>
                  <a:lnTo>
                    <a:pt x="362" y="123"/>
                  </a:lnTo>
                  <a:lnTo>
                    <a:pt x="364" y="123"/>
                  </a:lnTo>
                  <a:lnTo>
                    <a:pt x="366" y="122"/>
                  </a:lnTo>
                  <a:lnTo>
                    <a:pt x="369" y="121"/>
                  </a:lnTo>
                  <a:lnTo>
                    <a:pt x="377" y="116"/>
                  </a:lnTo>
                  <a:lnTo>
                    <a:pt x="385" y="111"/>
                  </a:lnTo>
                  <a:lnTo>
                    <a:pt x="394" y="104"/>
                  </a:lnTo>
                  <a:lnTo>
                    <a:pt x="400" y="98"/>
                  </a:lnTo>
                  <a:lnTo>
                    <a:pt x="403" y="92"/>
                  </a:lnTo>
                  <a:lnTo>
                    <a:pt x="403" y="90"/>
                  </a:lnTo>
                  <a:lnTo>
                    <a:pt x="404" y="88"/>
                  </a:lnTo>
                  <a:lnTo>
                    <a:pt x="404" y="86"/>
                  </a:lnTo>
                  <a:lnTo>
                    <a:pt x="407" y="83"/>
                  </a:lnTo>
                  <a:lnTo>
                    <a:pt x="413" y="83"/>
                  </a:lnTo>
                  <a:lnTo>
                    <a:pt x="417" y="84"/>
                  </a:lnTo>
                  <a:lnTo>
                    <a:pt x="420" y="85"/>
                  </a:lnTo>
                  <a:lnTo>
                    <a:pt x="422" y="87"/>
                  </a:lnTo>
                  <a:lnTo>
                    <a:pt x="424" y="88"/>
                  </a:lnTo>
                  <a:lnTo>
                    <a:pt x="425" y="90"/>
                  </a:lnTo>
                  <a:lnTo>
                    <a:pt x="425" y="91"/>
                  </a:lnTo>
                  <a:lnTo>
                    <a:pt x="426" y="93"/>
                  </a:lnTo>
                  <a:lnTo>
                    <a:pt x="427" y="94"/>
                  </a:lnTo>
                  <a:lnTo>
                    <a:pt x="428" y="94"/>
                  </a:lnTo>
                  <a:lnTo>
                    <a:pt x="431" y="91"/>
                  </a:lnTo>
                  <a:lnTo>
                    <a:pt x="436" y="85"/>
                  </a:lnTo>
                  <a:lnTo>
                    <a:pt x="440" y="80"/>
                  </a:lnTo>
                  <a:lnTo>
                    <a:pt x="442" y="75"/>
                  </a:lnTo>
                  <a:lnTo>
                    <a:pt x="445" y="72"/>
                  </a:lnTo>
                  <a:lnTo>
                    <a:pt x="449" y="71"/>
                  </a:lnTo>
                  <a:lnTo>
                    <a:pt x="456" y="71"/>
                  </a:lnTo>
                  <a:lnTo>
                    <a:pt x="462" y="72"/>
                  </a:lnTo>
                  <a:lnTo>
                    <a:pt x="467" y="73"/>
                  </a:lnTo>
                  <a:lnTo>
                    <a:pt x="469" y="76"/>
                  </a:lnTo>
                  <a:lnTo>
                    <a:pt x="469" y="78"/>
                  </a:lnTo>
                  <a:lnTo>
                    <a:pt x="470" y="81"/>
                  </a:lnTo>
                  <a:lnTo>
                    <a:pt x="470" y="83"/>
                  </a:lnTo>
                  <a:lnTo>
                    <a:pt x="472" y="87"/>
                  </a:lnTo>
                  <a:lnTo>
                    <a:pt x="473" y="88"/>
                  </a:lnTo>
                  <a:lnTo>
                    <a:pt x="475" y="88"/>
                  </a:lnTo>
                  <a:lnTo>
                    <a:pt x="478" y="82"/>
                  </a:lnTo>
                  <a:lnTo>
                    <a:pt x="478" y="76"/>
                  </a:lnTo>
                  <a:lnTo>
                    <a:pt x="480" y="70"/>
                  </a:lnTo>
                  <a:lnTo>
                    <a:pt x="483" y="64"/>
                  </a:lnTo>
                  <a:lnTo>
                    <a:pt x="490" y="60"/>
                  </a:lnTo>
                  <a:lnTo>
                    <a:pt x="496" y="56"/>
                  </a:lnTo>
                  <a:lnTo>
                    <a:pt x="499" y="53"/>
                  </a:lnTo>
                  <a:lnTo>
                    <a:pt x="500" y="50"/>
                  </a:lnTo>
                  <a:lnTo>
                    <a:pt x="501" y="46"/>
                  </a:lnTo>
                  <a:lnTo>
                    <a:pt x="502" y="40"/>
                  </a:lnTo>
                  <a:lnTo>
                    <a:pt x="505" y="32"/>
                  </a:lnTo>
                  <a:lnTo>
                    <a:pt x="511" y="23"/>
                  </a:lnTo>
                  <a:lnTo>
                    <a:pt x="518" y="17"/>
                  </a:lnTo>
                  <a:lnTo>
                    <a:pt x="527" y="15"/>
                  </a:lnTo>
                  <a:lnTo>
                    <a:pt x="537" y="15"/>
                  </a:lnTo>
                  <a:lnTo>
                    <a:pt x="550" y="16"/>
                  </a:lnTo>
                  <a:lnTo>
                    <a:pt x="564" y="16"/>
                  </a:lnTo>
                  <a:lnTo>
                    <a:pt x="577" y="15"/>
                  </a:lnTo>
                  <a:lnTo>
                    <a:pt x="586" y="12"/>
                  </a:lnTo>
                  <a:lnTo>
                    <a:pt x="592" y="8"/>
                  </a:lnTo>
                  <a:lnTo>
                    <a:pt x="596" y="4"/>
                  </a:lnTo>
                  <a:lnTo>
                    <a:pt x="601" y="1"/>
                  </a:lnTo>
                  <a:lnTo>
                    <a:pt x="606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1">
              <a:extLst>
                <a:ext uri="{FF2B5EF4-FFF2-40B4-BE49-F238E27FC236}">
                  <a16:creationId xmlns:a16="http://schemas.microsoft.com/office/drawing/2014/main" id="{4A144843-8CFD-405F-A736-F0BF4EA34B5C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8513" y="2768601"/>
              <a:ext cx="257175" cy="204788"/>
            </a:xfrm>
            <a:custGeom>
              <a:avLst/>
              <a:gdLst/>
              <a:ahLst/>
              <a:cxnLst>
                <a:cxn ang="0">
                  <a:pos x="92" y="1"/>
                </a:cxn>
                <a:cxn ang="0">
                  <a:pos x="94" y="9"/>
                </a:cxn>
                <a:cxn ang="0">
                  <a:pos x="97" y="29"/>
                </a:cxn>
                <a:cxn ang="0">
                  <a:pos x="108" y="36"/>
                </a:cxn>
                <a:cxn ang="0">
                  <a:pos x="124" y="51"/>
                </a:cxn>
                <a:cxn ang="0">
                  <a:pos x="132" y="59"/>
                </a:cxn>
                <a:cxn ang="0">
                  <a:pos x="130" y="67"/>
                </a:cxn>
                <a:cxn ang="0">
                  <a:pos x="128" y="75"/>
                </a:cxn>
                <a:cxn ang="0">
                  <a:pos x="136" y="77"/>
                </a:cxn>
                <a:cxn ang="0">
                  <a:pos x="151" y="80"/>
                </a:cxn>
                <a:cxn ang="0">
                  <a:pos x="162" y="86"/>
                </a:cxn>
                <a:cxn ang="0">
                  <a:pos x="158" y="94"/>
                </a:cxn>
                <a:cxn ang="0">
                  <a:pos x="153" y="109"/>
                </a:cxn>
                <a:cxn ang="0">
                  <a:pos x="151" y="121"/>
                </a:cxn>
                <a:cxn ang="0">
                  <a:pos x="145" y="129"/>
                </a:cxn>
                <a:cxn ang="0">
                  <a:pos x="133" y="125"/>
                </a:cxn>
                <a:cxn ang="0">
                  <a:pos x="107" y="111"/>
                </a:cxn>
                <a:cxn ang="0">
                  <a:pos x="98" y="110"/>
                </a:cxn>
                <a:cxn ang="0">
                  <a:pos x="89" y="107"/>
                </a:cxn>
                <a:cxn ang="0">
                  <a:pos x="84" y="108"/>
                </a:cxn>
                <a:cxn ang="0">
                  <a:pos x="83" y="111"/>
                </a:cxn>
                <a:cxn ang="0">
                  <a:pos x="81" y="121"/>
                </a:cxn>
                <a:cxn ang="0">
                  <a:pos x="60" y="120"/>
                </a:cxn>
                <a:cxn ang="0">
                  <a:pos x="44" y="110"/>
                </a:cxn>
                <a:cxn ang="0">
                  <a:pos x="35" y="107"/>
                </a:cxn>
                <a:cxn ang="0">
                  <a:pos x="24" y="112"/>
                </a:cxn>
                <a:cxn ang="0">
                  <a:pos x="10" y="115"/>
                </a:cxn>
                <a:cxn ang="0">
                  <a:pos x="1" y="106"/>
                </a:cxn>
                <a:cxn ang="0">
                  <a:pos x="0" y="89"/>
                </a:cxn>
                <a:cxn ang="0">
                  <a:pos x="5" y="78"/>
                </a:cxn>
                <a:cxn ang="0">
                  <a:pos x="8" y="50"/>
                </a:cxn>
                <a:cxn ang="0">
                  <a:pos x="12" y="38"/>
                </a:cxn>
                <a:cxn ang="0">
                  <a:pos x="20" y="28"/>
                </a:cxn>
                <a:cxn ang="0">
                  <a:pos x="28" y="18"/>
                </a:cxn>
                <a:cxn ang="0">
                  <a:pos x="41" y="17"/>
                </a:cxn>
                <a:cxn ang="0">
                  <a:pos x="57" y="20"/>
                </a:cxn>
                <a:cxn ang="0">
                  <a:pos x="74" y="15"/>
                </a:cxn>
                <a:cxn ang="0">
                  <a:pos x="82" y="7"/>
                </a:cxn>
                <a:cxn ang="0">
                  <a:pos x="90" y="0"/>
                </a:cxn>
              </a:cxnLst>
              <a:rect l="0" t="0" r="r" b="b"/>
              <a:pathLst>
                <a:path w="162" h="129">
                  <a:moveTo>
                    <a:pt x="90" y="0"/>
                  </a:moveTo>
                  <a:lnTo>
                    <a:pt x="92" y="1"/>
                  </a:lnTo>
                  <a:lnTo>
                    <a:pt x="93" y="3"/>
                  </a:lnTo>
                  <a:lnTo>
                    <a:pt x="94" y="9"/>
                  </a:lnTo>
                  <a:lnTo>
                    <a:pt x="95" y="23"/>
                  </a:lnTo>
                  <a:lnTo>
                    <a:pt x="97" y="29"/>
                  </a:lnTo>
                  <a:lnTo>
                    <a:pt x="101" y="32"/>
                  </a:lnTo>
                  <a:lnTo>
                    <a:pt x="108" y="36"/>
                  </a:lnTo>
                  <a:lnTo>
                    <a:pt x="116" y="44"/>
                  </a:lnTo>
                  <a:lnTo>
                    <a:pt x="124" y="51"/>
                  </a:lnTo>
                  <a:lnTo>
                    <a:pt x="130" y="56"/>
                  </a:lnTo>
                  <a:lnTo>
                    <a:pt x="132" y="59"/>
                  </a:lnTo>
                  <a:lnTo>
                    <a:pt x="132" y="63"/>
                  </a:lnTo>
                  <a:lnTo>
                    <a:pt x="130" y="67"/>
                  </a:lnTo>
                  <a:lnTo>
                    <a:pt x="128" y="72"/>
                  </a:lnTo>
                  <a:lnTo>
                    <a:pt x="128" y="75"/>
                  </a:lnTo>
                  <a:lnTo>
                    <a:pt x="130" y="76"/>
                  </a:lnTo>
                  <a:lnTo>
                    <a:pt x="136" y="77"/>
                  </a:lnTo>
                  <a:lnTo>
                    <a:pt x="143" y="78"/>
                  </a:lnTo>
                  <a:lnTo>
                    <a:pt x="151" y="80"/>
                  </a:lnTo>
                  <a:lnTo>
                    <a:pt x="158" y="83"/>
                  </a:lnTo>
                  <a:lnTo>
                    <a:pt x="162" y="86"/>
                  </a:lnTo>
                  <a:lnTo>
                    <a:pt x="162" y="89"/>
                  </a:lnTo>
                  <a:lnTo>
                    <a:pt x="158" y="94"/>
                  </a:lnTo>
                  <a:lnTo>
                    <a:pt x="154" y="101"/>
                  </a:lnTo>
                  <a:lnTo>
                    <a:pt x="153" y="109"/>
                  </a:lnTo>
                  <a:lnTo>
                    <a:pt x="153" y="115"/>
                  </a:lnTo>
                  <a:lnTo>
                    <a:pt x="151" y="121"/>
                  </a:lnTo>
                  <a:lnTo>
                    <a:pt x="148" y="126"/>
                  </a:lnTo>
                  <a:lnTo>
                    <a:pt x="145" y="129"/>
                  </a:lnTo>
                  <a:lnTo>
                    <a:pt x="140" y="129"/>
                  </a:lnTo>
                  <a:lnTo>
                    <a:pt x="133" y="125"/>
                  </a:lnTo>
                  <a:lnTo>
                    <a:pt x="115" y="115"/>
                  </a:lnTo>
                  <a:lnTo>
                    <a:pt x="107" y="111"/>
                  </a:lnTo>
                  <a:lnTo>
                    <a:pt x="102" y="110"/>
                  </a:lnTo>
                  <a:lnTo>
                    <a:pt x="98" y="110"/>
                  </a:lnTo>
                  <a:lnTo>
                    <a:pt x="94" y="108"/>
                  </a:lnTo>
                  <a:lnTo>
                    <a:pt x="89" y="107"/>
                  </a:lnTo>
                  <a:lnTo>
                    <a:pt x="85" y="107"/>
                  </a:lnTo>
                  <a:lnTo>
                    <a:pt x="84" y="108"/>
                  </a:lnTo>
                  <a:lnTo>
                    <a:pt x="84" y="109"/>
                  </a:lnTo>
                  <a:lnTo>
                    <a:pt x="83" y="111"/>
                  </a:lnTo>
                  <a:lnTo>
                    <a:pt x="83" y="119"/>
                  </a:lnTo>
                  <a:lnTo>
                    <a:pt x="81" y="121"/>
                  </a:lnTo>
                  <a:lnTo>
                    <a:pt x="67" y="121"/>
                  </a:lnTo>
                  <a:lnTo>
                    <a:pt x="60" y="120"/>
                  </a:lnTo>
                  <a:lnTo>
                    <a:pt x="50" y="114"/>
                  </a:lnTo>
                  <a:lnTo>
                    <a:pt x="44" y="110"/>
                  </a:lnTo>
                  <a:lnTo>
                    <a:pt x="39" y="107"/>
                  </a:lnTo>
                  <a:lnTo>
                    <a:pt x="35" y="107"/>
                  </a:lnTo>
                  <a:lnTo>
                    <a:pt x="31" y="109"/>
                  </a:lnTo>
                  <a:lnTo>
                    <a:pt x="24" y="112"/>
                  </a:lnTo>
                  <a:lnTo>
                    <a:pt x="17" y="114"/>
                  </a:lnTo>
                  <a:lnTo>
                    <a:pt x="10" y="115"/>
                  </a:lnTo>
                  <a:lnTo>
                    <a:pt x="5" y="113"/>
                  </a:lnTo>
                  <a:lnTo>
                    <a:pt x="1" y="106"/>
                  </a:lnTo>
                  <a:lnTo>
                    <a:pt x="0" y="98"/>
                  </a:lnTo>
                  <a:lnTo>
                    <a:pt x="0" y="89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6" y="70"/>
                  </a:lnTo>
                  <a:lnTo>
                    <a:pt x="8" y="50"/>
                  </a:lnTo>
                  <a:lnTo>
                    <a:pt x="9" y="42"/>
                  </a:lnTo>
                  <a:lnTo>
                    <a:pt x="12" y="38"/>
                  </a:lnTo>
                  <a:lnTo>
                    <a:pt x="17" y="33"/>
                  </a:lnTo>
                  <a:lnTo>
                    <a:pt x="20" y="28"/>
                  </a:lnTo>
                  <a:lnTo>
                    <a:pt x="23" y="22"/>
                  </a:lnTo>
                  <a:lnTo>
                    <a:pt x="28" y="18"/>
                  </a:lnTo>
                  <a:lnTo>
                    <a:pt x="34" y="16"/>
                  </a:lnTo>
                  <a:lnTo>
                    <a:pt x="41" y="17"/>
                  </a:lnTo>
                  <a:lnTo>
                    <a:pt x="49" y="19"/>
                  </a:lnTo>
                  <a:lnTo>
                    <a:pt x="57" y="20"/>
                  </a:lnTo>
                  <a:lnTo>
                    <a:pt x="66" y="18"/>
                  </a:lnTo>
                  <a:lnTo>
                    <a:pt x="74" y="15"/>
                  </a:lnTo>
                  <a:lnTo>
                    <a:pt x="80" y="10"/>
                  </a:lnTo>
                  <a:lnTo>
                    <a:pt x="82" y="7"/>
                  </a:lnTo>
                  <a:lnTo>
                    <a:pt x="85" y="5"/>
                  </a:lnTo>
                  <a:lnTo>
                    <a:pt x="90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2">
              <a:extLst>
                <a:ext uri="{FF2B5EF4-FFF2-40B4-BE49-F238E27FC236}">
                  <a16:creationId xmlns:a16="http://schemas.microsoft.com/office/drawing/2014/main" id="{1F20FF39-1A6D-4FFD-B0CA-84AF026C9C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8063" y="1776413"/>
              <a:ext cx="185738" cy="211138"/>
            </a:xfrm>
            <a:custGeom>
              <a:avLst/>
              <a:gdLst/>
              <a:ahLst/>
              <a:cxnLst>
                <a:cxn ang="0">
                  <a:pos x="13" y="1"/>
                </a:cxn>
                <a:cxn ang="0">
                  <a:pos x="20" y="9"/>
                </a:cxn>
                <a:cxn ang="0">
                  <a:pos x="31" y="28"/>
                </a:cxn>
                <a:cxn ang="0">
                  <a:pos x="45" y="32"/>
                </a:cxn>
                <a:cxn ang="0">
                  <a:pos x="65" y="43"/>
                </a:cxn>
                <a:cxn ang="0">
                  <a:pos x="78" y="58"/>
                </a:cxn>
                <a:cxn ang="0">
                  <a:pos x="96" y="76"/>
                </a:cxn>
                <a:cxn ang="0">
                  <a:pos x="114" y="89"/>
                </a:cxn>
                <a:cxn ang="0">
                  <a:pos x="115" y="90"/>
                </a:cxn>
                <a:cxn ang="0">
                  <a:pos x="117" y="123"/>
                </a:cxn>
                <a:cxn ang="0">
                  <a:pos x="110" y="119"/>
                </a:cxn>
                <a:cxn ang="0">
                  <a:pos x="96" y="120"/>
                </a:cxn>
                <a:cxn ang="0">
                  <a:pos x="79" y="121"/>
                </a:cxn>
                <a:cxn ang="0">
                  <a:pos x="69" y="124"/>
                </a:cxn>
                <a:cxn ang="0">
                  <a:pos x="53" y="130"/>
                </a:cxn>
                <a:cxn ang="0">
                  <a:pos x="36" y="133"/>
                </a:cxn>
                <a:cxn ang="0">
                  <a:pos x="29" y="130"/>
                </a:cxn>
                <a:cxn ang="0">
                  <a:pos x="30" y="124"/>
                </a:cxn>
                <a:cxn ang="0">
                  <a:pos x="35" y="120"/>
                </a:cxn>
                <a:cxn ang="0">
                  <a:pos x="46" y="115"/>
                </a:cxn>
                <a:cxn ang="0">
                  <a:pos x="51" y="108"/>
                </a:cxn>
                <a:cxn ang="0">
                  <a:pos x="38" y="89"/>
                </a:cxn>
                <a:cxn ang="0">
                  <a:pos x="35" y="77"/>
                </a:cxn>
                <a:cxn ang="0">
                  <a:pos x="46" y="73"/>
                </a:cxn>
                <a:cxn ang="0">
                  <a:pos x="50" y="76"/>
                </a:cxn>
                <a:cxn ang="0">
                  <a:pos x="51" y="86"/>
                </a:cxn>
                <a:cxn ang="0">
                  <a:pos x="53" y="89"/>
                </a:cxn>
                <a:cxn ang="0">
                  <a:pos x="55" y="88"/>
                </a:cxn>
                <a:cxn ang="0">
                  <a:pos x="69" y="89"/>
                </a:cxn>
                <a:cxn ang="0">
                  <a:pos x="73" y="85"/>
                </a:cxn>
                <a:cxn ang="0">
                  <a:pos x="77" y="75"/>
                </a:cxn>
                <a:cxn ang="0">
                  <a:pos x="76" y="67"/>
                </a:cxn>
                <a:cxn ang="0">
                  <a:pos x="67" y="61"/>
                </a:cxn>
                <a:cxn ang="0">
                  <a:pos x="55" y="48"/>
                </a:cxn>
                <a:cxn ang="0">
                  <a:pos x="45" y="46"/>
                </a:cxn>
                <a:cxn ang="0">
                  <a:pos x="42" y="49"/>
                </a:cxn>
                <a:cxn ang="0">
                  <a:pos x="41" y="52"/>
                </a:cxn>
                <a:cxn ang="0">
                  <a:pos x="40" y="55"/>
                </a:cxn>
                <a:cxn ang="0">
                  <a:pos x="38" y="60"/>
                </a:cxn>
                <a:cxn ang="0">
                  <a:pos x="32" y="67"/>
                </a:cxn>
                <a:cxn ang="0">
                  <a:pos x="29" y="69"/>
                </a:cxn>
                <a:cxn ang="0">
                  <a:pos x="26" y="66"/>
                </a:cxn>
                <a:cxn ang="0">
                  <a:pos x="26" y="62"/>
                </a:cxn>
                <a:cxn ang="0">
                  <a:pos x="27" y="58"/>
                </a:cxn>
                <a:cxn ang="0">
                  <a:pos x="28" y="55"/>
                </a:cxn>
                <a:cxn ang="0">
                  <a:pos x="24" y="54"/>
                </a:cxn>
                <a:cxn ang="0">
                  <a:pos x="20" y="59"/>
                </a:cxn>
                <a:cxn ang="0">
                  <a:pos x="17" y="62"/>
                </a:cxn>
                <a:cxn ang="0">
                  <a:pos x="11" y="60"/>
                </a:cxn>
                <a:cxn ang="0">
                  <a:pos x="10" y="51"/>
                </a:cxn>
                <a:cxn ang="0">
                  <a:pos x="20" y="33"/>
                </a:cxn>
                <a:cxn ang="0">
                  <a:pos x="18" y="22"/>
                </a:cxn>
                <a:cxn ang="0">
                  <a:pos x="7" y="14"/>
                </a:cxn>
                <a:cxn ang="0">
                  <a:pos x="0" y="6"/>
                </a:cxn>
                <a:cxn ang="0">
                  <a:pos x="9" y="0"/>
                </a:cxn>
              </a:cxnLst>
              <a:rect l="0" t="0" r="r" b="b"/>
              <a:pathLst>
                <a:path w="117" h="133">
                  <a:moveTo>
                    <a:pt x="9" y="0"/>
                  </a:moveTo>
                  <a:lnTo>
                    <a:pt x="13" y="1"/>
                  </a:lnTo>
                  <a:lnTo>
                    <a:pt x="16" y="4"/>
                  </a:lnTo>
                  <a:lnTo>
                    <a:pt x="20" y="9"/>
                  </a:lnTo>
                  <a:lnTo>
                    <a:pt x="28" y="23"/>
                  </a:lnTo>
                  <a:lnTo>
                    <a:pt x="31" y="28"/>
                  </a:lnTo>
                  <a:lnTo>
                    <a:pt x="36" y="30"/>
                  </a:lnTo>
                  <a:lnTo>
                    <a:pt x="45" y="32"/>
                  </a:lnTo>
                  <a:lnTo>
                    <a:pt x="56" y="36"/>
                  </a:lnTo>
                  <a:lnTo>
                    <a:pt x="65" y="43"/>
                  </a:lnTo>
                  <a:lnTo>
                    <a:pt x="70" y="49"/>
                  </a:lnTo>
                  <a:lnTo>
                    <a:pt x="78" y="58"/>
                  </a:lnTo>
                  <a:lnTo>
                    <a:pt x="87" y="68"/>
                  </a:lnTo>
                  <a:lnTo>
                    <a:pt x="96" y="76"/>
                  </a:lnTo>
                  <a:lnTo>
                    <a:pt x="105" y="84"/>
                  </a:lnTo>
                  <a:lnTo>
                    <a:pt x="114" y="89"/>
                  </a:lnTo>
                  <a:lnTo>
                    <a:pt x="114" y="90"/>
                  </a:lnTo>
                  <a:lnTo>
                    <a:pt x="115" y="90"/>
                  </a:lnTo>
                  <a:lnTo>
                    <a:pt x="116" y="108"/>
                  </a:lnTo>
                  <a:lnTo>
                    <a:pt x="117" y="123"/>
                  </a:lnTo>
                  <a:lnTo>
                    <a:pt x="114" y="121"/>
                  </a:lnTo>
                  <a:lnTo>
                    <a:pt x="110" y="119"/>
                  </a:lnTo>
                  <a:lnTo>
                    <a:pt x="103" y="119"/>
                  </a:lnTo>
                  <a:lnTo>
                    <a:pt x="96" y="120"/>
                  </a:lnTo>
                  <a:lnTo>
                    <a:pt x="87" y="120"/>
                  </a:lnTo>
                  <a:lnTo>
                    <a:pt x="79" y="121"/>
                  </a:lnTo>
                  <a:lnTo>
                    <a:pt x="74" y="122"/>
                  </a:lnTo>
                  <a:lnTo>
                    <a:pt x="69" y="124"/>
                  </a:lnTo>
                  <a:lnTo>
                    <a:pt x="62" y="127"/>
                  </a:lnTo>
                  <a:lnTo>
                    <a:pt x="53" y="130"/>
                  </a:lnTo>
                  <a:lnTo>
                    <a:pt x="43" y="133"/>
                  </a:lnTo>
                  <a:lnTo>
                    <a:pt x="36" y="133"/>
                  </a:lnTo>
                  <a:lnTo>
                    <a:pt x="31" y="132"/>
                  </a:lnTo>
                  <a:lnTo>
                    <a:pt x="29" y="130"/>
                  </a:lnTo>
                  <a:lnTo>
                    <a:pt x="28" y="128"/>
                  </a:lnTo>
                  <a:lnTo>
                    <a:pt x="30" y="124"/>
                  </a:lnTo>
                  <a:lnTo>
                    <a:pt x="32" y="122"/>
                  </a:lnTo>
                  <a:lnTo>
                    <a:pt x="35" y="120"/>
                  </a:lnTo>
                  <a:lnTo>
                    <a:pt x="40" y="118"/>
                  </a:lnTo>
                  <a:lnTo>
                    <a:pt x="46" y="115"/>
                  </a:lnTo>
                  <a:lnTo>
                    <a:pt x="49" y="112"/>
                  </a:lnTo>
                  <a:lnTo>
                    <a:pt x="51" y="108"/>
                  </a:lnTo>
                  <a:lnTo>
                    <a:pt x="50" y="103"/>
                  </a:lnTo>
                  <a:lnTo>
                    <a:pt x="38" y="89"/>
                  </a:lnTo>
                  <a:lnTo>
                    <a:pt x="34" y="83"/>
                  </a:lnTo>
                  <a:lnTo>
                    <a:pt x="35" y="77"/>
                  </a:lnTo>
                  <a:lnTo>
                    <a:pt x="41" y="73"/>
                  </a:lnTo>
                  <a:lnTo>
                    <a:pt x="46" y="73"/>
                  </a:lnTo>
                  <a:lnTo>
                    <a:pt x="48" y="74"/>
                  </a:lnTo>
                  <a:lnTo>
                    <a:pt x="50" y="76"/>
                  </a:lnTo>
                  <a:lnTo>
                    <a:pt x="50" y="83"/>
                  </a:lnTo>
                  <a:lnTo>
                    <a:pt x="51" y="86"/>
                  </a:lnTo>
                  <a:lnTo>
                    <a:pt x="52" y="88"/>
                  </a:lnTo>
                  <a:lnTo>
                    <a:pt x="53" y="89"/>
                  </a:lnTo>
                  <a:lnTo>
                    <a:pt x="54" y="89"/>
                  </a:lnTo>
                  <a:lnTo>
                    <a:pt x="55" y="88"/>
                  </a:lnTo>
                  <a:lnTo>
                    <a:pt x="59" y="87"/>
                  </a:lnTo>
                  <a:lnTo>
                    <a:pt x="69" y="89"/>
                  </a:lnTo>
                  <a:lnTo>
                    <a:pt x="72" y="88"/>
                  </a:lnTo>
                  <a:lnTo>
                    <a:pt x="73" y="85"/>
                  </a:lnTo>
                  <a:lnTo>
                    <a:pt x="75" y="81"/>
                  </a:lnTo>
                  <a:lnTo>
                    <a:pt x="77" y="75"/>
                  </a:lnTo>
                  <a:lnTo>
                    <a:pt x="77" y="70"/>
                  </a:lnTo>
                  <a:lnTo>
                    <a:pt x="76" y="67"/>
                  </a:lnTo>
                  <a:lnTo>
                    <a:pt x="72" y="64"/>
                  </a:lnTo>
                  <a:lnTo>
                    <a:pt x="67" y="61"/>
                  </a:lnTo>
                  <a:lnTo>
                    <a:pt x="63" y="56"/>
                  </a:lnTo>
                  <a:lnTo>
                    <a:pt x="55" y="48"/>
                  </a:lnTo>
                  <a:lnTo>
                    <a:pt x="50" y="46"/>
                  </a:lnTo>
                  <a:lnTo>
                    <a:pt x="45" y="46"/>
                  </a:lnTo>
                  <a:lnTo>
                    <a:pt x="43" y="47"/>
                  </a:lnTo>
                  <a:lnTo>
                    <a:pt x="42" y="49"/>
                  </a:lnTo>
                  <a:lnTo>
                    <a:pt x="41" y="50"/>
                  </a:lnTo>
                  <a:lnTo>
                    <a:pt x="41" y="52"/>
                  </a:lnTo>
                  <a:lnTo>
                    <a:pt x="40" y="53"/>
                  </a:lnTo>
                  <a:lnTo>
                    <a:pt x="40" y="55"/>
                  </a:lnTo>
                  <a:lnTo>
                    <a:pt x="39" y="57"/>
                  </a:lnTo>
                  <a:lnTo>
                    <a:pt x="38" y="60"/>
                  </a:lnTo>
                  <a:lnTo>
                    <a:pt x="36" y="63"/>
                  </a:lnTo>
                  <a:lnTo>
                    <a:pt x="32" y="67"/>
                  </a:lnTo>
                  <a:lnTo>
                    <a:pt x="31" y="69"/>
                  </a:lnTo>
                  <a:lnTo>
                    <a:pt x="29" y="69"/>
                  </a:lnTo>
                  <a:lnTo>
                    <a:pt x="27" y="68"/>
                  </a:lnTo>
                  <a:lnTo>
                    <a:pt x="26" y="66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6" y="60"/>
                  </a:lnTo>
                  <a:lnTo>
                    <a:pt x="27" y="58"/>
                  </a:lnTo>
                  <a:lnTo>
                    <a:pt x="27" y="56"/>
                  </a:lnTo>
                  <a:lnTo>
                    <a:pt x="28" y="55"/>
                  </a:lnTo>
                  <a:lnTo>
                    <a:pt x="27" y="54"/>
                  </a:lnTo>
                  <a:lnTo>
                    <a:pt x="24" y="54"/>
                  </a:lnTo>
                  <a:lnTo>
                    <a:pt x="21" y="57"/>
                  </a:lnTo>
                  <a:lnTo>
                    <a:pt x="20" y="59"/>
                  </a:lnTo>
                  <a:lnTo>
                    <a:pt x="18" y="60"/>
                  </a:lnTo>
                  <a:lnTo>
                    <a:pt x="17" y="62"/>
                  </a:lnTo>
                  <a:lnTo>
                    <a:pt x="13" y="62"/>
                  </a:lnTo>
                  <a:lnTo>
                    <a:pt x="11" y="60"/>
                  </a:lnTo>
                  <a:lnTo>
                    <a:pt x="8" y="56"/>
                  </a:lnTo>
                  <a:lnTo>
                    <a:pt x="10" y="51"/>
                  </a:lnTo>
                  <a:lnTo>
                    <a:pt x="16" y="43"/>
                  </a:lnTo>
                  <a:lnTo>
                    <a:pt x="20" y="33"/>
                  </a:lnTo>
                  <a:lnTo>
                    <a:pt x="21" y="27"/>
                  </a:lnTo>
                  <a:lnTo>
                    <a:pt x="18" y="22"/>
                  </a:lnTo>
                  <a:lnTo>
                    <a:pt x="13" y="18"/>
                  </a:lnTo>
                  <a:lnTo>
                    <a:pt x="7" y="14"/>
                  </a:lnTo>
                  <a:lnTo>
                    <a:pt x="2" y="10"/>
                  </a:lnTo>
                  <a:lnTo>
                    <a:pt x="0" y="6"/>
                  </a:lnTo>
                  <a:lnTo>
                    <a:pt x="3" y="3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3">
              <a:extLst>
                <a:ext uri="{FF2B5EF4-FFF2-40B4-BE49-F238E27FC236}">
                  <a16:creationId xmlns:a16="http://schemas.microsoft.com/office/drawing/2014/main" id="{786BD1A5-AFF3-422E-8A86-11E8F942C55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626" y="1919288"/>
              <a:ext cx="74613" cy="730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" y="4"/>
                </a:cxn>
                <a:cxn ang="0">
                  <a:pos x="23" y="7"/>
                </a:cxn>
                <a:cxn ang="0">
                  <a:pos x="32" y="10"/>
                </a:cxn>
                <a:cxn ang="0">
                  <a:pos x="37" y="13"/>
                </a:cxn>
                <a:cxn ang="0">
                  <a:pos x="38" y="15"/>
                </a:cxn>
                <a:cxn ang="0">
                  <a:pos x="39" y="18"/>
                </a:cxn>
                <a:cxn ang="0">
                  <a:pos x="39" y="21"/>
                </a:cxn>
                <a:cxn ang="0">
                  <a:pos x="41" y="25"/>
                </a:cxn>
                <a:cxn ang="0">
                  <a:pos x="45" y="27"/>
                </a:cxn>
                <a:cxn ang="0">
                  <a:pos x="46" y="29"/>
                </a:cxn>
                <a:cxn ang="0">
                  <a:pos x="46" y="31"/>
                </a:cxn>
                <a:cxn ang="0">
                  <a:pos x="47" y="33"/>
                </a:cxn>
                <a:cxn ang="0">
                  <a:pos x="47" y="35"/>
                </a:cxn>
                <a:cxn ang="0">
                  <a:pos x="45" y="37"/>
                </a:cxn>
                <a:cxn ang="0">
                  <a:pos x="40" y="37"/>
                </a:cxn>
                <a:cxn ang="0">
                  <a:pos x="37" y="38"/>
                </a:cxn>
                <a:cxn ang="0">
                  <a:pos x="34" y="40"/>
                </a:cxn>
                <a:cxn ang="0">
                  <a:pos x="31" y="43"/>
                </a:cxn>
                <a:cxn ang="0">
                  <a:pos x="31" y="45"/>
                </a:cxn>
                <a:cxn ang="0">
                  <a:pos x="29" y="46"/>
                </a:cxn>
                <a:cxn ang="0">
                  <a:pos x="24" y="46"/>
                </a:cxn>
                <a:cxn ang="0">
                  <a:pos x="18" y="45"/>
                </a:cxn>
                <a:cxn ang="0">
                  <a:pos x="12" y="42"/>
                </a:cxn>
                <a:cxn ang="0">
                  <a:pos x="8" y="39"/>
                </a:cxn>
                <a:cxn ang="0">
                  <a:pos x="2" y="33"/>
                </a:cxn>
                <a:cxn ang="0">
                  <a:pos x="1" y="18"/>
                </a:cxn>
                <a:cxn ang="0">
                  <a:pos x="0" y="0"/>
                </a:cxn>
              </a:cxnLst>
              <a:rect l="0" t="0" r="r" b="b"/>
              <a:pathLst>
                <a:path w="47" h="46">
                  <a:moveTo>
                    <a:pt x="0" y="0"/>
                  </a:moveTo>
                  <a:lnTo>
                    <a:pt x="12" y="4"/>
                  </a:lnTo>
                  <a:lnTo>
                    <a:pt x="23" y="7"/>
                  </a:lnTo>
                  <a:lnTo>
                    <a:pt x="32" y="10"/>
                  </a:lnTo>
                  <a:lnTo>
                    <a:pt x="37" y="13"/>
                  </a:lnTo>
                  <a:lnTo>
                    <a:pt x="38" y="15"/>
                  </a:lnTo>
                  <a:lnTo>
                    <a:pt x="39" y="18"/>
                  </a:lnTo>
                  <a:lnTo>
                    <a:pt x="39" y="21"/>
                  </a:lnTo>
                  <a:lnTo>
                    <a:pt x="41" y="25"/>
                  </a:lnTo>
                  <a:lnTo>
                    <a:pt x="45" y="27"/>
                  </a:lnTo>
                  <a:lnTo>
                    <a:pt x="46" y="29"/>
                  </a:lnTo>
                  <a:lnTo>
                    <a:pt x="46" y="31"/>
                  </a:lnTo>
                  <a:lnTo>
                    <a:pt x="47" y="33"/>
                  </a:lnTo>
                  <a:lnTo>
                    <a:pt x="47" y="35"/>
                  </a:lnTo>
                  <a:lnTo>
                    <a:pt x="45" y="37"/>
                  </a:lnTo>
                  <a:lnTo>
                    <a:pt x="40" y="37"/>
                  </a:lnTo>
                  <a:lnTo>
                    <a:pt x="37" y="38"/>
                  </a:lnTo>
                  <a:lnTo>
                    <a:pt x="34" y="40"/>
                  </a:lnTo>
                  <a:lnTo>
                    <a:pt x="31" y="43"/>
                  </a:lnTo>
                  <a:lnTo>
                    <a:pt x="31" y="45"/>
                  </a:lnTo>
                  <a:lnTo>
                    <a:pt x="29" y="46"/>
                  </a:lnTo>
                  <a:lnTo>
                    <a:pt x="24" y="46"/>
                  </a:lnTo>
                  <a:lnTo>
                    <a:pt x="18" y="45"/>
                  </a:lnTo>
                  <a:lnTo>
                    <a:pt x="12" y="42"/>
                  </a:lnTo>
                  <a:lnTo>
                    <a:pt x="8" y="39"/>
                  </a:lnTo>
                  <a:lnTo>
                    <a:pt x="2" y="33"/>
                  </a:lnTo>
                  <a:lnTo>
                    <a:pt x="1" y="1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4">
              <a:extLst>
                <a:ext uri="{FF2B5EF4-FFF2-40B4-BE49-F238E27FC236}">
                  <a16:creationId xmlns:a16="http://schemas.microsoft.com/office/drawing/2014/main" id="{3EB8A373-8D8E-4B7A-A422-BBBA5BBE2676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5651" y="1449388"/>
              <a:ext cx="247650" cy="292100"/>
            </a:xfrm>
            <a:custGeom>
              <a:avLst/>
              <a:gdLst/>
              <a:ahLst/>
              <a:cxnLst>
                <a:cxn ang="0">
                  <a:pos x="65" y="6"/>
                </a:cxn>
                <a:cxn ang="0">
                  <a:pos x="61" y="19"/>
                </a:cxn>
                <a:cxn ang="0">
                  <a:pos x="75" y="37"/>
                </a:cxn>
                <a:cxn ang="0">
                  <a:pos x="112" y="36"/>
                </a:cxn>
                <a:cxn ang="0">
                  <a:pos x="131" y="45"/>
                </a:cxn>
                <a:cxn ang="0">
                  <a:pos x="123" y="67"/>
                </a:cxn>
                <a:cxn ang="0">
                  <a:pos x="111" y="97"/>
                </a:cxn>
                <a:cxn ang="0">
                  <a:pos x="132" y="112"/>
                </a:cxn>
                <a:cxn ang="0">
                  <a:pos x="156" y="133"/>
                </a:cxn>
                <a:cxn ang="0">
                  <a:pos x="152" y="157"/>
                </a:cxn>
                <a:cxn ang="0">
                  <a:pos x="129" y="156"/>
                </a:cxn>
                <a:cxn ang="0">
                  <a:pos x="138" y="151"/>
                </a:cxn>
                <a:cxn ang="0">
                  <a:pos x="141" y="146"/>
                </a:cxn>
                <a:cxn ang="0">
                  <a:pos x="132" y="142"/>
                </a:cxn>
                <a:cxn ang="0">
                  <a:pos x="134" y="136"/>
                </a:cxn>
                <a:cxn ang="0">
                  <a:pos x="126" y="134"/>
                </a:cxn>
                <a:cxn ang="0">
                  <a:pos x="107" y="138"/>
                </a:cxn>
                <a:cxn ang="0">
                  <a:pos x="83" y="145"/>
                </a:cxn>
                <a:cxn ang="0">
                  <a:pos x="62" y="164"/>
                </a:cxn>
                <a:cxn ang="0">
                  <a:pos x="63" y="171"/>
                </a:cxn>
                <a:cxn ang="0">
                  <a:pos x="73" y="176"/>
                </a:cxn>
                <a:cxn ang="0">
                  <a:pos x="74" y="182"/>
                </a:cxn>
                <a:cxn ang="0">
                  <a:pos x="53" y="184"/>
                </a:cxn>
                <a:cxn ang="0">
                  <a:pos x="54" y="170"/>
                </a:cxn>
                <a:cxn ang="0">
                  <a:pos x="33" y="174"/>
                </a:cxn>
                <a:cxn ang="0">
                  <a:pos x="7" y="153"/>
                </a:cxn>
                <a:cxn ang="0">
                  <a:pos x="5" y="130"/>
                </a:cxn>
                <a:cxn ang="0">
                  <a:pos x="30" y="127"/>
                </a:cxn>
                <a:cxn ang="0">
                  <a:pos x="16" y="109"/>
                </a:cxn>
                <a:cxn ang="0">
                  <a:pos x="12" y="99"/>
                </a:cxn>
                <a:cxn ang="0">
                  <a:pos x="20" y="92"/>
                </a:cxn>
                <a:cxn ang="0">
                  <a:pos x="31" y="87"/>
                </a:cxn>
                <a:cxn ang="0">
                  <a:pos x="18" y="73"/>
                </a:cxn>
                <a:cxn ang="0">
                  <a:pos x="5" y="65"/>
                </a:cxn>
                <a:cxn ang="0">
                  <a:pos x="22" y="56"/>
                </a:cxn>
                <a:cxn ang="0">
                  <a:pos x="33" y="64"/>
                </a:cxn>
                <a:cxn ang="0">
                  <a:pos x="39" y="68"/>
                </a:cxn>
                <a:cxn ang="0">
                  <a:pos x="49" y="48"/>
                </a:cxn>
                <a:cxn ang="0">
                  <a:pos x="53" y="60"/>
                </a:cxn>
                <a:cxn ang="0">
                  <a:pos x="63" y="62"/>
                </a:cxn>
                <a:cxn ang="0">
                  <a:pos x="70" y="75"/>
                </a:cxn>
                <a:cxn ang="0">
                  <a:pos x="83" y="77"/>
                </a:cxn>
                <a:cxn ang="0">
                  <a:pos x="92" y="51"/>
                </a:cxn>
                <a:cxn ang="0">
                  <a:pos x="63" y="45"/>
                </a:cxn>
                <a:cxn ang="0">
                  <a:pos x="58" y="35"/>
                </a:cxn>
                <a:cxn ang="0">
                  <a:pos x="51" y="30"/>
                </a:cxn>
                <a:cxn ang="0">
                  <a:pos x="30" y="45"/>
                </a:cxn>
                <a:cxn ang="0">
                  <a:pos x="39" y="23"/>
                </a:cxn>
                <a:cxn ang="0">
                  <a:pos x="24" y="18"/>
                </a:cxn>
                <a:cxn ang="0">
                  <a:pos x="26" y="10"/>
                </a:cxn>
                <a:cxn ang="0">
                  <a:pos x="60" y="0"/>
                </a:cxn>
              </a:cxnLst>
              <a:rect l="0" t="0" r="r" b="b"/>
              <a:pathLst>
                <a:path w="156" h="184">
                  <a:moveTo>
                    <a:pt x="66" y="0"/>
                  </a:moveTo>
                  <a:lnTo>
                    <a:pt x="69" y="0"/>
                  </a:lnTo>
                  <a:lnTo>
                    <a:pt x="69" y="2"/>
                  </a:lnTo>
                  <a:lnTo>
                    <a:pt x="65" y="6"/>
                  </a:lnTo>
                  <a:lnTo>
                    <a:pt x="63" y="9"/>
                  </a:lnTo>
                  <a:lnTo>
                    <a:pt x="62" y="12"/>
                  </a:lnTo>
                  <a:lnTo>
                    <a:pt x="61" y="14"/>
                  </a:lnTo>
                  <a:lnTo>
                    <a:pt x="61" y="19"/>
                  </a:lnTo>
                  <a:lnTo>
                    <a:pt x="62" y="25"/>
                  </a:lnTo>
                  <a:lnTo>
                    <a:pt x="64" y="31"/>
                  </a:lnTo>
                  <a:lnTo>
                    <a:pt x="68" y="34"/>
                  </a:lnTo>
                  <a:lnTo>
                    <a:pt x="75" y="37"/>
                  </a:lnTo>
                  <a:lnTo>
                    <a:pt x="85" y="39"/>
                  </a:lnTo>
                  <a:lnTo>
                    <a:pt x="96" y="38"/>
                  </a:lnTo>
                  <a:lnTo>
                    <a:pt x="103" y="37"/>
                  </a:lnTo>
                  <a:lnTo>
                    <a:pt x="112" y="36"/>
                  </a:lnTo>
                  <a:lnTo>
                    <a:pt x="120" y="36"/>
                  </a:lnTo>
                  <a:lnTo>
                    <a:pt x="125" y="38"/>
                  </a:lnTo>
                  <a:lnTo>
                    <a:pt x="129" y="40"/>
                  </a:lnTo>
                  <a:lnTo>
                    <a:pt x="131" y="45"/>
                  </a:lnTo>
                  <a:lnTo>
                    <a:pt x="132" y="52"/>
                  </a:lnTo>
                  <a:lnTo>
                    <a:pt x="131" y="59"/>
                  </a:lnTo>
                  <a:lnTo>
                    <a:pt x="128" y="63"/>
                  </a:lnTo>
                  <a:lnTo>
                    <a:pt x="123" y="67"/>
                  </a:lnTo>
                  <a:lnTo>
                    <a:pt x="117" y="74"/>
                  </a:lnTo>
                  <a:lnTo>
                    <a:pt x="111" y="82"/>
                  </a:lnTo>
                  <a:lnTo>
                    <a:pt x="109" y="90"/>
                  </a:lnTo>
                  <a:lnTo>
                    <a:pt x="111" y="97"/>
                  </a:lnTo>
                  <a:lnTo>
                    <a:pt x="114" y="104"/>
                  </a:lnTo>
                  <a:lnTo>
                    <a:pt x="120" y="109"/>
                  </a:lnTo>
                  <a:lnTo>
                    <a:pt x="124" y="111"/>
                  </a:lnTo>
                  <a:lnTo>
                    <a:pt x="132" y="112"/>
                  </a:lnTo>
                  <a:lnTo>
                    <a:pt x="139" y="115"/>
                  </a:lnTo>
                  <a:lnTo>
                    <a:pt x="145" y="120"/>
                  </a:lnTo>
                  <a:lnTo>
                    <a:pt x="153" y="130"/>
                  </a:lnTo>
                  <a:lnTo>
                    <a:pt x="156" y="133"/>
                  </a:lnTo>
                  <a:lnTo>
                    <a:pt x="156" y="137"/>
                  </a:lnTo>
                  <a:lnTo>
                    <a:pt x="155" y="140"/>
                  </a:lnTo>
                  <a:lnTo>
                    <a:pt x="153" y="152"/>
                  </a:lnTo>
                  <a:lnTo>
                    <a:pt x="152" y="157"/>
                  </a:lnTo>
                  <a:lnTo>
                    <a:pt x="148" y="159"/>
                  </a:lnTo>
                  <a:lnTo>
                    <a:pt x="132" y="159"/>
                  </a:lnTo>
                  <a:lnTo>
                    <a:pt x="129" y="158"/>
                  </a:lnTo>
                  <a:lnTo>
                    <a:pt x="129" y="156"/>
                  </a:lnTo>
                  <a:lnTo>
                    <a:pt x="131" y="155"/>
                  </a:lnTo>
                  <a:lnTo>
                    <a:pt x="133" y="153"/>
                  </a:lnTo>
                  <a:lnTo>
                    <a:pt x="135" y="152"/>
                  </a:lnTo>
                  <a:lnTo>
                    <a:pt x="138" y="151"/>
                  </a:lnTo>
                  <a:lnTo>
                    <a:pt x="140" y="149"/>
                  </a:lnTo>
                  <a:lnTo>
                    <a:pt x="142" y="148"/>
                  </a:lnTo>
                  <a:lnTo>
                    <a:pt x="142" y="147"/>
                  </a:lnTo>
                  <a:lnTo>
                    <a:pt x="141" y="146"/>
                  </a:lnTo>
                  <a:lnTo>
                    <a:pt x="139" y="145"/>
                  </a:lnTo>
                  <a:lnTo>
                    <a:pt x="136" y="144"/>
                  </a:lnTo>
                  <a:lnTo>
                    <a:pt x="134" y="144"/>
                  </a:lnTo>
                  <a:lnTo>
                    <a:pt x="132" y="142"/>
                  </a:lnTo>
                  <a:lnTo>
                    <a:pt x="132" y="140"/>
                  </a:lnTo>
                  <a:lnTo>
                    <a:pt x="133" y="138"/>
                  </a:lnTo>
                  <a:lnTo>
                    <a:pt x="133" y="138"/>
                  </a:lnTo>
                  <a:lnTo>
                    <a:pt x="134" y="136"/>
                  </a:lnTo>
                  <a:lnTo>
                    <a:pt x="134" y="134"/>
                  </a:lnTo>
                  <a:lnTo>
                    <a:pt x="132" y="133"/>
                  </a:lnTo>
                  <a:lnTo>
                    <a:pt x="130" y="133"/>
                  </a:lnTo>
                  <a:lnTo>
                    <a:pt x="126" y="134"/>
                  </a:lnTo>
                  <a:lnTo>
                    <a:pt x="121" y="138"/>
                  </a:lnTo>
                  <a:lnTo>
                    <a:pt x="119" y="139"/>
                  </a:lnTo>
                  <a:lnTo>
                    <a:pt x="115" y="138"/>
                  </a:lnTo>
                  <a:lnTo>
                    <a:pt x="107" y="138"/>
                  </a:lnTo>
                  <a:lnTo>
                    <a:pt x="98" y="138"/>
                  </a:lnTo>
                  <a:lnTo>
                    <a:pt x="90" y="139"/>
                  </a:lnTo>
                  <a:lnTo>
                    <a:pt x="86" y="141"/>
                  </a:lnTo>
                  <a:lnTo>
                    <a:pt x="83" y="145"/>
                  </a:lnTo>
                  <a:lnTo>
                    <a:pt x="73" y="159"/>
                  </a:lnTo>
                  <a:lnTo>
                    <a:pt x="69" y="163"/>
                  </a:lnTo>
                  <a:lnTo>
                    <a:pt x="67" y="164"/>
                  </a:lnTo>
                  <a:lnTo>
                    <a:pt x="62" y="164"/>
                  </a:lnTo>
                  <a:lnTo>
                    <a:pt x="60" y="166"/>
                  </a:lnTo>
                  <a:lnTo>
                    <a:pt x="60" y="167"/>
                  </a:lnTo>
                  <a:lnTo>
                    <a:pt x="61" y="169"/>
                  </a:lnTo>
                  <a:lnTo>
                    <a:pt x="63" y="171"/>
                  </a:lnTo>
                  <a:lnTo>
                    <a:pt x="69" y="173"/>
                  </a:lnTo>
                  <a:lnTo>
                    <a:pt x="71" y="173"/>
                  </a:lnTo>
                  <a:lnTo>
                    <a:pt x="72" y="174"/>
                  </a:lnTo>
                  <a:lnTo>
                    <a:pt x="73" y="176"/>
                  </a:lnTo>
                  <a:lnTo>
                    <a:pt x="74" y="177"/>
                  </a:lnTo>
                  <a:lnTo>
                    <a:pt x="75" y="179"/>
                  </a:lnTo>
                  <a:lnTo>
                    <a:pt x="74" y="180"/>
                  </a:lnTo>
                  <a:lnTo>
                    <a:pt x="74" y="182"/>
                  </a:lnTo>
                  <a:lnTo>
                    <a:pt x="72" y="183"/>
                  </a:lnTo>
                  <a:lnTo>
                    <a:pt x="70" y="183"/>
                  </a:lnTo>
                  <a:lnTo>
                    <a:pt x="64" y="184"/>
                  </a:lnTo>
                  <a:lnTo>
                    <a:pt x="53" y="184"/>
                  </a:lnTo>
                  <a:lnTo>
                    <a:pt x="51" y="181"/>
                  </a:lnTo>
                  <a:lnTo>
                    <a:pt x="51" y="179"/>
                  </a:lnTo>
                  <a:lnTo>
                    <a:pt x="54" y="173"/>
                  </a:lnTo>
                  <a:lnTo>
                    <a:pt x="54" y="170"/>
                  </a:lnTo>
                  <a:lnTo>
                    <a:pt x="51" y="170"/>
                  </a:lnTo>
                  <a:lnTo>
                    <a:pt x="45" y="171"/>
                  </a:lnTo>
                  <a:lnTo>
                    <a:pt x="39" y="173"/>
                  </a:lnTo>
                  <a:lnTo>
                    <a:pt x="33" y="174"/>
                  </a:lnTo>
                  <a:lnTo>
                    <a:pt x="29" y="174"/>
                  </a:lnTo>
                  <a:lnTo>
                    <a:pt x="25" y="172"/>
                  </a:lnTo>
                  <a:lnTo>
                    <a:pt x="13" y="160"/>
                  </a:lnTo>
                  <a:lnTo>
                    <a:pt x="7" y="153"/>
                  </a:lnTo>
                  <a:lnTo>
                    <a:pt x="2" y="146"/>
                  </a:lnTo>
                  <a:lnTo>
                    <a:pt x="0" y="140"/>
                  </a:lnTo>
                  <a:lnTo>
                    <a:pt x="2" y="134"/>
                  </a:lnTo>
                  <a:lnTo>
                    <a:pt x="5" y="130"/>
                  </a:lnTo>
                  <a:lnTo>
                    <a:pt x="11" y="129"/>
                  </a:lnTo>
                  <a:lnTo>
                    <a:pt x="27" y="129"/>
                  </a:lnTo>
                  <a:lnTo>
                    <a:pt x="29" y="128"/>
                  </a:lnTo>
                  <a:lnTo>
                    <a:pt x="30" y="127"/>
                  </a:lnTo>
                  <a:lnTo>
                    <a:pt x="30" y="123"/>
                  </a:lnTo>
                  <a:lnTo>
                    <a:pt x="27" y="118"/>
                  </a:lnTo>
                  <a:lnTo>
                    <a:pt x="22" y="113"/>
                  </a:lnTo>
                  <a:lnTo>
                    <a:pt x="16" y="109"/>
                  </a:lnTo>
                  <a:lnTo>
                    <a:pt x="12" y="107"/>
                  </a:lnTo>
                  <a:lnTo>
                    <a:pt x="11" y="107"/>
                  </a:lnTo>
                  <a:lnTo>
                    <a:pt x="11" y="101"/>
                  </a:lnTo>
                  <a:lnTo>
                    <a:pt x="12" y="99"/>
                  </a:lnTo>
                  <a:lnTo>
                    <a:pt x="14" y="97"/>
                  </a:lnTo>
                  <a:lnTo>
                    <a:pt x="15" y="95"/>
                  </a:lnTo>
                  <a:lnTo>
                    <a:pt x="16" y="94"/>
                  </a:lnTo>
                  <a:lnTo>
                    <a:pt x="20" y="92"/>
                  </a:lnTo>
                  <a:lnTo>
                    <a:pt x="23" y="92"/>
                  </a:lnTo>
                  <a:lnTo>
                    <a:pt x="26" y="91"/>
                  </a:lnTo>
                  <a:lnTo>
                    <a:pt x="30" y="89"/>
                  </a:lnTo>
                  <a:lnTo>
                    <a:pt x="31" y="87"/>
                  </a:lnTo>
                  <a:lnTo>
                    <a:pt x="31" y="86"/>
                  </a:lnTo>
                  <a:lnTo>
                    <a:pt x="28" y="83"/>
                  </a:lnTo>
                  <a:lnTo>
                    <a:pt x="24" y="78"/>
                  </a:lnTo>
                  <a:lnTo>
                    <a:pt x="18" y="73"/>
                  </a:lnTo>
                  <a:lnTo>
                    <a:pt x="12" y="70"/>
                  </a:lnTo>
                  <a:lnTo>
                    <a:pt x="9" y="68"/>
                  </a:lnTo>
                  <a:lnTo>
                    <a:pt x="6" y="67"/>
                  </a:lnTo>
                  <a:lnTo>
                    <a:pt x="5" y="65"/>
                  </a:lnTo>
                  <a:lnTo>
                    <a:pt x="5" y="63"/>
                  </a:lnTo>
                  <a:lnTo>
                    <a:pt x="7" y="59"/>
                  </a:lnTo>
                  <a:lnTo>
                    <a:pt x="10" y="58"/>
                  </a:lnTo>
                  <a:lnTo>
                    <a:pt x="22" y="56"/>
                  </a:lnTo>
                  <a:lnTo>
                    <a:pt x="28" y="56"/>
                  </a:lnTo>
                  <a:lnTo>
                    <a:pt x="31" y="59"/>
                  </a:lnTo>
                  <a:lnTo>
                    <a:pt x="32" y="61"/>
                  </a:lnTo>
                  <a:lnTo>
                    <a:pt x="33" y="64"/>
                  </a:lnTo>
                  <a:lnTo>
                    <a:pt x="34" y="66"/>
                  </a:lnTo>
                  <a:lnTo>
                    <a:pt x="37" y="69"/>
                  </a:lnTo>
                  <a:lnTo>
                    <a:pt x="38" y="69"/>
                  </a:lnTo>
                  <a:lnTo>
                    <a:pt x="39" y="68"/>
                  </a:lnTo>
                  <a:lnTo>
                    <a:pt x="41" y="64"/>
                  </a:lnTo>
                  <a:lnTo>
                    <a:pt x="43" y="59"/>
                  </a:lnTo>
                  <a:lnTo>
                    <a:pt x="46" y="53"/>
                  </a:lnTo>
                  <a:lnTo>
                    <a:pt x="49" y="48"/>
                  </a:lnTo>
                  <a:lnTo>
                    <a:pt x="51" y="45"/>
                  </a:lnTo>
                  <a:lnTo>
                    <a:pt x="52" y="45"/>
                  </a:lnTo>
                  <a:lnTo>
                    <a:pt x="52" y="55"/>
                  </a:lnTo>
                  <a:lnTo>
                    <a:pt x="53" y="60"/>
                  </a:lnTo>
                  <a:lnTo>
                    <a:pt x="54" y="64"/>
                  </a:lnTo>
                  <a:lnTo>
                    <a:pt x="56" y="65"/>
                  </a:lnTo>
                  <a:lnTo>
                    <a:pt x="60" y="63"/>
                  </a:lnTo>
                  <a:lnTo>
                    <a:pt x="63" y="62"/>
                  </a:lnTo>
                  <a:lnTo>
                    <a:pt x="67" y="62"/>
                  </a:lnTo>
                  <a:lnTo>
                    <a:pt x="69" y="63"/>
                  </a:lnTo>
                  <a:lnTo>
                    <a:pt x="70" y="65"/>
                  </a:lnTo>
                  <a:lnTo>
                    <a:pt x="70" y="75"/>
                  </a:lnTo>
                  <a:lnTo>
                    <a:pt x="71" y="76"/>
                  </a:lnTo>
                  <a:lnTo>
                    <a:pt x="73" y="77"/>
                  </a:lnTo>
                  <a:lnTo>
                    <a:pt x="76" y="78"/>
                  </a:lnTo>
                  <a:lnTo>
                    <a:pt x="83" y="77"/>
                  </a:lnTo>
                  <a:lnTo>
                    <a:pt x="90" y="74"/>
                  </a:lnTo>
                  <a:lnTo>
                    <a:pt x="94" y="70"/>
                  </a:lnTo>
                  <a:lnTo>
                    <a:pt x="94" y="53"/>
                  </a:lnTo>
                  <a:lnTo>
                    <a:pt x="92" y="51"/>
                  </a:lnTo>
                  <a:lnTo>
                    <a:pt x="90" y="50"/>
                  </a:lnTo>
                  <a:lnTo>
                    <a:pt x="77" y="50"/>
                  </a:lnTo>
                  <a:lnTo>
                    <a:pt x="69" y="49"/>
                  </a:lnTo>
                  <a:lnTo>
                    <a:pt x="63" y="45"/>
                  </a:lnTo>
                  <a:lnTo>
                    <a:pt x="61" y="43"/>
                  </a:lnTo>
                  <a:lnTo>
                    <a:pt x="60" y="40"/>
                  </a:lnTo>
                  <a:lnTo>
                    <a:pt x="59" y="38"/>
                  </a:lnTo>
                  <a:lnTo>
                    <a:pt x="58" y="35"/>
                  </a:lnTo>
                  <a:lnTo>
                    <a:pt x="56" y="31"/>
                  </a:lnTo>
                  <a:lnTo>
                    <a:pt x="54" y="30"/>
                  </a:lnTo>
                  <a:lnTo>
                    <a:pt x="53" y="29"/>
                  </a:lnTo>
                  <a:lnTo>
                    <a:pt x="51" y="30"/>
                  </a:lnTo>
                  <a:lnTo>
                    <a:pt x="47" y="33"/>
                  </a:lnTo>
                  <a:lnTo>
                    <a:pt x="37" y="43"/>
                  </a:lnTo>
                  <a:lnTo>
                    <a:pt x="33" y="46"/>
                  </a:lnTo>
                  <a:lnTo>
                    <a:pt x="30" y="45"/>
                  </a:lnTo>
                  <a:lnTo>
                    <a:pt x="30" y="42"/>
                  </a:lnTo>
                  <a:lnTo>
                    <a:pt x="31" y="38"/>
                  </a:lnTo>
                  <a:lnTo>
                    <a:pt x="37" y="28"/>
                  </a:lnTo>
                  <a:lnTo>
                    <a:pt x="39" y="23"/>
                  </a:lnTo>
                  <a:lnTo>
                    <a:pt x="40" y="20"/>
                  </a:lnTo>
                  <a:lnTo>
                    <a:pt x="37" y="18"/>
                  </a:lnTo>
                  <a:lnTo>
                    <a:pt x="30" y="17"/>
                  </a:lnTo>
                  <a:lnTo>
                    <a:pt x="24" y="18"/>
                  </a:lnTo>
                  <a:lnTo>
                    <a:pt x="20" y="18"/>
                  </a:lnTo>
                  <a:lnTo>
                    <a:pt x="18" y="17"/>
                  </a:lnTo>
                  <a:lnTo>
                    <a:pt x="19" y="14"/>
                  </a:lnTo>
                  <a:lnTo>
                    <a:pt x="26" y="10"/>
                  </a:lnTo>
                  <a:lnTo>
                    <a:pt x="35" y="7"/>
                  </a:lnTo>
                  <a:lnTo>
                    <a:pt x="45" y="5"/>
                  </a:lnTo>
                  <a:lnTo>
                    <a:pt x="53" y="2"/>
                  </a:lnTo>
                  <a:lnTo>
                    <a:pt x="60" y="0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5">
              <a:extLst>
                <a:ext uri="{FF2B5EF4-FFF2-40B4-BE49-F238E27FC236}">
                  <a16:creationId xmlns:a16="http://schemas.microsoft.com/office/drawing/2014/main" id="{A37F9FF2-5141-440D-96E8-4B2D9FF473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1263" y="1570038"/>
              <a:ext cx="120650" cy="90488"/>
            </a:xfrm>
            <a:custGeom>
              <a:avLst/>
              <a:gdLst/>
              <a:ahLst/>
              <a:cxnLst>
                <a:cxn ang="0">
                  <a:pos x="23" y="0"/>
                </a:cxn>
                <a:cxn ang="0">
                  <a:pos x="30" y="2"/>
                </a:cxn>
                <a:cxn ang="0">
                  <a:pos x="39" y="5"/>
                </a:cxn>
                <a:cxn ang="0">
                  <a:pos x="49" y="10"/>
                </a:cxn>
                <a:cxn ang="0">
                  <a:pos x="58" y="14"/>
                </a:cxn>
                <a:cxn ang="0">
                  <a:pos x="62" y="19"/>
                </a:cxn>
                <a:cxn ang="0">
                  <a:pos x="64" y="23"/>
                </a:cxn>
                <a:cxn ang="0">
                  <a:pos x="72" y="35"/>
                </a:cxn>
                <a:cxn ang="0">
                  <a:pos x="75" y="41"/>
                </a:cxn>
                <a:cxn ang="0">
                  <a:pos x="76" y="46"/>
                </a:cxn>
                <a:cxn ang="0">
                  <a:pos x="75" y="48"/>
                </a:cxn>
                <a:cxn ang="0">
                  <a:pos x="68" y="48"/>
                </a:cxn>
                <a:cxn ang="0">
                  <a:pos x="52" y="46"/>
                </a:cxn>
                <a:cxn ang="0">
                  <a:pos x="45" y="46"/>
                </a:cxn>
                <a:cxn ang="0">
                  <a:pos x="42" y="47"/>
                </a:cxn>
                <a:cxn ang="0">
                  <a:pos x="38" y="51"/>
                </a:cxn>
                <a:cxn ang="0">
                  <a:pos x="36" y="55"/>
                </a:cxn>
                <a:cxn ang="0">
                  <a:pos x="34" y="56"/>
                </a:cxn>
                <a:cxn ang="0">
                  <a:pos x="33" y="57"/>
                </a:cxn>
                <a:cxn ang="0">
                  <a:pos x="31" y="56"/>
                </a:cxn>
                <a:cxn ang="0">
                  <a:pos x="29" y="52"/>
                </a:cxn>
                <a:cxn ang="0">
                  <a:pos x="27" y="47"/>
                </a:cxn>
                <a:cxn ang="0">
                  <a:pos x="26" y="42"/>
                </a:cxn>
                <a:cxn ang="0">
                  <a:pos x="25" y="38"/>
                </a:cxn>
                <a:cxn ang="0">
                  <a:pos x="22" y="37"/>
                </a:cxn>
                <a:cxn ang="0">
                  <a:pos x="6" y="37"/>
                </a:cxn>
                <a:cxn ang="0">
                  <a:pos x="2" y="36"/>
                </a:cxn>
                <a:cxn ang="0">
                  <a:pos x="0" y="33"/>
                </a:cxn>
                <a:cxn ang="0">
                  <a:pos x="2" y="28"/>
                </a:cxn>
                <a:cxn ang="0">
                  <a:pos x="5" y="21"/>
                </a:cxn>
                <a:cxn ang="0">
                  <a:pos x="9" y="13"/>
                </a:cxn>
                <a:cxn ang="0">
                  <a:pos x="14" y="7"/>
                </a:cxn>
                <a:cxn ang="0">
                  <a:pos x="19" y="2"/>
                </a:cxn>
                <a:cxn ang="0">
                  <a:pos x="23" y="0"/>
                </a:cxn>
              </a:cxnLst>
              <a:rect l="0" t="0" r="r" b="b"/>
              <a:pathLst>
                <a:path w="76" h="57">
                  <a:moveTo>
                    <a:pt x="23" y="0"/>
                  </a:moveTo>
                  <a:lnTo>
                    <a:pt x="30" y="2"/>
                  </a:lnTo>
                  <a:lnTo>
                    <a:pt x="39" y="5"/>
                  </a:lnTo>
                  <a:lnTo>
                    <a:pt x="49" y="10"/>
                  </a:lnTo>
                  <a:lnTo>
                    <a:pt x="58" y="14"/>
                  </a:lnTo>
                  <a:lnTo>
                    <a:pt x="62" y="19"/>
                  </a:lnTo>
                  <a:lnTo>
                    <a:pt x="64" y="23"/>
                  </a:lnTo>
                  <a:lnTo>
                    <a:pt x="72" y="35"/>
                  </a:lnTo>
                  <a:lnTo>
                    <a:pt x="75" y="41"/>
                  </a:lnTo>
                  <a:lnTo>
                    <a:pt x="76" y="46"/>
                  </a:lnTo>
                  <a:lnTo>
                    <a:pt x="75" y="48"/>
                  </a:lnTo>
                  <a:lnTo>
                    <a:pt x="68" y="48"/>
                  </a:lnTo>
                  <a:lnTo>
                    <a:pt x="52" y="46"/>
                  </a:lnTo>
                  <a:lnTo>
                    <a:pt x="45" y="46"/>
                  </a:lnTo>
                  <a:lnTo>
                    <a:pt x="42" y="47"/>
                  </a:lnTo>
                  <a:lnTo>
                    <a:pt x="38" y="51"/>
                  </a:lnTo>
                  <a:lnTo>
                    <a:pt x="36" y="55"/>
                  </a:lnTo>
                  <a:lnTo>
                    <a:pt x="34" y="56"/>
                  </a:lnTo>
                  <a:lnTo>
                    <a:pt x="33" y="57"/>
                  </a:lnTo>
                  <a:lnTo>
                    <a:pt x="31" y="56"/>
                  </a:lnTo>
                  <a:lnTo>
                    <a:pt x="29" y="52"/>
                  </a:lnTo>
                  <a:lnTo>
                    <a:pt x="27" y="47"/>
                  </a:lnTo>
                  <a:lnTo>
                    <a:pt x="26" y="42"/>
                  </a:lnTo>
                  <a:lnTo>
                    <a:pt x="25" y="38"/>
                  </a:lnTo>
                  <a:lnTo>
                    <a:pt x="22" y="37"/>
                  </a:lnTo>
                  <a:lnTo>
                    <a:pt x="6" y="37"/>
                  </a:lnTo>
                  <a:lnTo>
                    <a:pt x="2" y="36"/>
                  </a:lnTo>
                  <a:lnTo>
                    <a:pt x="0" y="33"/>
                  </a:lnTo>
                  <a:lnTo>
                    <a:pt x="2" y="28"/>
                  </a:lnTo>
                  <a:lnTo>
                    <a:pt x="5" y="21"/>
                  </a:lnTo>
                  <a:lnTo>
                    <a:pt x="9" y="13"/>
                  </a:lnTo>
                  <a:lnTo>
                    <a:pt x="14" y="7"/>
                  </a:lnTo>
                  <a:lnTo>
                    <a:pt x="19" y="2"/>
                  </a:lnTo>
                  <a:lnTo>
                    <a:pt x="23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6">
              <a:extLst>
                <a:ext uri="{FF2B5EF4-FFF2-40B4-BE49-F238E27FC236}">
                  <a16:creationId xmlns:a16="http://schemas.microsoft.com/office/drawing/2014/main" id="{E5C696B0-83F2-4844-B249-1D9E63BF1680}"/>
                </a:ext>
              </a:extLst>
            </p:cNvPr>
            <p:cNvSpPr>
              <a:spLocks/>
            </p:cNvSpPr>
            <p:nvPr/>
          </p:nvSpPr>
          <p:spPr bwMode="auto">
            <a:xfrm>
              <a:off x="6440488" y="1893888"/>
              <a:ext cx="39688" cy="47625"/>
            </a:xfrm>
            <a:custGeom>
              <a:avLst/>
              <a:gdLst/>
              <a:ahLst/>
              <a:cxnLst>
                <a:cxn ang="0">
                  <a:pos x="21" y="0"/>
                </a:cxn>
                <a:cxn ang="0">
                  <a:pos x="24" y="0"/>
                </a:cxn>
                <a:cxn ang="0">
                  <a:pos x="25" y="3"/>
                </a:cxn>
                <a:cxn ang="0">
                  <a:pos x="25" y="11"/>
                </a:cxn>
                <a:cxn ang="0">
                  <a:pos x="24" y="20"/>
                </a:cxn>
                <a:cxn ang="0">
                  <a:pos x="22" y="27"/>
                </a:cxn>
                <a:cxn ang="0">
                  <a:pos x="20" y="30"/>
                </a:cxn>
                <a:cxn ang="0">
                  <a:pos x="12" y="29"/>
                </a:cxn>
                <a:cxn ang="0">
                  <a:pos x="7" y="28"/>
                </a:cxn>
                <a:cxn ang="0">
                  <a:pos x="3" y="25"/>
                </a:cxn>
                <a:cxn ang="0">
                  <a:pos x="1" y="21"/>
                </a:cxn>
                <a:cxn ang="0">
                  <a:pos x="1" y="19"/>
                </a:cxn>
                <a:cxn ang="0">
                  <a:pos x="0" y="16"/>
                </a:cxn>
                <a:cxn ang="0">
                  <a:pos x="0" y="14"/>
                </a:cxn>
                <a:cxn ang="0">
                  <a:pos x="6" y="8"/>
                </a:cxn>
                <a:cxn ang="0">
                  <a:pos x="16" y="2"/>
                </a:cxn>
                <a:cxn ang="0">
                  <a:pos x="21" y="0"/>
                </a:cxn>
              </a:cxnLst>
              <a:rect l="0" t="0" r="r" b="b"/>
              <a:pathLst>
                <a:path w="25" h="30">
                  <a:moveTo>
                    <a:pt x="21" y="0"/>
                  </a:moveTo>
                  <a:lnTo>
                    <a:pt x="24" y="0"/>
                  </a:lnTo>
                  <a:lnTo>
                    <a:pt x="25" y="3"/>
                  </a:lnTo>
                  <a:lnTo>
                    <a:pt x="25" y="11"/>
                  </a:lnTo>
                  <a:lnTo>
                    <a:pt x="24" y="20"/>
                  </a:lnTo>
                  <a:lnTo>
                    <a:pt x="22" y="27"/>
                  </a:lnTo>
                  <a:lnTo>
                    <a:pt x="20" y="30"/>
                  </a:lnTo>
                  <a:lnTo>
                    <a:pt x="12" y="29"/>
                  </a:lnTo>
                  <a:lnTo>
                    <a:pt x="7" y="28"/>
                  </a:lnTo>
                  <a:lnTo>
                    <a:pt x="3" y="25"/>
                  </a:lnTo>
                  <a:lnTo>
                    <a:pt x="1" y="21"/>
                  </a:lnTo>
                  <a:lnTo>
                    <a:pt x="1" y="19"/>
                  </a:lnTo>
                  <a:lnTo>
                    <a:pt x="0" y="16"/>
                  </a:lnTo>
                  <a:lnTo>
                    <a:pt x="0" y="14"/>
                  </a:lnTo>
                  <a:lnTo>
                    <a:pt x="6" y="8"/>
                  </a:lnTo>
                  <a:lnTo>
                    <a:pt x="16" y="2"/>
                  </a:lnTo>
                  <a:lnTo>
                    <a:pt x="21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7">
              <a:extLst>
                <a:ext uri="{FF2B5EF4-FFF2-40B4-BE49-F238E27FC236}">
                  <a16:creationId xmlns:a16="http://schemas.microsoft.com/office/drawing/2014/main" id="{57068CB5-F613-4513-85DC-76E98C7E9552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5826" y="2120901"/>
              <a:ext cx="14288" cy="1905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6" y="0"/>
                </a:cxn>
                <a:cxn ang="0">
                  <a:pos x="7" y="1"/>
                </a:cxn>
                <a:cxn ang="0">
                  <a:pos x="9" y="5"/>
                </a:cxn>
                <a:cxn ang="0">
                  <a:pos x="9" y="9"/>
                </a:cxn>
                <a:cxn ang="0">
                  <a:pos x="8" y="11"/>
                </a:cxn>
                <a:cxn ang="0">
                  <a:pos x="7" y="12"/>
                </a:cxn>
                <a:cxn ang="0">
                  <a:pos x="6" y="12"/>
                </a:cxn>
                <a:cxn ang="0">
                  <a:pos x="3" y="11"/>
                </a:cxn>
                <a:cxn ang="0">
                  <a:pos x="0" y="5"/>
                </a:cxn>
                <a:cxn ang="0">
                  <a:pos x="1" y="2"/>
                </a:cxn>
                <a:cxn ang="0">
                  <a:pos x="2" y="1"/>
                </a:cxn>
                <a:cxn ang="0">
                  <a:pos x="4" y="0"/>
                </a:cxn>
              </a:cxnLst>
              <a:rect l="0" t="0" r="r" b="b"/>
              <a:pathLst>
                <a:path w="9" h="12">
                  <a:moveTo>
                    <a:pt x="4" y="0"/>
                  </a:moveTo>
                  <a:lnTo>
                    <a:pt x="6" y="0"/>
                  </a:lnTo>
                  <a:lnTo>
                    <a:pt x="7" y="1"/>
                  </a:lnTo>
                  <a:lnTo>
                    <a:pt x="9" y="5"/>
                  </a:lnTo>
                  <a:lnTo>
                    <a:pt x="9" y="9"/>
                  </a:lnTo>
                  <a:lnTo>
                    <a:pt x="8" y="11"/>
                  </a:lnTo>
                  <a:lnTo>
                    <a:pt x="7" y="12"/>
                  </a:lnTo>
                  <a:lnTo>
                    <a:pt x="6" y="12"/>
                  </a:lnTo>
                  <a:lnTo>
                    <a:pt x="3" y="11"/>
                  </a:lnTo>
                  <a:lnTo>
                    <a:pt x="0" y="5"/>
                  </a:lnTo>
                  <a:lnTo>
                    <a:pt x="1" y="2"/>
                  </a:lnTo>
                  <a:lnTo>
                    <a:pt x="2" y="1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8">
              <a:extLst>
                <a:ext uri="{FF2B5EF4-FFF2-40B4-BE49-F238E27FC236}">
                  <a16:creationId xmlns:a16="http://schemas.microsoft.com/office/drawing/2014/main" id="{73A7CF8C-C139-4F63-BC8E-6FF777C0F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4876" y="2103438"/>
              <a:ext cx="60325" cy="9525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28" y="0"/>
                </a:cxn>
                <a:cxn ang="0">
                  <a:pos x="34" y="1"/>
                </a:cxn>
                <a:cxn ang="0">
                  <a:pos x="38" y="2"/>
                </a:cxn>
                <a:cxn ang="0">
                  <a:pos x="37" y="3"/>
                </a:cxn>
                <a:cxn ang="0">
                  <a:pos x="32" y="4"/>
                </a:cxn>
                <a:cxn ang="0">
                  <a:pos x="25" y="5"/>
                </a:cxn>
                <a:cxn ang="0">
                  <a:pos x="17" y="6"/>
                </a:cxn>
                <a:cxn ang="0">
                  <a:pos x="2" y="6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4" y="1"/>
                </a:cxn>
                <a:cxn ang="0">
                  <a:pos x="11" y="0"/>
                </a:cxn>
              </a:cxnLst>
              <a:rect l="0" t="0" r="r" b="b"/>
              <a:pathLst>
                <a:path w="38" h="6">
                  <a:moveTo>
                    <a:pt x="11" y="0"/>
                  </a:moveTo>
                  <a:lnTo>
                    <a:pt x="28" y="0"/>
                  </a:lnTo>
                  <a:lnTo>
                    <a:pt x="34" y="1"/>
                  </a:lnTo>
                  <a:lnTo>
                    <a:pt x="38" y="2"/>
                  </a:lnTo>
                  <a:lnTo>
                    <a:pt x="37" y="3"/>
                  </a:lnTo>
                  <a:lnTo>
                    <a:pt x="32" y="4"/>
                  </a:lnTo>
                  <a:lnTo>
                    <a:pt x="25" y="5"/>
                  </a:lnTo>
                  <a:lnTo>
                    <a:pt x="17" y="6"/>
                  </a:lnTo>
                  <a:lnTo>
                    <a:pt x="2" y="6"/>
                  </a:lnTo>
                  <a:lnTo>
                    <a:pt x="0" y="4"/>
                  </a:lnTo>
                  <a:lnTo>
                    <a:pt x="0" y="2"/>
                  </a:lnTo>
                  <a:lnTo>
                    <a:pt x="4" y="1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9">
              <a:extLst>
                <a:ext uri="{FF2B5EF4-FFF2-40B4-BE49-F238E27FC236}">
                  <a16:creationId xmlns:a16="http://schemas.microsoft.com/office/drawing/2014/main" id="{99822745-6F14-471D-89A2-7320B04353F3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6951" y="2078038"/>
              <a:ext cx="68263" cy="17463"/>
            </a:xfrm>
            <a:custGeom>
              <a:avLst/>
              <a:gdLst/>
              <a:ahLst/>
              <a:cxnLst>
                <a:cxn ang="0">
                  <a:pos x="32" y="0"/>
                </a:cxn>
                <a:cxn ang="0">
                  <a:pos x="39" y="0"/>
                </a:cxn>
                <a:cxn ang="0">
                  <a:pos x="43" y="1"/>
                </a:cxn>
                <a:cxn ang="0">
                  <a:pos x="42" y="3"/>
                </a:cxn>
                <a:cxn ang="0">
                  <a:pos x="37" y="6"/>
                </a:cxn>
                <a:cxn ang="0">
                  <a:pos x="30" y="9"/>
                </a:cxn>
                <a:cxn ang="0">
                  <a:pos x="21" y="11"/>
                </a:cxn>
                <a:cxn ang="0">
                  <a:pos x="5" y="11"/>
                </a:cxn>
                <a:cxn ang="0">
                  <a:pos x="0" y="8"/>
                </a:cxn>
                <a:cxn ang="0">
                  <a:pos x="1" y="6"/>
                </a:cxn>
                <a:cxn ang="0">
                  <a:pos x="6" y="5"/>
                </a:cxn>
                <a:cxn ang="0">
                  <a:pos x="14" y="3"/>
                </a:cxn>
                <a:cxn ang="0">
                  <a:pos x="24" y="1"/>
                </a:cxn>
                <a:cxn ang="0">
                  <a:pos x="32" y="0"/>
                </a:cxn>
              </a:cxnLst>
              <a:rect l="0" t="0" r="r" b="b"/>
              <a:pathLst>
                <a:path w="43" h="11">
                  <a:moveTo>
                    <a:pt x="32" y="0"/>
                  </a:moveTo>
                  <a:lnTo>
                    <a:pt x="39" y="0"/>
                  </a:lnTo>
                  <a:lnTo>
                    <a:pt x="43" y="1"/>
                  </a:lnTo>
                  <a:lnTo>
                    <a:pt x="42" y="3"/>
                  </a:lnTo>
                  <a:lnTo>
                    <a:pt x="37" y="6"/>
                  </a:lnTo>
                  <a:lnTo>
                    <a:pt x="30" y="9"/>
                  </a:lnTo>
                  <a:lnTo>
                    <a:pt x="21" y="11"/>
                  </a:lnTo>
                  <a:lnTo>
                    <a:pt x="5" y="11"/>
                  </a:lnTo>
                  <a:lnTo>
                    <a:pt x="0" y="8"/>
                  </a:lnTo>
                  <a:lnTo>
                    <a:pt x="1" y="6"/>
                  </a:lnTo>
                  <a:lnTo>
                    <a:pt x="6" y="5"/>
                  </a:lnTo>
                  <a:lnTo>
                    <a:pt x="14" y="3"/>
                  </a:lnTo>
                  <a:lnTo>
                    <a:pt x="24" y="1"/>
                  </a:lnTo>
                  <a:lnTo>
                    <a:pt x="32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30">
              <a:extLst>
                <a:ext uri="{FF2B5EF4-FFF2-40B4-BE49-F238E27FC236}">
                  <a16:creationId xmlns:a16="http://schemas.microsoft.com/office/drawing/2014/main" id="{9AE73445-B2DE-43F0-8C97-CA661DD815D8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2363" y="2058988"/>
              <a:ext cx="46038" cy="22225"/>
            </a:xfrm>
            <a:custGeom>
              <a:avLst/>
              <a:gdLst/>
              <a:ahLst/>
              <a:cxnLst>
                <a:cxn ang="0">
                  <a:pos x="15" y="0"/>
                </a:cxn>
                <a:cxn ang="0">
                  <a:pos x="23" y="1"/>
                </a:cxn>
                <a:cxn ang="0">
                  <a:pos x="29" y="4"/>
                </a:cxn>
                <a:cxn ang="0">
                  <a:pos x="29" y="5"/>
                </a:cxn>
                <a:cxn ang="0">
                  <a:pos x="27" y="7"/>
                </a:cxn>
                <a:cxn ang="0">
                  <a:pos x="24" y="7"/>
                </a:cxn>
                <a:cxn ang="0">
                  <a:pos x="22" y="8"/>
                </a:cxn>
                <a:cxn ang="0">
                  <a:pos x="15" y="8"/>
                </a:cxn>
                <a:cxn ang="0">
                  <a:pos x="13" y="9"/>
                </a:cxn>
                <a:cxn ang="0">
                  <a:pos x="8" y="14"/>
                </a:cxn>
                <a:cxn ang="0">
                  <a:pos x="6" y="14"/>
                </a:cxn>
                <a:cxn ang="0">
                  <a:pos x="3" y="13"/>
                </a:cxn>
                <a:cxn ang="0">
                  <a:pos x="0" y="11"/>
                </a:cxn>
                <a:cxn ang="0">
                  <a:pos x="0" y="7"/>
                </a:cxn>
                <a:cxn ang="0">
                  <a:pos x="2" y="5"/>
                </a:cxn>
                <a:cxn ang="0">
                  <a:pos x="6" y="3"/>
                </a:cxn>
                <a:cxn ang="0">
                  <a:pos x="15" y="0"/>
                </a:cxn>
              </a:cxnLst>
              <a:rect l="0" t="0" r="r" b="b"/>
              <a:pathLst>
                <a:path w="29" h="14">
                  <a:moveTo>
                    <a:pt x="15" y="0"/>
                  </a:moveTo>
                  <a:lnTo>
                    <a:pt x="23" y="1"/>
                  </a:lnTo>
                  <a:lnTo>
                    <a:pt x="29" y="4"/>
                  </a:lnTo>
                  <a:lnTo>
                    <a:pt x="29" y="5"/>
                  </a:lnTo>
                  <a:lnTo>
                    <a:pt x="27" y="7"/>
                  </a:lnTo>
                  <a:lnTo>
                    <a:pt x="24" y="7"/>
                  </a:lnTo>
                  <a:lnTo>
                    <a:pt x="22" y="8"/>
                  </a:lnTo>
                  <a:lnTo>
                    <a:pt x="15" y="8"/>
                  </a:lnTo>
                  <a:lnTo>
                    <a:pt x="13" y="9"/>
                  </a:lnTo>
                  <a:lnTo>
                    <a:pt x="8" y="14"/>
                  </a:lnTo>
                  <a:lnTo>
                    <a:pt x="6" y="14"/>
                  </a:lnTo>
                  <a:lnTo>
                    <a:pt x="3" y="13"/>
                  </a:lnTo>
                  <a:lnTo>
                    <a:pt x="0" y="11"/>
                  </a:lnTo>
                  <a:lnTo>
                    <a:pt x="0" y="7"/>
                  </a:lnTo>
                  <a:lnTo>
                    <a:pt x="2" y="5"/>
                  </a:lnTo>
                  <a:lnTo>
                    <a:pt x="6" y="3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1">
              <a:extLst>
                <a:ext uri="{FF2B5EF4-FFF2-40B4-BE49-F238E27FC236}">
                  <a16:creationId xmlns:a16="http://schemas.microsoft.com/office/drawing/2014/main" id="{B1D27940-C7A3-46BE-9BE8-6B90BEA66AD6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4913" y="2051051"/>
              <a:ext cx="38100" cy="15875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7" y="0"/>
                </a:cxn>
                <a:cxn ang="0">
                  <a:pos x="22" y="1"/>
                </a:cxn>
                <a:cxn ang="0">
                  <a:pos x="24" y="3"/>
                </a:cxn>
                <a:cxn ang="0">
                  <a:pos x="22" y="6"/>
                </a:cxn>
                <a:cxn ang="0">
                  <a:pos x="16" y="9"/>
                </a:cxn>
                <a:cxn ang="0">
                  <a:pos x="9" y="10"/>
                </a:cxn>
                <a:cxn ang="0">
                  <a:pos x="3" y="9"/>
                </a:cxn>
                <a:cxn ang="0">
                  <a:pos x="0" y="7"/>
                </a:cxn>
                <a:cxn ang="0">
                  <a:pos x="1" y="4"/>
                </a:cxn>
                <a:cxn ang="0">
                  <a:pos x="5" y="2"/>
                </a:cxn>
                <a:cxn ang="0">
                  <a:pos x="11" y="0"/>
                </a:cxn>
              </a:cxnLst>
              <a:rect l="0" t="0" r="r" b="b"/>
              <a:pathLst>
                <a:path w="24" h="10">
                  <a:moveTo>
                    <a:pt x="11" y="0"/>
                  </a:moveTo>
                  <a:lnTo>
                    <a:pt x="17" y="0"/>
                  </a:lnTo>
                  <a:lnTo>
                    <a:pt x="22" y="1"/>
                  </a:lnTo>
                  <a:lnTo>
                    <a:pt x="24" y="3"/>
                  </a:lnTo>
                  <a:lnTo>
                    <a:pt x="22" y="6"/>
                  </a:lnTo>
                  <a:lnTo>
                    <a:pt x="16" y="9"/>
                  </a:lnTo>
                  <a:lnTo>
                    <a:pt x="9" y="10"/>
                  </a:lnTo>
                  <a:lnTo>
                    <a:pt x="3" y="9"/>
                  </a:lnTo>
                  <a:lnTo>
                    <a:pt x="0" y="7"/>
                  </a:lnTo>
                  <a:lnTo>
                    <a:pt x="1" y="4"/>
                  </a:lnTo>
                  <a:lnTo>
                    <a:pt x="5" y="2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2">
              <a:extLst>
                <a:ext uri="{FF2B5EF4-FFF2-40B4-BE49-F238E27FC236}">
                  <a16:creationId xmlns:a16="http://schemas.microsoft.com/office/drawing/2014/main" id="{E5A97DA7-E48A-4D87-A2D5-D526448D9E8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4776" y="2085976"/>
              <a:ext cx="19050" cy="17463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9" y="0"/>
                </a:cxn>
                <a:cxn ang="0">
                  <a:pos x="11" y="1"/>
                </a:cxn>
                <a:cxn ang="0">
                  <a:pos x="12" y="3"/>
                </a:cxn>
                <a:cxn ang="0">
                  <a:pos x="12" y="7"/>
                </a:cxn>
                <a:cxn ang="0">
                  <a:pos x="10" y="9"/>
                </a:cxn>
                <a:cxn ang="0">
                  <a:pos x="9" y="11"/>
                </a:cxn>
                <a:cxn ang="0">
                  <a:pos x="6" y="11"/>
                </a:cxn>
                <a:cxn ang="0">
                  <a:pos x="1" y="11"/>
                </a:cxn>
                <a:cxn ang="0">
                  <a:pos x="0" y="11"/>
                </a:cxn>
                <a:cxn ang="0">
                  <a:pos x="0" y="7"/>
                </a:cxn>
                <a:cxn ang="0">
                  <a:pos x="1" y="4"/>
                </a:cxn>
                <a:cxn ang="0">
                  <a:pos x="2" y="2"/>
                </a:cxn>
                <a:cxn ang="0">
                  <a:pos x="4" y="0"/>
                </a:cxn>
              </a:cxnLst>
              <a:rect l="0" t="0" r="r" b="b"/>
              <a:pathLst>
                <a:path w="12" h="11">
                  <a:moveTo>
                    <a:pt x="4" y="0"/>
                  </a:moveTo>
                  <a:lnTo>
                    <a:pt x="9" y="0"/>
                  </a:lnTo>
                  <a:lnTo>
                    <a:pt x="11" y="1"/>
                  </a:lnTo>
                  <a:lnTo>
                    <a:pt x="12" y="3"/>
                  </a:lnTo>
                  <a:lnTo>
                    <a:pt x="12" y="7"/>
                  </a:lnTo>
                  <a:lnTo>
                    <a:pt x="10" y="9"/>
                  </a:lnTo>
                  <a:lnTo>
                    <a:pt x="9" y="11"/>
                  </a:lnTo>
                  <a:lnTo>
                    <a:pt x="6" y="11"/>
                  </a:lnTo>
                  <a:lnTo>
                    <a:pt x="1" y="11"/>
                  </a:lnTo>
                  <a:lnTo>
                    <a:pt x="0" y="11"/>
                  </a:lnTo>
                  <a:lnTo>
                    <a:pt x="0" y="7"/>
                  </a:lnTo>
                  <a:lnTo>
                    <a:pt x="1" y="4"/>
                  </a:lnTo>
                  <a:lnTo>
                    <a:pt x="2" y="2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33">
              <a:extLst>
                <a:ext uri="{FF2B5EF4-FFF2-40B4-BE49-F238E27FC236}">
                  <a16:creationId xmlns:a16="http://schemas.microsoft.com/office/drawing/2014/main" id="{DA52461F-70B7-46F1-8008-FC588A3E1940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1113" y="2044701"/>
              <a:ext cx="25400" cy="158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" y="0"/>
                </a:cxn>
                <a:cxn ang="0">
                  <a:pos x="8" y="1"/>
                </a:cxn>
                <a:cxn ang="0">
                  <a:pos x="13" y="4"/>
                </a:cxn>
                <a:cxn ang="0">
                  <a:pos x="16" y="7"/>
                </a:cxn>
                <a:cxn ang="0">
                  <a:pos x="16" y="9"/>
                </a:cxn>
                <a:cxn ang="0">
                  <a:pos x="12" y="10"/>
                </a:cxn>
                <a:cxn ang="0">
                  <a:pos x="7" y="9"/>
                </a:cxn>
                <a:cxn ang="0">
                  <a:pos x="3" y="6"/>
                </a:cxn>
                <a:cxn ang="0">
                  <a:pos x="0" y="3"/>
                </a:cxn>
                <a:cxn ang="0">
                  <a:pos x="0" y="0"/>
                </a:cxn>
              </a:cxnLst>
              <a:rect l="0" t="0" r="r" b="b"/>
              <a:pathLst>
                <a:path w="16" h="10">
                  <a:moveTo>
                    <a:pt x="0" y="0"/>
                  </a:moveTo>
                  <a:lnTo>
                    <a:pt x="3" y="0"/>
                  </a:lnTo>
                  <a:lnTo>
                    <a:pt x="8" y="1"/>
                  </a:lnTo>
                  <a:lnTo>
                    <a:pt x="13" y="4"/>
                  </a:lnTo>
                  <a:lnTo>
                    <a:pt x="16" y="7"/>
                  </a:lnTo>
                  <a:lnTo>
                    <a:pt x="16" y="9"/>
                  </a:lnTo>
                  <a:lnTo>
                    <a:pt x="12" y="10"/>
                  </a:lnTo>
                  <a:lnTo>
                    <a:pt x="7" y="9"/>
                  </a:lnTo>
                  <a:lnTo>
                    <a:pt x="3" y="6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34">
              <a:extLst>
                <a:ext uri="{FF2B5EF4-FFF2-40B4-BE49-F238E27FC236}">
                  <a16:creationId xmlns:a16="http://schemas.microsoft.com/office/drawing/2014/main" id="{59602C33-98D3-4EE8-BBB4-4282B1E3EB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7488" y="1933576"/>
              <a:ext cx="15875" cy="25400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9" y="1"/>
                </a:cxn>
                <a:cxn ang="0">
                  <a:pos x="10" y="5"/>
                </a:cxn>
                <a:cxn ang="0">
                  <a:pos x="9" y="10"/>
                </a:cxn>
                <a:cxn ang="0">
                  <a:pos x="8" y="14"/>
                </a:cxn>
                <a:cxn ang="0">
                  <a:pos x="6" y="16"/>
                </a:cxn>
                <a:cxn ang="0">
                  <a:pos x="1" y="15"/>
                </a:cxn>
                <a:cxn ang="0">
                  <a:pos x="0" y="11"/>
                </a:cxn>
                <a:cxn ang="0">
                  <a:pos x="0" y="6"/>
                </a:cxn>
                <a:cxn ang="0">
                  <a:pos x="3" y="2"/>
                </a:cxn>
                <a:cxn ang="0">
                  <a:pos x="7" y="0"/>
                </a:cxn>
              </a:cxnLst>
              <a:rect l="0" t="0" r="r" b="b"/>
              <a:pathLst>
                <a:path w="10" h="16">
                  <a:moveTo>
                    <a:pt x="7" y="0"/>
                  </a:moveTo>
                  <a:lnTo>
                    <a:pt x="9" y="1"/>
                  </a:lnTo>
                  <a:lnTo>
                    <a:pt x="10" y="5"/>
                  </a:lnTo>
                  <a:lnTo>
                    <a:pt x="9" y="10"/>
                  </a:lnTo>
                  <a:lnTo>
                    <a:pt x="8" y="14"/>
                  </a:lnTo>
                  <a:lnTo>
                    <a:pt x="6" y="16"/>
                  </a:lnTo>
                  <a:lnTo>
                    <a:pt x="1" y="15"/>
                  </a:lnTo>
                  <a:lnTo>
                    <a:pt x="0" y="11"/>
                  </a:lnTo>
                  <a:lnTo>
                    <a:pt x="0" y="6"/>
                  </a:lnTo>
                  <a:lnTo>
                    <a:pt x="3" y="2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35">
              <a:extLst>
                <a:ext uri="{FF2B5EF4-FFF2-40B4-BE49-F238E27FC236}">
                  <a16:creationId xmlns:a16="http://schemas.microsoft.com/office/drawing/2014/main" id="{69D56381-5350-450F-B0C2-9825D4BE014A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0676" y="1870076"/>
              <a:ext cx="11113" cy="15875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4" y="0"/>
                </a:cxn>
                <a:cxn ang="0">
                  <a:pos x="6" y="1"/>
                </a:cxn>
                <a:cxn ang="0">
                  <a:pos x="7" y="3"/>
                </a:cxn>
                <a:cxn ang="0">
                  <a:pos x="7" y="7"/>
                </a:cxn>
                <a:cxn ang="0">
                  <a:pos x="4" y="10"/>
                </a:cxn>
                <a:cxn ang="0">
                  <a:pos x="3" y="10"/>
                </a:cxn>
                <a:cxn ang="0">
                  <a:pos x="2" y="9"/>
                </a:cxn>
                <a:cxn ang="0">
                  <a:pos x="0" y="5"/>
                </a:cxn>
                <a:cxn ang="0">
                  <a:pos x="0" y="3"/>
                </a:cxn>
                <a:cxn ang="0">
                  <a:pos x="1" y="1"/>
                </a:cxn>
                <a:cxn ang="0">
                  <a:pos x="2" y="0"/>
                </a:cxn>
              </a:cxnLst>
              <a:rect l="0" t="0" r="r" b="b"/>
              <a:pathLst>
                <a:path w="7" h="10">
                  <a:moveTo>
                    <a:pt x="2" y="0"/>
                  </a:moveTo>
                  <a:lnTo>
                    <a:pt x="4" y="0"/>
                  </a:lnTo>
                  <a:lnTo>
                    <a:pt x="6" y="1"/>
                  </a:lnTo>
                  <a:lnTo>
                    <a:pt x="7" y="3"/>
                  </a:lnTo>
                  <a:lnTo>
                    <a:pt x="7" y="7"/>
                  </a:lnTo>
                  <a:lnTo>
                    <a:pt x="4" y="10"/>
                  </a:lnTo>
                  <a:lnTo>
                    <a:pt x="3" y="10"/>
                  </a:lnTo>
                  <a:lnTo>
                    <a:pt x="2" y="9"/>
                  </a:lnTo>
                  <a:lnTo>
                    <a:pt x="0" y="5"/>
                  </a:lnTo>
                  <a:lnTo>
                    <a:pt x="0" y="3"/>
                  </a:lnTo>
                  <a:lnTo>
                    <a:pt x="1" y="1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36">
              <a:extLst>
                <a:ext uri="{FF2B5EF4-FFF2-40B4-BE49-F238E27FC236}">
                  <a16:creationId xmlns:a16="http://schemas.microsoft.com/office/drawing/2014/main" id="{E89D07DD-0C3F-4298-A6FF-5935A3E54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6238" y="1571626"/>
              <a:ext cx="52388" cy="44450"/>
            </a:xfrm>
            <a:custGeom>
              <a:avLst/>
              <a:gdLst/>
              <a:ahLst/>
              <a:cxnLst>
                <a:cxn ang="0">
                  <a:pos x="25" y="0"/>
                </a:cxn>
                <a:cxn ang="0">
                  <a:pos x="31" y="1"/>
                </a:cxn>
                <a:cxn ang="0">
                  <a:pos x="33" y="3"/>
                </a:cxn>
                <a:cxn ang="0">
                  <a:pos x="32" y="9"/>
                </a:cxn>
                <a:cxn ang="0">
                  <a:pos x="26" y="23"/>
                </a:cxn>
                <a:cxn ang="0">
                  <a:pos x="23" y="27"/>
                </a:cxn>
                <a:cxn ang="0">
                  <a:pos x="17" y="28"/>
                </a:cxn>
                <a:cxn ang="0">
                  <a:pos x="7" y="28"/>
                </a:cxn>
                <a:cxn ang="0">
                  <a:pos x="4" y="24"/>
                </a:cxn>
                <a:cxn ang="0">
                  <a:pos x="2" y="19"/>
                </a:cxn>
                <a:cxn ang="0">
                  <a:pos x="0" y="15"/>
                </a:cxn>
                <a:cxn ang="0">
                  <a:pos x="1" y="10"/>
                </a:cxn>
                <a:cxn ang="0">
                  <a:pos x="5" y="6"/>
                </a:cxn>
                <a:cxn ang="0">
                  <a:pos x="11" y="3"/>
                </a:cxn>
                <a:cxn ang="0">
                  <a:pos x="18" y="1"/>
                </a:cxn>
                <a:cxn ang="0">
                  <a:pos x="25" y="0"/>
                </a:cxn>
              </a:cxnLst>
              <a:rect l="0" t="0" r="r" b="b"/>
              <a:pathLst>
                <a:path w="33" h="28">
                  <a:moveTo>
                    <a:pt x="25" y="0"/>
                  </a:moveTo>
                  <a:lnTo>
                    <a:pt x="31" y="1"/>
                  </a:lnTo>
                  <a:lnTo>
                    <a:pt x="33" y="3"/>
                  </a:lnTo>
                  <a:lnTo>
                    <a:pt x="32" y="9"/>
                  </a:lnTo>
                  <a:lnTo>
                    <a:pt x="26" y="23"/>
                  </a:lnTo>
                  <a:lnTo>
                    <a:pt x="23" y="27"/>
                  </a:lnTo>
                  <a:lnTo>
                    <a:pt x="17" y="28"/>
                  </a:lnTo>
                  <a:lnTo>
                    <a:pt x="7" y="28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5"/>
                  </a:lnTo>
                  <a:lnTo>
                    <a:pt x="1" y="10"/>
                  </a:lnTo>
                  <a:lnTo>
                    <a:pt x="5" y="6"/>
                  </a:lnTo>
                  <a:lnTo>
                    <a:pt x="11" y="3"/>
                  </a:lnTo>
                  <a:lnTo>
                    <a:pt x="18" y="1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37">
              <a:extLst>
                <a:ext uri="{FF2B5EF4-FFF2-40B4-BE49-F238E27FC236}">
                  <a16:creationId xmlns:a16="http://schemas.microsoft.com/office/drawing/2014/main" id="{6E4A5EFF-4D18-4F66-AB18-9D7DB6AA2EC7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3838" y="1420813"/>
              <a:ext cx="69850" cy="44450"/>
            </a:xfrm>
            <a:custGeom>
              <a:avLst/>
              <a:gdLst/>
              <a:ahLst/>
              <a:cxnLst>
                <a:cxn ang="0">
                  <a:pos x="29" y="0"/>
                </a:cxn>
                <a:cxn ang="0">
                  <a:pos x="41" y="0"/>
                </a:cxn>
                <a:cxn ang="0">
                  <a:pos x="43" y="2"/>
                </a:cxn>
                <a:cxn ang="0">
                  <a:pos x="44" y="8"/>
                </a:cxn>
                <a:cxn ang="0">
                  <a:pos x="43" y="14"/>
                </a:cxn>
                <a:cxn ang="0">
                  <a:pos x="41" y="20"/>
                </a:cxn>
                <a:cxn ang="0">
                  <a:pos x="39" y="26"/>
                </a:cxn>
                <a:cxn ang="0">
                  <a:pos x="36" y="28"/>
                </a:cxn>
                <a:cxn ang="0">
                  <a:pos x="31" y="27"/>
                </a:cxn>
                <a:cxn ang="0">
                  <a:pos x="23" y="26"/>
                </a:cxn>
                <a:cxn ang="0">
                  <a:pos x="14" y="23"/>
                </a:cxn>
                <a:cxn ang="0">
                  <a:pos x="6" y="20"/>
                </a:cxn>
                <a:cxn ang="0">
                  <a:pos x="2" y="18"/>
                </a:cxn>
                <a:cxn ang="0">
                  <a:pos x="0" y="14"/>
                </a:cxn>
                <a:cxn ang="0">
                  <a:pos x="3" y="9"/>
                </a:cxn>
                <a:cxn ang="0">
                  <a:pos x="6" y="4"/>
                </a:cxn>
                <a:cxn ang="0">
                  <a:pos x="11" y="1"/>
                </a:cxn>
                <a:cxn ang="0">
                  <a:pos x="22" y="1"/>
                </a:cxn>
                <a:cxn ang="0">
                  <a:pos x="29" y="0"/>
                </a:cxn>
              </a:cxnLst>
              <a:rect l="0" t="0" r="r" b="b"/>
              <a:pathLst>
                <a:path w="44" h="28">
                  <a:moveTo>
                    <a:pt x="29" y="0"/>
                  </a:moveTo>
                  <a:lnTo>
                    <a:pt x="41" y="0"/>
                  </a:lnTo>
                  <a:lnTo>
                    <a:pt x="43" y="2"/>
                  </a:lnTo>
                  <a:lnTo>
                    <a:pt x="44" y="8"/>
                  </a:lnTo>
                  <a:lnTo>
                    <a:pt x="43" y="14"/>
                  </a:lnTo>
                  <a:lnTo>
                    <a:pt x="41" y="20"/>
                  </a:lnTo>
                  <a:lnTo>
                    <a:pt x="39" y="26"/>
                  </a:lnTo>
                  <a:lnTo>
                    <a:pt x="36" y="28"/>
                  </a:lnTo>
                  <a:lnTo>
                    <a:pt x="31" y="27"/>
                  </a:lnTo>
                  <a:lnTo>
                    <a:pt x="23" y="26"/>
                  </a:lnTo>
                  <a:lnTo>
                    <a:pt x="14" y="23"/>
                  </a:lnTo>
                  <a:lnTo>
                    <a:pt x="6" y="20"/>
                  </a:lnTo>
                  <a:lnTo>
                    <a:pt x="2" y="18"/>
                  </a:lnTo>
                  <a:lnTo>
                    <a:pt x="0" y="14"/>
                  </a:lnTo>
                  <a:lnTo>
                    <a:pt x="3" y="9"/>
                  </a:lnTo>
                  <a:lnTo>
                    <a:pt x="6" y="4"/>
                  </a:lnTo>
                  <a:lnTo>
                    <a:pt x="11" y="1"/>
                  </a:lnTo>
                  <a:lnTo>
                    <a:pt x="22" y="1"/>
                  </a:lnTo>
                  <a:lnTo>
                    <a:pt x="29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38">
              <a:extLst>
                <a:ext uri="{FF2B5EF4-FFF2-40B4-BE49-F238E27FC236}">
                  <a16:creationId xmlns:a16="http://schemas.microsoft.com/office/drawing/2014/main" id="{561BB6F8-1BE3-45BB-BA11-C45394EB0E1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4151" y="1447801"/>
              <a:ext cx="33338" cy="60325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4" y="0"/>
                </a:cxn>
                <a:cxn ang="0">
                  <a:pos x="14" y="1"/>
                </a:cxn>
                <a:cxn ang="0">
                  <a:pos x="15" y="9"/>
                </a:cxn>
                <a:cxn ang="0">
                  <a:pos x="18" y="21"/>
                </a:cxn>
                <a:cxn ang="0">
                  <a:pos x="20" y="27"/>
                </a:cxn>
                <a:cxn ang="0">
                  <a:pos x="21" y="32"/>
                </a:cxn>
                <a:cxn ang="0">
                  <a:pos x="21" y="36"/>
                </a:cxn>
                <a:cxn ang="0">
                  <a:pos x="18" y="38"/>
                </a:cxn>
                <a:cxn ang="0">
                  <a:pos x="14" y="37"/>
                </a:cxn>
                <a:cxn ang="0">
                  <a:pos x="8" y="33"/>
                </a:cxn>
                <a:cxn ang="0">
                  <a:pos x="3" y="27"/>
                </a:cxn>
                <a:cxn ang="0">
                  <a:pos x="0" y="20"/>
                </a:cxn>
                <a:cxn ang="0">
                  <a:pos x="0" y="13"/>
                </a:cxn>
                <a:cxn ang="0">
                  <a:pos x="1" y="10"/>
                </a:cxn>
                <a:cxn ang="0">
                  <a:pos x="5" y="4"/>
                </a:cxn>
                <a:cxn ang="0">
                  <a:pos x="9" y="1"/>
                </a:cxn>
                <a:cxn ang="0">
                  <a:pos x="11" y="0"/>
                </a:cxn>
              </a:cxnLst>
              <a:rect l="0" t="0" r="r" b="b"/>
              <a:pathLst>
                <a:path w="21" h="38">
                  <a:moveTo>
                    <a:pt x="11" y="0"/>
                  </a:moveTo>
                  <a:lnTo>
                    <a:pt x="14" y="0"/>
                  </a:lnTo>
                  <a:lnTo>
                    <a:pt x="14" y="1"/>
                  </a:lnTo>
                  <a:lnTo>
                    <a:pt x="15" y="9"/>
                  </a:lnTo>
                  <a:lnTo>
                    <a:pt x="18" y="21"/>
                  </a:lnTo>
                  <a:lnTo>
                    <a:pt x="20" y="27"/>
                  </a:lnTo>
                  <a:lnTo>
                    <a:pt x="21" y="32"/>
                  </a:lnTo>
                  <a:lnTo>
                    <a:pt x="21" y="36"/>
                  </a:lnTo>
                  <a:lnTo>
                    <a:pt x="18" y="38"/>
                  </a:lnTo>
                  <a:lnTo>
                    <a:pt x="14" y="37"/>
                  </a:lnTo>
                  <a:lnTo>
                    <a:pt x="8" y="33"/>
                  </a:lnTo>
                  <a:lnTo>
                    <a:pt x="3" y="27"/>
                  </a:lnTo>
                  <a:lnTo>
                    <a:pt x="0" y="20"/>
                  </a:lnTo>
                  <a:lnTo>
                    <a:pt x="0" y="13"/>
                  </a:lnTo>
                  <a:lnTo>
                    <a:pt x="1" y="10"/>
                  </a:lnTo>
                  <a:lnTo>
                    <a:pt x="5" y="4"/>
                  </a:lnTo>
                  <a:lnTo>
                    <a:pt x="9" y="1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39">
              <a:extLst>
                <a:ext uri="{FF2B5EF4-FFF2-40B4-BE49-F238E27FC236}">
                  <a16:creationId xmlns:a16="http://schemas.microsoft.com/office/drawing/2014/main" id="{4D954407-4CDF-41A4-ADF6-C453412BD63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9388" y="1223963"/>
              <a:ext cx="125413" cy="198438"/>
            </a:xfrm>
            <a:custGeom>
              <a:avLst/>
              <a:gdLst/>
              <a:ahLst/>
              <a:cxnLst>
                <a:cxn ang="0">
                  <a:pos x="31" y="0"/>
                </a:cxn>
                <a:cxn ang="0">
                  <a:pos x="33" y="1"/>
                </a:cxn>
                <a:cxn ang="0">
                  <a:pos x="35" y="2"/>
                </a:cxn>
                <a:cxn ang="0">
                  <a:pos x="37" y="3"/>
                </a:cxn>
                <a:cxn ang="0">
                  <a:pos x="41" y="6"/>
                </a:cxn>
                <a:cxn ang="0">
                  <a:pos x="41" y="11"/>
                </a:cxn>
                <a:cxn ang="0">
                  <a:pos x="39" y="13"/>
                </a:cxn>
                <a:cxn ang="0">
                  <a:pos x="33" y="18"/>
                </a:cxn>
                <a:cxn ang="0">
                  <a:pos x="29" y="24"/>
                </a:cxn>
                <a:cxn ang="0">
                  <a:pos x="24" y="31"/>
                </a:cxn>
                <a:cxn ang="0">
                  <a:pos x="22" y="38"/>
                </a:cxn>
                <a:cxn ang="0">
                  <a:pos x="22" y="48"/>
                </a:cxn>
                <a:cxn ang="0">
                  <a:pos x="25" y="57"/>
                </a:cxn>
                <a:cxn ang="0">
                  <a:pos x="29" y="64"/>
                </a:cxn>
                <a:cxn ang="0">
                  <a:pos x="33" y="68"/>
                </a:cxn>
                <a:cxn ang="0">
                  <a:pos x="38" y="71"/>
                </a:cxn>
                <a:cxn ang="0">
                  <a:pos x="45" y="72"/>
                </a:cxn>
                <a:cxn ang="0">
                  <a:pos x="59" y="68"/>
                </a:cxn>
                <a:cxn ang="0">
                  <a:pos x="68" y="67"/>
                </a:cxn>
                <a:cxn ang="0">
                  <a:pos x="79" y="67"/>
                </a:cxn>
                <a:cxn ang="0">
                  <a:pos x="79" y="68"/>
                </a:cxn>
                <a:cxn ang="0">
                  <a:pos x="74" y="70"/>
                </a:cxn>
                <a:cxn ang="0">
                  <a:pos x="65" y="73"/>
                </a:cxn>
                <a:cxn ang="0">
                  <a:pos x="56" y="75"/>
                </a:cxn>
                <a:cxn ang="0">
                  <a:pos x="48" y="78"/>
                </a:cxn>
                <a:cxn ang="0">
                  <a:pos x="43" y="80"/>
                </a:cxn>
                <a:cxn ang="0">
                  <a:pos x="38" y="81"/>
                </a:cxn>
                <a:cxn ang="0">
                  <a:pos x="32" y="80"/>
                </a:cxn>
                <a:cxn ang="0">
                  <a:pos x="26" y="78"/>
                </a:cxn>
                <a:cxn ang="0">
                  <a:pos x="21" y="75"/>
                </a:cxn>
                <a:cxn ang="0">
                  <a:pos x="17" y="73"/>
                </a:cxn>
                <a:cxn ang="0">
                  <a:pos x="13" y="75"/>
                </a:cxn>
                <a:cxn ang="0">
                  <a:pos x="12" y="77"/>
                </a:cxn>
                <a:cxn ang="0">
                  <a:pos x="9" y="80"/>
                </a:cxn>
                <a:cxn ang="0">
                  <a:pos x="9" y="87"/>
                </a:cxn>
                <a:cxn ang="0">
                  <a:pos x="8" y="95"/>
                </a:cxn>
                <a:cxn ang="0">
                  <a:pos x="7" y="105"/>
                </a:cxn>
                <a:cxn ang="0">
                  <a:pos x="5" y="115"/>
                </a:cxn>
                <a:cxn ang="0">
                  <a:pos x="4" y="122"/>
                </a:cxn>
                <a:cxn ang="0">
                  <a:pos x="2" y="125"/>
                </a:cxn>
                <a:cxn ang="0">
                  <a:pos x="1" y="122"/>
                </a:cxn>
                <a:cxn ang="0">
                  <a:pos x="0" y="114"/>
                </a:cxn>
                <a:cxn ang="0">
                  <a:pos x="0" y="91"/>
                </a:cxn>
                <a:cxn ang="0">
                  <a:pos x="2" y="67"/>
                </a:cxn>
                <a:cxn ang="0">
                  <a:pos x="3" y="58"/>
                </a:cxn>
                <a:cxn ang="0">
                  <a:pos x="4" y="53"/>
                </a:cxn>
                <a:cxn ang="0">
                  <a:pos x="6" y="48"/>
                </a:cxn>
                <a:cxn ang="0">
                  <a:pos x="10" y="39"/>
                </a:cxn>
                <a:cxn ang="0">
                  <a:pos x="14" y="28"/>
                </a:cxn>
                <a:cxn ang="0">
                  <a:pos x="24" y="8"/>
                </a:cxn>
                <a:cxn ang="0">
                  <a:pos x="28" y="2"/>
                </a:cxn>
                <a:cxn ang="0">
                  <a:pos x="31" y="0"/>
                </a:cxn>
              </a:cxnLst>
              <a:rect l="0" t="0" r="r" b="b"/>
              <a:pathLst>
                <a:path w="79" h="125">
                  <a:moveTo>
                    <a:pt x="31" y="0"/>
                  </a:moveTo>
                  <a:lnTo>
                    <a:pt x="33" y="1"/>
                  </a:lnTo>
                  <a:lnTo>
                    <a:pt x="35" y="2"/>
                  </a:lnTo>
                  <a:lnTo>
                    <a:pt x="37" y="3"/>
                  </a:lnTo>
                  <a:lnTo>
                    <a:pt x="41" y="6"/>
                  </a:lnTo>
                  <a:lnTo>
                    <a:pt x="41" y="11"/>
                  </a:lnTo>
                  <a:lnTo>
                    <a:pt x="39" y="13"/>
                  </a:lnTo>
                  <a:lnTo>
                    <a:pt x="33" y="18"/>
                  </a:lnTo>
                  <a:lnTo>
                    <a:pt x="29" y="24"/>
                  </a:lnTo>
                  <a:lnTo>
                    <a:pt x="24" y="31"/>
                  </a:lnTo>
                  <a:lnTo>
                    <a:pt x="22" y="38"/>
                  </a:lnTo>
                  <a:lnTo>
                    <a:pt x="22" y="48"/>
                  </a:lnTo>
                  <a:lnTo>
                    <a:pt x="25" y="57"/>
                  </a:lnTo>
                  <a:lnTo>
                    <a:pt x="29" y="64"/>
                  </a:lnTo>
                  <a:lnTo>
                    <a:pt x="33" y="68"/>
                  </a:lnTo>
                  <a:lnTo>
                    <a:pt x="38" y="71"/>
                  </a:lnTo>
                  <a:lnTo>
                    <a:pt x="45" y="72"/>
                  </a:lnTo>
                  <a:lnTo>
                    <a:pt x="59" y="68"/>
                  </a:lnTo>
                  <a:lnTo>
                    <a:pt x="68" y="67"/>
                  </a:lnTo>
                  <a:lnTo>
                    <a:pt x="79" y="67"/>
                  </a:lnTo>
                  <a:lnTo>
                    <a:pt x="79" y="68"/>
                  </a:lnTo>
                  <a:lnTo>
                    <a:pt x="74" y="70"/>
                  </a:lnTo>
                  <a:lnTo>
                    <a:pt x="65" y="73"/>
                  </a:lnTo>
                  <a:lnTo>
                    <a:pt x="56" y="75"/>
                  </a:lnTo>
                  <a:lnTo>
                    <a:pt x="48" y="78"/>
                  </a:lnTo>
                  <a:lnTo>
                    <a:pt x="43" y="80"/>
                  </a:lnTo>
                  <a:lnTo>
                    <a:pt x="38" y="81"/>
                  </a:lnTo>
                  <a:lnTo>
                    <a:pt x="32" y="80"/>
                  </a:lnTo>
                  <a:lnTo>
                    <a:pt x="26" y="78"/>
                  </a:lnTo>
                  <a:lnTo>
                    <a:pt x="21" y="75"/>
                  </a:lnTo>
                  <a:lnTo>
                    <a:pt x="17" y="73"/>
                  </a:lnTo>
                  <a:lnTo>
                    <a:pt x="13" y="75"/>
                  </a:lnTo>
                  <a:lnTo>
                    <a:pt x="12" y="77"/>
                  </a:lnTo>
                  <a:lnTo>
                    <a:pt x="9" y="80"/>
                  </a:lnTo>
                  <a:lnTo>
                    <a:pt x="9" y="87"/>
                  </a:lnTo>
                  <a:lnTo>
                    <a:pt x="8" y="95"/>
                  </a:lnTo>
                  <a:lnTo>
                    <a:pt x="7" y="105"/>
                  </a:lnTo>
                  <a:lnTo>
                    <a:pt x="5" y="115"/>
                  </a:lnTo>
                  <a:lnTo>
                    <a:pt x="4" y="122"/>
                  </a:lnTo>
                  <a:lnTo>
                    <a:pt x="2" y="125"/>
                  </a:lnTo>
                  <a:lnTo>
                    <a:pt x="1" y="122"/>
                  </a:lnTo>
                  <a:lnTo>
                    <a:pt x="0" y="114"/>
                  </a:lnTo>
                  <a:lnTo>
                    <a:pt x="0" y="91"/>
                  </a:lnTo>
                  <a:lnTo>
                    <a:pt x="2" y="67"/>
                  </a:lnTo>
                  <a:lnTo>
                    <a:pt x="3" y="58"/>
                  </a:lnTo>
                  <a:lnTo>
                    <a:pt x="4" y="53"/>
                  </a:lnTo>
                  <a:lnTo>
                    <a:pt x="6" y="48"/>
                  </a:lnTo>
                  <a:lnTo>
                    <a:pt x="10" y="39"/>
                  </a:lnTo>
                  <a:lnTo>
                    <a:pt x="14" y="28"/>
                  </a:lnTo>
                  <a:lnTo>
                    <a:pt x="24" y="8"/>
                  </a:lnTo>
                  <a:lnTo>
                    <a:pt x="28" y="2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40">
              <a:extLst>
                <a:ext uri="{FF2B5EF4-FFF2-40B4-BE49-F238E27FC236}">
                  <a16:creationId xmlns:a16="http://schemas.microsoft.com/office/drawing/2014/main" id="{67F2D36E-A9E2-4CC5-8AFC-E29789BB2231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0826" y="1131888"/>
              <a:ext cx="46038" cy="84138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25" y="0"/>
                </a:cxn>
                <a:cxn ang="0">
                  <a:pos x="29" y="2"/>
                </a:cxn>
                <a:cxn ang="0">
                  <a:pos x="29" y="4"/>
                </a:cxn>
                <a:cxn ang="0">
                  <a:pos x="25" y="10"/>
                </a:cxn>
                <a:cxn ang="0">
                  <a:pos x="24" y="13"/>
                </a:cxn>
                <a:cxn ang="0">
                  <a:pos x="24" y="20"/>
                </a:cxn>
                <a:cxn ang="0">
                  <a:pos x="25" y="27"/>
                </a:cxn>
                <a:cxn ang="0">
                  <a:pos x="25" y="41"/>
                </a:cxn>
                <a:cxn ang="0">
                  <a:pos x="24" y="45"/>
                </a:cxn>
                <a:cxn ang="0">
                  <a:pos x="20" y="48"/>
                </a:cxn>
                <a:cxn ang="0">
                  <a:pos x="14" y="51"/>
                </a:cxn>
                <a:cxn ang="0">
                  <a:pos x="9" y="53"/>
                </a:cxn>
                <a:cxn ang="0">
                  <a:pos x="5" y="53"/>
                </a:cxn>
                <a:cxn ang="0">
                  <a:pos x="3" y="49"/>
                </a:cxn>
                <a:cxn ang="0">
                  <a:pos x="2" y="42"/>
                </a:cxn>
                <a:cxn ang="0">
                  <a:pos x="1" y="34"/>
                </a:cxn>
                <a:cxn ang="0">
                  <a:pos x="0" y="27"/>
                </a:cxn>
                <a:cxn ang="0">
                  <a:pos x="0" y="15"/>
                </a:cxn>
                <a:cxn ang="0">
                  <a:pos x="1" y="7"/>
                </a:cxn>
                <a:cxn ang="0">
                  <a:pos x="4" y="2"/>
                </a:cxn>
                <a:cxn ang="0">
                  <a:pos x="8" y="0"/>
                </a:cxn>
              </a:cxnLst>
              <a:rect l="0" t="0" r="r" b="b"/>
              <a:pathLst>
                <a:path w="29" h="53">
                  <a:moveTo>
                    <a:pt x="8" y="0"/>
                  </a:moveTo>
                  <a:lnTo>
                    <a:pt x="25" y="0"/>
                  </a:lnTo>
                  <a:lnTo>
                    <a:pt x="29" y="2"/>
                  </a:lnTo>
                  <a:lnTo>
                    <a:pt x="29" y="4"/>
                  </a:lnTo>
                  <a:lnTo>
                    <a:pt x="25" y="10"/>
                  </a:lnTo>
                  <a:lnTo>
                    <a:pt x="24" y="13"/>
                  </a:lnTo>
                  <a:lnTo>
                    <a:pt x="24" y="20"/>
                  </a:lnTo>
                  <a:lnTo>
                    <a:pt x="25" y="27"/>
                  </a:lnTo>
                  <a:lnTo>
                    <a:pt x="25" y="41"/>
                  </a:lnTo>
                  <a:lnTo>
                    <a:pt x="24" y="45"/>
                  </a:lnTo>
                  <a:lnTo>
                    <a:pt x="20" y="48"/>
                  </a:lnTo>
                  <a:lnTo>
                    <a:pt x="14" y="51"/>
                  </a:lnTo>
                  <a:lnTo>
                    <a:pt x="9" y="53"/>
                  </a:lnTo>
                  <a:lnTo>
                    <a:pt x="5" y="53"/>
                  </a:lnTo>
                  <a:lnTo>
                    <a:pt x="3" y="49"/>
                  </a:lnTo>
                  <a:lnTo>
                    <a:pt x="2" y="42"/>
                  </a:lnTo>
                  <a:lnTo>
                    <a:pt x="1" y="34"/>
                  </a:lnTo>
                  <a:lnTo>
                    <a:pt x="0" y="27"/>
                  </a:lnTo>
                  <a:lnTo>
                    <a:pt x="0" y="15"/>
                  </a:lnTo>
                  <a:lnTo>
                    <a:pt x="1" y="7"/>
                  </a:lnTo>
                  <a:lnTo>
                    <a:pt x="4" y="2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41">
              <a:extLst>
                <a:ext uri="{FF2B5EF4-FFF2-40B4-BE49-F238E27FC236}">
                  <a16:creationId xmlns:a16="http://schemas.microsoft.com/office/drawing/2014/main" id="{C332B6D1-76DD-43DF-9D17-679846B36A6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8663" y="1501776"/>
              <a:ext cx="31750" cy="85725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18" y="0"/>
                </a:cxn>
                <a:cxn ang="0">
                  <a:pos x="19" y="1"/>
                </a:cxn>
                <a:cxn ang="0">
                  <a:pos x="20" y="1"/>
                </a:cxn>
                <a:cxn ang="0">
                  <a:pos x="20" y="3"/>
                </a:cxn>
                <a:cxn ang="0">
                  <a:pos x="18" y="7"/>
                </a:cxn>
                <a:cxn ang="0">
                  <a:pos x="16" y="8"/>
                </a:cxn>
                <a:cxn ang="0">
                  <a:pos x="14" y="12"/>
                </a:cxn>
                <a:cxn ang="0">
                  <a:pos x="14" y="16"/>
                </a:cxn>
                <a:cxn ang="0">
                  <a:pos x="13" y="23"/>
                </a:cxn>
                <a:cxn ang="0">
                  <a:pos x="13" y="30"/>
                </a:cxn>
                <a:cxn ang="0">
                  <a:pos x="13" y="34"/>
                </a:cxn>
                <a:cxn ang="0">
                  <a:pos x="12" y="37"/>
                </a:cxn>
                <a:cxn ang="0">
                  <a:pos x="9" y="42"/>
                </a:cxn>
                <a:cxn ang="0">
                  <a:pos x="6" y="48"/>
                </a:cxn>
                <a:cxn ang="0">
                  <a:pos x="3" y="52"/>
                </a:cxn>
                <a:cxn ang="0">
                  <a:pos x="1" y="54"/>
                </a:cxn>
                <a:cxn ang="0">
                  <a:pos x="0" y="51"/>
                </a:cxn>
                <a:cxn ang="0">
                  <a:pos x="1" y="45"/>
                </a:cxn>
                <a:cxn ang="0">
                  <a:pos x="4" y="39"/>
                </a:cxn>
                <a:cxn ang="0">
                  <a:pos x="5" y="32"/>
                </a:cxn>
                <a:cxn ang="0">
                  <a:pos x="6" y="27"/>
                </a:cxn>
                <a:cxn ang="0">
                  <a:pos x="6" y="14"/>
                </a:cxn>
                <a:cxn ang="0">
                  <a:pos x="7" y="7"/>
                </a:cxn>
                <a:cxn ang="0">
                  <a:pos x="9" y="3"/>
                </a:cxn>
                <a:cxn ang="0">
                  <a:pos x="13" y="1"/>
                </a:cxn>
                <a:cxn ang="0">
                  <a:pos x="14" y="1"/>
                </a:cxn>
                <a:cxn ang="0">
                  <a:pos x="16" y="0"/>
                </a:cxn>
              </a:cxnLst>
              <a:rect l="0" t="0" r="r" b="b"/>
              <a:pathLst>
                <a:path w="20" h="54">
                  <a:moveTo>
                    <a:pt x="16" y="0"/>
                  </a:moveTo>
                  <a:lnTo>
                    <a:pt x="18" y="0"/>
                  </a:lnTo>
                  <a:lnTo>
                    <a:pt x="19" y="1"/>
                  </a:lnTo>
                  <a:lnTo>
                    <a:pt x="20" y="1"/>
                  </a:lnTo>
                  <a:lnTo>
                    <a:pt x="20" y="3"/>
                  </a:lnTo>
                  <a:lnTo>
                    <a:pt x="18" y="7"/>
                  </a:lnTo>
                  <a:lnTo>
                    <a:pt x="16" y="8"/>
                  </a:lnTo>
                  <a:lnTo>
                    <a:pt x="14" y="12"/>
                  </a:lnTo>
                  <a:lnTo>
                    <a:pt x="14" y="16"/>
                  </a:lnTo>
                  <a:lnTo>
                    <a:pt x="13" y="23"/>
                  </a:lnTo>
                  <a:lnTo>
                    <a:pt x="13" y="30"/>
                  </a:lnTo>
                  <a:lnTo>
                    <a:pt x="13" y="34"/>
                  </a:lnTo>
                  <a:lnTo>
                    <a:pt x="12" y="37"/>
                  </a:lnTo>
                  <a:lnTo>
                    <a:pt x="9" y="42"/>
                  </a:lnTo>
                  <a:lnTo>
                    <a:pt x="6" y="48"/>
                  </a:lnTo>
                  <a:lnTo>
                    <a:pt x="3" y="52"/>
                  </a:lnTo>
                  <a:lnTo>
                    <a:pt x="1" y="54"/>
                  </a:lnTo>
                  <a:lnTo>
                    <a:pt x="0" y="51"/>
                  </a:lnTo>
                  <a:lnTo>
                    <a:pt x="1" y="45"/>
                  </a:lnTo>
                  <a:lnTo>
                    <a:pt x="4" y="39"/>
                  </a:lnTo>
                  <a:lnTo>
                    <a:pt x="5" y="32"/>
                  </a:lnTo>
                  <a:lnTo>
                    <a:pt x="6" y="27"/>
                  </a:lnTo>
                  <a:lnTo>
                    <a:pt x="6" y="14"/>
                  </a:lnTo>
                  <a:lnTo>
                    <a:pt x="7" y="7"/>
                  </a:lnTo>
                  <a:lnTo>
                    <a:pt x="9" y="3"/>
                  </a:lnTo>
                  <a:lnTo>
                    <a:pt x="13" y="1"/>
                  </a:lnTo>
                  <a:lnTo>
                    <a:pt x="14" y="1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5" name="Group 59">
            <a:extLst>
              <a:ext uri="{FF2B5EF4-FFF2-40B4-BE49-F238E27FC236}">
                <a16:creationId xmlns:a16="http://schemas.microsoft.com/office/drawing/2014/main" id="{126EBACB-8168-4ECF-A459-1BBB60A924FA}"/>
              </a:ext>
            </a:extLst>
          </p:cNvPr>
          <p:cNvGrpSpPr/>
          <p:nvPr/>
        </p:nvGrpSpPr>
        <p:grpSpPr>
          <a:xfrm>
            <a:off x="1599862" y="4052632"/>
            <a:ext cx="2199091" cy="1691934"/>
            <a:chOff x="6006782" y="2536601"/>
            <a:chExt cx="2778240" cy="2071976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361E676D-BF80-4731-BFE9-2B82FB41CA0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23351" y="2936767"/>
              <a:ext cx="1458698" cy="1671810"/>
            </a:xfrm>
            <a:custGeom>
              <a:avLst/>
              <a:gdLst>
                <a:gd name="connsiteX0" fmla="*/ 2998 w 2998"/>
                <a:gd name="connsiteY0" fmla="*/ 0 h 3436"/>
                <a:gd name="connsiteX1" fmla="*/ 2897 w 2998"/>
                <a:gd name="connsiteY1" fmla="*/ 1947 h 3436"/>
                <a:gd name="connsiteX2" fmla="*/ 0 w 2998"/>
                <a:gd name="connsiteY2" fmla="*/ 3436 h 3436"/>
                <a:gd name="connsiteX3" fmla="*/ 76 w 2998"/>
                <a:gd name="connsiteY3" fmla="*/ 1157 h 3436"/>
                <a:gd name="connsiteX4" fmla="*/ 2998 w 2998"/>
                <a:gd name="connsiteY4" fmla="*/ 0 h 3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98" h="3436">
                  <a:moveTo>
                    <a:pt x="2998" y="0"/>
                  </a:moveTo>
                  <a:cubicBezTo>
                    <a:pt x="2964" y="649"/>
                    <a:pt x="2931" y="1298"/>
                    <a:pt x="2897" y="1947"/>
                  </a:cubicBezTo>
                  <a:lnTo>
                    <a:pt x="0" y="3436"/>
                  </a:lnTo>
                  <a:cubicBezTo>
                    <a:pt x="42" y="2669"/>
                    <a:pt x="34" y="1924"/>
                    <a:pt x="76" y="1157"/>
                  </a:cubicBezTo>
                  <a:lnTo>
                    <a:pt x="2998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1C890">
                    <a:shade val="30000"/>
                    <a:satMod val="115000"/>
                  </a:srgbClr>
                </a:gs>
                <a:gs pos="50000">
                  <a:srgbClr val="F1C890">
                    <a:shade val="67500"/>
                    <a:satMod val="115000"/>
                  </a:srgbClr>
                </a:gs>
                <a:gs pos="100000">
                  <a:srgbClr val="F1C890">
                    <a:shade val="100000"/>
                    <a:satMod val="115000"/>
                  </a:srgbClr>
                </a:gs>
              </a:gsLst>
              <a:lin ang="13500000" scaled="1"/>
              <a:tileRect/>
            </a:gra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7">
              <a:extLst>
                <a:ext uri="{FF2B5EF4-FFF2-40B4-BE49-F238E27FC236}">
                  <a16:creationId xmlns:a16="http://schemas.microsoft.com/office/drawing/2014/main" id="{285BAA62-9ACD-43A1-B2A9-61369DDCC9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2265" y="2891030"/>
              <a:ext cx="1371906" cy="1717547"/>
            </a:xfrm>
            <a:custGeom>
              <a:avLst/>
              <a:gdLst>
                <a:gd name="connsiteX0" fmla="*/ 0 w 2861"/>
                <a:gd name="connsiteY0" fmla="*/ 0 h 3530"/>
                <a:gd name="connsiteX1" fmla="*/ 2861 w 2861"/>
                <a:gd name="connsiteY1" fmla="*/ 1228 h 3530"/>
                <a:gd name="connsiteX2" fmla="*/ 2736 w 2861"/>
                <a:gd name="connsiteY2" fmla="*/ 3530 h 3530"/>
                <a:gd name="connsiteX3" fmla="*/ 45 w 2861"/>
                <a:gd name="connsiteY3" fmla="*/ 2081 h 3530"/>
                <a:gd name="connsiteX4" fmla="*/ 0 w 2861"/>
                <a:gd name="connsiteY4" fmla="*/ 0 h 3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61" h="3530">
                  <a:moveTo>
                    <a:pt x="0" y="0"/>
                  </a:moveTo>
                  <a:lnTo>
                    <a:pt x="2861" y="1228"/>
                  </a:lnTo>
                  <a:cubicBezTo>
                    <a:pt x="2819" y="1995"/>
                    <a:pt x="2778" y="2763"/>
                    <a:pt x="2736" y="3530"/>
                  </a:cubicBezTo>
                  <a:lnTo>
                    <a:pt x="45" y="2081"/>
                  </a:lnTo>
                  <a:cubicBezTo>
                    <a:pt x="30" y="1387"/>
                    <a:pt x="15" y="694"/>
                    <a:pt x="0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F1C890">
                    <a:shade val="30000"/>
                    <a:satMod val="115000"/>
                  </a:srgbClr>
                </a:gs>
                <a:gs pos="50000">
                  <a:srgbClr val="F1C890">
                    <a:shade val="67500"/>
                    <a:satMod val="115000"/>
                  </a:srgbClr>
                </a:gs>
                <a:gs pos="100000">
                  <a:srgbClr val="F1C89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8">
              <a:extLst>
                <a:ext uri="{FF2B5EF4-FFF2-40B4-BE49-F238E27FC236}">
                  <a16:creationId xmlns:a16="http://schemas.microsoft.com/office/drawing/2014/main" id="{B8A483CF-E9A5-46B0-8BD5-4EE929518BC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6782" y="2536601"/>
              <a:ext cx="2778240" cy="973114"/>
            </a:xfrm>
            <a:custGeom>
              <a:avLst/>
              <a:gdLst>
                <a:gd name="connsiteX0" fmla="*/ 2987 w 4214"/>
                <a:gd name="connsiteY0" fmla="*/ 0 h 1406"/>
                <a:gd name="connsiteX1" fmla="*/ 4214 w 4214"/>
                <a:gd name="connsiteY1" fmla="*/ 377 h 1406"/>
                <a:gd name="connsiteX2" fmla="*/ 1413 w 4214"/>
                <a:gd name="connsiteY2" fmla="*/ 1406 h 1406"/>
                <a:gd name="connsiteX3" fmla="*/ 0 w 4214"/>
                <a:gd name="connsiteY3" fmla="*/ 753 h 1406"/>
                <a:gd name="connsiteX4" fmla="*/ 2987 w 4214"/>
                <a:gd name="connsiteY4" fmla="*/ 0 h 1406"/>
                <a:gd name="connsiteX0" fmla="*/ 2968 w 4195"/>
                <a:gd name="connsiteY0" fmla="*/ 0 h 1406"/>
                <a:gd name="connsiteX1" fmla="*/ 4195 w 4195"/>
                <a:gd name="connsiteY1" fmla="*/ 377 h 1406"/>
                <a:gd name="connsiteX2" fmla="*/ 1394 w 4195"/>
                <a:gd name="connsiteY2" fmla="*/ 1406 h 1406"/>
                <a:gd name="connsiteX3" fmla="*/ 0 w 4195"/>
                <a:gd name="connsiteY3" fmla="*/ 563 h 1406"/>
                <a:gd name="connsiteX4" fmla="*/ 2968 w 4195"/>
                <a:gd name="connsiteY4" fmla="*/ 0 h 1406"/>
                <a:gd name="connsiteX0" fmla="*/ 2987 w 4214"/>
                <a:gd name="connsiteY0" fmla="*/ 0 h 1406"/>
                <a:gd name="connsiteX1" fmla="*/ 4214 w 4214"/>
                <a:gd name="connsiteY1" fmla="*/ 377 h 1406"/>
                <a:gd name="connsiteX2" fmla="*/ 1413 w 4214"/>
                <a:gd name="connsiteY2" fmla="*/ 1406 h 1406"/>
                <a:gd name="connsiteX3" fmla="*/ 0 w 4214"/>
                <a:gd name="connsiteY3" fmla="*/ 729 h 1406"/>
                <a:gd name="connsiteX4" fmla="*/ 2987 w 4214"/>
                <a:gd name="connsiteY4" fmla="*/ 0 h 1406"/>
                <a:gd name="connsiteX0" fmla="*/ 2987 w 4214"/>
                <a:gd name="connsiteY0" fmla="*/ 0 h 1027"/>
                <a:gd name="connsiteX1" fmla="*/ 4214 w 4214"/>
                <a:gd name="connsiteY1" fmla="*/ 377 h 1027"/>
                <a:gd name="connsiteX2" fmla="*/ 1363 w 4214"/>
                <a:gd name="connsiteY2" fmla="*/ 1027 h 1027"/>
                <a:gd name="connsiteX3" fmla="*/ 0 w 4214"/>
                <a:gd name="connsiteY3" fmla="*/ 729 h 1027"/>
                <a:gd name="connsiteX4" fmla="*/ 2987 w 4214"/>
                <a:gd name="connsiteY4" fmla="*/ 0 h 1027"/>
                <a:gd name="connsiteX0" fmla="*/ 2987 w 4214"/>
                <a:gd name="connsiteY0" fmla="*/ 0 h 1337"/>
                <a:gd name="connsiteX1" fmla="*/ 4214 w 4214"/>
                <a:gd name="connsiteY1" fmla="*/ 377 h 1337"/>
                <a:gd name="connsiteX2" fmla="*/ 1393 w 4214"/>
                <a:gd name="connsiteY2" fmla="*/ 1337 h 1337"/>
                <a:gd name="connsiteX3" fmla="*/ 0 w 4214"/>
                <a:gd name="connsiteY3" fmla="*/ 729 h 1337"/>
                <a:gd name="connsiteX4" fmla="*/ 2987 w 4214"/>
                <a:gd name="connsiteY4" fmla="*/ 0 h 1337"/>
                <a:gd name="connsiteX0" fmla="*/ 2987 w 4214"/>
                <a:gd name="connsiteY0" fmla="*/ 0 h 2000"/>
                <a:gd name="connsiteX1" fmla="*/ 4214 w 4214"/>
                <a:gd name="connsiteY1" fmla="*/ 377 h 2000"/>
                <a:gd name="connsiteX2" fmla="*/ 2904 w 4214"/>
                <a:gd name="connsiteY2" fmla="*/ 2000 h 2000"/>
                <a:gd name="connsiteX3" fmla="*/ 0 w 4214"/>
                <a:gd name="connsiteY3" fmla="*/ 729 h 2000"/>
                <a:gd name="connsiteX4" fmla="*/ 2987 w 4214"/>
                <a:gd name="connsiteY4" fmla="*/ 0 h 2000"/>
                <a:gd name="connsiteX0" fmla="*/ 2987 w 5765"/>
                <a:gd name="connsiteY0" fmla="*/ 0 h 2000"/>
                <a:gd name="connsiteX1" fmla="*/ 5765 w 5765"/>
                <a:gd name="connsiteY1" fmla="*/ 856 h 2000"/>
                <a:gd name="connsiteX2" fmla="*/ 2904 w 5765"/>
                <a:gd name="connsiteY2" fmla="*/ 2000 h 2000"/>
                <a:gd name="connsiteX3" fmla="*/ 0 w 5765"/>
                <a:gd name="connsiteY3" fmla="*/ 729 h 2000"/>
                <a:gd name="connsiteX4" fmla="*/ 2987 w 5765"/>
                <a:gd name="connsiteY4" fmla="*/ 0 h 2000"/>
                <a:gd name="connsiteX0" fmla="*/ 2987 w 5765"/>
                <a:gd name="connsiteY0" fmla="*/ 0 h 2000"/>
                <a:gd name="connsiteX1" fmla="*/ 5765 w 5765"/>
                <a:gd name="connsiteY1" fmla="*/ 856 h 2000"/>
                <a:gd name="connsiteX2" fmla="*/ 2827 w 5765"/>
                <a:gd name="connsiteY2" fmla="*/ 2000 h 2000"/>
                <a:gd name="connsiteX3" fmla="*/ 0 w 5765"/>
                <a:gd name="connsiteY3" fmla="*/ 729 h 2000"/>
                <a:gd name="connsiteX4" fmla="*/ 2987 w 5765"/>
                <a:gd name="connsiteY4" fmla="*/ 0 h 2000"/>
                <a:gd name="connsiteX0" fmla="*/ 2987 w 5303"/>
                <a:gd name="connsiteY0" fmla="*/ 0 h 2000"/>
                <a:gd name="connsiteX1" fmla="*/ 5303 w 5303"/>
                <a:gd name="connsiteY1" fmla="*/ 856 h 2000"/>
                <a:gd name="connsiteX2" fmla="*/ 2827 w 5303"/>
                <a:gd name="connsiteY2" fmla="*/ 2000 h 2000"/>
                <a:gd name="connsiteX3" fmla="*/ 0 w 5303"/>
                <a:gd name="connsiteY3" fmla="*/ 729 h 2000"/>
                <a:gd name="connsiteX4" fmla="*/ 2987 w 5303"/>
                <a:gd name="connsiteY4" fmla="*/ 0 h 2000"/>
                <a:gd name="connsiteX0" fmla="*/ 2987 w 5732"/>
                <a:gd name="connsiteY0" fmla="*/ 0 h 2000"/>
                <a:gd name="connsiteX1" fmla="*/ 5732 w 5732"/>
                <a:gd name="connsiteY1" fmla="*/ 834 h 2000"/>
                <a:gd name="connsiteX2" fmla="*/ 2827 w 5732"/>
                <a:gd name="connsiteY2" fmla="*/ 2000 h 2000"/>
                <a:gd name="connsiteX3" fmla="*/ 0 w 5732"/>
                <a:gd name="connsiteY3" fmla="*/ 729 h 2000"/>
                <a:gd name="connsiteX4" fmla="*/ 2987 w 5732"/>
                <a:gd name="connsiteY4" fmla="*/ 0 h 2000"/>
                <a:gd name="connsiteX0" fmla="*/ 2987 w 5688"/>
                <a:gd name="connsiteY0" fmla="*/ 0 h 2000"/>
                <a:gd name="connsiteX1" fmla="*/ 5688 w 5688"/>
                <a:gd name="connsiteY1" fmla="*/ 856 h 2000"/>
                <a:gd name="connsiteX2" fmla="*/ 2827 w 5688"/>
                <a:gd name="connsiteY2" fmla="*/ 2000 h 2000"/>
                <a:gd name="connsiteX3" fmla="*/ 0 w 5688"/>
                <a:gd name="connsiteY3" fmla="*/ 729 h 2000"/>
                <a:gd name="connsiteX4" fmla="*/ 2987 w 5688"/>
                <a:gd name="connsiteY4" fmla="*/ 0 h 2000"/>
                <a:gd name="connsiteX0" fmla="*/ 2987 w 5721"/>
                <a:gd name="connsiteY0" fmla="*/ 0 h 2000"/>
                <a:gd name="connsiteX1" fmla="*/ 5721 w 5721"/>
                <a:gd name="connsiteY1" fmla="*/ 845 h 2000"/>
                <a:gd name="connsiteX2" fmla="*/ 2827 w 5721"/>
                <a:gd name="connsiteY2" fmla="*/ 2000 h 2000"/>
                <a:gd name="connsiteX3" fmla="*/ 0 w 5721"/>
                <a:gd name="connsiteY3" fmla="*/ 729 h 2000"/>
                <a:gd name="connsiteX4" fmla="*/ 2987 w 5721"/>
                <a:gd name="connsiteY4" fmla="*/ 0 h 2000"/>
                <a:gd name="connsiteX0" fmla="*/ 2987 w 5633"/>
                <a:gd name="connsiteY0" fmla="*/ 0 h 2000"/>
                <a:gd name="connsiteX1" fmla="*/ 5633 w 5633"/>
                <a:gd name="connsiteY1" fmla="*/ 845 h 2000"/>
                <a:gd name="connsiteX2" fmla="*/ 2827 w 5633"/>
                <a:gd name="connsiteY2" fmla="*/ 2000 h 2000"/>
                <a:gd name="connsiteX3" fmla="*/ 0 w 5633"/>
                <a:gd name="connsiteY3" fmla="*/ 729 h 2000"/>
                <a:gd name="connsiteX4" fmla="*/ 2987 w 5633"/>
                <a:gd name="connsiteY4" fmla="*/ 0 h 2000"/>
                <a:gd name="connsiteX0" fmla="*/ 2987 w 5677"/>
                <a:gd name="connsiteY0" fmla="*/ 0 h 2000"/>
                <a:gd name="connsiteX1" fmla="*/ 5677 w 5677"/>
                <a:gd name="connsiteY1" fmla="*/ 812 h 2000"/>
                <a:gd name="connsiteX2" fmla="*/ 2827 w 5677"/>
                <a:gd name="connsiteY2" fmla="*/ 2000 h 2000"/>
                <a:gd name="connsiteX3" fmla="*/ 0 w 5677"/>
                <a:gd name="connsiteY3" fmla="*/ 729 h 2000"/>
                <a:gd name="connsiteX4" fmla="*/ 2987 w 5677"/>
                <a:gd name="connsiteY4" fmla="*/ 0 h 2000"/>
                <a:gd name="connsiteX0" fmla="*/ 2987 w 5710"/>
                <a:gd name="connsiteY0" fmla="*/ 0 h 2000"/>
                <a:gd name="connsiteX1" fmla="*/ 5710 w 5710"/>
                <a:gd name="connsiteY1" fmla="*/ 834 h 2000"/>
                <a:gd name="connsiteX2" fmla="*/ 2827 w 5710"/>
                <a:gd name="connsiteY2" fmla="*/ 2000 h 2000"/>
                <a:gd name="connsiteX3" fmla="*/ 0 w 5710"/>
                <a:gd name="connsiteY3" fmla="*/ 729 h 2000"/>
                <a:gd name="connsiteX4" fmla="*/ 2987 w 5710"/>
                <a:gd name="connsiteY4" fmla="*/ 0 h 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0" h="2000">
                  <a:moveTo>
                    <a:pt x="2987" y="0"/>
                  </a:moveTo>
                  <a:lnTo>
                    <a:pt x="5710" y="834"/>
                  </a:lnTo>
                  <a:lnTo>
                    <a:pt x="2827" y="2000"/>
                  </a:lnTo>
                  <a:lnTo>
                    <a:pt x="0" y="729"/>
                  </a:lnTo>
                  <a:lnTo>
                    <a:pt x="2987" y="0"/>
                  </a:lnTo>
                  <a:close/>
                </a:path>
              </a:pathLst>
            </a:custGeom>
            <a:gradFill flip="none" rotWithShape="1">
              <a:gsLst>
                <a:gs pos="50000">
                  <a:srgbClr val="F1C890">
                    <a:shade val="67500"/>
                    <a:satMod val="115000"/>
                  </a:srgbClr>
                </a:gs>
                <a:gs pos="100000">
                  <a:srgbClr val="F1C890">
                    <a:shade val="100000"/>
                    <a:satMod val="115000"/>
                  </a:srgbClr>
                </a:gs>
              </a:gsLst>
              <a:lin ang="18900000" scaled="1"/>
              <a:tileRect/>
            </a:gra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149">
              <a:extLst>
                <a:ext uri="{FF2B5EF4-FFF2-40B4-BE49-F238E27FC236}">
                  <a16:creationId xmlns:a16="http://schemas.microsoft.com/office/drawing/2014/main" id="{A6FE565A-A70A-41DB-B41F-52438F1B5813}"/>
                </a:ext>
              </a:extLst>
            </p:cNvPr>
            <p:cNvSpPr/>
            <p:nvPr/>
          </p:nvSpPr>
          <p:spPr>
            <a:xfrm>
              <a:off x="6509673" y="3119240"/>
              <a:ext cx="311272" cy="403889"/>
            </a:xfrm>
            <a:custGeom>
              <a:avLst/>
              <a:gdLst>
                <a:gd name="connsiteX0" fmla="*/ 0 w 304800"/>
                <a:gd name="connsiteY0" fmla="*/ 0 h 381000"/>
                <a:gd name="connsiteX1" fmla="*/ 304800 w 304800"/>
                <a:gd name="connsiteY1" fmla="*/ 0 h 381000"/>
                <a:gd name="connsiteX2" fmla="*/ 304800 w 304800"/>
                <a:gd name="connsiteY2" fmla="*/ 381000 h 381000"/>
                <a:gd name="connsiteX3" fmla="*/ 0 w 304800"/>
                <a:gd name="connsiteY3" fmla="*/ 381000 h 381000"/>
                <a:gd name="connsiteX4" fmla="*/ 0 w 304800"/>
                <a:gd name="connsiteY4" fmla="*/ 0 h 381000"/>
                <a:gd name="connsiteX0" fmla="*/ 0 w 320984"/>
                <a:gd name="connsiteY0" fmla="*/ 0 h 381000"/>
                <a:gd name="connsiteX1" fmla="*/ 320984 w 320984"/>
                <a:gd name="connsiteY1" fmla="*/ 113288 h 381000"/>
                <a:gd name="connsiteX2" fmla="*/ 304800 w 320984"/>
                <a:gd name="connsiteY2" fmla="*/ 381000 h 381000"/>
                <a:gd name="connsiteX3" fmla="*/ 0 w 320984"/>
                <a:gd name="connsiteY3" fmla="*/ 381000 h 381000"/>
                <a:gd name="connsiteX4" fmla="*/ 0 w 320984"/>
                <a:gd name="connsiteY4" fmla="*/ 0 h 381000"/>
                <a:gd name="connsiteX0" fmla="*/ 0 w 322583"/>
                <a:gd name="connsiteY0" fmla="*/ 0 h 403889"/>
                <a:gd name="connsiteX1" fmla="*/ 322583 w 322583"/>
                <a:gd name="connsiteY1" fmla="*/ 136177 h 403889"/>
                <a:gd name="connsiteX2" fmla="*/ 306399 w 322583"/>
                <a:gd name="connsiteY2" fmla="*/ 403889 h 403889"/>
                <a:gd name="connsiteX3" fmla="*/ 1599 w 322583"/>
                <a:gd name="connsiteY3" fmla="*/ 403889 h 403889"/>
                <a:gd name="connsiteX4" fmla="*/ 0 w 322583"/>
                <a:gd name="connsiteY4" fmla="*/ 0 h 403889"/>
                <a:gd name="connsiteX0" fmla="*/ 0 w 306399"/>
                <a:gd name="connsiteY0" fmla="*/ 0 h 403889"/>
                <a:gd name="connsiteX1" fmla="*/ 297805 w 306399"/>
                <a:gd name="connsiteY1" fmla="*/ 130962 h 403889"/>
                <a:gd name="connsiteX2" fmla="*/ 306399 w 306399"/>
                <a:gd name="connsiteY2" fmla="*/ 403889 h 403889"/>
                <a:gd name="connsiteX3" fmla="*/ 1599 w 306399"/>
                <a:gd name="connsiteY3" fmla="*/ 403889 h 403889"/>
                <a:gd name="connsiteX4" fmla="*/ 0 w 306399"/>
                <a:gd name="connsiteY4" fmla="*/ 0 h 403889"/>
                <a:gd name="connsiteX0" fmla="*/ 0 w 311272"/>
                <a:gd name="connsiteY0" fmla="*/ 0 h 403889"/>
                <a:gd name="connsiteX1" fmla="*/ 311272 w 311272"/>
                <a:gd name="connsiteY1" fmla="*/ 132700 h 403889"/>
                <a:gd name="connsiteX2" fmla="*/ 306399 w 311272"/>
                <a:gd name="connsiteY2" fmla="*/ 403889 h 403889"/>
                <a:gd name="connsiteX3" fmla="*/ 1599 w 311272"/>
                <a:gd name="connsiteY3" fmla="*/ 403889 h 403889"/>
                <a:gd name="connsiteX4" fmla="*/ 0 w 311272"/>
                <a:gd name="connsiteY4" fmla="*/ 0 h 403889"/>
                <a:gd name="connsiteX0" fmla="*/ 0 w 311272"/>
                <a:gd name="connsiteY0" fmla="*/ 0 h 403889"/>
                <a:gd name="connsiteX1" fmla="*/ 311272 w 311272"/>
                <a:gd name="connsiteY1" fmla="*/ 132700 h 403889"/>
                <a:gd name="connsiteX2" fmla="*/ 306399 w 311272"/>
                <a:gd name="connsiteY2" fmla="*/ 403889 h 403889"/>
                <a:gd name="connsiteX3" fmla="*/ 0 w 311272"/>
                <a:gd name="connsiteY3" fmla="*/ 281621 h 403889"/>
                <a:gd name="connsiteX4" fmla="*/ 0 w 311272"/>
                <a:gd name="connsiteY4" fmla="*/ 0 h 40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1272" h="403889">
                  <a:moveTo>
                    <a:pt x="0" y="0"/>
                  </a:moveTo>
                  <a:lnTo>
                    <a:pt x="311272" y="132700"/>
                  </a:lnTo>
                  <a:cubicBezTo>
                    <a:pt x="309648" y="223096"/>
                    <a:pt x="308023" y="313493"/>
                    <a:pt x="306399" y="403889"/>
                  </a:cubicBezTo>
                  <a:lnTo>
                    <a:pt x="0" y="2816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71" name="Straight Connector 150">
              <a:extLst>
                <a:ext uri="{FF2B5EF4-FFF2-40B4-BE49-F238E27FC236}">
                  <a16:creationId xmlns:a16="http://schemas.microsoft.com/office/drawing/2014/main" id="{8AABF93C-8AF4-4959-9465-7DF7962E1BDE}"/>
                </a:ext>
              </a:extLst>
            </p:cNvPr>
            <p:cNvCxnSpPr/>
            <p:nvPr/>
          </p:nvCxnSpPr>
          <p:spPr>
            <a:xfrm flipV="1">
              <a:off x="6663672" y="2729909"/>
              <a:ext cx="1401123" cy="443596"/>
            </a:xfrm>
            <a:prstGeom prst="line">
              <a:avLst/>
            </a:prstGeom>
            <a:ln w="19050">
              <a:solidFill>
                <a:schemeClr val="tx1">
                  <a:lumMod val="95000"/>
                  <a:lumOff val="5000"/>
                  <a:alpha val="2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2" name="Freeform 151">
              <a:extLst>
                <a:ext uri="{FF2B5EF4-FFF2-40B4-BE49-F238E27FC236}">
                  <a16:creationId xmlns:a16="http://schemas.microsoft.com/office/drawing/2014/main" id="{6BD4CDA1-81CB-4B69-808F-6DCFCB5CBE1D}"/>
                </a:ext>
              </a:extLst>
            </p:cNvPr>
            <p:cNvSpPr/>
            <p:nvPr/>
          </p:nvSpPr>
          <p:spPr>
            <a:xfrm>
              <a:off x="6511272" y="2698547"/>
              <a:ext cx="1694601" cy="554578"/>
            </a:xfrm>
            <a:custGeom>
              <a:avLst/>
              <a:gdLst>
                <a:gd name="connsiteX0" fmla="*/ 0 w 304800"/>
                <a:gd name="connsiteY0" fmla="*/ 0 h 381000"/>
                <a:gd name="connsiteX1" fmla="*/ 304800 w 304800"/>
                <a:gd name="connsiteY1" fmla="*/ 0 h 381000"/>
                <a:gd name="connsiteX2" fmla="*/ 304800 w 304800"/>
                <a:gd name="connsiteY2" fmla="*/ 381000 h 381000"/>
                <a:gd name="connsiteX3" fmla="*/ 0 w 304800"/>
                <a:gd name="connsiteY3" fmla="*/ 381000 h 381000"/>
                <a:gd name="connsiteX4" fmla="*/ 0 w 304800"/>
                <a:gd name="connsiteY4" fmla="*/ 0 h 381000"/>
                <a:gd name="connsiteX0" fmla="*/ 0 w 320984"/>
                <a:gd name="connsiteY0" fmla="*/ 0 h 381000"/>
                <a:gd name="connsiteX1" fmla="*/ 320984 w 320984"/>
                <a:gd name="connsiteY1" fmla="*/ 113288 h 381000"/>
                <a:gd name="connsiteX2" fmla="*/ 304800 w 320984"/>
                <a:gd name="connsiteY2" fmla="*/ 381000 h 381000"/>
                <a:gd name="connsiteX3" fmla="*/ 0 w 320984"/>
                <a:gd name="connsiteY3" fmla="*/ 381000 h 381000"/>
                <a:gd name="connsiteX4" fmla="*/ 0 w 320984"/>
                <a:gd name="connsiteY4" fmla="*/ 0 h 381000"/>
                <a:gd name="connsiteX0" fmla="*/ 0 w 322583"/>
                <a:gd name="connsiteY0" fmla="*/ 0 h 403889"/>
                <a:gd name="connsiteX1" fmla="*/ 322583 w 322583"/>
                <a:gd name="connsiteY1" fmla="*/ 136177 h 403889"/>
                <a:gd name="connsiteX2" fmla="*/ 306399 w 322583"/>
                <a:gd name="connsiteY2" fmla="*/ 403889 h 403889"/>
                <a:gd name="connsiteX3" fmla="*/ 1599 w 322583"/>
                <a:gd name="connsiteY3" fmla="*/ 403889 h 403889"/>
                <a:gd name="connsiteX4" fmla="*/ 0 w 322583"/>
                <a:gd name="connsiteY4" fmla="*/ 0 h 403889"/>
                <a:gd name="connsiteX0" fmla="*/ 0 w 306399"/>
                <a:gd name="connsiteY0" fmla="*/ 0 h 403889"/>
                <a:gd name="connsiteX1" fmla="*/ 297805 w 306399"/>
                <a:gd name="connsiteY1" fmla="*/ 130962 h 403889"/>
                <a:gd name="connsiteX2" fmla="*/ 306399 w 306399"/>
                <a:gd name="connsiteY2" fmla="*/ 403889 h 403889"/>
                <a:gd name="connsiteX3" fmla="*/ 1599 w 306399"/>
                <a:gd name="connsiteY3" fmla="*/ 403889 h 403889"/>
                <a:gd name="connsiteX4" fmla="*/ 0 w 306399"/>
                <a:gd name="connsiteY4" fmla="*/ 0 h 403889"/>
                <a:gd name="connsiteX0" fmla="*/ 0 w 311272"/>
                <a:gd name="connsiteY0" fmla="*/ 0 h 403889"/>
                <a:gd name="connsiteX1" fmla="*/ 311272 w 311272"/>
                <a:gd name="connsiteY1" fmla="*/ 132700 h 403889"/>
                <a:gd name="connsiteX2" fmla="*/ 306399 w 311272"/>
                <a:gd name="connsiteY2" fmla="*/ 403889 h 403889"/>
                <a:gd name="connsiteX3" fmla="*/ 1599 w 311272"/>
                <a:gd name="connsiteY3" fmla="*/ 403889 h 403889"/>
                <a:gd name="connsiteX4" fmla="*/ 0 w 311272"/>
                <a:gd name="connsiteY4" fmla="*/ 0 h 403889"/>
                <a:gd name="connsiteX0" fmla="*/ 0 w 311272"/>
                <a:gd name="connsiteY0" fmla="*/ 0 h 403889"/>
                <a:gd name="connsiteX1" fmla="*/ 311272 w 311272"/>
                <a:gd name="connsiteY1" fmla="*/ 132700 h 403889"/>
                <a:gd name="connsiteX2" fmla="*/ 306399 w 311272"/>
                <a:gd name="connsiteY2" fmla="*/ 403889 h 403889"/>
                <a:gd name="connsiteX3" fmla="*/ 0 w 311272"/>
                <a:gd name="connsiteY3" fmla="*/ 281621 h 403889"/>
                <a:gd name="connsiteX4" fmla="*/ 0 w 311272"/>
                <a:gd name="connsiteY4" fmla="*/ 0 h 403889"/>
                <a:gd name="connsiteX0" fmla="*/ 1434322 w 1434322"/>
                <a:gd name="connsiteY0" fmla="*/ 0 h 542672"/>
                <a:gd name="connsiteX1" fmla="*/ 311272 w 1434322"/>
                <a:gd name="connsiteY1" fmla="*/ 271483 h 542672"/>
                <a:gd name="connsiteX2" fmla="*/ 306399 w 1434322"/>
                <a:gd name="connsiteY2" fmla="*/ 542672 h 542672"/>
                <a:gd name="connsiteX3" fmla="*/ 0 w 1434322"/>
                <a:gd name="connsiteY3" fmla="*/ 420404 h 542672"/>
                <a:gd name="connsiteX4" fmla="*/ 1434322 w 1434322"/>
                <a:gd name="connsiteY4" fmla="*/ 0 h 542672"/>
                <a:gd name="connsiteX0" fmla="*/ 1434322 w 1694601"/>
                <a:gd name="connsiteY0" fmla="*/ 0 h 542672"/>
                <a:gd name="connsiteX1" fmla="*/ 1694601 w 1694601"/>
                <a:gd name="connsiteY1" fmla="*/ 70697 h 542672"/>
                <a:gd name="connsiteX2" fmla="*/ 306399 w 1694601"/>
                <a:gd name="connsiteY2" fmla="*/ 542672 h 542672"/>
                <a:gd name="connsiteX3" fmla="*/ 0 w 1694601"/>
                <a:gd name="connsiteY3" fmla="*/ 420404 h 542672"/>
                <a:gd name="connsiteX4" fmla="*/ 1434322 w 1694601"/>
                <a:gd name="connsiteY4" fmla="*/ 0 h 542672"/>
                <a:gd name="connsiteX0" fmla="*/ 1434322 w 1694601"/>
                <a:gd name="connsiteY0" fmla="*/ 0 h 542672"/>
                <a:gd name="connsiteX1" fmla="*/ 1694601 w 1694601"/>
                <a:gd name="connsiteY1" fmla="*/ 70697 h 542672"/>
                <a:gd name="connsiteX2" fmla="*/ 306399 w 1694601"/>
                <a:gd name="connsiteY2" fmla="*/ 542672 h 542672"/>
                <a:gd name="connsiteX3" fmla="*/ 0 w 1694601"/>
                <a:gd name="connsiteY3" fmla="*/ 420404 h 542672"/>
                <a:gd name="connsiteX4" fmla="*/ 1434322 w 1694601"/>
                <a:gd name="connsiteY4" fmla="*/ 0 h 542672"/>
                <a:gd name="connsiteX0" fmla="*/ 1434322 w 1694601"/>
                <a:gd name="connsiteY0" fmla="*/ 0 h 554578"/>
                <a:gd name="connsiteX1" fmla="*/ 1694601 w 1694601"/>
                <a:gd name="connsiteY1" fmla="*/ 70697 h 554578"/>
                <a:gd name="connsiteX2" fmla="*/ 310368 w 1694601"/>
                <a:gd name="connsiteY2" fmla="*/ 554578 h 554578"/>
                <a:gd name="connsiteX3" fmla="*/ 0 w 1694601"/>
                <a:gd name="connsiteY3" fmla="*/ 420404 h 554578"/>
                <a:gd name="connsiteX4" fmla="*/ 1434322 w 1694601"/>
                <a:gd name="connsiteY4" fmla="*/ 0 h 554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94601" h="554578">
                  <a:moveTo>
                    <a:pt x="1434322" y="0"/>
                  </a:moveTo>
                  <a:lnTo>
                    <a:pt x="1694601" y="70697"/>
                  </a:lnTo>
                  <a:lnTo>
                    <a:pt x="310368" y="554578"/>
                  </a:lnTo>
                  <a:lnTo>
                    <a:pt x="0" y="420404"/>
                  </a:lnTo>
                  <a:lnTo>
                    <a:pt x="1434322" y="0"/>
                  </a:lnTo>
                  <a:close/>
                </a:path>
              </a:pathLst>
            </a:custGeom>
            <a:solidFill>
              <a:schemeClr val="bg1">
                <a:alpha val="2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4" name="Group 59">
            <a:extLst>
              <a:ext uri="{FF2B5EF4-FFF2-40B4-BE49-F238E27FC236}">
                <a16:creationId xmlns:a16="http://schemas.microsoft.com/office/drawing/2014/main" id="{E10C48FC-B879-437C-9390-D73AD750ED92}"/>
              </a:ext>
            </a:extLst>
          </p:cNvPr>
          <p:cNvGrpSpPr/>
          <p:nvPr/>
        </p:nvGrpSpPr>
        <p:grpSpPr>
          <a:xfrm>
            <a:off x="2189315" y="2652364"/>
            <a:ext cx="1679136" cy="1327773"/>
            <a:chOff x="6006782" y="2536601"/>
            <a:chExt cx="2778240" cy="2071976"/>
          </a:xfrm>
        </p:grpSpPr>
        <p:sp>
          <p:nvSpPr>
            <p:cNvPr id="75" name="Freeform 6">
              <a:extLst>
                <a:ext uri="{FF2B5EF4-FFF2-40B4-BE49-F238E27FC236}">
                  <a16:creationId xmlns:a16="http://schemas.microsoft.com/office/drawing/2014/main" id="{AB68A7FF-2B15-47DA-B95A-7EB59FEF99A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23351" y="2936767"/>
              <a:ext cx="1458698" cy="1671810"/>
            </a:xfrm>
            <a:custGeom>
              <a:avLst/>
              <a:gdLst>
                <a:gd name="connsiteX0" fmla="*/ 2998 w 2998"/>
                <a:gd name="connsiteY0" fmla="*/ 0 h 3436"/>
                <a:gd name="connsiteX1" fmla="*/ 2897 w 2998"/>
                <a:gd name="connsiteY1" fmla="*/ 1947 h 3436"/>
                <a:gd name="connsiteX2" fmla="*/ 0 w 2998"/>
                <a:gd name="connsiteY2" fmla="*/ 3436 h 3436"/>
                <a:gd name="connsiteX3" fmla="*/ 76 w 2998"/>
                <a:gd name="connsiteY3" fmla="*/ 1157 h 3436"/>
                <a:gd name="connsiteX4" fmla="*/ 2998 w 2998"/>
                <a:gd name="connsiteY4" fmla="*/ 0 h 3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98" h="3436">
                  <a:moveTo>
                    <a:pt x="2998" y="0"/>
                  </a:moveTo>
                  <a:cubicBezTo>
                    <a:pt x="2964" y="649"/>
                    <a:pt x="2931" y="1298"/>
                    <a:pt x="2897" y="1947"/>
                  </a:cubicBezTo>
                  <a:lnTo>
                    <a:pt x="0" y="3436"/>
                  </a:lnTo>
                  <a:cubicBezTo>
                    <a:pt x="42" y="2669"/>
                    <a:pt x="34" y="1924"/>
                    <a:pt x="76" y="1157"/>
                  </a:cubicBezTo>
                  <a:lnTo>
                    <a:pt x="2998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1C890">
                    <a:shade val="30000"/>
                    <a:satMod val="115000"/>
                  </a:srgbClr>
                </a:gs>
                <a:gs pos="50000">
                  <a:srgbClr val="F1C890">
                    <a:shade val="67500"/>
                    <a:satMod val="115000"/>
                  </a:srgbClr>
                </a:gs>
                <a:gs pos="100000">
                  <a:srgbClr val="F1C890">
                    <a:shade val="100000"/>
                    <a:satMod val="115000"/>
                  </a:srgbClr>
                </a:gs>
              </a:gsLst>
              <a:lin ang="13500000" scaled="1"/>
              <a:tileRect/>
            </a:gra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7">
              <a:extLst>
                <a:ext uri="{FF2B5EF4-FFF2-40B4-BE49-F238E27FC236}">
                  <a16:creationId xmlns:a16="http://schemas.microsoft.com/office/drawing/2014/main" id="{4D44089F-0771-4608-B1F9-EEB9EF16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2265" y="2891030"/>
              <a:ext cx="1371906" cy="1717547"/>
            </a:xfrm>
            <a:custGeom>
              <a:avLst/>
              <a:gdLst>
                <a:gd name="connsiteX0" fmla="*/ 0 w 2861"/>
                <a:gd name="connsiteY0" fmla="*/ 0 h 3530"/>
                <a:gd name="connsiteX1" fmla="*/ 2861 w 2861"/>
                <a:gd name="connsiteY1" fmla="*/ 1228 h 3530"/>
                <a:gd name="connsiteX2" fmla="*/ 2736 w 2861"/>
                <a:gd name="connsiteY2" fmla="*/ 3530 h 3530"/>
                <a:gd name="connsiteX3" fmla="*/ 45 w 2861"/>
                <a:gd name="connsiteY3" fmla="*/ 2081 h 3530"/>
                <a:gd name="connsiteX4" fmla="*/ 0 w 2861"/>
                <a:gd name="connsiteY4" fmla="*/ 0 h 3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61" h="3530">
                  <a:moveTo>
                    <a:pt x="0" y="0"/>
                  </a:moveTo>
                  <a:lnTo>
                    <a:pt x="2861" y="1228"/>
                  </a:lnTo>
                  <a:cubicBezTo>
                    <a:pt x="2819" y="1995"/>
                    <a:pt x="2778" y="2763"/>
                    <a:pt x="2736" y="3530"/>
                  </a:cubicBezTo>
                  <a:lnTo>
                    <a:pt x="45" y="2081"/>
                  </a:lnTo>
                  <a:cubicBezTo>
                    <a:pt x="30" y="1387"/>
                    <a:pt x="15" y="694"/>
                    <a:pt x="0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F1C890">
                    <a:shade val="30000"/>
                    <a:satMod val="115000"/>
                  </a:srgbClr>
                </a:gs>
                <a:gs pos="50000">
                  <a:srgbClr val="F1C890">
                    <a:shade val="67500"/>
                    <a:satMod val="115000"/>
                  </a:srgbClr>
                </a:gs>
                <a:gs pos="100000">
                  <a:srgbClr val="F1C89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8">
              <a:extLst>
                <a:ext uri="{FF2B5EF4-FFF2-40B4-BE49-F238E27FC236}">
                  <a16:creationId xmlns:a16="http://schemas.microsoft.com/office/drawing/2014/main" id="{A01BE4E3-E275-4E13-B170-5787859575A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6782" y="2536601"/>
              <a:ext cx="2778240" cy="973114"/>
            </a:xfrm>
            <a:custGeom>
              <a:avLst/>
              <a:gdLst>
                <a:gd name="connsiteX0" fmla="*/ 2987 w 4214"/>
                <a:gd name="connsiteY0" fmla="*/ 0 h 1406"/>
                <a:gd name="connsiteX1" fmla="*/ 4214 w 4214"/>
                <a:gd name="connsiteY1" fmla="*/ 377 h 1406"/>
                <a:gd name="connsiteX2" fmla="*/ 1413 w 4214"/>
                <a:gd name="connsiteY2" fmla="*/ 1406 h 1406"/>
                <a:gd name="connsiteX3" fmla="*/ 0 w 4214"/>
                <a:gd name="connsiteY3" fmla="*/ 753 h 1406"/>
                <a:gd name="connsiteX4" fmla="*/ 2987 w 4214"/>
                <a:gd name="connsiteY4" fmla="*/ 0 h 1406"/>
                <a:gd name="connsiteX0" fmla="*/ 2968 w 4195"/>
                <a:gd name="connsiteY0" fmla="*/ 0 h 1406"/>
                <a:gd name="connsiteX1" fmla="*/ 4195 w 4195"/>
                <a:gd name="connsiteY1" fmla="*/ 377 h 1406"/>
                <a:gd name="connsiteX2" fmla="*/ 1394 w 4195"/>
                <a:gd name="connsiteY2" fmla="*/ 1406 h 1406"/>
                <a:gd name="connsiteX3" fmla="*/ 0 w 4195"/>
                <a:gd name="connsiteY3" fmla="*/ 563 h 1406"/>
                <a:gd name="connsiteX4" fmla="*/ 2968 w 4195"/>
                <a:gd name="connsiteY4" fmla="*/ 0 h 1406"/>
                <a:gd name="connsiteX0" fmla="*/ 2987 w 4214"/>
                <a:gd name="connsiteY0" fmla="*/ 0 h 1406"/>
                <a:gd name="connsiteX1" fmla="*/ 4214 w 4214"/>
                <a:gd name="connsiteY1" fmla="*/ 377 h 1406"/>
                <a:gd name="connsiteX2" fmla="*/ 1413 w 4214"/>
                <a:gd name="connsiteY2" fmla="*/ 1406 h 1406"/>
                <a:gd name="connsiteX3" fmla="*/ 0 w 4214"/>
                <a:gd name="connsiteY3" fmla="*/ 729 h 1406"/>
                <a:gd name="connsiteX4" fmla="*/ 2987 w 4214"/>
                <a:gd name="connsiteY4" fmla="*/ 0 h 1406"/>
                <a:gd name="connsiteX0" fmla="*/ 2987 w 4214"/>
                <a:gd name="connsiteY0" fmla="*/ 0 h 1027"/>
                <a:gd name="connsiteX1" fmla="*/ 4214 w 4214"/>
                <a:gd name="connsiteY1" fmla="*/ 377 h 1027"/>
                <a:gd name="connsiteX2" fmla="*/ 1363 w 4214"/>
                <a:gd name="connsiteY2" fmla="*/ 1027 h 1027"/>
                <a:gd name="connsiteX3" fmla="*/ 0 w 4214"/>
                <a:gd name="connsiteY3" fmla="*/ 729 h 1027"/>
                <a:gd name="connsiteX4" fmla="*/ 2987 w 4214"/>
                <a:gd name="connsiteY4" fmla="*/ 0 h 1027"/>
                <a:gd name="connsiteX0" fmla="*/ 2987 w 4214"/>
                <a:gd name="connsiteY0" fmla="*/ 0 h 1337"/>
                <a:gd name="connsiteX1" fmla="*/ 4214 w 4214"/>
                <a:gd name="connsiteY1" fmla="*/ 377 h 1337"/>
                <a:gd name="connsiteX2" fmla="*/ 1393 w 4214"/>
                <a:gd name="connsiteY2" fmla="*/ 1337 h 1337"/>
                <a:gd name="connsiteX3" fmla="*/ 0 w 4214"/>
                <a:gd name="connsiteY3" fmla="*/ 729 h 1337"/>
                <a:gd name="connsiteX4" fmla="*/ 2987 w 4214"/>
                <a:gd name="connsiteY4" fmla="*/ 0 h 1337"/>
                <a:gd name="connsiteX0" fmla="*/ 2987 w 4214"/>
                <a:gd name="connsiteY0" fmla="*/ 0 h 2000"/>
                <a:gd name="connsiteX1" fmla="*/ 4214 w 4214"/>
                <a:gd name="connsiteY1" fmla="*/ 377 h 2000"/>
                <a:gd name="connsiteX2" fmla="*/ 2904 w 4214"/>
                <a:gd name="connsiteY2" fmla="*/ 2000 h 2000"/>
                <a:gd name="connsiteX3" fmla="*/ 0 w 4214"/>
                <a:gd name="connsiteY3" fmla="*/ 729 h 2000"/>
                <a:gd name="connsiteX4" fmla="*/ 2987 w 4214"/>
                <a:gd name="connsiteY4" fmla="*/ 0 h 2000"/>
                <a:gd name="connsiteX0" fmla="*/ 2987 w 5765"/>
                <a:gd name="connsiteY0" fmla="*/ 0 h 2000"/>
                <a:gd name="connsiteX1" fmla="*/ 5765 w 5765"/>
                <a:gd name="connsiteY1" fmla="*/ 856 h 2000"/>
                <a:gd name="connsiteX2" fmla="*/ 2904 w 5765"/>
                <a:gd name="connsiteY2" fmla="*/ 2000 h 2000"/>
                <a:gd name="connsiteX3" fmla="*/ 0 w 5765"/>
                <a:gd name="connsiteY3" fmla="*/ 729 h 2000"/>
                <a:gd name="connsiteX4" fmla="*/ 2987 w 5765"/>
                <a:gd name="connsiteY4" fmla="*/ 0 h 2000"/>
                <a:gd name="connsiteX0" fmla="*/ 2987 w 5765"/>
                <a:gd name="connsiteY0" fmla="*/ 0 h 2000"/>
                <a:gd name="connsiteX1" fmla="*/ 5765 w 5765"/>
                <a:gd name="connsiteY1" fmla="*/ 856 h 2000"/>
                <a:gd name="connsiteX2" fmla="*/ 2827 w 5765"/>
                <a:gd name="connsiteY2" fmla="*/ 2000 h 2000"/>
                <a:gd name="connsiteX3" fmla="*/ 0 w 5765"/>
                <a:gd name="connsiteY3" fmla="*/ 729 h 2000"/>
                <a:gd name="connsiteX4" fmla="*/ 2987 w 5765"/>
                <a:gd name="connsiteY4" fmla="*/ 0 h 2000"/>
                <a:gd name="connsiteX0" fmla="*/ 2987 w 5303"/>
                <a:gd name="connsiteY0" fmla="*/ 0 h 2000"/>
                <a:gd name="connsiteX1" fmla="*/ 5303 w 5303"/>
                <a:gd name="connsiteY1" fmla="*/ 856 h 2000"/>
                <a:gd name="connsiteX2" fmla="*/ 2827 w 5303"/>
                <a:gd name="connsiteY2" fmla="*/ 2000 h 2000"/>
                <a:gd name="connsiteX3" fmla="*/ 0 w 5303"/>
                <a:gd name="connsiteY3" fmla="*/ 729 h 2000"/>
                <a:gd name="connsiteX4" fmla="*/ 2987 w 5303"/>
                <a:gd name="connsiteY4" fmla="*/ 0 h 2000"/>
                <a:gd name="connsiteX0" fmla="*/ 2987 w 5732"/>
                <a:gd name="connsiteY0" fmla="*/ 0 h 2000"/>
                <a:gd name="connsiteX1" fmla="*/ 5732 w 5732"/>
                <a:gd name="connsiteY1" fmla="*/ 834 h 2000"/>
                <a:gd name="connsiteX2" fmla="*/ 2827 w 5732"/>
                <a:gd name="connsiteY2" fmla="*/ 2000 h 2000"/>
                <a:gd name="connsiteX3" fmla="*/ 0 w 5732"/>
                <a:gd name="connsiteY3" fmla="*/ 729 h 2000"/>
                <a:gd name="connsiteX4" fmla="*/ 2987 w 5732"/>
                <a:gd name="connsiteY4" fmla="*/ 0 h 2000"/>
                <a:gd name="connsiteX0" fmla="*/ 2987 w 5688"/>
                <a:gd name="connsiteY0" fmla="*/ 0 h 2000"/>
                <a:gd name="connsiteX1" fmla="*/ 5688 w 5688"/>
                <a:gd name="connsiteY1" fmla="*/ 856 h 2000"/>
                <a:gd name="connsiteX2" fmla="*/ 2827 w 5688"/>
                <a:gd name="connsiteY2" fmla="*/ 2000 h 2000"/>
                <a:gd name="connsiteX3" fmla="*/ 0 w 5688"/>
                <a:gd name="connsiteY3" fmla="*/ 729 h 2000"/>
                <a:gd name="connsiteX4" fmla="*/ 2987 w 5688"/>
                <a:gd name="connsiteY4" fmla="*/ 0 h 2000"/>
                <a:gd name="connsiteX0" fmla="*/ 2987 w 5721"/>
                <a:gd name="connsiteY0" fmla="*/ 0 h 2000"/>
                <a:gd name="connsiteX1" fmla="*/ 5721 w 5721"/>
                <a:gd name="connsiteY1" fmla="*/ 845 h 2000"/>
                <a:gd name="connsiteX2" fmla="*/ 2827 w 5721"/>
                <a:gd name="connsiteY2" fmla="*/ 2000 h 2000"/>
                <a:gd name="connsiteX3" fmla="*/ 0 w 5721"/>
                <a:gd name="connsiteY3" fmla="*/ 729 h 2000"/>
                <a:gd name="connsiteX4" fmla="*/ 2987 w 5721"/>
                <a:gd name="connsiteY4" fmla="*/ 0 h 2000"/>
                <a:gd name="connsiteX0" fmla="*/ 2987 w 5633"/>
                <a:gd name="connsiteY0" fmla="*/ 0 h 2000"/>
                <a:gd name="connsiteX1" fmla="*/ 5633 w 5633"/>
                <a:gd name="connsiteY1" fmla="*/ 845 h 2000"/>
                <a:gd name="connsiteX2" fmla="*/ 2827 w 5633"/>
                <a:gd name="connsiteY2" fmla="*/ 2000 h 2000"/>
                <a:gd name="connsiteX3" fmla="*/ 0 w 5633"/>
                <a:gd name="connsiteY3" fmla="*/ 729 h 2000"/>
                <a:gd name="connsiteX4" fmla="*/ 2987 w 5633"/>
                <a:gd name="connsiteY4" fmla="*/ 0 h 2000"/>
                <a:gd name="connsiteX0" fmla="*/ 2987 w 5677"/>
                <a:gd name="connsiteY0" fmla="*/ 0 h 2000"/>
                <a:gd name="connsiteX1" fmla="*/ 5677 w 5677"/>
                <a:gd name="connsiteY1" fmla="*/ 812 h 2000"/>
                <a:gd name="connsiteX2" fmla="*/ 2827 w 5677"/>
                <a:gd name="connsiteY2" fmla="*/ 2000 h 2000"/>
                <a:gd name="connsiteX3" fmla="*/ 0 w 5677"/>
                <a:gd name="connsiteY3" fmla="*/ 729 h 2000"/>
                <a:gd name="connsiteX4" fmla="*/ 2987 w 5677"/>
                <a:gd name="connsiteY4" fmla="*/ 0 h 2000"/>
                <a:gd name="connsiteX0" fmla="*/ 2987 w 5710"/>
                <a:gd name="connsiteY0" fmla="*/ 0 h 2000"/>
                <a:gd name="connsiteX1" fmla="*/ 5710 w 5710"/>
                <a:gd name="connsiteY1" fmla="*/ 834 h 2000"/>
                <a:gd name="connsiteX2" fmla="*/ 2827 w 5710"/>
                <a:gd name="connsiteY2" fmla="*/ 2000 h 2000"/>
                <a:gd name="connsiteX3" fmla="*/ 0 w 5710"/>
                <a:gd name="connsiteY3" fmla="*/ 729 h 2000"/>
                <a:gd name="connsiteX4" fmla="*/ 2987 w 5710"/>
                <a:gd name="connsiteY4" fmla="*/ 0 h 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0" h="2000">
                  <a:moveTo>
                    <a:pt x="2987" y="0"/>
                  </a:moveTo>
                  <a:lnTo>
                    <a:pt x="5710" y="834"/>
                  </a:lnTo>
                  <a:lnTo>
                    <a:pt x="2827" y="2000"/>
                  </a:lnTo>
                  <a:lnTo>
                    <a:pt x="0" y="729"/>
                  </a:lnTo>
                  <a:lnTo>
                    <a:pt x="2987" y="0"/>
                  </a:lnTo>
                  <a:close/>
                </a:path>
              </a:pathLst>
            </a:custGeom>
            <a:gradFill flip="none" rotWithShape="1">
              <a:gsLst>
                <a:gs pos="50000">
                  <a:srgbClr val="F1C890">
                    <a:shade val="67500"/>
                    <a:satMod val="115000"/>
                  </a:srgbClr>
                </a:gs>
                <a:gs pos="100000">
                  <a:srgbClr val="F1C890">
                    <a:shade val="100000"/>
                    <a:satMod val="115000"/>
                  </a:srgbClr>
                </a:gs>
              </a:gsLst>
              <a:lin ang="18900000" scaled="1"/>
              <a:tileRect/>
            </a:gra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167">
              <a:extLst>
                <a:ext uri="{FF2B5EF4-FFF2-40B4-BE49-F238E27FC236}">
                  <a16:creationId xmlns:a16="http://schemas.microsoft.com/office/drawing/2014/main" id="{20BC8B21-C062-47A2-81A6-F3AE98B19B58}"/>
                </a:ext>
              </a:extLst>
            </p:cNvPr>
            <p:cNvSpPr/>
            <p:nvPr/>
          </p:nvSpPr>
          <p:spPr>
            <a:xfrm>
              <a:off x="6509673" y="3119240"/>
              <a:ext cx="311272" cy="403889"/>
            </a:xfrm>
            <a:custGeom>
              <a:avLst/>
              <a:gdLst>
                <a:gd name="connsiteX0" fmla="*/ 0 w 304800"/>
                <a:gd name="connsiteY0" fmla="*/ 0 h 381000"/>
                <a:gd name="connsiteX1" fmla="*/ 304800 w 304800"/>
                <a:gd name="connsiteY1" fmla="*/ 0 h 381000"/>
                <a:gd name="connsiteX2" fmla="*/ 304800 w 304800"/>
                <a:gd name="connsiteY2" fmla="*/ 381000 h 381000"/>
                <a:gd name="connsiteX3" fmla="*/ 0 w 304800"/>
                <a:gd name="connsiteY3" fmla="*/ 381000 h 381000"/>
                <a:gd name="connsiteX4" fmla="*/ 0 w 304800"/>
                <a:gd name="connsiteY4" fmla="*/ 0 h 381000"/>
                <a:gd name="connsiteX0" fmla="*/ 0 w 320984"/>
                <a:gd name="connsiteY0" fmla="*/ 0 h 381000"/>
                <a:gd name="connsiteX1" fmla="*/ 320984 w 320984"/>
                <a:gd name="connsiteY1" fmla="*/ 113288 h 381000"/>
                <a:gd name="connsiteX2" fmla="*/ 304800 w 320984"/>
                <a:gd name="connsiteY2" fmla="*/ 381000 h 381000"/>
                <a:gd name="connsiteX3" fmla="*/ 0 w 320984"/>
                <a:gd name="connsiteY3" fmla="*/ 381000 h 381000"/>
                <a:gd name="connsiteX4" fmla="*/ 0 w 320984"/>
                <a:gd name="connsiteY4" fmla="*/ 0 h 381000"/>
                <a:gd name="connsiteX0" fmla="*/ 0 w 322583"/>
                <a:gd name="connsiteY0" fmla="*/ 0 h 403889"/>
                <a:gd name="connsiteX1" fmla="*/ 322583 w 322583"/>
                <a:gd name="connsiteY1" fmla="*/ 136177 h 403889"/>
                <a:gd name="connsiteX2" fmla="*/ 306399 w 322583"/>
                <a:gd name="connsiteY2" fmla="*/ 403889 h 403889"/>
                <a:gd name="connsiteX3" fmla="*/ 1599 w 322583"/>
                <a:gd name="connsiteY3" fmla="*/ 403889 h 403889"/>
                <a:gd name="connsiteX4" fmla="*/ 0 w 322583"/>
                <a:gd name="connsiteY4" fmla="*/ 0 h 403889"/>
                <a:gd name="connsiteX0" fmla="*/ 0 w 306399"/>
                <a:gd name="connsiteY0" fmla="*/ 0 h 403889"/>
                <a:gd name="connsiteX1" fmla="*/ 297805 w 306399"/>
                <a:gd name="connsiteY1" fmla="*/ 130962 h 403889"/>
                <a:gd name="connsiteX2" fmla="*/ 306399 w 306399"/>
                <a:gd name="connsiteY2" fmla="*/ 403889 h 403889"/>
                <a:gd name="connsiteX3" fmla="*/ 1599 w 306399"/>
                <a:gd name="connsiteY3" fmla="*/ 403889 h 403889"/>
                <a:gd name="connsiteX4" fmla="*/ 0 w 306399"/>
                <a:gd name="connsiteY4" fmla="*/ 0 h 403889"/>
                <a:gd name="connsiteX0" fmla="*/ 0 w 311272"/>
                <a:gd name="connsiteY0" fmla="*/ 0 h 403889"/>
                <a:gd name="connsiteX1" fmla="*/ 311272 w 311272"/>
                <a:gd name="connsiteY1" fmla="*/ 132700 h 403889"/>
                <a:gd name="connsiteX2" fmla="*/ 306399 w 311272"/>
                <a:gd name="connsiteY2" fmla="*/ 403889 h 403889"/>
                <a:gd name="connsiteX3" fmla="*/ 1599 w 311272"/>
                <a:gd name="connsiteY3" fmla="*/ 403889 h 403889"/>
                <a:gd name="connsiteX4" fmla="*/ 0 w 311272"/>
                <a:gd name="connsiteY4" fmla="*/ 0 h 403889"/>
                <a:gd name="connsiteX0" fmla="*/ 0 w 311272"/>
                <a:gd name="connsiteY0" fmla="*/ 0 h 403889"/>
                <a:gd name="connsiteX1" fmla="*/ 311272 w 311272"/>
                <a:gd name="connsiteY1" fmla="*/ 132700 h 403889"/>
                <a:gd name="connsiteX2" fmla="*/ 306399 w 311272"/>
                <a:gd name="connsiteY2" fmla="*/ 403889 h 403889"/>
                <a:gd name="connsiteX3" fmla="*/ 0 w 311272"/>
                <a:gd name="connsiteY3" fmla="*/ 281621 h 403889"/>
                <a:gd name="connsiteX4" fmla="*/ 0 w 311272"/>
                <a:gd name="connsiteY4" fmla="*/ 0 h 40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1272" h="403889">
                  <a:moveTo>
                    <a:pt x="0" y="0"/>
                  </a:moveTo>
                  <a:lnTo>
                    <a:pt x="311272" y="132700"/>
                  </a:lnTo>
                  <a:cubicBezTo>
                    <a:pt x="309648" y="223096"/>
                    <a:pt x="308023" y="313493"/>
                    <a:pt x="306399" y="403889"/>
                  </a:cubicBezTo>
                  <a:lnTo>
                    <a:pt x="0" y="2816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80" name="Straight Connector 168">
              <a:extLst>
                <a:ext uri="{FF2B5EF4-FFF2-40B4-BE49-F238E27FC236}">
                  <a16:creationId xmlns:a16="http://schemas.microsoft.com/office/drawing/2014/main" id="{4D720BF1-D719-4136-BB29-8D6A18425F1B}"/>
                </a:ext>
              </a:extLst>
            </p:cNvPr>
            <p:cNvCxnSpPr/>
            <p:nvPr/>
          </p:nvCxnSpPr>
          <p:spPr>
            <a:xfrm flipV="1">
              <a:off x="6663672" y="2729909"/>
              <a:ext cx="1401123" cy="443596"/>
            </a:xfrm>
            <a:prstGeom prst="line">
              <a:avLst/>
            </a:prstGeom>
            <a:ln w="19050">
              <a:solidFill>
                <a:schemeClr val="tx1">
                  <a:lumMod val="95000"/>
                  <a:lumOff val="5000"/>
                  <a:alpha val="2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1" name="Freeform 169">
              <a:extLst>
                <a:ext uri="{FF2B5EF4-FFF2-40B4-BE49-F238E27FC236}">
                  <a16:creationId xmlns:a16="http://schemas.microsoft.com/office/drawing/2014/main" id="{749A5001-0646-4A4C-AB6D-0700A5AC84EA}"/>
                </a:ext>
              </a:extLst>
            </p:cNvPr>
            <p:cNvSpPr/>
            <p:nvPr/>
          </p:nvSpPr>
          <p:spPr>
            <a:xfrm>
              <a:off x="6511272" y="2698547"/>
              <a:ext cx="1694601" cy="554578"/>
            </a:xfrm>
            <a:custGeom>
              <a:avLst/>
              <a:gdLst>
                <a:gd name="connsiteX0" fmla="*/ 0 w 304800"/>
                <a:gd name="connsiteY0" fmla="*/ 0 h 381000"/>
                <a:gd name="connsiteX1" fmla="*/ 304800 w 304800"/>
                <a:gd name="connsiteY1" fmla="*/ 0 h 381000"/>
                <a:gd name="connsiteX2" fmla="*/ 304800 w 304800"/>
                <a:gd name="connsiteY2" fmla="*/ 381000 h 381000"/>
                <a:gd name="connsiteX3" fmla="*/ 0 w 304800"/>
                <a:gd name="connsiteY3" fmla="*/ 381000 h 381000"/>
                <a:gd name="connsiteX4" fmla="*/ 0 w 304800"/>
                <a:gd name="connsiteY4" fmla="*/ 0 h 381000"/>
                <a:gd name="connsiteX0" fmla="*/ 0 w 320984"/>
                <a:gd name="connsiteY0" fmla="*/ 0 h 381000"/>
                <a:gd name="connsiteX1" fmla="*/ 320984 w 320984"/>
                <a:gd name="connsiteY1" fmla="*/ 113288 h 381000"/>
                <a:gd name="connsiteX2" fmla="*/ 304800 w 320984"/>
                <a:gd name="connsiteY2" fmla="*/ 381000 h 381000"/>
                <a:gd name="connsiteX3" fmla="*/ 0 w 320984"/>
                <a:gd name="connsiteY3" fmla="*/ 381000 h 381000"/>
                <a:gd name="connsiteX4" fmla="*/ 0 w 320984"/>
                <a:gd name="connsiteY4" fmla="*/ 0 h 381000"/>
                <a:gd name="connsiteX0" fmla="*/ 0 w 322583"/>
                <a:gd name="connsiteY0" fmla="*/ 0 h 403889"/>
                <a:gd name="connsiteX1" fmla="*/ 322583 w 322583"/>
                <a:gd name="connsiteY1" fmla="*/ 136177 h 403889"/>
                <a:gd name="connsiteX2" fmla="*/ 306399 w 322583"/>
                <a:gd name="connsiteY2" fmla="*/ 403889 h 403889"/>
                <a:gd name="connsiteX3" fmla="*/ 1599 w 322583"/>
                <a:gd name="connsiteY3" fmla="*/ 403889 h 403889"/>
                <a:gd name="connsiteX4" fmla="*/ 0 w 322583"/>
                <a:gd name="connsiteY4" fmla="*/ 0 h 403889"/>
                <a:gd name="connsiteX0" fmla="*/ 0 w 306399"/>
                <a:gd name="connsiteY0" fmla="*/ 0 h 403889"/>
                <a:gd name="connsiteX1" fmla="*/ 297805 w 306399"/>
                <a:gd name="connsiteY1" fmla="*/ 130962 h 403889"/>
                <a:gd name="connsiteX2" fmla="*/ 306399 w 306399"/>
                <a:gd name="connsiteY2" fmla="*/ 403889 h 403889"/>
                <a:gd name="connsiteX3" fmla="*/ 1599 w 306399"/>
                <a:gd name="connsiteY3" fmla="*/ 403889 h 403889"/>
                <a:gd name="connsiteX4" fmla="*/ 0 w 306399"/>
                <a:gd name="connsiteY4" fmla="*/ 0 h 403889"/>
                <a:gd name="connsiteX0" fmla="*/ 0 w 311272"/>
                <a:gd name="connsiteY0" fmla="*/ 0 h 403889"/>
                <a:gd name="connsiteX1" fmla="*/ 311272 w 311272"/>
                <a:gd name="connsiteY1" fmla="*/ 132700 h 403889"/>
                <a:gd name="connsiteX2" fmla="*/ 306399 w 311272"/>
                <a:gd name="connsiteY2" fmla="*/ 403889 h 403889"/>
                <a:gd name="connsiteX3" fmla="*/ 1599 w 311272"/>
                <a:gd name="connsiteY3" fmla="*/ 403889 h 403889"/>
                <a:gd name="connsiteX4" fmla="*/ 0 w 311272"/>
                <a:gd name="connsiteY4" fmla="*/ 0 h 403889"/>
                <a:gd name="connsiteX0" fmla="*/ 0 w 311272"/>
                <a:gd name="connsiteY0" fmla="*/ 0 h 403889"/>
                <a:gd name="connsiteX1" fmla="*/ 311272 w 311272"/>
                <a:gd name="connsiteY1" fmla="*/ 132700 h 403889"/>
                <a:gd name="connsiteX2" fmla="*/ 306399 w 311272"/>
                <a:gd name="connsiteY2" fmla="*/ 403889 h 403889"/>
                <a:gd name="connsiteX3" fmla="*/ 0 w 311272"/>
                <a:gd name="connsiteY3" fmla="*/ 281621 h 403889"/>
                <a:gd name="connsiteX4" fmla="*/ 0 w 311272"/>
                <a:gd name="connsiteY4" fmla="*/ 0 h 403889"/>
                <a:gd name="connsiteX0" fmla="*/ 1434322 w 1434322"/>
                <a:gd name="connsiteY0" fmla="*/ 0 h 542672"/>
                <a:gd name="connsiteX1" fmla="*/ 311272 w 1434322"/>
                <a:gd name="connsiteY1" fmla="*/ 271483 h 542672"/>
                <a:gd name="connsiteX2" fmla="*/ 306399 w 1434322"/>
                <a:gd name="connsiteY2" fmla="*/ 542672 h 542672"/>
                <a:gd name="connsiteX3" fmla="*/ 0 w 1434322"/>
                <a:gd name="connsiteY3" fmla="*/ 420404 h 542672"/>
                <a:gd name="connsiteX4" fmla="*/ 1434322 w 1434322"/>
                <a:gd name="connsiteY4" fmla="*/ 0 h 542672"/>
                <a:gd name="connsiteX0" fmla="*/ 1434322 w 1694601"/>
                <a:gd name="connsiteY0" fmla="*/ 0 h 542672"/>
                <a:gd name="connsiteX1" fmla="*/ 1694601 w 1694601"/>
                <a:gd name="connsiteY1" fmla="*/ 70697 h 542672"/>
                <a:gd name="connsiteX2" fmla="*/ 306399 w 1694601"/>
                <a:gd name="connsiteY2" fmla="*/ 542672 h 542672"/>
                <a:gd name="connsiteX3" fmla="*/ 0 w 1694601"/>
                <a:gd name="connsiteY3" fmla="*/ 420404 h 542672"/>
                <a:gd name="connsiteX4" fmla="*/ 1434322 w 1694601"/>
                <a:gd name="connsiteY4" fmla="*/ 0 h 542672"/>
                <a:gd name="connsiteX0" fmla="*/ 1434322 w 1694601"/>
                <a:gd name="connsiteY0" fmla="*/ 0 h 542672"/>
                <a:gd name="connsiteX1" fmla="*/ 1694601 w 1694601"/>
                <a:gd name="connsiteY1" fmla="*/ 70697 h 542672"/>
                <a:gd name="connsiteX2" fmla="*/ 306399 w 1694601"/>
                <a:gd name="connsiteY2" fmla="*/ 542672 h 542672"/>
                <a:gd name="connsiteX3" fmla="*/ 0 w 1694601"/>
                <a:gd name="connsiteY3" fmla="*/ 420404 h 542672"/>
                <a:gd name="connsiteX4" fmla="*/ 1434322 w 1694601"/>
                <a:gd name="connsiteY4" fmla="*/ 0 h 542672"/>
                <a:gd name="connsiteX0" fmla="*/ 1434322 w 1694601"/>
                <a:gd name="connsiteY0" fmla="*/ 0 h 554578"/>
                <a:gd name="connsiteX1" fmla="*/ 1694601 w 1694601"/>
                <a:gd name="connsiteY1" fmla="*/ 70697 h 554578"/>
                <a:gd name="connsiteX2" fmla="*/ 310368 w 1694601"/>
                <a:gd name="connsiteY2" fmla="*/ 554578 h 554578"/>
                <a:gd name="connsiteX3" fmla="*/ 0 w 1694601"/>
                <a:gd name="connsiteY3" fmla="*/ 420404 h 554578"/>
                <a:gd name="connsiteX4" fmla="*/ 1434322 w 1694601"/>
                <a:gd name="connsiteY4" fmla="*/ 0 h 554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94601" h="554578">
                  <a:moveTo>
                    <a:pt x="1434322" y="0"/>
                  </a:moveTo>
                  <a:lnTo>
                    <a:pt x="1694601" y="70697"/>
                  </a:lnTo>
                  <a:lnTo>
                    <a:pt x="310368" y="554578"/>
                  </a:lnTo>
                  <a:lnTo>
                    <a:pt x="0" y="420404"/>
                  </a:lnTo>
                  <a:lnTo>
                    <a:pt x="1434322" y="0"/>
                  </a:lnTo>
                  <a:close/>
                </a:path>
              </a:pathLst>
            </a:custGeom>
            <a:solidFill>
              <a:schemeClr val="bg1">
                <a:alpha val="2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2BA3FD37-EF8A-4C65-BC00-21C6C199D424}"/>
              </a:ext>
            </a:extLst>
          </p:cNvPr>
          <p:cNvCxnSpPr>
            <a:cxnSpLocks/>
          </p:cNvCxnSpPr>
          <p:nvPr/>
        </p:nvCxnSpPr>
        <p:spPr>
          <a:xfrm flipH="1">
            <a:off x="3615601" y="2062323"/>
            <a:ext cx="6924580" cy="9404"/>
          </a:xfrm>
          <a:prstGeom prst="line">
            <a:avLst/>
          </a:prstGeom>
          <a:ln w="254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Textfeld 83">
            <a:extLst>
              <a:ext uri="{FF2B5EF4-FFF2-40B4-BE49-F238E27FC236}">
                <a16:creationId xmlns:a16="http://schemas.microsoft.com/office/drawing/2014/main" id="{DC7E733E-3198-42BA-A8A0-C708CD768FFD}"/>
              </a:ext>
            </a:extLst>
          </p:cNvPr>
          <p:cNvSpPr txBox="1"/>
          <p:nvPr/>
        </p:nvSpPr>
        <p:spPr>
          <a:xfrm>
            <a:off x="3911033" y="2155418"/>
            <a:ext cx="1025523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33347" indent="-133347" defTabSz="684593">
              <a:spcAft>
                <a:spcPts val="600"/>
              </a:spcAft>
              <a:buSzPct val="120000"/>
              <a:defRPr/>
            </a:pPr>
            <a:r>
              <a:rPr lang="de-DE" sz="1400" kern="0" dirty="0">
                <a:solidFill>
                  <a:srgbClr val="000000"/>
                </a:solidFill>
              </a:rPr>
              <a:t>	</a:t>
            </a:r>
            <a:r>
              <a:rPr lang="de-DE" sz="1400" b="1" kern="0" dirty="0">
                <a:solidFill>
                  <a:srgbClr val="000000"/>
                </a:solidFill>
              </a:rPr>
              <a:t>&gt;= 40%</a:t>
            </a:r>
          </a:p>
          <a:p>
            <a:pPr marL="176213" indent="-87313" defTabSz="684593"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de-DE" sz="1400" kern="0" dirty="0">
              <a:solidFill>
                <a:srgbClr val="000000"/>
              </a:solidFill>
            </a:endParaRPr>
          </a:p>
        </p:txBody>
      </p:sp>
      <p:grpSp>
        <p:nvGrpSpPr>
          <p:cNvPr id="12" name="1 Harvey 50%">
            <a:extLst>
              <a:ext uri="{FF2B5EF4-FFF2-40B4-BE49-F238E27FC236}">
                <a16:creationId xmlns:a16="http://schemas.microsoft.com/office/drawing/2014/main" id="{174782AB-D482-4617-9D19-7D6DDBCEC057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4153784" y="2494869"/>
            <a:ext cx="357188" cy="367669"/>
            <a:chOff x="5083392" y="2279396"/>
            <a:chExt cx="357188" cy="367669"/>
          </a:xfrm>
        </p:grpSpPr>
        <p:sp>
          <p:nvSpPr>
            <p:cNvPr id="88" name="Harvey Ball">
              <a:extLst>
                <a:ext uri="{FF2B5EF4-FFF2-40B4-BE49-F238E27FC236}">
                  <a16:creationId xmlns:a16="http://schemas.microsoft.com/office/drawing/2014/main" id="{FC356154-8F8A-46B3-86D3-5AED10DDA1C1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5083392" y="2279396"/>
              <a:ext cx="357188" cy="357188"/>
            </a:xfrm>
            <a:prstGeom prst="ellipse">
              <a:avLst/>
            </a:prstGeom>
            <a:solidFill>
              <a:schemeClr val="bg1"/>
            </a:solidFill>
            <a:ln w="25400" algn="ctr">
              <a:solidFill>
                <a:schemeClr val="accent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endParaRPr lang="de-DE" sz="2400" dirty="0">
                <a:latin typeface="Arial" pitchFamily="34" charset="0"/>
              </a:endParaRPr>
            </a:p>
          </p:txBody>
        </p:sp>
        <p:sp>
          <p:nvSpPr>
            <p:cNvPr id="89" name="Harvey Ball">
              <a:extLst>
                <a:ext uri="{FF2B5EF4-FFF2-40B4-BE49-F238E27FC236}">
                  <a16:creationId xmlns:a16="http://schemas.microsoft.com/office/drawing/2014/main" id="{A450D0FE-E4D4-480E-A482-212C229E87AE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 bwMode="auto">
            <a:xfrm>
              <a:off x="5083392" y="2289877"/>
              <a:ext cx="357188" cy="357188"/>
            </a:xfrm>
            <a:prstGeom prst="pie">
              <a:avLst>
                <a:gd name="adj1" fmla="val 16200000"/>
                <a:gd name="adj2" fmla="val 5400000"/>
              </a:avLst>
            </a:prstGeom>
            <a:solidFill>
              <a:schemeClr val="accent1"/>
            </a:solidFill>
            <a:ln w="127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 algn="ct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  <a:defRPr/>
              </a:pPr>
              <a:endParaRPr lang="de-DE" sz="2400" dirty="0">
                <a:latin typeface="Arial" pitchFamily="34" charset="0"/>
              </a:endParaRPr>
            </a:p>
          </p:txBody>
        </p:sp>
      </p:grpSp>
      <p:pic>
        <p:nvPicPr>
          <p:cNvPr id="13" name="Grafik 12">
            <a:extLst>
              <a:ext uri="{FF2B5EF4-FFF2-40B4-BE49-F238E27FC236}">
                <a16:creationId xmlns:a16="http://schemas.microsoft.com/office/drawing/2014/main" id="{B49A0CA8-85FD-47DA-A905-1D6FAB48855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936556" y="2280036"/>
            <a:ext cx="1554708" cy="481036"/>
          </a:xfrm>
          <a:prstGeom prst="rect">
            <a:avLst/>
          </a:prstGeom>
        </p:spPr>
      </p:pic>
      <p:cxnSp>
        <p:nvCxnSpPr>
          <p:cNvPr id="91" name="Gerader Verbinder 90">
            <a:extLst>
              <a:ext uri="{FF2B5EF4-FFF2-40B4-BE49-F238E27FC236}">
                <a16:creationId xmlns:a16="http://schemas.microsoft.com/office/drawing/2014/main" id="{19B98A38-8F21-46E3-930F-74F8F1139BAF}"/>
              </a:ext>
            </a:extLst>
          </p:cNvPr>
          <p:cNvCxnSpPr>
            <a:cxnSpLocks/>
          </p:cNvCxnSpPr>
          <p:nvPr/>
        </p:nvCxnSpPr>
        <p:spPr>
          <a:xfrm>
            <a:off x="4061238" y="3111530"/>
            <a:ext cx="6478943" cy="0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Textfeld 94">
            <a:extLst>
              <a:ext uri="{FF2B5EF4-FFF2-40B4-BE49-F238E27FC236}">
                <a16:creationId xmlns:a16="http://schemas.microsoft.com/office/drawing/2014/main" id="{10975F0F-F566-4913-A535-D5EE30ABBE14}"/>
              </a:ext>
            </a:extLst>
          </p:cNvPr>
          <p:cNvSpPr txBox="1"/>
          <p:nvPr/>
        </p:nvSpPr>
        <p:spPr>
          <a:xfrm>
            <a:off x="3915949" y="3133729"/>
            <a:ext cx="1025523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33347" indent="-133347" defTabSz="684593">
              <a:spcAft>
                <a:spcPts val="600"/>
              </a:spcAft>
              <a:buSzPct val="120000"/>
              <a:defRPr/>
            </a:pPr>
            <a:r>
              <a:rPr lang="de-DE" sz="1400" b="1" kern="0" dirty="0">
                <a:solidFill>
                  <a:srgbClr val="000000"/>
                </a:solidFill>
              </a:rPr>
              <a:t>   5-15%</a:t>
            </a:r>
          </a:p>
          <a:p>
            <a:pPr marL="176213" indent="-87313" defTabSz="684593"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de-DE" sz="1400" kern="0" dirty="0">
              <a:solidFill>
                <a:srgbClr val="000000"/>
              </a:solidFill>
            </a:endParaRPr>
          </a:p>
        </p:txBody>
      </p:sp>
      <p:grpSp>
        <p:nvGrpSpPr>
          <p:cNvPr id="16" name="1 Harvey 25%">
            <a:extLst>
              <a:ext uri="{FF2B5EF4-FFF2-40B4-BE49-F238E27FC236}">
                <a16:creationId xmlns:a16="http://schemas.microsoft.com/office/drawing/2014/main" id="{AC3BDB39-4989-43BD-B1BE-9A15CFFA7E03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4145753" y="3496444"/>
            <a:ext cx="357188" cy="357188"/>
            <a:chOff x="4500588" y="2279396"/>
            <a:chExt cx="357188" cy="357188"/>
          </a:xfrm>
        </p:grpSpPr>
        <p:sp>
          <p:nvSpPr>
            <p:cNvPr id="97" name="Harvey Ball">
              <a:extLst>
                <a:ext uri="{FF2B5EF4-FFF2-40B4-BE49-F238E27FC236}">
                  <a16:creationId xmlns:a16="http://schemas.microsoft.com/office/drawing/2014/main" id="{17DE4CF6-A5E7-43C6-A4E1-C83A581FBA0D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500588" y="2279396"/>
              <a:ext cx="357188" cy="357188"/>
            </a:xfrm>
            <a:prstGeom prst="ellipse">
              <a:avLst/>
            </a:prstGeom>
            <a:noFill/>
            <a:ln w="25400" algn="ctr">
              <a:solidFill>
                <a:schemeClr val="accent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endParaRPr lang="de-DE" sz="2400" dirty="0">
                <a:latin typeface="Arial" pitchFamily="34" charset="0"/>
              </a:endParaRPr>
            </a:p>
          </p:txBody>
        </p:sp>
        <p:sp>
          <p:nvSpPr>
            <p:cNvPr id="98" name="Harvey Ball">
              <a:extLst>
                <a:ext uri="{FF2B5EF4-FFF2-40B4-BE49-F238E27FC236}">
                  <a16:creationId xmlns:a16="http://schemas.microsoft.com/office/drawing/2014/main" id="{BF03D176-8A07-43D1-BBD4-C70C6DF3A8F3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 bwMode="auto">
            <a:xfrm>
              <a:off x="4500588" y="2279396"/>
              <a:ext cx="357188" cy="357188"/>
            </a:xfrm>
            <a:prstGeom prst="pie">
              <a:avLst>
                <a:gd name="adj1" fmla="val 16200000"/>
                <a:gd name="adj2" fmla="val 0"/>
              </a:avLst>
            </a:prstGeom>
            <a:solidFill>
              <a:schemeClr val="accent1"/>
            </a:solidFill>
            <a:ln w="127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 algn="ct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  <a:defRPr/>
              </a:pPr>
              <a:endParaRPr lang="de-DE" sz="2400" dirty="0">
                <a:latin typeface="Arial" pitchFamily="34" charset="0"/>
              </a:endParaRPr>
            </a:p>
          </p:txBody>
        </p:sp>
      </p:grpSp>
      <p:pic>
        <p:nvPicPr>
          <p:cNvPr id="26" name="Grafik 25">
            <a:extLst>
              <a:ext uri="{FF2B5EF4-FFF2-40B4-BE49-F238E27FC236}">
                <a16:creationId xmlns:a16="http://schemas.microsoft.com/office/drawing/2014/main" id="{DA91D8A8-09B8-4CDC-B3CA-C957F8E8BBBD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15032" b="23597"/>
          <a:stretch/>
        </p:blipFill>
        <p:spPr>
          <a:xfrm>
            <a:off x="4936556" y="3170129"/>
            <a:ext cx="1216594" cy="671023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0B04C04D-7D2F-466E-B178-0C9B4AE0625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491264" y="3240882"/>
            <a:ext cx="1343983" cy="559993"/>
          </a:xfrm>
          <a:prstGeom prst="rect">
            <a:avLst/>
          </a:prstGeom>
        </p:spPr>
      </p:pic>
      <p:pic>
        <p:nvPicPr>
          <p:cNvPr id="83" name="Grafik 82">
            <a:extLst>
              <a:ext uri="{FF2B5EF4-FFF2-40B4-BE49-F238E27FC236}">
                <a16:creationId xmlns:a16="http://schemas.microsoft.com/office/drawing/2014/main" id="{752601F7-03EA-4E29-AA2A-5C38016DA9D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232779" y="3377805"/>
            <a:ext cx="1379316" cy="368665"/>
          </a:xfrm>
          <a:prstGeom prst="rect">
            <a:avLst/>
          </a:prstGeom>
        </p:spPr>
      </p:pic>
      <p:pic>
        <p:nvPicPr>
          <p:cNvPr id="99" name="Grafik 98">
            <a:extLst>
              <a:ext uri="{FF2B5EF4-FFF2-40B4-BE49-F238E27FC236}">
                <a16:creationId xmlns:a16="http://schemas.microsoft.com/office/drawing/2014/main" id="{27D43852-50CA-4817-AD6A-2D0496674967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977383" y="3986345"/>
            <a:ext cx="1175767" cy="782419"/>
          </a:xfrm>
          <a:prstGeom prst="rect">
            <a:avLst/>
          </a:prstGeom>
        </p:spPr>
      </p:pic>
      <p:pic>
        <p:nvPicPr>
          <p:cNvPr id="100" name="Grafik 99">
            <a:extLst>
              <a:ext uri="{FF2B5EF4-FFF2-40B4-BE49-F238E27FC236}">
                <a16:creationId xmlns:a16="http://schemas.microsoft.com/office/drawing/2014/main" id="{4919214E-09E1-4467-834B-C7A6D8DD0092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625249" y="4052632"/>
            <a:ext cx="523449" cy="622548"/>
          </a:xfrm>
          <a:prstGeom prst="rect">
            <a:avLst/>
          </a:prstGeom>
        </p:spPr>
      </p:pic>
      <p:cxnSp>
        <p:nvCxnSpPr>
          <p:cNvPr id="103" name="Gerader Verbinder 102">
            <a:extLst>
              <a:ext uri="{FF2B5EF4-FFF2-40B4-BE49-F238E27FC236}">
                <a16:creationId xmlns:a16="http://schemas.microsoft.com/office/drawing/2014/main" id="{09DF8B43-63F6-4075-B5D4-B610C4E4A7A1}"/>
              </a:ext>
            </a:extLst>
          </p:cNvPr>
          <p:cNvCxnSpPr>
            <a:cxnSpLocks/>
          </p:cNvCxnSpPr>
          <p:nvPr/>
        </p:nvCxnSpPr>
        <p:spPr>
          <a:xfrm>
            <a:off x="4036655" y="4886255"/>
            <a:ext cx="6478943" cy="0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Sprechblase: rechteckig 100">
            <a:extLst>
              <a:ext uri="{FF2B5EF4-FFF2-40B4-BE49-F238E27FC236}">
                <a16:creationId xmlns:a16="http://schemas.microsoft.com/office/drawing/2014/main" id="{26A362A3-7521-44A5-87F5-9F79A935CDF3}"/>
              </a:ext>
            </a:extLst>
          </p:cNvPr>
          <p:cNvSpPr/>
          <p:nvPr/>
        </p:nvSpPr>
        <p:spPr>
          <a:xfrm>
            <a:off x="7331579" y="4219202"/>
            <a:ext cx="4362449" cy="1981704"/>
          </a:xfrm>
          <a:prstGeom prst="wedgeRectCallout">
            <a:avLst>
              <a:gd name="adj1" fmla="val -28486"/>
              <a:gd name="adj2" fmla="val -61622"/>
            </a:avLst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6" name="Textfeld 105">
            <a:extLst>
              <a:ext uri="{FF2B5EF4-FFF2-40B4-BE49-F238E27FC236}">
                <a16:creationId xmlns:a16="http://schemas.microsoft.com/office/drawing/2014/main" id="{44B66AA9-52E5-4FA2-95AC-D32DA5040516}"/>
              </a:ext>
            </a:extLst>
          </p:cNvPr>
          <p:cNvSpPr txBox="1"/>
          <p:nvPr/>
        </p:nvSpPr>
        <p:spPr>
          <a:xfrm>
            <a:off x="7387702" y="4294062"/>
            <a:ext cx="4238626" cy="18928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6213" indent="-87313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Die Postgesellschaften La Poste und Royal Mail werden durch Staatszuschüsse </a:t>
            </a:r>
          </a:p>
          <a:p>
            <a:pPr marL="176213" indent="-87313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Gleichzeitig sind beide im Deutschen Paketmarkt mit ihren Tochterunternehmen DPD und GLS aktiv </a:t>
            </a:r>
          </a:p>
          <a:p>
            <a:pPr marL="176213" indent="-87313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Über ihre Lobbyverbände versuchen beide tiefgreifende Regulierungen durchzusetzen, um sich dadurch Marktvorteile zu verschaffen</a:t>
            </a:r>
          </a:p>
        </p:txBody>
      </p:sp>
      <p:sp>
        <p:nvSpPr>
          <p:cNvPr id="107" name="Textfeld 106">
            <a:extLst>
              <a:ext uri="{FF2B5EF4-FFF2-40B4-BE49-F238E27FC236}">
                <a16:creationId xmlns:a16="http://schemas.microsoft.com/office/drawing/2014/main" id="{3320C23B-57A7-4D2C-808F-841C499B42A6}"/>
              </a:ext>
            </a:extLst>
          </p:cNvPr>
          <p:cNvSpPr txBox="1"/>
          <p:nvPr/>
        </p:nvSpPr>
        <p:spPr>
          <a:xfrm>
            <a:off x="4014270" y="4952701"/>
            <a:ext cx="1025523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33347" indent="-133347" defTabSz="684593">
              <a:spcAft>
                <a:spcPts val="600"/>
              </a:spcAft>
              <a:buSzPct val="120000"/>
              <a:defRPr/>
            </a:pPr>
            <a:r>
              <a:rPr lang="de-DE" sz="1400" kern="0" dirty="0">
                <a:solidFill>
                  <a:srgbClr val="000000"/>
                </a:solidFill>
              </a:rPr>
              <a:t>	</a:t>
            </a:r>
            <a:r>
              <a:rPr lang="de-DE" sz="1400" b="1" kern="0" dirty="0">
                <a:solidFill>
                  <a:srgbClr val="000000"/>
                </a:solidFill>
              </a:rPr>
              <a:t>&lt;2%</a:t>
            </a:r>
          </a:p>
          <a:p>
            <a:pPr marL="176213" indent="-87313" defTabSz="684593"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de-DE" sz="1400" kern="0" dirty="0">
              <a:solidFill>
                <a:srgbClr val="000000"/>
              </a:solidFill>
            </a:endParaRPr>
          </a:p>
        </p:txBody>
      </p:sp>
      <p:sp>
        <p:nvSpPr>
          <p:cNvPr id="108" name="Textfeld 107">
            <a:extLst>
              <a:ext uri="{FF2B5EF4-FFF2-40B4-BE49-F238E27FC236}">
                <a16:creationId xmlns:a16="http://schemas.microsoft.com/office/drawing/2014/main" id="{967FDCA2-FA14-4465-88E0-83A966FC12C0}"/>
              </a:ext>
            </a:extLst>
          </p:cNvPr>
          <p:cNvSpPr txBox="1"/>
          <p:nvPr/>
        </p:nvSpPr>
        <p:spPr>
          <a:xfrm>
            <a:off x="4904090" y="4947785"/>
            <a:ext cx="2126045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33347" indent="-133347" defTabSz="684593">
              <a:spcAft>
                <a:spcPts val="600"/>
              </a:spcAft>
              <a:buSzPct val="120000"/>
              <a:defRPr/>
            </a:pPr>
            <a:r>
              <a:rPr lang="de-DE" sz="1400" b="1" kern="0" dirty="0">
                <a:solidFill>
                  <a:srgbClr val="000000"/>
                </a:solidFill>
              </a:rPr>
              <a:t>Weitere Wettbewerber</a:t>
            </a:r>
          </a:p>
          <a:p>
            <a:pPr marL="176213" indent="-87313" defTabSz="684593"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de-DE" sz="1400" kern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56293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746319-778D-4FBC-9CA5-614FACA00834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4175206" y="6325766"/>
            <a:ext cx="4900087" cy="293322"/>
          </a:xfrm>
        </p:spPr>
        <p:txBody>
          <a:bodyPr/>
          <a:lstStyle/>
          <a:p>
            <a:r>
              <a:rPr lang="en-US" dirty="0" err="1"/>
              <a:t>Europäischer</a:t>
            </a:r>
            <a:r>
              <a:rPr lang="en-US" dirty="0"/>
              <a:t> </a:t>
            </a:r>
            <a:r>
              <a:rPr lang="en-US" dirty="0" err="1"/>
              <a:t>Vergleich</a:t>
            </a:r>
            <a:r>
              <a:rPr lang="en-US" dirty="0"/>
              <a:t> der </a:t>
            </a:r>
            <a:r>
              <a:rPr lang="en-US" dirty="0" err="1"/>
              <a:t>Regulierungsintensität</a:t>
            </a:r>
            <a:r>
              <a:rPr lang="en-US" dirty="0"/>
              <a:t> </a:t>
            </a:r>
            <a:r>
              <a:rPr lang="en-US" dirty="0" err="1"/>
              <a:t>im</a:t>
            </a:r>
            <a:r>
              <a:rPr lang="en-US" dirty="0"/>
              <a:t> </a:t>
            </a:r>
            <a:r>
              <a:rPr lang="en-US" dirty="0" err="1"/>
              <a:t>Postsektor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A51AE9-2B16-4F40-B911-5FF43E4529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F70EEBF-E97C-49FF-B05B-3B4D348638DC}" type="slidenum">
              <a:rPr lang="en-US" smtClean="0"/>
              <a:pPr/>
              <a:t>11</a:t>
            </a:fld>
            <a:endParaRPr lang="en-US" dirty="0"/>
          </a:p>
        </p:txBody>
      </p:sp>
      <p:grpSp>
        <p:nvGrpSpPr>
          <p:cNvPr id="67" name="Group 1">
            <a:extLst>
              <a:ext uri="{FF2B5EF4-FFF2-40B4-BE49-F238E27FC236}">
                <a16:creationId xmlns:a16="http://schemas.microsoft.com/office/drawing/2014/main" id="{DF724E20-F84B-40AA-890B-11CDA80E2947}"/>
              </a:ext>
            </a:extLst>
          </p:cNvPr>
          <p:cNvGrpSpPr/>
          <p:nvPr/>
        </p:nvGrpSpPr>
        <p:grpSpPr>
          <a:xfrm>
            <a:off x="796928" y="711632"/>
            <a:ext cx="8642040" cy="541230"/>
            <a:chOff x="796928" y="858120"/>
            <a:chExt cx="8642040" cy="541230"/>
          </a:xfrm>
        </p:grpSpPr>
        <p:sp>
          <p:nvSpPr>
            <p:cNvPr id="92" name="TextBox 142">
              <a:extLst>
                <a:ext uri="{FF2B5EF4-FFF2-40B4-BE49-F238E27FC236}">
                  <a16:creationId xmlns:a16="http://schemas.microsoft.com/office/drawing/2014/main" id="{6C7E8A18-012B-46B1-9680-98BB430D987C}"/>
                </a:ext>
              </a:extLst>
            </p:cNvPr>
            <p:cNvSpPr txBox="1"/>
            <p:nvPr/>
          </p:nvSpPr>
          <p:spPr>
            <a:xfrm>
              <a:off x="1069295" y="876130"/>
              <a:ext cx="8369673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2800" dirty="0">
                  <a:solidFill>
                    <a:schemeClr val="accent1"/>
                  </a:solidFill>
                  <a:latin typeface="+mj-lt"/>
                </a:rPr>
                <a:t>Wie sollte der deutsche Weg aussehen?</a:t>
              </a:r>
              <a:endParaRPr lang="en-US" sz="2800" spc="-200" dirty="0">
                <a:solidFill>
                  <a:schemeClr val="accent1"/>
                </a:solidFill>
                <a:latin typeface="+mj-lt"/>
              </a:endParaRPr>
            </a:p>
          </p:txBody>
        </p:sp>
        <p:cxnSp>
          <p:nvCxnSpPr>
            <p:cNvPr id="93" name="Straight Connector 145">
              <a:extLst>
                <a:ext uri="{FF2B5EF4-FFF2-40B4-BE49-F238E27FC236}">
                  <a16:creationId xmlns:a16="http://schemas.microsoft.com/office/drawing/2014/main" id="{D4D4BFBA-6AF9-43D9-B65E-7983B5A4EC19}"/>
                </a:ext>
              </a:extLst>
            </p:cNvPr>
            <p:cNvCxnSpPr>
              <a:cxnSpLocks/>
            </p:cNvCxnSpPr>
            <p:nvPr/>
          </p:nvCxnSpPr>
          <p:spPr>
            <a:xfrm>
              <a:off x="796928" y="858120"/>
              <a:ext cx="0" cy="531091"/>
            </a:xfrm>
            <a:prstGeom prst="line">
              <a:avLst/>
            </a:prstGeom>
            <a:ln w="889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46">
            <a:extLst>
              <a:ext uri="{FF2B5EF4-FFF2-40B4-BE49-F238E27FC236}">
                <a16:creationId xmlns:a16="http://schemas.microsoft.com/office/drawing/2014/main" id="{D10C5521-2D69-4D2C-B144-BE5A7B6A2AC0}"/>
              </a:ext>
            </a:extLst>
          </p:cNvPr>
          <p:cNvGrpSpPr/>
          <p:nvPr/>
        </p:nvGrpSpPr>
        <p:grpSpPr>
          <a:xfrm>
            <a:off x="737799" y="1712406"/>
            <a:ext cx="3078708" cy="4613360"/>
            <a:chOff x="4216401" y="1131888"/>
            <a:chExt cx="3752850" cy="5191125"/>
          </a:xfr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</p:grpSpPr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6703D59F-BA8D-41BF-BF74-45D5159BC6F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0451" y="2551113"/>
              <a:ext cx="1063625" cy="1379538"/>
            </a:xfrm>
            <a:custGeom>
              <a:avLst/>
              <a:gdLst/>
              <a:ahLst/>
              <a:cxnLst>
                <a:cxn ang="0">
                  <a:pos x="278" y="20"/>
                </a:cxn>
                <a:cxn ang="0">
                  <a:pos x="299" y="30"/>
                </a:cxn>
                <a:cxn ang="0">
                  <a:pos x="336" y="55"/>
                </a:cxn>
                <a:cxn ang="0">
                  <a:pos x="383" y="67"/>
                </a:cxn>
                <a:cxn ang="0">
                  <a:pos x="413" y="96"/>
                </a:cxn>
                <a:cxn ang="0">
                  <a:pos x="412" y="140"/>
                </a:cxn>
                <a:cxn ang="0">
                  <a:pos x="397" y="175"/>
                </a:cxn>
                <a:cxn ang="0">
                  <a:pos x="397" y="212"/>
                </a:cxn>
                <a:cxn ang="0">
                  <a:pos x="425" y="210"/>
                </a:cxn>
                <a:cxn ang="0">
                  <a:pos x="420" y="253"/>
                </a:cxn>
                <a:cxn ang="0">
                  <a:pos x="417" y="318"/>
                </a:cxn>
                <a:cxn ang="0">
                  <a:pos x="420" y="362"/>
                </a:cxn>
                <a:cxn ang="0">
                  <a:pos x="470" y="417"/>
                </a:cxn>
                <a:cxn ang="0">
                  <a:pos x="517" y="436"/>
                </a:cxn>
                <a:cxn ang="0">
                  <a:pos x="555" y="436"/>
                </a:cxn>
                <a:cxn ang="0">
                  <a:pos x="609" y="461"/>
                </a:cxn>
                <a:cxn ang="0">
                  <a:pos x="633" y="476"/>
                </a:cxn>
                <a:cxn ang="0">
                  <a:pos x="663" y="521"/>
                </a:cxn>
                <a:cxn ang="0">
                  <a:pos x="658" y="557"/>
                </a:cxn>
                <a:cxn ang="0">
                  <a:pos x="632" y="575"/>
                </a:cxn>
                <a:cxn ang="0">
                  <a:pos x="598" y="560"/>
                </a:cxn>
                <a:cxn ang="0">
                  <a:pos x="562" y="572"/>
                </a:cxn>
                <a:cxn ang="0">
                  <a:pos x="525" y="587"/>
                </a:cxn>
                <a:cxn ang="0">
                  <a:pos x="453" y="605"/>
                </a:cxn>
                <a:cxn ang="0">
                  <a:pos x="418" y="635"/>
                </a:cxn>
                <a:cxn ang="0">
                  <a:pos x="419" y="690"/>
                </a:cxn>
                <a:cxn ang="0">
                  <a:pos x="405" y="728"/>
                </a:cxn>
                <a:cxn ang="0">
                  <a:pos x="423" y="795"/>
                </a:cxn>
                <a:cxn ang="0">
                  <a:pos x="436" y="816"/>
                </a:cxn>
                <a:cxn ang="0">
                  <a:pos x="438" y="848"/>
                </a:cxn>
                <a:cxn ang="0">
                  <a:pos x="415" y="860"/>
                </a:cxn>
                <a:cxn ang="0">
                  <a:pos x="368" y="859"/>
                </a:cxn>
                <a:cxn ang="0">
                  <a:pos x="320" y="832"/>
                </a:cxn>
                <a:cxn ang="0">
                  <a:pos x="289" y="803"/>
                </a:cxn>
                <a:cxn ang="0">
                  <a:pos x="239" y="804"/>
                </a:cxn>
                <a:cxn ang="0">
                  <a:pos x="213" y="767"/>
                </a:cxn>
                <a:cxn ang="0">
                  <a:pos x="217" y="730"/>
                </a:cxn>
                <a:cxn ang="0">
                  <a:pos x="198" y="694"/>
                </a:cxn>
                <a:cxn ang="0">
                  <a:pos x="123" y="676"/>
                </a:cxn>
                <a:cxn ang="0">
                  <a:pos x="98" y="636"/>
                </a:cxn>
                <a:cxn ang="0">
                  <a:pos x="93" y="605"/>
                </a:cxn>
                <a:cxn ang="0">
                  <a:pos x="84" y="593"/>
                </a:cxn>
                <a:cxn ang="0">
                  <a:pos x="27" y="584"/>
                </a:cxn>
                <a:cxn ang="0">
                  <a:pos x="1" y="513"/>
                </a:cxn>
                <a:cxn ang="0">
                  <a:pos x="11" y="455"/>
                </a:cxn>
                <a:cxn ang="0">
                  <a:pos x="24" y="416"/>
                </a:cxn>
                <a:cxn ang="0">
                  <a:pos x="97" y="407"/>
                </a:cxn>
                <a:cxn ang="0">
                  <a:pos x="112" y="380"/>
                </a:cxn>
                <a:cxn ang="0">
                  <a:pos x="120" y="328"/>
                </a:cxn>
                <a:cxn ang="0">
                  <a:pos x="104" y="289"/>
                </a:cxn>
                <a:cxn ang="0">
                  <a:pos x="119" y="279"/>
                </a:cxn>
                <a:cxn ang="0">
                  <a:pos x="92" y="239"/>
                </a:cxn>
                <a:cxn ang="0">
                  <a:pos x="101" y="214"/>
                </a:cxn>
                <a:cxn ang="0">
                  <a:pos x="84" y="173"/>
                </a:cxn>
                <a:cxn ang="0">
                  <a:pos x="50" y="103"/>
                </a:cxn>
                <a:cxn ang="0">
                  <a:pos x="90" y="78"/>
                </a:cxn>
                <a:cxn ang="0">
                  <a:pos x="124" y="54"/>
                </a:cxn>
                <a:cxn ang="0">
                  <a:pos x="157" y="63"/>
                </a:cxn>
                <a:cxn ang="0">
                  <a:pos x="215" y="48"/>
                </a:cxn>
                <a:cxn ang="0">
                  <a:pos x="240" y="10"/>
                </a:cxn>
              </a:cxnLst>
              <a:rect l="0" t="0" r="r" b="b"/>
              <a:pathLst>
                <a:path w="670" h="869">
                  <a:moveTo>
                    <a:pt x="258" y="0"/>
                  </a:moveTo>
                  <a:lnTo>
                    <a:pt x="259" y="0"/>
                  </a:lnTo>
                  <a:lnTo>
                    <a:pt x="259" y="2"/>
                  </a:lnTo>
                  <a:lnTo>
                    <a:pt x="261" y="6"/>
                  </a:lnTo>
                  <a:lnTo>
                    <a:pt x="267" y="11"/>
                  </a:lnTo>
                  <a:lnTo>
                    <a:pt x="274" y="15"/>
                  </a:lnTo>
                  <a:lnTo>
                    <a:pt x="278" y="20"/>
                  </a:lnTo>
                  <a:lnTo>
                    <a:pt x="281" y="23"/>
                  </a:lnTo>
                  <a:lnTo>
                    <a:pt x="285" y="24"/>
                  </a:lnTo>
                  <a:lnTo>
                    <a:pt x="291" y="25"/>
                  </a:lnTo>
                  <a:lnTo>
                    <a:pt x="295" y="25"/>
                  </a:lnTo>
                  <a:lnTo>
                    <a:pt x="298" y="26"/>
                  </a:lnTo>
                  <a:lnTo>
                    <a:pt x="298" y="28"/>
                  </a:lnTo>
                  <a:lnTo>
                    <a:pt x="299" y="30"/>
                  </a:lnTo>
                  <a:lnTo>
                    <a:pt x="303" y="33"/>
                  </a:lnTo>
                  <a:lnTo>
                    <a:pt x="309" y="36"/>
                  </a:lnTo>
                  <a:lnTo>
                    <a:pt x="313" y="40"/>
                  </a:lnTo>
                  <a:lnTo>
                    <a:pt x="313" y="48"/>
                  </a:lnTo>
                  <a:lnTo>
                    <a:pt x="319" y="51"/>
                  </a:lnTo>
                  <a:lnTo>
                    <a:pt x="327" y="53"/>
                  </a:lnTo>
                  <a:lnTo>
                    <a:pt x="336" y="55"/>
                  </a:lnTo>
                  <a:lnTo>
                    <a:pt x="344" y="56"/>
                  </a:lnTo>
                  <a:lnTo>
                    <a:pt x="350" y="58"/>
                  </a:lnTo>
                  <a:lnTo>
                    <a:pt x="355" y="58"/>
                  </a:lnTo>
                  <a:lnTo>
                    <a:pt x="362" y="57"/>
                  </a:lnTo>
                  <a:lnTo>
                    <a:pt x="374" y="57"/>
                  </a:lnTo>
                  <a:lnTo>
                    <a:pt x="378" y="61"/>
                  </a:lnTo>
                  <a:lnTo>
                    <a:pt x="383" y="67"/>
                  </a:lnTo>
                  <a:lnTo>
                    <a:pt x="389" y="68"/>
                  </a:lnTo>
                  <a:lnTo>
                    <a:pt x="401" y="68"/>
                  </a:lnTo>
                  <a:lnTo>
                    <a:pt x="405" y="70"/>
                  </a:lnTo>
                  <a:lnTo>
                    <a:pt x="409" y="75"/>
                  </a:lnTo>
                  <a:lnTo>
                    <a:pt x="413" y="84"/>
                  </a:lnTo>
                  <a:lnTo>
                    <a:pt x="414" y="91"/>
                  </a:lnTo>
                  <a:lnTo>
                    <a:pt x="413" y="96"/>
                  </a:lnTo>
                  <a:lnTo>
                    <a:pt x="411" y="99"/>
                  </a:lnTo>
                  <a:lnTo>
                    <a:pt x="408" y="103"/>
                  </a:lnTo>
                  <a:lnTo>
                    <a:pt x="405" y="108"/>
                  </a:lnTo>
                  <a:lnTo>
                    <a:pt x="404" y="115"/>
                  </a:lnTo>
                  <a:lnTo>
                    <a:pt x="405" y="123"/>
                  </a:lnTo>
                  <a:lnTo>
                    <a:pt x="409" y="131"/>
                  </a:lnTo>
                  <a:lnTo>
                    <a:pt x="412" y="140"/>
                  </a:lnTo>
                  <a:lnTo>
                    <a:pt x="414" y="147"/>
                  </a:lnTo>
                  <a:lnTo>
                    <a:pt x="413" y="153"/>
                  </a:lnTo>
                  <a:lnTo>
                    <a:pt x="409" y="156"/>
                  </a:lnTo>
                  <a:lnTo>
                    <a:pt x="403" y="159"/>
                  </a:lnTo>
                  <a:lnTo>
                    <a:pt x="399" y="162"/>
                  </a:lnTo>
                  <a:lnTo>
                    <a:pt x="398" y="167"/>
                  </a:lnTo>
                  <a:lnTo>
                    <a:pt x="397" y="175"/>
                  </a:lnTo>
                  <a:lnTo>
                    <a:pt x="393" y="183"/>
                  </a:lnTo>
                  <a:lnTo>
                    <a:pt x="388" y="191"/>
                  </a:lnTo>
                  <a:lnTo>
                    <a:pt x="385" y="196"/>
                  </a:lnTo>
                  <a:lnTo>
                    <a:pt x="384" y="199"/>
                  </a:lnTo>
                  <a:lnTo>
                    <a:pt x="387" y="203"/>
                  </a:lnTo>
                  <a:lnTo>
                    <a:pt x="392" y="208"/>
                  </a:lnTo>
                  <a:lnTo>
                    <a:pt x="397" y="212"/>
                  </a:lnTo>
                  <a:lnTo>
                    <a:pt x="401" y="213"/>
                  </a:lnTo>
                  <a:lnTo>
                    <a:pt x="405" y="211"/>
                  </a:lnTo>
                  <a:lnTo>
                    <a:pt x="409" y="208"/>
                  </a:lnTo>
                  <a:lnTo>
                    <a:pt x="413" y="204"/>
                  </a:lnTo>
                  <a:lnTo>
                    <a:pt x="417" y="203"/>
                  </a:lnTo>
                  <a:lnTo>
                    <a:pt x="420" y="206"/>
                  </a:lnTo>
                  <a:lnTo>
                    <a:pt x="425" y="210"/>
                  </a:lnTo>
                  <a:lnTo>
                    <a:pt x="430" y="213"/>
                  </a:lnTo>
                  <a:lnTo>
                    <a:pt x="432" y="215"/>
                  </a:lnTo>
                  <a:lnTo>
                    <a:pt x="432" y="221"/>
                  </a:lnTo>
                  <a:lnTo>
                    <a:pt x="430" y="228"/>
                  </a:lnTo>
                  <a:lnTo>
                    <a:pt x="427" y="237"/>
                  </a:lnTo>
                  <a:lnTo>
                    <a:pt x="423" y="245"/>
                  </a:lnTo>
                  <a:lnTo>
                    <a:pt x="420" y="253"/>
                  </a:lnTo>
                  <a:lnTo>
                    <a:pt x="418" y="259"/>
                  </a:lnTo>
                  <a:lnTo>
                    <a:pt x="418" y="275"/>
                  </a:lnTo>
                  <a:lnTo>
                    <a:pt x="419" y="285"/>
                  </a:lnTo>
                  <a:lnTo>
                    <a:pt x="418" y="295"/>
                  </a:lnTo>
                  <a:lnTo>
                    <a:pt x="413" y="310"/>
                  </a:lnTo>
                  <a:lnTo>
                    <a:pt x="414" y="314"/>
                  </a:lnTo>
                  <a:lnTo>
                    <a:pt x="417" y="318"/>
                  </a:lnTo>
                  <a:lnTo>
                    <a:pt x="421" y="321"/>
                  </a:lnTo>
                  <a:lnTo>
                    <a:pt x="423" y="324"/>
                  </a:lnTo>
                  <a:lnTo>
                    <a:pt x="422" y="327"/>
                  </a:lnTo>
                  <a:lnTo>
                    <a:pt x="418" y="333"/>
                  </a:lnTo>
                  <a:lnTo>
                    <a:pt x="415" y="342"/>
                  </a:lnTo>
                  <a:lnTo>
                    <a:pt x="415" y="352"/>
                  </a:lnTo>
                  <a:lnTo>
                    <a:pt x="420" y="362"/>
                  </a:lnTo>
                  <a:lnTo>
                    <a:pt x="428" y="373"/>
                  </a:lnTo>
                  <a:lnTo>
                    <a:pt x="438" y="385"/>
                  </a:lnTo>
                  <a:lnTo>
                    <a:pt x="446" y="398"/>
                  </a:lnTo>
                  <a:lnTo>
                    <a:pt x="453" y="407"/>
                  </a:lnTo>
                  <a:lnTo>
                    <a:pt x="458" y="413"/>
                  </a:lnTo>
                  <a:lnTo>
                    <a:pt x="464" y="416"/>
                  </a:lnTo>
                  <a:lnTo>
                    <a:pt x="470" y="417"/>
                  </a:lnTo>
                  <a:lnTo>
                    <a:pt x="476" y="417"/>
                  </a:lnTo>
                  <a:lnTo>
                    <a:pt x="480" y="416"/>
                  </a:lnTo>
                  <a:lnTo>
                    <a:pt x="486" y="418"/>
                  </a:lnTo>
                  <a:lnTo>
                    <a:pt x="492" y="423"/>
                  </a:lnTo>
                  <a:lnTo>
                    <a:pt x="500" y="429"/>
                  </a:lnTo>
                  <a:lnTo>
                    <a:pt x="510" y="435"/>
                  </a:lnTo>
                  <a:lnTo>
                    <a:pt x="517" y="436"/>
                  </a:lnTo>
                  <a:lnTo>
                    <a:pt x="522" y="435"/>
                  </a:lnTo>
                  <a:lnTo>
                    <a:pt x="525" y="432"/>
                  </a:lnTo>
                  <a:lnTo>
                    <a:pt x="528" y="430"/>
                  </a:lnTo>
                  <a:lnTo>
                    <a:pt x="532" y="428"/>
                  </a:lnTo>
                  <a:lnTo>
                    <a:pt x="536" y="429"/>
                  </a:lnTo>
                  <a:lnTo>
                    <a:pt x="544" y="432"/>
                  </a:lnTo>
                  <a:lnTo>
                    <a:pt x="555" y="436"/>
                  </a:lnTo>
                  <a:lnTo>
                    <a:pt x="567" y="441"/>
                  </a:lnTo>
                  <a:lnTo>
                    <a:pt x="577" y="447"/>
                  </a:lnTo>
                  <a:lnTo>
                    <a:pt x="584" y="453"/>
                  </a:lnTo>
                  <a:lnTo>
                    <a:pt x="589" y="457"/>
                  </a:lnTo>
                  <a:lnTo>
                    <a:pt x="593" y="458"/>
                  </a:lnTo>
                  <a:lnTo>
                    <a:pt x="604" y="458"/>
                  </a:lnTo>
                  <a:lnTo>
                    <a:pt x="609" y="461"/>
                  </a:lnTo>
                  <a:lnTo>
                    <a:pt x="614" y="465"/>
                  </a:lnTo>
                  <a:lnTo>
                    <a:pt x="617" y="467"/>
                  </a:lnTo>
                  <a:lnTo>
                    <a:pt x="620" y="468"/>
                  </a:lnTo>
                  <a:lnTo>
                    <a:pt x="626" y="468"/>
                  </a:lnTo>
                  <a:lnTo>
                    <a:pt x="630" y="469"/>
                  </a:lnTo>
                  <a:lnTo>
                    <a:pt x="632" y="472"/>
                  </a:lnTo>
                  <a:lnTo>
                    <a:pt x="633" y="476"/>
                  </a:lnTo>
                  <a:lnTo>
                    <a:pt x="636" y="480"/>
                  </a:lnTo>
                  <a:lnTo>
                    <a:pt x="642" y="483"/>
                  </a:lnTo>
                  <a:lnTo>
                    <a:pt x="649" y="487"/>
                  </a:lnTo>
                  <a:lnTo>
                    <a:pt x="656" y="494"/>
                  </a:lnTo>
                  <a:lnTo>
                    <a:pt x="661" y="503"/>
                  </a:lnTo>
                  <a:lnTo>
                    <a:pt x="663" y="513"/>
                  </a:lnTo>
                  <a:lnTo>
                    <a:pt x="663" y="521"/>
                  </a:lnTo>
                  <a:lnTo>
                    <a:pt x="662" y="527"/>
                  </a:lnTo>
                  <a:lnTo>
                    <a:pt x="663" y="532"/>
                  </a:lnTo>
                  <a:lnTo>
                    <a:pt x="669" y="538"/>
                  </a:lnTo>
                  <a:lnTo>
                    <a:pt x="670" y="541"/>
                  </a:lnTo>
                  <a:lnTo>
                    <a:pt x="669" y="545"/>
                  </a:lnTo>
                  <a:lnTo>
                    <a:pt x="665" y="551"/>
                  </a:lnTo>
                  <a:lnTo>
                    <a:pt x="658" y="557"/>
                  </a:lnTo>
                  <a:lnTo>
                    <a:pt x="652" y="563"/>
                  </a:lnTo>
                  <a:lnTo>
                    <a:pt x="645" y="568"/>
                  </a:lnTo>
                  <a:lnTo>
                    <a:pt x="642" y="570"/>
                  </a:lnTo>
                  <a:lnTo>
                    <a:pt x="639" y="573"/>
                  </a:lnTo>
                  <a:lnTo>
                    <a:pt x="638" y="576"/>
                  </a:lnTo>
                  <a:lnTo>
                    <a:pt x="636" y="579"/>
                  </a:lnTo>
                  <a:lnTo>
                    <a:pt x="632" y="575"/>
                  </a:lnTo>
                  <a:lnTo>
                    <a:pt x="629" y="573"/>
                  </a:lnTo>
                  <a:lnTo>
                    <a:pt x="625" y="571"/>
                  </a:lnTo>
                  <a:lnTo>
                    <a:pt x="615" y="571"/>
                  </a:lnTo>
                  <a:lnTo>
                    <a:pt x="611" y="570"/>
                  </a:lnTo>
                  <a:lnTo>
                    <a:pt x="607" y="567"/>
                  </a:lnTo>
                  <a:lnTo>
                    <a:pt x="604" y="563"/>
                  </a:lnTo>
                  <a:lnTo>
                    <a:pt x="598" y="560"/>
                  </a:lnTo>
                  <a:lnTo>
                    <a:pt x="592" y="558"/>
                  </a:lnTo>
                  <a:lnTo>
                    <a:pt x="588" y="559"/>
                  </a:lnTo>
                  <a:lnTo>
                    <a:pt x="584" y="562"/>
                  </a:lnTo>
                  <a:lnTo>
                    <a:pt x="579" y="567"/>
                  </a:lnTo>
                  <a:lnTo>
                    <a:pt x="571" y="571"/>
                  </a:lnTo>
                  <a:lnTo>
                    <a:pt x="565" y="573"/>
                  </a:lnTo>
                  <a:lnTo>
                    <a:pt x="562" y="572"/>
                  </a:lnTo>
                  <a:lnTo>
                    <a:pt x="558" y="570"/>
                  </a:lnTo>
                  <a:lnTo>
                    <a:pt x="554" y="570"/>
                  </a:lnTo>
                  <a:lnTo>
                    <a:pt x="549" y="573"/>
                  </a:lnTo>
                  <a:lnTo>
                    <a:pt x="542" y="577"/>
                  </a:lnTo>
                  <a:lnTo>
                    <a:pt x="537" y="581"/>
                  </a:lnTo>
                  <a:lnTo>
                    <a:pt x="531" y="585"/>
                  </a:lnTo>
                  <a:lnTo>
                    <a:pt x="525" y="587"/>
                  </a:lnTo>
                  <a:lnTo>
                    <a:pt x="516" y="588"/>
                  </a:lnTo>
                  <a:lnTo>
                    <a:pt x="505" y="588"/>
                  </a:lnTo>
                  <a:lnTo>
                    <a:pt x="493" y="590"/>
                  </a:lnTo>
                  <a:lnTo>
                    <a:pt x="480" y="592"/>
                  </a:lnTo>
                  <a:lnTo>
                    <a:pt x="469" y="596"/>
                  </a:lnTo>
                  <a:lnTo>
                    <a:pt x="460" y="601"/>
                  </a:lnTo>
                  <a:lnTo>
                    <a:pt x="453" y="605"/>
                  </a:lnTo>
                  <a:lnTo>
                    <a:pt x="446" y="607"/>
                  </a:lnTo>
                  <a:lnTo>
                    <a:pt x="438" y="608"/>
                  </a:lnTo>
                  <a:lnTo>
                    <a:pt x="432" y="610"/>
                  </a:lnTo>
                  <a:lnTo>
                    <a:pt x="426" y="613"/>
                  </a:lnTo>
                  <a:lnTo>
                    <a:pt x="422" y="618"/>
                  </a:lnTo>
                  <a:lnTo>
                    <a:pt x="419" y="627"/>
                  </a:lnTo>
                  <a:lnTo>
                    <a:pt x="418" y="635"/>
                  </a:lnTo>
                  <a:lnTo>
                    <a:pt x="416" y="642"/>
                  </a:lnTo>
                  <a:lnTo>
                    <a:pt x="412" y="649"/>
                  </a:lnTo>
                  <a:lnTo>
                    <a:pt x="409" y="656"/>
                  </a:lnTo>
                  <a:lnTo>
                    <a:pt x="410" y="664"/>
                  </a:lnTo>
                  <a:lnTo>
                    <a:pt x="413" y="673"/>
                  </a:lnTo>
                  <a:lnTo>
                    <a:pt x="417" y="681"/>
                  </a:lnTo>
                  <a:lnTo>
                    <a:pt x="419" y="690"/>
                  </a:lnTo>
                  <a:lnTo>
                    <a:pt x="419" y="696"/>
                  </a:lnTo>
                  <a:lnTo>
                    <a:pt x="415" y="701"/>
                  </a:lnTo>
                  <a:lnTo>
                    <a:pt x="410" y="704"/>
                  </a:lnTo>
                  <a:lnTo>
                    <a:pt x="406" y="708"/>
                  </a:lnTo>
                  <a:lnTo>
                    <a:pt x="403" y="712"/>
                  </a:lnTo>
                  <a:lnTo>
                    <a:pt x="403" y="718"/>
                  </a:lnTo>
                  <a:lnTo>
                    <a:pt x="405" y="728"/>
                  </a:lnTo>
                  <a:lnTo>
                    <a:pt x="408" y="740"/>
                  </a:lnTo>
                  <a:lnTo>
                    <a:pt x="410" y="752"/>
                  </a:lnTo>
                  <a:lnTo>
                    <a:pt x="411" y="763"/>
                  </a:lnTo>
                  <a:lnTo>
                    <a:pt x="412" y="771"/>
                  </a:lnTo>
                  <a:lnTo>
                    <a:pt x="414" y="779"/>
                  </a:lnTo>
                  <a:lnTo>
                    <a:pt x="418" y="788"/>
                  </a:lnTo>
                  <a:lnTo>
                    <a:pt x="423" y="795"/>
                  </a:lnTo>
                  <a:lnTo>
                    <a:pt x="430" y="799"/>
                  </a:lnTo>
                  <a:lnTo>
                    <a:pt x="436" y="801"/>
                  </a:lnTo>
                  <a:lnTo>
                    <a:pt x="442" y="807"/>
                  </a:lnTo>
                  <a:lnTo>
                    <a:pt x="441" y="809"/>
                  </a:lnTo>
                  <a:lnTo>
                    <a:pt x="439" y="812"/>
                  </a:lnTo>
                  <a:lnTo>
                    <a:pt x="438" y="814"/>
                  </a:lnTo>
                  <a:lnTo>
                    <a:pt x="436" y="816"/>
                  </a:lnTo>
                  <a:lnTo>
                    <a:pt x="434" y="821"/>
                  </a:lnTo>
                  <a:lnTo>
                    <a:pt x="435" y="827"/>
                  </a:lnTo>
                  <a:lnTo>
                    <a:pt x="437" y="833"/>
                  </a:lnTo>
                  <a:lnTo>
                    <a:pt x="440" y="838"/>
                  </a:lnTo>
                  <a:lnTo>
                    <a:pt x="441" y="842"/>
                  </a:lnTo>
                  <a:lnTo>
                    <a:pt x="441" y="844"/>
                  </a:lnTo>
                  <a:lnTo>
                    <a:pt x="438" y="848"/>
                  </a:lnTo>
                  <a:lnTo>
                    <a:pt x="430" y="862"/>
                  </a:lnTo>
                  <a:lnTo>
                    <a:pt x="428" y="867"/>
                  </a:lnTo>
                  <a:lnTo>
                    <a:pt x="427" y="869"/>
                  </a:lnTo>
                  <a:lnTo>
                    <a:pt x="426" y="869"/>
                  </a:lnTo>
                  <a:lnTo>
                    <a:pt x="424" y="868"/>
                  </a:lnTo>
                  <a:lnTo>
                    <a:pt x="418" y="862"/>
                  </a:lnTo>
                  <a:lnTo>
                    <a:pt x="415" y="860"/>
                  </a:lnTo>
                  <a:lnTo>
                    <a:pt x="408" y="858"/>
                  </a:lnTo>
                  <a:lnTo>
                    <a:pt x="402" y="858"/>
                  </a:lnTo>
                  <a:lnTo>
                    <a:pt x="396" y="859"/>
                  </a:lnTo>
                  <a:lnTo>
                    <a:pt x="390" y="859"/>
                  </a:lnTo>
                  <a:lnTo>
                    <a:pt x="383" y="860"/>
                  </a:lnTo>
                  <a:lnTo>
                    <a:pt x="374" y="861"/>
                  </a:lnTo>
                  <a:lnTo>
                    <a:pt x="368" y="859"/>
                  </a:lnTo>
                  <a:lnTo>
                    <a:pt x="361" y="853"/>
                  </a:lnTo>
                  <a:lnTo>
                    <a:pt x="354" y="845"/>
                  </a:lnTo>
                  <a:lnTo>
                    <a:pt x="347" y="838"/>
                  </a:lnTo>
                  <a:lnTo>
                    <a:pt x="339" y="832"/>
                  </a:lnTo>
                  <a:lnTo>
                    <a:pt x="332" y="830"/>
                  </a:lnTo>
                  <a:lnTo>
                    <a:pt x="326" y="830"/>
                  </a:lnTo>
                  <a:lnTo>
                    <a:pt x="320" y="832"/>
                  </a:lnTo>
                  <a:lnTo>
                    <a:pt x="315" y="834"/>
                  </a:lnTo>
                  <a:lnTo>
                    <a:pt x="308" y="835"/>
                  </a:lnTo>
                  <a:lnTo>
                    <a:pt x="303" y="833"/>
                  </a:lnTo>
                  <a:lnTo>
                    <a:pt x="300" y="829"/>
                  </a:lnTo>
                  <a:lnTo>
                    <a:pt x="297" y="823"/>
                  </a:lnTo>
                  <a:lnTo>
                    <a:pt x="293" y="810"/>
                  </a:lnTo>
                  <a:lnTo>
                    <a:pt x="289" y="803"/>
                  </a:lnTo>
                  <a:lnTo>
                    <a:pt x="283" y="799"/>
                  </a:lnTo>
                  <a:lnTo>
                    <a:pt x="277" y="799"/>
                  </a:lnTo>
                  <a:lnTo>
                    <a:pt x="271" y="801"/>
                  </a:lnTo>
                  <a:lnTo>
                    <a:pt x="264" y="804"/>
                  </a:lnTo>
                  <a:lnTo>
                    <a:pt x="258" y="804"/>
                  </a:lnTo>
                  <a:lnTo>
                    <a:pt x="249" y="803"/>
                  </a:lnTo>
                  <a:lnTo>
                    <a:pt x="239" y="804"/>
                  </a:lnTo>
                  <a:lnTo>
                    <a:pt x="229" y="803"/>
                  </a:lnTo>
                  <a:lnTo>
                    <a:pt x="223" y="801"/>
                  </a:lnTo>
                  <a:lnTo>
                    <a:pt x="220" y="797"/>
                  </a:lnTo>
                  <a:lnTo>
                    <a:pt x="218" y="783"/>
                  </a:lnTo>
                  <a:lnTo>
                    <a:pt x="218" y="776"/>
                  </a:lnTo>
                  <a:lnTo>
                    <a:pt x="216" y="771"/>
                  </a:lnTo>
                  <a:lnTo>
                    <a:pt x="213" y="767"/>
                  </a:lnTo>
                  <a:lnTo>
                    <a:pt x="203" y="761"/>
                  </a:lnTo>
                  <a:lnTo>
                    <a:pt x="200" y="757"/>
                  </a:lnTo>
                  <a:lnTo>
                    <a:pt x="200" y="753"/>
                  </a:lnTo>
                  <a:lnTo>
                    <a:pt x="204" y="747"/>
                  </a:lnTo>
                  <a:lnTo>
                    <a:pt x="209" y="742"/>
                  </a:lnTo>
                  <a:lnTo>
                    <a:pt x="214" y="736"/>
                  </a:lnTo>
                  <a:lnTo>
                    <a:pt x="217" y="730"/>
                  </a:lnTo>
                  <a:lnTo>
                    <a:pt x="216" y="726"/>
                  </a:lnTo>
                  <a:lnTo>
                    <a:pt x="213" y="720"/>
                  </a:lnTo>
                  <a:lnTo>
                    <a:pt x="211" y="713"/>
                  </a:lnTo>
                  <a:lnTo>
                    <a:pt x="210" y="706"/>
                  </a:lnTo>
                  <a:lnTo>
                    <a:pt x="209" y="701"/>
                  </a:lnTo>
                  <a:lnTo>
                    <a:pt x="206" y="698"/>
                  </a:lnTo>
                  <a:lnTo>
                    <a:pt x="198" y="694"/>
                  </a:lnTo>
                  <a:lnTo>
                    <a:pt x="187" y="690"/>
                  </a:lnTo>
                  <a:lnTo>
                    <a:pt x="175" y="687"/>
                  </a:lnTo>
                  <a:lnTo>
                    <a:pt x="164" y="684"/>
                  </a:lnTo>
                  <a:lnTo>
                    <a:pt x="154" y="682"/>
                  </a:lnTo>
                  <a:lnTo>
                    <a:pt x="147" y="682"/>
                  </a:lnTo>
                  <a:lnTo>
                    <a:pt x="139" y="681"/>
                  </a:lnTo>
                  <a:lnTo>
                    <a:pt x="123" y="676"/>
                  </a:lnTo>
                  <a:lnTo>
                    <a:pt x="115" y="675"/>
                  </a:lnTo>
                  <a:lnTo>
                    <a:pt x="109" y="674"/>
                  </a:lnTo>
                  <a:lnTo>
                    <a:pt x="105" y="670"/>
                  </a:lnTo>
                  <a:lnTo>
                    <a:pt x="104" y="665"/>
                  </a:lnTo>
                  <a:lnTo>
                    <a:pt x="104" y="653"/>
                  </a:lnTo>
                  <a:lnTo>
                    <a:pt x="102" y="645"/>
                  </a:lnTo>
                  <a:lnTo>
                    <a:pt x="98" y="636"/>
                  </a:lnTo>
                  <a:lnTo>
                    <a:pt x="94" y="626"/>
                  </a:lnTo>
                  <a:lnTo>
                    <a:pt x="90" y="617"/>
                  </a:lnTo>
                  <a:lnTo>
                    <a:pt x="89" y="614"/>
                  </a:lnTo>
                  <a:lnTo>
                    <a:pt x="89" y="609"/>
                  </a:lnTo>
                  <a:lnTo>
                    <a:pt x="90" y="607"/>
                  </a:lnTo>
                  <a:lnTo>
                    <a:pt x="91" y="606"/>
                  </a:lnTo>
                  <a:lnTo>
                    <a:pt x="93" y="605"/>
                  </a:lnTo>
                  <a:lnTo>
                    <a:pt x="94" y="605"/>
                  </a:lnTo>
                  <a:lnTo>
                    <a:pt x="95" y="604"/>
                  </a:lnTo>
                  <a:lnTo>
                    <a:pt x="96" y="604"/>
                  </a:lnTo>
                  <a:lnTo>
                    <a:pt x="97" y="603"/>
                  </a:lnTo>
                  <a:lnTo>
                    <a:pt x="96" y="601"/>
                  </a:lnTo>
                  <a:lnTo>
                    <a:pt x="91" y="597"/>
                  </a:lnTo>
                  <a:lnTo>
                    <a:pt x="84" y="593"/>
                  </a:lnTo>
                  <a:lnTo>
                    <a:pt x="76" y="589"/>
                  </a:lnTo>
                  <a:lnTo>
                    <a:pt x="68" y="586"/>
                  </a:lnTo>
                  <a:lnTo>
                    <a:pt x="62" y="584"/>
                  </a:lnTo>
                  <a:lnTo>
                    <a:pt x="58" y="584"/>
                  </a:lnTo>
                  <a:lnTo>
                    <a:pt x="53" y="585"/>
                  </a:lnTo>
                  <a:lnTo>
                    <a:pt x="45" y="584"/>
                  </a:lnTo>
                  <a:lnTo>
                    <a:pt x="27" y="584"/>
                  </a:lnTo>
                  <a:lnTo>
                    <a:pt x="24" y="570"/>
                  </a:lnTo>
                  <a:lnTo>
                    <a:pt x="23" y="559"/>
                  </a:lnTo>
                  <a:lnTo>
                    <a:pt x="20" y="550"/>
                  </a:lnTo>
                  <a:lnTo>
                    <a:pt x="14" y="541"/>
                  </a:lnTo>
                  <a:lnTo>
                    <a:pt x="7" y="533"/>
                  </a:lnTo>
                  <a:lnTo>
                    <a:pt x="3" y="523"/>
                  </a:lnTo>
                  <a:lnTo>
                    <a:pt x="1" y="513"/>
                  </a:lnTo>
                  <a:lnTo>
                    <a:pt x="0" y="505"/>
                  </a:lnTo>
                  <a:lnTo>
                    <a:pt x="2" y="497"/>
                  </a:lnTo>
                  <a:lnTo>
                    <a:pt x="14" y="485"/>
                  </a:lnTo>
                  <a:lnTo>
                    <a:pt x="16" y="479"/>
                  </a:lnTo>
                  <a:lnTo>
                    <a:pt x="15" y="472"/>
                  </a:lnTo>
                  <a:lnTo>
                    <a:pt x="13" y="465"/>
                  </a:lnTo>
                  <a:lnTo>
                    <a:pt x="11" y="455"/>
                  </a:lnTo>
                  <a:lnTo>
                    <a:pt x="8" y="445"/>
                  </a:lnTo>
                  <a:lnTo>
                    <a:pt x="4" y="435"/>
                  </a:lnTo>
                  <a:lnTo>
                    <a:pt x="3" y="431"/>
                  </a:lnTo>
                  <a:lnTo>
                    <a:pt x="5" y="427"/>
                  </a:lnTo>
                  <a:lnTo>
                    <a:pt x="10" y="425"/>
                  </a:lnTo>
                  <a:lnTo>
                    <a:pt x="20" y="419"/>
                  </a:lnTo>
                  <a:lnTo>
                    <a:pt x="24" y="416"/>
                  </a:lnTo>
                  <a:lnTo>
                    <a:pt x="29" y="414"/>
                  </a:lnTo>
                  <a:lnTo>
                    <a:pt x="39" y="412"/>
                  </a:lnTo>
                  <a:lnTo>
                    <a:pt x="51" y="411"/>
                  </a:lnTo>
                  <a:lnTo>
                    <a:pt x="65" y="410"/>
                  </a:lnTo>
                  <a:lnTo>
                    <a:pt x="78" y="409"/>
                  </a:lnTo>
                  <a:lnTo>
                    <a:pt x="89" y="408"/>
                  </a:lnTo>
                  <a:lnTo>
                    <a:pt x="97" y="407"/>
                  </a:lnTo>
                  <a:lnTo>
                    <a:pt x="100" y="404"/>
                  </a:lnTo>
                  <a:lnTo>
                    <a:pt x="99" y="401"/>
                  </a:lnTo>
                  <a:lnTo>
                    <a:pt x="96" y="397"/>
                  </a:lnTo>
                  <a:lnTo>
                    <a:pt x="94" y="395"/>
                  </a:lnTo>
                  <a:lnTo>
                    <a:pt x="94" y="392"/>
                  </a:lnTo>
                  <a:lnTo>
                    <a:pt x="99" y="388"/>
                  </a:lnTo>
                  <a:lnTo>
                    <a:pt x="112" y="380"/>
                  </a:lnTo>
                  <a:lnTo>
                    <a:pt x="117" y="376"/>
                  </a:lnTo>
                  <a:lnTo>
                    <a:pt x="121" y="372"/>
                  </a:lnTo>
                  <a:lnTo>
                    <a:pt x="121" y="366"/>
                  </a:lnTo>
                  <a:lnTo>
                    <a:pt x="117" y="348"/>
                  </a:lnTo>
                  <a:lnTo>
                    <a:pt x="116" y="340"/>
                  </a:lnTo>
                  <a:lnTo>
                    <a:pt x="119" y="333"/>
                  </a:lnTo>
                  <a:lnTo>
                    <a:pt x="120" y="328"/>
                  </a:lnTo>
                  <a:lnTo>
                    <a:pt x="118" y="322"/>
                  </a:lnTo>
                  <a:lnTo>
                    <a:pt x="115" y="317"/>
                  </a:lnTo>
                  <a:lnTo>
                    <a:pt x="113" y="311"/>
                  </a:lnTo>
                  <a:lnTo>
                    <a:pt x="113" y="302"/>
                  </a:lnTo>
                  <a:lnTo>
                    <a:pt x="110" y="297"/>
                  </a:lnTo>
                  <a:lnTo>
                    <a:pt x="107" y="293"/>
                  </a:lnTo>
                  <a:lnTo>
                    <a:pt x="104" y="289"/>
                  </a:lnTo>
                  <a:lnTo>
                    <a:pt x="103" y="286"/>
                  </a:lnTo>
                  <a:lnTo>
                    <a:pt x="104" y="284"/>
                  </a:lnTo>
                  <a:lnTo>
                    <a:pt x="110" y="282"/>
                  </a:lnTo>
                  <a:lnTo>
                    <a:pt x="113" y="282"/>
                  </a:lnTo>
                  <a:lnTo>
                    <a:pt x="116" y="281"/>
                  </a:lnTo>
                  <a:lnTo>
                    <a:pt x="118" y="280"/>
                  </a:lnTo>
                  <a:lnTo>
                    <a:pt x="119" y="279"/>
                  </a:lnTo>
                  <a:lnTo>
                    <a:pt x="119" y="275"/>
                  </a:lnTo>
                  <a:lnTo>
                    <a:pt x="117" y="271"/>
                  </a:lnTo>
                  <a:lnTo>
                    <a:pt x="112" y="266"/>
                  </a:lnTo>
                  <a:lnTo>
                    <a:pt x="105" y="260"/>
                  </a:lnTo>
                  <a:lnTo>
                    <a:pt x="100" y="253"/>
                  </a:lnTo>
                  <a:lnTo>
                    <a:pt x="95" y="246"/>
                  </a:lnTo>
                  <a:lnTo>
                    <a:pt x="92" y="239"/>
                  </a:lnTo>
                  <a:lnTo>
                    <a:pt x="94" y="233"/>
                  </a:lnTo>
                  <a:lnTo>
                    <a:pt x="99" y="227"/>
                  </a:lnTo>
                  <a:lnTo>
                    <a:pt x="102" y="224"/>
                  </a:lnTo>
                  <a:lnTo>
                    <a:pt x="104" y="223"/>
                  </a:lnTo>
                  <a:lnTo>
                    <a:pt x="104" y="221"/>
                  </a:lnTo>
                  <a:lnTo>
                    <a:pt x="104" y="219"/>
                  </a:lnTo>
                  <a:lnTo>
                    <a:pt x="101" y="214"/>
                  </a:lnTo>
                  <a:lnTo>
                    <a:pt x="95" y="202"/>
                  </a:lnTo>
                  <a:lnTo>
                    <a:pt x="93" y="192"/>
                  </a:lnTo>
                  <a:lnTo>
                    <a:pt x="96" y="184"/>
                  </a:lnTo>
                  <a:lnTo>
                    <a:pt x="97" y="181"/>
                  </a:lnTo>
                  <a:lnTo>
                    <a:pt x="94" y="178"/>
                  </a:lnTo>
                  <a:lnTo>
                    <a:pt x="90" y="175"/>
                  </a:lnTo>
                  <a:lnTo>
                    <a:pt x="84" y="173"/>
                  </a:lnTo>
                  <a:lnTo>
                    <a:pt x="79" y="169"/>
                  </a:lnTo>
                  <a:lnTo>
                    <a:pt x="75" y="165"/>
                  </a:lnTo>
                  <a:lnTo>
                    <a:pt x="72" y="159"/>
                  </a:lnTo>
                  <a:lnTo>
                    <a:pt x="68" y="150"/>
                  </a:lnTo>
                  <a:lnTo>
                    <a:pt x="63" y="139"/>
                  </a:lnTo>
                  <a:lnTo>
                    <a:pt x="53" y="114"/>
                  </a:lnTo>
                  <a:lnTo>
                    <a:pt x="50" y="103"/>
                  </a:lnTo>
                  <a:lnTo>
                    <a:pt x="48" y="94"/>
                  </a:lnTo>
                  <a:lnTo>
                    <a:pt x="49" y="88"/>
                  </a:lnTo>
                  <a:lnTo>
                    <a:pt x="53" y="85"/>
                  </a:lnTo>
                  <a:lnTo>
                    <a:pt x="59" y="84"/>
                  </a:lnTo>
                  <a:lnTo>
                    <a:pt x="75" y="84"/>
                  </a:lnTo>
                  <a:lnTo>
                    <a:pt x="83" y="82"/>
                  </a:lnTo>
                  <a:lnTo>
                    <a:pt x="90" y="78"/>
                  </a:lnTo>
                  <a:lnTo>
                    <a:pt x="95" y="72"/>
                  </a:lnTo>
                  <a:lnTo>
                    <a:pt x="99" y="67"/>
                  </a:lnTo>
                  <a:lnTo>
                    <a:pt x="101" y="62"/>
                  </a:lnTo>
                  <a:lnTo>
                    <a:pt x="104" y="58"/>
                  </a:lnTo>
                  <a:lnTo>
                    <a:pt x="108" y="55"/>
                  </a:lnTo>
                  <a:lnTo>
                    <a:pt x="116" y="54"/>
                  </a:lnTo>
                  <a:lnTo>
                    <a:pt x="124" y="54"/>
                  </a:lnTo>
                  <a:lnTo>
                    <a:pt x="128" y="55"/>
                  </a:lnTo>
                  <a:lnTo>
                    <a:pt x="131" y="56"/>
                  </a:lnTo>
                  <a:lnTo>
                    <a:pt x="133" y="57"/>
                  </a:lnTo>
                  <a:lnTo>
                    <a:pt x="137" y="58"/>
                  </a:lnTo>
                  <a:lnTo>
                    <a:pt x="144" y="58"/>
                  </a:lnTo>
                  <a:lnTo>
                    <a:pt x="151" y="59"/>
                  </a:lnTo>
                  <a:lnTo>
                    <a:pt x="157" y="63"/>
                  </a:lnTo>
                  <a:lnTo>
                    <a:pt x="164" y="70"/>
                  </a:lnTo>
                  <a:lnTo>
                    <a:pt x="168" y="71"/>
                  </a:lnTo>
                  <a:lnTo>
                    <a:pt x="173" y="69"/>
                  </a:lnTo>
                  <a:lnTo>
                    <a:pt x="181" y="65"/>
                  </a:lnTo>
                  <a:lnTo>
                    <a:pt x="192" y="60"/>
                  </a:lnTo>
                  <a:lnTo>
                    <a:pt x="204" y="54"/>
                  </a:lnTo>
                  <a:lnTo>
                    <a:pt x="215" y="48"/>
                  </a:lnTo>
                  <a:lnTo>
                    <a:pt x="223" y="42"/>
                  </a:lnTo>
                  <a:lnTo>
                    <a:pt x="228" y="37"/>
                  </a:lnTo>
                  <a:lnTo>
                    <a:pt x="229" y="31"/>
                  </a:lnTo>
                  <a:lnTo>
                    <a:pt x="227" y="21"/>
                  </a:lnTo>
                  <a:lnTo>
                    <a:pt x="229" y="17"/>
                  </a:lnTo>
                  <a:lnTo>
                    <a:pt x="232" y="14"/>
                  </a:lnTo>
                  <a:lnTo>
                    <a:pt x="240" y="10"/>
                  </a:lnTo>
                  <a:lnTo>
                    <a:pt x="258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7">
              <a:extLst>
                <a:ext uri="{FF2B5EF4-FFF2-40B4-BE49-F238E27FC236}">
                  <a16:creationId xmlns:a16="http://schemas.microsoft.com/office/drawing/2014/main" id="{95ABB1EF-0427-4057-9F74-50642E503E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8401" y="3457576"/>
              <a:ext cx="1028700" cy="1477963"/>
            </a:xfrm>
            <a:custGeom>
              <a:avLst/>
              <a:gdLst/>
              <a:ahLst/>
              <a:cxnLst>
                <a:cxn ang="0">
                  <a:pos x="480" y="13"/>
                </a:cxn>
                <a:cxn ang="0">
                  <a:pos x="500" y="40"/>
                </a:cxn>
                <a:cxn ang="0">
                  <a:pos x="487" y="77"/>
                </a:cxn>
                <a:cxn ang="0">
                  <a:pos x="477" y="120"/>
                </a:cxn>
                <a:cxn ang="0">
                  <a:pos x="496" y="142"/>
                </a:cxn>
                <a:cxn ang="0">
                  <a:pos x="528" y="143"/>
                </a:cxn>
                <a:cxn ang="0">
                  <a:pos x="521" y="116"/>
                </a:cxn>
                <a:cxn ang="0">
                  <a:pos x="551" y="113"/>
                </a:cxn>
                <a:cxn ang="0">
                  <a:pos x="570" y="108"/>
                </a:cxn>
                <a:cxn ang="0">
                  <a:pos x="582" y="157"/>
                </a:cxn>
                <a:cxn ang="0">
                  <a:pos x="611" y="179"/>
                </a:cxn>
                <a:cxn ang="0">
                  <a:pos x="637" y="219"/>
                </a:cxn>
                <a:cxn ang="0">
                  <a:pos x="624" y="244"/>
                </a:cxn>
                <a:cxn ang="0">
                  <a:pos x="630" y="272"/>
                </a:cxn>
                <a:cxn ang="0">
                  <a:pos x="596" y="286"/>
                </a:cxn>
                <a:cxn ang="0">
                  <a:pos x="592" y="314"/>
                </a:cxn>
                <a:cxn ang="0">
                  <a:pos x="573" y="356"/>
                </a:cxn>
                <a:cxn ang="0">
                  <a:pos x="565" y="427"/>
                </a:cxn>
                <a:cxn ang="0">
                  <a:pos x="590" y="408"/>
                </a:cxn>
                <a:cxn ang="0">
                  <a:pos x="596" y="480"/>
                </a:cxn>
                <a:cxn ang="0">
                  <a:pos x="526" y="516"/>
                </a:cxn>
                <a:cxn ang="0">
                  <a:pos x="498" y="573"/>
                </a:cxn>
                <a:cxn ang="0">
                  <a:pos x="460" y="588"/>
                </a:cxn>
                <a:cxn ang="0">
                  <a:pos x="456" y="634"/>
                </a:cxn>
                <a:cxn ang="0">
                  <a:pos x="416" y="635"/>
                </a:cxn>
                <a:cxn ang="0">
                  <a:pos x="361" y="639"/>
                </a:cxn>
                <a:cxn ang="0">
                  <a:pos x="319" y="659"/>
                </a:cxn>
                <a:cxn ang="0">
                  <a:pos x="328" y="697"/>
                </a:cxn>
                <a:cxn ang="0">
                  <a:pos x="346" y="769"/>
                </a:cxn>
                <a:cxn ang="0">
                  <a:pos x="348" y="835"/>
                </a:cxn>
                <a:cxn ang="0">
                  <a:pos x="336" y="848"/>
                </a:cxn>
                <a:cxn ang="0">
                  <a:pos x="351" y="880"/>
                </a:cxn>
                <a:cxn ang="0">
                  <a:pos x="320" y="888"/>
                </a:cxn>
                <a:cxn ang="0">
                  <a:pos x="301" y="910"/>
                </a:cxn>
                <a:cxn ang="0">
                  <a:pos x="270" y="929"/>
                </a:cxn>
                <a:cxn ang="0">
                  <a:pos x="283" y="897"/>
                </a:cxn>
                <a:cxn ang="0">
                  <a:pos x="242" y="872"/>
                </a:cxn>
                <a:cxn ang="0">
                  <a:pos x="212" y="846"/>
                </a:cxn>
                <a:cxn ang="0">
                  <a:pos x="181" y="855"/>
                </a:cxn>
                <a:cxn ang="0">
                  <a:pos x="166" y="797"/>
                </a:cxn>
                <a:cxn ang="0">
                  <a:pos x="156" y="754"/>
                </a:cxn>
                <a:cxn ang="0">
                  <a:pos x="136" y="680"/>
                </a:cxn>
                <a:cxn ang="0">
                  <a:pos x="40" y="683"/>
                </a:cxn>
                <a:cxn ang="0">
                  <a:pos x="7" y="642"/>
                </a:cxn>
                <a:cxn ang="0">
                  <a:pos x="28" y="606"/>
                </a:cxn>
                <a:cxn ang="0">
                  <a:pos x="67" y="585"/>
                </a:cxn>
                <a:cxn ang="0">
                  <a:pos x="96" y="566"/>
                </a:cxn>
                <a:cxn ang="0">
                  <a:pos x="69" y="521"/>
                </a:cxn>
                <a:cxn ang="0">
                  <a:pos x="65" y="476"/>
                </a:cxn>
                <a:cxn ang="0">
                  <a:pos x="86" y="461"/>
                </a:cxn>
                <a:cxn ang="0">
                  <a:pos x="91" y="409"/>
                </a:cxn>
                <a:cxn ang="0">
                  <a:pos x="108" y="347"/>
                </a:cxn>
                <a:cxn ang="0">
                  <a:pos x="161" y="322"/>
                </a:cxn>
                <a:cxn ang="0">
                  <a:pos x="199" y="276"/>
                </a:cxn>
                <a:cxn ang="0">
                  <a:pos x="233" y="231"/>
                </a:cxn>
                <a:cxn ang="0">
                  <a:pos x="258" y="174"/>
                </a:cxn>
                <a:cxn ang="0">
                  <a:pos x="217" y="154"/>
                </a:cxn>
                <a:cxn ang="0">
                  <a:pos x="274" y="112"/>
                </a:cxn>
                <a:cxn ang="0">
                  <a:pos x="309" y="70"/>
                </a:cxn>
                <a:cxn ang="0">
                  <a:pos x="378" y="83"/>
                </a:cxn>
                <a:cxn ang="0">
                  <a:pos x="425" y="17"/>
                </a:cxn>
              </a:cxnLst>
              <a:rect l="0" t="0" r="r" b="b"/>
              <a:pathLst>
                <a:path w="648" h="931">
                  <a:moveTo>
                    <a:pt x="458" y="0"/>
                  </a:moveTo>
                  <a:lnTo>
                    <a:pt x="460" y="0"/>
                  </a:lnTo>
                  <a:lnTo>
                    <a:pt x="460" y="3"/>
                  </a:lnTo>
                  <a:lnTo>
                    <a:pt x="460" y="5"/>
                  </a:lnTo>
                  <a:lnTo>
                    <a:pt x="460" y="11"/>
                  </a:lnTo>
                  <a:lnTo>
                    <a:pt x="460" y="13"/>
                  </a:lnTo>
                  <a:lnTo>
                    <a:pt x="463" y="15"/>
                  </a:lnTo>
                  <a:lnTo>
                    <a:pt x="467" y="15"/>
                  </a:lnTo>
                  <a:lnTo>
                    <a:pt x="473" y="14"/>
                  </a:lnTo>
                  <a:lnTo>
                    <a:pt x="480" y="13"/>
                  </a:lnTo>
                  <a:lnTo>
                    <a:pt x="487" y="15"/>
                  </a:lnTo>
                  <a:lnTo>
                    <a:pt x="496" y="21"/>
                  </a:lnTo>
                  <a:lnTo>
                    <a:pt x="502" y="27"/>
                  </a:lnTo>
                  <a:lnTo>
                    <a:pt x="505" y="33"/>
                  </a:lnTo>
                  <a:lnTo>
                    <a:pt x="505" y="39"/>
                  </a:lnTo>
                  <a:lnTo>
                    <a:pt x="504" y="41"/>
                  </a:lnTo>
                  <a:lnTo>
                    <a:pt x="503" y="42"/>
                  </a:lnTo>
                  <a:lnTo>
                    <a:pt x="502" y="41"/>
                  </a:lnTo>
                  <a:lnTo>
                    <a:pt x="501" y="41"/>
                  </a:lnTo>
                  <a:lnTo>
                    <a:pt x="500" y="40"/>
                  </a:lnTo>
                  <a:lnTo>
                    <a:pt x="498" y="39"/>
                  </a:lnTo>
                  <a:lnTo>
                    <a:pt x="497" y="38"/>
                  </a:lnTo>
                  <a:lnTo>
                    <a:pt x="495" y="39"/>
                  </a:lnTo>
                  <a:lnTo>
                    <a:pt x="494" y="40"/>
                  </a:lnTo>
                  <a:lnTo>
                    <a:pt x="491" y="44"/>
                  </a:lnTo>
                  <a:lnTo>
                    <a:pt x="489" y="47"/>
                  </a:lnTo>
                  <a:lnTo>
                    <a:pt x="487" y="53"/>
                  </a:lnTo>
                  <a:lnTo>
                    <a:pt x="484" y="60"/>
                  </a:lnTo>
                  <a:lnTo>
                    <a:pt x="484" y="68"/>
                  </a:lnTo>
                  <a:lnTo>
                    <a:pt x="487" y="77"/>
                  </a:lnTo>
                  <a:lnTo>
                    <a:pt x="491" y="87"/>
                  </a:lnTo>
                  <a:lnTo>
                    <a:pt x="494" y="95"/>
                  </a:lnTo>
                  <a:lnTo>
                    <a:pt x="494" y="103"/>
                  </a:lnTo>
                  <a:lnTo>
                    <a:pt x="492" y="107"/>
                  </a:lnTo>
                  <a:lnTo>
                    <a:pt x="488" y="109"/>
                  </a:lnTo>
                  <a:lnTo>
                    <a:pt x="484" y="109"/>
                  </a:lnTo>
                  <a:lnTo>
                    <a:pt x="481" y="110"/>
                  </a:lnTo>
                  <a:lnTo>
                    <a:pt x="478" y="112"/>
                  </a:lnTo>
                  <a:lnTo>
                    <a:pt x="477" y="116"/>
                  </a:lnTo>
                  <a:lnTo>
                    <a:pt x="477" y="120"/>
                  </a:lnTo>
                  <a:lnTo>
                    <a:pt x="476" y="122"/>
                  </a:lnTo>
                  <a:lnTo>
                    <a:pt x="474" y="123"/>
                  </a:lnTo>
                  <a:lnTo>
                    <a:pt x="473" y="124"/>
                  </a:lnTo>
                  <a:lnTo>
                    <a:pt x="464" y="124"/>
                  </a:lnTo>
                  <a:lnTo>
                    <a:pt x="463" y="125"/>
                  </a:lnTo>
                  <a:lnTo>
                    <a:pt x="466" y="127"/>
                  </a:lnTo>
                  <a:lnTo>
                    <a:pt x="476" y="133"/>
                  </a:lnTo>
                  <a:lnTo>
                    <a:pt x="481" y="135"/>
                  </a:lnTo>
                  <a:lnTo>
                    <a:pt x="487" y="138"/>
                  </a:lnTo>
                  <a:lnTo>
                    <a:pt x="496" y="142"/>
                  </a:lnTo>
                  <a:lnTo>
                    <a:pt x="505" y="147"/>
                  </a:lnTo>
                  <a:lnTo>
                    <a:pt x="512" y="152"/>
                  </a:lnTo>
                  <a:lnTo>
                    <a:pt x="515" y="154"/>
                  </a:lnTo>
                  <a:lnTo>
                    <a:pt x="519" y="154"/>
                  </a:lnTo>
                  <a:lnTo>
                    <a:pt x="521" y="153"/>
                  </a:lnTo>
                  <a:lnTo>
                    <a:pt x="522" y="151"/>
                  </a:lnTo>
                  <a:lnTo>
                    <a:pt x="524" y="150"/>
                  </a:lnTo>
                  <a:lnTo>
                    <a:pt x="526" y="146"/>
                  </a:lnTo>
                  <a:lnTo>
                    <a:pt x="527" y="145"/>
                  </a:lnTo>
                  <a:lnTo>
                    <a:pt x="528" y="143"/>
                  </a:lnTo>
                  <a:lnTo>
                    <a:pt x="529" y="142"/>
                  </a:lnTo>
                  <a:lnTo>
                    <a:pt x="528" y="140"/>
                  </a:lnTo>
                  <a:lnTo>
                    <a:pt x="526" y="139"/>
                  </a:lnTo>
                  <a:lnTo>
                    <a:pt x="523" y="137"/>
                  </a:lnTo>
                  <a:lnTo>
                    <a:pt x="520" y="136"/>
                  </a:lnTo>
                  <a:lnTo>
                    <a:pt x="516" y="133"/>
                  </a:lnTo>
                  <a:lnTo>
                    <a:pt x="513" y="127"/>
                  </a:lnTo>
                  <a:lnTo>
                    <a:pt x="513" y="122"/>
                  </a:lnTo>
                  <a:lnTo>
                    <a:pt x="515" y="119"/>
                  </a:lnTo>
                  <a:lnTo>
                    <a:pt x="521" y="116"/>
                  </a:lnTo>
                  <a:lnTo>
                    <a:pt x="527" y="111"/>
                  </a:lnTo>
                  <a:lnTo>
                    <a:pt x="533" y="108"/>
                  </a:lnTo>
                  <a:lnTo>
                    <a:pt x="535" y="108"/>
                  </a:lnTo>
                  <a:lnTo>
                    <a:pt x="538" y="109"/>
                  </a:lnTo>
                  <a:lnTo>
                    <a:pt x="540" y="111"/>
                  </a:lnTo>
                  <a:lnTo>
                    <a:pt x="543" y="113"/>
                  </a:lnTo>
                  <a:lnTo>
                    <a:pt x="545" y="114"/>
                  </a:lnTo>
                  <a:lnTo>
                    <a:pt x="548" y="115"/>
                  </a:lnTo>
                  <a:lnTo>
                    <a:pt x="549" y="115"/>
                  </a:lnTo>
                  <a:lnTo>
                    <a:pt x="551" y="113"/>
                  </a:lnTo>
                  <a:lnTo>
                    <a:pt x="552" y="111"/>
                  </a:lnTo>
                  <a:lnTo>
                    <a:pt x="552" y="109"/>
                  </a:lnTo>
                  <a:lnTo>
                    <a:pt x="553" y="107"/>
                  </a:lnTo>
                  <a:lnTo>
                    <a:pt x="553" y="105"/>
                  </a:lnTo>
                  <a:lnTo>
                    <a:pt x="556" y="102"/>
                  </a:lnTo>
                  <a:lnTo>
                    <a:pt x="559" y="101"/>
                  </a:lnTo>
                  <a:lnTo>
                    <a:pt x="562" y="101"/>
                  </a:lnTo>
                  <a:lnTo>
                    <a:pt x="565" y="103"/>
                  </a:lnTo>
                  <a:lnTo>
                    <a:pt x="568" y="106"/>
                  </a:lnTo>
                  <a:lnTo>
                    <a:pt x="570" y="108"/>
                  </a:lnTo>
                  <a:lnTo>
                    <a:pt x="572" y="113"/>
                  </a:lnTo>
                  <a:lnTo>
                    <a:pt x="568" y="117"/>
                  </a:lnTo>
                  <a:lnTo>
                    <a:pt x="565" y="122"/>
                  </a:lnTo>
                  <a:lnTo>
                    <a:pt x="564" y="128"/>
                  </a:lnTo>
                  <a:lnTo>
                    <a:pt x="566" y="135"/>
                  </a:lnTo>
                  <a:lnTo>
                    <a:pt x="570" y="142"/>
                  </a:lnTo>
                  <a:lnTo>
                    <a:pt x="575" y="148"/>
                  </a:lnTo>
                  <a:lnTo>
                    <a:pt x="579" y="156"/>
                  </a:lnTo>
                  <a:lnTo>
                    <a:pt x="580" y="157"/>
                  </a:lnTo>
                  <a:lnTo>
                    <a:pt x="582" y="157"/>
                  </a:lnTo>
                  <a:lnTo>
                    <a:pt x="583" y="156"/>
                  </a:lnTo>
                  <a:lnTo>
                    <a:pt x="586" y="154"/>
                  </a:lnTo>
                  <a:lnTo>
                    <a:pt x="587" y="152"/>
                  </a:lnTo>
                  <a:lnTo>
                    <a:pt x="589" y="151"/>
                  </a:lnTo>
                  <a:lnTo>
                    <a:pt x="590" y="151"/>
                  </a:lnTo>
                  <a:lnTo>
                    <a:pt x="592" y="153"/>
                  </a:lnTo>
                  <a:lnTo>
                    <a:pt x="595" y="157"/>
                  </a:lnTo>
                  <a:lnTo>
                    <a:pt x="603" y="169"/>
                  </a:lnTo>
                  <a:lnTo>
                    <a:pt x="606" y="175"/>
                  </a:lnTo>
                  <a:lnTo>
                    <a:pt x="611" y="179"/>
                  </a:lnTo>
                  <a:lnTo>
                    <a:pt x="620" y="183"/>
                  </a:lnTo>
                  <a:lnTo>
                    <a:pt x="630" y="187"/>
                  </a:lnTo>
                  <a:lnTo>
                    <a:pt x="639" y="190"/>
                  </a:lnTo>
                  <a:lnTo>
                    <a:pt x="645" y="193"/>
                  </a:lnTo>
                  <a:lnTo>
                    <a:pt x="648" y="198"/>
                  </a:lnTo>
                  <a:lnTo>
                    <a:pt x="647" y="203"/>
                  </a:lnTo>
                  <a:lnTo>
                    <a:pt x="644" y="209"/>
                  </a:lnTo>
                  <a:lnTo>
                    <a:pt x="640" y="216"/>
                  </a:lnTo>
                  <a:lnTo>
                    <a:pt x="639" y="218"/>
                  </a:lnTo>
                  <a:lnTo>
                    <a:pt x="637" y="219"/>
                  </a:lnTo>
                  <a:lnTo>
                    <a:pt x="636" y="219"/>
                  </a:lnTo>
                  <a:lnTo>
                    <a:pt x="633" y="216"/>
                  </a:lnTo>
                  <a:lnTo>
                    <a:pt x="629" y="214"/>
                  </a:lnTo>
                  <a:lnTo>
                    <a:pt x="619" y="214"/>
                  </a:lnTo>
                  <a:lnTo>
                    <a:pt x="619" y="216"/>
                  </a:lnTo>
                  <a:lnTo>
                    <a:pt x="620" y="218"/>
                  </a:lnTo>
                  <a:lnTo>
                    <a:pt x="622" y="221"/>
                  </a:lnTo>
                  <a:lnTo>
                    <a:pt x="624" y="229"/>
                  </a:lnTo>
                  <a:lnTo>
                    <a:pt x="625" y="237"/>
                  </a:lnTo>
                  <a:lnTo>
                    <a:pt x="624" y="244"/>
                  </a:lnTo>
                  <a:lnTo>
                    <a:pt x="626" y="247"/>
                  </a:lnTo>
                  <a:lnTo>
                    <a:pt x="636" y="257"/>
                  </a:lnTo>
                  <a:lnTo>
                    <a:pt x="641" y="263"/>
                  </a:lnTo>
                  <a:lnTo>
                    <a:pt x="642" y="266"/>
                  </a:lnTo>
                  <a:lnTo>
                    <a:pt x="642" y="269"/>
                  </a:lnTo>
                  <a:lnTo>
                    <a:pt x="641" y="270"/>
                  </a:lnTo>
                  <a:lnTo>
                    <a:pt x="639" y="270"/>
                  </a:lnTo>
                  <a:lnTo>
                    <a:pt x="637" y="271"/>
                  </a:lnTo>
                  <a:lnTo>
                    <a:pt x="633" y="271"/>
                  </a:lnTo>
                  <a:lnTo>
                    <a:pt x="630" y="272"/>
                  </a:lnTo>
                  <a:lnTo>
                    <a:pt x="628" y="273"/>
                  </a:lnTo>
                  <a:lnTo>
                    <a:pt x="622" y="273"/>
                  </a:lnTo>
                  <a:lnTo>
                    <a:pt x="614" y="271"/>
                  </a:lnTo>
                  <a:lnTo>
                    <a:pt x="605" y="269"/>
                  </a:lnTo>
                  <a:lnTo>
                    <a:pt x="594" y="269"/>
                  </a:lnTo>
                  <a:lnTo>
                    <a:pt x="588" y="271"/>
                  </a:lnTo>
                  <a:lnTo>
                    <a:pt x="587" y="274"/>
                  </a:lnTo>
                  <a:lnTo>
                    <a:pt x="589" y="278"/>
                  </a:lnTo>
                  <a:lnTo>
                    <a:pt x="592" y="282"/>
                  </a:lnTo>
                  <a:lnTo>
                    <a:pt x="596" y="286"/>
                  </a:lnTo>
                  <a:lnTo>
                    <a:pt x="598" y="291"/>
                  </a:lnTo>
                  <a:lnTo>
                    <a:pt x="597" y="295"/>
                  </a:lnTo>
                  <a:lnTo>
                    <a:pt x="594" y="296"/>
                  </a:lnTo>
                  <a:lnTo>
                    <a:pt x="589" y="297"/>
                  </a:lnTo>
                  <a:lnTo>
                    <a:pt x="580" y="297"/>
                  </a:lnTo>
                  <a:lnTo>
                    <a:pt x="576" y="299"/>
                  </a:lnTo>
                  <a:lnTo>
                    <a:pt x="576" y="302"/>
                  </a:lnTo>
                  <a:lnTo>
                    <a:pt x="580" y="306"/>
                  </a:lnTo>
                  <a:lnTo>
                    <a:pt x="585" y="310"/>
                  </a:lnTo>
                  <a:lnTo>
                    <a:pt x="592" y="314"/>
                  </a:lnTo>
                  <a:lnTo>
                    <a:pt x="597" y="318"/>
                  </a:lnTo>
                  <a:lnTo>
                    <a:pt x="600" y="320"/>
                  </a:lnTo>
                  <a:lnTo>
                    <a:pt x="599" y="324"/>
                  </a:lnTo>
                  <a:lnTo>
                    <a:pt x="596" y="330"/>
                  </a:lnTo>
                  <a:lnTo>
                    <a:pt x="593" y="337"/>
                  </a:lnTo>
                  <a:lnTo>
                    <a:pt x="591" y="342"/>
                  </a:lnTo>
                  <a:lnTo>
                    <a:pt x="588" y="346"/>
                  </a:lnTo>
                  <a:lnTo>
                    <a:pt x="585" y="348"/>
                  </a:lnTo>
                  <a:lnTo>
                    <a:pt x="578" y="351"/>
                  </a:lnTo>
                  <a:lnTo>
                    <a:pt x="573" y="356"/>
                  </a:lnTo>
                  <a:lnTo>
                    <a:pt x="569" y="364"/>
                  </a:lnTo>
                  <a:lnTo>
                    <a:pt x="565" y="383"/>
                  </a:lnTo>
                  <a:lnTo>
                    <a:pt x="565" y="391"/>
                  </a:lnTo>
                  <a:lnTo>
                    <a:pt x="563" y="399"/>
                  </a:lnTo>
                  <a:lnTo>
                    <a:pt x="558" y="406"/>
                  </a:lnTo>
                  <a:lnTo>
                    <a:pt x="554" y="411"/>
                  </a:lnTo>
                  <a:lnTo>
                    <a:pt x="552" y="417"/>
                  </a:lnTo>
                  <a:lnTo>
                    <a:pt x="554" y="422"/>
                  </a:lnTo>
                  <a:lnTo>
                    <a:pt x="559" y="425"/>
                  </a:lnTo>
                  <a:lnTo>
                    <a:pt x="565" y="427"/>
                  </a:lnTo>
                  <a:lnTo>
                    <a:pt x="569" y="428"/>
                  </a:lnTo>
                  <a:lnTo>
                    <a:pt x="571" y="428"/>
                  </a:lnTo>
                  <a:lnTo>
                    <a:pt x="573" y="426"/>
                  </a:lnTo>
                  <a:lnTo>
                    <a:pt x="574" y="424"/>
                  </a:lnTo>
                  <a:lnTo>
                    <a:pt x="575" y="421"/>
                  </a:lnTo>
                  <a:lnTo>
                    <a:pt x="575" y="418"/>
                  </a:lnTo>
                  <a:lnTo>
                    <a:pt x="576" y="415"/>
                  </a:lnTo>
                  <a:lnTo>
                    <a:pt x="580" y="411"/>
                  </a:lnTo>
                  <a:lnTo>
                    <a:pt x="585" y="409"/>
                  </a:lnTo>
                  <a:lnTo>
                    <a:pt x="590" y="408"/>
                  </a:lnTo>
                  <a:lnTo>
                    <a:pt x="594" y="409"/>
                  </a:lnTo>
                  <a:lnTo>
                    <a:pt x="597" y="412"/>
                  </a:lnTo>
                  <a:lnTo>
                    <a:pt x="600" y="416"/>
                  </a:lnTo>
                  <a:lnTo>
                    <a:pt x="602" y="421"/>
                  </a:lnTo>
                  <a:lnTo>
                    <a:pt x="603" y="426"/>
                  </a:lnTo>
                  <a:lnTo>
                    <a:pt x="601" y="429"/>
                  </a:lnTo>
                  <a:lnTo>
                    <a:pt x="598" y="434"/>
                  </a:lnTo>
                  <a:lnTo>
                    <a:pt x="597" y="443"/>
                  </a:lnTo>
                  <a:lnTo>
                    <a:pt x="597" y="468"/>
                  </a:lnTo>
                  <a:lnTo>
                    <a:pt x="596" y="480"/>
                  </a:lnTo>
                  <a:lnTo>
                    <a:pt x="593" y="488"/>
                  </a:lnTo>
                  <a:lnTo>
                    <a:pt x="586" y="496"/>
                  </a:lnTo>
                  <a:lnTo>
                    <a:pt x="567" y="510"/>
                  </a:lnTo>
                  <a:lnTo>
                    <a:pt x="558" y="515"/>
                  </a:lnTo>
                  <a:lnTo>
                    <a:pt x="550" y="518"/>
                  </a:lnTo>
                  <a:lnTo>
                    <a:pt x="546" y="519"/>
                  </a:lnTo>
                  <a:lnTo>
                    <a:pt x="544" y="519"/>
                  </a:lnTo>
                  <a:lnTo>
                    <a:pt x="538" y="516"/>
                  </a:lnTo>
                  <a:lnTo>
                    <a:pt x="533" y="515"/>
                  </a:lnTo>
                  <a:lnTo>
                    <a:pt x="526" y="516"/>
                  </a:lnTo>
                  <a:lnTo>
                    <a:pt x="521" y="519"/>
                  </a:lnTo>
                  <a:lnTo>
                    <a:pt x="519" y="523"/>
                  </a:lnTo>
                  <a:lnTo>
                    <a:pt x="519" y="537"/>
                  </a:lnTo>
                  <a:lnTo>
                    <a:pt x="521" y="545"/>
                  </a:lnTo>
                  <a:lnTo>
                    <a:pt x="522" y="551"/>
                  </a:lnTo>
                  <a:lnTo>
                    <a:pt x="520" y="557"/>
                  </a:lnTo>
                  <a:lnTo>
                    <a:pt x="515" y="561"/>
                  </a:lnTo>
                  <a:lnTo>
                    <a:pt x="508" y="565"/>
                  </a:lnTo>
                  <a:lnTo>
                    <a:pt x="502" y="569"/>
                  </a:lnTo>
                  <a:lnTo>
                    <a:pt x="498" y="573"/>
                  </a:lnTo>
                  <a:lnTo>
                    <a:pt x="497" y="577"/>
                  </a:lnTo>
                  <a:lnTo>
                    <a:pt x="496" y="579"/>
                  </a:lnTo>
                  <a:lnTo>
                    <a:pt x="495" y="582"/>
                  </a:lnTo>
                  <a:lnTo>
                    <a:pt x="492" y="585"/>
                  </a:lnTo>
                  <a:lnTo>
                    <a:pt x="486" y="589"/>
                  </a:lnTo>
                  <a:lnTo>
                    <a:pt x="479" y="592"/>
                  </a:lnTo>
                  <a:lnTo>
                    <a:pt x="475" y="592"/>
                  </a:lnTo>
                  <a:lnTo>
                    <a:pt x="470" y="590"/>
                  </a:lnTo>
                  <a:lnTo>
                    <a:pt x="466" y="588"/>
                  </a:lnTo>
                  <a:lnTo>
                    <a:pt x="460" y="588"/>
                  </a:lnTo>
                  <a:lnTo>
                    <a:pt x="456" y="590"/>
                  </a:lnTo>
                  <a:lnTo>
                    <a:pt x="455" y="594"/>
                  </a:lnTo>
                  <a:lnTo>
                    <a:pt x="456" y="600"/>
                  </a:lnTo>
                  <a:lnTo>
                    <a:pt x="458" y="606"/>
                  </a:lnTo>
                  <a:lnTo>
                    <a:pt x="459" y="612"/>
                  </a:lnTo>
                  <a:lnTo>
                    <a:pt x="460" y="617"/>
                  </a:lnTo>
                  <a:lnTo>
                    <a:pt x="458" y="620"/>
                  </a:lnTo>
                  <a:lnTo>
                    <a:pt x="454" y="624"/>
                  </a:lnTo>
                  <a:lnTo>
                    <a:pt x="454" y="629"/>
                  </a:lnTo>
                  <a:lnTo>
                    <a:pt x="456" y="634"/>
                  </a:lnTo>
                  <a:lnTo>
                    <a:pt x="456" y="639"/>
                  </a:lnTo>
                  <a:lnTo>
                    <a:pt x="453" y="643"/>
                  </a:lnTo>
                  <a:lnTo>
                    <a:pt x="447" y="645"/>
                  </a:lnTo>
                  <a:lnTo>
                    <a:pt x="431" y="647"/>
                  </a:lnTo>
                  <a:lnTo>
                    <a:pt x="425" y="647"/>
                  </a:lnTo>
                  <a:lnTo>
                    <a:pt x="424" y="645"/>
                  </a:lnTo>
                  <a:lnTo>
                    <a:pt x="422" y="644"/>
                  </a:lnTo>
                  <a:lnTo>
                    <a:pt x="420" y="640"/>
                  </a:lnTo>
                  <a:lnTo>
                    <a:pt x="418" y="638"/>
                  </a:lnTo>
                  <a:lnTo>
                    <a:pt x="416" y="635"/>
                  </a:lnTo>
                  <a:lnTo>
                    <a:pt x="410" y="630"/>
                  </a:lnTo>
                  <a:lnTo>
                    <a:pt x="403" y="627"/>
                  </a:lnTo>
                  <a:lnTo>
                    <a:pt x="395" y="625"/>
                  </a:lnTo>
                  <a:lnTo>
                    <a:pt x="383" y="624"/>
                  </a:lnTo>
                  <a:lnTo>
                    <a:pt x="376" y="624"/>
                  </a:lnTo>
                  <a:lnTo>
                    <a:pt x="373" y="625"/>
                  </a:lnTo>
                  <a:lnTo>
                    <a:pt x="371" y="628"/>
                  </a:lnTo>
                  <a:lnTo>
                    <a:pt x="369" y="634"/>
                  </a:lnTo>
                  <a:lnTo>
                    <a:pt x="365" y="637"/>
                  </a:lnTo>
                  <a:lnTo>
                    <a:pt x="361" y="639"/>
                  </a:lnTo>
                  <a:lnTo>
                    <a:pt x="358" y="639"/>
                  </a:lnTo>
                  <a:lnTo>
                    <a:pt x="355" y="636"/>
                  </a:lnTo>
                  <a:lnTo>
                    <a:pt x="352" y="634"/>
                  </a:lnTo>
                  <a:lnTo>
                    <a:pt x="347" y="633"/>
                  </a:lnTo>
                  <a:lnTo>
                    <a:pt x="339" y="635"/>
                  </a:lnTo>
                  <a:lnTo>
                    <a:pt x="333" y="641"/>
                  </a:lnTo>
                  <a:lnTo>
                    <a:pt x="327" y="648"/>
                  </a:lnTo>
                  <a:lnTo>
                    <a:pt x="322" y="656"/>
                  </a:lnTo>
                  <a:lnTo>
                    <a:pt x="320" y="658"/>
                  </a:lnTo>
                  <a:lnTo>
                    <a:pt x="319" y="659"/>
                  </a:lnTo>
                  <a:lnTo>
                    <a:pt x="319" y="661"/>
                  </a:lnTo>
                  <a:lnTo>
                    <a:pt x="320" y="661"/>
                  </a:lnTo>
                  <a:lnTo>
                    <a:pt x="322" y="663"/>
                  </a:lnTo>
                  <a:lnTo>
                    <a:pt x="324" y="664"/>
                  </a:lnTo>
                  <a:lnTo>
                    <a:pt x="330" y="668"/>
                  </a:lnTo>
                  <a:lnTo>
                    <a:pt x="334" y="673"/>
                  </a:lnTo>
                  <a:lnTo>
                    <a:pt x="335" y="679"/>
                  </a:lnTo>
                  <a:lnTo>
                    <a:pt x="334" y="686"/>
                  </a:lnTo>
                  <a:lnTo>
                    <a:pt x="331" y="692"/>
                  </a:lnTo>
                  <a:lnTo>
                    <a:pt x="328" y="697"/>
                  </a:lnTo>
                  <a:lnTo>
                    <a:pt x="326" y="702"/>
                  </a:lnTo>
                  <a:lnTo>
                    <a:pt x="326" y="711"/>
                  </a:lnTo>
                  <a:lnTo>
                    <a:pt x="327" y="720"/>
                  </a:lnTo>
                  <a:lnTo>
                    <a:pt x="329" y="730"/>
                  </a:lnTo>
                  <a:lnTo>
                    <a:pt x="330" y="738"/>
                  </a:lnTo>
                  <a:lnTo>
                    <a:pt x="331" y="743"/>
                  </a:lnTo>
                  <a:lnTo>
                    <a:pt x="334" y="750"/>
                  </a:lnTo>
                  <a:lnTo>
                    <a:pt x="339" y="756"/>
                  </a:lnTo>
                  <a:lnTo>
                    <a:pt x="343" y="763"/>
                  </a:lnTo>
                  <a:lnTo>
                    <a:pt x="346" y="769"/>
                  </a:lnTo>
                  <a:lnTo>
                    <a:pt x="354" y="783"/>
                  </a:lnTo>
                  <a:lnTo>
                    <a:pt x="356" y="788"/>
                  </a:lnTo>
                  <a:lnTo>
                    <a:pt x="355" y="793"/>
                  </a:lnTo>
                  <a:lnTo>
                    <a:pt x="353" y="801"/>
                  </a:lnTo>
                  <a:lnTo>
                    <a:pt x="350" y="809"/>
                  </a:lnTo>
                  <a:lnTo>
                    <a:pt x="342" y="817"/>
                  </a:lnTo>
                  <a:lnTo>
                    <a:pt x="343" y="820"/>
                  </a:lnTo>
                  <a:lnTo>
                    <a:pt x="345" y="825"/>
                  </a:lnTo>
                  <a:lnTo>
                    <a:pt x="347" y="832"/>
                  </a:lnTo>
                  <a:lnTo>
                    <a:pt x="348" y="835"/>
                  </a:lnTo>
                  <a:lnTo>
                    <a:pt x="347" y="837"/>
                  </a:lnTo>
                  <a:lnTo>
                    <a:pt x="347" y="839"/>
                  </a:lnTo>
                  <a:lnTo>
                    <a:pt x="345" y="839"/>
                  </a:lnTo>
                  <a:lnTo>
                    <a:pt x="344" y="840"/>
                  </a:lnTo>
                  <a:lnTo>
                    <a:pt x="342" y="840"/>
                  </a:lnTo>
                  <a:lnTo>
                    <a:pt x="341" y="841"/>
                  </a:lnTo>
                  <a:lnTo>
                    <a:pt x="339" y="842"/>
                  </a:lnTo>
                  <a:lnTo>
                    <a:pt x="338" y="843"/>
                  </a:lnTo>
                  <a:lnTo>
                    <a:pt x="337" y="845"/>
                  </a:lnTo>
                  <a:lnTo>
                    <a:pt x="336" y="848"/>
                  </a:lnTo>
                  <a:lnTo>
                    <a:pt x="337" y="851"/>
                  </a:lnTo>
                  <a:lnTo>
                    <a:pt x="341" y="857"/>
                  </a:lnTo>
                  <a:lnTo>
                    <a:pt x="344" y="860"/>
                  </a:lnTo>
                  <a:lnTo>
                    <a:pt x="341" y="861"/>
                  </a:lnTo>
                  <a:lnTo>
                    <a:pt x="339" y="861"/>
                  </a:lnTo>
                  <a:lnTo>
                    <a:pt x="337" y="863"/>
                  </a:lnTo>
                  <a:lnTo>
                    <a:pt x="338" y="865"/>
                  </a:lnTo>
                  <a:lnTo>
                    <a:pt x="342" y="870"/>
                  </a:lnTo>
                  <a:lnTo>
                    <a:pt x="347" y="875"/>
                  </a:lnTo>
                  <a:lnTo>
                    <a:pt x="351" y="880"/>
                  </a:lnTo>
                  <a:lnTo>
                    <a:pt x="354" y="884"/>
                  </a:lnTo>
                  <a:lnTo>
                    <a:pt x="353" y="885"/>
                  </a:lnTo>
                  <a:lnTo>
                    <a:pt x="348" y="885"/>
                  </a:lnTo>
                  <a:lnTo>
                    <a:pt x="340" y="884"/>
                  </a:lnTo>
                  <a:lnTo>
                    <a:pt x="335" y="884"/>
                  </a:lnTo>
                  <a:lnTo>
                    <a:pt x="331" y="885"/>
                  </a:lnTo>
                  <a:lnTo>
                    <a:pt x="330" y="887"/>
                  </a:lnTo>
                  <a:lnTo>
                    <a:pt x="328" y="889"/>
                  </a:lnTo>
                  <a:lnTo>
                    <a:pt x="323" y="889"/>
                  </a:lnTo>
                  <a:lnTo>
                    <a:pt x="320" y="888"/>
                  </a:lnTo>
                  <a:lnTo>
                    <a:pt x="316" y="887"/>
                  </a:lnTo>
                  <a:lnTo>
                    <a:pt x="309" y="887"/>
                  </a:lnTo>
                  <a:lnTo>
                    <a:pt x="305" y="891"/>
                  </a:lnTo>
                  <a:lnTo>
                    <a:pt x="303" y="894"/>
                  </a:lnTo>
                  <a:lnTo>
                    <a:pt x="302" y="896"/>
                  </a:lnTo>
                  <a:lnTo>
                    <a:pt x="301" y="899"/>
                  </a:lnTo>
                  <a:lnTo>
                    <a:pt x="301" y="902"/>
                  </a:lnTo>
                  <a:lnTo>
                    <a:pt x="303" y="906"/>
                  </a:lnTo>
                  <a:lnTo>
                    <a:pt x="303" y="909"/>
                  </a:lnTo>
                  <a:lnTo>
                    <a:pt x="301" y="910"/>
                  </a:lnTo>
                  <a:lnTo>
                    <a:pt x="298" y="911"/>
                  </a:lnTo>
                  <a:lnTo>
                    <a:pt x="295" y="913"/>
                  </a:lnTo>
                  <a:lnTo>
                    <a:pt x="293" y="918"/>
                  </a:lnTo>
                  <a:lnTo>
                    <a:pt x="291" y="924"/>
                  </a:lnTo>
                  <a:lnTo>
                    <a:pt x="288" y="929"/>
                  </a:lnTo>
                  <a:lnTo>
                    <a:pt x="285" y="931"/>
                  </a:lnTo>
                  <a:lnTo>
                    <a:pt x="281" y="931"/>
                  </a:lnTo>
                  <a:lnTo>
                    <a:pt x="275" y="930"/>
                  </a:lnTo>
                  <a:lnTo>
                    <a:pt x="273" y="929"/>
                  </a:lnTo>
                  <a:lnTo>
                    <a:pt x="270" y="929"/>
                  </a:lnTo>
                  <a:lnTo>
                    <a:pt x="266" y="927"/>
                  </a:lnTo>
                  <a:lnTo>
                    <a:pt x="265" y="926"/>
                  </a:lnTo>
                  <a:lnTo>
                    <a:pt x="265" y="924"/>
                  </a:lnTo>
                  <a:lnTo>
                    <a:pt x="266" y="921"/>
                  </a:lnTo>
                  <a:lnTo>
                    <a:pt x="269" y="914"/>
                  </a:lnTo>
                  <a:lnTo>
                    <a:pt x="270" y="907"/>
                  </a:lnTo>
                  <a:lnTo>
                    <a:pt x="272" y="901"/>
                  </a:lnTo>
                  <a:lnTo>
                    <a:pt x="274" y="898"/>
                  </a:lnTo>
                  <a:lnTo>
                    <a:pt x="276" y="897"/>
                  </a:lnTo>
                  <a:lnTo>
                    <a:pt x="283" y="897"/>
                  </a:lnTo>
                  <a:lnTo>
                    <a:pt x="284" y="896"/>
                  </a:lnTo>
                  <a:lnTo>
                    <a:pt x="286" y="892"/>
                  </a:lnTo>
                  <a:lnTo>
                    <a:pt x="285" y="888"/>
                  </a:lnTo>
                  <a:lnTo>
                    <a:pt x="280" y="886"/>
                  </a:lnTo>
                  <a:lnTo>
                    <a:pt x="270" y="884"/>
                  </a:lnTo>
                  <a:lnTo>
                    <a:pt x="266" y="880"/>
                  </a:lnTo>
                  <a:lnTo>
                    <a:pt x="261" y="879"/>
                  </a:lnTo>
                  <a:lnTo>
                    <a:pt x="254" y="878"/>
                  </a:lnTo>
                  <a:lnTo>
                    <a:pt x="248" y="876"/>
                  </a:lnTo>
                  <a:lnTo>
                    <a:pt x="242" y="872"/>
                  </a:lnTo>
                  <a:lnTo>
                    <a:pt x="239" y="866"/>
                  </a:lnTo>
                  <a:lnTo>
                    <a:pt x="238" y="857"/>
                  </a:lnTo>
                  <a:lnTo>
                    <a:pt x="238" y="849"/>
                  </a:lnTo>
                  <a:lnTo>
                    <a:pt x="237" y="842"/>
                  </a:lnTo>
                  <a:lnTo>
                    <a:pt x="235" y="838"/>
                  </a:lnTo>
                  <a:lnTo>
                    <a:pt x="231" y="837"/>
                  </a:lnTo>
                  <a:lnTo>
                    <a:pt x="224" y="837"/>
                  </a:lnTo>
                  <a:lnTo>
                    <a:pt x="218" y="839"/>
                  </a:lnTo>
                  <a:lnTo>
                    <a:pt x="213" y="842"/>
                  </a:lnTo>
                  <a:lnTo>
                    <a:pt x="212" y="846"/>
                  </a:lnTo>
                  <a:lnTo>
                    <a:pt x="216" y="856"/>
                  </a:lnTo>
                  <a:lnTo>
                    <a:pt x="218" y="862"/>
                  </a:lnTo>
                  <a:lnTo>
                    <a:pt x="219" y="867"/>
                  </a:lnTo>
                  <a:lnTo>
                    <a:pt x="217" y="869"/>
                  </a:lnTo>
                  <a:lnTo>
                    <a:pt x="213" y="870"/>
                  </a:lnTo>
                  <a:lnTo>
                    <a:pt x="208" y="872"/>
                  </a:lnTo>
                  <a:lnTo>
                    <a:pt x="200" y="873"/>
                  </a:lnTo>
                  <a:lnTo>
                    <a:pt x="196" y="867"/>
                  </a:lnTo>
                  <a:lnTo>
                    <a:pt x="189" y="861"/>
                  </a:lnTo>
                  <a:lnTo>
                    <a:pt x="181" y="855"/>
                  </a:lnTo>
                  <a:lnTo>
                    <a:pt x="173" y="851"/>
                  </a:lnTo>
                  <a:lnTo>
                    <a:pt x="166" y="849"/>
                  </a:lnTo>
                  <a:lnTo>
                    <a:pt x="161" y="846"/>
                  </a:lnTo>
                  <a:lnTo>
                    <a:pt x="156" y="840"/>
                  </a:lnTo>
                  <a:lnTo>
                    <a:pt x="153" y="832"/>
                  </a:lnTo>
                  <a:lnTo>
                    <a:pt x="148" y="817"/>
                  </a:lnTo>
                  <a:lnTo>
                    <a:pt x="150" y="811"/>
                  </a:lnTo>
                  <a:lnTo>
                    <a:pt x="154" y="805"/>
                  </a:lnTo>
                  <a:lnTo>
                    <a:pt x="161" y="800"/>
                  </a:lnTo>
                  <a:lnTo>
                    <a:pt x="166" y="797"/>
                  </a:lnTo>
                  <a:lnTo>
                    <a:pt x="170" y="793"/>
                  </a:lnTo>
                  <a:lnTo>
                    <a:pt x="172" y="788"/>
                  </a:lnTo>
                  <a:lnTo>
                    <a:pt x="175" y="781"/>
                  </a:lnTo>
                  <a:lnTo>
                    <a:pt x="176" y="779"/>
                  </a:lnTo>
                  <a:lnTo>
                    <a:pt x="175" y="777"/>
                  </a:lnTo>
                  <a:lnTo>
                    <a:pt x="173" y="775"/>
                  </a:lnTo>
                  <a:lnTo>
                    <a:pt x="164" y="775"/>
                  </a:lnTo>
                  <a:lnTo>
                    <a:pt x="160" y="773"/>
                  </a:lnTo>
                  <a:lnTo>
                    <a:pt x="158" y="768"/>
                  </a:lnTo>
                  <a:lnTo>
                    <a:pt x="156" y="754"/>
                  </a:lnTo>
                  <a:lnTo>
                    <a:pt x="156" y="742"/>
                  </a:lnTo>
                  <a:lnTo>
                    <a:pt x="152" y="734"/>
                  </a:lnTo>
                  <a:lnTo>
                    <a:pt x="147" y="728"/>
                  </a:lnTo>
                  <a:lnTo>
                    <a:pt x="144" y="723"/>
                  </a:lnTo>
                  <a:lnTo>
                    <a:pt x="143" y="719"/>
                  </a:lnTo>
                  <a:lnTo>
                    <a:pt x="147" y="711"/>
                  </a:lnTo>
                  <a:lnTo>
                    <a:pt x="148" y="706"/>
                  </a:lnTo>
                  <a:lnTo>
                    <a:pt x="146" y="697"/>
                  </a:lnTo>
                  <a:lnTo>
                    <a:pt x="142" y="688"/>
                  </a:lnTo>
                  <a:lnTo>
                    <a:pt x="136" y="680"/>
                  </a:lnTo>
                  <a:lnTo>
                    <a:pt x="130" y="676"/>
                  </a:lnTo>
                  <a:lnTo>
                    <a:pt x="124" y="674"/>
                  </a:lnTo>
                  <a:lnTo>
                    <a:pt x="115" y="670"/>
                  </a:lnTo>
                  <a:lnTo>
                    <a:pt x="104" y="668"/>
                  </a:lnTo>
                  <a:lnTo>
                    <a:pt x="95" y="667"/>
                  </a:lnTo>
                  <a:lnTo>
                    <a:pt x="87" y="668"/>
                  </a:lnTo>
                  <a:lnTo>
                    <a:pt x="78" y="672"/>
                  </a:lnTo>
                  <a:lnTo>
                    <a:pt x="67" y="675"/>
                  </a:lnTo>
                  <a:lnTo>
                    <a:pt x="52" y="680"/>
                  </a:lnTo>
                  <a:lnTo>
                    <a:pt x="40" y="683"/>
                  </a:lnTo>
                  <a:lnTo>
                    <a:pt x="29" y="681"/>
                  </a:lnTo>
                  <a:lnTo>
                    <a:pt x="21" y="677"/>
                  </a:lnTo>
                  <a:lnTo>
                    <a:pt x="18" y="673"/>
                  </a:lnTo>
                  <a:lnTo>
                    <a:pt x="16" y="669"/>
                  </a:lnTo>
                  <a:lnTo>
                    <a:pt x="10" y="664"/>
                  </a:lnTo>
                  <a:lnTo>
                    <a:pt x="4" y="658"/>
                  </a:lnTo>
                  <a:lnTo>
                    <a:pt x="0" y="652"/>
                  </a:lnTo>
                  <a:lnTo>
                    <a:pt x="0" y="648"/>
                  </a:lnTo>
                  <a:lnTo>
                    <a:pt x="3" y="645"/>
                  </a:lnTo>
                  <a:lnTo>
                    <a:pt x="7" y="642"/>
                  </a:lnTo>
                  <a:lnTo>
                    <a:pt x="12" y="639"/>
                  </a:lnTo>
                  <a:lnTo>
                    <a:pt x="20" y="629"/>
                  </a:lnTo>
                  <a:lnTo>
                    <a:pt x="23" y="629"/>
                  </a:lnTo>
                  <a:lnTo>
                    <a:pt x="28" y="631"/>
                  </a:lnTo>
                  <a:lnTo>
                    <a:pt x="33" y="632"/>
                  </a:lnTo>
                  <a:lnTo>
                    <a:pt x="35" y="630"/>
                  </a:lnTo>
                  <a:lnTo>
                    <a:pt x="35" y="626"/>
                  </a:lnTo>
                  <a:lnTo>
                    <a:pt x="31" y="614"/>
                  </a:lnTo>
                  <a:lnTo>
                    <a:pt x="29" y="609"/>
                  </a:lnTo>
                  <a:lnTo>
                    <a:pt x="28" y="606"/>
                  </a:lnTo>
                  <a:lnTo>
                    <a:pt x="30" y="604"/>
                  </a:lnTo>
                  <a:lnTo>
                    <a:pt x="34" y="603"/>
                  </a:lnTo>
                  <a:lnTo>
                    <a:pt x="39" y="601"/>
                  </a:lnTo>
                  <a:lnTo>
                    <a:pt x="43" y="599"/>
                  </a:lnTo>
                  <a:lnTo>
                    <a:pt x="44" y="597"/>
                  </a:lnTo>
                  <a:lnTo>
                    <a:pt x="45" y="593"/>
                  </a:lnTo>
                  <a:lnTo>
                    <a:pt x="49" y="590"/>
                  </a:lnTo>
                  <a:lnTo>
                    <a:pt x="56" y="587"/>
                  </a:lnTo>
                  <a:lnTo>
                    <a:pt x="64" y="586"/>
                  </a:lnTo>
                  <a:lnTo>
                    <a:pt x="67" y="585"/>
                  </a:lnTo>
                  <a:lnTo>
                    <a:pt x="69" y="585"/>
                  </a:lnTo>
                  <a:lnTo>
                    <a:pt x="70" y="584"/>
                  </a:lnTo>
                  <a:lnTo>
                    <a:pt x="70" y="579"/>
                  </a:lnTo>
                  <a:lnTo>
                    <a:pt x="69" y="577"/>
                  </a:lnTo>
                  <a:lnTo>
                    <a:pt x="69" y="573"/>
                  </a:lnTo>
                  <a:lnTo>
                    <a:pt x="72" y="570"/>
                  </a:lnTo>
                  <a:lnTo>
                    <a:pt x="77" y="569"/>
                  </a:lnTo>
                  <a:lnTo>
                    <a:pt x="90" y="567"/>
                  </a:lnTo>
                  <a:lnTo>
                    <a:pt x="95" y="567"/>
                  </a:lnTo>
                  <a:lnTo>
                    <a:pt x="96" y="566"/>
                  </a:lnTo>
                  <a:lnTo>
                    <a:pt x="92" y="564"/>
                  </a:lnTo>
                  <a:lnTo>
                    <a:pt x="85" y="562"/>
                  </a:lnTo>
                  <a:lnTo>
                    <a:pt x="78" y="560"/>
                  </a:lnTo>
                  <a:lnTo>
                    <a:pt x="71" y="559"/>
                  </a:lnTo>
                  <a:lnTo>
                    <a:pt x="68" y="557"/>
                  </a:lnTo>
                  <a:lnTo>
                    <a:pt x="67" y="554"/>
                  </a:lnTo>
                  <a:lnTo>
                    <a:pt x="71" y="542"/>
                  </a:lnTo>
                  <a:lnTo>
                    <a:pt x="76" y="532"/>
                  </a:lnTo>
                  <a:lnTo>
                    <a:pt x="75" y="527"/>
                  </a:lnTo>
                  <a:lnTo>
                    <a:pt x="69" y="521"/>
                  </a:lnTo>
                  <a:lnTo>
                    <a:pt x="57" y="514"/>
                  </a:lnTo>
                  <a:lnTo>
                    <a:pt x="55" y="511"/>
                  </a:lnTo>
                  <a:lnTo>
                    <a:pt x="55" y="507"/>
                  </a:lnTo>
                  <a:lnTo>
                    <a:pt x="58" y="503"/>
                  </a:lnTo>
                  <a:lnTo>
                    <a:pt x="61" y="500"/>
                  </a:lnTo>
                  <a:lnTo>
                    <a:pt x="65" y="497"/>
                  </a:lnTo>
                  <a:lnTo>
                    <a:pt x="67" y="494"/>
                  </a:lnTo>
                  <a:lnTo>
                    <a:pt x="67" y="489"/>
                  </a:lnTo>
                  <a:lnTo>
                    <a:pt x="66" y="483"/>
                  </a:lnTo>
                  <a:lnTo>
                    <a:pt x="65" y="476"/>
                  </a:lnTo>
                  <a:lnTo>
                    <a:pt x="65" y="470"/>
                  </a:lnTo>
                  <a:lnTo>
                    <a:pt x="66" y="466"/>
                  </a:lnTo>
                  <a:lnTo>
                    <a:pt x="66" y="464"/>
                  </a:lnTo>
                  <a:lnTo>
                    <a:pt x="69" y="461"/>
                  </a:lnTo>
                  <a:lnTo>
                    <a:pt x="73" y="459"/>
                  </a:lnTo>
                  <a:lnTo>
                    <a:pt x="76" y="458"/>
                  </a:lnTo>
                  <a:lnTo>
                    <a:pt x="78" y="457"/>
                  </a:lnTo>
                  <a:lnTo>
                    <a:pt x="81" y="457"/>
                  </a:lnTo>
                  <a:lnTo>
                    <a:pt x="85" y="459"/>
                  </a:lnTo>
                  <a:lnTo>
                    <a:pt x="86" y="461"/>
                  </a:lnTo>
                  <a:lnTo>
                    <a:pt x="87" y="463"/>
                  </a:lnTo>
                  <a:lnTo>
                    <a:pt x="89" y="464"/>
                  </a:lnTo>
                  <a:lnTo>
                    <a:pt x="91" y="463"/>
                  </a:lnTo>
                  <a:lnTo>
                    <a:pt x="93" y="459"/>
                  </a:lnTo>
                  <a:lnTo>
                    <a:pt x="95" y="453"/>
                  </a:lnTo>
                  <a:lnTo>
                    <a:pt x="98" y="447"/>
                  </a:lnTo>
                  <a:lnTo>
                    <a:pt x="105" y="440"/>
                  </a:lnTo>
                  <a:lnTo>
                    <a:pt x="104" y="435"/>
                  </a:lnTo>
                  <a:lnTo>
                    <a:pt x="92" y="417"/>
                  </a:lnTo>
                  <a:lnTo>
                    <a:pt x="91" y="409"/>
                  </a:lnTo>
                  <a:lnTo>
                    <a:pt x="94" y="401"/>
                  </a:lnTo>
                  <a:lnTo>
                    <a:pt x="99" y="392"/>
                  </a:lnTo>
                  <a:lnTo>
                    <a:pt x="106" y="385"/>
                  </a:lnTo>
                  <a:lnTo>
                    <a:pt x="108" y="381"/>
                  </a:lnTo>
                  <a:lnTo>
                    <a:pt x="107" y="374"/>
                  </a:lnTo>
                  <a:lnTo>
                    <a:pt x="105" y="368"/>
                  </a:lnTo>
                  <a:lnTo>
                    <a:pt x="102" y="362"/>
                  </a:lnTo>
                  <a:lnTo>
                    <a:pt x="101" y="358"/>
                  </a:lnTo>
                  <a:lnTo>
                    <a:pt x="103" y="354"/>
                  </a:lnTo>
                  <a:lnTo>
                    <a:pt x="108" y="347"/>
                  </a:lnTo>
                  <a:lnTo>
                    <a:pt x="120" y="331"/>
                  </a:lnTo>
                  <a:lnTo>
                    <a:pt x="127" y="323"/>
                  </a:lnTo>
                  <a:lnTo>
                    <a:pt x="133" y="318"/>
                  </a:lnTo>
                  <a:lnTo>
                    <a:pt x="136" y="315"/>
                  </a:lnTo>
                  <a:lnTo>
                    <a:pt x="139" y="315"/>
                  </a:lnTo>
                  <a:lnTo>
                    <a:pt x="144" y="318"/>
                  </a:lnTo>
                  <a:lnTo>
                    <a:pt x="148" y="322"/>
                  </a:lnTo>
                  <a:lnTo>
                    <a:pt x="153" y="326"/>
                  </a:lnTo>
                  <a:lnTo>
                    <a:pt x="157" y="326"/>
                  </a:lnTo>
                  <a:lnTo>
                    <a:pt x="161" y="322"/>
                  </a:lnTo>
                  <a:lnTo>
                    <a:pt x="165" y="315"/>
                  </a:lnTo>
                  <a:lnTo>
                    <a:pt x="169" y="309"/>
                  </a:lnTo>
                  <a:lnTo>
                    <a:pt x="173" y="304"/>
                  </a:lnTo>
                  <a:lnTo>
                    <a:pt x="178" y="302"/>
                  </a:lnTo>
                  <a:lnTo>
                    <a:pt x="183" y="301"/>
                  </a:lnTo>
                  <a:lnTo>
                    <a:pt x="187" y="300"/>
                  </a:lnTo>
                  <a:lnTo>
                    <a:pt x="189" y="296"/>
                  </a:lnTo>
                  <a:lnTo>
                    <a:pt x="190" y="290"/>
                  </a:lnTo>
                  <a:lnTo>
                    <a:pt x="194" y="283"/>
                  </a:lnTo>
                  <a:lnTo>
                    <a:pt x="199" y="276"/>
                  </a:lnTo>
                  <a:lnTo>
                    <a:pt x="205" y="270"/>
                  </a:lnTo>
                  <a:lnTo>
                    <a:pt x="208" y="263"/>
                  </a:lnTo>
                  <a:lnTo>
                    <a:pt x="208" y="255"/>
                  </a:lnTo>
                  <a:lnTo>
                    <a:pt x="207" y="247"/>
                  </a:lnTo>
                  <a:lnTo>
                    <a:pt x="206" y="238"/>
                  </a:lnTo>
                  <a:lnTo>
                    <a:pt x="208" y="232"/>
                  </a:lnTo>
                  <a:lnTo>
                    <a:pt x="211" y="228"/>
                  </a:lnTo>
                  <a:lnTo>
                    <a:pt x="217" y="228"/>
                  </a:lnTo>
                  <a:lnTo>
                    <a:pt x="225" y="229"/>
                  </a:lnTo>
                  <a:lnTo>
                    <a:pt x="233" y="231"/>
                  </a:lnTo>
                  <a:lnTo>
                    <a:pt x="241" y="232"/>
                  </a:lnTo>
                  <a:lnTo>
                    <a:pt x="246" y="230"/>
                  </a:lnTo>
                  <a:lnTo>
                    <a:pt x="248" y="226"/>
                  </a:lnTo>
                  <a:lnTo>
                    <a:pt x="249" y="220"/>
                  </a:lnTo>
                  <a:lnTo>
                    <a:pt x="251" y="211"/>
                  </a:lnTo>
                  <a:lnTo>
                    <a:pt x="256" y="205"/>
                  </a:lnTo>
                  <a:lnTo>
                    <a:pt x="261" y="200"/>
                  </a:lnTo>
                  <a:lnTo>
                    <a:pt x="262" y="196"/>
                  </a:lnTo>
                  <a:lnTo>
                    <a:pt x="262" y="190"/>
                  </a:lnTo>
                  <a:lnTo>
                    <a:pt x="258" y="174"/>
                  </a:lnTo>
                  <a:lnTo>
                    <a:pt x="255" y="166"/>
                  </a:lnTo>
                  <a:lnTo>
                    <a:pt x="252" y="159"/>
                  </a:lnTo>
                  <a:lnTo>
                    <a:pt x="248" y="156"/>
                  </a:lnTo>
                  <a:lnTo>
                    <a:pt x="244" y="157"/>
                  </a:lnTo>
                  <a:lnTo>
                    <a:pt x="239" y="160"/>
                  </a:lnTo>
                  <a:lnTo>
                    <a:pt x="228" y="171"/>
                  </a:lnTo>
                  <a:lnTo>
                    <a:pt x="226" y="170"/>
                  </a:lnTo>
                  <a:lnTo>
                    <a:pt x="223" y="167"/>
                  </a:lnTo>
                  <a:lnTo>
                    <a:pt x="217" y="157"/>
                  </a:lnTo>
                  <a:lnTo>
                    <a:pt x="217" y="154"/>
                  </a:lnTo>
                  <a:lnTo>
                    <a:pt x="219" y="151"/>
                  </a:lnTo>
                  <a:lnTo>
                    <a:pt x="222" y="146"/>
                  </a:lnTo>
                  <a:lnTo>
                    <a:pt x="228" y="140"/>
                  </a:lnTo>
                  <a:lnTo>
                    <a:pt x="233" y="133"/>
                  </a:lnTo>
                  <a:lnTo>
                    <a:pt x="239" y="127"/>
                  </a:lnTo>
                  <a:lnTo>
                    <a:pt x="243" y="122"/>
                  </a:lnTo>
                  <a:lnTo>
                    <a:pt x="246" y="119"/>
                  </a:lnTo>
                  <a:lnTo>
                    <a:pt x="252" y="117"/>
                  </a:lnTo>
                  <a:lnTo>
                    <a:pt x="262" y="115"/>
                  </a:lnTo>
                  <a:lnTo>
                    <a:pt x="274" y="112"/>
                  </a:lnTo>
                  <a:lnTo>
                    <a:pt x="286" y="111"/>
                  </a:lnTo>
                  <a:lnTo>
                    <a:pt x="295" y="110"/>
                  </a:lnTo>
                  <a:lnTo>
                    <a:pt x="305" y="109"/>
                  </a:lnTo>
                  <a:lnTo>
                    <a:pt x="311" y="107"/>
                  </a:lnTo>
                  <a:lnTo>
                    <a:pt x="314" y="102"/>
                  </a:lnTo>
                  <a:lnTo>
                    <a:pt x="313" y="97"/>
                  </a:lnTo>
                  <a:lnTo>
                    <a:pt x="309" y="90"/>
                  </a:lnTo>
                  <a:lnTo>
                    <a:pt x="306" y="83"/>
                  </a:lnTo>
                  <a:lnTo>
                    <a:pt x="306" y="76"/>
                  </a:lnTo>
                  <a:lnTo>
                    <a:pt x="309" y="70"/>
                  </a:lnTo>
                  <a:lnTo>
                    <a:pt x="314" y="66"/>
                  </a:lnTo>
                  <a:lnTo>
                    <a:pt x="321" y="64"/>
                  </a:lnTo>
                  <a:lnTo>
                    <a:pt x="328" y="63"/>
                  </a:lnTo>
                  <a:lnTo>
                    <a:pt x="337" y="66"/>
                  </a:lnTo>
                  <a:lnTo>
                    <a:pt x="347" y="73"/>
                  </a:lnTo>
                  <a:lnTo>
                    <a:pt x="354" y="83"/>
                  </a:lnTo>
                  <a:lnTo>
                    <a:pt x="358" y="87"/>
                  </a:lnTo>
                  <a:lnTo>
                    <a:pt x="364" y="87"/>
                  </a:lnTo>
                  <a:lnTo>
                    <a:pt x="371" y="86"/>
                  </a:lnTo>
                  <a:lnTo>
                    <a:pt x="378" y="83"/>
                  </a:lnTo>
                  <a:lnTo>
                    <a:pt x="383" y="80"/>
                  </a:lnTo>
                  <a:lnTo>
                    <a:pt x="388" y="76"/>
                  </a:lnTo>
                  <a:lnTo>
                    <a:pt x="396" y="70"/>
                  </a:lnTo>
                  <a:lnTo>
                    <a:pt x="414" y="54"/>
                  </a:lnTo>
                  <a:lnTo>
                    <a:pt x="420" y="45"/>
                  </a:lnTo>
                  <a:lnTo>
                    <a:pt x="423" y="38"/>
                  </a:lnTo>
                  <a:lnTo>
                    <a:pt x="422" y="30"/>
                  </a:lnTo>
                  <a:lnTo>
                    <a:pt x="421" y="24"/>
                  </a:lnTo>
                  <a:lnTo>
                    <a:pt x="421" y="20"/>
                  </a:lnTo>
                  <a:lnTo>
                    <a:pt x="425" y="17"/>
                  </a:lnTo>
                  <a:lnTo>
                    <a:pt x="427" y="16"/>
                  </a:lnTo>
                  <a:lnTo>
                    <a:pt x="429" y="14"/>
                  </a:lnTo>
                  <a:lnTo>
                    <a:pt x="430" y="11"/>
                  </a:lnTo>
                  <a:lnTo>
                    <a:pt x="430" y="8"/>
                  </a:lnTo>
                  <a:lnTo>
                    <a:pt x="440" y="6"/>
                  </a:lnTo>
                  <a:lnTo>
                    <a:pt x="458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3D6756CA-50A2-4648-A2A9-B4A229C59660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4013" y="3436938"/>
              <a:ext cx="1265238" cy="987425"/>
            </a:xfrm>
            <a:custGeom>
              <a:avLst/>
              <a:gdLst/>
              <a:ahLst/>
              <a:cxnLst>
                <a:cxn ang="0">
                  <a:pos x="273" y="14"/>
                </a:cxn>
                <a:cxn ang="0">
                  <a:pos x="320" y="56"/>
                </a:cxn>
                <a:cxn ang="0">
                  <a:pos x="320" y="95"/>
                </a:cxn>
                <a:cxn ang="0">
                  <a:pos x="340" y="114"/>
                </a:cxn>
                <a:cxn ang="0">
                  <a:pos x="409" y="117"/>
                </a:cxn>
                <a:cxn ang="0">
                  <a:pos x="503" y="108"/>
                </a:cxn>
                <a:cxn ang="0">
                  <a:pos x="538" y="88"/>
                </a:cxn>
                <a:cxn ang="0">
                  <a:pos x="572" y="36"/>
                </a:cxn>
                <a:cxn ang="0">
                  <a:pos x="609" y="51"/>
                </a:cxn>
                <a:cxn ang="0">
                  <a:pos x="677" y="23"/>
                </a:cxn>
                <a:cxn ang="0">
                  <a:pos x="698" y="15"/>
                </a:cxn>
                <a:cxn ang="0">
                  <a:pos x="708" y="25"/>
                </a:cxn>
                <a:cxn ang="0">
                  <a:pos x="774" y="65"/>
                </a:cxn>
                <a:cxn ang="0">
                  <a:pos x="795" y="153"/>
                </a:cxn>
                <a:cxn ang="0">
                  <a:pos x="766" y="274"/>
                </a:cxn>
                <a:cxn ang="0">
                  <a:pos x="730" y="325"/>
                </a:cxn>
                <a:cxn ang="0">
                  <a:pos x="703" y="290"/>
                </a:cxn>
                <a:cxn ang="0">
                  <a:pos x="682" y="276"/>
                </a:cxn>
                <a:cxn ang="0">
                  <a:pos x="660" y="238"/>
                </a:cxn>
                <a:cxn ang="0">
                  <a:pos x="622" y="244"/>
                </a:cxn>
                <a:cxn ang="0">
                  <a:pos x="604" y="262"/>
                </a:cxn>
                <a:cxn ang="0">
                  <a:pos x="624" y="264"/>
                </a:cxn>
                <a:cxn ang="0">
                  <a:pos x="637" y="299"/>
                </a:cxn>
                <a:cxn ang="0">
                  <a:pos x="580" y="326"/>
                </a:cxn>
                <a:cxn ang="0">
                  <a:pos x="515" y="357"/>
                </a:cxn>
                <a:cxn ang="0">
                  <a:pos x="445" y="382"/>
                </a:cxn>
                <a:cxn ang="0">
                  <a:pos x="406" y="425"/>
                </a:cxn>
                <a:cxn ang="0">
                  <a:pos x="364" y="436"/>
                </a:cxn>
                <a:cxn ang="0">
                  <a:pos x="335" y="476"/>
                </a:cxn>
                <a:cxn ang="0">
                  <a:pos x="285" y="506"/>
                </a:cxn>
                <a:cxn ang="0">
                  <a:pos x="233" y="503"/>
                </a:cxn>
                <a:cxn ang="0">
                  <a:pos x="196" y="524"/>
                </a:cxn>
                <a:cxn ang="0">
                  <a:pos x="146" y="546"/>
                </a:cxn>
                <a:cxn ang="0">
                  <a:pos x="112" y="601"/>
                </a:cxn>
                <a:cxn ang="0">
                  <a:pos x="102" y="617"/>
                </a:cxn>
                <a:cxn ang="0">
                  <a:pos x="91" y="582"/>
                </a:cxn>
                <a:cxn ang="0">
                  <a:pos x="63" y="557"/>
                </a:cxn>
                <a:cxn ang="0">
                  <a:pos x="17" y="545"/>
                </a:cxn>
                <a:cxn ang="0">
                  <a:pos x="6" y="484"/>
                </a:cxn>
                <a:cxn ang="0">
                  <a:pos x="28" y="473"/>
                </a:cxn>
                <a:cxn ang="0">
                  <a:pos x="49" y="461"/>
                </a:cxn>
                <a:cxn ang="0">
                  <a:pos x="74" y="432"/>
                </a:cxn>
                <a:cxn ang="0">
                  <a:pos x="98" y="409"/>
                </a:cxn>
                <a:cxn ang="0">
                  <a:pos x="90" y="368"/>
                </a:cxn>
                <a:cxn ang="0">
                  <a:pos x="116" y="353"/>
                </a:cxn>
                <a:cxn ang="0">
                  <a:pos x="158" y="327"/>
                </a:cxn>
                <a:cxn ang="0">
                  <a:pos x="183" y="300"/>
                </a:cxn>
                <a:cxn ang="0">
                  <a:pos x="148" y="272"/>
                </a:cxn>
                <a:cxn ang="0">
                  <a:pos x="105" y="244"/>
                </a:cxn>
                <a:cxn ang="0">
                  <a:pos x="68" y="237"/>
                </a:cxn>
                <a:cxn ang="0">
                  <a:pos x="48" y="160"/>
                </a:cxn>
                <a:cxn ang="0">
                  <a:pos x="58" y="115"/>
                </a:cxn>
                <a:cxn ang="0">
                  <a:pos x="71" y="55"/>
                </a:cxn>
                <a:cxn ang="0">
                  <a:pos x="138" y="32"/>
                </a:cxn>
                <a:cxn ang="0">
                  <a:pos x="199" y="12"/>
                </a:cxn>
                <a:cxn ang="0">
                  <a:pos x="237" y="0"/>
                </a:cxn>
              </a:cxnLst>
              <a:rect l="0" t="0" r="r" b="b"/>
              <a:pathLst>
                <a:path w="797" h="622">
                  <a:moveTo>
                    <a:pt x="237" y="0"/>
                  </a:moveTo>
                  <a:lnTo>
                    <a:pt x="243" y="2"/>
                  </a:lnTo>
                  <a:lnTo>
                    <a:pt x="249" y="5"/>
                  </a:lnTo>
                  <a:lnTo>
                    <a:pt x="252" y="9"/>
                  </a:lnTo>
                  <a:lnTo>
                    <a:pt x="256" y="12"/>
                  </a:lnTo>
                  <a:lnTo>
                    <a:pt x="260" y="13"/>
                  </a:lnTo>
                  <a:lnTo>
                    <a:pt x="266" y="13"/>
                  </a:lnTo>
                  <a:lnTo>
                    <a:pt x="273" y="14"/>
                  </a:lnTo>
                  <a:lnTo>
                    <a:pt x="279" y="19"/>
                  </a:lnTo>
                  <a:lnTo>
                    <a:pt x="285" y="25"/>
                  </a:lnTo>
                  <a:lnTo>
                    <a:pt x="292" y="31"/>
                  </a:lnTo>
                  <a:lnTo>
                    <a:pt x="298" y="34"/>
                  </a:lnTo>
                  <a:lnTo>
                    <a:pt x="306" y="36"/>
                  </a:lnTo>
                  <a:lnTo>
                    <a:pt x="312" y="42"/>
                  </a:lnTo>
                  <a:lnTo>
                    <a:pt x="317" y="48"/>
                  </a:lnTo>
                  <a:lnTo>
                    <a:pt x="320" y="56"/>
                  </a:lnTo>
                  <a:lnTo>
                    <a:pt x="322" y="64"/>
                  </a:lnTo>
                  <a:lnTo>
                    <a:pt x="323" y="70"/>
                  </a:lnTo>
                  <a:lnTo>
                    <a:pt x="320" y="75"/>
                  </a:lnTo>
                  <a:lnTo>
                    <a:pt x="318" y="78"/>
                  </a:lnTo>
                  <a:lnTo>
                    <a:pt x="319" y="82"/>
                  </a:lnTo>
                  <a:lnTo>
                    <a:pt x="321" y="86"/>
                  </a:lnTo>
                  <a:lnTo>
                    <a:pt x="322" y="91"/>
                  </a:lnTo>
                  <a:lnTo>
                    <a:pt x="320" y="95"/>
                  </a:lnTo>
                  <a:lnTo>
                    <a:pt x="317" y="99"/>
                  </a:lnTo>
                  <a:lnTo>
                    <a:pt x="315" y="104"/>
                  </a:lnTo>
                  <a:lnTo>
                    <a:pt x="314" y="109"/>
                  </a:lnTo>
                  <a:lnTo>
                    <a:pt x="315" y="112"/>
                  </a:lnTo>
                  <a:lnTo>
                    <a:pt x="318" y="113"/>
                  </a:lnTo>
                  <a:lnTo>
                    <a:pt x="328" y="111"/>
                  </a:lnTo>
                  <a:lnTo>
                    <a:pt x="333" y="112"/>
                  </a:lnTo>
                  <a:lnTo>
                    <a:pt x="340" y="114"/>
                  </a:lnTo>
                  <a:lnTo>
                    <a:pt x="348" y="114"/>
                  </a:lnTo>
                  <a:lnTo>
                    <a:pt x="355" y="109"/>
                  </a:lnTo>
                  <a:lnTo>
                    <a:pt x="363" y="104"/>
                  </a:lnTo>
                  <a:lnTo>
                    <a:pt x="371" y="100"/>
                  </a:lnTo>
                  <a:lnTo>
                    <a:pt x="377" y="100"/>
                  </a:lnTo>
                  <a:lnTo>
                    <a:pt x="385" y="105"/>
                  </a:lnTo>
                  <a:lnTo>
                    <a:pt x="396" y="111"/>
                  </a:lnTo>
                  <a:lnTo>
                    <a:pt x="409" y="117"/>
                  </a:lnTo>
                  <a:lnTo>
                    <a:pt x="422" y="121"/>
                  </a:lnTo>
                  <a:lnTo>
                    <a:pt x="435" y="123"/>
                  </a:lnTo>
                  <a:lnTo>
                    <a:pt x="445" y="122"/>
                  </a:lnTo>
                  <a:lnTo>
                    <a:pt x="457" y="120"/>
                  </a:lnTo>
                  <a:lnTo>
                    <a:pt x="470" y="117"/>
                  </a:lnTo>
                  <a:lnTo>
                    <a:pt x="483" y="113"/>
                  </a:lnTo>
                  <a:lnTo>
                    <a:pt x="494" y="110"/>
                  </a:lnTo>
                  <a:lnTo>
                    <a:pt x="503" y="108"/>
                  </a:lnTo>
                  <a:lnTo>
                    <a:pt x="509" y="108"/>
                  </a:lnTo>
                  <a:lnTo>
                    <a:pt x="514" y="111"/>
                  </a:lnTo>
                  <a:lnTo>
                    <a:pt x="525" y="121"/>
                  </a:lnTo>
                  <a:lnTo>
                    <a:pt x="528" y="122"/>
                  </a:lnTo>
                  <a:lnTo>
                    <a:pt x="531" y="119"/>
                  </a:lnTo>
                  <a:lnTo>
                    <a:pt x="534" y="111"/>
                  </a:lnTo>
                  <a:lnTo>
                    <a:pt x="536" y="100"/>
                  </a:lnTo>
                  <a:lnTo>
                    <a:pt x="538" y="88"/>
                  </a:lnTo>
                  <a:lnTo>
                    <a:pt x="540" y="77"/>
                  </a:lnTo>
                  <a:lnTo>
                    <a:pt x="542" y="69"/>
                  </a:lnTo>
                  <a:lnTo>
                    <a:pt x="545" y="65"/>
                  </a:lnTo>
                  <a:lnTo>
                    <a:pt x="549" y="61"/>
                  </a:lnTo>
                  <a:lnTo>
                    <a:pt x="554" y="53"/>
                  </a:lnTo>
                  <a:lnTo>
                    <a:pt x="560" y="45"/>
                  </a:lnTo>
                  <a:lnTo>
                    <a:pt x="566" y="39"/>
                  </a:lnTo>
                  <a:lnTo>
                    <a:pt x="572" y="36"/>
                  </a:lnTo>
                  <a:lnTo>
                    <a:pt x="581" y="37"/>
                  </a:lnTo>
                  <a:lnTo>
                    <a:pt x="592" y="38"/>
                  </a:lnTo>
                  <a:lnTo>
                    <a:pt x="601" y="41"/>
                  </a:lnTo>
                  <a:lnTo>
                    <a:pt x="607" y="45"/>
                  </a:lnTo>
                  <a:lnTo>
                    <a:pt x="608" y="46"/>
                  </a:lnTo>
                  <a:lnTo>
                    <a:pt x="608" y="48"/>
                  </a:lnTo>
                  <a:lnTo>
                    <a:pt x="609" y="49"/>
                  </a:lnTo>
                  <a:lnTo>
                    <a:pt x="609" y="51"/>
                  </a:lnTo>
                  <a:lnTo>
                    <a:pt x="611" y="51"/>
                  </a:lnTo>
                  <a:lnTo>
                    <a:pt x="612" y="50"/>
                  </a:lnTo>
                  <a:lnTo>
                    <a:pt x="618" y="46"/>
                  </a:lnTo>
                  <a:lnTo>
                    <a:pt x="625" y="42"/>
                  </a:lnTo>
                  <a:lnTo>
                    <a:pt x="637" y="37"/>
                  </a:lnTo>
                  <a:lnTo>
                    <a:pt x="650" y="33"/>
                  </a:lnTo>
                  <a:lnTo>
                    <a:pt x="662" y="29"/>
                  </a:lnTo>
                  <a:lnTo>
                    <a:pt x="677" y="23"/>
                  </a:lnTo>
                  <a:lnTo>
                    <a:pt x="680" y="23"/>
                  </a:lnTo>
                  <a:lnTo>
                    <a:pt x="683" y="25"/>
                  </a:lnTo>
                  <a:lnTo>
                    <a:pt x="687" y="29"/>
                  </a:lnTo>
                  <a:lnTo>
                    <a:pt x="690" y="30"/>
                  </a:lnTo>
                  <a:lnTo>
                    <a:pt x="693" y="28"/>
                  </a:lnTo>
                  <a:lnTo>
                    <a:pt x="695" y="23"/>
                  </a:lnTo>
                  <a:lnTo>
                    <a:pt x="696" y="18"/>
                  </a:lnTo>
                  <a:lnTo>
                    <a:pt x="698" y="15"/>
                  </a:lnTo>
                  <a:lnTo>
                    <a:pt x="702" y="12"/>
                  </a:lnTo>
                  <a:lnTo>
                    <a:pt x="704" y="11"/>
                  </a:lnTo>
                  <a:lnTo>
                    <a:pt x="709" y="11"/>
                  </a:lnTo>
                  <a:lnTo>
                    <a:pt x="712" y="10"/>
                  </a:lnTo>
                  <a:lnTo>
                    <a:pt x="711" y="14"/>
                  </a:lnTo>
                  <a:lnTo>
                    <a:pt x="709" y="17"/>
                  </a:lnTo>
                  <a:lnTo>
                    <a:pt x="708" y="21"/>
                  </a:lnTo>
                  <a:lnTo>
                    <a:pt x="708" y="25"/>
                  </a:lnTo>
                  <a:lnTo>
                    <a:pt x="712" y="30"/>
                  </a:lnTo>
                  <a:lnTo>
                    <a:pt x="720" y="35"/>
                  </a:lnTo>
                  <a:lnTo>
                    <a:pt x="732" y="41"/>
                  </a:lnTo>
                  <a:lnTo>
                    <a:pt x="745" y="46"/>
                  </a:lnTo>
                  <a:lnTo>
                    <a:pt x="756" y="51"/>
                  </a:lnTo>
                  <a:lnTo>
                    <a:pt x="766" y="55"/>
                  </a:lnTo>
                  <a:lnTo>
                    <a:pt x="771" y="59"/>
                  </a:lnTo>
                  <a:lnTo>
                    <a:pt x="774" y="65"/>
                  </a:lnTo>
                  <a:lnTo>
                    <a:pt x="776" y="73"/>
                  </a:lnTo>
                  <a:lnTo>
                    <a:pt x="776" y="94"/>
                  </a:lnTo>
                  <a:lnTo>
                    <a:pt x="779" y="105"/>
                  </a:lnTo>
                  <a:lnTo>
                    <a:pt x="785" y="116"/>
                  </a:lnTo>
                  <a:lnTo>
                    <a:pt x="791" y="125"/>
                  </a:lnTo>
                  <a:lnTo>
                    <a:pt x="796" y="135"/>
                  </a:lnTo>
                  <a:lnTo>
                    <a:pt x="797" y="142"/>
                  </a:lnTo>
                  <a:lnTo>
                    <a:pt x="795" y="153"/>
                  </a:lnTo>
                  <a:lnTo>
                    <a:pt x="792" y="165"/>
                  </a:lnTo>
                  <a:lnTo>
                    <a:pt x="788" y="178"/>
                  </a:lnTo>
                  <a:lnTo>
                    <a:pt x="785" y="190"/>
                  </a:lnTo>
                  <a:lnTo>
                    <a:pt x="782" y="201"/>
                  </a:lnTo>
                  <a:lnTo>
                    <a:pt x="780" y="219"/>
                  </a:lnTo>
                  <a:lnTo>
                    <a:pt x="778" y="232"/>
                  </a:lnTo>
                  <a:lnTo>
                    <a:pt x="770" y="261"/>
                  </a:lnTo>
                  <a:lnTo>
                    <a:pt x="766" y="274"/>
                  </a:lnTo>
                  <a:lnTo>
                    <a:pt x="761" y="285"/>
                  </a:lnTo>
                  <a:lnTo>
                    <a:pt x="753" y="297"/>
                  </a:lnTo>
                  <a:lnTo>
                    <a:pt x="751" y="303"/>
                  </a:lnTo>
                  <a:lnTo>
                    <a:pt x="750" y="311"/>
                  </a:lnTo>
                  <a:lnTo>
                    <a:pt x="747" y="321"/>
                  </a:lnTo>
                  <a:lnTo>
                    <a:pt x="743" y="325"/>
                  </a:lnTo>
                  <a:lnTo>
                    <a:pt x="737" y="326"/>
                  </a:lnTo>
                  <a:lnTo>
                    <a:pt x="730" y="325"/>
                  </a:lnTo>
                  <a:lnTo>
                    <a:pt x="722" y="323"/>
                  </a:lnTo>
                  <a:lnTo>
                    <a:pt x="706" y="317"/>
                  </a:lnTo>
                  <a:lnTo>
                    <a:pt x="699" y="314"/>
                  </a:lnTo>
                  <a:lnTo>
                    <a:pt x="695" y="310"/>
                  </a:lnTo>
                  <a:lnTo>
                    <a:pt x="694" y="305"/>
                  </a:lnTo>
                  <a:lnTo>
                    <a:pt x="696" y="300"/>
                  </a:lnTo>
                  <a:lnTo>
                    <a:pt x="700" y="295"/>
                  </a:lnTo>
                  <a:lnTo>
                    <a:pt x="703" y="290"/>
                  </a:lnTo>
                  <a:lnTo>
                    <a:pt x="705" y="286"/>
                  </a:lnTo>
                  <a:lnTo>
                    <a:pt x="705" y="284"/>
                  </a:lnTo>
                  <a:lnTo>
                    <a:pt x="702" y="285"/>
                  </a:lnTo>
                  <a:lnTo>
                    <a:pt x="697" y="285"/>
                  </a:lnTo>
                  <a:lnTo>
                    <a:pt x="692" y="286"/>
                  </a:lnTo>
                  <a:lnTo>
                    <a:pt x="686" y="284"/>
                  </a:lnTo>
                  <a:lnTo>
                    <a:pt x="683" y="280"/>
                  </a:lnTo>
                  <a:lnTo>
                    <a:pt x="682" y="276"/>
                  </a:lnTo>
                  <a:lnTo>
                    <a:pt x="684" y="271"/>
                  </a:lnTo>
                  <a:lnTo>
                    <a:pt x="686" y="267"/>
                  </a:lnTo>
                  <a:lnTo>
                    <a:pt x="687" y="263"/>
                  </a:lnTo>
                  <a:lnTo>
                    <a:pt x="686" y="258"/>
                  </a:lnTo>
                  <a:lnTo>
                    <a:pt x="681" y="255"/>
                  </a:lnTo>
                  <a:lnTo>
                    <a:pt x="674" y="249"/>
                  </a:lnTo>
                  <a:lnTo>
                    <a:pt x="665" y="242"/>
                  </a:lnTo>
                  <a:lnTo>
                    <a:pt x="660" y="238"/>
                  </a:lnTo>
                  <a:lnTo>
                    <a:pt x="656" y="238"/>
                  </a:lnTo>
                  <a:lnTo>
                    <a:pt x="650" y="241"/>
                  </a:lnTo>
                  <a:lnTo>
                    <a:pt x="646" y="244"/>
                  </a:lnTo>
                  <a:lnTo>
                    <a:pt x="639" y="247"/>
                  </a:lnTo>
                  <a:lnTo>
                    <a:pt x="632" y="249"/>
                  </a:lnTo>
                  <a:lnTo>
                    <a:pt x="627" y="248"/>
                  </a:lnTo>
                  <a:lnTo>
                    <a:pt x="625" y="246"/>
                  </a:lnTo>
                  <a:lnTo>
                    <a:pt x="622" y="244"/>
                  </a:lnTo>
                  <a:lnTo>
                    <a:pt x="617" y="241"/>
                  </a:lnTo>
                  <a:lnTo>
                    <a:pt x="611" y="241"/>
                  </a:lnTo>
                  <a:lnTo>
                    <a:pt x="607" y="244"/>
                  </a:lnTo>
                  <a:lnTo>
                    <a:pt x="605" y="248"/>
                  </a:lnTo>
                  <a:lnTo>
                    <a:pt x="604" y="254"/>
                  </a:lnTo>
                  <a:lnTo>
                    <a:pt x="603" y="258"/>
                  </a:lnTo>
                  <a:lnTo>
                    <a:pt x="603" y="260"/>
                  </a:lnTo>
                  <a:lnTo>
                    <a:pt x="604" y="262"/>
                  </a:lnTo>
                  <a:lnTo>
                    <a:pt x="605" y="263"/>
                  </a:lnTo>
                  <a:lnTo>
                    <a:pt x="610" y="263"/>
                  </a:lnTo>
                  <a:lnTo>
                    <a:pt x="613" y="262"/>
                  </a:lnTo>
                  <a:lnTo>
                    <a:pt x="615" y="262"/>
                  </a:lnTo>
                  <a:lnTo>
                    <a:pt x="618" y="261"/>
                  </a:lnTo>
                  <a:lnTo>
                    <a:pt x="622" y="261"/>
                  </a:lnTo>
                  <a:lnTo>
                    <a:pt x="623" y="262"/>
                  </a:lnTo>
                  <a:lnTo>
                    <a:pt x="624" y="264"/>
                  </a:lnTo>
                  <a:lnTo>
                    <a:pt x="624" y="274"/>
                  </a:lnTo>
                  <a:lnTo>
                    <a:pt x="625" y="278"/>
                  </a:lnTo>
                  <a:lnTo>
                    <a:pt x="626" y="279"/>
                  </a:lnTo>
                  <a:lnTo>
                    <a:pt x="629" y="280"/>
                  </a:lnTo>
                  <a:lnTo>
                    <a:pt x="632" y="282"/>
                  </a:lnTo>
                  <a:lnTo>
                    <a:pt x="635" y="285"/>
                  </a:lnTo>
                  <a:lnTo>
                    <a:pt x="637" y="292"/>
                  </a:lnTo>
                  <a:lnTo>
                    <a:pt x="637" y="299"/>
                  </a:lnTo>
                  <a:lnTo>
                    <a:pt x="634" y="303"/>
                  </a:lnTo>
                  <a:lnTo>
                    <a:pt x="630" y="305"/>
                  </a:lnTo>
                  <a:lnTo>
                    <a:pt x="625" y="307"/>
                  </a:lnTo>
                  <a:lnTo>
                    <a:pt x="618" y="308"/>
                  </a:lnTo>
                  <a:lnTo>
                    <a:pt x="610" y="309"/>
                  </a:lnTo>
                  <a:lnTo>
                    <a:pt x="600" y="313"/>
                  </a:lnTo>
                  <a:lnTo>
                    <a:pt x="590" y="319"/>
                  </a:lnTo>
                  <a:lnTo>
                    <a:pt x="580" y="326"/>
                  </a:lnTo>
                  <a:lnTo>
                    <a:pt x="570" y="334"/>
                  </a:lnTo>
                  <a:lnTo>
                    <a:pt x="560" y="339"/>
                  </a:lnTo>
                  <a:lnTo>
                    <a:pt x="550" y="342"/>
                  </a:lnTo>
                  <a:lnTo>
                    <a:pt x="539" y="344"/>
                  </a:lnTo>
                  <a:lnTo>
                    <a:pt x="529" y="345"/>
                  </a:lnTo>
                  <a:lnTo>
                    <a:pt x="522" y="347"/>
                  </a:lnTo>
                  <a:lnTo>
                    <a:pt x="517" y="351"/>
                  </a:lnTo>
                  <a:lnTo>
                    <a:pt x="515" y="357"/>
                  </a:lnTo>
                  <a:lnTo>
                    <a:pt x="512" y="363"/>
                  </a:lnTo>
                  <a:lnTo>
                    <a:pt x="508" y="370"/>
                  </a:lnTo>
                  <a:lnTo>
                    <a:pt x="502" y="375"/>
                  </a:lnTo>
                  <a:lnTo>
                    <a:pt x="494" y="378"/>
                  </a:lnTo>
                  <a:lnTo>
                    <a:pt x="483" y="380"/>
                  </a:lnTo>
                  <a:lnTo>
                    <a:pt x="470" y="380"/>
                  </a:lnTo>
                  <a:lnTo>
                    <a:pt x="458" y="381"/>
                  </a:lnTo>
                  <a:lnTo>
                    <a:pt x="445" y="382"/>
                  </a:lnTo>
                  <a:lnTo>
                    <a:pt x="436" y="383"/>
                  </a:lnTo>
                  <a:lnTo>
                    <a:pt x="428" y="385"/>
                  </a:lnTo>
                  <a:lnTo>
                    <a:pt x="421" y="387"/>
                  </a:lnTo>
                  <a:lnTo>
                    <a:pt x="417" y="390"/>
                  </a:lnTo>
                  <a:lnTo>
                    <a:pt x="415" y="396"/>
                  </a:lnTo>
                  <a:lnTo>
                    <a:pt x="413" y="412"/>
                  </a:lnTo>
                  <a:lnTo>
                    <a:pt x="410" y="420"/>
                  </a:lnTo>
                  <a:lnTo>
                    <a:pt x="406" y="425"/>
                  </a:lnTo>
                  <a:lnTo>
                    <a:pt x="400" y="428"/>
                  </a:lnTo>
                  <a:lnTo>
                    <a:pt x="396" y="427"/>
                  </a:lnTo>
                  <a:lnTo>
                    <a:pt x="390" y="419"/>
                  </a:lnTo>
                  <a:lnTo>
                    <a:pt x="387" y="414"/>
                  </a:lnTo>
                  <a:lnTo>
                    <a:pt x="383" y="413"/>
                  </a:lnTo>
                  <a:lnTo>
                    <a:pt x="379" y="417"/>
                  </a:lnTo>
                  <a:lnTo>
                    <a:pt x="370" y="431"/>
                  </a:lnTo>
                  <a:lnTo>
                    <a:pt x="364" y="436"/>
                  </a:lnTo>
                  <a:lnTo>
                    <a:pt x="359" y="439"/>
                  </a:lnTo>
                  <a:lnTo>
                    <a:pt x="352" y="439"/>
                  </a:lnTo>
                  <a:lnTo>
                    <a:pt x="347" y="440"/>
                  </a:lnTo>
                  <a:lnTo>
                    <a:pt x="343" y="443"/>
                  </a:lnTo>
                  <a:lnTo>
                    <a:pt x="341" y="449"/>
                  </a:lnTo>
                  <a:lnTo>
                    <a:pt x="341" y="456"/>
                  </a:lnTo>
                  <a:lnTo>
                    <a:pt x="339" y="472"/>
                  </a:lnTo>
                  <a:lnTo>
                    <a:pt x="335" y="476"/>
                  </a:lnTo>
                  <a:lnTo>
                    <a:pt x="328" y="479"/>
                  </a:lnTo>
                  <a:lnTo>
                    <a:pt x="319" y="480"/>
                  </a:lnTo>
                  <a:lnTo>
                    <a:pt x="309" y="481"/>
                  </a:lnTo>
                  <a:lnTo>
                    <a:pt x="301" y="483"/>
                  </a:lnTo>
                  <a:lnTo>
                    <a:pt x="294" y="485"/>
                  </a:lnTo>
                  <a:lnTo>
                    <a:pt x="289" y="491"/>
                  </a:lnTo>
                  <a:lnTo>
                    <a:pt x="287" y="498"/>
                  </a:lnTo>
                  <a:lnTo>
                    <a:pt x="285" y="506"/>
                  </a:lnTo>
                  <a:lnTo>
                    <a:pt x="283" y="513"/>
                  </a:lnTo>
                  <a:lnTo>
                    <a:pt x="279" y="518"/>
                  </a:lnTo>
                  <a:lnTo>
                    <a:pt x="274" y="519"/>
                  </a:lnTo>
                  <a:lnTo>
                    <a:pt x="269" y="516"/>
                  </a:lnTo>
                  <a:lnTo>
                    <a:pt x="263" y="512"/>
                  </a:lnTo>
                  <a:lnTo>
                    <a:pt x="255" y="508"/>
                  </a:lnTo>
                  <a:lnTo>
                    <a:pt x="246" y="504"/>
                  </a:lnTo>
                  <a:lnTo>
                    <a:pt x="233" y="503"/>
                  </a:lnTo>
                  <a:lnTo>
                    <a:pt x="223" y="503"/>
                  </a:lnTo>
                  <a:lnTo>
                    <a:pt x="217" y="505"/>
                  </a:lnTo>
                  <a:lnTo>
                    <a:pt x="214" y="508"/>
                  </a:lnTo>
                  <a:lnTo>
                    <a:pt x="212" y="512"/>
                  </a:lnTo>
                  <a:lnTo>
                    <a:pt x="210" y="520"/>
                  </a:lnTo>
                  <a:lnTo>
                    <a:pt x="208" y="523"/>
                  </a:lnTo>
                  <a:lnTo>
                    <a:pt x="202" y="525"/>
                  </a:lnTo>
                  <a:lnTo>
                    <a:pt x="196" y="524"/>
                  </a:lnTo>
                  <a:lnTo>
                    <a:pt x="189" y="522"/>
                  </a:lnTo>
                  <a:lnTo>
                    <a:pt x="183" y="522"/>
                  </a:lnTo>
                  <a:lnTo>
                    <a:pt x="178" y="523"/>
                  </a:lnTo>
                  <a:lnTo>
                    <a:pt x="171" y="524"/>
                  </a:lnTo>
                  <a:lnTo>
                    <a:pt x="164" y="526"/>
                  </a:lnTo>
                  <a:lnTo>
                    <a:pt x="157" y="531"/>
                  </a:lnTo>
                  <a:lnTo>
                    <a:pt x="152" y="537"/>
                  </a:lnTo>
                  <a:lnTo>
                    <a:pt x="146" y="546"/>
                  </a:lnTo>
                  <a:lnTo>
                    <a:pt x="140" y="553"/>
                  </a:lnTo>
                  <a:lnTo>
                    <a:pt x="133" y="557"/>
                  </a:lnTo>
                  <a:lnTo>
                    <a:pt x="128" y="562"/>
                  </a:lnTo>
                  <a:lnTo>
                    <a:pt x="124" y="571"/>
                  </a:lnTo>
                  <a:lnTo>
                    <a:pt x="120" y="581"/>
                  </a:lnTo>
                  <a:lnTo>
                    <a:pt x="115" y="589"/>
                  </a:lnTo>
                  <a:lnTo>
                    <a:pt x="112" y="594"/>
                  </a:lnTo>
                  <a:lnTo>
                    <a:pt x="112" y="601"/>
                  </a:lnTo>
                  <a:lnTo>
                    <a:pt x="113" y="608"/>
                  </a:lnTo>
                  <a:lnTo>
                    <a:pt x="112" y="617"/>
                  </a:lnTo>
                  <a:lnTo>
                    <a:pt x="110" y="620"/>
                  </a:lnTo>
                  <a:lnTo>
                    <a:pt x="108" y="622"/>
                  </a:lnTo>
                  <a:lnTo>
                    <a:pt x="107" y="622"/>
                  </a:lnTo>
                  <a:lnTo>
                    <a:pt x="105" y="621"/>
                  </a:lnTo>
                  <a:lnTo>
                    <a:pt x="104" y="620"/>
                  </a:lnTo>
                  <a:lnTo>
                    <a:pt x="102" y="617"/>
                  </a:lnTo>
                  <a:lnTo>
                    <a:pt x="101" y="614"/>
                  </a:lnTo>
                  <a:lnTo>
                    <a:pt x="101" y="607"/>
                  </a:lnTo>
                  <a:lnTo>
                    <a:pt x="100" y="600"/>
                  </a:lnTo>
                  <a:lnTo>
                    <a:pt x="97" y="595"/>
                  </a:lnTo>
                  <a:lnTo>
                    <a:pt x="93" y="591"/>
                  </a:lnTo>
                  <a:lnTo>
                    <a:pt x="92" y="586"/>
                  </a:lnTo>
                  <a:lnTo>
                    <a:pt x="92" y="582"/>
                  </a:lnTo>
                  <a:lnTo>
                    <a:pt x="91" y="582"/>
                  </a:lnTo>
                  <a:lnTo>
                    <a:pt x="90" y="581"/>
                  </a:lnTo>
                  <a:lnTo>
                    <a:pt x="80" y="581"/>
                  </a:lnTo>
                  <a:lnTo>
                    <a:pt x="77" y="579"/>
                  </a:lnTo>
                  <a:lnTo>
                    <a:pt x="76" y="575"/>
                  </a:lnTo>
                  <a:lnTo>
                    <a:pt x="76" y="570"/>
                  </a:lnTo>
                  <a:lnTo>
                    <a:pt x="74" y="565"/>
                  </a:lnTo>
                  <a:lnTo>
                    <a:pt x="70" y="560"/>
                  </a:lnTo>
                  <a:lnTo>
                    <a:pt x="63" y="557"/>
                  </a:lnTo>
                  <a:lnTo>
                    <a:pt x="55" y="557"/>
                  </a:lnTo>
                  <a:lnTo>
                    <a:pt x="55" y="561"/>
                  </a:lnTo>
                  <a:lnTo>
                    <a:pt x="57" y="563"/>
                  </a:lnTo>
                  <a:lnTo>
                    <a:pt x="58" y="565"/>
                  </a:lnTo>
                  <a:lnTo>
                    <a:pt x="43" y="562"/>
                  </a:lnTo>
                  <a:lnTo>
                    <a:pt x="31" y="557"/>
                  </a:lnTo>
                  <a:lnTo>
                    <a:pt x="23" y="551"/>
                  </a:lnTo>
                  <a:lnTo>
                    <a:pt x="17" y="545"/>
                  </a:lnTo>
                  <a:lnTo>
                    <a:pt x="13" y="540"/>
                  </a:lnTo>
                  <a:lnTo>
                    <a:pt x="9" y="532"/>
                  </a:lnTo>
                  <a:lnTo>
                    <a:pt x="5" y="527"/>
                  </a:lnTo>
                  <a:lnTo>
                    <a:pt x="0" y="517"/>
                  </a:lnTo>
                  <a:lnTo>
                    <a:pt x="5" y="512"/>
                  </a:lnTo>
                  <a:lnTo>
                    <a:pt x="7" y="506"/>
                  </a:lnTo>
                  <a:lnTo>
                    <a:pt x="7" y="490"/>
                  </a:lnTo>
                  <a:lnTo>
                    <a:pt x="6" y="484"/>
                  </a:lnTo>
                  <a:lnTo>
                    <a:pt x="6" y="481"/>
                  </a:lnTo>
                  <a:lnTo>
                    <a:pt x="7" y="479"/>
                  </a:lnTo>
                  <a:lnTo>
                    <a:pt x="9" y="477"/>
                  </a:lnTo>
                  <a:lnTo>
                    <a:pt x="11" y="476"/>
                  </a:lnTo>
                  <a:lnTo>
                    <a:pt x="14" y="475"/>
                  </a:lnTo>
                  <a:lnTo>
                    <a:pt x="16" y="474"/>
                  </a:lnTo>
                  <a:lnTo>
                    <a:pt x="19" y="473"/>
                  </a:lnTo>
                  <a:lnTo>
                    <a:pt x="28" y="473"/>
                  </a:lnTo>
                  <a:lnTo>
                    <a:pt x="30" y="474"/>
                  </a:lnTo>
                  <a:lnTo>
                    <a:pt x="33" y="474"/>
                  </a:lnTo>
                  <a:lnTo>
                    <a:pt x="35" y="473"/>
                  </a:lnTo>
                  <a:lnTo>
                    <a:pt x="36" y="472"/>
                  </a:lnTo>
                  <a:lnTo>
                    <a:pt x="39" y="466"/>
                  </a:lnTo>
                  <a:lnTo>
                    <a:pt x="41" y="464"/>
                  </a:lnTo>
                  <a:lnTo>
                    <a:pt x="44" y="462"/>
                  </a:lnTo>
                  <a:lnTo>
                    <a:pt x="49" y="461"/>
                  </a:lnTo>
                  <a:lnTo>
                    <a:pt x="57" y="463"/>
                  </a:lnTo>
                  <a:lnTo>
                    <a:pt x="61" y="463"/>
                  </a:lnTo>
                  <a:lnTo>
                    <a:pt x="64" y="460"/>
                  </a:lnTo>
                  <a:lnTo>
                    <a:pt x="66" y="455"/>
                  </a:lnTo>
                  <a:lnTo>
                    <a:pt x="66" y="442"/>
                  </a:lnTo>
                  <a:lnTo>
                    <a:pt x="67" y="436"/>
                  </a:lnTo>
                  <a:lnTo>
                    <a:pt x="69" y="433"/>
                  </a:lnTo>
                  <a:lnTo>
                    <a:pt x="74" y="432"/>
                  </a:lnTo>
                  <a:lnTo>
                    <a:pt x="83" y="431"/>
                  </a:lnTo>
                  <a:lnTo>
                    <a:pt x="91" y="432"/>
                  </a:lnTo>
                  <a:lnTo>
                    <a:pt x="97" y="432"/>
                  </a:lnTo>
                  <a:lnTo>
                    <a:pt x="99" y="430"/>
                  </a:lnTo>
                  <a:lnTo>
                    <a:pt x="101" y="426"/>
                  </a:lnTo>
                  <a:lnTo>
                    <a:pt x="102" y="420"/>
                  </a:lnTo>
                  <a:lnTo>
                    <a:pt x="101" y="414"/>
                  </a:lnTo>
                  <a:lnTo>
                    <a:pt x="98" y="409"/>
                  </a:lnTo>
                  <a:lnTo>
                    <a:pt x="93" y="405"/>
                  </a:lnTo>
                  <a:lnTo>
                    <a:pt x="89" y="399"/>
                  </a:lnTo>
                  <a:lnTo>
                    <a:pt x="87" y="394"/>
                  </a:lnTo>
                  <a:lnTo>
                    <a:pt x="88" y="392"/>
                  </a:lnTo>
                  <a:lnTo>
                    <a:pt x="89" y="388"/>
                  </a:lnTo>
                  <a:lnTo>
                    <a:pt x="91" y="381"/>
                  </a:lnTo>
                  <a:lnTo>
                    <a:pt x="91" y="374"/>
                  </a:lnTo>
                  <a:lnTo>
                    <a:pt x="90" y="368"/>
                  </a:lnTo>
                  <a:lnTo>
                    <a:pt x="90" y="366"/>
                  </a:lnTo>
                  <a:lnTo>
                    <a:pt x="91" y="363"/>
                  </a:lnTo>
                  <a:lnTo>
                    <a:pt x="93" y="362"/>
                  </a:lnTo>
                  <a:lnTo>
                    <a:pt x="96" y="360"/>
                  </a:lnTo>
                  <a:lnTo>
                    <a:pt x="100" y="359"/>
                  </a:lnTo>
                  <a:lnTo>
                    <a:pt x="105" y="358"/>
                  </a:lnTo>
                  <a:lnTo>
                    <a:pt x="112" y="356"/>
                  </a:lnTo>
                  <a:lnTo>
                    <a:pt x="116" y="353"/>
                  </a:lnTo>
                  <a:lnTo>
                    <a:pt x="120" y="349"/>
                  </a:lnTo>
                  <a:lnTo>
                    <a:pt x="124" y="348"/>
                  </a:lnTo>
                  <a:lnTo>
                    <a:pt x="130" y="347"/>
                  </a:lnTo>
                  <a:lnTo>
                    <a:pt x="135" y="343"/>
                  </a:lnTo>
                  <a:lnTo>
                    <a:pt x="139" y="339"/>
                  </a:lnTo>
                  <a:lnTo>
                    <a:pt x="142" y="335"/>
                  </a:lnTo>
                  <a:lnTo>
                    <a:pt x="146" y="331"/>
                  </a:lnTo>
                  <a:lnTo>
                    <a:pt x="158" y="327"/>
                  </a:lnTo>
                  <a:lnTo>
                    <a:pt x="163" y="327"/>
                  </a:lnTo>
                  <a:lnTo>
                    <a:pt x="168" y="326"/>
                  </a:lnTo>
                  <a:lnTo>
                    <a:pt x="184" y="320"/>
                  </a:lnTo>
                  <a:lnTo>
                    <a:pt x="190" y="318"/>
                  </a:lnTo>
                  <a:lnTo>
                    <a:pt x="192" y="315"/>
                  </a:lnTo>
                  <a:lnTo>
                    <a:pt x="191" y="311"/>
                  </a:lnTo>
                  <a:lnTo>
                    <a:pt x="188" y="306"/>
                  </a:lnTo>
                  <a:lnTo>
                    <a:pt x="183" y="300"/>
                  </a:lnTo>
                  <a:lnTo>
                    <a:pt x="178" y="295"/>
                  </a:lnTo>
                  <a:lnTo>
                    <a:pt x="173" y="291"/>
                  </a:lnTo>
                  <a:lnTo>
                    <a:pt x="166" y="288"/>
                  </a:lnTo>
                  <a:lnTo>
                    <a:pt x="161" y="287"/>
                  </a:lnTo>
                  <a:lnTo>
                    <a:pt x="158" y="285"/>
                  </a:lnTo>
                  <a:lnTo>
                    <a:pt x="157" y="282"/>
                  </a:lnTo>
                  <a:lnTo>
                    <a:pt x="154" y="278"/>
                  </a:lnTo>
                  <a:lnTo>
                    <a:pt x="148" y="272"/>
                  </a:lnTo>
                  <a:lnTo>
                    <a:pt x="140" y="265"/>
                  </a:lnTo>
                  <a:lnTo>
                    <a:pt x="131" y="258"/>
                  </a:lnTo>
                  <a:lnTo>
                    <a:pt x="123" y="254"/>
                  </a:lnTo>
                  <a:lnTo>
                    <a:pt x="117" y="252"/>
                  </a:lnTo>
                  <a:lnTo>
                    <a:pt x="113" y="250"/>
                  </a:lnTo>
                  <a:lnTo>
                    <a:pt x="110" y="248"/>
                  </a:lnTo>
                  <a:lnTo>
                    <a:pt x="108" y="246"/>
                  </a:lnTo>
                  <a:lnTo>
                    <a:pt x="105" y="244"/>
                  </a:lnTo>
                  <a:lnTo>
                    <a:pt x="99" y="243"/>
                  </a:lnTo>
                  <a:lnTo>
                    <a:pt x="93" y="243"/>
                  </a:lnTo>
                  <a:lnTo>
                    <a:pt x="91" y="244"/>
                  </a:lnTo>
                  <a:lnTo>
                    <a:pt x="88" y="247"/>
                  </a:lnTo>
                  <a:lnTo>
                    <a:pt x="87" y="249"/>
                  </a:lnTo>
                  <a:lnTo>
                    <a:pt x="81" y="243"/>
                  </a:lnTo>
                  <a:lnTo>
                    <a:pt x="75" y="241"/>
                  </a:lnTo>
                  <a:lnTo>
                    <a:pt x="68" y="237"/>
                  </a:lnTo>
                  <a:lnTo>
                    <a:pt x="63" y="230"/>
                  </a:lnTo>
                  <a:lnTo>
                    <a:pt x="59" y="221"/>
                  </a:lnTo>
                  <a:lnTo>
                    <a:pt x="57" y="213"/>
                  </a:lnTo>
                  <a:lnTo>
                    <a:pt x="56" y="205"/>
                  </a:lnTo>
                  <a:lnTo>
                    <a:pt x="55" y="194"/>
                  </a:lnTo>
                  <a:lnTo>
                    <a:pt x="53" y="182"/>
                  </a:lnTo>
                  <a:lnTo>
                    <a:pt x="50" y="170"/>
                  </a:lnTo>
                  <a:lnTo>
                    <a:pt x="48" y="160"/>
                  </a:lnTo>
                  <a:lnTo>
                    <a:pt x="48" y="154"/>
                  </a:lnTo>
                  <a:lnTo>
                    <a:pt x="51" y="150"/>
                  </a:lnTo>
                  <a:lnTo>
                    <a:pt x="55" y="146"/>
                  </a:lnTo>
                  <a:lnTo>
                    <a:pt x="60" y="143"/>
                  </a:lnTo>
                  <a:lnTo>
                    <a:pt x="64" y="138"/>
                  </a:lnTo>
                  <a:lnTo>
                    <a:pt x="64" y="132"/>
                  </a:lnTo>
                  <a:lnTo>
                    <a:pt x="62" y="123"/>
                  </a:lnTo>
                  <a:lnTo>
                    <a:pt x="58" y="115"/>
                  </a:lnTo>
                  <a:lnTo>
                    <a:pt x="55" y="106"/>
                  </a:lnTo>
                  <a:lnTo>
                    <a:pt x="54" y="98"/>
                  </a:lnTo>
                  <a:lnTo>
                    <a:pt x="57" y="91"/>
                  </a:lnTo>
                  <a:lnTo>
                    <a:pt x="61" y="84"/>
                  </a:lnTo>
                  <a:lnTo>
                    <a:pt x="63" y="77"/>
                  </a:lnTo>
                  <a:lnTo>
                    <a:pt x="64" y="69"/>
                  </a:lnTo>
                  <a:lnTo>
                    <a:pt x="67" y="60"/>
                  </a:lnTo>
                  <a:lnTo>
                    <a:pt x="71" y="55"/>
                  </a:lnTo>
                  <a:lnTo>
                    <a:pt x="77" y="52"/>
                  </a:lnTo>
                  <a:lnTo>
                    <a:pt x="83" y="50"/>
                  </a:lnTo>
                  <a:lnTo>
                    <a:pt x="91" y="49"/>
                  </a:lnTo>
                  <a:lnTo>
                    <a:pt x="98" y="47"/>
                  </a:lnTo>
                  <a:lnTo>
                    <a:pt x="105" y="43"/>
                  </a:lnTo>
                  <a:lnTo>
                    <a:pt x="114" y="38"/>
                  </a:lnTo>
                  <a:lnTo>
                    <a:pt x="125" y="34"/>
                  </a:lnTo>
                  <a:lnTo>
                    <a:pt x="138" y="32"/>
                  </a:lnTo>
                  <a:lnTo>
                    <a:pt x="150" y="30"/>
                  </a:lnTo>
                  <a:lnTo>
                    <a:pt x="161" y="30"/>
                  </a:lnTo>
                  <a:lnTo>
                    <a:pt x="170" y="29"/>
                  </a:lnTo>
                  <a:lnTo>
                    <a:pt x="176" y="27"/>
                  </a:lnTo>
                  <a:lnTo>
                    <a:pt x="182" y="23"/>
                  </a:lnTo>
                  <a:lnTo>
                    <a:pt x="187" y="19"/>
                  </a:lnTo>
                  <a:lnTo>
                    <a:pt x="194" y="15"/>
                  </a:lnTo>
                  <a:lnTo>
                    <a:pt x="199" y="12"/>
                  </a:lnTo>
                  <a:lnTo>
                    <a:pt x="203" y="12"/>
                  </a:lnTo>
                  <a:lnTo>
                    <a:pt x="207" y="14"/>
                  </a:lnTo>
                  <a:lnTo>
                    <a:pt x="210" y="15"/>
                  </a:lnTo>
                  <a:lnTo>
                    <a:pt x="216" y="13"/>
                  </a:lnTo>
                  <a:lnTo>
                    <a:pt x="224" y="9"/>
                  </a:lnTo>
                  <a:lnTo>
                    <a:pt x="229" y="4"/>
                  </a:lnTo>
                  <a:lnTo>
                    <a:pt x="233" y="1"/>
                  </a:lnTo>
                  <a:lnTo>
                    <a:pt x="237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9">
              <a:extLst>
                <a:ext uri="{FF2B5EF4-FFF2-40B4-BE49-F238E27FC236}">
                  <a16:creationId xmlns:a16="http://schemas.microsoft.com/office/drawing/2014/main" id="{94F324AB-3BBC-4993-A15F-EAC9FBBA5816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3301" y="4687888"/>
              <a:ext cx="1306513" cy="1446213"/>
            </a:xfrm>
            <a:custGeom>
              <a:avLst/>
              <a:gdLst/>
              <a:ahLst/>
              <a:cxnLst>
                <a:cxn ang="0">
                  <a:pos x="597" y="3"/>
                </a:cxn>
                <a:cxn ang="0">
                  <a:pos x="612" y="28"/>
                </a:cxn>
                <a:cxn ang="0">
                  <a:pos x="644" y="50"/>
                </a:cxn>
                <a:cxn ang="0">
                  <a:pos x="658" y="95"/>
                </a:cxn>
                <a:cxn ang="0">
                  <a:pos x="676" y="124"/>
                </a:cxn>
                <a:cxn ang="0">
                  <a:pos x="722" y="131"/>
                </a:cxn>
                <a:cxn ang="0">
                  <a:pos x="715" y="179"/>
                </a:cxn>
                <a:cxn ang="0">
                  <a:pos x="737" y="250"/>
                </a:cxn>
                <a:cxn ang="0">
                  <a:pos x="756" y="287"/>
                </a:cxn>
                <a:cxn ang="0">
                  <a:pos x="788" y="318"/>
                </a:cxn>
                <a:cxn ang="0">
                  <a:pos x="811" y="385"/>
                </a:cxn>
                <a:cxn ang="0">
                  <a:pos x="823" y="449"/>
                </a:cxn>
                <a:cxn ang="0">
                  <a:pos x="802" y="448"/>
                </a:cxn>
                <a:cxn ang="0">
                  <a:pos x="763" y="456"/>
                </a:cxn>
                <a:cxn ang="0">
                  <a:pos x="756" y="526"/>
                </a:cxn>
                <a:cxn ang="0">
                  <a:pos x="688" y="581"/>
                </a:cxn>
                <a:cxn ang="0">
                  <a:pos x="728" y="706"/>
                </a:cxn>
                <a:cxn ang="0">
                  <a:pos x="719" y="812"/>
                </a:cxn>
                <a:cxn ang="0">
                  <a:pos x="720" y="845"/>
                </a:cxn>
                <a:cxn ang="0">
                  <a:pos x="650" y="868"/>
                </a:cxn>
                <a:cxn ang="0">
                  <a:pos x="564" y="900"/>
                </a:cxn>
                <a:cxn ang="0">
                  <a:pos x="502" y="867"/>
                </a:cxn>
                <a:cxn ang="0">
                  <a:pos x="430" y="806"/>
                </a:cxn>
                <a:cxn ang="0">
                  <a:pos x="457" y="862"/>
                </a:cxn>
                <a:cxn ang="0">
                  <a:pos x="426" y="841"/>
                </a:cxn>
                <a:cxn ang="0">
                  <a:pos x="411" y="860"/>
                </a:cxn>
                <a:cxn ang="0">
                  <a:pos x="373" y="851"/>
                </a:cxn>
                <a:cxn ang="0">
                  <a:pos x="340" y="852"/>
                </a:cxn>
                <a:cxn ang="0">
                  <a:pos x="321" y="817"/>
                </a:cxn>
                <a:cxn ang="0">
                  <a:pos x="305" y="819"/>
                </a:cxn>
                <a:cxn ang="0">
                  <a:pos x="262" y="830"/>
                </a:cxn>
                <a:cxn ang="0">
                  <a:pos x="278" y="865"/>
                </a:cxn>
                <a:cxn ang="0">
                  <a:pos x="283" y="886"/>
                </a:cxn>
                <a:cxn ang="0">
                  <a:pos x="262" y="904"/>
                </a:cxn>
                <a:cxn ang="0">
                  <a:pos x="182" y="883"/>
                </a:cxn>
                <a:cxn ang="0">
                  <a:pos x="102" y="893"/>
                </a:cxn>
                <a:cxn ang="0">
                  <a:pos x="34" y="900"/>
                </a:cxn>
                <a:cxn ang="0">
                  <a:pos x="15" y="891"/>
                </a:cxn>
                <a:cxn ang="0">
                  <a:pos x="11" y="793"/>
                </a:cxn>
                <a:cxn ang="0">
                  <a:pos x="24" y="707"/>
                </a:cxn>
                <a:cxn ang="0">
                  <a:pos x="55" y="606"/>
                </a:cxn>
                <a:cxn ang="0">
                  <a:pos x="83" y="523"/>
                </a:cxn>
                <a:cxn ang="0">
                  <a:pos x="122" y="439"/>
                </a:cxn>
                <a:cxn ang="0">
                  <a:pos x="174" y="383"/>
                </a:cxn>
                <a:cxn ang="0">
                  <a:pos x="230" y="308"/>
                </a:cxn>
                <a:cxn ang="0">
                  <a:pos x="262" y="210"/>
                </a:cxn>
                <a:cxn ang="0">
                  <a:pos x="288" y="145"/>
                </a:cxn>
                <a:cxn ang="0">
                  <a:pos x="293" y="106"/>
                </a:cxn>
                <a:cxn ang="0">
                  <a:pos x="316" y="71"/>
                </a:cxn>
                <a:cxn ang="0">
                  <a:pos x="352" y="101"/>
                </a:cxn>
                <a:cxn ang="0">
                  <a:pos x="378" y="123"/>
                </a:cxn>
                <a:cxn ang="0">
                  <a:pos x="385" y="156"/>
                </a:cxn>
                <a:cxn ang="0">
                  <a:pos x="405" y="124"/>
                </a:cxn>
                <a:cxn ang="0">
                  <a:pos x="439" y="109"/>
                </a:cxn>
                <a:cxn ang="0">
                  <a:pos x="453" y="85"/>
                </a:cxn>
                <a:cxn ang="0">
                  <a:pos x="507" y="57"/>
                </a:cxn>
                <a:cxn ang="0">
                  <a:pos x="534" y="27"/>
                </a:cxn>
                <a:cxn ang="0">
                  <a:pos x="511" y="22"/>
                </a:cxn>
              </a:cxnLst>
              <a:rect l="0" t="0" r="r" b="b"/>
              <a:pathLst>
                <a:path w="823" h="911">
                  <a:moveTo>
                    <a:pt x="550" y="0"/>
                  </a:moveTo>
                  <a:lnTo>
                    <a:pt x="555" y="0"/>
                  </a:lnTo>
                  <a:lnTo>
                    <a:pt x="560" y="3"/>
                  </a:lnTo>
                  <a:lnTo>
                    <a:pt x="565" y="7"/>
                  </a:lnTo>
                  <a:lnTo>
                    <a:pt x="570" y="10"/>
                  </a:lnTo>
                  <a:lnTo>
                    <a:pt x="573" y="10"/>
                  </a:lnTo>
                  <a:lnTo>
                    <a:pt x="578" y="8"/>
                  </a:lnTo>
                  <a:lnTo>
                    <a:pt x="584" y="5"/>
                  </a:lnTo>
                  <a:lnTo>
                    <a:pt x="590" y="3"/>
                  </a:lnTo>
                  <a:lnTo>
                    <a:pt x="595" y="2"/>
                  </a:lnTo>
                  <a:lnTo>
                    <a:pt x="597" y="3"/>
                  </a:lnTo>
                  <a:lnTo>
                    <a:pt x="597" y="7"/>
                  </a:lnTo>
                  <a:lnTo>
                    <a:pt x="595" y="13"/>
                  </a:lnTo>
                  <a:lnTo>
                    <a:pt x="593" y="19"/>
                  </a:lnTo>
                  <a:lnTo>
                    <a:pt x="591" y="25"/>
                  </a:lnTo>
                  <a:lnTo>
                    <a:pt x="591" y="31"/>
                  </a:lnTo>
                  <a:lnTo>
                    <a:pt x="592" y="34"/>
                  </a:lnTo>
                  <a:lnTo>
                    <a:pt x="596" y="35"/>
                  </a:lnTo>
                  <a:lnTo>
                    <a:pt x="601" y="34"/>
                  </a:lnTo>
                  <a:lnTo>
                    <a:pt x="605" y="30"/>
                  </a:lnTo>
                  <a:lnTo>
                    <a:pt x="609" y="28"/>
                  </a:lnTo>
                  <a:lnTo>
                    <a:pt x="612" y="28"/>
                  </a:lnTo>
                  <a:lnTo>
                    <a:pt x="612" y="29"/>
                  </a:lnTo>
                  <a:lnTo>
                    <a:pt x="613" y="30"/>
                  </a:lnTo>
                  <a:lnTo>
                    <a:pt x="614" y="32"/>
                  </a:lnTo>
                  <a:lnTo>
                    <a:pt x="616" y="34"/>
                  </a:lnTo>
                  <a:lnTo>
                    <a:pt x="619" y="34"/>
                  </a:lnTo>
                  <a:lnTo>
                    <a:pt x="634" y="28"/>
                  </a:lnTo>
                  <a:lnTo>
                    <a:pt x="638" y="28"/>
                  </a:lnTo>
                  <a:lnTo>
                    <a:pt x="641" y="31"/>
                  </a:lnTo>
                  <a:lnTo>
                    <a:pt x="643" y="36"/>
                  </a:lnTo>
                  <a:lnTo>
                    <a:pt x="644" y="43"/>
                  </a:lnTo>
                  <a:lnTo>
                    <a:pt x="644" y="50"/>
                  </a:lnTo>
                  <a:lnTo>
                    <a:pt x="645" y="55"/>
                  </a:lnTo>
                  <a:lnTo>
                    <a:pt x="652" y="62"/>
                  </a:lnTo>
                  <a:lnTo>
                    <a:pt x="655" y="67"/>
                  </a:lnTo>
                  <a:lnTo>
                    <a:pt x="655" y="72"/>
                  </a:lnTo>
                  <a:lnTo>
                    <a:pt x="653" y="79"/>
                  </a:lnTo>
                  <a:lnTo>
                    <a:pt x="651" y="85"/>
                  </a:lnTo>
                  <a:lnTo>
                    <a:pt x="650" y="91"/>
                  </a:lnTo>
                  <a:lnTo>
                    <a:pt x="651" y="95"/>
                  </a:lnTo>
                  <a:lnTo>
                    <a:pt x="653" y="96"/>
                  </a:lnTo>
                  <a:lnTo>
                    <a:pt x="655" y="96"/>
                  </a:lnTo>
                  <a:lnTo>
                    <a:pt x="658" y="95"/>
                  </a:lnTo>
                  <a:lnTo>
                    <a:pt x="660" y="93"/>
                  </a:lnTo>
                  <a:lnTo>
                    <a:pt x="662" y="90"/>
                  </a:lnTo>
                  <a:lnTo>
                    <a:pt x="663" y="88"/>
                  </a:lnTo>
                  <a:lnTo>
                    <a:pt x="665" y="87"/>
                  </a:lnTo>
                  <a:lnTo>
                    <a:pt x="666" y="86"/>
                  </a:lnTo>
                  <a:lnTo>
                    <a:pt x="668" y="89"/>
                  </a:lnTo>
                  <a:lnTo>
                    <a:pt x="669" y="97"/>
                  </a:lnTo>
                  <a:lnTo>
                    <a:pt x="671" y="106"/>
                  </a:lnTo>
                  <a:lnTo>
                    <a:pt x="672" y="115"/>
                  </a:lnTo>
                  <a:lnTo>
                    <a:pt x="673" y="121"/>
                  </a:lnTo>
                  <a:lnTo>
                    <a:pt x="676" y="124"/>
                  </a:lnTo>
                  <a:lnTo>
                    <a:pt x="680" y="126"/>
                  </a:lnTo>
                  <a:lnTo>
                    <a:pt x="692" y="126"/>
                  </a:lnTo>
                  <a:lnTo>
                    <a:pt x="697" y="124"/>
                  </a:lnTo>
                  <a:lnTo>
                    <a:pt x="702" y="119"/>
                  </a:lnTo>
                  <a:lnTo>
                    <a:pt x="706" y="112"/>
                  </a:lnTo>
                  <a:lnTo>
                    <a:pt x="709" y="106"/>
                  </a:lnTo>
                  <a:lnTo>
                    <a:pt x="712" y="103"/>
                  </a:lnTo>
                  <a:lnTo>
                    <a:pt x="715" y="105"/>
                  </a:lnTo>
                  <a:lnTo>
                    <a:pt x="718" y="113"/>
                  </a:lnTo>
                  <a:lnTo>
                    <a:pt x="721" y="122"/>
                  </a:lnTo>
                  <a:lnTo>
                    <a:pt x="722" y="131"/>
                  </a:lnTo>
                  <a:lnTo>
                    <a:pt x="722" y="138"/>
                  </a:lnTo>
                  <a:lnTo>
                    <a:pt x="723" y="144"/>
                  </a:lnTo>
                  <a:lnTo>
                    <a:pt x="725" y="148"/>
                  </a:lnTo>
                  <a:lnTo>
                    <a:pt x="728" y="153"/>
                  </a:lnTo>
                  <a:lnTo>
                    <a:pt x="731" y="158"/>
                  </a:lnTo>
                  <a:lnTo>
                    <a:pt x="731" y="163"/>
                  </a:lnTo>
                  <a:lnTo>
                    <a:pt x="729" y="165"/>
                  </a:lnTo>
                  <a:lnTo>
                    <a:pt x="721" y="169"/>
                  </a:lnTo>
                  <a:lnTo>
                    <a:pt x="718" y="171"/>
                  </a:lnTo>
                  <a:lnTo>
                    <a:pt x="716" y="173"/>
                  </a:lnTo>
                  <a:lnTo>
                    <a:pt x="715" y="179"/>
                  </a:lnTo>
                  <a:lnTo>
                    <a:pt x="716" y="186"/>
                  </a:lnTo>
                  <a:lnTo>
                    <a:pt x="720" y="194"/>
                  </a:lnTo>
                  <a:lnTo>
                    <a:pt x="724" y="201"/>
                  </a:lnTo>
                  <a:lnTo>
                    <a:pt x="726" y="207"/>
                  </a:lnTo>
                  <a:lnTo>
                    <a:pt x="726" y="211"/>
                  </a:lnTo>
                  <a:lnTo>
                    <a:pt x="724" y="215"/>
                  </a:lnTo>
                  <a:lnTo>
                    <a:pt x="725" y="222"/>
                  </a:lnTo>
                  <a:lnTo>
                    <a:pt x="727" y="229"/>
                  </a:lnTo>
                  <a:lnTo>
                    <a:pt x="729" y="237"/>
                  </a:lnTo>
                  <a:lnTo>
                    <a:pt x="732" y="243"/>
                  </a:lnTo>
                  <a:lnTo>
                    <a:pt x="737" y="250"/>
                  </a:lnTo>
                  <a:lnTo>
                    <a:pt x="746" y="257"/>
                  </a:lnTo>
                  <a:lnTo>
                    <a:pt x="754" y="263"/>
                  </a:lnTo>
                  <a:lnTo>
                    <a:pt x="760" y="267"/>
                  </a:lnTo>
                  <a:lnTo>
                    <a:pt x="761" y="268"/>
                  </a:lnTo>
                  <a:lnTo>
                    <a:pt x="759" y="272"/>
                  </a:lnTo>
                  <a:lnTo>
                    <a:pt x="757" y="274"/>
                  </a:lnTo>
                  <a:lnTo>
                    <a:pt x="755" y="275"/>
                  </a:lnTo>
                  <a:lnTo>
                    <a:pt x="753" y="277"/>
                  </a:lnTo>
                  <a:lnTo>
                    <a:pt x="751" y="281"/>
                  </a:lnTo>
                  <a:lnTo>
                    <a:pt x="752" y="282"/>
                  </a:lnTo>
                  <a:lnTo>
                    <a:pt x="756" y="287"/>
                  </a:lnTo>
                  <a:lnTo>
                    <a:pt x="761" y="293"/>
                  </a:lnTo>
                  <a:lnTo>
                    <a:pt x="765" y="300"/>
                  </a:lnTo>
                  <a:lnTo>
                    <a:pt x="766" y="303"/>
                  </a:lnTo>
                  <a:lnTo>
                    <a:pt x="767" y="305"/>
                  </a:lnTo>
                  <a:lnTo>
                    <a:pt x="769" y="306"/>
                  </a:lnTo>
                  <a:lnTo>
                    <a:pt x="770" y="306"/>
                  </a:lnTo>
                  <a:lnTo>
                    <a:pt x="772" y="307"/>
                  </a:lnTo>
                  <a:lnTo>
                    <a:pt x="775" y="307"/>
                  </a:lnTo>
                  <a:lnTo>
                    <a:pt x="778" y="308"/>
                  </a:lnTo>
                  <a:lnTo>
                    <a:pt x="782" y="311"/>
                  </a:lnTo>
                  <a:lnTo>
                    <a:pt x="788" y="318"/>
                  </a:lnTo>
                  <a:lnTo>
                    <a:pt x="795" y="326"/>
                  </a:lnTo>
                  <a:lnTo>
                    <a:pt x="802" y="335"/>
                  </a:lnTo>
                  <a:lnTo>
                    <a:pt x="808" y="344"/>
                  </a:lnTo>
                  <a:lnTo>
                    <a:pt x="813" y="350"/>
                  </a:lnTo>
                  <a:lnTo>
                    <a:pt x="814" y="354"/>
                  </a:lnTo>
                  <a:lnTo>
                    <a:pt x="814" y="358"/>
                  </a:lnTo>
                  <a:lnTo>
                    <a:pt x="812" y="361"/>
                  </a:lnTo>
                  <a:lnTo>
                    <a:pt x="810" y="366"/>
                  </a:lnTo>
                  <a:lnTo>
                    <a:pt x="811" y="371"/>
                  </a:lnTo>
                  <a:lnTo>
                    <a:pt x="812" y="377"/>
                  </a:lnTo>
                  <a:lnTo>
                    <a:pt x="811" y="385"/>
                  </a:lnTo>
                  <a:lnTo>
                    <a:pt x="809" y="396"/>
                  </a:lnTo>
                  <a:lnTo>
                    <a:pt x="806" y="406"/>
                  </a:lnTo>
                  <a:lnTo>
                    <a:pt x="806" y="416"/>
                  </a:lnTo>
                  <a:lnTo>
                    <a:pt x="805" y="423"/>
                  </a:lnTo>
                  <a:lnTo>
                    <a:pt x="806" y="429"/>
                  </a:lnTo>
                  <a:lnTo>
                    <a:pt x="810" y="432"/>
                  </a:lnTo>
                  <a:lnTo>
                    <a:pt x="814" y="435"/>
                  </a:lnTo>
                  <a:lnTo>
                    <a:pt x="817" y="439"/>
                  </a:lnTo>
                  <a:lnTo>
                    <a:pt x="821" y="444"/>
                  </a:lnTo>
                  <a:lnTo>
                    <a:pt x="822" y="447"/>
                  </a:lnTo>
                  <a:lnTo>
                    <a:pt x="823" y="449"/>
                  </a:lnTo>
                  <a:lnTo>
                    <a:pt x="821" y="453"/>
                  </a:lnTo>
                  <a:lnTo>
                    <a:pt x="815" y="456"/>
                  </a:lnTo>
                  <a:lnTo>
                    <a:pt x="814" y="456"/>
                  </a:lnTo>
                  <a:lnTo>
                    <a:pt x="812" y="457"/>
                  </a:lnTo>
                  <a:lnTo>
                    <a:pt x="811" y="458"/>
                  </a:lnTo>
                  <a:lnTo>
                    <a:pt x="809" y="458"/>
                  </a:lnTo>
                  <a:lnTo>
                    <a:pt x="808" y="456"/>
                  </a:lnTo>
                  <a:lnTo>
                    <a:pt x="808" y="455"/>
                  </a:lnTo>
                  <a:lnTo>
                    <a:pt x="806" y="451"/>
                  </a:lnTo>
                  <a:lnTo>
                    <a:pt x="804" y="449"/>
                  </a:lnTo>
                  <a:lnTo>
                    <a:pt x="802" y="448"/>
                  </a:lnTo>
                  <a:lnTo>
                    <a:pt x="798" y="448"/>
                  </a:lnTo>
                  <a:lnTo>
                    <a:pt x="795" y="451"/>
                  </a:lnTo>
                  <a:lnTo>
                    <a:pt x="792" y="457"/>
                  </a:lnTo>
                  <a:lnTo>
                    <a:pt x="790" y="459"/>
                  </a:lnTo>
                  <a:lnTo>
                    <a:pt x="786" y="459"/>
                  </a:lnTo>
                  <a:lnTo>
                    <a:pt x="782" y="457"/>
                  </a:lnTo>
                  <a:lnTo>
                    <a:pt x="777" y="453"/>
                  </a:lnTo>
                  <a:lnTo>
                    <a:pt x="772" y="450"/>
                  </a:lnTo>
                  <a:lnTo>
                    <a:pt x="768" y="449"/>
                  </a:lnTo>
                  <a:lnTo>
                    <a:pt x="764" y="450"/>
                  </a:lnTo>
                  <a:lnTo>
                    <a:pt x="763" y="456"/>
                  </a:lnTo>
                  <a:lnTo>
                    <a:pt x="765" y="464"/>
                  </a:lnTo>
                  <a:lnTo>
                    <a:pt x="769" y="474"/>
                  </a:lnTo>
                  <a:lnTo>
                    <a:pt x="773" y="485"/>
                  </a:lnTo>
                  <a:lnTo>
                    <a:pt x="776" y="495"/>
                  </a:lnTo>
                  <a:lnTo>
                    <a:pt x="777" y="503"/>
                  </a:lnTo>
                  <a:lnTo>
                    <a:pt x="776" y="509"/>
                  </a:lnTo>
                  <a:lnTo>
                    <a:pt x="774" y="512"/>
                  </a:lnTo>
                  <a:lnTo>
                    <a:pt x="770" y="513"/>
                  </a:lnTo>
                  <a:lnTo>
                    <a:pt x="766" y="515"/>
                  </a:lnTo>
                  <a:lnTo>
                    <a:pt x="763" y="519"/>
                  </a:lnTo>
                  <a:lnTo>
                    <a:pt x="756" y="526"/>
                  </a:lnTo>
                  <a:lnTo>
                    <a:pt x="747" y="531"/>
                  </a:lnTo>
                  <a:lnTo>
                    <a:pt x="736" y="535"/>
                  </a:lnTo>
                  <a:lnTo>
                    <a:pt x="725" y="538"/>
                  </a:lnTo>
                  <a:lnTo>
                    <a:pt x="709" y="540"/>
                  </a:lnTo>
                  <a:lnTo>
                    <a:pt x="703" y="542"/>
                  </a:lnTo>
                  <a:lnTo>
                    <a:pt x="700" y="545"/>
                  </a:lnTo>
                  <a:lnTo>
                    <a:pt x="700" y="556"/>
                  </a:lnTo>
                  <a:lnTo>
                    <a:pt x="696" y="565"/>
                  </a:lnTo>
                  <a:lnTo>
                    <a:pt x="691" y="571"/>
                  </a:lnTo>
                  <a:lnTo>
                    <a:pt x="688" y="577"/>
                  </a:lnTo>
                  <a:lnTo>
                    <a:pt x="688" y="581"/>
                  </a:lnTo>
                  <a:lnTo>
                    <a:pt x="689" y="588"/>
                  </a:lnTo>
                  <a:lnTo>
                    <a:pt x="698" y="606"/>
                  </a:lnTo>
                  <a:lnTo>
                    <a:pt x="702" y="616"/>
                  </a:lnTo>
                  <a:lnTo>
                    <a:pt x="706" y="625"/>
                  </a:lnTo>
                  <a:lnTo>
                    <a:pt x="709" y="632"/>
                  </a:lnTo>
                  <a:lnTo>
                    <a:pt x="711" y="641"/>
                  </a:lnTo>
                  <a:lnTo>
                    <a:pt x="717" y="667"/>
                  </a:lnTo>
                  <a:lnTo>
                    <a:pt x="721" y="680"/>
                  </a:lnTo>
                  <a:lnTo>
                    <a:pt x="724" y="692"/>
                  </a:lnTo>
                  <a:lnTo>
                    <a:pt x="727" y="700"/>
                  </a:lnTo>
                  <a:lnTo>
                    <a:pt x="728" y="706"/>
                  </a:lnTo>
                  <a:lnTo>
                    <a:pt x="726" y="715"/>
                  </a:lnTo>
                  <a:lnTo>
                    <a:pt x="722" y="724"/>
                  </a:lnTo>
                  <a:lnTo>
                    <a:pt x="717" y="733"/>
                  </a:lnTo>
                  <a:lnTo>
                    <a:pt x="713" y="741"/>
                  </a:lnTo>
                  <a:lnTo>
                    <a:pt x="711" y="748"/>
                  </a:lnTo>
                  <a:lnTo>
                    <a:pt x="710" y="757"/>
                  </a:lnTo>
                  <a:lnTo>
                    <a:pt x="714" y="777"/>
                  </a:lnTo>
                  <a:lnTo>
                    <a:pt x="714" y="793"/>
                  </a:lnTo>
                  <a:lnTo>
                    <a:pt x="717" y="801"/>
                  </a:lnTo>
                  <a:lnTo>
                    <a:pt x="720" y="807"/>
                  </a:lnTo>
                  <a:lnTo>
                    <a:pt x="719" y="812"/>
                  </a:lnTo>
                  <a:lnTo>
                    <a:pt x="715" y="819"/>
                  </a:lnTo>
                  <a:lnTo>
                    <a:pt x="710" y="827"/>
                  </a:lnTo>
                  <a:lnTo>
                    <a:pt x="709" y="829"/>
                  </a:lnTo>
                  <a:lnTo>
                    <a:pt x="710" y="830"/>
                  </a:lnTo>
                  <a:lnTo>
                    <a:pt x="710" y="831"/>
                  </a:lnTo>
                  <a:lnTo>
                    <a:pt x="712" y="832"/>
                  </a:lnTo>
                  <a:lnTo>
                    <a:pt x="717" y="832"/>
                  </a:lnTo>
                  <a:lnTo>
                    <a:pt x="719" y="833"/>
                  </a:lnTo>
                  <a:lnTo>
                    <a:pt x="721" y="835"/>
                  </a:lnTo>
                  <a:lnTo>
                    <a:pt x="721" y="837"/>
                  </a:lnTo>
                  <a:lnTo>
                    <a:pt x="720" y="845"/>
                  </a:lnTo>
                  <a:lnTo>
                    <a:pt x="720" y="862"/>
                  </a:lnTo>
                  <a:lnTo>
                    <a:pt x="717" y="865"/>
                  </a:lnTo>
                  <a:lnTo>
                    <a:pt x="709" y="867"/>
                  </a:lnTo>
                  <a:lnTo>
                    <a:pt x="689" y="867"/>
                  </a:lnTo>
                  <a:lnTo>
                    <a:pt x="682" y="870"/>
                  </a:lnTo>
                  <a:lnTo>
                    <a:pt x="677" y="873"/>
                  </a:lnTo>
                  <a:lnTo>
                    <a:pt x="673" y="876"/>
                  </a:lnTo>
                  <a:lnTo>
                    <a:pt x="668" y="876"/>
                  </a:lnTo>
                  <a:lnTo>
                    <a:pt x="663" y="873"/>
                  </a:lnTo>
                  <a:lnTo>
                    <a:pt x="656" y="869"/>
                  </a:lnTo>
                  <a:lnTo>
                    <a:pt x="650" y="868"/>
                  </a:lnTo>
                  <a:lnTo>
                    <a:pt x="644" y="871"/>
                  </a:lnTo>
                  <a:lnTo>
                    <a:pt x="637" y="877"/>
                  </a:lnTo>
                  <a:lnTo>
                    <a:pt x="631" y="884"/>
                  </a:lnTo>
                  <a:lnTo>
                    <a:pt x="625" y="890"/>
                  </a:lnTo>
                  <a:lnTo>
                    <a:pt x="617" y="894"/>
                  </a:lnTo>
                  <a:lnTo>
                    <a:pt x="609" y="895"/>
                  </a:lnTo>
                  <a:lnTo>
                    <a:pt x="599" y="896"/>
                  </a:lnTo>
                  <a:lnTo>
                    <a:pt x="594" y="898"/>
                  </a:lnTo>
                  <a:lnTo>
                    <a:pt x="588" y="901"/>
                  </a:lnTo>
                  <a:lnTo>
                    <a:pt x="581" y="906"/>
                  </a:lnTo>
                  <a:lnTo>
                    <a:pt x="564" y="900"/>
                  </a:lnTo>
                  <a:lnTo>
                    <a:pt x="558" y="896"/>
                  </a:lnTo>
                  <a:lnTo>
                    <a:pt x="555" y="891"/>
                  </a:lnTo>
                  <a:lnTo>
                    <a:pt x="553" y="887"/>
                  </a:lnTo>
                  <a:lnTo>
                    <a:pt x="551" y="882"/>
                  </a:lnTo>
                  <a:lnTo>
                    <a:pt x="544" y="876"/>
                  </a:lnTo>
                  <a:lnTo>
                    <a:pt x="534" y="871"/>
                  </a:lnTo>
                  <a:lnTo>
                    <a:pt x="523" y="866"/>
                  </a:lnTo>
                  <a:lnTo>
                    <a:pt x="517" y="865"/>
                  </a:lnTo>
                  <a:lnTo>
                    <a:pt x="512" y="865"/>
                  </a:lnTo>
                  <a:lnTo>
                    <a:pt x="507" y="867"/>
                  </a:lnTo>
                  <a:lnTo>
                    <a:pt x="502" y="867"/>
                  </a:lnTo>
                  <a:lnTo>
                    <a:pt x="496" y="865"/>
                  </a:lnTo>
                  <a:lnTo>
                    <a:pt x="488" y="860"/>
                  </a:lnTo>
                  <a:lnTo>
                    <a:pt x="482" y="853"/>
                  </a:lnTo>
                  <a:lnTo>
                    <a:pt x="478" y="847"/>
                  </a:lnTo>
                  <a:lnTo>
                    <a:pt x="476" y="841"/>
                  </a:lnTo>
                  <a:lnTo>
                    <a:pt x="473" y="837"/>
                  </a:lnTo>
                  <a:lnTo>
                    <a:pt x="465" y="831"/>
                  </a:lnTo>
                  <a:lnTo>
                    <a:pt x="453" y="824"/>
                  </a:lnTo>
                  <a:lnTo>
                    <a:pt x="444" y="817"/>
                  </a:lnTo>
                  <a:lnTo>
                    <a:pt x="437" y="811"/>
                  </a:lnTo>
                  <a:lnTo>
                    <a:pt x="430" y="806"/>
                  </a:lnTo>
                  <a:lnTo>
                    <a:pt x="424" y="806"/>
                  </a:lnTo>
                  <a:lnTo>
                    <a:pt x="423" y="808"/>
                  </a:lnTo>
                  <a:lnTo>
                    <a:pt x="433" y="818"/>
                  </a:lnTo>
                  <a:lnTo>
                    <a:pt x="439" y="823"/>
                  </a:lnTo>
                  <a:lnTo>
                    <a:pt x="447" y="829"/>
                  </a:lnTo>
                  <a:lnTo>
                    <a:pt x="453" y="834"/>
                  </a:lnTo>
                  <a:lnTo>
                    <a:pt x="457" y="837"/>
                  </a:lnTo>
                  <a:lnTo>
                    <a:pt x="460" y="841"/>
                  </a:lnTo>
                  <a:lnTo>
                    <a:pt x="460" y="848"/>
                  </a:lnTo>
                  <a:lnTo>
                    <a:pt x="458" y="860"/>
                  </a:lnTo>
                  <a:lnTo>
                    <a:pt x="457" y="862"/>
                  </a:lnTo>
                  <a:lnTo>
                    <a:pt x="455" y="863"/>
                  </a:lnTo>
                  <a:lnTo>
                    <a:pt x="452" y="864"/>
                  </a:lnTo>
                  <a:lnTo>
                    <a:pt x="450" y="864"/>
                  </a:lnTo>
                  <a:lnTo>
                    <a:pt x="447" y="863"/>
                  </a:lnTo>
                  <a:lnTo>
                    <a:pt x="445" y="862"/>
                  </a:lnTo>
                  <a:lnTo>
                    <a:pt x="441" y="858"/>
                  </a:lnTo>
                  <a:lnTo>
                    <a:pt x="436" y="854"/>
                  </a:lnTo>
                  <a:lnTo>
                    <a:pt x="434" y="851"/>
                  </a:lnTo>
                  <a:lnTo>
                    <a:pt x="431" y="848"/>
                  </a:lnTo>
                  <a:lnTo>
                    <a:pt x="430" y="845"/>
                  </a:lnTo>
                  <a:lnTo>
                    <a:pt x="426" y="841"/>
                  </a:lnTo>
                  <a:lnTo>
                    <a:pt x="418" y="839"/>
                  </a:lnTo>
                  <a:lnTo>
                    <a:pt x="409" y="837"/>
                  </a:lnTo>
                  <a:lnTo>
                    <a:pt x="401" y="836"/>
                  </a:lnTo>
                  <a:lnTo>
                    <a:pt x="398" y="837"/>
                  </a:lnTo>
                  <a:lnTo>
                    <a:pt x="397" y="837"/>
                  </a:lnTo>
                  <a:lnTo>
                    <a:pt x="397" y="840"/>
                  </a:lnTo>
                  <a:lnTo>
                    <a:pt x="403" y="845"/>
                  </a:lnTo>
                  <a:lnTo>
                    <a:pt x="406" y="847"/>
                  </a:lnTo>
                  <a:lnTo>
                    <a:pt x="410" y="851"/>
                  </a:lnTo>
                  <a:lnTo>
                    <a:pt x="410" y="857"/>
                  </a:lnTo>
                  <a:lnTo>
                    <a:pt x="411" y="860"/>
                  </a:lnTo>
                  <a:lnTo>
                    <a:pt x="411" y="861"/>
                  </a:lnTo>
                  <a:lnTo>
                    <a:pt x="412" y="861"/>
                  </a:lnTo>
                  <a:lnTo>
                    <a:pt x="412" y="862"/>
                  </a:lnTo>
                  <a:lnTo>
                    <a:pt x="405" y="867"/>
                  </a:lnTo>
                  <a:lnTo>
                    <a:pt x="398" y="871"/>
                  </a:lnTo>
                  <a:lnTo>
                    <a:pt x="392" y="873"/>
                  </a:lnTo>
                  <a:lnTo>
                    <a:pt x="385" y="871"/>
                  </a:lnTo>
                  <a:lnTo>
                    <a:pt x="379" y="866"/>
                  </a:lnTo>
                  <a:lnTo>
                    <a:pt x="375" y="860"/>
                  </a:lnTo>
                  <a:lnTo>
                    <a:pt x="373" y="854"/>
                  </a:lnTo>
                  <a:lnTo>
                    <a:pt x="373" y="851"/>
                  </a:lnTo>
                  <a:lnTo>
                    <a:pt x="372" y="849"/>
                  </a:lnTo>
                  <a:lnTo>
                    <a:pt x="372" y="847"/>
                  </a:lnTo>
                  <a:lnTo>
                    <a:pt x="370" y="846"/>
                  </a:lnTo>
                  <a:lnTo>
                    <a:pt x="368" y="846"/>
                  </a:lnTo>
                  <a:lnTo>
                    <a:pt x="365" y="845"/>
                  </a:lnTo>
                  <a:lnTo>
                    <a:pt x="355" y="845"/>
                  </a:lnTo>
                  <a:lnTo>
                    <a:pt x="352" y="847"/>
                  </a:lnTo>
                  <a:lnTo>
                    <a:pt x="350" y="849"/>
                  </a:lnTo>
                  <a:lnTo>
                    <a:pt x="349" y="852"/>
                  </a:lnTo>
                  <a:lnTo>
                    <a:pt x="346" y="853"/>
                  </a:lnTo>
                  <a:lnTo>
                    <a:pt x="340" y="852"/>
                  </a:lnTo>
                  <a:lnTo>
                    <a:pt x="335" y="849"/>
                  </a:lnTo>
                  <a:lnTo>
                    <a:pt x="333" y="843"/>
                  </a:lnTo>
                  <a:lnTo>
                    <a:pt x="333" y="838"/>
                  </a:lnTo>
                  <a:lnTo>
                    <a:pt x="334" y="832"/>
                  </a:lnTo>
                  <a:lnTo>
                    <a:pt x="335" y="828"/>
                  </a:lnTo>
                  <a:lnTo>
                    <a:pt x="333" y="827"/>
                  </a:lnTo>
                  <a:lnTo>
                    <a:pt x="331" y="827"/>
                  </a:lnTo>
                  <a:lnTo>
                    <a:pt x="330" y="826"/>
                  </a:lnTo>
                  <a:lnTo>
                    <a:pt x="328" y="822"/>
                  </a:lnTo>
                  <a:lnTo>
                    <a:pt x="324" y="818"/>
                  </a:lnTo>
                  <a:lnTo>
                    <a:pt x="321" y="817"/>
                  </a:lnTo>
                  <a:lnTo>
                    <a:pt x="319" y="816"/>
                  </a:lnTo>
                  <a:lnTo>
                    <a:pt x="317" y="816"/>
                  </a:lnTo>
                  <a:lnTo>
                    <a:pt x="315" y="818"/>
                  </a:lnTo>
                  <a:lnTo>
                    <a:pt x="315" y="819"/>
                  </a:lnTo>
                  <a:lnTo>
                    <a:pt x="314" y="821"/>
                  </a:lnTo>
                  <a:lnTo>
                    <a:pt x="314" y="822"/>
                  </a:lnTo>
                  <a:lnTo>
                    <a:pt x="312" y="823"/>
                  </a:lnTo>
                  <a:lnTo>
                    <a:pt x="308" y="823"/>
                  </a:lnTo>
                  <a:lnTo>
                    <a:pt x="306" y="822"/>
                  </a:lnTo>
                  <a:lnTo>
                    <a:pt x="305" y="821"/>
                  </a:lnTo>
                  <a:lnTo>
                    <a:pt x="305" y="819"/>
                  </a:lnTo>
                  <a:lnTo>
                    <a:pt x="302" y="813"/>
                  </a:lnTo>
                  <a:lnTo>
                    <a:pt x="299" y="811"/>
                  </a:lnTo>
                  <a:lnTo>
                    <a:pt x="295" y="809"/>
                  </a:lnTo>
                  <a:lnTo>
                    <a:pt x="290" y="808"/>
                  </a:lnTo>
                  <a:lnTo>
                    <a:pt x="287" y="810"/>
                  </a:lnTo>
                  <a:lnTo>
                    <a:pt x="285" y="814"/>
                  </a:lnTo>
                  <a:lnTo>
                    <a:pt x="284" y="818"/>
                  </a:lnTo>
                  <a:lnTo>
                    <a:pt x="282" y="821"/>
                  </a:lnTo>
                  <a:lnTo>
                    <a:pt x="278" y="822"/>
                  </a:lnTo>
                  <a:lnTo>
                    <a:pt x="269" y="824"/>
                  </a:lnTo>
                  <a:lnTo>
                    <a:pt x="262" y="830"/>
                  </a:lnTo>
                  <a:lnTo>
                    <a:pt x="258" y="837"/>
                  </a:lnTo>
                  <a:lnTo>
                    <a:pt x="255" y="841"/>
                  </a:lnTo>
                  <a:lnTo>
                    <a:pt x="251" y="845"/>
                  </a:lnTo>
                  <a:lnTo>
                    <a:pt x="248" y="849"/>
                  </a:lnTo>
                  <a:lnTo>
                    <a:pt x="247" y="854"/>
                  </a:lnTo>
                  <a:lnTo>
                    <a:pt x="250" y="861"/>
                  </a:lnTo>
                  <a:lnTo>
                    <a:pt x="255" y="867"/>
                  </a:lnTo>
                  <a:lnTo>
                    <a:pt x="261" y="869"/>
                  </a:lnTo>
                  <a:lnTo>
                    <a:pt x="267" y="869"/>
                  </a:lnTo>
                  <a:lnTo>
                    <a:pt x="273" y="867"/>
                  </a:lnTo>
                  <a:lnTo>
                    <a:pt x="278" y="865"/>
                  </a:lnTo>
                  <a:lnTo>
                    <a:pt x="284" y="863"/>
                  </a:lnTo>
                  <a:lnTo>
                    <a:pt x="292" y="863"/>
                  </a:lnTo>
                  <a:lnTo>
                    <a:pt x="301" y="865"/>
                  </a:lnTo>
                  <a:lnTo>
                    <a:pt x="308" y="869"/>
                  </a:lnTo>
                  <a:lnTo>
                    <a:pt x="311" y="874"/>
                  </a:lnTo>
                  <a:lnTo>
                    <a:pt x="309" y="880"/>
                  </a:lnTo>
                  <a:lnTo>
                    <a:pt x="306" y="885"/>
                  </a:lnTo>
                  <a:lnTo>
                    <a:pt x="301" y="891"/>
                  </a:lnTo>
                  <a:lnTo>
                    <a:pt x="297" y="894"/>
                  </a:lnTo>
                  <a:lnTo>
                    <a:pt x="293" y="894"/>
                  </a:lnTo>
                  <a:lnTo>
                    <a:pt x="283" y="886"/>
                  </a:lnTo>
                  <a:lnTo>
                    <a:pt x="278" y="883"/>
                  </a:lnTo>
                  <a:lnTo>
                    <a:pt x="272" y="883"/>
                  </a:lnTo>
                  <a:lnTo>
                    <a:pt x="269" y="884"/>
                  </a:lnTo>
                  <a:lnTo>
                    <a:pt x="267" y="886"/>
                  </a:lnTo>
                  <a:lnTo>
                    <a:pt x="266" y="888"/>
                  </a:lnTo>
                  <a:lnTo>
                    <a:pt x="265" y="891"/>
                  </a:lnTo>
                  <a:lnTo>
                    <a:pt x="266" y="894"/>
                  </a:lnTo>
                  <a:lnTo>
                    <a:pt x="268" y="898"/>
                  </a:lnTo>
                  <a:lnTo>
                    <a:pt x="269" y="902"/>
                  </a:lnTo>
                  <a:lnTo>
                    <a:pt x="267" y="903"/>
                  </a:lnTo>
                  <a:lnTo>
                    <a:pt x="262" y="904"/>
                  </a:lnTo>
                  <a:lnTo>
                    <a:pt x="255" y="903"/>
                  </a:lnTo>
                  <a:lnTo>
                    <a:pt x="247" y="903"/>
                  </a:lnTo>
                  <a:lnTo>
                    <a:pt x="239" y="902"/>
                  </a:lnTo>
                  <a:lnTo>
                    <a:pt x="231" y="902"/>
                  </a:lnTo>
                  <a:lnTo>
                    <a:pt x="223" y="901"/>
                  </a:lnTo>
                  <a:lnTo>
                    <a:pt x="216" y="897"/>
                  </a:lnTo>
                  <a:lnTo>
                    <a:pt x="210" y="891"/>
                  </a:lnTo>
                  <a:lnTo>
                    <a:pt x="203" y="886"/>
                  </a:lnTo>
                  <a:lnTo>
                    <a:pt x="194" y="883"/>
                  </a:lnTo>
                  <a:lnTo>
                    <a:pt x="187" y="882"/>
                  </a:lnTo>
                  <a:lnTo>
                    <a:pt x="182" y="883"/>
                  </a:lnTo>
                  <a:lnTo>
                    <a:pt x="178" y="885"/>
                  </a:lnTo>
                  <a:lnTo>
                    <a:pt x="176" y="888"/>
                  </a:lnTo>
                  <a:lnTo>
                    <a:pt x="173" y="892"/>
                  </a:lnTo>
                  <a:lnTo>
                    <a:pt x="168" y="898"/>
                  </a:lnTo>
                  <a:lnTo>
                    <a:pt x="161" y="902"/>
                  </a:lnTo>
                  <a:lnTo>
                    <a:pt x="150" y="905"/>
                  </a:lnTo>
                  <a:lnTo>
                    <a:pt x="137" y="905"/>
                  </a:lnTo>
                  <a:lnTo>
                    <a:pt x="124" y="904"/>
                  </a:lnTo>
                  <a:lnTo>
                    <a:pt x="114" y="903"/>
                  </a:lnTo>
                  <a:lnTo>
                    <a:pt x="107" y="900"/>
                  </a:lnTo>
                  <a:lnTo>
                    <a:pt x="102" y="893"/>
                  </a:lnTo>
                  <a:lnTo>
                    <a:pt x="97" y="887"/>
                  </a:lnTo>
                  <a:lnTo>
                    <a:pt x="92" y="886"/>
                  </a:lnTo>
                  <a:lnTo>
                    <a:pt x="86" y="889"/>
                  </a:lnTo>
                  <a:lnTo>
                    <a:pt x="80" y="895"/>
                  </a:lnTo>
                  <a:lnTo>
                    <a:pt x="74" y="900"/>
                  </a:lnTo>
                  <a:lnTo>
                    <a:pt x="65" y="905"/>
                  </a:lnTo>
                  <a:lnTo>
                    <a:pt x="56" y="909"/>
                  </a:lnTo>
                  <a:lnTo>
                    <a:pt x="46" y="911"/>
                  </a:lnTo>
                  <a:lnTo>
                    <a:pt x="39" y="910"/>
                  </a:lnTo>
                  <a:lnTo>
                    <a:pt x="34" y="906"/>
                  </a:lnTo>
                  <a:lnTo>
                    <a:pt x="34" y="900"/>
                  </a:lnTo>
                  <a:lnTo>
                    <a:pt x="36" y="892"/>
                  </a:lnTo>
                  <a:lnTo>
                    <a:pt x="41" y="881"/>
                  </a:lnTo>
                  <a:lnTo>
                    <a:pt x="42" y="877"/>
                  </a:lnTo>
                  <a:lnTo>
                    <a:pt x="41" y="877"/>
                  </a:lnTo>
                  <a:lnTo>
                    <a:pt x="38" y="878"/>
                  </a:lnTo>
                  <a:lnTo>
                    <a:pt x="35" y="881"/>
                  </a:lnTo>
                  <a:lnTo>
                    <a:pt x="30" y="885"/>
                  </a:lnTo>
                  <a:lnTo>
                    <a:pt x="26" y="889"/>
                  </a:lnTo>
                  <a:lnTo>
                    <a:pt x="21" y="892"/>
                  </a:lnTo>
                  <a:lnTo>
                    <a:pt x="18" y="893"/>
                  </a:lnTo>
                  <a:lnTo>
                    <a:pt x="15" y="891"/>
                  </a:lnTo>
                  <a:lnTo>
                    <a:pt x="7" y="871"/>
                  </a:lnTo>
                  <a:lnTo>
                    <a:pt x="3" y="858"/>
                  </a:lnTo>
                  <a:lnTo>
                    <a:pt x="0" y="849"/>
                  </a:lnTo>
                  <a:lnTo>
                    <a:pt x="0" y="841"/>
                  </a:lnTo>
                  <a:lnTo>
                    <a:pt x="2" y="835"/>
                  </a:lnTo>
                  <a:lnTo>
                    <a:pt x="6" y="829"/>
                  </a:lnTo>
                  <a:lnTo>
                    <a:pt x="8" y="823"/>
                  </a:lnTo>
                  <a:lnTo>
                    <a:pt x="7" y="816"/>
                  </a:lnTo>
                  <a:lnTo>
                    <a:pt x="5" y="809"/>
                  </a:lnTo>
                  <a:lnTo>
                    <a:pt x="7" y="802"/>
                  </a:lnTo>
                  <a:lnTo>
                    <a:pt x="11" y="793"/>
                  </a:lnTo>
                  <a:lnTo>
                    <a:pt x="12" y="784"/>
                  </a:lnTo>
                  <a:lnTo>
                    <a:pt x="12" y="775"/>
                  </a:lnTo>
                  <a:lnTo>
                    <a:pt x="14" y="768"/>
                  </a:lnTo>
                  <a:lnTo>
                    <a:pt x="17" y="760"/>
                  </a:lnTo>
                  <a:lnTo>
                    <a:pt x="27" y="742"/>
                  </a:lnTo>
                  <a:lnTo>
                    <a:pt x="32" y="734"/>
                  </a:lnTo>
                  <a:lnTo>
                    <a:pt x="34" y="728"/>
                  </a:lnTo>
                  <a:lnTo>
                    <a:pt x="33" y="722"/>
                  </a:lnTo>
                  <a:lnTo>
                    <a:pt x="31" y="718"/>
                  </a:lnTo>
                  <a:lnTo>
                    <a:pt x="27" y="713"/>
                  </a:lnTo>
                  <a:lnTo>
                    <a:pt x="24" y="707"/>
                  </a:lnTo>
                  <a:lnTo>
                    <a:pt x="22" y="700"/>
                  </a:lnTo>
                  <a:lnTo>
                    <a:pt x="21" y="689"/>
                  </a:lnTo>
                  <a:lnTo>
                    <a:pt x="22" y="678"/>
                  </a:lnTo>
                  <a:lnTo>
                    <a:pt x="25" y="668"/>
                  </a:lnTo>
                  <a:lnTo>
                    <a:pt x="29" y="661"/>
                  </a:lnTo>
                  <a:lnTo>
                    <a:pt x="36" y="653"/>
                  </a:lnTo>
                  <a:lnTo>
                    <a:pt x="42" y="642"/>
                  </a:lnTo>
                  <a:lnTo>
                    <a:pt x="47" y="631"/>
                  </a:lnTo>
                  <a:lnTo>
                    <a:pt x="52" y="622"/>
                  </a:lnTo>
                  <a:lnTo>
                    <a:pt x="54" y="614"/>
                  </a:lnTo>
                  <a:lnTo>
                    <a:pt x="55" y="606"/>
                  </a:lnTo>
                  <a:lnTo>
                    <a:pt x="57" y="598"/>
                  </a:lnTo>
                  <a:lnTo>
                    <a:pt x="63" y="591"/>
                  </a:lnTo>
                  <a:lnTo>
                    <a:pt x="69" y="583"/>
                  </a:lnTo>
                  <a:lnTo>
                    <a:pt x="72" y="576"/>
                  </a:lnTo>
                  <a:lnTo>
                    <a:pt x="72" y="567"/>
                  </a:lnTo>
                  <a:lnTo>
                    <a:pt x="73" y="559"/>
                  </a:lnTo>
                  <a:lnTo>
                    <a:pt x="75" y="550"/>
                  </a:lnTo>
                  <a:lnTo>
                    <a:pt x="78" y="543"/>
                  </a:lnTo>
                  <a:lnTo>
                    <a:pt x="79" y="537"/>
                  </a:lnTo>
                  <a:lnTo>
                    <a:pt x="80" y="530"/>
                  </a:lnTo>
                  <a:lnTo>
                    <a:pt x="83" y="523"/>
                  </a:lnTo>
                  <a:lnTo>
                    <a:pt x="89" y="517"/>
                  </a:lnTo>
                  <a:lnTo>
                    <a:pt x="92" y="512"/>
                  </a:lnTo>
                  <a:lnTo>
                    <a:pt x="94" y="503"/>
                  </a:lnTo>
                  <a:lnTo>
                    <a:pt x="95" y="493"/>
                  </a:lnTo>
                  <a:lnTo>
                    <a:pt x="96" y="482"/>
                  </a:lnTo>
                  <a:lnTo>
                    <a:pt x="96" y="472"/>
                  </a:lnTo>
                  <a:lnTo>
                    <a:pt x="98" y="465"/>
                  </a:lnTo>
                  <a:lnTo>
                    <a:pt x="103" y="456"/>
                  </a:lnTo>
                  <a:lnTo>
                    <a:pt x="109" y="448"/>
                  </a:lnTo>
                  <a:lnTo>
                    <a:pt x="117" y="443"/>
                  </a:lnTo>
                  <a:lnTo>
                    <a:pt x="122" y="439"/>
                  </a:lnTo>
                  <a:lnTo>
                    <a:pt x="128" y="433"/>
                  </a:lnTo>
                  <a:lnTo>
                    <a:pt x="132" y="427"/>
                  </a:lnTo>
                  <a:lnTo>
                    <a:pt x="135" y="421"/>
                  </a:lnTo>
                  <a:lnTo>
                    <a:pt x="136" y="417"/>
                  </a:lnTo>
                  <a:lnTo>
                    <a:pt x="138" y="413"/>
                  </a:lnTo>
                  <a:lnTo>
                    <a:pt x="143" y="409"/>
                  </a:lnTo>
                  <a:lnTo>
                    <a:pt x="149" y="404"/>
                  </a:lnTo>
                  <a:lnTo>
                    <a:pt x="152" y="401"/>
                  </a:lnTo>
                  <a:lnTo>
                    <a:pt x="157" y="397"/>
                  </a:lnTo>
                  <a:lnTo>
                    <a:pt x="166" y="391"/>
                  </a:lnTo>
                  <a:lnTo>
                    <a:pt x="174" y="383"/>
                  </a:lnTo>
                  <a:lnTo>
                    <a:pt x="180" y="373"/>
                  </a:lnTo>
                  <a:lnTo>
                    <a:pt x="191" y="347"/>
                  </a:lnTo>
                  <a:lnTo>
                    <a:pt x="196" y="339"/>
                  </a:lnTo>
                  <a:lnTo>
                    <a:pt x="197" y="337"/>
                  </a:lnTo>
                  <a:lnTo>
                    <a:pt x="197" y="335"/>
                  </a:lnTo>
                  <a:lnTo>
                    <a:pt x="193" y="331"/>
                  </a:lnTo>
                  <a:lnTo>
                    <a:pt x="207" y="328"/>
                  </a:lnTo>
                  <a:lnTo>
                    <a:pt x="217" y="324"/>
                  </a:lnTo>
                  <a:lnTo>
                    <a:pt x="224" y="319"/>
                  </a:lnTo>
                  <a:lnTo>
                    <a:pt x="227" y="313"/>
                  </a:lnTo>
                  <a:lnTo>
                    <a:pt x="230" y="308"/>
                  </a:lnTo>
                  <a:lnTo>
                    <a:pt x="231" y="303"/>
                  </a:lnTo>
                  <a:lnTo>
                    <a:pt x="234" y="295"/>
                  </a:lnTo>
                  <a:lnTo>
                    <a:pt x="240" y="286"/>
                  </a:lnTo>
                  <a:lnTo>
                    <a:pt x="245" y="277"/>
                  </a:lnTo>
                  <a:lnTo>
                    <a:pt x="249" y="270"/>
                  </a:lnTo>
                  <a:lnTo>
                    <a:pt x="250" y="261"/>
                  </a:lnTo>
                  <a:lnTo>
                    <a:pt x="251" y="249"/>
                  </a:lnTo>
                  <a:lnTo>
                    <a:pt x="252" y="235"/>
                  </a:lnTo>
                  <a:lnTo>
                    <a:pt x="253" y="224"/>
                  </a:lnTo>
                  <a:lnTo>
                    <a:pt x="256" y="216"/>
                  </a:lnTo>
                  <a:lnTo>
                    <a:pt x="262" y="210"/>
                  </a:lnTo>
                  <a:lnTo>
                    <a:pt x="270" y="206"/>
                  </a:lnTo>
                  <a:lnTo>
                    <a:pt x="277" y="202"/>
                  </a:lnTo>
                  <a:lnTo>
                    <a:pt x="281" y="198"/>
                  </a:lnTo>
                  <a:lnTo>
                    <a:pt x="280" y="194"/>
                  </a:lnTo>
                  <a:lnTo>
                    <a:pt x="278" y="188"/>
                  </a:lnTo>
                  <a:lnTo>
                    <a:pt x="275" y="180"/>
                  </a:lnTo>
                  <a:lnTo>
                    <a:pt x="275" y="170"/>
                  </a:lnTo>
                  <a:lnTo>
                    <a:pt x="279" y="160"/>
                  </a:lnTo>
                  <a:lnTo>
                    <a:pt x="283" y="153"/>
                  </a:lnTo>
                  <a:lnTo>
                    <a:pt x="287" y="147"/>
                  </a:lnTo>
                  <a:lnTo>
                    <a:pt x="288" y="145"/>
                  </a:lnTo>
                  <a:lnTo>
                    <a:pt x="287" y="142"/>
                  </a:lnTo>
                  <a:lnTo>
                    <a:pt x="284" y="139"/>
                  </a:lnTo>
                  <a:lnTo>
                    <a:pt x="272" y="135"/>
                  </a:lnTo>
                  <a:lnTo>
                    <a:pt x="270" y="132"/>
                  </a:lnTo>
                  <a:lnTo>
                    <a:pt x="270" y="127"/>
                  </a:lnTo>
                  <a:lnTo>
                    <a:pt x="271" y="121"/>
                  </a:lnTo>
                  <a:lnTo>
                    <a:pt x="273" y="115"/>
                  </a:lnTo>
                  <a:lnTo>
                    <a:pt x="273" y="111"/>
                  </a:lnTo>
                  <a:lnTo>
                    <a:pt x="275" y="109"/>
                  </a:lnTo>
                  <a:lnTo>
                    <a:pt x="279" y="108"/>
                  </a:lnTo>
                  <a:lnTo>
                    <a:pt x="293" y="106"/>
                  </a:lnTo>
                  <a:lnTo>
                    <a:pt x="299" y="104"/>
                  </a:lnTo>
                  <a:lnTo>
                    <a:pt x="303" y="102"/>
                  </a:lnTo>
                  <a:lnTo>
                    <a:pt x="304" y="99"/>
                  </a:lnTo>
                  <a:lnTo>
                    <a:pt x="304" y="98"/>
                  </a:lnTo>
                  <a:lnTo>
                    <a:pt x="312" y="97"/>
                  </a:lnTo>
                  <a:lnTo>
                    <a:pt x="317" y="95"/>
                  </a:lnTo>
                  <a:lnTo>
                    <a:pt x="321" y="94"/>
                  </a:lnTo>
                  <a:lnTo>
                    <a:pt x="323" y="92"/>
                  </a:lnTo>
                  <a:lnTo>
                    <a:pt x="322" y="87"/>
                  </a:lnTo>
                  <a:lnTo>
                    <a:pt x="320" y="81"/>
                  </a:lnTo>
                  <a:lnTo>
                    <a:pt x="316" y="71"/>
                  </a:lnTo>
                  <a:lnTo>
                    <a:pt x="317" y="67"/>
                  </a:lnTo>
                  <a:lnTo>
                    <a:pt x="322" y="64"/>
                  </a:lnTo>
                  <a:lnTo>
                    <a:pt x="328" y="62"/>
                  </a:lnTo>
                  <a:lnTo>
                    <a:pt x="335" y="62"/>
                  </a:lnTo>
                  <a:lnTo>
                    <a:pt x="339" y="63"/>
                  </a:lnTo>
                  <a:lnTo>
                    <a:pt x="341" y="67"/>
                  </a:lnTo>
                  <a:lnTo>
                    <a:pt x="342" y="74"/>
                  </a:lnTo>
                  <a:lnTo>
                    <a:pt x="342" y="82"/>
                  </a:lnTo>
                  <a:lnTo>
                    <a:pt x="343" y="91"/>
                  </a:lnTo>
                  <a:lnTo>
                    <a:pt x="346" y="97"/>
                  </a:lnTo>
                  <a:lnTo>
                    <a:pt x="352" y="101"/>
                  </a:lnTo>
                  <a:lnTo>
                    <a:pt x="358" y="103"/>
                  </a:lnTo>
                  <a:lnTo>
                    <a:pt x="365" y="104"/>
                  </a:lnTo>
                  <a:lnTo>
                    <a:pt x="370" y="105"/>
                  </a:lnTo>
                  <a:lnTo>
                    <a:pt x="374" y="109"/>
                  </a:lnTo>
                  <a:lnTo>
                    <a:pt x="384" y="111"/>
                  </a:lnTo>
                  <a:lnTo>
                    <a:pt x="389" y="113"/>
                  </a:lnTo>
                  <a:lnTo>
                    <a:pt x="390" y="117"/>
                  </a:lnTo>
                  <a:lnTo>
                    <a:pt x="388" y="121"/>
                  </a:lnTo>
                  <a:lnTo>
                    <a:pt x="387" y="122"/>
                  </a:lnTo>
                  <a:lnTo>
                    <a:pt x="380" y="122"/>
                  </a:lnTo>
                  <a:lnTo>
                    <a:pt x="378" y="123"/>
                  </a:lnTo>
                  <a:lnTo>
                    <a:pt x="376" y="126"/>
                  </a:lnTo>
                  <a:lnTo>
                    <a:pt x="374" y="132"/>
                  </a:lnTo>
                  <a:lnTo>
                    <a:pt x="373" y="139"/>
                  </a:lnTo>
                  <a:lnTo>
                    <a:pt x="370" y="146"/>
                  </a:lnTo>
                  <a:lnTo>
                    <a:pt x="369" y="149"/>
                  </a:lnTo>
                  <a:lnTo>
                    <a:pt x="369" y="151"/>
                  </a:lnTo>
                  <a:lnTo>
                    <a:pt x="370" y="152"/>
                  </a:lnTo>
                  <a:lnTo>
                    <a:pt x="374" y="154"/>
                  </a:lnTo>
                  <a:lnTo>
                    <a:pt x="377" y="154"/>
                  </a:lnTo>
                  <a:lnTo>
                    <a:pt x="379" y="155"/>
                  </a:lnTo>
                  <a:lnTo>
                    <a:pt x="385" y="156"/>
                  </a:lnTo>
                  <a:lnTo>
                    <a:pt x="389" y="156"/>
                  </a:lnTo>
                  <a:lnTo>
                    <a:pt x="392" y="154"/>
                  </a:lnTo>
                  <a:lnTo>
                    <a:pt x="395" y="149"/>
                  </a:lnTo>
                  <a:lnTo>
                    <a:pt x="397" y="143"/>
                  </a:lnTo>
                  <a:lnTo>
                    <a:pt x="399" y="138"/>
                  </a:lnTo>
                  <a:lnTo>
                    <a:pt x="402" y="136"/>
                  </a:lnTo>
                  <a:lnTo>
                    <a:pt x="405" y="135"/>
                  </a:lnTo>
                  <a:lnTo>
                    <a:pt x="407" y="134"/>
                  </a:lnTo>
                  <a:lnTo>
                    <a:pt x="407" y="131"/>
                  </a:lnTo>
                  <a:lnTo>
                    <a:pt x="405" y="127"/>
                  </a:lnTo>
                  <a:lnTo>
                    <a:pt x="405" y="124"/>
                  </a:lnTo>
                  <a:lnTo>
                    <a:pt x="406" y="121"/>
                  </a:lnTo>
                  <a:lnTo>
                    <a:pt x="407" y="119"/>
                  </a:lnTo>
                  <a:lnTo>
                    <a:pt x="409" y="116"/>
                  </a:lnTo>
                  <a:lnTo>
                    <a:pt x="413" y="112"/>
                  </a:lnTo>
                  <a:lnTo>
                    <a:pt x="420" y="112"/>
                  </a:lnTo>
                  <a:lnTo>
                    <a:pt x="424" y="113"/>
                  </a:lnTo>
                  <a:lnTo>
                    <a:pt x="427" y="114"/>
                  </a:lnTo>
                  <a:lnTo>
                    <a:pt x="432" y="114"/>
                  </a:lnTo>
                  <a:lnTo>
                    <a:pt x="434" y="112"/>
                  </a:lnTo>
                  <a:lnTo>
                    <a:pt x="435" y="110"/>
                  </a:lnTo>
                  <a:lnTo>
                    <a:pt x="439" y="109"/>
                  </a:lnTo>
                  <a:lnTo>
                    <a:pt x="444" y="109"/>
                  </a:lnTo>
                  <a:lnTo>
                    <a:pt x="452" y="110"/>
                  </a:lnTo>
                  <a:lnTo>
                    <a:pt x="457" y="110"/>
                  </a:lnTo>
                  <a:lnTo>
                    <a:pt x="458" y="109"/>
                  </a:lnTo>
                  <a:lnTo>
                    <a:pt x="455" y="105"/>
                  </a:lnTo>
                  <a:lnTo>
                    <a:pt x="451" y="100"/>
                  </a:lnTo>
                  <a:lnTo>
                    <a:pt x="446" y="95"/>
                  </a:lnTo>
                  <a:lnTo>
                    <a:pt x="442" y="90"/>
                  </a:lnTo>
                  <a:lnTo>
                    <a:pt x="442" y="87"/>
                  </a:lnTo>
                  <a:lnTo>
                    <a:pt x="446" y="85"/>
                  </a:lnTo>
                  <a:lnTo>
                    <a:pt x="453" y="85"/>
                  </a:lnTo>
                  <a:lnTo>
                    <a:pt x="461" y="84"/>
                  </a:lnTo>
                  <a:lnTo>
                    <a:pt x="489" y="84"/>
                  </a:lnTo>
                  <a:lnTo>
                    <a:pt x="496" y="83"/>
                  </a:lnTo>
                  <a:lnTo>
                    <a:pt x="499" y="79"/>
                  </a:lnTo>
                  <a:lnTo>
                    <a:pt x="501" y="75"/>
                  </a:lnTo>
                  <a:lnTo>
                    <a:pt x="501" y="70"/>
                  </a:lnTo>
                  <a:lnTo>
                    <a:pt x="500" y="66"/>
                  </a:lnTo>
                  <a:lnTo>
                    <a:pt x="500" y="63"/>
                  </a:lnTo>
                  <a:lnTo>
                    <a:pt x="501" y="60"/>
                  </a:lnTo>
                  <a:lnTo>
                    <a:pt x="504" y="58"/>
                  </a:lnTo>
                  <a:lnTo>
                    <a:pt x="507" y="57"/>
                  </a:lnTo>
                  <a:lnTo>
                    <a:pt x="511" y="57"/>
                  </a:lnTo>
                  <a:lnTo>
                    <a:pt x="517" y="58"/>
                  </a:lnTo>
                  <a:lnTo>
                    <a:pt x="523" y="57"/>
                  </a:lnTo>
                  <a:lnTo>
                    <a:pt x="529" y="57"/>
                  </a:lnTo>
                  <a:lnTo>
                    <a:pt x="533" y="55"/>
                  </a:lnTo>
                  <a:lnTo>
                    <a:pt x="536" y="50"/>
                  </a:lnTo>
                  <a:lnTo>
                    <a:pt x="538" y="36"/>
                  </a:lnTo>
                  <a:lnTo>
                    <a:pt x="537" y="30"/>
                  </a:lnTo>
                  <a:lnTo>
                    <a:pt x="536" y="28"/>
                  </a:lnTo>
                  <a:lnTo>
                    <a:pt x="535" y="27"/>
                  </a:lnTo>
                  <a:lnTo>
                    <a:pt x="534" y="27"/>
                  </a:lnTo>
                  <a:lnTo>
                    <a:pt x="532" y="28"/>
                  </a:lnTo>
                  <a:lnTo>
                    <a:pt x="531" y="29"/>
                  </a:lnTo>
                  <a:lnTo>
                    <a:pt x="528" y="31"/>
                  </a:lnTo>
                  <a:lnTo>
                    <a:pt x="525" y="32"/>
                  </a:lnTo>
                  <a:lnTo>
                    <a:pt x="523" y="33"/>
                  </a:lnTo>
                  <a:lnTo>
                    <a:pt x="522" y="33"/>
                  </a:lnTo>
                  <a:lnTo>
                    <a:pt x="521" y="32"/>
                  </a:lnTo>
                  <a:lnTo>
                    <a:pt x="521" y="29"/>
                  </a:lnTo>
                  <a:lnTo>
                    <a:pt x="519" y="25"/>
                  </a:lnTo>
                  <a:lnTo>
                    <a:pt x="515" y="23"/>
                  </a:lnTo>
                  <a:lnTo>
                    <a:pt x="511" y="22"/>
                  </a:lnTo>
                  <a:lnTo>
                    <a:pt x="509" y="20"/>
                  </a:lnTo>
                  <a:lnTo>
                    <a:pt x="508" y="18"/>
                  </a:lnTo>
                  <a:lnTo>
                    <a:pt x="508" y="15"/>
                  </a:lnTo>
                  <a:lnTo>
                    <a:pt x="509" y="13"/>
                  </a:lnTo>
                  <a:lnTo>
                    <a:pt x="510" y="10"/>
                  </a:lnTo>
                  <a:lnTo>
                    <a:pt x="514" y="7"/>
                  </a:lnTo>
                  <a:lnTo>
                    <a:pt x="522" y="5"/>
                  </a:lnTo>
                  <a:lnTo>
                    <a:pt x="532" y="2"/>
                  </a:lnTo>
                  <a:lnTo>
                    <a:pt x="542" y="1"/>
                  </a:lnTo>
                  <a:lnTo>
                    <a:pt x="550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10">
              <a:extLst>
                <a:ext uri="{FF2B5EF4-FFF2-40B4-BE49-F238E27FC236}">
                  <a16:creationId xmlns:a16="http://schemas.microsoft.com/office/drawing/2014/main" id="{04AD10D2-B453-41D7-AC9E-9A0FA8DDD9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91051" y="1990726"/>
              <a:ext cx="1958975" cy="1711325"/>
            </a:xfrm>
            <a:custGeom>
              <a:avLst/>
              <a:gdLst/>
              <a:ahLst/>
              <a:cxnLst>
                <a:cxn ang="0">
                  <a:pos x="530" y="347"/>
                </a:cxn>
                <a:cxn ang="0">
                  <a:pos x="573" y="302"/>
                </a:cxn>
                <a:cxn ang="0">
                  <a:pos x="486" y="280"/>
                </a:cxn>
                <a:cxn ang="0">
                  <a:pos x="598" y="19"/>
                </a:cxn>
                <a:cxn ang="0">
                  <a:pos x="688" y="59"/>
                </a:cxn>
                <a:cxn ang="0">
                  <a:pos x="785" y="176"/>
                </a:cxn>
                <a:cxn ang="0">
                  <a:pos x="883" y="210"/>
                </a:cxn>
                <a:cxn ang="0">
                  <a:pos x="972" y="221"/>
                </a:cxn>
                <a:cxn ang="0">
                  <a:pos x="1027" y="253"/>
                </a:cxn>
                <a:cxn ang="0">
                  <a:pos x="1119" y="303"/>
                </a:cxn>
                <a:cxn ang="0">
                  <a:pos x="1146" y="323"/>
                </a:cxn>
                <a:cxn ang="0">
                  <a:pos x="1229" y="352"/>
                </a:cxn>
                <a:cxn ang="0">
                  <a:pos x="1144" y="424"/>
                </a:cxn>
                <a:cxn ang="0">
                  <a:pos x="1075" y="420"/>
                </a:cxn>
                <a:cxn ang="0">
                  <a:pos x="1051" y="518"/>
                </a:cxn>
                <a:cxn ang="0">
                  <a:pos x="1075" y="580"/>
                </a:cxn>
                <a:cxn ang="0">
                  <a:pos x="1080" y="637"/>
                </a:cxn>
                <a:cxn ang="0">
                  <a:pos x="1097" y="725"/>
                </a:cxn>
                <a:cxn ang="0">
                  <a:pos x="1015" y="765"/>
                </a:cxn>
                <a:cxn ang="0">
                  <a:pos x="978" y="850"/>
                </a:cxn>
                <a:cxn ang="0">
                  <a:pos x="997" y="953"/>
                </a:cxn>
                <a:cxn ang="0">
                  <a:pos x="922" y="970"/>
                </a:cxn>
                <a:cxn ang="0">
                  <a:pos x="829" y="1027"/>
                </a:cxn>
                <a:cxn ang="0">
                  <a:pos x="793" y="1039"/>
                </a:cxn>
                <a:cxn ang="0">
                  <a:pos x="764" y="1060"/>
                </a:cxn>
                <a:cxn ang="0">
                  <a:pos x="749" y="1071"/>
                </a:cxn>
                <a:cxn ang="0">
                  <a:pos x="725" y="1034"/>
                </a:cxn>
                <a:cxn ang="0">
                  <a:pos x="739" y="963"/>
                </a:cxn>
                <a:cxn ang="0">
                  <a:pos x="717" y="938"/>
                </a:cxn>
                <a:cxn ang="0">
                  <a:pos x="682" y="890"/>
                </a:cxn>
                <a:cxn ang="0">
                  <a:pos x="660" y="826"/>
                </a:cxn>
                <a:cxn ang="0">
                  <a:pos x="623" y="785"/>
                </a:cxn>
                <a:cxn ang="0">
                  <a:pos x="581" y="727"/>
                </a:cxn>
                <a:cxn ang="0">
                  <a:pos x="580" y="666"/>
                </a:cxn>
                <a:cxn ang="0">
                  <a:pos x="606" y="578"/>
                </a:cxn>
                <a:cxn ang="0">
                  <a:pos x="508" y="603"/>
                </a:cxn>
                <a:cxn ang="0">
                  <a:pos x="443" y="582"/>
                </a:cxn>
                <a:cxn ang="0">
                  <a:pos x="409" y="597"/>
                </a:cxn>
                <a:cxn ang="0">
                  <a:pos x="450" y="706"/>
                </a:cxn>
                <a:cxn ang="0">
                  <a:pos x="378" y="739"/>
                </a:cxn>
                <a:cxn ang="0">
                  <a:pos x="303" y="731"/>
                </a:cxn>
                <a:cxn ang="0">
                  <a:pos x="301" y="696"/>
                </a:cxn>
                <a:cxn ang="0">
                  <a:pos x="293" y="622"/>
                </a:cxn>
                <a:cxn ang="0">
                  <a:pos x="227" y="598"/>
                </a:cxn>
                <a:cxn ang="0">
                  <a:pos x="112" y="659"/>
                </a:cxn>
                <a:cxn ang="0">
                  <a:pos x="81" y="589"/>
                </a:cxn>
                <a:cxn ang="0">
                  <a:pos x="13" y="570"/>
                </a:cxn>
                <a:cxn ang="0">
                  <a:pos x="12" y="507"/>
                </a:cxn>
                <a:cxn ang="0">
                  <a:pos x="79" y="502"/>
                </a:cxn>
                <a:cxn ang="0">
                  <a:pos x="105" y="437"/>
                </a:cxn>
                <a:cxn ang="0">
                  <a:pos x="140" y="287"/>
                </a:cxn>
                <a:cxn ang="0">
                  <a:pos x="153" y="220"/>
                </a:cxn>
                <a:cxn ang="0">
                  <a:pos x="109" y="142"/>
                </a:cxn>
                <a:cxn ang="0">
                  <a:pos x="164" y="78"/>
                </a:cxn>
                <a:cxn ang="0">
                  <a:pos x="330" y="66"/>
                </a:cxn>
                <a:cxn ang="0">
                  <a:pos x="379" y="148"/>
                </a:cxn>
                <a:cxn ang="0">
                  <a:pos x="365" y="176"/>
                </a:cxn>
                <a:cxn ang="0">
                  <a:pos x="415" y="147"/>
                </a:cxn>
                <a:cxn ang="0">
                  <a:pos x="429" y="119"/>
                </a:cxn>
                <a:cxn ang="0">
                  <a:pos x="460" y="166"/>
                </a:cxn>
                <a:cxn ang="0">
                  <a:pos x="473" y="46"/>
                </a:cxn>
              </a:cxnLst>
              <a:rect l="0" t="0" r="r" b="b"/>
              <a:pathLst>
                <a:path w="1234" h="1078">
                  <a:moveTo>
                    <a:pt x="471" y="276"/>
                  </a:moveTo>
                  <a:lnTo>
                    <a:pt x="466" y="277"/>
                  </a:lnTo>
                  <a:lnTo>
                    <a:pt x="464" y="281"/>
                  </a:lnTo>
                  <a:lnTo>
                    <a:pt x="467" y="285"/>
                  </a:lnTo>
                  <a:lnTo>
                    <a:pt x="472" y="291"/>
                  </a:lnTo>
                  <a:lnTo>
                    <a:pt x="480" y="296"/>
                  </a:lnTo>
                  <a:lnTo>
                    <a:pt x="487" y="302"/>
                  </a:lnTo>
                  <a:lnTo>
                    <a:pt x="493" y="308"/>
                  </a:lnTo>
                  <a:lnTo>
                    <a:pt x="500" y="320"/>
                  </a:lnTo>
                  <a:lnTo>
                    <a:pt x="505" y="332"/>
                  </a:lnTo>
                  <a:lnTo>
                    <a:pt x="511" y="343"/>
                  </a:lnTo>
                  <a:lnTo>
                    <a:pt x="516" y="346"/>
                  </a:lnTo>
                  <a:lnTo>
                    <a:pt x="521" y="347"/>
                  </a:lnTo>
                  <a:lnTo>
                    <a:pt x="530" y="347"/>
                  </a:lnTo>
                  <a:lnTo>
                    <a:pt x="535" y="349"/>
                  </a:lnTo>
                  <a:lnTo>
                    <a:pt x="544" y="353"/>
                  </a:lnTo>
                  <a:lnTo>
                    <a:pt x="554" y="355"/>
                  </a:lnTo>
                  <a:lnTo>
                    <a:pt x="565" y="356"/>
                  </a:lnTo>
                  <a:lnTo>
                    <a:pt x="572" y="354"/>
                  </a:lnTo>
                  <a:lnTo>
                    <a:pt x="577" y="349"/>
                  </a:lnTo>
                  <a:lnTo>
                    <a:pt x="579" y="342"/>
                  </a:lnTo>
                  <a:lnTo>
                    <a:pt x="580" y="334"/>
                  </a:lnTo>
                  <a:lnTo>
                    <a:pt x="580" y="327"/>
                  </a:lnTo>
                  <a:lnTo>
                    <a:pt x="579" y="321"/>
                  </a:lnTo>
                  <a:lnTo>
                    <a:pt x="579" y="316"/>
                  </a:lnTo>
                  <a:lnTo>
                    <a:pt x="579" y="309"/>
                  </a:lnTo>
                  <a:lnTo>
                    <a:pt x="578" y="305"/>
                  </a:lnTo>
                  <a:lnTo>
                    <a:pt x="573" y="302"/>
                  </a:lnTo>
                  <a:lnTo>
                    <a:pt x="567" y="300"/>
                  </a:lnTo>
                  <a:lnTo>
                    <a:pt x="563" y="301"/>
                  </a:lnTo>
                  <a:lnTo>
                    <a:pt x="561" y="304"/>
                  </a:lnTo>
                  <a:lnTo>
                    <a:pt x="558" y="307"/>
                  </a:lnTo>
                  <a:lnTo>
                    <a:pt x="554" y="309"/>
                  </a:lnTo>
                  <a:lnTo>
                    <a:pt x="549" y="308"/>
                  </a:lnTo>
                  <a:lnTo>
                    <a:pt x="542" y="303"/>
                  </a:lnTo>
                  <a:lnTo>
                    <a:pt x="534" y="297"/>
                  </a:lnTo>
                  <a:lnTo>
                    <a:pt x="526" y="292"/>
                  </a:lnTo>
                  <a:lnTo>
                    <a:pt x="518" y="291"/>
                  </a:lnTo>
                  <a:lnTo>
                    <a:pt x="511" y="290"/>
                  </a:lnTo>
                  <a:lnTo>
                    <a:pt x="503" y="287"/>
                  </a:lnTo>
                  <a:lnTo>
                    <a:pt x="494" y="284"/>
                  </a:lnTo>
                  <a:lnTo>
                    <a:pt x="486" y="280"/>
                  </a:lnTo>
                  <a:lnTo>
                    <a:pt x="478" y="277"/>
                  </a:lnTo>
                  <a:lnTo>
                    <a:pt x="471" y="276"/>
                  </a:lnTo>
                  <a:close/>
                  <a:moveTo>
                    <a:pt x="500" y="0"/>
                  </a:moveTo>
                  <a:lnTo>
                    <a:pt x="505" y="1"/>
                  </a:lnTo>
                  <a:lnTo>
                    <a:pt x="511" y="7"/>
                  </a:lnTo>
                  <a:lnTo>
                    <a:pt x="518" y="13"/>
                  </a:lnTo>
                  <a:lnTo>
                    <a:pt x="526" y="17"/>
                  </a:lnTo>
                  <a:lnTo>
                    <a:pt x="533" y="19"/>
                  </a:lnTo>
                  <a:lnTo>
                    <a:pt x="543" y="21"/>
                  </a:lnTo>
                  <a:lnTo>
                    <a:pt x="556" y="23"/>
                  </a:lnTo>
                  <a:lnTo>
                    <a:pt x="569" y="24"/>
                  </a:lnTo>
                  <a:lnTo>
                    <a:pt x="581" y="24"/>
                  </a:lnTo>
                  <a:lnTo>
                    <a:pt x="591" y="22"/>
                  </a:lnTo>
                  <a:lnTo>
                    <a:pt x="598" y="19"/>
                  </a:lnTo>
                  <a:lnTo>
                    <a:pt x="609" y="13"/>
                  </a:lnTo>
                  <a:lnTo>
                    <a:pt x="621" y="9"/>
                  </a:lnTo>
                  <a:lnTo>
                    <a:pt x="635" y="10"/>
                  </a:lnTo>
                  <a:lnTo>
                    <a:pt x="647" y="14"/>
                  </a:lnTo>
                  <a:lnTo>
                    <a:pt x="653" y="19"/>
                  </a:lnTo>
                  <a:lnTo>
                    <a:pt x="660" y="27"/>
                  </a:lnTo>
                  <a:lnTo>
                    <a:pt x="674" y="45"/>
                  </a:lnTo>
                  <a:lnTo>
                    <a:pt x="680" y="53"/>
                  </a:lnTo>
                  <a:lnTo>
                    <a:pt x="685" y="60"/>
                  </a:lnTo>
                  <a:lnTo>
                    <a:pt x="688" y="64"/>
                  </a:lnTo>
                  <a:lnTo>
                    <a:pt x="689" y="64"/>
                  </a:lnTo>
                  <a:lnTo>
                    <a:pt x="689" y="63"/>
                  </a:lnTo>
                  <a:lnTo>
                    <a:pt x="688" y="61"/>
                  </a:lnTo>
                  <a:lnTo>
                    <a:pt x="688" y="59"/>
                  </a:lnTo>
                  <a:lnTo>
                    <a:pt x="697" y="71"/>
                  </a:lnTo>
                  <a:lnTo>
                    <a:pt x="704" y="85"/>
                  </a:lnTo>
                  <a:lnTo>
                    <a:pt x="711" y="97"/>
                  </a:lnTo>
                  <a:lnTo>
                    <a:pt x="717" y="106"/>
                  </a:lnTo>
                  <a:lnTo>
                    <a:pt x="720" y="112"/>
                  </a:lnTo>
                  <a:lnTo>
                    <a:pt x="725" y="117"/>
                  </a:lnTo>
                  <a:lnTo>
                    <a:pt x="733" y="123"/>
                  </a:lnTo>
                  <a:lnTo>
                    <a:pt x="751" y="135"/>
                  </a:lnTo>
                  <a:lnTo>
                    <a:pt x="758" y="139"/>
                  </a:lnTo>
                  <a:lnTo>
                    <a:pt x="763" y="142"/>
                  </a:lnTo>
                  <a:lnTo>
                    <a:pt x="768" y="146"/>
                  </a:lnTo>
                  <a:lnTo>
                    <a:pt x="773" y="155"/>
                  </a:lnTo>
                  <a:lnTo>
                    <a:pt x="779" y="165"/>
                  </a:lnTo>
                  <a:lnTo>
                    <a:pt x="785" y="176"/>
                  </a:lnTo>
                  <a:lnTo>
                    <a:pt x="789" y="186"/>
                  </a:lnTo>
                  <a:lnTo>
                    <a:pt x="794" y="193"/>
                  </a:lnTo>
                  <a:lnTo>
                    <a:pt x="800" y="197"/>
                  </a:lnTo>
                  <a:lnTo>
                    <a:pt x="808" y="199"/>
                  </a:lnTo>
                  <a:lnTo>
                    <a:pt x="828" y="199"/>
                  </a:lnTo>
                  <a:lnTo>
                    <a:pt x="836" y="198"/>
                  </a:lnTo>
                  <a:lnTo>
                    <a:pt x="842" y="195"/>
                  </a:lnTo>
                  <a:lnTo>
                    <a:pt x="846" y="192"/>
                  </a:lnTo>
                  <a:lnTo>
                    <a:pt x="854" y="188"/>
                  </a:lnTo>
                  <a:lnTo>
                    <a:pt x="859" y="190"/>
                  </a:lnTo>
                  <a:lnTo>
                    <a:pt x="864" y="195"/>
                  </a:lnTo>
                  <a:lnTo>
                    <a:pt x="870" y="203"/>
                  </a:lnTo>
                  <a:lnTo>
                    <a:pt x="877" y="208"/>
                  </a:lnTo>
                  <a:lnTo>
                    <a:pt x="883" y="210"/>
                  </a:lnTo>
                  <a:lnTo>
                    <a:pt x="888" y="209"/>
                  </a:lnTo>
                  <a:lnTo>
                    <a:pt x="891" y="207"/>
                  </a:lnTo>
                  <a:lnTo>
                    <a:pt x="893" y="203"/>
                  </a:lnTo>
                  <a:lnTo>
                    <a:pt x="895" y="200"/>
                  </a:lnTo>
                  <a:lnTo>
                    <a:pt x="899" y="197"/>
                  </a:lnTo>
                  <a:lnTo>
                    <a:pt x="907" y="195"/>
                  </a:lnTo>
                  <a:lnTo>
                    <a:pt x="915" y="195"/>
                  </a:lnTo>
                  <a:lnTo>
                    <a:pt x="922" y="198"/>
                  </a:lnTo>
                  <a:lnTo>
                    <a:pt x="928" y="201"/>
                  </a:lnTo>
                  <a:lnTo>
                    <a:pt x="936" y="206"/>
                  </a:lnTo>
                  <a:lnTo>
                    <a:pt x="946" y="210"/>
                  </a:lnTo>
                  <a:lnTo>
                    <a:pt x="956" y="215"/>
                  </a:lnTo>
                  <a:lnTo>
                    <a:pt x="965" y="219"/>
                  </a:lnTo>
                  <a:lnTo>
                    <a:pt x="972" y="221"/>
                  </a:lnTo>
                  <a:lnTo>
                    <a:pt x="979" y="221"/>
                  </a:lnTo>
                  <a:lnTo>
                    <a:pt x="988" y="220"/>
                  </a:lnTo>
                  <a:lnTo>
                    <a:pt x="996" y="219"/>
                  </a:lnTo>
                  <a:lnTo>
                    <a:pt x="1003" y="219"/>
                  </a:lnTo>
                  <a:lnTo>
                    <a:pt x="1008" y="221"/>
                  </a:lnTo>
                  <a:lnTo>
                    <a:pt x="1011" y="224"/>
                  </a:lnTo>
                  <a:lnTo>
                    <a:pt x="1011" y="228"/>
                  </a:lnTo>
                  <a:lnTo>
                    <a:pt x="1010" y="234"/>
                  </a:lnTo>
                  <a:lnTo>
                    <a:pt x="1011" y="242"/>
                  </a:lnTo>
                  <a:lnTo>
                    <a:pt x="1013" y="246"/>
                  </a:lnTo>
                  <a:lnTo>
                    <a:pt x="1016" y="247"/>
                  </a:lnTo>
                  <a:lnTo>
                    <a:pt x="1020" y="248"/>
                  </a:lnTo>
                  <a:lnTo>
                    <a:pt x="1023" y="249"/>
                  </a:lnTo>
                  <a:lnTo>
                    <a:pt x="1027" y="253"/>
                  </a:lnTo>
                  <a:lnTo>
                    <a:pt x="1031" y="258"/>
                  </a:lnTo>
                  <a:lnTo>
                    <a:pt x="1038" y="264"/>
                  </a:lnTo>
                  <a:lnTo>
                    <a:pt x="1047" y="271"/>
                  </a:lnTo>
                  <a:lnTo>
                    <a:pt x="1057" y="279"/>
                  </a:lnTo>
                  <a:lnTo>
                    <a:pt x="1068" y="286"/>
                  </a:lnTo>
                  <a:lnTo>
                    <a:pt x="1078" y="294"/>
                  </a:lnTo>
                  <a:lnTo>
                    <a:pt x="1092" y="304"/>
                  </a:lnTo>
                  <a:lnTo>
                    <a:pt x="1096" y="307"/>
                  </a:lnTo>
                  <a:lnTo>
                    <a:pt x="1101" y="308"/>
                  </a:lnTo>
                  <a:lnTo>
                    <a:pt x="1105" y="306"/>
                  </a:lnTo>
                  <a:lnTo>
                    <a:pt x="1109" y="303"/>
                  </a:lnTo>
                  <a:lnTo>
                    <a:pt x="1115" y="302"/>
                  </a:lnTo>
                  <a:lnTo>
                    <a:pt x="1117" y="302"/>
                  </a:lnTo>
                  <a:lnTo>
                    <a:pt x="1119" y="303"/>
                  </a:lnTo>
                  <a:lnTo>
                    <a:pt x="1120" y="305"/>
                  </a:lnTo>
                  <a:lnTo>
                    <a:pt x="1120" y="306"/>
                  </a:lnTo>
                  <a:lnTo>
                    <a:pt x="1122" y="310"/>
                  </a:lnTo>
                  <a:lnTo>
                    <a:pt x="1123" y="313"/>
                  </a:lnTo>
                  <a:lnTo>
                    <a:pt x="1127" y="317"/>
                  </a:lnTo>
                  <a:lnTo>
                    <a:pt x="1129" y="317"/>
                  </a:lnTo>
                  <a:lnTo>
                    <a:pt x="1130" y="316"/>
                  </a:lnTo>
                  <a:lnTo>
                    <a:pt x="1132" y="315"/>
                  </a:lnTo>
                  <a:lnTo>
                    <a:pt x="1133" y="314"/>
                  </a:lnTo>
                  <a:lnTo>
                    <a:pt x="1134" y="312"/>
                  </a:lnTo>
                  <a:lnTo>
                    <a:pt x="1135" y="311"/>
                  </a:lnTo>
                  <a:lnTo>
                    <a:pt x="1138" y="311"/>
                  </a:lnTo>
                  <a:lnTo>
                    <a:pt x="1142" y="315"/>
                  </a:lnTo>
                  <a:lnTo>
                    <a:pt x="1146" y="323"/>
                  </a:lnTo>
                  <a:lnTo>
                    <a:pt x="1151" y="332"/>
                  </a:lnTo>
                  <a:lnTo>
                    <a:pt x="1154" y="339"/>
                  </a:lnTo>
                  <a:lnTo>
                    <a:pt x="1157" y="342"/>
                  </a:lnTo>
                  <a:lnTo>
                    <a:pt x="1161" y="342"/>
                  </a:lnTo>
                  <a:lnTo>
                    <a:pt x="1166" y="341"/>
                  </a:lnTo>
                  <a:lnTo>
                    <a:pt x="1172" y="340"/>
                  </a:lnTo>
                  <a:lnTo>
                    <a:pt x="1177" y="339"/>
                  </a:lnTo>
                  <a:lnTo>
                    <a:pt x="1185" y="339"/>
                  </a:lnTo>
                  <a:lnTo>
                    <a:pt x="1194" y="342"/>
                  </a:lnTo>
                  <a:lnTo>
                    <a:pt x="1202" y="346"/>
                  </a:lnTo>
                  <a:lnTo>
                    <a:pt x="1206" y="348"/>
                  </a:lnTo>
                  <a:lnTo>
                    <a:pt x="1214" y="350"/>
                  </a:lnTo>
                  <a:lnTo>
                    <a:pt x="1222" y="351"/>
                  </a:lnTo>
                  <a:lnTo>
                    <a:pt x="1229" y="352"/>
                  </a:lnTo>
                  <a:lnTo>
                    <a:pt x="1234" y="353"/>
                  </a:lnTo>
                  <a:lnTo>
                    <a:pt x="1216" y="363"/>
                  </a:lnTo>
                  <a:lnTo>
                    <a:pt x="1208" y="367"/>
                  </a:lnTo>
                  <a:lnTo>
                    <a:pt x="1205" y="370"/>
                  </a:lnTo>
                  <a:lnTo>
                    <a:pt x="1203" y="374"/>
                  </a:lnTo>
                  <a:lnTo>
                    <a:pt x="1205" y="384"/>
                  </a:lnTo>
                  <a:lnTo>
                    <a:pt x="1204" y="390"/>
                  </a:lnTo>
                  <a:lnTo>
                    <a:pt x="1199" y="395"/>
                  </a:lnTo>
                  <a:lnTo>
                    <a:pt x="1191" y="401"/>
                  </a:lnTo>
                  <a:lnTo>
                    <a:pt x="1180" y="407"/>
                  </a:lnTo>
                  <a:lnTo>
                    <a:pt x="1168" y="413"/>
                  </a:lnTo>
                  <a:lnTo>
                    <a:pt x="1157" y="418"/>
                  </a:lnTo>
                  <a:lnTo>
                    <a:pt x="1149" y="422"/>
                  </a:lnTo>
                  <a:lnTo>
                    <a:pt x="1144" y="424"/>
                  </a:lnTo>
                  <a:lnTo>
                    <a:pt x="1140" y="423"/>
                  </a:lnTo>
                  <a:lnTo>
                    <a:pt x="1133" y="416"/>
                  </a:lnTo>
                  <a:lnTo>
                    <a:pt x="1127" y="412"/>
                  </a:lnTo>
                  <a:lnTo>
                    <a:pt x="1120" y="411"/>
                  </a:lnTo>
                  <a:lnTo>
                    <a:pt x="1113" y="411"/>
                  </a:lnTo>
                  <a:lnTo>
                    <a:pt x="1109" y="410"/>
                  </a:lnTo>
                  <a:lnTo>
                    <a:pt x="1107" y="409"/>
                  </a:lnTo>
                  <a:lnTo>
                    <a:pt x="1104" y="408"/>
                  </a:lnTo>
                  <a:lnTo>
                    <a:pt x="1100" y="407"/>
                  </a:lnTo>
                  <a:lnTo>
                    <a:pt x="1092" y="407"/>
                  </a:lnTo>
                  <a:lnTo>
                    <a:pt x="1084" y="408"/>
                  </a:lnTo>
                  <a:lnTo>
                    <a:pt x="1080" y="411"/>
                  </a:lnTo>
                  <a:lnTo>
                    <a:pt x="1077" y="415"/>
                  </a:lnTo>
                  <a:lnTo>
                    <a:pt x="1075" y="420"/>
                  </a:lnTo>
                  <a:lnTo>
                    <a:pt x="1071" y="425"/>
                  </a:lnTo>
                  <a:lnTo>
                    <a:pt x="1066" y="431"/>
                  </a:lnTo>
                  <a:lnTo>
                    <a:pt x="1059" y="435"/>
                  </a:lnTo>
                  <a:lnTo>
                    <a:pt x="1051" y="437"/>
                  </a:lnTo>
                  <a:lnTo>
                    <a:pt x="1035" y="437"/>
                  </a:lnTo>
                  <a:lnTo>
                    <a:pt x="1029" y="438"/>
                  </a:lnTo>
                  <a:lnTo>
                    <a:pt x="1025" y="441"/>
                  </a:lnTo>
                  <a:lnTo>
                    <a:pt x="1024" y="447"/>
                  </a:lnTo>
                  <a:lnTo>
                    <a:pt x="1026" y="456"/>
                  </a:lnTo>
                  <a:lnTo>
                    <a:pt x="1029" y="467"/>
                  </a:lnTo>
                  <a:lnTo>
                    <a:pt x="1039" y="492"/>
                  </a:lnTo>
                  <a:lnTo>
                    <a:pt x="1044" y="503"/>
                  </a:lnTo>
                  <a:lnTo>
                    <a:pt x="1048" y="512"/>
                  </a:lnTo>
                  <a:lnTo>
                    <a:pt x="1051" y="518"/>
                  </a:lnTo>
                  <a:lnTo>
                    <a:pt x="1055" y="522"/>
                  </a:lnTo>
                  <a:lnTo>
                    <a:pt x="1060" y="526"/>
                  </a:lnTo>
                  <a:lnTo>
                    <a:pt x="1066" y="528"/>
                  </a:lnTo>
                  <a:lnTo>
                    <a:pt x="1070" y="531"/>
                  </a:lnTo>
                  <a:lnTo>
                    <a:pt x="1073" y="534"/>
                  </a:lnTo>
                  <a:lnTo>
                    <a:pt x="1072" y="537"/>
                  </a:lnTo>
                  <a:lnTo>
                    <a:pt x="1069" y="545"/>
                  </a:lnTo>
                  <a:lnTo>
                    <a:pt x="1071" y="555"/>
                  </a:lnTo>
                  <a:lnTo>
                    <a:pt x="1077" y="567"/>
                  </a:lnTo>
                  <a:lnTo>
                    <a:pt x="1080" y="572"/>
                  </a:lnTo>
                  <a:lnTo>
                    <a:pt x="1080" y="574"/>
                  </a:lnTo>
                  <a:lnTo>
                    <a:pt x="1080" y="576"/>
                  </a:lnTo>
                  <a:lnTo>
                    <a:pt x="1078" y="577"/>
                  </a:lnTo>
                  <a:lnTo>
                    <a:pt x="1075" y="580"/>
                  </a:lnTo>
                  <a:lnTo>
                    <a:pt x="1070" y="586"/>
                  </a:lnTo>
                  <a:lnTo>
                    <a:pt x="1068" y="592"/>
                  </a:lnTo>
                  <a:lnTo>
                    <a:pt x="1071" y="599"/>
                  </a:lnTo>
                  <a:lnTo>
                    <a:pt x="1076" y="606"/>
                  </a:lnTo>
                  <a:lnTo>
                    <a:pt x="1081" y="613"/>
                  </a:lnTo>
                  <a:lnTo>
                    <a:pt x="1088" y="619"/>
                  </a:lnTo>
                  <a:lnTo>
                    <a:pt x="1093" y="624"/>
                  </a:lnTo>
                  <a:lnTo>
                    <a:pt x="1095" y="628"/>
                  </a:lnTo>
                  <a:lnTo>
                    <a:pt x="1095" y="632"/>
                  </a:lnTo>
                  <a:lnTo>
                    <a:pt x="1094" y="633"/>
                  </a:lnTo>
                  <a:lnTo>
                    <a:pt x="1092" y="634"/>
                  </a:lnTo>
                  <a:lnTo>
                    <a:pt x="1089" y="635"/>
                  </a:lnTo>
                  <a:lnTo>
                    <a:pt x="1086" y="635"/>
                  </a:lnTo>
                  <a:lnTo>
                    <a:pt x="1080" y="637"/>
                  </a:lnTo>
                  <a:lnTo>
                    <a:pt x="1079" y="639"/>
                  </a:lnTo>
                  <a:lnTo>
                    <a:pt x="1080" y="642"/>
                  </a:lnTo>
                  <a:lnTo>
                    <a:pt x="1083" y="646"/>
                  </a:lnTo>
                  <a:lnTo>
                    <a:pt x="1086" y="650"/>
                  </a:lnTo>
                  <a:lnTo>
                    <a:pt x="1089" y="655"/>
                  </a:lnTo>
                  <a:lnTo>
                    <a:pt x="1089" y="664"/>
                  </a:lnTo>
                  <a:lnTo>
                    <a:pt x="1091" y="670"/>
                  </a:lnTo>
                  <a:lnTo>
                    <a:pt x="1094" y="675"/>
                  </a:lnTo>
                  <a:lnTo>
                    <a:pt x="1096" y="681"/>
                  </a:lnTo>
                  <a:lnTo>
                    <a:pt x="1095" y="686"/>
                  </a:lnTo>
                  <a:lnTo>
                    <a:pt x="1092" y="693"/>
                  </a:lnTo>
                  <a:lnTo>
                    <a:pt x="1093" y="701"/>
                  </a:lnTo>
                  <a:lnTo>
                    <a:pt x="1097" y="719"/>
                  </a:lnTo>
                  <a:lnTo>
                    <a:pt x="1097" y="725"/>
                  </a:lnTo>
                  <a:lnTo>
                    <a:pt x="1093" y="729"/>
                  </a:lnTo>
                  <a:lnTo>
                    <a:pt x="1088" y="733"/>
                  </a:lnTo>
                  <a:lnTo>
                    <a:pt x="1075" y="741"/>
                  </a:lnTo>
                  <a:lnTo>
                    <a:pt x="1070" y="745"/>
                  </a:lnTo>
                  <a:lnTo>
                    <a:pt x="1070" y="748"/>
                  </a:lnTo>
                  <a:lnTo>
                    <a:pt x="1072" y="750"/>
                  </a:lnTo>
                  <a:lnTo>
                    <a:pt x="1075" y="754"/>
                  </a:lnTo>
                  <a:lnTo>
                    <a:pt x="1076" y="757"/>
                  </a:lnTo>
                  <a:lnTo>
                    <a:pt x="1073" y="760"/>
                  </a:lnTo>
                  <a:lnTo>
                    <a:pt x="1065" y="761"/>
                  </a:lnTo>
                  <a:lnTo>
                    <a:pt x="1054" y="762"/>
                  </a:lnTo>
                  <a:lnTo>
                    <a:pt x="1041" y="763"/>
                  </a:lnTo>
                  <a:lnTo>
                    <a:pt x="1027" y="764"/>
                  </a:lnTo>
                  <a:lnTo>
                    <a:pt x="1015" y="765"/>
                  </a:lnTo>
                  <a:lnTo>
                    <a:pt x="1005" y="767"/>
                  </a:lnTo>
                  <a:lnTo>
                    <a:pt x="1000" y="769"/>
                  </a:lnTo>
                  <a:lnTo>
                    <a:pt x="996" y="772"/>
                  </a:lnTo>
                  <a:lnTo>
                    <a:pt x="986" y="778"/>
                  </a:lnTo>
                  <a:lnTo>
                    <a:pt x="981" y="780"/>
                  </a:lnTo>
                  <a:lnTo>
                    <a:pt x="979" y="784"/>
                  </a:lnTo>
                  <a:lnTo>
                    <a:pt x="980" y="788"/>
                  </a:lnTo>
                  <a:lnTo>
                    <a:pt x="984" y="798"/>
                  </a:lnTo>
                  <a:lnTo>
                    <a:pt x="987" y="808"/>
                  </a:lnTo>
                  <a:lnTo>
                    <a:pt x="989" y="818"/>
                  </a:lnTo>
                  <a:lnTo>
                    <a:pt x="991" y="825"/>
                  </a:lnTo>
                  <a:lnTo>
                    <a:pt x="992" y="832"/>
                  </a:lnTo>
                  <a:lnTo>
                    <a:pt x="990" y="838"/>
                  </a:lnTo>
                  <a:lnTo>
                    <a:pt x="978" y="850"/>
                  </a:lnTo>
                  <a:lnTo>
                    <a:pt x="976" y="858"/>
                  </a:lnTo>
                  <a:lnTo>
                    <a:pt x="977" y="866"/>
                  </a:lnTo>
                  <a:lnTo>
                    <a:pt x="979" y="876"/>
                  </a:lnTo>
                  <a:lnTo>
                    <a:pt x="983" y="886"/>
                  </a:lnTo>
                  <a:lnTo>
                    <a:pt x="990" y="894"/>
                  </a:lnTo>
                  <a:lnTo>
                    <a:pt x="996" y="903"/>
                  </a:lnTo>
                  <a:lnTo>
                    <a:pt x="999" y="912"/>
                  </a:lnTo>
                  <a:lnTo>
                    <a:pt x="1000" y="923"/>
                  </a:lnTo>
                  <a:lnTo>
                    <a:pt x="1003" y="937"/>
                  </a:lnTo>
                  <a:lnTo>
                    <a:pt x="1000" y="937"/>
                  </a:lnTo>
                  <a:lnTo>
                    <a:pt x="996" y="939"/>
                  </a:lnTo>
                  <a:lnTo>
                    <a:pt x="994" y="943"/>
                  </a:lnTo>
                  <a:lnTo>
                    <a:pt x="995" y="948"/>
                  </a:lnTo>
                  <a:lnTo>
                    <a:pt x="997" y="953"/>
                  </a:lnTo>
                  <a:lnTo>
                    <a:pt x="998" y="958"/>
                  </a:lnTo>
                  <a:lnTo>
                    <a:pt x="997" y="961"/>
                  </a:lnTo>
                  <a:lnTo>
                    <a:pt x="993" y="963"/>
                  </a:lnTo>
                  <a:lnTo>
                    <a:pt x="985" y="963"/>
                  </a:lnTo>
                  <a:lnTo>
                    <a:pt x="977" y="964"/>
                  </a:lnTo>
                  <a:lnTo>
                    <a:pt x="970" y="966"/>
                  </a:lnTo>
                  <a:lnTo>
                    <a:pt x="964" y="967"/>
                  </a:lnTo>
                  <a:lnTo>
                    <a:pt x="957" y="964"/>
                  </a:lnTo>
                  <a:lnTo>
                    <a:pt x="950" y="960"/>
                  </a:lnTo>
                  <a:lnTo>
                    <a:pt x="943" y="957"/>
                  </a:lnTo>
                  <a:lnTo>
                    <a:pt x="936" y="955"/>
                  </a:lnTo>
                  <a:lnTo>
                    <a:pt x="931" y="957"/>
                  </a:lnTo>
                  <a:lnTo>
                    <a:pt x="926" y="963"/>
                  </a:lnTo>
                  <a:lnTo>
                    <a:pt x="922" y="970"/>
                  </a:lnTo>
                  <a:lnTo>
                    <a:pt x="917" y="979"/>
                  </a:lnTo>
                  <a:lnTo>
                    <a:pt x="911" y="987"/>
                  </a:lnTo>
                  <a:lnTo>
                    <a:pt x="903" y="994"/>
                  </a:lnTo>
                  <a:lnTo>
                    <a:pt x="896" y="997"/>
                  </a:lnTo>
                  <a:lnTo>
                    <a:pt x="881" y="997"/>
                  </a:lnTo>
                  <a:lnTo>
                    <a:pt x="876" y="999"/>
                  </a:lnTo>
                  <a:lnTo>
                    <a:pt x="874" y="1002"/>
                  </a:lnTo>
                  <a:lnTo>
                    <a:pt x="872" y="1014"/>
                  </a:lnTo>
                  <a:lnTo>
                    <a:pt x="871" y="1019"/>
                  </a:lnTo>
                  <a:lnTo>
                    <a:pt x="867" y="1022"/>
                  </a:lnTo>
                  <a:lnTo>
                    <a:pt x="861" y="1024"/>
                  </a:lnTo>
                  <a:lnTo>
                    <a:pt x="845" y="1024"/>
                  </a:lnTo>
                  <a:lnTo>
                    <a:pt x="837" y="1025"/>
                  </a:lnTo>
                  <a:lnTo>
                    <a:pt x="829" y="1027"/>
                  </a:lnTo>
                  <a:lnTo>
                    <a:pt x="822" y="1031"/>
                  </a:lnTo>
                  <a:lnTo>
                    <a:pt x="816" y="1037"/>
                  </a:lnTo>
                  <a:lnTo>
                    <a:pt x="814" y="1032"/>
                  </a:lnTo>
                  <a:lnTo>
                    <a:pt x="812" y="1030"/>
                  </a:lnTo>
                  <a:lnTo>
                    <a:pt x="809" y="1027"/>
                  </a:lnTo>
                  <a:lnTo>
                    <a:pt x="806" y="1025"/>
                  </a:lnTo>
                  <a:lnTo>
                    <a:pt x="803" y="1025"/>
                  </a:lnTo>
                  <a:lnTo>
                    <a:pt x="800" y="1026"/>
                  </a:lnTo>
                  <a:lnTo>
                    <a:pt x="797" y="1029"/>
                  </a:lnTo>
                  <a:lnTo>
                    <a:pt x="797" y="1031"/>
                  </a:lnTo>
                  <a:lnTo>
                    <a:pt x="796" y="1033"/>
                  </a:lnTo>
                  <a:lnTo>
                    <a:pt x="796" y="1035"/>
                  </a:lnTo>
                  <a:lnTo>
                    <a:pt x="795" y="1037"/>
                  </a:lnTo>
                  <a:lnTo>
                    <a:pt x="793" y="1039"/>
                  </a:lnTo>
                  <a:lnTo>
                    <a:pt x="792" y="1039"/>
                  </a:lnTo>
                  <a:lnTo>
                    <a:pt x="789" y="1038"/>
                  </a:lnTo>
                  <a:lnTo>
                    <a:pt x="787" y="1037"/>
                  </a:lnTo>
                  <a:lnTo>
                    <a:pt x="784" y="1035"/>
                  </a:lnTo>
                  <a:lnTo>
                    <a:pt x="782" y="1033"/>
                  </a:lnTo>
                  <a:lnTo>
                    <a:pt x="779" y="1032"/>
                  </a:lnTo>
                  <a:lnTo>
                    <a:pt x="777" y="1032"/>
                  </a:lnTo>
                  <a:lnTo>
                    <a:pt x="771" y="1035"/>
                  </a:lnTo>
                  <a:lnTo>
                    <a:pt x="765" y="1040"/>
                  </a:lnTo>
                  <a:lnTo>
                    <a:pt x="759" y="1043"/>
                  </a:lnTo>
                  <a:lnTo>
                    <a:pt x="757" y="1046"/>
                  </a:lnTo>
                  <a:lnTo>
                    <a:pt x="757" y="1051"/>
                  </a:lnTo>
                  <a:lnTo>
                    <a:pt x="760" y="1057"/>
                  </a:lnTo>
                  <a:lnTo>
                    <a:pt x="764" y="1060"/>
                  </a:lnTo>
                  <a:lnTo>
                    <a:pt x="767" y="1061"/>
                  </a:lnTo>
                  <a:lnTo>
                    <a:pt x="770" y="1063"/>
                  </a:lnTo>
                  <a:lnTo>
                    <a:pt x="772" y="1064"/>
                  </a:lnTo>
                  <a:lnTo>
                    <a:pt x="773" y="1066"/>
                  </a:lnTo>
                  <a:lnTo>
                    <a:pt x="772" y="1067"/>
                  </a:lnTo>
                  <a:lnTo>
                    <a:pt x="771" y="1069"/>
                  </a:lnTo>
                  <a:lnTo>
                    <a:pt x="770" y="1070"/>
                  </a:lnTo>
                  <a:lnTo>
                    <a:pt x="768" y="1074"/>
                  </a:lnTo>
                  <a:lnTo>
                    <a:pt x="766" y="1075"/>
                  </a:lnTo>
                  <a:lnTo>
                    <a:pt x="765" y="1077"/>
                  </a:lnTo>
                  <a:lnTo>
                    <a:pt x="763" y="1078"/>
                  </a:lnTo>
                  <a:lnTo>
                    <a:pt x="759" y="1078"/>
                  </a:lnTo>
                  <a:lnTo>
                    <a:pt x="756" y="1076"/>
                  </a:lnTo>
                  <a:lnTo>
                    <a:pt x="749" y="1071"/>
                  </a:lnTo>
                  <a:lnTo>
                    <a:pt x="740" y="1066"/>
                  </a:lnTo>
                  <a:lnTo>
                    <a:pt x="731" y="1062"/>
                  </a:lnTo>
                  <a:lnTo>
                    <a:pt x="725" y="1059"/>
                  </a:lnTo>
                  <a:lnTo>
                    <a:pt x="720" y="1057"/>
                  </a:lnTo>
                  <a:lnTo>
                    <a:pt x="710" y="1051"/>
                  </a:lnTo>
                  <a:lnTo>
                    <a:pt x="707" y="1049"/>
                  </a:lnTo>
                  <a:lnTo>
                    <a:pt x="708" y="1048"/>
                  </a:lnTo>
                  <a:lnTo>
                    <a:pt x="717" y="1048"/>
                  </a:lnTo>
                  <a:lnTo>
                    <a:pt x="718" y="1047"/>
                  </a:lnTo>
                  <a:lnTo>
                    <a:pt x="720" y="1046"/>
                  </a:lnTo>
                  <a:lnTo>
                    <a:pt x="721" y="1044"/>
                  </a:lnTo>
                  <a:lnTo>
                    <a:pt x="721" y="1040"/>
                  </a:lnTo>
                  <a:lnTo>
                    <a:pt x="722" y="1036"/>
                  </a:lnTo>
                  <a:lnTo>
                    <a:pt x="725" y="1034"/>
                  </a:lnTo>
                  <a:lnTo>
                    <a:pt x="728" y="1033"/>
                  </a:lnTo>
                  <a:lnTo>
                    <a:pt x="732" y="1033"/>
                  </a:lnTo>
                  <a:lnTo>
                    <a:pt x="736" y="1031"/>
                  </a:lnTo>
                  <a:lnTo>
                    <a:pt x="738" y="1027"/>
                  </a:lnTo>
                  <a:lnTo>
                    <a:pt x="738" y="1019"/>
                  </a:lnTo>
                  <a:lnTo>
                    <a:pt x="735" y="1011"/>
                  </a:lnTo>
                  <a:lnTo>
                    <a:pt x="731" y="1001"/>
                  </a:lnTo>
                  <a:lnTo>
                    <a:pt x="728" y="992"/>
                  </a:lnTo>
                  <a:lnTo>
                    <a:pt x="728" y="984"/>
                  </a:lnTo>
                  <a:lnTo>
                    <a:pt x="731" y="977"/>
                  </a:lnTo>
                  <a:lnTo>
                    <a:pt x="733" y="971"/>
                  </a:lnTo>
                  <a:lnTo>
                    <a:pt x="735" y="968"/>
                  </a:lnTo>
                  <a:lnTo>
                    <a:pt x="738" y="964"/>
                  </a:lnTo>
                  <a:lnTo>
                    <a:pt x="739" y="963"/>
                  </a:lnTo>
                  <a:lnTo>
                    <a:pt x="741" y="962"/>
                  </a:lnTo>
                  <a:lnTo>
                    <a:pt x="742" y="963"/>
                  </a:lnTo>
                  <a:lnTo>
                    <a:pt x="744" y="964"/>
                  </a:lnTo>
                  <a:lnTo>
                    <a:pt x="745" y="965"/>
                  </a:lnTo>
                  <a:lnTo>
                    <a:pt x="746" y="965"/>
                  </a:lnTo>
                  <a:lnTo>
                    <a:pt x="747" y="966"/>
                  </a:lnTo>
                  <a:lnTo>
                    <a:pt x="748" y="965"/>
                  </a:lnTo>
                  <a:lnTo>
                    <a:pt x="749" y="963"/>
                  </a:lnTo>
                  <a:lnTo>
                    <a:pt x="749" y="957"/>
                  </a:lnTo>
                  <a:lnTo>
                    <a:pt x="746" y="951"/>
                  </a:lnTo>
                  <a:lnTo>
                    <a:pt x="740" y="945"/>
                  </a:lnTo>
                  <a:lnTo>
                    <a:pt x="731" y="939"/>
                  </a:lnTo>
                  <a:lnTo>
                    <a:pt x="724" y="937"/>
                  </a:lnTo>
                  <a:lnTo>
                    <a:pt x="717" y="938"/>
                  </a:lnTo>
                  <a:lnTo>
                    <a:pt x="711" y="939"/>
                  </a:lnTo>
                  <a:lnTo>
                    <a:pt x="707" y="939"/>
                  </a:lnTo>
                  <a:lnTo>
                    <a:pt x="704" y="937"/>
                  </a:lnTo>
                  <a:lnTo>
                    <a:pt x="704" y="935"/>
                  </a:lnTo>
                  <a:lnTo>
                    <a:pt x="704" y="929"/>
                  </a:lnTo>
                  <a:lnTo>
                    <a:pt x="704" y="927"/>
                  </a:lnTo>
                  <a:lnTo>
                    <a:pt x="704" y="924"/>
                  </a:lnTo>
                  <a:lnTo>
                    <a:pt x="702" y="924"/>
                  </a:lnTo>
                  <a:lnTo>
                    <a:pt x="684" y="930"/>
                  </a:lnTo>
                  <a:lnTo>
                    <a:pt x="674" y="932"/>
                  </a:lnTo>
                  <a:lnTo>
                    <a:pt x="674" y="911"/>
                  </a:lnTo>
                  <a:lnTo>
                    <a:pt x="675" y="905"/>
                  </a:lnTo>
                  <a:lnTo>
                    <a:pt x="678" y="897"/>
                  </a:lnTo>
                  <a:lnTo>
                    <a:pt x="682" y="890"/>
                  </a:lnTo>
                  <a:lnTo>
                    <a:pt x="688" y="885"/>
                  </a:lnTo>
                  <a:lnTo>
                    <a:pt x="691" y="880"/>
                  </a:lnTo>
                  <a:lnTo>
                    <a:pt x="693" y="873"/>
                  </a:lnTo>
                  <a:lnTo>
                    <a:pt x="693" y="864"/>
                  </a:lnTo>
                  <a:lnTo>
                    <a:pt x="694" y="855"/>
                  </a:lnTo>
                  <a:lnTo>
                    <a:pt x="694" y="847"/>
                  </a:lnTo>
                  <a:lnTo>
                    <a:pt x="695" y="843"/>
                  </a:lnTo>
                  <a:lnTo>
                    <a:pt x="694" y="842"/>
                  </a:lnTo>
                  <a:lnTo>
                    <a:pt x="690" y="841"/>
                  </a:lnTo>
                  <a:lnTo>
                    <a:pt x="670" y="841"/>
                  </a:lnTo>
                  <a:lnTo>
                    <a:pt x="665" y="840"/>
                  </a:lnTo>
                  <a:lnTo>
                    <a:pt x="664" y="838"/>
                  </a:lnTo>
                  <a:lnTo>
                    <a:pt x="664" y="832"/>
                  </a:lnTo>
                  <a:lnTo>
                    <a:pt x="660" y="826"/>
                  </a:lnTo>
                  <a:lnTo>
                    <a:pt x="654" y="821"/>
                  </a:lnTo>
                  <a:lnTo>
                    <a:pt x="647" y="818"/>
                  </a:lnTo>
                  <a:lnTo>
                    <a:pt x="644" y="816"/>
                  </a:lnTo>
                  <a:lnTo>
                    <a:pt x="643" y="812"/>
                  </a:lnTo>
                  <a:lnTo>
                    <a:pt x="645" y="807"/>
                  </a:lnTo>
                  <a:lnTo>
                    <a:pt x="646" y="801"/>
                  </a:lnTo>
                  <a:lnTo>
                    <a:pt x="647" y="796"/>
                  </a:lnTo>
                  <a:lnTo>
                    <a:pt x="646" y="793"/>
                  </a:lnTo>
                  <a:lnTo>
                    <a:pt x="641" y="792"/>
                  </a:lnTo>
                  <a:lnTo>
                    <a:pt x="636" y="794"/>
                  </a:lnTo>
                  <a:lnTo>
                    <a:pt x="631" y="795"/>
                  </a:lnTo>
                  <a:lnTo>
                    <a:pt x="625" y="794"/>
                  </a:lnTo>
                  <a:lnTo>
                    <a:pt x="622" y="790"/>
                  </a:lnTo>
                  <a:lnTo>
                    <a:pt x="623" y="785"/>
                  </a:lnTo>
                  <a:lnTo>
                    <a:pt x="625" y="779"/>
                  </a:lnTo>
                  <a:lnTo>
                    <a:pt x="626" y="773"/>
                  </a:lnTo>
                  <a:lnTo>
                    <a:pt x="626" y="768"/>
                  </a:lnTo>
                  <a:lnTo>
                    <a:pt x="624" y="763"/>
                  </a:lnTo>
                  <a:lnTo>
                    <a:pt x="625" y="758"/>
                  </a:lnTo>
                  <a:lnTo>
                    <a:pt x="626" y="753"/>
                  </a:lnTo>
                  <a:lnTo>
                    <a:pt x="624" y="747"/>
                  </a:lnTo>
                  <a:lnTo>
                    <a:pt x="619" y="741"/>
                  </a:lnTo>
                  <a:lnTo>
                    <a:pt x="613" y="735"/>
                  </a:lnTo>
                  <a:lnTo>
                    <a:pt x="610" y="731"/>
                  </a:lnTo>
                  <a:lnTo>
                    <a:pt x="607" y="729"/>
                  </a:lnTo>
                  <a:lnTo>
                    <a:pt x="600" y="728"/>
                  </a:lnTo>
                  <a:lnTo>
                    <a:pt x="590" y="727"/>
                  </a:lnTo>
                  <a:lnTo>
                    <a:pt x="581" y="727"/>
                  </a:lnTo>
                  <a:lnTo>
                    <a:pt x="578" y="726"/>
                  </a:lnTo>
                  <a:lnTo>
                    <a:pt x="576" y="723"/>
                  </a:lnTo>
                  <a:lnTo>
                    <a:pt x="576" y="718"/>
                  </a:lnTo>
                  <a:lnTo>
                    <a:pt x="577" y="713"/>
                  </a:lnTo>
                  <a:lnTo>
                    <a:pt x="577" y="705"/>
                  </a:lnTo>
                  <a:lnTo>
                    <a:pt x="578" y="702"/>
                  </a:lnTo>
                  <a:lnTo>
                    <a:pt x="581" y="700"/>
                  </a:lnTo>
                  <a:lnTo>
                    <a:pt x="591" y="696"/>
                  </a:lnTo>
                  <a:lnTo>
                    <a:pt x="594" y="694"/>
                  </a:lnTo>
                  <a:lnTo>
                    <a:pt x="594" y="690"/>
                  </a:lnTo>
                  <a:lnTo>
                    <a:pt x="592" y="685"/>
                  </a:lnTo>
                  <a:lnTo>
                    <a:pt x="588" y="680"/>
                  </a:lnTo>
                  <a:lnTo>
                    <a:pt x="583" y="674"/>
                  </a:lnTo>
                  <a:lnTo>
                    <a:pt x="580" y="666"/>
                  </a:lnTo>
                  <a:lnTo>
                    <a:pt x="579" y="657"/>
                  </a:lnTo>
                  <a:lnTo>
                    <a:pt x="579" y="643"/>
                  </a:lnTo>
                  <a:lnTo>
                    <a:pt x="580" y="641"/>
                  </a:lnTo>
                  <a:lnTo>
                    <a:pt x="584" y="640"/>
                  </a:lnTo>
                  <a:lnTo>
                    <a:pt x="589" y="639"/>
                  </a:lnTo>
                  <a:lnTo>
                    <a:pt x="595" y="637"/>
                  </a:lnTo>
                  <a:lnTo>
                    <a:pt x="601" y="633"/>
                  </a:lnTo>
                  <a:lnTo>
                    <a:pt x="605" y="627"/>
                  </a:lnTo>
                  <a:lnTo>
                    <a:pt x="608" y="620"/>
                  </a:lnTo>
                  <a:lnTo>
                    <a:pt x="610" y="610"/>
                  </a:lnTo>
                  <a:lnTo>
                    <a:pt x="611" y="599"/>
                  </a:lnTo>
                  <a:lnTo>
                    <a:pt x="611" y="590"/>
                  </a:lnTo>
                  <a:lnTo>
                    <a:pt x="610" y="582"/>
                  </a:lnTo>
                  <a:lnTo>
                    <a:pt x="606" y="578"/>
                  </a:lnTo>
                  <a:lnTo>
                    <a:pt x="600" y="577"/>
                  </a:lnTo>
                  <a:lnTo>
                    <a:pt x="594" y="581"/>
                  </a:lnTo>
                  <a:lnTo>
                    <a:pt x="587" y="587"/>
                  </a:lnTo>
                  <a:lnTo>
                    <a:pt x="581" y="595"/>
                  </a:lnTo>
                  <a:lnTo>
                    <a:pt x="577" y="603"/>
                  </a:lnTo>
                  <a:lnTo>
                    <a:pt x="573" y="609"/>
                  </a:lnTo>
                  <a:lnTo>
                    <a:pt x="567" y="613"/>
                  </a:lnTo>
                  <a:lnTo>
                    <a:pt x="557" y="616"/>
                  </a:lnTo>
                  <a:lnTo>
                    <a:pt x="545" y="618"/>
                  </a:lnTo>
                  <a:lnTo>
                    <a:pt x="523" y="620"/>
                  </a:lnTo>
                  <a:lnTo>
                    <a:pt x="517" y="620"/>
                  </a:lnTo>
                  <a:lnTo>
                    <a:pt x="513" y="618"/>
                  </a:lnTo>
                  <a:lnTo>
                    <a:pt x="510" y="612"/>
                  </a:lnTo>
                  <a:lnTo>
                    <a:pt x="508" y="603"/>
                  </a:lnTo>
                  <a:lnTo>
                    <a:pt x="506" y="595"/>
                  </a:lnTo>
                  <a:lnTo>
                    <a:pt x="505" y="587"/>
                  </a:lnTo>
                  <a:lnTo>
                    <a:pt x="505" y="581"/>
                  </a:lnTo>
                  <a:lnTo>
                    <a:pt x="503" y="576"/>
                  </a:lnTo>
                  <a:lnTo>
                    <a:pt x="498" y="571"/>
                  </a:lnTo>
                  <a:lnTo>
                    <a:pt x="491" y="568"/>
                  </a:lnTo>
                  <a:lnTo>
                    <a:pt x="483" y="569"/>
                  </a:lnTo>
                  <a:lnTo>
                    <a:pt x="476" y="571"/>
                  </a:lnTo>
                  <a:lnTo>
                    <a:pt x="470" y="572"/>
                  </a:lnTo>
                  <a:lnTo>
                    <a:pt x="463" y="573"/>
                  </a:lnTo>
                  <a:lnTo>
                    <a:pt x="453" y="574"/>
                  </a:lnTo>
                  <a:lnTo>
                    <a:pt x="447" y="575"/>
                  </a:lnTo>
                  <a:lnTo>
                    <a:pt x="444" y="578"/>
                  </a:lnTo>
                  <a:lnTo>
                    <a:pt x="443" y="582"/>
                  </a:lnTo>
                  <a:lnTo>
                    <a:pt x="444" y="587"/>
                  </a:lnTo>
                  <a:lnTo>
                    <a:pt x="444" y="591"/>
                  </a:lnTo>
                  <a:lnTo>
                    <a:pt x="443" y="596"/>
                  </a:lnTo>
                  <a:lnTo>
                    <a:pt x="440" y="600"/>
                  </a:lnTo>
                  <a:lnTo>
                    <a:pt x="436" y="599"/>
                  </a:lnTo>
                  <a:lnTo>
                    <a:pt x="430" y="596"/>
                  </a:lnTo>
                  <a:lnTo>
                    <a:pt x="421" y="592"/>
                  </a:lnTo>
                  <a:lnTo>
                    <a:pt x="417" y="591"/>
                  </a:lnTo>
                  <a:lnTo>
                    <a:pt x="414" y="591"/>
                  </a:lnTo>
                  <a:lnTo>
                    <a:pt x="412" y="592"/>
                  </a:lnTo>
                  <a:lnTo>
                    <a:pt x="411" y="592"/>
                  </a:lnTo>
                  <a:lnTo>
                    <a:pt x="410" y="594"/>
                  </a:lnTo>
                  <a:lnTo>
                    <a:pt x="410" y="595"/>
                  </a:lnTo>
                  <a:lnTo>
                    <a:pt x="409" y="597"/>
                  </a:lnTo>
                  <a:lnTo>
                    <a:pt x="409" y="606"/>
                  </a:lnTo>
                  <a:lnTo>
                    <a:pt x="411" y="611"/>
                  </a:lnTo>
                  <a:lnTo>
                    <a:pt x="417" y="615"/>
                  </a:lnTo>
                  <a:lnTo>
                    <a:pt x="425" y="620"/>
                  </a:lnTo>
                  <a:lnTo>
                    <a:pt x="434" y="626"/>
                  </a:lnTo>
                  <a:lnTo>
                    <a:pt x="441" y="634"/>
                  </a:lnTo>
                  <a:lnTo>
                    <a:pt x="445" y="643"/>
                  </a:lnTo>
                  <a:lnTo>
                    <a:pt x="446" y="654"/>
                  </a:lnTo>
                  <a:lnTo>
                    <a:pt x="444" y="676"/>
                  </a:lnTo>
                  <a:lnTo>
                    <a:pt x="441" y="688"/>
                  </a:lnTo>
                  <a:lnTo>
                    <a:pt x="442" y="691"/>
                  </a:lnTo>
                  <a:lnTo>
                    <a:pt x="445" y="695"/>
                  </a:lnTo>
                  <a:lnTo>
                    <a:pt x="448" y="701"/>
                  </a:lnTo>
                  <a:lnTo>
                    <a:pt x="450" y="706"/>
                  </a:lnTo>
                  <a:lnTo>
                    <a:pt x="449" y="711"/>
                  </a:lnTo>
                  <a:lnTo>
                    <a:pt x="444" y="716"/>
                  </a:lnTo>
                  <a:lnTo>
                    <a:pt x="437" y="722"/>
                  </a:lnTo>
                  <a:lnTo>
                    <a:pt x="429" y="729"/>
                  </a:lnTo>
                  <a:lnTo>
                    <a:pt x="424" y="733"/>
                  </a:lnTo>
                  <a:lnTo>
                    <a:pt x="421" y="733"/>
                  </a:lnTo>
                  <a:lnTo>
                    <a:pt x="417" y="731"/>
                  </a:lnTo>
                  <a:lnTo>
                    <a:pt x="411" y="729"/>
                  </a:lnTo>
                  <a:lnTo>
                    <a:pt x="401" y="727"/>
                  </a:lnTo>
                  <a:lnTo>
                    <a:pt x="393" y="727"/>
                  </a:lnTo>
                  <a:lnTo>
                    <a:pt x="387" y="728"/>
                  </a:lnTo>
                  <a:lnTo>
                    <a:pt x="385" y="730"/>
                  </a:lnTo>
                  <a:lnTo>
                    <a:pt x="381" y="736"/>
                  </a:lnTo>
                  <a:lnTo>
                    <a:pt x="378" y="739"/>
                  </a:lnTo>
                  <a:lnTo>
                    <a:pt x="370" y="743"/>
                  </a:lnTo>
                  <a:lnTo>
                    <a:pt x="359" y="745"/>
                  </a:lnTo>
                  <a:lnTo>
                    <a:pt x="349" y="746"/>
                  </a:lnTo>
                  <a:lnTo>
                    <a:pt x="340" y="746"/>
                  </a:lnTo>
                  <a:lnTo>
                    <a:pt x="334" y="748"/>
                  </a:lnTo>
                  <a:lnTo>
                    <a:pt x="329" y="753"/>
                  </a:lnTo>
                  <a:lnTo>
                    <a:pt x="324" y="758"/>
                  </a:lnTo>
                  <a:lnTo>
                    <a:pt x="318" y="763"/>
                  </a:lnTo>
                  <a:lnTo>
                    <a:pt x="312" y="763"/>
                  </a:lnTo>
                  <a:lnTo>
                    <a:pt x="307" y="758"/>
                  </a:lnTo>
                  <a:lnTo>
                    <a:pt x="303" y="750"/>
                  </a:lnTo>
                  <a:lnTo>
                    <a:pt x="300" y="741"/>
                  </a:lnTo>
                  <a:lnTo>
                    <a:pt x="300" y="735"/>
                  </a:lnTo>
                  <a:lnTo>
                    <a:pt x="303" y="731"/>
                  </a:lnTo>
                  <a:lnTo>
                    <a:pt x="308" y="729"/>
                  </a:lnTo>
                  <a:lnTo>
                    <a:pt x="315" y="728"/>
                  </a:lnTo>
                  <a:lnTo>
                    <a:pt x="327" y="728"/>
                  </a:lnTo>
                  <a:lnTo>
                    <a:pt x="329" y="727"/>
                  </a:lnTo>
                  <a:lnTo>
                    <a:pt x="329" y="723"/>
                  </a:lnTo>
                  <a:lnTo>
                    <a:pt x="327" y="719"/>
                  </a:lnTo>
                  <a:lnTo>
                    <a:pt x="327" y="715"/>
                  </a:lnTo>
                  <a:lnTo>
                    <a:pt x="328" y="713"/>
                  </a:lnTo>
                  <a:lnTo>
                    <a:pt x="329" y="708"/>
                  </a:lnTo>
                  <a:lnTo>
                    <a:pt x="329" y="705"/>
                  </a:lnTo>
                  <a:lnTo>
                    <a:pt x="323" y="703"/>
                  </a:lnTo>
                  <a:lnTo>
                    <a:pt x="312" y="700"/>
                  </a:lnTo>
                  <a:lnTo>
                    <a:pt x="305" y="698"/>
                  </a:lnTo>
                  <a:lnTo>
                    <a:pt x="301" y="696"/>
                  </a:lnTo>
                  <a:lnTo>
                    <a:pt x="301" y="693"/>
                  </a:lnTo>
                  <a:lnTo>
                    <a:pt x="302" y="690"/>
                  </a:lnTo>
                  <a:lnTo>
                    <a:pt x="304" y="687"/>
                  </a:lnTo>
                  <a:lnTo>
                    <a:pt x="305" y="684"/>
                  </a:lnTo>
                  <a:lnTo>
                    <a:pt x="307" y="679"/>
                  </a:lnTo>
                  <a:lnTo>
                    <a:pt x="310" y="673"/>
                  </a:lnTo>
                  <a:lnTo>
                    <a:pt x="312" y="666"/>
                  </a:lnTo>
                  <a:lnTo>
                    <a:pt x="312" y="654"/>
                  </a:lnTo>
                  <a:lnTo>
                    <a:pt x="314" y="649"/>
                  </a:lnTo>
                  <a:lnTo>
                    <a:pt x="316" y="643"/>
                  </a:lnTo>
                  <a:lnTo>
                    <a:pt x="314" y="639"/>
                  </a:lnTo>
                  <a:lnTo>
                    <a:pt x="309" y="633"/>
                  </a:lnTo>
                  <a:lnTo>
                    <a:pt x="302" y="627"/>
                  </a:lnTo>
                  <a:lnTo>
                    <a:pt x="293" y="622"/>
                  </a:lnTo>
                  <a:lnTo>
                    <a:pt x="285" y="621"/>
                  </a:lnTo>
                  <a:lnTo>
                    <a:pt x="275" y="620"/>
                  </a:lnTo>
                  <a:lnTo>
                    <a:pt x="265" y="616"/>
                  </a:lnTo>
                  <a:lnTo>
                    <a:pt x="257" y="609"/>
                  </a:lnTo>
                  <a:lnTo>
                    <a:pt x="254" y="600"/>
                  </a:lnTo>
                  <a:lnTo>
                    <a:pt x="253" y="591"/>
                  </a:lnTo>
                  <a:lnTo>
                    <a:pt x="250" y="584"/>
                  </a:lnTo>
                  <a:lnTo>
                    <a:pt x="244" y="580"/>
                  </a:lnTo>
                  <a:lnTo>
                    <a:pt x="234" y="578"/>
                  </a:lnTo>
                  <a:lnTo>
                    <a:pt x="227" y="579"/>
                  </a:lnTo>
                  <a:lnTo>
                    <a:pt x="224" y="582"/>
                  </a:lnTo>
                  <a:lnTo>
                    <a:pt x="223" y="587"/>
                  </a:lnTo>
                  <a:lnTo>
                    <a:pt x="224" y="593"/>
                  </a:lnTo>
                  <a:lnTo>
                    <a:pt x="227" y="598"/>
                  </a:lnTo>
                  <a:lnTo>
                    <a:pt x="229" y="604"/>
                  </a:lnTo>
                  <a:lnTo>
                    <a:pt x="226" y="609"/>
                  </a:lnTo>
                  <a:lnTo>
                    <a:pt x="221" y="615"/>
                  </a:lnTo>
                  <a:lnTo>
                    <a:pt x="212" y="620"/>
                  </a:lnTo>
                  <a:lnTo>
                    <a:pt x="204" y="623"/>
                  </a:lnTo>
                  <a:lnTo>
                    <a:pt x="193" y="630"/>
                  </a:lnTo>
                  <a:lnTo>
                    <a:pt x="181" y="637"/>
                  </a:lnTo>
                  <a:lnTo>
                    <a:pt x="169" y="646"/>
                  </a:lnTo>
                  <a:lnTo>
                    <a:pt x="159" y="653"/>
                  </a:lnTo>
                  <a:lnTo>
                    <a:pt x="152" y="659"/>
                  </a:lnTo>
                  <a:lnTo>
                    <a:pt x="146" y="661"/>
                  </a:lnTo>
                  <a:lnTo>
                    <a:pt x="139" y="661"/>
                  </a:lnTo>
                  <a:lnTo>
                    <a:pt x="121" y="659"/>
                  </a:lnTo>
                  <a:lnTo>
                    <a:pt x="112" y="659"/>
                  </a:lnTo>
                  <a:lnTo>
                    <a:pt x="104" y="661"/>
                  </a:lnTo>
                  <a:lnTo>
                    <a:pt x="97" y="665"/>
                  </a:lnTo>
                  <a:lnTo>
                    <a:pt x="92" y="668"/>
                  </a:lnTo>
                  <a:lnTo>
                    <a:pt x="85" y="669"/>
                  </a:lnTo>
                  <a:lnTo>
                    <a:pt x="84" y="661"/>
                  </a:lnTo>
                  <a:lnTo>
                    <a:pt x="82" y="652"/>
                  </a:lnTo>
                  <a:lnTo>
                    <a:pt x="82" y="643"/>
                  </a:lnTo>
                  <a:lnTo>
                    <a:pt x="84" y="637"/>
                  </a:lnTo>
                  <a:lnTo>
                    <a:pt x="90" y="621"/>
                  </a:lnTo>
                  <a:lnTo>
                    <a:pt x="93" y="615"/>
                  </a:lnTo>
                  <a:lnTo>
                    <a:pt x="94" y="609"/>
                  </a:lnTo>
                  <a:lnTo>
                    <a:pt x="92" y="605"/>
                  </a:lnTo>
                  <a:lnTo>
                    <a:pt x="85" y="598"/>
                  </a:lnTo>
                  <a:lnTo>
                    <a:pt x="81" y="589"/>
                  </a:lnTo>
                  <a:lnTo>
                    <a:pt x="78" y="580"/>
                  </a:lnTo>
                  <a:lnTo>
                    <a:pt x="78" y="578"/>
                  </a:lnTo>
                  <a:lnTo>
                    <a:pt x="77" y="577"/>
                  </a:lnTo>
                  <a:lnTo>
                    <a:pt x="75" y="576"/>
                  </a:lnTo>
                  <a:lnTo>
                    <a:pt x="73" y="577"/>
                  </a:lnTo>
                  <a:lnTo>
                    <a:pt x="70" y="578"/>
                  </a:lnTo>
                  <a:lnTo>
                    <a:pt x="64" y="584"/>
                  </a:lnTo>
                  <a:lnTo>
                    <a:pt x="61" y="586"/>
                  </a:lnTo>
                  <a:lnTo>
                    <a:pt x="56" y="585"/>
                  </a:lnTo>
                  <a:lnTo>
                    <a:pt x="49" y="583"/>
                  </a:lnTo>
                  <a:lnTo>
                    <a:pt x="37" y="579"/>
                  </a:lnTo>
                  <a:lnTo>
                    <a:pt x="27" y="581"/>
                  </a:lnTo>
                  <a:lnTo>
                    <a:pt x="23" y="578"/>
                  </a:lnTo>
                  <a:lnTo>
                    <a:pt x="13" y="570"/>
                  </a:lnTo>
                  <a:lnTo>
                    <a:pt x="6" y="567"/>
                  </a:lnTo>
                  <a:lnTo>
                    <a:pt x="2" y="564"/>
                  </a:lnTo>
                  <a:lnTo>
                    <a:pt x="0" y="559"/>
                  </a:lnTo>
                  <a:lnTo>
                    <a:pt x="1" y="553"/>
                  </a:lnTo>
                  <a:lnTo>
                    <a:pt x="4" y="547"/>
                  </a:lnTo>
                  <a:lnTo>
                    <a:pt x="10" y="537"/>
                  </a:lnTo>
                  <a:lnTo>
                    <a:pt x="13" y="534"/>
                  </a:lnTo>
                  <a:lnTo>
                    <a:pt x="16" y="532"/>
                  </a:lnTo>
                  <a:lnTo>
                    <a:pt x="19" y="529"/>
                  </a:lnTo>
                  <a:lnTo>
                    <a:pt x="18" y="526"/>
                  </a:lnTo>
                  <a:lnTo>
                    <a:pt x="14" y="521"/>
                  </a:lnTo>
                  <a:lnTo>
                    <a:pt x="10" y="515"/>
                  </a:lnTo>
                  <a:lnTo>
                    <a:pt x="10" y="511"/>
                  </a:lnTo>
                  <a:lnTo>
                    <a:pt x="12" y="507"/>
                  </a:lnTo>
                  <a:lnTo>
                    <a:pt x="17" y="503"/>
                  </a:lnTo>
                  <a:lnTo>
                    <a:pt x="26" y="497"/>
                  </a:lnTo>
                  <a:lnTo>
                    <a:pt x="28" y="495"/>
                  </a:lnTo>
                  <a:lnTo>
                    <a:pt x="31" y="495"/>
                  </a:lnTo>
                  <a:lnTo>
                    <a:pt x="33" y="497"/>
                  </a:lnTo>
                  <a:lnTo>
                    <a:pt x="34" y="497"/>
                  </a:lnTo>
                  <a:lnTo>
                    <a:pt x="35" y="498"/>
                  </a:lnTo>
                  <a:lnTo>
                    <a:pt x="54" y="498"/>
                  </a:lnTo>
                  <a:lnTo>
                    <a:pt x="63" y="499"/>
                  </a:lnTo>
                  <a:lnTo>
                    <a:pt x="70" y="501"/>
                  </a:lnTo>
                  <a:lnTo>
                    <a:pt x="73" y="502"/>
                  </a:lnTo>
                  <a:lnTo>
                    <a:pt x="75" y="503"/>
                  </a:lnTo>
                  <a:lnTo>
                    <a:pt x="78" y="503"/>
                  </a:lnTo>
                  <a:lnTo>
                    <a:pt x="79" y="502"/>
                  </a:lnTo>
                  <a:lnTo>
                    <a:pt x="81" y="502"/>
                  </a:lnTo>
                  <a:lnTo>
                    <a:pt x="83" y="501"/>
                  </a:lnTo>
                  <a:lnTo>
                    <a:pt x="88" y="501"/>
                  </a:lnTo>
                  <a:lnTo>
                    <a:pt x="90" y="503"/>
                  </a:lnTo>
                  <a:lnTo>
                    <a:pt x="91" y="505"/>
                  </a:lnTo>
                  <a:lnTo>
                    <a:pt x="93" y="507"/>
                  </a:lnTo>
                  <a:lnTo>
                    <a:pt x="94" y="505"/>
                  </a:lnTo>
                  <a:lnTo>
                    <a:pt x="96" y="497"/>
                  </a:lnTo>
                  <a:lnTo>
                    <a:pt x="98" y="486"/>
                  </a:lnTo>
                  <a:lnTo>
                    <a:pt x="99" y="474"/>
                  </a:lnTo>
                  <a:lnTo>
                    <a:pt x="101" y="461"/>
                  </a:lnTo>
                  <a:lnTo>
                    <a:pt x="102" y="450"/>
                  </a:lnTo>
                  <a:lnTo>
                    <a:pt x="103" y="443"/>
                  </a:lnTo>
                  <a:lnTo>
                    <a:pt x="105" y="437"/>
                  </a:lnTo>
                  <a:lnTo>
                    <a:pt x="109" y="427"/>
                  </a:lnTo>
                  <a:lnTo>
                    <a:pt x="113" y="415"/>
                  </a:lnTo>
                  <a:lnTo>
                    <a:pt x="119" y="402"/>
                  </a:lnTo>
                  <a:lnTo>
                    <a:pt x="124" y="389"/>
                  </a:lnTo>
                  <a:lnTo>
                    <a:pt x="129" y="378"/>
                  </a:lnTo>
                  <a:lnTo>
                    <a:pt x="133" y="370"/>
                  </a:lnTo>
                  <a:lnTo>
                    <a:pt x="136" y="365"/>
                  </a:lnTo>
                  <a:lnTo>
                    <a:pt x="138" y="360"/>
                  </a:lnTo>
                  <a:lnTo>
                    <a:pt x="139" y="351"/>
                  </a:lnTo>
                  <a:lnTo>
                    <a:pt x="139" y="330"/>
                  </a:lnTo>
                  <a:lnTo>
                    <a:pt x="138" y="319"/>
                  </a:lnTo>
                  <a:lnTo>
                    <a:pt x="137" y="311"/>
                  </a:lnTo>
                  <a:lnTo>
                    <a:pt x="137" y="298"/>
                  </a:lnTo>
                  <a:lnTo>
                    <a:pt x="140" y="287"/>
                  </a:lnTo>
                  <a:lnTo>
                    <a:pt x="144" y="278"/>
                  </a:lnTo>
                  <a:lnTo>
                    <a:pt x="145" y="272"/>
                  </a:lnTo>
                  <a:lnTo>
                    <a:pt x="143" y="264"/>
                  </a:lnTo>
                  <a:lnTo>
                    <a:pt x="140" y="254"/>
                  </a:lnTo>
                  <a:lnTo>
                    <a:pt x="144" y="254"/>
                  </a:lnTo>
                  <a:lnTo>
                    <a:pt x="147" y="253"/>
                  </a:lnTo>
                  <a:lnTo>
                    <a:pt x="149" y="252"/>
                  </a:lnTo>
                  <a:lnTo>
                    <a:pt x="150" y="251"/>
                  </a:lnTo>
                  <a:lnTo>
                    <a:pt x="150" y="246"/>
                  </a:lnTo>
                  <a:lnTo>
                    <a:pt x="151" y="240"/>
                  </a:lnTo>
                  <a:lnTo>
                    <a:pt x="151" y="234"/>
                  </a:lnTo>
                  <a:lnTo>
                    <a:pt x="153" y="230"/>
                  </a:lnTo>
                  <a:lnTo>
                    <a:pt x="154" y="226"/>
                  </a:lnTo>
                  <a:lnTo>
                    <a:pt x="153" y="220"/>
                  </a:lnTo>
                  <a:lnTo>
                    <a:pt x="149" y="216"/>
                  </a:lnTo>
                  <a:lnTo>
                    <a:pt x="142" y="213"/>
                  </a:lnTo>
                  <a:lnTo>
                    <a:pt x="134" y="214"/>
                  </a:lnTo>
                  <a:lnTo>
                    <a:pt x="127" y="215"/>
                  </a:lnTo>
                  <a:lnTo>
                    <a:pt x="118" y="216"/>
                  </a:lnTo>
                  <a:lnTo>
                    <a:pt x="111" y="214"/>
                  </a:lnTo>
                  <a:lnTo>
                    <a:pt x="103" y="208"/>
                  </a:lnTo>
                  <a:lnTo>
                    <a:pt x="99" y="200"/>
                  </a:lnTo>
                  <a:lnTo>
                    <a:pt x="98" y="189"/>
                  </a:lnTo>
                  <a:lnTo>
                    <a:pt x="98" y="177"/>
                  </a:lnTo>
                  <a:lnTo>
                    <a:pt x="100" y="165"/>
                  </a:lnTo>
                  <a:lnTo>
                    <a:pt x="102" y="154"/>
                  </a:lnTo>
                  <a:lnTo>
                    <a:pt x="106" y="146"/>
                  </a:lnTo>
                  <a:lnTo>
                    <a:pt x="109" y="142"/>
                  </a:lnTo>
                  <a:lnTo>
                    <a:pt x="113" y="141"/>
                  </a:lnTo>
                  <a:lnTo>
                    <a:pt x="128" y="141"/>
                  </a:lnTo>
                  <a:lnTo>
                    <a:pt x="131" y="138"/>
                  </a:lnTo>
                  <a:lnTo>
                    <a:pt x="132" y="133"/>
                  </a:lnTo>
                  <a:lnTo>
                    <a:pt x="129" y="126"/>
                  </a:lnTo>
                  <a:lnTo>
                    <a:pt x="125" y="120"/>
                  </a:lnTo>
                  <a:lnTo>
                    <a:pt x="121" y="116"/>
                  </a:lnTo>
                  <a:lnTo>
                    <a:pt x="119" y="112"/>
                  </a:lnTo>
                  <a:lnTo>
                    <a:pt x="121" y="108"/>
                  </a:lnTo>
                  <a:lnTo>
                    <a:pt x="128" y="103"/>
                  </a:lnTo>
                  <a:lnTo>
                    <a:pt x="137" y="96"/>
                  </a:lnTo>
                  <a:lnTo>
                    <a:pt x="147" y="89"/>
                  </a:lnTo>
                  <a:lnTo>
                    <a:pt x="156" y="82"/>
                  </a:lnTo>
                  <a:lnTo>
                    <a:pt x="164" y="78"/>
                  </a:lnTo>
                  <a:lnTo>
                    <a:pt x="175" y="75"/>
                  </a:lnTo>
                  <a:lnTo>
                    <a:pt x="188" y="74"/>
                  </a:lnTo>
                  <a:lnTo>
                    <a:pt x="200" y="74"/>
                  </a:lnTo>
                  <a:lnTo>
                    <a:pt x="209" y="76"/>
                  </a:lnTo>
                  <a:lnTo>
                    <a:pt x="225" y="80"/>
                  </a:lnTo>
                  <a:lnTo>
                    <a:pt x="240" y="79"/>
                  </a:lnTo>
                  <a:lnTo>
                    <a:pt x="256" y="73"/>
                  </a:lnTo>
                  <a:lnTo>
                    <a:pt x="268" y="71"/>
                  </a:lnTo>
                  <a:lnTo>
                    <a:pt x="280" y="70"/>
                  </a:lnTo>
                  <a:lnTo>
                    <a:pt x="292" y="71"/>
                  </a:lnTo>
                  <a:lnTo>
                    <a:pt x="303" y="70"/>
                  </a:lnTo>
                  <a:lnTo>
                    <a:pt x="312" y="68"/>
                  </a:lnTo>
                  <a:lnTo>
                    <a:pt x="322" y="67"/>
                  </a:lnTo>
                  <a:lnTo>
                    <a:pt x="330" y="66"/>
                  </a:lnTo>
                  <a:lnTo>
                    <a:pt x="338" y="67"/>
                  </a:lnTo>
                  <a:lnTo>
                    <a:pt x="344" y="68"/>
                  </a:lnTo>
                  <a:lnTo>
                    <a:pt x="347" y="71"/>
                  </a:lnTo>
                  <a:lnTo>
                    <a:pt x="348" y="80"/>
                  </a:lnTo>
                  <a:lnTo>
                    <a:pt x="350" y="91"/>
                  </a:lnTo>
                  <a:lnTo>
                    <a:pt x="353" y="102"/>
                  </a:lnTo>
                  <a:lnTo>
                    <a:pt x="358" y="112"/>
                  </a:lnTo>
                  <a:lnTo>
                    <a:pt x="365" y="122"/>
                  </a:lnTo>
                  <a:lnTo>
                    <a:pt x="371" y="129"/>
                  </a:lnTo>
                  <a:lnTo>
                    <a:pt x="376" y="131"/>
                  </a:lnTo>
                  <a:lnTo>
                    <a:pt x="378" y="133"/>
                  </a:lnTo>
                  <a:lnTo>
                    <a:pt x="380" y="137"/>
                  </a:lnTo>
                  <a:lnTo>
                    <a:pt x="381" y="143"/>
                  </a:lnTo>
                  <a:lnTo>
                    <a:pt x="379" y="148"/>
                  </a:lnTo>
                  <a:lnTo>
                    <a:pt x="376" y="153"/>
                  </a:lnTo>
                  <a:lnTo>
                    <a:pt x="369" y="154"/>
                  </a:lnTo>
                  <a:lnTo>
                    <a:pt x="359" y="154"/>
                  </a:lnTo>
                  <a:lnTo>
                    <a:pt x="356" y="155"/>
                  </a:lnTo>
                  <a:lnTo>
                    <a:pt x="355" y="156"/>
                  </a:lnTo>
                  <a:lnTo>
                    <a:pt x="354" y="158"/>
                  </a:lnTo>
                  <a:lnTo>
                    <a:pt x="356" y="164"/>
                  </a:lnTo>
                  <a:lnTo>
                    <a:pt x="358" y="169"/>
                  </a:lnTo>
                  <a:lnTo>
                    <a:pt x="359" y="173"/>
                  </a:lnTo>
                  <a:lnTo>
                    <a:pt x="360" y="175"/>
                  </a:lnTo>
                  <a:lnTo>
                    <a:pt x="362" y="177"/>
                  </a:lnTo>
                  <a:lnTo>
                    <a:pt x="363" y="177"/>
                  </a:lnTo>
                  <a:lnTo>
                    <a:pt x="364" y="176"/>
                  </a:lnTo>
                  <a:lnTo>
                    <a:pt x="365" y="176"/>
                  </a:lnTo>
                  <a:lnTo>
                    <a:pt x="367" y="175"/>
                  </a:lnTo>
                  <a:lnTo>
                    <a:pt x="369" y="175"/>
                  </a:lnTo>
                  <a:lnTo>
                    <a:pt x="372" y="176"/>
                  </a:lnTo>
                  <a:lnTo>
                    <a:pt x="376" y="178"/>
                  </a:lnTo>
                  <a:lnTo>
                    <a:pt x="385" y="193"/>
                  </a:lnTo>
                  <a:lnTo>
                    <a:pt x="388" y="197"/>
                  </a:lnTo>
                  <a:lnTo>
                    <a:pt x="394" y="198"/>
                  </a:lnTo>
                  <a:lnTo>
                    <a:pt x="401" y="195"/>
                  </a:lnTo>
                  <a:lnTo>
                    <a:pt x="408" y="187"/>
                  </a:lnTo>
                  <a:lnTo>
                    <a:pt x="413" y="177"/>
                  </a:lnTo>
                  <a:lnTo>
                    <a:pt x="416" y="166"/>
                  </a:lnTo>
                  <a:lnTo>
                    <a:pt x="418" y="155"/>
                  </a:lnTo>
                  <a:lnTo>
                    <a:pt x="418" y="149"/>
                  </a:lnTo>
                  <a:lnTo>
                    <a:pt x="415" y="147"/>
                  </a:lnTo>
                  <a:lnTo>
                    <a:pt x="412" y="146"/>
                  </a:lnTo>
                  <a:lnTo>
                    <a:pt x="408" y="146"/>
                  </a:lnTo>
                  <a:lnTo>
                    <a:pt x="404" y="147"/>
                  </a:lnTo>
                  <a:lnTo>
                    <a:pt x="401" y="146"/>
                  </a:lnTo>
                  <a:lnTo>
                    <a:pt x="400" y="144"/>
                  </a:lnTo>
                  <a:lnTo>
                    <a:pt x="400" y="139"/>
                  </a:lnTo>
                  <a:lnTo>
                    <a:pt x="401" y="131"/>
                  </a:lnTo>
                  <a:lnTo>
                    <a:pt x="404" y="123"/>
                  </a:lnTo>
                  <a:lnTo>
                    <a:pt x="408" y="116"/>
                  </a:lnTo>
                  <a:lnTo>
                    <a:pt x="414" y="110"/>
                  </a:lnTo>
                  <a:lnTo>
                    <a:pt x="420" y="108"/>
                  </a:lnTo>
                  <a:lnTo>
                    <a:pt x="425" y="110"/>
                  </a:lnTo>
                  <a:lnTo>
                    <a:pt x="428" y="113"/>
                  </a:lnTo>
                  <a:lnTo>
                    <a:pt x="429" y="119"/>
                  </a:lnTo>
                  <a:lnTo>
                    <a:pt x="431" y="124"/>
                  </a:lnTo>
                  <a:lnTo>
                    <a:pt x="434" y="128"/>
                  </a:lnTo>
                  <a:lnTo>
                    <a:pt x="439" y="130"/>
                  </a:lnTo>
                  <a:lnTo>
                    <a:pt x="446" y="131"/>
                  </a:lnTo>
                  <a:lnTo>
                    <a:pt x="461" y="137"/>
                  </a:lnTo>
                  <a:lnTo>
                    <a:pt x="467" y="141"/>
                  </a:lnTo>
                  <a:lnTo>
                    <a:pt x="471" y="144"/>
                  </a:lnTo>
                  <a:lnTo>
                    <a:pt x="472" y="145"/>
                  </a:lnTo>
                  <a:lnTo>
                    <a:pt x="470" y="147"/>
                  </a:lnTo>
                  <a:lnTo>
                    <a:pt x="467" y="151"/>
                  </a:lnTo>
                  <a:lnTo>
                    <a:pt x="463" y="156"/>
                  </a:lnTo>
                  <a:lnTo>
                    <a:pt x="460" y="161"/>
                  </a:lnTo>
                  <a:lnTo>
                    <a:pt x="459" y="165"/>
                  </a:lnTo>
                  <a:lnTo>
                    <a:pt x="460" y="166"/>
                  </a:lnTo>
                  <a:lnTo>
                    <a:pt x="464" y="165"/>
                  </a:lnTo>
                  <a:lnTo>
                    <a:pt x="470" y="163"/>
                  </a:lnTo>
                  <a:lnTo>
                    <a:pt x="475" y="159"/>
                  </a:lnTo>
                  <a:lnTo>
                    <a:pt x="478" y="155"/>
                  </a:lnTo>
                  <a:lnTo>
                    <a:pt x="479" y="146"/>
                  </a:lnTo>
                  <a:lnTo>
                    <a:pt x="477" y="135"/>
                  </a:lnTo>
                  <a:lnTo>
                    <a:pt x="474" y="123"/>
                  </a:lnTo>
                  <a:lnTo>
                    <a:pt x="469" y="114"/>
                  </a:lnTo>
                  <a:lnTo>
                    <a:pt x="463" y="103"/>
                  </a:lnTo>
                  <a:lnTo>
                    <a:pt x="459" y="91"/>
                  </a:lnTo>
                  <a:lnTo>
                    <a:pt x="459" y="79"/>
                  </a:lnTo>
                  <a:lnTo>
                    <a:pt x="463" y="69"/>
                  </a:lnTo>
                  <a:lnTo>
                    <a:pt x="468" y="58"/>
                  </a:lnTo>
                  <a:lnTo>
                    <a:pt x="473" y="46"/>
                  </a:lnTo>
                  <a:lnTo>
                    <a:pt x="477" y="36"/>
                  </a:lnTo>
                  <a:lnTo>
                    <a:pt x="479" y="29"/>
                  </a:lnTo>
                  <a:lnTo>
                    <a:pt x="480" y="22"/>
                  </a:lnTo>
                  <a:lnTo>
                    <a:pt x="484" y="15"/>
                  </a:lnTo>
                  <a:lnTo>
                    <a:pt x="489" y="8"/>
                  </a:lnTo>
                  <a:lnTo>
                    <a:pt x="495" y="3"/>
                  </a:lnTo>
                  <a:lnTo>
                    <a:pt x="500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803EB770-7529-4888-8F55-85426AFA692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7651" y="2428876"/>
              <a:ext cx="184150" cy="127000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14" y="1"/>
                </a:cxn>
                <a:cxn ang="0">
                  <a:pos x="22" y="4"/>
                </a:cxn>
                <a:cxn ang="0">
                  <a:pos x="30" y="8"/>
                </a:cxn>
                <a:cxn ang="0">
                  <a:pos x="39" y="11"/>
                </a:cxn>
                <a:cxn ang="0">
                  <a:pos x="47" y="14"/>
                </a:cxn>
                <a:cxn ang="0">
                  <a:pos x="54" y="15"/>
                </a:cxn>
                <a:cxn ang="0">
                  <a:pos x="62" y="16"/>
                </a:cxn>
                <a:cxn ang="0">
                  <a:pos x="70" y="21"/>
                </a:cxn>
                <a:cxn ang="0">
                  <a:pos x="78" y="27"/>
                </a:cxn>
                <a:cxn ang="0">
                  <a:pos x="85" y="32"/>
                </a:cxn>
                <a:cxn ang="0">
                  <a:pos x="90" y="33"/>
                </a:cxn>
                <a:cxn ang="0">
                  <a:pos x="94" y="31"/>
                </a:cxn>
                <a:cxn ang="0">
                  <a:pos x="97" y="28"/>
                </a:cxn>
                <a:cxn ang="0">
                  <a:pos x="99" y="25"/>
                </a:cxn>
                <a:cxn ang="0">
                  <a:pos x="103" y="24"/>
                </a:cxn>
                <a:cxn ang="0">
                  <a:pos x="109" y="26"/>
                </a:cxn>
                <a:cxn ang="0">
                  <a:pos x="114" y="29"/>
                </a:cxn>
                <a:cxn ang="0">
                  <a:pos x="115" y="33"/>
                </a:cxn>
                <a:cxn ang="0">
                  <a:pos x="115" y="40"/>
                </a:cxn>
                <a:cxn ang="0">
                  <a:pos x="115" y="45"/>
                </a:cxn>
                <a:cxn ang="0">
                  <a:pos x="116" y="51"/>
                </a:cxn>
                <a:cxn ang="0">
                  <a:pos x="116" y="58"/>
                </a:cxn>
                <a:cxn ang="0">
                  <a:pos x="115" y="66"/>
                </a:cxn>
                <a:cxn ang="0">
                  <a:pos x="113" y="73"/>
                </a:cxn>
                <a:cxn ang="0">
                  <a:pos x="108" y="78"/>
                </a:cxn>
                <a:cxn ang="0">
                  <a:pos x="101" y="80"/>
                </a:cxn>
                <a:cxn ang="0">
                  <a:pos x="90" y="79"/>
                </a:cxn>
                <a:cxn ang="0">
                  <a:pos x="80" y="77"/>
                </a:cxn>
                <a:cxn ang="0">
                  <a:pos x="71" y="73"/>
                </a:cxn>
                <a:cxn ang="0">
                  <a:pos x="66" y="71"/>
                </a:cxn>
                <a:cxn ang="0">
                  <a:pos x="57" y="71"/>
                </a:cxn>
                <a:cxn ang="0">
                  <a:pos x="52" y="70"/>
                </a:cxn>
                <a:cxn ang="0">
                  <a:pos x="47" y="67"/>
                </a:cxn>
                <a:cxn ang="0">
                  <a:pos x="41" y="56"/>
                </a:cxn>
                <a:cxn ang="0">
                  <a:pos x="36" y="44"/>
                </a:cxn>
                <a:cxn ang="0">
                  <a:pos x="29" y="32"/>
                </a:cxn>
                <a:cxn ang="0">
                  <a:pos x="23" y="26"/>
                </a:cxn>
                <a:cxn ang="0">
                  <a:pos x="16" y="20"/>
                </a:cxn>
                <a:cxn ang="0">
                  <a:pos x="8" y="15"/>
                </a:cxn>
                <a:cxn ang="0">
                  <a:pos x="3" y="9"/>
                </a:cxn>
                <a:cxn ang="0">
                  <a:pos x="0" y="5"/>
                </a:cxn>
                <a:cxn ang="0">
                  <a:pos x="2" y="1"/>
                </a:cxn>
                <a:cxn ang="0">
                  <a:pos x="7" y="0"/>
                </a:cxn>
              </a:cxnLst>
              <a:rect l="0" t="0" r="r" b="b"/>
              <a:pathLst>
                <a:path w="116" h="80">
                  <a:moveTo>
                    <a:pt x="7" y="0"/>
                  </a:moveTo>
                  <a:lnTo>
                    <a:pt x="14" y="1"/>
                  </a:lnTo>
                  <a:lnTo>
                    <a:pt x="22" y="4"/>
                  </a:lnTo>
                  <a:lnTo>
                    <a:pt x="30" y="8"/>
                  </a:lnTo>
                  <a:lnTo>
                    <a:pt x="39" y="11"/>
                  </a:lnTo>
                  <a:lnTo>
                    <a:pt x="47" y="14"/>
                  </a:lnTo>
                  <a:lnTo>
                    <a:pt x="54" y="15"/>
                  </a:lnTo>
                  <a:lnTo>
                    <a:pt x="62" y="16"/>
                  </a:lnTo>
                  <a:lnTo>
                    <a:pt x="70" y="21"/>
                  </a:lnTo>
                  <a:lnTo>
                    <a:pt x="78" y="27"/>
                  </a:lnTo>
                  <a:lnTo>
                    <a:pt x="85" y="32"/>
                  </a:lnTo>
                  <a:lnTo>
                    <a:pt x="90" y="33"/>
                  </a:lnTo>
                  <a:lnTo>
                    <a:pt x="94" y="31"/>
                  </a:lnTo>
                  <a:lnTo>
                    <a:pt x="97" y="28"/>
                  </a:lnTo>
                  <a:lnTo>
                    <a:pt x="99" y="25"/>
                  </a:lnTo>
                  <a:lnTo>
                    <a:pt x="103" y="24"/>
                  </a:lnTo>
                  <a:lnTo>
                    <a:pt x="109" y="26"/>
                  </a:lnTo>
                  <a:lnTo>
                    <a:pt x="114" y="29"/>
                  </a:lnTo>
                  <a:lnTo>
                    <a:pt x="115" y="33"/>
                  </a:lnTo>
                  <a:lnTo>
                    <a:pt x="115" y="40"/>
                  </a:lnTo>
                  <a:lnTo>
                    <a:pt x="115" y="45"/>
                  </a:lnTo>
                  <a:lnTo>
                    <a:pt x="116" y="51"/>
                  </a:lnTo>
                  <a:lnTo>
                    <a:pt x="116" y="58"/>
                  </a:lnTo>
                  <a:lnTo>
                    <a:pt x="115" y="66"/>
                  </a:lnTo>
                  <a:lnTo>
                    <a:pt x="113" y="73"/>
                  </a:lnTo>
                  <a:lnTo>
                    <a:pt x="108" y="78"/>
                  </a:lnTo>
                  <a:lnTo>
                    <a:pt x="101" y="80"/>
                  </a:lnTo>
                  <a:lnTo>
                    <a:pt x="90" y="79"/>
                  </a:lnTo>
                  <a:lnTo>
                    <a:pt x="80" y="77"/>
                  </a:lnTo>
                  <a:lnTo>
                    <a:pt x="71" y="73"/>
                  </a:lnTo>
                  <a:lnTo>
                    <a:pt x="66" y="71"/>
                  </a:lnTo>
                  <a:lnTo>
                    <a:pt x="57" y="71"/>
                  </a:lnTo>
                  <a:lnTo>
                    <a:pt x="52" y="70"/>
                  </a:lnTo>
                  <a:lnTo>
                    <a:pt x="47" y="67"/>
                  </a:lnTo>
                  <a:lnTo>
                    <a:pt x="41" y="56"/>
                  </a:lnTo>
                  <a:lnTo>
                    <a:pt x="36" y="44"/>
                  </a:lnTo>
                  <a:lnTo>
                    <a:pt x="29" y="32"/>
                  </a:lnTo>
                  <a:lnTo>
                    <a:pt x="23" y="26"/>
                  </a:lnTo>
                  <a:lnTo>
                    <a:pt x="16" y="20"/>
                  </a:lnTo>
                  <a:lnTo>
                    <a:pt x="8" y="15"/>
                  </a:lnTo>
                  <a:lnTo>
                    <a:pt x="3" y="9"/>
                  </a:lnTo>
                  <a:lnTo>
                    <a:pt x="0" y="5"/>
                  </a:lnTo>
                  <a:lnTo>
                    <a:pt x="2" y="1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105270EA-21BE-4A6B-9763-7B0ADA02DE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4701" y="3478213"/>
              <a:ext cx="1154113" cy="935038"/>
            </a:xfrm>
            <a:custGeom>
              <a:avLst/>
              <a:gdLst/>
              <a:ahLst/>
              <a:cxnLst>
                <a:cxn ang="0">
                  <a:pos x="256" y="5"/>
                </a:cxn>
                <a:cxn ang="0">
                  <a:pos x="273" y="21"/>
                </a:cxn>
                <a:cxn ang="0">
                  <a:pos x="282" y="61"/>
                </a:cxn>
                <a:cxn ang="0">
                  <a:pos x="327" y="98"/>
                </a:cxn>
                <a:cxn ang="0">
                  <a:pos x="390" y="122"/>
                </a:cxn>
                <a:cxn ang="0">
                  <a:pos x="380" y="169"/>
                </a:cxn>
                <a:cxn ang="0">
                  <a:pos x="403" y="217"/>
                </a:cxn>
                <a:cxn ang="0">
                  <a:pos x="463" y="215"/>
                </a:cxn>
                <a:cxn ang="0">
                  <a:pos x="500" y="248"/>
                </a:cxn>
                <a:cxn ang="0">
                  <a:pos x="554" y="277"/>
                </a:cxn>
                <a:cxn ang="0">
                  <a:pos x="604" y="284"/>
                </a:cxn>
                <a:cxn ang="0">
                  <a:pos x="620" y="254"/>
                </a:cxn>
                <a:cxn ang="0">
                  <a:pos x="628" y="217"/>
                </a:cxn>
                <a:cxn ang="0">
                  <a:pos x="666" y="232"/>
                </a:cxn>
                <a:cxn ang="0">
                  <a:pos x="708" y="265"/>
                </a:cxn>
                <a:cxn ang="0">
                  <a:pos x="703" y="300"/>
                </a:cxn>
                <a:cxn ang="0">
                  <a:pos x="659" y="322"/>
                </a:cxn>
                <a:cxn ang="0">
                  <a:pos x="626" y="337"/>
                </a:cxn>
                <a:cxn ang="0">
                  <a:pos x="624" y="373"/>
                </a:cxn>
                <a:cxn ang="0">
                  <a:pos x="626" y="406"/>
                </a:cxn>
                <a:cxn ang="0">
                  <a:pos x="596" y="437"/>
                </a:cxn>
                <a:cxn ang="0">
                  <a:pos x="568" y="448"/>
                </a:cxn>
                <a:cxn ang="0">
                  <a:pos x="542" y="453"/>
                </a:cxn>
                <a:cxn ang="0">
                  <a:pos x="536" y="494"/>
                </a:cxn>
                <a:cxn ang="0">
                  <a:pos x="503" y="501"/>
                </a:cxn>
                <a:cxn ang="0">
                  <a:pos x="443" y="515"/>
                </a:cxn>
                <a:cxn ang="0">
                  <a:pos x="409" y="488"/>
                </a:cxn>
                <a:cxn ang="0">
                  <a:pos x="381" y="462"/>
                </a:cxn>
                <a:cxn ang="0">
                  <a:pos x="369" y="525"/>
                </a:cxn>
                <a:cxn ang="0">
                  <a:pos x="338" y="556"/>
                </a:cxn>
                <a:cxn ang="0">
                  <a:pos x="314" y="527"/>
                </a:cxn>
                <a:cxn ang="0">
                  <a:pos x="298" y="519"/>
                </a:cxn>
                <a:cxn ang="0">
                  <a:pos x="278" y="514"/>
                </a:cxn>
                <a:cxn ang="0">
                  <a:pos x="225" y="530"/>
                </a:cxn>
                <a:cxn ang="0">
                  <a:pos x="252" y="575"/>
                </a:cxn>
                <a:cxn ang="0">
                  <a:pos x="221" y="578"/>
                </a:cxn>
                <a:cxn ang="0">
                  <a:pos x="188" y="573"/>
                </a:cxn>
                <a:cxn ang="0">
                  <a:pos x="158" y="520"/>
                </a:cxn>
                <a:cxn ang="0">
                  <a:pos x="127" y="490"/>
                </a:cxn>
                <a:cxn ang="0">
                  <a:pos x="88" y="452"/>
                </a:cxn>
                <a:cxn ang="0">
                  <a:pos x="49" y="416"/>
                </a:cxn>
                <a:cxn ang="0">
                  <a:pos x="28" y="398"/>
                </a:cxn>
                <a:cxn ang="0">
                  <a:pos x="13" y="414"/>
                </a:cxn>
                <a:cxn ang="0">
                  <a:pos x="13" y="370"/>
                </a:cxn>
                <a:cxn ang="0">
                  <a:pos x="44" y="317"/>
                </a:cxn>
                <a:cxn ang="0">
                  <a:pos x="24" y="286"/>
                </a:cxn>
                <a:cxn ang="0">
                  <a:pos x="37" y="265"/>
                </a:cxn>
                <a:cxn ang="0">
                  <a:pos x="78" y="259"/>
                </a:cxn>
                <a:cxn ang="0">
                  <a:pos x="84" y="244"/>
                </a:cxn>
                <a:cxn ang="0">
                  <a:pos x="67" y="201"/>
                </a:cxn>
                <a:cxn ang="0">
                  <a:pos x="95" y="190"/>
                </a:cxn>
                <a:cxn ang="0">
                  <a:pos x="51" y="156"/>
                </a:cxn>
                <a:cxn ang="0">
                  <a:pos x="30" y="144"/>
                </a:cxn>
                <a:cxn ang="0">
                  <a:pos x="19" y="102"/>
                </a:cxn>
                <a:cxn ang="0">
                  <a:pos x="76" y="77"/>
                </a:cxn>
                <a:cxn ang="0">
                  <a:pos x="126" y="33"/>
                </a:cxn>
                <a:cxn ang="0">
                  <a:pos x="174" y="29"/>
                </a:cxn>
                <a:cxn ang="0">
                  <a:pos x="198" y="6"/>
                </a:cxn>
              </a:cxnLst>
              <a:rect l="0" t="0" r="r" b="b"/>
              <a:pathLst>
                <a:path w="727" h="589">
                  <a:moveTo>
                    <a:pt x="205" y="0"/>
                  </a:moveTo>
                  <a:lnTo>
                    <a:pt x="214" y="0"/>
                  </a:lnTo>
                  <a:lnTo>
                    <a:pt x="223" y="1"/>
                  </a:lnTo>
                  <a:lnTo>
                    <a:pt x="232" y="1"/>
                  </a:lnTo>
                  <a:lnTo>
                    <a:pt x="238" y="0"/>
                  </a:lnTo>
                  <a:lnTo>
                    <a:pt x="242" y="0"/>
                  </a:lnTo>
                  <a:lnTo>
                    <a:pt x="248" y="2"/>
                  </a:lnTo>
                  <a:lnTo>
                    <a:pt x="256" y="5"/>
                  </a:lnTo>
                  <a:lnTo>
                    <a:pt x="264" y="9"/>
                  </a:lnTo>
                  <a:lnTo>
                    <a:pt x="271" y="13"/>
                  </a:lnTo>
                  <a:lnTo>
                    <a:pt x="276" y="17"/>
                  </a:lnTo>
                  <a:lnTo>
                    <a:pt x="277" y="19"/>
                  </a:lnTo>
                  <a:lnTo>
                    <a:pt x="276" y="20"/>
                  </a:lnTo>
                  <a:lnTo>
                    <a:pt x="275" y="20"/>
                  </a:lnTo>
                  <a:lnTo>
                    <a:pt x="274" y="21"/>
                  </a:lnTo>
                  <a:lnTo>
                    <a:pt x="273" y="21"/>
                  </a:lnTo>
                  <a:lnTo>
                    <a:pt x="271" y="22"/>
                  </a:lnTo>
                  <a:lnTo>
                    <a:pt x="270" y="23"/>
                  </a:lnTo>
                  <a:lnTo>
                    <a:pt x="269" y="25"/>
                  </a:lnTo>
                  <a:lnTo>
                    <a:pt x="269" y="30"/>
                  </a:lnTo>
                  <a:lnTo>
                    <a:pt x="270" y="33"/>
                  </a:lnTo>
                  <a:lnTo>
                    <a:pt x="274" y="42"/>
                  </a:lnTo>
                  <a:lnTo>
                    <a:pt x="278" y="52"/>
                  </a:lnTo>
                  <a:lnTo>
                    <a:pt x="282" y="61"/>
                  </a:lnTo>
                  <a:lnTo>
                    <a:pt x="284" y="69"/>
                  </a:lnTo>
                  <a:lnTo>
                    <a:pt x="284" y="81"/>
                  </a:lnTo>
                  <a:lnTo>
                    <a:pt x="285" y="86"/>
                  </a:lnTo>
                  <a:lnTo>
                    <a:pt x="289" y="90"/>
                  </a:lnTo>
                  <a:lnTo>
                    <a:pt x="295" y="91"/>
                  </a:lnTo>
                  <a:lnTo>
                    <a:pt x="303" y="92"/>
                  </a:lnTo>
                  <a:lnTo>
                    <a:pt x="319" y="97"/>
                  </a:lnTo>
                  <a:lnTo>
                    <a:pt x="327" y="98"/>
                  </a:lnTo>
                  <a:lnTo>
                    <a:pt x="334" y="98"/>
                  </a:lnTo>
                  <a:lnTo>
                    <a:pt x="344" y="100"/>
                  </a:lnTo>
                  <a:lnTo>
                    <a:pt x="355" y="103"/>
                  </a:lnTo>
                  <a:lnTo>
                    <a:pt x="367" y="106"/>
                  </a:lnTo>
                  <a:lnTo>
                    <a:pt x="378" y="110"/>
                  </a:lnTo>
                  <a:lnTo>
                    <a:pt x="386" y="114"/>
                  </a:lnTo>
                  <a:lnTo>
                    <a:pt x="389" y="117"/>
                  </a:lnTo>
                  <a:lnTo>
                    <a:pt x="390" y="122"/>
                  </a:lnTo>
                  <a:lnTo>
                    <a:pt x="391" y="129"/>
                  </a:lnTo>
                  <a:lnTo>
                    <a:pt x="393" y="136"/>
                  </a:lnTo>
                  <a:lnTo>
                    <a:pt x="396" y="142"/>
                  </a:lnTo>
                  <a:lnTo>
                    <a:pt x="397" y="146"/>
                  </a:lnTo>
                  <a:lnTo>
                    <a:pt x="394" y="152"/>
                  </a:lnTo>
                  <a:lnTo>
                    <a:pt x="389" y="158"/>
                  </a:lnTo>
                  <a:lnTo>
                    <a:pt x="384" y="163"/>
                  </a:lnTo>
                  <a:lnTo>
                    <a:pt x="380" y="169"/>
                  </a:lnTo>
                  <a:lnTo>
                    <a:pt x="380" y="173"/>
                  </a:lnTo>
                  <a:lnTo>
                    <a:pt x="383" y="177"/>
                  </a:lnTo>
                  <a:lnTo>
                    <a:pt x="393" y="183"/>
                  </a:lnTo>
                  <a:lnTo>
                    <a:pt x="396" y="187"/>
                  </a:lnTo>
                  <a:lnTo>
                    <a:pt x="398" y="192"/>
                  </a:lnTo>
                  <a:lnTo>
                    <a:pt x="398" y="199"/>
                  </a:lnTo>
                  <a:lnTo>
                    <a:pt x="400" y="213"/>
                  </a:lnTo>
                  <a:lnTo>
                    <a:pt x="403" y="217"/>
                  </a:lnTo>
                  <a:lnTo>
                    <a:pt x="409" y="219"/>
                  </a:lnTo>
                  <a:lnTo>
                    <a:pt x="419" y="220"/>
                  </a:lnTo>
                  <a:lnTo>
                    <a:pt x="429" y="219"/>
                  </a:lnTo>
                  <a:lnTo>
                    <a:pt x="438" y="220"/>
                  </a:lnTo>
                  <a:lnTo>
                    <a:pt x="444" y="220"/>
                  </a:lnTo>
                  <a:lnTo>
                    <a:pt x="451" y="217"/>
                  </a:lnTo>
                  <a:lnTo>
                    <a:pt x="457" y="215"/>
                  </a:lnTo>
                  <a:lnTo>
                    <a:pt x="463" y="215"/>
                  </a:lnTo>
                  <a:lnTo>
                    <a:pt x="469" y="219"/>
                  </a:lnTo>
                  <a:lnTo>
                    <a:pt x="473" y="226"/>
                  </a:lnTo>
                  <a:lnTo>
                    <a:pt x="477" y="239"/>
                  </a:lnTo>
                  <a:lnTo>
                    <a:pt x="480" y="245"/>
                  </a:lnTo>
                  <a:lnTo>
                    <a:pt x="483" y="249"/>
                  </a:lnTo>
                  <a:lnTo>
                    <a:pt x="488" y="251"/>
                  </a:lnTo>
                  <a:lnTo>
                    <a:pt x="495" y="250"/>
                  </a:lnTo>
                  <a:lnTo>
                    <a:pt x="500" y="248"/>
                  </a:lnTo>
                  <a:lnTo>
                    <a:pt x="506" y="246"/>
                  </a:lnTo>
                  <a:lnTo>
                    <a:pt x="512" y="246"/>
                  </a:lnTo>
                  <a:lnTo>
                    <a:pt x="519" y="248"/>
                  </a:lnTo>
                  <a:lnTo>
                    <a:pt x="527" y="254"/>
                  </a:lnTo>
                  <a:lnTo>
                    <a:pt x="534" y="261"/>
                  </a:lnTo>
                  <a:lnTo>
                    <a:pt x="541" y="269"/>
                  </a:lnTo>
                  <a:lnTo>
                    <a:pt x="548" y="275"/>
                  </a:lnTo>
                  <a:lnTo>
                    <a:pt x="554" y="277"/>
                  </a:lnTo>
                  <a:lnTo>
                    <a:pt x="563" y="276"/>
                  </a:lnTo>
                  <a:lnTo>
                    <a:pt x="570" y="275"/>
                  </a:lnTo>
                  <a:lnTo>
                    <a:pt x="576" y="275"/>
                  </a:lnTo>
                  <a:lnTo>
                    <a:pt x="582" y="274"/>
                  </a:lnTo>
                  <a:lnTo>
                    <a:pt x="588" y="274"/>
                  </a:lnTo>
                  <a:lnTo>
                    <a:pt x="595" y="276"/>
                  </a:lnTo>
                  <a:lnTo>
                    <a:pt x="598" y="278"/>
                  </a:lnTo>
                  <a:lnTo>
                    <a:pt x="604" y="284"/>
                  </a:lnTo>
                  <a:lnTo>
                    <a:pt x="606" y="285"/>
                  </a:lnTo>
                  <a:lnTo>
                    <a:pt x="607" y="285"/>
                  </a:lnTo>
                  <a:lnTo>
                    <a:pt x="608" y="283"/>
                  </a:lnTo>
                  <a:lnTo>
                    <a:pt x="610" y="278"/>
                  </a:lnTo>
                  <a:lnTo>
                    <a:pt x="618" y="264"/>
                  </a:lnTo>
                  <a:lnTo>
                    <a:pt x="621" y="260"/>
                  </a:lnTo>
                  <a:lnTo>
                    <a:pt x="621" y="258"/>
                  </a:lnTo>
                  <a:lnTo>
                    <a:pt x="620" y="254"/>
                  </a:lnTo>
                  <a:lnTo>
                    <a:pt x="617" y="249"/>
                  </a:lnTo>
                  <a:lnTo>
                    <a:pt x="615" y="243"/>
                  </a:lnTo>
                  <a:lnTo>
                    <a:pt x="614" y="237"/>
                  </a:lnTo>
                  <a:lnTo>
                    <a:pt x="616" y="232"/>
                  </a:lnTo>
                  <a:lnTo>
                    <a:pt x="620" y="228"/>
                  </a:lnTo>
                  <a:lnTo>
                    <a:pt x="622" y="223"/>
                  </a:lnTo>
                  <a:lnTo>
                    <a:pt x="624" y="220"/>
                  </a:lnTo>
                  <a:lnTo>
                    <a:pt x="628" y="217"/>
                  </a:lnTo>
                  <a:lnTo>
                    <a:pt x="634" y="217"/>
                  </a:lnTo>
                  <a:lnTo>
                    <a:pt x="640" y="218"/>
                  </a:lnTo>
                  <a:lnTo>
                    <a:pt x="643" y="220"/>
                  </a:lnTo>
                  <a:lnTo>
                    <a:pt x="645" y="222"/>
                  </a:lnTo>
                  <a:lnTo>
                    <a:pt x="648" y="224"/>
                  </a:lnTo>
                  <a:lnTo>
                    <a:pt x="652" y="226"/>
                  </a:lnTo>
                  <a:lnTo>
                    <a:pt x="658" y="228"/>
                  </a:lnTo>
                  <a:lnTo>
                    <a:pt x="666" y="232"/>
                  </a:lnTo>
                  <a:lnTo>
                    <a:pt x="675" y="239"/>
                  </a:lnTo>
                  <a:lnTo>
                    <a:pt x="683" y="246"/>
                  </a:lnTo>
                  <a:lnTo>
                    <a:pt x="689" y="252"/>
                  </a:lnTo>
                  <a:lnTo>
                    <a:pt x="692" y="256"/>
                  </a:lnTo>
                  <a:lnTo>
                    <a:pt x="693" y="259"/>
                  </a:lnTo>
                  <a:lnTo>
                    <a:pt x="696" y="261"/>
                  </a:lnTo>
                  <a:lnTo>
                    <a:pt x="701" y="262"/>
                  </a:lnTo>
                  <a:lnTo>
                    <a:pt x="708" y="265"/>
                  </a:lnTo>
                  <a:lnTo>
                    <a:pt x="713" y="269"/>
                  </a:lnTo>
                  <a:lnTo>
                    <a:pt x="718" y="274"/>
                  </a:lnTo>
                  <a:lnTo>
                    <a:pt x="723" y="280"/>
                  </a:lnTo>
                  <a:lnTo>
                    <a:pt x="726" y="285"/>
                  </a:lnTo>
                  <a:lnTo>
                    <a:pt x="727" y="289"/>
                  </a:lnTo>
                  <a:lnTo>
                    <a:pt x="725" y="292"/>
                  </a:lnTo>
                  <a:lnTo>
                    <a:pt x="719" y="294"/>
                  </a:lnTo>
                  <a:lnTo>
                    <a:pt x="703" y="300"/>
                  </a:lnTo>
                  <a:lnTo>
                    <a:pt x="698" y="301"/>
                  </a:lnTo>
                  <a:lnTo>
                    <a:pt x="693" y="301"/>
                  </a:lnTo>
                  <a:lnTo>
                    <a:pt x="681" y="305"/>
                  </a:lnTo>
                  <a:lnTo>
                    <a:pt x="677" y="309"/>
                  </a:lnTo>
                  <a:lnTo>
                    <a:pt x="674" y="313"/>
                  </a:lnTo>
                  <a:lnTo>
                    <a:pt x="670" y="317"/>
                  </a:lnTo>
                  <a:lnTo>
                    <a:pt x="665" y="321"/>
                  </a:lnTo>
                  <a:lnTo>
                    <a:pt x="659" y="322"/>
                  </a:lnTo>
                  <a:lnTo>
                    <a:pt x="655" y="323"/>
                  </a:lnTo>
                  <a:lnTo>
                    <a:pt x="651" y="327"/>
                  </a:lnTo>
                  <a:lnTo>
                    <a:pt x="647" y="330"/>
                  </a:lnTo>
                  <a:lnTo>
                    <a:pt x="640" y="332"/>
                  </a:lnTo>
                  <a:lnTo>
                    <a:pt x="635" y="333"/>
                  </a:lnTo>
                  <a:lnTo>
                    <a:pt x="631" y="334"/>
                  </a:lnTo>
                  <a:lnTo>
                    <a:pt x="628" y="336"/>
                  </a:lnTo>
                  <a:lnTo>
                    <a:pt x="626" y="337"/>
                  </a:lnTo>
                  <a:lnTo>
                    <a:pt x="625" y="340"/>
                  </a:lnTo>
                  <a:lnTo>
                    <a:pt x="625" y="342"/>
                  </a:lnTo>
                  <a:lnTo>
                    <a:pt x="626" y="348"/>
                  </a:lnTo>
                  <a:lnTo>
                    <a:pt x="626" y="355"/>
                  </a:lnTo>
                  <a:lnTo>
                    <a:pt x="624" y="362"/>
                  </a:lnTo>
                  <a:lnTo>
                    <a:pt x="623" y="366"/>
                  </a:lnTo>
                  <a:lnTo>
                    <a:pt x="622" y="368"/>
                  </a:lnTo>
                  <a:lnTo>
                    <a:pt x="624" y="373"/>
                  </a:lnTo>
                  <a:lnTo>
                    <a:pt x="628" y="379"/>
                  </a:lnTo>
                  <a:lnTo>
                    <a:pt x="633" y="383"/>
                  </a:lnTo>
                  <a:lnTo>
                    <a:pt x="636" y="388"/>
                  </a:lnTo>
                  <a:lnTo>
                    <a:pt x="637" y="394"/>
                  </a:lnTo>
                  <a:lnTo>
                    <a:pt x="636" y="400"/>
                  </a:lnTo>
                  <a:lnTo>
                    <a:pt x="634" y="404"/>
                  </a:lnTo>
                  <a:lnTo>
                    <a:pt x="632" y="406"/>
                  </a:lnTo>
                  <a:lnTo>
                    <a:pt x="626" y="406"/>
                  </a:lnTo>
                  <a:lnTo>
                    <a:pt x="618" y="405"/>
                  </a:lnTo>
                  <a:lnTo>
                    <a:pt x="609" y="406"/>
                  </a:lnTo>
                  <a:lnTo>
                    <a:pt x="604" y="407"/>
                  </a:lnTo>
                  <a:lnTo>
                    <a:pt x="602" y="410"/>
                  </a:lnTo>
                  <a:lnTo>
                    <a:pt x="601" y="416"/>
                  </a:lnTo>
                  <a:lnTo>
                    <a:pt x="601" y="429"/>
                  </a:lnTo>
                  <a:lnTo>
                    <a:pt x="599" y="434"/>
                  </a:lnTo>
                  <a:lnTo>
                    <a:pt x="596" y="437"/>
                  </a:lnTo>
                  <a:lnTo>
                    <a:pt x="592" y="437"/>
                  </a:lnTo>
                  <a:lnTo>
                    <a:pt x="584" y="435"/>
                  </a:lnTo>
                  <a:lnTo>
                    <a:pt x="579" y="436"/>
                  </a:lnTo>
                  <a:lnTo>
                    <a:pt x="576" y="438"/>
                  </a:lnTo>
                  <a:lnTo>
                    <a:pt x="574" y="440"/>
                  </a:lnTo>
                  <a:lnTo>
                    <a:pt x="571" y="446"/>
                  </a:lnTo>
                  <a:lnTo>
                    <a:pt x="570" y="447"/>
                  </a:lnTo>
                  <a:lnTo>
                    <a:pt x="568" y="448"/>
                  </a:lnTo>
                  <a:lnTo>
                    <a:pt x="565" y="448"/>
                  </a:lnTo>
                  <a:lnTo>
                    <a:pt x="563" y="447"/>
                  </a:lnTo>
                  <a:lnTo>
                    <a:pt x="554" y="447"/>
                  </a:lnTo>
                  <a:lnTo>
                    <a:pt x="551" y="448"/>
                  </a:lnTo>
                  <a:lnTo>
                    <a:pt x="549" y="449"/>
                  </a:lnTo>
                  <a:lnTo>
                    <a:pt x="546" y="450"/>
                  </a:lnTo>
                  <a:lnTo>
                    <a:pt x="544" y="451"/>
                  </a:lnTo>
                  <a:lnTo>
                    <a:pt x="542" y="453"/>
                  </a:lnTo>
                  <a:lnTo>
                    <a:pt x="541" y="455"/>
                  </a:lnTo>
                  <a:lnTo>
                    <a:pt x="541" y="458"/>
                  </a:lnTo>
                  <a:lnTo>
                    <a:pt x="542" y="464"/>
                  </a:lnTo>
                  <a:lnTo>
                    <a:pt x="542" y="480"/>
                  </a:lnTo>
                  <a:lnTo>
                    <a:pt x="540" y="486"/>
                  </a:lnTo>
                  <a:lnTo>
                    <a:pt x="537" y="489"/>
                  </a:lnTo>
                  <a:lnTo>
                    <a:pt x="536" y="489"/>
                  </a:lnTo>
                  <a:lnTo>
                    <a:pt x="536" y="494"/>
                  </a:lnTo>
                  <a:lnTo>
                    <a:pt x="538" y="497"/>
                  </a:lnTo>
                  <a:lnTo>
                    <a:pt x="539" y="499"/>
                  </a:lnTo>
                  <a:lnTo>
                    <a:pt x="529" y="504"/>
                  </a:lnTo>
                  <a:lnTo>
                    <a:pt x="519" y="506"/>
                  </a:lnTo>
                  <a:lnTo>
                    <a:pt x="512" y="508"/>
                  </a:lnTo>
                  <a:lnTo>
                    <a:pt x="507" y="508"/>
                  </a:lnTo>
                  <a:lnTo>
                    <a:pt x="505" y="506"/>
                  </a:lnTo>
                  <a:lnTo>
                    <a:pt x="503" y="501"/>
                  </a:lnTo>
                  <a:lnTo>
                    <a:pt x="501" y="500"/>
                  </a:lnTo>
                  <a:lnTo>
                    <a:pt x="496" y="501"/>
                  </a:lnTo>
                  <a:lnTo>
                    <a:pt x="483" y="506"/>
                  </a:lnTo>
                  <a:lnTo>
                    <a:pt x="471" y="509"/>
                  </a:lnTo>
                  <a:lnTo>
                    <a:pt x="458" y="510"/>
                  </a:lnTo>
                  <a:lnTo>
                    <a:pt x="450" y="511"/>
                  </a:lnTo>
                  <a:lnTo>
                    <a:pt x="446" y="512"/>
                  </a:lnTo>
                  <a:lnTo>
                    <a:pt x="443" y="515"/>
                  </a:lnTo>
                  <a:lnTo>
                    <a:pt x="439" y="518"/>
                  </a:lnTo>
                  <a:lnTo>
                    <a:pt x="435" y="519"/>
                  </a:lnTo>
                  <a:lnTo>
                    <a:pt x="430" y="515"/>
                  </a:lnTo>
                  <a:lnTo>
                    <a:pt x="426" y="509"/>
                  </a:lnTo>
                  <a:lnTo>
                    <a:pt x="421" y="500"/>
                  </a:lnTo>
                  <a:lnTo>
                    <a:pt x="419" y="497"/>
                  </a:lnTo>
                  <a:lnTo>
                    <a:pt x="415" y="493"/>
                  </a:lnTo>
                  <a:lnTo>
                    <a:pt x="409" y="488"/>
                  </a:lnTo>
                  <a:lnTo>
                    <a:pt x="405" y="484"/>
                  </a:lnTo>
                  <a:lnTo>
                    <a:pt x="400" y="481"/>
                  </a:lnTo>
                  <a:lnTo>
                    <a:pt x="397" y="477"/>
                  </a:lnTo>
                  <a:lnTo>
                    <a:pt x="396" y="471"/>
                  </a:lnTo>
                  <a:lnTo>
                    <a:pt x="395" y="464"/>
                  </a:lnTo>
                  <a:lnTo>
                    <a:pt x="394" y="458"/>
                  </a:lnTo>
                  <a:lnTo>
                    <a:pt x="391" y="457"/>
                  </a:lnTo>
                  <a:lnTo>
                    <a:pt x="381" y="462"/>
                  </a:lnTo>
                  <a:lnTo>
                    <a:pt x="375" y="466"/>
                  </a:lnTo>
                  <a:lnTo>
                    <a:pt x="366" y="475"/>
                  </a:lnTo>
                  <a:lnTo>
                    <a:pt x="364" y="480"/>
                  </a:lnTo>
                  <a:lnTo>
                    <a:pt x="364" y="489"/>
                  </a:lnTo>
                  <a:lnTo>
                    <a:pt x="365" y="499"/>
                  </a:lnTo>
                  <a:lnTo>
                    <a:pt x="367" y="509"/>
                  </a:lnTo>
                  <a:lnTo>
                    <a:pt x="368" y="519"/>
                  </a:lnTo>
                  <a:lnTo>
                    <a:pt x="369" y="525"/>
                  </a:lnTo>
                  <a:lnTo>
                    <a:pt x="368" y="532"/>
                  </a:lnTo>
                  <a:lnTo>
                    <a:pt x="367" y="541"/>
                  </a:lnTo>
                  <a:lnTo>
                    <a:pt x="365" y="550"/>
                  </a:lnTo>
                  <a:lnTo>
                    <a:pt x="363" y="556"/>
                  </a:lnTo>
                  <a:lnTo>
                    <a:pt x="359" y="558"/>
                  </a:lnTo>
                  <a:lnTo>
                    <a:pt x="353" y="558"/>
                  </a:lnTo>
                  <a:lnTo>
                    <a:pt x="345" y="557"/>
                  </a:lnTo>
                  <a:lnTo>
                    <a:pt x="338" y="556"/>
                  </a:lnTo>
                  <a:lnTo>
                    <a:pt x="335" y="554"/>
                  </a:lnTo>
                  <a:lnTo>
                    <a:pt x="333" y="551"/>
                  </a:lnTo>
                  <a:lnTo>
                    <a:pt x="332" y="545"/>
                  </a:lnTo>
                  <a:lnTo>
                    <a:pt x="332" y="539"/>
                  </a:lnTo>
                  <a:lnTo>
                    <a:pt x="333" y="534"/>
                  </a:lnTo>
                  <a:lnTo>
                    <a:pt x="332" y="530"/>
                  </a:lnTo>
                  <a:lnTo>
                    <a:pt x="328" y="527"/>
                  </a:lnTo>
                  <a:lnTo>
                    <a:pt x="314" y="527"/>
                  </a:lnTo>
                  <a:lnTo>
                    <a:pt x="308" y="528"/>
                  </a:lnTo>
                  <a:lnTo>
                    <a:pt x="304" y="528"/>
                  </a:lnTo>
                  <a:lnTo>
                    <a:pt x="303" y="527"/>
                  </a:lnTo>
                  <a:lnTo>
                    <a:pt x="303" y="526"/>
                  </a:lnTo>
                  <a:lnTo>
                    <a:pt x="302" y="525"/>
                  </a:lnTo>
                  <a:lnTo>
                    <a:pt x="302" y="524"/>
                  </a:lnTo>
                  <a:lnTo>
                    <a:pt x="301" y="522"/>
                  </a:lnTo>
                  <a:lnTo>
                    <a:pt x="298" y="519"/>
                  </a:lnTo>
                  <a:lnTo>
                    <a:pt x="296" y="520"/>
                  </a:lnTo>
                  <a:lnTo>
                    <a:pt x="295" y="522"/>
                  </a:lnTo>
                  <a:lnTo>
                    <a:pt x="289" y="526"/>
                  </a:lnTo>
                  <a:lnTo>
                    <a:pt x="287" y="527"/>
                  </a:lnTo>
                  <a:lnTo>
                    <a:pt x="285" y="526"/>
                  </a:lnTo>
                  <a:lnTo>
                    <a:pt x="284" y="526"/>
                  </a:lnTo>
                  <a:lnTo>
                    <a:pt x="280" y="516"/>
                  </a:lnTo>
                  <a:lnTo>
                    <a:pt x="278" y="514"/>
                  </a:lnTo>
                  <a:lnTo>
                    <a:pt x="276" y="513"/>
                  </a:lnTo>
                  <a:lnTo>
                    <a:pt x="269" y="512"/>
                  </a:lnTo>
                  <a:lnTo>
                    <a:pt x="261" y="513"/>
                  </a:lnTo>
                  <a:lnTo>
                    <a:pt x="253" y="515"/>
                  </a:lnTo>
                  <a:lnTo>
                    <a:pt x="246" y="518"/>
                  </a:lnTo>
                  <a:lnTo>
                    <a:pt x="236" y="524"/>
                  </a:lnTo>
                  <a:lnTo>
                    <a:pt x="230" y="527"/>
                  </a:lnTo>
                  <a:lnTo>
                    <a:pt x="225" y="530"/>
                  </a:lnTo>
                  <a:lnTo>
                    <a:pt x="222" y="535"/>
                  </a:lnTo>
                  <a:lnTo>
                    <a:pt x="224" y="540"/>
                  </a:lnTo>
                  <a:lnTo>
                    <a:pt x="230" y="546"/>
                  </a:lnTo>
                  <a:lnTo>
                    <a:pt x="239" y="553"/>
                  </a:lnTo>
                  <a:lnTo>
                    <a:pt x="247" y="561"/>
                  </a:lnTo>
                  <a:lnTo>
                    <a:pt x="253" y="569"/>
                  </a:lnTo>
                  <a:lnTo>
                    <a:pt x="254" y="573"/>
                  </a:lnTo>
                  <a:lnTo>
                    <a:pt x="252" y="575"/>
                  </a:lnTo>
                  <a:lnTo>
                    <a:pt x="248" y="574"/>
                  </a:lnTo>
                  <a:lnTo>
                    <a:pt x="243" y="573"/>
                  </a:lnTo>
                  <a:lnTo>
                    <a:pt x="237" y="571"/>
                  </a:lnTo>
                  <a:lnTo>
                    <a:pt x="232" y="569"/>
                  </a:lnTo>
                  <a:lnTo>
                    <a:pt x="228" y="568"/>
                  </a:lnTo>
                  <a:lnTo>
                    <a:pt x="224" y="569"/>
                  </a:lnTo>
                  <a:lnTo>
                    <a:pt x="222" y="573"/>
                  </a:lnTo>
                  <a:lnTo>
                    <a:pt x="221" y="578"/>
                  </a:lnTo>
                  <a:lnTo>
                    <a:pt x="220" y="586"/>
                  </a:lnTo>
                  <a:lnTo>
                    <a:pt x="218" y="589"/>
                  </a:lnTo>
                  <a:lnTo>
                    <a:pt x="214" y="589"/>
                  </a:lnTo>
                  <a:lnTo>
                    <a:pt x="209" y="587"/>
                  </a:lnTo>
                  <a:lnTo>
                    <a:pt x="197" y="581"/>
                  </a:lnTo>
                  <a:lnTo>
                    <a:pt x="192" y="580"/>
                  </a:lnTo>
                  <a:lnTo>
                    <a:pt x="189" y="578"/>
                  </a:lnTo>
                  <a:lnTo>
                    <a:pt x="188" y="573"/>
                  </a:lnTo>
                  <a:lnTo>
                    <a:pt x="187" y="566"/>
                  </a:lnTo>
                  <a:lnTo>
                    <a:pt x="187" y="542"/>
                  </a:lnTo>
                  <a:lnTo>
                    <a:pt x="185" y="536"/>
                  </a:lnTo>
                  <a:lnTo>
                    <a:pt x="180" y="529"/>
                  </a:lnTo>
                  <a:lnTo>
                    <a:pt x="174" y="526"/>
                  </a:lnTo>
                  <a:lnTo>
                    <a:pt x="165" y="524"/>
                  </a:lnTo>
                  <a:lnTo>
                    <a:pt x="160" y="522"/>
                  </a:lnTo>
                  <a:lnTo>
                    <a:pt x="158" y="520"/>
                  </a:lnTo>
                  <a:lnTo>
                    <a:pt x="157" y="517"/>
                  </a:lnTo>
                  <a:lnTo>
                    <a:pt x="154" y="513"/>
                  </a:lnTo>
                  <a:lnTo>
                    <a:pt x="150" y="511"/>
                  </a:lnTo>
                  <a:lnTo>
                    <a:pt x="134" y="507"/>
                  </a:lnTo>
                  <a:lnTo>
                    <a:pt x="130" y="505"/>
                  </a:lnTo>
                  <a:lnTo>
                    <a:pt x="128" y="500"/>
                  </a:lnTo>
                  <a:lnTo>
                    <a:pt x="127" y="495"/>
                  </a:lnTo>
                  <a:lnTo>
                    <a:pt x="127" y="490"/>
                  </a:lnTo>
                  <a:lnTo>
                    <a:pt x="126" y="485"/>
                  </a:lnTo>
                  <a:lnTo>
                    <a:pt x="122" y="477"/>
                  </a:lnTo>
                  <a:lnTo>
                    <a:pt x="114" y="472"/>
                  </a:lnTo>
                  <a:lnTo>
                    <a:pt x="96" y="466"/>
                  </a:lnTo>
                  <a:lnTo>
                    <a:pt x="92" y="463"/>
                  </a:lnTo>
                  <a:lnTo>
                    <a:pt x="91" y="460"/>
                  </a:lnTo>
                  <a:lnTo>
                    <a:pt x="90" y="456"/>
                  </a:lnTo>
                  <a:lnTo>
                    <a:pt x="88" y="452"/>
                  </a:lnTo>
                  <a:lnTo>
                    <a:pt x="84" y="449"/>
                  </a:lnTo>
                  <a:lnTo>
                    <a:pt x="79" y="448"/>
                  </a:lnTo>
                  <a:lnTo>
                    <a:pt x="63" y="448"/>
                  </a:lnTo>
                  <a:lnTo>
                    <a:pt x="54" y="449"/>
                  </a:lnTo>
                  <a:lnTo>
                    <a:pt x="45" y="453"/>
                  </a:lnTo>
                  <a:lnTo>
                    <a:pt x="45" y="430"/>
                  </a:lnTo>
                  <a:lnTo>
                    <a:pt x="46" y="421"/>
                  </a:lnTo>
                  <a:lnTo>
                    <a:pt x="49" y="416"/>
                  </a:lnTo>
                  <a:lnTo>
                    <a:pt x="51" y="413"/>
                  </a:lnTo>
                  <a:lnTo>
                    <a:pt x="50" y="408"/>
                  </a:lnTo>
                  <a:lnTo>
                    <a:pt x="48" y="403"/>
                  </a:lnTo>
                  <a:lnTo>
                    <a:pt x="45" y="399"/>
                  </a:lnTo>
                  <a:lnTo>
                    <a:pt x="42" y="396"/>
                  </a:lnTo>
                  <a:lnTo>
                    <a:pt x="38" y="395"/>
                  </a:lnTo>
                  <a:lnTo>
                    <a:pt x="33" y="396"/>
                  </a:lnTo>
                  <a:lnTo>
                    <a:pt x="28" y="398"/>
                  </a:lnTo>
                  <a:lnTo>
                    <a:pt x="24" y="402"/>
                  </a:lnTo>
                  <a:lnTo>
                    <a:pt x="23" y="405"/>
                  </a:lnTo>
                  <a:lnTo>
                    <a:pt x="23" y="408"/>
                  </a:lnTo>
                  <a:lnTo>
                    <a:pt x="22" y="411"/>
                  </a:lnTo>
                  <a:lnTo>
                    <a:pt x="21" y="413"/>
                  </a:lnTo>
                  <a:lnTo>
                    <a:pt x="19" y="415"/>
                  </a:lnTo>
                  <a:lnTo>
                    <a:pt x="17" y="415"/>
                  </a:lnTo>
                  <a:lnTo>
                    <a:pt x="13" y="414"/>
                  </a:lnTo>
                  <a:lnTo>
                    <a:pt x="7" y="412"/>
                  </a:lnTo>
                  <a:lnTo>
                    <a:pt x="2" y="409"/>
                  </a:lnTo>
                  <a:lnTo>
                    <a:pt x="0" y="404"/>
                  </a:lnTo>
                  <a:lnTo>
                    <a:pt x="2" y="398"/>
                  </a:lnTo>
                  <a:lnTo>
                    <a:pt x="6" y="393"/>
                  </a:lnTo>
                  <a:lnTo>
                    <a:pt x="11" y="386"/>
                  </a:lnTo>
                  <a:lnTo>
                    <a:pt x="13" y="378"/>
                  </a:lnTo>
                  <a:lnTo>
                    <a:pt x="13" y="370"/>
                  </a:lnTo>
                  <a:lnTo>
                    <a:pt x="17" y="351"/>
                  </a:lnTo>
                  <a:lnTo>
                    <a:pt x="21" y="343"/>
                  </a:lnTo>
                  <a:lnTo>
                    <a:pt x="26" y="338"/>
                  </a:lnTo>
                  <a:lnTo>
                    <a:pt x="33" y="335"/>
                  </a:lnTo>
                  <a:lnTo>
                    <a:pt x="36" y="333"/>
                  </a:lnTo>
                  <a:lnTo>
                    <a:pt x="39" y="329"/>
                  </a:lnTo>
                  <a:lnTo>
                    <a:pt x="41" y="324"/>
                  </a:lnTo>
                  <a:lnTo>
                    <a:pt x="44" y="317"/>
                  </a:lnTo>
                  <a:lnTo>
                    <a:pt x="47" y="311"/>
                  </a:lnTo>
                  <a:lnTo>
                    <a:pt x="48" y="307"/>
                  </a:lnTo>
                  <a:lnTo>
                    <a:pt x="45" y="305"/>
                  </a:lnTo>
                  <a:lnTo>
                    <a:pt x="40" y="301"/>
                  </a:lnTo>
                  <a:lnTo>
                    <a:pt x="33" y="297"/>
                  </a:lnTo>
                  <a:lnTo>
                    <a:pt x="28" y="293"/>
                  </a:lnTo>
                  <a:lnTo>
                    <a:pt x="24" y="289"/>
                  </a:lnTo>
                  <a:lnTo>
                    <a:pt x="24" y="286"/>
                  </a:lnTo>
                  <a:lnTo>
                    <a:pt x="28" y="284"/>
                  </a:lnTo>
                  <a:lnTo>
                    <a:pt x="37" y="284"/>
                  </a:lnTo>
                  <a:lnTo>
                    <a:pt x="42" y="283"/>
                  </a:lnTo>
                  <a:lnTo>
                    <a:pt x="45" y="282"/>
                  </a:lnTo>
                  <a:lnTo>
                    <a:pt x="46" y="278"/>
                  </a:lnTo>
                  <a:lnTo>
                    <a:pt x="44" y="273"/>
                  </a:lnTo>
                  <a:lnTo>
                    <a:pt x="40" y="269"/>
                  </a:lnTo>
                  <a:lnTo>
                    <a:pt x="37" y="265"/>
                  </a:lnTo>
                  <a:lnTo>
                    <a:pt x="35" y="261"/>
                  </a:lnTo>
                  <a:lnTo>
                    <a:pt x="36" y="258"/>
                  </a:lnTo>
                  <a:lnTo>
                    <a:pt x="42" y="256"/>
                  </a:lnTo>
                  <a:lnTo>
                    <a:pt x="53" y="256"/>
                  </a:lnTo>
                  <a:lnTo>
                    <a:pt x="62" y="258"/>
                  </a:lnTo>
                  <a:lnTo>
                    <a:pt x="70" y="260"/>
                  </a:lnTo>
                  <a:lnTo>
                    <a:pt x="76" y="260"/>
                  </a:lnTo>
                  <a:lnTo>
                    <a:pt x="78" y="259"/>
                  </a:lnTo>
                  <a:lnTo>
                    <a:pt x="81" y="258"/>
                  </a:lnTo>
                  <a:lnTo>
                    <a:pt x="85" y="258"/>
                  </a:lnTo>
                  <a:lnTo>
                    <a:pt x="87" y="257"/>
                  </a:lnTo>
                  <a:lnTo>
                    <a:pt x="89" y="257"/>
                  </a:lnTo>
                  <a:lnTo>
                    <a:pt x="90" y="256"/>
                  </a:lnTo>
                  <a:lnTo>
                    <a:pt x="90" y="253"/>
                  </a:lnTo>
                  <a:lnTo>
                    <a:pt x="89" y="250"/>
                  </a:lnTo>
                  <a:lnTo>
                    <a:pt x="84" y="244"/>
                  </a:lnTo>
                  <a:lnTo>
                    <a:pt x="74" y="234"/>
                  </a:lnTo>
                  <a:lnTo>
                    <a:pt x="72" y="231"/>
                  </a:lnTo>
                  <a:lnTo>
                    <a:pt x="73" y="224"/>
                  </a:lnTo>
                  <a:lnTo>
                    <a:pt x="72" y="216"/>
                  </a:lnTo>
                  <a:lnTo>
                    <a:pt x="70" y="208"/>
                  </a:lnTo>
                  <a:lnTo>
                    <a:pt x="68" y="205"/>
                  </a:lnTo>
                  <a:lnTo>
                    <a:pt x="67" y="203"/>
                  </a:lnTo>
                  <a:lnTo>
                    <a:pt x="67" y="201"/>
                  </a:lnTo>
                  <a:lnTo>
                    <a:pt x="77" y="201"/>
                  </a:lnTo>
                  <a:lnTo>
                    <a:pt x="81" y="203"/>
                  </a:lnTo>
                  <a:lnTo>
                    <a:pt x="84" y="206"/>
                  </a:lnTo>
                  <a:lnTo>
                    <a:pt x="85" y="206"/>
                  </a:lnTo>
                  <a:lnTo>
                    <a:pt x="87" y="205"/>
                  </a:lnTo>
                  <a:lnTo>
                    <a:pt x="88" y="203"/>
                  </a:lnTo>
                  <a:lnTo>
                    <a:pt x="92" y="196"/>
                  </a:lnTo>
                  <a:lnTo>
                    <a:pt x="95" y="190"/>
                  </a:lnTo>
                  <a:lnTo>
                    <a:pt x="96" y="185"/>
                  </a:lnTo>
                  <a:lnTo>
                    <a:pt x="93" y="180"/>
                  </a:lnTo>
                  <a:lnTo>
                    <a:pt x="87" y="177"/>
                  </a:lnTo>
                  <a:lnTo>
                    <a:pt x="78" y="174"/>
                  </a:lnTo>
                  <a:lnTo>
                    <a:pt x="68" y="170"/>
                  </a:lnTo>
                  <a:lnTo>
                    <a:pt x="59" y="166"/>
                  </a:lnTo>
                  <a:lnTo>
                    <a:pt x="54" y="162"/>
                  </a:lnTo>
                  <a:lnTo>
                    <a:pt x="51" y="156"/>
                  </a:lnTo>
                  <a:lnTo>
                    <a:pt x="43" y="144"/>
                  </a:lnTo>
                  <a:lnTo>
                    <a:pt x="40" y="140"/>
                  </a:lnTo>
                  <a:lnTo>
                    <a:pt x="38" y="138"/>
                  </a:lnTo>
                  <a:lnTo>
                    <a:pt x="37" y="138"/>
                  </a:lnTo>
                  <a:lnTo>
                    <a:pt x="35" y="139"/>
                  </a:lnTo>
                  <a:lnTo>
                    <a:pt x="34" y="141"/>
                  </a:lnTo>
                  <a:lnTo>
                    <a:pt x="31" y="143"/>
                  </a:lnTo>
                  <a:lnTo>
                    <a:pt x="30" y="144"/>
                  </a:lnTo>
                  <a:lnTo>
                    <a:pt x="28" y="144"/>
                  </a:lnTo>
                  <a:lnTo>
                    <a:pt x="27" y="143"/>
                  </a:lnTo>
                  <a:lnTo>
                    <a:pt x="23" y="135"/>
                  </a:lnTo>
                  <a:lnTo>
                    <a:pt x="18" y="129"/>
                  </a:lnTo>
                  <a:lnTo>
                    <a:pt x="14" y="122"/>
                  </a:lnTo>
                  <a:lnTo>
                    <a:pt x="12" y="115"/>
                  </a:lnTo>
                  <a:lnTo>
                    <a:pt x="13" y="109"/>
                  </a:lnTo>
                  <a:lnTo>
                    <a:pt x="19" y="102"/>
                  </a:lnTo>
                  <a:lnTo>
                    <a:pt x="26" y="95"/>
                  </a:lnTo>
                  <a:lnTo>
                    <a:pt x="33" y="91"/>
                  </a:lnTo>
                  <a:lnTo>
                    <a:pt x="41" y="88"/>
                  </a:lnTo>
                  <a:lnTo>
                    <a:pt x="49" y="87"/>
                  </a:lnTo>
                  <a:lnTo>
                    <a:pt x="65" y="87"/>
                  </a:lnTo>
                  <a:lnTo>
                    <a:pt x="71" y="85"/>
                  </a:lnTo>
                  <a:lnTo>
                    <a:pt x="75" y="82"/>
                  </a:lnTo>
                  <a:lnTo>
                    <a:pt x="76" y="77"/>
                  </a:lnTo>
                  <a:lnTo>
                    <a:pt x="78" y="65"/>
                  </a:lnTo>
                  <a:lnTo>
                    <a:pt x="80" y="62"/>
                  </a:lnTo>
                  <a:lnTo>
                    <a:pt x="85" y="60"/>
                  </a:lnTo>
                  <a:lnTo>
                    <a:pt x="100" y="60"/>
                  </a:lnTo>
                  <a:lnTo>
                    <a:pt x="107" y="57"/>
                  </a:lnTo>
                  <a:lnTo>
                    <a:pt x="115" y="50"/>
                  </a:lnTo>
                  <a:lnTo>
                    <a:pt x="121" y="42"/>
                  </a:lnTo>
                  <a:lnTo>
                    <a:pt x="126" y="33"/>
                  </a:lnTo>
                  <a:lnTo>
                    <a:pt x="130" y="26"/>
                  </a:lnTo>
                  <a:lnTo>
                    <a:pt x="135" y="20"/>
                  </a:lnTo>
                  <a:lnTo>
                    <a:pt x="140" y="18"/>
                  </a:lnTo>
                  <a:lnTo>
                    <a:pt x="147" y="20"/>
                  </a:lnTo>
                  <a:lnTo>
                    <a:pt x="154" y="23"/>
                  </a:lnTo>
                  <a:lnTo>
                    <a:pt x="161" y="27"/>
                  </a:lnTo>
                  <a:lnTo>
                    <a:pt x="168" y="30"/>
                  </a:lnTo>
                  <a:lnTo>
                    <a:pt x="174" y="29"/>
                  </a:lnTo>
                  <a:lnTo>
                    <a:pt x="181" y="27"/>
                  </a:lnTo>
                  <a:lnTo>
                    <a:pt x="189" y="26"/>
                  </a:lnTo>
                  <a:lnTo>
                    <a:pt x="197" y="26"/>
                  </a:lnTo>
                  <a:lnTo>
                    <a:pt x="201" y="24"/>
                  </a:lnTo>
                  <a:lnTo>
                    <a:pt x="202" y="21"/>
                  </a:lnTo>
                  <a:lnTo>
                    <a:pt x="201" y="16"/>
                  </a:lnTo>
                  <a:lnTo>
                    <a:pt x="199" y="11"/>
                  </a:lnTo>
                  <a:lnTo>
                    <a:pt x="198" y="6"/>
                  </a:lnTo>
                  <a:lnTo>
                    <a:pt x="200" y="2"/>
                  </a:lnTo>
                  <a:lnTo>
                    <a:pt x="205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517C2B96-1041-4690-B422-98318E8ABE22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4813" y="4189413"/>
              <a:ext cx="2070100" cy="2133600"/>
            </a:xfrm>
            <a:custGeom>
              <a:avLst/>
              <a:gdLst/>
              <a:ahLst/>
              <a:cxnLst>
                <a:cxn ang="0">
                  <a:pos x="367" y="59"/>
                </a:cxn>
                <a:cxn ang="0">
                  <a:pos x="442" y="139"/>
                </a:cxn>
                <a:cxn ang="0">
                  <a:pos x="472" y="105"/>
                </a:cxn>
                <a:cxn ang="0">
                  <a:pos x="520" y="79"/>
                </a:cxn>
                <a:cxn ang="0">
                  <a:pos x="565" y="91"/>
                </a:cxn>
                <a:cxn ang="0">
                  <a:pos x="597" y="41"/>
                </a:cxn>
                <a:cxn ang="0">
                  <a:pos x="659" y="61"/>
                </a:cxn>
                <a:cxn ang="0">
                  <a:pos x="752" y="58"/>
                </a:cxn>
                <a:cxn ang="0">
                  <a:pos x="825" y="119"/>
                </a:cxn>
                <a:cxn ang="0">
                  <a:pos x="869" y="196"/>
                </a:cxn>
                <a:cxn ang="0">
                  <a:pos x="940" y="246"/>
                </a:cxn>
                <a:cxn ang="0">
                  <a:pos x="911" y="332"/>
                </a:cxn>
                <a:cxn ang="0">
                  <a:pos x="962" y="408"/>
                </a:cxn>
                <a:cxn ang="0">
                  <a:pos x="1032" y="488"/>
                </a:cxn>
                <a:cxn ang="0">
                  <a:pos x="1107" y="546"/>
                </a:cxn>
                <a:cxn ang="0">
                  <a:pos x="1211" y="635"/>
                </a:cxn>
                <a:cxn ang="0">
                  <a:pos x="1276" y="664"/>
                </a:cxn>
                <a:cxn ang="0">
                  <a:pos x="1290" y="788"/>
                </a:cxn>
                <a:cxn ang="0">
                  <a:pos x="1209" y="789"/>
                </a:cxn>
                <a:cxn ang="0">
                  <a:pos x="1171" y="897"/>
                </a:cxn>
                <a:cxn ang="0">
                  <a:pos x="1048" y="961"/>
                </a:cxn>
                <a:cxn ang="0">
                  <a:pos x="1072" y="1050"/>
                </a:cxn>
                <a:cxn ang="0">
                  <a:pos x="1103" y="1147"/>
                </a:cxn>
                <a:cxn ang="0">
                  <a:pos x="1107" y="1221"/>
                </a:cxn>
                <a:cxn ang="0">
                  <a:pos x="1039" y="1209"/>
                </a:cxn>
                <a:cxn ang="0">
                  <a:pos x="967" y="1186"/>
                </a:cxn>
                <a:cxn ang="0">
                  <a:pos x="887" y="1162"/>
                </a:cxn>
                <a:cxn ang="0">
                  <a:pos x="873" y="1192"/>
                </a:cxn>
                <a:cxn ang="0">
                  <a:pos x="713" y="1216"/>
                </a:cxn>
                <a:cxn ang="0">
                  <a:pos x="630" y="1278"/>
                </a:cxn>
                <a:cxn ang="0">
                  <a:pos x="541" y="1294"/>
                </a:cxn>
                <a:cxn ang="0">
                  <a:pos x="513" y="1243"/>
                </a:cxn>
                <a:cxn ang="0">
                  <a:pos x="407" y="1235"/>
                </a:cxn>
                <a:cxn ang="0">
                  <a:pos x="389" y="1249"/>
                </a:cxn>
                <a:cxn ang="0">
                  <a:pos x="312" y="1343"/>
                </a:cxn>
                <a:cxn ang="0">
                  <a:pos x="290" y="1300"/>
                </a:cxn>
                <a:cxn ang="0">
                  <a:pos x="232" y="1235"/>
                </a:cxn>
                <a:cxn ang="0">
                  <a:pos x="172" y="1233"/>
                </a:cxn>
                <a:cxn ang="0">
                  <a:pos x="233" y="1183"/>
                </a:cxn>
                <a:cxn ang="0">
                  <a:pos x="287" y="1145"/>
                </a:cxn>
                <a:cxn ang="0">
                  <a:pos x="305" y="1020"/>
                </a:cxn>
                <a:cxn ang="0">
                  <a:pos x="277" y="859"/>
                </a:cxn>
                <a:cxn ang="0">
                  <a:pos x="342" y="778"/>
                </a:cxn>
                <a:cxn ang="0">
                  <a:pos x="385" y="770"/>
                </a:cxn>
                <a:cxn ang="0">
                  <a:pos x="383" y="720"/>
                </a:cxn>
                <a:cxn ang="0">
                  <a:pos x="352" y="621"/>
                </a:cxn>
                <a:cxn ang="0">
                  <a:pos x="337" y="581"/>
                </a:cxn>
                <a:cxn ang="0">
                  <a:pos x="295" y="485"/>
                </a:cxn>
                <a:cxn ang="0">
                  <a:pos x="279" y="433"/>
                </a:cxn>
                <a:cxn ang="0">
                  <a:pos x="232" y="410"/>
                </a:cxn>
                <a:cxn ang="0">
                  <a:pos x="196" y="348"/>
                </a:cxn>
                <a:cxn ang="0">
                  <a:pos x="174" y="317"/>
                </a:cxn>
                <a:cxn ang="0">
                  <a:pos x="86" y="327"/>
                </a:cxn>
                <a:cxn ang="0">
                  <a:pos x="112" y="341"/>
                </a:cxn>
                <a:cxn ang="0">
                  <a:pos x="78" y="389"/>
                </a:cxn>
                <a:cxn ang="0">
                  <a:pos x="26" y="378"/>
                </a:cxn>
                <a:cxn ang="0">
                  <a:pos x="15" y="289"/>
                </a:cxn>
                <a:cxn ang="0">
                  <a:pos x="0" y="200"/>
                </a:cxn>
                <a:cxn ang="0">
                  <a:pos x="57" y="163"/>
                </a:cxn>
                <a:cxn ang="0">
                  <a:pos x="135" y="168"/>
                </a:cxn>
                <a:cxn ang="0">
                  <a:pos x="176" y="121"/>
                </a:cxn>
                <a:cxn ang="0">
                  <a:pos x="225" y="58"/>
                </a:cxn>
              </a:cxnLst>
              <a:rect l="0" t="0" r="r" b="b"/>
              <a:pathLst>
                <a:path w="1304" h="1344">
                  <a:moveTo>
                    <a:pt x="296" y="0"/>
                  </a:moveTo>
                  <a:lnTo>
                    <a:pt x="312" y="0"/>
                  </a:lnTo>
                  <a:lnTo>
                    <a:pt x="317" y="1"/>
                  </a:lnTo>
                  <a:lnTo>
                    <a:pt x="321" y="4"/>
                  </a:lnTo>
                  <a:lnTo>
                    <a:pt x="323" y="8"/>
                  </a:lnTo>
                  <a:lnTo>
                    <a:pt x="324" y="12"/>
                  </a:lnTo>
                  <a:lnTo>
                    <a:pt x="325" y="15"/>
                  </a:lnTo>
                  <a:lnTo>
                    <a:pt x="329" y="18"/>
                  </a:lnTo>
                  <a:lnTo>
                    <a:pt x="347" y="24"/>
                  </a:lnTo>
                  <a:lnTo>
                    <a:pt x="355" y="29"/>
                  </a:lnTo>
                  <a:lnTo>
                    <a:pt x="359" y="37"/>
                  </a:lnTo>
                  <a:lnTo>
                    <a:pt x="360" y="42"/>
                  </a:lnTo>
                  <a:lnTo>
                    <a:pt x="360" y="47"/>
                  </a:lnTo>
                  <a:lnTo>
                    <a:pt x="361" y="52"/>
                  </a:lnTo>
                  <a:lnTo>
                    <a:pt x="363" y="57"/>
                  </a:lnTo>
                  <a:lnTo>
                    <a:pt x="367" y="59"/>
                  </a:lnTo>
                  <a:lnTo>
                    <a:pt x="383" y="63"/>
                  </a:lnTo>
                  <a:lnTo>
                    <a:pt x="387" y="65"/>
                  </a:lnTo>
                  <a:lnTo>
                    <a:pt x="390" y="69"/>
                  </a:lnTo>
                  <a:lnTo>
                    <a:pt x="391" y="72"/>
                  </a:lnTo>
                  <a:lnTo>
                    <a:pt x="393" y="74"/>
                  </a:lnTo>
                  <a:lnTo>
                    <a:pt x="398" y="76"/>
                  </a:lnTo>
                  <a:lnTo>
                    <a:pt x="407" y="78"/>
                  </a:lnTo>
                  <a:lnTo>
                    <a:pt x="413" y="81"/>
                  </a:lnTo>
                  <a:lnTo>
                    <a:pt x="418" y="88"/>
                  </a:lnTo>
                  <a:lnTo>
                    <a:pt x="420" y="94"/>
                  </a:lnTo>
                  <a:lnTo>
                    <a:pt x="420" y="118"/>
                  </a:lnTo>
                  <a:lnTo>
                    <a:pt x="421" y="125"/>
                  </a:lnTo>
                  <a:lnTo>
                    <a:pt x="422" y="130"/>
                  </a:lnTo>
                  <a:lnTo>
                    <a:pt x="425" y="132"/>
                  </a:lnTo>
                  <a:lnTo>
                    <a:pt x="430" y="133"/>
                  </a:lnTo>
                  <a:lnTo>
                    <a:pt x="442" y="139"/>
                  </a:lnTo>
                  <a:lnTo>
                    <a:pt x="447" y="141"/>
                  </a:lnTo>
                  <a:lnTo>
                    <a:pt x="451" y="141"/>
                  </a:lnTo>
                  <a:lnTo>
                    <a:pt x="453" y="138"/>
                  </a:lnTo>
                  <a:lnTo>
                    <a:pt x="454" y="130"/>
                  </a:lnTo>
                  <a:lnTo>
                    <a:pt x="455" y="125"/>
                  </a:lnTo>
                  <a:lnTo>
                    <a:pt x="457" y="121"/>
                  </a:lnTo>
                  <a:lnTo>
                    <a:pt x="461" y="120"/>
                  </a:lnTo>
                  <a:lnTo>
                    <a:pt x="465" y="121"/>
                  </a:lnTo>
                  <a:lnTo>
                    <a:pt x="470" y="123"/>
                  </a:lnTo>
                  <a:lnTo>
                    <a:pt x="476" y="125"/>
                  </a:lnTo>
                  <a:lnTo>
                    <a:pt x="481" y="126"/>
                  </a:lnTo>
                  <a:lnTo>
                    <a:pt x="485" y="127"/>
                  </a:lnTo>
                  <a:lnTo>
                    <a:pt x="487" y="125"/>
                  </a:lnTo>
                  <a:lnTo>
                    <a:pt x="486" y="121"/>
                  </a:lnTo>
                  <a:lnTo>
                    <a:pt x="480" y="113"/>
                  </a:lnTo>
                  <a:lnTo>
                    <a:pt x="472" y="105"/>
                  </a:lnTo>
                  <a:lnTo>
                    <a:pt x="463" y="98"/>
                  </a:lnTo>
                  <a:lnTo>
                    <a:pt x="457" y="92"/>
                  </a:lnTo>
                  <a:lnTo>
                    <a:pt x="455" y="87"/>
                  </a:lnTo>
                  <a:lnTo>
                    <a:pt x="458" y="82"/>
                  </a:lnTo>
                  <a:lnTo>
                    <a:pt x="463" y="79"/>
                  </a:lnTo>
                  <a:lnTo>
                    <a:pt x="469" y="76"/>
                  </a:lnTo>
                  <a:lnTo>
                    <a:pt x="479" y="70"/>
                  </a:lnTo>
                  <a:lnTo>
                    <a:pt x="486" y="67"/>
                  </a:lnTo>
                  <a:lnTo>
                    <a:pt x="494" y="65"/>
                  </a:lnTo>
                  <a:lnTo>
                    <a:pt x="502" y="64"/>
                  </a:lnTo>
                  <a:lnTo>
                    <a:pt x="509" y="65"/>
                  </a:lnTo>
                  <a:lnTo>
                    <a:pt x="511" y="66"/>
                  </a:lnTo>
                  <a:lnTo>
                    <a:pt x="513" y="68"/>
                  </a:lnTo>
                  <a:lnTo>
                    <a:pt x="517" y="78"/>
                  </a:lnTo>
                  <a:lnTo>
                    <a:pt x="518" y="78"/>
                  </a:lnTo>
                  <a:lnTo>
                    <a:pt x="520" y="79"/>
                  </a:lnTo>
                  <a:lnTo>
                    <a:pt x="522" y="78"/>
                  </a:lnTo>
                  <a:lnTo>
                    <a:pt x="528" y="74"/>
                  </a:lnTo>
                  <a:lnTo>
                    <a:pt x="529" y="72"/>
                  </a:lnTo>
                  <a:lnTo>
                    <a:pt x="531" y="71"/>
                  </a:lnTo>
                  <a:lnTo>
                    <a:pt x="534" y="74"/>
                  </a:lnTo>
                  <a:lnTo>
                    <a:pt x="535" y="76"/>
                  </a:lnTo>
                  <a:lnTo>
                    <a:pt x="535" y="77"/>
                  </a:lnTo>
                  <a:lnTo>
                    <a:pt x="536" y="78"/>
                  </a:lnTo>
                  <a:lnTo>
                    <a:pt x="536" y="79"/>
                  </a:lnTo>
                  <a:lnTo>
                    <a:pt x="537" y="80"/>
                  </a:lnTo>
                  <a:lnTo>
                    <a:pt x="541" y="80"/>
                  </a:lnTo>
                  <a:lnTo>
                    <a:pt x="547" y="79"/>
                  </a:lnTo>
                  <a:lnTo>
                    <a:pt x="561" y="79"/>
                  </a:lnTo>
                  <a:lnTo>
                    <a:pt x="565" y="82"/>
                  </a:lnTo>
                  <a:lnTo>
                    <a:pt x="566" y="86"/>
                  </a:lnTo>
                  <a:lnTo>
                    <a:pt x="565" y="91"/>
                  </a:lnTo>
                  <a:lnTo>
                    <a:pt x="565" y="97"/>
                  </a:lnTo>
                  <a:lnTo>
                    <a:pt x="566" y="103"/>
                  </a:lnTo>
                  <a:lnTo>
                    <a:pt x="568" y="106"/>
                  </a:lnTo>
                  <a:lnTo>
                    <a:pt x="571" y="108"/>
                  </a:lnTo>
                  <a:lnTo>
                    <a:pt x="578" y="109"/>
                  </a:lnTo>
                  <a:lnTo>
                    <a:pt x="586" y="110"/>
                  </a:lnTo>
                  <a:lnTo>
                    <a:pt x="592" y="110"/>
                  </a:lnTo>
                  <a:lnTo>
                    <a:pt x="596" y="108"/>
                  </a:lnTo>
                  <a:lnTo>
                    <a:pt x="598" y="102"/>
                  </a:lnTo>
                  <a:lnTo>
                    <a:pt x="600" y="93"/>
                  </a:lnTo>
                  <a:lnTo>
                    <a:pt x="601" y="84"/>
                  </a:lnTo>
                  <a:lnTo>
                    <a:pt x="602" y="77"/>
                  </a:lnTo>
                  <a:lnTo>
                    <a:pt x="601" y="71"/>
                  </a:lnTo>
                  <a:lnTo>
                    <a:pt x="600" y="61"/>
                  </a:lnTo>
                  <a:lnTo>
                    <a:pt x="598" y="51"/>
                  </a:lnTo>
                  <a:lnTo>
                    <a:pt x="597" y="41"/>
                  </a:lnTo>
                  <a:lnTo>
                    <a:pt x="597" y="32"/>
                  </a:lnTo>
                  <a:lnTo>
                    <a:pt x="599" y="27"/>
                  </a:lnTo>
                  <a:lnTo>
                    <a:pt x="608" y="18"/>
                  </a:lnTo>
                  <a:lnTo>
                    <a:pt x="614" y="14"/>
                  </a:lnTo>
                  <a:lnTo>
                    <a:pt x="624" y="9"/>
                  </a:lnTo>
                  <a:lnTo>
                    <a:pt x="627" y="10"/>
                  </a:lnTo>
                  <a:lnTo>
                    <a:pt x="628" y="16"/>
                  </a:lnTo>
                  <a:lnTo>
                    <a:pt x="629" y="23"/>
                  </a:lnTo>
                  <a:lnTo>
                    <a:pt x="630" y="29"/>
                  </a:lnTo>
                  <a:lnTo>
                    <a:pt x="633" y="33"/>
                  </a:lnTo>
                  <a:lnTo>
                    <a:pt x="638" y="36"/>
                  </a:lnTo>
                  <a:lnTo>
                    <a:pt x="642" y="40"/>
                  </a:lnTo>
                  <a:lnTo>
                    <a:pt x="648" y="45"/>
                  </a:lnTo>
                  <a:lnTo>
                    <a:pt x="652" y="49"/>
                  </a:lnTo>
                  <a:lnTo>
                    <a:pt x="654" y="52"/>
                  </a:lnTo>
                  <a:lnTo>
                    <a:pt x="659" y="61"/>
                  </a:lnTo>
                  <a:lnTo>
                    <a:pt x="663" y="67"/>
                  </a:lnTo>
                  <a:lnTo>
                    <a:pt x="668" y="71"/>
                  </a:lnTo>
                  <a:lnTo>
                    <a:pt x="672" y="70"/>
                  </a:lnTo>
                  <a:lnTo>
                    <a:pt x="676" y="67"/>
                  </a:lnTo>
                  <a:lnTo>
                    <a:pt x="679" y="64"/>
                  </a:lnTo>
                  <a:lnTo>
                    <a:pt x="683" y="63"/>
                  </a:lnTo>
                  <a:lnTo>
                    <a:pt x="691" y="62"/>
                  </a:lnTo>
                  <a:lnTo>
                    <a:pt x="704" y="61"/>
                  </a:lnTo>
                  <a:lnTo>
                    <a:pt x="716" y="58"/>
                  </a:lnTo>
                  <a:lnTo>
                    <a:pt x="729" y="53"/>
                  </a:lnTo>
                  <a:lnTo>
                    <a:pt x="734" y="52"/>
                  </a:lnTo>
                  <a:lnTo>
                    <a:pt x="736" y="53"/>
                  </a:lnTo>
                  <a:lnTo>
                    <a:pt x="738" y="58"/>
                  </a:lnTo>
                  <a:lnTo>
                    <a:pt x="740" y="60"/>
                  </a:lnTo>
                  <a:lnTo>
                    <a:pt x="745" y="60"/>
                  </a:lnTo>
                  <a:lnTo>
                    <a:pt x="752" y="58"/>
                  </a:lnTo>
                  <a:lnTo>
                    <a:pt x="762" y="56"/>
                  </a:lnTo>
                  <a:lnTo>
                    <a:pt x="772" y="51"/>
                  </a:lnTo>
                  <a:lnTo>
                    <a:pt x="778" y="59"/>
                  </a:lnTo>
                  <a:lnTo>
                    <a:pt x="779" y="62"/>
                  </a:lnTo>
                  <a:lnTo>
                    <a:pt x="781" y="66"/>
                  </a:lnTo>
                  <a:lnTo>
                    <a:pt x="785" y="71"/>
                  </a:lnTo>
                  <a:lnTo>
                    <a:pt x="791" y="77"/>
                  </a:lnTo>
                  <a:lnTo>
                    <a:pt x="799" y="83"/>
                  </a:lnTo>
                  <a:lnTo>
                    <a:pt x="811" y="88"/>
                  </a:lnTo>
                  <a:lnTo>
                    <a:pt x="826" y="91"/>
                  </a:lnTo>
                  <a:lnTo>
                    <a:pt x="828" y="94"/>
                  </a:lnTo>
                  <a:lnTo>
                    <a:pt x="830" y="100"/>
                  </a:lnTo>
                  <a:lnTo>
                    <a:pt x="829" y="105"/>
                  </a:lnTo>
                  <a:lnTo>
                    <a:pt x="820" y="114"/>
                  </a:lnTo>
                  <a:lnTo>
                    <a:pt x="820" y="117"/>
                  </a:lnTo>
                  <a:lnTo>
                    <a:pt x="825" y="119"/>
                  </a:lnTo>
                  <a:lnTo>
                    <a:pt x="834" y="123"/>
                  </a:lnTo>
                  <a:lnTo>
                    <a:pt x="840" y="128"/>
                  </a:lnTo>
                  <a:lnTo>
                    <a:pt x="844" y="133"/>
                  </a:lnTo>
                  <a:lnTo>
                    <a:pt x="848" y="139"/>
                  </a:lnTo>
                  <a:lnTo>
                    <a:pt x="850" y="144"/>
                  </a:lnTo>
                  <a:lnTo>
                    <a:pt x="849" y="148"/>
                  </a:lnTo>
                  <a:lnTo>
                    <a:pt x="847" y="152"/>
                  </a:lnTo>
                  <a:lnTo>
                    <a:pt x="844" y="155"/>
                  </a:lnTo>
                  <a:lnTo>
                    <a:pt x="842" y="158"/>
                  </a:lnTo>
                  <a:lnTo>
                    <a:pt x="843" y="163"/>
                  </a:lnTo>
                  <a:lnTo>
                    <a:pt x="848" y="169"/>
                  </a:lnTo>
                  <a:lnTo>
                    <a:pt x="854" y="175"/>
                  </a:lnTo>
                  <a:lnTo>
                    <a:pt x="860" y="182"/>
                  </a:lnTo>
                  <a:lnTo>
                    <a:pt x="862" y="188"/>
                  </a:lnTo>
                  <a:lnTo>
                    <a:pt x="864" y="193"/>
                  </a:lnTo>
                  <a:lnTo>
                    <a:pt x="869" y="196"/>
                  </a:lnTo>
                  <a:lnTo>
                    <a:pt x="877" y="199"/>
                  </a:lnTo>
                  <a:lnTo>
                    <a:pt x="887" y="204"/>
                  </a:lnTo>
                  <a:lnTo>
                    <a:pt x="896" y="210"/>
                  </a:lnTo>
                  <a:lnTo>
                    <a:pt x="904" y="216"/>
                  </a:lnTo>
                  <a:lnTo>
                    <a:pt x="909" y="219"/>
                  </a:lnTo>
                  <a:lnTo>
                    <a:pt x="913" y="221"/>
                  </a:lnTo>
                  <a:lnTo>
                    <a:pt x="916" y="221"/>
                  </a:lnTo>
                  <a:lnTo>
                    <a:pt x="920" y="222"/>
                  </a:lnTo>
                  <a:lnTo>
                    <a:pt x="923" y="224"/>
                  </a:lnTo>
                  <a:lnTo>
                    <a:pt x="924" y="229"/>
                  </a:lnTo>
                  <a:lnTo>
                    <a:pt x="923" y="234"/>
                  </a:lnTo>
                  <a:lnTo>
                    <a:pt x="923" y="239"/>
                  </a:lnTo>
                  <a:lnTo>
                    <a:pt x="925" y="242"/>
                  </a:lnTo>
                  <a:lnTo>
                    <a:pt x="931" y="244"/>
                  </a:lnTo>
                  <a:lnTo>
                    <a:pt x="936" y="245"/>
                  </a:lnTo>
                  <a:lnTo>
                    <a:pt x="940" y="246"/>
                  </a:lnTo>
                  <a:lnTo>
                    <a:pt x="942" y="250"/>
                  </a:lnTo>
                  <a:lnTo>
                    <a:pt x="941" y="259"/>
                  </a:lnTo>
                  <a:lnTo>
                    <a:pt x="937" y="269"/>
                  </a:lnTo>
                  <a:lnTo>
                    <a:pt x="931" y="277"/>
                  </a:lnTo>
                  <a:lnTo>
                    <a:pt x="928" y="280"/>
                  </a:lnTo>
                  <a:lnTo>
                    <a:pt x="927" y="283"/>
                  </a:lnTo>
                  <a:lnTo>
                    <a:pt x="927" y="287"/>
                  </a:lnTo>
                  <a:lnTo>
                    <a:pt x="925" y="293"/>
                  </a:lnTo>
                  <a:lnTo>
                    <a:pt x="921" y="299"/>
                  </a:lnTo>
                  <a:lnTo>
                    <a:pt x="917" y="302"/>
                  </a:lnTo>
                  <a:lnTo>
                    <a:pt x="912" y="305"/>
                  </a:lnTo>
                  <a:lnTo>
                    <a:pt x="908" y="309"/>
                  </a:lnTo>
                  <a:lnTo>
                    <a:pt x="906" y="314"/>
                  </a:lnTo>
                  <a:lnTo>
                    <a:pt x="907" y="319"/>
                  </a:lnTo>
                  <a:lnTo>
                    <a:pt x="909" y="325"/>
                  </a:lnTo>
                  <a:lnTo>
                    <a:pt x="911" y="332"/>
                  </a:lnTo>
                  <a:lnTo>
                    <a:pt x="915" y="336"/>
                  </a:lnTo>
                  <a:lnTo>
                    <a:pt x="920" y="340"/>
                  </a:lnTo>
                  <a:lnTo>
                    <a:pt x="927" y="344"/>
                  </a:lnTo>
                  <a:lnTo>
                    <a:pt x="932" y="347"/>
                  </a:lnTo>
                  <a:lnTo>
                    <a:pt x="934" y="350"/>
                  </a:lnTo>
                  <a:lnTo>
                    <a:pt x="933" y="353"/>
                  </a:lnTo>
                  <a:lnTo>
                    <a:pt x="930" y="357"/>
                  </a:lnTo>
                  <a:lnTo>
                    <a:pt x="932" y="361"/>
                  </a:lnTo>
                  <a:lnTo>
                    <a:pt x="935" y="364"/>
                  </a:lnTo>
                  <a:lnTo>
                    <a:pt x="939" y="367"/>
                  </a:lnTo>
                  <a:lnTo>
                    <a:pt x="943" y="369"/>
                  </a:lnTo>
                  <a:lnTo>
                    <a:pt x="948" y="375"/>
                  </a:lnTo>
                  <a:lnTo>
                    <a:pt x="952" y="384"/>
                  </a:lnTo>
                  <a:lnTo>
                    <a:pt x="957" y="397"/>
                  </a:lnTo>
                  <a:lnTo>
                    <a:pt x="960" y="404"/>
                  </a:lnTo>
                  <a:lnTo>
                    <a:pt x="962" y="408"/>
                  </a:lnTo>
                  <a:lnTo>
                    <a:pt x="965" y="410"/>
                  </a:lnTo>
                  <a:lnTo>
                    <a:pt x="968" y="413"/>
                  </a:lnTo>
                  <a:lnTo>
                    <a:pt x="971" y="419"/>
                  </a:lnTo>
                  <a:lnTo>
                    <a:pt x="975" y="429"/>
                  </a:lnTo>
                  <a:lnTo>
                    <a:pt x="977" y="438"/>
                  </a:lnTo>
                  <a:lnTo>
                    <a:pt x="979" y="444"/>
                  </a:lnTo>
                  <a:lnTo>
                    <a:pt x="984" y="448"/>
                  </a:lnTo>
                  <a:lnTo>
                    <a:pt x="992" y="452"/>
                  </a:lnTo>
                  <a:lnTo>
                    <a:pt x="1000" y="458"/>
                  </a:lnTo>
                  <a:lnTo>
                    <a:pt x="1008" y="467"/>
                  </a:lnTo>
                  <a:lnTo>
                    <a:pt x="1013" y="476"/>
                  </a:lnTo>
                  <a:lnTo>
                    <a:pt x="1016" y="483"/>
                  </a:lnTo>
                  <a:lnTo>
                    <a:pt x="1019" y="485"/>
                  </a:lnTo>
                  <a:lnTo>
                    <a:pt x="1023" y="486"/>
                  </a:lnTo>
                  <a:lnTo>
                    <a:pt x="1027" y="486"/>
                  </a:lnTo>
                  <a:lnTo>
                    <a:pt x="1032" y="488"/>
                  </a:lnTo>
                  <a:lnTo>
                    <a:pt x="1034" y="489"/>
                  </a:lnTo>
                  <a:lnTo>
                    <a:pt x="1035" y="490"/>
                  </a:lnTo>
                  <a:lnTo>
                    <a:pt x="1037" y="488"/>
                  </a:lnTo>
                  <a:lnTo>
                    <a:pt x="1037" y="487"/>
                  </a:lnTo>
                  <a:lnTo>
                    <a:pt x="1039" y="483"/>
                  </a:lnTo>
                  <a:lnTo>
                    <a:pt x="1040" y="482"/>
                  </a:lnTo>
                  <a:lnTo>
                    <a:pt x="1041" y="480"/>
                  </a:lnTo>
                  <a:lnTo>
                    <a:pt x="1043" y="479"/>
                  </a:lnTo>
                  <a:lnTo>
                    <a:pt x="1045" y="479"/>
                  </a:lnTo>
                  <a:lnTo>
                    <a:pt x="1052" y="481"/>
                  </a:lnTo>
                  <a:lnTo>
                    <a:pt x="1060" y="485"/>
                  </a:lnTo>
                  <a:lnTo>
                    <a:pt x="1067" y="492"/>
                  </a:lnTo>
                  <a:lnTo>
                    <a:pt x="1074" y="500"/>
                  </a:lnTo>
                  <a:lnTo>
                    <a:pt x="1084" y="516"/>
                  </a:lnTo>
                  <a:lnTo>
                    <a:pt x="1091" y="526"/>
                  </a:lnTo>
                  <a:lnTo>
                    <a:pt x="1107" y="546"/>
                  </a:lnTo>
                  <a:lnTo>
                    <a:pt x="1114" y="555"/>
                  </a:lnTo>
                  <a:lnTo>
                    <a:pt x="1118" y="563"/>
                  </a:lnTo>
                  <a:lnTo>
                    <a:pt x="1122" y="569"/>
                  </a:lnTo>
                  <a:lnTo>
                    <a:pt x="1128" y="571"/>
                  </a:lnTo>
                  <a:lnTo>
                    <a:pt x="1153" y="571"/>
                  </a:lnTo>
                  <a:lnTo>
                    <a:pt x="1161" y="574"/>
                  </a:lnTo>
                  <a:lnTo>
                    <a:pt x="1168" y="582"/>
                  </a:lnTo>
                  <a:lnTo>
                    <a:pt x="1174" y="591"/>
                  </a:lnTo>
                  <a:lnTo>
                    <a:pt x="1178" y="601"/>
                  </a:lnTo>
                  <a:lnTo>
                    <a:pt x="1181" y="609"/>
                  </a:lnTo>
                  <a:lnTo>
                    <a:pt x="1182" y="615"/>
                  </a:lnTo>
                  <a:lnTo>
                    <a:pt x="1185" y="621"/>
                  </a:lnTo>
                  <a:lnTo>
                    <a:pt x="1192" y="626"/>
                  </a:lnTo>
                  <a:lnTo>
                    <a:pt x="1200" y="630"/>
                  </a:lnTo>
                  <a:lnTo>
                    <a:pt x="1209" y="634"/>
                  </a:lnTo>
                  <a:lnTo>
                    <a:pt x="1211" y="635"/>
                  </a:lnTo>
                  <a:lnTo>
                    <a:pt x="1213" y="634"/>
                  </a:lnTo>
                  <a:lnTo>
                    <a:pt x="1213" y="631"/>
                  </a:lnTo>
                  <a:lnTo>
                    <a:pt x="1212" y="629"/>
                  </a:lnTo>
                  <a:lnTo>
                    <a:pt x="1212" y="627"/>
                  </a:lnTo>
                  <a:lnTo>
                    <a:pt x="1211" y="625"/>
                  </a:lnTo>
                  <a:lnTo>
                    <a:pt x="1211" y="624"/>
                  </a:lnTo>
                  <a:lnTo>
                    <a:pt x="1210" y="622"/>
                  </a:lnTo>
                  <a:lnTo>
                    <a:pt x="1212" y="620"/>
                  </a:lnTo>
                  <a:lnTo>
                    <a:pt x="1216" y="621"/>
                  </a:lnTo>
                  <a:lnTo>
                    <a:pt x="1222" y="624"/>
                  </a:lnTo>
                  <a:lnTo>
                    <a:pt x="1229" y="629"/>
                  </a:lnTo>
                  <a:lnTo>
                    <a:pt x="1249" y="649"/>
                  </a:lnTo>
                  <a:lnTo>
                    <a:pt x="1254" y="655"/>
                  </a:lnTo>
                  <a:lnTo>
                    <a:pt x="1260" y="661"/>
                  </a:lnTo>
                  <a:lnTo>
                    <a:pt x="1266" y="664"/>
                  </a:lnTo>
                  <a:lnTo>
                    <a:pt x="1276" y="664"/>
                  </a:lnTo>
                  <a:lnTo>
                    <a:pt x="1280" y="666"/>
                  </a:lnTo>
                  <a:lnTo>
                    <a:pt x="1284" y="672"/>
                  </a:lnTo>
                  <a:lnTo>
                    <a:pt x="1289" y="679"/>
                  </a:lnTo>
                  <a:lnTo>
                    <a:pt x="1297" y="695"/>
                  </a:lnTo>
                  <a:lnTo>
                    <a:pt x="1299" y="700"/>
                  </a:lnTo>
                  <a:lnTo>
                    <a:pt x="1299" y="708"/>
                  </a:lnTo>
                  <a:lnTo>
                    <a:pt x="1296" y="715"/>
                  </a:lnTo>
                  <a:lnTo>
                    <a:pt x="1292" y="724"/>
                  </a:lnTo>
                  <a:lnTo>
                    <a:pt x="1291" y="732"/>
                  </a:lnTo>
                  <a:lnTo>
                    <a:pt x="1295" y="740"/>
                  </a:lnTo>
                  <a:lnTo>
                    <a:pt x="1300" y="747"/>
                  </a:lnTo>
                  <a:lnTo>
                    <a:pt x="1304" y="755"/>
                  </a:lnTo>
                  <a:lnTo>
                    <a:pt x="1304" y="764"/>
                  </a:lnTo>
                  <a:lnTo>
                    <a:pt x="1302" y="774"/>
                  </a:lnTo>
                  <a:lnTo>
                    <a:pt x="1297" y="782"/>
                  </a:lnTo>
                  <a:lnTo>
                    <a:pt x="1290" y="788"/>
                  </a:lnTo>
                  <a:lnTo>
                    <a:pt x="1285" y="792"/>
                  </a:lnTo>
                  <a:lnTo>
                    <a:pt x="1282" y="797"/>
                  </a:lnTo>
                  <a:lnTo>
                    <a:pt x="1280" y="802"/>
                  </a:lnTo>
                  <a:lnTo>
                    <a:pt x="1274" y="808"/>
                  </a:lnTo>
                  <a:lnTo>
                    <a:pt x="1268" y="810"/>
                  </a:lnTo>
                  <a:lnTo>
                    <a:pt x="1263" y="808"/>
                  </a:lnTo>
                  <a:lnTo>
                    <a:pt x="1257" y="803"/>
                  </a:lnTo>
                  <a:lnTo>
                    <a:pt x="1251" y="799"/>
                  </a:lnTo>
                  <a:lnTo>
                    <a:pt x="1243" y="797"/>
                  </a:lnTo>
                  <a:lnTo>
                    <a:pt x="1236" y="796"/>
                  </a:lnTo>
                  <a:lnTo>
                    <a:pt x="1230" y="794"/>
                  </a:lnTo>
                  <a:lnTo>
                    <a:pt x="1227" y="791"/>
                  </a:lnTo>
                  <a:lnTo>
                    <a:pt x="1224" y="789"/>
                  </a:lnTo>
                  <a:lnTo>
                    <a:pt x="1220" y="787"/>
                  </a:lnTo>
                  <a:lnTo>
                    <a:pt x="1214" y="787"/>
                  </a:lnTo>
                  <a:lnTo>
                    <a:pt x="1209" y="789"/>
                  </a:lnTo>
                  <a:lnTo>
                    <a:pt x="1204" y="795"/>
                  </a:lnTo>
                  <a:lnTo>
                    <a:pt x="1203" y="803"/>
                  </a:lnTo>
                  <a:lnTo>
                    <a:pt x="1204" y="810"/>
                  </a:lnTo>
                  <a:lnTo>
                    <a:pt x="1206" y="816"/>
                  </a:lnTo>
                  <a:lnTo>
                    <a:pt x="1206" y="821"/>
                  </a:lnTo>
                  <a:lnTo>
                    <a:pt x="1203" y="827"/>
                  </a:lnTo>
                  <a:lnTo>
                    <a:pt x="1201" y="833"/>
                  </a:lnTo>
                  <a:lnTo>
                    <a:pt x="1202" y="838"/>
                  </a:lnTo>
                  <a:lnTo>
                    <a:pt x="1205" y="843"/>
                  </a:lnTo>
                  <a:lnTo>
                    <a:pt x="1207" y="849"/>
                  </a:lnTo>
                  <a:lnTo>
                    <a:pt x="1208" y="857"/>
                  </a:lnTo>
                  <a:lnTo>
                    <a:pt x="1205" y="865"/>
                  </a:lnTo>
                  <a:lnTo>
                    <a:pt x="1198" y="874"/>
                  </a:lnTo>
                  <a:lnTo>
                    <a:pt x="1189" y="881"/>
                  </a:lnTo>
                  <a:lnTo>
                    <a:pt x="1179" y="889"/>
                  </a:lnTo>
                  <a:lnTo>
                    <a:pt x="1171" y="897"/>
                  </a:lnTo>
                  <a:lnTo>
                    <a:pt x="1164" y="902"/>
                  </a:lnTo>
                  <a:lnTo>
                    <a:pt x="1158" y="904"/>
                  </a:lnTo>
                  <a:lnTo>
                    <a:pt x="1151" y="905"/>
                  </a:lnTo>
                  <a:lnTo>
                    <a:pt x="1142" y="907"/>
                  </a:lnTo>
                  <a:lnTo>
                    <a:pt x="1132" y="910"/>
                  </a:lnTo>
                  <a:lnTo>
                    <a:pt x="1117" y="915"/>
                  </a:lnTo>
                  <a:lnTo>
                    <a:pt x="1105" y="920"/>
                  </a:lnTo>
                  <a:lnTo>
                    <a:pt x="1094" y="926"/>
                  </a:lnTo>
                  <a:lnTo>
                    <a:pt x="1084" y="934"/>
                  </a:lnTo>
                  <a:lnTo>
                    <a:pt x="1078" y="940"/>
                  </a:lnTo>
                  <a:lnTo>
                    <a:pt x="1071" y="943"/>
                  </a:lnTo>
                  <a:lnTo>
                    <a:pt x="1064" y="945"/>
                  </a:lnTo>
                  <a:lnTo>
                    <a:pt x="1058" y="946"/>
                  </a:lnTo>
                  <a:lnTo>
                    <a:pt x="1053" y="949"/>
                  </a:lnTo>
                  <a:lnTo>
                    <a:pt x="1051" y="953"/>
                  </a:lnTo>
                  <a:lnTo>
                    <a:pt x="1048" y="961"/>
                  </a:lnTo>
                  <a:lnTo>
                    <a:pt x="1042" y="968"/>
                  </a:lnTo>
                  <a:lnTo>
                    <a:pt x="1034" y="975"/>
                  </a:lnTo>
                  <a:lnTo>
                    <a:pt x="1026" y="981"/>
                  </a:lnTo>
                  <a:lnTo>
                    <a:pt x="1023" y="986"/>
                  </a:lnTo>
                  <a:lnTo>
                    <a:pt x="1023" y="992"/>
                  </a:lnTo>
                  <a:lnTo>
                    <a:pt x="1026" y="999"/>
                  </a:lnTo>
                  <a:lnTo>
                    <a:pt x="1031" y="1007"/>
                  </a:lnTo>
                  <a:lnTo>
                    <a:pt x="1038" y="1015"/>
                  </a:lnTo>
                  <a:lnTo>
                    <a:pt x="1047" y="1021"/>
                  </a:lnTo>
                  <a:lnTo>
                    <a:pt x="1054" y="1028"/>
                  </a:lnTo>
                  <a:lnTo>
                    <a:pt x="1057" y="1033"/>
                  </a:lnTo>
                  <a:lnTo>
                    <a:pt x="1058" y="1038"/>
                  </a:lnTo>
                  <a:lnTo>
                    <a:pt x="1059" y="1042"/>
                  </a:lnTo>
                  <a:lnTo>
                    <a:pt x="1061" y="1044"/>
                  </a:lnTo>
                  <a:lnTo>
                    <a:pt x="1065" y="1046"/>
                  </a:lnTo>
                  <a:lnTo>
                    <a:pt x="1072" y="1050"/>
                  </a:lnTo>
                  <a:lnTo>
                    <a:pt x="1077" y="1058"/>
                  </a:lnTo>
                  <a:lnTo>
                    <a:pt x="1085" y="1076"/>
                  </a:lnTo>
                  <a:lnTo>
                    <a:pt x="1089" y="1083"/>
                  </a:lnTo>
                  <a:lnTo>
                    <a:pt x="1094" y="1091"/>
                  </a:lnTo>
                  <a:lnTo>
                    <a:pt x="1093" y="1099"/>
                  </a:lnTo>
                  <a:lnTo>
                    <a:pt x="1087" y="1107"/>
                  </a:lnTo>
                  <a:lnTo>
                    <a:pt x="1082" y="1113"/>
                  </a:lnTo>
                  <a:lnTo>
                    <a:pt x="1079" y="1122"/>
                  </a:lnTo>
                  <a:lnTo>
                    <a:pt x="1077" y="1132"/>
                  </a:lnTo>
                  <a:lnTo>
                    <a:pt x="1075" y="1141"/>
                  </a:lnTo>
                  <a:lnTo>
                    <a:pt x="1073" y="1148"/>
                  </a:lnTo>
                  <a:lnTo>
                    <a:pt x="1073" y="1151"/>
                  </a:lnTo>
                  <a:lnTo>
                    <a:pt x="1077" y="1152"/>
                  </a:lnTo>
                  <a:lnTo>
                    <a:pt x="1082" y="1152"/>
                  </a:lnTo>
                  <a:lnTo>
                    <a:pt x="1089" y="1151"/>
                  </a:lnTo>
                  <a:lnTo>
                    <a:pt x="1103" y="1147"/>
                  </a:lnTo>
                  <a:lnTo>
                    <a:pt x="1108" y="1146"/>
                  </a:lnTo>
                  <a:lnTo>
                    <a:pt x="1112" y="1147"/>
                  </a:lnTo>
                  <a:lnTo>
                    <a:pt x="1116" y="1152"/>
                  </a:lnTo>
                  <a:lnTo>
                    <a:pt x="1120" y="1157"/>
                  </a:lnTo>
                  <a:lnTo>
                    <a:pt x="1123" y="1165"/>
                  </a:lnTo>
                  <a:lnTo>
                    <a:pt x="1124" y="1171"/>
                  </a:lnTo>
                  <a:lnTo>
                    <a:pt x="1123" y="1175"/>
                  </a:lnTo>
                  <a:lnTo>
                    <a:pt x="1120" y="1181"/>
                  </a:lnTo>
                  <a:lnTo>
                    <a:pt x="1114" y="1197"/>
                  </a:lnTo>
                  <a:lnTo>
                    <a:pt x="1110" y="1202"/>
                  </a:lnTo>
                  <a:lnTo>
                    <a:pt x="1109" y="1205"/>
                  </a:lnTo>
                  <a:lnTo>
                    <a:pt x="1110" y="1210"/>
                  </a:lnTo>
                  <a:lnTo>
                    <a:pt x="1112" y="1214"/>
                  </a:lnTo>
                  <a:lnTo>
                    <a:pt x="1113" y="1217"/>
                  </a:lnTo>
                  <a:lnTo>
                    <a:pt x="1111" y="1219"/>
                  </a:lnTo>
                  <a:lnTo>
                    <a:pt x="1107" y="1221"/>
                  </a:lnTo>
                  <a:lnTo>
                    <a:pt x="1107" y="1223"/>
                  </a:lnTo>
                  <a:lnTo>
                    <a:pt x="1109" y="1229"/>
                  </a:lnTo>
                  <a:lnTo>
                    <a:pt x="1112" y="1233"/>
                  </a:lnTo>
                  <a:lnTo>
                    <a:pt x="1113" y="1238"/>
                  </a:lnTo>
                  <a:lnTo>
                    <a:pt x="1109" y="1241"/>
                  </a:lnTo>
                  <a:lnTo>
                    <a:pt x="1102" y="1244"/>
                  </a:lnTo>
                  <a:lnTo>
                    <a:pt x="1084" y="1244"/>
                  </a:lnTo>
                  <a:lnTo>
                    <a:pt x="1076" y="1242"/>
                  </a:lnTo>
                  <a:lnTo>
                    <a:pt x="1071" y="1238"/>
                  </a:lnTo>
                  <a:lnTo>
                    <a:pt x="1065" y="1228"/>
                  </a:lnTo>
                  <a:lnTo>
                    <a:pt x="1062" y="1222"/>
                  </a:lnTo>
                  <a:lnTo>
                    <a:pt x="1057" y="1217"/>
                  </a:lnTo>
                  <a:lnTo>
                    <a:pt x="1052" y="1215"/>
                  </a:lnTo>
                  <a:lnTo>
                    <a:pt x="1046" y="1213"/>
                  </a:lnTo>
                  <a:lnTo>
                    <a:pt x="1041" y="1211"/>
                  </a:lnTo>
                  <a:lnTo>
                    <a:pt x="1039" y="1209"/>
                  </a:lnTo>
                  <a:lnTo>
                    <a:pt x="1040" y="1202"/>
                  </a:lnTo>
                  <a:lnTo>
                    <a:pt x="1044" y="1195"/>
                  </a:lnTo>
                  <a:lnTo>
                    <a:pt x="1048" y="1190"/>
                  </a:lnTo>
                  <a:lnTo>
                    <a:pt x="1048" y="1186"/>
                  </a:lnTo>
                  <a:lnTo>
                    <a:pt x="1036" y="1174"/>
                  </a:lnTo>
                  <a:lnTo>
                    <a:pt x="1034" y="1170"/>
                  </a:lnTo>
                  <a:lnTo>
                    <a:pt x="1032" y="1167"/>
                  </a:lnTo>
                  <a:lnTo>
                    <a:pt x="1025" y="1165"/>
                  </a:lnTo>
                  <a:lnTo>
                    <a:pt x="1017" y="1164"/>
                  </a:lnTo>
                  <a:lnTo>
                    <a:pt x="1009" y="1164"/>
                  </a:lnTo>
                  <a:lnTo>
                    <a:pt x="1000" y="1165"/>
                  </a:lnTo>
                  <a:lnTo>
                    <a:pt x="994" y="1167"/>
                  </a:lnTo>
                  <a:lnTo>
                    <a:pt x="990" y="1170"/>
                  </a:lnTo>
                  <a:lnTo>
                    <a:pt x="982" y="1180"/>
                  </a:lnTo>
                  <a:lnTo>
                    <a:pt x="976" y="1184"/>
                  </a:lnTo>
                  <a:lnTo>
                    <a:pt x="967" y="1186"/>
                  </a:lnTo>
                  <a:lnTo>
                    <a:pt x="959" y="1185"/>
                  </a:lnTo>
                  <a:lnTo>
                    <a:pt x="953" y="1182"/>
                  </a:lnTo>
                  <a:lnTo>
                    <a:pt x="948" y="1178"/>
                  </a:lnTo>
                  <a:lnTo>
                    <a:pt x="944" y="1172"/>
                  </a:lnTo>
                  <a:lnTo>
                    <a:pt x="941" y="1167"/>
                  </a:lnTo>
                  <a:lnTo>
                    <a:pt x="938" y="1163"/>
                  </a:lnTo>
                  <a:lnTo>
                    <a:pt x="933" y="1161"/>
                  </a:lnTo>
                  <a:lnTo>
                    <a:pt x="929" y="1161"/>
                  </a:lnTo>
                  <a:lnTo>
                    <a:pt x="925" y="1163"/>
                  </a:lnTo>
                  <a:lnTo>
                    <a:pt x="919" y="1164"/>
                  </a:lnTo>
                  <a:lnTo>
                    <a:pt x="913" y="1163"/>
                  </a:lnTo>
                  <a:lnTo>
                    <a:pt x="906" y="1162"/>
                  </a:lnTo>
                  <a:lnTo>
                    <a:pt x="901" y="1162"/>
                  </a:lnTo>
                  <a:lnTo>
                    <a:pt x="896" y="1164"/>
                  </a:lnTo>
                  <a:lnTo>
                    <a:pt x="891" y="1164"/>
                  </a:lnTo>
                  <a:lnTo>
                    <a:pt x="887" y="1162"/>
                  </a:lnTo>
                  <a:lnTo>
                    <a:pt x="885" y="1158"/>
                  </a:lnTo>
                  <a:lnTo>
                    <a:pt x="885" y="1154"/>
                  </a:lnTo>
                  <a:lnTo>
                    <a:pt x="886" y="1149"/>
                  </a:lnTo>
                  <a:lnTo>
                    <a:pt x="888" y="1145"/>
                  </a:lnTo>
                  <a:lnTo>
                    <a:pt x="888" y="1144"/>
                  </a:lnTo>
                  <a:lnTo>
                    <a:pt x="885" y="1145"/>
                  </a:lnTo>
                  <a:lnTo>
                    <a:pt x="880" y="1148"/>
                  </a:lnTo>
                  <a:lnTo>
                    <a:pt x="870" y="1155"/>
                  </a:lnTo>
                  <a:lnTo>
                    <a:pt x="866" y="1158"/>
                  </a:lnTo>
                  <a:lnTo>
                    <a:pt x="863" y="1162"/>
                  </a:lnTo>
                  <a:lnTo>
                    <a:pt x="864" y="1166"/>
                  </a:lnTo>
                  <a:lnTo>
                    <a:pt x="866" y="1171"/>
                  </a:lnTo>
                  <a:lnTo>
                    <a:pt x="869" y="1177"/>
                  </a:lnTo>
                  <a:lnTo>
                    <a:pt x="870" y="1181"/>
                  </a:lnTo>
                  <a:lnTo>
                    <a:pt x="872" y="1187"/>
                  </a:lnTo>
                  <a:lnTo>
                    <a:pt x="873" y="1192"/>
                  </a:lnTo>
                  <a:lnTo>
                    <a:pt x="873" y="1196"/>
                  </a:lnTo>
                  <a:lnTo>
                    <a:pt x="869" y="1199"/>
                  </a:lnTo>
                  <a:lnTo>
                    <a:pt x="863" y="1200"/>
                  </a:lnTo>
                  <a:lnTo>
                    <a:pt x="853" y="1200"/>
                  </a:lnTo>
                  <a:lnTo>
                    <a:pt x="839" y="1199"/>
                  </a:lnTo>
                  <a:lnTo>
                    <a:pt x="809" y="1199"/>
                  </a:lnTo>
                  <a:lnTo>
                    <a:pt x="796" y="1200"/>
                  </a:lnTo>
                  <a:lnTo>
                    <a:pt x="789" y="1202"/>
                  </a:lnTo>
                  <a:lnTo>
                    <a:pt x="783" y="1205"/>
                  </a:lnTo>
                  <a:lnTo>
                    <a:pt x="777" y="1209"/>
                  </a:lnTo>
                  <a:lnTo>
                    <a:pt x="768" y="1212"/>
                  </a:lnTo>
                  <a:lnTo>
                    <a:pt x="759" y="1213"/>
                  </a:lnTo>
                  <a:lnTo>
                    <a:pt x="747" y="1212"/>
                  </a:lnTo>
                  <a:lnTo>
                    <a:pt x="732" y="1211"/>
                  </a:lnTo>
                  <a:lnTo>
                    <a:pt x="720" y="1212"/>
                  </a:lnTo>
                  <a:lnTo>
                    <a:pt x="713" y="1216"/>
                  </a:lnTo>
                  <a:lnTo>
                    <a:pt x="709" y="1221"/>
                  </a:lnTo>
                  <a:lnTo>
                    <a:pt x="706" y="1228"/>
                  </a:lnTo>
                  <a:lnTo>
                    <a:pt x="701" y="1235"/>
                  </a:lnTo>
                  <a:lnTo>
                    <a:pt x="694" y="1241"/>
                  </a:lnTo>
                  <a:lnTo>
                    <a:pt x="684" y="1243"/>
                  </a:lnTo>
                  <a:lnTo>
                    <a:pt x="674" y="1243"/>
                  </a:lnTo>
                  <a:lnTo>
                    <a:pt x="665" y="1245"/>
                  </a:lnTo>
                  <a:lnTo>
                    <a:pt x="658" y="1247"/>
                  </a:lnTo>
                  <a:lnTo>
                    <a:pt x="654" y="1250"/>
                  </a:lnTo>
                  <a:lnTo>
                    <a:pt x="653" y="1254"/>
                  </a:lnTo>
                  <a:lnTo>
                    <a:pt x="652" y="1259"/>
                  </a:lnTo>
                  <a:lnTo>
                    <a:pt x="650" y="1264"/>
                  </a:lnTo>
                  <a:lnTo>
                    <a:pt x="646" y="1269"/>
                  </a:lnTo>
                  <a:lnTo>
                    <a:pt x="641" y="1271"/>
                  </a:lnTo>
                  <a:lnTo>
                    <a:pt x="634" y="1274"/>
                  </a:lnTo>
                  <a:lnTo>
                    <a:pt x="630" y="1278"/>
                  </a:lnTo>
                  <a:lnTo>
                    <a:pt x="622" y="1288"/>
                  </a:lnTo>
                  <a:lnTo>
                    <a:pt x="617" y="1290"/>
                  </a:lnTo>
                  <a:lnTo>
                    <a:pt x="614" y="1291"/>
                  </a:lnTo>
                  <a:lnTo>
                    <a:pt x="612" y="1291"/>
                  </a:lnTo>
                  <a:lnTo>
                    <a:pt x="610" y="1289"/>
                  </a:lnTo>
                  <a:lnTo>
                    <a:pt x="610" y="1287"/>
                  </a:lnTo>
                  <a:lnTo>
                    <a:pt x="608" y="1283"/>
                  </a:lnTo>
                  <a:lnTo>
                    <a:pt x="605" y="1280"/>
                  </a:lnTo>
                  <a:lnTo>
                    <a:pt x="599" y="1278"/>
                  </a:lnTo>
                  <a:lnTo>
                    <a:pt x="592" y="1281"/>
                  </a:lnTo>
                  <a:lnTo>
                    <a:pt x="585" y="1285"/>
                  </a:lnTo>
                  <a:lnTo>
                    <a:pt x="578" y="1290"/>
                  </a:lnTo>
                  <a:lnTo>
                    <a:pt x="568" y="1294"/>
                  </a:lnTo>
                  <a:lnTo>
                    <a:pt x="557" y="1295"/>
                  </a:lnTo>
                  <a:lnTo>
                    <a:pt x="546" y="1295"/>
                  </a:lnTo>
                  <a:lnTo>
                    <a:pt x="541" y="1294"/>
                  </a:lnTo>
                  <a:lnTo>
                    <a:pt x="540" y="1292"/>
                  </a:lnTo>
                  <a:lnTo>
                    <a:pt x="540" y="1286"/>
                  </a:lnTo>
                  <a:lnTo>
                    <a:pt x="538" y="1280"/>
                  </a:lnTo>
                  <a:lnTo>
                    <a:pt x="533" y="1271"/>
                  </a:lnTo>
                  <a:lnTo>
                    <a:pt x="530" y="1265"/>
                  </a:lnTo>
                  <a:lnTo>
                    <a:pt x="528" y="1259"/>
                  </a:lnTo>
                  <a:lnTo>
                    <a:pt x="526" y="1256"/>
                  </a:lnTo>
                  <a:lnTo>
                    <a:pt x="521" y="1255"/>
                  </a:lnTo>
                  <a:lnTo>
                    <a:pt x="509" y="1255"/>
                  </a:lnTo>
                  <a:lnTo>
                    <a:pt x="507" y="1254"/>
                  </a:lnTo>
                  <a:lnTo>
                    <a:pt x="506" y="1253"/>
                  </a:lnTo>
                  <a:lnTo>
                    <a:pt x="506" y="1250"/>
                  </a:lnTo>
                  <a:lnTo>
                    <a:pt x="507" y="1248"/>
                  </a:lnTo>
                  <a:lnTo>
                    <a:pt x="509" y="1246"/>
                  </a:lnTo>
                  <a:lnTo>
                    <a:pt x="511" y="1245"/>
                  </a:lnTo>
                  <a:lnTo>
                    <a:pt x="513" y="1243"/>
                  </a:lnTo>
                  <a:lnTo>
                    <a:pt x="517" y="1241"/>
                  </a:lnTo>
                  <a:lnTo>
                    <a:pt x="517" y="1239"/>
                  </a:lnTo>
                  <a:lnTo>
                    <a:pt x="513" y="1237"/>
                  </a:lnTo>
                  <a:lnTo>
                    <a:pt x="506" y="1237"/>
                  </a:lnTo>
                  <a:lnTo>
                    <a:pt x="503" y="1238"/>
                  </a:lnTo>
                  <a:lnTo>
                    <a:pt x="496" y="1239"/>
                  </a:lnTo>
                  <a:lnTo>
                    <a:pt x="471" y="1239"/>
                  </a:lnTo>
                  <a:lnTo>
                    <a:pt x="464" y="1237"/>
                  </a:lnTo>
                  <a:lnTo>
                    <a:pt x="457" y="1232"/>
                  </a:lnTo>
                  <a:lnTo>
                    <a:pt x="452" y="1228"/>
                  </a:lnTo>
                  <a:lnTo>
                    <a:pt x="446" y="1226"/>
                  </a:lnTo>
                  <a:lnTo>
                    <a:pt x="440" y="1226"/>
                  </a:lnTo>
                  <a:lnTo>
                    <a:pt x="434" y="1228"/>
                  </a:lnTo>
                  <a:lnTo>
                    <a:pt x="426" y="1234"/>
                  </a:lnTo>
                  <a:lnTo>
                    <a:pt x="414" y="1236"/>
                  </a:lnTo>
                  <a:lnTo>
                    <a:pt x="407" y="1235"/>
                  </a:lnTo>
                  <a:lnTo>
                    <a:pt x="401" y="1235"/>
                  </a:lnTo>
                  <a:lnTo>
                    <a:pt x="396" y="1233"/>
                  </a:lnTo>
                  <a:lnTo>
                    <a:pt x="394" y="1228"/>
                  </a:lnTo>
                  <a:lnTo>
                    <a:pt x="394" y="1222"/>
                  </a:lnTo>
                  <a:lnTo>
                    <a:pt x="395" y="1218"/>
                  </a:lnTo>
                  <a:lnTo>
                    <a:pt x="395" y="1216"/>
                  </a:lnTo>
                  <a:lnTo>
                    <a:pt x="392" y="1214"/>
                  </a:lnTo>
                  <a:lnTo>
                    <a:pt x="383" y="1214"/>
                  </a:lnTo>
                  <a:lnTo>
                    <a:pt x="380" y="1215"/>
                  </a:lnTo>
                  <a:lnTo>
                    <a:pt x="378" y="1217"/>
                  </a:lnTo>
                  <a:lnTo>
                    <a:pt x="379" y="1220"/>
                  </a:lnTo>
                  <a:lnTo>
                    <a:pt x="382" y="1224"/>
                  </a:lnTo>
                  <a:lnTo>
                    <a:pt x="383" y="1228"/>
                  </a:lnTo>
                  <a:lnTo>
                    <a:pt x="385" y="1232"/>
                  </a:lnTo>
                  <a:lnTo>
                    <a:pt x="386" y="1239"/>
                  </a:lnTo>
                  <a:lnTo>
                    <a:pt x="389" y="1249"/>
                  </a:lnTo>
                  <a:lnTo>
                    <a:pt x="395" y="1260"/>
                  </a:lnTo>
                  <a:lnTo>
                    <a:pt x="398" y="1268"/>
                  </a:lnTo>
                  <a:lnTo>
                    <a:pt x="397" y="1277"/>
                  </a:lnTo>
                  <a:lnTo>
                    <a:pt x="394" y="1284"/>
                  </a:lnTo>
                  <a:lnTo>
                    <a:pt x="390" y="1291"/>
                  </a:lnTo>
                  <a:lnTo>
                    <a:pt x="380" y="1300"/>
                  </a:lnTo>
                  <a:lnTo>
                    <a:pt x="374" y="1308"/>
                  </a:lnTo>
                  <a:lnTo>
                    <a:pt x="368" y="1317"/>
                  </a:lnTo>
                  <a:lnTo>
                    <a:pt x="362" y="1325"/>
                  </a:lnTo>
                  <a:lnTo>
                    <a:pt x="357" y="1331"/>
                  </a:lnTo>
                  <a:lnTo>
                    <a:pt x="351" y="1335"/>
                  </a:lnTo>
                  <a:lnTo>
                    <a:pt x="342" y="1339"/>
                  </a:lnTo>
                  <a:lnTo>
                    <a:pt x="332" y="1342"/>
                  </a:lnTo>
                  <a:lnTo>
                    <a:pt x="322" y="1343"/>
                  </a:lnTo>
                  <a:lnTo>
                    <a:pt x="314" y="1344"/>
                  </a:lnTo>
                  <a:lnTo>
                    <a:pt x="312" y="1343"/>
                  </a:lnTo>
                  <a:lnTo>
                    <a:pt x="312" y="1340"/>
                  </a:lnTo>
                  <a:lnTo>
                    <a:pt x="315" y="1336"/>
                  </a:lnTo>
                  <a:lnTo>
                    <a:pt x="319" y="1331"/>
                  </a:lnTo>
                  <a:lnTo>
                    <a:pt x="321" y="1326"/>
                  </a:lnTo>
                  <a:lnTo>
                    <a:pt x="321" y="1322"/>
                  </a:lnTo>
                  <a:lnTo>
                    <a:pt x="320" y="1317"/>
                  </a:lnTo>
                  <a:lnTo>
                    <a:pt x="321" y="1311"/>
                  </a:lnTo>
                  <a:lnTo>
                    <a:pt x="323" y="1304"/>
                  </a:lnTo>
                  <a:lnTo>
                    <a:pt x="323" y="1298"/>
                  </a:lnTo>
                  <a:lnTo>
                    <a:pt x="322" y="1296"/>
                  </a:lnTo>
                  <a:lnTo>
                    <a:pt x="318" y="1296"/>
                  </a:lnTo>
                  <a:lnTo>
                    <a:pt x="314" y="1299"/>
                  </a:lnTo>
                  <a:lnTo>
                    <a:pt x="308" y="1302"/>
                  </a:lnTo>
                  <a:lnTo>
                    <a:pt x="302" y="1304"/>
                  </a:lnTo>
                  <a:lnTo>
                    <a:pt x="295" y="1303"/>
                  </a:lnTo>
                  <a:lnTo>
                    <a:pt x="290" y="1300"/>
                  </a:lnTo>
                  <a:lnTo>
                    <a:pt x="287" y="1295"/>
                  </a:lnTo>
                  <a:lnTo>
                    <a:pt x="287" y="1284"/>
                  </a:lnTo>
                  <a:lnTo>
                    <a:pt x="289" y="1279"/>
                  </a:lnTo>
                  <a:lnTo>
                    <a:pt x="291" y="1275"/>
                  </a:lnTo>
                  <a:lnTo>
                    <a:pt x="291" y="1270"/>
                  </a:lnTo>
                  <a:lnTo>
                    <a:pt x="287" y="1265"/>
                  </a:lnTo>
                  <a:lnTo>
                    <a:pt x="281" y="1260"/>
                  </a:lnTo>
                  <a:lnTo>
                    <a:pt x="273" y="1256"/>
                  </a:lnTo>
                  <a:lnTo>
                    <a:pt x="266" y="1254"/>
                  </a:lnTo>
                  <a:lnTo>
                    <a:pt x="264" y="1250"/>
                  </a:lnTo>
                  <a:lnTo>
                    <a:pt x="262" y="1246"/>
                  </a:lnTo>
                  <a:lnTo>
                    <a:pt x="260" y="1240"/>
                  </a:lnTo>
                  <a:lnTo>
                    <a:pt x="256" y="1236"/>
                  </a:lnTo>
                  <a:lnTo>
                    <a:pt x="249" y="1234"/>
                  </a:lnTo>
                  <a:lnTo>
                    <a:pt x="240" y="1234"/>
                  </a:lnTo>
                  <a:lnTo>
                    <a:pt x="232" y="1235"/>
                  </a:lnTo>
                  <a:lnTo>
                    <a:pt x="225" y="1236"/>
                  </a:lnTo>
                  <a:lnTo>
                    <a:pt x="221" y="1236"/>
                  </a:lnTo>
                  <a:lnTo>
                    <a:pt x="220" y="1233"/>
                  </a:lnTo>
                  <a:lnTo>
                    <a:pt x="220" y="1224"/>
                  </a:lnTo>
                  <a:lnTo>
                    <a:pt x="219" y="1219"/>
                  </a:lnTo>
                  <a:lnTo>
                    <a:pt x="215" y="1216"/>
                  </a:lnTo>
                  <a:lnTo>
                    <a:pt x="209" y="1215"/>
                  </a:lnTo>
                  <a:lnTo>
                    <a:pt x="204" y="1219"/>
                  </a:lnTo>
                  <a:lnTo>
                    <a:pt x="199" y="1225"/>
                  </a:lnTo>
                  <a:lnTo>
                    <a:pt x="195" y="1232"/>
                  </a:lnTo>
                  <a:lnTo>
                    <a:pt x="192" y="1237"/>
                  </a:lnTo>
                  <a:lnTo>
                    <a:pt x="188" y="1239"/>
                  </a:lnTo>
                  <a:lnTo>
                    <a:pt x="183" y="1240"/>
                  </a:lnTo>
                  <a:lnTo>
                    <a:pt x="175" y="1238"/>
                  </a:lnTo>
                  <a:lnTo>
                    <a:pt x="173" y="1236"/>
                  </a:lnTo>
                  <a:lnTo>
                    <a:pt x="172" y="1233"/>
                  </a:lnTo>
                  <a:lnTo>
                    <a:pt x="171" y="1231"/>
                  </a:lnTo>
                  <a:lnTo>
                    <a:pt x="168" y="1227"/>
                  </a:lnTo>
                  <a:lnTo>
                    <a:pt x="165" y="1224"/>
                  </a:lnTo>
                  <a:lnTo>
                    <a:pt x="162" y="1222"/>
                  </a:lnTo>
                  <a:lnTo>
                    <a:pt x="158" y="1220"/>
                  </a:lnTo>
                  <a:lnTo>
                    <a:pt x="165" y="1215"/>
                  </a:lnTo>
                  <a:lnTo>
                    <a:pt x="171" y="1212"/>
                  </a:lnTo>
                  <a:lnTo>
                    <a:pt x="176" y="1210"/>
                  </a:lnTo>
                  <a:lnTo>
                    <a:pt x="186" y="1209"/>
                  </a:lnTo>
                  <a:lnTo>
                    <a:pt x="194" y="1208"/>
                  </a:lnTo>
                  <a:lnTo>
                    <a:pt x="202" y="1204"/>
                  </a:lnTo>
                  <a:lnTo>
                    <a:pt x="208" y="1198"/>
                  </a:lnTo>
                  <a:lnTo>
                    <a:pt x="214" y="1191"/>
                  </a:lnTo>
                  <a:lnTo>
                    <a:pt x="221" y="1185"/>
                  </a:lnTo>
                  <a:lnTo>
                    <a:pt x="227" y="1182"/>
                  </a:lnTo>
                  <a:lnTo>
                    <a:pt x="233" y="1183"/>
                  </a:lnTo>
                  <a:lnTo>
                    <a:pt x="240" y="1187"/>
                  </a:lnTo>
                  <a:lnTo>
                    <a:pt x="245" y="1190"/>
                  </a:lnTo>
                  <a:lnTo>
                    <a:pt x="250" y="1190"/>
                  </a:lnTo>
                  <a:lnTo>
                    <a:pt x="254" y="1187"/>
                  </a:lnTo>
                  <a:lnTo>
                    <a:pt x="259" y="1184"/>
                  </a:lnTo>
                  <a:lnTo>
                    <a:pt x="266" y="1181"/>
                  </a:lnTo>
                  <a:lnTo>
                    <a:pt x="286" y="1181"/>
                  </a:lnTo>
                  <a:lnTo>
                    <a:pt x="294" y="1179"/>
                  </a:lnTo>
                  <a:lnTo>
                    <a:pt x="297" y="1176"/>
                  </a:lnTo>
                  <a:lnTo>
                    <a:pt x="297" y="1159"/>
                  </a:lnTo>
                  <a:lnTo>
                    <a:pt x="298" y="1151"/>
                  </a:lnTo>
                  <a:lnTo>
                    <a:pt x="298" y="1149"/>
                  </a:lnTo>
                  <a:lnTo>
                    <a:pt x="296" y="1147"/>
                  </a:lnTo>
                  <a:lnTo>
                    <a:pt x="294" y="1146"/>
                  </a:lnTo>
                  <a:lnTo>
                    <a:pt x="289" y="1146"/>
                  </a:lnTo>
                  <a:lnTo>
                    <a:pt x="287" y="1145"/>
                  </a:lnTo>
                  <a:lnTo>
                    <a:pt x="287" y="1144"/>
                  </a:lnTo>
                  <a:lnTo>
                    <a:pt x="286" y="1143"/>
                  </a:lnTo>
                  <a:lnTo>
                    <a:pt x="287" y="1141"/>
                  </a:lnTo>
                  <a:lnTo>
                    <a:pt x="292" y="1133"/>
                  </a:lnTo>
                  <a:lnTo>
                    <a:pt x="296" y="1126"/>
                  </a:lnTo>
                  <a:lnTo>
                    <a:pt x="297" y="1121"/>
                  </a:lnTo>
                  <a:lnTo>
                    <a:pt x="294" y="1115"/>
                  </a:lnTo>
                  <a:lnTo>
                    <a:pt x="291" y="1107"/>
                  </a:lnTo>
                  <a:lnTo>
                    <a:pt x="291" y="1091"/>
                  </a:lnTo>
                  <a:lnTo>
                    <a:pt x="287" y="1071"/>
                  </a:lnTo>
                  <a:lnTo>
                    <a:pt x="288" y="1062"/>
                  </a:lnTo>
                  <a:lnTo>
                    <a:pt x="290" y="1055"/>
                  </a:lnTo>
                  <a:lnTo>
                    <a:pt x="294" y="1047"/>
                  </a:lnTo>
                  <a:lnTo>
                    <a:pt x="299" y="1038"/>
                  </a:lnTo>
                  <a:lnTo>
                    <a:pt x="303" y="1029"/>
                  </a:lnTo>
                  <a:lnTo>
                    <a:pt x="305" y="1020"/>
                  </a:lnTo>
                  <a:lnTo>
                    <a:pt x="304" y="1014"/>
                  </a:lnTo>
                  <a:lnTo>
                    <a:pt x="301" y="1006"/>
                  </a:lnTo>
                  <a:lnTo>
                    <a:pt x="298" y="994"/>
                  </a:lnTo>
                  <a:lnTo>
                    <a:pt x="294" y="981"/>
                  </a:lnTo>
                  <a:lnTo>
                    <a:pt x="288" y="955"/>
                  </a:lnTo>
                  <a:lnTo>
                    <a:pt x="286" y="946"/>
                  </a:lnTo>
                  <a:lnTo>
                    <a:pt x="283" y="939"/>
                  </a:lnTo>
                  <a:lnTo>
                    <a:pt x="279" y="930"/>
                  </a:lnTo>
                  <a:lnTo>
                    <a:pt x="275" y="920"/>
                  </a:lnTo>
                  <a:lnTo>
                    <a:pt x="266" y="902"/>
                  </a:lnTo>
                  <a:lnTo>
                    <a:pt x="265" y="895"/>
                  </a:lnTo>
                  <a:lnTo>
                    <a:pt x="265" y="891"/>
                  </a:lnTo>
                  <a:lnTo>
                    <a:pt x="268" y="885"/>
                  </a:lnTo>
                  <a:lnTo>
                    <a:pt x="273" y="879"/>
                  </a:lnTo>
                  <a:lnTo>
                    <a:pt x="277" y="870"/>
                  </a:lnTo>
                  <a:lnTo>
                    <a:pt x="277" y="859"/>
                  </a:lnTo>
                  <a:lnTo>
                    <a:pt x="280" y="856"/>
                  </a:lnTo>
                  <a:lnTo>
                    <a:pt x="286" y="854"/>
                  </a:lnTo>
                  <a:lnTo>
                    <a:pt x="302" y="852"/>
                  </a:lnTo>
                  <a:lnTo>
                    <a:pt x="313" y="849"/>
                  </a:lnTo>
                  <a:lnTo>
                    <a:pt x="324" y="845"/>
                  </a:lnTo>
                  <a:lnTo>
                    <a:pt x="333" y="840"/>
                  </a:lnTo>
                  <a:lnTo>
                    <a:pt x="340" y="833"/>
                  </a:lnTo>
                  <a:lnTo>
                    <a:pt x="343" y="829"/>
                  </a:lnTo>
                  <a:lnTo>
                    <a:pt x="347" y="827"/>
                  </a:lnTo>
                  <a:lnTo>
                    <a:pt x="351" y="826"/>
                  </a:lnTo>
                  <a:lnTo>
                    <a:pt x="353" y="823"/>
                  </a:lnTo>
                  <a:lnTo>
                    <a:pt x="354" y="817"/>
                  </a:lnTo>
                  <a:lnTo>
                    <a:pt x="353" y="809"/>
                  </a:lnTo>
                  <a:lnTo>
                    <a:pt x="350" y="799"/>
                  </a:lnTo>
                  <a:lnTo>
                    <a:pt x="346" y="788"/>
                  </a:lnTo>
                  <a:lnTo>
                    <a:pt x="342" y="778"/>
                  </a:lnTo>
                  <a:lnTo>
                    <a:pt x="340" y="770"/>
                  </a:lnTo>
                  <a:lnTo>
                    <a:pt x="341" y="764"/>
                  </a:lnTo>
                  <a:lnTo>
                    <a:pt x="345" y="763"/>
                  </a:lnTo>
                  <a:lnTo>
                    <a:pt x="349" y="764"/>
                  </a:lnTo>
                  <a:lnTo>
                    <a:pt x="354" y="767"/>
                  </a:lnTo>
                  <a:lnTo>
                    <a:pt x="359" y="771"/>
                  </a:lnTo>
                  <a:lnTo>
                    <a:pt x="363" y="773"/>
                  </a:lnTo>
                  <a:lnTo>
                    <a:pt x="367" y="773"/>
                  </a:lnTo>
                  <a:lnTo>
                    <a:pt x="369" y="771"/>
                  </a:lnTo>
                  <a:lnTo>
                    <a:pt x="372" y="765"/>
                  </a:lnTo>
                  <a:lnTo>
                    <a:pt x="375" y="762"/>
                  </a:lnTo>
                  <a:lnTo>
                    <a:pt x="379" y="762"/>
                  </a:lnTo>
                  <a:lnTo>
                    <a:pt x="381" y="763"/>
                  </a:lnTo>
                  <a:lnTo>
                    <a:pt x="383" y="765"/>
                  </a:lnTo>
                  <a:lnTo>
                    <a:pt x="385" y="769"/>
                  </a:lnTo>
                  <a:lnTo>
                    <a:pt x="385" y="770"/>
                  </a:lnTo>
                  <a:lnTo>
                    <a:pt x="386" y="772"/>
                  </a:lnTo>
                  <a:lnTo>
                    <a:pt x="388" y="772"/>
                  </a:lnTo>
                  <a:lnTo>
                    <a:pt x="389" y="771"/>
                  </a:lnTo>
                  <a:lnTo>
                    <a:pt x="391" y="770"/>
                  </a:lnTo>
                  <a:lnTo>
                    <a:pt x="392" y="770"/>
                  </a:lnTo>
                  <a:lnTo>
                    <a:pt x="398" y="767"/>
                  </a:lnTo>
                  <a:lnTo>
                    <a:pt x="400" y="763"/>
                  </a:lnTo>
                  <a:lnTo>
                    <a:pt x="399" y="761"/>
                  </a:lnTo>
                  <a:lnTo>
                    <a:pt x="398" y="758"/>
                  </a:lnTo>
                  <a:lnTo>
                    <a:pt x="394" y="753"/>
                  </a:lnTo>
                  <a:lnTo>
                    <a:pt x="391" y="749"/>
                  </a:lnTo>
                  <a:lnTo>
                    <a:pt x="387" y="746"/>
                  </a:lnTo>
                  <a:lnTo>
                    <a:pt x="383" y="743"/>
                  </a:lnTo>
                  <a:lnTo>
                    <a:pt x="382" y="737"/>
                  </a:lnTo>
                  <a:lnTo>
                    <a:pt x="383" y="730"/>
                  </a:lnTo>
                  <a:lnTo>
                    <a:pt x="383" y="720"/>
                  </a:lnTo>
                  <a:lnTo>
                    <a:pt x="386" y="710"/>
                  </a:lnTo>
                  <a:lnTo>
                    <a:pt x="388" y="699"/>
                  </a:lnTo>
                  <a:lnTo>
                    <a:pt x="389" y="691"/>
                  </a:lnTo>
                  <a:lnTo>
                    <a:pt x="388" y="685"/>
                  </a:lnTo>
                  <a:lnTo>
                    <a:pt x="387" y="680"/>
                  </a:lnTo>
                  <a:lnTo>
                    <a:pt x="389" y="675"/>
                  </a:lnTo>
                  <a:lnTo>
                    <a:pt x="391" y="672"/>
                  </a:lnTo>
                  <a:lnTo>
                    <a:pt x="391" y="668"/>
                  </a:lnTo>
                  <a:lnTo>
                    <a:pt x="390" y="664"/>
                  </a:lnTo>
                  <a:lnTo>
                    <a:pt x="385" y="658"/>
                  </a:lnTo>
                  <a:lnTo>
                    <a:pt x="379" y="649"/>
                  </a:lnTo>
                  <a:lnTo>
                    <a:pt x="372" y="640"/>
                  </a:lnTo>
                  <a:lnTo>
                    <a:pt x="365" y="632"/>
                  </a:lnTo>
                  <a:lnTo>
                    <a:pt x="359" y="625"/>
                  </a:lnTo>
                  <a:lnTo>
                    <a:pt x="355" y="622"/>
                  </a:lnTo>
                  <a:lnTo>
                    <a:pt x="352" y="621"/>
                  </a:lnTo>
                  <a:lnTo>
                    <a:pt x="349" y="621"/>
                  </a:lnTo>
                  <a:lnTo>
                    <a:pt x="347" y="620"/>
                  </a:lnTo>
                  <a:lnTo>
                    <a:pt x="346" y="620"/>
                  </a:lnTo>
                  <a:lnTo>
                    <a:pt x="344" y="619"/>
                  </a:lnTo>
                  <a:lnTo>
                    <a:pt x="343" y="617"/>
                  </a:lnTo>
                  <a:lnTo>
                    <a:pt x="342" y="614"/>
                  </a:lnTo>
                  <a:lnTo>
                    <a:pt x="338" y="607"/>
                  </a:lnTo>
                  <a:lnTo>
                    <a:pt x="333" y="601"/>
                  </a:lnTo>
                  <a:lnTo>
                    <a:pt x="329" y="596"/>
                  </a:lnTo>
                  <a:lnTo>
                    <a:pt x="328" y="595"/>
                  </a:lnTo>
                  <a:lnTo>
                    <a:pt x="330" y="591"/>
                  </a:lnTo>
                  <a:lnTo>
                    <a:pt x="332" y="589"/>
                  </a:lnTo>
                  <a:lnTo>
                    <a:pt x="334" y="588"/>
                  </a:lnTo>
                  <a:lnTo>
                    <a:pt x="336" y="586"/>
                  </a:lnTo>
                  <a:lnTo>
                    <a:pt x="338" y="582"/>
                  </a:lnTo>
                  <a:lnTo>
                    <a:pt x="337" y="581"/>
                  </a:lnTo>
                  <a:lnTo>
                    <a:pt x="331" y="577"/>
                  </a:lnTo>
                  <a:lnTo>
                    <a:pt x="323" y="571"/>
                  </a:lnTo>
                  <a:lnTo>
                    <a:pt x="314" y="564"/>
                  </a:lnTo>
                  <a:lnTo>
                    <a:pt x="309" y="557"/>
                  </a:lnTo>
                  <a:lnTo>
                    <a:pt x="306" y="551"/>
                  </a:lnTo>
                  <a:lnTo>
                    <a:pt x="304" y="543"/>
                  </a:lnTo>
                  <a:lnTo>
                    <a:pt x="302" y="536"/>
                  </a:lnTo>
                  <a:lnTo>
                    <a:pt x="301" y="529"/>
                  </a:lnTo>
                  <a:lnTo>
                    <a:pt x="303" y="525"/>
                  </a:lnTo>
                  <a:lnTo>
                    <a:pt x="303" y="521"/>
                  </a:lnTo>
                  <a:lnTo>
                    <a:pt x="301" y="515"/>
                  </a:lnTo>
                  <a:lnTo>
                    <a:pt x="297" y="508"/>
                  </a:lnTo>
                  <a:lnTo>
                    <a:pt x="293" y="500"/>
                  </a:lnTo>
                  <a:lnTo>
                    <a:pt x="292" y="493"/>
                  </a:lnTo>
                  <a:lnTo>
                    <a:pt x="293" y="487"/>
                  </a:lnTo>
                  <a:lnTo>
                    <a:pt x="295" y="485"/>
                  </a:lnTo>
                  <a:lnTo>
                    <a:pt x="298" y="483"/>
                  </a:lnTo>
                  <a:lnTo>
                    <a:pt x="306" y="479"/>
                  </a:lnTo>
                  <a:lnTo>
                    <a:pt x="308" y="477"/>
                  </a:lnTo>
                  <a:lnTo>
                    <a:pt x="308" y="472"/>
                  </a:lnTo>
                  <a:lnTo>
                    <a:pt x="305" y="467"/>
                  </a:lnTo>
                  <a:lnTo>
                    <a:pt x="302" y="462"/>
                  </a:lnTo>
                  <a:lnTo>
                    <a:pt x="300" y="458"/>
                  </a:lnTo>
                  <a:lnTo>
                    <a:pt x="299" y="452"/>
                  </a:lnTo>
                  <a:lnTo>
                    <a:pt x="299" y="445"/>
                  </a:lnTo>
                  <a:lnTo>
                    <a:pt x="298" y="436"/>
                  </a:lnTo>
                  <a:lnTo>
                    <a:pt x="295" y="427"/>
                  </a:lnTo>
                  <a:lnTo>
                    <a:pt x="292" y="419"/>
                  </a:lnTo>
                  <a:lnTo>
                    <a:pt x="289" y="417"/>
                  </a:lnTo>
                  <a:lnTo>
                    <a:pt x="286" y="420"/>
                  </a:lnTo>
                  <a:lnTo>
                    <a:pt x="283" y="426"/>
                  </a:lnTo>
                  <a:lnTo>
                    <a:pt x="279" y="433"/>
                  </a:lnTo>
                  <a:lnTo>
                    <a:pt x="274" y="438"/>
                  </a:lnTo>
                  <a:lnTo>
                    <a:pt x="269" y="440"/>
                  </a:lnTo>
                  <a:lnTo>
                    <a:pt x="257" y="440"/>
                  </a:lnTo>
                  <a:lnTo>
                    <a:pt x="253" y="438"/>
                  </a:lnTo>
                  <a:lnTo>
                    <a:pt x="250" y="435"/>
                  </a:lnTo>
                  <a:lnTo>
                    <a:pt x="249" y="429"/>
                  </a:lnTo>
                  <a:lnTo>
                    <a:pt x="248" y="420"/>
                  </a:lnTo>
                  <a:lnTo>
                    <a:pt x="246" y="411"/>
                  </a:lnTo>
                  <a:lnTo>
                    <a:pt x="245" y="403"/>
                  </a:lnTo>
                  <a:lnTo>
                    <a:pt x="243" y="400"/>
                  </a:lnTo>
                  <a:lnTo>
                    <a:pt x="242" y="401"/>
                  </a:lnTo>
                  <a:lnTo>
                    <a:pt x="240" y="402"/>
                  </a:lnTo>
                  <a:lnTo>
                    <a:pt x="239" y="404"/>
                  </a:lnTo>
                  <a:lnTo>
                    <a:pt x="237" y="407"/>
                  </a:lnTo>
                  <a:lnTo>
                    <a:pt x="235" y="409"/>
                  </a:lnTo>
                  <a:lnTo>
                    <a:pt x="232" y="410"/>
                  </a:lnTo>
                  <a:lnTo>
                    <a:pt x="230" y="410"/>
                  </a:lnTo>
                  <a:lnTo>
                    <a:pt x="228" y="409"/>
                  </a:lnTo>
                  <a:lnTo>
                    <a:pt x="227" y="405"/>
                  </a:lnTo>
                  <a:lnTo>
                    <a:pt x="228" y="399"/>
                  </a:lnTo>
                  <a:lnTo>
                    <a:pt x="230" y="393"/>
                  </a:lnTo>
                  <a:lnTo>
                    <a:pt x="232" y="386"/>
                  </a:lnTo>
                  <a:lnTo>
                    <a:pt x="232" y="381"/>
                  </a:lnTo>
                  <a:lnTo>
                    <a:pt x="229" y="376"/>
                  </a:lnTo>
                  <a:lnTo>
                    <a:pt x="222" y="369"/>
                  </a:lnTo>
                  <a:lnTo>
                    <a:pt x="221" y="364"/>
                  </a:lnTo>
                  <a:lnTo>
                    <a:pt x="221" y="357"/>
                  </a:lnTo>
                  <a:lnTo>
                    <a:pt x="220" y="350"/>
                  </a:lnTo>
                  <a:lnTo>
                    <a:pt x="218" y="345"/>
                  </a:lnTo>
                  <a:lnTo>
                    <a:pt x="215" y="342"/>
                  </a:lnTo>
                  <a:lnTo>
                    <a:pt x="211" y="342"/>
                  </a:lnTo>
                  <a:lnTo>
                    <a:pt x="196" y="348"/>
                  </a:lnTo>
                  <a:lnTo>
                    <a:pt x="193" y="348"/>
                  </a:lnTo>
                  <a:lnTo>
                    <a:pt x="191" y="346"/>
                  </a:lnTo>
                  <a:lnTo>
                    <a:pt x="190" y="344"/>
                  </a:lnTo>
                  <a:lnTo>
                    <a:pt x="189" y="343"/>
                  </a:lnTo>
                  <a:lnTo>
                    <a:pt x="189" y="342"/>
                  </a:lnTo>
                  <a:lnTo>
                    <a:pt x="186" y="342"/>
                  </a:lnTo>
                  <a:lnTo>
                    <a:pt x="182" y="344"/>
                  </a:lnTo>
                  <a:lnTo>
                    <a:pt x="178" y="348"/>
                  </a:lnTo>
                  <a:lnTo>
                    <a:pt x="173" y="349"/>
                  </a:lnTo>
                  <a:lnTo>
                    <a:pt x="169" y="348"/>
                  </a:lnTo>
                  <a:lnTo>
                    <a:pt x="168" y="345"/>
                  </a:lnTo>
                  <a:lnTo>
                    <a:pt x="168" y="339"/>
                  </a:lnTo>
                  <a:lnTo>
                    <a:pt x="170" y="333"/>
                  </a:lnTo>
                  <a:lnTo>
                    <a:pt x="172" y="327"/>
                  </a:lnTo>
                  <a:lnTo>
                    <a:pt x="174" y="321"/>
                  </a:lnTo>
                  <a:lnTo>
                    <a:pt x="174" y="317"/>
                  </a:lnTo>
                  <a:lnTo>
                    <a:pt x="172" y="316"/>
                  </a:lnTo>
                  <a:lnTo>
                    <a:pt x="167" y="317"/>
                  </a:lnTo>
                  <a:lnTo>
                    <a:pt x="161" y="319"/>
                  </a:lnTo>
                  <a:lnTo>
                    <a:pt x="155" y="322"/>
                  </a:lnTo>
                  <a:lnTo>
                    <a:pt x="150" y="324"/>
                  </a:lnTo>
                  <a:lnTo>
                    <a:pt x="147" y="324"/>
                  </a:lnTo>
                  <a:lnTo>
                    <a:pt x="142" y="321"/>
                  </a:lnTo>
                  <a:lnTo>
                    <a:pt x="137" y="317"/>
                  </a:lnTo>
                  <a:lnTo>
                    <a:pt x="132" y="314"/>
                  </a:lnTo>
                  <a:lnTo>
                    <a:pt x="127" y="314"/>
                  </a:lnTo>
                  <a:lnTo>
                    <a:pt x="119" y="315"/>
                  </a:lnTo>
                  <a:lnTo>
                    <a:pt x="109" y="316"/>
                  </a:lnTo>
                  <a:lnTo>
                    <a:pt x="99" y="319"/>
                  </a:lnTo>
                  <a:lnTo>
                    <a:pt x="91" y="321"/>
                  </a:lnTo>
                  <a:lnTo>
                    <a:pt x="87" y="324"/>
                  </a:lnTo>
                  <a:lnTo>
                    <a:pt x="86" y="327"/>
                  </a:lnTo>
                  <a:lnTo>
                    <a:pt x="85" y="329"/>
                  </a:lnTo>
                  <a:lnTo>
                    <a:pt x="85" y="332"/>
                  </a:lnTo>
                  <a:lnTo>
                    <a:pt x="86" y="334"/>
                  </a:lnTo>
                  <a:lnTo>
                    <a:pt x="88" y="336"/>
                  </a:lnTo>
                  <a:lnTo>
                    <a:pt x="92" y="337"/>
                  </a:lnTo>
                  <a:lnTo>
                    <a:pt x="96" y="339"/>
                  </a:lnTo>
                  <a:lnTo>
                    <a:pt x="98" y="343"/>
                  </a:lnTo>
                  <a:lnTo>
                    <a:pt x="98" y="346"/>
                  </a:lnTo>
                  <a:lnTo>
                    <a:pt x="99" y="347"/>
                  </a:lnTo>
                  <a:lnTo>
                    <a:pt x="100" y="347"/>
                  </a:lnTo>
                  <a:lnTo>
                    <a:pt x="102" y="346"/>
                  </a:lnTo>
                  <a:lnTo>
                    <a:pt x="105" y="345"/>
                  </a:lnTo>
                  <a:lnTo>
                    <a:pt x="108" y="343"/>
                  </a:lnTo>
                  <a:lnTo>
                    <a:pt x="109" y="342"/>
                  </a:lnTo>
                  <a:lnTo>
                    <a:pt x="111" y="341"/>
                  </a:lnTo>
                  <a:lnTo>
                    <a:pt x="112" y="341"/>
                  </a:lnTo>
                  <a:lnTo>
                    <a:pt x="113" y="342"/>
                  </a:lnTo>
                  <a:lnTo>
                    <a:pt x="114" y="344"/>
                  </a:lnTo>
                  <a:lnTo>
                    <a:pt x="115" y="350"/>
                  </a:lnTo>
                  <a:lnTo>
                    <a:pt x="113" y="364"/>
                  </a:lnTo>
                  <a:lnTo>
                    <a:pt x="110" y="369"/>
                  </a:lnTo>
                  <a:lnTo>
                    <a:pt x="106" y="371"/>
                  </a:lnTo>
                  <a:lnTo>
                    <a:pt x="100" y="371"/>
                  </a:lnTo>
                  <a:lnTo>
                    <a:pt x="94" y="372"/>
                  </a:lnTo>
                  <a:lnTo>
                    <a:pt x="88" y="371"/>
                  </a:lnTo>
                  <a:lnTo>
                    <a:pt x="84" y="371"/>
                  </a:lnTo>
                  <a:lnTo>
                    <a:pt x="81" y="372"/>
                  </a:lnTo>
                  <a:lnTo>
                    <a:pt x="78" y="374"/>
                  </a:lnTo>
                  <a:lnTo>
                    <a:pt x="77" y="377"/>
                  </a:lnTo>
                  <a:lnTo>
                    <a:pt x="77" y="380"/>
                  </a:lnTo>
                  <a:lnTo>
                    <a:pt x="78" y="384"/>
                  </a:lnTo>
                  <a:lnTo>
                    <a:pt x="78" y="389"/>
                  </a:lnTo>
                  <a:lnTo>
                    <a:pt x="76" y="393"/>
                  </a:lnTo>
                  <a:lnTo>
                    <a:pt x="73" y="397"/>
                  </a:lnTo>
                  <a:lnTo>
                    <a:pt x="66" y="398"/>
                  </a:lnTo>
                  <a:lnTo>
                    <a:pt x="56" y="398"/>
                  </a:lnTo>
                  <a:lnTo>
                    <a:pt x="45" y="399"/>
                  </a:lnTo>
                  <a:lnTo>
                    <a:pt x="25" y="399"/>
                  </a:lnTo>
                  <a:lnTo>
                    <a:pt x="22" y="396"/>
                  </a:lnTo>
                  <a:lnTo>
                    <a:pt x="18" y="390"/>
                  </a:lnTo>
                  <a:lnTo>
                    <a:pt x="17" y="387"/>
                  </a:lnTo>
                  <a:lnTo>
                    <a:pt x="18" y="384"/>
                  </a:lnTo>
                  <a:lnTo>
                    <a:pt x="19" y="382"/>
                  </a:lnTo>
                  <a:lnTo>
                    <a:pt x="20" y="381"/>
                  </a:lnTo>
                  <a:lnTo>
                    <a:pt x="22" y="380"/>
                  </a:lnTo>
                  <a:lnTo>
                    <a:pt x="23" y="379"/>
                  </a:lnTo>
                  <a:lnTo>
                    <a:pt x="25" y="379"/>
                  </a:lnTo>
                  <a:lnTo>
                    <a:pt x="26" y="378"/>
                  </a:lnTo>
                  <a:lnTo>
                    <a:pt x="28" y="378"/>
                  </a:lnTo>
                  <a:lnTo>
                    <a:pt x="28" y="376"/>
                  </a:lnTo>
                  <a:lnTo>
                    <a:pt x="29" y="374"/>
                  </a:lnTo>
                  <a:lnTo>
                    <a:pt x="28" y="371"/>
                  </a:lnTo>
                  <a:lnTo>
                    <a:pt x="26" y="364"/>
                  </a:lnTo>
                  <a:lnTo>
                    <a:pt x="24" y="359"/>
                  </a:lnTo>
                  <a:lnTo>
                    <a:pt x="23" y="356"/>
                  </a:lnTo>
                  <a:lnTo>
                    <a:pt x="31" y="348"/>
                  </a:lnTo>
                  <a:lnTo>
                    <a:pt x="34" y="340"/>
                  </a:lnTo>
                  <a:lnTo>
                    <a:pt x="36" y="332"/>
                  </a:lnTo>
                  <a:lnTo>
                    <a:pt x="37" y="327"/>
                  </a:lnTo>
                  <a:lnTo>
                    <a:pt x="35" y="322"/>
                  </a:lnTo>
                  <a:lnTo>
                    <a:pt x="27" y="308"/>
                  </a:lnTo>
                  <a:lnTo>
                    <a:pt x="24" y="302"/>
                  </a:lnTo>
                  <a:lnTo>
                    <a:pt x="20" y="295"/>
                  </a:lnTo>
                  <a:lnTo>
                    <a:pt x="15" y="289"/>
                  </a:lnTo>
                  <a:lnTo>
                    <a:pt x="12" y="282"/>
                  </a:lnTo>
                  <a:lnTo>
                    <a:pt x="11" y="277"/>
                  </a:lnTo>
                  <a:lnTo>
                    <a:pt x="10" y="269"/>
                  </a:lnTo>
                  <a:lnTo>
                    <a:pt x="8" y="259"/>
                  </a:lnTo>
                  <a:lnTo>
                    <a:pt x="7" y="250"/>
                  </a:lnTo>
                  <a:lnTo>
                    <a:pt x="7" y="241"/>
                  </a:lnTo>
                  <a:lnTo>
                    <a:pt x="9" y="236"/>
                  </a:lnTo>
                  <a:lnTo>
                    <a:pt x="12" y="231"/>
                  </a:lnTo>
                  <a:lnTo>
                    <a:pt x="15" y="225"/>
                  </a:lnTo>
                  <a:lnTo>
                    <a:pt x="16" y="218"/>
                  </a:lnTo>
                  <a:lnTo>
                    <a:pt x="15" y="212"/>
                  </a:lnTo>
                  <a:lnTo>
                    <a:pt x="11" y="207"/>
                  </a:lnTo>
                  <a:lnTo>
                    <a:pt x="5" y="203"/>
                  </a:lnTo>
                  <a:lnTo>
                    <a:pt x="3" y="202"/>
                  </a:lnTo>
                  <a:lnTo>
                    <a:pt x="1" y="200"/>
                  </a:lnTo>
                  <a:lnTo>
                    <a:pt x="0" y="200"/>
                  </a:lnTo>
                  <a:lnTo>
                    <a:pt x="0" y="198"/>
                  </a:lnTo>
                  <a:lnTo>
                    <a:pt x="1" y="197"/>
                  </a:lnTo>
                  <a:lnTo>
                    <a:pt x="3" y="195"/>
                  </a:lnTo>
                  <a:lnTo>
                    <a:pt x="8" y="187"/>
                  </a:lnTo>
                  <a:lnTo>
                    <a:pt x="14" y="180"/>
                  </a:lnTo>
                  <a:lnTo>
                    <a:pt x="20" y="174"/>
                  </a:lnTo>
                  <a:lnTo>
                    <a:pt x="28" y="172"/>
                  </a:lnTo>
                  <a:lnTo>
                    <a:pt x="33" y="173"/>
                  </a:lnTo>
                  <a:lnTo>
                    <a:pt x="36" y="175"/>
                  </a:lnTo>
                  <a:lnTo>
                    <a:pt x="39" y="178"/>
                  </a:lnTo>
                  <a:lnTo>
                    <a:pt x="42" y="178"/>
                  </a:lnTo>
                  <a:lnTo>
                    <a:pt x="46" y="176"/>
                  </a:lnTo>
                  <a:lnTo>
                    <a:pt x="50" y="173"/>
                  </a:lnTo>
                  <a:lnTo>
                    <a:pt x="52" y="167"/>
                  </a:lnTo>
                  <a:lnTo>
                    <a:pt x="54" y="164"/>
                  </a:lnTo>
                  <a:lnTo>
                    <a:pt x="57" y="163"/>
                  </a:lnTo>
                  <a:lnTo>
                    <a:pt x="64" y="163"/>
                  </a:lnTo>
                  <a:lnTo>
                    <a:pt x="76" y="164"/>
                  </a:lnTo>
                  <a:lnTo>
                    <a:pt x="84" y="166"/>
                  </a:lnTo>
                  <a:lnTo>
                    <a:pt x="91" y="169"/>
                  </a:lnTo>
                  <a:lnTo>
                    <a:pt x="97" y="174"/>
                  </a:lnTo>
                  <a:lnTo>
                    <a:pt x="99" y="177"/>
                  </a:lnTo>
                  <a:lnTo>
                    <a:pt x="101" y="179"/>
                  </a:lnTo>
                  <a:lnTo>
                    <a:pt x="103" y="183"/>
                  </a:lnTo>
                  <a:lnTo>
                    <a:pt x="105" y="184"/>
                  </a:lnTo>
                  <a:lnTo>
                    <a:pt x="106" y="186"/>
                  </a:lnTo>
                  <a:lnTo>
                    <a:pt x="112" y="186"/>
                  </a:lnTo>
                  <a:lnTo>
                    <a:pt x="128" y="184"/>
                  </a:lnTo>
                  <a:lnTo>
                    <a:pt x="134" y="182"/>
                  </a:lnTo>
                  <a:lnTo>
                    <a:pt x="137" y="178"/>
                  </a:lnTo>
                  <a:lnTo>
                    <a:pt x="137" y="173"/>
                  </a:lnTo>
                  <a:lnTo>
                    <a:pt x="135" y="168"/>
                  </a:lnTo>
                  <a:lnTo>
                    <a:pt x="135" y="163"/>
                  </a:lnTo>
                  <a:lnTo>
                    <a:pt x="139" y="159"/>
                  </a:lnTo>
                  <a:lnTo>
                    <a:pt x="141" y="156"/>
                  </a:lnTo>
                  <a:lnTo>
                    <a:pt x="140" y="151"/>
                  </a:lnTo>
                  <a:lnTo>
                    <a:pt x="139" y="145"/>
                  </a:lnTo>
                  <a:lnTo>
                    <a:pt x="137" y="139"/>
                  </a:lnTo>
                  <a:lnTo>
                    <a:pt x="136" y="133"/>
                  </a:lnTo>
                  <a:lnTo>
                    <a:pt x="137" y="129"/>
                  </a:lnTo>
                  <a:lnTo>
                    <a:pt x="141" y="127"/>
                  </a:lnTo>
                  <a:lnTo>
                    <a:pt x="147" y="127"/>
                  </a:lnTo>
                  <a:lnTo>
                    <a:pt x="151" y="129"/>
                  </a:lnTo>
                  <a:lnTo>
                    <a:pt x="156" y="131"/>
                  </a:lnTo>
                  <a:lnTo>
                    <a:pt x="160" y="131"/>
                  </a:lnTo>
                  <a:lnTo>
                    <a:pt x="167" y="128"/>
                  </a:lnTo>
                  <a:lnTo>
                    <a:pt x="173" y="124"/>
                  </a:lnTo>
                  <a:lnTo>
                    <a:pt x="176" y="121"/>
                  </a:lnTo>
                  <a:lnTo>
                    <a:pt x="177" y="118"/>
                  </a:lnTo>
                  <a:lnTo>
                    <a:pt x="178" y="116"/>
                  </a:lnTo>
                  <a:lnTo>
                    <a:pt x="179" y="112"/>
                  </a:lnTo>
                  <a:lnTo>
                    <a:pt x="183" y="108"/>
                  </a:lnTo>
                  <a:lnTo>
                    <a:pt x="189" y="104"/>
                  </a:lnTo>
                  <a:lnTo>
                    <a:pt x="196" y="100"/>
                  </a:lnTo>
                  <a:lnTo>
                    <a:pt x="201" y="96"/>
                  </a:lnTo>
                  <a:lnTo>
                    <a:pt x="203" y="90"/>
                  </a:lnTo>
                  <a:lnTo>
                    <a:pt x="202" y="84"/>
                  </a:lnTo>
                  <a:lnTo>
                    <a:pt x="200" y="76"/>
                  </a:lnTo>
                  <a:lnTo>
                    <a:pt x="200" y="62"/>
                  </a:lnTo>
                  <a:lnTo>
                    <a:pt x="202" y="58"/>
                  </a:lnTo>
                  <a:lnTo>
                    <a:pt x="207" y="55"/>
                  </a:lnTo>
                  <a:lnTo>
                    <a:pt x="214" y="54"/>
                  </a:lnTo>
                  <a:lnTo>
                    <a:pt x="219" y="55"/>
                  </a:lnTo>
                  <a:lnTo>
                    <a:pt x="225" y="58"/>
                  </a:lnTo>
                  <a:lnTo>
                    <a:pt x="227" y="58"/>
                  </a:lnTo>
                  <a:lnTo>
                    <a:pt x="231" y="57"/>
                  </a:lnTo>
                  <a:lnTo>
                    <a:pt x="239" y="54"/>
                  </a:lnTo>
                  <a:lnTo>
                    <a:pt x="248" y="49"/>
                  </a:lnTo>
                  <a:lnTo>
                    <a:pt x="267" y="35"/>
                  </a:lnTo>
                  <a:lnTo>
                    <a:pt x="274" y="27"/>
                  </a:lnTo>
                  <a:lnTo>
                    <a:pt x="277" y="19"/>
                  </a:lnTo>
                  <a:lnTo>
                    <a:pt x="278" y="15"/>
                  </a:lnTo>
                  <a:lnTo>
                    <a:pt x="278" y="5"/>
                  </a:lnTo>
                  <a:lnTo>
                    <a:pt x="287" y="1"/>
                  </a:lnTo>
                  <a:lnTo>
                    <a:pt x="296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FE367A35-DF1F-4E0F-88CD-EEE53133F5F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3076" y="3921126"/>
              <a:ext cx="1012825" cy="1292225"/>
            </a:xfrm>
            <a:custGeom>
              <a:avLst/>
              <a:gdLst/>
              <a:ahLst/>
              <a:cxnLst>
                <a:cxn ang="0">
                  <a:pos x="473" y="28"/>
                </a:cxn>
                <a:cxn ang="0">
                  <a:pos x="506" y="48"/>
                </a:cxn>
                <a:cxn ang="0">
                  <a:pos x="518" y="97"/>
                </a:cxn>
                <a:cxn ang="0">
                  <a:pos x="530" y="125"/>
                </a:cxn>
                <a:cxn ang="0">
                  <a:pos x="525" y="171"/>
                </a:cxn>
                <a:cxn ang="0">
                  <a:pos x="504" y="172"/>
                </a:cxn>
                <a:cxn ang="0">
                  <a:pos x="499" y="208"/>
                </a:cxn>
                <a:cxn ang="0">
                  <a:pos x="509" y="250"/>
                </a:cxn>
                <a:cxn ang="0">
                  <a:pos x="533" y="275"/>
                </a:cxn>
                <a:cxn ang="0">
                  <a:pos x="507" y="293"/>
                </a:cxn>
                <a:cxn ang="0">
                  <a:pos x="477" y="309"/>
                </a:cxn>
                <a:cxn ang="0">
                  <a:pos x="471" y="340"/>
                </a:cxn>
                <a:cxn ang="0">
                  <a:pos x="438" y="360"/>
                </a:cxn>
                <a:cxn ang="0">
                  <a:pos x="490" y="388"/>
                </a:cxn>
                <a:cxn ang="0">
                  <a:pos x="568" y="384"/>
                </a:cxn>
                <a:cxn ang="0">
                  <a:pos x="585" y="436"/>
                </a:cxn>
                <a:cxn ang="0">
                  <a:pos x="613" y="485"/>
                </a:cxn>
                <a:cxn ang="0">
                  <a:pos x="588" y="519"/>
                </a:cxn>
                <a:cxn ang="0">
                  <a:pos x="627" y="569"/>
                </a:cxn>
                <a:cxn ang="0">
                  <a:pos x="607" y="594"/>
                </a:cxn>
                <a:cxn ang="0">
                  <a:pos x="622" y="628"/>
                </a:cxn>
                <a:cxn ang="0">
                  <a:pos x="615" y="681"/>
                </a:cxn>
                <a:cxn ang="0">
                  <a:pos x="584" y="744"/>
                </a:cxn>
                <a:cxn ang="0">
                  <a:pos x="558" y="802"/>
                </a:cxn>
                <a:cxn ang="0">
                  <a:pos x="486" y="785"/>
                </a:cxn>
                <a:cxn ang="0">
                  <a:pos x="441" y="773"/>
                </a:cxn>
                <a:cxn ang="0">
                  <a:pos x="386" y="772"/>
                </a:cxn>
                <a:cxn ang="0">
                  <a:pos x="351" y="741"/>
                </a:cxn>
                <a:cxn ang="0">
                  <a:pos x="314" y="721"/>
                </a:cxn>
                <a:cxn ang="0">
                  <a:pos x="292" y="696"/>
                </a:cxn>
                <a:cxn ang="0">
                  <a:pos x="322" y="653"/>
                </a:cxn>
                <a:cxn ang="0">
                  <a:pos x="295" y="620"/>
                </a:cxn>
                <a:cxn ang="0">
                  <a:pos x="304" y="573"/>
                </a:cxn>
                <a:cxn ang="0">
                  <a:pos x="273" y="555"/>
                </a:cxn>
                <a:cxn ang="0">
                  <a:pos x="212" y="528"/>
                </a:cxn>
                <a:cxn ang="0">
                  <a:pos x="136" y="557"/>
                </a:cxn>
                <a:cxn ang="0">
                  <a:pos x="52" y="545"/>
                </a:cxn>
                <a:cxn ang="0">
                  <a:pos x="92" y="493"/>
                </a:cxn>
                <a:cxn ang="0">
                  <a:pos x="97" y="448"/>
                </a:cxn>
                <a:cxn ang="0">
                  <a:pos x="63" y="431"/>
                </a:cxn>
                <a:cxn ang="0">
                  <a:pos x="27" y="402"/>
                </a:cxn>
                <a:cxn ang="0">
                  <a:pos x="1" y="353"/>
                </a:cxn>
                <a:cxn ang="0">
                  <a:pos x="11" y="293"/>
                </a:cxn>
                <a:cxn ang="0">
                  <a:pos x="18" y="266"/>
                </a:cxn>
                <a:cxn ang="0">
                  <a:pos x="59" y="233"/>
                </a:cxn>
                <a:cxn ang="0">
                  <a:pos x="82" y="230"/>
                </a:cxn>
                <a:cxn ang="0">
                  <a:pos x="94" y="227"/>
                </a:cxn>
                <a:cxn ang="0">
                  <a:pos x="134" y="219"/>
                </a:cxn>
                <a:cxn ang="0">
                  <a:pos x="153" y="227"/>
                </a:cxn>
                <a:cxn ang="0">
                  <a:pos x="182" y="222"/>
                </a:cxn>
                <a:cxn ang="0">
                  <a:pos x="186" y="174"/>
                </a:cxn>
                <a:cxn ang="0">
                  <a:pos x="215" y="156"/>
                </a:cxn>
                <a:cxn ang="0">
                  <a:pos x="262" y="137"/>
                </a:cxn>
                <a:cxn ang="0">
                  <a:pos x="308" y="121"/>
                </a:cxn>
                <a:cxn ang="0">
                  <a:pos x="345" y="91"/>
                </a:cxn>
                <a:cxn ang="0">
                  <a:pos x="424" y="56"/>
                </a:cxn>
                <a:cxn ang="0">
                  <a:pos x="445" y="32"/>
                </a:cxn>
              </a:cxnLst>
              <a:rect l="0" t="0" r="r" b="b"/>
              <a:pathLst>
                <a:path w="638" h="814">
                  <a:moveTo>
                    <a:pt x="449" y="0"/>
                  </a:moveTo>
                  <a:lnTo>
                    <a:pt x="461" y="0"/>
                  </a:lnTo>
                  <a:lnTo>
                    <a:pt x="466" y="2"/>
                  </a:lnTo>
                  <a:lnTo>
                    <a:pt x="469" y="6"/>
                  </a:lnTo>
                  <a:lnTo>
                    <a:pt x="469" y="10"/>
                  </a:lnTo>
                  <a:lnTo>
                    <a:pt x="467" y="17"/>
                  </a:lnTo>
                  <a:lnTo>
                    <a:pt x="469" y="24"/>
                  </a:lnTo>
                  <a:lnTo>
                    <a:pt x="473" y="28"/>
                  </a:lnTo>
                  <a:lnTo>
                    <a:pt x="476" y="30"/>
                  </a:lnTo>
                  <a:lnTo>
                    <a:pt x="482" y="38"/>
                  </a:lnTo>
                  <a:lnTo>
                    <a:pt x="486" y="42"/>
                  </a:lnTo>
                  <a:lnTo>
                    <a:pt x="491" y="43"/>
                  </a:lnTo>
                  <a:lnTo>
                    <a:pt x="499" y="43"/>
                  </a:lnTo>
                  <a:lnTo>
                    <a:pt x="502" y="44"/>
                  </a:lnTo>
                  <a:lnTo>
                    <a:pt x="505" y="46"/>
                  </a:lnTo>
                  <a:lnTo>
                    <a:pt x="506" y="48"/>
                  </a:lnTo>
                  <a:lnTo>
                    <a:pt x="507" y="51"/>
                  </a:lnTo>
                  <a:lnTo>
                    <a:pt x="506" y="55"/>
                  </a:lnTo>
                  <a:lnTo>
                    <a:pt x="503" y="62"/>
                  </a:lnTo>
                  <a:lnTo>
                    <a:pt x="500" y="68"/>
                  </a:lnTo>
                  <a:lnTo>
                    <a:pt x="500" y="74"/>
                  </a:lnTo>
                  <a:lnTo>
                    <a:pt x="502" y="80"/>
                  </a:lnTo>
                  <a:lnTo>
                    <a:pt x="507" y="87"/>
                  </a:lnTo>
                  <a:lnTo>
                    <a:pt x="518" y="97"/>
                  </a:lnTo>
                  <a:lnTo>
                    <a:pt x="522" y="99"/>
                  </a:lnTo>
                  <a:lnTo>
                    <a:pt x="525" y="99"/>
                  </a:lnTo>
                  <a:lnTo>
                    <a:pt x="528" y="100"/>
                  </a:lnTo>
                  <a:lnTo>
                    <a:pt x="532" y="101"/>
                  </a:lnTo>
                  <a:lnTo>
                    <a:pt x="536" y="103"/>
                  </a:lnTo>
                  <a:lnTo>
                    <a:pt x="531" y="110"/>
                  </a:lnTo>
                  <a:lnTo>
                    <a:pt x="529" y="118"/>
                  </a:lnTo>
                  <a:lnTo>
                    <a:pt x="530" y="125"/>
                  </a:lnTo>
                  <a:lnTo>
                    <a:pt x="542" y="143"/>
                  </a:lnTo>
                  <a:lnTo>
                    <a:pt x="543" y="148"/>
                  </a:lnTo>
                  <a:lnTo>
                    <a:pt x="536" y="155"/>
                  </a:lnTo>
                  <a:lnTo>
                    <a:pt x="533" y="161"/>
                  </a:lnTo>
                  <a:lnTo>
                    <a:pt x="531" y="167"/>
                  </a:lnTo>
                  <a:lnTo>
                    <a:pt x="529" y="171"/>
                  </a:lnTo>
                  <a:lnTo>
                    <a:pt x="527" y="172"/>
                  </a:lnTo>
                  <a:lnTo>
                    <a:pt x="525" y="171"/>
                  </a:lnTo>
                  <a:lnTo>
                    <a:pt x="524" y="169"/>
                  </a:lnTo>
                  <a:lnTo>
                    <a:pt x="523" y="167"/>
                  </a:lnTo>
                  <a:lnTo>
                    <a:pt x="519" y="165"/>
                  </a:lnTo>
                  <a:lnTo>
                    <a:pt x="516" y="165"/>
                  </a:lnTo>
                  <a:lnTo>
                    <a:pt x="514" y="166"/>
                  </a:lnTo>
                  <a:lnTo>
                    <a:pt x="511" y="167"/>
                  </a:lnTo>
                  <a:lnTo>
                    <a:pt x="507" y="169"/>
                  </a:lnTo>
                  <a:lnTo>
                    <a:pt x="504" y="172"/>
                  </a:lnTo>
                  <a:lnTo>
                    <a:pt x="504" y="174"/>
                  </a:lnTo>
                  <a:lnTo>
                    <a:pt x="503" y="178"/>
                  </a:lnTo>
                  <a:lnTo>
                    <a:pt x="503" y="184"/>
                  </a:lnTo>
                  <a:lnTo>
                    <a:pt x="504" y="191"/>
                  </a:lnTo>
                  <a:lnTo>
                    <a:pt x="505" y="197"/>
                  </a:lnTo>
                  <a:lnTo>
                    <a:pt x="505" y="202"/>
                  </a:lnTo>
                  <a:lnTo>
                    <a:pt x="503" y="205"/>
                  </a:lnTo>
                  <a:lnTo>
                    <a:pt x="499" y="208"/>
                  </a:lnTo>
                  <a:lnTo>
                    <a:pt x="496" y="211"/>
                  </a:lnTo>
                  <a:lnTo>
                    <a:pt x="493" y="215"/>
                  </a:lnTo>
                  <a:lnTo>
                    <a:pt x="493" y="219"/>
                  </a:lnTo>
                  <a:lnTo>
                    <a:pt x="495" y="222"/>
                  </a:lnTo>
                  <a:lnTo>
                    <a:pt x="507" y="229"/>
                  </a:lnTo>
                  <a:lnTo>
                    <a:pt x="513" y="235"/>
                  </a:lnTo>
                  <a:lnTo>
                    <a:pt x="514" y="240"/>
                  </a:lnTo>
                  <a:lnTo>
                    <a:pt x="509" y="250"/>
                  </a:lnTo>
                  <a:lnTo>
                    <a:pt x="505" y="262"/>
                  </a:lnTo>
                  <a:lnTo>
                    <a:pt x="506" y="265"/>
                  </a:lnTo>
                  <a:lnTo>
                    <a:pt x="509" y="267"/>
                  </a:lnTo>
                  <a:lnTo>
                    <a:pt x="516" y="268"/>
                  </a:lnTo>
                  <a:lnTo>
                    <a:pt x="523" y="270"/>
                  </a:lnTo>
                  <a:lnTo>
                    <a:pt x="530" y="272"/>
                  </a:lnTo>
                  <a:lnTo>
                    <a:pt x="534" y="274"/>
                  </a:lnTo>
                  <a:lnTo>
                    <a:pt x="533" y="275"/>
                  </a:lnTo>
                  <a:lnTo>
                    <a:pt x="528" y="275"/>
                  </a:lnTo>
                  <a:lnTo>
                    <a:pt x="515" y="277"/>
                  </a:lnTo>
                  <a:lnTo>
                    <a:pt x="510" y="278"/>
                  </a:lnTo>
                  <a:lnTo>
                    <a:pt x="507" y="281"/>
                  </a:lnTo>
                  <a:lnTo>
                    <a:pt x="507" y="285"/>
                  </a:lnTo>
                  <a:lnTo>
                    <a:pt x="508" y="287"/>
                  </a:lnTo>
                  <a:lnTo>
                    <a:pt x="508" y="292"/>
                  </a:lnTo>
                  <a:lnTo>
                    <a:pt x="507" y="293"/>
                  </a:lnTo>
                  <a:lnTo>
                    <a:pt x="505" y="293"/>
                  </a:lnTo>
                  <a:lnTo>
                    <a:pt x="502" y="294"/>
                  </a:lnTo>
                  <a:lnTo>
                    <a:pt x="494" y="295"/>
                  </a:lnTo>
                  <a:lnTo>
                    <a:pt x="487" y="298"/>
                  </a:lnTo>
                  <a:lnTo>
                    <a:pt x="483" y="301"/>
                  </a:lnTo>
                  <a:lnTo>
                    <a:pt x="482" y="305"/>
                  </a:lnTo>
                  <a:lnTo>
                    <a:pt x="481" y="307"/>
                  </a:lnTo>
                  <a:lnTo>
                    <a:pt x="477" y="309"/>
                  </a:lnTo>
                  <a:lnTo>
                    <a:pt x="472" y="311"/>
                  </a:lnTo>
                  <a:lnTo>
                    <a:pt x="468" y="312"/>
                  </a:lnTo>
                  <a:lnTo>
                    <a:pt x="466" y="314"/>
                  </a:lnTo>
                  <a:lnTo>
                    <a:pt x="467" y="317"/>
                  </a:lnTo>
                  <a:lnTo>
                    <a:pt x="469" y="322"/>
                  </a:lnTo>
                  <a:lnTo>
                    <a:pt x="473" y="334"/>
                  </a:lnTo>
                  <a:lnTo>
                    <a:pt x="473" y="338"/>
                  </a:lnTo>
                  <a:lnTo>
                    <a:pt x="471" y="340"/>
                  </a:lnTo>
                  <a:lnTo>
                    <a:pt x="466" y="339"/>
                  </a:lnTo>
                  <a:lnTo>
                    <a:pt x="461" y="337"/>
                  </a:lnTo>
                  <a:lnTo>
                    <a:pt x="458" y="337"/>
                  </a:lnTo>
                  <a:lnTo>
                    <a:pt x="450" y="347"/>
                  </a:lnTo>
                  <a:lnTo>
                    <a:pt x="445" y="350"/>
                  </a:lnTo>
                  <a:lnTo>
                    <a:pt x="441" y="353"/>
                  </a:lnTo>
                  <a:lnTo>
                    <a:pt x="438" y="356"/>
                  </a:lnTo>
                  <a:lnTo>
                    <a:pt x="438" y="360"/>
                  </a:lnTo>
                  <a:lnTo>
                    <a:pt x="442" y="366"/>
                  </a:lnTo>
                  <a:lnTo>
                    <a:pt x="448" y="372"/>
                  </a:lnTo>
                  <a:lnTo>
                    <a:pt x="454" y="377"/>
                  </a:lnTo>
                  <a:lnTo>
                    <a:pt x="456" y="381"/>
                  </a:lnTo>
                  <a:lnTo>
                    <a:pt x="459" y="385"/>
                  </a:lnTo>
                  <a:lnTo>
                    <a:pt x="467" y="389"/>
                  </a:lnTo>
                  <a:lnTo>
                    <a:pt x="478" y="391"/>
                  </a:lnTo>
                  <a:lnTo>
                    <a:pt x="490" y="388"/>
                  </a:lnTo>
                  <a:lnTo>
                    <a:pt x="505" y="383"/>
                  </a:lnTo>
                  <a:lnTo>
                    <a:pt x="516" y="380"/>
                  </a:lnTo>
                  <a:lnTo>
                    <a:pt x="525" y="376"/>
                  </a:lnTo>
                  <a:lnTo>
                    <a:pt x="533" y="375"/>
                  </a:lnTo>
                  <a:lnTo>
                    <a:pt x="542" y="376"/>
                  </a:lnTo>
                  <a:lnTo>
                    <a:pt x="553" y="378"/>
                  </a:lnTo>
                  <a:lnTo>
                    <a:pt x="562" y="382"/>
                  </a:lnTo>
                  <a:lnTo>
                    <a:pt x="568" y="384"/>
                  </a:lnTo>
                  <a:lnTo>
                    <a:pt x="574" y="388"/>
                  </a:lnTo>
                  <a:lnTo>
                    <a:pt x="580" y="396"/>
                  </a:lnTo>
                  <a:lnTo>
                    <a:pt x="584" y="405"/>
                  </a:lnTo>
                  <a:lnTo>
                    <a:pt x="586" y="414"/>
                  </a:lnTo>
                  <a:lnTo>
                    <a:pt x="585" y="419"/>
                  </a:lnTo>
                  <a:lnTo>
                    <a:pt x="581" y="427"/>
                  </a:lnTo>
                  <a:lnTo>
                    <a:pt x="582" y="431"/>
                  </a:lnTo>
                  <a:lnTo>
                    <a:pt x="585" y="436"/>
                  </a:lnTo>
                  <a:lnTo>
                    <a:pt x="590" y="442"/>
                  </a:lnTo>
                  <a:lnTo>
                    <a:pt x="594" y="450"/>
                  </a:lnTo>
                  <a:lnTo>
                    <a:pt x="594" y="462"/>
                  </a:lnTo>
                  <a:lnTo>
                    <a:pt x="596" y="476"/>
                  </a:lnTo>
                  <a:lnTo>
                    <a:pt x="598" y="481"/>
                  </a:lnTo>
                  <a:lnTo>
                    <a:pt x="602" y="483"/>
                  </a:lnTo>
                  <a:lnTo>
                    <a:pt x="611" y="483"/>
                  </a:lnTo>
                  <a:lnTo>
                    <a:pt x="613" y="485"/>
                  </a:lnTo>
                  <a:lnTo>
                    <a:pt x="614" y="487"/>
                  </a:lnTo>
                  <a:lnTo>
                    <a:pt x="613" y="489"/>
                  </a:lnTo>
                  <a:lnTo>
                    <a:pt x="610" y="496"/>
                  </a:lnTo>
                  <a:lnTo>
                    <a:pt x="608" y="501"/>
                  </a:lnTo>
                  <a:lnTo>
                    <a:pt x="604" y="505"/>
                  </a:lnTo>
                  <a:lnTo>
                    <a:pt x="599" y="508"/>
                  </a:lnTo>
                  <a:lnTo>
                    <a:pt x="592" y="513"/>
                  </a:lnTo>
                  <a:lnTo>
                    <a:pt x="588" y="519"/>
                  </a:lnTo>
                  <a:lnTo>
                    <a:pt x="586" y="525"/>
                  </a:lnTo>
                  <a:lnTo>
                    <a:pt x="591" y="540"/>
                  </a:lnTo>
                  <a:lnTo>
                    <a:pt x="594" y="548"/>
                  </a:lnTo>
                  <a:lnTo>
                    <a:pt x="599" y="554"/>
                  </a:lnTo>
                  <a:lnTo>
                    <a:pt x="604" y="557"/>
                  </a:lnTo>
                  <a:lnTo>
                    <a:pt x="611" y="559"/>
                  </a:lnTo>
                  <a:lnTo>
                    <a:pt x="619" y="563"/>
                  </a:lnTo>
                  <a:lnTo>
                    <a:pt x="627" y="569"/>
                  </a:lnTo>
                  <a:lnTo>
                    <a:pt x="634" y="576"/>
                  </a:lnTo>
                  <a:lnTo>
                    <a:pt x="638" y="582"/>
                  </a:lnTo>
                  <a:lnTo>
                    <a:pt x="637" y="585"/>
                  </a:lnTo>
                  <a:lnTo>
                    <a:pt x="633" y="587"/>
                  </a:lnTo>
                  <a:lnTo>
                    <a:pt x="627" y="589"/>
                  </a:lnTo>
                  <a:lnTo>
                    <a:pt x="613" y="591"/>
                  </a:lnTo>
                  <a:lnTo>
                    <a:pt x="609" y="592"/>
                  </a:lnTo>
                  <a:lnTo>
                    <a:pt x="607" y="594"/>
                  </a:lnTo>
                  <a:lnTo>
                    <a:pt x="607" y="598"/>
                  </a:lnTo>
                  <a:lnTo>
                    <a:pt x="605" y="604"/>
                  </a:lnTo>
                  <a:lnTo>
                    <a:pt x="604" y="610"/>
                  </a:lnTo>
                  <a:lnTo>
                    <a:pt x="604" y="615"/>
                  </a:lnTo>
                  <a:lnTo>
                    <a:pt x="606" y="618"/>
                  </a:lnTo>
                  <a:lnTo>
                    <a:pt x="618" y="622"/>
                  </a:lnTo>
                  <a:lnTo>
                    <a:pt x="621" y="625"/>
                  </a:lnTo>
                  <a:lnTo>
                    <a:pt x="622" y="628"/>
                  </a:lnTo>
                  <a:lnTo>
                    <a:pt x="621" y="630"/>
                  </a:lnTo>
                  <a:lnTo>
                    <a:pt x="617" y="636"/>
                  </a:lnTo>
                  <a:lnTo>
                    <a:pt x="613" y="643"/>
                  </a:lnTo>
                  <a:lnTo>
                    <a:pt x="609" y="653"/>
                  </a:lnTo>
                  <a:lnTo>
                    <a:pt x="609" y="663"/>
                  </a:lnTo>
                  <a:lnTo>
                    <a:pt x="612" y="671"/>
                  </a:lnTo>
                  <a:lnTo>
                    <a:pt x="614" y="677"/>
                  </a:lnTo>
                  <a:lnTo>
                    <a:pt x="615" y="681"/>
                  </a:lnTo>
                  <a:lnTo>
                    <a:pt x="611" y="685"/>
                  </a:lnTo>
                  <a:lnTo>
                    <a:pt x="604" y="689"/>
                  </a:lnTo>
                  <a:lnTo>
                    <a:pt x="596" y="693"/>
                  </a:lnTo>
                  <a:lnTo>
                    <a:pt x="590" y="699"/>
                  </a:lnTo>
                  <a:lnTo>
                    <a:pt x="587" y="707"/>
                  </a:lnTo>
                  <a:lnTo>
                    <a:pt x="586" y="718"/>
                  </a:lnTo>
                  <a:lnTo>
                    <a:pt x="585" y="732"/>
                  </a:lnTo>
                  <a:lnTo>
                    <a:pt x="584" y="744"/>
                  </a:lnTo>
                  <a:lnTo>
                    <a:pt x="583" y="753"/>
                  </a:lnTo>
                  <a:lnTo>
                    <a:pt x="579" y="760"/>
                  </a:lnTo>
                  <a:lnTo>
                    <a:pt x="574" y="769"/>
                  </a:lnTo>
                  <a:lnTo>
                    <a:pt x="568" y="778"/>
                  </a:lnTo>
                  <a:lnTo>
                    <a:pt x="565" y="786"/>
                  </a:lnTo>
                  <a:lnTo>
                    <a:pt x="564" y="791"/>
                  </a:lnTo>
                  <a:lnTo>
                    <a:pt x="561" y="796"/>
                  </a:lnTo>
                  <a:lnTo>
                    <a:pt x="558" y="802"/>
                  </a:lnTo>
                  <a:lnTo>
                    <a:pt x="551" y="807"/>
                  </a:lnTo>
                  <a:lnTo>
                    <a:pt x="541" y="811"/>
                  </a:lnTo>
                  <a:lnTo>
                    <a:pt x="527" y="814"/>
                  </a:lnTo>
                  <a:lnTo>
                    <a:pt x="518" y="809"/>
                  </a:lnTo>
                  <a:lnTo>
                    <a:pt x="507" y="803"/>
                  </a:lnTo>
                  <a:lnTo>
                    <a:pt x="499" y="797"/>
                  </a:lnTo>
                  <a:lnTo>
                    <a:pt x="493" y="791"/>
                  </a:lnTo>
                  <a:lnTo>
                    <a:pt x="486" y="785"/>
                  </a:lnTo>
                  <a:lnTo>
                    <a:pt x="478" y="780"/>
                  </a:lnTo>
                  <a:lnTo>
                    <a:pt x="470" y="778"/>
                  </a:lnTo>
                  <a:lnTo>
                    <a:pt x="463" y="780"/>
                  </a:lnTo>
                  <a:lnTo>
                    <a:pt x="458" y="782"/>
                  </a:lnTo>
                  <a:lnTo>
                    <a:pt x="455" y="781"/>
                  </a:lnTo>
                  <a:lnTo>
                    <a:pt x="451" y="779"/>
                  </a:lnTo>
                  <a:lnTo>
                    <a:pt x="447" y="775"/>
                  </a:lnTo>
                  <a:lnTo>
                    <a:pt x="441" y="773"/>
                  </a:lnTo>
                  <a:lnTo>
                    <a:pt x="431" y="771"/>
                  </a:lnTo>
                  <a:lnTo>
                    <a:pt x="419" y="769"/>
                  </a:lnTo>
                  <a:lnTo>
                    <a:pt x="411" y="769"/>
                  </a:lnTo>
                  <a:lnTo>
                    <a:pt x="405" y="770"/>
                  </a:lnTo>
                  <a:lnTo>
                    <a:pt x="400" y="772"/>
                  </a:lnTo>
                  <a:lnTo>
                    <a:pt x="394" y="774"/>
                  </a:lnTo>
                  <a:lnTo>
                    <a:pt x="389" y="774"/>
                  </a:lnTo>
                  <a:lnTo>
                    <a:pt x="386" y="772"/>
                  </a:lnTo>
                  <a:lnTo>
                    <a:pt x="384" y="769"/>
                  </a:lnTo>
                  <a:lnTo>
                    <a:pt x="383" y="766"/>
                  </a:lnTo>
                  <a:lnTo>
                    <a:pt x="381" y="764"/>
                  </a:lnTo>
                  <a:lnTo>
                    <a:pt x="378" y="764"/>
                  </a:lnTo>
                  <a:lnTo>
                    <a:pt x="372" y="763"/>
                  </a:lnTo>
                  <a:lnTo>
                    <a:pt x="366" y="758"/>
                  </a:lnTo>
                  <a:lnTo>
                    <a:pt x="358" y="750"/>
                  </a:lnTo>
                  <a:lnTo>
                    <a:pt x="351" y="741"/>
                  </a:lnTo>
                  <a:lnTo>
                    <a:pt x="347" y="734"/>
                  </a:lnTo>
                  <a:lnTo>
                    <a:pt x="347" y="724"/>
                  </a:lnTo>
                  <a:lnTo>
                    <a:pt x="343" y="722"/>
                  </a:lnTo>
                  <a:lnTo>
                    <a:pt x="337" y="720"/>
                  </a:lnTo>
                  <a:lnTo>
                    <a:pt x="330" y="716"/>
                  </a:lnTo>
                  <a:lnTo>
                    <a:pt x="323" y="715"/>
                  </a:lnTo>
                  <a:lnTo>
                    <a:pt x="318" y="717"/>
                  </a:lnTo>
                  <a:lnTo>
                    <a:pt x="314" y="721"/>
                  </a:lnTo>
                  <a:lnTo>
                    <a:pt x="311" y="726"/>
                  </a:lnTo>
                  <a:lnTo>
                    <a:pt x="311" y="727"/>
                  </a:lnTo>
                  <a:lnTo>
                    <a:pt x="310" y="727"/>
                  </a:lnTo>
                  <a:lnTo>
                    <a:pt x="310" y="728"/>
                  </a:lnTo>
                  <a:lnTo>
                    <a:pt x="301" y="719"/>
                  </a:lnTo>
                  <a:lnTo>
                    <a:pt x="294" y="711"/>
                  </a:lnTo>
                  <a:lnTo>
                    <a:pt x="290" y="703"/>
                  </a:lnTo>
                  <a:lnTo>
                    <a:pt x="292" y="696"/>
                  </a:lnTo>
                  <a:lnTo>
                    <a:pt x="299" y="688"/>
                  </a:lnTo>
                  <a:lnTo>
                    <a:pt x="304" y="681"/>
                  </a:lnTo>
                  <a:lnTo>
                    <a:pt x="308" y="675"/>
                  </a:lnTo>
                  <a:lnTo>
                    <a:pt x="309" y="668"/>
                  </a:lnTo>
                  <a:lnTo>
                    <a:pt x="310" y="664"/>
                  </a:lnTo>
                  <a:lnTo>
                    <a:pt x="314" y="660"/>
                  </a:lnTo>
                  <a:lnTo>
                    <a:pt x="318" y="657"/>
                  </a:lnTo>
                  <a:lnTo>
                    <a:pt x="322" y="653"/>
                  </a:lnTo>
                  <a:lnTo>
                    <a:pt x="324" y="649"/>
                  </a:lnTo>
                  <a:lnTo>
                    <a:pt x="323" y="643"/>
                  </a:lnTo>
                  <a:lnTo>
                    <a:pt x="319" y="638"/>
                  </a:lnTo>
                  <a:lnTo>
                    <a:pt x="314" y="635"/>
                  </a:lnTo>
                  <a:lnTo>
                    <a:pt x="309" y="633"/>
                  </a:lnTo>
                  <a:lnTo>
                    <a:pt x="304" y="630"/>
                  </a:lnTo>
                  <a:lnTo>
                    <a:pt x="299" y="626"/>
                  </a:lnTo>
                  <a:lnTo>
                    <a:pt x="295" y="620"/>
                  </a:lnTo>
                  <a:lnTo>
                    <a:pt x="288" y="613"/>
                  </a:lnTo>
                  <a:lnTo>
                    <a:pt x="288" y="609"/>
                  </a:lnTo>
                  <a:lnTo>
                    <a:pt x="291" y="605"/>
                  </a:lnTo>
                  <a:lnTo>
                    <a:pt x="300" y="597"/>
                  </a:lnTo>
                  <a:lnTo>
                    <a:pt x="306" y="590"/>
                  </a:lnTo>
                  <a:lnTo>
                    <a:pt x="308" y="584"/>
                  </a:lnTo>
                  <a:lnTo>
                    <a:pt x="307" y="580"/>
                  </a:lnTo>
                  <a:lnTo>
                    <a:pt x="304" y="573"/>
                  </a:lnTo>
                  <a:lnTo>
                    <a:pt x="301" y="565"/>
                  </a:lnTo>
                  <a:lnTo>
                    <a:pt x="297" y="558"/>
                  </a:lnTo>
                  <a:lnTo>
                    <a:pt x="293" y="552"/>
                  </a:lnTo>
                  <a:lnTo>
                    <a:pt x="291" y="551"/>
                  </a:lnTo>
                  <a:lnTo>
                    <a:pt x="289" y="553"/>
                  </a:lnTo>
                  <a:lnTo>
                    <a:pt x="283" y="557"/>
                  </a:lnTo>
                  <a:lnTo>
                    <a:pt x="278" y="557"/>
                  </a:lnTo>
                  <a:lnTo>
                    <a:pt x="273" y="555"/>
                  </a:lnTo>
                  <a:lnTo>
                    <a:pt x="266" y="550"/>
                  </a:lnTo>
                  <a:lnTo>
                    <a:pt x="257" y="547"/>
                  </a:lnTo>
                  <a:lnTo>
                    <a:pt x="247" y="542"/>
                  </a:lnTo>
                  <a:lnTo>
                    <a:pt x="238" y="536"/>
                  </a:lnTo>
                  <a:lnTo>
                    <a:pt x="231" y="532"/>
                  </a:lnTo>
                  <a:lnTo>
                    <a:pt x="225" y="532"/>
                  </a:lnTo>
                  <a:lnTo>
                    <a:pt x="218" y="531"/>
                  </a:lnTo>
                  <a:lnTo>
                    <a:pt x="212" y="528"/>
                  </a:lnTo>
                  <a:lnTo>
                    <a:pt x="207" y="527"/>
                  </a:lnTo>
                  <a:lnTo>
                    <a:pt x="199" y="529"/>
                  </a:lnTo>
                  <a:lnTo>
                    <a:pt x="189" y="532"/>
                  </a:lnTo>
                  <a:lnTo>
                    <a:pt x="177" y="537"/>
                  </a:lnTo>
                  <a:lnTo>
                    <a:pt x="165" y="543"/>
                  </a:lnTo>
                  <a:lnTo>
                    <a:pt x="154" y="548"/>
                  </a:lnTo>
                  <a:lnTo>
                    <a:pt x="145" y="553"/>
                  </a:lnTo>
                  <a:lnTo>
                    <a:pt x="136" y="557"/>
                  </a:lnTo>
                  <a:lnTo>
                    <a:pt x="131" y="558"/>
                  </a:lnTo>
                  <a:lnTo>
                    <a:pt x="123" y="559"/>
                  </a:lnTo>
                  <a:lnTo>
                    <a:pt x="110" y="560"/>
                  </a:lnTo>
                  <a:lnTo>
                    <a:pt x="93" y="562"/>
                  </a:lnTo>
                  <a:lnTo>
                    <a:pt x="72" y="563"/>
                  </a:lnTo>
                  <a:lnTo>
                    <a:pt x="49" y="562"/>
                  </a:lnTo>
                  <a:lnTo>
                    <a:pt x="51" y="554"/>
                  </a:lnTo>
                  <a:lnTo>
                    <a:pt x="52" y="545"/>
                  </a:lnTo>
                  <a:lnTo>
                    <a:pt x="54" y="536"/>
                  </a:lnTo>
                  <a:lnTo>
                    <a:pt x="59" y="528"/>
                  </a:lnTo>
                  <a:lnTo>
                    <a:pt x="66" y="518"/>
                  </a:lnTo>
                  <a:lnTo>
                    <a:pt x="69" y="509"/>
                  </a:lnTo>
                  <a:lnTo>
                    <a:pt x="70" y="503"/>
                  </a:lnTo>
                  <a:lnTo>
                    <a:pt x="72" y="500"/>
                  </a:lnTo>
                  <a:lnTo>
                    <a:pt x="78" y="497"/>
                  </a:lnTo>
                  <a:lnTo>
                    <a:pt x="92" y="493"/>
                  </a:lnTo>
                  <a:lnTo>
                    <a:pt x="95" y="491"/>
                  </a:lnTo>
                  <a:lnTo>
                    <a:pt x="95" y="482"/>
                  </a:lnTo>
                  <a:lnTo>
                    <a:pt x="94" y="478"/>
                  </a:lnTo>
                  <a:lnTo>
                    <a:pt x="95" y="473"/>
                  </a:lnTo>
                  <a:lnTo>
                    <a:pt x="97" y="467"/>
                  </a:lnTo>
                  <a:lnTo>
                    <a:pt x="96" y="460"/>
                  </a:lnTo>
                  <a:lnTo>
                    <a:pt x="96" y="453"/>
                  </a:lnTo>
                  <a:lnTo>
                    <a:pt x="97" y="448"/>
                  </a:lnTo>
                  <a:lnTo>
                    <a:pt x="96" y="445"/>
                  </a:lnTo>
                  <a:lnTo>
                    <a:pt x="91" y="444"/>
                  </a:lnTo>
                  <a:lnTo>
                    <a:pt x="85" y="444"/>
                  </a:lnTo>
                  <a:lnTo>
                    <a:pt x="81" y="446"/>
                  </a:lnTo>
                  <a:lnTo>
                    <a:pt x="78" y="447"/>
                  </a:lnTo>
                  <a:lnTo>
                    <a:pt x="73" y="444"/>
                  </a:lnTo>
                  <a:lnTo>
                    <a:pt x="68" y="438"/>
                  </a:lnTo>
                  <a:lnTo>
                    <a:pt x="63" y="431"/>
                  </a:lnTo>
                  <a:lnTo>
                    <a:pt x="60" y="428"/>
                  </a:lnTo>
                  <a:lnTo>
                    <a:pt x="57" y="428"/>
                  </a:lnTo>
                  <a:lnTo>
                    <a:pt x="54" y="429"/>
                  </a:lnTo>
                  <a:lnTo>
                    <a:pt x="51" y="429"/>
                  </a:lnTo>
                  <a:lnTo>
                    <a:pt x="47" y="426"/>
                  </a:lnTo>
                  <a:lnTo>
                    <a:pt x="40" y="418"/>
                  </a:lnTo>
                  <a:lnTo>
                    <a:pt x="34" y="411"/>
                  </a:lnTo>
                  <a:lnTo>
                    <a:pt x="27" y="402"/>
                  </a:lnTo>
                  <a:lnTo>
                    <a:pt x="23" y="395"/>
                  </a:lnTo>
                  <a:lnTo>
                    <a:pt x="22" y="389"/>
                  </a:lnTo>
                  <a:lnTo>
                    <a:pt x="20" y="384"/>
                  </a:lnTo>
                  <a:lnTo>
                    <a:pt x="16" y="382"/>
                  </a:lnTo>
                  <a:lnTo>
                    <a:pt x="12" y="379"/>
                  </a:lnTo>
                  <a:lnTo>
                    <a:pt x="8" y="372"/>
                  </a:lnTo>
                  <a:lnTo>
                    <a:pt x="4" y="363"/>
                  </a:lnTo>
                  <a:lnTo>
                    <a:pt x="1" y="353"/>
                  </a:lnTo>
                  <a:lnTo>
                    <a:pt x="0" y="345"/>
                  </a:lnTo>
                  <a:lnTo>
                    <a:pt x="0" y="336"/>
                  </a:lnTo>
                  <a:lnTo>
                    <a:pt x="1" y="325"/>
                  </a:lnTo>
                  <a:lnTo>
                    <a:pt x="3" y="314"/>
                  </a:lnTo>
                  <a:lnTo>
                    <a:pt x="4" y="306"/>
                  </a:lnTo>
                  <a:lnTo>
                    <a:pt x="4" y="299"/>
                  </a:lnTo>
                  <a:lnTo>
                    <a:pt x="8" y="295"/>
                  </a:lnTo>
                  <a:lnTo>
                    <a:pt x="11" y="293"/>
                  </a:lnTo>
                  <a:lnTo>
                    <a:pt x="14" y="290"/>
                  </a:lnTo>
                  <a:lnTo>
                    <a:pt x="19" y="287"/>
                  </a:lnTo>
                  <a:lnTo>
                    <a:pt x="22" y="284"/>
                  </a:lnTo>
                  <a:lnTo>
                    <a:pt x="22" y="281"/>
                  </a:lnTo>
                  <a:lnTo>
                    <a:pt x="19" y="279"/>
                  </a:lnTo>
                  <a:lnTo>
                    <a:pt x="16" y="276"/>
                  </a:lnTo>
                  <a:lnTo>
                    <a:pt x="15" y="271"/>
                  </a:lnTo>
                  <a:lnTo>
                    <a:pt x="18" y="266"/>
                  </a:lnTo>
                  <a:lnTo>
                    <a:pt x="23" y="262"/>
                  </a:lnTo>
                  <a:lnTo>
                    <a:pt x="31" y="258"/>
                  </a:lnTo>
                  <a:lnTo>
                    <a:pt x="39" y="256"/>
                  </a:lnTo>
                  <a:lnTo>
                    <a:pt x="45" y="254"/>
                  </a:lnTo>
                  <a:lnTo>
                    <a:pt x="49" y="251"/>
                  </a:lnTo>
                  <a:lnTo>
                    <a:pt x="52" y="245"/>
                  </a:lnTo>
                  <a:lnTo>
                    <a:pt x="55" y="238"/>
                  </a:lnTo>
                  <a:lnTo>
                    <a:pt x="59" y="233"/>
                  </a:lnTo>
                  <a:lnTo>
                    <a:pt x="61" y="231"/>
                  </a:lnTo>
                  <a:lnTo>
                    <a:pt x="64" y="231"/>
                  </a:lnTo>
                  <a:lnTo>
                    <a:pt x="65" y="232"/>
                  </a:lnTo>
                  <a:lnTo>
                    <a:pt x="65" y="233"/>
                  </a:lnTo>
                  <a:lnTo>
                    <a:pt x="66" y="235"/>
                  </a:lnTo>
                  <a:lnTo>
                    <a:pt x="67" y="236"/>
                  </a:lnTo>
                  <a:lnTo>
                    <a:pt x="73" y="239"/>
                  </a:lnTo>
                  <a:lnTo>
                    <a:pt x="82" y="230"/>
                  </a:lnTo>
                  <a:lnTo>
                    <a:pt x="82" y="227"/>
                  </a:lnTo>
                  <a:lnTo>
                    <a:pt x="76" y="222"/>
                  </a:lnTo>
                  <a:lnTo>
                    <a:pt x="78" y="216"/>
                  </a:lnTo>
                  <a:lnTo>
                    <a:pt x="78" y="214"/>
                  </a:lnTo>
                  <a:lnTo>
                    <a:pt x="80" y="212"/>
                  </a:lnTo>
                  <a:lnTo>
                    <a:pt x="82" y="212"/>
                  </a:lnTo>
                  <a:lnTo>
                    <a:pt x="86" y="215"/>
                  </a:lnTo>
                  <a:lnTo>
                    <a:pt x="94" y="227"/>
                  </a:lnTo>
                  <a:lnTo>
                    <a:pt x="98" y="230"/>
                  </a:lnTo>
                  <a:lnTo>
                    <a:pt x="103" y="230"/>
                  </a:lnTo>
                  <a:lnTo>
                    <a:pt x="109" y="227"/>
                  </a:lnTo>
                  <a:lnTo>
                    <a:pt x="114" y="222"/>
                  </a:lnTo>
                  <a:lnTo>
                    <a:pt x="120" y="218"/>
                  </a:lnTo>
                  <a:lnTo>
                    <a:pt x="126" y="216"/>
                  </a:lnTo>
                  <a:lnTo>
                    <a:pt x="131" y="217"/>
                  </a:lnTo>
                  <a:lnTo>
                    <a:pt x="134" y="219"/>
                  </a:lnTo>
                  <a:lnTo>
                    <a:pt x="136" y="222"/>
                  </a:lnTo>
                  <a:lnTo>
                    <a:pt x="138" y="224"/>
                  </a:lnTo>
                  <a:lnTo>
                    <a:pt x="139" y="226"/>
                  </a:lnTo>
                  <a:lnTo>
                    <a:pt x="141" y="227"/>
                  </a:lnTo>
                  <a:lnTo>
                    <a:pt x="142" y="227"/>
                  </a:lnTo>
                  <a:lnTo>
                    <a:pt x="146" y="226"/>
                  </a:lnTo>
                  <a:lnTo>
                    <a:pt x="149" y="225"/>
                  </a:lnTo>
                  <a:lnTo>
                    <a:pt x="153" y="227"/>
                  </a:lnTo>
                  <a:lnTo>
                    <a:pt x="158" y="230"/>
                  </a:lnTo>
                  <a:lnTo>
                    <a:pt x="163" y="232"/>
                  </a:lnTo>
                  <a:lnTo>
                    <a:pt x="169" y="232"/>
                  </a:lnTo>
                  <a:lnTo>
                    <a:pt x="175" y="230"/>
                  </a:lnTo>
                  <a:lnTo>
                    <a:pt x="180" y="230"/>
                  </a:lnTo>
                  <a:lnTo>
                    <a:pt x="181" y="229"/>
                  </a:lnTo>
                  <a:lnTo>
                    <a:pt x="182" y="229"/>
                  </a:lnTo>
                  <a:lnTo>
                    <a:pt x="182" y="222"/>
                  </a:lnTo>
                  <a:lnTo>
                    <a:pt x="180" y="212"/>
                  </a:lnTo>
                  <a:lnTo>
                    <a:pt x="177" y="203"/>
                  </a:lnTo>
                  <a:lnTo>
                    <a:pt x="175" y="196"/>
                  </a:lnTo>
                  <a:lnTo>
                    <a:pt x="175" y="190"/>
                  </a:lnTo>
                  <a:lnTo>
                    <a:pt x="177" y="185"/>
                  </a:lnTo>
                  <a:lnTo>
                    <a:pt x="179" y="179"/>
                  </a:lnTo>
                  <a:lnTo>
                    <a:pt x="182" y="176"/>
                  </a:lnTo>
                  <a:lnTo>
                    <a:pt x="186" y="174"/>
                  </a:lnTo>
                  <a:lnTo>
                    <a:pt x="190" y="175"/>
                  </a:lnTo>
                  <a:lnTo>
                    <a:pt x="195" y="178"/>
                  </a:lnTo>
                  <a:lnTo>
                    <a:pt x="201" y="181"/>
                  </a:lnTo>
                  <a:lnTo>
                    <a:pt x="207" y="183"/>
                  </a:lnTo>
                  <a:lnTo>
                    <a:pt x="211" y="184"/>
                  </a:lnTo>
                  <a:lnTo>
                    <a:pt x="214" y="182"/>
                  </a:lnTo>
                  <a:lnTo>
                    <a:pt x="215" y="176"/>
                  </a:lnTo>
                  <a:lnTo>
                    <a:pt x="215" y="156"/>
                  </a:lnTo>
                  <a:lnTo>
                    <a:pt x="217" y="152"/>
                  </a:lnTo>
                  <a:lnTo>
                    <a:pt x="224" y="150"/>
                  </a:lnTo>
                  <a:lnTo>
                    <a:pt x="233" y="147"/>
                  </a:lnTo>
                  <a:lnTo>
                    <a:pt x="243" y="143"/>
                  </a:lnTo>
                  <a:lnTo>
                    <a:pt x="250" y="137"/>
                  </a:lnTo>
                  <a:lnTo>
                    <a:pt x="254" y="134"/>
                  </a:lnTo>
                  <a:lnTo>
                    <a:pt x="258" y="135"/>
                  </a:lnTo>
                  <a:lnTo>
                    <a:pt x="262" y="137"/>
                  </a:lnTo>
                  <a:lnTo>
                    <a:pt x="268" y="138"/>
                  </a:lnTo>
                  <a:lnTo>
                    <a:pt x="273" y="136"/>
                  </a:lnTo>
                  <a:lnTo>
                    <a:pt x="280" y="131"/>
                  </a:lnTo>
                  <a:lnTo>
                    <a:pt x="284" y="125"/>
                  </a:lnTo>
                  <a:lnTo>
                    <a:pt x="288" y="121"/>
                  </a:lnTo>
                  <a:lnTo>
                    <a:pt x="293" y="118"/>
                  </a:lnTo>
                  <a:lnTo>
                    <a:pt x="299" y="119"/>
                  </a:lnTo>
                  <a:lnTo>
                    <a:pt x="308" y="121"/>
                  </a:lnTo>
                  <a:lnTo>
                    <a:pt x="318" y="122"/>
                  </a:lnTo>
                  <a:lnTo>
                    <a:pt x="327" y="121"/>
                  </a:lnTo>
                  <a:lnTo>
                    <a:pt x="334" y="117"/>
                  </a:lnTo>
                  <a:lnTo>
                    <a:pt x="337" y="113"/>
                  </a:lnTo>
                  <a:lnTo>
                    <a:pt x="338" y="108"/>
                  </a:lnTo>
                  <a:lnTo>
                    <a:pt x="339" y="102"/>
                  </a:lnTo>
                  <a:lnTo>
                    <a:pt x="341" y="96"/>
                  </a:lnTo>
                  <a:lnTo>
                    <a:pt x="345" y="91"/>
                  </a:lnTo>
                  <a:lnTo>
                    <a:pt x="352" y="89"/>
                  </a:lnTo>
                  <a:lnTo>
                    <a:pt x="362" y="89"/>
                  </a:lnTo>
                  <a:lnTo>
                    <a:pt x="375" y="86"/>
                  </a:lnTo>
                  <a:lnTo>
                    <a:pt x="402" y="76"/>
                  </a:lnTo>
                  <a:lnTo>
                    <a:pt x="414" y="71"/>
                  </a:lnTo>
                  <a:lnTo>
                    <a:pt x="422" y="66"/>
                  </a:lnTo>
                  <a:lnTo>
                    <a:pt x="425" y="61"/>
                  </a:lnTo>
                  <a:lnTo>
                    <a:pt x="424" y="56"/>
                  </a:lnTo>
                  <a:lnTo>
                    <a:pt x="421" y="53"/>
                  </a:lnTo>
                  <a:lnTo>
                    <a:pt x="420" y="50"/>
                  </a:lnTo>
                  <a:lnTo>
                    <a:pt x="420" y="47"/>
                  </a:lnTo>
                  <a:lnTo>
                    <a:pt x="424" y="44"/>
                  </a:lnTo>
                  <a:lnTo>
                    <a:pt x="432" y="41"/>
                  </a:lnTo>
                  <a:lnTo>
                    <a:pt x="439" y="38"/>
                  </a:lnTo>
                  <a:lnTo>
                    <a:pt x="443" y="36"/>
                  </a:lnTo>
                  <a:lnTo>
                    <a:pt x="445" y="32"/>
                  </a:lnTo>
                  <a:lnTo>
                    <a:pt x="445" y="28"/>
                  </a:lnTo>
                  <a:lnTo>
                    <a:pt x="444" y="21"/>
                  </a:lnTo>
                  <a:lnTo>
                    <a:pt x="444" y="7"/>
                  </a:lnTo>
                  <a:lnTo>
                    <a:pt x="446" y="2"/>
                  </a:lnTo>
                  <a:lnTo>
                    <a:pt x="449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5">
              <a:extLst>
                <a:ext uri="{FF2B5EF4-FFF2-40B4-BE49-F238E27FC236}">
                  <a16:creationId xmlns:a16="http://schemas.microsoft.com/office/drawing/2014/main" id="{29B7C74E-BB1F-4687-9270-75E36A11177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9276" y="4757738"/>
              <a:ext cx="438150" cy="342900"/>
            </a:xfrm>
            <a:custGeom>
              <a:avLst/>
              <a:gdLst/>
              <a:ahLst/>
              <a:cxnLst>
                <a:cxn ang="0">
                  <a:pos x="170" y="4"/>
                </a:cxn>
                <a:cxn ang="0">
                  <a:pos x="190" y="9"/>
                </a:cxn>
                <a:cxn ang="0">
                  <a:pos x="218" y="23"/>
                </a:cxn>
                <a:cxn ang="0">
                  <a:pos x="235" y="30"/>
                </a:cxn>
                <a:cxn ang="0">
                  <a:pos x="245" y="25"/>
                </a:cxn>
                <a:cxn ang="0">
                  <a:pos x="256" y="46"/>
                </a:cxn>
                <a:cxn ang="0">
                  <a:pos x="258" y="63"/>
                </a:cxn>
                <a:cxn ang="0">
                  <a:pos x="240" y="82"/>
                </a:cxn>
                <a:cxn ang="0">
                  <a:pos x="251" y="99"/>
                </a:cxn>
                <a:cxn ang="0">
                  <a:pos x="266" y="108"/>
                </a:cxn>
                <a:cxn ang="0">
                  <a:pos x="276" y="122"/>
                </a:cxn>
                <a:cxn ang="0">
                  <a:pos x="266" y="133"/>
                </a:cxn>
                <a:cxn ang="0">
                  <a:pos x="260" y="148"/>
                </a:cxn>
                <a:cxn ang="0">
                  <a:pos x="244" y="169"/>
                </a:cxn>
                <a:cxn ang="0">
                  <a:pos x="253" y="192"/>
                </a:cxn>
                <a:cxn ang="0">
                  <a:pos x="247" y="211"/>
                </a:cxn>
                <a:cxn ang="0">
                  <a:pos x="231" y="214"/>
                </a:cxn>
                <a:cxn ang="0">
                  <a:pos x="214" y="213"/>
                </a:cxn>
                <a:cxn ang="0">
                  <a:pos x="204" y="212"/>
                </a:cxn>
                <a:cxn ang="0">
                  <a:pos x="198" y="202"/>
                </a:cxn>
                <a:cxn ang="0">
                  <a:pos x="191" y="202"/>
                </a:cxn>
                <a:cxn ang="0">
                  <a:pos x="188" y="209"/>
                </a:cxn>
                <a:cxn ang="0">
                  <a:pos x="184" y="216"/>
                </a:cxn>
                <a:cxn ang="0">
                  <a:pos x="177" y="201"/>
                </a:cxn>
                <a:cxn ang="0">
                  <a:pos x="172" y="179"/>
                </a:cxn>
                <a:cxn ang="0">
                  <a:pos x="149" y="172"/>
                </a:cxn>
                <a:cxn ang="0">
                  <a:pos x="138" y="169"/>
                </a:cxn>
                <a:cxn ang="0">
                  <a:pos x="129" y="170"/>
                </a:cxn>
                <a:cxn ang="0">
                  <a:pos x="132" y="187"/>
                </a:cxn>
                <a:cxn ang="0">
                  <a:pos x="99" y="187"/>
                </a:cxn>
                <a:cxn ang="0">
                  <a:pos x="97" y="172"/>
                </a:cxn>
                <a:cxn ang="0">
                  <a:pos x="86" y="161"/>
                </a:cxn>
                <a:cxn ang="0">
                  <a:pos x="79" y="141"/>
                </a:cxn>
                <a:cxn ang="0">
                  <a:pos x="59" y="116"/>
                </a:cxn>
                <a:cxn ang="0">
                  <a:pos x="60" y="99"/>
                </a:cxn>
                <a:cxn ang="0">
                  <a:pos x="48" y="86"/>
                </a:cxn>
                <a:cxn ang="0">
                  <a:pos x="38" y="70"/>
                </a:cxn>
                <a:cxn ang="0">
                  <a:pos x="16" y="59"/>
                </a:cxn>
                <a:cxn ang="0">
                  <a:pos x="2" y="55"/>
                </a:cxn>
                <a:cxn ang="0">
                  <a:pos x="1" y="35"/>
                </a:cxn>
                <a:cxn ang="0">
                  <a:pos x="62" y="33"/>
                </a:cxn>
                <a:cxn ang="0">
                  <a:pos x="88" y="30"/>
                </a:cxn>
                <a:cxn ang="0">
                  <a:pos x="117" y="16"/>
                </a:cxn>
                <a:cxn ang="0">
                  <a:pos x="151" y="2"/>
                </a:cxn>
              </a:cxnLst>
              <a:rect l="0" t="0" r="r" b="b"/>
              <a:pathLst>
                <a:path w="276" h="216">
                  <a:moveTo>
                    <a:pt x="159" y="0"/>
                  </a:moveTo>
                  <a:lnTo>
                    <a:pt x="164" y="1"/>
                  </a:lnTo>
                  <a:lnTo>
                    <a:pt x="170" y="4"/>
                  </a:lnTo>
                  <a:lnTo>
                    <a:pt x="177" y="5"/>
                  </a:lnTo>
                  <a:lnTo>
                    <a:pt x="183" y="5"/>
                  </a:lnTo>
                  <a:lnTo>
                    <a:pt x="190" y="9"/>
                  </a:lnTo>
                  <a:lnTo>
                    <a:pt x="199" y="15"/>
                  </a:lnTo>
                  <a:lnTo>
                    <a:pt x="209" y="20"/>
                  </a:lnTo>
                  <a:lnTo>
                    <a:pt x="218" y="23"/>
                  </a:lnTo>
                  <a:lnTo>
                    <a:pt x="225" y="28"/>
                  </a:lnTo>
                  <a:lnTo>
                    <a:pt x="230" y="30"/>
                  </a:lnTo>
                  <a:lnTo>
                    <a:pt x="235" y="30"/>
                  </a:lnTo>
                  <a:lnTo>
                    <a:pt x="241" y="26"/>
                  </a:lnTo>
                  <a:lnTo>
                    <a:pt x="243" y="24"/>
                  </a:lnTo>
                  <a:lnTo>
                    <a:pt x="245" y="25"/>
                  </a:lnTo>
                  <a:lnTo>
                    <a:pt x="249" y="31"/>
                  </a:lnTo>
                  <a:lnTo>
                    <a:pt x="253" y="38"/>
                  </a:lnTo>
                  <a:lnTo>
                    <a:pt x="256" y="46"/>
                  </a:lnTo>
                  <a:lnTo>
                    <a:pt x="259" y="53"/>
                  </a:lnTo>
                  <a:lnTo>
                    <a:pt x="260" y="57"/>
                  </a:lnTo>
                  <a:lnTo>
                    <a:pt x="258" y="63"/>
                  </a:lnTo>
                  <a:lnTo>
                    <a:pt x="252" y="70"/>
                  </a:lnTo>
                  <a:lnTo>
                    <a:pt x="243" y="78"/>
                  </a:lnTo>
                  <a:lnTo>
                    <a:pt x="240" y="82"/>
                  </a:lnTo>
                  <a:lnTo>
                    <a:pt x="240" y="86"/>
                  </a:lnTo>
                  <a:lnTo>
                    <a:pt x="247" y="93"/>
                  </a:lnTo>
                  <a:lnTo>
                    <a:pt x="251" y="99"/>
                  </a:lnTo>
                  <a:lnTo>
                    <a:pt x="256" y="103"/>
                  </a:lnTo>
                  <a:lnTo>
                    <a:pt x="261" y="106"/>
                  </a:lnTo>
                  <a:lnTo>
                    <a:pt x="266" y="108"/>
                  </a:lnTo>
                  <a:lnTo>
                    <a:pt x="271" y="111"/>
                  </a:lnTo>
                  <a:lnTo>
                    <a:pt x="275" y="116"/>
                  </a:lnTo>
                  <a:lnTo>
                    <a:pt x="276" y="122"/>
                  </a:lnTo>
                  <a:lnTo>
                    <a:pt x="274" y="126"/>
                  </a:lnTo>
                  <a:lnTo>
                    <a:pt x="270" y="130"/>
                  </a:lnTo>
                  <a:lnTo>
                    <a:pt x="266" y="133"/>
                  </a:lnTo>
                  <a:lnTo>
                    <a:pt x="262" y="137"/>
                  </a:lnTo>
                  <a:lnTo>
                    <a:pt x="261" y="141"/>
                  </a:lnTo>
                  <a:lnTo>
                    <a:pt x="260" y="148"/>
                  </a:lnTo>
                  <a:lnTo>
                    <a:pt x="256" y="154"/>
                  </a:lnTo>
                  <a:lnTo>
                    <a:pt x="251" y="161"/>
                  </a:lnTo>
                  <a:lnTo>
                    <a:pt x="244" y="169"/>
                  </a:lnTo>
                  <a:lnTo>
                    <a:pt x="242" y="176"/>
                  </a:lnTo>
                  <a:lnTo>
                    <a:pt x="246" y="184"/>
                  </a:lnTo>
                  <a:lnTo>
                    <a:pt x="253" y="192"/>
                  </a:lnTo>
                  <a:lnTo>
                    <a:pt x="262" y="201"/>
                  </a:lnTo>
                  <a:lnTo>
                    <a:pt x="256" y="206"/>
                  </a:lnTo>
                  <a:lnTo>
                    <a:pt x="247" y="211"/>
                  </a:lnTo>
                  <a:lnTo>
                    <a:pt x="239" y="214"/>
                  </a:lnTo>
                  <a:lnTo>
                    <a:pt x="235" y="215"/>
                  </a:lnTo>
                  <a:lnTo>
                    <a:pt x="231" y="214"/>
                  </a:lnTo>
                  <a:lnTo>
                    <a:pt x="227" y="212"/>
                  </a:lnTo>
                  <a:lnTo>
                    <a:pt x="222" y="212"/>
                  </a:lnTo>
                  <a:lnTo>
                    <a:pt x="214" y="213"/>
                  </a:lnTo>
                  <a:lnTo>
                    <a:pt x="208" y="214"/>
                  </a:lnTo>
                  <a:lnTo>
                    <a:pt x="205" y="213"/>
                  </a:lnTo>
                  <a:lnTo>
                    <a:pt x="204" y="212"/>
                  </a:lnTo>
                  <a:lnTo>
                    <a:pt x="203" y="209"/>
                  </a:lnTo>
                  <a:lnTo>
                    <a:pt x="201" y="206"/>
                  </a:lnTo>
                  <a:lnTo>
                    <a:pt x="198" y="202"/>
                  </a:lnTo>
                  <a:lnTo>
                    <a:pt x="194" y="200"/>
                  </a:lnTo>
                  <a:lnTo>
                    <a:pt x="192" y="201"/>
                  </a:lnTo>
                  <a:lnTo>
                    <a:pt x="191" y="202"/>
                  </a:lnTo>
                  <a:lnTo>
                    <a:pt x="189" y="205"/>
                  </a:lnTo>
                  <a:lnTo>
                    <a:pt x="188" y="207"/>
                  </a:lnTo>
                  <a:lnTo>
                    <a:pt x="188" y="209"/>
                  </a:lnTo>
                  <a:lnTo>
                    <a:pt x="187" y="212"/>
                  </a:lnTo>
                  <a:lnTo>
                    <a:pt x="185" y="214"/>
                  </a:lnTo>
                  <a:lnTo>
                    <a:pt x="184" y="216"/>
                  </a:lnTo>
                  <a:lnTo>
                    <a:pt x="182" y="215"/>
                  </a:lnTo>
                  <a:lnTo>
                    <a:pt x="179" y="209"/>
                  </a:lnTo>
                  <a:lnTo>
                    <a:pt x="177" y="201"/>
                  </a:lnTo>
                  <a:lnTo>
                    <a:pt x="176" y="193"/>
                  </a:lnTo>
                  <a:lnTo>
                    <a:pt x="175" y="186"/>
                  </a:lnTo>
                  <a:lnTo>
                    <a:pt x="172" y="179"/>
                  </a:lnTo>
                  <a:lnTo>
                    <a:pt x="165" y="174"/>
                  </a:lnTo>
                  <a:lnTo>
                    <a:pt x="157" y="171"/>
                  </a:lnTo>
                  <a:lnTo>
                    <a:pt x="149" y="172"/>
                  </a:lnTo>
                  <a:lnTo>
                    <a:pt x="146" y="173"/>
                  </a:lnTo>
                  <a:lnTo>
                    <a:pt x="142" y="173"/>
                  </a:lnTo>
                  <a:lnTo>
                    <a:pt x="138" y="169"/>
                  </a:lnTo>
                  <a:lnTo>
                    <a:pt x="136" y="168"/>
                  </a:lnTo>
                  <a:lnTo>
                    <a:pt x="131" y="168"/>
                  </a:lnTo>
                  <a:lnTo>
                    <a:pt x="129" y="170"/>
                  </a:lnTo>
                  <a:lnTo>
                    <a:pt x="129" y="174"/>
                  </a:lnTo>
                  <a:lnTo>
                    <a:pt x="132" y="183"/>
                  </a:lnTo>
                  <a:lnTo>
                    <a:pt x="132" y="187"/>
                  </a:lnTo>
                  <a:lnTo>
                    <a:pt x="128" y="189"/>
                  </a:lnTo>
                  <a:lnTo>
                    <a:pt x="102" y="189"/>
                  </a:lnTo>
                  <a:lnTo>
                    <a:pt x="99" y="187"/>
                  </a:lnTo>
                  <a:lnTo>
                    <a:pt x="98" y="183"/>
                  </a:lnTo>
                  <a:lnTo>
                    <a:pt x="98" y="178"/>
                  </a:lnTo>
                  <a:lnTo>
                    <a:pt x="97" y="172"/>
                  </a:lnTo>
                  <a:lnTo>
                    <a:pt x="96" y="167"/>
                  </a:lnTo>
                  <a:lnTo>
                    <a:pt x="93" y="165"/>
                  </a:lnTo>
                  <a:lnTo>
                    <a:pt x="86" y="161"/>
                  </a:lnTo>
                  <a:lnTo>
                    <a:pt x="81" y="156"/>
                  </a:lnTo>
                  <a:lnTo>
                    <a:pt x="80" y="147"/>
                  </a:lnTo>
                  <a:lnTo>
                    <a:pt x="79" y="141"/>
                  </a:lnTo>
                  <a:lnTo>
                    <a:pt x="76" y="136"/>
                  </a:lnTo>
                  <a:lnTo>
                    <a:pt x="64" y="124"/>
                  </a:lnTo>
                  <a:lnTo>
                    <a:pt x="59" y="116"/>
                  </a:lnTo>
                  <a:lnTo>
                    <a:pt x="59" y="110"/>
                  </a:lnTo>
                  <a:lnTo>
                    <a:pt x="60" y="104"/>
                  </a:lnTo>
                  <a:lnTo>
                    <a:pt x="60" y="99"/>
                  </a:lnTo>
                  <a:lnTo>
                    <a:pt x="58" y="96"/>
                  </a:lnTo>
                  <a:lnTo>
                    <a:pt x="50" y="90"/>
                  </a:lnTo>
                  <a:lnTo>
                    <a:pt x="48" y="86"/>
                  </a:lnTo>
                  <a:lnTo>
                    <a:pt x="50" y="78"/>
                  </a:lnTo>
                  <a:lnTo>
                    <a:pt x="48" y="76"/>
                  </a:lnTo>
                  <a:lnTo>
                    <a:pt x="38" y="70"/>
                  </a:lnTo>
                  <a:lnTo>
                    <a:pt x="26" y="60"/>
                  </a:lnTo>
                  <a:lnTo>
                    <a:pt x="21" y="58"/>
                  </a:lnTo>
                  <a:lnTo>
                    <a:pt x="16" y="59"/>
                  </a:lnTo>
                  <a:lnTo>
                    <a:pt x="10" y="60"/>
                  </a:lnTo>
                  <a:lnTo>
                    <a:pt x="5" y="60"/>
                  </a:lnTo>
                  <a:lnTo>
                    <a:pt x="2" y="55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1" y="35"/>
                  </a:lnTo>
                  <a:lnTo>
                    <a:pt x="24" y="36"/>
                  </a:lnTo>
                  <a:lnTo>
                    <a:pt x="45" y="35"/>
                  </a:lnTo>
                  <a:lnTo>
                    <a:pt x="62" y="33"/>
                  </a:lnTo>
                  <a:lnTo>
                    <a:pt x="75" y="32"/>
                  </a:lnTo>
                  <a:lnTo>
                    <a:pt x="83" y="31"/>
                  </a:lnTo>
                  <a:lnTo>
                    <a:pt x="88" y="30"/>
                  </a:lnTo>
                  <a:lnTo>
                    <a:pt x="97" y="26"/>
                  </a:lnTo>
                  <a:lnTo>
                    <a:pt x="106" y="21"/>
                  </a:lnTo>
                  <a:lnTo>
                    <a:pt x="117" y="16"/>
                  </a:lnTo>
                  <a:lnTo>
                    <a:pt x="129" y="10"/>
                  </a:lnTo>
                  <a:lnTo>
                    <a:pt x="141" y="5"/>
                  </a:lnTo>
                  <a:lnTo>
                    <a:pt x="151" y="2"/>
                  </a:lnTo>
                  <a:lnTo>
                    <a:pt x="159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6">
              <a:extLst>
                <a:ext uri="{FF2B5EF4-FFF2-40B4-BE49-F238E27FC236}">
                  <a16:creationId xmlns:a16="http://schemas.microsoft.com/office/drawing/2014/main" id="{340D88DA-EF60-485D-9A75-9B39F6A6133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6401" y="2892426"/>
              <a:ext cx="1477963" cy="1397000"/>
            </a:xfrm>
            <a:custGeom>
              <a:avLst/>
              <a:gdLst/>
              <a:ahLst/>
              <a:cxnLst>
                <a:cxn ang="0">
                  <a:pos x="759" y="52"/>
                </a:cxn>
                <a:cxn ang="0">
                  <a:pos x="846" y="14"/>
                </a:cxn>
                <a:cxn ang="0">
                  <a:pos x="815" y="75"/>
                </a:cxn>
                <a:cxn ang="0">
                  <a:pos x="813" y="137"/>
                </a:cxn>
                <a:cxn ang="0">
                  <a:pos x="855" y="173"/>
                </a:cxn>
                <a:cxn ang="0">
                  <a:pos x="867" y="227"/>
                </a:cxn>
                <a:cxn ang="0">
                  <a:pos x="896" y="258"/>
                </a:cxn>
                <a:cxn ang="0">
                  <a:pos x="929" y="305"/>
                </a:cxn>
                <a:cxn ang="0">
                  <a:pos x="901" y="380"/>
                </a:cxn>
                <a:cxn ang="0">
                  <a:pos x="838" y="443"/>
                </a:cxn>
                <a:cxn ang="0">
                  <a:pos x="793" y="453"/>
                </a:cxn>
                <a:cxn ang="0">
                  <a:pos x="719" y="483"/>
                </a:cxn>
                <a:cxn ang="0">
                  <a:pos x="724" y="513"/>
                </a:cxn>
                <a:cxn ang="0">
                  <a:pos x="728" y="582"/>
                </a:cxn>
                <a:cxn ang="0">
                  <a:pos x="688" y="619"/>
                </a:cxn>
                <a:cxn ang="0">
                  <a:pos x="645" y="671"/>
                </a:cxn>
                <a:cxn ang="0">
                  <a:pos x="588" y="703"/>
                </a:cxn>
                <a:cxn ang="0">
                  <a:pos x="570" y="748"/>
                </a:cxn>
                <a:cxn ang="0">
                  <a:pos x="548" y="696"/>
                </a:cxn>
                <a:cxn ang="0">
                  <a:pos x="511" y="658"/>
                </a:cxn>
                <a:cxn ang="0">
                  <a:pos x="481" y="686"/>
                </a:cxn>
                <a:cxn ang="0">
                  <a:pos x="417" y="734"/>
                </a:cxn>
                <a:cxn ang="0">
                  <a:pos x="350" y="769"/>
                </a:cxn>
                <a:cxn ang="0">
                  <a:pos x="292" y="785"/>
                </a:cxn>
                <a:cxn ang="0">
                  <a:pos x="237" y="826"/>
                </a:cxn>
                <a:cxn ang="0">
                  <a:pos x="224" y="877"/>
                </a:cxn>
                <a:cxn ang="0">
                  <a:pos x="183" y="875"/>
                </a:cxn>
                <a:cxn ang="0">
                  <a:pos x="140" y="878"/>
                </a:cxn>
                <a:cxn ang="0">
                  <a:pos x="108" y="853"/>
                </a:cxn>
                <a:cxn ang="0">
                  <a:pos x="74" y="804"/>
                </a:cxn>
                <a:cxn ang="0">
                  <a:pos x="75" y="753"/>
                </a:cxn>
                <a:cxn ang="0">
                  <a:pos x="29" y="717"/>
                </a:cxn>
                <a:cxn ang="0">
                  <a:pos x="27" y="672"/>
                </a:cxn>
                <a:cxn ang="0">
                  <a:pos x="45" y="635"/>
                </a:cxn>
                <a:cxn ang="0">
                  <a:pos x="1" y="590"/>
                </a:cxn>
                <a:cxn ang="0">
                  <a:pos x="22" y="578"/>
                </a:cxn>
                <a:cxn ang="0">
                  <a:pos x="75" y="535"/>
                </a:cxn>
                <a:cxn ang="0">
                  <a:pos x="59" y="496"/>
                </a:cxn>
                <a:cxn ang="0">
                  <a:pos x="91" y="383"/>
                </a:cxn>
                <a:cxn ang="0">
                  <a:pos x="67" y="324"/>
                </a:cxn>
                <a:cxn ang="0">
                  <a:pos x="42" y="280"/>
                </a:cxn>
                <a:cxn ang="0">
                  <a:pos x="83" y="247"/>
                </a:cxn>
                <a:cxn ang="0">
                  <a:pos x="115" y="242"/>
                </a:cxn>
                <a:cxn ang="0">
                  <a:pos x="162" y="246"/>
                </a:cxn>
                <a:cxn ang="0">
                  <a:pos x="238" y="235"/>
                </a:cxn>
                <a:cxn ang="0">
                  <a:pos x="232" y="181"/>
                </a:cxn>
                <a:cxn ang="0">
                  <a:pos x="250" y="153"/>
                </a:cxn>
                <a:cxn ang="0">
                  <a:pos x="312" y="105"/>
                </a:cxn>
                <a:cxn ang="0">
                  <a:pos x="382" y="93"/>
                </a:cxn>
                <a:cxn ang="0">
                  <a:pos x="463" y="30"/>
                </a:cxn>
                <a:cxn ang="0">
                  <a:pos x="501" y="48"/>
                </a:cxn>
                <a:cxn ang="0">
                  <a:pos x="546" y="105"/>
                </a:cxn>
                <a:cxn ang="0">
                  <a:pos x="565" y="140"/>
                </a:cxn>
                <a:cxn ang="0">
                  <a:pos x="536" y="173"/>
                </a:cxn>
                <a:cxn ang="0">
                  <a:pos x="606" y="175"/>
                </a:cxn>
                <a:cxn ang="0">
                  <a:pos x="665" y="161"/>
                </a:cxn>
                <a:cxn ang="0">
                  <a:pos x="681" y="75"/>
                </a:cxn>
                <a:cxn ang="0">
                  <a:pos x="648" y="24"/>
                </a:cxn>
                <a:cxn ang="0">
                  <a:pos x="680" y="10"/>
                </a:cxn>
              </a:cxnLst>
              <a:rect l="0" t="0" r="r" b="b"/>
              <a:pathLst>
                <a:path w="931" h="880">
                  <a:moveTo>
                    <a:pt x="727" y="0"/>
                  </a:moveTo>
                  <a:lnTo>
                    <a:pt x="734" y="3"/>
                  </a:lnTo>
                  <a:lnTo>
                    <a:pt x="739" y="8"/>
                  </a:lnTo>
                  <a:lnTo>
                    <a:pt x="741" y="13"/>
                  </a:lnTo>
                  <a:lnTo>
                    <a:pt x="741" y="19"/>
                  </a:lnTo>
                  <a:lnTo>
                    <a:pt x="742" y="27"/>
                  </a:lnTo>
                  <a:lnTo>
                    <a:pt x="744" y="35"/>
                  </a:lnTo>
                  <a:lnTo>
                    <a:pt x="746" y="44"/>
                  </a:lnTo>
                  <a:lnTo>
                    <a:pt x="749" y="50"/>
                  </a:lnTo>
                  <a:lnTo>
                    <a:pt x="753" y="52"/>
                  </a:lnTo>
                  <a:lnTo>
                    <a:pt x="759" y="52"/>
                  </a:lnTo>
                  <a:lnTo>
                    <a:pt x="781" y="50"/>
                  </a:lnTo>
                  <a:lnTo>
                    <a:pt x="793" y="48"/>
                  </a:lnTo>
                  <a:lnTo>
                    <a:pt x="803" y="45"/>
                  </a:lnTo>
                  <a:lnTo>
                    <a:pt x="809" y="41"/>
                  </a:lnTo>
                  <a:lnTo>
                    <a:pt x="813" y="35"/>
                  </a:lnTo>
                  <a:lnTo>
                    <a:pt x="817" y="27"/>
                  </a:lnTo>
                  <a:lnTo>
                    <a:pt x="823" y="19"/>
                  </a:lnTo>
                  <a:lnTo>
                    <a:pt x="830" y="13"/>
                  </a:lnTo>
                  <a:lnTo>
                    <a:pt x="836" y="9"/>
                  </a:lnTo>
                  <a:lnTo>
                    <a:pt x="842" y="10"/>
                  </a:lnTo>
                  <a:lnTo>
                    <a:pt x="846" y="14"/>
                  </a:lnTo>
                  <a:lnTo>
                    <a:pt x="847" y="22"/>
                  </a:lnTo>
                  <a:lnTo>
                    <a:pt x="847" y="31"/>
                  </a:lnTo>
                  <a:lnTo>
                    <a:pt x="846" y="42"/>
                  </a:lnTo>
                  <a:lnTo>
                    <a:pt x="844" y="52"/>
                  </a:lnTo>
                  <a:lnTo>
                    <a:pt x="841" y="59"/>
                  </a:lnTo>
                  <a:lnTo>
                    <a:pt x="837" y="65"/>
                  </a:lnTo>
                  <a:lnTo>
                    <a:pt x="831" y="69"/>
                  </a:lnTo>
                  <a:lnTo>
                    <a:pt x="825" y="71"/>
                  </a:lnTo>
                  <a:lnTo>
                    <a:pt x="820" y="72"/>
                  </a:lnTo>
                  <a:lnTo>
                    <a:pt x="816" y="73"/>
                  </a:lnTo>
                  <a:lnTo>
                    <a:pt x="815" y="75"/>
                  </a:lnTo>
                  <a:lnTo>
                    <a:pt x="815" y="89"/>
                  </a:lnTo>
                  <a:lnTo>
                    <a:pt x="816" y="98"/>
                  </a:lnTo>
                  <a:lnTo>
                    <a:pt x="819" y="106"/>
                  </a:lnTo>
                  <a:lnTo>
                    <a:pt x="824" y="112"/>
                  </a:lnTo>
                  <a:lnTo>
                    <a:pt x="828" y="117"/>
                  </a:lnTo>
                  <a:lnTo>
                    <a:pt x="830" y="122"/>
                  </a:lnTo>
                  <a:lnTo>
                    <a:pt x="830" y="126"/>
                  </a:lnTo>
                  <a:lnTo>
                    <a:pt x="827" y="128"/>
                  </a:lnTo>
                  <a:lnTo>
                    <a:pt x="817" y="132"/>
                  </a:lnTo>
                  <a:lnTo>
                    <a:pt x="814" y="134"/>
                  </a:lnTo>
                  <a:lnTo>
                    <a:pt x="813" y="137"/>
                  </a:lnTo>
                  <a:lnTo>
                    <a:pt x="813" y="145"/>
                  </a:lnTo>
                  <a:lnTo>
                    <a:pt x="812" y="150"/>
                  </a:lnTo>
                  <a:lnTo>
                    <a:pt x="812" y="155"/>
                  </a:lnTo>
                  <a:lnTo>
                    <a:pt x="814" y="158"/>
                  </a:lnTo>
                  <a:lnTo>
                    <a:pt x="817" y="159"/>
                  </a:lnTo>
                  <a:lnTo>
                    <a:pt x="826" y="159"/>
                  </a:lnTo>
                  <a:lnTo>
                    <a:pt x="836" y="160"/>
                  </a:lnTo>
                  <a:lnTo>
                    <a:pt x="843" y="161"/>
                  </a:lnTo>
                  <a:lnTo>
                    <a:pt x="846" y="163"/>
                  </a:lnTo>
                  <a:lnTo>
                    <a:pt x="849" y="167"/>
                  </a:lnTo>
                  <a:lnTo>
                    <a:pt x="855" y="173"/>
                  </a:lnTo>
                  <a:lnTo>
                    <a:pt x="860" y="179"/>
                  </a:lnTo>
                  <a:lnTo>
                    <a:pt x="862" y="185"/>
                  </a:lnTo>
                  <a:lnTo>
                    <a:pt x="861" y="190"/>
                  </a:lnTo>
                  <a:lnTo>
                    <a:pt x="860" y="195"/>
                  </a:lnTo>
                  <a:lnTo>
                    <a:pt x="862" y="200"/>
                  </a:lnTo>
                  <a:lnTo>
                    <a:pt x="862" y="205"/>
                  </a:lnTo>
                  <a:lnTo>
                    <a:pt x="861" y="211"/>
                  </a:lnTo>
                  <a:lnTo>
                    <a:pt x="859" y="217"/>
                  </a:lnTo>
                  <a:lnTo>
                    <a:pt x="858" y="222"/>
                  </a:lnTo>
                  <a:lnTo>
                    <a:pt x="861" y="226"/>
                  </a:lnTo>
                  <a:lnTo>
                    <a:pt x="867" y="227"/>
                  </a:lnTo>
                  <a:lnTo>
                    <a:pt x="872" y="226"/>
                  </a:lnTo>
                  <a:lnTo>
                    <a:pt x="877" y="224"/>
                  </a:lnTo>
                  <a:lnTo>
                    <a:pt x="882" y="225"/>
                  </a:lnTo>
                  <a:lnTo>
                    <a:pt x="883" y="228"/>
                  </a:lnTo>
                  <a:lnTo>
                    <a:pt x="882" y="233"/>
                  </a:lnTo>
                  <a:lnTo>
                    <a:pt x="881" y="239"/>
                  </a:lnTo>
                  <a:lnTo>
                    <a:pt x="879" y="244"/>
                  </a:lnTo>
                  <a:lnTo>
                    <a:pt x="880" y="248"/>
                  </a:lnTo>
                  <a:lnTo>
                    <a:pt x="883" y="250"/>
                  </a:lnTo>
                  <a:lnTo>
                    <a:pt x="890" y="253"/>
                  </a:lnTo>
                  <a:lnTo>
                    <a:pt x="896" y="258"/>
                  </a:lnTo>
                  <a:lnTo>
                    <a:pt x="900" y="264"/>
                  </a:lnTo>
                  <a:lnTo>
                    <a:pt x="900" y="270"/>
                  </a:lnTo>
                  <a:lnTo>
                    <a:pt x="901" y="272"/>
                  </a:lnTo>
                  <a:lnTo>
                    <a:pt x="906" y="273"/>
                  </a:lnTo>
                  <a:lnTo>
                    <a:pt x="926" y="273"/>
                  </a:lnTo>
                  <a:lnTo>
                    <a:pt x="930" y="274"/>
                  </a:lnTo>
                  <a:lnTo>
                    <a:pt x="931" y="275"/>
                  </a:lnTo>
                  <a:lnTo>
                    <a:pt x="930" y="279"/>
                  </a:lnTo>
                  <a:lnTo>
                    <a:pt x="930" y="287"/>
                  </a:lnTo>
                  <a:lnTo>
                    <a:pt x="929" y="296"/>
                  </a:lnTo>
                  <a:lnTo>
                    <a:pt x="929" y="305"/>
                  </a:lnTo>
                  <a:lnTo>
                    <a:pt x="927" y="312"/>
                  </a:lnTo>
                  <a:lnTo>
                    <a:pt x="924" y="317"/>
                  </a:lnTo>
                  <a:lnTo>
                    <a:pt x="918" y="322"/>
                  </a:lnTo>
                  <a:lnTo>
                    <a:pt x="914" y="329"/>
                  </a:lnTo>
                  <a:lnTo>
                    <a:pt x="911" y="337"/>
                  </a:lnTo>
                  <a:lnTo>
                    <a:pt x="910" y="343"/>
                  </a:lnTo>
                  <a:lnTo>
                    <a:pt x="910" y="363"/>
                  </a:lnTo>
                  <a:lnTo>
                    <a:pt x="909" y="369"/>
                  </a:lnTo>
                  <a:lnTo>
                    <a:pt x="905" y="373"/>
                  </a:lnTo>
                  <a:lnTo>
                    <a:pt x="901" y="376"/>
                  </a:lnTo>
                  <a:lnTo>
                    <a:pt x="901" y="380"/>
                  </a:lnTo>
                  <a:lnTo>
                    <a:pt x="902" y="386"/>
                  </a:lnTo>
                  <a:lnTo>
                    <a:pt x="903" y="394"/>
                  </a:lnTo>
                  <a:lnTo>
                    <a:pt x="900" y="401"/>
                  </a:lnTo>
                  <a:lnTo>
                    <a:pt x="894" y="410"/>
                  </a:lnTo>
                  <a:lnTo>
                    <a:pt x="876" y="426"/>
                  </a:lnTo>
                  <a:lnTo>
                    <a:pt x="868" y="432"/>
                  </a:lnTo>
                  <a:lnTo>
                    <a:pt x="863" y="436"/>
                  </a:lnTo>
                  <a:lnTo>
                    <a:pt x="858" y="439"/>
                  </a:lnTo>
                  <a:lnTo>
                    <a:pt x="851" y="442"/>
                  </a:lnTo>
                  <a:lnTo>
                    <a:pt x="844" y="443"/>
                  </a:lnTo>
                  <a:lnTo>
                    <a:pt x="838" y="443"/>
                  </a:lnTo>
                  <a:lnTo>
                    <a:pt x="834" y="439"/>
                  </a:lnTo>
                  <a:lnTo>
                    <a:pt x="827" y="429"/>
                  </a:lnTo>
                  <a:lnTo>
                    <a:pt x="817" y="422"/>
                  </a:lnTo>
                  <a:lnTo>
                    <a:pt x="808" y="419"/>
                  </a:lnTo>
                  <a:lnTo>
                    <a:pt x="801" y="420"/>
                  </a:lnTo>
                  <a:lnTo>
                    <a:pt x="794" y="422"/>
                  </a:lnTo>
                  <a:lnTo>
                    <a:pt x="789" y="426"/>
                  </a:lnTo>
                  <a:lnTo>
                    <a:pt x="786" y="432"/>
                  </a:lnTo>
                  <a:lnTo>
                    <a:pt x="786" y="439"/>
                  </a:lnTo>
                  <a:lnTo>
                    <a:pt x="789" y="446"/>
                  </a:lnTo>
                  <a:lnTo>
                    <a:pt x="793" y="453"/>
                  </a:lnTo>
                  <a:lnTo>
                    <a:pt x="794" y="458"/>
                  </a:lnTo>
                  <a:lnTo>
                    <a:pt x="791" y="463"/>
                  </a:lnTo>
                  <a:lnTo>
                    <a:pt x="785" y="465"/>
                  </a:lnTo>
                  <a:lnTo>
                    <a:pt x="775" y="466"/>
                  </a:lnTo>
                  <a:lnTo>
                    <a:pt x="766" y="467"/>
                  </a:lnTo>
                  <a:lnTo>
                    <a:pt x="754" y="468"/>
                  </a:lnTo>
                  <a:lnTo>
                    <a:pt x="742" y="471"/>
                  </a:lnTo>
                  <a:lnTo>
                    <a:pt x="732" y="473"/>
                  </a:lnTo>
                  <a:lnTo>
                    <a:pt x="726" y="475"/>
                  </a:lnTo>
                  <a:lnTo>
                    <a:pt x="723" y="478"/>
                  </a:lnTo>
                  <a:lnTo>
                    <a:pt x="719" y="483"/>
                  </a:lnTo>
                  <a:lnTo>
                    <a:pt x="713" y="489"/>
                  </a:lnTo>
                  <a:lnTo>
                    <a:pt x="708" y="496"/>
                  </a:lnTo>
                  <a:lnTo>
                    <a:pt x="702" y="502"/>
                  </a:lnTo>
                  <a:lnTo>
                    <a:pt x="699" y="507"/>
                  </a:lnTo>
                  <a:lnTo>
                    <a:pt x="697" y="510"/>
                  </a:lnTo>
                  <a:lnTo>
                    <a:pt x="697" y="513"/>
                  </a:lnTo>
                  <a:lnTo>
                    <a:pt x="703" y="523"/>
                  </a:lnTo>
                  <a:lnTo>
                    <a:pt x="706" y="526"/>
                  </a:lnTo>
                  <a:lnTo>
                    <a:pt x="708" y="527"/>
                  </a:lnTo>
                  <a:lnTo>
                    <a:pt x="719" y="516"/>
                  </a:lnTo>
                  <a:lnTo>
                    <a:pt x="724" y="513"/>
                  </a:lnTo>
                  <a:lnTo>
                    <a:pt x="728" y="512"/>
                  </a:lnTo>
                  <a:lnTo>
                    <a:pt x="732" y="515"/>
                  </a:lnTo>
                  <a:lnTo>
                    <a:pt x="735" y="522"/>
                  </a:lnTo>
                  <a:lnTo>
                    <a:pt x="738" y="530"/>
                  </a:lnTo>
                  <a:lnTo>
                    <a:pt x="742" y="546"/>
                  </a:lnTo>
                  <a:lnTo>
                    <a:pt x="742" y="552"/>
                  </a:lnTo>
                  <a:lnTo>
                    <a:pt x="741" y="556"/>
                  </a:lnTo>
                  <a:lnTo>
                    <a:pt x="736" y="561"/>
                  </a:lnTo>
                  <a:lnTo>
                    <a:pt x="731" y="567"/>
                  </a:lnTo>
                  <a:lnTo>
                    <a:pt x="729" y="576"/>
                  </a:lnTo>
                  <a:lnTo>
                    <a:pt x="728" y="582"/>
                  </a:lnTo>
                  <a:lnTo>
                    <a:pt x="726" y="586"/>
                  </a:lnTo>
                  <a:lnTo>
                    <a:pt x="721" y="588"/>
                  </a:lnTo>
                  <a:lnTo>
                    <a:pt x="713" y="587"/>
                  </a:lnTo>
                  <a:lnTo>
                    <a:pt x="705" y="585"/>
                  </a:lnTo>
                  <a:lnTo>
                    <a:pt x="697" y="584"/>
                  </a:lnTo>
                  <a:lnTo>
                    <a:pt x="691" y="584"/>
                  </a:lnTo>
                  <a:lnTo>
                    <a:pt x="688" y="588"/>
                  </a:lnTo>
                  <a:lnTo>
                    <a:pt x="686" y="594"/>
                  </a:lnTo>
                  <a:lnTo>
                    <a:pt x="687" y="603"/>
                  </a:lnTo>
                  <a:lnTo>
                    <a:pt x="688" y="611"/>
                  </a:lnTo>
                  <a:lnTo>
                    <a:pt x="688" y="619"/>
                  </a:lnTo>
                  <a:lnTo>
                    <a:pt x="685" y="626"/>
                  </a:lnTo>
                  <a:lnTo>
                    <a:pt x="679" y="632"/>
                  </a:lnTo>
                  <a:lnTo>
                    <a:pt x="674" y="639"/>
                  </a:lnTo>
                  <a:lnTo>
                    <a:pt x="670" y="646"/>
                  </a:lnTo>
                  <a:lnTo>
                    <a:pt x="669" y="652"/>
                  </a:lnTo>
                  <a:lnTo>
                    <a:pt x="667" y="656"/>
                  </a:lnTo>
                  <a:lnTo>
                    <a:pt x="663" y="657"/>
                  </a:lnTo>
                  <a:lnTo>
                    <a:pt x="658" y="658"/>
                  </a:lnTo>
                  <a:lnTo>
                    <a:pt x="653" y="660"/>
                  </a:lnTo>
                  <a:lnTo>
                    <a:pt x="649" y="665"/>
                  </a:lnTo>
                  <a:lnTo>
                    <a:pt x="645" y="671"/>
                  </a:lnTo>
                  <a:lnTo>
                    <a:pt x="641" y="678"/>
                  </a:lnTo>
                  <a:lnTo>
                    <a:pt x="637" y="682"/>
                  </a:lnTo>
                  <a:lnTo>
                    <a:pt x="633" y="682"/>
                  </a:lnTo>
                  <a:lnTo>
                    <a:pt x="628" y="678"/>
                  </a:lnTo>
                  <a:lnTo>
                    <a:pt x="624" y="674"/>
                  </a:lnTo>
                  <a:lnTo>
                    <a:pt x="619" y="671"/>
                  </a:lnTo>
                  <a:lnTo>
                    <a:pt x="616" y="671"/>
                  </a:lnTo>
                  <a:lnTo>
                    <a:pt x="613" y="674"/>
                  </a:lnTo>
                  <a:lnTo>
                    <a:pt x="607" y="679"/>
                  </a:lnTo>
                  <a:lnTo>
                    <a:pt x="600" y="687"/>
                  </a:lnTo>
                  <a:lnTo>
                    <a:pt x="588" y="703"/>
                  </a:lnTo>
                  <a:lnTo>
                    <a:pt x="583" y="710"/>
                  </a:lnTo>
                  <a:lnTo>
                    <a:pt x="581" y="714"/>
                  </a:lnTo>
                  <a:lnTo>
                    <a:pt x="582" y="718"/>
                  </a:lnTo>
                  <a:lnTo>
                    <a:pt x="585" y="724"/>
                  </a:lnTo>
                  <a:lnTo>
                    <a:pt x="587" y="730"/>
                  </a:lnTo>
                  <a:lnTo>
                    <a:pt x="588" y="737"/>
                  </a:lnTo>
                  <a:lnTo>
                    <a:pt x="586" y="741"/>
                  </a:lnTo>
                  <a:lnTo>
                    <a:pt x="580" y="747"/>
                  </a:lnTo>
                  <a:lnTo>
                    <a:pt x="578" y="751"/>
                  </a:lnTo>
                  <a:lnTo>
                    <a:pt x="574" y="749"/>
                  </a:lnTo>
                  <a:lnTo>
                    <a:pt x="570" y="748"/>
                  </a:lnTo>
                  <a:lnTo>
                    <a:pt x="567" y="747"/>
                  </a:lnTo>
                  <a:lnTo>
                    <a:pt x="564" y="747"/>
                  </a:lnTo>
                  <a:lnTo>
                    <a:pt x="560" y="745"/>
                  </a:lnTo>
                  <a:lnTo>
                    <a:pt x="549" y="735"/>
                  </a:lnTo>
                  <a:lnTo>
                    <a:pt x="544" y="728"/>
                  </a:lnTo>
                  <a:lnTo>
                    <a:pt x="542" y="722"/>
                  </a:lnTo>
                  <a:lnTo>
                    <a:pt x="542" y="716"/>
                  </a:lnTo>
                  <a:lnTo>
                    <a:pt x="545" y="710"/>
                  </a:lnTo>
                  <a:lnTo>
                    <a:pt x="548" y="703"/>
                  </a:lnTo>
                  <a:lnTo>
                    <a:pt x="549" y="699"/>
                  </a:lnTo>
                  <a:lnTo>
                    <a:pt x="548" y="696"/>
                  </a:lnTo>
                  <a:lnTo>
                    <a:pt x="547" y="694"/>
                  </a:lnTo>
                  <a:lnTo>
                    <a:pt x="544" y="692"/>
                  </a:lnTo>
                  <a:lnTo>
                    <a:pt x="541" y="691"/>
                  </a:lnTo>
                  <a:lnTo>
                    <a:pt x="533" y="691"/>
                  </a:lnTo>
                  <a:lnTo>
                    <a:pt x="528" y="690"/>
                  </a:lnTo>
                  <a:lnTo>
                    <a:pt x="524" y="686"/>
                  </a:lnTo>
                  <a:lnTo>
                    <a:pt x="518" y="678"/>
                  </a:lnTo>
                  <a:lnTo>
                    <a:pt x="515" y="676"/>
                  </a:lnTo>
                  <a:lnTo>
                    <a:pt x="511" y="672"/>
                  </a:lnTo>
                  <a:lnTo>
                    <a:pt x="509" y="665"/>
                  </a:lnTo>
                  <a:lnTo>
                    <a:pt x="511" y="658"/>
                  </a:lnTo>
                  <a:lnTo>
                    <a:pt x="511" y="654"/>
                  </a:lnTo>
                  <a:lnTo>
                    <a:pt x="508" y="650"/>
                  </a:lnTo>
                  <a:lnTo>
                    <a:pt x="503" y="648"/>
                  </a:lnTo>
                  <a:lnTo>
                    <a:pt x="491" y="648"/>
                  </a:lnTo>
                  <a:lnTo>
                    <a:pt x="488" y="650"/>
                  </a:lnTo>
                  <a:lnTo>
                    <a:pt x="486" y="655"/>
                  </a:lnTo>
                  <a:lnTo>
                    <a:pt x="486" y="669"/>
                  </a:lnTo>
                  <a:lnTo>
                    <a:pt x="487" y="676"/>
                  </a:lnTo>
                  <a:lnTo>
                    <a:pt x="487" y="680"/>
                  </a:lnTo>
                  <a:lnTo>
                    <a:pt x="485" y="684"/>
                  </a:lnTo>
                  <a:lnTo>
                    <a:pt x="481" y="686"/>
                  </a:lnTo>
                  <a:lnTo>
                    <a:pt x="474" y="689"/>
                  </a:lnTo>
                  <a:lnTo>
                    <a:pt x="466" y="692"/>
                  </a:lnTo>
                  <a:lnTo>
                    <a:pt x="462" y="695"/>
                  </a:lnTo>
                  <a:lnTo>
                    <a:pt x="462" y="698"/>
                  </a:lnTo>
                  <a:lnTo>
                    <a:pt x="463" y="701"/>
                  </a:lnTo>
                  <a:lnTo>
                    <a:pt x="466" y="704"/>
                  </a:lnTo>
                  <a:lnTo>
                    <a:pt x="467" y="709"/>
                  </a:lnTo>
                  <a:lnTo>
                    <a:pt x="464" y="714"/>
                  </a:lnTo>
                  <a:lnTo>
                    <a:pt x="456" y="719"/>
                  </a:lnTo>
                  <a:lnTo>
                    <a:pt x="444" y="724"/>
                  </a:lnTo>
                  <a:lnTo>
                    <a:pt x="417" y="734"/>
                  </a:lnTo>
                  <a:lnTo>
                    <a:pt x="404" y="737"/>
                  </a:lnTo>
                  <a:lnTo>
                    <a:pt x="394" y="737"/>
                  </a:lnTo>
                  <a:lnTo>
                    <a:pt x="387" y="739"/>
                  </a:lnTo>
                  <a:lnTo>
                    <a:pt x="383" y="744"/>
                  </a:lnTo>
                  <a:lnTo>
                    <a:pt x="381" y="750"/>
                  </a:lnTo>
                  <a:lnTo>
                    <a:pt x="380" y="756"/>
                  </a:lnTo>
                  <a:lnTo>
                    <a:pt x="379" y="761"/>
                  </a:lnTo>
                  <a:lnTo>
                    <a:pt x="376" y="765"/>
                  </a:lnTo>
                  <a:lnTo>
                    <a:pt x="369" y="769"/>
                  </a:lnTo>
                  <a:lnTo>
                    <a:pt x="360" y="770"/>
                  </a:lnTo>
                  <a:lnTo>
                    <a:pt x="350" y="769"/>
                  </a:lnTo>
                  <a:lnTo>
                    <a:pt x="341" y="767"/>
                  </a:lnTo>
                  <a:lnTo>
                    <a:pt x="335" y="766"/>
                  </a:lnTo>
                  <a:lnTo>
                    <a:pt x="330" y="769"/>
                  </a:lnTo>
                  <a:lnTo>
                    <a:pt x="326" y="773"/>
                  </a:lnTo>
                  <a:lnTo>
                    <a:pt x="322" y="779"/>
                  </a:lnTo>
                  <a:lnTo>
                    <a:pt x="315" y="784"/>
                  </a:lnTo>
                  <a:lnTo>
                    <a:pt x="310" y="786"/>
                  </a:lnTo>
                  <a:lnTo>
                    <a:pt x="304" y="785"/>
                  </a:lnTo>
                  <a:lnTo>
                    <a:pt x="300" y="783"/>
                  </a:lnTo>
                  <a:lnTo>
                    <a:pt x="296" y="782"/>
                  </a:lnTo>
                  <a:lnTo>
                    <a:pt x="292" y="785"/>
                  </a:lnTo>
                  <a:lnTo>
                    <a:pt x="285" y="791"/>
                  </a:lnTo>
                  <a:lnTo>
                    <a:pt x="275" y="795"/>
                  </a:lnTo>
                  <a:lnTo>
                    <a:pt x="266" y="798"/>
                  </a:lnTo>
                  <a:lnTo>
                    <a:pt x="259" y="800"/>
                  </a:lnTo>
                  <a:lnTo>
                    <a:pt x="257" y="804"/>
                  </a:lnTo>
                  <a:lnTo>
                    <a:pt x="257" y="824"/>
                  </a:lnTo>
                  <a:lnTo>
                    <a:pt x="256" y="830"/>
                  </a:lnTo>
                  <a:lnTo>
                    <a:pt x="253" y="832"/>
                  </a:lnTo>
                  <a:lnTo>
                    <a:pt x="249" y="831"/>
                  </a:lnTo>
                  <a:lnTo>
                    <a:pt x="243" y="829"/>
                  </a:lnTo>
                  <a:lnTo>
                    <a:pt x="237" y="826"/>
                  </a:lnTo>
                  <a:lnTo>
                    <a:pt x="232" y="823"/>
                  </a:lnTo>
                  <a:lnTo>
                    <a:pt x="228" y="822"/>
                  </a:lnTo>
                  <a:lnTo>
                    <a:pt x="224" y="824"/>
                  </a:lnTo>
                  <a:lnTo>
                    <a:pt x="221" y="827"/>
                  </a:lnTo>
                  <a:lnTo>
                    <a:pt x="219" y="833"/>
                  </a:lnTo>
                  <a:lnTo>
                    <a:pt x="217" y="838"/>
                  </a:lnTo>
                  <a:lnTo>
                    <a:pt x="217" y="844"/>
                  </a:lnTo>
                  <a:lnTo>
                    <a:pt x="219" y="851"/>
                  </a:lnTo>
                  <a:lnTo>
                    <a:pt x="222" y="860"/>
                  </a:lnTo>
                  <a:lnTo>
                    <a:pt x="224" y="870"/>
                  </a:lnTo>
                  <a:lnTo>
                    <a:pt x="224" y="877"/>
                  </a:lnTo>
                  <a:lnTo>
                    <a:pt x="223" y="877"/>
                  </a:lnTo>
                  <a:lnTo>
                    <a:pt x="222" y="878"/>
                  </a:lnTo>
                  <a:lnTo>
                    <a:pt x="217" y="878"/>
                  </a:lnTo>
                  <a:lnTo>
                    <a:pt x="211" y="880"/>
                  </a:lnTo>
                  <a:lnTo>
                    <a:pt x="205" y="880"/>
                  </a:lnTo>
                  <a:lnTo>
                    <a:pt x="200" y="878"/>
                  </a:lnTo>
                  <a:lnTo>
                    <a:pt x="195" y="875"/>
                  </a:lnTo>
                  <a:lnTo>
                    <a:pt x="191" y="873"/>
                  </a:lnTo>
                  <a:lnTo>
                    <a:pt x="188" y="874"/>
                  </a:lnTo>
                  <a:lnTo>
                    <a:pt x="184" y="875"/>
                  </a:lnTo>
                  <a:lnTo>
                    <a:pt x="183" y="875"/>
                  </a:lnTo>
                  <a:lnTo>
                    <a:pt x="181" y="874"/>
                  </a:lnTo>
                  <a:lnTo>
                    <a:pt x="180" y="872"/>
                  </a:lnTo>
                  <a:lnTo>
                    <a:pt x="178" y="870"/>
                  </a:lnTo>
                  <a:lnTo>
                    <a:pt x="176" y="867"/>
                  </a:lnTo>
                  <a:lnTo>
                    <a:pt x="173" y="865"/>
                  </a:lnTo>
                  <a:lnTo>
                    <a:pt x="168" y="864"/>
                  </a:lnTo>
                  <a:lnTo>
                    <a:pt x="162" y="866"/>
                  </a:lnTo>
                  <a:lnTo>
                    <a:pt x="156" y="870"/>
                  </a:lnTo>
                  <a:lnTo>
                    <a:pt x="151" y="875"/>
                  </a:lnTo>
                  <a:lnTo>
                    <a:pt x="145" y="878"/>
                  </a:lnTo>
                  <a:lnTo>
                    <a:pt x="140" y="878"/>
                  </a:lnTo>
                  <a:lnTo>
                    <a:pt x="136" y="875"/>
                  </a:lnTo>
                  <a:lnTo>
                    <a:pt x="128" y="863"/>
                  </a:lnTo>
                  <a:lnTo>
                    <a:pt x="124" y="860"/>
                  </a:lnTo>
                  <a:lnTo>
                    <a:pt x="122" y="860"/>
                  </a:lnTo>
                  <a:lnTo>
                    <a:pt x="120" y="862"/>
                  </a:lnTo>
                  <a:lnTo>
                    <a:pt x="120" y="864"/>
                  </a:lnTo>
                  <a:lnTo>
                    <a:pt x="118" y="870"/>
                  </a:lnTo>
                  <a:lnTo>
                    <a:pt x="114" y="867"/>
                  </a:lnTo>
                  <a:lnTo>
                    <a:pt x="109" y="862"/>
                  </a:lnTo>
                  <a:lnTo>
                    <a:pt x="107" y="857"/>
                  </a:lnTo>
                  <a:lnTo>
                    <a:pt x="108" y="853"/>
                  </a:lnTo>
                  <a:lnTo>
                    <a:pt x="116" y="843"/>
                  </a:lnTo>
                  <a:lnTo>
                    <a:pt x="118" y="838"/>
                  </a:lnTo>
                  <a:lnTo>
                    <a:pt x="116" y="832"/>
                  </a:lnTo>
                  <a:lnTo>
                    <a:pt x="113" y="826"/>
                  </a:lnTo>
                  <a:lnTo>
                    <a:pt x="111" y="820"/>
                  </a:lnTo>
                  <a:lnTo>
                    <a:pt x="110" y="816"/>
                  </a:lnTo>
                  <a:lnTo>
                    <a:pt x="108" y="813"/>
                  </a:lnTo>
                  <a:lnTo>
                    <a:pt x="102" y="810"/>
                  </a:lnTo>
                  <a:lnTo>
                    <a:pt x="86" y="806"/>
                  </a:lnTo>
                  <a:lnTo>
                    <a:pt x="79" y="806"/>
                  </a:lnTo>
                  <a:lnTo>
                    <a:pt x="74" y="804"/>
                  </a:lnTo>
                  <a:lnTo>
                    <a:pt x="72" y="800"/>
                  </a:lnTo>
                  <a:lnTo>
                    <a:pt x="70" y="794"/>
                  </a:lnTo>
                  <a:lnTo>
                    <a:pt x="69" y="788"/>
                  </a:lnTo>
                  <a:lnTo>
                    <a:pt x="68" y="783"/>
                  </a:lnTo>
                  <a:lnTo>
                    <a:pt x="70" y="778"/>
                  </a:lnTo>
                  <a:lnTo>
                    <a:pt x="75" y="773"/>
                  </a:lnTo>
                  <a:lnTo>
                    <a:pt x="81" y="768"/>
                  </a:lnTo>
                  <a:lnTo>
                    <a:pt x="85" y="763"/>
                  </a:lnTo>
                  <a:lnTo>
                    <a:pt x="84" y="759"/>
                  </a:lnTo>
                  <a:lnTo>
                    <a:pt x="80" y="756"/>
                  </a:lnTo>
                  <a:lnTo>
                    <a:pt x="75" y="753"/>
                  </a:lnTo>
                  <a:lnTo>
                    <a:pt x="71" y="750"/>
                  </a:lnTo>
                  <a:lnTo>
                    <a:pt x="71" y="742"/>
                  </a:lnTo>
                  <a:lnTo>
                    <a:pt x="67" y="737"/>
                  </a:lnTo>
                  <a:lnTo>
                    <a:pt x="63" y="732"/>
                  </a:lnTo>
                  <a:lnTo>
                    <a:pt x="57" y="726"/>
                  </a:lnTo>
                  <a:lnTo>
                    <a:pt x="52" y="720"/>
                  </a:lnTo>
                  <a:lnTo>
                    <a:pt x="46" y="712"/>
                  </a:lnTo>
                  <a:lnTo>
                    <a:pt x="43" y="712"/>
                  </a:lnTo>
                  <a:lnTo>
                    <a:pt x="38" y="714"/>
                  </a:lnTo>
                  <a:lnTo>
                    <a:pt x="33" y="717"/>
                  </a:lnTo>
                  <a:lnTo>
                    <a:pt x="29" y="717"/>
                  </a:lnTo>
                  <a:lnTo>
                    <a:pt x="27" y="713"/>
                  </a:lnTo>
                  <a:lnTo>
                    <a:pt x="25" y="708"/>
                  </a:lnTo>
                  <a:lnTo>
                    <a:pt x="25" y="703"/>
                  </a:lnTo>
                  <a:lnTo>
                    <a:pt x="27" y="695"/>
                  </a:lnTo>
                  <a:lnTo>
                    <a:pt x="26" y="691"/>
                  </a:lnTo>
                  <a:lnTo>
                    <a:pt x="23" y="685"/>
                  </a:lnTo>
                  <a:lnTo>
                    <a:pt x="21" y="680"/>
                  </a:lnTo>
                  <a:lnTo>
                    <a:pt x="20" y="678"/>
                  </a:lnTo>
                  <a:lnTo>
                    <a:pt x="21" y="676"/>
                  </a:lnTo>
                  <a:lnTo>
                    <a:pt x="24" y="673"/>
                  </a:lnTo>
                  <a:lnTo>
                    <a:pt x="27" y="672"/>
                  </a:lnTo>
                  <a:lnTo>
                    <a:pt x="29" y="671"/>
                  </a:lnTo>
                  <a:lnTo>
                    <a:pt x="32" y="668"/>
                  </a:lnTo>
                  <a:lnTo>
                    <a:pt x="35" y="662"/>
                  </a:lnTo>
                  <a:lnTo>
                    <a:pt x="37" y="660"/>
                  </a:lnTo>
                  <a:lnTo>
                    <a:pt x="40" y="658"/>
                  </a:lnTo>
                  <a:lnTo>
                    <a:pt x="43" y="657"/>
                  </a:lnTo>
                  <a:lnTo>
                    <a:pt x="46" y="655"/>
                  </a:lnTo>
                  <a:lnTo>
                    <a:pt x="48" y="654"/>
                  </a:lnTo>
                  <a:lnTo>
                    <a:pt x="49" y="649"/>
                  </a:lnTo>
                  <a:lnTo>
                    <a:pt x="48" y="642"/>
                  </a:lnTo>
                  <a:lnTo>
                    <a:pt x="45" y="635"/>
                  </a:lnTo>
                  <a:lnTo>
                    <a:pt x="40" y="630"/>
                  </a:lnTo>
                  <a:lnTo>
                    <a:pt x="36" y="625"/>
                  </a:lnTo>
                  <a:lnTo>
                    <a:pt x="34" y="619"/>
                  </a:lnTo>
                  <a:lnTo>
                    <a:pt x="33" y="612"/>
                  </a:lnTo>
                  <a:lnTo>
                    <a:pt x="34" y="607"/>
                  </a:lnTo>
                  <a:lnTo>
                    <a:pt x="33" y="605"/>
                  </a:lnTo>
                  <a:lnTo>
                    <a:pt x="28" y="604"/>
                  </a:lnTo>
                  <a:lnTo>
                    <a:pt x="6" y="604"/>
                  </a:lnTo>
                  <a:lnTo>
                    <a:pt x="2" y="602"/>
                  </a:lnTo>
                  <a:lnTo>
                    <a:pt x="0" y="598"/>
                  </a:lnTo>
                  <a:lnTo>
                    <a:pt x="1" y="590"/>
                  </a:lnTo>
                  <a:lnTo>
                    <a:pt x="2" y="583"/>
                  </a:lnTo>
                  <a:lnTo>
                    <a:pt x="5" y="576"/>
                  </a:lnTo>
                  <a:lnTo>
                    <a:pt x="8" y="572"/>
                  </a:lnTo>
                  <a:lnTo>
                    <a:pt x="10" y="571"/>
                  </a:lnTo>
                  <a:lnTo>
                    <a:pt x="11" y="571"/>
                  </a:lnTo>
                  <a:lnTo>
                    <a:pt x="13" y="572"/>
                  </a:lnTo>
                  <a:lnTo>
                    <a:pt x="13" y="574"/>
                  </a:lnTo>
                  <a:lnTo>
                    <a:pt x="17" y="578"/>
                  </a:lnTo>
                  <a:lnTo>
                    <a:pt x="19" y="579"/>
                  </a:lnTo>
                  <a:lnTo>
                    <a:pt x="21" y="579"/>
                  </a:lnTo>
                  <a:lnTo>
                    <a:pt x="22" y="578"/>
                  </a:lnTo>
                  <a:lnTo>
                    <a:pt x="24" y="577"/>
                  </a:lnTo>
                  <a:lnTo>
                    <a:pt x="25" y="574"/>
                  </a:lnTo>
                  <a:lnTo>
                    <a:pt x="27" y="572"/>
                  </a:lnTo>
                  <a:lnTo>
                    <a:pt x="28" y="569"/>
                  </a:lnTo>
                  <a:lnTo>
                    <a:pt x="34" y="563"/>
                  </a:lnTo>
                  <a:lnTo>
                    <a:pt x="42" y="558"/>
                  </a:lnTo>
                  <a:lnTo>
                    <a:pt x="60" y="546"/>
                  </a:lnTo>
                  <a:lnTo>
                    <a:pt x="67" y="541"/>
                  </a:lnTo>
                  <a:lnTo>
                    <a:pt x="72" y="538"/>
                  </a:lnTo>
                  <a:lnTo>
                    <a:pt x="74" y="537"/>
                  </a:lnTo>
                  <a:lnTo>
                    <a:pt x="75" y="535"/>
                  </a:lnTo>
                  <a:lnTo>
                    <a:pt x="74" y="534"/>
                  </a:lnTo>
                  <a:lnTo>
                    <a:pt x="73" y="532"/>
                  </a:lnTo>
                  <a:lnTo>
                    <a:pt x="71" y="531"/>
                  </a:lnTo>
                  <a:lnTo>
                    <a:pt x="67" y="531"/>
                  </a:lnTo>
                  <a:lnTo>
                    <a:pt x="64" y="532"/>
                  </a:lnTo>
                  <a:lnTo>
                    <a:pt x="60" y="533"/>
                  </a:lnTo>
                  <a:lnTo>
                    <a:pt x="56" y="529"/>
                  </a:lnTo>
                  <a:lnTo>
                    <a:pt x="54" y="522"/>
                  </a:lnTo>
                  <a:lnTo>
                    <a:pt x="53" y="513"/>
                  </a:lnTo>
                  <a:lnTo>
                    <a:pt x="55" y="505"/>
                  </a:lnTo>
                  <a:lnTo>
                    <a:pt x="59" y="496"/>
                  </a:lnTo>
                  <a:lnTo>
                    <a:pt x="70" y="476"/>
                  </a:lnTo>
                  <a:lnTo>
                    <a:pt x="76" y="469"/>
                  </a:lnTo>
                  <a:lnTo>
                    <a:pt x="81" y="465"/>
                  </a:lnTo>
                  <a:lnTo>
                    <a:pt x="87" y="459"/>
                  </a:lnTo>
                  <a:lnTo>
                    <a:pt x="91" y="450"/>
                  </a:lnTo>
                  <a:lnTo>
                    <a:pt x="92" y="439"/>
                  </a:lnTo>
                  <a:lnTo>
                    <a:pt x="92" y="419"/>
                  </a:lnTo>
                  <a:lnTo>
                    <a:pt x="96" y="410"/>
                  </a:lnTo>
                  <a:lnTo>
                    <a:pt x="98" y="403"/>
                  </a:lnTo>
                  <a:lnTo>
                    <a:pt x="96" y="394"/>
                  </a:lnTo>
                  <a:lnTo>
                    <a:pt x="91" y="383"/>
                  </a:lnTo>
                  <a:lnTo>
                    <a:pt x="84" y="371"/>
                  </a:lnTo>
                  <a:lnTo>
                    <a:pt x="76" y="359"/>
                  </a:lnTo>
                  <a:lnTo>
                    <a:pt x="71" y="352"/>
                  </a:lnTo>
                  <a:lnTo>
                    <a:pt x="68" y="347"/>
                  </a:lnTo>
                  <a:lnTo>
                    <a:pt x="68" y="343"/>
                  </a:lnTo>
                  <a:lnTo>
                    <a:pt x="70" y="337"/>
                  </a:lnTo>
                  <a:lnTo>
                    <a:pt x="72" y="334"/>
                  </a:lnTo>
                  <a:lnTo>
                    <a:pt x="73" y="330"/>
                  </a:lnTo>
                  <a:lnTo>
                    <a:pt x="73" y="326"/>
                  </a:lnTo>
                  <a:lnTo>
                    <a:pt x="71" y="324"/>
                  </a:lnTo>
                  <a:lnTo>
                    <a:pt x="67" y="324"/>
                  </a:lnTo>
                  <a:lnTo>
                    <a:pt x="63" y="323"/>
                  </a:lnTo>
                  <a:lnTo>
                    <a:pt x="58" y="321"/>
                  </a:lnTo>
                  <a:lnTo>
                    <a:pt x="55" y="317"/>
                  </a:lnTo>
                  <a:lnTo>
                    <a:pt x="53" y="312"/>
                  </a:lnTo>
                  <a:lnTo>
                    <a:pt x="51" y="305"/>
                  </a:lnTo>
                  <a:lnTo>
                    <a:pt x="48" y="300"/>
                  </a:lnTo>
                  <a:lnTo>
                    <a:pt x="43" y="296"/>
                  </a:lnTo>
                  <a:lnTo>
                    <a:pt x="37" y="292"/>
                  </a:lnTo>
                  <a:lnTo>
                    <a:pt x="36" y="287"/>
                  </a:lnTo>
                  <a:lnTo>
                    <a:pt x="37" y="283"/>
                  </a:lnTo>
                  <a:lnTo>
                    <a:pt x="42" y="280"/>
                  </a:lnTo>
                  <a:lnTo>
                    <a:pt x="44" y="277"/>
                  </a:lnTo>
                  <a:lnTo>
                    <a:pt x="45" y="272"/>
                  </a:lnTo>
                  <a:lnTo>
                    <a:pt x="43" y="262"/>
                  </a:lnTo>
                  <a:lnTo>
                    <a:pt x="43" y="258"/>
                  </a:lnTo>
                  <a:lnTo>
                    <a:pt x="45" y="256"/>
                  </a:lnTo>
                  <a:lnTo>
                    <a:pt x="51" y="253"/>
                  </a:lnTo>
                  <a:lnTo>
                    <a:pt x="58" y="247"/>
                  </a:lnTo>
                  <a:lnTo>
                    <a:pt x="65" y="242"/>
                  </a:lnTo>
                  <a:lnTo>
                    <a:pt x="71" y="242"/>
                  </a:lnTo>
                  <a:lnTo>
                    <a:pt x="77" y="244"/>
                  </a:lnTo>
                  <a:lnTo>
                    <a:pt x="83" y="247"/>
                  </a:lnTo>
                  <a:lnTo>
                    <a:pt x="88" y="249"/>
                  </a:lnTo>
                  <a:lnTo>
                    <a:pt x="91" y="248"/>
                  </a:lnTo>
                  <a:lnTo>
                    <a:pt x="91" y="244"/>
                  </a:lnTo>
                  <a:lnTo>
                    <a:pt x="87" y="238"/>
                  </a:lnTo>
                  <a:lnTo>
                    <a:pt x="83" y="233"/>
                  </a:lnTo>
                  <a:lnTo>
                    <a:pt x="82" y="226"/>
                  </a:lnTo>
                  <a:lnTo>
                    <a:pt x="85" y="224"/>
                  </a:lnTo>
                  <a:lnTo>
                    <a:pt x="89" y="225"/>
                  </a:lnTo>
                  <a:lnTo>
                    <a:pt x="95" y="228"/>
                  </a:lnTo>
                  <a:lnTo>
                    <a:pt x="109" y="238"/>
                  </a:lnTo>
                  <a:lnTo>
                    <a:pt x="115" y="242"/>
                  </a:lnTo>
                  <a:lnTo>
                    <a:pt x="120" y="244"/>
                  </a:lnTo>
                  <a:lnTo>
                    <a:pt x="127" y="248"/>
                  </a:lnTo>
                  <a:lnTo>
                    <a:pt x="141" y="260"/>
                  </a:lnTo>
                  <a:lnTo>
                    <a:pt x="147" y="264"/>
                  </a:lnTo>
                  <a:lnTo>
                    <a:pt x="150" y="263"/>
                  </a:lnTo>
                  <a:lnTo>
                    <a:pt x="152" y="259"/>
                  </a:lnTo>
                  <a:lnTo>
                    <a:pt x="152" y="254"/>
                  </a:lnTo>
                  <a:lnTo>
                    <a:pt x="153" y="249"/>
                  </a:lnTo>
                  <a:lnTo>
                    <a:pt x="155" y="245"/>
                  </a:lnTo>
                  <a:lnTo>
                    <a:pt x="158" y="244"/>
                  </a:lnTo>
                  <a:lnTo>
                    <a:pt x="162" y="246"/>
                  </a:lnTo>
                  <a:lnTo>
                    <a:pt x="167" y="249"/>
                  </a:lnTo>
                  <a:lnTo>
                    <a:pt x="173" y="251"/>
                  </a:lnTo>
                  <a:lnTo>
                    <a:pt x="179" y="251"/>
                  </a:lnTo>
                  <a:lnTo>
                    <a:pt x="187" y="248"/>
                  </a:lnTo>
                  <a:lnTo>
                    <a:pt x="195" y="244"/>
                  </a:lnTo>
                  <a:lnTo>
                    <a:pt x="205" y="240"/>
                  </a:lnTo>
                  <a:lnTo>
                    <a:pt x="219" y="233"/>
                  </a:lnTo>
                  <a:lnTo>
                    <a:pt x="225" y="232"/>
                  </a:lnTo>
                  <a:lnTo>
                    <a:pt x="229" y="232"/>
                  </a:lnTo>
                  <a:lnTo>
                    <a:pt x="233" y="233"/>
                  </a:lnTo>
                  <a:lnTo>
                    <a:pt x="238" y="235"/>
                  </a:lnTo>
                  <a:lnTo>
                    <a:pt x="243" y="234"/>
                  </a:lnTo>
                  <a:lnTo>
                    <a:pt x="251" y="224"/>
                  </a:lnTo>
                  <a:lnTo>
                    <a:pt x="254" y="220"/>
                  </a:lnTo>
                  <a:lnTo>
                    <a:pt x="257" y="215"/>
                  </a:lnTo>
                  <a:lnTo>
                    <a:pt x="260" y="208"/>
                  </a:lnTo>
                  <a:lnTo>
                    <a:pt x="261" y="202"/>
                  </a:lnTo>
                  <a:lnTo>
                    <a:pt x="260" y="198"/>
                  </a:lnTo>
                  <a:lnTo>
                    <a:pt x="256" y="194"/>
                  </a:lnTo>
                  <a:lnTo>
                    <a:pt x="242" y="185"/>
                  </a:lnTo>
                  <a:lnTo>
                    <a:pt x="235" y="182"/>
                  </a:lnTo>
                  <a:lnTo>
                    <a:pt x="232" y="181"/>
                  </a:lnTo>
                  <a:lnTo>
                    <a:pt x="231" y="179"/>
                  </a:lnTo>
                  <a:lnTo>
                    <a:pt x="231" y="175"/>
                  </a:lnTo>
                  <a:lnTo>
                    <a:pt x="232" y="173"/>
                  </a:lnTo>
                  <a:lnTo>
                    <a:pt x="236" y="169"/>
                  </a:lnTo>
                  <a:lnTo>
                    <a:pt x="242" y="166"/>
                  </a:lnTo>
                  <a:lnTo>
                    <a:pt x="244" y="164"/>
                  </a:lnTo>
                  <a:lnTo>
                    <a:pt x="246" y="161"/>
                  </a:lnTo>
                  <a:lnTo>
                    <a:pt x="247" y="159"/>
                  </a:lnTo>
                  <a:lnTo>
                    <a:pt x="248" y="156"/>
                  </a:lnTo>
                  <a:lnTo>
                    <a:pt x="249" y="154"/>
                  </a:lnTo>
                  <a:lnTo>
                    <a:pt x="250" y="153"/>
                  </a:lnTo>
                  <a:lnTo>
                    <a:pt x="252" y="152"/>
                  </a:lnTo>
                  <a:lnTo>
                    <a:pt x="258" y="152"/>
                  </a:lnTo>
                  <a:lnTo>
                    <a:pt x="265" y="150"/>
                  </a:lnTo>
                  <a:lnTo>
                    <a:pt x="272" y="147"/>
                  </a:lnTo>
                  <a:lnTo>
                    <a:pt x="276" y="143"/>
                  </a:lnTo>
                  <a:lnTo>
                    <a:pt x="280" y="137"/>
                  </a:lnTo>
                  <a:lnTo>
                    <a:pt x="286" y="131"/>
                  </a:lnTo>
                  <a:lnTo>
                    <a:pt x="294" y="127"/>
                  </a:lnTo>
                  <a:lnTo>
                    <a:pt x="299" y="124"/>
                  </a:lnTo>
                  <a:lnTo>
                    <a:pt x="308" y="109"/>
                  </a:lnTo>
                  <a:lnTo>
                    <a:pt x="312" y="105"/>
                  </a:lnTo>
                  <a:lnTo>
                    <a:pt x="317" y="105"/>
                  </a:lnTo>
                  <a:lnTo>
                    <a:pt x="319" y="104"/>
                  </a:lnTo>
                  <a:lnTo>
                    <a:pt x="321" y="102"/>
                  </a:lnTo>
                  <a:lnTo>
                    <a:pt x="321" y="101"/>
                  </a:lnTo>
                  <a:lnTo>
                    <a:pt x="328" y="100"/>
                  </a:lnTo>
                  <a:lnTo>
                    <a:pt x="333" y="97"/>
                  </a:lnTo>
                  <a:lnTo>
                    <a:pt x="340" y="93"/>
                  </a:lnTo>
                  <a:lnTo>
                    <a:pt x="348" y="91"/>
                  </a:lnTo>
                  <a:lnTo>
                    <a:pt x="357" y="91"/>
                  </a:lnTo>
                  <a:lnTo>
                    <a:pt x="375" y="93"/>
                  </a:lnTo>
                  <a:lnTo>
                    <a:pt x="382" y="93"/>
                  </a:lnTo>
                  <a:lnTo>
                    <a:pt x="388" y="91"/>
                  </a:lnTo>
                  <a:lnTo>
                    <a:pt x="395" y="85"/>
                  </a:lnTo>
                  <a:lnTo>
                    <a:pt x="405" y="78"/>
                  </a:lnTo>
                  <a:lnTo>
                    <a:pt x="417" y="69"/>
                  </a:lnTo>
                  <a:lnTo>
                    <a:pt x="429" y="62"/>
                  </a:lnTo>
                  <a:lnTo>
                    <a:pt x="440" y="55"/>
                  </a:lnTo>
                  <a:lnTo>
                    <a:pt x="448" y="52"/>
                  </a:lnTo>
                  <a:lnTo>
                    <a:pt x="457" y="47"/>
                  </a:lnTo>
                  <a:lnTo>
                    <a:pt x="462" y="41"/>
                  </a:lnTo>
                  <a:lnTo>
                    <a:pt x="465" y="36"/>
                  </a:lnTo>
                  <a:lnTo>
                    <a:pt x="463" y="30"/>
                  </a:lnTo>
                  <a:lnTo>
                    <a:pt x="460" y="25"/>
                  </a:lnTo>
                  <a:lnTo>
                    <a:pt x="459" y="19"/>
                  </a:lnTo>
                  <a:lnTo>
                    <a:pt x="460" y="14"/>
                  </a:lnTo>
                  <a:lnTo>
                    <a:pt x="463" y="11"/>
                  </a:lnTo>
                  <a:lnTo>
                    <a:pt x="470" y="10"/>
                  </a:lnTo>
                  <a:lnTo>
                    <a:pt x="480" y="12"/>
                  </a:lnTo>
                  <a:lnTo>
                    <a:pt x="486" y="16"/>
                  </a:lnTo>
                  <a:lnTo>
                    <a:pt x="489" y="23"/>
                  </a:lnTo>
                  <a:lnTo>
                    <a:pt x="490" y="32"/>
                  </a:lnTo>
                  <a:lnTo>
                    <a:pt x="493" y="41"/>
                  </a:lnTo>
                  <a:lnTo>
                    <a:pt x="501" y="48"/>
                  </a:lnTo>
                  <a:lnTo>
                    <a:pt x="511" y="52"/>
                  </a:lnTo>
                  <a:lnTo>
                    <a:pt x="521" y="53"/>
                  </a:lnTo>
                  <a:lnTo>
                    <a:pt x="529" y="54"/>
                  </a:lnTo>
                  <a:lnTo>
                    <a:pt x="538" y="59"/>
                  </a:lnTo>
                  <a:lnTo>
                    <a:pt x="545" y="65"/>
                  </a:lnTo>
                  <a:lnTo>
                    <a:pt x="550" y="71"/>
                  </a:lnTo>
                  <a:lnTo>
                    <a:pt x="552" y="75"/>
                  </a:lnTo>
                  <a:lnTo>
                    <a:pt x="550" y="81"/>
                  </a:lnTo>
                  <a:lnTo>
                    <a:pt x="548" y="86"/>
                  </a:lnTo>
                  <a:lnTo>
                    <a:pt x="548" y="98"/>
                  </a:lnTo>
                  <a:lnTo>
                    <a:pt x="546" y="105"/>
                  </a:lnTo>
                  <a:lnTo>
                    <a:pt x="543" y="111"/>
                  </a:lnTo>
                  <a:lnTo>
                    <a:pt x="541" y="116"/>
                  </a:lnTo>
                  <a:lnTo>
                    <a:pt x="540" y="119"/>
                  </a:lnTo>
                  <a:lnTo>
                    <a:pt x="538" y="122"/>
                  </a:lnTo>
                  <a:lnTo>
                    <a:pt x="537" y="125"/>
                  </a:lnTo>
                  <a:lnTo>
                    <a:pt x="537" y="128"/>
                  </a:lnTo>
                  <a:lnTo>
                    <a:pt x="541" y="130"/>
                  </a:lnTo>
                  <a:lnTo>
                    <a:pt x="548" y="132"/>
                  </a:lnTo>
                  <a:lnTo>
                    <a:pt x="559" y="135"/>
                  </a:lnTo>
                  <a:lnTo>
                    <a:pt x="565" y="137"/>
                  </a:lnTo>
                  <a:lnTo>
                    <a:pt x="565" y="140"/>
                  </a:lnTo>
                  <a:lnTo>
                    <a:pt x="564" y="145"/>
                  </a:lnTo>
                  <a:lnTo>
                    <a:pt x="563" y="147"/>
                  </a:lnTo>
                  <a:lnTo>
                    <a:pt x="563" y="151"/>
                  </a:lnTo>
                  <a:lnTo>
                    <a:pt x="565" y="155"/>
                  </a:lnTo>
                  <a:lnTo>
                    <a:pt x="565" y="159"/>
                  </a:lnTo>
                  <a:lnTo>
                    <a:pt x="563" y="160"/>
                  </a:lnTo>
                  <a:lnTo>
                    <a:pt x="551" y="160"/>
                  </a:lnTo>
                  <a:lnTo>
                    <a:pt x="544" y="161"/>
                  </a:lnTo>
                  <a:lnTo>
                    <a:pt x="539" y="163"/>
                  </a:lnTo>
                  <a:lnTo>
                    <a:pt x="536" y="167"/>
                  </a:lnTo>
                  <a:lnTo>
                    <a:pt x="536" y="173"/>
                  </a:lnTo>
                  <a:lnTo>
                    <a:pt x="539" y="182"/>
                  </a:lnTo>
                  <a:lnTo>
                    <a:pt x="543" y="190"/>
                  </a:lnTo>
                  <a:lnTo>
                    <a:pt x="548" y="195"/>
                  </a:lnTo>
                  <a:lnTo>
                    <a:pt x="554" y="195"/>
                  </a:lnTo>
                  <a:lnTo>
                    <a:pt x="560" y="190"/>
                  </a:lnTo>
                  <a:lnTo>
                    <a:pt x="565" y="185"/>
                  </a:lnTo>
                  <a:lnTo>
                    <a:pt x="570" y="180"/>
                  </a:lnTo>
                  <a:lnTo>
                    <a:pt x="576" y="178"/>
                  </a:lnTo>
                  <a:lnTo>
                    <a:pt x="585" y="178"/>
                  </a:lnTo>
                  <a:lnTo>
                    <a:pt x="595" y="177"/>
                  </a:lnTo>
                  <a:lnTo>
                    <a:pt x="606" y="175"/>
                  </a:lnTo>
                  <a:lnTo>
                    <a:pt x="614" y="171"/>
                  </a:lnTo>
                  <a:lnTo>
                    <a:pt x="617" y="168"/>
                  </a:lnTo>
                  <a:lnTo>
                    <a:pt x="621" y="162"/>
                  </a:lnTo>
                  <a:lnTo>
                    <a:pt x="623" y="160"/>
                  </a:lnTo>
                  <a:lnTo>
                    <a:pt x="629" y="159"/>
                  </a:lnTo>
                  <a:lnTo>
                    <a:pt x="637" y="159"/>
                  </a:lnTo>
                  <a:lnTo>
                    <a:pt x="647" y="161"/>
                  </a:lnTo>
                  <a:lnTo>
                    <a:pt x="653" y="163"/>
                  </a:lnTo>
                  <a:lnTo>
                    <a:pt x="657" y="165"/>
                  </a:lnTo>
                  <a:lnTo>
                    <a:pt x="660" y="165"/>
                  </a:lnTo>
                  <a:lnTo>
                    <a:pt x="665" y="161"/>
                  </a:lnTo>
                  <a:lnTo>
                    <a:pt x="673" y="154"/>
                  </a:lnTo>
                  <a:lnTo>
                    <a:pt x="680" y="148"/>
                  </a:lnTo>
                  <a:lnTo>
                    <a:pt x="685" y="143"/>
                  </a:lnTo>
                  <a:lnTo>
                    <a:pt x="686" y="138"/>
                  </a:lnTo>
                  <a:lnTo>
                    <a:pt x="684" y="133"/>
                  </a:lnTo>
                  <a:lnTo>
                    <a:pt x="681" y="127"/>
                  </a:lnTo>
                  <a:lnTo>
                    <a:pt x="678" y="123"/>
                  </a:lnTo>
                  <a:lnTo>
                    <a:pt x="677" y="120"/>
                  </a:lnTo>
                  <a:lnTo>
                    <a:pt x="680" y="108"/>
                  </a:lnTo>
                  <a:lnTo>
                    <a:pt x="682" y="86"/>
                  </a:lnTo>
                  <a:lnTo>
                    <a:pt x="681" y="75"/>
                  </a:lnTo>
                  <a:lnTo>
                    <a:pt x="677" y="66"/>
                  </a:lnTo>
                  <a:lnTo>
                    <a:pt x="670" y="58"/>
                  </a:lnTo>
                  <a:lnTo>
                    <a:pt x="661" y="52"/>
                  </a:lnTo>
                  <a:lnTo>
                    <a:pt x="653" y="47"/>
                  </a:lnTo>
                  <a:lnTo>
                    <a:pt x="647" y="43"/>
                  </a:lnTo>
                  <a:lnTo>
                    <a:pt x="645" y="38"/>
                  </a:lnTo>
                  <a:lnTo>
                    <a:pt x="645" y="29"/>
                  </a:lnTo>
                  <a:lnTo>
                    <a:pt x="646" y="27"/>
                  </a:lnTo>
                  <a:lnTo>
                    <a:pt x="646" y="26"/>
                  </a:lnTo>
                  <a:lnTo>
                    <a:pt x="647" y="24"/>
                  </a:lnTo>
                  <a:lnTo>
                    <a:pt x="648" y="24"/>
                  </a:lnTo>
                  <a:lnTo>
                    <a:pt x="650" y="23"/>
                  </a:lnTo>
                  <a:lnTo>
                    <a:pt x="653" y="23"/>
                  </a:lnTo>
                  <a:lnTo>
                    <a:pt x="657" y="24"/>
                  </a:lnTo>
                  <a:lnTo>
                    <a:pt x="666" y="28"/>
                  </a:lnTo>
                  <a:lnTo>
                    <a:pt x="672" y="31"/>
                  </a:lnTo>
                  <a:lnTo>
                    <a:pt x="676" y="32"/>
                  </a:lnTo>
                  <a:lnTo>
                    <a:pt x="679" y="28"/>
                  </a:lnTo>
                  <a:lnTo>
                    <a:pt x="680" y="23"/>
                  </a:lnTo>
                  <a:lnTo>
                    <a:pt x="680" y="19"/>
                  </a:lnTo>
                  <a:lnTo>
                    <a:pt x="679" y="14"/>
                  </a:lnTo>
                  <a:lnTo>
                    <a:pt x="680" y="10"/>
                  </a:lnTo>
                  <a:lnTo>
                    <a:pt x="683" y="7"/>
                  </a:lnTo>
                  <a:lnTo>
                    <a:pt x="689" y="6"/>
                  </a:lnTo>
                  <a:lnTo>
                    <a:pt x="699" y="5"/>
                  </a:lnTo>
                  <a:lnTo>
                    <a:pt x="706" y="4"/>
                  </a:lnTo>
                  <a:lnTo>
                    <a:pt x="712" y="3"/>
                  </a:lnTo>
                  <a:lnTo>
                    <a:pt x="719" y="1"/>
                  </a:lnTo>
                  <a:lnTo>
                    <a:pt x="727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7">
              <a:extLst>
                <a:ext uri="{FF2B5EF4-FFF2-40B4-BE49-F238E27FC236}">
                  <a16:creationId xmlns:a16="http://schemas.microsoft.com/office/drawing/2014/main" id="{EA9A769E-87DC-4AB9-8C61-F675774466B3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3901" y="2105026"/>
              <a:ext cx="238125" cy="219075"/>
            </a:xfrm>
            <a:custGeom>
              <a:avLst/>
              <a:gdLst/>
              <a:ahLst/>
              <a:cxnLst>
                <a:cxn ang="0">
                  <a:pos x="113" y="0"/>
                </a:cxn>
                <a:cxn ang="0">
                  <a:pos x="112" y="20"/>
                </a:cxn>
                <a:cxn ang="0">
                  <a:pos x="118" y="28"/>
                </a:cxn>
                <a:cxn ang="0">
                  <a:pos x="125" y="42"/>
                </a:cxn>
                <a:cxn ang="0">
                  <a:pos x="119" y="55"/>
                </a:cxn>
                <a:cxn ang="0">
                  <a:pos x="114" y="70"/>
                </a:cxn>
                <a:cxn ang="0">
                  <a:pos x="117" y="82"/>
                </a:cxn>
                <a:cxn ang="0">
                  <a:pos x="127" y="93"/>
                </a:cxn>
                <a:cxn ang="0">
                  <a:pos x="142" y="113"/>
                </a:cxn>
                <a:cxn ang="0">
                  <a:pos x="142" y="124"/>
                </a:cxn>
                <a:cxn ang="0">
                  <a:pos x="131" y="128"/>
                </a:cxn>
                <a:cxn ang="0">
                  <a:pos x="127" y="135"/>
                </a:cxn>
                <a:cxn ang="0">
                  <a:pos x="119" y="138"/>
                </a:cxn>
                <a:cxn ang="0">
                  <a:pos x="106" y="131"/>
                </a:cxn>
                <a:cxn ang="0">
                  <a:pos x="95" y="118"/>
                </a:cxn>
                <a:cxn ang="0">
                  <a:pos x="82" y="120"/>
                </a:cxn>
                <a:cxn ang="0">
                  <a:pos x="72" y="126"/>
                </a:cxn>
                <a:cxn ang="0">
                  <a:pos x="44" y="127"/>
                </a:cxn>
                <a:cxn ang="0">
                  <a:pos x="30" y="121"/>
                </a:cxn>
                <a:cxn ang="0">
                  <a:pos x="21" y="105"/>
                </a:cxn>
                <a:cxn ang="0">
                  <a:pos x="10" y="84"/>
                </a:cxn>
                <a:cxn ang="0">
                  <a:pos x="0" y="70"/>
                </a:cxn>
                <a:cxn ang="0">
                  <a:pos x="8" y="49"/>
                </a:cxn>
                <a:cxn ang="0">
                  <a:pos x="17" y="41"/>
                </a:cxn>
                <a:cxn ang="0">
                  <a:pos x="23" y="45"/>
                </a:cxn>
                <a:cxn ang="0">
                  <a:pos x="27" y="52"/>
                </a:cxn>
                <a:cxn ang="0">
                  <a:pos x="31" y="51"/>
                </a:cxn>
                <a:cxn ang="0">
                  <a:pos x="39" y="41"/>
                </a:cxn>
                <a:cxn ang="0">
                  <a:pos x="49" y="33"/>
                </a:cxn>
                <a:cxn ang="0">
                  <a:pos x="63" y="30"/>
                </a:cxn>
                <a:cxn ang="0">
                  <a:pos x="70" y="22"/>
                </a:cxn>
                <a:cxn ang="0">
                  <a:pos x="75" y="20"/>
                </a:cxn>
                <a:cxn ang="0">
                  <a:pos x="80" y="22"/>
                </a:cxn>
                <a:cxn ang="0">
                  <a:pos x="83" y="27"/>
                </a:cxn>
                <a:cxn ang="0">
                  <a:pos x="86" y="34"/>
                </a:cxn>
                <a:cxn ang="0">
                  <a:pos x="90" y="32"/>
                </a:cxn>
                <a:cxn ang="0">
                  <a:pos x="90" y="23"/>
                </a:cxn>
                <a:cxn ang="0">
                  <a:pos x="88" y="13"/>
                </a:cxn>
                <a:cxn ang="0">
                  <a:pos x="93" y="6"/>
                </a:cxn>
                <a:cxn ang="0">
                  <a:pos x="109" y="0"/>
                </a:cxn>
              </a:cxnLst>
              <a:rect l="0" t="0" r="r" b="b"/>
              <a:pathLst>
                <a:path w="150" h="138">
                  <a:moveTo>
                    <a:pt x="109" y="0"/>
                  </a:moveTo>
                  <a:lnTo>
                    <a:pt x="113" y="0"/>
                  </a:lnTo>
                  <a:lnTo>
                    <a:pt x="115" y="2"/>
                  </a:lnTo>
                  <a:lnTo>
                    <a:pt x="112" y="20"/>
                  </a:lnTo>
                  <a:lnTo>
                    <a:pt x="114" y="24"/>
                  </a:lnTo>
                  <a:lnTo>
                    <a:pt x="118" y="28"/>
                  </a:lnTo>
                  <a:lnTo>
                    <a:pt x="123" y="35"/>
                  </a:lnTo>
                  <a:lnTo>
                    <a:pt x="125" y="42"/>
                  </a:lnTo>
                  <a:lnTo>
                    <a:pt x="123" y="49"/>
                  </a:lnTo>
                  <a:lnTo>
                    <a:pt x="119" y="55"/>
                  </a:lnTo>
                  <a:lnTo>
                    <a:pt x="116" y="62"/>
                  </a:lnTo>
                  <a:lnTo>
                    <a:pt x="114" y="70"/>
                  </a:lnTo>
                  <a:lnTo>
                    <a:pt x="114" y="77"/>
                  </a:lnTo>
                  <a:lnTo>
                    <a:pt x="117" y="82"/>
                  </a:lnTo>
                  <a:lnTo>
                    <a:pt x="121" y="86"/>
                  </a:lnTo>
                  <a:lnTo>
                    <a:pt x="127" y="93"/>
                  </a:lnTo>
                  <a:lnTo>
                    <a:pt x="135" y="103"/>
                  </a:lnTo>
                  <a:lnTo>
                    <a:pt x="142" y="113"/>
                  </a:lnTo>
                  <a:lnTo>
                    <a:pt x="150" y="124"/>
                  </a:lnTo>
                  <a:lnTo>
                    <a:pt x="142" y="124"/>
                  </a:lnTo>
                  <a:lnTo>
                    <a:pt x="135" y="125"/>
                  </a:lnTo>
                  <a:lnTo>
                    <a:pt x="131" y="128"/>
                  </a:lnTo>
                  <a:lnTo>
                    <a:pt x="129" y="131"/>
                  </a:lnTo>
                  <a:lnTo>
                    <a:pt x="127" y="135"/>
                  </a:lnTo>
                  <a:lnTo>
                    <a:pt x="124" y="137"/>
                  </a:lnTo>
                  <a:lnTo>
                    <a:pt x="119" y="138"/>
                  </a:lnTo>
                  <a:lnTo>
                    <a:pt x="113" y="136"/>
                  </a:lnTo>
                  <a:lnTo>
                    <a:pt x="106" y="131"/>
                  </a:lnTo>
                  <a:lnTo>
                    <a:pt x="100" y="123"/>
                  </a:lnTo>
                  <a:lnTo>
                    <a:pt x="95" y="118"/>
                  </a:lnTo>
                  <a:lnTo>
                    <a:pt x="90" y="116"/>
                  </a:lnTo>
                  <a:lnTo>
                    <a:pt x="82" y="120"/>
                  </a:lnTo>
                  <a:lnTo>
                    <a:pt x="78" y="123"/>
                  </a:lnTo>
                  <a:lnTo>
                    <a:pt x="72" y="126"/>
                  </a:lnTo>
                  <a:lnTo>
                    <a:pt x="64" y="127"/>
                  </a:lnTo>
                  <a:lnTo>
                    <a:pt x="44" y="127"/>
                  </a:lnTo>
                  <a:lnTo>
                    <a:pt x="36" y="125"/>
                  </a:lnTo>
                  <a:lnTo>
                    <a:pt x="30" y="121"/>
                  </a:lnTo>
                  <a:lnTo>
                    <a:pt x="25" y="114"/>
                  </a:lnTo>
                  <a:lnTo>
                    <a:pt x="21" y="105"/>
                  </a:lnTo>
                  <a:lnTo>
                    <a:pt x="16" y="94"/>
                  </a:lnTo>
                  <a:lnTo>
                    <a:pt x="10" y="84"/>
                  </a:lnTo>
                  <a:lnTo>
                    <a:pt x="4" y="75"/>
                  </a:lnTo>
                  <a:lnTo>
                    <a:pt x="0" y="70"/>
                  </a:lnTo>
                  <a:lnTo>
                    <a:pt x="4" y="59"/>
                  </a:lnTo>
                  <a:lnTo>
                    <a:pt x="8" y="49"/>
                  </a:lnTo>
                  <a:lnTo>
                    <a:pt x="13" y="43"/>
                  </a:lnTo>
                  <a:lnTo>
                    <a:pt x="17" y="41"/>
                  </a:lnTo>
                  <a:lnTo>
                    <a:pt x="20" y="42"/>
                  </a:lnTo>
                  <a:lnTo>
                    <a:pt x="23" y="45"/>
                  </a:lnTo>
                  <a:lnTo>
                    <a:pt x="26" y="51"/>
                  </a:lnTo>
                  <a:lnTo>
                    <a:pt x="27" y="52"/>
                  </a:lnTo>
                  <a:lnTo>
                    <a:pt x="29" y="52"/>
                  </a:lnTo>
                  <a:lnTo>
                    <a:pt x="31" y="51"/>
                  </a:lnTo>
                  <a:lnTo>
                    <a:pt x="35" y="47"/>
                  </a:lnTo>
                  <a:lnTo>
                    <a:pt x="39" y="41"/>
                  </a:lnTo>
                  <a:lnTo>
                    <a:pt x="44" y="36"/>
                  </a:lnTo>
                  <a:lnTo>
                    <a:pt x="49" y="33"/>
                  </a:lnTo>
                  <a:lnTo>
                    <a:pt x="57" y="31"/>
                  </a:lnTo>
                  <a:lnTo>
                    <a:pt x="63" y="30"/>
                  </a:lnTo>
                  <a:lnTo>
                    <a:pt x="66" y="28"/>
                  </a:lnTo>
                  <a:lnTo>
                    <a:pt x="70" y="22"/>
                  </a:lnTo>
                  <a:lnTo>
                    <a:pt x="72" y="20"/>
                  </a:lnTo>
                  <a:lnTo>
                    <a:pt x="75" y="20"/>
                  </a:lnTo>
                  <a:lnTo>
                    <a:pt x="77" y="21"/>
                  </a:lnTo>
                  <a:lnTo>
                    <a:pt x="80" y="22"/>
                  </a:lnTo>
                  <a:lnTo>
                    <a:pt x="81" y="25"/>
                  </a:lnTo>
                  <a:lnTo>
                    <a:pt x="83" y="27"/>
                  </a:lnTo>
                  <a:lnTo>
                    <a:pt x="84" y="30"/>
                  </a:lnTo>
                  <a:lnTo>
                    <a:pt x="86" y="34"/>
                  </a:lnTo>
                  <a:lnTo>
                    <a:pt x="89" y="34"/>
                  </a:lnTo>
                  <a:lnTo>
                    <a:pt x="90" y="32"/>
                  </a:lnTo>
                  <a:lnTo>
                    <a:pt x="91" y="28"/>
                  </a:lnTo>
                  <a:lnTo>
                    <a:pt x="90" y="23"/>
                  </a:lnTo>
                  <a:lnTo>
                    <a:pt x="88" y="17"/>
                  </a:lnTo>
                  <a:lnTo>
                    <a:pt x="88" y="13"/>
                  </a:lnTo>
                  <a:lnTo>
                    <a:pt x="89" y="9"/>
                  </a:lnTo>
                  <a:lnTo>
                    <a:pt x="93" y="6"/>
                  </a:lnTo>
                  <a:lnTo>
                    <a:pt x="102" y="3"/>
                  </a:lnTo>
                  <a:lnTo>
                    <a:pt x="109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18">
              <a:extLst>
                <a:ext uri="{FF2B5EF4-FFF2-40B4-BE49-F238E27FC236}">
                  <a16:creationId xmlns:a16="http://schemas.microsoft.com/office/drawing/2014/main" id="{7EA151EC-393D-44B8-A62E-4C4AE5A80A8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2101" y="1319213"/>
              <a:ext cx="960438" cy="1022350"/>
            </a:xfrm>
            <a:custGeom>
              <a:avLst/>
              <a:gdLst/>
              <a:ahLst/>
              <a:cxnLst>
                <a:cxn ang="0">
                  <a:pos x="111" y="19"/>
                </a:cxn>
                <a:cxn ang="0">
                  <a:pos x="155" y="44"/>
                </a:cxn>
                <a:cxn ang="0">
                  <a:pos x="201" y="35"/>
                </a:cxn>
                <a:cxn ang="0">
                  <a:pos x="213" y="40"/>
                </a:cxn>
                <a:cxn ang="0">
                  <a:pos x="246" y="38"/>
                </a:cxn>
                <a:cxn ang="0">
                  <a:pos x="283" y="54"/>
                </a:cxn>
                <a:cxn ang="0">
                  <a:pos x="316" y="54"/>
                </a:cxn>
                <a:cxn ang="0">
                  <a:pos x="342" y="92"/>
                </a:cxn>
                <a:cxn ang="0">
                  <a:pos x="331" y="100"/>
                </a:cxn>
                <a:cxn ang="0">
                  <a:pos x="344" y="147"/>
                </a:cxn>
                <a:cxn ang="0">
                  <a:pos x="323" y="188"/>
                </a:cxn>
                <a:cxn ang="0">
                  <a:pos x="380" y="184"/>
                </a:cxn>
                <a:cxn ang="0">
                  <a:pos x="385" y="214"/>
                </a:cxn>
                <a:cxn ang="0">
                  <a:pos x="376" y="247"/>
                </a:cxn>
                <a:cxn ang="0">
                  <a:pos x="405" y="205"/>
                </a:cxn>
                <a:cxn ang="0">
                  <a:pos x="463" y="222"/>
                </a:cxn>
                <a:cxn ang="0">
                  <a:pos x="509" y="251"/>
                </a:cxn>
                <a:cxn ang="0">
                  <a:pos x="561" y="220"/>
                </a:cxn>
                <a:cxn ang="0">
                  <a:pos x="599" y="232"/>
                </a:cxn>
                <a:cxn ang="0">
                  <a:pos x="604" y="292"/>
                </a:cxn>
                <a:cxn ang="0">
                  <a:pos x="552" y="343"/>
                </a:cxn>
                <a:cxn ang="0">
                  <a:pos x="522" y="363"/>
                </a:cxn>
                <a:cxn ang="0">
                  <a:pos x="547" y="381"/>
                </a:cxn>
                <a:cxn ang="0">
                  <a:pos x="558" y="402"/>
                </a:cxn>
                <a:cxn ang="0">
                  <a:pos x="530" y="438"/>
                </a:cxn>
                <a:cxn ang="0">
                  <a:pos x="534" y="494"/>
                </a:cxn>
                <a:cxn ang="0">
                  <a:pos x="574" y="523"/>
                </a:cxn>
                <a:cxn ang="0">
                  <a:pos x="567" y="564"/>
                </a:cxn>
                <a:cxn ang="0">
                  <a:pos x="538" y="581"/>
                </a:cxn>
                <a:cxn ang="0">
                  <a:pos x="497" y="613"/>
                </a:cxn>
                <a:cxn ang="0">
                  <a:pos x="454" y="633"/>
                </a:cxn>
                <a:cxn ang="0">
                  <a:pos x="399" y="588"/>
                </a:cxn>
                <a:cxn ang="0">
                  <a:pos x="395" y="544"/>
                </a:cxn>
                <a:cxn ang="0">
                  <a:pos x="385" y="495"/>
                </a:cxn>
                <a:cxn ang="0">
                  <a:pos x="362" y="518"/>
                </a:cxn>
                <a:cxn ang="0">
                  <a:pos x="353" y="520"/>
                </a:cxn>
                <a:cxn ang="0">
                  <a:pos x="335" y="525"/>
                </a:cxn>
                <a:cxn ang="0">
                  <a:pos x="301" y="547"/>
                </a:cxn>
                <a:cxn ang="0">
                  <a:pos x="280" y="544"/>
                </a:cxn>
                <a:cxn ang="0">
                  <a:pos x="233" y="540"/>
                </a:cxn>
                <a:cxn ang="0">
                  <a:pos x="194" y="474"/>
                </a:cxn>
                <a:cxn ang="0">
                  <a:pos x="144" y="425"/>
                </a:cxn>
                <a:cxn ang="0">
                  <a:pos x="72" y="403"/>
                </a:cxn>
                <a:cxn ang="0">
                  <a:pos x="78" y="364"/>
                </a:cxn>
                <a:cxn ang="0">
                  <a:pos x="100" y="342"/>
                </a:cxn>
                <a:cxn ang="0">
                  <a:pos x="67" y="322"/>
                </a:cxn>
                <a:cxn ang="0">
                  <a:pos x="61" y="284"/>
                </a:cxn>
                <a:cxn ang="0">
                  <a:pos x="87" y="257"/>
                </a:cxn>
                <a:cxn ang="0">
                  <a:pos x="52" y="259"/>
                </a:cxn>
                <a:cxn ang="0">
                  <a:pos x="14" y="265"/>
                </a:cxn>
                <a:cxn ang="0">
                  <a:pos x="3" y="231"/>
                </a:cxn>
                <a:cxn ang="0">
                  <a:pos x="18" y="221"/>
                </a:cxn>
                <a:cxn ang="0">
                  <a:pos x="10" y="215"/>
                </a:cxn>
                <a:cxn ang="0">
                  <a:pos x="50" y="207"/>
                </a:cxn>
                <a:cxn ang="0">
                  <a:pos x="98" y="188"/>
                </a:cxn>
                <a:cxn ang="0">
                  <a:pos x="80" y="143"/>
                </a:cxn>
                <a:cxn ang="0">
                  <a:pos x="58" y="105"/>
                </a:cxn>
                <a:cxn ang="0">
                  <a:pos x="26" y="66"/>
                </a:cxn>
                <a:cxn ang="0">
                  <a:pos x="27" y="6"/>
                </a:cxn>
              </a:cxnLst>
              <a:rect l="0" t="0" r="r" b="b"/>
              <a:pathLst>
                <a:path w="605" h="644">
                  <a:moveTo>
                    <a:pt x="53" y="0"/>
                  </a:moveTo>
                  <a:lnTo>
                    <a:pt x="62" y="0"/>
                  </a:lnTo>
                  <a:lnTo>
                    <a:pt x="70" y="2"/>
                  </a:lnTo>
                  <a:lnTo>
                    <a:pt x="78" y="6"/>
                  </a:lnTo>
                  <a:lnTo>
                    <a:pt x="87" y="10"/>
                  </a:lnTo>
                  <a:lnTo>
                    <a:pt x="97" y="15"/>
                  </a:lnTo>
                  <a:lnTo>
                    <a:pt x="111" y="19"/>
                  </a:lnTo>
                  <a:lnTo>
                    <a:pt x="126" y="21"/>
                  </a:lnTo>
                  <a:lnTo>
                    <a:pt x="147" y="21"/>
                  </a:lnTo>
                  <a:lnTo>
                    <a:pt x="153" y="23"/>
                  </a:lnTo>
                  <a:lnTo>
                    <a:pt x="155" y="27"/>
                  </a:lnTo>
                  <a:lnTo>
                    <a:pt x="155" y="33"/>
                  </a:lnTo>
                  <a:lnTo>
                    <a:pt x="154" y="39"/>
                  </a:lnTo>
                  <a:lnTo>
                    <a:pt x="155" y="44"/>
                  </a:lnTo>
                  <a:lnTo>
                    <a:pt x="158" y="48"/>
                  </a:lnTo>
                  <a:lnTo>
                    <a:pt x="164" y="49"/>
                  </a:lnTo>
                  <a:lnTo>
                    <a:pt x="174" y="47"/>
                  </a:lnTo>
                  <a:lnTo>
                    <a:pt x="184" y="44"/>
                  </a:lnTo>
                  <a:lnTo>
                    <a:pt x="192" y="41"/>
                  </a:lnTo>
                  <a:lnTo>
                    <a:pt x="197" y="37"/>
                  </a:lnTo>
                  <a:lnTo>
                    <a:pt x="201" y="35"/>
                  </a:lnTo>
                  <a:lnTo>
                    <a:pt x="207" y="33"/>
                  </a:lnTo>
                  <a:lnTo>
                    <a:pt x="213" y="32"/>
                  </a:lnTo>
                  <a:lnTo>
                    <a:pt x="212" y="34"/>
                  </a:lnTo>
                  <a:lnTo>
                    <a:pt x="210" y="38"/>
                  </a:lnTo>
                  <a:lnTo>
                    <a:pt x="210" y="39"/>
                  </a:lnTo>
                  <a:lnTo>
                    <a:pt x="211" y="40"/>
                  </a:lnTo>
                  <a:lnTo>
                    <a:pt x="213" y="40"/>
                  </a:lnTo>
                  <a:lnTo>
                    <a:pt x="220" y="38"/>
                  </a:lnTo>
                  <a:lnTo>
                    <a:pt x="227" y="33"/>
                  </a:lnTo>
                  <a:lnTo>
                    <a:pt x="233" y="29"/>
                  </a:lnTo>
                  <a:lnTo>
                    <a:pt x="237" y="27"/>
                  </a:lnTo>
                  <a:lnTo>
                    <a:pt x="240" y="28"/>
                  </a:lnTo>
                  <a:lnTo>
                    <a:pt x="242" y="33"/>
                  </a:lnTo>
                  <a:lnTo>
                    <a:pt x="246" y="38"/>
                  </a:lnTo>
                  <a:lnTo>
                    <a:pt x="250" y="42"/>
                  </a:lnTo>
                  <a:lnTo>
                    <a:pt x="255" y="44"/>
                  </a:lnTo>
                  <a:lnTo>
                    <a:pt x="260" y="44"/>
                  </a:lnTo>
                  <a:lnTo>
                    <a:pt x="266" y="43"/>
                  </a:lnTo>
                  <a:lnTo>
                    <a:pt x="273" y="45"/>
                  </a:lnTo>
                  <a:lnTo>
                    <a:pt x="279" y="49"/>
                  </a:lnTo>
                  <a:lnTo>
                    <a:pt x="283" y="54"/>
                  </a:lnTo>
                  <a:lnTo>
                    <a:pt x="291" y="66"/>
                  </a:lnTo>
                  <a:lnTo>
                    <a:pt x="296" y="69"/>
                  </a:lnTo>
                  <a:lnTo>
                    <a:pt x="302" y="70"/>
                  </a:lnTo>
                  <a:lnTo>
                    <a:pt x="307" y="67"/>
                  </a:lnTo>
                  <a:lnTo>
                    <a:pt x="311" y="63"/>
                  </a:lnTo>
                  <a:lnTo>
                    <a:pt x="314" y="58"/>
                  </a:lnTo>
                  <a:lnTo>
                    <a:pt x="316" y="54"/>
                  </a:lnTo>
                  <a:lnTo>
                    <a:pt x="319" y="53"/>
                  </a:lnTo>
                  <a:lnTo>
                    <a:pt x="324" y="56"/>
                  </a:lnTo>
                  <a:lnTo>
                    <a:pt x="329" y="63"/>
                  </a:lnTo>
                  <a:lnTo>
                    <a:pt x="337" y="77"/>
                  </a:lnTo>
                  <a:lnTo>
                    <a:pt x="339" y="82"/>
                  </a:lnTo>
                  <a:lnTo>
                    <a:pt x="341" y="88"/>
                  </a:lnTo>
                  <a:lnTo>
                    <a:pt x="342" y="92"/>
                  </a:lnTo>
                  <a:lnTo>
                    <a:pt x="340" y="94"/>
                  </a:lnTo>
                  <a:lnTo>
                    <a:pt x="336" y="95"/>
                  </a:lnTo>
                  <a:lnTo>
                    <a:pt x="330" y="96"/>
                  </a:lnTo>
                  <a:lnTo>
                    <a:pt x="325" y="98"/>
                  </a:lnTo>
                  <a:lnTo>
                    <a:pt x="323" y="99"/>
                  </a:lnTo>
                  <a:lnTo>
                    <a:pt x="325" y="100"/>
                  </a:lnTo>
                  <a:lnTo>
                    <a:pt x="331" y="100"/>
                  </a:lnTo>
                  <a:lnTo>
                    <a:pt x="337" y="101"/>
                  </a:lnTo>
                  <a:lnTo>
                    <a:pt x="342" y="104"/>
                  </a:lnTo>
                  <a:lnTo>
                    <a:pt x="344" y="109"/>
                  </a:lnTo>
                  <a:lnTo>
                    <a:pt x="344" y="115"/>
                  </a:lnTo>
                  <a:lnTo>
                    <a:pt x="345" y="125"/>
                  </a:lnTo>
                  <a:lnTo>
                    <a:pt x="345" y="136"/>
                  </a:lnTo>
                  <a:lnTo>
                    <a:pt x="344" y="147"/>
                  </a:lnTo>
                  <a:lnTo>
                    <a:pt x="342" y="156"/>
                  </a:lnTo>
                  <a:lnTo>
                    <a:pt x="338" y="163"/>
                  </a:lnTo>
                  <a:lnTo>
                    <a:pt x="315" y="178"/>
                  </a:lnTo>
                  <a:lnTo>
                    <a:pt x="310" y="182"/>
                  </a:lnTo>
                  <a:lnTo>
                    <a:pt x="310" y="186"/>
                  </a:lnTo>
                  <a:lnTo>
                    <a:pt x="315" y="188"/>
                  </a:lnTo>
                  <a:lnTo>
                    <a:pt x="323" y="188"/>
                  </a:lnTo>
                  <a:lnTo>
                    <a:pt x="331" y="186"/>
                  </a:lnTo>
                  <a:lnTo>
                    <a:pt x="337" y="184"/>
                  </a:lnTo>
                  <a:lnTo>
                    <a:pt x="344" y="181"/>
                  </a:lnTo>
                  <a:lnTo>
                    <a:pt x="353" y="177"/>
                  </a:lnTo>
                  <a:lnTo>
                    <a:pt x="363" y="176"/>
                  </a:lnTo>
                  <a:lnTo>
                    <a:pt x="373" y="179"/>
                  </a:lnTo>
                  <a:lnTo>
                    <a:pt x="380" y="184"/>
                  </a:lnTo>
                  <a:lnTo>
                    <a:pt x="383" y="189"/>
                  </a:lnTo>
                  <a:lnTo>
                    <a:pt x="384" y="193"/>
                  </a:lnTo>
                  <a:lnTo>
                    <a:pt x="383" y="195"/>
                  </a:lnTo>
                  <a:lnTo>
                    <a:pt x="384" y="198"/>
                  </a:lnTo>
                  <a:lnTo>
                    <a:pt x="386" y="202"/>
                  </a:lnTo>
                  <a:lnTo>
                    <a:pt x="387" y="207"/>
                  </a:lnTo>
                  <a:lnTo>
                    <a:pt x="385" y="214"/>
                  </a:lnTo>
                  <a:lnTo>
                    <a:pt x="383" y="217"/>
                  </a:lnTo>
                  <a:lnTo>
                    <a:pt x="381" y="219"/>
                  </a:lnTo>
                  <a:lnTo>
                    <a:pt x="380" y="220"/>
                  </a:lnTo>
                  <a:lnTo>
                    <a:pt x="378" y="222"/>
                  </a:lnTo>
                  <a:lnTo>
                    <a:pt x="378" y="232"/>
                  </a:lnTo>
                  <a:lnTo>
                    <a:pt x="376" y="244"/>
                  </a:lnTo>
                  <a:lnTo>
                    <a:pt x="376" y="247"/>
                  </a:lnTo>
                  <a:lnTo>
                    <a:pt x="378" y="246"/>
                  </a:lnTo>
                  <a:lnTo>
                    <a:pt x="381" y="241"/>
                  </a:lnTo>
                  <a:lnTo>
                    <a:pt x="384" y="232"/>
                  </a:lnTo>
                  <a:lnTo>
                    <a:pt x="389" y="222"/>
                  </a:lnTo>
                  <a:lnTo>
                    <a:pt x="394" y="214"/>
                  </a:lnTo>
                  <a:lnTo>
                    <a:pt x="399" y="209"/>
                  </a:lnTo>
                  <a:lnTo>
                    <a:pt x="405" y="205"/>
                  </a:lnTo>
                  <a:lnTo>
                    <a:pt x="412" y="200"/>
                  </a:lnTo>
                  <a:lnTo>
                    <a:pt x="419" y="197"/>
                  </a:lnTo>
                  <a:lnTo>
                    <a:pt x="425" y="199"/>
                  </a:lnTo>
                  <a:lnTo>
                    <a:pt x="432" y="204"/>
                  </a:lnTo>
                  <a:lnTo>
                    <a:pt x="443" y="211"/>
                  </a:lnTo>
                  <a:lnTo>
                    <a:pt x="454" y="217"/>
                  </a:lnTo>
                  <a:lnTo>
                    <a:pt x="463" y="222"/>
                  </a:lnTo>
                  <a:lnTo>
                    <a:pt x="473" y="226"/>
                  </a:lnTo>
                  <a:lnTo>
                    <a:pt x="481" y="230"/>
                  </a:lnTo>
                  <a:lnTo>
                    <a:pt x="488" y="235"/>
                  </a:lnTo>
                  <a:lnTo>
                    <a:pt x="493" y="238"/>
                  </a:lnTo>
                  <a:lnTo>
                    <a:pt x="496" y="242"/>
                  </a:lnTo>
                  <a:lnTo>
                    <a:pt x="502" y="247"/>
                  </a:lnTo>
                  <a:lnTo>
                    <a:pt x="509" y="251"/>
                  </a:lnTo>
                  <a:lnTo>
                    <a:pt x="518" y="251"/>
                  </a:lnTo>
                  <a:lnTo>
                    <a:pt x="524" y="248"/>
                  </a:lnTo>
                  <a:lnTo>
                    <a:pt x="532" y="243"/>
                  </a:lnTo>
                  <a:lnTo>
                    <a:pt x="541" y="236"/>
                  </a:lnTo>
                  <a:lnTo>
                    <a:pt x="549" y="230"/>
                  </a:lnTo>
                  <a:lnTo>
                    <a:pt x="556" y="224"/>
                  </a:lnTo>
                  <a:lnTo>
                    <a:pt x="561" y="220"/>
                  </a:lnTo>
                  <a:lnTo>
                    <a:pt x="569" y="220"/>
                  </a:lnTo>
                  <a:lnTo>
                    <a:pt x="578" y="220"/>
                  </a:lnTo>
                  <a:lnTo>
                    <a:pt x="587" y="223"/>
                  </a:lnTo>
                  <a:lnTo>
                    <a:pt x="592" y="224"/>
                  </a:lnTo>
                  <a:lnTo>
                    <a:pt x="595" y="225"/>
                  </a:lnTo>
                  <a:lnTo>
                    <a:pt x="597" y="226"/>
                  </a:lnTo>
                  <a:lnTo>
                    <a:pt x="599" y="232"/>
                  </a:lnTo>
                  <a:lnTo>
                    <a:pt x="599" y="236"/>
                  </a:lnTo>
                  <a:lnTo>
                    <a:pt x="600" y="241"/>
                  </a:lnTo>
                  <a:lnTo>
                    <a:pt x="601" y="250"/>
                  </a:lnTo>
                  <a:lnTo>
                    <a:pt x="603" y="261"/>
                  </a:lnTo>
                  <a:lnTo>
                    <a:pt x="604" y="273"/>
                  </a:lnTo>
                  <a:lnTo>
                    <a:pt x="605" y="284"/>
                  </a:lnTo>
                  <a:lnTo>
                    <a:pt x="604" y="292"/>
                  </a:lnTo>
                  <a:lnTo>
                    <a:pt x="603" y="297"/>
                  </a:lnTo>
                  <a:lnTo>
                    <a:pt x="587" y="314"/>
                  </a:lnTo>
                  <a:lnTo>
                    <a:pt x="578" y="322"/>
                  </a:lnTo>
                  <a:lnTo>
                    <a:pt x="570" y="330"/>
                  </a:lnTo>
                  <a:lnTo>
                    <a:pt x="562" y="337"/>
                  </a:lnTo>
                  <a:lnTo>
                    <a:pt x="556" y="341"/>
                  </a:lnTo>
                  <a:lnTo>
                    <a:pt x="552" y="343"/>
                  </a:lnTo>
                  <a:lnTo>
                    <a:pt x="546" y="342"/>
                  </a:lnTo>
                  <a:lnTo>
                    <a:pt x="540" y="342"/>
                  </a:lnTo>
                  <a:lnTo>
                    <a:pt x="534" y="344"/>
                  </a:lnTo>
                  <a:lnTo>
                    <a:pt x="531" y="348"/>
                  </a:lnTo>
                  <a:lnTo>
                    <a:pt x="527" y="353"/>
                  </a:lnTo>
                  <a:lnTo>
                    <a:pt x="524" y="358"/>
                  </a:lnTo>
                  <a:lnTo>
                    <a:pt x="522" y="363"/>
                  </a:lnTo>
                  <a:lnTo>
                    <a:pt x="522" y="366"/>
                  </a:lnTo>
                  <a:lnTo>
                    <a:pt x="523" y="369"/>
                  </a:lnTo>
                  <a:lnTo>
                    <a:pt x="527" y="377"/>
                  </a:lnTo>
                  <a:lnTo>
                    <a:pt x="531" y="381"/>
                  </a:lnTo>
                  <a:lnTo>
                    <a:pt x="536" y="382"/>
                  </a:lnTo>
                  <a:lnTo>
                    <a:pt x="544" y="382"/>
                  </a:lnTo>
                  <a:lnTo>
                    <a:pt x="547" y="381"/>
                  </a:lnTo>
                  <a:lnTo>
                    <a:pt x="549" y="382"/>
                  </a:lnTo>
                  <a:lnTo>
                    <a:pt x="551" y="382"/>
                  </a:lnTo>
                  <a:lnTo>
                    <a:pt x="551" y="387"/>
                  </a:lnTo>
                  <a:lnTo>
                    <a:pt x="552" y="389"/>
                  </a:lnTo>
                  <a:lnTo>
                    <a:pt x="555" y="392"/>
                  </a:lnTo>
                  <a:lnTo>
                    <a:pt x="558" y="393"/>
                  </a:lnTo>
                  <a:lnTo>
                    <a:pt x="558" y="402"/>
                  </a:lnTo>
                  <a:lnTo>
                    <a:pt x="559" y="410"/>
                  </a:lnTo>
                  <a:lnTo>
                    <a:pt x="558" y="415"/>
                  </a:lnTo>
                  <a:lnTo>
                    <a:pt x="556" y="417"/>
                  </a:lnTo>
                  <a:lnTo>
                    <a:pt x="550" y="419"/>
                  </a:lnTo>
                  <a:lnTo>
                    <a:pt x="543" y="422"/>
                  </a:lnTo>
                  <a:lnTo>
                    <a:pt x="532" y="433"/>
                  </a:lnTo>
                  <a:lnTo>
                    <a:pt x="530" y="438"/>
                  </a:lnTo>
                  <a:lnTo>
                    <a:pt x="530" y="449"/>
                  </a:lnTo>
                  <a:lnTo>
                    <a:pt x="528" y="462"/>
                  </a:lnTo>
                  <a:lnTo>
                    <a:pt x="524" y="477"/>
                  </a:lnTo>
                  <a:lnTo>
                    <a:pt x="523" y="483"/>
                  </a:lnTo>
                  <a:lnTo>
                    <a:pt x="525" y="487"/>
                  </a:lnTo>
                  <a:lnTo>
                    <a:pt x="531" y="491"/>
                  </a:lnTo>
                  <a:lnTo>
                    <a:pt x="534" y="494"/>
                  </a:lnTo>
                  <a:lnTo>
                    <a:pt x="541" y="500"/>
                  </a:lnTo>
                  <a:lnTo>
                    <a:pt x="551" y="504"/>
                  </a:lnTo>
                  <a:lnTo>
                    <a:pt x="564" y="506"/>
                  </a:lnTo>
                  <a:lnTo>
                    <a:pt x="569" y="508"/>
                  </a:lnTo>
                  <a:lnTo>
                    <a:pt x="573" y="512"/>
                  </a:lnTo>
                  <a:lnTo>
                    <a:pt x="574" y="517"/>
                  </a:lnTo>
                  <a:lnTo>
                    <a:pt x="574" y="523"/>
                  </a:lnTo>
                  <a:lnTo>
                    <a:pt x="573" y="530"/>
                  </a:lnTo>
                  <a:lnTo>
                    <a:pt x="571" y="540"/>
                  </a:lnTo>
                  <a:lnTo>
                    <a:pt x="571" y="544"/>
                  </a:lnTo>
                  <a:lnTo>
                    <a:pt x="572" y="548"/>
                  </a:lnTo>
                  <a:lnTo>
                    <a:pt x="573" y="553"/>
                  </a:lnTo>
                  <a:lnTo>
                    <a:pt x="571" y="560"/>
                  </a:lnTo>
                  <a:lnTo>
                    <a:pt x="567" y="564"/>
                  </a:lnTo>
                  <a:lnTo>
                    <a:pt x="562" y="565"/>
                  </a:lnTo>
                  <a:lnTo>
                    <a:pt x="556" y="564"/>
                  </a:lnTo>
                  <a:lnTo>
                    <a:pt x="551" y="563"/>
                  </a:lnTo>
                  <a:lnTo>
                    <a:pt x="546" y="563"/>
                  </a:lnTo>
                  <a:lnTo>
                    <a:pt x="544" y="565"/>
                  </a:lnTo>
                  <a:lnTo>
                    <a:pt x="542" y="572"/>
                  </a:lnTo>
                  <a:lnTo>
                    <a:pt x="538" y="581"/>
                  </a:lnTo>
                  <a:lnTo>
                    <a:pt x="533" y="590"/>
                  </a:lnTo>
                  <a:lnTo>
                    <a:pt x="529" y="596"/>
                  </a:lnTo>
                  <a:lnTo>
                    <a:pt x="523" y="599"/>
                  </a:lnTo>
                  <a:lnTo>
                    <a:pt x="514" y="602"/>
                  </a:lnTo>
                  <a:lnTo>
                    <a:pt x="506" y="605"/>
                  </a:lnTo>
                  <a:lnTo>
                    <a:pt x="499" y="608"/>
                  </a:lnTo>
                  <a:lnTo>
                    <a:pt x="497" y="613"/>
                  </a:lnTo>
                  <a:lnTo>
                    <a:pt x="495" y="621"/>
                  </a:lnTo>
                  <a:lnTo>
                    <a:pt x="494" y="631"/>
                  </a:lnTo>
                  <a:lnTo>
                    <a:pt x="493" y="644"/>
                  </a:lnTo>
                  <a:lnTo>
                    <a:pt x="480" y="644"/>
                  </a:lnTo>
                  <a:lnTo>
                    <a:pt x="473" y="642"/>
                  </a:lnTo>
                  <a:lnTo>
                    <a:pt x="464" y="638"/>
                  </a:lnTo>
                  <a:lnTo>
                    <a:pt x="454" y="633"/>
                  </a:lnTo>
                  <a:lnTo>
                    <a:pt x="444" y="629"/>
                  </a:lnTo>
                  <a:lnTo>
                    <a:pt x="436" y="624"/>
                  </a:lnTo>
                  <a:lnTo>
                    <a:pt x="430" y="621"/>
                  </a:lnTo>
                  <a:lnTo>
                    <a:pt x="422" y="619"/>
                  </a:lnTo>
                  <a:lnTo>
                    <a:pt x="414" y="608"/>
                  </a:lnTo>
                  <a:lnTo>
                    <a:pt x="407" y="598"/>
                  </a:lnTo>
                  <a:lnTo>
                    <a:pt x="399" y="588"/>
                  </a:lnTo>
                  <a:lnTo>
                    <a:pt x="393" y="581"/>
                  </a:lnTo>
                  <a:lnTo>
                    <a:pt x="389" y="577"/>
                  </a:lnTo>
                  <a:lnTo>
                    <a:pt x="386" y="572"/>
                  </a:lnTo>
                  <a:lnTo>
                    <a:pt x="386" y="565"/>
                  </a:lnTo>
                  <a:lnTo>
                    <a:pt x="388" y="557"/>
                  </a:lnTo>
                  <a:lnTo>
                    <a:pt x="391" y="550"/>
                  </a:lnTo>
                  <a:lnTo>
                    <a:pt x="395" y="544"/>
                  </a:lnTo>
                  <a:lnTo>
                    <a:pt x="397" y="537"/>
                  </a:lnTo>
                  <a:lnTo>
                    <a:pt x="395" y="530"/>
                  </a:lnTo>
                  <a:lnTo>
                    <a:pt x="390" y="523"/>
                  </a:lnTo>
                  <a:lnTo>
                    <a:pt x="386" y="519"/>
                  </a:lnTo>
                  <a:lnTo>
                    <a:pt x="384" y="515"/>
                  </a:lnTo>
                  <a:lnTo>
                    <a:pt x="387" y="497"/>
                  </a:lnTo>
                  <a:lnTo>
                    <a:pt x="385" y="495"/>
                  </a:lnTo>
                  <a:lnTo>
                    <a:pt x="381" y="495"/>
                  </a:lnTo>
                  <a:lnTo>
                    <a:pt x="374" y="498"/>
                  </a:lnTo>
                  <a:lnTo>
                    <a:pt x="365" y="501"/>
                  </a:lnTo>
                  <a:lnTo>
                    <a:pt x="361" y="504"/>
                  </a:lnTo>
                  <a:lnTo>
                    <a:pt x="360" y="508"/>
                  </a:lnTo>
                  <a:lnTo>
                    <a:pt x="360" y="512"/>
                  </a:lnTo>
                  <a:lnTo>
                    <a:pt x="362" y="518"/>
                  </a:lnTo>
                  <a:lnTo>
                    <a:pt x="363" y="523"/>
                  </a:lnTo>
                  <a:lnTo>
                    <a:pt x="362" y="527"/>
                  </a:lnTo>
                  <a:lnTo>
                    <a:pt x="361" y="529"/>
                  </a:lnTo>
                  <a:lnTo>
                    <a:pt x="358" y="529"/>
                  </a:lnTo>
                  <a:lnTo>
                    <a:pt x="356" y="525"/>
                  </a:lnTo>
                  <a:lnTo>
                    <a:pt x="355" y="522"/>
                  </a:lnTo>
                  <a:lnTo>
                    <a:pt x="353" y="520"/>
                  </a:lnTo>
                  <a:lnTo>
                    <a:pt x="352" y="517"/>
                  </a:lnTo>
                  <a:lnTo>
                    <a:pt x="349" y="516"/>
                  </a:lnTo>
                  <a:lnTo>
                    <a:pt x="347" y="515"/>
                  </a:lnTo>
                  <a:lnTo>
                    <a:pt x="344" y="515"/>
                  </a:lnTo>
                  <a:lnTo>
                    <a:pt x="342" y="517"/>
                  </a:lnTo>
                  <a:lnTo>
                    <a:pt x="338" y="523"/>
                  </a:lnTo>
                  <a:lnTo>
                    <a:pt x="335" y="525"/>
                  </a:lnTo>
                  <a:lnTo>
                    <a:pt x="329" y="526"/>
                  </a:lnTo>
                  <a:lnTo>
                    <a:pt x="321" y="528"/>
                  </a:lnTo>
                  <a:lnTo>
                    <a:pt x="316" y="531"/>
                  </a:lnTo>
                  <a:lnTo>
                    <a:pt x="311" y="536"/>
                  </a:lnTo>
                  <a:lnTo>
                    <a:pt x="307" y="542"/>
                  </a:lnTo>
                  <a:lnTo>
                    <a:pt x="303" y="546"/>
                  </a:lnTo>
                  <a:lnTo>
                    <a:pt x="301" y="547"/>
                  </a:lnTo>
                  <a:lnTo>
                    <a:pt x="299" y="547"/>
                  </a:lnTo>
                  <a:lnTo>
                    <a:pt x="298" y="546"/>
                  </a:lnTo>
                  <a:lnTo>
                    <a:pt x="295" y="540"/>
                  </a:lnTo>
                  <a:lnTo>
                    <a:pt x="292" y="537"/>
                  </a:lnTo>
                  <a:lnTo>
                    <a:pt x="289" y="536"/>
                  </a:lnTo>
                  <a:lnTo>
                    <a:pt x="285" y="538"/>
                  </a:lnTo>
                  <a:lnTo>
                    <a:pt x="280" y="544"/>
                  </a:lnTo>
                  <a:lnTo>
                    <a:pt x="276" y="554"/>
                  </a:lnTo>
                  <a:lnTo>
                    <a:pt x="272" y="565"/>
                  </a:lnTo>
                  <a:lnTo>
                    <a:pt x="271" y="565"/>
                  </a:lnTo>
                  <a:lnTo>
                    <a:pt x="266" y="562"/>
                  </a:lnTo>
                  <a:lnTo>
                    <a:pt x="259" y="558"/>
                  </a:lnTo>
                  <a:lnTo>
                    <a:pt x="241" y="546"/>
                  </a:lnTo>
                  <a:lnTo>
                    <a:pt x="233" y="540"/>
                  </a:lnTo>
                  <a:lnTo>
                    <a:pt x="228" y="535"/>
                  </a:lnTo>
                  <a:lnTo>
                    <a:pt x="225" y="529"/>
                  </a:lnTo>
                  <a:lnTo>
                    <a:pt x="219" y="520"/>
                  </a:lnTo>
                  <a:lnTo>
                    <a:pt x="212" y="508"/>
                  </a:lnTo>
                  <a:lnTo>
                    <a:pt x="205" y="494"/>
                  </a:lnTo>
                  <a:lnTo>
                    <a:pt x="196" y="482"/>
                  </a:lnTo>
                  <a:lnTo>
                    <a:pt x="194" y="474"/>
                  </a:lnTo>
                  <a:lnTo>
                    <a:pt x="190" y="465"/>
                  </a:lnTo>
                  <a:lnTo>
                    <a:pt x="185" y="454"/>
                  </a:lnTo>
                  <a:lnTo>
                    <a:pt x="179" y="445"/>
                  </a:lnTo>
                  <a:lnTo>
                    <a:pt x="172" y="439"/>
                  </a:lnTo>
                  <a:lnTo>
                    <a:pt x="163" y="434"/>
                  </a:lnTo>
                  <a:lnTo>
                    <a:pt x="153" y="429"/>
                  </a:lnTo>
                  <a:lnTo>
                    <a:pt x="144" y="425"/>
                  </a:lnTo>
                  <a:lnTo>
                    <a:pt x="135" y="422"/>
                  </a:lnTo>
                  <a:lnTo>
                    <a:pt x="116" y="422"/>
                  </a:lnTo>
                  <a:lnTo>
                    <a:pt x="107" y="421"/>
                  </a:lnTo>
                  <a:lnTo>
                    <a:pt x="93" y="421"/>
                  </a:lnTo>
                  <a:lnTo>
                    <a:pt x="87" y="419"/>
                  </a:lnTo>
                  <a:lnTo>
                    <a:pt x="80" y="414"/>
                  </a:lnTo>
                  <a:lnTo>
                    <a:pt x="72" y="403"/>
                  </a:lnTo>
                  <a:lnTo>
                    <a:pt x="66" y="392"/>
                  </a:lnTo>
                  <a:lnTo>
                    <a:pt x="57" y="374"/>
                  </a:lnTo>
                  <a:lnTo>
                    <a:pt x="57" y="367"/>
                  </a:lnTo>
                  <a:lnTo>
                    <a:pt x="60" y="362"/>
                  </a:lnTo>
                  <a:lnTo>
                    <a:pt x="65" y="361"/>
                  </a:lnTo>
                  <a:lnTo>
                    <a:pt x="71" y="362"/>
                  </a:lnTo>
                  <a:lnTo>
                    <a:pt x="78" y="364"/>
                  </a:lnTo>
                  <a:lnTo>
                    <a:pt x="85" y="367"/>
                  </a:lnTo>
                  <a:lnTo>
                    <a:pt x="91" y="369"/>
                  </a:lnTo>
                  <a:lnTo>
                    <a:pt x="96" y="369"/>
                  </a:lnTo>
                  <a:lnTo>
                    <a:pt x="99" y="366"/>
                  </a:lnTo>
                  <a:lnTo>
                    <a:pt x="101" y="360"/>
                  </a:lnTo>
                  <a:lnTo>
                    <a:pt x="101" y="352"/>
                  </a:lnTo>
                  <a:lnTo>
                    <a:pt x="100" y="342"/>
                  </a:lnTo>
                  <a:lnTo>
                    <a:pt x="98" y="333"/>
                  </a:lnTo>
                  <a:lnTo>
                    <a:pt x="95" y="324"/>
                  </a:lnTo>
                  <a:lnTo>
                    <a:pt x="91" y="318"/>
                  </a:lnTo>
                  <a:lnTo>
                    <a:pt x="87" y="316"/>
                  </a:lnTo>
                  <a:lnTo>
                    <a:pt x="79" y="317"/>
                  </a:lnTo>
                  <a:lnTo>
                    <a:pt x="73" y="319"/>
                  </a:lnTo>
                  <a:lnTo>
                    <a:pt x="67" y="322"/>
                  </a:lnTo>
                  <a:lnTo>
                    <a:pt x="62" y="323"/>
                  </a:lnTo>
                  <a:lnTo>
                    <a:pt x="59" y="321"/>
                  </a:lnTo>
                  <a:lnTo>
                    <a:pt x="53" y="311"/>
                  </a:lnTo>
                  <a:lnTo>
                    <a:pt x="52" y="305"/>
                  </a:lnTo>
                  <a:lnTo>
                    <a:pt x="55" y="297"/>
                  </a:lnTo>
                  <a:lnTo>
                    <a:pt x="59" y="290"/>
                  </a:lnTo>
                  <a:lnTo>
                    <a:pt x="61" y="284"/>
                  </a:lnTo>
                  <a:lnTo>
                    <a:pt x="62" y="279"/>
                  </a:lnTo>
                  <a:lnTo>
                    <a:pt x="62" y="274"/>
                  </a:lnTo>
                  <a:lnTo>
                    <a:pt x="64" y="271"/>
                  </a:lnTo>
                  <a:lnTo>
                    <a:pt x="69" y="269"/>
                  </a:lnTo>
                  <a:lnTo>
                    <a:pt x="76" y="265"/>
                  </a:lnTo>
                  <a:lnTo>
                    <a:pt x="82" y="261"/>
                  </a:lnTo>
                  <a:lnTo>
                    <a:pt x="87" y="257"/>
                  </a:lnTo>
                  <a:lnTo>
                    <a:pt x="87" y="252"/>
                  </a:lnTo>
                  <a:lnTo>
                    <a:pt x="84" y="249"/>
                  </a:lnTo>
                  <a:lnTo>
                    <a:pt x="79" y="249"/>
                  </a:lnTo>
                  <a:lnTo>
                    <a:pt x="69" y="253"/>
                  </a:lnTo>
                  <a:lnTo>
                    <a:pt x="63" y="251"/>
                  </a:lnTo>
                  <a:lnTo>
                    <a:pt x="57" y="257"/>
                  </a:lnTo>
                  <a:lnTo>
                    <a:pt x="52" y="259"/>
                  </a:lnTo>
                  <a:lnTo>
                    <a:pt x="47" y="259"/>
                  </a:lnTo>
                  <a:lnTo>
                    <a:pt x="38" y="258"/>
                  </a:lnTo>
                  <a:lnTo>
                    <a:pt x="30" y="259"/>
                  </a:lnTo>
                  <a:lnTo>
                    <a:pt x="25" y="262"/>
                  </a:lnTo>
                  <a:lnTo>
                    <a:pt x="23" y="264"/>
                  </a:lnTo>
                  <a:lnTo>
                    <a:pt x="19" y="265"/>
                  </a:lnTo>
                  <a:lnTo>
                    <a:pt x="14" y="265"/>
                  </a:lnTo>
                  <a:lnTo>
                    <a:pt x="10" y="262"/>
                  </a:lnTo>
                  <a:lnTo>
                    <a:pt x="7" y="257"/>
                  </a:lnTo>
                  <a:lnTo>
                    <a:pt x="4" y="250"/>
                  </a:lnTo>
                  <a:lnTo>
                    <a:pt x="2" y="243"/>
                  </a:lnTo>
                  <a:lnTo>
                    <a:pt x="0" y="237"/>
                  </a:lnTo>
                  <a:lnTo>
                    <a:pt x="0" y="233"/>
                  </a:lnTo>
                  <a:lnTo>
                    <a:pt x="3" y="231"/>
                  </a:lnTo>
                  <a:lnTo>
                    <a:pt x="8" y="232"/>
                  </a:lnTo>
                  <a:lnTo>
                    <a:pt x="14" y="232"/>
                  </a:lnTo>
                  <a:lnTo>
                    <a:pt x="18" y="231"/>
                  </a:lnTo>
                  <a:lnTo>
                    <a:pt x="21" y="228"/>
                  </a:lnTo>
                  <a:lnTo>
                    <a:pt x="21" y="224"/>
                  </a:lnTo>
                  <a:lnTo>
                    <a:pt x="20" y="222"/>
                  </a:lnTo>
                  <a:lnTo>
                    <a:pt x="18" y="221"/>
                  </a:lnTo>
                  <a:lnTo>
                    <a:pt x="17" y="221"/>
                  </a:lnTo>
                  <a:lnTo>
                    <a:pt x="15" y="222"/>
                  </a:lnTo>
                  <a:lnTo>
                    <a:pt x="14" y="223"/>
                  </a:lnTo>
                  <a:lnTo>
                    <a:pt x="12" y="223"/>
                  </a:lnTo>
                  <a:lnTo>
                    <a:pt x="11" y="222"/>
                  </a:lnTo>
                  <a:lnTo>
                    <a:pt x="10" y="220"/>
                  </a:lnTo>
                  <a:lnTo>
                    <a:pt x="10" y="215"/>
                  </a:lnTo>
                  <a:lnTo>
                    <a:pt x="14" y="211"/>
                  </a:lnTo>
                  <a:lnTo>
                    <a:pt x="17" y="210"/>
                  </a:lnTo>
                  <a:lnTo>
                    <a:pt x="20" y="210"/>
                  </a:lnTo>
                  <a:lnTo>
                    <a:pt x="27" y="209"/>
                  </a:lnTo>
                  <a:lnTo>
                    <a:pt x="34" y="209"/>
                  </a:lnTo>
                  <a:lnTo>
                    <a:pt x="43" y="207"/>
                  </a:lnTo>
                  <a:lnTo>
                    <a:pt x="50" y="207"/>
                  </a:lnTo>
                  <a:lnTo>
                    <a:pt x="58" y="210"/>
                  </a:lnTo>
                  <a:lnTo>
                    <a:pt x="65" y="212"/>
                  </a:lnTo>
                  <a:lnTo>
                    <a:pt x="71" y="210"/>
                  </a:lnTo>
                  <a:lnTo>
                    <a:pt x="77" y="205"/>
                  </a:lnTo>
                  <a:lnTo>
                    <a:pt x="83" y="199"/>
                  </a:lnTo>
                  <a:lnTo>
                    <a:pt x="88" y="194"/>
                  </a:lnTo>
                  <a:lnTo>
                    <a:pt x="98" y="188"/>
                  </a:lnTo>
                  <a:lnTo>
                    <a:pt x="102" y="182"/>
                  </a:lnTo>
                  <a:lnTo>
                    <a:pt x="105" y="175"/>
                  </a:lnTo>
                  <a:lnTo>
                    <a:pt x="104" y="166"/>
                  </a:lnTo>
                  <a:lnTo>
                    <a:pt x="98" y="158"/>
                  </a:lnTo>
                  <a:lnTo>
                    <a:pt x="90" y="152"/>
                  </a:lnTo>
                  <a:lnTo>
                    <a:pt x="84" y="147"/>
                  </a:lnTo>
                  <a:lnTo>
                    <a:pt x="80" y="143"/>
                  </a:lnTo>
                  <a:lnTo>
                    <a:pt x="77" y="136"/>
                  </a:lnTo>
                  <a:lnTo>
                    <a:pt x="72" y="129"/>
                  </a:lnTo>
                  <a:lnTo>
                    <a:pt x="65" y="124"/>
                  </a:lnTo>
                  <a:lnTo>
                    <a:pt x="61" y="121"/>
                  </a:lnTo>
                  <a:lnTo>
                    <a:pt x="61" y="118"/>
                  </a:lnTo>
                  <a:lnTo>
                    <a:pt x="60" y="113"/>
                  </a:lnTo>
                  <a:lnTo>
                    <a:pt x="58" y="105"/>
                  </a:lnTo>
                  <a:lnTo>
                    <a:pt x="53" y="96"/>
                  </a:lnTo>
                  <a:lnTo>
                    <a:pt x="47" y="88"/>
                  </a:lnTo>
                  <a:lnTo>
                    <a:pt x="40" y="81"/>
                  </a:lnTo>
                  <a:lnTo>
                    <a:pt x="32" y="76"/>
                  </a:lnTo>
                  <a:lnTo>
                    <a:pt x="27" y="73"/>
                  </a:lnTo>
                  <a:lnTo>
                    <a:pt x="26" y="70"/>
                  </a:lnTo>
                  <a:lnTo>
                    <a:pt x="26" y="66"/>
                  </a:lnTo>
                  <a:lnTo>
                    <a:pt x="25" y="62"/>
                  </a:lnTo>
                  <a:lnTo>
                    <a:pt x="23" y="57"/>
                  </a:lnTo>
                  <a:lnTo>
                    <a:pt x="18" y="47"/>
                  </a:lnTo>
                  <a:lnTo>
                    <a:pt x="16" y="35"/>
                  </a:lnTo>
                  <a:lnTo>
                    <a:pt x="18" y="22"/>
                  </a:lnTo>
                  <a:lnTo>
                    <a:pt x="24" y="4"/>
                  </a:lnTo>
                  <a:lnTo>
                    <a:pt x="27" y="6"/>
                  </a:lnTo>
                  <a:lnTo>
                    <a:pt x="30" y="7"/>
                  </a:lnTo>
                  <a:lnTo>
                    <a:pt x="32" y="8"/>
                  </a:lnTo>
                  <a:lnTo>
                    <a:pt x="34" y="8"/>
                  </a:lnTo>
                  <a:lnTo>
                    <a:pt x="39" y="6"/>
                  </a:lnTo>
                  <a:lnTo>
                    <a:pt x="45" y="2"/>
                  </a:lnTo>
                  <a:lnTo>
                    <a:pt x="53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19">
              <a:extLst>
                <a:ext uri="{FF2B5EF4-FFF2-40B4-BE49-F238E27FC236}">
                  <a16:creationId xmlns:a16="http://schemas.microsoft.com/office/drawing/2014/main" id="{51EE49A8-CDEA-4C48-BC67-1009450B78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54738" y="1589088"/>
              <a:ext cx="1489075" cy="962025"/>
            </a:xfrm>
            <a:custGeom>
              <a:avLst/>
              <a:gdLst/>
              <a:ahLst/>
              <a:cxnLst>
                <a:cxn ang="0">
                  <a:pos x="480" y="436"/>
                </a:cxn>
                <a:cxn ang="0">
                  <a:pos x="507" y="453"/>
                </a:cxn>
                <a:cxn ang="0">
                  <a:pos x="530" y="455"/>
                </a:cxn>
                <a:cxn ang="0">
                  <a:pos x="516" y="425"/>
                </a:cxn>
                <a:cxn ang="0">
                  <a:pos x="454" y="2"/>
                </a:cxn>
                <a:cxn ang="0">
                  <a:pos x="541" y="24"/>
                </a:cxn>
                <a:cxn ang="0">
                  <a:pos x="488" y="28"/>
                </a:cxn>
                <a:cxn ang="0">
                  <a:pos x="432" y="56"/>
                </a:cxn>
                <a:cxn ang="0">
                  <a:pos x="439" y="100"/>
                </a:cxn>
                <a:cxn ang="0">
                  <a:pos x="465" y="55"/>
                </a:cxn>
                <a:cxn ang="0">
                  <a:pos x="525" y="50"/>
                </a:cxn>
                <a:cxn ang="0">
                  <a:pos x="571" y="18"/>
                </a:cxn>
                <a:cxn ang="0">
                  <a:pos x="590" y="47"/>
                </a:cxn>
                <a:cxn ang="0">
                  <a:pos x="626" y="95"/>
                </a:cxn>
                <a:cxn ang="0">
                  <a:pos x="668" y="125"/>
                </a:cxn>
                <a:cxn ang="0">
                  <a:pos x="693" y="153"/>
                </a:cxn>
                <a:cxn ang="0">
                  <a:pos x="740" y="121"/>
                </a:cxn>
                <a:cxn ang="0">
                  <a:pos x="758" y="137"/>
                </a:cxn>
                <a:cxn ang="0">
                  <a:pos x="769" y="188"/>
                </a:cxn>
                <a:cxn ang="0">
                  <a:pos x="797" y="220"/>
                </a:cxn>
                <a:cxn ang="0">
                  <a:pos x="775" y="245"/>
                </a:cxn>
                <a:cxn ang="0">
                  <a:pos x="827" y="284"/>
                </a:cxn>
                <a:cxn ang="0">
                  <a:pos x="880" y="298"/>
                </a:cxn>
                <a:cxn ang="0">
                  <a:pos x="910" y="345"/>
                </a:cxn>
                <a:cxn ang="0">
                  <a:pos x="938" y="458"/>
                </a:cxn>
                <a:cxn ang="0">
                  <a:pos x="864" y="489"/>
                </a:cxn>
                <a:cxn ang="0">
                  <a:pos x="808" y="432"/>
                </a:cxn>
                <a:cxn ang="0">
                  <a:pos x="718" y="464"/>
                </a:cxn>
                <a:cxn ang="0">
                  <a:pos x="691" y="512"/>
                </a:cxn>
                <a:cxn ang="0">
                  <a:pos x="665" y="495"/>
                </a:cxn>
                <a:cxn ang="0">
                  <a:pos x="641" y="514"/>
                </a:cxn>
                <a:cxn ang="0">
                  <a:pos x="619" y="516"/>
                </a:cxn>
                <a:cxn ang="0">
                  <a:pos x="577" y="545"/>
                </a:cxn>
                <a:cxn ang="0">
                  <a:pos x="527" y="526"/>
                </a:cxn>
                <a:cxn ang="0">
                  <a:pos x="477" y="505"/>
                </a:cxn>
                <a:cxn ang="0">
                  <a:pos x="431" y="491"/>
                </a:cxn>
                <a:cxn ang="0">
                  <a:pos x="363" y="472"/>
                </a:cxn>
                <a:cxn ang="0">
                  <a:pos x="315" y="507"/>
                </a:cxn>
                <a:cxn ang="0">
                  <a:pos x="273" y="510"/>
                </a:cxn>
                <a:cxn ang="0">
                  <a:pos x="226" y="561"/>
                </a:cxn>
                <a:cxn ang="0">
                  <a:pos x="264" y="599"/>
                </a:cxn>
                <a:cxn ang="0">
                  <a:pos x="200" y="592"/>
                </a:cxn>
                <a:cxn ang="0">
                  <a:pos x="153" y="564"/>
                </a:cxn>
                <a:cxn ang="0">
                  <a:pos x="135" y="559"/>
                </a:cxn>
                <a:cxn ang="0">
                  <a:pos x="93" y="547"/>
                </a:cxn>
                <a:cxn ang="0">
                  <a:pos x="28" y="499"/>
                </a:cxn>
                <a:cxn ang="0">
                  <a:pos x="2" y="451"/>
                </a:cxn>
                <a:cxn ang="0">
                  <a:pos x="51" y="395"/>
                </a:cxn>
                <a:cxn ang="0">
                  <a:pos x="78" y="370"/>
                </a:cxn>
                <a:cxn ang="0">
                  <a:pos x="38" y="321"/>
                </a:cxn>
                <a:cxn ang="0">
                  <a:pos x="63" y="247"/>
                </a:cxn>
                <a:cxn ang="0">
                  <a:pos x="111" y="206"/>
                </a:cxn>
                <a:cxn ang="0">
                  <a:pos x="145" y="221"/>
                </a:cxn>
                <a:cxn ang="0">
                  <a:pos x="176" y="231"/>
                </a:cxn>
                <a:cxn ang="0">
                  <a:pos x="206" y="229"/>
                </a:cxn>
                <a:cxn ang="0">
                  <a:pos x="239" y="168"/>
                </a:cxn>
                <a:cxn ang="0">
                  <a:pos x="330" y="132"/>
                </a:cxn>
                <a:cxn ang="0">
                  <a:pos x="415" y="72"/>
                </a:cxn>
                <a:cxn ang="0">
                  <a:pos x="450" y="1"/>
                </a:cxn>
              </a:cxnLst>
              <a:rect l="0" t="0" r="r" b="b"/>
              <a:pathLst>
                <a:path w="938" h="606">
                  <a:moveTo>
                    <a:pt x="500" y="393"/>
                  </a:moveTo>
                  <a:lnTo>
                    <a:pt x="500" y="394"/>
                  </a:lnTo>
                  <a:lnTo>
                    <a:pt x="498" y="398"/>
                  </a:lnTo>
                  <a:lnTo>
                    <a:pt x="497" y="401"/>
                  </a:lnTo>
                  <a:lnTo>
                    <a:pt x="495" y="408"/>
                  </a:lnTo>
                  <a:lnTo>
                    <a:pt x="491" y="416"/>
                  </a:lnTo>
                  <a:lnTo>
                    <a:pt x="486" y="424"/>
                  </a:lnTo>
                  <a:lnTo>
                    <a:pt x="482" y="431"/>
                  </a:lnTo>
                  <a:lnTo>
                    <a:pt x="480" y="435"/>
                  </a:lnTo>
                  <a:lnTo>
                    <a:pt x="480" y="436"/>
                  </a:lnTo>
                  <a:lnTo>
                    <a:pt x="481" y="437"/>
                  </a:lnTo>
                  <a:lnTo>
                    <a:pt x="483" y="438"/>
                  </a:lnTo>
                  <a:lnTo>
                    <a:pt x="492" y="438"/>
                  </a:lnTo>
                  <a:lnTo>
                    <a:pt x="494" y="440"/>
                  </a:lnTo>
                  <a:lnTo>
                    <a:pt x="495" y="442"/>
                  </a:lnTo>
                  <a:lnTo>
                    <a:pt x="497" y="443"/>
                  </a:lnTo>
                  <a:lnTo>
                    <a:pt x="501" y="447"/>
                  </a:lnTo>
                  <a:lnTo>
                    <a:pt x="504" y="447"/>
                  </a:lnTo>
                  <a:lnTo>
                    <a:pt x="506" y="449"/>
                  </a:lnTo>
                  <a:lnTo>
                    <a:pt x="507" y="453"/>
                  </a:lnTo>
                  <a:lnTo>
                    <a:pt x="507" y="464"/>
                  </a:lnTo>
                  <a:lnTo>
                    <a:pt x="508" y="470"/>
                  </a:lnTo>
                  <a:lnTo>
                    <a:pt x="510" y="473"/>
                  </a:lnTo>
                  <a:lnTo>
                    <a:pt x="514" y="473"/>
                  </a:lnTo>
                  <a:lnTo>
                    <a:pt x="516" y="470"/>
                  </a:lnTo>
                  <a:lnTo>
                    <a:pt x="518" y="466"/>
                  </a:lnTo>
                  <a:lnTo>
                    <a:pt x="520" y="461"/>
                  </a:lnTo>
                  <a:lnTo>
                    <a:pt x="523" y="458"/>
                  </a:lnTo>
                  <a:lnTo>
                    <a:pt x="527" y="456"/>
                  </a:lnTo>
                  <a:lnTo>
                    <a:pt x="530" y="455"/>
                  </a:lnTo>
                  <a:lnTo>
                    <a:pt x="532" y="454"/>
                  </a:lnTo>
                  <a:lnTo>
                    <a:pt x="533" y="453"/>
                  </a:lnTo>
                  <a:lnTo>
                    <a:pt x="534" y="451"/>
                  </a:lnTo>
                  <a:lnTo>
                    <a:pt x="533" y="449"/>
                  </a:lnTo>
                  <a:lnTo>
                    <a:pt x="533" y="447"/>
                  </a:lnTo>
                  <a:lnTo>
                    <a:pt x="532" y="444"/>
                  </a:lnTo>
                  <a:lnTo>
                    <a:pt x="532" y="442"/>
                  </a:lnTo>
                  <a:lnTo>
                    <a:pt x="530" y="437"/>
                  </a:lnTo>
                  <a:lnTo>
                    <a:pt x="524" y="431"/>
                  </a:lnTo>
                  <a:lnTo>
                    <a:pt x="516" y="425"/>
                  </a:lnTo>
                  <a:lnTo>
                    <a:pt x="510" y="419"/>
                  </a:lnTo>
                  <a:lnTo>
                    <a:pt x="506" y="411"/>
                  </a:lnTo>
                  <a:lnTo>
                    <a:pt x="504" y="404"/>
                  </a:lnTo>
                  <a:lnTo>
                    <a:pt x="503" y="396"/>
                  </a:lnTo>
                  <a:lnTo>
                    <a:pt x="502" y="394"/>
                  </a:lnTo>
                  <a:lnTo>
                    <a:pt x="501" y="393"/>
                  </a:lnTo>
                  <a:lnTo>
                    <a:pt x="500" y="393"/>
                  </a:lnTo>
                  <a:close/>
                  <a:moveTo>
                    <a:pt x="452" y="0"/>
                  </a:moveTo>
                  <a:lnTo>
                    <a:pt x="453" y="0"/>
                  </a:lnTo>
                  <a:lnTo>
                    <a:pt x="454" y="2"/>
                  </a:lnTo>
                  <a:lnTo>
                    <a:pt x="459" y="7"/>
                  </a:lnTo>
                  <a:lnTo>
                    <a:pt x="468" y="10"/>
                  </a:lnTo>
                  <a:lnTo>
                    <a:pt x="480" y="14"/>
                  </a:lnTo>
                  <a:lnTo>
                    <a:pt x="488" y="15"/>
                  </a:lnTo>
                  <a:lnTo>
                    <a:pt x="542" y="15"/>
                  </a:lnTo>
                  <a:lnTo>
                    <a:pt x="545" y="16"/>
                  </a:lnTo>
                  <a:lnTo>
                    <a:pt x="545" y="18"/>
                  </a:lnTo>
                  <a:lnTo>
                    <a:pt x="544" y="19"/>
                  </a:lnTo>
                  <a:lnTo>
                    <a:pt x="543" y="22"/>
                  </a:lnTo>
                  <a:lnTo>
                    <a:pt x="541" y="24"/>
                  </a:lnTo>
                  <a:lnTo>
                    <a:pt x="538" y="25"/>
                  </a:lnTo>
                  <a:lnTo>
                    <a:pt x="535" y="27"/>
                  </a:lnTo>
                  <a:lnTo>
                    <a:pt x="532" y="27"/>
                  </a:lnTo>
                  <a:lnTo>
                    <a:pt x="526" y="26"/>
                  </a:lnTo>
                  <a:lnTo>
                    <a:pt x="518" y="25"/>
                  </a:lnTo>
                  <a:lnTo>
                    <a:pt x="509" y="24"/>
                  </a:lnTo>
                  <a:lnTo>
                    <a:pt x="502" y="23"/>
                  </a:lnTo>
                  <a:lnTo>
                    <a:pt x="498" y="22"/>
                  </a:lnTo>
                  <a:lnTo>
                    <a:pt x="493" y="24"/>
                  </a:lnTo>
                  <a:lnTo>
                    <a:pt x="488" y="28"/>
                  </a:lnTo>
                  <a:lnTo>
                    <a:pt x="482" y="29"/>
                  </a:lnTo>
                  <a:lnTo>
                    <a:pt x="478" y="30"/>
                  </a:lnTo>
                  <a:lnTo>
                    <a:pt x="474" y="33"/>
                  </a:lnTo>
                  <a:lnTo>
                    <a:pt x="465" y="41"/>
                  </a:lnTo>
                  <a:lnTo>
                    <a:pt x="460" y="43"/>
                  </a:lnTo>
                  <a:lnTo>
                    <a:pt x="446" y="41"/>
                  </a:lnTo>
                  <a:lnTo>
                    <a:pt x="442" y="42"/>
                  </a:lnTo>
                  <a:lnTo>
                    <a:pt x="440" y="44"/>
                  </a:lnTo>
                  <a:lnTo>
                    <a:pt x="436" y="49"/>
                  </a:lnTo>
                  <a:lnTo>
                    <a:pt x="432" y="56"/>
                  </a:lnTo>
                  <a:lnTo>
                    <a:pt x="427" y="63"/>
                  </a:lnTo>
                  <a:lnTo>
                    <a:pt x="420" y="77"/>
                  </a:lnTo>
                  <a:lnTo>
                    <a:pt x="419" y="81"/>
                  </a:lnTo>
                  <a:lnTo>
                    <a:pt x="419" y="86"/>
                  </a:lnTo>
                  <a:lnTo>
                    <a:pt x="421" y="92"/>
                  </a:lnTo>
                  <a:lnTo>
                    <a:pt x="422" y="98"/>
                  </a:lnTo>
                  <a:lnTo>
                    <a:pt x="425" y="101"/>
                  </a:lnTo>
                  <a:lnTo>
                    <a:pt x="435" y="101"/>
                  </a:lnTo>
                  <a:lnTo>
                    <a:pt x="437" y="100"/>
                  </a:lnTo>
                  <a:lnTo>
                    <a:pt x="439" y="100"/>
                  </a:lnTo>
                  <a:lnTo>
                    <a:pt x="439" y="98"/>
                  </a:lnTo>
                  <a:lnTo>
                    <a:pt x="437" y="95"/>
                  </a:lnTo>
                  <a:lnTo>
                    <a:pt x="436" y="90"/>
                  </a:lnTo>
                  <a:lnTo>
                    <a:pt x="436" y="85"/>
                  </a:lnTo>
                  <a:lnTo>
                    <a:pt x="437" y="82"/>
                  </a:lnTo>
                  <a:lnTo>
                    <a:pt x="441" y="75"/>
                  </a:lnTo>
                  <a:lnTo>
                    <a:pt x="445" y="66"/>
                  </a:lnTo>
                  <a:lnTo>
                    <a:pt x="450" y="61"/>
                  </a:lnTo>
                  <a:lnTo>
                    <a:pt x="458" y="57"/>
                  </a:lnTo>
                  <a:lnTo>
                    <a:pt x="465" y="55"/>
                  </a:lnTo>
                  <a:lnTo>
                    <a:pt x="470" y="50"/>
                  </a:lnTo>
                  <a:lnTo>
                    <a:pt x="486" y="44"/>
                  </a:lnTo>
                  <a:lnTo>
                    <a:pt x="492" y="40"/>
                  </a:lnTo>
                  <a:lnTo>
                    <a:pt x="495" y="39"/>
                  </a:lnTo>
                  <a:lnTo>
                    <a:pt x="499" y="41"/>
                  </a:lnTo>
                  <a:lnTo>
                    <a:pt x="504" y="44"/>
                  </a:lnTo>
                  <a:lnTo>
                    <a:pt x="509" y="46"/>
                  </a:lnTo>
                  <a:lnTo>
                    <a:pt x="515" y="45"/>
                  </a:lnTo>
                  <a:lnTo>
                    <a:pt x="519" y="45"/>
                  </a:lnTo>
                  <a:lnTo>
                    <a:pt x="525" y="50"/>
                  </a:lnTo>
                  <a:lnTo>
                    <a:pt x="527" y="54"/>
                  </a:lnTo>
                  <a:lnTo>
                    <a:pt x="530" y="55"/>
                  </a:lnTo>
                  <a:lnTo>
                    <a:pt x="533" y="54"/>
                  </a:lnTo>
                  <a:lnTo>
                    <a:pt x="538" y="49"/>
                  </a:lnTo>
                  <a:lnTo>
                    <a:pt x="543" y="41"/>
                  </a:lnTo>
                  <a:lnTo>
                    <a:pt x="548" y="34"/>
                  </a:lnTo>
                  <a:lnTo>
                    <a:pt x="553" y="29"/>
                  </a:lnTo>
                  <a:lnTo>
                    <a:pt x="559" y="25"/>
                  </a:lnTo>
                  <a:lnTo>
                    <a:pt x="567" y="17"/>
                  </a:lnTo>
                  <a:lnTo>
                    <a:pt x="571" y="18"/>
                  </a:lnTo>
                  <a:lnTo>
                    <a:pt x="573" y="21"/>
                  </a:lnTo>
                  <a:lnTo>
                    <a:pt x="574" y="27"/>
                  </a:lnTo>
                  <a:lnTo>
                    <a:pt x="574" y="33"/>
                  </a:lnTo>
                  <a:lnTo>
                    <a:pt x="575" y="38"/>
                  </a:lnTo>
                  <a:lnTo>
                    <a:pt x="577" y="40"/>
                  </a:lnTo>
                  <a:lnTo>
                    <a:pt x="584" y="40"/>
                  </a:lnTo>
                  <a:lnTo>
                    <a:pt x="587" y="41"/>
                  </a:lnTo>
                  <a:lnTo>
                    <a:pt x="591" y="43"/>
                  </a:lnTo>
                  <a:lnTo>
                    <a:pt x="591" y="45"/>
                  </a:lnTo>
                  <a:lnTo>
                    <a:pt x="590" y="47"/>
                  </a:lnTo>
                  <a:lnTo>
                    <a:pt x="588" y="52"/>
                  </a:lnTo>
                  <a:lnTo>
                    <a:pt x="588" y="58"/>
                  </a:lnTo>
                  <a:lnTo>
                    <a:pt x="590" y="65"/>
                  </a:lnTo>
                  <a:lnTo>
                    <a:pt x="595" y="75"/>
                  </a:lnTo>
                  <a:lnTo>
                    <a:pt x="600" y="80"/>
                  </a:lnTo>
                  <a:lnTo>
                    <a:pt x="604" y="85"/>
                  </a:lnTo>
                  <a:lnTo>
                    <a:pt x="608" y="87"/>
                  </a:lnTo>
                  <a:lnTo>
                    <a:pt x="613" y="88"/>
                  </a:lnTo>
                  <a:lnTo>
                    <a:pt x="620" y="91"/>
                  </a:lnTo>
                  <a:lnTo>
                    <a:pt x="626" y="95"/>
                  </a:lnTo>
                  <a:lnTo>
                    <a:pt x="629" y="98"/>
                  </a:lnTo>
                  <a:lnTo>
                    <a:pt x="632" y="99"/>
                  </a:lnTo>
                  <a:lnTo>
                    <a:pt x="642" y="101"/>
                  </a:lnTo>
                  <a:lnTo>
                    <a:pt x="646" y="104"/>
                  </a:lnTo>
                  <a:lnTo>
                    <a:pt x="648" y="109"/>
                  </a:lnTo>
                  <a:lnTo>
                    <a:pt x="651" y="115"/>
                  </a:lnTo>
                  <a:lnTo>
                    <a:pt x="656" y="120"/>
                  </a:lnTo>
                  <a:lnTo>
                    <a:pt x="665" y="123"/>
                  </a:lnTo>
                  <a:lnTo>
                    <a:pt x="667" y="124"/>
                  </a:lnTo>
                  <a:lnTo>
                    <a:pt x="668" y="125"/>
                  </a:lnTo>
                  <a:lnTo>
                    <a:pt x="671" y="131"/>
                  </a:lnTo>
                  <a:lnTo>
                    <a:pt x="672" y="132"/>
                  </a:lnTo>
                  <a:lnTo>
                    <a:pt x="674" y="133"/>
                  </a:lnTo>
                  <a:lnTo>
                    <a:pt x="677" y="137"/>
                  </a:lnTo>
                  <a:lnTo>
                    <a:pt x="679" y="143"/>
                  </a:lnTo>
                  <a:lnTo>
                    <a:pt x="682" y="150"/>
                  </a:lnTo>
                  <a:lnTo>
                    <a:pt x="685" y="156"/>
                  </a:lnTo>
                  <a:lnTo>
                    <a:pt x="689" y="158"/>
                  </a:lnTo>
                  <a:lnTo>
                    <a:pt x="692" y="156"/>
                  </a:lnTo>
                  <a:lnTo>
                    <a:pt x="693" y="153"/>
                  </a:lnTo>
                  <a:lnTo>
                    <a:pt x="694" y="148"/>
                  </a:lnTo>
                  <a:lnTo>
                    <a:pt x="694" y="144"/>
                  </a:lnTo>
                  <a:lnTo>
                    <a:pt x="695" y="141"/>
                  </a:lnTo>
                  <a:lnTo>
                    <a:pt x="698" y="139"/>
                  </a:lnTo>
                  <a:lnTo>
                    <a:pt x="714" y="137"/>
                  </a:lnTo>
                  <a:lnTo>
                    <a:pt x="720" y="136"/>
                  </a:lnTo>
                  <a:lnTo>
                    <a:pt x="726" y="133"/>
                  </a:lnTo>
                  <a:lnTo>
                    <a:pt x="730" y="130"/>
                  </a:lnTo>
                  <a:lnTo>
                    <a:pt x="735" y="125"/>
                  </a:lnTo>
                  <a:lnTo>
                    <a:pt x="740" y="121"/>
                  </a:lnTo>
                  <a:lnTo>
                    <a:pt x="744" y="120"/>
                  </a:lnTo>
                  <a:lnTo>
                    <a:pt x="746" y="121"/>
                  </a:lnTo>
                  <a:lnTo>
                    <a:pt x="747" y="123"/>
                  </a:lnTo>
                  <a:lnTo>
                    <a:pt x="747" y="127"/>
                  </a:lnTo>
                  <a:lnTo>
                    <a:pt x="746" y="129"/>
                  </a:lnTo>
                  <a:lnTo>
                    <a:pt x="746" y="131"/>
                  </a:lnTo>
                  <a:lnTo>
                    <a:pt x="747" y="133"/>
                  </a:lnTo>
                  <a:lnTo>
                    <a:pt x="749" y="135"/>
                  </a:lnTo>
                  <a:lnTo>
                    <a:pt x="752" y="136"/>
                  </a:lnTo>
                  <a:lnTo>
                    <a:pt x="758" y="137"/>
                  </a:lnTo>
                  <a:lnTo>
                    <a:pt x="764" y="141"/>
                  </a:lnTo>
                  <a:lnTo>
                    <a:pt x="768" y="146"/>
                  </a:lnTo>
                  <a:lnTo>
                    <a:pt x="770" y="151"/>
                  </a:lnTo>
                  <a:lnTo>
                    <a:pt x="767" y="158"/>
                  </a:lnTo>
                  <a:lnTo>
                    <a:pt x="762" y="166"/>
                  </a:lnTo>
                  <a:lnTo>
                    <a:pt x="758" y="174"/>
                  </a:lnTo>
                  <a:lnTo>
                    <a:pt x="757" y="180"/>
                  </a:lnTo>
                  <a:lnTo>
                    <a:pt x="759" y="184"/>
                  </a:lnTo>
                  <a:lnTo>
                    <a:pt x="764" y="187"/>
                  </a:lnTo>
                  <a:lnTo>
                    <a:pt x="769" y="188"/>
                  </a:lnTo>
                  <a:lnTo>
                    <a:pt x="773" y="190"/>
                  </a:lnTo>
                  <a:lnTo>
                    <a:pt x="775" y="192"/>
                  </a:lnTo>
                  <a:lnTo>
                    <a:pt x="776" y="195"/>
                  </a:lnTo>
                  <a:lnTo>
                    <a:pt x="779" y="200"/>
                  </a:lnTo>
                  <a:lnTo>
                    <a:pt x="783" y="205"/>
                  </a:lnTo>
                  <a:lnTo>
                    <a:pt x="786" y="208"/>
                  </a:lnTo>
                  <a:lnTo>
                    <a:pt x="789" y="210"/>
                  </a:lnTo>
                  <a:lnTo>
                    <a:pt x="792" y="213"/>
                  </a:lnTo>
                  <a:lnTo>
                    <a:pt x="795" y="217"/>
                  </a:lnTo>
                  <a:lnTo>
                    <a:pt x="797" y="220"/>
                  </a:lnTo>
                  <a:lnTo>
                    <a:pt x="797" y="223"/>
                  </a:lnTo>
                  <a:lnTo>
                    <a:pt x="793" y="225"/>
                  </a:lnTo>
                  <a:lnTo>
                    <a:pt x="789" y="226"/>
                  </a:lnTo>
                  <a:lnTo>
                    <a:pt x="787" y="227"/>
                  </a:lnTo>
                  <a:lnTo>
                    <a:pt x="783" y="231"/>
                  </a:lnTo>
                  <a:lnTo>
                    <a:pt x="782" y="233"/>
                  </a:lnTo>
                  <a:lnTo>
                    <a:pt x="780" y="236"/>
                  </a:lnTo>
                  <a:lnTo>
                    <a:pt x="778" y="240"/>
                  </a:lnTo>
                  <a:lnTo>
                    <a:pt x="776" y="243"/>
                  </a:lnTo>
                  <a:lnTo>
                    <a:pt x="775" y="245"/>
                  </a:lnTo>
                  <a:lnTo>
                    <a:pt x="775" y="248"/>
                  </a:lnTo>
                  <a:lnTo>
                    <a:pt x="776" y="250"/>
                  </a:lnTo>
                  <a:lnTo>
                    <a:pt x="778" y="251"/>
                  </a:lnTo>
                  <a:lnTo>
                    <a:pt x="780" y="253"/>
                  </a:lnTo>
                  <a:lnTo>
                    <a:pt x="783" y="255"/>
                  </a:lnTo>
                  <a:lnTo>
                    <a:pt x="791" y="262"/>
                  </a:lnTo>
                  <a:lnTo>
                    <a:pt x="799" y="268"/>
                  </a:lnTo>
                  <a:lnTo>
                    <a:pt x="810" y="275"/>
                  </a:lnTo>
                  <a:lnTo>
                    <a:pt x="818" y="279"/>
                  </a:lnTo>
                  <a:lnTo>
                    <a:pt x="827" y="284"/>
                  </a:lnTo>
                  <a:lnTo>
                    <a:pt x="838" y="290"/>
                  </a:lnTo>
                  <a:lnTo>
                    <a:pt x="848" y="294"/>
                  </a:lnTo>
                  <a:lnTo>
                    <a:pt x="858" y="296"/>
                  </a:lnTo>
                  <a:lnTo>
                    <a:pt x="866" y="295"/>
                  </a:lnTo>
                  <a:lnTo>
                    <a:pt x="874" y="290"/>
                  </a:lnTo>
                  <a:lnTo>
                    <a:pt x="878" y="286"/>
                  </a:lnTo>
                  <a:lnTo>
                    <a:pt x="881" y="284"/>
                  </a:lnTo>
                  <a:lnTo>
                    <a:pt x="883" y="285"/>
                  </a:lnTo>
                  <a:lnTo>
                    <a:pt x="884" y="288"/>
                  </a:lnTo>
                  <a:lnTo>
                    <a:pt x="880" y="298"/>
                  </a:lnTo>
                  <a:lnTo>
                    <a:pt x="879" y="304"/>
                  </a:lnTo>
                  <a:lnTo>
                    <a:pt x="879" y="307"/>
                  </a:lnTo>
                  <a:lnTo>
                    <a:pt x="882" y="309"/>
                  </a:lnTo>
                  <a:lnTo>
                    <a:pt x="887" y="309"/>
                  </a:lnTo>
                  <a:lnTo>
                    <a:pt x="893" y="307"/>
                  </a:lnTo>
                  <a:lnTo>
                    <a:pt x="895" y="306"/>
                  </a:lnTo>
                  <a:lnTo>
                    <a:pt x="899" y="317"/>
                  </a:lnTo>
                  <a:lnTo>
                    <a:pt x="904" y="327"/>
                  </a:lnTo>
                  <a:lnTo>
                    <a:pt x="907" y="337"/>
                  </a:lnTo>
                  <a:lnTo>
                    <a:pt x="910" y="345"/>
                  </a:lnTo>
                  <a:lnTo>
                    <a:pt x="911" y="351"/>
                  </a:lnTo>
                  <a:lnTo>
                    <a:pt x="911" y="363"/>
                  </a:lnTo>
                  <a:lnTo>
                    <a:pt x="912" y="375"/>
                  </a:lnTo>
                  <a:lnTo>
                    <a:pt x="915" y="387"/>
                  </a:lnTo>
                  <a:lnTo>
                    <a:pt x="918" y="393"/>
                  </a:lnTo>
                  <a:lnTo>
                    <a:pt x="921" y="403"/>
                  </a:lnTo>
                  <a:lnTo>
                    <a:pt x="925" y="415"/>
                  </a:lnTo>
                  <a:lnTo>
                    <a:pt x="930" y="429"/>
                  </a:lnTo>
                  <a:lnTo>
                    <a:pt x="934" y="444"/>
                  </a:lnTo>
                  <a:lnTo>
                    <a:pt x="938" y="458"/>
                  </a:lnTo>
                  <a:lnTo>
                    <a:pt x="929" y="460"/>
                  </a:lnTo>
                  <a:lnTo>
                    <a:pt x="921" y="461"/>
                  </a:lnTo>
                  <a:lnTo>
                    <a:pt x="915" y="463"/>
                  </a:lnTo>
                  <a:lnTo>
                    <a:pt x="907" y="466"/>
                  </a:lnTo>
                  <a:lnTo>
                    <a:pt x="895" y="478"/>
                  </a:lnTo>
                  <a:lnTo>
                    <a:pt x="891" y="484"/>
                  </a:lnTo>
                  <a:lnTo>
                    <a:pt x="886" y="489"/>
                  </a:lnTo>
                  <a:lnTo>
                    <a:pt x="880" y="492"/>
                  </a:lnTo>
                  <a:lnTo>
                    <a:pt x="872" y="492"/>
                  </a:lnTo>
                  <a:lnTo>
                    <a:pt x="864" y="489"/>
                  </a:lnTo>
                  <a:lnTo>
                    <a:pt x="859" y="484"/>
                  </a:lnTo>
                  <a:lnTo>
                    <a:pt x="855" y="476"/>
                  </a:lnTo>
                  <a:lnTo>
                    <a:pt x="851" y="465"/>
                  </a:lnTo>
                  <a:lnTo>
                    <a:pt x="840" y="442"/>
                  </a:lnTo>
                  <a:lnTo>
                    <a:pt x="833" y="431"/>
                  </a:lnTo>
                  <a:lnTo>
                    <a:pt x="827" y="426"/>
                  </a:lnTo>
                  <a:lnTo>
                    <a:pt x="822" y="424"/>
                  </a:lnTo>
                  <a:lnTo>
                    <a:pt x="817" y="425"/>
                  </a:lnTo>
                  <a:lnTo>
                    <a:pt x="812" y="428"/>
                  </a:lnTo>
                  <a:lnTo>
                    <a:pt x="808" y="432"/>
                  </a:lnTo>
                  <a:lnTo>
                    <a:pt x="802" y="436"/>
                  </a:lnTo>
                  <a:lnTo>
                    <a:pt x="793" y="439"/>
                  </a:lnTo>
                  <a:lnTo>
                    <a:pt x="780" y="440"/>
                  </a:lnTo>
                  <a:lnTo>
                    <a:pt x="766" y="440"/>
                  </a:lnTo>
                  <a:lnTo>
                    <a:pt x="753" y="439"/>
                  </a:lnTo>
                  <a:lnTo>
                    <a:pt x="743" y="439"/>
                  </a:lnTo>
                  <a:lnTo>
                    <a:pt x="734" y="441"/>
                  </a:lnTo>
                  <a:lnTo>
                    <a:pt x="727" y="447"/>
                  </a:lnTo>
                  <a:lnTo>
                    <a:pt x="721" y="456"/>
                  </a:lnTo>
                  <a:lnTo>
                    <a:pt x="718" y="464"/>
                  </a:lnTo>
                  <a:lnTo>
                    <a:pt x="717" y="470"/>
                  </a:lnTo>
                  <a:lnTo>
                    <a:pt x="716" y="474"/>
                  </a:lnTo>
                  <a:lnTo>
                    <a:pt x="715" y="477"/>
                  </a:lnTo>
                  <a:lnTo>
                    <a:pt x="712" y="480"/>
                  </a:lnTo>
                  <a:lnTo>
                    <a:pt x="706" y="484"/>
                  </a:lnTo>
                  <a:lnTo>
                    <a:pt x="699" y="488"/>
                  </a:lnTo>
                  <a:lnTo>
                    <a:pt x="696" y="494"/>
                  </a:lnTo>
                  <a:lnTo>
                    <a:pt x="694" y="500"/>
                  </a:lnTo>
                  <a:lnTo>
                    <a:pt x="694" y="506"/>
                  </a:lnTo>
                  <a:lnTo>
                    <a:pt x="691" y="512"/>
                  </a:lnTo>
                  <a:lnTo>
                    <a:pt x="689" y="512"/>
                  </a:lnTo>
                  <a:lnTo>
                    <a:pt x="688" y="511"/>
                  </a:lnTo>
                  <a:lnTo>
                    <a:pt x="686" y="507"/>
                  </a:lnTo>
                  <a:lnTo>
                    <a:pt x="686" y="505"/>
                  </a:lnTo>
                  <a:lnTo>
                    <a:pt x="685" y="502"/>
                  </a:lnTo>
                  <a:lnTo>
                    <a:pt x="685" y="500"/>
                  </a:lnTo>
                  <a:lnTo>
                    <a:pt x="683" y="497"/>
                  </a:lnTo>
                  <a:lnTo>
                    <a:pt x="678" y="496"/>
                  </a:lnTo>
                  <a:lnTo>
                    <a:pt x="672" y="495"/>
                  </a:lnTo>
                  <a:lnTo>
                    <a:pt x="665" y="495"/>
                  </a:lnTo>
                  <a:lnTo>
                    <a:pt x="661" y="496"/>
                  </a:lnTo>
                  <a:lnTo>
                    <a:pt x="658" y="499"/>
                  </a:lnTo>
                  <a:lnTo>
                    <a:pt x="656" y="504"/>
                  </a:lnTo>
                  <a:lnTo>
                    <a:pt x="652" y="509"/>
                  </a:lnTo>
                  <a:lnTo>
                    <a:pt x="647" y="515"/>
                  </a:lnTo>
                  <a:lnTo>
                    <a:pt x="644" y="518"/>
                  </a:lnTo>
                  <a:lnTo>
                    <a:pt x="643" y="518"/>
                  </a:lnTo>
                  <a:lnTo>
                    <a:pt x="642" y="517"/>
                  </a:lnTo>
                  <a:lnTo>
                    <a:pt x="641" y="515"/>
                  </a:lnTo>
                  <a:lnTo>
                    <a:pt x="641" y="514"/>
                  </a:lnTo>
                  <a:lnTo>
                    <a:pt x="640" y="512"/>
                  </a:lnTo>
                  <a:lnTo>
                    <a:pt x="638" y="511"/>
                  </a:lnTo>
                  <a:lnTo>
                    <a:pt x="636" y="509"/>
                  </a:lnTo>
                  <a:lnTo>
                    <a:pt x="633" y="508"/>
                  </a:lnTo>
                  <a:lnTo>
                    <a:pt x="629" y="507"/>
                  </a:lnTo>
                  <a:lnTo>
                    <a:pt x="623" y="507"/>
                  </a:lnTo>
                  <a:lnTo>
                    <a:pt x="620" y="510"/>
                  </a:lnTo>
                  <a:lnTo>
                    <a:pt x="620" y="512"/>
                  </a:lnTo>
                  <a:lnTo>
                    <a:pt x="619" y="514"/>
                  </a:lnTo>
                  <a:lnTo>
                    <a:pt x="619" y="516"/>
                  </a:lnTo>
                  <a:lnTo>
                    <a:pt x="616" y="522"/>
                  </a:lnTo>
                  <a:lnTo>
                    <a:pt x="610" y="528"/>
                  </a:lnTo>
                  <a:lnTo>
                    <a:pt x="601" y="535"/>
                  </a:lnTo>
                  <a:lnTo>
                    <a:pt x="593" y="540"/>
                  </a:lnTo>
                  <a:lnTo>
                    <a:pt x="585" y="545"/>
                  </a:lnTo>
                  <a:lnTo>
                    <a:pt x="582" y="546"/>
                  </a:lnTo>
                  <a:lnTo>
                    <a:pt x="580" y="547"/>
                  </a:lnTo>
                  <a:lnTo>
                    <a:pt x="578" y="547"/>
                  </a:lnTo>
                  <a:lnTo>
                    <a:pt x="578" y="546"/>
                  </a:lnTo>
                  <a:lnTo>
                    <a:pt x="577" y="545"/>
                  </a:lnTo>
                  <a:lnTo>
                    <a:pt x="577" y="543"/>
                  </a:lnTo>
                  <a:lnTo>
                    <a:pt x="578" y="542"/>
                  </a:lnTo>
                  <a:lnTo>
                    <a:pt x="578" y="539"/>
                  </a:lnTo>
                  <a:lnTo>
                    <a:pt x="577" y="538"/>
                  </a:lnTo>
                  <a:lnTo>
                    <a:pt x="573" y="537"/>
                  </a:lnTo>
                  <a:lnTo>
                    <a:pt x="565" y="536"/>
                  </a:lnTo>
                  <a:lnTo>
                    <a:pt x="530" y="536"/>
                  </a:lnTo>
                  <a:lnTo>
                    <a:pt x="526" y="534"/>
                  </a:lnTo>
                  <a:lnTo>
                    <a:pt x="526" y="528"/>
                  </a:lnTo>
                  <a:lnTo>
                    <a:pt x="527" y="526"/>
                  </a:lnTo>
                  <a:lnTo>
                    <a:pt x="527" y="524"/>
                  </a:lnTo>
                  <a:lnTo>
                    <a:pt x="525" y="522"/>
                  </a:lnTo>
                  <a:lnTo>
                    <a:pt x="521" y="521"/>
                  </a:lnTo>
                  <a:lnTo>
                    <a:pt x="516" y="521"/>
                  </a:lnTo>
                  <a:lnTo>
                    <a:pt x="510" y="519"/>
                  </a:lnTo>
                  <a:lnTo>
                    <a:pt x="504" y="516"/>
                  </a:lnTo>
                  <a:lnTo>
                    <a:pt x="497" y="512"/>
                  </a:lnTo>
                  <a:lnTo>
                    <a:pt x="489" y="510"/>
                  </a:lnTo>
                  <a:lnTo>
                    <a:pt x="482" y="508"/>
                  </a:lnTo>
                  <a:lnTo>
                    <a:pt x="477" y="505"/>
                  </a:lnTo>
                  <a:lnTo>
                    <a:pt x="473" y="503"/>
                  </a:lnTo>
                  <a:lnTo>
                    <a:pt x="470" y="502"/>
                  </a:lnTo>
                  <a:lnTo>
                    <a:pt x="463" y="504"/>
                  </a:lnTo>
                  <a:lnTo>
                    <a:pt x="453" y="506"/>
                  </a:lnTo>
                  <a:lnTo>
                    <a:pt x="447" y="507"/>
                  </a:lnTo>
                  <a:lnTo>
                    <a:pt x="443" y="506"/>
                  </a:lnTo>
                  <a:lnTo>
                    <a:pt x="441" y="504"/>
                  </a:lnTo>
                  <a:lnTo>
                    <a:pt x="439" y="500"/>
                  </a:lnTo>
                  <a:lnTo>
                    <a:pt x="436" y="496"/>
                  </a:lnTo>
                  <a:lnTo>
                    <a:pt x="431" y="491"/>
                  </a:lnTo>
                  <a:lnTo>
                    <a:pt x="420" y="484"/>
                  </a:lnTo>
                  <a:lnTo>
                    <a:pt x="409" y="478"/>
                  </a:lnTo>
                  <a:lnTo>
                    <a:pt x="400" y="473"/>
                  </a:lnTo>
                  <a:lnTo>
                    <a:pt x="394" y="469"/>
                  </a:lnTo>
                  <a:lnTo>
                    <a:pt x="389" y="467"/>
                  </a:lnTo>
                  <a:lnTo>
                    <a:pt x="384" y="469"/>
                  </a:lnTo>
                  <a:lnTo>
                    <a:pt x="377" y="474"/>
                  </a:lnTo>
                  <a:lnTo>
                    <a:pt x="371" y="476"/>
                  </a:lnTo>
                  <a:lnTo>
                    <a:pt x="367" y="475"/>
                  </a:lnTo>
                  <a:lnTo>
                    <a:pt x="363" y="472"/>
                  </a:lnTo>
                  <a:lnTo>
                    <a:pt x="357" y="470"/>
                  </a:lnTo>
                  <a:lnTo>
                    <a:pt x="351" y="470"/>
                  </a:lnTo>
                  <a:lnTo>
                    <a:pt x="346" y="474"/>
                  </a:lnTo>
                  <a:lnTo>
                    <a:pt x="343" y="479"/>
                  </a:lnTo>
                  <a:lnTo>
                    <a:pt x="342" y="486"/>
                  </a:lnTo>
                  <a:lnTo>
                    <a:pt x="340" y="493"/>
                  </a:lnTo>
                  <a:lnTo>
                    <a:pt x="335" y="499"/>
                  </a:lnTo>
                  <a:lnTo>
                    <a:pt x="329" y="503"/>
                  </a:lnTo>
                  <a:lnTo>
                    <a:pt x="321" y="505"/>
                  </a:lnTo>
                  <a:lnTo>
                    <a:pt x="315" y="507"/>
                  </a:lnTo>
                  <a:lnTo>
                    <a:pt x="305" y="515"/>
                  </a:lnTo>
                  <a:lnTo>
                    <a:pt x="299" y="517"/>
                  </a:lnTo>
                  <a:lnTo>
                    <a:pt x="295" y="516"/>
                  </a:lnTo>
                  <a:lnTo>
                    <a:pt x="293" y="512"/>
                  </a:lnTo>
                  <a:lnTo>
                    <a:pt x="293" y="501"/>
                  </a:lnTo>
                  <a:lnTo>
                    <a:pt x="294" y="496"/>
                  </a:lnTo>
                  <a:lnTo>
                    <a:pt x="294" y="492"/>
                  </a:lnTo>
                  <a:lnTo>
                    <a:pt x="293" y="491"/>
                  </a:lnTo>
                  <a:lnTo>
                    <a:pt x="290" y="493"/>
                  </a:lnTo>
                  <a:lnTo>
                    <a:pt x="273" y="510"/>
                  </a:lnTo>
                  <a:lnTo>
                    <a:pt x="266" y="516"/>
                  </a:lnTo>
                  <a:lnTo>
                    <a:pt x="259" y="521"/>
                  </a:lnTo>
                  <a:lnTo>
                    <a:pt x="253" y="523"/>
                  </a:lnTo>
                  <a:lnTo>
                    <a:pt x="242" y="526"/>
                  </a:lnTo>
                  <a:lnTo>
                    <a:pt x="232" y="532"/>
                  </a:lnTo>
                  <a:lnTo>
                    <a:pt x="223" y="539"/>
                  </a:lnTo>
                  <a:lnTo>
                    <a:pt x="217" y="547"/>
                  </a:lnTo>
                  <a:lnTo>
                    <a:pt x="216" y="552"/>
                  </a:lnTo>
                  <a:lnTo>
                    <a:pt x="220" y="556"/>
                  </a:lnTo>
                  <a:lnTo>
                    <a:pt x="226" y="561"/>
                  </a:lnTo>
                  <a:lnTo>
                    <a:pt x="234" y="565"/>
                  </a:lnTo>
                  <a:lnTo>
                    <a:pt x="241" y="570"/>
                  </a:lnTo>
                  <a:lnTo>
                    <a:pt x="246" y="576"/>
                  </a:lnTo>
                  <a:lnTo>
                    <a:pt x="250" y="582"/>
                  </a:lnTo>
                  <a:lnTo>
                    <a:pt x="254" y="584"/>
                  </a:lnTo>
                  <a:lnTo>
                    <a:pt x="257" y="584"/>
                  </a:lnTo>
                  <a:lnTo>
                    <a:pt x="263" y="586"/>
                  </a:lnTo>
                  <a:lnTo>
                    <a:pt x="266" y="591"/>
                  </a:lnTo>
                  <a:lnTo>
                    <a:pt x="266" y="596"/>
                  </a:lnTo>
                  <a:lnTo>
                    <a:pt x="264" y="599"/>
                  </a:lnTo>
                  <a:lnTo>
                    <a:pt x="261" y="601"/>
                  </a:lnTo>
                  <a:lnTo>
                    <a:pt x="259" y="601"/>
                  </a:lnTo>
                  <a:lnTo>
                    <a:pt x="249" y="606"/>
                  </a:lnTo>
                  <a:lnTo>
                    <a:pt x="244" y="605"/>
                  </a:lnTo>
                  <a:lnTo>
                    <a:pt x="237" y="604"/>
                  </a:lnTo>
                  <a:lnTo>
                    <a:pt x="229" y="603"/>
                  </a:lnTo>
                  <a:lnTo>
                    <a:pt x="221" y="601"/>
                  </a:lnTo>
                  <a:lnTo>
                    <a:pt x="217" y="599"/>
                  </a:lnTo>
                  <a:lnTo>
                    <a:pt x="209" y="595"/>
                  </a:lnTo>
                  <a:lnTo>
                    <a:pt x="200" y="592"/>
                  </a:lnTo>
                  <a:lnTo>
                    <a:pt x="192" y="592"/>
                  </a:lnTo>
                  <a:lnTo>
                    <a:pt x="187" y="593"/>
                  </a:lnTo>
                  <a:lnTo>
                    <a:pt x="181" y="594"/>
                  </a:lnTo>
                  <a:lnTo>
                    <a:pt x="176" y="595"/>
                  </a:lnTo>
                  <a:lnTo>
                    <a:pt x="172" y="595"/>
                  </a:lnTo>
                  <a:lnTo>
                    <a:pt x="169" y="592"/>
                  </a:lnTo>
                  <a:lnTo>
                    <a:pt x="166" y="585"/>
                  </a:lnTo>
                  <a:lnTo>
                    <a:pt x="161" y="576"/>
                  </a:lnTo>
                  <a:lnTo>
                    <a:pt x="157" y="568"/>
                  </a:lnTo>
                  <a:lnTo>
                    <a:pt x="153" y="564"/>
                  </a:lnTo>
                  <a:lnTo>
                    <a:pt x="150" y="564"/>
                  </a:lnTo>
                  <a:lnTo>
                    <a:pt x="149" y="565"/>
                  </a:lnTo>
                  <a:lnTo>
                    <a:pt x="148" y="567"/>
                  </a:lnTo>
                  <a:lnTo>
                    <a:pt x="147" y="568"/>
                  </a:lnTo>
                  <a:lnTo>
                    <a:pt x="145" y="569"/>
                  </a:lnTo>
                  <a:lnTo>
                    <a:pt x="144" y="570"/>
                  </a:lnTo>
                  <a:lnTo>
                    <a:pt x="142" y="570"/>
                  </a:lnTo>
                  <a:lnTo>
                    <a:pt x="138" y="566"/>
                  </a:lnTo>
                  <a:lnTo>
                    <a:pt x="137" y="563"/>
                  </a:lnTo>
                  <a:lnTo>
                    <a:pt x="135" y="559"/>
                  </a:lnTo>
                  <a:lnTo>
                    <a:pt x="135" y="558"/>
                  </a:lnTo>
                  <a:lnTo>
                    <a:pt x="134" y="556"/>
                  </a:lnTo>
                  <a:lnTo>
                    <a:pt x="132" y="555"/>
                  </a:lnTo>
                  <a:lnTo>
                    <a:pt x="130" y="555"/>
                  </a:lnTo>
                  <a:lnTo>
                    <a:pt x="124" y="556"/>
                  </a:lnTo>
                  <a:lnTo>
                    <a:pt x="120" y="559"/>
                  </a:lnTo>
                  <a:lnTo>
                    <a:pt x="116" y="561"/>
                  </a:lnTo>
                  <a:lnTo>
                    <a:pt x="111" y="560"/>
                  </a:lnTo>
                  <a:lnTo>
                    <a:pt x="107" y="557"/>
                  </a:lnTo>
                  <a:lnTo>
                    <a:pt x="93" y="547"/>
                  </a:lnTo>
                  <a:lnTo>
                    <a:pt x="83" y="539"/>
                  </a:lnTo>
                  <a:lnTo>
                    <a:pt x="72" y="532"/>
                  </a:lnTo>
                  <a:lnTo>
                    <a:pt x="62" y="524"/>
                  </a:lnTo>
                  <a:lnTo>
                    <a:pt x="53" y="517"/>
                  </a:lnTo>
                  <a:lnTo>
                    <a:pt x="46" y="511"/>
                  </a:lnTo>
                  <a:lnTo>
                    <a:pt x="42" y="506"/>
                  </a:lnTo>
                  <a:lnTo>
                    <a:pt x="38" y="502"/>
                  </a:lnTo>
                  <a:lnTo>
                    <a:pt x="35" y="501"/>
                  </a:lnTo>
                  <a:lnTo>
                    <a:pt x="31" y="500"/>
                  </a:lnTo>
                  <a:lnTo>
                    <a:pt x="28" y="499"/>
                  </a:lnTo>
                  <a:lnTo>
                    <a:pt x="26" y="495"/>
                  </a:lnTo>
                  <a:lnTo>
                    <a:pt x="25" y="487"/>
                  </a:lnTo>
                  <a:lnTo>
                    <a:pt x="26" y="481"/>
                  </a:lnTo>
                  <a:lnTo>
                    <a:pt x="26" y="477"/>
                  </a:lnTo>
                  <a:lnTo>
                    <a:pt x="23" y="474"/>
                  </a:lnTo>
                  <a:lnTo>
                    <a:pt x="20" y="473"/>
                  </a:lnTo>
                  <a:lnTo>
                    <a:pt x="14" y="472"/>
                  </a:lnTo>
                  <a:lnTo>
                    <a:pt x="0" y="474"/>
                  </a:lnTo>
                  <a:lnTo>
                    <a:pt x="1" y="461"/>
                  </a:lnTo>
                  <a:lnTo>
                    <a:pt x="2" y="451"/>
                  </a:lnTo>
                  <a:lnTo>
                    <a:pt x="4" y="443"/>
                  </a:lnTo>
                  <a:lnTo>
                    <a:pt x="6" y="438"/>
                  </a:lnTo>
                  <a:lnTo>
                    <a:pt x="13" y="435"/>
                  </a:lnTo>
                  <a:lnTo>
                    <a:pt x="21" y="432"/>
                  </a:lnTo>
                  <a:lnTo>
                    <a:pt x="30" y="429"/>
                  </a:lnTo>
                  <a:lnTo>
                    <a:pt x="36" y="426"/>
                  </a:lnTo>
                  <a:lnTo>
                    <a:pt x="40" y="420"/>
                  </a:lnTo>
                  <a:lnTo>
                    <a:pt x="45" y="411"/>
                  </a:lnTo>
                  <a:lnTo>
                    <a:pt x="49" y="402"/>
                  </a:lnTo>
                  <a:lnTo>
                    <a:pt x="51" y="395"/>
                  </a:lnTo>
                  <a:lnTo>
                    <a:pt x="53" y="393"/>
                  </a:lnTo>
                  <a:lnTo>
                    <a:pt x="58" y="393"/>
                  </a:lnTo>
                  <a:lnTo>
                    <a:pt x="63" y="394"/>
                  </a:lnTo>
                  <a:lnTo>
                    <a:pt x="69" y="395"/>
                  </a:lnTo>
                  <a:lnTo>
                    <a:pt x="74" y="394"/>
                  </a:lnTo>
                  <a:lnTo>
                    <a:pt x="78" y="390"/>
                  </a:lnTo>
                  <a:lnTo>
                    <a:pt x="80" y="383"/>
                  </a:lnTo>
                  <a:lnTo>
                    <a:pt x="79" y="378"/>
                  </a:lnTo>
                  <a:lnTo>
                    <a:pt x="78" y="374"/>
                  </a:lnTo>
                  <a:lnTo>
                    <a:pt x="78" y="370"/>
                  </a:lnTo>
                  <a:lnTo>
                    <a:pt x="80" y="360"/>
                  </a:lnTo>
                  <a:lnTo>
                    <a:pt x="81" y="353"/>
                  </a:lnTo>
                  <a:lnTo>
                    <a:pt x="81" y="347"/>
                  </a:lnTo>
                  <a:lnTo>
                    <a:pt x="80" y="342"/>
                  </a:lnTo>
                  <a:lnTo>
                    <a:pt x="76" y="338"/>
                  </a:lnTo>
                  <a:lnTo>
                    <a:pt x="71" y="336"/>
                  </a:lnTo>
                  <a:lnTo>
                    <a:pt x="58" y="334"/>
                  </a:lnTo>
                  <a:lnTo>
                    <a:pt x="48" y="330"/>
                  </a:lnTo>
                  <a:lnTo>
                    <a:pt x="41" y="324"/>
                  </a:lnTo>
                  <a:lnTo>
                    <a:pt x="38" y="321"/>
                  </a:lnTo>
                  <a:lnTo>
                    <a:pt x="32" y="317"/>
                  </a:lnTo>
                  <a:lnTo>
                    <a:pt x="30" y="313"/>
                  </a:lnTo>
                  <a:lnTo>
                    <a:pt x="31" y="307"/>
                  </a:lnTo>
                  <a:lnTo>
                    <a:pt x="35" y="292"/>
                  </a:lnTo>
                  <a:lnTo>
                    <a:pt x="37" y="279"/>
                  </a:lnTo>
                  <a:lnTo>
                    <a:pt x="37" y="268"/>
                  </a:lnTo>
                  <a:lnTo>
                    <a:pt x="39" y="263"/>
                  </a:lnTo>
                  <a:lnTo>
                    <a:pt x="50" y="252"/>
                  </a:lnTo>
                  <a:lnTo>
                    <a:pt x="57" y="249"/>
                  </a:lnTo>
                  <a:lnTo>
                    <a:pt x="63" y="247"/>
                  </a:lnTo>
                  <a:lnTo>
                    <a:pt x="65" y="245"/>
                  </a:lnTo>
                  <a:lnTo>
                    <a:pt x="66" y="240"/>
                  </a:lnTo>
                  <a:lnTo>
                    <a:pt x="65" y="232"/>
                  </a:lnTo>
                  <a:lnTo>
                    <a:pt x="65" y="223"/>
                  </a:lnTo>
                  <a:lnTo>
                    <a:pt x="67" y="223"/>
                  </a:lnTo>
                  <a:lnTo>
                    <a:pt x="70" y="222"/>
                  </a:lnTo>
                  <a:lnTo>
                    <a:pt x="78" y="219"/>
                  </a:lnTo>
                  <a:lnTo>
                    <a:pt x="89" y="215"/>
                  </a:lnTo>
                  <a:lnTo>
                    <a:pt x="99" y="210"/>
                  </a:lnTo>
                  <a:lnTo>
                    <a:pt x="111" y="206"/>
                  </a:lnTo>
                  <a:lnTo>
                    <a:pt x="122" y="204"/>
                  </a:lnTo>
                  <a:lnTo>
                    <a:pt x="129" y="205"/>
                  </a:lnTo>
                  <a:lnTo>
                    <a:pt x="133" y="207"/>
                  </a:lnTo>
                  <a:lnTo>
                    <a:pt x="135" y="211"/>
                  </a:lnTo>
                  <a:lnTo>
                    <a:pt x="137" y="214"/>
                  </a:lnTo>
                  <a:lnTo>
                    <a:pt x="138" y="217"/>
                  </a:lnTo>
                  <a:lnTo>
                    <a:pt x="141" y="218"/>
                  </a:lnTo>
                  <a:lnTo>
                    <a:pt x="143" y="218"/>
                  </a:lnTo>
                  <a:lnTo>
                    <a:pt x="144" y="219"/>
                  </a:lnTo>
                  <a:lnTo>
                    <a:pt x="145" y="221"/>
                  </a:lnTo>
                  <a:lnTo>
                    <a:pt x="145" y="229"/>
                  </a:lnTo>
                  <a:lnTo>
                    <a:pt x="146" y="231"/>
                  </a:lnTo>
                  <a:lnTo>
                    <a:pt x="147" y="232"/>
                  </a:lnTo>
                  <a:lnTo>
                    <a:pt x="149" y="233"/>
                  </a:lnTo>
                  <a:lnTo>
                    <a:pt x="161" y="233"/>
                  </a:lnTo>
                  <a:lnTo>
                    <a:pt x="168" y="232"/>
                  </a:lnTo>
                  <a:lnTo>
                    <a:pt x="173" y="231"/>
                  </a:lnTo>
                  <a:lnTo>
                    <a:pt x="175" y="231"/>
                  </a:lnTo>
                  <a:lnTo>
                    <a:pt x="176" y="230"/>
                  </a:lnTo>
                  <a:lnTo>
                    <a:pt x="176" y="231"/>
                  </a:lnTo>
                  <a:lnTo>
                    <a:pt x="177" y="231"/>
                  </a:lnTo>
                  <a:lnTo>
                    <a:pt x="177" y="232"/>
                  </a:lnTo>
                  <a:lnTo>
                    <a:pt x="178" y="233"/>
                  </a:lnTo>
                  <a:lnTo>
                    <a:pt x="184" y="235"/>
                  </a:lnTo>
                  <a:lnTo>
                    <a:pt x="191" y="238"/>
                  </a:lnTo>
                  <a:lnTo>
                    <a:pt x="196" y="241"/>
                  </a:lnTo>
                  <a:lnTo>
                    <a:pt x="199" y="244"/>
                  </a:lnTo>
                  <a:lnTo>
                    <a:pt x="202" y="243"/>
                  </a:lnTo>
                  <a:lnTo>
                    <a:pt x="205" y="237"/>
                  </a:lnTo>
                  <a:lnTo>
                    <a:pt x="206" y="229"/>
                  </a:lnTo>
                  <a:lnTo>
                    <a:pt x="208" y="220"/>
                  </a:lnTo>
                  <a:lnTo>
                    <a:pt x="210" y="213"/>
                  </a:lnTo>
                  <a:lnTo>
                    <a:pt x="213" y="206"/>
                  </a:lnTo>
                  <a:lnTo>
                    <a:pt x="216" y="200"/>
                  </a:lnTo>
                  <a:lnTo>
                    <a:pt x="223" y="194"/>
                  </a:lnTo>
                  <a:lnTo>
                    <a:pt x="228" y="189"/>
                  </a:lnTo>
                  <a:lnTo>
                    <a:pt x="233" y="183"/>
                  </a:lnTo>
                  <a:lnTo>
                    <a:pt x="237" y="177"/>
                  </a:lnTo>
                  <a:lnTo>
                    <a:pt x="238" y="173"/>
                  </a:lnTo>
                  <a:lnTo>
                    <a:pt x="239" y="168"/>
                  </a:lnTo>
                  <a:lnTo>
                    <a:pt x="240" y="161"/>
                  </a:lnTo>
                  <a:lnTo>
                    <a:pt x="244" y="153"/>
                  </a:lnTo>
                  <a:lnTo>
                    <a:pt x="249" y="146"/>
                  </a:lnTo>
                  <a:lnTo>
                    <a:pt x="257" y="142"/>
                  </a:lnTo>
                  <a:lnTo>
                    <a:pt x="268" y="142"/>
                  </a:lnTo>
                  <a:lnTo>
                    <a:pt x="286" y="148"/>
                  </a:lnTo>
                  <a:lnTo>
                    <a:pt x="294" y="146"/>
                  </a:lnTo>
                  <a:lnTo>
                    <a:pt x="303" y="141"/>
                  </a:lnTo>
                  <a:lnTo>
                    <a:pt x="316" y="136"/>
                  </a:lnTo>
                  <a:lnTo>
                    <a:pt x="330" y="132"/>
                  </a:lnTo>
                  <a:lnTo>
                    <a:pt x="343" y="129"/>
                  </a:lnTo>
                  <a:lnTo>
                    <a:pt x="351" y="127"/>
                  </a:lnTo>
                  <a:lnTo>
                    <a:pt x="357" y="124"/>
                  </a:lnTo>
                  <a:lnTo>
                    <a:pt x="361" y="118"/>
                  </a:lnTo>
                  <a:lnTo>
                    <a:pt x="365" y="111"/>
                  </a:lnTo>
                  <a:lnTo>
                    <a:pt x="370" y="104"/>
                  </a:lnTo>
                  <a:lnTo>
                    <a:pt x="377" y="99"/>
                  </a:lnTo>
                  <a:lnTo>
                    <a:pt x="391" y="92"/>
                  </a:lnTo>
                  <a:lnTo>
                    <a:pt x="405" y="83"/>
                  </a:lnTo>
                  <a:lnTo>
                    <a:pt x="415" y="72"/>
                  </a:lnTo>
                  <a:lnTo>
                    <a:pt x="420" y="65"/>
                  </a:lnTo>
                  <a:lnTo>
                    <a:pt x="425" y="55"/>
                  </a:lnTo>
                  <a:lnTo>
                    <a:pt x="431" y="45"/>
                  </a:lnTo>
                  <a:lnTo>
                    <a:pt x="436" y="34"/>
                  </a:lnTo>
                  <a:lnTo>
                    <a:pt x="441" y="24"/>
                  </a:lnTo>
                  <a:lnTo>
                    <a:pt x="444" y="17"/>
                  </a:lnTo>
                  <a:lnTo>
                    <a:pt x="446" y="9"/>
                  </a:lnTo>
                  <a:lnTo>
                    <a:pt x="448" y="6"/>
                  </a:lnTo>
                  <a:lnTo>
                    <a:pt x="449" y="3"/>
                  </a:lnTo>
                  <a:lnTo>
                    <a:pt x="450" y="1"/>
                  </a:lnTo>
                  <a:lnTo>
                    <a:pt x="452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0">
              <a:extLst>
                <a:ext uri="{FF2B5EF4-FFF2-40B4-BE49-F238E27FC236}">
                  <a16:creationId xmlns:a16="http://schemas.microsoft.com/office/drawing/2014/main" id="{FD8FE3B3-3638-4AE5-8AAC-D1D9EFF589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97638" y="2262188"/>
              <a:ext cx="1344613" cy="1370013"/>
            </a:xfrm>
            <a:custGeom>
              <a:avLst/>
              <a:gdLst/>
              <a:ahLst/>
              <a:cxnLst>
                <a:cxn ang="0">
                  <a:pos x="444" y="335"/>
                </a:cxn>
                <a:cxn ang="0">
                  <a:pos x="413" y="402"/>
                </a:cxn>
                <a:cxn ang="0">
                  <a:pos x="449" y="426"/>
                </a:cxn>
                <a:cxn ang="0">
                  <a:pos x="495" y="426"/>
                </a:cxn>
                <a:cxn ang="0">
                  <a:pos x="558" y="445"/>
                </a:cxn>
                <a:cxn ang="0">
                  <a:pos x="553" y="397"/>
                </a:cxn>
                <a:cxn ang="0">
                  <a:pos x="526" y="363"/>
                </a:cxn>
                <a:cxn ang="0">
                  <a:pos x="611" y="2"/>
                </a:cxn>
                <a:cxn ang="0">
                  <a:pos x="675" y="60"/>
                </a:cxn>
                <a:cxn ang="0">
                  <a:pos x="728" y="77"/>
                </a:cxn>
                <a:cxn ang="0">
                  <a:pos x="661" y="184"/>
                </a:cxn>
                <a:cxn ang="0">
                  <a:pos x="660" y="242"/>
                </a:cxn>
                <a:cxn ang="0">
                  <a:pos x="718" y="274"/>
                </a:cxn>
                <a:cxn ang="0">
                  <a:pos x="793" y="343"/>
                </a:cxn>
                <a:cxn ang="0">
                  <a:pos x="784" y="398"/>
                </a:cxn>
                <a:cxn ang="0">
                  <a:pos x="802" y="473"/>
                </a:cxn>
                <a:cxn ang="0">
                  <a:pos x="816" y="492"/>
                </a:cxn>
                <a:cxn ang="0">
                  <a:pos x="816" y="519"/>
                </a:cxn>
                <a:cxn ang="0">
                  <a:pos x="831" y="561"/>
                </a:cxn>
                <a:cxn ang="0">
                  <a:pos x="804" y="643"/>
                </a:cxn>
                <a:cxn ang="0">
                  <a:pos x="844" y="724"/>
                </a:cxn>
                <a:cxn ang="0">
                  <a:pos x="823" y="768"/>
                </a:cxn>
                <a:cxn ang="0">
                  <a:pos x="748" y="786"/>
                </a:cxn>
                <a:cxn ang="0">
                  <a:pos x="711" y="777"/>
                </a:cxn>
                <a:cxn ang="0">
                  <a:pos x="666" y="840"/>
                </a:cxn>
                <a:cxn ang="0">
                  <a:pos x="600" y="857"/>
                </a:cxn>
                <a:cxn ang="0">
                  <a:pos x="493" y="844"/>
                </a:cxn>
                <a:cxn ang="0">
                  <a:pos x="447" y="839"/>
                </a:cxn>
                <a:cxn ang="0">
                  <a:pos x="447" y="788"/>
                </a:cxn>
                <a:cxn ang="0">
                  <a:pos x="420" y="750"/>
                </a:cxn>
                <a:cxn ang="0">
                  <a:pos x="438" y="695"/>
                </a:cxn>
                <a:cxn ang="0">
                  <a:pos x="395" y="650"/>
                </a:cxn>
                <a:cxn ang="0">
                  <a:pos x="330" y="618"/>
                </a:cxn>
                <a:cxn ang="0">
                  <a:pos x="267" y="605"/>
                </a:cxn>
                <a:cxn ang="0">
                  <a:pos x="203" y="555"/>
                </a:cxn>
                <a:cxn ang="0">
                  <a:pos x="188" y="492"/>
                </a:cxn>
                <a:cxn ang="0">
                  <a:pos x="207" y="397"/>
                </a:cxn>
                <a:cxn ang="0">
                  <a:pos x="167" y="390"/>
                </a:cxn>
                <a:cxn ang="0">
                  <a:pos x="184" y="338"/>
                </a:cxn>
                <a:cxn ang="0">
                  <a:pos x="188" y="278"/>
                </a:cxn>
                <a:cxn ang="0">
                  <a:pos x="137" y="239"/>
                </a:cxn>
                <a:cxn ang="0">
                  <a:pos x="78" y="215"/>
                </a:cxn>
                <a:cxn ang="0">
                  <a:pos x="42" y="193"/>
                </a:cxn>
                <a:cxn ang="0">
                  <a:pos x="47" y="162"/>
                </a:cxn>
                <a:cxn ang="0">
                  <a:pos x="1" y="123"/>
                </a:cxn>
                <a:cxn ang="0">
                  <a:pos x="78" y="68"/>
                </a:cxn>
                <a:cxn ang="0">
                  <a:pos x="119" y="75"/>
                </a:cxn>
                <a:cxn ang="0">
                  <a:pos x="161" y="50"/>
                </a:cxn>
                <a:cxn ang="0">
                  <a:pos x="225" y="80"/>
                </a:cxn>
                <a:cxn ang="0">
                  <a:pos x="281" y="88"/>
                </a:cxn>
                <a:cxn ang="0">
                  <a:pos x="314" y="112"/>
                </a:cxn>
                <a:cxn ang="0">
                  <a:pos x="364" y="123"/>
                </a:cxn>
                <a:cxn ang="0">
                  <a:pos x="404" y="86"/>
                </a:cxn>
                <a:cxn ang="0">
                  <a:pos x="427" y="94"/>
                </a:cxn>
                <a:cxn ang="0">
                  <a:pos x="467" y="73"/>
                </a:cxn>
                <a:cxn ang="0">
                  <a:pos x="480" y="70"/>
                </a:cxn>
                <a:cxn ang="0">
                  <a:pos x="518" y="17"/>
                </a:cxn>
                <a:cxn ang="0">
                  <a:pos x="606" y="0"/>
                </a:cxn>
              </a:cxnLst>
              <a:rect l="0" t="0" r="r" b="b"/>
              <a:pathLst>
                <a:path w="847" h="863">
                  <a:moveTo>
                    <a:pt x="500" y="319"/>
                  </a:moveTo>
                  <a:lnTo>
                    <a:pt x="495" y="324"/>
                  </a:lnTo>
                  <a:lnTo>
                    <a:pt x="492" y="326"/>
                  </a:lnTo>
                  <a:lnTo>
                    <a:pt x="490" y="329"/>
                  </a:lnTo>
                  <a:lnTo>
                    <a:pt x="484" y="334"/>
                  </a:lnTo>
                  <a:lnTo>
                    <a:pt x="476" y="337"/>
                  </a:lnTo>
                  <a:lnTo>
                    <a:pt x="467" y="339"/>
                  </a:lnTo>
                  <a:lnTo>
                    <a:pt x="459" y="338"/>
                  </a:lnTo>
                  <a:lnTo>
                    <a:pt x="451" y="336"/>
                  </a:lnTo>
                  <a:lnTo>
                    <a:pt x="444" y="335"/>
                  </a:lnTo>
                  <a:lnTo>
                    <a:pt x="438" y="337"/>
                  </a:lnTo>
                  <a:lnTo>
                    <a:pt x="433" y="341"/>
                  </a:lnTo>
                  <a:lnTo>
                    <a:pt x="430" y="347"/>
                  </a:lnTo>
                  <a:lnTo>
                    <a:pt x="427" y="352"/>
                  </a:lnTo>
                  <a:lnTo>
                    <a:pt x="422" y="357"/>
                  </a:lnTo>
                  <a:lnTo>
                    <a:pt x="419" y="361"/>
                  </a:lnTo>
                  <a:lnTo>
                    <a:pt x="418" y="369"/>
                  </a:lnTo>
                  <a:lnTo>
                    <a:pt x="416" y="389"/>
                  </a:lnTo>
                  <a:lnTo>
                    <a:pt x="415" y="397"/>
                  </a:lnTo>
                  <a:lnTo>
                    <a:pt x="413" y="402"/>
                  </a:lnTo>
                  <a:lnTo>
                    <a:pt x="410" y="408"/>
                  </a:lnTo>
                  <a:lnTo>
                    <a:pt x="410" y="417"/>
                  </a:lnTo>
                  <a:lnTo>
                    <a:pt x="411" y="425"/>
                  </a:lnTo>
                  <a:lnTo>
                    <a:pt x="415" y="432"/>
                  </a:lnTo>
                  <a:lnTo>
                    <a:pt x="420" y="434"/>
                  </a:lnTo>
                  <a:lnTo>
                    <a:pt x="427" y="433"/>
                  </a:lnTo>
                  <a:lnTo>
                    <a:pt x="434" y="431"/>
                  </a:lnTo>
                  <a:lnTo>
                    <a:pt x="441" y="428"/>
                  </a:lnTo>
                  <a:lnTo>
                    <a:pt x="445" y="426"/>
                  </a:lnTo>
                  <a:lnTo>
                    <a:pt x="449" y="426"/>
                  </a:lnTo>
                  <a:lnTo>
                    <a:pt x="454" y="429"/>
                  </a:lnTo>
                  <a:lnTo>
                    <a:pt x="460" y="433"/>
                  </a:lnTo>
                  <a:lnTo>
                    <a:pt x="470" y="439"/>
                  </a:lnTo>
                  <a:lnTo>
                    <a:pt x="477" y="440"/>
                  </a:lnTo>
                  <a:lnTo>
                    <a:pt x="491" y="440"/>
                  </a:lnTo>
                  <a:lnTo>
                    <a:pt x="493" y="438"/>
                  </a:lnTo>
                  <a:lnTo>
                    <a:pt x="493" y="430"/>
                  </a:lnTo>
                  <a:lnTo>
                    <a:pt x="494" y="428"/>
                  </a:lnTo>
                  <a:lnTo>
                    <a:pt x="494" y="427"/>
                  </a:lnTo>
                  <a:lnTo>
                    <a:pt x="495" y="426"/>
                  </a:lnTo>
                  <a:lnTo>
                    <a:pt x="499" y="426"/>
                  </a:lnTo>
                  <a:lnTo>
                    <a:pt x="504" y="427"/>
                  </a:lnTo>
                  <a:lnTo>
                    <a:pt x="508" y="429"/>
                  </a:lnTo>
                  <a:lnTo>
                    <a:pt x="512" y="429"/>
                  </a:lnTo>
                  <a:lnTo>
                    <a:pt x="517" y="430"/>
                  </a:lnTo>
                  <a:lnTo>
                    <a:pt x="525" y="434"/>
                  </a:lnTo>
                  <a:lnTo>
                    <a:pt x="543" y="444"/>
                  </a:lnTo>
                  <a:lnTo>
                    <a:pt x="550" y="448"/>
                  </a:lnTo>
                  <a:lnTo>
                    <a:pt x="555" y="448"/>
                  </a:lnTo>
                  <a:lnTo>
                    <a:pt x="558" y="445"/>
                  </a:lnTo>
                  <a:lnTo>
                    <a:pt x="561" y="440"/>
                  </a:lnTo>
                  <a:lnTo>
                    <a:pt x="563" y="434"/>
                  </a:lnTo>
                  <a:lnTo>
                    <a:pt x="563" y="428"/>
                  </a:lnTo>
                  <a:lnTo>
                    <a:pt x="564" y="420"/>
                  </a:lnTo>
                  <a:lnTo>
                    <a:pt x="568" y="413"/>
                  </a:lnTo>
                  <a:lnTo>
                    <a:pt x="572" y="408"/>
                  </a:lnTo>
                  <a:lnTo>
                    <a:pt x="572" y="405"/>
                  </a:lnTo>
                  <a:lnTo>
                    <a:pt x="568" y="402"/>
                  </a:lnTo>
                  <a:lnTo>
                    <a:pt x="561" y="399"/>
                  </a:lnTo>
                  <a:lnTo>
                    <a:pt x="553" y="397"/>
                  </a:lnTo>
                  <a:lnTo>
                    <a:pt x="546" y="396"/>
                  </a:lnTo>
                  <a:lnTo>
                    <a:pt x="540" y="395"/>
                  </a:lnTo>
                  <a:lnTo>
                    <a:pt x="538" y="394"/>
                  </a:lnTo>
                  <a:lnTo>
                    <a:pt x="538" y="391"/>
                  </a:lnTo>
                  <a:lnTo>
                    <a:pt x="540" y="386"/>
                  </a:lnTo>
                  <a:lnTo>
                    <a:pt x="542" y="382"/>
                  </a:lnTo>
                  <a:lnTo>
                    <a:pt x="542" y="378"/>
                  </a:lnTo>
                  <a:lnTo>
                    <a:pt x="540" y="375"/>
                  </a:lnTo>
                  <a:lnTo>
                    <a:pt x="534" y="370"/>
                  </a:lnTo>
                  <a:lnTo>
                    <a:pt x="526" y="363"/>
                  </a:lnTo>
                  <a:lnTo>
                    <a:pt x="518" y="355"/>
                  </a:lnTo>
                  <a:lnTo>
                    <a:pt x="511" y="351"/>
                  </a:lnTo>
                  <a:lnTo>
                    <a:pt x="507" y="348"/>
                  </a:lnTo>
                  <a:lnTo>
                    <a:pt x="505" y="342"/>
                  </a:lnTo>
                  <a:lnTo>
                    <a:pt x="504" y="328"/>
                  </a:lnTo>
                  <a:lnTo>
                    <a:pt x="503" y="322"/>
                  </a:lnTo>
                  <a:lnTo>
                    <a:pt x="502" y="320"/>
                  </a:lnTo>
                  <a:lnTo>
                    <a:pt x="500" y="319"/>
                  </a:lnTo>
                  <a:close/>
                  <a:moveTo>
                    <a:pt x="606" y="0"/>
                  </a:moveTo>
                  <a:lnTo>
                    <a:pt x="611" y="2"/>
                  </a:lnTo>
                  <a:lnTo>
                    <a:pt x="617" y="7"/>
                  </a:lnTo>
                  <a:lnTo>
                    <a:pt x="624" y="18"/>
                  </a:lnTo>
                  <a:lnTo>
                    <a:pt x="635" y="41"/>
                  </a:lnTo>
                  <a:lnTo>
                    <a:pt x="639" y="52"/>
                  </a:lnTo>
                  <a:lnTo>
                    <a:pt x="643" y="60"/>
                  </a:lnTo>
                  <a:lnTo>
                    <a:pt x="648" y="65"/>
                  </a:lnTo>
                  <a:lnTo>
                    <a:pt x="656" y="68"/>
                  </a:lnTo>
                  <a:lnTo>
                    <a:pt x="664" y="68"/>
                  </a:lnTo>
                  <a:lnTo>
                    <a:pt x="670" y="65"/>
                  </a:lnTo>
                  <a:lnTo>
                    <a:pt x="675" y="60"/>
                  </a:lnTo>
                  <a:lnTo>
                    <a:pt x="679" y="54"/>
                  </a:lnTo>
                  <a:lnTo>
                    <a:pt x="691" y="42"/>
                  </a:lnTo>
                  <a:lnTo>
                    <a:pt x="699" y="39"/>
                  </a:lnTo>
                  <a:lnTo>
                    <a:pt x="705" y="37"/>
                  </a:lnTo>
                  <a:lnTo>
                    <a:pt x="713" y="36"/>
                  </a:lnTo>
                  <a:lnTo>
                    <a:pt x="722" y="34"/>
                  </a:lnTo>
                  <a:lnTo>
                    <a:pt x="726" y="48"/>
                  </a:lnTo>
                  <a:lnTo>
                    <a:pt x="729" y="60"/>
                  </a:lnTo>
                  <a:lnTo>
                    <a:pt x="730" y="67"/>
                  </a:lnTo>
                  <a:lnTo>
                    <a:pt x="728" y="77"/>
                  </a:lnTo>
                  <a:lnTo>
                    <a:pt x="723" y="87"/>
                  </a:lnTo>
                  <a:lnTo>
                    <a:pt x="718" y="96"/>
                  </a:lnTo>
                  <a:lnTo>
                    <a:pt x="716" y="106"/>
                  </a:lnTo>
                  <a:lnTo>
                    <a:pt x="716" y="133"/>
                  </a:lnTo>
                  <a:lnTo>
                    <a:pt x="714" y="149"/>
                  </a:lnTo>
                  <a:lnTo>
                    <a:pt x="709" y="157"/>
                  </a:lnTo>
                  <a:lnTo>
                    <a:pt x="700" y="165"/>
                  </a:lnTo>
                  <a:lnTo>
                    <a:pt x="678" y="176"/>
                  </a:lnTo>
                  <a:lnTo>
                    <a:pt x="668" y="181"/>
                  </a:lnTo>
                  <a:lnTo>
                    <a:pt x="661" y="184"/>
                  </a:lnTo>
                  <a:lnTo>
                    <a:pt x="658" y="187"/>
                  </a:lnTo>
                  <a:lnTo>
                    <a:pt x="657" y="191"/>
                  </a:lnTo>
                  <a:lnTo>
                    <a:pt x="659" y="197"/>
                  </a:lnTo>
                  <a:lnTo>
                    <a:pt x="663" y="203"/>
                  </a:lnTo>
                  <a:lnTo>
                    <a:pt x="666" y="210"/>
                  </a:lnTo>
                  <a:lnTo>
                    <a:pt x="667" y="218"/>
                  </a:lnTo>
                  <a:lnTo>
                    <a:pt x="665" y="225"/>
                  </a:lnTo>
                  <a:lnTo>
                    <a:pt x="662" y="232"/>
                  </a:lnTo>
                  <a:lnTo>
                    <a:pt x="659" y="238"/>
                  </a:lnTo>
                  <a:lnTo>
                    <a:pt x="660" y="242"/>
                  </a:lnTo>
                  <a:lnTo>
                    <a:pt x="665" y="245"/>
                  </a:lnTo>
                  <a:lnTo>
                    <a:pt x="671" y="247"/>
                  </a:lnTo>
                  <a:lnTo>
                    <a:pt x="677" y="248"/>
                  </a:lnTo>
                  <a:lnTo>
                    <a:pt x="681" y="250"/>
                  </a:lnTo>
                  <a:lnTo>
                    <a:pt x="688" y="254"/>
                  </a:lnTo>
                  <a:lnTo>
                    <a:pt x="696" y="259"/>
                  </a:lnTo>
                  <a:lnTo>
                    <a:pt x="703" y="265"/>
                  </a:lnTo>
                  <a:lnTo>
                    <a:pt x="710" y="269"/>
                  </a:lnTo>
                  <a:lnTo>
                    <a:pt x="714" y="271"/>
                  </a:lnTo>
                  <a:lnTo>
                    <a:pt x="718" y="274"/>
                  </a:lnTo>
                  <a:lnTo>
                    <a:pt x="725" y="281"/>
                  </a:lnTo>
                  <a:lnTo>
                    <a:pt x="733" y="290"/>
                  </a:lnTo>
                  <a:lnTo>
                    <a:pt x="741" y="300"/>
                  </a:lnTo>
                  <a:lnTo>
                    <a:pt x="748" y="310"/>
                  </a:lnTo>
                  <a:lnTo>
                    <a:pt x="755" y="317"/>
                  </a:lnTo>
                  <a:lnTo>
                    <a:pt x="766" y="323"/>
                  </a:lnTo>
                  <a:lnTo>
                    <a:pt x="777" y="328"/>
                  </a:lnTo>
                  <a:lnTo>
                    <a:pt x="786" y="332"/>
                  </a:lnTo>
                  <a:lnTo>
                    <a:pt x="791" y="337"/>
                  </a:lnTo>
                  <a:lnTo>
                    <a:pt x="793" y="343"/>
                  </a:lnTo>
                  <a:lnTo>
                    <a:pt x="791" y="349"/>
                  </a:lnTo>
                  <a:lnTo>
                    <a:pt x="788" y="354"/>
                  </a:lnTo>
                  <a:lnTo>
                    <a:pt x="786" y="359"/>
                  </a:lnTo>
                  <a:lnTo>
                    <a:pt x="786" y="365"/>
                  </a:lnTo>
                  <a:lnTo>
                    <a:pt x="789" y="369"/>
                  </a:lnTo>
                  <a:lnTo>
                    <a:pt x="792" y="374"/>
                  </a:lnTo>
                  <a:lnTo>
                    <a:pt x="794" y="379"/>
                  </a:lnTo>
                  <a:lnTo>
                    <a:pt x="793" y="385"/>
                  </a:lnTo>
                  <a:lnTo>
                    <a:pt x="789" y="391"/>
                  </a:lnTo>
                  <a:lnTo>
                    <a:pt x="784" y="398"/>
                  </a:lnTo>
                  <a:lnTo>
                    <a:pt x="774" y="410"/>
                  </a:lnTo>
                  <a:lnTo>
                    <a:pt x="772" y="416"/>
                  </a:lnTo>
                  <a:lnTo>
                    <a:pt x="773" y="424"/>
                  </a:lnTo>
                  <a:lnTo>
                    <a:pt x="776" y="433"/>
                  </a:lnTo>
                  <a:lnTo>
                    <a:pt x="780" y="443"/>
                  </a:lnTo>
                  <a:lnTo>
                    <a:pt x="784" y="451"/>
                  </a:lnTo>
                  <a:lnTo>
                    <a:pt x="787" y="460"/>
                  </a:lnTo>
                  <a:lnTo>
                    <a:pt x="791" y="467"/>
                  </a:lnTo>
                  <a:lnTo>
                    <a:pt x="796" y="471"/>
                  </a:lnTo>
                  <a:lnTo>
                    <a:pt x="802" y="473"/>
                  </a:lnTo>
                  <a:lnTo>
                    <a:pt x="808" y="474"/>
                  </a:lnTo>
                  <a:lnTo>
                    <a:pt x="813" y="476"/>
                  </a:lnTo>
                  <a:lnTo>
                    <a:pt x="817" y="479"/>
                  </a:lnTo>
                  <a:lnTo>
                    <a:pt x="819" y="482"/>
                  </a:lnTo>
                  <a:lnTo>
                    <a:pt x="820" y="484"/>
                  </a:lnTo>
                  <a:lnTo>
                    <a:pt x="821" y="485"/>
                  </a:lnTo>
                  <a:lnTo>
                    <a:pt x="820" y="486"/>
                  </a:lnTo>
                  <a:lnTo>
                    <a:pt x="820" y="487"/>
                  </a:lnTo>
                  <a:lnTo>
                    <a:pt x="817" y="490"/>
                  </a:lnTo>
                  <a:lnTo>
                    <a:pt x="816" y="492"/>
                  </a:lnTo>
                  <a:lnTo>
                    <a:pt x="815" y="496"/>
                  </a:lnTo>
                  <a:lnTo>
                    <a:pt x="816" y="499"/>
                  </a:lnTo>
                  <a:lnTo>
                    <a:pt x="818" y="503"/>
                  </a:lnTo>
                  <a:lnTo>
                    <a:pt x="820" y="509"/>
                  </a:lnTo>
                  <a:lnTo>
                    <a:pt x="820" y="515"/>
                  </a:lnTo>
                  <a:lnTo>
                    <a:pt x="819" y="515"/>
                  </a:lnTo>
                  <a:lnTo>
                    <a:pt x="818" y="516"/>
                  </a:lnTo>
                  <a:lnTo>
                    <a:pt x="817" y="516"/>
                  </a:lnTo>
                  <a:lnTo>
                    <a:pt x="816" y="517"/>
                  </a:lnTo>
                  <a:lnTo>
                    <a:pt x="816" y="519"/>
                  </a:lnTo>
                  <a:lnTo>
                    <a:pt x="815" y="521"/>
                  </a:lnTo>
                  <a:lnTo>
                    <a:pt x="815" y="524"/>
                  </a:lnTo>
                  <a:lnTo>
                    <a:pt x="817" y="531"/>
                  </a:lnTo>
                  <a:lnTo>
                    <a:pt x="822" y="536"/>
                  </a:lnTo>
                  <a:lnTo>
                    <a:pt x="828" y="540"/>
                  </a:lnTo>
                  <a:lnTo>
                    <a:pt x="834" y="543"/>
                  </a:lnTo>
                  <a:lnTo>
                    <a:pt x="837" y="546"/>
                  </a:lnTo>
                  <a:lnTo>
                    <a:pt x="837" y="549"/>
                  </a:lnTo>
                  <a:lnTo>
                    <a:pt x="834" y="554"/>
                  </a:lnTo>
                  <a:lnTo>
                    <a:pt x="831" y="561"/>
                  </a:lnTo>
                  <a:lnTo>
                    <a:pt x="828" y="569"/>
                  </a:lnTo>
                  <a:lnTo>
                    <a:pt x="826" y="578"/>
                  </a:lnTo>
                  <a:lnTo>
                    <a:pt x="825" y="586"/>
                  </a:lnTo>
                  <a:lnTo>
                    <a:pt x="827" y="593"/>
                  </a:lnTo>
                  <a:lnTo>
                    <a:pt x="829" y="603"/>
                  </a:lnTo>
                  <a:lnTo>
                    <a:pt x="827" y="613"/>
                  </a:lnTo>
                  <a:lnTo>
                    <a:pt x="822" y="622"/>
                  </a:lnTo>
                  <a:lnTo>
                    <a:pt x="816" y="631"/>
                  </a:lnTo>
                  <a:lnTo>
                    <a:pt x="809" y="637"/>
                  </a:lnTo>
                  <a:lnTo>
                    <a:pt x="804" y="643"/>
                  </a:lnTo>
                  <a:lnTo>
                    <a:pt x="803" y="650"/>
                  </a:lnTo>
                  <a:lnTo>
                    <a:pt x="805" y="656"/>
                  </a:lnTo>
                  <a:lnTo>
                    <a:pt x="808" y="662"/>
                  </a:lnTo>
                  <a:lnTo>
                    <a:pt x="813" y="669"/>
                  </a:lnTo>
                  <a:lnTo>
                    <a:pt x="817" y="679"/>
                  </a:lnTo>
                  <a:lnTo>
                    <a:pt x="820" y="690"/>
                  </a:lnTo>
                  <a:lnTo>
                    <a:pt x="823" y="699"/>
                  </a:lnTo>
                  <a:lnTo>
                    <a:pt x="830" y="708"/>
                  </a:lnTo>
                  <a:lnTo>
                    <a:pt x="838" y="716"/>
                  </a:lnTo>
                  <a:lnTo>
                    <a:pt x="844" y="724"/>
                  </a:lnTo>
                  <a:lnTo>
                    <a:pt x="847" y="733"/>
                  </a:lnTo>
                  <a:lnTo>
                    <a:pt x="846" y="742"/>
                  </a:lnTo>
                  <a:lnTo>
                    <a:pt x="842" y="750"/>
                  </a:lnTo>
                  <a:lnTo>
                    <a:pt x="839" y="751"/>
                  </a:lnTo>
                  <a:lnTo>
                    <a:pt x="834" y="751"/>
                  </a:lnTo>
                  <a:lnTo>
                    <a:pt x="832" y="752"/>
                  </a:lnTo>
                  <a:lnTo>
                    <a:pt x="828" y="755"/>
                  </a:lnTo>
                  <a:lnTo>
                    <a:pt x="826" y="758"/>
                  </a:lnTo>
                  <a:lnTo>
                    <a:pt x="825" y="763"/>
                  </a:lnTo>
                  <a:lnTo>
                    <a:pt x="823" y="768"/>
                  </a:lnTo>
                  <a:lnTo>
                    <a:pt x="820" y="770"/>
                  </a:lnTo>
                  <a:lnTo>
                    <a:pt x="817" y="769"/>
                  </a:lnTo>
                  <a:lnTo>
                    <a:pt x="813" y="765"/>
                  </a:lnTo>
                  <a:lnTo>
                    <a:pt x="810" y="763"/>
                  </a:lnTo>
                  <a:lnTo>
                    <a:pt x="807" y="763"/>
                  </a:lnTo>
                  <a:lnTo>
                    <a:pt x="792" y="769"/>
                  </a:lnTo>
                  <a:lnTo>
                    <a:pt x="780" y="773"/>
                  </a:lnTo>
                  <a:lnTo>
                    <a:pt x="767" y="777"/>
                  </a:lnTo>
                  <a:lnTo>
                    <a:pt x="755" y="782"/>
                  </a:lnTo>
                  <a:lnTo>
                    <a:pt x="748" y="786"/>
                  </a:lnTo>
                  <a:lnTo>
                    <a:pt x="742" y="790"/>
                  </a:lnTo>
                  <a:lnTo>
                    <a:pt x="741" y="791"/>
                  </a:lnTo>
                  <a:lnTo>
                    <a:pt x="739" y="791"/>
                  </a:lnTo>
                  <a:lnTo>
                    <a:pt x="739" y="789"/>
                  </a:lnTo>
                  <a:lnTo>
                    <a:pt x="738" y="788"/>
                  </a:lnTo>
                  <a:lnTo>
                    <a:pt x="738" y="786"/>
                  </a:lnTo>
                  <a:lnTo>
                    <a:pt x="737" y="785"/>
                  </a:lnTo>
                  <a:lnTo>
                    <a:pt x="731" y="781"/>
                  </a:lnTo>
                  <a:lnTo>
                    <a:pt x="722" y="778"/>
                  </a:lnTo>
                  <a:lnTo>
                    <a:pt x="711" y="777"/>
                  </a:lnTo>
                  <a:lnTo>
                    <a:pt x="702" y="776"/>
                  </a:lnTo>
                  <a:lnTo>
                    <a:pt x="696" y="779"/>
                  </a:lnTo>
                  <a:lnTo>
                    <a:pt x="690" y="785"/>
                  </a:lnTo>
                  <a:lnTo>
                    <a:pt x="684" y="793"/>
                  </a:lnTo>
                  <a:lnTo>
                    <a:pt x="679" y="801"/>
                  </a:lnTo>
                  <a:lnTo>
                    <a:pt x="675" y="805"/>
                  </a:lnTo>
                  <a:lnTo>
                    <a:pt x="672" y="809"/>
                  </a:lnTo>
                  <a:lnTo>
                    <a:pt x="670" y="817"/>
                  </a:lnTo>
                  <a:lnTo>
                    <a:pt x="668" y="828"/>
                  </a:lnTo>
                  <a:lnTo>
                    <a:pt x="666" y="840"/>
                  </a:lnTo>
                  <a:lnTo>
                    <a:pt x="664" y="851"/>
                  </a:lnTo>
                  <a:lnTo>
                    <a:pt x="661" y="859"/>
                  </a:lnTo>
                  <a:lnTo>
                    <a:pt x="658" y="862"/>
                  </a:lnTo>
                  <a:lnTo>
                    <a:pt x="655" y="861"/>
                  </a:lnTo>
                  <a:lnTo>
                    <a:pt x="644" y="851"/>
                  </a:lnTo>
                  <a:lnTo>
                    <a:pt x="639" y="848"/>
                  </a:lnTo>
                  <a:lnTo>
                    <a:pt x="633" y="848"/>
                  </a:lnTo>
                  <a:lnTo>
                    <a:pt x="624" y="850"/>
                  </a:lnTo>
                  <a:lnTo>
                    <a:pt x="613" y="853"/>
                  </a:lnTo>
                  <a:lnTo>
                    <a:pt x="600" y="857"/>
                  </a:lnTo>
                  <a:lnTo>
                    <a:pt x="587" y="860"/>
                  </a:lnTo>
                  <a:lnTo>
                    <a:pt x="575" y="862"/>
                  </a:lnTo>
                  <a:lnTo>
                    <a:pt x="565" y="863"/>
                  </a:lnTo>
                  <a:lnTo>
                    <a:pt x="552" y="861"/>
                  </a:lnTo>
                  <a:lnTo>
                    <a:pt x="539" y="857"/>
                  </a:lnTo>
                  <a:lnTo>
                    <a:pt x="526" y="851"/>
                  </a:lnTo>
                  <a:lnTo>
                    <a:pt x="515" y="845"/>
                  </a:lnTo>
                  <a:lnTo>
                    <a:pt x="507" y="840"/>
                  </a:lnTo>
                  <a:lnTo>
                    <a:pt x="501" y="840"/>
                  </a:lnTo>
                  <a:lnTo>
                    <a:pt x="493" y="844"/>
                  </a:lnTo>
                  <a:lnTo>
                    <a:pt x="485" y="849"/>
                  </a:lnTo>
                  <a:lnTo>
                    <a:pt x="478" y="854"/>
                  </a:lnTo>
                  <a:lnTo>
                    <a:pt x="470" y="854"/>
                  </a:lnTo>
                  <a:lnTo>
                    <a:pt x="463" y="852"/>
                  </a:lnTo>
                  <a:lnTo>
                    <a:pt x="458" y="851"/>
                  </a:lnTo>
                  <a:lnTo>
                    <a:pt x="448" y="853"/>
                  </a:lnTo>
                  <a:lnTo>
                    <a:pt x="445" y="852"/>
                  </a:lnTo>
                  <a:lnTo>
                    <a:pt x="444" y="849"/>
                  </a:lnTo>
                  <a:lnTo>
                    <a:pt x="445" y="844"/>
                  </a:lnTo>
                  <a:lnTo>
                    <a:pt x="447" y="839"/>
                  </a:lnTo>
                  <a:lnTo>
                    <a:pt x="450" y="835"/>
                  </a:lnTo>
                  <a:lnTo>
                    <a:pt x="452" y="831"/>
                  </a:lnTo>
                  <a:lnTo>
                    <a:pt x="451" y="826"/>
                  </a:lnTo>
                  <a:lnTo>
                    <a:pt x="449" y="822"/>
                  </a:lnTo>
                  <a:lnTo>
                    <a:pt x="448" y="818"/>
                  </a:lnTo>
                  <a:lnTo>
                    <a:pt x="450" y="815"/>
                  </a:lnTo>
                  <a:lnTo>
                    <a:pt x="453" y="810"/>
                  </a:lnTo>
                  <a:lnTo>
                    <a:pt x="452" y="804"/>
                  </a:lnTo>
                  <a:lnTo>
                    <a:pt x="450" y="796"/>
                  </a:lnTo>
                  <a:lnTo>
                    <a:pt x="447" y="788"/>
                  </a:lnTo>
                  <a:lnTo>
                    <a:pt x="442" y="782"/>
                  </a:lnTo>
                  <a:lnTo>
                    <a:pt x="436" y="776"/>
                  </a:lnTo>
                  <a:lnTo>
                    <a:pt x="428" y="774"/>
                  </a:lnTo>
                  <a:lnTo>
                    <a:pt x="422" y="771"/>
                  </a:lnTo>
                  <a:lnTo>
                    <a:pt x="416" y="766"/>
                  </a:lnTo>
                  <a:lnTo>
                    <a:pt x="411" y="761"/>
                  </a:lnTo>
                  <a:lnTo>
                    <a:pt x="413" y="758"/>
                  </a:lnTo>
                  <a:lnTo>
                    <a:pt x="414" y="755"/>
                  </a:lnTo>
                  <a:lnTo>
                    <a:pt x="417" y="752"/>
                  </a:lnTo>
                  <a:lnTo>
                    <a:pt x="420" y="750"/>
                  </a:lnTo>
                  <a:lnTo>
                    <a:pt x="427" y="745"/>
                  </a:lnTo>
                  <a:lnTo>
                    <a:pt x="433" y="739"/>
                  </a:lnTo>
                  <a:lnTo>
                    <a:pt x="440" y="733"/>
                  </a:lnTo>
                  <a:lnTo>
                    <a:pt x="444" y="727"/>
                  </a:lnTo>
                  <a:lnTo>
                    <a:pt x="445" y="723"/>
                  </a:lnTo>
                  <a:lnTo>
                    <a:pt x="444" y="720"/>
                  </a:lnTo>
                  <a:lnTo>
                    <a:pt x="438" y="714"/>
                  </a:lnTo>
                  <a:lnTo>
                    <a:pt x="437" y="709"/>
                  </a:lnTo>
                  <a:lnTo>
                    <a:pt x="438" y="703"/>
                  </a:lnTo>
                  <a:lnTo>
                    <a:pt x="438" y="695"/>
                  </a:lnTo>
                  <a:lnTo>
                    <a:pt x="436" y="685"/>
                  </a:lnTo>
                  <a:lnTo>
                    <a:pt x="431" y="676"/>
                  </a:lnTo>
                  <a:lnTo>
                    <a:pt x="424" y="669"/>
                  </a:lnTo>
                  <a:lnTo>
                    <a:pt x="417" y="665"/>
                  </a:lnTo>
                  <a:lnTo>
                    <a:pt x="411" y="662"/>
                  </a:lnTo>
                  <a:lnTo>
                    <a:pt x="408" y="658"/>
                  </a:lnTo>
                  <a:lnTo>
                    <a:pt x="407" y="654"/>
                  </a:lnTo>
                  <a:lnTo>
                    <a:pt x="405" y="651"/>
                  </a:lnTo>
                  <a:lnTo>
                    <a:pt x="401" y="650"/>
                  </a:lnTo>
                  <a:lnTo>
                    <a:pt x="395" y="650"/>
                  </a:lnTo>
                  <a:lnTo>
                    <a:pt x="392" y="649"/>
                  </a:lnTo>
                  <a:lnTo>
                    <a:pt x="389" y="647"/>
                  </a:lnTo>
                  <a:lnTo>
                    <a:pt x="384" y="643"/>
                  </a:lnTo>
                  <a:lnTo>
                    <a:pt x="379" y="640"/>
                  </a:lnTo>
                  <a:lnTo>
                    <a:pt x="368" y="640"/>
                  </a:lnTo>
                  <a:lnTo>
                    <a:pt x="364" y="639"/>
                  </a:lnTo>
                  <a:lnTo>
                    <a:pt x="359" y="635"/>
                  </a:lnTo>
                  <a:lnTo>
                    <a:pt x="352" y="629"/>
                  </a:lnTo>
                  <a:lnTo>
                    <a:pt x="342" y="623"/>
                  </a:lnTo>
                  <a:lnTo>
                    <a:pt x="330" y="618"/>
                  </a:lnTo>
                  <a:lnTo>
                    <a:pt x="319" y="614"/>
                  </a:lnTo>
                  <a:lnTo>
                    <a:pt x="311" y="611"/>
                  </a:lnTo>
                  <a:lnTo>
                    <a:pt x="307" y="610"/>
                  </a:lnTo>
                  <a:lnTo>
                    <a:pt x="303" y="612"/>
                  </a:lnTo>
                  <a:lnTo>
                    <a:pt x="300" y="614"/>
                  </a:lnTo>
                  <a:lnTo>
                    <a:pt x="297" y="617"/>
                  </a:lnTo>
                  <a:lnTo>
                    <a:pt x="292" y="618"/>
                  </a:lnTo>
                  <a:lnTo>
                    <a:pt x="285" y="617"/>
                  </a:lnTo>
                  <a:lnTo>
                    <a:pt x="275" y="611"/>
                  </a:lnTo>
                  <a:lnTo>
                    <a:pt x="267" y="605"/>
                  </a:lnTo>
                  <a:lnTo>
                    <a:pt x="261" y="600"/>
                  </a:lnTo>
                  <a:lnTo>
                    <a:pt x="255" y="598"/>
                  </a:lnTo>
                  <a:lnTo>
                    <a:pt x="251" y="599"/>
                  </a:lnTo>
                  <a:lnTo>
                    <a:pt x="245" y="599"/>
                  </a:lnTo>
                  <a:lnTo>
                    <a:pt x="239" y="598"/>
                  </a:lnTo>
                  <a:lnTo>
                    <a:pt x="233" y="595"/>
                  </a:lnTo>
                  <a:lnTo>
                    <a:pt x="228" y="589"/>
                  </a:lnTo>
                  <a:lnTo>
                    <a:pt x="221" y="580"/>
                  </a:lnTo>
                  <a:lnTo>
                    <a:pt x="213" y="567"/>
                  </a:lnTo>
                  <a:lnTo>
                    <a:pt x="203" y="555"/>
                  </a:lnTo>
                  <a:lnTo>
                    <a:pt x="195" y="544"/>
                  </a:lnTo>
                  <a:lnTo>
                    <a:pt x="190" y="534"/>
                  </a:lnTo>
                  <a:lnTo>
                    <a:pt x="190" y="524"/>
                  </a:lnTo>
                  <a:lnTo>
                    <a:pt x="193" y="515"/>
                  </a:lnTo>
                  <a:lnTo>
                    <a:pt x="197" y="509"/>
                  </a:lnTo>
                  <a:lnTo>
                    <a:pt x="198" y="506"/>
                  </a:lnTo>
                  <a:lnTo>
                    <a:pt x="196" y="503"/>
                  </a:lnTo>
                  <a:lnTo>
                    <a:pt x="192" y="500"/>
                  </a:lnTo>
                  <a:lnTo>
                    <a:pt x="189" y="496"/>
                  </a:lnTo>
                  <a:lnTo>
                    <a:pt x="188" y="492"/>
                  </a:lnTo>
                  <a:lnTo>
                    <a:pt x="193" y="477"/>
                  </a:lnTo>
                  <a:lnTo>
                    <a:pt x="194" y="467"/>
                  </a:lnTo>
                  <a:lnTo>
                    <a:pt x="193" y="457"/>
                  </a:lnTo>
                  <a:lnTo>
                    <a:pt x="193" y="441"/>
                  </a:lnTo>
                  <a:lnTo>
                    <a:pt x="195" y="435"/>
                  </a:lnTo>
                  <a:lnTo>
                    <a:pt x="198" y="427"/>
                  </a:lnTo>
                  <a:lnTo>
                    <a:pt x="202" y="419"/>
                  </a:lnTo>
                  <a:lnTo>
                    <a:pt x="205" y="410"/>
                  </a:lnTo>
                  <a:lnTo>
                    <a:pt x="207" y="403"/>
                  </a:lnTo>
                  <a:lnTo>
                    <a:pt x="207" y="397"/>
                  </a:lnTo>
                  <a:lnTo>
                    <a:pt x="205" y="395"/>
                  </a:lnTo>
                  <a:lnTo>
                    <a:pt x="200" y="392"/>
                  </a:lnTo>
                  <a:lnTo>
                    <a:pt x="195" y="388"/>
                  </a:lnTo>
                  <a:lnTo>
                    <a:pt x="192" y="385"/>
                  </a:lnTo>
                  <a:lnTo>
                    <a:pt x="188" y="386"/>
                  </a:lnTo>
                  <a:lnTo>
                    <a:pt x="184" y="390"/>
                  </a:lnTo>
                  <a:lnTo>
                    <a:pt x="180" y="393"/>
                  </a:lnTo>
                  <a:lnTo>
                    <a:pt x="176" y="395"/>
                  </a:lnTo>
                  <a:lnTo>
                    <a:pt x="172" y="394"/>
                  </a:lnTo>
                  <a:lnTo>
                    <a:pt x="167" y="390"/>
                  </a:lnTo>
                  <a:lnTo>
                    <a:pt x="162" y="385"/>
                  </a:lnTo>
                  <a:lnTo>
                    <a:pt x="159" y="381"/>
                  </a:lnTo>
                  <a:lnTo>
                    <a:pt x="160" y="378"/>
                  </a:lnTo>
                  <a:lnTo>
                    <a:pt x="163" y="373"/>
                  </a:lnTo>
                  <a:lnTo>
                    <a:pt x="168" y="365"/>
                  </a:lnTo>
                  <a:lnTo>
                    <a:pt x="172" y="357"/>
                  </a:lnTo>
                  <a:lnTo>
                    <a:pt x="173" y="349"/>
                  </a:lnTo>
                  <a:lnTo>
                    <a:pt x="174" y="344"/>
                  </a:lnTo>
                  <a:lnTo>
                    <a:pt x="178" y="341"/>
                  </a:lnTo>
                  <a:lnTo>
                    <a:pt x="184" y="338"/>
                  </a:lnTo>
                  <a:lnTo>
                    <a:pt x="188" y="335"/>
                  </a:lnTo>
                  <a:lnTo>
                    <a:pt x="189" y="329"/>
                  </a:lnTo>
                  <a:lnTo>
                    <a:pt x="187" y="322"/>
                  </a:lnTo>
                  <a:lnTo>
                    <a:pt x="184" y="313"/>
                  </a:lnTo>
                  <a:lnTo>
                    <a:pt x="180" y="305"/>
                  </a:lnTo>
                  <a:lnTo>
                    <a:pt x="179" y="297"/>
                  </a:lnTo>
                  <a:lnTo>
                    <a:pt x="180" y="290"/>
                  </a:lnTo>
                  <a:lnTo>
                    <a:pt x="183" y="285"/>
                  </a:lnTo>
                  <a:lnTo>
                    <a:pt x="186" y="281"/>
                  </a:lnTo>
                  <a:lnTo>
                    <a:pt x="188" y="278"/>
                  </a:lnTo>
                  <a:lnTo>
                    <a:pt x="189" y="273"/>
                  </a:lnTo>
                  <a:lnTo>
                    <a:pt x="188" y="266"/>
                  </a:lnTo>
                  <a:lnTo>
                    <a:pt x="184" y="257"/>
                  </a:lnTo>
                  <a:lnTo>
                    <a:pt x="180" y="252"/>
                  </a:lnTo>
                  <a:lnTo>
                    <a:pt x="176" y="250"/>
                  </a:lnTo>
                  <a:lnTo>
                    <a:pt x="164" y="250"/>
                  </a:lnTo>
                  <a:lnTo>
                    <a:pt x="158" y="249"/>
                  </a:lnTo>
                  <a:lnTo>
                    <a:pt x="153" y="243"/>
                  </a:lnTo>
                  <a:lnTo>
                    <a:pt x="149" y="239"/>
                  </a:lnTo>
                  <a:lnTo>
                    <a:pt x="137" y="239"/>
                  </a:lnTo>
                  <a:lnTo>
                    <a:pt x="130" y="240"/>
                  </a:lnTo>
                  <a:lnTo>
                    <a:pt x="125" y="240"/>
                  </a:lnTo>
                  <a:lnTo>
                    <a:pt x="119" y="238"/>
                  </a:lnTo>
                  <a:lnTo>
                    <a:pt x="111" y="237"/>
                  </a:lnTo>
                  <a:lnTo>
                    <a:pt x="102" y="235"/>
                  </a:lnTo>
                  <a:lnTo>
                    <a:pt x="94" y="233"/>
                  </a:lnTo>
                  <a:lnTo>
                    <a:pt x="88" y="230"/>
                  </a:lnTo>
                  <a:lnTo>
                    <a:pt x="88" y="222"/>
                  </a:lnTo>
                  <a:lnTo>
                    <a:pt x="84" y="218"/>
                  </a:lnTo>
                  <a:lnTo>
                    <a:pt x="78" y="215"/>
                  </a:lnTo>
                  <a:lnTo>
                    <a:pt x="74" y="212"/>
                  </a:lnTo>
                  <a:lnTo>
                    <a:pt x="73" y="210"/>
                  </a:lnTo>
                  <a:lnTo>
                    <a:pt x="73" y="208"/>
                  </a:lnTo>
                  <a:lnTo>
                    <a:pt x="70" y="207"/>
                  </a:lnTo>
                  <a:lnTo>
                    <a:pt x="66" y="207"/>
                  </a:lnTo>
                  <a:lnTo>
                    <a:pt x="60" y="206"/>
                  </a:lnTo>
                  <a:lnTo>
                    <a:pt x="56" y="205"/>
                  </a:lnTo>
                  <a:lnTo>
                    <a:pt x="53" y="202"/>
                  </a:lnTo>
                  <a:lnTo>
                    <a:pt x="49" y="197"/>
                  </a:lnTo>
                  <a:lnTo>
                    <a:pt x="42" y="193"/>
                  </a:lnTo>
                  <a:lnTo>
                    <a:pt x="36" y="188"/>
                  </a:lnTo>
                  <a:lnTo>
                    <a:pt x="34" y="184"/>
                  </a:lnTo>
                  <a:lnTo>
                    <a:pt x="34" y="182"/>
                  </a:lnTo>
                  <a:lnTo>
                    <a:pt x="33" y="182"/>
                  </a:lnTo>
                  <a:lnTo>
                    <a:pt x="43" y="177"/>
                  </a:lnTo>
                  <a:lnTo>
                    <a:pt x="45" y="177"/>
                  </a:lnTo>
                  <a:lnTo>
                    <a:pt x="48" y="175"/>
                  </a:lnTo>
                  <a:lnTo>
                    <a:pt x="50" y="172"/>
                  </a:lnTo>
                  <a:lnTo>
                    <a:pt x="50" y="167"/>
                  </a:lnTo>
                  <a:lnTo>
                    <a:pt x="47" y="162"/>
                  </a:lnTo>
                  <a:lnTo>
                    <a:pt x="41" y="160"/>
                  </a:lnTo>
                  <a:lnTo>
                    <a:pt x="38" y="160"/>
                  </a:lnTo>
                  <a:lnTo>
                    <a:pt x="34" y="158"/>
                  </a:lnTo>
                  <a:lnTo>
                    <a:pt x="30" y="152"/>
                  </a:lnTo>
                  <a:lnTo>
                    <a:pt x="25" y="146"/>
                  </a:lnTo>
                  <a:lnTo>
                    <a:pt x="18" y="141"/>
                  </a:lnTo>
                  <a:lnTo>
                    <a:pt x="10" y="137"/>
                  </a:lnTo>
                  <a:lnTo>
                    <a:pt x="4" y="132"/>
                  </a:lnTo>
                  <a:lnTo>
                    <a:pt x="0" y="128"/>
                  </a:lnTo>
                  <a:lnTo>
                    <a:pt x="1" y="123"/>
                  </a:lnTo>
                  <a:lnTo>
                    <a:pt x="7" y="115"/>
                  </a:lnTo>
                  <a:lnTo>
                    <a:pt x="16" y="108"/>
                  </a:lnTo>
                  <a:lnTo>
                    <a:pt x="26" y="102"/>
                  </a:lnTo>
                  <a:lnTo>
                    <a:pt x="37" y="99"/>
                  </a:lnTo>
                  <a:lnTo>
                    <a:pt x="43" y="97"/>
                  </a:lnTo>
                  <a:lnTo>
                    <a:pt x="50" y="92"/>
                  </a:lnTo>
                  <a:lnTo>
                    <a:pt x="57" y="86"/>
                  </a:lnTo>
                  <a:lnTo>
                    <a:pt x="74" y="69"/>
                  </a:lnTo>
                  <a:lnTo>
                    <a:pt x="77" y="67"/>
                  </a:lnTo>
                  <a:lnTo>
                    <a:pt x="78" y="68"/>
                  </a:lnTo>
                  <a:lnTo>
                    <a:pt x="78" y="72"/>
                  </a:lnTo>
                  <a:lnTo>
                    <a:pt x="77" y="77"/>
                  </a:lnTo>
                  <a:lnTo>
                    <a:pt x="77" y="88"/>
                  </a:lnTo>
                  <a:lnTo>
                    <a:pt x="79" y="92"/>
                  </a:lnTo>
                  <a:lnTo>
                    <a:pt x="83" y="93"/>
                  </a:lnTo>
                  <a:lnTo>
                    <a:pt x="89" y="91"/>
                  </a:lnTo>
                  <a:lnTo>
                    <a:pt x="99" y="83"/>
                  </a:lnTo>
                  <a:lnTo>
                    <a:pt x="105" y="81"/>
                  </a:lnTo>
                  <a:lnTo>
                    <a:pt x="113" y="79"/>
                  </a:lnTo>
                  <a:lnTo>
                    <a:pt x="119" y="75"/>
                  </a:lnTo>
                  <a:lnTo>
                    <a:pt x="124" y="69"/>
                  </a:lnTo>
                  <a:lnTo>
                    <a:pt x="126" y="62"/>
                  </a:lnTo>
                  <a:lnTo>
                    <a:pt x="127" y="55"/>
                  </a:lnTo>
                  <a:lnTo>
                    <a:pt x="130" y="50"/>
                  </a:lnTo>
                  <a:lnTo>
                    <a:pt x="135" y="46"/>
                  </a:lnTo>
                  <a:lnTo>
                    <a:pt x="141" y="46"/>
                  </a:lnTo>
                  <a:lnTo>
                    <a:pt x="147" y="48"/>
                  </a:lnTo>
                  <a:lnTo>
                    <a:pt x="151" y="51"/>
                  </a:lnTo>
                  <a:lnTo>
                    <a:pt x="155" y="52"/>
                  </a:lnTo>
                  <a:lnTo>
                    <a:pt x="161" y="50"/>
                  </a:lnTo>
                  <a:lnTo>
                    <a:pt x="168" y="45"/>
                  </a:lnTo>
                  <a:lnTo>
                    <a:pt x="173" y="43"/>
                  </a:lnTo>
                  <a:lnTo>
                    <a:pt x="178" y="45"/>
                  </a:lnTo>
                  <a:lnTo>
                    <a:pt x="184" y="49"/>
                  </a:lnTo>
                  <a:lnTo>
                    <a:pt x="193" y="54"/>
                  </a:lnTo>
                  <a:lnTo>
                    <a:pt x="204" y="60"/>
                  </a:lnTo>
                  <a:lnTo>
                    <a:pt x="215" y="67"/>
                  </a:lnTo>
                  <a:lnTo>
                    <a:pt x="220" y="72"/>
                  </a:lnTo>
                  <a:lnTo>
                    <a:pt x="223" y="76"/>
                  </a:lnTo>
                  <a:lnTo>
                    <a:pt x="225" y="80"/>
                  </a:lnTo>
                  <a:lnTo>
                    <a:pt x="227" y="82"/>
                  </a:lnTo>
                  <a:lnTo>
                    <a:pt x="231" y="83"/>
                  </a:lnTo>
                  <a:lnTo>
                    <a:pt x="237" y="82"/>
                  </a:lnTo>
                  <a:lnTo>
                    <a:pt x="247" y="80"/>
                  </a:lnTo>
                  <a:lnTo>
                    <a:pt x="254" y="78"/>
                  </a:lnTo>
                  <a:lnTo>
                    <a:pt x="257" y="79"/>
                  </a:lnTo>
                  <a:lnTo>
                    <a:pt x="261" y="81"/>
                  </a:lnTo>
                  <a:lnTo>
                    <a:pt x="266" y="84"/>
                  </a:lnTo>
                  <a:lnTo>
                    <a:pt x="273" y="86"/>
                  </a:lnTo>
                  <a:lnTo>
                    <a:pt x="281" y="88"/>
                  </a:lnTo>
                  <a:lnTo>
                    <a:pt x="288" y="92"/>
                  </a:lnTo>
                  <a:lnTo>
                    <a:pt x="294" y="95"/>
                  </a:lnTo>
                  <a:lnTo>
                    <a:pt x="300" y="97"/>
                  </a:lnTo>
                  <a:lnTo>
                    <a:pt x="305" y="97"/>
                  </a:lnTo>
                  <a:lnTo>
                    <a:pt x="309" y="98"/>
                  </a:lnTo>
                  <a:lnTo>
                    <a:pt x="311" y="100"/>
                  </a:lnTo>
                  <a:lnTo>
                    <a:pt x="311" y="102"/>
                  </a:lnTo>
                  <a:lnTo>
                    <a:pt x="310" y="104"/>
                  </a:lnTo>
                  <a:lnTo>
                    <a:pt x="310" y="110"/>
                  </a:lnTo>
                  <a:lnTo>
                    <a:pt x="314" y="112"/>
                  </a:lnTo>
                  <a:lnTo>
                    <a:pt x="349" y="112"/>
                  </a:lnTo>
                  <a:lnTo>
                    <a:pt x="357" y="113"/>
                  </a:lnTo>
                  <a:lnTo>
                    <a:pt x="361" y="114"/>
                  </a:lnTo>
                  <a:lnTo>
                    <a:pt x="362" y="115"/>
                  </a:lnTo>
                  <a:lnTo>
                    <a:pt x="362" y="118"/>
                  </a:lnTo>
                  <a:lnTo>
                    <a:pt x="361" y="119"/>
                  </a:lnTo>
                  <a:lnTo>
                    <a:pt x="361" y="121"/>
                  </a:lnTo>
                  <a:lnTo>
                    <a:pt x="362" y="122"/>
                  </a:lnTo>
                  <a:lnTo>
                    <a:pt x="362" y="123"/>
                  </a:lnTo>
                  <a:lnTo>
                    <a:pt x="364" y="123"/>
                  </a:lnTo>
                  <a:lnTo>
                    <a:pt x="366" y="122"/>
                  </a:lnTo>
                  <a:lnTo>
                    <a:pt x="369" y="121"/>
                  </a:lnTo>
                  <a:lnTo>
                    <a:pt x="377" y="116"/>
                  </a:lnTo>
                  <a:lnTo>
                    <a:pt x="385" y="111"/>
                  </a:lnTo>
                  <a:lnTo>
                    <a:pt x="394" y="104"/>
                  </a:lnTo>
                  <a:lnTo>
                    <a:pt x="400" y="98"/>
                  </a:lnTo>
                  <a:lnTo>
                    <a:pt x="403" y="92"/>
                  </a:lnTo>
                  <a:lnTo>
                    <a:pt x="403" y="90"/>
                  </a:lnTo>
                  <a:lnTo>
                    <a:pt x="404" y="88"/>
                  </a:lnTo>
                  <a:lnTo>
                    <a:pt x="404" y="86"/>
                  </a:lnTo>
                  <a:lnTo>
                    <a:pt x="407" y="83"/>
                  </a:lnTo>
                  <a:lnTo>
                    <a:pt x="413" y="83"/>
                  </a:lnTo>
                  <a:lnTo>
                    <a:pt x="417" y="84"/>
                  </a:lnTo>
                  <a:lnTo>
                    <a:pt x="420" y="85"/>
                  </a:lnTo>
                  <a:lnTo>
                    <a:pt x="422" y="87"/>
                  </a:lnTo>
                  <a:lnTo>
                    <a:pt x="424" y="88"/>
                  </a:lnTo>
                  <a:lnTo>
                    <a:pt x="425" y="90"/>
                  </a:lnTo>
                  <a:lnTo>
                    <a:pt x="425" y="91"/>
                  </a:lnTo>
                  <a:lnTo>
                    <a:pt x="426" y="93"/>
                  </a:lnTo>
                  <a:lnTo>
                    <a:pt x="427" y="94"/>
                  </a:lnTo>
                  <a:lnTo>
                    <a:pt x="428" y="94"/>
                  </a:lnTo>
                  <a:lnTo>
                    <a:pt x="431" y="91"/>
                  </a:lnTo>
                  <a:lnTo>
                    <a:pt x="436" y="85"/>
                  </a:lnTo>
                  <a:lnTo>
                    <a:pt x="440" y="80"/>
                  </a:lnTo>
                  <a:lnTo>
                    <a:pt x="442" y="75"/>
                  </a:lnTo>
                  <a:lnTo>
                    <a:pt x="445" y="72"/>
                  </a:lnTo>
                  <a:lnTo>
                    <a:pt x="449" y="71"/>
                  </a:lnTo>
                  <a:lnTo>
                    <a:pt x="456" y="71"/>
                  </a:lnTo>
                  <a:lnTo>
                    <a:pt x="462" y="72"/>
                  </a:lnTo>
                  <a:lnTo>
                    <a:pt x="467" y="73"/>
                  </a:lnTo>
                  <a:lnTo>
                    <a:pt x="469" y="76"/>
                  </a:lnTo>
                  <a:lnTo>
                    <a:pt x="469" y="78"/>
                  </a:lnTo>
                  <a:lnTo>
                    <a:pt x="470" y="81"/>
                  </a:lnTo>
                  <a:lnTo>
                    <a:pt x="470" y="83"/>
                  </a:lnTo>
                  <a:lnTo>
                    <a:pt x="472" y="87"/>
                  </a:lnTo>
                  <a:lnTo>
                    <a:pt x="473" y="88"/>
                  </a:lnTo>
                  <a:lnTo>
                    <a:pt x="475" y="88"/>
                  </a:lnTo>
                  <a:lnTo>
                    <a:pt x="478" y="82"/>
                  </a:lnTo>
                  <a:lnTo>
                    <a:pt x="478" y="76"/>
                  </a:lnTo>
                  <a:lnTo>
                    <a:pt x="480" y="70"/>
                  </a:lnTo>
                  <a:lnTo>
                    <a:pt x="483" y="64"/>
                  </a:lnTo>
                  <a:lnTo>
                    <a:pt x="490" y="60"/>
                  </a:lnTo>
                  <a:lnTo>
                    <a:pt x="496" y="56"/>
                  </a:lnTo>
                  <a:lnTo>
                    <a:pt x="499" y="53"/>
                  </a:lnTo>
                  <a:lnTo>
                    <a:pt x="500" y="50"/>
                  </a:lnTo>
                  <a:lnTo>
                    <a:pt x="501" y="46"/>
                  </a:lnTo>
                  <a:lnTo>
                    <a:pt x="502" y="40"/>
                  </a:lnTo>
                  <a:lnTo>
                    <a:pt x="505" y="32"/>
                  </a:lnTo>
                  <a:lnTo>
                    <a:pt x="511" y="23"/>
                  </a:lnTo>
                  <a:lnTo>
                    <a:pt x="518" y="17"/>
                  </a:lnTo>
                  <a:lnTo>
                    <a:pt x="527" y="15"/>
                  </a:lnTo>
                  <a:lnTo>
                    <a:pt x="537" y="15"/>
                  </a:lnTo>
                  <a:lnTo>
                    <a:pt x="550" y="16"/>
                  </a:lnTo>
                  <a:lnTo>
                    <a:pt x="564" y="16"/>
                  </a:lnTo>
                  <a:lnTo>
                    <a:pt x="577" y="15"/>
                  </a:lnTo>
                  <a:lnTo>
                    <a:pt x="586" y="12"/>
                  </a:lnTo>
                  <a:lnTo>
                    <a:pt x="592" y="8"/>
                  </a:lnTo>
                  <a:lnTo>
                    <a:pt x="596" y="4"/>
                  </a:lnTo>
                  <a:lnTo>
                    <a:pt x="601" y="1"/>
                  </a:lnTo>
                  <a:lnTo>
                    <a:pt x="606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1">
              <a:extLst>
                <a:ext uri="{FF2B5EF4-FFF2-40B4-BE49-F238E27FC236}">
                  <a16:creationId xmlns:a16="http://schemas.microsoft.com/office/drawing/2014/main" id="{4A144843-8CFD-405F-A736-F0BF4EA34B5C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8513" y="2768601"/>
              <a:ext cx="257175" cy="204788"/>
            </a:xfrm>
            <a:custGeom>
              <a:avLst/>
              <a:gdLst/>
              <a:ahLst/>
              <a:cxnLst>
                <a:cxn ang="0">
                  <a:pos x="92" y="1"/>
                </a:cxn>
                <a:cxn ang="0">
                  <a:pos x="94" y="9"/>
                </a:cxn>
                <a:cxn ang="0">
                  <a:pos x="97" y="29"/>
                </a:cxn>
                <a:cxn ang="0">
                  <a:pos x="108" y="36"/>
                </a:cxn>
                <a:cxn ang="0">
                  <a:pos x="124" y="51"/>
                </a:cxn>
                <a:cxn ang="0">
                  <a:pos x="132" y="59"/>
                </a:cxn>
                <a:cxn ang="0">
                  <a:pos x="130" y="67"/>
                </a:cxn>
                <a:cxn ang="0">
                  <a:pos x="128" y="75"/>
                </a:cxn>
                <a:cxn ang="0">
                  <a:pos x="136" y="77"/>
                </a:cxn>
                <a:cxn ang="0">
                  <a:pos x="151" y="80"/>
                </a:cxn>
                <a:cxn ang="0">
                  <a:pos x="162" y="86"/>
                </a:cxn>
                <a:cxn ang="0">
                  <a:pos x="158" y="94"/>
                </a:cxn>
                <a:cxn ang="0">
                  <a:pos x="153" y="109"/>
                </a:cxn>
                <a:cxn ang="0">
                  <a:pos x="151" y="121"/>
                </a:cxn>
                <a:cxn ang="0">
                  <a:pos x="145" y="129"/>
                </a:cxn>
                <a:cxn ang="0">
                  <a:pos x="133" y="125"/>
                </a:cxn>
                <a:cxn ang="0">
                  <a:pos x="107" y="111"/>
                </a:cxn>
                <a:cxn ang="0">
                  <a:pos x="98" y="110"/>
                </a:cxn>
                <a:cxn ang="0">
                  <a:pos x="89" y="107"/>
                </a:cxn>
                <a:cxn ang="0">
                  <a:pos x="84" y="108"/>
                </a:cxn>
                <a:cxn ang="0">
                  <a:pos x="83" y="111"/>
                </a:cxn>
                <a:cxn ang="0">
                  <a:pos x="81" y="121"/>
                </a:cxn>
                <a:cxn ang="0">
                  <a:pos x="60" y="120"/>
                </a:cxn>
                <a:cxn ang="0">
                  <a:pos x="44" y="110"/>
                </a:cxn>
                <a:cxn ang="0">
                  <a:pos x="35" y="107"/>
                </a:cxn>
                <a:cxn ang="0">
                  <a:pos x="24" y="112"/>
                </a:cxn>
                <a:cxn ang="0">
                  <a:pos x="10" y="115"/>
                </a:cxn>
                <a:cxn ang="0">
                  <a:pos x="1" y="106"/>
                </a:cxn>
                <a:cxn ang="0">
                  <a:pos x="0" y="89"/>
                </a:cxn>
                <a:cxn ang="0">
                  <a:pos x="5" y="78"/>
                </a:cxn>
                <a:cxn ang="0">
                  <a:pos x="8" y="50"/>
                </a:cxn>
                <a:cxn ang="0">
                  <a:pos x="12" y="38"/>
                </a:cxn>
                <a:cxn ang="0">
                  <a:pos x="20" y="28"/>
                </a:cxn>
                <a:cxn ang="0">
                  <a:pos x="28" y="18"/>
                </a:cxn>
                <a:cxn ang="0">
                  <a:pos x="41" y="17"/>
                </a:cxn>
                <a:cxn ang="0">
                  <a:pos x="57" y="20"/>
                </a:cxn>
                <a:cxn ang="0">
                  <a:pos x="74" y="15"/>
                </a:cxn>
                <a:cxn ang="0">
                  <a:pos x="82" y="7"/>
                </a:cxn>
                <a:cxn ang="0">
                  <a:pos x="90" y="0"/>
                </a:cxn>
              </a:cxnLst>
              <a:rect l="0" t="0" r="r" b="b"/>
              <a:pathLst>
                <a:path w="162" h="129">
                  <a:moveTo>
                    <a:pt x="90" y="0"/>
                  </a:moveTo>
                  <a:lnTo>
                    <a:pt x="92" y="1"/>
                  </a:lnTo>
                  <a:lnTo>
                    <a:pt x="93" y="3"/>
                  </a:lnTo>
                  <a:lnTo>
                    <a:pt x="94" y="9"/>
                  </a:lnTo>
                  <a:lnTo>
                    <a:pt x="95" y="23"/>
                  </a:lnTo>
                  <a:lnTo>
                    <a:pt x="97" y="29"/>
                  </a:lnTo>
                  <a:lnTo>
                    <a:pt x="101" y="32"/>
                  </a:lnTo>
                  <a:lnTo>
                    <a:pt x="108" y="36"/>
                  </a:lnTo>
                  <a:lnTo>
                    <a:pt x="116" y="44"/>
                  </a:lnTo>
                  <a:lnTo>
                    <a:pt x="124" y="51"/>
                  </a:lnTo>
                  <a:lnTo>
                    <a:pt x="130" y="56"/>
                  </a:lnTo>
                  <a:lnTo>
                    <a:pt x="132" y="59"/>
                  </a:lnTo>
                  <a:lnTo>
                    <a:pt x="132" y="63"/>
                  </a:lnTo>
                  <a:lnTo>
                    <a:pt x="130" y="67"/>
                  </a:lnTo>
                  <a:lnTo>
                    <a:pt x="128" y="72"/>
                  </a:lnTo>
                  <a:lnTo>
                    <a:pt x="128" y="75"/>
                  </a:lnTo>
                  <a:lnTo>
                    <a:pt x="130" y="76"/>
                  </a:lnTo>
                  <a:lnTo>
                    <a:pt x="136" y="77"/>
                  </a:lnTo>
                  <a:lnTo>
                    <a:pt x="143" y="78"/>
                  </a:lnTo>
                  <a:lnTo>
                    <a:pt x="151" y="80"/>
                  </a:lnTo>
                  <a:lnTo>
                    <a:pt x="158" y="83"/>
                  </a:lnTo>
                  <a:lnTo>
                    <a:pt x="162" y="86"/>
                  </a:lnTo>
                  <a:lnTo>
                    <a:pt x="162" y="89"/>
                  </a:lnTo>
                  <a:lnTo>
                    <a:pt x="158" y="94"/>
                  </a:lnTo>
                  <a:lnTo>
                    <a:pt x="154" y="101"/>
                  </a:lnTo>
                  <a:lnTo>
                    <a:pt x="153" y="109"/>
                  </a:lnTo>
                  <a:lnTo>
                    <a:pt x="153" y="115"/>
                  </a:lnTo>
                  <a:lnTo>
                    <a:pt x="151" y="121"/>
                  </a:lnTo>
                  <a:lnTo>
                    <a:pt x="148" y="126"/>
                  </a:lnTo>
                  <a:lnTo>
                    <a:pt x="145" y="129"/>
                  </a:lnTo>
                  <a:lnTo>
                    <a:pt x="140" y="129"/>
                  </a:lnTo>
                  <a:lnTo>
                    <a:pt x="133" y="125"/>
                  </a:lnTo>
                  <a:lnTo>
                    <a:pt x="115" y="115"/>
                  </a:lnTo>
                  <a:lnTo>
                    <a:pt x="107" y="111"/>
                  </a:lnTo>
                  <a:lnTo>
                    <a:pt x="102" y="110"/>
                  </a:lnTo>
                  <a:lnTo>
                    <a:pt x="98" y="110"/>
                  </a:lnTo>
                  <a:lnTo>
                    <a:pt x="94" y="108"/>
                  </a:lnTo>
                  <a:lnTo>
                    <a:pt x="89" y="107"/>
                  </a:lnTo>
                  <a:lnTo>
                    <a:pt x="85" y="107"/>
                  </a:lnTo>
                  <a:lnTo>
                    <a:pt x="84" y="108"/>
                  </a:lnTo>
                  <a:lnTo>
                    <a:pt x="84" y="109"/>
                  </a:lnTo>
                  <a:lnTo>
                    <a:pt x="83" y="111"/>
                  </a:lnTo>
                  <a:lnTo>
                    <a:pt x="83" y="119"/>
                  </a:lnTo>
                  <a:lnTo>
                    <a:pt x="81" y="121"/>
                  </a:lnTo>
                  <a:lnTo>
                    <a:pt x="67" y="121"/>
                  </a:lnTo>
                  <a:lnTo>
                    <a:pt x="60" y="120"/>
                  </a:lnTo>
                  <a:lnTo>
                    <a:pt x="50" y="114"/>
                  </a:lnTo>
                  <a:lnTo>
                    <a:pt x="44" y="110"/>
                  </a:lnTo>
                  <a:lnTo>
                    <a:pt x="39" y="107"/>
                  </a:lnTo>
                  <a:lnTo>
                    <a:pt x="35" y="107"/>
                  </a:lnTo>
                  <a:lnTo>
                    <a:pt x="31" y="109"/>
                  </a:lnTo>
                  <a:lnTo>
                    <a:pt x="24" y="112"/>
                  </a:lnTo>
                  <a:lnTo>
                    <a:pt x="17" y="114"/>
                  </a:lnTo>
                  <a:lnTo>
                    <a:pt x="10" y="115"/>
                  </a:lnTo>
                  <a:lnTo>
                    <a:pt x="5" y="113"/>
                  </a:lnTo>
                  <a:lnTo>
                    <a:pt x="1" y="106"/>
                  </a:lnTo>
                  <a:lnTo>
                    <a:pt x="0" y="98"/>
                  </a:lnTo>
                  <a:lnTo>
                    <a:pt x="0" y="89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6" y="70"/>
                  </a:lnTo>
                  <a:lnTo>
                    <a:pt x="8" y="50"/>
                  </a:lnTo>
                  <a:lnTo>
                    <a:pt x="9" y="42"/>
                  </a:lnTo>
                  <a:lnTo>
                    <a:pt x="12" y="38"/>
                  </a:lnTo>
                  <a:lnTo>
                    <a:pt x="17" y="33"/>
                  </a:lnTo>
                  <a:lnTo>
                    <a:pt x="20" y="28"/>
                  </a:lnTo>
                  <a:lnTo>
                    <a:pt x="23" y="22"/>
                  </a:lnTo>
                  <a:lnTo>
                    <a:pt x="28" y="18"/>
                  </a:lnTo>
                  <a:lnTo>
                    <a:pt x="34" y="16"/>
                  </a:lnTo>
                  <a:lnTo>
                    <a:pt x="41" y="17"/>
                  </a:lnTo>
                  <a:lnTo>
                    <a:pt x="49" y="19"/>
                  </a:lnTo>
                  <a:lnTo>
                    <a:pt x="57" y="20"/>
                  </a:lnTo>
                  <a:lnTo>
                    <a:pt x="66" y="18"/>
                  </a:lnTo>
                  <a:lnTo>
                    <a:pt x="74" y="15"/>
                  </a:lnTo>
                  <a:lnTo>
                    <a:pt x="80" y="10"/>
                  </a:lnTo>
                  <a:lnTo>
                    <a:pt x="82" y="7"/>
                  </a:lnTo>
                  <a:lnTo>
                    <a:pt x="85" y="5"/>
                  </a:lnTo>
                  <a:lnTo>
                    <a:pt x="90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2">
              <a:extLst>
                <a:ext uri="{FF2B5EF4-FFF2-40B4-BE49-F238E27FC236}">
                  <a16:creationId xmlns:a16="http://schemas.microsoft.com/office/drawing/2014/main" id="{1F20FF39-1A6D-4FFD-B0CA-84AF026C9C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8063" y="1776413"/>
              <a:ext cx="185738" cy="211138"/>
            </a:xfrm>
            <a:custGeom>
              <a:avLst/>
              <a:gdLst/>
              <a:ahLst/>
              <a:cxnLst>
                <a:cxn ang="0">
                  <a:pos x="13" y="1"/>
                </a:cxn>
                <a:cxn ang="0">
                  <a:pos x="20" y="9"/>
                </a:cxn>
                <a:cxn ang="0">
                  <a:pos x="31" y="28"/>
                </a:cxn>
                <a:cxn ang="0">
                  <a:pos x="45" y="32"/>
                </a:cxn>
                <a:cxn ang="0">
                  <a:pos x="65" y="43"/>
                </a:cxn>
                <a:cxn ang="0">
                  <a:pos x="78" y="58"/>
                </a:cxn>
                <a:cxn ang="0">
                  <a:pos x="96" y="76"/>
                </a:cxn>
                <a:cxn ang="0">
                  <a:pos x="114" y="89"/>
                </a:cxn>
                <a:cxn ang="0">
                  <a:pos x="115" y="90"/>
                </a:cxn>
                <a:cxn ang="0">
                  <a:pos x="117" y="123"/>
                </a:cxn>
                <a:cxn ang="0">
                  <a:pos x="110" y="119"/>
                </a:cxn>
                <a:cxn ang="0">
                  <a:pos x="96" y="120"/>
                </a:cxn>
                <a:cxn ang="0">
                  <a:pos x="79" y="121"/>
                </a:cxn>
                <a:cxn ang="0">
                  <a:pos x="69" y="124"/>
                </a:cxn>
                <a:cxn ang="0">
                  <a:pos x="53" y="130"/>
                </a:cxn>
                <a:cxn ang="0">
                  <a:pos x="36" y="133"/>
                </a:cxn>
                <a:cxn ang="0">
                  <a:pos x="29" y="130"/>
                </a:cxn>
                <a:cxn ang="0">
                  <a:pos x="30" y="124"/>
                </a:cxn>
                <a:cxn ang="0">
                  <a:pos x="35" y="120"/>
                </a:cxn>
                <a:cxn ang="0">
                  <a:pos x="46" y="115"/>
                </a:cxn>
                <a:cxn ang="0">
                  <a:pos x="51" y="108"/>
                </a:cxn>
                <a:cxn ang="0">
                  <a:pos x="38" y="89"/>
                </a:cxn>
                <a:cxn ang="0">
                  <a:pos x="35" y="77"/>
                </a:cxn>
                <a:cxn ang="0">
                  <a:pos x="46" y="73"/>
                </a:cxn>
                <a:cxn ang="0">
                  <a:pos x="50" y="76"/>
                </a:cxn>
                <a:cxn ang="0">
                  <a:pos x="51" y="86"/>
                </a:cxn>
                <a:cxn ang="0">
                  <a:pos x="53" y="89"/>
                </a:cxn>
                <a:cxn ang="0">
                  <a:pos x="55" y="88"/>
                </a:cxn>
                <a:cxn ang="0">
                  <a:pos x="69" y="89"/>
                </a:cxn>
                <a:cxn ang="0">
                  <a:pos x="73" y="85"/>
                </a:cxn>
                <a:cxn ang="0">
                  <a:pos x="77" y="75"/>
                </a:cxn>
                <a:cxn ang="0">
                  <a:pos x="76" y="67"/>
                </a:cxn>
                <a:cxn ang="0">
                  <a:pos x="67" y="61"/>
                </a:cxn>
                <a:cxn ang="0">
                  <a:pos x="55" y="48"/>
                </a:cxn>
                <a:cxn ang="0">
                  <a:pos x="45" y="46"/>
                </a:cxn>
                <a:cxn ang="0">
                  <a:pos x="42" y="49"/>
                </a:cxn>
                <a:cxn ang="0">
                  <a:pos x="41" y="52"/>
                </a:cxn>
                <a:cxn ang="0">
                  <a:pos x="40" y="55"/>
                </a:cxn>
                <a:cxn ang="0">
                  <a:pos x="38" y="60"/>
                </a:cxn>
                <a:cxn ang="0">
                  <a:pos x="32" y="67"/>
                </a:cxn>
                <a:cxn ang="0">
                  <a:pos x="29" y="69"/>
                </a:cxn>
                <a:cxn ang="0">
                  <a:pos x="26" y="66"/>
                </a:cxn>
                <a:cxn ang="0">
                  <a:pos x="26" y="62"/>
                </a:cxn>
                <a:cxn ang="0">
                  <a:pos x="27" y="58"/>
                </a:cxn>
                <a:cxn ang="0">
                  <a:pos x="28" y="55"/>
                </a:cxn>
                <a:cxn ang="0">
                  <a:pos x="24" y="54"/>
                </a:cxn>
                <a:cxn ang="0">
                  <a:pos x="20" y="59"/>
                </a:cxn>
                <a:cxn ang="0">
                  <a:pos x="17" y="62"/>
                </a:cxn>
                <a:cxn ang="0">
                  <a:pos x="11" y="60"/>
                </a:cxn>
                <a:cxn ang="0">
                  <a:pos x="10" y="51"/>
                </a:cxn>
                <a:cxn ang="0">
                  <a:pos x="20" y="33"/>
                </a:cxn>
                <a:cxn ang="0">
                  <a:pos x="18" y="22"/>
                </a:cxn>
                <a:cxn ang="0">
                  <a:pos x="7" y="14"/>
                </a:cxn>
                <a:cxn ang="0">
                  <a:pos x="0" y="6"/>
                </a:cxn>
                <a:cxn ang="0">
                  <a:pos x="9" y="0"/>
                </a:cxn>
              </a:cxnLst>
              <a:rect l="0" t="0" r="r" b="b"/>
              <a:pathLst>
                <a:path w="117" h="133">
                  <a:moveTo>
                    <a:pt x="9" y="0"/>
                  </a:moveTo>
                  <a:lnTo>
                    <a:pt x="13" y="1"/>
                  </a:lnTo>
                  <a:lnTo>
                    <a:pt x="16" y="4"/>
                  </a:lnTo>
                  <a:lnTo>
                    <a:pt x="20" y="9"/>
                  </a:lnTo>
                  <a:lnTo>
                    <a:pt x="28" y="23"/>
                  </a:lnTo>
                  <a:lnTo>
                    <a:pt x="31" y="28"/>
                  </a:lnTo>
                  <a:lnTo>
                    <a:pt x="36" y="30"/>
                  </a:lnTo>
                  <a:lnTo>
                    <a:pt x="45" y="32"/>
                  </a:lnTo>
                  <a:lnTo>
                    <a:pt x="56" y="36"/>
                  </a:lnTo>
                  <a:lnTo>
                    <a:pt x="65" y="43"/>
                  </a:lnTo>
                  <a:lnTo>
                    <a:pt x="70" y="49"/>
                  </a:lnTo>
                  <a:lnTo>
                    <a:pt x="78" y="58"/>
                  </a:lnTo>
                  <a:lnTo>
                    <a:pt x="87" y="68"/>
                  </a:lnTo>
                  <a:lnTo>
                    <a:pt x="96" y="76"/>
                  </a:lnTo>
                  <a:lnTo>
                    <a:pt x="105" y="84"/>
                  </a:lnTo>
                  <a:lnTo>
                    <a:pt x="114" y="89"/>
                  </a:lnTo>
                  <a:lnTo>
                    <a:pt x="114" y="90"/>
                  </a:lnTo>
                  <a:lnTo>
                    <a:pt x="115" y="90"/>
                  </a:lnTo>
                  <a:lnTo>
                    <a:pt x="116" y="108"/>
                  </a:lnTo>
                  <a:lnTo>
                    <a:pt x="117" y="123"/>
                  </a:lnTo>
                  <a:lnTo>
                    <a:pt x="114" y="121"/>
                  </a:lnTo>
                  <a:lnTo>
                    <a:pt x="110" y="119"/>
                  </a:lnTo>
                  <a:lnTo>
                    <a:pt x="103" y="119"/>
                  </a:lnTo>
                  <a:lnTo>
                    <a:pt x="96" y="120"/>
                  </a:lnTo>
                  <a:lnTo>
                    <a:pt x="87" y="120"/>
                  </a:lnTo>
                  <a:lnTo>
                    <a:pt x="79" y="121"/>
                  </a:lnTo>
                  <a:lnTo>
                    <a:pt x="74" y="122"/>
                  </a:lnTo>
                  <a:lnTo>
                    <a:pt x="69" y="124"/>
                  </a:lnTo>
                  <a:lnTo>
                    <a:pt x="62" y="127"/>
                  </a:lnTo>
                  <a:lnTo>
                    <a:pt x="53" y="130"/>
                  </a:lnTo>
                  <a:lnTo>
                    <a:pt x="43" y="133"/>
                  </a:lnTo>
                  <a:lnTo>
                    <a:pt x="36" y="133"/>
                  </a:lnTo>
                  <a:lnTo>
                    <a:pt x="31" y="132"/>
                  </a:lnTo>
                  <a:lnTo>
                    <a:pt x="29" y="130"/>
                  </a:lnTo>
                  <a:lnTo>
                    <a:pt x="28" y="128"/>
                  </a:lnTo>
                  <a:lnTo>
                    <a:pt x="30" y="124"/>
                  </a:lnTo>
                  <a:lnTo>
                    <a:pt x="32" y="122"/>
                  </a:lnTo>
                  <a:lnTo>
                    <a:pt x="35" y="120"/>
                  </a:lnTo>
                  <a:lnTo>
                    <a:pt x="40" y="118"/>
                  </a:lnTo>
                  <a:lnTo>
                    <a:pt x="46" y="115"/>
                  </a:lnTo>
                  <a:lnTo>
                    <a:pt x="49" y="112"/>
                  </a:lnTo>
                  <a:lnTo>
                    <a:pt x="51" y="108"/>
                  </a:lnTo>
                  <a:lnTo>
                    <a:pt x="50" y="103"/>
                  </a:lnTo>
                  <a:lnTo>
                    <a:pt x="38" y="89"/>
                  </a:lnTo>
                  <a:lnTo>
                    <a:pt x="34" y="83"/>
                  </a:lnTo>
                  <a:lnTo>
                    <a:pt x="35" y="77"/>
                  </a:lnTo>
                  <a:lnTo>
                    <a:pt x="41" y="73"/>
                  </a:lnTo>
                  <a:lnTo>
                    <a:pt x="46" y="73"/>
                  </a:lnTo>
                  <a:lnTo>
                    <a:pt x="48" y="74"/>
                  </a:lnTo>
                  <a:lnTo>
                    <a:pt x="50" y="76"/>
                  </a:lnTo>
                  <a:lnTo>
                    <a:pt x="50" y="83"/>
                  </a:lnTo>
                  <a:lnTo>
                    <a:pt x="51" y="86"/>
                  </a:lnTo>
                  <a:lnTo>
                    <a:pt x="52" y="88"/>
                  </a:lnTo>
                  <a:lnTo>
                    <a:pt x="53" y="89"/>
                  </a:lnTo>
                  <a:lnTo>
                    <a:pt x="54" y="89"/>
                  </a:lnTo>
                  <a:lnTo>
                    <a:pt x="55" y="88"/>
                  </a:lnTo>
                  <a:lnTo>
                    <a:pt x="59" y="87"/>
                  </a:lnTo>
                  <a:lnTo>
                    <a:pt x="69" y="89"/>
                  </a:lnTo>
                  <a:lnTo>
                    <a:pt x="72" y="88"/>
                  </a:lnTo>
                  <a:lnTo>
                    <a:pt x="73" y="85"/>
                  </a:lnTo>
                  <a:lnTo>
                    <a:pt x="75" y="81"/>
                  </a:lnTo>
                  <a:lnTo>
                    <a:pt x="77" y="75"/>
                  </a:lnTo>
                  <a:lnTo>
                    <a:pt x="77" y="70"/>
                  </a:lnTo>
                  <a:lnTo>
                    <a:pt x="76" y="67"/>
                  </a:lnTo>
                  <a:lnTo>
                    <a:pt x="72" y="64"/>
                  </a:lnTo>
                  <a:lnTo>
                    <a:pt x="67" y="61"/>
                  </a:lnTo>
                  <a:lnTo>
                    <a:pt x="63" y="56"/>
                  </a:lnTo>
                  <a:lnTo>
                    <a:pt x="55" y="48"/>
                  </a:lnTo>
                  <a:lnTo>
                    <a:pt x="50" y="46"/>
                  </a:lnTo>
                  <a:lnTo>
                    <a:pt x="45" y="46"/>
                  </a:lnTo>
                  <a:lnTo>
                    <a:pt x="43" y="47"/>
                  </a:lnTo>
                  <a:lnTo>
                    <a:pt x="42" y="49"/>
                  </a:lnTo>
                  <a:lnTo>
                    <a:pt x="41" y="50"/>
                  </a:lnTo>
                  <a:lnTo>
                    <a:pt x="41" y="52"/>
                  </a:lnTo>
                  <a:lnTo>
                    <a:pt x="40" y="53"/>
                  </a:lnTo>
                  <a:lnTo>
                    <a:pt x="40" y="55"/>
                  </a:lnTo>
                  <a:lnTo>
                    <a:pt x="39" y="57"/>
                  </a:lnTo>
                  <a:lnTo>
                    <a:pt x="38" y="60"/>
                  </a:lnTo>
                  <a:lnTo>
                    <a:pt x="36" y="63"/>
                  </a:lnTo>
                  <a:lnTo>
                    <a:pt x="32" y="67"/>
                  </a:lnTo>
                  <a:lnTo>
                    <a:pt x="31" y="69"/>
                  </a:lnTo>
                  <a:lnTo>
                    <a:pt x="29" y="69"/>
                  </a:lnTo>
                  <a:lnTo>
                    <a:pt x="27" y="68"/>
                  </a:lnTo>
                  <a:lnTo>
                    <a:pt x="26" y="66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6" y="60"/>
                  </a:lnTo>
                  <a:lnTo>
                    <a:pt x="27" y="58"/>
                  </a:lnTo>
                  <a:lnTo>
                    <a:pt x="27" y="56"/>
                  </a:lnTo>
                  <a:lnTo>
                    <a:pt x="28" y="55"/>
                  </a:lnTo>
                  <a:lnTo>
                    <a:pt x="27" y="54"/>
                  </a:lnTo>
                  <a:lnTo>
                    <a:pt x="24" y="54"/>
                  </a:lnTo>
                  <a:lnTo>
                    <a:pt x="21" y="57"/>
                  </a:lnTo>
                  <a:lnTo>
                    <a:pt x="20" y="59"/>
                  </a:lnTo>
                  <a:lnTo>
                    <a:pt x="18" y="60"/>
                  </a:lnTo>
                  <a:lnTo>
                    <a:pt x="17" y="62"/>
                  </a:lnTo>
                  <a:lnTo>
                    <a:pt x="13" y="62"/>
                  </a:lnTo>
                  <a:lnTo>
                    <a:pt x="11" y="60"/>
                  </a:lnTo>
                  <a:lnTo>
                    <a:pt x="8" y="56"/>
                  </a:lnTo>
                  <a:lnTo>
                    <a:pt x="10" y="51"/>
                  </a:lnTo>
                  <a:lnTo>
                    <a:pt x="16" y="43"/>
                  </a:lnTo>
                  <a:lnTo>
                    <a:pt x="20" y="33"/>
                  </a:lnTo>
                  <a:lnTo>
                    <a:pt x="21" y="27"/>
                  </a:lnTo>
                  <a:lnTo>
                    <a:pt x="18" y="22"/>
                  </a:lnTo>
                  <a:lnTo>
                    <a:pt x="13" y="18"/>
                  </a:lnTo>
                  <a:lnTo>
                    <a:pt x="7" y="14"/>
                  </a:lnTo>
                  <a:lnTo>
                    <a:pt x="2" y="10"/>
                  </a:lnTo>
                  <a:lnTo>
                    <a:pt x="0" y="6"/>
                  </a:lnTo>
                  <a:lnTo>
                    <a:pt x="3" y="3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3">
              <a:extLst>
                <a:ext uri="{FF2B5EF4-FFF2-40B4-BE49-F238E27FC236}">
                  <a16:creationId xmlns:a16="http://schemas.microsoft.com/office/drawing/2014/main" id="{786BD1A5-AFF3-422E-8A86-11E8F942C55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626" y="1919288"/>
              <a:ext cx="74613" cy="730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" y="4"/>
                </a:cxn>
                <a:cxn ang="0">
                  <a:pos x="23" y="7"/>
                </a:cxn>
                <a:cxn ang="0">
                  <a:pos x="32" y="10"/>
                </a:cxn>
                <a:cxn ang="0">
                  <a:pos x="37" y="13"/>
                </a:cxn>
                <a:cxn ang="0">
                  <a:pos x="38" y="15"/>
                </a:cxn>
                <a:cxn ang="0">
                  <a:pos x="39" y="18"/>
                </a:cxn>
                <a:cxn ang="0">
                  <a:pos x="39" y="21"/>
                </a:cxn>
                <a:cxn ang="0">
                  <a:pos x="41" y="25"/>
                </a:cxn>
                <a:cxn ang="0">
                  <a:pos x="45" y="27"/>
                </a:cxn>
                <a:cxn ang="0">
                  <a:pos x="46" y="29"/>
                </a:cxn>
                <a:cxn ang="0">
                  <a:pos x="46" y="31"/>
                </a:cxn>
                <a:cxn ang="0">
                  <a:pos x="47" y="33"/>
                </a:cxn>
                <a:cxn ang="0">
                  <a:pos x="47" y="35"/>
                </a:cxn>
                <a:cxn ang="0">
                  <a:pos x="45" y="37"/>
                </a:cxn>
                <a:cxn ang="0">
                  <a:pos x="40" y="37"/>
                </a:cxn>
                <a:cxn ang="0">
                  <a:pos x="37" y="38"/>
                </a:cxn>
                <a:cxn ang="0">
                  <a:pos x="34" y="40"/>
                </a:cxn>
                <a:cxn ang="0">
                  <a:pos x="31" y="43"/>
                </a:cxn>
                <a:cxn ang="0">
                  <a:pos x="31" y="45"/>
                </a:cxn>
                <a:cxn ang="0">
                  <a:pos x="29" y="46"/>
                </a:cxn>
                <a:cxn ang="0">
                  <a:pos x="24" y="46"/>
                </a:cxn>
                <a:cxn ang="0">
                  <a:pos x="18" y="45"/>
                </a:cxn>
                <a:cxn ang="0">
                  <a:pos x="12" y="42"/>
                </a:cxn>
                <a:cxn ang="0">
                  <a:pos x="8" y="39"/>
                </a:cxn>
                <a:cxn ang="0">
                  <a:pos x="2" y="33"/>
                </a:cxn>
                <a:cxn ang="0">
                  <a:pos x="1" y="18"/>
                </a:cxn>
                <a:cxn ang="0">
                  <a:pos x="0" y="0"/>
                </a:cxn>
              </a:cxnLst>
              <a:rect l="0" t="0" r="r" b="b"/>
              <a:pathLst>
                <a:path w="47" h="46">
                  <a:moveTo>
                    <a:pt x="0" y="0"/>
                  </a:moveTo>
                  <a:lnTo>
                    <a:pt x="12" y="4"/>
                  </a:lnTo>
                  <a:lnTo>
                    <a:pt x="23" y="7"/>
                  </a:lnTo>
                  <a:lnTo>
                    <a:pt x="32" y="10"/>
                  </a:lnTo>
                  <a:lnTo>
                    <a:pt x="37" y="13"/>
                  </a:lnTo>
                  <a:lnTo>
                    <a:pt x="38" y="15"/>
                  </a:lnTo>
                  <a:lnTo>
                    <a:pt x="39" y="18"/>
                  </a:lnTo>
                  <a:lnTo>
                    <a:pt x="39" y="21"/>
                  </a:lnTo>
                  <a:lnTo>
                    <a:pt x="41" y="25"/>
                  </a:lnTo>
                  <a:lnTo>
                    <a:pt x="45" y="27"/>
                  </a:lnTo>
                  <a:lnTo>
                    <a:pt x="46" y="29"/>
                  </a:lnTo>
                  <a:lnTo>
                    <a:pt x="46" y="31"/>
                  </a:lnTo>
                  <a:lnTo>
                    <a:pt x="47" y="33"/>
                  </a:lnTo>
                  <a:lnTo>
                    <a:pt x="47" y="35"/>
                  </a:lnTo>
                  <a:lnTo>
                    <a:pt x="45" y="37"/>
                  </a:lnTo>
                  <a:lnTo>
                    <a:pt x="40" y="37"/>
                  </a:lnTo>
                  <a:lnTo>
                    <a:pt x="37" y="38"/>
                  </a:lnTo>
                  <a:lnTo>
                    <a:pt x="34" y="40"/>
                  </a:lnTo>
                  <a:lnTo>
                    <a:pt x="31" y="43"/>
                  </a:lnTo>
                  <a:lnTo>
                    <a:pt x="31" y="45"/>
                  </a:lnTo>
                  <a:lnTo>
                    <a:pt x="29" y="46"/>
                  </a:lnTo>
                  <a:lnTo>
                    <a:pt x="24" y="46"/>
                  </a:lnTo>
                  <a:lnTo>
                    <a:pt x="18" y="45"/>
                  </a:lnTo>
                  <a:lnTo>
                    <a:pt x="12" y="42"/>
                  </a:lnTo>
                  <a:lnTo>
                    <a:pt x="8" y="39"/>
                  </a:lnTo>
                  <a:lnTo>
                    <a:pt x="2" y="33"/>
                  </a:lnTo>
                  <a:lnTo>
                    <a:pt x="1" y="1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4">
              <a:extLst>
                <a:ext uri="{FF2B5EF4-FFF2-40B4-BE49-F238E27FC236}">
                  <a16:creationId xmlns:a16="http://schemas.microsoft.com/office/drawing/2014/main" id="{3EB8A373-8D8E-4B7A-A422-BBBA5BBE2676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5651" y="1449388"/>
              <a:ext cx="247650" cy="292100"/>
            </a:xfrm>
            <a:custGeom>
              <a:avLst/>
              <a:gdLst/>
              <a:ahLst/>
              <a:cxnLst>
                <a:cxn ang="0">
                  <a:pos x="65" y="6"/>
                </a:cxn>
                <a:cxn ang="0">
                  <a:pos x="61" y="19"/>
                </a:cxn>
                <a:cxn ang="0">
                  <a:pos x="75" y="37"/>
                </a:cxn>
                <a:cxn ang="0">
                  <a:pos x="112" y="36"/>
                </a:cxn>
                <a:cxn ang="0">
                  <a:pos x="131" y="45"/>
                </a:cxn>
                <a:cxn ang="0">
                  <a:pos x="123" y="67"/>
                </a:cxn>
                <a:cxn ang="0">
                  <a:pos x="111" y="97"/>
                </a:cxn>
                <a:cxn ang="0">
                  <a:pos x="132" y="112"/>
                </a:cxn>
                <a:cxn ang="0">
                  <a:pos x="156" y="133"/>
                </a:cxn>
                <a:cxn ang="0">
                  <a:pos x="152" y="157"/>
                </a:cxn>
                <a:cxn ang="0">
                  <a:pos x="129" y="156"/>
                </a:cxn>
                <a:cxn ang="0">
                  <a:pos x="138" y="151"/>
                </a:cxn>
                <a:cxn ang="0">
                  <a:pos x="141" y="146"/>
                </a:cxn>
                <a:cxn ang="0">
                  <a:pos x="132" y="142"/>
                </a:cxn>
                <a:cxn ang="0">
                  <a:pos x="134" y="136"/>
                </a:cxn>
                <a:cxn ang="0">
                  <a:pos x="126" y="134"/>
                </a:cxn>
                <a:cxn ang="0">
                  <a:pos x="107" y="138"/>
                </a:cxn>
                <a:cxn ang="0">
                  <a:pos x="83" y="145"/>
                </a:cxn>
                <a:cxn ang="0">
                  <a:pos x="62" y="164"/>
                </a:cxn>
                <a:cxn ang="0">
                  <a:pos x="63" y="171"/>
                </a:cxn>
                <a:cxn ang="0">
                  <a:pos x="73" y="176"/>
                </a:cxn>
                <a:cxn ang="0">
                  <a:pos x="74" y="182"/>
                </a:cxn>
                <a:cxn ang="0">
                  <a:pos x="53" y="184"/>
                </a:cxn>
                <a:cxn ang="0">
                  <a:pos x="54" y="170"/>
                </a:cxn>
                <a:cxn ang="0">
                  <a:pos x="33" y="174"/>
                </a:cxn>
                <a:cxn ang="0">
                  <a:pos x="7" y="153"/>
                </a:cxn>
                <a:cxn ang="0">
                  <a:pos x="5" y="130"/>
                </a:cxn>
                <a:cxn ang="0">
                  <a:pos x="30" y="127"/>
                </a:cxn>
                <a:cxn ang="0">
                  <a:pos x="16" y="109"/>
                </a:cxn>
                <a:cxn ang="0">
                  <a:pos x="12" y="99"/>
                </a:cxn>
                <a:cxn ang="0">
                  <a:pos x="20" y="92"/>
                </a:cxn>
                <a:cxn ang="0">
                  <a:pos x="31" y="87"/>
                </a:cxn>
                <a:cxn ang="0">
                  <a:pos x="18" y="73"/>
                </a:cxn>
                <a:cxn ang="0">
                  <a:pos x="5" y="65"/>
                </a:cxn>
                <a:cxn ang="0">
                  <a:pos x="22" y="56"/>
                </a:cxn>
                <a:cxn ang="0">
                  <a:pos x="33" y="64"/>
                </a:cxn>
                <a:cxn ang="0">
                  <a:pos x="39" y="68"/>
                </a:cxn>
                <a:cxn ang="0">
                  <a:pos x="49" y="48"/>
                </a:cxn>
                <a:cxn ang="0">
                  <a:pos x="53" y="60"/>
                </a:cxn>
                <a:cxn ang="0">
                  <a:pos x="63" y="62"/>
                </a:cxn>
                <a:cxn ang="0">
                  <a:pos x="70" y="75"/>
                </a:cxn>
                <a:cxn ang="0">
                  <a:pos x="83" y="77"/>
                </a:cxn>
                <a:cxn ang="0">
                  <a:pos x="92" y="51"/>
                </a:cxn>
                <a:cxn ang="0">
                  <a:pos x="63" y="45"/>
                </a:cxn>
                <a:cxn ang="0">
                  <a:pos x="58" y="35"/>
                </a:cxn>
                <a:cxn ang="0">
                  <a:pos x="51" y="30"/>
                </a:cxn>
                <a:cxn ang="0">
                  <a:pos x="30" y="45"/>
                </a:cxn>
                <a:cxn ang="0">
                  <a:pos x="39" y="23"/>
                </a:cxn>
                <a:cxn ang="0">
                  <a:pos x="24" y="18"/>
                </a:cxn>
                <a:cxn ang="0">
                  <a:pos x="26" y="10"/>
                </a:cxn>
                <a:cxn ang="0">
                  <a:pos x="60" y="0"/>
                </a:cxn>
              </a:cxnLst>
              <a:rect l="0" t="0" r="r" b="b"/>
              <a:pathLst>
                <a:path w="156" h="184">
                  <a:moveTo>
                    <a:pt x="66" y="0"/>
                  </a:moveTo>
                  <a:lnTo>
                    <a:pt x="69" y="0"/>
                  </a:lnTo>
                  <a:lnTo>
                    <a:pt x="69" y="2"/>
                  </a:lnTo>
                  <a:lnTo>
                    <a:pt x="65" y="6"/>
                  </a:lnTo>
                  <a:lnTo>
                    <a:pt x="63" y="9"/>
                  </a:lnTo>
                  <a:lnTo>
                    <a:pt x="62" y="12"/>
                  </a:lnTo>
                  <a:lnTo>
                    <a:pt x="61" y="14"/>
                  </a:lnTo>
                  <a:lnTo>
                    <a:pt x="61" y="19"/>
                  </a:lnTo>
                  <a:lnTo>
                    <a:pt x="62" y="25"/>
                  </a:lnTo>
                  <a:lnTo>
                    <a:pt x="64" y="31"/>
                  </a:lnTo>
                  <a:lnTo>
                    <a:pt x="68" y="34"/>
                  </a:lnTo>
                  <a:lnTo>
                    <a:pt x="75" y="37"/>
                  </a:lnTo>
                  <a:lnTo>
                    <a:pt x="85" y="39"/>
                  </a:lnTo>
                  <a:lnTo>
                    <a:pt x="96" y="38"/>
                  </a:lnTo>
                  <a:lnTo>
                    <a:pt x="103" y="37"/>
                  </a:lnTo>
                  <a:lnTo>
                    <a:pt x="112" y="36"/>
                  </a:lnTo>
                  <a:lnTo>
                    <a:pt x="120" y="36"/>
                  </a:lnTo>
                  <a:lnTo>
                    <a:pt x="125" y="38"/>
                  </a:lnTo>
                  <a:lnTo>
                    <a:pt x="129" y="40"/>
                  </a:lnTo>
                  <a:lnTo>
                    <a:pt x="131" y="45"/>
                  </a:lnTo>
                  <a:lnTo>
                    <a:pt x="132" y="52"/>
                  </a:lnTo>
                  <a:lnTo>
                    <a:pt x="131" y="59"/>
                  </a:lnTo>
                  <a:lnTo>
                    <a:pt x="128" y="63"/>
                  </a:lnTo>
                  <a:lnTo>
                    <a:pt x="123" y="67"/>
                  </a:lnTo>
                  <a:lnTo>
                    <a:pt x="117" y="74"/>
                  </a:lnTo>
                  <a:lnTo>
                    <a:pt x="111" y="82"/>
                  </a:lnTo>
                  <a:lnTo>
                    <a:pt x="109" y="90"/>
                  </a:lnTo>
                  <a:lnTo>
                    <a:pt x="111" y="97"/>
                  </a:lnTo>
                  <a:lnTo>
                    <a:pt x="114" y="104"/>
                  </a:lnTo>
                  <a:lnTo>
                    <a:pt x="120" y="109"/>
                  </a:lnTo>
                  <a:lnTo>
                    <a:pt x="124" y="111"/>
                  </a:lnTo>
                  <a:lnTo>
                    <a:pt x="132" y="112"/>
                  </a:lnTo>
                  <a:lnTo>
                    <a:pt x="139" y="115"/>
                  </a:lnTo>
                  <a:lnTo>
                    <a:pt x="145" y="120"/>
                  </a:lnTo>
                  <a:lnTo>
                    <a:pt x="153" y="130"/>
                  </a:lnTo>
                  <a:lnTo>
                    <a:pt x="156" y="133"/>
                  </a:lnTo>
                  <a:lnTo>
                    <a:pt x="156" y="137"/>
                  </a:lnTo>
                  <a:lnTo>
                    <a:pt x="155" y="140"/>
                  </a:lnTo>
                  <a:lnTo>
                    <a:pt x="153" y="152"/>
                  </a:lnTo>
                  <a:lnTo>
                    <a:pt x="152" y="157"/>
                  </a:lnTo>
                  <a:lnTo>
                    <a:pt x="148" y="159"/>
                  </a:lnTo>
                  <a:lnTo>
                    <a:pt x="132" y="159"/>
                  </a:lnTo>
                  <a:lnTo>
                    <a:pt x="129" y="158"/>
                  </a:lnTo>
                  <a:lnTo>
                    <a:pt x="129" y="156"/>
                  </a:lnTo>
                  <a:lnTo>
                    <a:pt x="131" y="155"/>
                  </a:lnTo>
                  <a:lnTo>
                    <a:pt x="133" y="153"/>
                  </a:lnTo>
                  <a:lnTo>
                    <a:pt x="135" y="152"/>
                  </a:lnTo>
                  <a:lnTo>
                    <a:pt x="138" y="151"/>
                  </a:lnTo>
                  <a:lnTo>
                    <a:pt x="140" y="149"/>
                  </a:lnTo>
                  <a:lnTo>
                    <a:pt x="142" y="148"/>
                  </a:lnTo>
                  <a:lnTo>
                    <a:pt x="142" y="147"/>
                  </a:lnTo>
                  <a:lnTo>
                    <a:pt x="141" y="146"/>
                  </a:lnTo>
                  <a:lnTo>
                    <a:pt x="139" y="145"/>
                  </a:lnTo>
                  <a:lnTo>
                    <a:pt x="136" y="144"/>
                  </a:lnTo>
                  <a:lnTo>
                    <a:pt x="134" y="144"/>
                  </a:lnTo>
                  <a:lnTo>
                    <a:pt x="132" y="142"/>
                  </a:lnTo>
                  <a:lnTo>
                    <a:pt x="132" y="140"/>
                  </a:lnTo>
                  <a:lnTo>
                    <a:pt x="133" y="138"/>
                  </a:lnTo>
                  <a:lnTo>
                    <a:pt x="133" y="138"/>
                  </a:lnTo>
                  <a:lnTo>
                    <a:pt x="134" y="136"/>
                  </a:lnTo>
                  <a:lnTo>
                    <a:pt x="134" y="134"/>
                  </a:lnTo>
                  <a:lnTo>
                    <a:pt x="132" y="133"/>
                  </a:lnTo>
                  <a:lnTo>
                    <a:pt x="130" y="133"/>
                  </a:lnTo>
                  <a:lnTo>
                    <a:pt x="126" y="134"/>
                  </a:lnTo>
                  <a:lnTo>
                    <a:pt x="121" y="138"/>
                  </a:lnTo>
                  <a:lnTo>
                    <a:pt x="119" y="139"/>
                  </a:lnTo>
                  <a:lnTo>
                    <a:pt x="115" y="138"/>
                  </a:lnTo>
                  <a:lnTo>
                    <a:pt x="107" y="138"/>
                  </a:lnTo>
                  <a:lnTo>
                    <a:pt x="98" y="138"/>
                  </a:lnTo>
                  <a:lnTo>
                    <a:pt x="90" y="139"/>
                  </a:lnTo>
                  <a:lnTo>
                    <a:pt x="86" y="141"/>
                  </a:lnTo>
                  <a:lnTo>
                    <a:pt x="83" y="145"/>
                  </a:lnTo>
                  <a:lnTo>
                    <a:pt x="73" y="159"/>
                  </a:lnTo>
                  <a:lnTo>
                    <a:pt x="69" y="163"/>
                  </a:lnTo>
                  <a:lnTo>
                    <a:pt x="67" y="164"/>
                  </a:lnTo>
                  <a:lnTo>
                    <a:pt x="62" y="164"/>
                  </a:lnTo>
                  <a:lnTo>
                    <a:pt x="60" y="166"/>
                  </a:lnTo>
                  <a:lnTo>
                    <a:pt x="60" y="167"/>
                  </a:lnTo>
                  <a:lnTo>
                    <a:pt x="61" y="169"/>
                  </a:lnTo>
                  <a:lnTo>
                    <a:pt x="63" y="171"/>
                  </a:lnTo>
                  <a:lnTo>
                    <a:pt x="69" y="173"/>
                  </a:lnTo>
                  <a:lnTo>
                    <a:pt x="71" y="173"/>
                  </a:lnTo>
                  <a:lnTo>
                    <a:pt x="72" y="174"/>
                  </a:lnTo>
                  <a:lnTo>
                    <a:pt x="73" y="176"/>
                  </a:lnTo>
                  <a:lnTo>
                    <a:pt x="74" y="177"/>
                  </a:lnTo>
                  <a:lnTo>
                    <a:pt x="75" y="179"/>
                  </a:lnTo>
                  <a:lnTo>
                    <a:pt x="74" y="180"/>
                  </a:lnTo>
                  <a:lnTo>
                    <a:pt x="74" y="182"/>
                  </a:lnTo>
                  <a:lnTo>
                    <a:pt x="72" y="183"/>
                  </a:lnTo>
                  <a:lnTo>
                    <a:pt x="70" y="183"/>
                  </a:lnTo>
                  <a:lnTo>
                    <a:pt x="64" y="184"/>
                  </a:lnTo>
                  <a:lnTo>
                    <a:pt x="53" y="184"/>
                  </a:lnTo>
                  <a:lnTo>
                    <a:pt x="51" y="181"/>
                  </a:lnTo>
                  <a:lnTo>
                    <a:pt x="51" y="179"/>
                  </a:lnTo>
                  <a:lnTo>
                    <a:pt x="54" y="173"/>
                  </a:lnTo>
                  <a:lnTo>
                    <a:pt x="54" y="170"/>
                  </a:lnTo>
                  <a:lnTo>
                    <a:pt x="51" y="170"/>
                  </a:lnTo>
                  <a:lnTo>
                    <a:pt x="45" y="171"/>
                  </a:lnTo>
                  <a:lnTo>
                    <a:pt x="39" y="173"/>
                  </a:lnTo>
                  <a:lnTo>
                    <a:pt x="33" y="174"/>
                  </a:lnTo>
                  <a:lnTo>
                    <a:pt x="29" y="174"/>
                  </a:lnTo>
                  <a:lnTo>
                    <a:pt x="25" y="172"/>
                  </a:lnTo>
                  <a:lnTo>
                    <a:pt x="13" y="160"/>
                  </a:lnTo>
                  <a:lnTo>
                    <a:pt x="7" y="153"/>
                  </a:lnTo>
                  <a:lnTo>
                    <a:pt x="2" y="146"/>
                  </a:lnTo>
                  <a:lnTo>
                    <a:pt x="0" y="140"/>
                  </a:lnTo>
                  <a:lnTo>
                    <a:pt x="2" y="134"/>
                  </a:lnTo>
                  <a:lnTo>
                    <a:pt x="5" y="130"/>
                  </a:lnTo>
                  <a:lnTo>
                    <a:pt x="11" y="129"/>
                  </a:lnTo>
                  <a:lnTo>
                    <a:pt x="27" y="129"/>
                  </a:lnTo>
                  <a:lnTo>
                    <a:pt x="29" y="128"/>
                  </a:lnTo>
                  <a:lnTo>
                    <a:pt x="30" y="127"/>
                  </a:lnTo>
                  <a:lnTo>
                    <a:pt x="30" y="123"/>
                  </a:lnTo>
                  <a:lnTo>
                    <a:pt x="27" y="118"/>
                  </a:lnTo>
                  <a:lnTo>
                    <a:pt x="22" y="113"/>
                  </a:lnTo>
                  <a:lnTo>
                    <a:pt x="16" y="109"/>
                  </a:lnTo>
                  <a:lnTo>
                    <a:pt x="12" y="107"/>
                  </a:lnTo>
                  <a:lnTo>
                    <a:pt x="11" y="107"/>
                  </a:lnTo>
                  <a:lnTo>
                    <a:pt x="11" y="101"/>
                  </a:lnTo>
                  <a:lnTo>
                    <a:pt x="12" y="99"/>
                  </a:lnTo>
                  <a:lnTo>
                    <a:pt x="14" y="97"/>
                  </a:lnTo>
                  <a:lnTo>
                    <a:pt x="15" y="95"/>
                  </a:lnTo>
                  <a:lnTo>
                    <a:pt x="16" y="94"/>
                  </a:lnTo>
                  <a:lnTo>
                    <a:pt x="20" y="92"/>
                  </a:lnTo>
                  <a:lnTo>
                    <a:pt x="23" y="92"/>
                  </a:lnTo>
                  <a:lnTo>
                    <a:pt x="26" y="91"/>
                  </a:lnTo>
                  <a:lnTo>
                    <a:pt x="30" y="89"/>
                  </a:lnTo>
                  <a:lnTo>
                    <a:pt x="31" y="87"/>
                  </a:lnTo>
                  <a:lnTo>
                    <a:pt x="31" y="86"/>
                  </a:lnTo>
                  <a:lnTo>
                    <a:pt x="28" y="83"/>
                  </a:lnTo>
                  <a:lnTo>
                    <a:pt x="24" y="78"/>
                  </a:lnTo>
                  <a:lnTo>
                    <a:pt x="18" y="73"/>
                  </a:lnTo>
                  <a:lnTo>
                    <a:pt x="12" y="70"/>
                  </a:lnTo>
                  <a:lnTo>
                    <a:pt x="9" y="68"/>
                  </a:lnTo>
                  <a:lnTo>
                    <a:pt x="6" y="67"/>
                  </a:lnTo>
                  <a:lnTo>
                    <a:pt x="5" y="65"/>
                  </a:lnTo>
                  <a:lnTo>
                    <a:pt x="5" y="63"/>
                  </a:lnTo>
                  <a:lnTo>
                    <a:pt x="7" y="59"/>
                  </a:lnTo>
                  <a:lnTo>
                    <a:pt x="10" y="58"/>
                  </a:lnTo>
                  <a:lnTo>
                    <a:pt x="22" y="56"/>
                  </a:lnTo>
                  <a:lnTo>
                    <a:pt x="28" y="56"/>
                  </a:lnTo>
                  <a:lnTo>
                    <a:pt x="31" y="59"/>
                  </a:lnTo>
                  <a:lnTo>
                    <a:pt x="32" y="61"/>
                  </a:lnTo>
                  <a:lnTo>
                    <a:pt x="33" y="64"/>
                  </a:lnTo>
                  <a:lnTo>
                    <a:pt x="34" y="66"/>
                  </a:lnTo>
                  <a:lnTo>
                    <a:pt x="37" y="69"/>
                  </a:lnTo>
                  <a:lnTo>
                    <a:pt x="38" y="69"/>
                  </a:lnTo>
                  <a:lnTo>
                    <a:pt x="39" y="68"/>
                  </a:lnTo>
                  <a:lnTo>
                    <a:pt x="41" y="64"/>
                  </a:lnTo>
                  <a:lnTo>
                    <a:pt x="43" y="59"/>
                  </a:lnTo>
                  <a:lnTo>
                    <a:pt x="46" y="53"/>
                  </a:lnTo>
                  <a:lnTo>
                    <a:pt x="49" y="48"/>
                  </a:lnTo>
                  <a:lnTo>
                    <a:pt x="51" y="45"/>
                  </a:lnTo>
                  <a:lnTo>
                    <a:pt x="52" y="45"/>
                  </a:lnTo>
                  <a:lnTo>
                    <a:pt x="52" y="55"/>
                  </a:lnTo>
                  <a:lnTo>
                    <a:pt x="53" y="60"/>
                  </a:lnTo>
                  <a:lnTo>
                    <a:pt x="54" y="64"/>
                  </a:lnTo>
                  <a:lnTo>
                    <a:pt x="56" y="65"/>
                  </a:lnTo>
                  <a:lnTo>
                    <a:pt x="60" y="63"/>
                  </a:lnTo>
                  <a:lnTo>
                    <a:pt x="63" y="62"/>
                  </a:lnTo>
                  <a:lnTo>
                    <a:pt x="67" y="62"/>
                  </a:lnTo>
                  <a:lnTo>
                    <a:pt x="69" y="63"/>
                  </a:lnTo>
                  <a:lnTo>
                    <a:pt x="70" y="65"/>
                  </a:lnTo>
                  <a:lnTo>
                    <a:pt x="70" y="75"/>
                  </a:lnTo>
                  <a:lnTo>
                    <a:pt x="71" y="76"/>
                  </a:lnTo>
                  <a:lnTo>
                    <a:pt x="73" y="77"/>
                  </a:lnTo>
                  <a:lnTo>
                    <a:pt x="76" y="78"/>
                  </a:lnTo>
                  <a:lnTo>
                    <a:pt x="83" y="77"/>
                  </a:lnTo>
                  <a:lnTo>
                    <a:pt x="90" y="74"/>
                  </a:lnTo>
                  <a:lnTo>
                    <a:pt x="94" y="70"/>
                  </a:lnTo>
                  <a:lnTo>
                    <a:pt x="94" y="53"/>
                  </a:lnTo>
                  <a:lnTo>
                    <a:pt x="92" y="51"/>
                  </a:lnTo>
                  <a:lnTo>
                    <a:pt x="90" y="50"/>
                  </a:lnTo>
                  <a:lnTo>
                    <a:pt x="77" y="50"/>
                  </a:lnTo>
                  <a:lnTo>
                    <a:pt x="69" y="49"/>
                  </a:lnTo>
                  <a:lnTo>
                    <a:pt x="63" y="45"/>
                  </a:lnTo>
                  <a:lnTo>
                    <a:pt x="61" y="43"/>
                  </a:lnTo>
                  <a:lnTo>
                    <a:pt x="60" y="40"/>
                  </a:lnTo>
                  <a:lnTo>
                    <a:pt x="59" y="38"/>
                  </a:lnTo>
                  <a:lnTo>
                    <a:pt x="58" y="35"/>
                  </a:lnTo>
                  <a:lnTo>
                    <a:pt x="56" y="31"/>
                  </a:lnTo>
                  <a:lnTo>
                    <a:pt x="54" y="30"/>
                  </a:lnTo>
                  <a:lnTo>
                    <a:pt x="53" y="29"/>
                  </a:lnTo>
                  <a:lnTo>
                    <a:pt x="51" y="30"/>
                  </a:lnTo>
                  <a:lnTo>
                    <a:pt x="47" y="33"/>
                  </a:lnTo>
                  <a:lnTo>
                    <a:pt x="37" y="43"/>
                  </a:lnTo>
                  <a:lnTo>
                    <a:pt x="33" y="46"/>
                  </a:lnTo>
                  <a:lnTo>
                    <a:pt x="30" y="45"/>
                  </a:lnTo>
                  <a:lnTo>
                    <a:pt x="30" y="42"/>
                  </a:lnTo>
                  <a:lnTo>
                    <a:pt x="31" y="38"/>
                  </a:lnTo>
                  <a:lnTo>
                    <a:pt x="37" y="28"/>
                  </a:lnTo>
                  <a:lnTo>
                    <a:pt x="39" y="23"/>
                  </a:lnTo>
                  <a:lnTo>
                    <a:pt x="40" y="20"/>
                  </a:lnTo>
                  <a:lnTo>
                    <a:pt x="37" y="18"/>
                  </a:lnTo>
                  <a:lnTo>
                    <a:pt x="30" y="17"/>
                  </a:lnTo>
                  <a:lnTo>
                    <a:pt x="24" y="18"/>
                  </a:lnTo>
                  <a:lnTo>
                    <a:pt x="20" y="18"/>
                  </a:lnTo>
                  <a:lnTo>
                    <a:pt x="18" y="17"/>
                  </a:lnTo>
                  <a:lnTo>
                    <a:pt x="19" y="14"/>
                  </a:lnTo>
                  <a:lnTo>
                    <a:pt x="26" y="10"/>
                  </a:lnTo>
                  <a:lnTo>
                    <a:pt x="35" y="7"/>
                  </a:lnTo>
                  <a:lnTo>
                    <a:pt x="45" y="5"/>
                  </a:lnTo>
                  <a:lnTo>
                    <a:pt x="53" y="2"/>
                  </a:lnTo>
                  <a:lnTo>
                    <a:pt x="60" y="0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5">
              <a:extLst>
                <a:ext uri="{FF2B5EF4-FFF2-40B4-BE49-F238E27FC236}">
                  <a16:creationId xmlns:a16="http://schemas.microsoft.com/office/drawing/2014/main" id="{A37F9FF2-5141-440D-96E8-4B2D9FF473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1263" y="1570038"/>
              <a:ext cx="120650" cy="90488"/>
            </a:xfrm>
            <a:custGeom>
              <a:avLst/>
              <a:gdLst/>
              <a:ahLst/>
              <a:cxnLst>
                <a:cxn ang="0">
                  <a:pos x="23" y="0"/>
                </a:cxn>
                <a:cxn ang="0">
                  <a:pos x="30" y="2"/>
                </a:cxn>
                <a:cxn ang="0">
                  <a:pos x="39" y="5"/>
                </a:cxn>
                <a:cxn ang="0">
                  <a:pos x="49" y="10"/>
                </a:cxn>
                <a:cxn ang="0">
                  <a:pos x="58" y="14"/>
                </a:cxn>
                <a:cxn ang="0">
                  <a:pos x="62" y="19"/>
                </a:cxn>
                <a:cxn ang="0">
                  <a:pos x="64" y="23"/>
                </a:cxn>
                <a:cxn ang="0">
                  <a:pos x="72" y="35"/>
                </a:cxn>
                <a:cxn ang="0">
                  <a:pos x="75" y="41"/>
                </a:cxn>
                <a:cxn ang="0">
                  <a:pos x="76" y="46"/>
                </a:cxn>
                <a:cxn ang="0">
                  <a:pos x="75" y="48"/>
                </a:cxn>
                <a:cxn ang="0">
                  <a:pos x="68" y="48"/>
                </a:cxn>
                <a:cxn ang="0">
                  <a:pos x="52" y="46"/>
                </a:cxn>
                <a:cxn ang="0">
                  <a:pos x="45" y="46"/>
                </a:cxn>
                <a:cxn ang="0">
                  <a:pos x="42" y="47"/>
                </a:cxn>
                <a:cxn ang="0">
                  <a:pos x="38" y="51"/>
                </a:cxn>
                <a:cxn ang="0">
                  <a:pos x="36" y="55"/>
                </a:cxn>
                <a:cxn ang="0">
                  <a:pos x="34" y="56"/>
                </a:cxn>
                <a:cxn ang="0">
                  <a:pos x="33" y="57"/>
                </a:cxn>
                <a:cxn ang="0">
                  <a:pos x="31" y="56"/>
                </a:cxn>
                <a:cxn ang="0">
                  <a:pos x="29" y="52"/>
                </a:cxn>
                <a:cxn ang="0">
                  <a:pos x="27" y="47"/>
                </a:cxn>
                <a:cxn ang="0">
                  <a:pos x="26" y="42"/>
                </a:cxn>
                <a:cxn ang="0">
                  <a:pos x="25" y="38"/>
                </a:cxn>
                <a:cxn ang="0">
                  <a:pos x="22" y="37"/>
                </a:cxn>
                <a:cxn ang="0">
                  <a:pos x="6" y="37"/>
                </a:cxn>
                <a:cxn ang="0">
                  <a:pos x="2" y="36"/>
                </a:cxn>
                <a:cxn ang="0">
                  <a:pos x="0" y="33"/>
                </a:cxn>
                <a:cxn ang="0">
                  <a:pos x="2" y="28"/>
                </a:cxn>
                <a:cxn ang="0">
                  <a:pos x="5" y="21"/>
                </a:cxn>
                <a:cxn ang="0">
                  <a:pos x="9" y="13"/>
                </a:cxn>
                <a:cxn ang="0">
                  <a:pos x="14" y="7"/>
                </a:cxn>
                <a:cxn ang="0">
                  <a:pos x="19" y="2"/>
                </a:cxn>
                <a:cxn ang="0">
                  <a:pos x="23" y="0"/>
                </a:cxn>
              </a:cxnLst>
              <a:rect l="0" t="0" r="r" b="b"/>
              <a:pathLst>
                <a:path w="76" h="57">
                  <a:moveTo>
                    <a:pt x="23" y="0"/>
                  </a:moveTo>
                  <a:lnTo>
                    <a:pt x="30" y="2"/>
                  </a:lnTo>
                  <a:lnTo>
                    <a:pt x="39" y="5"/>
                  </a:lnTo>
                  <a:lnTo>
                    <a:pt x="49" y="10"/>
                  </a:lnTo>
                  <a:lnTo>
                    <a:pt x="58" y="14"/>
                  </a:lnTo>
                  <a:lnTo>
                    <a:pt x="62" y="19"/>
                  </a:lnTo>
                  <a:lnTo>
                    <a:pt x="64" y="23"/>
                  </a:lnTo>
                  <a:lnTo>
                    <a:pt x="72" y="35"/>
                  </a:lnTo>
                  <a:lnTo>
                    <a:pt x="75" y="41"/>
                  </a:lnTo>
                  <a:lnTo>
                    <a:pt x="76" y="46"/>
                  </a:lnTo>
                  <a:lnTo>
                    <a:pt x="75" y="48"/>
                  </a:lnTo>
                  <a:lnTo>
                    <a:pt x="68" y="48"/>
                  </a:lnTo>
                  <a:lnTo>
                    <a:pt x="52" y="46"/>
                  </a:lnTo>
                  <a:lnTo>
                    <a:pt x="45" y="46"/>
                  </a:lnTo>
                  <a:lnTo>
                    <a:pt x="42" y="47"/>
                  </a:lnTo>
                  <a:lnTo>
                    <a:pt x="38" y="51"/>
                  </a:lnTo>
                  <a:lnTo>
                    <a:pt x="36" y="55"/>
                  </a:lnTo>
                  <a:lnTo>
                    <a:pt x="34" y="56"/>
                  </a:lnTo>
                  <a:lnTo>
                    <a:pt x="33" y="57"/>
                  </a:lnTo>
                  <a:lnTo>
                    <a:pt x="31" y="56"/>
                  </a:lnTo>
                  <a:lnTo>
                    <a:pt x="29" y="52"/>
                  </a:lnTo>
                  <a:lnTo>
                    <a:pt x="27" y="47"/>
                  </a:lnTo>
                  <a:lnTo>
                    <a:pt x="26" y="42"/>
                  </a:lnTo>
                  <a:lnTo>
                    <a:pt x="25" y="38"/>
                  </a:lnTo>
                  <a:lnTo>
                    <a:pt x="22" y="37"/>
                  </a:lnTo>
                  <a:lnTo>
                    <a:pt x="6" y="37"/>
                  </a:lnTo>
                  <a:lnTo>
                    <a:pt x="2" y="36"/>
                  </a:lnTo>
                  <a:lnTo>
                    <a:pt x="0" y="33"/>
                  </a:lnTo>
                  <a:lnTo>
                    <a:pt x="2" y="28"/>
                  </a:lnTo>
                  <a:lnTo>
                    <a:pt x="5" y="21"/>
                  </a:lnTo>
                  <a:lnTo>
                    <a:pt x="9" y="13"/>
                  </a:lnTo>
                  <a:lnTo>
                    <a:pt x="14" y="7"/>
                  </a:lnTo>
                  <a:lnTo>
                    <a:pt x="19" y="2"/>
                  </a:lnTo>
                  <a:lnTo>
                    <a:pt x="23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6">
              <a:extLst>
                <a:ext uri="{FF2B5EF4-FFF2-40B4-BE49-F238E27FC236}">
                  <a16:creationId xmlns:a16="http://schemas.microsoft.com/office/drawing/2014/main" id="{E5C696B0-83F2-4844-B249-1D9E63BF1680}"/>
                </a:ext>
              </a:extLst>
            </p:cNvPr>
            <p:cNvSpPr>
              <a:spLocks/>
            </p:cNvSpPr>
            <p:nvPr/>
          </p:nvSpPr>
          <p:spPr bwMode="auto">
            <a:xfrm>
              <a:off x="6440488" y="1893888"/>
              <a:ext cx="39688" cy="47625"/>
            </a:xfrm>
            <a:custGeom>
              <a:avLst/>
              <a:gdLst/>
              <a:ahLst/>
              <a:cxnLst>
                <a:cxn ang="0">
                  <a:pos x="21" y="0"/>
                </a:cxn>
                <a:cxn ang="0">
                  <a:pos x="24" y="0"/>
                </a:cxn>
                <a:cxn ang="0">
                  <a:pos x="25" y="3"/>
                </a:cxn>
                <a:cxn ang="0">
                  <a:pos x="25" y="11"/>
                </a:cxn>
                <a:cxn ang="0">
                  <a:pos x="24" y="20"/>
                </a:cxn>
                <a:cxn ang="0">
                  <a:pos x="22" y="27"/>
                </a:cxn>
                <a:cxn ang="0">
                  <a:pos x="20" y="30"/>
                </a:cxn>
                <a:cxn ang="0">
                  <a:pos x="12" y="29"/>
                </a:cxn>
                <a:cxn ang="0">
                  <a:pos x="7" y="28"/>
                </a:cxn>
                <a:cxn ang="0">
                  <a:pos x="3" y="25"/>
                </a:cxn>
                <a:cxn ang="0">
                  <a:pos x="1" y="21"/>
                </a:cxn>
                <a:cxn ang="0">
                  <a:pos x="1" y="19"/>
                </a:cxn>
                <a:cxn ang="0">
                  <a:pos x="0" y="16"/>
                </a:cxn>
                <a:cxn ang="0">
                  <a:pos x="0" y="14"/>
                </a:cxn>
                <a:cxn ang="0">
                  <a:pos x="6" y="8"/>
                </a:cxn>
                <a:cxn ang="0">
                  <a:pos x="16" y="2"/>
                </a:cxn>
                <a:cxn ang="0">
                  <a:pos x="21" y="0"/>
                </a:cxn>
              </a:cxnLst>
              <a:rect l="0" t="0" r="r" b="b"/>
              <a:pathLst>
                <a:path w="25" h="30">
                  <a:moveTo>
                    <a:pt x="21" y="0"/>
                  </a:moveTo>
                  <a:lnTo>
                    <a:pt x="24" y="0"/>
                  </a:lnTo>
                  <a:lnTo>
                    <a:pt x="25" y="3"/>
                  </a:lnTo>
                  <a:lnTo>
                    <a:pt x="25" y="11"/>
                  </a:lnTo>
                  <a:lnTo>
                    <a:pt x="24" y="20"/>
                  </a:lnTo>
                  <a:lnTo>
                    <a:pt x="22" y="27"/>
                  </a:lnTo>
                  <a:lnTo>
                    <a:pt x="20" y="30"/>
                  </a:lnTo>
                  <a:lnTo>
                    <a:pt x="12" y="29"/>
                  </a:lnTo>
                  <a:lnTo>
                    <a:pt x="7" y="28"/>
                  </a:lnTo>
                  <a:lnTo>
                    <a:pt x="3" y="25"/>
                  </a:lnTo>
                  <a:lnTo>
                    <a:pt x="1" y="21"/>
                  </a:lnTo>
                  <a:lnTo>
                    <a:pt x="1" y="19"/>
                  </a:lnTo>
                  <a:lnTo>
                    <a:pt x="0" y="16"/>
                  </a:lnTo>
                  <a:lnTo>
                    <a:pt x="0" y="14"/>
                  </a:lnTo>
                  <a:lnTo>
                    <a:pt x="6" y="8"/>
                  </a:lnTo>
                  <a:lnTo>
                    <a:pt x="16" y="2"/>
                  </a:lnTo>
                  <a:lnTo>
                    <a:pt x="21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7">
              <a:extLst>
                <a:ext uri="{FF2B5EF4-FFF2-40B4-BE49-F238E27FC236}">
                  <a16:creationId xmlns:a16="http://schemas.microsoft.com/office/drawing/2014/main" id="{57068CB5-F613-4513-85DC-76E98C7E9552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5826" y="2120901"/>
              <a:ext cx="14288" cy="1905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6" y="0"/>
                </a:cxn>
                <a:cxn ang="0">
                  <a:pos x="7" y="1"/>
                </a:cxn>
                <a:cxn ang="0">
                  <a:pos x="9" y="5"/>
                </a:cxn>
                <a:cxn ang="0">
                  <a:pos x="9" y="9"/>
                </a:cxn>
                <a:cxn ang="0">
                  <a:pos x="8" y="11"/>
                </a:cxn>
                <a:cxn ang="0">
                  <a:pos x="7" y="12"/>
                </a:cxn>
                <a:cxn ang="0">
                  <a:pos x="6" y="12"/>
                </a:cxn>
                <a:cxn ang="0">
                  <a:pos x="3" y="11"/>
                </a:cxn>
                <a:cxn ang="0">
                  <a:pos x="0" y="5"/>
                </a:cxn>
                <a:cxn ang="0">
                  <a:pos x="1" y="2"/>
                </a:cxn>
                <a:cxn ang="0">
                  <a:pos x="2" y="1"/>
                </a:cxn>
                <a:cxn ang="0">
                  <a:pos x="4" y="0"/>
                </a:cxn>
              </a:cxnLst>
              <a:rect l="0" t="0" r="r" b="b"/>
              <a:pathLst>
                <a:path w="9" h="12">
                  <a:moveTo>
                    <a:pt x="4" y="0"/>
                  </a:moveTo>
                  <a:lnTo>
                    <a:pt x="6" y="0"/>
                  </a:lnTo>
                  <a:lnTo>
                    <a:pt x="7" y="1"/>
                  </a:lnTo>
                  <a:lnTo>
                    <a:pt x="9" y="5"/>
                  </a:lnTo>
                  <a:lnTo>
                    <a:pt x="9" y="9"/>
                  </a:lnTo>
                  <a:lnTo>
                    <a:pt x="8" y="11"/>
                  </a:lnTo>
                  <a:lnTo>
                    <a:pt x="7" y="12"/>
                  </a:lnTo>
                  <a:lnTo>
                    <a:pt x="6" y="12"/>
                  </a:lnTo>
                  <a:lnTo>
                    <a:pt x="3" y="11"/>
                  </a:lnTo>
                  <a:lnTo>
                    <a:pt x="0" y="5"/>
                  </a:lnTo>
                  <a:lnTo>
                    <a:pt x="1" y="2"/>
                  </a:lnTo>
                  <a:lnTo>
                    <a:pt x="2" y="1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8">
              <a:extLst>
                <a:ext uri="{FF2B5EF4-FFF2-40B4-BE49-F238E27FC236}">
                  <a16:creationId xmlns:a16="http://schemas.microsoft.com/office/drawing/2014/main" id="{73A7CF8C-C139-4F63-BC8E-6FF777C0F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4876" y="2103438"/>
              <a:ext cx="60325" cy="9525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28" y="0"/>
                </a:cxn>
                <a:cxn ang="0">
                  <a:pos x="34" y="1"/>
                </a:cxn>
                <a:cxn ang="0">
                  <a:pos x="38" y="2"/>
                </a:cxn>
                <a:cxn ang="0">
                  <a:pos x="37" y="3"/>
                </a:cxn>
                <a:cxn ang="0">
                  <a:pos x="32" y="4"/>
                </a:cxn>
                <a:cxn ang="0">
                  <a:pos x="25" y="5"/>
                </a:cxn>
                <a:cxn ang="0">
                  <a:pos x="17" y="6"/>
                </a:cxn>
                <a:cxn ang="0">
                  <a:pos x="2" y="6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4" y="1"/>
                </a:cxn>
                <a:cxn ang="0">
                  <a:pos x="11" y="0"/>
                </a:cxn>
              </a:cxnLst>
              <a:rect l="0" t="0" r="r" b="b"/>
              <a:pathLst>
                <a:path w="38" h="6">
                  <a:moveTo>
                    <a:pt x="11" y="0"/>
                  </a:moveTo>
                  <a:lnTo>
                    <a:pt x="28" y="0"/>
                  </a:lnTo>
                  <a:lnTo>
                    <a:pt x="34" y="1"/>
                  </a:lnTo>
                  <a:lnTo>
                    <a:pt x="38" y="2"/>
                  </a:lnTo>
                  <a:lnTo>
                    <a:pt x="37" y="3"/>
                  </a:lnTo>
                  <a:lnTo>
                    <a:pt x="32" y="4"/>
                  </a:lnTo>
                  <a:lnTo>
                    <a:pt x="25" y="5"/>
                  </a:lnTo>
                  <a:lnTo>
                    <a:pt x="17" y="6"/>
                  </a:lnTo>
                  <a:lnTo>
                    <a:pt x="2" y="6"/>
                  </a:lnTo>
                  <a:lnTo>
                    <a:pt x="0" y="4"/>
                  </a:lnTo>
                  <a:lnTo>
                    <a:pt x="0" y="2"/>
                  </a:lnTo>
                  <a:lnTo>
                    <a:pt x="4" y="1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9">
              <a:extLst>
                <a:ext uri="{FF2B5EF4-FFF2-40B4-BE49-F238E27FC236}">
                  <a16:creationId xmlns:a16="http://schemas.microsoft.com/office/drawing/2014/main" id="{99822745-6F14-471D-89A2-7320B04353F3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6951" y="2078038"/>
              <a:ext cx="68263" cy="17463"/>
            </a:xfrm>
            <a:custGeom>
              <a:avLst/>
              <a:gdLst/>
              <a:ahLst/>
              <a:cxnLst>
                <a:cxn ang="0">
                  <a:pos x="32" y="0"/>
                </a:cxn>
                <a:cxn ang="0">
                  <a:pos x="39" y="0"/>
                </a:cxn>
                <a:cxn ang="0">
                  <a:pos x="43" y="1"/>
                </a:cxn>
                <a:cxn ang="0">
                  <a:pos x="42" y="3"/>
                </a:cxn>
                <a:cxn ang="0">
                  <a:pos x="37" y="6"/>
                </a:cxn>
                <a:cxn ang="0">
                  <a:pos x="30" y="9"/>
                </a:cxn>
                <a:cxn ang="0">
                  <a:pos x="21" y="11"/>
                </a:cxn>
                <a:cxn ang="0">
                  <a:pos x="5" y="11"/>
                </a:cxn>
                <a:cxn ang="0">
                  <a:pos x="0" y="8"/>
                </a:cxn>
                <a:cxn ang="0">
                  <a:pos x="1" y="6"/>
                </a:cxn>
                <a:cxn ang="0">
                  <a:pos x="6" y="5"/>
                </a:cxn>
                <a:cxn ang="0">
                  <a:pos x="14" y="3"/>
                </a:cxn>
                <a:cxn ang="0">
                  <a:pos x="24" y="1"/>
                </a:cxn>
                <a:cxn ang="0">
                  <a:pos x="32" y="0"/>
                </a:cxn>
              </a:cxnLst>
              <a:rect l="0" t="0" r="r" b="b"/>
              <a:pathLst>
                <a:path w="43" h="11">
                  <a:moveTo>
                    <a:pt x="32" y="0"/>
                  </a:moveTo>
                  <a:lnTo>
                    <a:pt x="39" y="0"/>
                  </a:lnTo>
                  <a:lnTo>
                    <a:pt x="43" y="1"/>
                  </a:lnTo>
                  <a:lnTo>
                    <a:pt x="42" y="3"/>
                  </a:lnTo>
                  <a:lnTo>
                    <a:pt x="37" y="6"/>
                  </a:lnTo>
                  <a:lnTo>
                    <a:pt x="30" y="9"/>
                  </a:lnTo>
                  <a:lnTo>
                    <a:pt x="21" y="11"/>
                  </a:lnTo>
                  <a:lnTo>
                    <a:pt x="5" y="11"/>
                  </a:lnTo>
                  <a:lnTo>
                    <a:pt x="0" y="8"/>
                  </a:lnTo>
                  <a:lnTo>
                    <a:pt x="1" y="6"/>
                  </a:lnTo>
                  <a:lnTo>
                    <a:pt x="6" y="5"/>
                  </a:lnTo>
                  <a:lnTo>
                    <a:pt x="14" y="3"/>
                  </a:lnTo>
                  <a:lnTo>
                    <a:pt x="24" y="1"/>
                  </a:lnTo>
                  <a:lnTo>
                    <a:pt x="32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30">
              <a:extLst>
                <a:ext uri="{FF2B5EF4-FFF2-40B4-BE49-F238E27FC236}">
                  <a16:creationId xmlns:a16="http://schemas.microsoft.com/office/drawing/2014/main" id="{9AE73445-B2DE-43F0-8C97-CA661DD815D8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2363" y="2058988"/>
              <a:ext cx="46038" cy="22225"/>
            </a:xfrm>
            <a:custGeom>
              <a:avLst/>
              <a:gdLst/>
              <a:ahLst/>
              <a:cxnLst>
                <a:cxn ang="0">
                  <a:pos x="15" y="0"/>
                </a:cxn>
                <a:cxn ang="0">
                  <a:pos x="23" y="1"/>
                </a:cxn>
                <a:cxn ang="0">
                  <a:pos x="29" y="4"/>
                </a:cxn>
                <a:cxn ang="0">
                  <a:pos x="29" y="5"/>
                </a:cxn>
                <a:cxn ang="0">
                  <a:pos x="27" y="7"/>
                </a:cxn>
                <a:cxn ang="0">
                  <a:pos x="24" y="7"/>
                </a:cxn>
                <a:cxn ang="0">
                  <a:pos x="22" y="8"/>
                </a:cxn>
                <a:cxn ang="0">
                  <a:pos x="15" y="8"/>
                </a:cxn>
                <a:cxn ang="0">
                  <a:pos x="13" y="9"/>
                </a:cxn>
                <a:cxn ang="0">
                  <a:pos x="8" y="14"/>
                </a:cxn>
                <a:cxn ang="0">
                  <a:pos x="6" y="14"/>
                </a:cxn>
                <a:cxn ang="0">
                  <a:pos x="3" y="13"/>
                </a:cxn>
                <a:cxn ang="0">
                  <a:pos x="0" y="11"/>
                </a:cxn>
                <a:cxn ang="0">
                  <a:pos x="0" y="7"/>
                </a:cxn>
                <a:cxn ang="0">
                  <a:pos x="2" y="5"/>
                </a:cxn>
                <a:cxn ang="0">
                  <a:pos x="6" y="3"/>
                </a:cxn>
                <a:cxn ang="0">
                  <a:pos x="15" y="0"/>
                </a:cxn>
              </a:cxnLst>
              <a:rect l="0" t="0" r="r" b="b"/>
              <a:pathLst>
                <a:path w="29" h="14">
                  <a:moveTo>
                    <a:pt x="15" y="0"/>
                  </a:moveTo>
                  <a:lnTo>
                    <a:pt x="23" y="1"/>
                  </a:lnTo>
                  <a:lnTo>
                    <a:pt x="29" y="4"/>
                  </a:lnTo>
                  <a:lnTo>
                    <a:pt x="29" y="5"/>
                  </a:lnTo>
                  <a:lnTo>
                    <a:pt x="27" y="7"/>
                  </a:lnTo>
                  <a:lnTo>
                    <a:pt x="24" y="7"/>
                  </a:lnTo>
                  <a:lnTo>
                    <a:pt x="22" y="8"/>
                  </a:lnTo>
                  <a:lnTo>
                    <a:pt x="15" y="8"/>
                  </a:lnTo>
                  <a:lnTo>
                    <a:pt x="13" y="9"/>
                  </a:lnTo>
                  <a:lnTo>
                    <a:pt x="8" y="14"/>
                  </a:lnTo>
                  <a:lnTo>
                    <a:pt x="6" y="14"/>
                  </a:lnTo>
                  <a:lnTo>
                    <a:pt x="3" y="13"/>
                  </a:lnTo>
                  <a:lnTo>
                    <a:pt x="0" y="11"/>
                  </a:lnTo>
                  <a:lnTo>
                    <a:pt x="0" y="7"/>
                  </a:lnTo>
                  <a:lnTo>
                    <a:pt x="2" y="5"/>
                  </a:lnTo>
                  <a:lnTo>
                    <a:pt x="6" y="3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1">
              <a:extLst>
                <a:ext uri="{FF2B5EF4-FFF2-40B4-BE49-F238E27FC236}">
                  <a16:creationId xmlns:a16="http://schemas.microsoft.com/office/drawing/2014/main" id="{B1D27940-C7A3-46BE-9BE8-6B90BEA66AD6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4913" y="2051051"/>
              <a:ext cx="38100" cy="15875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7" y="0"/>
                </a:cxn>
                <a:cxn ang="0">
                  <a:pos x="22" y="1"/>
                </a:cxn>
                <a:cxn ang="0">
                  <a:pos x="24" y="3"/>
                </a:cxn>
                <a:cxn ang="0">
                  <a:pos x="22" y="6"/>
                </a:cxn>
                <a:cxn ang="0">
                  <a:pos x="16" y="9"/>
                </a:cxn>
                <a:cxn ang="0">
                  <a:pos x="9" y="10"/>
                </a:cxn>
                <a:cxn ang="0">
                  <a:pos x="3" y="9"/>
                </a:cxn>
                <a:cxn ang="0">
                  <a:pos x="0" y="7"/>
                </a:cxn>
                <a:cxn ang="0">
                  <a:pos x="1" y="4"/>
                </a:cxn>
                <a:cxn ang="0">
                  <a:pos x="5" y="2"/>
                </a:cxn>
                <a:cxn ang="0">
                  <a:pos x="11" y="0"/>
                </a:cxn>
              </a:cxnLst>
              <a:rect l="0" t="0" r="r" b="b"/>
              <a:pathLst>
                <a:path w="24" h="10">
                  <a:moveTo>
                    <a:pt x="11" y="0"/>
                  </a:moveTo>
                  <a:lnTo>
                    <a:pt x="17" y="0"/>
                  </a:lnTo>
                  <a:lnTo>
                    <a:pt x="22" y="1"/>
                  </a:lnTo>
                  <a:lnTo>
                    <a:pt x="24" y="3"/>
                  </a:lnTo>
                  <a:lnTo>
                    <a:pt x="22" y="6"/>
                  </a:lnTo>
                  <a:lnTo>
                    <a:pt x="16" y="9"/>
                  </a:lnTo>
                  <a:lnTo>
                    <a:pt x="9" y="10"/>
                  </a:lnTo>
                  <a:lnTo>
                    <a:pt x="3" y="9"/>
                  </a:lnTo>
                  <a:lnTo>
                    <a:pt x="0" y="7"/>
                  </a:lnTo>
                  <a:lnTo>
                    <a:pt x="1" y="4"/>
                  </a:lnTo>
                  <a:lnTo>
                    <a:pt x="5" y="2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2">
              <a:extLst>
                <a:ext uri="{FF2B5EF4-FFF2-40B4-BE49-F238E27FC236}">
                  <a16:creationId xmlns:a16="http://schemas.microsoft.com/office/drawing/2014/main" id="{E5A97DA7-E48A-4D87-A2D5-D526448D9E8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4776" y="2085976"/>
              <a:ext cx="19050" cy="17463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9" y="0"/>
                </a:cxn>
                <a:cxn ang="0">
                  <a:pos x="11" y="1"/>
                </a:cxn>
                <a:cxn ang="0">
                  <a:pos x="12" y="3"/>
                </a:cxn>
                <a:cxn ang="0">
                  <a:pos x="12" y="7"/>
                </a:cxn>
                <a:cxn ang="0">
                  <a:pos x="10" y="9"/>
                </a:cxn>
                <a:cxn ang="0">
                  <a:pos x="9" y="11"/>
                </a:cxn>
                <a:cxn ang="0">
                  <a:pos x="6" y="11"/>
                </a:cxn>
                <a:cxn ang="0">
                  <a:pos x="1" y="11"/>
                </a:cxn>
                <a:cxn ang="0">
                  <a:pos x="0" y="11"/>
                </a:cxn>
                <a:cxn ang="0">
                  <a:pos x="0" y="7"/>
                </a:cxn>
                <a:cxn ang="0">
                  <a:pos x="1" y="4"/>
                </a:cxn>
                <a:cxn ang="0">
                  <a:pos x="2" y="2"/>
                </a:cxn>
                <a:cxn ang="0">
                  <a:pos x="4" y="0"/>
                </a:cxn>
              </a:cxnLst>
              <a:rect l="0" t="0" r="r" b="b"/>
              <a:pathLst>
                <a:path w="12" h="11">
                  <a:moveTo>
                    <a:pt x="4" y="0"/>
                  </a:moveTo>
                  <a:lnTo>
                    <a:pt x="9" y="0"/>
                  </a:lnTo>
                  <a:lnTo>
                    <a:pt x="11" y="1"/>
                  </a:lnTo>
                  <a:lnTo>
                    <a:pt x="12" y="3"/>
                  </a:lnTo>
                  <a:lnTo>
                    <a:pt x="12" y="7"/>
                  </a:lnTo>
                  <a:lnTo>
                    <a:pt x="10" y="9"/>
                  </a:lnTo>
                  <a:lnTo>
                    <a:pt x="9" y="11"/>
                  </a:lnTo>
                  <a:lnTo>
                    <a:pt x="6" y="11"/>
                  </a:lnTo>
                  <a:lnTo>
                    <a:pt x="1" y="11"/>
                  </a:lnTo>
                  <a:lnTo>
                    <a:pt x="0" y="11"/>
                  </a:lnTo>
                  <a:lnTo>
                    <a:pt x="0" y="7"/>
                  </a:lnTo>
                  <a:lnTo>
                    <a:pt x="1" y="4"/>
                  </a:lnTo>
                  <a:lnTo>
                    <a:pt x="2" y="2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33">
              <a:extLst>
                <a:ext uri="{FF2B5EF4-FFF2-40B4-BE49-F238E27FC236}">
                  <a16:creationId xmlns:a16="http://schemas.microsoft.com/office/drawing/2014/main" id="{DA52461F-70B7-46F1-8008-FC588A3E1940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1113" y="2044701"/>
              <a:ext cx="25400" cy="158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" y="0"/>
                </a:cxn>
                <a:cxn ang="0">
                  <a:pos x="8" y="1"/>
                </a:cxn>
                <a:cxn ang="0">
                  <a:pos x="13" y="4"/>
                </a:cxn>
                <a:cxn ang="0">
                  <a:pos x="16" y="7"/>
                </a:cxn>
                <a:cxn ang="0">
                  <a:pos x="16" y="9"/>
                </a:cxn>
                <a:cxn ang="0">
                  <a:pos x="12" y="10"/>
                </a:cxn>
                <a:cxn ang="0">
                  <a:pos x="7" y="9"/>
                </a:cxn>
                <a:cxn ang="0">
                  <a:pos x="3" y="6"/>
                </a:cxn>
                <a:cxn ang="0">
                  <a:pos x="0" y="3"/>
                </a:cxn>
                <a:cxn ang="0">
                  <a:pos x="0" y="0"/>
                </a:cxn>
              </a:cxnLst>
              <a:rect l="0" t="0" r="r" b="b"/>
              <a:pathLst>
                <a:path w="16" h="10">
                  <a:moveTo>
                    <a:pt x="0" y="0"/>
                  </a:moveTo>
                  <a:lnTo>
                    <a:pt x="3" y="0"/>
                  </a:lnTo>
                  <a:lnTo>
                    <a:pt x="8" y="1"/>
                  </a:lnTo>
                  <a:lnTo>
                    <a:pt x="13" y="4"/>
                  </a:lnTo>
                  <a:lnTo>
                    <a:pt x="16" y="7"/>
                  </a:lnTo>
                  <a:lnTo>
                    <a:pt x="16" y="9"/>
                  </a:lnTo>
                  <a:lnTo>
                    <a:pt x="12" y="10"/>
                  </a:lnTo>
                  <a:lnTo>
                    <a:pt x="7" y="9"/>
                  </a:lnTo>
                  <a:lnTo>
                    <a:pt x="3" y="6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34">
              <a:extLst>
                <a:ext uri="{FF2B5EF4-FFF2-40B4-BE49-F238E27FC236}">
                  <a16:creationId xmlns:a16="http://schemas.microsoft.com/office/drawing/2014/main" id="{59602C33-98D3-4EE8-BBB4-4282B1E3EB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7488" y="1933576"/>
              <a:ext cx="15875" cy="25400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9" y="1"/>
                </a:cxn>
                <a:cxn ang="0">
                  <a:pos x="10" y="5"/>
                </a:cxn>
                <a:cxn ang="0">
                  <a:pos x="9" y="10"/>
                </a:cxn>
                <a:cxn ang="0">
                  <a:pos x="8" y="14"/>
                </a:cxn>
                <a:cxn ang="0">
                  <a:pos x="6" y="16"/>
                </a:cxn>
                <a:cxn ang="0">
                  <a:pos x="1" y="15"/>
                </a:cxn>
                <a:cxn ang="0">
                  <a:pos x="0" y="11"/>
                </a:cxn>
                <a:cxn ang="0">
                  <a:pos x="0" y="6"/>
                </a:cxn>
                <a:cxn ang="0">
                  <a:pos x="3" y="2"/>
                </a:cxn>
                <a:cxn ang="0">
                  <a:pos x="7" y="0"/>
                </a:cxn>
              </a:cxnLst>
              <a:rect l="0" t="0" r="r" b="b"/>
              <a:pathLst>
                <a:path w="10" h="16">
                  <a:moveTo>
                    <a:pt x="7" y="0"/>
                  </a:moveTo>
                  <a:lnTo>
                    <a:pt x="9" y="1"/>
                  </a:lnTo>
                  <a:lnTo>
                    <a:pt x="10" y="5"/>
                  </a:lnTo>
                  <a:lnTo>
                    <a:pt x="9" y="10"/>
                  </a:lnTo>
                  <a:lnTo>
                    <a:pt x="8" y="14"/>
                  </a:lnTo>
                  <a:lnTo>
                    <a:pt x="6" y="16"/>
                  </a:lnTo>
                  <a:lnTo>
                    <a:pt x="1" y="15"/>
                  </a:lnTo>
                  <a:lnTo>
                    <a:pt x="0" y="11"/>
                  </a:lnTo>
                  <a:lnTo>
                    <a:pt x="0" y="6"/>
                  </a:lnTo>
                  <a:lnTo>
                    <a:pt x="3" y="2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35">
              <a:extLst>
                <a:ext uri="{FF2B5EF4-FFF2-40B4-BE49-F238E27FC236}">
                  <a16:creationId xmlns:a16="http://schemas.microsoft.com/office/drawing/2014/main" id="{69D56381-5350-450F-B0C2-9825D4BE014A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0676" y="1870076"/>
              <a:ext cx="11113" cy="15875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4" y="0"/>
                </a:cxn>
                <a:cxn ang="0">
                  <a:pos x="6" y="1"/>
                </a:cxn>
                <a:cxn ang="0">
                  <a:pos x="7" y="3"/>
                </a:cxn>
                <a:cxn ang="0">
                  <a:pos x="7" y="7"/>
                </a:cxn>
                <a:cxn ang="0">
                  <a:pos x="4" y="10"/>
                </a:cxn>
                <a:cxn ang="0">
                  <a:pos x="3" y="10"/>
                </a:cxn>
                <a:cxn ang="0">
                  <a:pos x="2" y="9"/>
                </a:cxn>
                <a:cxn ang="0">
                  <a:pos x="0" y="5"/>
                </a:cxn>
                <a:cxn ang="0">
                  <a:pos x="0" y="3"/>
                </a:cxn>
                <a:cxn ang="0">
                  <a:pos x="1" y="1"/>
                </a:cxn>
                <a:cxn ang="0">
                  <a:pos x="2" y="0"/>
                </a:cxn>
              </a:cxnLst>
              <a:rect l="0" t="0" r="r" b="b"/>
              <a:pathLst>
                <a:path w="7" h="10">
                  <a:moveTo>
                    <a:pt x="2" y="0"/>
                  </a:moveTo>
                  <a:lnTo>
                    <a:pt x="4" y="0"/>
                  </a:lnTo>
                  <a:lnTo>
                    <a:pt x="6" y="1"/>
                  </a:lnTo>
                  <a:lnTo>
                    <a:pt x="7" y="3"/>
                  </a:lnTo>
                  <a:lnTo>
                    <a:pt x="7" y="7"/>
                  </a:lnTo>
                  <a:lnTo>
                    <a:pt x="4" y="10"/>
                  </a:lnTo>
                  <a:lnTo>
                    <a:pt x="3" y="10"/>
                  </a:lnTo>
                  <a:lnTo>
                    <a:pt x="2" y="9"/>
                  </a:lnTo>
                  <a:lnTo>
                    <a:pt x="0" y="5"/>
                  </a:lnTo>
                  <a:lnTo>
                    <a:pt x="0" y="3"/>
                  </a:lnTo>
                  <a:lnTo>
                    <a:pt x="1" y="1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36">
              <a:extLst>
                <a:ext uri="{FF2B5EF4-FFF2-40B4-BE49-F238E27FC236}">
                  <a16:creationId xmlns:a16="http://schemas.microsoft.com/office/drawing/2014/main" id="{E89D07DD-0C3F-4298-A6FF-5935A3E54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6238" y="1571626"/>
              <a:ext cx="52388" cy="44450"/>
            </a:xfrm>
            <a:custGeom>
              <a:avLst/>
              <a:gdLst/>
              <a:ahLst/>
              <a:cxnLst>
                <a:cxn ang="0">
                  <a:pos x="25" y="0"/>
                </a:cxn>
                <a:cxn ang="0">
                  <a:pos x="31" y="1"/>
                </a:cxn>
                <a:cxn ang="0">
                  <a:pos x="33" y="3"/>
                </a:cxn>
                <a:cxn ang="0">
                  <a:pos x="32" y="9"/>
                </a:cxn>
                <a:cxn ang="0">
                  <a:pos x="26" y="23"/>
                </a:cxn>
                <a:cxn ang="0">
                  <a:pos x="23" y="27"/>
                </a:cxn>
                <a:cxn ang="0">
                  <a:pos x="17" y="28"/>
                </a:cxn>
                <a:cxn ang="0">
                  <a:pos x="7" y="28"/>
                </a:cxn>
                <a:cxn ang="0">
                  <a:pos x="4" y="24"/>
                </a:cxn>
                <a:cxn ang="0">
                  <a:pos x="2" y="19"/>
                </a:cxn>
                <a:cxn ang="0">
                  <a:pos x="0" y="15"/>
                </a:cxn>
                <a:cxn ang="0">
                  <a:pos x="1" y="10"/>
                </a:cxn>
                <a:cxn ang="0">
                  <a:pos x="5" y="6"/>
                </a:cxn>
                <a:cxn ang="0">
                  <a:pos x="11" y="3"/>
                </a:cxn>
                <a:cxn ang="0">
                  <a:pos x="18" y="1"/>
                </a:cxn>
                <a:cxn ang="0">
                  <a:pos x="25" y="0"/>
                </a:cxn>
              </a:cxnLst>
              <a:rect l="0" t="0" r="r" b="b"/>
              <a:pathLst>
                <a:path w="33" h="28">
                  <a:moveTo>
                    <a:pt x="25" y="0"/>
                  </a:moveTo>
                  <a:lnTo>
                    <a:pt x="31" y="1"/>
                  </a:lnTo>
                  <a:lnTo>
                    <a:pt x="33" y="3"/>
                  </a:lnTo>
                  <a:lnTo>
                    <a:pt x="32" y="9"/>
                  </a:lnTo>
                  <a:lnTo>
                    <a:pt x="26" y="23"/>
                  </a:lnTo>
                  <a:lnTo>
                    <a:pt x="23" y="27"/>
                  </a:lnTo>
                  <a:lnTo>
                    <a:pt x="17" y="28"/>
                  </a:lnTo>
                  <a:lnTo>
                    <a:pt x="7" y="28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5"/>
                  </a:lnTo>
                  <a:lnTo>
                    <a:pt x="1" y="10"/>
                  </a:lnTo>
                  <a:lnTo>
                    <a:pt x="5" y="6"/>
                  </a:lnTo>
                  <a:lnTo>
                    <a:pt x="11" y="3"/>
                  </a:lnTo>
                  <a:lnTo>
                    <a:pt x="18" y="1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37">
              <a:extLst>
                <a:ext uri="{FF2B5EF4-FFF2-40B4-BE49-F238E27FC236}">
                  <a16:creationId xmlns:a16="http://schemas.microsoft.com/office/drawing/2014/main" id="{6E4A5EFF-4D18-4F66-AB18-9D7DB6AA2EC7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3838" y="1420813"/>
              <a:ext cx="69850" cy="44450"/>
            </a:xfrm>
            <a:custGeom>
              <a:avLst/>
              <a:gdLst/>
              <a:ahLst/>
              <a:cxnLst>
                <a:cxn ang="0">
                  <a:pos x="29" y="0"/>
                </a:cxn>
                <a:cxn ang="0">
                  <a:pos x="41" y="0"/>
                </a:cxn>
                <a:cxn ang="0">
                  <a:pos x="43" y="2"/>
                </a:cxn>
                <a:cxn ang="0">
                  <a:pos x="44" y="8"/>
                </a:cxn>
                <a:cxn ang="0">
                  <a:pos x="43" y="14"/>
                </a:cxn>
                <a:cxn ang="0">
                  <a:pos x="41" y="20"/>
                </a:cxn>
                <a:cxn ang="0">
                  <a:pos x="39" y="26"/>
                </a:cxn>
                <a:cxn ang="0">
                  <a:pos x="36" y="28"/>
                </a:cxn>
                <a:cxn ang="0">
                  <a:pos x="31" y="27"/>
                </a:cxn>
                <a:cxn ang="0">
                  <a:pos x="23" y="26"/>
                </a:cxn>
                <a:cxn ang="0">
                  <a:pos x="14" y="23"/>
                </a:cxn>
                <a:cxn ang="0">
                  <a:pos x="6" y="20"/>
                </a:cxn>
                <a:cxn ang="0">
                  <a:pos x="2" y="18"/>
                </a:cxn>
                <a:cxn ang="0">
                  <a:pos x="0" y="14"/>
                </a:cxn>
                <a:cxn ang="0">
                  <a:pos x="3" y="9"/>
                </a:cxn>
                <a:cxn ang="0">
                  <a:pos x="6" y="4"/>
                </a:cxn>
                <a:cxn ang="0">
                  <a:pos x="11" y="1"/>
                </a:cxn>
                <a:cxn ang="0">
                  <a:pos x="22" y="1"/>
                </a:cxn>
                <a:cxn ang="0">
                  <a:pos x="29" y="0"/>
                </a:cxn>
              </a:cxnLst>
              <a:rect l="0" t="0" r="r" b="b"/>
              <a:pathLst>
                <a:path w="44" h="28">
                  <a:moveTo>
                    <a:pt x="29" y="0"/>
                  </a:moveTo>
                  <a:lnTo>
                    <a:pt x="41" y="0"/>
                  </a:lnTo>
                  <a:lnTo>
                    <a:pt x="43" y="2"/>
                  </a:lnTo>
                  <a:lnTo>
                    <a:pt x="44" y="8"/>
                  </a:lnTo>
                  <a:lnTo>
                    <a:pt x="43" y="14"/>
                  </a:lnTo>
                  <a:lnTo>
                    <a:pt x="41" y="20"/>
                  </a:lnTo>
                  <a:lnTo>
                    <a:pt x="39" y="26"/>
                  </a:lnTo>
                  <a:lnTo>
                    <a:pt x="36" y="28"/>
                  </a:lnTo>
                  <a:lnTo>
                    <a:pt x="31" y="27"/>
                  </a:lnTo>
                  <a:lnTo>
                    <a:pt x="23" y="26"/>
                  </a:lnTo>
                  <a:lnTo>
                    <a:pt x="14" y="23"/>
                  </a:lnTo>
                  <a:lnTo>
                    <a:pt x="6" y="20"/>
                  </a:lnTo>
                  <a:lnTo>
                    <a:pt x="2" y="18"/>
                  </a:lnTo>
                  <a:lnTo>
                    <a:pt x="0" y="14"/>
                  </a:lnTo>
                  <a:lnTo>
                    <a:pt x="3" y="9"/>
                  </a:lnTo>
                  <a:lnTo>
                    <a:pt x="6" y="4"/>
                  </a:lnTo>
                  <a:lnTo>
                    <a:pt x="11" y="1"/>
                  </a:lnTo>
                  <a:lnTo>
                    <a:pt x="22" y="1"/>
                  </a:lnTo>
                  <a:lnTo>
                    <a:pt x="29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38">
              <a:extLst>
                <a:ext uri="{FF2B5EF4-FFF2-40B4-BE49-F238E27FC236}">
                  <a16:creationId xmlns:a16="http://schemas.microsoft.com/office/drawing/2014/main" id="{561BB6F8-1BE3-45BB-BA11-C45394EB0E1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4151" y="1447801"/>
              <a:ext cx="33338" cy="60325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4" y="0"/>
                </a:cxn>
                <a:cxn ang="0">
                  <a:pos x="14" y="1"/>
                </a:cxn>
                <a:cxn ang="0">
                  <a:pos x="15" y="9"/>
                </a:cxn>
                <a:cxn ang="0">
                  <a:pos x="18" y="21"/>
                </a:cxn>
                <a:cxn ang="0">
                  <a:pos x="20" y="27"/>
                </a:cxn>
                <a:cxn ang="0">
                  <a:pos x="21" y="32"/>
                </a:cxn>
                <a:cxn ang="0">
                  <a:pos x="21" y="36"/>
                </a:cxn>
                <a:cxn ang="0">
                  <a:pos x="18" y="38"/>
                </a:cxn>
                <a:cxn ang="0">
                  <a:pos x="14" y="37"/>
                </a:cxn>
                <a:cxn ang="0">
                  <a:pos x="8" y="33"/>
                </a:cxn>
                <a:cxn ang="0">
                  <a:pos x="3" y="27"/>
                </a:cxn>
                <a:cxn ang="0">
                  <a:pos x="0" y="20"/>
                </a:cxn>
                <a:cxn ang="0">
                  <a:pos x="0" y="13"/>
                </a:cxn>
                <a:cxn ang="0">
                  <a:pos x="1" y="10"/>
                </a:cxn>
                <a:cxn ang="0">
                  <a:pos x="5" y="4"/>
                </a:cxn>
                <a:cxn ang="0">
                  <a:pos x="9" y="1"/>
                </a:cxn>
                <a:cxn ang="0">
                  <a:pos x="11" y="0"/>
                </a:cxn>
              </a:cxnLst>
              <a:rect l="0" t="0" r="r" b="b"/>
              <a:pathLst>
                <a:path w="21" h="38">
                  <a:moveTo>
                    <a:pt x="11" y="0"/>
                  </a:moveTo>
                  <a:lnTo>
                    <a:pt x="14" y="0"/>
                  </a:lnTo>
                  <a:lnTo>
                    <a:pt x="14" y="1"/>
                  </a:lnTo>
                  <a:lnTo>
                    <a:pt x="15" y="9"/>
                  </a:lnTo>
                  <a:lnTo>
                    <a:pt x="18" y="21"/>
                  </a:lnTo>
                  <a:lnTo>
                    <a:pt x="20" y="27"/>
                  </a:lnTo>
                  <a:lnTo>
                    <a:pt x="21" y="32"/>
                  </a:lnTo>
                  <a:lnTo>
                    <a:pt x="21" y="36"/>
                  </a:lnTo>
                  <a:lnTo>
                    <a:pt x="18" y="38"/>
                  </a:lnTo>
                  <a:lnTo>
                    <a:pt x="14" y="37"/>
                  </a:lnTo>
                  <a:lnTo>
                    <a:pt x="8" y="33"/>
                  </a:lnTo>
                  <a:lnTo>
                    <a:pt x="3" y="27"/>
                  </a:lnTo>
                  <a:lnTo>
                    <a:pt x="0" y="20"/>
                  </a:lnTo>
                  <a:lnTo>
                    <a:pt x="0" y="13"/>
                  </a:lnTo>
                  <a:lnTo>
                    <a:pt x="1" y="10"/>
                  </a:lnTo>
                  <a:lnTo>
                    <a:pt x="5" y="4"/>
                  </a:lnTo>
                  <a:lnTo>
                    <a:pt x="9" y="1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39">
              <a:extLst>
                <a:ext uri="{FF2B5EF4-FFF2-40B4-BE49-F238E27FC236}">
                  <a16:creationId xmlns:a16="http://schemas.microsoft.com/office/drawing/2014/main" id="{4D954407-4CDF-41A4-ADF6-C453412BD63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9388" y="1223963"/>
              <a:ext cx="125413" cy="198438"/>
            </a:xfrm>
            <a:custGeom>
              <a:avLst/>
              <a:gdLst/>
              <a:ahLst/>
              <a:cxnLst>
                <a:cxn ang="0">
                  <a:pos x="31" y="0"/>
                </a:cxn>
                <a:cxn ang="0">
                  <a:pos x="33" y="1"/>
                </a:cxn>
                <a:cxn ang="0">
                  <a:pos x="35" y="2"/>
                </a:cxn>
                <a:cxn ang="0">
                  <a:pos x="37" y="3"/>
                </a:cxn>
                <a:cxn ang="0">
                  <a:pos x="41" y="6"/>
                </a:cxn>
                <a:cxn ang="0">
                  <a:pos x="41" y="11"/>
                </a:cxn>
                <a:cxn ang="0">
                  <a:pos x="39" y="13"/>
                </a:cxn>
                <a:cxn ang="0">
                  <a:pos x="33" y="18"/>
                </a:cxn>
                <a:cxn ang="0">
                  <a:pos x="29" y="24"/>
                </a:cxn>
                <a:cxn ang="0">
                  <a:pos x="24" y="31"/>
                </a:cxn>
                <a:cxn ang="0">
                  <a:pos x="22" y="38"/>
                </a:cxn>
                <a:cxn ang="0">
                  <a:pos x="22" y="48"/>
                </a:cxn>
                <a:cxn ang="0">
                  <a:pos x="25" y="57"/>
                </a:cxn>
                <a:cxn ang="0">
                  <a:pos x="29" y="64"/>
                </a:cxn>
                <a:cxn ang="0">
                  <a:pos x="33" y="68"/>
                </a:cxn>
                <a:cxn ang="0">
                  <a:pos x="38" y="71"/>
                </a:cxn>
                <a:cxn ang="0">
                  <a:pos x="45" y="72"/>
                </a:cxn>
                <a:cxn ang="0">
                  <a:pos x="59" y="68"/>
                </a:cxn>
                <a:cxn ang="0">
                  <a:pos x="68" y="67"/>
                </a:cxn>
                <a:cxn ang="0">
                  <a:pos x="79" y="67"/>
                </a:cxn>
                <a:cxn ang="0">
                  <a:pos x="79" y="68"/>
                </a:cxn>
                <a:cxn ang="0">
                  <a:pos x="74" y="70"/>
                </a:cxn>
                <a:cxn ang="0">
                  <a:pos x="65" y="73"/>
                </a:cxn>
                <a:cxn ang="0">
                  <a:pos x="56" y="75"/>
                </a:cxn>
                <a:cxn ang="0">
                  <a:pos x="48" y="78"/>
                </a:cxn>
                <a:cxn ang="0">
                  <a:pos x="43" y="80"/>
                </a:cxn>
                <a:cxn ang="0">
                  <a:pos x="38" y="81"/>
                </a:cxn>
                <a:cxn ang="0">
                  <a:pos x="32" y="80"/>
                </a:cxn>
                <a:cxn ang="0">
                  <a:pos x="26" y="78"/>
                </a:cxn>
                <a:cxn ang="0">
                  <a:pos x="21" y="75"/>
                </a:cxn>
                <a:cxn ang="0">
                  <a:pos x="17" y="73"/>
                </a:cxn>
                <a:cxn ang="0">
                  <a:pos x="13" y="75"/>
                </a:cxn>
                <a:cxn ang="0">
                  <a:pos x="12" y="77"/>
                </a:cxn>
                <a:cxn ang="0">
                  <a:pos x="9" y="80"/>
                </a:cxn>
                <a:cxn ang="0">
                  <a:pos x="9" y="87"/>
                </a:cxn>
                <a:cxn ang="0">
                  <a:pos x="8" y="95"/>
                </a:cxn>
                <a:cxn ang="0">
                  <a:pos x="7" y="105"/>
                </a:cxn>
                <a:cxn ang="0">
                  <a:pos x="5" y="115"/>
                </a:cxn>
                <a:cxn ang="0">
                  <a:pos x="4" y="122"/>
                </a:cxn>
                <a:cxn ang="0">
                  <a:pos x="2" y="125"/>
                </a:cxn>
                <a:cxn ang="0">
                  <a:pos x="1" y="122"/>
                </a:cxn>
                <a:cxn ang="0">
                  <a:pos x="0" y="114"/>
                </a:cxn>
                <a:cxn ang="0">
                  <a:pos x="0" y="91"/>
                </a:cxn>
                <a:cxn ang="0">
                  <a:pos x="2" y="67"/>
                </a:cxn>
                <a:cxn ang="0">
                  <a:pos x="3" y="58"/>
                </a:cxn>
                <a:cxn ang="0">
                  <a:pos x="4" y="53"/>
                </a:cxn>
                <a:cxn ang="0">
                  <a:pos x="6" y="48"/>
                </a:cxn>
                <a:cxn ang="0">
                  <a:pos x="10" y="39"/>
                </a:cxn>
                <a:cxn ang="0">
                  <a:pos x="14" y="28"/>
                </a:cxn>
                <a:cxn ang="0">
                  <a:pos x="24" y="8"/>
                </a:cxn>
                <a:cxn ang="0">
                  <a:pos x="28" y="2"/>
                </a:cxn>
                <a:cxn ang="0">
                  <a:pos x="31" y="0"/>
                </a:cxn>
              </a:cxnLst>
              <a:rect l="0" t="0" r="r" b="b"/>
              <a:pathLst>
                <a:path w="79" h="125">
                  <a:moveTo>
                    <a:pt x="31" y="0"/>
                  </a:moveTo>
                  <a:lnTo>
                    <a:pt x="33" y="1"/>
                  </a:lnTo>
                  <a:lnTo>
                    <a:pt x="35" y="2"/>
                  </a:lnTo>
                  <a:lnTo>
                    <a:pt x="37" y="3"/>
                  </a:lnTo>
                  <a:lnTo>
                    <a:pt x="41" y="6"/>
                  </a:lnTo>
                  <a:lnTo>
                    <a:pt x="41" y="11"/>
                  </a:lnTo>
                  <a:lnTo>
                    <a:pt x="39" y="13"/>
                  </a:lnTo>
                  <a:lnTo>
                    <a:pt x="33" y="18"/>
                  </a:lnTo>
                  <a:lnTo>
                    <a:pt x="29" y="24"/>
                  </a:lnTo>
                  <a:lnTo>
                    <a:pt x="24" y="31"/>
                  </a:lnTo>
                  <a:lnTo>
                    <a:pt x="22" y="38"/>
                  </a:lnTo>
                  <a:lnTo>
                    <a:pt x="22" y="48"/>
                  </a:lnTo>
                  <a:lnTo>
                    <a:pt x="25" y="57"/>
                  </a:lnTo>
                  <a:lnTo>
                    <a:pt x="29" y="64"/>
                  </a:lnTo>
                  <a:lnTo>
                    <a:pt x="33" y="68"/>
                  </a:lnTo>
                  <a:lnTo>
                    <a:pt x="38" y="71"/>
                  </a:lnTo>
                  <a:lnTo>
                    <a:pt x="45" y="72"/>
                  </a:lnTo>
                  <a:lnTo>
                    <a:pt x="59" y="68"/>
                  </a:lnTo>
                  <a:lnTo>
                    <a:pt x="68" y="67"/>
                  </a:lnTo>
                  <a:lnTo>
                    <a:pt x="79" y="67"/>
                  </a:lnTo>
                  <a:lnTo>
                    <a:pt x="79" y="68"/>
                  </a:lnTo>
                  <a:lnTo>
                    <a:pt x="74" y="70"/>
                  </a:lnTo>
                  <a:lnTo>
                    <a:pt x="65" y="73"/>
                  </a:lnTo>
                  <a:lnTo>
                    <a:pt x="56" y="75"/>
                  </a:lnTo>
                  <a:lnTo>
                    <a:pt x="48" y="78"/>
                  </a:lnTo>
                  <a:lnTo>
                    <a:pt x="43" y="80"/>
                  </a:lnTo>
                  <a:lnTo>
                    <a:pt x="38" y="81"/>
                  </a:lnTo>
                  <a:lnTo>
                    <a:pt x="32" y="80"/>
                  </a:lnTo>
                  <a:lnTo>
                    <a:pt x="26" y="78"/>
                  </a:lnTo>
                  <a:lnTo>
                    <a:pt x="21" y="75"/>
                  </a:lnTo>
                  <a:lnTo>
                    <a:pt x="17" y="73"/>
                  </a:lnTo>
                  <a:lnTo>
                    <a:pt x="13" y="75"/>
                  </a:lnTo>
                  <a:lnTo>
                    <a:pt x="12" y="77"/>
                  </a:lnTo>
                  <a:lnTo>
                    <a:pt x="9" y="80"/>
                  </a:lnTo>
                  <a:lnTo>
                    <a:pt x="9" y="87"/>
                  </a:lnTo>
                  <a:lnTo>
                    <a:pt x="8" y="95"/>
                  </a:lnTo>
                  <a:lnTo>
                    <a:pt x="7" y="105"/>
                  </a:lnTo>
                  <a:lnTo>
                    <a:pt x="5" y="115"/>
                  </a:lnTo>
                  <a:lnTo>
                    <a:pt x="4" y="122"/>
                  </a:lnTo>
                  <a:lnTo>
                    <a:pt x="2" y="125"/>
                  </a:lnTo>
                  <a:lnTo>
                    <a:pt x="1" y="122"/>
                  </a:lnTo>
                  <a:lnTo>
                    <a:pt x="0" y="114"/>
                  </a:lnTo>
                  <a:lnTo>
                    <a:pt x="0" y="91"/>
                  </a:lnTo>
                  <a:lnTo>
                    <a:pt x="2" y="67"/>
                  </a:lnTo>
                  <a:lnTo>
                    <a:pt x="3" y="58"/>
                  </a:lnTo>
                  <a:lnTo>
                    <a:pt x="4" y="53"/>
                  </a:lnTo>
                  <a:lnTo>
                    <a:pt x="6" y="48"/>
                  </a:lnTo>
                  <a:lnTo>
                    <a:pt x="10" y="39"/>
                  </a:lnTo>
                  <a:lnTo>
                    <a:pt x="14" y="28"/>
                  </a:lnTo>
                  <a:lnTo>
                    <a:pt x="24" y="8"/>
                  </a:lnTo>
                  <a:lnTo>
                    <a:pt x="28" y="2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40">
              <a:extLst>
                <a:ext uri="{FF2B5EF4-FFF2-40B4-BE49-F238E27FC236}">
                  <a16:creationId xmlns:a16="http://schemas.microsoft.com/office/drawing/2014/main" id="{67F2D36E-A9E2-4CC5-8AFC-E29789BB2231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0826" y="1131888"/>
              <a:ext cx="46038" cy="84138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25" y="0"/>
                </a:cxn>
                <a:cxn ang="0">
                  <a:pos x="29" y="2"/>
                </a:cxn>
                <a:cxn ang="0">
                  <a:pos x="29" y="4"/>
                </a:cxn>
                <a:cxn ang="0">
                  <a:pos x="25" y="10"/>
                </a:cxn>
                <a:cxn ang="0">
                  <a:pos x="24" y="13"/>
                </a:cxn>
                <a:cxn ang="0">
                  <a:pos x="24" y="20"/>
                </a:cxn>
                <a:cxn ang="0">
                  <a:pos x="25" y="27"/>
                </a:cxn>
                <a:cxn ang="0">
                  <a:pos x="25" y="41"/>
                </a:cxn>
                <a:cxn ang="0">
                  <a:pos x="24" y="45"/>
                </a:cxn>
                <a:cxn ang="0">
                  <a:pos x="20" y="48"/>
                </a:cxn>
                <a:cxn ang="0">
                  <a:pos x="14" y="51"/>
                </a:cxn>
                <a:cxn ang="0">
                  <a:pos x="9" y="53"/>
                </a:cxn>
                <a:cxn ang="0">
                  <a:pos x="5" y="53"/>
                </a:cxn>
                <a:cxn ang="0">
                  <a:pos x="3" y="49"/>
                </a:cxn>
                <a:cxn ang="0">
                  <a:pos x="2" y="42"/>
                </a:cxn>
                <a:cxn ang="0">
                  <a:pos x="1" y="34"/>
                </a:cxn>
                <a:cxn ang="0">
                  <a:pos x="0" y="27"/>
                </a:cxn>
                <a:cxn ang="0">
                  <a:pos x="0" y="15"/>
                </a:cxn>
                <a:cxn ang="0">
                  <a:pos x="1" y="7"/>
                </a:cxn>
                <a:cxn ang="0">
                  <a:pos x="4" y="2"/>
                </a:cxn>
                <a:cxn ang="0">
                  <a:pos x="8" y="0"/>
                </a:cxn>
              </a:cxnLst>
              <a:rect l="0" t="0" r="r" b="b"/>
              <a:pathLst>
                <a:path w="29" h="53">
                  <a:moveTo>
                    <a:pt x="8" y="0"/>
                  </a:moveTo>
                  <a:lnTo>
                    <a:pt x="25" y="0"/>
                  </a:lnTo>
                  <a:lnTo>
                    <a:pt x="29" y="2"/>
                  </a:lnTo>
                  <a:lnTo>
                    <a:pt x="29" y="4"/>
                  </a:lnTo>
                  <a:lnTo>
                    <a:pt x="25" y="10"/>
                  </a:lnTo>
                  <a:lnTo>
                    <a:pt x="24" y="13"/>
                  </a:lnTo>
                  <a:lnTo>
                    <a:pt x="24" y="20"/>
                  </a:lnTo>
                  <a:lnTo>
                    <a:pt x="25" y="27"/>
                  </a:lnTo>
                  <a:lnTo>
                    <a:pt x="25" y="41"/>
                  </a:lnTo>
                  <a:lnTo>
                    <a:pt x="24" y="45"/>
                  </a:lnTo>
                  <a:lnTo>
                    <a:pt x="20" y="48"/>
                  </a:lnTo>
                  <a:lnTo>
                    <a:pt x="14" y="51"/>
                  </a:lnTo>
                  <a:lnTo>
                    <a:pt x="9" y="53"/>
                  </a:lnTo>
                  <a:lnTo>
                    <a:pt x="5" y="53"/>
                  </a:lnTo>
                  <a:lnTo>
                    <a:pt x="3" y="49"/>
                  </a:lnTo>
                  <a:lnTo>
                    <a:pt x="2" y="42"/>
                  </a:lnTo>
                  <a:lnTo>
                    <a:pt x="1" y="34"/>
                  </a:lnTo>
                  <a:lnTo>
                    <a:pt x="0" y="27"/>
                  </a:lnTo>
                  <a:lnTo>
                    <a:pt x="0" y="15"/>
                  </a:lnTo>
                  <a:lnTo>
                    <a:pt x="1" y="7"/>
                  </a:lnTo>
                  <a:lnTo>
                    <a:pt x="4" y="2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41">
              <a:extLst>
                <a:ext uri="{FF2B5EF4-FFF2-40B4-BE49-F238E27FC236}">
                  <a16:creationId xmlns:a16="http://schemas.microsoft.com/office/drawing/2014/main" id="{C332B6D1-76DD-43DF-9D17-679846B36A6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8663" y="1501776"/>
              <a:ext cx="31750" cy="85725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18" y="0"/>
                </a:cxn>
                <a:cxn ang="0">
                  <a:pos x="19" y="1"/>
                </a:cxn>
                <a:cxn ang="0">
                  <a:pos x="20" y="1"/>
                </a:cxn>
                <a:cxn ang="0">
                  <a:pos x="20" y="3"/>
                </a:cxn>
                <a:cxn ang="0">
                  <a:pos x="18" y="7"/>
                </a:cxn>
                <a:cxn ang="0">
                  <a:pos x="16" y="8"/>
                </a:cxn>
                <a:cxn ang="0">
                  <a:pos x="14" y="12"/>
                </a:cxn>
                <a:cxn ang="0">
                  <a:pos x="14" y="16"/>
                </a:cxn>
                <a:cxn ang="0">
                  <a:pos x="13" y="23"/>
                </a:cxn>
                <a:cxn ang="0">
                  <a:pos x="13" y="30"/>
                </a:cxn>
                <a:cxn ang="0">
                  <a:pos x="13" y="34"/>
                </a:cxn>
                <a:cxn ang="0">
                  <a:pos x="12" y="37"/>
                </a:cxn>
                <a:cxn ang="0">
                  <a:pos x="9" y="42"/>
                </a:cxn>
                <a:cxn ang="0">
                  <a:pos x="6" y="48"/>
                </a:cxn>
                <a:cxn ang="0">
                  <a:pos x="3" y="52"/>
                </a:cxn>
                <a:cxn ang="0">
                  <a:pos x="1" y="54"/>
                </a:cxn>
                <a:cxn ang="0">
                  <a:pos x="0" y="51"/>
                </a:cxn>
                <a:cxn ang="0">
                  <a:pos x="1" y="45"/>
                </a:cxn>
                <a:cxn ang="0">
                  <a:pos x="4" y="39"/>
                </a:cxn>
                <a:cxn ang="0">
                  <a:pos x="5" y="32"/>
                </a:cxn>
                <a:cxn ang="0">
                  <a:pos x="6" y="27"/>
                </a:cxn>
                <a:cxn ang="0">
                  <a:pos x="6" y="14"/>
                </a:cxn>
                <a:cxn ang="0">
                  <a:pos x="7" y="7"/>
                </a:cxn>
                <a:cxn ang="0">
                  <a:pos x="9" y="3"/>
                </a:cxn>
                <a:cxn ang="0">
                  <a:pos x="13" y="1"/>
                </a:cxn>
                <a:cxn ang="0">
                  <a:pos x="14" y="1"/>
                </a:cxn>
                <a:cxn ang="0">
                  <a:pos x="16" y="0"/>
                </a:cxn>
              </a:cxnLst>
              <a:rect l="0" t="0" r="r" b="b"/>
              <a:pathLst>
                <a:path w="20" h="54">
                  <a:moveTo>
                    <a:pt x="16" y="0"/>
                  </a:moveTo>
                  <a:lnTo>
                    <a:pt x="18" y="0"/>
                  </a:lnTo>
                  <a:lnTo>
                    <a:pt x="19" y="1"/>
                  </a:lnTo>
                  <a:lnTo>
                    <a:pt x="20" y="1"/>
                  </a:lnTo>
                  <a:lnTo>
                    <a:pt x="20" y="3"/>
                  </a:lnTo>
                  <a:lnTo>
                    <a:pt x="18" y="7"/>
                  </a:lnTo>
                  <a:lnTo>
                    <a:pt x="16" y="8"/>
                  </a:lnTo>
                  <a:lnTo>
                    <a:pt x="14" y="12"/>
                  </a:lnTo>
                  <a:lnTo>
                    <a:pt x="14" y="16"/>
                  </a:lnTo>
                  <a:lnTo>
                    <a:pt x="13" y="23"/>
                  </a:lnTo>
                  <a:lnTo>
                    <a:pt x="13" y="30"/>
                  </a:lnTo>
                  <a:lnTo>
                    <a:pt x="13" y="34"/>
                  </a:lnTo>
                  <a:lnTo>
                    <a:pt x="12" y="37"/>
                  </a:lnTo>
                  <a:lnTo>
                    <a:pt x="9" y="42"/>
                  </a:lnTo>
                  <a:lnTo>
                    <a:pt x="6" y="48"/>
                  </a:lnTo>
                  <a:lnTo>
                    <a:pt x="3" y="52"/>
                  </a:lnTo>
                  <a:lnTo>
                    <a:pt x="1" y="54"/>
                  </a:lnTo>
                  <a:lnTo>
                    <a:pt x="0" y="51"/>
                  </a:lnTo>
                  <a:lnTo>
                    <a:pt x="1" y="45"/>
                  </a:lnTo>
                  <a:lnTo>
                    <a:pt x="4" y="39"/>
                  </a:lnTo>
                  <a:lnTo>
                    <a:pt x="5" y="32"/>
                  </a:lnTo>
                  <a:lnTo>
                    <a:pt x="6" y="27"/>
                  </a:lnTo>
                  <a:lnTo>
                    <a:pt x="6" y="14"/>
                  </a:lnTo>
                  <a:lnTo>
                    <a:pt x="7" y="7"/>
                  </a:lnTo>
                  <a:lnTo>
                    <a:pt x="9" y="3"/>
                  </a:lnTo>
                  <a:lnTo>
                    <a:pt x="13" y="1"/>
                  </a:lnTo>
                  <a:lnTo>
                    <a:pt x="14" y="1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6" name="Freeform 5">
            <a:extLst>
              <a:ext uri="{FF2B5EF4-FFF2-40B4-BE49-F238E27FC236}">
                <a16:creationId xmlns:a16="http://schemas.microsoft.com/office/drawing/2014/main" id="{3593B68E-8EE7-45E4-AD16-4D9219582B8E}"/>
              </a:ext>
            </a:extLst>
          </p:cNvPr>
          <p:cNvSpPr>
            <a:spLocks/>
          </p:cNvSpPr>
          <p:nvPr/>
        </p:nvSpPr>
        <p:spPr bwMode="auto">
          <a:xfrm>
            <a:off x="1968492" y="3625016"/>
            <a:ext cx="2461386" cy="2467039"/>
          </a:xfrm>
          <a:custGeom>
            <a:avLst/>
            <a:gdLst>
              <a:gd name="T0" fmla="*/ 1306 w 1306"/>
              <a:gd name="T1" fmla="*/ 1309 h 1309"/>
              <a:gd name="T2" fmla="*/ 971 w 1306"/>
              <a:gd name="T3" fmla="*/ 1309 h 1309"/>
              <a:gd name="T4" fmla="*/ 971 w 1306"/>
              <a:gd name="T5" fmla="*/ 336 h 1309"/>
              <a:gd name="T6" fmla="*/ 0 w 1306"/>
              <a:gd name="T7" fmla="*/ 336 h 1309"/>
              <a:gd name="T8" fmla="*/ 0 w 1306"/>
              <a:gd name="T9" fmla="*/ 0 h 1309"/>
              <a:gd name="T10" fmla="*/ 1306 w 1306"/>
              <a:gd name="T11" fmla="*/ 0 h 1309"/>
              <a:gd name="T12" fmla="*/ 1306 w 1306"/>
              <a:gd name="T13" fmla="*/ 1309 h 13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06" h="1309">
                <a:moveTo>
                  <a:pt x="1306" y="1309"/>
                </a:moveTo>
                <a:lnTo>
                  <a:pt x="971" y="1309"/>
                </a:lnTo>
                <a:lnTo>
                  <a:pt x="971" y="336"/>
                </a:lnTo>
                <a:lnTo>
                  <a:pt x="0" y="336"/>
                </a:lnTo>
                <a:lnTo>
                  <a:pt x="0" y="0"/>
                </a:lnTo>
                <a:lnTo>
                  <a:pt x="1306" y="0"/>
                </a:lnTo>
                <a:lnTo>
                  <a:pt x="1306" y="1309"/>
                </a:ln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17" name="Freeform 12">
            <a:extLst>
              <a:ext uri="{FF2B5EF4-FFF2-40B4-BE49-F238E27FC236}">
                <a16:creationId xmlns:a16="http://schemas.microsoft.com/office/drawing/2014/main" id="{DBADAB58-EB8D-4C63-B5BE-41B7834D3A87}"/>
              </a:ext>
            </a:extLst>
          </p:cNvPr>
          <p:cNvSpPr>
            <a:spLocks/>
          </p:cNvSpPr>
          <p:nvPr/>
        </p:nvSpPr>
        <p:spPr bwMode="auto">
          <a:xfrm>
            <a:off x="737799" y="3711711"/>
            <a:ext cx="3597845" cy="3162485"/>
          </a:xfrm>
          <a:custGeom>
            <a:avLst/>
            <a:gdLst>
              <a:gd name="T0" fmla="*/ 1675 w 1909"/>
              <a:gd name="T1" fmla="*/ 0 h 1678"/>
              <a:gd name="T2" fmla="*/ 0 w 1909"/>
              <a:gd name="T3" fmla="*/ 1678 h 1678"/>
              <a:gd name="T4" fmla="*/ 473 w 1909"/>
              <a:gd name="T5" fmla="*/ 1678 h 1678"/>
              <a:gd name="T6" fmla="*/ 1909 w 1909"/>
              <a:gd name="T7" fmla="*/ 239 h 1678"/>
              <a:gd name="T8" fmla="*/ 1675 w 1909"/>
              <a:gd name="T9" fmla="*/ 0 h 16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909" h="1678">
                <a:moveTo>
                  <a:pt x="1675" y="0"/>
                </a:moveTo>
                <a:lnTo>
                  <a:pt x="0" y="1678"/>
                </a:lnTo>
                <a:lnTo>
                  <a:pt x="473" y="1678"/>
                </a:lnTo>
                <a:lnTo>
                  <a:pt x="1909" y="239"/>
                </a:lnTo>
                <a:lnTo>
                  <a:pt x="1675" y="0"/>
                </a:ln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18" name="Textfeld 117">
            <a:extLst>
              <a:ext uri="{FF2B5EF4-FFF2-40B4-BE49-F238E27FC236}">
                <a16:creationId xmlns:a16="http://schemas.microsoft.com/office/drawing/2014/main" id="{B34B9BFE-A9BD-4A0F-B3F8-DE8BB0922AE6}"/>
              </a:ext>
            </a:extLst>
          </p:cNvPr>
          <p:cNvSpPr txBox="1"/>
          <p:nvPr/>
        </p:nvSpPr>
        <p:spPr>
          <a:xfrm>
            <a:off x="4560562" y="1734644"/>
            <a:ext cx="6766200" cy="42165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6213" indent="-87313">
              <a:spcBef>
                <a:spcPts val="18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600" b="1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Soziale Lizenzauflagen </a:t>
            </a:r>
            <a:r>
              <a:rPr lang="de-DE" sz="1600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für Briefdienstleister wirksamer auf Gewährleistung guter, auskömmlicher, tarifgebundener und sozialversicherungspflichtiger Beschäftigung ausrichten</a:t>
            </a:r>
          </a:p>
          <a:p>
            <a:pPr marL="176213" indent="-87313">
              <a:spcBef>
                <a:spcPts val="18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600" b="1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Lizenzauflagen um ökologische Mindestanforderungen </a:t>
            </a:r>
            <a:r>
              <a:rPr lang="de-DE" sz="1600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(Emissionen und Energieverbrauch) ergänzen </a:t>
            </a:r>
          </a:p>
          <a:p>
            <a:pPr marL="176213" indent="-87313">
              <a:spcBef>
                <a:spcPts val="18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Postgesetz auf </a:t>
            </a:r>
            <a:r>
              <a:rPr lang="de-DE" sz="1600" b="1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Paketbranche</a:t>
            </a:r>
            <a:r>
              <a:rPr lang="de-DE" sz="1600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 – einschließlich von Subunternehmen – ausdehnen, da vor allem in diesem bislang weitgehend unregulierten Markt schlechte und prekäre Arbeitsbedingungen zu beklagen sind.</a:t>
            </a:r>
          </a:p>
          <a:p>
            <a:pPr marL="176213" indent="-87313">
              <a:spcBef>
                <a:spcPts val="18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600" b="1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Auskömmliche Finanzgrundlagen </a:t>
            </a:r>
            <a:r>
              <a:rPr lang="de-DE" sz="1600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für Investitionen in einen flächendeckenden und C02 neutralen Universaldienst sicherstellen</a:t>
            </a:r>
          </a:p>
          <a:p>
            <a:pPr marL="176213" indent="-87313">
              <a:spcBef>
                <a:spcPts val="18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600" b="1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Qualitätsvorgaben </a:t>
            </a:r>
            <a:r>
              <a:rPr lang="de-DE" sz="1600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für Universaldienst. </a:t>
            </a:r>
            <a:r>
              <a:rPr lang="de-DE" sz="160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Laufzeitvorgaben so </a:t>
            </a:r>
            <a:r>
              <a:rPr lang="de-DE" sz="1600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gestalten, dass die postalische Grundversorgung klimaneutral und zu vertretbaren Kosten erfolgen kann</a:t>
            </a:r>
          </a:p>
        </p:txBody>
      </p:sp>
      <p:cxnSp>
        <p:nvCxnSpPr>
          <p:cNvPr id="119" name="Straight Connector 145">
            <a:extLst>
              <a:ext uri="{FF2B5EF4-FFF2-40B4-BE49-F238E27FC236}">
                <a16:creationId xmlns:a16="http://schemas.microsoft.com/office/drawing/2014/main" id="{34760E0D-F00B-41BE-A7E6-B8FF72DD69FB}"/>
              </a:ext>
            </a:extLst>
          </p:cNvPr>
          <p:cNvCxnSpPr>
            <a:cxnSpLocks/>
          </p:cNvCxnSpPr>
          <p:nvPr/>
        </p:nvCxnSpPr>
        <p:spPr>
          <a:xfrm flipH="1">
            <a:off x="4564943" y="1774414"/>
            <a:ext cx="15263" cy="4410076"/>
          </a:xfrm>
          <a:prstGeom prst="line">
            <a:avLst/>
          </a:prstGeom>
          <a:ln w="889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79322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746319-778D-4FBC-9CA5-614FACA00834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4175206" y="6325766"/>
            <a:ext cx="4900087" cy="293322"/>
          </a:xfrm>
        </p:spPr>
        <p:txBody>
          <a:bodyPr/>
          <a:lstStyle/>
          <a:p>
            <a:r>
              <a:rPr lang="en-US" dirty="0" err="1"/>
              <a:t>Europäischer</a:t>
            </a:r>
            <a:r>
              <a:rPr lang="en-US" dirty="0"/>
              <a:t> </a:t>
            </a:r>
            <a:r>
              <a:rPr lang="en-US" dirty="0" err="1"/>
              <a:t>Vergleich</a:t>
            </a:r>
            <a:r>
              <a:rPr lang="en-US" dirty="0"/>
              <a:t> der </a:t>
            </a:r>
            <a:r>
              <a:rPr lang="en-US" dirty="0" err="1"/>
              <a:t>Regulierungsintensität</a:t>
            </a:r>
            <a:r>
              <a:rPr lang="en-US" dirty="0"/>
              <a:t> </a:t>
            </a:r>
            <a:r>
              <a:rPr lang="en-US" dirty="0" err="1"/>
              <a:t>im</a:t>
            </a:r>
            <a:r>
              <a:rPr lang="en-US" dirty="0"/>
              <a:t> </a:t>
            </a:r>
            <a:r>
              <a:rPr lang="en-US" dirty="0" err="1"/>
              <a:t>Postsektor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A51AE9-2B16-4F40-B911-5FF43E4529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F70EEBF-E97C-49FF-B05B-3B4D348638DC}" type="slidenum">
              <a:rPr lang="en-US" smtClean="0"/>
              <a:pPr/>
              <a:t>2</a:t>
            </a:fld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3AC0CD7-437E-4A1B-9053-C5BDF15A5E71}"/>
              </a:ext>
            </a:extLst>
          </p:cNvPr>
          <p:cNvGrpSpPr/>
          <p:nvPr/>
        </p:nvGrpSpPr>
        <p:grpSpPr>
          <a:xfrm>
            <a:off x="796928" y="608837"/>
            <a:ext cx="7948720" cy="830997"/>
            <a:chOff x="796928" y="755325"/>
            <a:chExt cx="7948720" cy="830997"/>
          </a:xfrm>
        </p:grpSpPr>
        <p:sp>
          <p:nvSpPr>
            <p:cNvPr id="143" name="TextBox 142">
              <a:extLst>
                <a:ext uri="{FF2B5EF4-FFF2-40B4-BE49-F238E27FC236}">
                  <a16:creationId xmlns:a16="http://schemas.microsoft.com/office/drawing/2014/main" id="{5E19689D-231A-4F0F-BE1B-F8B44BFEA398}"/>
                </a:ext>
              </a:extLst>
            </p:cNvPr>
            <p:cNvSpPr txBox="1"/>
            <p:nvPr/>
          </p:nvSpPr>
          <p:spPr>
            <a:xfrm>
              <a:off x="1069295" y="755325"/>
              <a:ext cx="7676353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2400" dirty="0">
                  <a:solidFill>
                    <a:schemeClr val="accent1"/>
                  </a:solidFill>
                  <a:latin typeface="+mj-lt"/>
                </a:rPr>
                <a:t>Regulierungsintensität Deutschland im europäischen Vergleich (1/2)</a:t>
              </a:r>
              <a:endParaRPr lang="en-US" sz="2400" spc="-200" dirty="0">
                <a:solidFill>
                  <a:schemeClr val="accent1"/>
                </a:solidFill>
                <a:latin typeface="+mj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642F8A5E-9D4B-4923-A5F9-E503B303BC8E}"/>
                </a:ext>
              </a:extLst>
            </p:cNvPr>
            <p:cNvCxnSpPr>
              <a:cxnSpLocks/>
            </p:cNvCxnSpPr>
            <p:nvPr/>
          </p:nvCxnSpPr>
          <p:spPr>
            <a:xfrm>
              <a:off x="796928" y="858120"/>
              <a:ext cx="0" cy="531091"/>
            </a:xfrm>
            <a:prstGeom prst="line">
              <a:avLst/>
            </a:prstGeom>
            <a:ln w="889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" name="Textfeld 32">
            <a:extLst>
              <a:ext uri="{FF2B5EF4-FFF2-40B4-BE49-F238E27FC236}">
                <a16:creationId xmlns:a16="http://schemas.microsoft.com/office/drawing/2014/main" id="{31B84E76-74EA-4D72-89C3-2CBDDC38A086}"/>
              </a:ext>
            </a:extLst>
          </p:cNvPr>
          <p:cNvSpPr txBox="1"/>
          <p:nvPr/>
        </p:nvSpPr>
        <p:spPr>
          <a:xfrm>
            <a:off x="3904148" y="2086443"/>
            <a:ext cx="7106749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6213" indent="-87313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Postmarkt-Regulierung ist in Deutschland durch Postgesetzt und seine Verordnungen geprägt</a:t>
            </a:r>
          </a:p>
          <a:p>
            <a:pPr marL="176213" indent="-87313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Postgesetz und Verordnungen sind seit 1998 im Wesentlichen unverändert</a:t>
            </a:r>
          </a:p>
          <a:p>
            <a:pPr marL="176213" indent="-87313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Postmarkt hat sich seit Inkrafttreten des Rechtsrahmens grundlegend verändert </a:t>
            </a:r>
          </a:p>
        </p:txBody>
      </p:sp>
      <p:cxnSp>
        <p:nvCxnSpPr>
          <p:cNvPr id="113" name="Straight Connector 14">
            <a:extLst>
              <a:ext uri="{FF2B5EF4-FFF2-40B4-BE49-F238E27FC236}">
                <a16:creationId xmlns:a16="http://schemas.microsoft.com/office/drawing/2014/main" id="{B6A1F946-54BE-4373-B625-CDEB8C7EE4FC}"/>
              </a:ext>
            </a:extLst>
          </p:cNvPr>
          <p:cNvCxnSpPr/>
          <p:nvPr/>
        </p:nvCxnSpPr>
        <p:spPr>
          <a:xfrm>
            <a:off x="9078659" y="6389084"/>
            <a:ext cx="0" cy="166687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Textfeld 94">
            <a:extLst>
              <a:ext uri="{FF2B5EF4-FFF2-40B4-BE49-F238E27FC236}">
                <a16:creationId xmlns:a16="http://schemas.microsoft.com/office/drawing/2014/main" id="{41F0792D-CC4F-4C57-9AA2-C30EC70218FA}"/>
              </a:ext>
            </a:extLst>
          </p:cNvPr>
          <p:cNvSpPr txBox="1"/>
          <p:nvPr/>
        </p:nvSpPr>
        <p:spPr>
          <a:xfrm>
            <a:off x="765137" y="6598338"/>
            <a:ext cx="6264998" cy="14561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lvl1pPr>
              <a:buFont typeface="Arial"/>
              <a:buChar char="•"/>
            </a:lvl1pPr>
            <a:lvl2pPr>
              <a:buFont typeface="Arial"/>
              <a:buChar char="•"/>
            </a:lvl2pPr>
            <a:lvl3pPr>
              <a:buFont typeface="Arial"/>
              <a:buChar char="•"/>
            </a:lvl3pPr>
            <a:lvl4pPr>
              <a:buFont typeface="Arial"/>
              <a:buChar char="•"/>
            </a:lvl4pPr>
            <a:lvl5pPr>
              <a:buFont typeface="Arial"/>
              <a:buChar char="•"/>
            </a:lvl5pPr>
            <a:lvl6pPr>
              <a:buFont typeface="Arial"/>
              <a:buChar char="•"/>
            </a:lvl6pPr>
            <a:lvl7pPr>
              <a:buFont typeface="Arial"/>
              <a:buChar char="•"/>
            </a:lvl7pPr>
            <a:lvl8pPr>
              <a:buFont typeface="Arial"/>
              <a:buChar char="•"/>
            </a:lvl8pPr>
            <a:lvl9pPr>
              <a:buFont typeface="Arial"/>
              <a:buChar char="•"/>
            </a:lvl9pPr>
          </a:lstStyle>
          <a:p>
            <a:pPr algn="l">
              <a:lnSpc>
                <a:spcPct val="110000"/>
              </a:lnSpc>
              <a:spcAft>
                <a:spcPts val="500"/>
              </a:spcAft>
              <a:buNone/>
            </a:pPr>
            <a:r>
              <a:rPr lang="de-DE" sz="900" dirty="0">
                <a:solidFill>
                  <a:srgbClr val="878787"/>
                </a:solidFill>
              </a:rPr>
              <a:t>Quellen: IPC </a:t>
            </a:r>
            <a:r>
              <a:rPr lang="de-DE" sz="900" dirty="0" err="1">
                <a:solidFill>
                  <a:srgbClr val="878787"/>
                </a:solidFill>
              </a:rPr>
              <a:t>Regulatory</a:t>
            </a:r>
            <a:r>
              <a:rPr lang="de-DE" sz="900" dirty="0">
                <a:solidFill>
                  <a:srgbClr val="878787"/>
                </a:solidFill>
              </a:rPr>
              <a:t> Database 2022, Geschäftsberichte, EU-Kommission, Regulierungsbehörden</a:t>
            </a:r>
          </a:p>
        </p:txBody>
      </p:sp>
      <p:grpSp>
        <p:nvGrpSpPr>
          <p:cNvPr id="97" name="Group 46">
            <a:extLst>
              <a:ext uri="{FF2B5EF4-FFF2-40B4-BE49-F238E27FC236}">
                <a16:creationId xmlns:a16="http://schemas.microsoft.com/office/drawing/2014/main" id="{21FE8C54-14E9-4D3B-A633-CDF1D603C391}"/>
              </a:ext>
            </a:extLst>
          </p:cNvPr>
          <p:cNvGrpSpPr/>
          <p:nvPr/>
        </p:nvGrpSpPr>
        <p:grpSpPr>
          <a:xfrm>
            <a:off x="796928" y="1712406"/>
            <a:ext cx="2862262" cy="4241800"/>
            <a:chOff x="4216401" y="1131888"/>
            <a:chExt cx="3752850" cy="5191125"/>
          </a:xfr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</p:grpSpPr>
        <p:sp>
          <p:nvSpPr>
            <p:cNvPr id="98" name="Freeform 6">
              <a:extLst>
                <a:ext uri="{FF2B5EF4-FFF2-40B4-BE49-F238E27FC236}">
                  <a16:creationId xmlns:a16="http://schemas.microsoft.com/office/drawing/2014/main" id="{3EA692C7-50CB-44B9-966C-D763BA1282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0451" y="2551113"/>
              <a:ext cx="1063625" cy="1379538"/>
            </a:xfrm>
            <a:custGeom>
              <a:avLst/>
              <a:gdLst/>
              <a:ahLst/>
              <a:cxnLst>
                <a:cxn ang="0">
                  <a:pos x="278" y="20"/>
                </a:cxn>
                <a:cxn ang="0">
                  <a:pos x="299" y="30"/>
                </a:cxn>
                <a:cxn ang="0">
                  <a:pos x="336" y="55"/>
                </a:cxn>
                <a:cxn ang="0">
                  <a:pos x="383" y="67"/>
                </a:cxn>
                <a:cxn ang="0">
                  <a:pos x="413" y="96"/>
                </a:cxn>
                <a:cxn ang="0">
                  <a:pos x="412" y="140"/>
                </a:cxn>
                <a:cxn ang="0">
                  <a:pos x="397" y="175"/>
                </a:cxn>
                <a:cxn ang="0">
                  <a:pos x="397" y="212"/>
                </a:cxn>
                <a:cxn ang="0">
                  <a:pos x="425" y="210"/>
                </a:cxn>
                <a:cxn ang="0">
                  <a:pos x="420" y="253"/>
                </a:cxn>
                <a:cxn ang="0">
                  <a:pos x="417" y="318"/>
                </a:cxn>
                <a:cxn ang="0">
                  <a:pos x="420" y="362"/>
                </a:cxn>
                <a:cxn ang="0">
                  <a:pos x="470" y="417"/>
                </a:cxn>
                <a:cxn ang="0">
                  <a:pos x="517" y="436"/>
                </a:cxn>
                <a:cxn ang="0">
                  <a:pos x="555" y="436"/>
                </a:cxn>
                <a:cxn ang="0">
                  <a:pos x="609" y="461"/>
                </a:cxn>
                <a:cxn ang="0">
                  <a:pos x="633" y="476"/>
                </a:cxn>
                <a:cxn ang="0">
                  <a:pos x="663" y="521"/>
                </a:cxn>
                <a:cxn ang="0">
                  <a:pos x="658" y="557"/>
                </a:cxn>
                <a:cxn ang="0">
                  <a:pos x="632" y="575"/>
                </a:cxn>
                <a:cxn ang="0">
                  <a:pos x="598" y="560"/>
                </a:cxn>
                <a:cxn ang="0">
                  <a:pos x="562" y="572"/>
                </a:cxn>
                <a:cxn ang="0">
                  <a:pos x="525" y="587"/>
                </a:cxn>
                <a:cxn ang="0">
                  <a:pos x="453" y="605"/>
                </a:cxn>
                <a:cxn ang="0">
                  <a:pos x="418" y="635"/>
                </a:cxn>
                <a:cxn ang="0">
                  <a:pos x="419" y="690"/>
                </a:cxn>
                <a:cxn ang="0">
                  <a:pos x="405" y="728"/>
                </a:cxn>
                <a:cxn ang="0">
                  <a:pos x="423" y="795"/>
                </a:cxn>
                <a:cxn ang="0">
                  <a:pos x="436" y="816"/>
                </a:cxn>
                <a:cxn ang="0">
                  <a:pos x="438" y="848"/>
                </a:cxn>
                <a:cxn ang="0">
                  <a:pos x="415" y="860"/>
                </a:cxn>
                <a:cxn ang="0">
                  <a:pos x="368" y="859"/>
                </a:cxn>
                <a:cxn ang="0">
                  <a:pos x="320" y="832"/>
                </a:cxn>
                <a:cxn ang="0">
                  <a:pos x="289" y="803"/>
                </a:cxn>
                <a:cxn ang="0">
                  <a:pos x="239" y="804"/>
                </a:cxn>
                <a:cxn ang="0">
                  <a:pos x="213" y="767"/>
                </a:cxn>
                <a:cxn ang="0">
                  <a:pos x="217" y="730"/>
                </a:cxn>
                <a:cxn ang="0">
                  <a:pos x="198" y="694"/>
                </a:cxn>
                <a:cxn ang="0">
                  <a:pos x="123" y="676"/>
                </a:cxn>
                <a:cxn ang="0">
                  <a:pos x="98" y="636"/>
                </a:cxn>
                <a:cxn ang="0">
                  <a:pos x="93" y="605"/>
                </a:cxn>
                <a:cxn ang="0">
                  <a:pos x="84" y="593"/>
                </a:cxn>
                <a:cxn ang="0">
                  <a:pos x="27" y="584"/>
                </a:cxn>
                <a:cxn ang="0">
                  <a:pos x="1" y="513"/>
                </a:cxn>
                <a:cxn ang="0">
                  <a:pos x="11" y="455"/>
                </a:cxn>
                <a:cxn ang="0">
                  <a:pos x="24" y="416"/>
                </a:cxn>
                <a:cxn ang="0">
                  <a:pos x="97" y="407"/>
                </a:cxn>
                <a:cxn ang="0">
                  <a:pos x="112" y="380"/>
                </a:cxn>
                <a:cxn ang="0">
                  <a:pos x="120" y="328"/>
                </a:cxn>
                <a:cxn ang="0">
                  <a:pos x="104" y="289"/>
                </a:cxn>
                <a:cxn ang="0">
                  <a:pos x="119" y="279"/>
                </a:cxn>
                <a:cxn ang="0">
                  <a:pos x="92" y="239"/>
                </a:cxn>
                <a:cxn ang="0">
                  <a:pos x="101" y="214"/>
                </a:cxn>
                <a:cxn ang="0">
                  <a:pos x="84" y="173"/>
                </a:cxn>
                <a:cxn ang="0">
                  <a:pos x="50" y="103"/>
                </a:cxn>
                <a:cxn ang="0">
                  <a:pos x="90" y="78"/>
                </a:cxn>
                <a:cxn ang="0">
                  <a:pos x="124" y="54"/>
                </a:cxn>
                <a:cxn ang="0">
                  <a:pos x="157" y="63"/>
                </a:cxn>
                <a:cxn ang="0">
                  <a:pos x="215" y="48"/>
                </a:cxn>
                <a:cxn ang="0">
                  <a:pos x="240" y="10"/>
                </a:cxn>
              </a:cxnLst>
              <a:rect l="0" t="0" r="r" b="b"/>
              <a:pathLst>
                <a:path w="670" h="869">
                  <a:moveTo>
                    <a:pt x="258" y="0"/>
                  </a:moveTo>
                  <a:lnTo>
                    <a:pt x="259" y="0"/>
                  </a:lnTo>
                  <a:lnTo>
                    <a:pt x="259" y="2"/>
                  </a:lnTo>
                  <a:lnTo>
                    <a:pt x="261" y="6"/>
                  </a:lnTo>
                  <a:lnTo>
                    <a:pt x="267" y="11"/>
                  </a:lnTo>
                  <a:lnTo>
                    <a:pt x="274" y="15"/>
                  </a:lnTo>
                  <a:lnTo>
                    <a:pt x="278" y="20"/>
                  </a:lnTo>
                  <a:lnTo>
                    <a:pt x="281" y="23"/>
                  </a:lnTo>
                  <a:lnTo>
                    <a:pt x="285" y="24"/>
                  </a:lnTo>
                  <a:lnTo>
                    <a:pt x="291" y="25"/>
                  </a:lnTo>
                  <a:lnTo>
                    <a:pt x="295" y="25"/>
                  </a:lnTo>
                  <a:lnTo>
                    <a:pt x="298" y="26"/>
                  </a:lnTo>
                  <a:lnTo>
                    <a:pt x="298" y="28"/>
                  </a:lnTo>
                  <a:lnTo>
                    <a:pt x="299" y="30"/>
                  </a:lnTo>
                  <a:lnTo>
                    <a:pt x="303" y="33"/>
                  </a:lnTo>
                  <a:lnTo>
                    <a:pt x="309" y="36"/>
                  </a:lnTo>
                  <a:lnTo>
                    <a:pt x="313" y="40"/>
                  </a:lnTo>
                  <a:lnTo>
                    <a:pt x="313" y="48"/>
                  </a:lnTo>
                  <a:lnTo>
                    <a:pt x="319" y="51"/>
                  </a:lnTo>
                  <a:lnTo>
                    <a:pt x="327" y="53"/>
                  </a:lnTo>
                  <a:lnTo>
                    <a:pt x="336" y="55"/>
                  </a:lnTo>
                  <a:lnTo>
                    <a:pt x="344" y="56"/>
                  </a:lnTo>
                  <a:lnTo>
                    <a:pt x="350" y="58"/>
                  </a:lnTo>
                  <a:lnTo>
                    <a:pt x="355" y="58"/>
                  </a:lnTo>
                  <a:lnTo>
                    <a:pt x="362" y="57"/>
                  </a:lnTo>
                  <a:lnTo>
                    <a:pt x="374" y="57"/>
                  </a:lnTo>
                  <a:lnTo>
                    <a:pt x="378" y="61"/>
                  </a:lnTo>
                  <a:lnTo>
                    <a:pt x="383" y="67"/>
                  </a:lnTo>
                  <a:lnTo>
                    <a:pt x="389" y="68"/>
                  </a:lnTo>
                  <a:lnTo>
                    <a:pt x="401" y="68"/>
                  </a:lnTo>
                  <a:lnTo>
                    <a:pt x="405" y="70"/>
                  </a:lnTo>
                  <a:lnTo>
                    <a:pt x="409" y="75"/>
                  </a:lnTo>
                  <a:lnTo>
                    <a:pt x="413" y="84"/>
                  </a:lnTo>
                  <a:lnTo>
                    <a:pt x="414" y="91"/>
                  </a:lnTo>
                  <a:lnTo>
                    <a:pt x="413" y="96"/>
                  </a:lnTo>
                  <a:lnTo>
                    <a:pt x="411" y="99"/>
                  </a:lnTo>
                  <a:lnTo>
                    <a:pt x="408" y="103"/>
                  </a:lnTo>
                  <a:lnTo>
                    <a:pt x="405" y="108"/>
                  </a:lnTo>
                  <a:lnTo>
                    <a:pt x="404" y="115"/>
                  </a:lnTo>
                  <a:lnTo>
                    <a:pt x="405" y="123"/>
                  </a:lnTo>
                  <a:lnTo>
                    <a:pt x="409" y="131"/>
                  </a:lnTo>
                  <a:lnTo>
                    <a:pt x="412" y="140"/>
                  </a:lnTo>
                  <a:lnTo>
                    <a:pt x="414" y="147"/>
                  </a:lnTo>
                  <a:lnTo>
                    <a:pt x="413" y="153"/>
                  </a:lnTo>
                  <a:lnTo>
                    <a:pt x="409" y="156"/>
                  </a:lnTo>
                  <a:lnTo>
                    <a:pt x="403" y="159"/>
                  </a:lnTo>
                  <a:lnTo>
                    <a:pt x="399" y="162"/>
                  </a:lnTo>
                  <a:lnTo>
                    <a:pt x="398" y="167"/>
                  </a:lnTo>
                  <a:lnTo>
                    <a:pt x="397" y="175"/>
                  </a:lnTo>
                  <a:lnTo>
                    <a:pt x="393" y="183"/>
                  </a:lnTo>
                  <a:lnTo>
                    <a:pt x="388" y="191"/>
                  </a:lnTo>
                  <a:lnTo>
                    <a:pt x="385" y="196"/>
                  </a:lnTo>
                  <a:lnTo>
                    <a:pt x="384" y="199"/>
                  </a:lnTo>
                  <a:lnTo>
                    <a:pt x="387" y="203"/>
                  </a:lnTo>
                  <a:lnTo>
                    <a:pt x="392" y="208"/>
                  </a:lnTo>
                  <a:lnTo>
                    <a:pt x="397" y="212"/>
                  </a:lnTo>
                  <a:lnTo>
                    <a:pt x="401" y="213"/>
                  </a:lnTo>
                  <a:lnTo>
                    <a:pt x="405" y="211"/>
                  </a:lnTo>
                  <a:lnTo>
                    <a:pt x="409" y="208"/>
                  </a:lnTo>
                  <a:lnTo>
                    <a:pt x="413" y="204"/>
                  </a:lnTo>
                  <a:lnTo>
                    <a:pt x="417" y="203"/>
                  </a:lnTo>
                  <a:lnTo>
                    <a:pt x="420" y="206"/>
                  </a:lnTo>
                  <a:lnTo>
                    <a:pt x="425" y="210"/>
                  </a:lnTo>
                  <a:lnTo>
                    <a:pt x="430" y="213"/>
                  </a:lnTo>
                  <a:lnTo>
                    <a:pt x="432" y="215"/>
                  </a:lnTo>
                  <a:lnTo>
                    <a:pt x="432" y="221"/>
                  </a:lnTo>
                  <a:lnTo>
                    <a:pt x="430" y="228"/>
                  </a:lnTo>
                  <a:lnTo>
                    <a:pt x="427" y="237"/>
                  </a:lnTo>
                  <a:lnTo>
                    <a:pt x="423" y="245"/>
                  </a:lnTo>
                  <a:lnTo>
                    <a:pt x="420" y="253"/>
                  </a:lnTo>
                  <a:lnTo>
                    <a:pt x="418" y="259"/>
                  </a:lnTo>
                  <a:lnTo>
                    <a:pt x="418" y="275"/>
                  </a:lnTo>
                  <a:lnTo>
                    <a:pt x="419" y="285"/>
                  </a:lnTo>
                  <a:lnTo>
                    <a:pt x="418" y="295"/>
                  </a:lnTo>
                  <a:lnTo>
                    <a:pt x="413" y="310"/>
                  </a:lnTo>
                  <a:lnTo>
                    <a:pt x="414" y="314"/>
                  </a:lnTo>
                  <a:lnTo>
                    <a:pt x="417" y="318"/>
                  </a:lnTo>
                  <a:lnTo>
                    <a:pt x="421" y="321"/>
                  </a:lnTo>
                  <a:lnTo>
                    <a:pt x="423" y="324"/>
                  </a:lnTo>
                  <a:lnTo>
                    <a:pt x="422" y="327"/>
                  </a:lnTo>
                  <a:lnTo>
                    <a:pt x="418" y="333"/>
                  </a:lnTo>
                  <a:lnTo>
                    <a:pt x="415" y="342"/>
                  </a:lnTo>
                  <a:lnTo>
                    <a:pt x="415" y="352"/>
                  </a:lnTo>
                  <a:lnTo>
                    <a:pt x="420" y="362"/>
                  </a:lnTo>
                  <a:lnTo>
                    <a:pt x="428" y="373"/>
                  </a:lnTo>
                  <a:lnTo>
                    <a:pt x="438" y="385"/>
                  </a:lnTo>
                  <a:lnTo>
                    <a:pt x="446" y="398"/>
                  </a:lnTo>
                  <a:lnTo>
                    <a:pt x="453" y="407"/>
                  </a:lnTo>
                  <a:lnTo>
                    <a:pt x="458" y="413"/>
                  </a:lnTo>
                  <a:lnTo>
                    <a:pt x="464" y="416"/>
                  </a:lnTo>
                  <a:lnTo>
                    <a:pt x="470" y="417"/>
                  </a:lnTo>
                  <a:lnTo>
                    <a:pt x="476" y="417"/>
                  </a:lnTo>
                  <a:lnTo>
                    <a:pt x="480" y="416"/>
                  </a:lnTo>
                  <a:lnTo>
                    <a:pt x="486" y="418"/>
                  </a:lnTo>
                  <a:lnTo>
                    <a:pt x="492" y="423"/>
                  </a:lnTo>
                  <a:lnTo>
                    <a:pt x="500" y="429"/>
                  </a:lnTo>
                  <a:lnTo>
                    <a:pt x="510" y="435"/>
                  </a:lnTo>
                  <a:lnTo>
                    <a:pt x="517" y="436"/>
                  </a:lnTo>
                  <a:lnTo>
                    <a:pt x="522" y="435"/>
                  </a:lnTo>
                  <a:lnTo>
                    <a:pt x="525" y="432"/>
                  </a:lnTo>
                  <a:lnTo>
                    <a:pt x="528" y="430"/>
                  </a:lnTo>
                  <a:lnTo>
                    <a:pt x="532" y="428"/>
                  </a:lnTo>
                  <a:lnTo>
                    <a:pt x="536" y="429"/>
                  </a:lnTo>
                  <a:lnTo>
                    <a:pt x="544" y="432"/>
                  </a:lnTo>
                  <a:lnTo>
                    <a:pt x="555" y="436"/>
                  </a:lnTo>
                  <a:lnTo>
                    <a:pt x="567" y="441"/>
                  </a:lnTo>
                  <a:lnTo>
                    <a:pt x="577" y="447"/>
                  </a:lnTo>
                  <a:lnTo>
                    <a:pt x="584" y="453"/>
                  </a:lnTo>
                  <a:lnTo>
                    <a:pt x="589" y="457"/>
                  </a:lnTo>
                  <a:lnTo>
                    <a:pt x="593" y="458"/>
                  </a:lnTo>
                  <a:lnTo>
                    <a:pt x="604" y="458"/>
                  </a:lnTo>
                  <a:lnTo>
                    <a:pt x="609" y="461"/>
                  </a:lnTo>
                  <a:lnTo>
                    <a:pt x="614" y="465"/>
                  </a:lnTo>
                  <a:lnTo>
                    <a:pt x="617" y="467"/>
                  </a:lnTo>
                  <a:lnTo>
                    <a:pt x="620" y="468"/>
                  </a:lnTo>
                  <a:lnTo>
                    <a:pt x="626" y="468"/>
                  </a:lnTo>
                  <a:lnTo>
                    <a:pt x="630" y="469"/>
                  </a:lnTo>
                  <a:lnTo>
                    <a:pt x="632" y="472"/>
                  </a:lnTo>
                  <a:lnTo>
                    <a:pt x="633" y="476"/>
                  </a:lnTo>
                  <a:lnTo>
                    <a:pt x="636" y="480"/>
                  </a:lnTo>
                  <a:lnTo>
                    <a:pt x="642" y="483"/>
                  </a:lnTo>
                  <a:lnTo>
                    <a:pt x="649" y="487"/>
                  </a:lnTo>
                  <a:lnTo>
                    <a:pt x="656" y="494"/>
                  </a:lnTo>
                  <a:lnTo>
                    <a:pt x="661" y="503"/>
                  </a:lnTo>
                  <a:lnTo>
                    <a:pt x="663" y="513"/>
                  </a:lnTo>
                  <a:lnTo>
                    <a:pt x="663" y="521"/>
                  </a:lnTo>
                  <a:lnTo>
                    <a:pt x="662" y="527"/>
                  </a:lnTo>
                  <a:lnTo>
                    <a:pt x="663" y="532"/>
                  </a:lnTo>
                  <a:lnTo>
                    <a:pt x="669" y="538"/>
                  </a:lnTo>
                  <a:lnTo>
                    <a:pt x="670" y="541"/>
                  </a:lnTo>
                  <a:lnTo>
                    <a:pt x="669" y="545"/>
                  </a:lnTo>
                  <a:lnTo>
                    <a:pt x="665" y="551"/>
                  </a:lnTo>
                  <a:lnTo>
                    <a:pt x="658" y="557"/>
                  </a:lnTo>
                  <a:lnTo>
                    <a:pt x="652" y="563"/>
                  </a:lnTo>
                  <a:lnTo>
                    <a:pt x="645" y="568"/>
                  </a:lnTo>
                  <a:lnTo>
                    <a:pt x="642" y="570"/>
                  </a:lnTo>
                  <a:lnTo>
                    <a:pt x="639" y="573"/>
                  </a:lnTo>
                  <a:lnTo>
                    <a:pt x="638" y="576"/>
                  </a:lnTo>
                  <a:lnTo>
                    <a:pt x="636" y="579"/>
                  </a:lnTo>
                  <a:lnTo>
                    <a:pt x="632" y="575"/>
                  </a:lnTo>
                  <a:lnTo>
                    <a:pt x="629" y="573"/>
                  </a:lnTo>
                  <a:lnTo>
                    <a:pt x="625" y="571"/>
                  </a:lnTo>
                  <a:lnTo>
                    <a:pt x="615" y="571"/>
                  </a:lnTo>
                  <a:lnTo>
                    <a:pt x="611" y="570"/>
                  </a:lnTo>
                  <a:lnTo>
                    <a:pt x="607" y="567"/>
                  </a:lnTo>
                  <a:lnTo>
                    <a:pt x="604" y="563"/>
                  </a:lnTo>
                  <a:lnTo>
                    <a:pt x="598" y="560"/>
                  </a:lnTo>
                  <a:lnTo>
                    <a:pt x="592" y="558"/>
                  </a:lnTo>
                  <a:lnTo>
                    <a:pt x="588" y="559"/>
                  </a:lnTo>
                  <a:lnTo>
                    <a:pt x="584" y="562"/>
                  </a:lnTo>
                  <a:lnTo>
                    <a:pt x="579" y="567"/>
                  </a:lnTo>
                  <a:lnTo>
                    <a:pt x="571" y="571"/>
                  </a:lnTo>
                  <a:lnTo>
                    <a:pt x="565" y="573"/>
                  </a:lnTo>
                  <a:lnTo>
                    <a:pt x="562" y="572"/>
                  </a:lnTo>
                  <a:lnTo>
                    <a:pt x="558" y="570"/>
                  </a:lnTo>
                  <a:lnTo>
                    <a:pt x="554" y="570"/>
                  </a:lnTo>
                  <a:lnTo>
                    <a:pt x="549" y="573"/>
                  </a:lnTo>
                  <a:lnTo>
                    <a:pt x="542" y="577"/>
                  </a:lnTo>
                  <a:lnTo>
                    <a:pt x="537" y="581"/>
                  </a:lnTo>
                  <a:lnTo>
                    <a:pt x="531" y="585"/>
                  </a:lnTo>
                  <a:lnTo>
                    <a:pt x="525" y="587"/>
                  </a:lnTo>
                  <a:lnTo>
                    <a:pt x="516" y="588"/>
                  </a:lnTo>
                  <a:lnTo>
                    <a:pt x="505" y="588"/>
                  </a:lnTo>
                  <a:lnTo>
                    <a:pt x="493" y="590"/>
                  </a:lnTo>
                  <a:lnTo>
                    <a:pt x="480" y="592"/>
                  </a:lnTo>
                  <a:lnTo>
                    <a:pt x="469" y="596"/>
                  </a:lnTo>
                  <a:lnTo>
                    <a:pt x="460" y="601"/>
                  </a:lnTo>
                  <a:lnTo>
                    <a:pt x="453" y="605"/>
                  </a:lnTo>
                  <a:lnTo>
                    <a:pt x="446" y="607"/>
                  </a:lnTo>
                  <a:lnTo>
                    <a:pt x="438" y="608"/>
                  </a:lnTo>
                  <a:lnTo>
                    <a:pt x="432" y="610"/>
                  </a:lnTo>
                  <a:lnTo>
                    <a:pt x="426" y="613"/>
                  </a:lnTo>
                  <a:lnTo>
                    <a:pt x="422" y="618"/>
                  </a:lnTo>
                  <a:lnTo>
                    <a:pt x="419" y="627"/>
                  </a:lnTo>
                  <a:lnTo>
                    <a:pt x="418" y="635"/>
                  </a:lnTo>
                  <a:lnTo>
                    <a:pt x="416" y="642"/>
                  </a:lnTo>
                  <a:lnTo>
                    <a:pt x="412" y="649"/>
                  </a:lnTo>
                  <a:lnTo>
                    <a:pt x="409" y="656"/>
                  </a:lnTo>
                  <a:lnTo>
                    <a:pt x="410" y="664"/>
                  </a:lnTo>
                  <a:lnTo>
                    <a:pt x="413" y="673"/>
                  </a:lnTo>
                  <a:lnTo>
                    <a:pt x="417" y="681"/>
                  </a:lnTo>
                  <a:lnTo>
                    <a:pt x="419" y="690"/>
                  </a:lnTo>
                  <a:lnTo>
                    <a:pt x="419" y="696"/>
                  </a:lnTo>
                  <a:lnTo>
                    <a:pt x="415" y="701"/>
                  </a:lnTo>
                  <a:lnTo>
                    <a:pt x="410" y="704"/>
                  </a:lnTo>
                  <a:lnTo>
                    <a:pt x="406" y="708"/>
                  </a:lnTo>
                  <a:lnTo>
                    <a:pt x="403" y="712"/>
                  </a:lnTo>
                  <a:lnTo>
                    <a:pt x="403" y="718"/>
                  </a:lnTo>
                  <a:lnTo>
                    <a:pt x="405" y="728"/>
                  </a:lnTo>
                  <a:lnTo>
                    <a:pt x="408" y="740"/>
                  </a:lnTo>
                  <a:lnTo>
                    <a:pt x="410" y="752"/>
                  </a:lnTo>
                  <a:lnTo>
                    <a:pt x="411" y="763"/>
                  </a:lnTo>
                  <a:lnTo>
                    <a:pt x="412" y="771"/>
                  </a:lnTo>
                  <a:lnTo>
                    <a:pt x="414" y="779"/>
                  </a:lnTo>
                  <a:lnTo>
                    <a:pt x="418" y="788"/>
                  </a:lnTo>
                  <a:lnTo>
                    <a:pt x="423" y="795"/>
                  </a:lnTo>
                  <a:lnTo>
                    <a:pt x="430" y="799"/>
                  </a:lnTo>
                  <a:lnTo>
                    <a:pt x="436" y="801"/>
                  </a:lnTo>
                  <a:lnTo>
                    <a:pt x="442" y="807"/>
                  </a:lnTo>
                  <a:lnTo>
                    <a:pt x="441" y="809"/>
                  </a:lnTo>
                  <a:lnTo>
                    <a:pt x="439" y="812"/>
                  </a:lnTo>
                  <a:lnTo>
                    <a:pt x="438" y="814"/>
                  </a:lnTo>
                  <a:lnTo>
                    <a:pt x="436" y="816"/>
                  </a:lnTo>
                  <a:lnTo>
                    <a:pt x="434" y="821"/>
                  </a:lnTo>
                  <a:lnTo>
                    <a:pt x="435" y="827"/>
                  </a:lnTo>
                  <a:lnTo>
                    <a:pt x="437" y="833"/>
                  </a:lnTo>
                  <a:lnTo>
                    <a:pt x="440" y="838"/>
                  </a:lnTo>
                  <a:lnTo>
                    <a:pt x="441" y="842"/>
                  </a:lnTo>
                  <a:lnTo>
                    <a:pt x="441" y="844"/>
                  </a:lnTo>
                  <a:lnTo>
                    <a:pt x="438" y="848"/>
                  </a:lnTo>
                  <a:lnTo>
                    <a:pt x="430" y="862"/>
                  </a:lnTo>
                  <a:lnTo>
                    <a:pt x="428" y="867"/>
                  </a:lnTo>
                  <a:lnTo>
                    <a:pt x="427" y="869"/>
                  </a:lnTo>
                  <a:lnTo>
                    <a:pt x="426" y="869"/>
                  </a:lnTo>
                  <a:lnTo>
                    <a:pt x="424" y="868"/>
                  </a:lnTo>
                  <a:lnTo>
                    <a:pt x="418" y="862"/>
                  </a:lnTo>
                  <a:lnTo>
                    <a:pt x="415" y="860"/>
                  </a:lnTo>
                  <a:lnTo>
                    <a:pt x="408" y="858"/>
                  </a:lnTo>
                  <a:lnTo>
                    <a:pt x="402" y="858"/>
                  </a:lnTo>
                  <a:lnTo>
                    <a:pt x="396" y="859"/>
                  </a:lnTo>
                  <a:lnTo>
                    <a:pt x="390" y="859"/>
                  </a:lnTo>
                  <a:lnTo>
                    <a:pt x="383" y="860"/>
                  </a:lnTo>
                  <a:lnTo>
                    <a:pt x="374" y="861"/>
                  </a:lnTo>
                  <a:lnTo>
                    <a:pt x="368" y="859"/>
                  </a:lnTo>
                  <a:lnTo>
                    <a:pt x="361" y="853"/>
                  </a:lnTo>
                  <a:lnTo>
                    <a:pt x="354" y="845"/>
                  </a:lnTo>
                  <a:lnTo>
                    <a:pt x="347" y="838"/>
                  </a:lnTo>
                  <a:lnTo>
                    <a:pt x="339" y="832"/>
                  </a:lnTo>
                  <a:lnTo>
                    <a:pt x="332" y="830"/>
                  </a:lnTo>
                  <a:lnTo>
                    <a:pt x="326" y="830"/>
                  </a:lnTo>
                  <a:lnTo>
                    <a:pt x="320" y="832"/>
                  </a:lnTo>
                  <a:lnTo>
                    <a:pt x="315" y="834"/>
                  </a:lnTo>
                  <a:lnTo>
                    <a:pt x="308" y="835"/>
                  </a:lnTo>
                  <a:lnTo>
                    <a:pt x="303" y="833"/>
                  </a:lnTo>
                  <a:lnTo>
                    <a:pt x="300" y="829"/>
                  </a:lnTo>
                  <a:lnTo>
                    <a:pt x="297" y="823"/>
                  </a:lnTo>
                  <a:lnTo>
                    <a:pt x="293" y="810"/>
                  </a:lnTo>
                  <a:lnTo>
                    <a:pt x="289" y="803"/>
                  </a:lnTo>
                  <a:lnTo>
                    <a:pt x="283" y="799"/>
                  </a:lnTo>
                  <a:lnTo>
                    <a:pt x="277" y="799"/>
                  </a:lnTo>
                  <a:lnTo>
                    <a:pt x="271" y="801"/>
                  </a:lnTo>
                  <a:lnTo>
                    <a:pt x="264" y="804"/>
                  </a:lnTo>
                  <a:lnTo>
                    <a:pt x="258" y="804"/>
                  </a:lnTo>
                  <a:lnTo>
                    <a:pt x="249" y="803"/>
                  </a:lnTo>
                  <a:lnTo>
                    <a:pt x="239" y="804"/>
                  </a:lnTo>
                  <a:lnTo>
                    <a:pt x="229" y="803"/>
                  </a:lnTo>
                  <a:lnTo>
                    <a:pt x="223" y="801"/>
                  </a:lnTo>
                  <a:lnTo>
                    <a:pt x="220" y="797"/>
                  </a:lnTo>
                  <a:lnTo>
                    <a:pt x="218" y="783"/>
                  </a:lnTo>
                  <a:lnTo>
                    <a:pt x="218" y="776"/>
                  </a:lnTo>
                  <a:lnTo>
                    <a:pt x="216" y="771"/>
                  </a:lnTo>
                  <a:lnTo>
                    <a:pt x="213" y="767"/>
                  </a:lnTo>
                  <a:lnTo>
                    <a:pt x="203" y="761"/>
                  </a:lnTo>
                  <a:lnTo>
                    <a:pt x="200" y="757"/>
                  </a:lnTo>
                  <a:lnTo>
                    <a:pt x="200" y="753"/>
                  </a:lnTo>
                  <a:lnTo>
                    <a:pt x="204" y="747"/>
                  </a:lnTo>
                  <a:lnTo>
                    <a:pt x="209" y="742"/>
                  </a:lnTo>
                  <a:lnTo>
                    <a:pt x="214" y="736"/>
                  </a:lnTo>
                  <a:lnTo>
                    <a:pt x="217" y="730"/>
                  </a:lnTo>
                  <a:lnTo>
                    <a:pt x="216" y="726"/>
                  </a:lnTo>
                  <a:lnTo>
                    <a:pt x="213" y="720"/>
                  </a:lnTo>
                  <a:lnTo>
                    <a:pt x="211" y="713"/>
                  </a:lnTo>
                  <a:lnTo>
                    <a:pt x="210" y="706"/>
                  </a:lnTo>
                  <a:lnTo>
                    <a:pt x="209" y="701"/>
                  </a:lnTo>
                  <a:lnTo>
                    <a:pt x="206" y="698"/>
                  </a:lnTo>
                  <a:lnTo>
                    <a:pt x="198" y="694"/>
                  </a:lnTo>
                  <a:lnTo>
                    <a:pt x="187" y="690"/>
                  </a:lnTo>
                  <a:lnTo>
                    <a:pt x="175" y="687"/>
                  </a:lnTo>
                  <a:lnTo>
                    <a:pt x="164" y="684"/>
                  </a:lnTo>
                  <a:lnTo>
                    <a:pt x="154" y="682"/>
                  </a:lnTo>
                  <a:lnTo>
                    <a:pt x="147" y="682"/>
                  </a:lnTo>
                  <a:lnTo>
                    <a:pt x="139" y="681"/>
                  </a:lnTo>
                  <a:lnTo>
                    <a:pt x="123" y="676"/>
                  </a:lnTo>
                  <a:lnTo>
                    <a:pt x="115" y="675"/>
                  </a:lnTo>
                  <a:lnTo>
                    <a:pt x="109" y="674"/>
                  </a:lnTo>
                  <a:lnTo>
                    <a:pt x="105" y="670"/>
                  </a:lnTo>
                  <a:lnTo>
                    <a:pt x="104" y="665"/>
                  </a:lnTo>
                  <a:lnTo>
                    <a:pt x="104" y="653"/>
                  </a:lnTo>
                  <a:lnTo>
                    <a:pt x="102" y="645"/>
                  </a:lnTo>
                  <a:lnTo>
                    <a:pt x="98" y="636"/>
                  </a:lnTo>
                  <a:lnTo>
                    <a:pt x="94" y="626"/>
                  </a:lnTo>
                  <a:lnTo>
                    <a:pt x="90" y="617"/>
                  </a:lnTo>
                  <a:lnTo>
                    <a:pt x="89" y="614"/>
                  </a:lnTo>
                  <a:lnTo>
                    <a:pt x="89" y="609"/>
                  </a:lnTo>
                  <a:lnTo>
                    <a:pt x="90" y="607"/>
                  </a:lnTo>
                  <a:lnTo>
                    <a:pt x="91" y="606"/>
                  </a:lnTo>
                  <a:lnTo>
                    <a:pt x="93" y="605"/>
                  </a:lnTo>
                  <a:lnTo>
                    <a:pt x="94" y="605"/>
                  </a:lnTo>
                  <a:lnTo>
                    <a:pt x="95" y="604"/>
                  </a:lnTo>
                  <a:lnTo>
                    <a:pt x="96" y="604"/>
                  </a:lnTo>
                  <a:lnTo>
                    <a:pt x="97" y="603"/>
                  </a:lnTo>
                  <a:lnTo>
                    <a:pt x="96" y="601"/>
                  </a:lnTo>
                  <a:lnTo>
                    <a:pt x="91" y="597"/>
                  </a:lnTo>
                  <a:lnTo>
                    <a:pt x="84" y="593"/>
                  </a:lnTo>
                  <a:lnTo>
                    <a:pt x="76" y="589"/>
                  </a:lnTo>
                  <a:lnTo>
                    <a:pt x="68" y="586"/>
                  </a:lnTo>
                  <a:lnTo>
                    <a:pt x="62" y="584"/>
                  </a:lnTo>
                  <a:lnTo>
                    <a:pt x="58" y="584"/>
                  </a:lnTo>
                  <a:lnTo>
                    <a:pt x="53" y="585"/>
                  </a:lnTo>
                  <a:lnTo>
                    <a:pt x="45" y="584"/>
                  </a:lnTo>
                  <a:lnTo>
                    <a:pt x="27" y="584"/>
                  </a:lnTo>
                  <a:lnTo>
                    <a:pt x="24" y="570"/>
                  </a:lnTo>
                  <a:lnTo>
                    <a:pt x="23" y="559"/>
                  </a:lnTo>
                  <a:lnTo>
                    <a:pt x="20" y="550"/>
                  </a:lnTo>
                  <a:lnTo>
                    <a:pt x="14" y="541"/>
                  </a:lnTo>
                  <a:lnTo>
                    <a:pt x="7" y="533"/>
                  </a:lnTo>
                  <a:lnTo>
                    <a:pt x="3" y="523"/>
                  </a:lnTo>
                  <a:lnTo>
                    <a:pt x="1" y="513"/>
                  </a:lnTo>
                  <a:lnTo>
                    <a:pt x="0" y="505"/>
                  </a:lnTo>
                  <a:lnTo>
                    <a:pt x="2" y="497"/>
                  </a:lnTo>
                  <a:lnTo>
                    <a:pt x="14" y="485"/>
                  </a:lnTo>
                  <a:lnTo>
                    <a:pt x="16" y="479"/>
                  </a:lnTo>
                  <a:lnTo>
                    <a:pt x="15" y="472"/>
                  </a:lnTo>
                  <a:lnTo>
                    <a:pt x="13" y="465"/>
                  </a:lnTo>
                  <a:lnTo>
                    <a:pt x="11" y="455"/>
                  </a:lnTo>
                  <a:lnTo>
                    <a:pt x="8" y="445"/>
                  </a:lnTo>
                  <a:lnTo>
                    <a:pt x="4" y="435"/>
                  </a:lnTo>
                  <a:lnTo>
                    <a:pt x="3" y="431"/>
                  </a:lnTo>
                  <a:lnTo>
                    <a:pt x="5" y="427"/>
                  </a:lnTo>
                  <a:lnTo>
                    <a:pt x="10" y="425"/>
                  </a:lnTo>
                  <a:lnTo>
                    <a:pt x="20" y="419"/>
                  </a:lnTo>
                  <a:lnTo>
                    <a:pt x="24" y="416"/>
                  </a:lnTo>
                  <a:lnTo>
                    <a:pt x="29" y="414"/>
                  </a:lnTo>
                  <a:lnTo>
                    <a:pt x="39" y="412"/>
                  </a:lnTo>
                  <a:lnTo>
                    <a:pt x="51" y="411"/>
                  </a:lnTo>
                  <a:lnTo>
                    <a:pt x="65" y="410"/>
                  </a:lnTo>
                  <a:lnTo>
                    <a:pt x="78" y="409"/>
                  </a:lnTo>
                  <a:lnTo>
                    <a:pt x="89" y="408"/>
                  </a:lnTo>
                  <a:lnTo>
                    <a:pt x="97" y="407"/>
                  </a:lnTo>
                  <a:lnTo>
                    <a:pt x="100" y="404"/>
                  </a:lnTo>
                  <a:lnTo>
                    <a:pt x="99" y="401"/>
                  </a:lnTo>
                  <a:lnTo>
                    <a:pt x="96" y="397"/>
                  </a:lnTo>
                  <a:lnTo>
                    <a:pt x="94" y="395"/>
                  </a:lnTo>
                  <a:lnTo>
                    <a:pt x="94" y="392"/>
                  </a:lnTo>
                  <a:lnTo>
                    <a:pt x="99" y="388"/>
                  </a:lnTo>
                  <a:lnTo>
                    <a:pt x="112" y="380"/>
                  </a:lnTo>
                  <a:lnTo>
                    <a:pt x="117" y="376"/>
                  </a:lnTo>
                  <a:lnTo>
                    <a:pt x="121" y="372"/>
                  </a:lnTo>
                  <a:lnTo>
                    <a:pt x="121" y="366"/>
                  </a:lnTo>
                  <a:lnTo>
                    <a:pt x="117" y="348"/>
                  </a:lnTo>
                  <a:lnTo>
                    <a:pt x="116" y="340"/>
                  </a:lnTo>
                  <a:lnTo>
                    <a:pt x="119" y="333"/>
                  </a:lnTo>
                  <a:lnTo>
                    <a:pt x="120" y="328"/>
                  </a:lnTo>
                  <a:lnTo>
                    <a:pt x="118" y="322"/>
                  </a:lnTo>
                  <a:lnTo>
                    <a:pt x="115" y="317"/>
                  </a:lnTo>
                  <a:lnTo>
                    <a:pt x="113" y="311"/>
                  </a:lnTo>
                  <a:lnTo>
                    <a:pt x="113" y="302"/>
                  </a:lnTo>
                  <a:lnTo>
                    <a:pt x="110" y="297"/>
                  </a:lnTo>
                  <a:lnTo>
                    <a:pt x="107" y="293"/>
                  </a:lnTo>
                  <a:lnTo>
                    <a:pt x="104" y="289"/>
                  </a:lnTo>
                  <a:lnTo>
                    <a:pt x="103" y="286"/>
                  </a:lnTo>
                  <a:lnTo>
                    <a:pt x="104" y="284"/>
                  </a:lnTo>
                  <a:lnTo>
                    <a:pt x="110" y="282"/>
                  </a:lnTo>
                  <a:lnTo>
                    <a:pt x="113" y="282"/>
                  </a:lnTo>
                  <a:lnTo>
                    <a:pt x="116" y="281"/>
                  </a:lnTo>
                  <a:lnTo>
                    <a:pt x="118" y="280"/>
                  </a:lnTo>
                  <a:lnTo>
                    <a:pt x="119" y="279"/>
                  </a:lnTo>
                  <a:lnTo>
                    <a:pt x="119" y="275"/>
                  </a:lnTo>
                  <a:lnTo>
                    <a:pt x="117" y="271"/>
                  </a:lnTo>
                  <a:lnTo>
                    <a:pt x="112" y="266"/>
                  </a:lnTo>
                  <a:lnTo>
                    <a:pt x="105" y="260"/>
                  </a:lnTo>
                  <a:lnTo>
                    <a:pt x="100" y="253"/>
                  </a:lnTo>
                  <a:lnTo>
                    <a:pt x="95" y="246"/>
                  </a:lnTo>
                  <a:lnTo>
                    <a:pt x="92" y="239"/>
                  </a:lnTo>
                  <a:lnTo>
                    <a:pt x="94" y="233"/>
                  </a:lnTo>
                  <a:lnTo>
                    <a:pt x="99" y="227"/>
                  </a:lnTo>
                  <a:lnTo>
                    <a:pt x="102" y="224"/>
                  </a:lnTo>
                  <a:lnTo>
                    <a:pt x="104" y="223"/>
                  </a:lnTo>
                  <a:lnTo>
                    <a:pt x="104" y="221"/>
                  </a:lnTo>
                  <a:lnTo>
                    <a:pt x="104" y="219"/>
                  </a:lnTo>
                  <a:lnTo>
                    <a:pt x="101" y="214"/>
                  </a:lnTo>
                  <a:lnTo>
                    <a:pt x="95" y="202"/>
                  </a:lnTo>
                  <a:lnTo>
                    <a:pt x="93" y="192"/>
                  </a:lnTo>
                  <a:lnTo>
                    <a:pt x="96" y="184"/>
                  </a:lnTo>
                  <a:lnTo>
                    <a:pt x="97" y="181"/>
                  </a:lnTo>
                  <a:lnTo>
                    <a:pt x="94" y="178"/>
                  </a:lnTo>
                  <a:lnTo>
                    <a:pt x="90" y="175"/>
                  </a:lnTo>
                  <a:lnTo>
                    <a:pt x="84" y="173"/>
                  </a:lnTo>
                  <a:lnTo>
                    <a:pt x="79" y="169"/>
                  </a:lnTo>
                  <a:lnTo>
                    <a:pt x="75" y="165"/>
                  </a:lnTo>
                  <a:lnTo>
                    <a:pt x="72" y="159"/>
                  </a:lnTo>
                  <a:lnTo>
                    <a:pt x="68" y="150"/>
                  </a:lnTo>
                  <a:lnTo>
                    <a:pt x="63" y="139"/>
                  </a:lnTo>
                  <a:lnTo>
                    <a:pt x="53" y="114"/>
                  </a:lnTo>
                  <a:lnTo>
                    <a:pt x="50" y="103"/>
                  </a:lnTo>
                  <a:lnTo>
                    <a:pt x="48" y="94"/>
                  </a:lnTo>
                  <a:lnTo>
                    <a:pt x="49" y="88"/>
                  </a:lnTo>
                  <a:lnTo>
                    <a:pt x="53" y="85"/>
                  </a:lnTo>
                  <a:lnTo>
                    <a:pt x="59" y="84"/>
                  </a:lnTo>
                  <a:lnTo>
                    <a:pt x="75" y="84"/>
                  </a:lnTo>
                  <a:lnTo>
                    <a:pt x="83" y="82"/>
                  </a:lnTo>
                  <a:lnTo>
                    <a:pt x="90" y="78"/>
                  </a:lnTo>
                  <a:lnTo>
                    <a:pt x="95" y="72"/>
                  </a:lnTo>
                  <a:lnTo>
                    <a:pt x="99" y="67"/>
                  </a:lnTo>
                  <a:lnTo>
                    <a:pt x="101" y="62"/>
                  </a:lnTo>
                  <a:lnTo>
                    <a:pt x="104" y="58"/>
                  </a:lnTo>
                  <a:lnTo>
                    <a:pt x="108" y="55"/>
                  </a:lnTo>
                  <a:lnTo>
                    <a:pt x="116" y="54"/>
                  </a:lnTo>
                  <a:lnTo>
                    <a:pt x="124" y="54"/>
                  </a:lnTo>
                  <a:lnTo>
                    <a:pt x="128" y="55"/>
                  </a:lnTo>
                  <a:lnTo>
                    <a:pt x="131" y="56"/>
                  </a:lnTo>
                  <a:lnTo>
                    <a:pt x="133" y="57"/>
                  </a:lnTo>
                  <a:lnTo>
                    <a:pt x="137" y="58"/>
                  </a:lnTo>
                  <a:lnTo>
                    <a:pt x="144" y="58"/>
                  </a:lnTo>
                  <a:lnTo>
                    <a:pt x="151" y="59"/>
                  </a:lnTo>
                  <a:lnTo>
                    <a:pt x="157" y="63"/>
                  </a:lnTo>
                  <a:lnTo>
                    <a:pt x="164" y="70"/>
                  </a:lnTo>
                  <a:lnTo>
                    <a:pt x="168" y="71"/>
                  </a:lnTo>
                  <a:lnTo>
                    <a:pt x="173" y="69"/>
                  </a:lnTo>
                  <a:lnTo>
                    <a:pt x="181" y="65"/>
                  </a:lnTo>
                  <a:lnTo>
                    <a:pt x="192" y="60"/>
                  </a:lnTo>
                  <a:lnTo>
                    <a:pt x="204" y="54"/>
                  </a:lnTo>
                  <a:lnTo>
                    <a:pt x="215" y="48"/>
                  </a:lnTo>
                  <a:lnTo>
                    <a:pt x="223" y="42"/>
                  </a:lnTo>
                  <a:lnTo>
                    <a:pt x="228" y="37"/>
                  </a:lnTo>
                  <a:lnTo>
                    <a:pt x="229" y="31"/>
                  </a:lnTo>
                  <a:lnTo>
                    <a:pt x="227" y="21"/>
                  </a:lnTo>
                  <a:lnTo>
                    <a:pt x="229" y="17"/>
                  </a:lnTo>
                  <a:lnTo>
                    <a:pt x="232" y="14"/>
                  </a:lnTo>
                  <a:lnTo>
                    <a:pt x="240" y="10"/>
                  </a:lnTo>
                  <a:lnTo>
                    <a:pt x="258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7">
              <a:extLst>
                <a:ext uri="{FF2B5EF4-FFF2-40B4-BE49-F238E27FC236}">
                  <a16:creationId xmlns:a16="http://schemas.microsoft.com/office/drawing/2014/main" id="{4030A533-99F7-4BEB-98F4-67E7C92DC0C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8401" y="3457576"/>
              <a:ext cx="1028700" cy="1477963"/>
            </a:xfrm>
            <a:custGeom>
              <a:avLst/>
              <a:gdLst/>
              <a:ahLst/>
              <a:cxnLst>
                <a:cxn ang="0">
                  <a:pos x="480" y="13"/>
                </a:cxn>
                <a:cxn ang="0">
                  <a:pos x="500" y="40"/>
                </a:cxn>
                <a:cxn ang="0">
                  <a:pos x="487" y="77"/>
                </a:cxn>
                <a:cxn ang="0">
                  <a:pos x="477" y="120"/>
                </a:cxn>
                <a:cxn ang="0">
                  <a:pos x="496" y="142"/>
                </a:cxn>
                <a:cxn ang="0">
                  <a:pos x="528" y="143"/>
                </a:cxn>
                <a:cxn ang="0">
                  <a:pos x="521" y="116"/>
                </a:cxn>
                <a:cxn ang="0">
                  <a:pos x="551" y="113"/>
                </a:cxn>
                <a:cxn ang="0">
                  <a:pos x="570" y="108"/>
                </a:cxn>
                <a:cxn ang="0">
                  <a:pos x="582" y="157"/>
                </a:cxn>
                <a:cxn ang="0">
                  <a:pos x="611" y="179"/>
                </a:cxn>
                <a:cxn ang="0">
                  <a:pos x="637" y="219"/>
                </a:cxn>
                <a:cxn ang="0">
                  <a:pos x="624" y="244"/>
                </a:cxn>
                <a:cxn ang="0">
                  <a:pos x="630" y="272"/>
                </a:cxn>
                <a:cxn ang="0">
                  <a:pos x="596" y="286"/>
                </a:cxn>
                <a:cxn ang="0">
                  <a:pos x="592" y="314"/>
                </a:cxn>
                <a:cxn ang="0">
                  <a:pos x="573" y="356"/>
                </a:cxn>
                <a:cxn ang="0">
                  <a:pos x="565" y="427"/>
                </a:cxn>
                <a:cxn ang="0">
                  <a:pos x="590" y="408"/>
                </a:cxn>
                <a:cxn ang="0">
                  <a:pos x="596" y="480"/>
                </a:cxn>
                <a:cxn ang="0">
                  <a:pos x="526" y="516"/>
                </a:cxn>
                <a:cxn ang="0">
                  <a:pos x="498" y="573"/>
                </a:cxn>
                <a:cxn ang="0">
                  <a:pos x="460" y="588"/>
                </a:cxn>
                <a:cxn ang="0">
                  <a:pos x="456" y="634"/>
                </a:cxn>
                <a:cxn ang="0">
                  <a:pos x="416" y="635"/>
                </a:cxn>
                <a:cxn ang="0">
                  <a:pos x="361" y="639"/>
                </a:cxn>
                <a:cxn ang="0">
                  <a:pos x="319" y="659"/>
                </a:cxn>
                <a:cxn ang="0">
                  <a:pos x="328" y="697"/>
                </a:cxn>
                <a:cxn ang="0">
                  <a:pos x="346" y="769"/>
                </a:cxn>
                <a:cxn ang="0">
                  <a:pos x="348" y="835"/>
                </a:cxn>
                <a:cxn ang="0">
                  <a:pos x="336" y="848"/>
                </a:cxn>
                <a:cxn ang="0">
                  <a:pos x="351" y="880"/>
                </a:cxn>
                <a:cxn ang="0">
                  <a:pos x="320" y="888"/>
                </a:cxn>
                <a:cxn ang="0">
                  <a:pos x="301" y="910"/>
                </a:cxn>
                <a:cxn ang="0">
                  <a:pos x="270" y="929"/>
                </a:cxn>
                <a:cxn ang="0">
                  <a:pos x="283" y="897"/>
                </a:cxn>
                <a:cxn ang="0">
                  <a:pos x="242" y="872"/>
                </a:cxn>
                <a:cxn ang="0">
                  <a:pos x="212" y="846"/>
                </a:cxn>
                <a:cxn ang="0">
                  <a:pos x="181" y="855"/>
                </a:cxn>
                <a:cxn ang="0">
                  <a:pos x="166" y="797"/>
                </a:cxn>
                <a:cxn ang="0">
                  <a:pos x="156" y="754"/>
                </a:cxn>
                <a:cxn ang="0">
                  <a:pos x="136" y="680"/>
                </a:cxn>
                <a:cxn ang="0">
                  <a:pos x="40" y="683"/>
                </a:cxn>
                <a:cxn ang="0">
                  <a:pos x="7" y="642"/>
                </a:cxn>
                <a:cxn ang="0">
                  <a:pos x="28" y="606"/>
                </a:cxn>
                <a:cxn ang="0">
                  <a:pos x="67" y="585"/>
                </a:cxn>
                <a:cxn ang="0">
                  <a:pos x="96" y="566"/>
                </a:cxn>
                <a:cxn ang="0">
                  <a:pos x="69" y="521"/>
                </a:cxn>
                <a:cxn ang="0">
                  <a:pos x="65" y="476"/>
                </a:cxn>
                <a:cxn ang="0">
                  <a:pos x="86" y="461"/>
                </a:cxn>
                <a:cxn ang="0">
                  <a:pos x="91" y="409"/>
                </a:cxn>
                <a:cxn ang="0">
                  <a:pos x="108" y="347"/>
                </a:cxn>
                <a:cxn ang="0">
                  <a:pos x="161" y="322"/>
                </a:cxn>
                <a:cxn ang="0">
                  <a:pos x="199" y="276"/>
                </a:cxn>
                <a:cxn ang="0">
                  <a:pos x="233" y="231"/>
                </a:cxn>
                <a:cxn ang="0">
                  <a:pos x="258" y="174"/>
                </a:cxn>
                <a:cxn ang="0">
                  <a:pos x="217" y="154"/>
                </a:cxn>
                <a:cxn ang="0">
                  <a:pos x="274" y="112"/>
                </a:cxn>
                <a:cxn ang="0">
                  <a:pos x="309" y="70"/>
                </a:cxn>
                <a:cxn ang="0">
                  <a:pos x="378" y="83"/>
                </a:cxn>
                <a:cxn ang="0">
                  <a:pos x="425" y="17"/>
                </a:cxn>
              </a:cxnLst>
              <a:rect l="0" t="0" r="r" b="b"/>
              <a:pathLst>
                <a:path w="648" h="931">
                  <a:moveTo>
                    <a:pt x="458" y="0"/>
                  </a:moveTo>
                  <a:lnTo>
                    <a:pt x="460" y="0"/>
                  </a:lnTo>
                  <a:lnTo>
                    <a:pt x="460" y="3"/>
                  </a:lnTo>
                  <a:lnTo>
                    <a:pt x="460" y="5"/>
                  </a:lnTo>
                  <a:lnTo>
                    <a:pt x="460" y="11"/>
                  </a:lnTo>
                  <a:lnTo>
                    <a:pt x="460" y="13"/>
                  </a:lnTo>
                  <a:lnTo>
                    <a:pt x="463" y="15"/>
                  </a:lnTo>
                  <a:lnTo>
                    <a:pt x="467" y="15"/>
                  </a:lnTo>
                  <a:lnTo>
                    <a:pt x="473" y="14"/>
                  </a:lnTo>
                  <a:lnTo>
                    <a:pt x="480" y="13"/>
                  </a:lnTo>
                  <a:lnTo>
                    <a:pt x="487" y="15"/>
                  </a:lnTo>
                  <a:lnTo>
                    <a:pt x="496" y="21"/>
                  </a:lnTo>
                  <a:lnTo>
                    <a:pt x="502" y="27"/>
                  </a:lnTo>
                  <a:lnTo>
                    <a:pt x="505" y="33"/>
                  </a:lnTo>
                  <a:lnTo>
                    <a:pt x="505" y="39"/>
                  </a:lnTo>
                  <a:lnTo>
                    <a:pt x="504" y="41"/>
                  </a:lnTo>
                  <a:lnTo>
                    <a:pt x="503" y="42"/>
                  </a:lnTo>
                  <a:lnTo>
                    <a:pt x="502" y="41"/>
                  </a:lnTo>
                  <a:lnTo>
                    <a:pt x="501" y="41"/>
                  </a:lnTo>
                  <a:lnTo>
                    <a:pt x="500" y="40"/>
                  </a:lnTo>
                  <a:lnTo>
                    <a:pt x="498" y="39"/>
                  </a:lnTo>
                  <a:lnTo>
                    <a:pt x="497" y="38"/>
                  </a:lnTo>
                  <a:lnTo>
                    <a:pt x="495" y="39"/>
                  </a:lnTo>
                  <a:lnTo>
                    <a:pt x="494" y="40"/>
                  </a:lnTo>
                  <a:lnTo>
                    <a:pt x="491" y="44"/>
                  </a:lnTo>
                  <a:lnTo>
                    <a:pt x="489" y="47"/>
                  </a:lnTo>
                  <a:lnTo>
                    <a:pt x="487" y="53"/>
                  </a:lnTo>
                  <a:lnTo>
                    <a:pt x="484" y="60"/>
                  </a:lnTo>
                  <a:lnTo>
                    <a:pt x="484" y="68"/>
                  </a:lnTo>
                  <a:lnTo>
                    <a:pt x="487" y="77"/>
                  </a:lnTo>
                  <a:lnTo>
                    <a:pt x="491" y="87"/>
                  </a:lnTo>
                  <a:lnTo>
                    <a:pt x="494" y="95"/>
                  </a:lnTo>
                  <a:lnTo>
                    <a:pt x="494" y="103"/>
                  </a:lnTo>
                  <a:lnTo>
                    <a:pt x="492" y="107"/>
                  </a:lnTo>
                  <a:lnTo>
                    <a:pt x="488" y="109"/>
                  </a:lnTo>
                  <a:lnTo>
                    <a:pt x="484" y="109"/>
                  </a:lnTo>
                  <a:lnTo>
                    <a:pt x="481" y="110"/>
                  </a:lnTo>
                  <a:lnTo>
                    <a:pt x="478" y="112"/>
                  </a:lnTo>
                  <a:lnTo>
                    <a:pt x="477" y="116"/>
                  </a:lnTo>
                  <a:lnTo>
                    <a:pt x="477" y="120"/>
                  </a:lnTo>
                  <a:lnTo>
                    <a:pt x="476" y="122"/>
                  </a:lnTo>
                  <a:lnTo>
                    <a:pt x="474" y="123"/>
                  </a:lnTo>
                  <a:lnTo>
                    <a:pt x="473" y="124"/>
                  </a:lnTo>
                  <a:lnTo>
                    <a:pt x="464" y="124"/>
                  </a:lnTo>
                  <a:lnTo>
                    <a:pt x="463" y="125"/>
                  </a:lnTo>
                  <a:lnTo>
                    <a:pt x="466" y="127"/>
                  </a:lnTo>
                  <a:lnTo>
                    <a:pt x="476" y="133"/>
                  </a:lnTo>
                  <a:lnTo>
                    <a:pt x="481" y="135"/>
                  </a:lnTo>
                  <a:lnTo>
                    <a:pt x="487" y="138"/>
                  </a:lnTo>
                  <a:lnTo>
                    <a:pt x="496" y="142"/>
                  </a:lnTo>
                  <a:lnTo>
                    <a:pt x="505" y="147"/>
                  </a:lnTo>
                  <a:lnTo>
                    <a:pt x="512" y="152"/>
                  </a:lnTo>
                  <a:lnTo>
                    <a:pt x="515" y="154"/>
                  </a:lnTo>
                  <a:lnTo>
                    <a:pt x="519" y="154"/>
                  </a:lnTo>
                  <a:lnTo>
                    <a:pt x="521" y="153"/>
                  </a:lnTo>
                  <a:lnTo>
                    <a:pt x="522" y="151"/>
                  </a:lnTo>
                  <a:lnTo>
                    <a:pt x="524" y="150"/>
                  </a:lnTo>
                  <a:lnTo>
                    <a:pt x="526" y="146"/>
                  </a:lnTo>
                  <a:lnTo>
                    <a:pt x="527" y="145"/>
                  </a:lnTo>
                  <a:lnTo>
                    <a:pt x="528" y="143"/>
                  </a:lnTo>
                  <a:lnTo>
                    <a:pt x="529" y="142"/>
                  </a:lnTo>
                  <a:lnTo>
                    <a:pt x="528" y="140"/>
                  </a:lnTo>
                  <a:lnTo>
                    <a:pt x="526" y="139"/>
                  </a:lnTo>
                  <a:lnTo>
                    <a:pt x="523" y="137"/>
                  </a:lnTo>
                  <a:lnTo>
                    <a:pt x="520" y="136"/>
                  </a:lnTo>
                  <a:lnTo>
                    <a:pt x="516" y="133"/>
                  </a:lnTo>
                  <a:lnTo>
                    <a:pt x="513" y="127"/>
                  </a:lnTo>
                  <a:lnTo>
                    <a:pt x="513" y="122"/>
                  </a:lnTo>
                  <a:lnTo>
                    <a:pt x="515" y="119"/>
                  </a:lnTo>
                  <a:lnTo>
                    <a:pt x="521" y="116"/>
                  </a:lnTo>
                  <a:lnTo>
                    <a:pt x="527" y="111"/>
                  </a:lnTo>
                  <a:lnTo>
                    <a:pt x="533" y="108"/>
                  </a:lnTo>
                  <a:lnTo>
                    <a:pt x="535" y="108"/>
                  </a:lnTo>
                  <a:lnTo>
                    <a:pt x="538" y="109"/>
                  </a:lnTo>
                  <a:lnTo>
                    <a:pt x="540" y="111"/>
                  </a:lnTo>
                  <a:lnTo>
                    <a:pt x="543" y="113"/>
                  </a:lnTo>
                  <a:lnTo>
                    <a:pt x="545" y="114"/>
                  </a:lnTo>
                  <a:lnTo>
                    <a:pt x="548" y="115"/>
                  </a:lnTo>
                  <a:lnTo>
                    <a:pt x="549" y="115"/>
                  </a:lnTo>
                  <a:lnTo>
                    <a:pt x="551" y="113"/>
                  </a:lnTo>
                  <a:lnTo>
                    <a:pt x="552" y="111"/>
                  </a:lnTo>
                  <a:lnTo>
                    <a:pt x="552" y="109"/>
                  </a:lnTo>
                  <a:lnTo>
                    <a:pt x="553" y="107"/>
                  </a:lnTo>
                  <a:lnTo>
                    <a:pt x="553" y="105"/>
                  </a:lnTo>
                  <a:lnTo>
                    <a:pt x="556" y="102"/>
                  </a:lnTo>
                  <a:lnTo>
                    <a:pt x="559" y="101"/>
                  </a:lnTo>
                  <a:lnTo>
                    <a:pt x="562" y="101"/>
                  </a:lnTo>
                  <a:lnTo>
                    <a:pt x="565" y="103"/>
                  </a:lnTo>
                  <a:lnTo>
                    <a:pt x="568" y="106"/>
                  </a:lnTo>
                  <a:lnTo>
                    <a:pt x="570" y="108"/>
                  </a:lnTo>
                  <a:lnTo>
                    <a:pt x="572" y="113"/>
                  </a:lnTo>
                  <a:lnTo>
                    <a:pt x="568" y="117"/>
                  </a:lnTo>
                  <a:lnTo>
                    <a:pt x="565" y="122"/>
                  </a:lnTo>
                  <a:lnTo>
                    <a:pt x="564" y="128"/>
                  </a:lnTo>
                  <a:lnTo>
                    <a:pt x="566" y="135"/>
                  </a:lnTo>
                  <a:lnTo>
                    <a:pt x="570" y="142"/>
                  </a:lnTo>
                  <a:lnTo>
                    <a:pt x="575" y="148"/>
                  </a:lnTo>
                  <a:lnTo>
                    <a:pt x="579" y="156"/>
                  </a:lnTo>
                  <a:lnTo>
                    <a:pt x="580" y="157"/>
                  </a:lnTo>
                  <a:lnTo>
                    <a:pt x="582" y="157"/>
                  </a:lnTo>
                  <a:lnTo>
                    <a:pt x="583" y="156"/>
                  </a:lnTo>
                  <a:lnTo>
                    <a:pt x="586" y="154"/>
                  </a:lnTo>
                  <a:lnTo>
                    <a:pt x="587" y="152"/>
                  </a:lnTo>
                  <a:lnTo>
                    <a:pt x="589" y="151"/>
                  </a:lnTo>
                  <a:lnTo>
                    <a:pt x="590" y="151"/>
                  </a:lnTo>
                  <a:lnTo>
                    <a:pt x="592" y="153"/>
                  </a:lnTo>
                  <a:lnTo>
                    <a:pt x="595" y="157"/>
                  </a:lnTo>
                  <a:lnTo>
                    <a:pt x="603" y="169"/>
                  </a:lnTo>
                  <a:lnTo>
                    <a:pt x="606" y="175"/>
                  </a:lnTo>
                  <a:lnTo>
                    <a:pt x="611" y="179"/>
                  </a:lnTo>
                  <a:lnTo>
                    <a:pt x="620" y="183"/>
                  </a:lnTo>
                  <a:lnTo>
                    <a:pt x="630" y="187"/>
                  </a:lnTo>
                  <a:lnTo>
                    <a:pt x="639" y="190"/>
                  </a:lnTo>
                  <a:lnTo>
                    <a:pt x="645" y="193"/>
                  </a:lnTo>
                  <a:lnTo>
                    <a:pt x="648" y="198"/>
                  </a:lnTo>
                  <a:lnTo>
                    <a:pt x="647" y="203"/>
                  </a:lnTo>
                  <a:lnTo>
                    <a:pt x="644" y="209"/>
                  </a:lnTo>
                  <a:lnTo>
                    <a:pt x="640" y="216"/>
                  </a:lnTo>
                  <a:lnTo>
                    <a:pt x="639" y="218"/>
                  </a:lnTo>
                  <a:lnTo>
                    <a:pt x="637" y="219"/>
                  </a:lnTo>
                  <a:lnTo>
                    <a:pt x="636" y="219"/>
                  </a:lnTo>
                  <a:lnTo>
                    <a:pt x="633" y="216"/>
                  </a:lnTo>
                  <a:lnTo>
                    <a:pt x="629" y="214"/>
                  </a:lnTo>
                  <a:lnTo>
                    <a:pt x="619" y="214"/>
                  </a:lnTo>
                  <a:lnTo>
                    <a:pt x="619" y="216"/>
                  </a:lnTo>
                  <a:lnTo>
                    <a:pt x="620" y="218"/>
                  </a:lnTo>
                  <a:lnTo>
                    <a:pt x="622" y="221"/>
                  </a:lnTo>
                  <a:lnTo>
                    <a:pt x="624" y="229"/>
                  </a:lnTo>
                  <a:lnTo>
                    <a:pt x="625" y="237"/>
                  </a:lnTo>
                  <a:lnTo>
                    <a:pt x="624" y="244"/>
                  </a:lnTo>
                  <a:lnTo>
                    <a:pt x="626" y="247"/>
                  </a:lnTo>
                  <a:lnTo>
                    <a:pt x="636" y="257"/>
                  </a:lnTo>
                  <a:lnTo>
                    <a:pt x="641" y="263"/>
                  </a:lnTo>
                  <a:lnTo>
                    <a:pt x="642" y="266"/>
                  </a:lnTo>
                  <a:lnTo>
                    <a:pt x="642" y="269"/>
                  </a:lnTo>
                  <a:lnTo>
                    <a:pt x="641" y="270"/>
                  </a:lnTo>
                  <a:lnTo>
                    <a:pt x="639" y="270"/>
                  </a:lnTo>
                  <a:lnTo>
                    <a:pt x="637" y="271"/>
                  </a:lnTo>
                  <a:lnTo>
                    <a:pt x="633" y="271"/>
                  </a:lnTo>
                  <a:lnTo>
                    <a:pt x="630" y="272"/>
                  </a:lnTo>
                  <a:lnTo>
                    <a:pt x="628" y="273"/>
                  </a:lnTo>
                  <a:lnTo>
                    <a:pt x="622" y="273"/>
                  </a:lnTo>
                  <a:lnTo>
                    <a:pt x="614" y="271"/>
                  </a:lnTo>
                  <a:lnTo>
                    <a:pt x="605" y="269"/>
                  </a:lnTo>
                  <a:lnTo>
                    <a:pt x="594" y="269"/>
                  </a:lnTo>
                  <a:lnTo>
                    <a:pt x="588" y="271"/>
                  </a:lnTo>
                  <a:lnTo>
                    <a:pt x="587" y="274"/>
                  </a:lnTo>
                  <a:lnTo>
                    <a:pt x="589" y="278"/>
                  </a:lnTo>
                  <a:lnTo>
                    <a:pt x="592" y="282"/>
                  </a:lnTo>
                  <a:lnTo>
                    <a:pt x="596" y="286"/>
                  </a:lnTo>
                  <a:lnTo>
                    <a:pt x="598" y="291"/>
                  </a:lnTo>
                  <a:lnTo>
                    <a:pt x="597" y="295"/>
                  </a:lnTo>
                  <a:lnTo>
                    <a:pt x="594" y="296"/>
                  </a:lnTo>
                  <a:lnTo>
                    <a:pt x="589" y="297"/>
                  </a:lnTo>
                  <a:lnTo>
                    <a:pt x="580" y="297"/>
                  </a:lnTo>
                  <a:lnTo>
                    <a:pt x="576" y="299"/>
                  </a:lnTo>
                  <a:lnTo>
                    <a:pt x="576" y="302"/>
                  </a:lnTo>
                  <a:lnTo>
                    <a:pt x="580" y="306"/>
                  </a:lnTo>
                  <a:lnTo>
                    <a:pt x="585" y="310"/>
                  </a:lnTo>
                  <a:lnTo>
                    <a:pt x="592" y="314"/>
                  </a:lnTo>
                  <a:lnTo>
                    <a:pt x="597" y="318"/>
                  </a:lnTo>
                  <a:lnTo>
                    <a:pt x="600" y="320"/>
                  </a:lnTo>
                  <a:lnTo>
                    <a:pt x="599" y="324"/>
                  </a:lnTo>
                  <a:lnTo>
                    <a:pt x="596" y="330"/>
                  </a:lnTo>
                  <a:lnTo>
                    <a:pt x="593" y="337"/>
                  </a:lnTo>
                  <a:lnTo>
                    <a:pt x="591" y="342"/>
                  </a:lnTo>
                  <a:lnTo>
                    <a:pt x="588" y="346"/>
                  </a:lnTo>
                  <a:lnTo>
                    <a:pt x="585" y="348"/>
                  </a:lnTo>
                  <a:lnTo>
                    <a:pt x="578" y="351"/>
                  </a:lnTo>
                  <a:lnTo>
                    <a:pt x="573" y="356"/>
                  </a:lnTo>
                  <a:lnTo>
                    <a:pt x="569" y="364"/>
                  </a:lnTo>
                  <a:lnTo>
                    <a:pt x="565" y="383"/>
                  </a:lnTo>
                  <a:lnTo>
                    <a:pt x="565" y="391"/>
                  </a:lnTo>
                  <a:lnTo>
                    <a:pt x="563" y="399"/>
                  </a:lnTo>
                  <a:lnTo>
                    <a:pt x="558" y="406"/>
                  </a:lnTo>
                  <a:lnTo>
                    <a:pt x="554" y="411"/>
                  </a:lnTo>
                  <a:lnTo>
                    <a:pt x="552" y="417"/>
                  </a:lnTo>
                  <a:lnTo>
                    <a:pt x="554" y="422"/>
                  </a:lnTo>
                  <a:lnTo>
                    <a:pt x="559" y="425"/>
                  </a:lnTo>
                  <a:lnTo>
                    <a:pt x="565" y="427"/>
                  </a:lnTo>
                  <a:lnTo>
                    <a:pt x="569" y="428"/>
                  </a:lnTo>
                  <a:lnTo>
                    <a:pt x="571" y="428"/>
                  </a:lnTo>
                  <a:lnTo>
                    <a:pt x="573" y="426"/>
                  </a:lnTo>
                  <a:lnTo>
                    <a:pt x="574" y="424"/>
                  </a:lnTo>
                  <a:lnTo>
                    <a:pt x="575" y="421"/>
                  </a:lnTo>
                  <a:lnTo>
                    <a:pt x="575" y="418"/>
                  </a:lnTo>
                  <a:lnTo>
                    <a:pt x="576" y="415"/>
                  </a:lnTo>
                  <a:lnTo>
                    <a:pt x="580" y="411"/>
                  </a:lnTo>
                  <a:lnTo>
                    <a:pt x="585" y="409"/>
                  </a:lnTo>
                  <a:lnTo>
                    <a:pt x="590" y="408"/>
                  </a:lnTo>
                  <a:lnTo>
                    <a:pt x="594" y="409"/>
                  </a:lnTo>
                  <a:lnTo>
                    <a:pt x="597" y="412"/>
                  </a:lnTo>
                  <a:lnTo>
                    <a:pt x="600" y="416"/>
                  </a:lnTo>
                  <a:lnTo>
                    <a:pt x="602" y="421"/>
                  </a:lnTo>
                  <a:lnTo>
                    <a:pt x="603" y="426"/>
                  </a:lnTo>
                  <a:lnTo>
                    <a:pt x="601" y="429"/>
                  </a:lnTo>
                  <a:lnTo>
                    <a:pt x="598" y="434"/>
                  </a:lnTo>
                  <a:lnTo>
                    <a:pt x="597" y="443"/>
                  </a:lnTo>
                  <a:lnTo>
                    <a:pt x="597" y="468"/>
                  </a:lnTo>
                  <a:lnTo>
                    <a:pt x="596" y="480"/>
                  </a:lnTo>
                  <a:lnTo>
                    <a:pt x="593" y="488"/>
                  </a:lnTo>
                  <a:lnTo>
                    <a:pt x="586" y="496"/>
                  </a:lnTo>
                  <a:lnTo>
                    <a:pt x="567" y="510"/>
                  </a:lnTo>
                  <a:lnTo>
                    <a:pt x="558" y="515"/>
                  </a:lnTo>
                  <a:lnTo>
                    <a:pt x="550" y="518"/>
                  </a:lnTo>
                  <a:lnTo>
                    <a:pt x="546" y="519"/>
                  </a:lnTo>
                  <a:lnTo>
                    <a:pt x="544" y="519"/>
                  </a:lnTo>
                  <a:lnTo>
                    <a:pt x="538" y="516"/>
                  </a:lnTo>
                  <a:lnTo>
                    <a:pt x="533" y="515"/>
                  </a:lnTo>
                  <a:lnTo>
                    <a:pt x="526" y="516"/>
                  </a:lnTo>
                  <a:lnTo>
                    <a:pt x="521" y="519"/>
                  </a:lnTo>
                  <a:lnTo>
                    <a:pt x="519" y="523"/>
                  </a:lnTo>
                  <a:lnTo>
                    <a:pt x="519" y="537"/>
                  </a:lnTo>
                  <a:lnTo>
                    <a:pt x="521" y="545"/>
                  </a:lnTo>
                  <a:lnTo>
                    <a:pt x="522" y="551"/>
                  </a:lnTo>
                  <a:lnTo>
                    <a:pt x="520" y="557"/>
                  </a:lnTo>
                  <a:lnTo>
                    <a:pt x="515" y="561"/>
                  </a:lnTo>
                  <a:lnTo>
                    <a:pt x="508" y="565"/>
                  </a:lnTo>
                  <a:lnTo>
                    <a:pt x="502" y="569"/>
                  </a:lnTo>
                  <a:lnTo>
                    <a:pt x="498" y="573"/>
                  </a:lnTo>
                  <a:lnTo>
                    <a:pt x="497" y="577"/>
                  </a:lnTo>
                  <a:lnTo>
                    <a:pt x="496" y="579"/>
                  </a:lnTo>
                  <a:lnTo>
                    <a:pt x="495" y="582"/>
                  </a:lnTo>
                  <a:lnTo>
                    <a:pt x="492" y="585"/>
                  </a:lnTo>
                  <a:lnTo>
                    <a:pt x="486" y="589"/>
                  </a:lnTo>
                  <a:lnTo>
                    <a:pt x="479" y="592"/>
                  </a:lnTo>
                  <a:lnTo>
                    <a:pt x="475" y="592"/>
                  </a:lnTo>
                  <a:lnTo>
                    <a:pt x="470" y="590"/>
                  </a:lnTo>
                  <a:lnTo>
                    <a:pt x="466" y="588"/>
                  </a:lnTo>
                  <a:lnTo>
                    <a:pt x="460" y="588"/>
                  </a:lnTo>
                  <a:lnTo>
                    <a:pt x="456" y="590"/>
                  </a:lnTo>
                  <a:lnTo>
                    <a:pt x="455" y="594"/>
                  </a:lnTo>
                  <a:lnTo>
                    <a:pt x="456" y="600"/>
                  </a:lnTo>
                  <a:lnTo>
                    <a:pt x="458" y="606"/>
                  </a:lnTo>
                  <a:lnTo>
                    <a:pt x="459" y="612"/>
                  </a:lnTo>
                  <a:lnTo>
                    <a:pt x="460" y="617"/>
                  </a:lnTo>
                  <a:lnTo>
                    <a:pt x="458" y="620"/>
                  </a:lnTo>
                  <a:lnTo>
                    <a:pt x="454" y="624"/>
                  </a:lnTo>
                  <a:lnTo>
                    <a:pt x="454" y="629"/>
                  </a:lnTo>
                  <a:lnTo>
                    <a:pt x="456" y="634"/>
                  </a:lnTo>
                  <a:lnTo>
                    <a:pt x="456" y="639"/>
                  </a:lnTo>
                  <a:lnTo>
                    <a:pt x="453" y="643"/>
                  </a:lnTo>
                  <a:lnTo>
                    <a:pt x="447" y="645"/>
                  </a:lnTo>
                  <a:lnTo>
                    <a:pt x="431" y="647"/>
                  </a:lnTo>
                  <a:lnTo>
                    <a:pt x="425" y="647"/>
                  </a:lnTo>
                  <a:lnTo>
                    <a:pt x="424" y="645"/>
                  </a:lnTo>
                  <a:lnTo>
                    <a:pt x="422" y="644"/>
                  </a:lnTo>
                  <a:lnTo>
                    <a:pt x="420" y="640"/>
                  </a:lnTo>
                  <a:lnTo>
                    <a:pt x="418" y="638"/>
                  </a:lnTo>
                  <a:lnTo>
                    <a:pt x="416" y="635"/>
                  </a:lnTo>
                  <a:lnTo>
                    <a:pt x="410" y="630"/>
                  </a:lnTo>
                  <a:lnTo>
                    <a:pt x="403" y="627"/>
                  </a:lnTo>
                  <a:lnTo>
                    <a:pt x="395" y="625"/>
                  </a:lnTo>
                  <a:lnTo>
                    <a:pt x="383" y="624"/>
                  </a:lnTo>
                  <a:lnTo>
                    <a:pt x="376" y="624"/>
                  </a:lnTo>
                  <a:lnTo>
                    <a:pt x="373" y="625"/>
                  </a:lnTo>
                  <a:lnTo>
                    <a:pt x="371" y="628"/>
                  </a:lnTo>
                  <a:lnTo>
                    <a:pt x="369" y="634"/>
                  </a:lnTo>
                  <a:lnTo>
                    <a:pt x="365" y="637"/>
                  </a:lnTo>
                  <a:lnTo>
                    <a:pt x="361" y="639"/>
                  </a:lnTo>
                  <a:lnTo>
                    <a:pt x="358" y="639"/>
                  </a:lnTo>
                  <a:lnTo>
                    <a:pt x="355" y="636"/>
                  </a:lnTo>
                  <a:lnTo>
                    <a:pt x="352" y="634"/>
                  </a:lnTo>
                  <a:lnTo>
                    <a:pt x="347" y="633"/>
                  </a:lnTo>
                  <a:lnTo>
                    <a:pt x="339" y="635"/>
                  </a:lnTo>
                  <a:lnTo>
                    <a:pt x="333" y="641"/>
                  </a:lnTo>
                  <a:lnTo>
                    <a:pt x="327" y="648"/>
                  </a:lnTo>
                  <a:lnTo>
                    <a:pt x="322" y="656"/>
                  </a:lnTo>
                  <a:lnTo>
                    <a:pt x="320" y="658"/>
                  </a:lnTo>
                  <a:lnTo>
                    <a:pt x="319" y="659"/>
                  </a:lnTo>
                  <a:lnTo>
                    <a:pt x="319" y="661"/>
                  </a:lnTo>
                  <a:lnTo>
                    <a:pt x="320" y="661"/>
                  </a:lnTo>
                  <a:lnTo>
                    <a:pt x="322" y="663"/>
                  </a:lnTo>
                  <a:lnTo>
                    <a:pt x="324" y="664"/>
                  </a:lnTo>
                  <a:lnTo>
                    <a:pt x="330" y="668"/>
                  </a:lnTo>
                  <a:lnTo>
                    <a:pt x="334" y="673"/>
                  </a:lnTo>
                  <a:lnTo>
                    <a:pt x="335" y="679"/>
                  </a:lnTo>
                  <a:lnTo>
                    <a:pt x="334" y="686"/>
                  </a:lnTo>
                  <a:lnTo>
                    <a:pt x="331" y="692"/>
                  </a:lnTo>
                  <a:lnTo>
                    <a:pt x="328" y="697"/>
                  </a:lnTo>
                  <a:lnTo>
                    <a:pt x="326" y="702"/>
                  </a:lnTo>
                  <a:lnTo>
                    <a:pt x="326" y="711"/>
                  </a:lnTo>
                  <a:lnTo>
                    <a:pt x="327" y="720"/>
                  </a:lnTo>
                  <a:lnTo>
                    <a:pt x="329" y="730"/>
                  </a:lnTo>
                  <a:lnTo>
                    <a:pt x="330" y="738"/>
                  </a:lnTo>
                  <a:lnTo>
                    <a:pt x="331" y="743"/>
                  </a:lnTo>
                  <a:lnTo>
                    <a:pt x="334" y="750"/>
                  </a:lnTo>
                  <a:lnTo>
                    <a:pt x="339" y="756"/>
                  </a:lnTo>
                  <a:lnTo>
                    <a:pt x="343" y="763"/>
                  </a:lnTo>
                  <a:lnTo>
                    <a:pt x="346" y="769"/>
                  </a:lnTo>
                  <a:lnTo>
                    <a:pt x="354" y="783"/>
                  </a:lnTo>
                  <a:lnTo>
                    <a:pt x="356" y="788"/>
                  </a:lnTo>
                  <a:lnTo>
                    <a:pt x="355" y="793"/>
                  </a:lnTo>
                  <a:lnTo>
                    <a:pt x="353" y="801"/>
                  </a:lnTo>
                  <a:lnTo>
                    <a:pt x="350" y="809"/>
                  </a:lnTo>
                  <a:lnTo>
                    <a:pt x="342" y="817"/>
                  </a:lnTo>
                  <a:lnTo>
                    <a:pt x="343" y="820"/>
                  </a:lnTo>
                  <a:lnTo>
                    <a:pt x="345" y="825"/>
                  </a:lnTo>
                  <a:lnTo>
                    <a:pt x="347" y="832"/>
                  </a:lnTo>
                  <a:lnTo>
                    <a:pt x="348" y="835"/>
                  </a:lnTo>
                  <a:lnTo>
                    <a:pt x="347" y="837"/>
                  </a:lnTo>
                  <a:lnTo>
                    <a:pt x="347" y="839"/>
                  </a:lnTo>
                  <a:lnTo>
                    <a:pt x="345" y="839"/>
                  </a:lnTo>
                  <a:lnTo>
                    <a:pt x="344" y="840"/>
                  </a:lnTo>
                  <a:lnTo>
                    <a:pt x="342" y="840"/>
                  </a:lnTo>
                  <a:lnTo>
                    <a:pt x="341" y="841"/>
                  </a:lnTo>
                  <a:lnTo>
                    <a:pt x="339" y="842"/>
                  </a:lnTo>
                  <a:lnTo>
                    <a:pt x="338" y="843"/>
                  </a:lnTo>
                  <a:lnTo>
                    <a:pt x="337" y="845"/>
                  </a:lnTo>
                  <a:lnTo>
                    <a:pt x="336" y="848"/>
                  </a:lnTo>
                  <a:lnTo>
                    <a:pt x="337" y="851"/>
                  </a:lnTo>
                  <a:lnTo>
                    <a:pt x="341" y="857"/>
                  </a:lnTo>
                  <a:lnTo>
                    <a:pt x="344" y="860"/>
                  </a:lnTo>
                  <a:lnTo>
                    <a:pt x="341" y="861"/>
                  </a:lnTo>
                  <a:lnTo>
                    <a:pt x="339" y="861"/>
                  </a:lnTo>
                  <a:lnTo>
                    <a:pt x="337" y="863"/>
                  </a:lnTo>
                  <a:lnTo>
                    <a:pt x="338" y="865"/>
                  </a:lnTo>
                  <a:lnTo>
                    <a:pt x="342" y="870"/>
                  </a:lnTo>
                  <a:lnTo>
                    <a:pt x="347" y="875"/>
                  </a:lnTo>
                  <a:lnTo>
                    <a:pt x="351" y="880"/>
                  </a:lnTo>
                  <a:lnTo>
                    <a:pt x="354" y="884"/>
                  </a:lnTo>
                  <a:lnTo>
                    <a:pt x="353" y="885"/>
                  </a:lnTo>
                  <a:lnTo>
                    <a:pt x="348" y="885"/>
                  </a:lnTo>
                  <a:lnTo>
                    <a:pt x="340" y="884"/>
                  </a:lnTo>
                  <a:lnTo>
                    <a:pt x="335" y="884"/>
                  </a:lnTo>
                  <a:lnTo>
                    <a:pt x="331" y="885"/>
                  </a:lnTo>
                  <a:lnTo>
                    <a:pt x="330" y="887"/>
                  </a:lnTo>
                  <a:lnTo>
                    <a:pt x="328" y="889"/>
                  </a:lnTo>
                  <a:lnTo>
                    <a:pt x="323" y="889"/>
                  </a:lnTo>
                  <a:lnTo>
                    <a:pt x="320" y="888"/>
                  </a:lnTo>
                  <a:lnTo>
                    <a:pt x="316" y="887"/>
                  </a:lnTo>
                  <a:lnTo>
                    <a:pt x="309" y="887"/>
                  </a:lnTo>
                  <a:lnTo>
                    <a:pt x="305" y="891"/>
                  </a:lnTo>
                  <a:lnTo>
                    <a:pt x="303" y="894"/>
                  </a:lnTo>
                  <a:lnTo>
                    <a:pt x="302" y="896"/>
                  </a:lnTo>
                  <a:lnTo>
                    <a:pt x="301" y="899"/>
                  </a:lnTo>
                  <a:lnTo>
                    <a:pt x="301" y="902"/>
                  </a:lnTo>
                  <a:lnTo>
                    <a:pt x="303" y="906"/>
                  </a:lnTo>
                  <a:lnTo>
                    <a:pt x="303" y="909"/>
                  </a:lnTo>
                  <a:lnTo>
                    <a:pt x="301" y="910"/>
                  </a:lnTo>
                  <a:lnTo>
                    <a:pt x="298" y="911"/>
                  </a:lnTo>
                  <a:lnTo>
                    <a:pt x="295" y="913"/>
                  </a:lnTo>
                  <a:lnTo>
                    <a:pt x="293" y="918"/>
                  </a:lnTo>
                  <a:lnTo>
                    <a:pt x="291" y="924"/>
                  </a:lnTo>
                  <a:lnTo>
                    <a:pt x="288" y="929"/>
                  </a:lnTo>
                  <a:lnTo>
                    <a:pt x="285" y="931"/>
                  </a:lnTo>
                  <a:lnTo>
                    <a:pt x="281" y="931"/>
                  </a:lnTo>
                  <a:lnTo>
                    <a:pt x="275" y="930"/>
                  </a:lnTo>
                  <a:lnTo>
                    <a:pt x="273" y="929"/>
                  </a:lnTo>
                  <a:lnTo>
                    <a:pt x="270" y="929"/>
                  </a:lnTo>
                  <a:lnTo>
                    <a:pt x="266" y="927"/>
                  </a:lnTo>
                  <a:lnTo>
                    <a:pt x="265" y="926"/>
                  </a:lnTo>
                  <a:lnTo>
                    <a:pt x="265" y="924"/>
                  </a:lnTo>
                  <a:lnTo>
                    <a:pt x="266" y="921"/>
                  </a:lnTo>
                  <a:lnTo>
                    <a:pt x="269" y="914"/>
                  </a:lnTo>
                  <a:lnTo>
                    <a:pt x="270" y="907"/>
                  </a:lnTo>
                  <a:lnTo>
                    <a:pt x="272" y="901"/>
                  </a:lnTo>
                  <a:lnTo>
                    <a:pt x="274" y="898"/>
                  </a:lnTo>
                  <a:lnTo>
                    <a:pt x="276" y="897"/>
                  </a:lnTo>
                  <a:lnTo>
                    <a:pt x="283" y="897"/>
                  </a:lnTo>
                  <a:lnTo>
                    <a:pt x="284" y="896"/>
                  </a:lnTo>
                  <a:lnTo>
                    <a:pt x="286" y="892"/>
                  </a:lnTo>
                  <a:lnTo>
                    <a:pt x="285" y="888"/>
                  </a:lnTo>
                  <a:lnTo>
                    <a:pt x="280" y="886"/>
                  </a:lnTo>
                  <a:lnTo>
                    <a:pt x="270" y="884"/>
                  </a:lnTo>
                  <a:lnTo>
                    <a:pt x="266" y="880"/>
                  </a:lnTo>
                  <a:lnTo>
                    <a:pt x="261" y="879"/>
                  </a:lnTo>
                  <a:lnTo>
                    <a:pt x="254" y="878"/>
                  </a:lnTo>
                  <a:lnTo>
                    <a:pt x="248" y="876"/>
                  </a:lnTo>
                  <a:lnTo>
                    <a:pt x="242" y="872"/>
                  </a:lnTo>
                  <a:lnTo>
                    <a:pt x="239" y="866"/>
                  </a:lnTo>
                  <a:lnTo>
                    <a:pt x="238" y="857"/>
                  </a:lnTo>
                  <a:lnTo>
                    <a:pt x="238" y="849"/>
                  </a:lnTo>
                  <a:lnTo>
                    <a:pt x="237" y="842"/>
                  </a:lnTo>
                  <a:lnTo>
                    <a:pt x="235" y="838"/>
                  </a:lnTo>
                  <a:lnTo>
                    <a:pt x="231" y="837"/>
                  </a:lnTo>
                  <a:lnTo>
                    <a:pt x="224" y="837"/>
                  </a:lnTo>
                  <a:lnTo>
                    <a:pt x="218" y="839"/>
                  </a:lnTo>
                  <a:lnTo>
                    <a:pt x="213" y="842"/>
                  </a:lnTo>
                  <a:lnTo>
                    <a:pt x="212" y="846"/>
                  </a:lnTo>
                  <a:lnTo>
                    <a:pt x="216" y="856"/>
                  </a:lnTo>
                  <a:lnTo>
                    <a:pt x="218" y="862"/>
                  </a:lnTo>
                  <a:lnTo>
                    <a:pt x="219" y="867"/>
                  </a:lnTo>
                  <a:lnTo>
                    <a:pt x="217" y="869"/>
                  </a:lnTo>
                  <a:lnTo>
                    <a:pt x="213" y="870"/>
                  </a:lnTo>
                  <a:lnTo>
                    <a:pt x="208" y="872"/>
                  </a:lnTo>
                  <a:lnTo>
                    <a:pt x="200" y="873"/>
                  </a:lnTo>
                  <a:lnTo>
                    <a:pt x="196" y="867"/>
                  </a:lnTo>
                  <a:lnTo>
                    <a:pt x="189" y="861"/>
                  </a:lnTo>
                  <a:lnTo>
                    <a:pt x="181" y="855"/>
                  </a:lnTo>
                  <a:lnTo>
                    <a:pt x="173" y="851"/>
                  </a:lnTo>
                  <a:lnTo>
                    <a:pt x="166" y="849"/>
                  </a:lnTo>
                  <a:lnTo>
                    <a:pt x="161" y="846"/>
                  </a:lnTo>
                  <a:lnTo>
                    <a:pt x="156" y="840"/>
                  </a:lnTo>
                  <a:lnTo>
                    <a:pt x="153" y="832"/>
                  </a:lnTo>
                  <a:lnTo>
                    <a:pt x="148" y="817"/>
                  </a:lnTo>
                  <a:lnTo>
                    <a:pt x="150" y="811"/>
                  </a:lnTo>
                  <a:lnTo>
                    <a:pt x="154" y="805"/>
                  </a:lnTo>
                  <a:lnTo>
                    <a:pt x="161" y="800"/>
                  </a:lnTo>
                  <a:lnTo>
                    <a:pt x="166" y="797"/>
                  </a:lnTo>
                  <a:lnTo>
                    <a:pt x="170" y="793"/>
                  </a:lnTo>
                  <a:lnTo>
                    <a:pt x="172" y="788"/>
                  </a:lnTo>
                  <a:lnTo>
                    <a:pt x="175" y="781"/>
                  </a:lnTo>
                  <a:lnTo>
                    <a:pt x="176" y="779"/>
                  </a:lnTo>
                  <a:lnTo>
                    <a:pt x="175" y="777"/>
                  </a:lnTo>
                  <a:lnTo>
                    <a:pt x="173" y="775"/>
                  </a:lnTo>
                  <a:lnTo>
                    <a:pt x="164" y="775"/>
                  </a:lnTo>
                  <a:lnTo>
                    <a:pt x="160" y="773"/>
                  </a:lnTo>
                  <a:lnTo>
                    <a:pt x="158" y="768"/>
                  </a:lnTo>
                  <a:lnTo>
                    <a:pt x="156" y="754"/>
                  </a:lnTo>
                  <a:lnTo>
                    <a:pt x="156" y="742"/>
                  </a:lnTo>
                  <a:lnTo>
                    <a:pt x="152" y="734"/>
                  </a:lnTo>
                  <a:lnTo>
                    <a:pt x="147" y="728"/>
                  </a:lnTo>
                  <a:lnTo>
                    <a:pt x="144" y="723"/>
                  </a:lnTo>
                  <a:lnTo>
                    <a:pt x="143" y="719"/>
                  </a:lnTo>
                  <a:lnTo>
                    <a:pt x="147" y="711"/>
                  </a:lnTo>
                  <a:lnTo>
                    <a:pt x="148" y="706"/>
                  </a:lnTo>
                  <a:lnTo>
                    <a:pt x="146" y="697"/>
                  </a:lnTo>
                  <a:lnTo>
                    <a:pt x="142" y="688"/>
                  </a:lnTo>
                  <a:lnTo>
                    <a:pt x="136" y="680"/>
                  </a:lnTo>
                  <a:lnTo>
                    <a:pt x="130" y="676"/>
                  </a:lnTo>
                  <a:lnTo>
                    <a:pt x="124" y="674"/>
                  </a:lnTo>
                  <a:lnTo>
                    <a:pt x="115" y="670"/>
                  </a:lnTo>
                  <a:lnTo>
                    <a:pt x="104" y="668"/>
                  </a:lnTo>
                  <a:lnTo>
                    <a:pt x="95" y="667"/>
                  </a:lnTo>
                  <a:lnTo>
                    <a:pt x="87" y="668"/>
                  </a:lnTo>
                  <a:lnTo>
                    <a:pt x="78" y="672"/>
                  </a:lnTo>
                  <a:lnTo>
                    <a:pt x="67" y="675"/>
                  </a:lnTo>
                  <a:lnTo>
                    <a:pt x="52" y="680"/>
                  </a:lnTo>
                  <a:lnTo>
                    <a:pt x="40" y="683"/>
                  </a:lnTo>
                  <a:lnTo>
                    <a:pt x="29" y="681"/>
                  </a:lnTo>
                  <a:lnTo>
                    <a:pt x="21" y="677"/>
                  </a:lnTo>
                  <a:lnTo>
                    <a:pt x="18" y="673"/>
                  </a:lnTo>
                  <a:lnTo>
                    <a:pt x="16" y="669"/>
                  </a:lnTo>
                  <a:lnTo>
                    <a:pt x="10" y="664"/>
                  </a:lnTo>
                  <a:lnTo>
                    <a:pt x="4" y="658"/>
                  </a:lnTo>
                  <a:lnTo>
                    <a:pt x="0" y="652"/>
                  </a:lnTo>
                  <a:lnTo>
                    <a:pt x="0" y="648"/>
                  </a:lnTo>
                  <a:lnTo>
                    <a:pt x="3" y="645"/>
                  </a:lnTo>
                  <a:lnTo>
                    <a:pt x="7" y="642"/>
                  </a:lnTo>
                  <a:lnTo>
                    <a:pt x="12" y="639"/>
                  </a:lnTo>
                  <a:lnTo>
                    <a:pt x="20" y="629"/>
                  </a:lnTo>
                  <a:lnTo>
                    <a:pt x="23" y="629"/>
                  </a:lnTo>
                  <a:lnTo>
                    <a:pt x="28" y="631"/>
                  </a:lnTo>
                  <a:lnTo>
                    <a:pt x="33" y="632"/>
                  </a:lnTo>
                  <a:lnTo>
                    <a:pt x="35" y="630"/>
                  </a:lnTo>
                  <a:lnTo>
                    <a:pt x="35" y="626"/>
                  </a:lnTo>
                  <a:lnTo>
                    <a:pt x="31" y="614"/>
                  </a:lnTo>
                  <a:lnTo>
                    <a:pt x="29" y="609"/>
                  </a:lnTo>
                  <a:lnTo>
                    <a:pt x="28" y="606"/>
                  </a:lnTo>
                  <a:lnTo>
                    <a:pt x="30" y="604"/>
                  </a:lnTo>
                  <a:lnTo>
                    <a:pt x="34" y="603"/>
                  </a:lnTo>
                  <a:lnTo>
                    <a:pt x="39" y="601"/>
                  </a:lnTo>
                  <a:lnTo>
                    <a:pt x="43" y="599"/>
                  </a:lnTo>
                  <a:lnTo>
                    <a:pt x="44" y="597"/>
                  </a:lnTo>
                  <a:lnTo>
                    <a:pt x="45" y="593"/>
                  </a:lnTo>
                  <a:lnTo>
                    <a:pt x="49" y="590"/>
                  </a:lnTo>
                  <a:lnTo>
                    <a:pt x="56" y="587"/>
                  </a:lnTo>
                  <a:lnTo>
                    <a:pt x="64" y="586"/>
                  </a:lnTo>
                  <a:lnTo>
                    <a:pt x="67" y="585"/>
                  </a:lnTo>
                  <a:lnTo>
                    <a:pt x="69" y="585"/>
                  </a:lnTo>
                  <a:lnTo>
                    <a:pt x="70" y="584"/>
                  </a:lnTo>
                  <a:lnTo>
                    <a:pt x="70" y="579"/>
                  </a:lnTo>
                  <a:lnTo>
                    <a:pt x="69" y="577"/>
                  </a:lnTo>
                  <a:lnTo>
                    <a:pt x="69" y="573"/>
                  </a:lnTo>
                  <a:lnTo>
                    <a:pt x="72" y="570"/>
                  </a:lnTo>
                  <a:lnTo>
                    <a:pt x="77" y="569"/>
                  </a:lnTo>
                  <a:lnTo>
                    <a:pt x="90" y="567"/>
                  </a:lnTo>
                  <a:lnTo>
                    <a:pt x="95" y="567"/>
                  </a:lnTo>
                  <a:lnTo>
                    <a:pt x="96" y="566"/>
                  </a:lnTo>
                  <a:lnTo>
                    <a:pt x="92" y="564"/>
                  </a:lnTo>
                  <a:lnTo>
                    <a:pt x="85" y="562"/>
                  </a:lnTo>
                  <a:lnTo>
                    <a:pt x="78" y="560"/>
                  </a:lnTo>
                  <a:lnTo>
                    <a:pt x="71" y="559"/>
                  </a:lnTo>
                  <a:lnTo>
                    <a:pt x="68" y="557"/>
                  </a:lnTo>
                  <a:lnTo>
                    <a:pt x="67" y="554"/>
                  </a:lnTo>
                  <a:lnTo>
                    <a:pt x="71" y="542"/>
                  </a:lnTo>
                  <a:lnTo>
                    <a:pt x="76" y="532"/>
                  </a:lnTo>
                  <a:lnTo>
                    <a:pt x="75" y="527"/>
                  </a:lnTo>
                  <a:lnTo>
                    <a:pt x="69" y="521"/>
                  </a:lnTo>
                  <a:lnTo>
                    <a:pt x="57" y="514"/>
                  </a:lnTo>
                  <a:lnTo>
                    <a:pt x="55" y="511"/>
                  </a:lnTo>
                  <a:lnTo>
                    <a:pt x="55" y="507"/>
                  </a:lnTo>
                  <a:lnTo>
                    <a:pt x="58" y="503"/>
                  </a:lnTo>
                  <a:lnTo>
                    <a:pt x="61" y="500"/>
                  </a:lnTo>
                  <a:lnTo>
                    <a:pt x="65" y="497"/>
                  </a:lnTo>
                  <a:lnTo>
                    <a:pt x="67" y="494"/>
                  </a:lnTo>
                  <a:lnTo>
                    <a:pt x="67" y="489"/>
                  </a:lnTo>
                  <a:lnTo>
                    <a:pt x="66" y="483"/>
                  </a:lnTo>
                  <a:lnTo>
                    <a:pt x="65" y="476"/>
                  </a:lnTo>
                  <a:lnTo>
                    <a:pt x="65" y="470"/>
                  </a:lnTo>
                  <a:lnTo>
                    <a:pt x="66" y="466"/>
                  </a:lnTo>
                  <a:lnTo>
                    <a:pt x="66" y="464"/>
                  </a:lnTo>
                  <a:lnTo>
                    <a:pt x="69" y="461"/>
                  </a:lnTo>
                  <a:lnTo>
                    <a:pt x="73" y="459"/>
                  </a:lnTo>
                  <a:lnTo>
                    <a:pt x="76" y="458"/>
                  </a:lnTo>
                  <a:lnTo>
                    <a:pt x="78" y="457"/>
                  </a:lnTo>
                  <a:lnTo>
                    <a:pt x="81" y="457"/>
                  </a:lnTo>
                  <a:lnTo>
                    <a:pt x="85" y="459"/>
                  </a:lnTo>
                  <a:lnTo>
                    <a:pt x="86" y="461"/>
                  </a:lnTo>
                  <a:lnTo>
                    <a:pt x="87" y="463"/>
                  </a:lnTo>
                  <a:lnTo>
                    <a:pt x="89" y="464"/>
                  </a:lnTo>
                  <a:lnTo>
                    <a:pt x="91" y="463"/>
                  </a:lnTo>
                  <a:lnTo>
                    <a:pt x="93" y="459"/>
                  </a:lnTo>
                  <a:lnTo>
                    <a:pt x="95" y="453"/>
                  </a:lnTo>
                  <a:lnTo>
                    <a:pt x="98" y="447"/>
                  </a:lnTo>
                  <a:lnTo>
                    <a:pt x="105" y="440"/>
                  </a:lnTo>
                  <a:lnTo>
                    <a:pt x="104" y="435"/>
                  </a:lnTo>
                  <a:lnTo>
                    <a:pt x="92" y="417"/>
                  </a:lnTo>
                  <a:lnTo>
                    <a:pt x="91" y="409"/>
                  </a:lnTo>
                  <a:lnTo>
                    <a:pt x="94" y="401"/>
                  </a:lnTo>
                  <a:lnTo>
                    <a:pt x="99" y="392"/>
                  </a:lnTo>
                  <a:lnTo>
                    <a:pt x="106" y="385"/>
                  </a:lnTo>
                  <a:lnTo>
                    <a:pt x="108" y="381"/>
                  </a:lnTo>
                  <a:lnTo>
                    <a:pt x="107" y="374"/>
                  </a:lnTo>
                  <a:lnTo>
                    <a:pt x="105" y="368"/>
                  </a:lnTo>
                  <a:lnTo>
                    <a:pt x="102" y="362"/>
                  </a:lnTo>
                  <a:lnTo>
                    <a:pt x="101" y="358"/>
                  </a:lnTo>
                  <a:lnTo>
                    <a:pt x="103" y="354"/>
                  </a:lnTo>
                  <a:lnTo>
                    <a:pt x="108" y="347"/>
                  </a:lnTo>
                  <a:lnTo>
                    <a:pt x="120" y="331"/>
                  </a:lnTo>
                  <a:lnTo>
                    <a:pt x="127" y="323"/>
                  </a:lnTo>
                  <a:lnTo>
                    <a:pt x="133" y="318"/>
                  </a:lnTo>
                  <a:lnTo>
                    <a:pt x="136" y="315"/>
                  </a:lnTo>
                  <a:lnTo>
                    <a:pt x="139" y="315"/>
                  </a:lnTo>
                  <a:lnTo>
                    <a:pt x="144" y="318"/>
                  </a:lnTo>
                  <a:lnTo>
                    <a:pt x="148" y="322"/>
                  </a:lnTo>
                  <a:lnTo>
                    <a:pt x="153" y="326"/>
                  </a:lnTo>
                  <a:lnTo>
                    <a:pt x="157" y="326"/>
                  </a:lnTo>
                  <a:lnTo>
                    <a:pt x="161" y="322"/>
                  </a:lnTo>
                  <a:lnTo>
                    <a:pt x="165" y="315"/>
                  </a:lnTo>
                  <a:lnTo>
                    <a:pt x="169" y="309"/>
                  </a:lnTo>
                  <a:lnTo>
                    <a:pt x="173" y="304"/>
                  </a:lnTo>
                  <a:lnTo>
                    <a:pt x="178" y="302"/>
                  </a:lnTo>
                  <a:lnTo>
                    <a:pt x="183" y="301"/>
                  </a:lnTo>
                  <a:lnTo>
                    <a:pt x="187" y="300"/>
                  </a:lnTo>
                  <a:lnTo>
                    <a:pt x="189" y="296"/>
                  </a:lnTo>
                  <a:lnTo>
                    <a:pt x="190" y="290"/>
                  </a:lnTo>
                  <a:lnTo>
                    <a:pt x="194" y="283"/>
                  </a:lnTo>
                  <a:lnTo>
                    <a:pt x="199" y="276"/>
                  </a:lnTo>
                  <a:lnTo>
                    <a:pt x="205" y="270"/>
                  </a:lnTo>
                  <a:lnTo>
                    <a:pt x="208" y="263"/>
                  </a:lnTo>
                  <a:lnTo>
                    <a:pt x="208" y="255"/>
                  </a:lnTo>
                  <a:lnTo>
                    <a:pt x="207" y="247"/>
                  </a:lnTo>
                  <a:lnTo>
                    <a:pt x="206" y="238"/>
                  </a:lnTo>
                  <a:lnTo>
                    <a:pt x="208" y="232"/>
                  </a:lnTo>
                  <a:lnTo>
                    <a:pt x="211" y="228"/>
                  </a:lnTo>
                  <a:lnTo>
                    <a:pt x="217" y="228"/>
                  </a:lnTo>
                  <a:lnTo>
                    <a:pt x="225" y="229"/>
                  </a:lnTo>
                  <a:lnTo>
                    <a:pt x="233" y="231"/>
                  </a:lnTo>
                  <a:lnTo>
                    <a:pt x="241" y="232"/>
                  </a:lnTo>
                  <a:lnTo>
                    <a:pt x="246" y="230"/>
                  </a:lnTo>
                  <a:lnTo>
                    <a:pt x="248" y="226"/>
                  </a:lnTo>
                  <a:lnTo>
                    <a:pt x="249" y="220"/>
                  </a:lnTo>
                  <a:lnTo>
                    <a:pt x="251" y="211"/>
                  </a:lnTo>
                  <a:lnTo>
                    <a:pt x="256" y="205"/>
                  </a:lnTo>
                  <a:lnTo>
                    <a:pt x="261" y="200"/>
                  </a:lnTo>
                  <a:lnTo>
                    <a:pt x="262" y="196"/>
                  </a:lnTo>
                  <a:lnTo>
                    <a:pt x="262" y="190"/>
                  </a:lnTo>
                  <a:lnTo>
                    <a:pt x="258" y="174"/>
                  </a:lnTo>
                  <a:lnTo>
                    <a:pt x="255" y="166"/>
                  </a:lnTo>
                  <a:lnTo>
                    <a:pt x="252" y="159"/>
                  </a:lnTo>
                  <a:lnTo>
                    <a:pt x="248" y="156"/>
                  </a:lnTo>
                  <a:lnTo>
                    <a:pt x="244" y="157"/>
                  </a:lnTo>
                  <a:lnTo>
                    <a:pt x="239" y="160"/>
                  </a:lnTo>
                  <a:lnTo>
                    <a:pt x="228" y="171"/>
                  </a:lnTo>
                  <a:lnTo>
                    <a:pt x="226" y="170"/>
                  </a:lnTo>
                  <a:lnTo>
                    <a:pt x="223" y="167"/>
                  </a:lnTo>
                  <a:lnTo>
                    <a:pt x="217" y="157"/>
                  </a:lnTo>
                  <a:lnTo>
                    <a:pt x="217" y="154"/>
                  </a:lnTo>
                  <a:lnTo>
                    <a:pt x="219" y="151"/>
                  </a:lnTo>
                  <a:lnTo>
                    <a:pt x="222" y="146"/>
                  </a:lnTo>
                  <a:lnTo>
                    <a:pt x="228" y="140"/>
                  </a:lnTo>
                  <a:lnTo>
                    <a:pt x="233" y="133"/>
                  </a:lnTo>
                  <a:lnTo>
                    <a:pt x="239" y="127"/>
                  </a:lnTo>
                  <a:lnTo>
                    <a:pt x="243" y="122"/>
                  </a:lnTo>
                  <a:lnTo>
                    <a:pt x="246" y="119"/>
                  </a:lnTo>
                  <a:lnTo>
                    <a:pt x="252" y="117"/>
                  </a:lnTo>
                  <a:lnTo>
                    <a:pt x="262" y="115"/>
                  </a:lnTo>
                  <a:lnTo>
                    <a:pt x="274" y="112"/>
                  </a:lnTo>
                  <a:lnTo>
                    <a:pt x="286" y="111"/>
                  </a:lnTo>
                  <a:lnTo>
                    <a:pt x="295" y="110"/>
                  </a:lnTo>
                  <a:lnTo>
                    <a:pt x="305" y="109"/>
                  </a:lnTo>
                  <a:lnTo>
                    <a:pt x="311" y="107"/>
                  </a:lnTo>
                  <a:lnTo>
                    <a:pt x="314" y="102"/>
                  </a:lnTo>
                  <a:lnTo>
                    <a:pt x="313" y="97"/>
                  </a:lnTo>
                  <a:lnTo>
                    <a:pt x="309" y="90"/>
                  </a:lnTo>
                  <a:lnTo>
                    <a:pt x="306" y="83"/>
                  </a:lnTo>
                  <a:lnTo>
                    <a:pt x="306" y="76"/>
                  </a:lnTo>
                  <a:lnTo>
                    <a:pt x="309" y="70"/>
                  </a:lnTo>
                  <a:lnTo>
                    <a:pt x="314" y="66"/>
                  </a:lnTo>
                  <a:lnTo>
                    <a:pt x="321" y="64"/>
                  </a:lnTo>
                  <a:lnTo>
                    <a:pt x="328" y="63"/>
                  </a:lnTo>
                  <a:lnTo>
                    <a:pt x="337" y="66"/>
                  </a:lnTo>
                  <a:lnTo>
                    <a:pt x="347" y="73"/>
                  </a:lnTo>
                  <a:lnTo>
                    <a:pt x="354" y="83"/>
                  </a:lnTo>
                  <a:lnTo>
                    <a:pt x="358" y="87"/>
                  </a:lnTo>
                  <a:lnTo>
                    <a:pt x="364" y="87"/>
                  </a:lnTo>
                  <a:lnTo>
                    <a:pt x="371" y="86"/>
                  </a:lnTo>
                  <a:lnTo>
                    <a:pt x="378" y="83"/>
                  </a:lnTo>
                  <a:lnTo>
                    <a:pt x="383" y="80"/>
                  </a:lnTo>
                  <a:lnTo>
                    <a:pt x="388" y="76"/>
                  </a:lnTo>
                  <a:lnTo>
                    <a:pt x="396" y="70"/>
                  </a:lnTo>
                  <a:lnTo>
                    <a:pt x="414" y="54"/>
                  </a:lnTo>
                  <a:lnTo>
                    <a:pt x="420" y="45"/>
                  </a:lnTo>
                  <a:lnTo>
                    <a:pt x="423" y="38"/>
                  </a:lnTo>
                  <a:lnTo>
                    <a:pt x="422" y="30"/>
                  </a:lnTo>
                  <a:lnTo>
                    <a:pt x="421" y="24"/>
                  </a:lnTo>
                  <a:lnTo>
                    <a:pt x="421" y="20"/>
                  </a:lnTo>
                  <a:lnTo>
                    <a:pt x="425" y="17"/>
                  </a:lnTo>
                  <a:lnTo>
                    <a:pt x="427" y="16"/>
                  </a:lnTo>
                  <a:lnTo>
                    <a:pt x="429" y="14"/>
                  </a:lnTo>
                  <a:lnTo>
                    <a:pt x="430" y="11"/>
                  </a:lnTo>
                  <a:lnTo>
                    <a:pt x="430" y="8"/>
                  </a:lnTo>
                  <a:lnTo>
                    <a:pt x="440" y="6"/>
                  </a:lnTo>
                  <a:lnTo>
                    <a:pt x="458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8">
              <a:extLst>
                <a:ext uri="{FF2B5EF4-FFF2-40B4-BE49-F238E27FC236}">
                  <a16:creationId xmlns:a16="http://schemas.microsoft.com/office/drawing/2014/main" id="{68A4231D-61FB-416E-A49E-7F371FC53AE0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4013" y="3436938"/>
              <a:ext cx="1265238" cy="987425"/>
            </a:xfrm>
            <a:custGeom>
              <a:avLst/>
              <a:gdLst/>
              <a:ahLst/>
              <a:cxnLst>
                <a:cxn ang="0">
                  <a:pos x="273" y="14"/>
                </a:cxn>
                <a:cxn ang="0">
                  <a:pos x="320" y="56"/>
                </a:cxn>
                <a:cxn ang="0">
                  <a:pos x="320" y="95"/>
                </a:cxn>
                <a:cxn ang="0">
                  <a:pos x="340" y="114"/>
                </a:cxn>
                <a:cxn ang="0">
                  <a:pos x="409" y="117"/>
                </a:cxn>
                <a:cxn ang="0">
                  <a:pos x="503" y="108"/>
                </a:cxn>
                <a:cxn ang="0">
                  <a:pos x="538" y="88"/>
                </a:cxn>
                <a:cxn ang="0">
                  <a:pos x="572" y="36"/>
                </a:cxn>
                <a:cxn ang="0">
                  <a:pos x="609" y="51"/>
                </a:cxn>
                <a:cxn ang="0">
                  <a:pos x="677" y="23"/>
                </a:cxn>
                <a:cxn ang="0">
                  <a:pos x="698" y="15"/>
                </a:cxn>
                <a:cxn ang="0">
                  <a:pos x="708" y="25"/>
                </a:cxn>
                <a:cxn ang="0">
                  <a:pos x="774" y="65"/>
                </a:cxn>
                <a:cxn ang="0">
                  <a:pos x="795" y="153"/>
                </a:cxn>
                <a:cxn ang="0">
                  <a:pos x="766" y="274"/>
                </a:cxn>
                <a:cxn ang="0">
                  <a:pos x="730" y="325"/>
                </a:cxn>
                <a:cxn ang="0">
                  <a:pos x="703" y="290"/>
                </a:cxn>
                <a:cxn ang="0">
                  <a:pos x="682" y="276"/>
                </a:cxn>
                <a:cxn ang="0">
                  <a:pos x="660" y="238"/>
                </a:cxn>
                <a:cxn ang="0">
                  <a:pos x="622" y="244"/>
                </a:cxn>
                <a:cxn ang="0">
                  <a:pos x="604" y="262"/>
                </a:cxn>
                <a:cxn ang="0">
                  <a:pos x="624" y="264"/>
                </a:cxn>
                <a:cxn ang="0">
                  <a:pos x="637" y="299"/>
                </a:cxn>
                <a:cxn ang="0">
                  <a:pos x="580" y="326"/>
                </a:cxn>
                <a:cxn ang="0">
                  <a:pos x="515" y="357"/>
                </a:cxn>
                <a:cxn ang="0">
                  <a:pos x="445" y="382"/>
                </a:cxn>
                <a:cxn ang="0">
                  <a:pos x="406" y="425"/>
                </a:cxn>
                <a:cxn ang="0">
                  <a:pos x="364" y="436"/>
                </a:cxn>
                <a:cxn ang="0">
                  <a:pos x="335" y="476"/>
                </a:cxn>
                <a:cxn ang="0">
                  <a:pos x="285" y="506"/>
                </a:cxn>
                <a:cxn ang="0">
                  <a:pos x="233" y="503"/>
                </a:cxn>
                <a:cxn ang="0">
                  <a:pos x="196" y="524"/>
                </a:cxn>
                <a:cxn ang="0">
                  <a:pos x="146" y="546"/>
                </a:cxn>
                <a:cxn ang="0">
                  <a:pos x="112" y="601"/>
                </a:cxn>
                <a:cxn ang="0">
                  <a:pos x="102" y="617"/>
                </a:cxn>
                <a:cxn ang="0">
                  <a:pos x="91" y="582"/>
                </a:cxn>
                <a:cxn ang="0">
                  <a:pos x="63" y="557"/>
                </a:cxn>
                <a:cxn ang="0">
                  <a:pos x="17" y="545"/>
                </a:cxn>
                <a:cxn ang="0">
                  <a:pos x="6" y="484"/>
                </a:cxn>
                <a:cxn ang="0">
                  <a:pos x="28" y="473"/>
                </a:cxn>
                <a:cxn ang="0">
                  <a:pos x="49" y="461"/>
                </a:cxn>
                <a:cxn ang="0">
                  <a:pos x="74" y="432"/>
                </a:cxn>
                <a:cxn ang="0">
                  <a:pos x="98" y="409"/>
                </a:cxn>
                <a:cxn ang="0">
                  <a:pos x="90" y="368"/>
                </a:cxn>
                <a:cxn ang="0">
                  <a:pos x="116" y="353"/>
                </a:cxn>
                <a:cxn ang="0">
                  <a:pos x="158" y="327"/>
                </a:cxn>
                <a:cxn ang="0">
                  <a:pos x="183" y="300"/>
                </a:cxn>
                <a:cxn ang="0">
                  <a:pos x="148" y="272"/>
                </a:cxn>
                <a:cxn ang="0">
                  <a:pos x="105" y="244"/>
                </a:cxn>
                <a:cxn ang="0">
                  <a:pos x="68" y="237"/>
                </a:cxn>
                <a:cxn ang="0">
                  <a:pos x="48" y="160"/>
                </a:cxn>
                <a:cxn ang="0">
                  <a:pos x="58" y="115"/>
                </a:cxn>
                <a:cxn ang="0">
                  <a:pos x="71" y="55"/>
                </a:cxn>
                <a:cxn ang="0">
                  <a:pos x="138" y="32"/>
                </a:cxn>
                <a:cxn ang="0">
                  <a:pos x="199" y="12"/>
                </a:cxn>
                <a:cxn ang="0">
                  <a:pos x="237" y="0"/>
                </a:cxn>
              </a:cxnLst>
              <a:rect l="0" t="0" r="r" b="b"/>
              <a:pathLst>
                <a:path w="797" h="622">
                  <a:moveTo>
                    <a:pt x="237" y="0"/>
                  </a:moveTo>
                  <a:lnTo>
                    <a:pt x="243" y="2"/>
                  </a:lnTo>
                  <a:lnTo>
                    <a:pt x="249" y="5"/>
                  </a:lnTo>
                  <a:lnTo>
                    <a:pt x="252" y="9"/>
                  </a:lnTo>
                  <a:lnTo>
                    <a:pt x="256" y="12"/>
                  </a:lnTo>
                  <a:lnTo>
                    <a:pt x="260" y="13"/>
                  </a:lnTo>
                  <a:lnTo>
                    <a:pt x="266" y="13"/>
                  </a:lnTo>
                  <a:lnTo>
                    <a:pt x="273" y="14"/>
                  </a:lnTo>
                  <a:lnTo>
                    <a:pt x="279" y="19"/>
                  </a:lnTo>
                  <a:lnTo>
                    <a:pt x="285" y="25"/>
                  </a:lnTo>
                  <a:lnTo>
                    <a:pt x="292" y="31"/>
                  </a:lnTo>
                  <a:lnTo>
                    <a:pt x="298" y="34"/>
                  </a:lnTo>
                  <a:lnTo>
                    <a:pt x="306" y="36"/>
                  </a:lnTo>
                  <a:lnTo>
                    <a:pt x="312" y="42"/>
                  </a:lnTo>
                  <a:lnTo>
                    <a:pt x="317" y="48"/>
                  </a:lnTo>
                  <a:lnTo>
                    <a:pt x="320" y="56"/>
                  </a:lnTo>
                  <a:lnTo>
                    <a:pt x="322" y="64"/>
                  </a:lnTo>
                  <a:lnTo>
                    <a:pt x="323" y="70"/>
                  </a:lnTo>
                  <a:lnTo>
                    <a:pt x="320" y="75"/>
                  </a:lnTo>
                  <a:lnTo>
                    <a:pt x="318" y="78"/>
                  </a:lnTo>
                  <a:lnTo>
                    <a:pt x="319" y="82"/>
                  </a:lnTo>
                  <a:lnTo>
                    <a:pt x="321" y="86"/>
                  </a:lnTo>
                  <a:lnTo>
                    <a:pt x="322" y="91"/>
                  </a:lnTo>
                  <a:lnTo>
                    <a:pt x="320" y="95"/>
                  </a:lnTo>
                  <a:lnTo>
                    <a:pt x="317" y="99"/>
                  </a:lnTo>
                  <a:lnTo>
                    <a:pt x="315" y="104"/>
                  </a:lnTo>
                  <a:lnTo>
                    <a:pt x="314" y="109"/>
                  </a:lnTo>
                  <a:lnTo>
                    <a:pt x="315" y="112"/>
                  </a:lnTo>
                  <a:lnTo>
                    <a:pt x="318" y="113"/>
                  </a:lnTo>
                  <a:lnTo>
                    <a:pt x="328" y="111"/>
                  </a:lnTo>
                  <a:lnTo>
                    <a:pt x="333" y="112"/>
                  </a:lnTo>
                  <a:lnTo>
                    <a:pt x="340" y="114"/>
                  </a:lnTo>
                  <a:lnTo>
                    <a:pt x="348" y="114"/>
                  </a:lnTo>
                  <a:lnTo>
                    <a:pt x="355" y="109"/>
                  </a:lnTo>
                  <a:lnTo>
                    <a:pt x="363" y="104"/>
                  </a:lnTo>
                  <a:lnTo>
                    <a:pt x="371" y="100"/>
                  </a:lnTo>
                  <a:lnTo>
                    <a:pt x="377" y="100"/>
                  </a:lnTo>
                  <a:lnTo>
                    <a:pt x="385" y="105"/>
                  </a:lnTo>
                  <a:lnTo>
                    <a:pt x="396" y="111"/>
                  </a:lnTo>
                  <a:lnTo>
                    <a:pt x="409" y="117"/>
                  </a:lnTo>
                  <a:lnTo>
                    <a:pt x="422" y="121"/>
                  </a:lnTo>
                  <a:lnTo>
                    <a:pt x="435" y="123"/>
                  </a:lnTo>
                  <a:lnTo>
                    <a:pt x="445" y="122"/>
                  </a:lnTo>
                  <a:lnTo>
                    <a:pt x="457" y="120"/>
                  </a:lnTo>
                  <a:lnTo>
                    <a:pt x="470" y="117"/>
                  </a:lnTo>
                  <a:lnTo>
                    <a:pt x="483" y="113"/>
                  </a:lnTo>
                  <a:lnTo>
                    <a:pt x="494" y="110"/>
                  </a:lnTo>
                  <a:lnTo>
                    <a:pt x="503" y="108"/>
                  </a:lnTo>
                  <a:lnTo>
                    <a:pt x="509" y="108"/>
                  </a:lnTo>
                  <a:lnTo>
                    <a:pt x="514" y="111"/>
                  </a:lnTo>
                  <a:lnTo>
                    <a:pt x="525" y="121"/>
                  </a:lnTo>
                  <a:lnTo>
                    <a:pt x="528" y="122"/>
                  </a:lnTo>
                  <a:lnTo>
                    <a:pt x="531" y="119"/>
                  </a:lnTo>
                  <a:lnTo>
                    <a:pt x="534" y="111"/>
                  </a:lnTo>
                  <a:lnTo>
                    <a:pt x="536" y="100"/>
                  </a:lnTo>
                  <a:lnTo>
                    <a:pt x="538" y="88"/>
                  </a:lnTo>
                  <a:lnTo>
                    <a:pt x="540" y="77"/>
                  </a:lnTo>
                  <a:lnTo>
                    <a:pt x="542" y="69"/>
                  </a:lnTo>
                  <a:lnTo>
                    <a:pt x="545" y="65"/>
                  </a:lnTo>
                  <a:lnTo>
                    <a:pt x="549" y="61"/>
                  </a:lnTo>
                  <a:lnTo>
                    <a:pt x="554" y="53"/>
                  </a:lnTo>
                  <a:lnTo>
                    <a:pt x="560" y="45"/>
                  </a:lnTo>
                  <a:lnTo>
                    <a:pt x="566" y="39"/>
                  </a:lnTo>
                  <a:lnTo>
                    <a:pt x="572" y="36"/>
                  </a:lnTo>
                  <a:lnTo>
                    <a:pt x="581" y="37"/>
                  </a:lnTo>
                  <a:lnTo>
                    <a:pt x="592" y="38"/>
                  </a:lnTo>
                  <a:lnTo>
                    <a:pt x="601" y="41"/>
                  </a:lnTo>
                  <a:lnTo>
                    <a:pt x="607" y="45"/>
                  </a:lnTo>
                  <a:lnTo>
                    <a:pt x="608" y="46"/>
                  </a:lnTo>
                  <a:lnTo>
                    <a:pt x="608" y="48"/>
                  </a:lnTo>
                  <a:lnTo>
                    <a:pt x="609" y="49"/>
                  </a:lnTo>
                  <a:lnTo>
                    <a:pt x="609" y="51"/>
                  </a:lnTo>
                  <a:lnTo>
                    <a:pt x="611" y="51"/>
                  </a:lnTo>
                  <a:lnTo>
                    <a:pt x="612" y="50"/>
                  </a:lnTo>
                  <a:lnTo>
                    <a:pt x="618" y="46"/>
                  </a:lnTo>
                  <a:lnTo>
                    <a:pt x="625" y="42"/>
                  </a:lnTo>
                  <a:lnTo>
                    <a:pt x="637" y="37"/>
                  </a:lnTo>
                  <a:lnTo>
                    <a:pt x="650" y="33"/>
                  </a:lnTo>
                  <a:lnTo>
                    <a:pt x="662" y="29"/>
                  </a:lnTo>
                  <a:lnTo>
                    <a:pt x="677" y="23"/>
                  </a:lnTo>
                  <a:lnTo>
                    <a:pt x="680" y="23"/>
                  </a:lnTo>
                  <a:lnTo>
                    <a:pt x="683" y="25"/>
                  </a:lnTo>
                  <a:lnTo>
                    <a:pt x="687" y="29"/>
                  </a:lnTo>
                  <a:lnTo>
                    <a:pt x="690" y="30"/>
                  </a:lnTo>
                  <a:lnTo>
                    <a:pt x="693" y="28"/>
                  </a:lnTo>
                  <a:lnTo>
                    <a:pt x="695" y="23"/>
                  </a:lnTo>
                  <a:lnTo>
                    <a:pt x="696" y="18"/>
                  </a:lnTo>
                  <a:lnTo>
                    <a:pt x="698" y="15"/>
                  </a:lnTo>
                  <a:lnTo>
                    <a:pt x="702" y="12"/>
                  </a:lnTo>
                  <a:lnTo>
                    <a:pt x="704" y="11"/>
                  </a:lnTo>
                  <a:lnTo>
                    <a:pt x="709" y="11"/>
                  </a:lnTo>
                  <a:lnTo>
                    <a:pt x="712" y="10"/>
                  </a:lnTo>
                  <a:lnTo>
                    <a:pt x="711" y="14"/>
                  </a:lnTo>
                  <a:lnTo>
                    <a:pt x="709" y="17"/>
                  </a:lnTo>
                  <a:lnTo>
                    <a:pt x="708" y="21"/>
                  </a:lnTo>
                  <a:lnTo>
                    <a:pt x="708" y="25"/>
                  </a:lnTo>
                  <a:lnTo>
                    <a:pt x="712" y="30"/>
                  </a:lnTo>
                  <a:lnTo>
                    <a:pt x="720" y="35"/>
                  </a:lnTo>
                  <a:lnTo>
                    <a:pt x="732" y="41"/>
                  </a:lnTo>
                  <a:lnTo>
                    <a:pt x="745" y="46"/>
                  </a:lnTo>
                  <a:lnTo>
                    <a:pt x="756" y="51"/>
                  </a:lnTo>
                  <a:lnTo>
                    <a:pt x="766" y="55"/>
                  </a:lnTo>
                  <a:lnTo>
                    <a:pt x="771" y="59"/>
                  </a:lnTo>
                  <a:lnTo>
                    <a:pt x="774" y="65"/>
                  </a:lnTo>
                  <a:lnTo>
                    <a:pt x="776" y="73"/>
                  </a:lnTo>
                  <a:lnTo>
                    <a:pt x="776" y="94"/>
                  </a:lnTo>
                  <a:lnTo>
                    <a:pt x="779" y="105"/>
                  </a:lnTo>
                  <a:lnTo>
                    <a:pt x="785" y="116"/>
                  </a:lnTo>
                  <a:lnTo>
                    <a:pt x="791" y="125"/>
                  </a:lnTo>
                  <a:lnTo>
                    <a:pt x="796" y="135"/>
                  </a:lnTo>
                  <a:lnTo>
                    <a:pt x="797" y="142"/>
                  </a:lnTo>
                  <a:lnTo>
                    <a:pt x="795" y="153"/>
                  </a:lnTo>
                  <a:lnTo>
                    <a:pt x="792" y="165"/>
                  </a:lnTo>
                  <a:lnTo>
                    <a:pt x="788" y="178"/>
                  </a:lnTo>
                  <a:lnTo>
                    <a:pt x="785" y="190"/>
                  </a:lnTo>
                  <a:lnTo>
                    <a:pt x="782" y="201"/>
                  </a:lnTo>
                  <a:lnTo>
                    <a:pt x="780" y="219"/>
                  </a:lnTo>
                  <a:lnTo>
                    <a:pt x="778" y="232"/>
                  </a:lnTo>
                  <a:lnTo>
                    <a:pt x="770" y="261"/>
                  </a:lnTo>
                  <a:lnTo>
                    <a:pt x="766" y="274"/>
                  </a:lnTo>
                  <a:lnTo>
                    <a:pt x="761" y="285"/>
                  </a:lnTo>
                  <a:lnTo>
                    <a:pt x="753" y="297"/>
                  </a:lnTo>
                  <a:lnTo>
                    <a:pt x="751" y="303"/>
                  </a:lnTo>
                  <a:lnTo>
                    <a:pt x="750" y="311"/>
                  </a:lnTo>
                  <a:lnTo>
                    <a:pt x="747" y="321"/>
                  </a:lnTo>
                  <a:lnTo>
                    <a:pt x="743" y="325"/>
                  </a:lnTo>
                  <a:lnTo>
                    <a:pt x="737" y="326"/>
                  </a:lnTo>
                  <a:lnTo>
                    <a:pt x="730" y="325"/>
                  </a:lnTo>
                  <a:lnTo>
                    <a:pt x="722" y="323"/>
                  </a:lnTo>
                  <a:lnTo>
                    <a:pt x="706" y="317"/>
                  </a:lnTo>
                  <a:lnTo>
                    <a:pt x="699" y="314"/>
                  </a:lnTo>
                  <a:lnTo>
                    <a:pt x="695" y="310"/>
                  </a:lnTo>
                  <a:lnTo>
                    <a:pt x="694" y="305"/>
                  </a:lnTo>
                  <a:lnTo>
                    <a:pt x="696" y="300"/>
                  </a:lnTo>
                  <a:lnTo>
                    <a:pt x="700" y="295"/>
                  </a:lnTo>
                  <a:lnTo>
                    <a:pt x="703" y="290"/>
                  </a:lnTo>
                  <a:lnTo>
                    <a:pt x="705" y="286"/>
                  </a:lnTo>
                  <a:lnTo>
                    <a:pt x="705" y="284"/>
                  </a:lnTo>
                  <a:lnTo>
                    <a:pt x="702" y="285"/>
                  </a:lnTo>
                  <a:lnTo>
                    <a:pt x="697" y="285"/>
                  </a:lnTo>
                  <a:lnTo>
                    <a:pt x="692" y="286"/>
                  </a:lnTo>
                  <a:lnTo>
                    <a:pt x="686" y="284"/>
                  </a:lnTo>
                  <a:lnTo>
                    <a:pt x="683" y="280"/>
                  </a:lnTo>
                  <a:lnTo>
                    <a:pt x="682" y="276"/>
                  </a:lnTo>
                  <a:lnTo>
                    <a:pt x="684" y="271"/>
                  </a:lnTo>
                  <a:lnTo>
                    <a:pt x="686" y="267"/>
                  </a:lnTo>
                  <a:lnTo>
                    <a:pt x="687" y="263"/>
                  </a:lnTo>
                  <a:lnTo>
                    <a:pt x="686" y="258"/>
                  </a:lnTo>
                  <a:lnTo>
                    <a:pt x="681" y="255"/>
                  </a:lnTo>
                  <a:lnTo>
                    <a:pt x="674" y="249"/>
                  </a:lnTo>
                  <a:lnTo>
                    <a:pt x="665" y="242"/>
                  </a:lnTo>
                  <a:lnTo>
                    <a:pt x="660" y="238"/>
                  </a:lnTo>
                  <a:lnTo>
                    <a:pt x="656" y="238"/>
                  </a:lnTo>
                  <a:lnTo>
                    <a:pt x="650" y="241"/>
                  </a:lnTo>
                  <a:lnTo>
                    <a:pt x="646" y="244"/>
                  </a:lnTo>
                  <a:lnTo>
                    <a:pt x="639" y="247"/>
                  </a:lnTo>
                  <a:lnTo>
                    <a:pt x="632" y="249"/>
                  </a:lnTo>
                  <a:lnTo>
                    <a:pt x="627" y="248"/>
                  </a:lnTo>
                  <a:lnTo>
                    <a:pt x="625" y="246"/>
                  </a:lnTo>
                  <a:lnTo>
                    <a:pt x="622" y="244"/>
                  </a:lnTo>
                  <a:lnTo>
                    <a:pt x="617" y="241"/>
                  </a:lnTo>
                  <a:lnTo>
                    <a:pt x="611" y="241"/>
                  </a:lnTo>
                  <a:lnTo>
                    <a:pt x="607" y="244"/>
                  </a:lnTo>
                  <a:lnTo>
                    <a:pt x="605" y="248"/>
                  </a:lnTo>
                  <a:lnTo>
                    <a:pt x="604" y="254"/>
                  </a:lnTo>
                  <a:lnTo>
                    <a:pt x="603" y="258"/>
                  </a:lnTo>
                  <a:lnTo>
                    <a:pt x="603" y="260"/>
                  </a:lnTo>
                  <a:lnTo>
                    <a:pt x="604" y="262"/>
                  </a:lnTo>
                  <a:lnTo>
                    <a:pt x="605" y="263"/>
                  </a:lnTo>
                  <a:lnTo>
                    <a:pt x="610" y="263"/>
                  </a:lnTo>
                  <a:lnTo>
                    <a:pt x="613" y="262"/>
                  </a:lnTo>
                  <a:lnTo>
                    <a:pt x="615" y="262"/>
                  </a:lnTo>
                  <a:lnTo>
                    <a:pt x="618" y="261"/>
                  </a:lnTo>
                  <a:lnTo>
                    <a:pt x="622" y="261"/>
                  </a:lnTo>
                  <a:lnTo>
                    <a:pt x="623" y="262"/>
                  </a:lnTo>
                  <a:lnTo>
                    <a:pt x="624" y="264"/>
                  </a:lnTo>
                  <a:lnTo>
                    <a:pt x="624" y="274"/>
                  </a:lnTo>
                  <a:lnTo>
                    <a:pt x="625" y="278"/>
                  </a:lnTo>
                  <a:lnTo>
                    <a:pt x="626" y="279"/>
                  </a:lnTo>
                  <a:lnTo>
                    <a:pt x="629" y="280"/>
                  </a:lnTo>
                  <a:lnTo>
                    <a:pt x="632" y="282"/>
                  </a:lnTo>
                  <a:lnTo>
                    <a:pt x="635" y="285"/>
                  </a:lnTo>
                  <a:lnTo>
                    <a:pt x="637" y="292"/>
                  </a:lnTo>
                  <a:lnTo>
                    <a:pt x="637" y="299"/>
                  </a:lnTo>
                  <a:lnTo>
                    <a:pt x="634" y="303"/>
                  </a:lnTo>
                  <a:lnTo>
                    <a:pt x="630" y="305"/>
                  </a:lnTo>
                  <a:lnTo>
                    <a:pt x="625" y="307"/>
                  </a:lnTo>
                  <a:lnTo>
                    <a:pt x="618" y="308"/>
                  </a:lnTo>
                  <a:lnTo>
                    <a:pt x="610" y="309"/>
                  </a:lnTo>
                  <a:lnTo>
                    <a:pt x="600" y="313"/>
                  </a:lnTo>
                  <a:lnTo>
                    <a:pt x="590" y="319"/>
                  </a:lnTo>
                  <a:lnTo>
                    <a:pt x="580" y="326"/>
                  </a:lnTo>
                  <a:lnTo>
                    <a:pt x="570" y="334"/>
                  </a:lnTo>
                  <a:lnTo>
                    <a:pt x="560" y="339"/>
                  </a:lnTo>
                  <a:lnTo>
                    <a:pt x="550" y="342"/>
                  </a:lnTo>
                  <a:lnTo>
                    <a:pt x="539" y="344"/>
                  </a:lnTo>
                  <a:lnTo>
                    <a:pt x="529" y="345"/>
                  </a:lnTo>
                  <a:lnTo>
                    <a:pt x="522" y="347"/>
                  </a:lnTo>
                  <a:lnTo>
                    <a:pt x="517" y="351"/>
                  </a:lnTo>
                  <a:lnTo>
                    <a:pt x="515" y="357"/>
                  </a:lnTo>
                  <a:lnTo>
                    <a:pt x="512" y="363"/>
                  </a:lnTo>
                  <a:lnTo>
                    <a:pt x="508" y="370"/>
                  </a:lnTo>
                  <a:lnTo>
                    <a:pt x="502" y="375"/>
                  </a:lnTo>
                  <a:lnTo>
                    <a:pt x="494" y="378"/>
                  </a:lnTo>
                  <a:lnTo>
                    <a:pt x="483" y="380"/>
                  </a:lnTo>
                  <a:lnTo>
                    <a:pt x="470" y="380"/>
                  </a:lnTo>
                  <a:lnTo>
                    <a:pt x="458" y="381"/>
                  </a:lnTo>
                  <a:lnTo>
                    <a:pt x="445" y="382"/>
                  </a:lnTo>
                  <a:lnTo>
                    <a:pt x="436" y="383"/>
                  </a:lnTo>
                  <a:lnTo>
                    <a:pt x="428" y="385"/>
                  </a:lnTo>
                  <a:lnTo>
                    <a:pt x="421" y="387"/>
                  </a:lnTo>
                  <a:lnTo>
                    <a:pt x="417" y="390"/>
                  </a:lnTo>
                  <a:lnTo>
                    <a:pt x="415" y="396"/>
                  </a:lnTo>
                  <a:lnTo>
                    <a:pt x="413" y="412"/>
                  </a:lnTo>
                  <a:lnTo>
                    <a:pt x="410" y="420"/>
                  </a:lnTo>
                  <a:lnTo>
                    <a:pt x="406" y="425"/>
                  </a:lnTo>
                  <a:lnTo>
                    <a:pt x="400" y="428"/>
                  </a:lnTo>
                  <a:lnTo>
                    <a:pt x="396" y="427"/>
                  </a:lnTo>
                  <a:lnTo>
                    <a:pt x="390" y="419"/>
                  </a:lnTo>
                  <a:lnTo>
                    <a:pt x="387" y="414"/>
                  </a:lnTo>
                  <a:lnTo>
                    <a:pt x="383" y="413"/>
                  </a:lnTo>
                  <a:lnTo>
                    <a:pt x="379" y="417"/>
                  </a:lnTo>
                  <a:lnTo>
                    <a:pt x="370" y="431"/>
                  </a:lnTo>
                  <a:lnTo>
                    <a:pt x="364" y="436"/>
                  </a:lnTo>
                  <a:lnTo>
                    <a:pt x="359" y="439"/>
                  </a:lnTo>
                  <a:lnTo>
                    <a:pt x="352" y="439"/>
                  </a:lnTo>
                  <a:lnTo>
                    <a:pt x="347" y="440"/>
                  </a:lnTo>
                  <a:lnTo>
                    <a:pt x="343" y="443"/>
                  </a:lnTo>
                  <a:lnTo>
                    <a:pt x="341" y="449"/>
                  </a:lnTo>
                  <a:lnTo>
                    <a:pt x="341" y="456"/>
                  </a:lnTo>
                  <a:lnTo>
                    <a:pt x="339" y="472"/>
                  </a:lnTo>
                  <a:lnTo>
                    <a:pt x="335" y="476"/>
                  </a:lnTo>
                  <a:lnTo>
                    <a:pt x="328" y="479"/>
                  </a:lnTo>
                  <a:lnTo>
                    <a:pt x="319" y="480"/>
                  </a:lnTo>
                  <a:lnTo>
                    <a:pt x="309" y="481"/>
                  </a:lnTo>
                  <a:lnTo>
                    <a:pt x="301" y="483"/>
                  </a:lnTo>
                  <a:lnTo>
                    <a:pt x="294" y="485"/>
                  </a:lnTo>
                  <a:lnTo>
                    <a:pt x="289" y="491"/>
                  </a:lnTo>
                  <a:lnTo>
                    <a:pt x="287" y="498"/>
                  </a:lnTo>
                  <a:lnTo>
                    <a:pt x="285" y="506"/>
                  </a:lnTo>
                  <a:lnTo>
                    <a:pt x="283" y="513"/>
                  </a:lnTo>
                  <a:lnTo>
                    <a:pt x="279" y="518"/>
                  </a:lnTo>
                  <a:lnTo>
                    <a:pt x="274" y="519"/>
                  </a:lnTo>
                  <a:lnTo>
                    <a:pt x="269" y="516"/>
                  </a:lnTo>
                  <a:lnTo>
                    <a:pt x="263" y="512"/>
                  </a:lnTo>
                  <a:lnTo>
                    <a:pt x="255" y="508"/>
                  </a:lnTo>
                  <a:lnTo>
                    <a:pt x="246" y="504"/>
                  </a:lnTo>
                  <a:lnTo>
                    <a:pt x="233" y="503"/>
                  </a:lnTo>
                  <a:lnTo>
                    <a:pt x="223" y="503"/>
                  </a:lnTo>
                  <a:lnTo>
                    <a:pt x="217" y="505"/>
                  </a:lnTo>
                  <a:lnTo>
                    <a:pt x="214" y="508"/>
                  </a:lnTo>
                  <a:lnTo>
                    <a:pt x="212" y="512"/>
                  </a:lnTo>
                  <a:lnTo>
                    <a:pt x="210" y="520"/>
                  </a:lnTo>
                  <a:lnTo>
                    <a:pt x="208" y="523"/>
                  </a:lnTo>
                  <a:lnTo>
                    <a:pt x="202" y="525"/>
                  </a:lnTo>
                  <a:lnTo>
                    <a:pt x="196" y="524"/>
                  </a:lnTo>
                  <a:lnTo>
                    <a:pt x="189" y="522"/>
                  </a:lnTo>
                  <a:lnTo>
                    <a:pt x="183" y="522"/>
                  </a:lnTo>
                  <a:lnTo>
                    <a:pt x="178" y="523"/>
                  </a:lnTo>
                  <a:lnTo>
                    <a:pt x="171" y="524"/>
                  </a:lnTo>
                  <a:lnTo>
                    <a:pt x="164" y="526"/>
                  </a:lnTo>
                  <a:lnTo>
                    <a:pt x="157" y="531"/>
                  </a:lnTo>
                  <a:lnTo>
                    <a:pt x="152" y="537"/>
                  </a:lnTo>
                  <a:lnTo>
                    <a:pt x="146" y="546"/>
                  </a:lnTo>
                  <a:lnTo>
                    <a:pt x="140" y="553"/>
                  </a:lnTo>
                  <a:lnTo>
                    <a:pt x="133" y="557"/>
                  </a:lnTo>
                  <a:lnTo>
                    <a:pt x="128" y="562"/>
                  </a:lnTo>
                  <a:lnTo>
                    <a:pt x="124" y="571"/>
                  </a:lnTo>
                  <a:lnTo>
                    <a:pt x="120" y="581"/>
                  </a:lnTo>
                  <a:lnTo>
                    <a:pt x="115" y="589"/>
                  </a:lnTo>
                  <a:lnTo>
                    <a:pt x="112" y="594"/>
                  </a:lnTo>
                  <a:lnTo>
                    <a:pt x="112" y="601"/>
                  </a:lnTo>
                  <a:lnTo>
                    <a:pt x="113" y="608"/>
                  </a:lnTo>
                  <a:lnTo>
                    <a:pt x="112" y="617"/>
                  </a:lnTo>
                  <a:lnTo>
                    <a:pt x="110" y="620"/>
                  </a:lnTo>
                  <a:lnTo>
                    <a:pt x="108" y="622"/>
                  </a:lnTo>
                  <a:lnTo>
                    <a:pt x="107" y="622"/>
                  </a:lnTo>
                  <a:lnTo>
                    <a:pt x="105" y="621"/>
                  </a:lnTo>
                  <a:lnTo>
                    <a:pt x="104" y="620"/>
                  </a:lnTo>
                  <a:lnTo>
                    <a:pt x="102" y="617"/>
                  </a:lnTo>
                  <a:lnTo>
                    <a:pt x="101" y="614"/>
                  </a:lnTo>
                  <a:lnTo>
                    <a:pt x="101" y="607"/>
                  </a:lnTo>
                  <a:lnTo>
                    <a:pt x="100" y="600"/>
                  </a:lnTo>
                  <a:lnTo>
                    <a:pt x="97" y="595"/>
                  </a:lnTo>
                  <a:lnTo>
                    <a:pt x="93" y="591"/>
                  </a:lnTo>
                  <a:lnTo>
                    <a:pt x="92" y="586"/>
                  </a:lnTo>
                  <a:lnTo>
                    <a:pt x="92" y="582"/>
                  </a:lnTo>
                  <a:lnTo>
                    <a:pt x="91" y="582"/>
                  </a:lnTo>
                  <a:lnTo>
                    <a:pt x="90" y="581"/>
                  </a:lnTo>
                  <a:lnTo>
                    <a:pt x="80" y="581"/>
                  </a:lnTo>
                  <a:lnTo>
                    <a:pt x="77" y="579"/>
                  </a:lnTo>
                  <a:lnTo>
                    <a:pt x="76" y="575"/>
                  </a:lnTo>
                  <a:lnTo>
                    <a:pt x="76" y="570"/>
                  </a:lnTo>
                  <a:lnTo>
                    <a:pt x="74" y="565"/>
                  </a:lnTo>
                  <a:lnTo>
                    <a:pt x="70" y="560"/>
                  </a:lnTo>
                  <a:lnTo>
                    <a:pt x="63" y="557"/>
                  </a:lnTo>
                  <a:lnTo>
                    <a:pt x="55" y="557"/>
                  </a:lnTo>
                  <a:lnTo>
                    <a:pt x="55" y="561"/>
                  </a:lnTo>
                  <a:lnTo>
                    <a:pt x="57" y="563"/>
                  </a:lnTo>
                  <a:lnTo>
                    <a:pt x="58" y="565"/>
                  </a:lnTo>
                  <a:lnTo>
                    <a:pt x="43" y="562"/>
                  </a:lnTo>
                  <a:lnTo>
                    <a:pt x="31" y="557"/>
                  </a:lnTo>
                  <a:lnTo>
                    <a:pt x="23" y="551"/>
                  </a:lnTo>
                  <a:lnTo>
                    <a:pt x="17" y="545"/>
                  </a:lnTo>
                  <a:lnTo>
                    <a:pt x="13" y="540"/>
                  </a:lnTo>
                  <a:lnTo>
                    <a:pt x="9" y="532"/>
                  </a:lnTo>
                  <a:lnTo>
                    <a:pt x="5" y="527"/>
                  </a:lnTo>
                  <a:lnTo>
                    <a:pt x="0" y="517"/>
                  </a:lnTo>
                  <a:lnTo>
                    <a:pt x="5" y="512"/>
                  </a:lnTo>
                  <a:lnTo>
                    <a:pt x="7" y="506"/>
                  </a:lnTo>
                  <a:lnTo>
                    <a:pt x="7" y="490"/>
                  </a:lnTo>
                  <a:lnTo>
                    <a:pt x="6" y="484"/>
                  </a:lnTo>
                  <a:lnTo>
                    <a:pt x="6" y="481"/>
                  </a:lnTo>
                  <a:lnTo>
                    <a:pt x="7" y="479"/>
                  </a:lnTo>
                  <a:lnTo>
                    <a:pt x="9" y="477"/>
                  </a:lnTo>
                  <a:lnTo>
                    <a:pt x="11" y="476"/>
                  </a:lnTo>
                  <a:lnTo>
                    <a:pt x="14" y="475"/>
                  </a:lnTo>
                  <a:lnTo>
                    <a:pt x="16" y="474"/>
                  </a:lnTo>
                  <a:lnTo>
                    <a:pt x="19" y="473"/>
                  </a:lnTo>
                  <a:lnTo>
                    <a:pt x="28" y="473"/>
                  </a:lnTo>
                  <a:lnTo>
                    <a:pt x="30" y="474"/>
                  </a:lnTo>
                  <a:lnTo>
                    <a:pt x="33" y="474"/>
                  </a:lnTo>
                  <a:lnTo>
                    <a:pt x="35" y="473"/>
                  </a:lnTo>
                  <a:lnTo>
                    <a:pt x="36" y="472"/>
                  </a:lnTo>
                  <a:lnTo>
                    <a:pt x="39" y="466"/>
                  </a:lnTo>
                  <a:lnTo>
                    <a:pt x="41" y="464"/>
                  </a:lnTo>
                  <a:lnTo>
                    <a:pt x="44" y="462"/>
                  </a:lnTo>
                  <a:lnTo>
                    <a:pt x="49" y="461"/>
                  </a:lnTo>
                  <a:lnTo>
                    <a:pt x="57" y="463"/>
                  </a:lnTo>
                  <a:lnTo>
                    <a:pt x="61" y="463"/>
                  </a:lnTo>
                  <a:lnTo>
                    <a:pt x="64" y="460"/>
                  </a:lnTo>
                  <a:lnTo>
                    <a:pt x="66" y="455"/>
                  </a:lnTo>
                  <a:lnTo>
                    <a:pt x="66" y="442"/>
                  </a:lnTo>
                  <a:lnTo>
                    <a:pt x="67" y="436"/>
                  </a:lnTo>
                  <a:lnTo>
                    <a:pt x="69" y="433"/>
                  </a:lnTo>
                  <a:lnTo>
                    <a:pt x="74" y="432"/>
                  </a:lnTo>
                  <a:lnTo>
                    <a:pt x="83" y="431"/>
                  </a:lnTo>
                  <a:lnTo>
                    <a:pt x="91" y="432"/>
                  </a:lnTo>
                  <a:lnTo>
                    <a:pt x="97" y="432"/>
                  </a:lnTo>
                  <a:lnTo>
                    <a:pt x="99" y="430"/>
                  </a:lnTo>
                  <a:lnTo>
                    <a:pt x="101" y="426"/>
                  </a:lnTo>
                  <a:lnTo>
                    <a:pt x="102" y="420"/>
                  </a:lnTo>
                  <a:lnTo>
                    <a:pt x="101" y="414"/>
                  </a:lnTo>
                  <a:lnTo>
                    <a:pt x="98" y="409"/>
                  </a:lnTo>
                  <a:lnTo>
                    <a:pt x="93" y="405"/>
                  </a:lnTo>
                  <a:lnTo>
                    <a:pt x="89" y="399"/>
                  </a:lnTo>
                  <a:lnTo>
                    <a:pt x="87" y="394"/>
                  </a:lnTo>
                  <a:lnTo>
                    <a:pt x="88" y="392"/>
                  </a:lnTo>
                  <a:lnTo>
                    <a:pt x="89" y="388"/>
                  </a:lnTo>
                  <a:lnTo>
                    <a:pt x="91" y="381"/>
                  </a:lnTo>
                  <a:lnTo>
                    <a:pt x="91" y="374"/>
                  </a:lnTo>
                  <a:lnTo>
                    <a:pt x="90" y="368"/>
                  </a:lnTo>
                  <a:lnTo>
                    <a:pt x="90" y="366"/>
                  </a:lnTo>
                  <a:lnTo>
                    <a:pt x="91" y="363"/>
                  </a:lnTo>
                  <a:lnTo>
                    <a:pt x="93" y="362"/>
                  </a:lnTo>
                  <a:lnTo>
                    <a:pt x="96" y="360"/>
                  </a:lnTo>
                  <a:lnTo>
                    <a:pt x="100" y="359"/>
                  </a:lnTo>
                  <a:lnTo>
                    <a:pt x="105" y="358"/>
                  </a:lnTo>
                  <a:lnTo>
                    <a:pt x="112" y="356"/>
                  </a:lnTo>
                  <a:lnTo>
                    <a:pt x="116" y="353"/>
                  </a:lnTo>
                  <a:lnTo>
                    <a:pt x="120" y="349"/>
                  </a:lnTo>
                  <a:lnTo>
                    <a:pt x="124" y="348"/>
                  </a:lnTo>
                  <a:lnTo>
                    <a:pt x="130" y="347"/>
                  </a:lnTo>
                  <a:lnTo>
                    <a:pt x="135" y="343"/>
                  </a:lnTo>
                  <a:lnTo>
                    <a:pt x="139" y="339"/>
                  </a:lnTo>
                  <a:lnTo>
                    <a:pt x="142" y="335"/>
                  </a:lnTo>
                  <a:lnTo>
                    <a:pt x="146" y="331"/>
                  </a:lnTo>
                  <a:lnTo>
                    <a:pt x="158" y="327"/>
                  </a:lnTo>
                  <a:lnTo>
                    <a:pt x="163" y="327"/>
                  </a:lnTo>
                  <a:lnTo>
                    <a:pt x="168" y="326"/>
                  </a:lnTo>
                  <a:lnTo>
                    <a:pt x="184" y="320"/>
                  </a:lnTo>
                  <a:lnTo>
                    <a:pt x="190" y="318"/>
                  </a:lnTo>
                  <a:lnTo>
                    <a:pt x="192" y="315"/>
                  </a:lnTo>
                  <a:lnTo>
                    <a:pt x="191" y="311"/>
                  </a:lnTo>
                  <a:lnTo>
                    <a:pt x="188" y="306"/>
                  </a:lnTo>
                  <a:lnTo>
                    <a:pt x="183" y="300"/>
                  </a:lnTo>
                  <a:lnTo>
                    <a:pt x="178" y="295"/>
                  </a:lnTo>
                  <a:lnTo>
                    <a:pt x="173" y="291"/>
                  </a:lnTo>
                  <a:lnTo>
                    <a:pt x="166" y="288"/>
                  </a:lnTo>
                  <a:lnTo>
                    <a:pt x="161" y="287"/>
                  </a:lnTo>
                  <a:lnTo>
                    <a:pt x="158" y="285"/>
                  </a:lnTo>
                  <a:lnTo>
                    <a:pt x="157" y="282"/>
                  </a:lnTo>
                  <a:lnTo>
                    <a:pt x="154" y="278"/>
                  </a:lnTo>
                  <a:lnTo>
                    <a:pt x="148" y="272"/>
                  </a:lnTo>
                  <a:lnTo>
                    <a:pt x="140" y="265"/>
                  </a:lnTo>
                  <a:lnTo>
                    <a:pt x="131" y="258"/>
                  </a:lnTo>
                  <a:lnTo>
                    <a:pt x="123" y="254"/>
                  </a:lnTo>
                  <a:lnTo>
                    <a:pt x="117" y="252"/>
                  </a:lnTo>
                  <a:lnTo>
                    <a:pt x="113" y="250"/>
                  </a:lnTo>
                  <a:lnTo>
                    <a:pt x="110" y="248"/>
                  </a:lnTo>
                  <a:lnTo>
                    <a:pt x="108" y="246"/>
                  </a:lnTo>
                  <a:lnTo>
                    <a:pt x="105" y="244"/>
                  </a:lnTo>
                  <a:lnTo>
                    <a:pt x="99" y="243"/>
                  </a:lnTo>
                  <a:lnTo>
                    <a:pt x="93" y="243"/>
                  </a:lnTo>
                  <a:lnTo>
                    <a:pt x="91" y="244"/>
                  </a:lnTo>
                  <a:lnTo>
                    <a:pt x="88" y="247"/>
                  </a:lnTo>
                  <a:lnTo>
                    <a:pt x="87" y="249"/>
                  </a:lnTo>
                  <a:lnTo>
                    <a:pt x="81" y="243"/>
                  </a:lnTo>
                  <a:lnTo>
                    <a:pt x="75" y="241"/>
                  </a:lnTo>
                  <a:lnTo>
                    <a:pt x="68" y="237"/>
                  </a:lnTo>
                  <a:lnTo>
                    <a:pt x="63" y="230"/>
                  </a:lnTo>
                  <a:lnTo>
                    <a:pt x="59" y="221"/>
                  </a:lnTo>
                  <a:lnTo>
                    <a:pt x="57" y="213"/>
                  </a:lnTo>
                  <a:lnTo>
                    <a:pt x="56" y="205"/>
                  </a:lnTo>
                  <a:lnTo>
                    <a:pt x="55" y="194"/>
                  </a:lnTo>
                  <a:lnTo>
                    <a:pt x="53" y="182"/>
                  </a:lnTo>
                  <a:lnTo>
                    <a:pt x="50" y="170"/>
                  </a:lnTo>
                  <a:lnTo>
                    <a:pt x="48" y="160"/>
                  </a:lnTo>
                  <a:lnTo>
                    <a:pt x="48" y="154"/>
                  </a:lnTo>
                  <a:lnTo>
                    <a:pt x="51" y="150"/>
                  </a:lnTo>
                  <a:lnTo>
                    <a:pt x="55" y="146"/>
                  </a:lnTo>
                  <a:lnTo>
                    <a:pt x="60" y="143"/>
                  </a:lnTo>
                  <a:lnTo>
                    <a:pt x="64" y="138"/>
                  </a:lnTo>
                  <a:lnTo>
                    <a:pt x="64" y="132"/>
                  </a:lnTo>
                  <a:lnTo>
                    <a:pt x="62" y="123"/>
                  </a:lnTo>
                  <a:lnTo>
                    <a:pt x="58" y="115"/>
                  </a:lnTo>
                  <a:lnTo>
                    <a:pt x="55" y="106"/>
                  </a:lnTo>
                  <a:lnTo>
                    <a:pt x="54" y="98"/>
                  </a:lnTo>
                  <a:lnTo>
                    <a:pt x="57" y="91"/>
                  </a:lnTo>
                  <a:lnTo>
                    <a:pt x="61" y="84"/>
                  </a:lnTo>
                  <a:lnTo>
                    <a:pt x="63" y="77"/>
                  </a:lnTo>
                  <a:lnTo>
                    <a:pt x="64" y="69"/>
                  </a:lnTo>
                  <a:lnTo>
                    <a:pt x="67" y="60"/>
                  </a:lnTo>
                  <a:lnTo>
                    <a:pt x="71" y="55"/>
                  </a:lnTo>
                  <a:lnTo>
                    <a:pt x="77" y="52"/>
                  </a:lnTo>
                  <a:lnTo>
                    <a:pt x="83" y="50"/>
                  </a:lnTo>
                  <a:lnTo>
                    <a:pt x="91" y="49"/>
                  </a:lnTo>
                  <a:lnTo>
                    <a:pt x="98" y="47"/>
                  </a:lnTo>
                  <a:lnTo>
                    <a:pt x="105" y="43"/>
                  </a:lnTo>
                  <a:lnTo>
                    <a:pt x="114" y="38"/>
                  </a:lnTo>
                  <a:lnTo>
                    <a:pt x="125" y="34"/>
                  </a:lnTo>
                  <a:lnTo>
                    <a:pt x="138" y="32"/>
                  </a:lnTo>
                  <a:lnTo>
                    <a:pt x="150" y="30"/>
                  </a:lnTo>
                  <a:lnTo>
                    <a:pt x="161" y="30"/>
                  </a:lnTo>
                  <a:lnTo>
                    <a:pt x="170" y="29"/>
                  </a:lnTo>
                  <a:lnTo>
                    <a:pt x="176" y="27"/>
                  </a:lnTo>
                  <a:lnTo>
                    <a:pt x="182" y="23"/>
                  </a:lnTo>
                  <a:lnTo>
                    <a:pt x="187" y="19"/>
                  </a:lnTo>
                  <a:lnTo>
                    <a:pt x="194" y="15"/>
                  </a:lnTo>
                  <a:lnTo>
                    <a:pt x="199" y="12"/>
                  </a:lnTo>
                  <a:lnTo>
                    <a:pt x="203" y="12"/>
                  </a:lnTo>
                  <a:lnTo>
                    <a:pt x="207" y="14"/>
                  </a:lnTo>
                  <a:lnTo>
                    <a:pt x="210" y="15"/>
                  </a:lnTo>
                  <a:lnTo>
                    <a:pt x="216" y="13"/>
                  </a:lnTo>
                  <a:lnTo>
                    <a:pt x="224" y="9"/>
                  </a:lnTo>
                  <a:lnTo>
                    <a:pt x="229" y="4"/>
                  </a:lnTo>
                  <a:lnTo>
                    <a:pt x="233" y="1"/>
                  </a:lnTo>
                  <a:lnTo>
                    <a:pt x="237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9">
              <a:extLst>
                <a:ext uri="{FF2B5EF4-FFF2-40B4-BE49-F238E27FC236}">
                  <a16:creationId xmlns:a16="http://schemas.microsoft.com/office/drawing/2014/main" id="{D4FC4940-B5A6-4F68-B564-41328EAC17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3301" y="4687888"/>
              <a:ext cx="1306513" cy="1446213"/>
            </a:xfrm>
            <a:custGeom>
              <a:avLst/>
              <a:gdLst/>
              <a:ahLst/>
              <a:cxnLst>
                <a:cxn ang="0">
                  <a:pos x="597" y="3"/>
                </a:cxn>
                <a:cxn ang="0">
                  <a:pos x="612" y="28"/>
                </a:cxn>
                <a:cxn ang="0">
                  <a:pos x="644" y="50"/>
                </a:cxn>
                <a:cxn ang="0">
                  <a:pos x="658" y="95"/>
                </a:cxn>
                <a:cxn ang="0">
                  <a:pos x="676" y="124"/>
                </a:cxn>
                <a:cxn ang="0">
                  <a:pos x="722" y="131"/>
                </a:cxn>
                <a:cxn ang="0">
                  <a:pos x="715" y="179"/>
                </a:cxn>
                <a:cxn ang="0">
                  <a:pos x="737" y="250"/>
                </a:cxn>
                <a:cxn ang="0">
                  <a:pos x="756" y="287"/>
                </a:cxn>
                <a:cxn ang="0">
                  <a:pos x="788" y="318"/>
                </a:cxn>
                <a:cxn ang="0">
                  <a:pos x="811" y="385"/>
                </a:cxn>
                <a:cxn ang="0">
                  <a:pos x="823" y="449"/>
                </a:cxn>
                <a:cxn ang="0">
                  <a:pos x="802" y="448"/>
                </a:cxn>
                <a:cxn ang="0">
                  <a:pos x="763" y="456"/>
                </a:cxn>
                <a:cxn ang="0">
                  <a:pos x="756" y="526"/>
                </a:cxn>
                <a:cxn ang="0">
                  <a:pos x="688" y="581"/>
                </a:cxn>
                <a:cxn ang="0">
                  <a:pos x="728" y="706"/>
                </a:cxn>
                <a:cxn ang="0">
                  <a:pos x="719" y="812"/>
                </a:cxn>
                <a:cxn ang="0">
                  <a:pos x="720" y="845"/>
                </a:cxn>
                <a:cxn ang="0">
                  <a:pos x="650" y="868"/>
                </a:cxn>
                <a:cxn ang="0">
                  <a:pos x="564" y="900"/>
                </a:cxn>
                <a:cxn ang="0">
                  <a:pos x="502" y="867"/>
                </a:cxn>
                <a:cxn ang="0">
                  <a:pos x="430" y="806"/>
                </a:cxn>
                <a:cxn ang="0">
                  <a:pos x="457" y="862"/>
                </a:cxn>
                <a:cxn ang="0">
                  <a:pos x="426" y="841"/>
                </a:cxn>
                <a:cxn ang="0">
                  <a:pos x="411" y="860"/>
                </a:cxn>
                <a:cxn ang="0">
                  <a:pos x="373" y="851"/>
                </a:cxn>
                <a:cxn ang="0">
                  <a:pos x="340" y="852"/>
                </a:cxn>
                <a:cxn ang="0">
                  <a:pos x="321" y="817"/>
                </a:cxn>
                <a:cxn ang="0">
                  <a:pos x="305" y="819"/>
                </a:cxn>
                <a:cxn ang="0">
                  <a:pos x="262" y="830"/>
                </a:cxn>
                <a:cxn ang="0">
                  <a:pos x="278" y="865"/>
                </a:cxn>
                <a:cxn ang="0">
                  <a:pos x="283" y="886"/>
                </a:cxn>
                <a:cxn ang="0">
                  <a:pos x="262" y="904"/>
                </a:cxn>
                <a:cxn ang="0">
                  <a:pos x="182" y="883"/>
                </a:cxn>
                <a:cxn ang="0">
                  <a:pos x="102" y="893"/>
                </a:cxn>
                <a:cxn ang="0">
                  <a:pos x="34" y="900"/>
                </a:cxn>
                <a:cxn ang="0">
                  <a:pos x="15" y="891"/>
                </a:cxn>
                <a:cxn ang="0">
                  <a:pos x="11" y="793"/>
                </a:cxn>
                <a:cxn ang="0">
                  <a:pos x="24" y="707"/>
                </a:cxn>
                <a:cxn ang="0">
                  <a:pos x="55" y="606"/>
                </a:cxn>
                <a:cxn ang="0">
                  <a:pos x="83" y="523"/>
                </a:cxn>
                <a:cxn ang="0">
                  <a:pos x="122" y="439"/>
                </a:cxn>
                <a:cxn ang="0">
                  <a:pos x="174" y="383"/>
                </a:cxn>
                <a:cxn ang="0">
                  <a:pos x="230" y="308"/>
                </a:cxn>
                <a:cxn ang="0">
                  <a:pos x="262" y="210"/>
                </a:cxn>
                <a:cxn ang="0">
                  <a:pos x="288" y="145"/>
                </a:cxn>
                <a:cxn ang="0">
                  <a:pos x="293" y="106"/>
                </a:cxn>
                <a:cxn ang="0">
                  <a:pos x="316" y="71"/>
                </a:cxn>
                <a:cxn ang="0">
                  <a:pos x="352" y="101"/>
                </a:cxn>
                <a:cxn ang="0">
                  <a:pos x="378" y="123"/>
                </a:cxn>
                <a:cxn ang="0">
                  <a:pos x="385" y="156"/>
                </a:cxn>
                <a:cxn ang="0">
                  <a:pos x="405" y="124"/>
                </a:cxn>
                <a:cxn ang="0">
                  <a:pos x="439" y="109"/>
                </a:cxn>
                <a:cxn ang="0">
                  <a:pos x="453" y="85"/>
                </a:cxn>
                <a:cxn ang="0">
                  <a:pos x="507" y="57"/>
                </a:cxn>
                <a:cxn ang="0">
                  <a:pos x="534" y="27"/>
                </a:cxn>
                <a:cxn ang="0">
                  <a:pos x="511" y="22"/>
                </a:cxn>
              </a:cxnLst>
              <a:rect l="0" t="0" r="r" b="b"/>
              <a:pathLst>
                <a:path w="823" h="911">
                  <a:moveTo>
                    <a:pt x="550" y="0"/>
                  </a:moveTo>
                  <a:lnTo>
                    <a:pt x="555" y="0"/>
                  </a:lnTo>
                  <a:lnTo>
                    <a:pt x="560" y="3"/>
                  </a:lnTo>
                  <a:lnTo>
                    <a:pt x="565" y="7"/>
                  </a:lnTo>
                  <a:lnTo>
                    <a:pt x="570" y="10"/>
                  </a:lnTo>
                  <a:lnTo>
                    <a:pt x="573" y="10"/>
                  </a:lnTo>
                  <a:lnTo>
                    <a:pt x="578" y="8"/>
                  </a:lnTo>
                  <a:lnTo>
                    <a:pt x="584" y="5"/>
                  </a:lnTo>
                  <a:lnTo>
                    <a:pt x="590" y="3"/>
                  </a:lnTo>
                  <a:lnTo>
                    <a:pt x="595" y="2"/>
                  </a:lnTo>
                  <a:lnTo>
                    <a:pt x="597" y="3"/>
                  </a:lnTo>
                  <a:lnTo>
                    <a:pt x="597" y="7"/>
                  </a:lnTo>
                  <a:lnTo>
                    <a:pt x="595" y="13"/>
                  </a:lnTo>
                  <a:lnTo>
                    <a:pt x="593" y="19"/>
                  </a:lnTo>
                  <a:lnTo>
                    <a:pt x="591" y="25"/>
                  </a:lnTo>
                  <a:lnTo>
                    <a:pt x="591" y="31"/>
                  </a:lnTo>
                  <a:lnTo>
                    <a:pt x="592" y="34"/>
                  </a:lnTo>
                  <a:lnTo>
                    <a:pt x="596" y="35"/>
                  </a:lnTo>
                  <a:lnTo>
                    <a:pt x="601" y="34"/>
                  </a:lnTo>
                  <a:lnTo>
                    <a:pt x="605" y="30"/>
                  </a:lnTo>
                  <a:lnTo>
                    <a:pt x="609" y="28"/>
                  </a:lnTo>
                  <a:lnTo>
                    <a:pt x="612" y="28"/>
                  </a:lnTo>
                  <a:lnTo>
                    <a:pt x="612" y="29"/>
                  </a:lnTo>
                  <a:lnTo>
                    <a:pt x="613" y="30"/>
                  </a:lnTo>
                  <a:lnTo>
                    <a:pt x="614" y="32"/>
                  </a:lnTo>
                  <a:lnTo>
                    <a:pt x="616" y="34"/>
                  </a:lnTo>
                  <a:lnTo>
                    <a:pt x="619" y="34"/>
                  </a:lnTo>
                  <a:lnTo>
                    <a:pt x="634" y="28"/>
                  </a:lnTo>
                  <a:lnTo>
                    <a:pt x="638" y="28"/>
                  </a:lnTo>
                  <a:lnTo>
                    <a:pt x="641" y="31"/>
                  </a:lnTo>
                  <a:lnTo>
                    <a:pt x="643" y="36"/>
                  </a:lnTo>
                  <a:lnTo>
                    <a:pt x="644" y="43"/>
                  </a:lnTo>
                  <a:lnTo>
                    <a:pt x="644" y="50"/>
                  </a:lnTo>
                  <a:lnTo>
                    <a:pt x="645" y="55"/>
                  </a:lnTo>
                  <a:lnTo>
                    <a:pt x="652" y="62"/>
                  </a:lnTo>
                  <a:lnTo>
                    <a:pt x="655" y="67"/>
                  </a:lnTo>
                  <a:lnTo>
                    <a:pt x="655" y="72"/>
                  </a:lnTo>
                  <a:lnTo>
                    <a:pt x="653" y="79"/>
                  </a:lnTo>
                  <a:lnTo>
                    <a:pt x="651" y="85"/>
                  </a:lnTo>
                  <a:lnTo>
                    <a:pt x="650" y="91"/>
                  </a:lnTo>
                  <a:lnTo>
                    <a:pt x="651" y="95"/>
                  </a:lnTo>
                  <a:lnTo>
                    <a:pt x="653" y="96"/>
                  </a:lnTo>
                  <a:lnTo>
                    <a:pt x="655" y="96"/>
                  </a:lnTo>
                  <a:lnTo>
                    <a:pt x="658" y="95"/>
                  </a:lnTo>
                  <a:lnTo>
                    <a:pt x="660" y="93"/>
                  </a:lnTo>
                  <a:lnTo>
                    <a:pt x="662" y="90"/>
                  </a:lnTo>
                  <a:lnTo>
                    <a:pt x="663" y="88"/>
                  </a:lnTo>
                  <a:lnTo>
                    <a:pt x="665" y="87"/>
                  </a:lnTo>
                  <a:lnTo>
                    <a:pt x="666" y="86"/>
                  </a:lnTo>
                  <a:lnTo>
                    <a:pt x="668" y="89"/>
                  </a:lnTo>
                  <a:lnTo>
                    <a:pt x="669" y="97"/>
                  </a:lnTo>
                  <a:lnTo>
                    <a:pt x="671" y="106"/>
                  </a:lnTo>
                  <a:lnTo>
                    <a:pt x="672" y="115"/>
                  </a:lnTo>
                  <a:lnTo>
                    <a:pt x="673" y="121"/>
                  </a:lnTo>
                  <a:lnTo>
                    <a:pt x="676" y="124"/>
                  </a:lnTo>
                  <a:lnTo>
                    <a:pt x="680" y="126"/>
                  </a:lnTo>
                  <a:lnTo>
                    <a:pt x="692" y="126"/>
                  </a:lnTo>
                  <a:lnTo>
                    <a:pt x="697" y="124"/>
                  </a:lnTo>
                  <a:lnTo>
                    <a:pt x="702" y="119"/>
                  </a:lnTo>
                  <a:lnTo>
                    <a:pt x="706" y="112"/>
                  </a:lnTo>
                  <a:lnTo>
                    <a:pt x="709" y="106"/>
                  </a:lnTo>
                  <a:lnTo>
                    <a:pt x="712" y="103"/>
                  </a:lnTo>
                  <a:lnTo>
                    <a:pt x="715" y="105"/>
                  </a:lnTo>
                  <a:lnTo>
                    <a:pt x="718" y="113"/>
                  </a:lnTo>
                  <a:lnTo>
                    <a:pt x="721" y="122"/>
                  </a:lnTo>
                  <a:lnTo>
                    <a:pt x="722" y="131"/>
                  </a:lnTo>
                  <a:lnTo>
                    <a:pt x="722" y="138"/>
                  </a:lnTo>
                  <a:lnTo>
                    <a:pt x="723" y="144"/>
                  </a:lnTo>
                  <a:lnTo>
                    <a:pt x="725" y="148"/>
                  </a:lnTo>
                  <a:lnTo>
                    <a:pt x="728" y="153"/>
                  </a:lnTo>
                  <a:lnTo>
                    <a:pt x="731" y="158"/>
                  </a:lnTo>
                  <a:lnTo>
                    <a:pt x="731" y="163"/>
                  </a:lnTo>
                  <a:lnTo>
                    <a:pt x="729" y="165"/>
                  </a:lnTo>
                  <a:lnTo>
                    <a:pt x="721" y="169"/>
                  </a:lnTo>
                  <a:lnTo>
                    <a:pt x="718" y="171"/>
                  </a:lnTo>
                  <a:lnTo>
                    <a:pt x="716" y="173"/>
                  </a:lnTo>
                  <a:lnTo>
                    <a:pt x="715" y="179"/>
                  </a:lnTo>
                  <a:lnTo>
                    <a:pt x="716" y="186"/>
                  </a:lnTo>
                  <a:lnTo>
                    <a:pt x="720" y="194"/>
                  </a:lnTo>
                  <a:lnTo>
                    <a:pt x="724" y="201"/>
                  </a:lnTo>
                  <a:lnTo>
                    <a:pt x="726" y="207"/>
                  </a:lnTo>
                  <a:lnTo>
                    <a:pt x="726" y="211"/>
                  </a:lnTo>
                  <a:lnTo>
                    <a:pt x="724" y="215"/>
                  </a:lnTo>
                  <a:lnTo>
                    <a:pt x="725" y="222"/>
                  </a:lnTo>
                  <a:lnTo>
                    <a:pt x="727" y="229"/>
                  </a:lnTo>
                  <a:lnTo>
                    <a:pt x="729" y="237"/>
                  </a:lnTo>
                  <a:lnTo>
                    <a:pt x="732" y="243"/>
                  </a:lnTo>
                  <a:lnTo>
                    <a:pt x="737" y="250"/>
                  </a:lnTo>
                  <a:lnTo>
                    <a:pt x="746" y="257"/>
                  </a:lnTo>
                  <a:lnTo>
                    <a:pt x="754" y="263"/>
                  </a:lnTo>
                  <a:lnTo>
                    <a:pt x="760" y="267"/>
                  </a:lnTo>
                  <a:lnTo>
                    <a:pt x="761" y="268"/>
                  </a:lnTo>
                  <a:lnTo>
                    <a:pt x="759" y="272"/>
                  </a:lnTo>
                  <a:lnTo>
                    <a:pt x="757" y="274"/>
                  </a:lnTo>
                  <a:lnTo>
                    <a:pt x="755" y="275"/>
                  </a:lnTo>
                  <a:lnTo>
                    <a:pt x="753" y="277"/>
                  </a:lnTo>
                  <a:lnTo>
                    <a:pt x="751" y="281"/>
                  </a:lnTo>
                  <a:lnTo>
                    <a:pt x="752" y="282"/>
                  </a:lnTo>
                  <a:lnTo>
                    <a:pt x="756" y="287"/>
                  </a:lnTo>
                  <a:lnTo>
                    <a:pt x="761" y="293"/>
                  </a:lnTo>
                  <a:lnTo>
                    <a:pt x="765" y="300"/>
                  </a:lnTo>
                  <a:lnTo>
                    <a:pt x="766" y="303"/>
                  </a:lnTo>
                  <a:lnTo>
                    <a:pt x="767" y="305"/>
                  </a:lnTo>
                  <a:lnTo>
                    <a:pt x="769" y="306"/>
                  </a:lnTo>
                  <a:lnTo>
                    <a:pt x="770" y="306"/>
                  </a:lnTo>
                  <a:lnTo>
                    <a:pt x="772" y="307"/>
                  </a:lnTo>
                  <a:lnTo>
                    <a:pt x="775" y="307"/>
                  </a:lnTo>
                  <a:lnTo>
                    <a:pt x="778" y="308"/>
                  </a:lnTo>
                  <a:lnTo>
                    <a:pt x="782" y="311"/>
                  </a:lnTo>
                  <a:lnTo>
                    <a:pt x="788" y="318"/>
                  </a:lnTo>
                  <a:lnTo>
                    <a:pt x="795" y="326"/>
                  </a:lnTo>
                  <a:lnTo>
                    <a:pt x="802" y="335"/>
                  </a:lnTo>
                  <a:lnTo>
                    <a:pt x="808" y="344"/>
                  </a:lnTo>
                  <a:lnTo>
                    <a:pt x="813" y="350"/>
                  </a:lnTo>
                  <a:lnTo>
                    <a:pt x="814" y="354"/>
                  </a:lnTo>
                  <a:lnTo>
                    <a:pt x="814" y="358"/>
                  </a:lnTo>
                  <a:lnTo>
                    <a:pt x="812" y="361"/>
                  </a:lnTo>
                  <a:lnTo>
                    <a:pt x="810" y="366"/>
                  </a:lnTo>
                  <a:lnTo>
                    <a:pt x="811" y="371"/>
                  </a:lnTo>
                  <a:lnTo>
                    <a:pt x="812" y="377"/>
                  </a:lnTo>
                  <a:lnTo>
                    <a:pt x="811" y="385"/>
                  </a:lnTo>
                  <a:lnTo>
                    <a:pt x="809" y="396"/>
                  </a:lnTo>
                  <a:lnTo>
                    <a:pt x="806" y="406"/>
                  </a:lnTo>
                  <a:lnTo>
                    <a:pt x="806" y="416"/>
                  </a:lnTo>
                  <a:lnTo>
                    <a:pt x="805" y="423"/>
                  </a:lnTo>
                  <a:lnTo>
                    <a:pt x="806" y="429"/>
                  </a:lnTo>
                  <a:lnTo>
                    <a:pt x="810" y="432"/>
                  </a:lnTo>
                  <a:lnTo>
                    <a:pt x="814" y="435"/>
                  </a:lnTo>
                  <a:lnTo>
                    <a:pt x="817" y="439"/>
                  </a:lnTo>
                  <a:lnTo>
                    <a:pt x="821" y="444"/>
                  </a:lnTo>
                  <a:lnTo>
                    <a:pt x="822" y="447"/>
                  </a:lnTo>
                  <a:lnTo>
                    <a:pt x="823" y="449"/>
                  </a:lnTo>
                  <a:lnTo>
                    <a:pt x="821" y="453"/>
                  </a:lnTo>
                  <a:lnTo>
                    <a:pt x="815" y="456"/>
                  </a:lnTo>
                  <a:lnTo>
                    <a:pt x="814" y="456"/>
                  </a:lnTo>
                  <a:lnTo>
                    <a:pt x="812" y="457"/>
                  </a:lnTo>
                  <a:lnTo>
                    <a:pt x="811" y="458"/>
                  </a:lnTo>
                  <a:lnTo>
                    <a:pt x="809" y="458"/>
                  </a:lnTo>
                  <a:lnTo>
                    <a:pt x="808" y="456"/>
                  </a:lnTo>
                  <a:lnTo>
                    <a:pt x="808" y="455"/>
                  </a:lnTo>
                  <a:lnTo>
                    <a:pt x="806" y="451"/>
                  </a:lnTo>
                  <a:lnTo>
                    <a:pt x="804" y="449"/>
                  </a:lnTo>
                  <a:lnTo>
                    <a:pt x="802" y="448"/>
                  </a:lnTo>
                  <a:lnTo>
                    <a:pt x="798" y="448"/>
                  </a:lnTo>
                  <a:lnTo>
                    <a:pt x="795" y="451"/>
                  </a:lnTo>
                  <a:lnTo>
                    <a:pt x="792" y="457"/>
                  </a:lnTo>
                  <a:lnTo>
                    <a:pt x="790" y="459"/>
                  </a:lnTo>
                  <a:lnTo>
                    <a:pt x="786" y="459"/>
                  </a:lnTo>
                  <a:lnTo>
                    <a:pt x="782" y="457"/>
                  </a:lnTo>
                  <a:lnTo>
                    <a:pt x="777" y="453"/>
                  </a:lnTo>
                  <a:lnTo>
                    <a:pt x="772" y="450"/>
                  </a:lnTo>
                  <a:lnTo>
                    <a:pt x="768" y="449"/>
                  </a:lnTo>
                  <a:lnTo>
                    <a:pt x="764" y="450"/>
                  </a:lnTo>
                  <a:lnTo>
                    <a:pt x="763" y="456"/>
                  </a:lnTo>
                  <a:lnTo>
                    <a:pt x="765" y="464"/>
                  </a:lnTo>
                  <a:lnTo>
                    <a:pt x="769" y="474"/>
                  </a:lnTo>
                  <a:lnTo>
                    <a:pt x="773" y="485"/>
                  </a:lnTo>
                  <a:lnTo>
                    <a:pt x="776" y="495"/>
                  </a:lnTo>
                  <a:lnTo>
                    <a:pt x="777" y="503"/>
                  </a:lnTo>
                  <a:lnTo>
                    <a:pt x="776" y="509"/>
                  </a:lnTo>
                  <a:lnTo>
                    <a:pt x="774" y="512"/>
                  </a:lnTo>
                  <a:lnTo>
                    <a:pt x="770" y="513"/>
                  </a:lnTo>
                  <a:lnTo>
                    <a:pt x="766" y="515"/>
                  </a:lnTo>
                  <a:lnTo>
                    <a:pt x="763" y="519"/>
                  </a:lnTo>
                  <a:lnTo>
                    <a:pt x="756" y="526"/>
                  </a:lnTo>
                  <a:lnTo>
                    <a:pt x="747" y="531"/>
                  </a:lnTo>
                  <a:lnTo>
                    <a:pt x="736" y="535"/>
                  </a:lnTo>
                  <a:lnTo>
                    <a:pt x="725" y="538"/>
                  </a:lnTo>
                  <a:lnTo>
                    <a:pt x="709" y="540"/>
                  </a:lnTo>
                  <a:lnTo>
                    <a:pt x="703" y="542"/>
                  </a:lnTo>
                  <a:lnTo>
                    <a:pt x="700" y="545"/>
                  </a:lnTo>
                  <a:lnTo>
                    <a:pt x="700" y="556"/>
                  </a:lnTo>
                  <a:lnTo>
                    <a:pt x="696" y="565"/>
                  </a:lnTo>
                  <a:lnTo>
                    <a:pt x="691" y="571"/>
                  </a:lnTo>
                  <a:lnTo>
                    <a:pt x="688" y="577"/>
                  </a:lnTo>
                  <a:lnTo>
                    <a:pt x="688" y="581"/>
                  </a:lnTo>
                  <a:lnTo>
                    <a:pt x="689" y="588"/>
                  </a:lnTo>
                  <a:lnTo>
                    <a:pt x="698" y="606"/>
                  </a:lnTo>
                  <a:lnTo>
                    <a:pt x="702" y="616"/>
                  </a:lnTo>
                  <a:lnTo>
                    <a:pt x="706" y="625"/>
                  </a:lnTo>
                  <a:lnTo>
                    <a:pt x="709" y="632"/>
                  </a:lnTo>
                  <a:lnTo>
                    <a:pt x="711" y="641"/>
                  </a:lnTo>
                  <a:lnTo>
                    <a:pt x="717" y="667"/>
                  </a:lnTo>
                  <a:lnTo>
                    <a:pt x="721" y="680"/>
                  </a:lnTo>
                  <a:lnTo>
                    <a:pt x="724" y="692"/>
                  </a:lnTo>
                  <a:lnTo>
                    <a:pt x="727" y="700"/>
                  </a:lnTo>
                  <a:lnTo>
                    <a:pt x="728" y="706"/>
                  </a:lnTo>
                  <a:lnTo>
                    <a:pt x="726" y="715"/>
                  </a:lnTo>
                  <a:lnTo>
                    <a:pt x="722" y="724"/>
                  </a:lnTo>
                  <a:lnTo>
                    <a:pt x="717" y="733"/>
                  </a:lnTo>
                  <a:lnTo>
                    <a:pt x="713" y="741"/>
                  </a:lnTo>
                  <a:lnTo>
                    <a:pt x="711" y="748"/>
                  </a:lnTo>
                  <a:lnTo>
                    <a:pt x="710" y="757"/>
                  </a:lnTo>
                  <a:lnTo>
                    <a:pt x="714" y="777"/>
                  </a:lnTo>
                  <a:lnTo>
                    <a:pt x="714" y="793"/>
                  </a:lnTo>
                  <a:lnTo>
                    <a:pt x="717" y="801"/>
                  </a:lnTo>
                  <a:lnTo>
                    <a:pt x="720" y="807"/>
                  </a:lnTo>
                  <a:lnTo>
                    <a:pt x="719" y="812"/>
                  </a:lnTo>
                  <a:lnTo>
                    <a:pt x="715" y="819"/>
                  </a:lnTo>
                  <a:lnTo>
                    <a:pt x="710" y="827"/>
                  </a:lnTo>
                  <a:lnTo>
                    <a:pt x="709" y="829"/>
                  </a:lnTo>
                  <a:lnTo>
                    <a:pt x="710" y="830"/>
                  </a:lnTo>
                  <a:lnTo>
                    <a:pt x="710" y="831"/>
                  </a:lnTo>
                  <a:lnTo>
                    <a:pt x="712" y="832"/>
                  </a:lnTo>
                  <a:lnTo>
                    <a:pt x="717" y="832"/>
                  </a:lnTo>
                  <a:lnTo>
                    <a:pt x="719" y="833"/>
                  </a:lnTo>
                  <a:lnTo>
                    <a:pt x="721" y="835"/>
                  </a:lnTo>
                  <a:lnTo>
                    <a:pt x="721" y="837"/>
                  </a:lnTo>
                  <a:lnTo>
                    <a:pt x="720" y="845"/>
                  </a:lnTo>
                  <a:lnTo>
                    <a:pt x="720" y="862"/>
                  </a:lnTo>
                  <a:lnTo>
                    <a:pt x="717" y="865"/>
                  </a:lnTo>
                  <a:lnTo>
                    <a:pt x="709" y="867"/>
                  </a:lnTo>
                  <a:lnTo>
                    <a:pt x="689" y="867"/>
                  </a:lnTo>
                  <a:lnTo>
                    <a:pt x="682" y="870"/>
                  </a:lnTo>
                  <a:lnTo>
                    <a:pt x="677" y="873"/>
                  </a:lnTo>
                  <a:lnTo>
                    <a:pt x="673" y="876"/>
                  </a:lnTo>
                  <a:lnTo>
                    <a:pt x="668" y="876"/>
                  </a:lnTo>
                  <a:lnTo>
                    <a:pt x="663" y="873"/>
                  </a:lnTo>
                  <a:lnTo>
                    <a:pt x="656" y="869"/>
                  </a:lnTo>
                  <a:lnTo>
                    <a:pt x="650" y="868"/>
                  </a:lnTo>
                  <a:lnTo>
                    <a:pt x="644" y="871"/>
                  </a:lnTo>
                  <a:lnTo>
                    <a:pt x="637" y="877"/>
                  </a:lnTo>
                  <a:lnTo>
                    <a:pt x="631" y="884"/>
                  </a:lnTo>
                  <a:lnTo>
                    <a:pt x="625" y="890"/>
                  </a:lnTo>
                  <a:lnTo>
                    <a:pt x="617" y="894"/>
                  </a:lnTo>
                  <a:lnTo>
                    <a:pt x="609" y="895"/>
                  </a:lnTo>
                  <a:lnTo>
                    <a:pt x="599" y="896"/>
                  </a:lnTo>
                  <a:lnTo>
                    <a:pt x="594" y="898"/>
                  </a:lnTo>
                  <a:lnTo>
                    <a:pt x="588" y="901"/>
                  </a:lnTo>
                  <a:lnTo>
                    <a:pt x="581" y="906"/>
                  </a:lnTo>
                  <a:lnTo>
                    <a:pt x="564" y="900"/>
                  </a:lnTo>
                  <a:lnTo>
                    <a:pt x="558" y="896"/>
                  </a:lnTo>
                  <a:lnTo>
                    <a:pt x="555" y="891"/>
                  </a:lnTo>
                  <a:lnTo>
                    <a:pt x="553" y="887"/>
                  </a:lnTo>
                  <a:lnTo>
                    <a:pt x="551" y="882"/>
                  </a:lnTo>
                  <a:lnTo>
                    <a:pt x="544" y="876"/>
                  </a:lnTo>
                  <a:lnTo>
                    <a:pt x="534" y="871"/>
                  </a:lnTo>
                  <a:lnTo>
                    <a:pt x="523" y="866"/>
                  </a:lnTo>
                  <a:lnTo>
                    <a:pt x="517" y="865"/>
                  </a:lnTo>
                  <a:lnTo>
                    <a:pt x="512" y="865"/>
                  </a:lnTo>
                  <a:lnTo>
                    <a:pt x="507" y="867"/>
                  </a:lnTo>
                  <a:lnTo>
                    <a:pt x="502" y="867"/>
                  </a:lnTo>
                  <a:lnTo>
                    <a:pt x="496" y="865"/>
                  </a:lnTo>
                  <a:lnTo>
                    <a:pt x="488" y="860"/>
                  </a:lnTo>
                  <a:lnTo>
                    <a:pt x="482" y="853"/>
                  </a:lnTo>
                  <a:lnTo>
                    <a:pt x="478" y="847"/>
                  </a:lnTo>
                  <a:lnTo>
                    <a:pt x="476" y="841"/>
                  </a:lnTo>
                  <a:lnTo>
                    <a:pt x="473" y="837"/>
                  </a:lnTo>
                  <a:lnTo>
                    <a:pt x="465" y="831"/>
                  </a:lnTo>
                  <a:lnTo>
                    <a:pt x="453" y="824"/>
                  </a:lnTo>
                  <a:lnTo>
                    <a:pt x="444" y="817"/>
                  </a:lnTo>
                  <a:lnTo>
                    <a:pt x="437" y="811"/>
                  </a:lnTo>
                  <a:lnTo>
                    <a:pt x="430" y="806"/>
                  </a:lnTo>
                  <a:lnTo>
                    <a:pt x="424" y="806"/>
                  </a:lnTo>
                  <a:lnTo>
                    <a:pt x="423" y="808"/>
                  </a:lnTo>
                  <a:lnTo>
                    <a:pt x="433" y="818"/>
                  </a:lnTo>
                  <a:lnTo>
                    <a:pt x="439" y="823"/>
                  </a:lnTo>
                  <a:lnTo>
                    <a:pt x="447" y="829"/>
                  </a:lnTo>
                  <a:lnTo>
                    <a:pt x="453" y="834"/>
                  </a:lnTo>
                  <a:lnTo>
                    <a:pt x="457" y="837"/>
                  </a:lnTo>
                  <a:lnTo>
                    <a:pt x="460" y="841"/>
                  </a:lnTo>
                  <a:lnTo>
                    <a:pt x="460" y="848"/>
                  </a:lnTo>
                  <a:lnTo>
                    <a:pt x="458" y="860"/>
                  </a:lnTo>
                  <a:lnTo>
                    <a:pt x="457" y="862"/>
                  </a:lnTo>
                  <a:lnTo>
                    <a:pt x="455" y="863"/>
                  </a:lnTo>
                  <a:lnTo>
                    <a:pt x="452" y="864"/>
                  </a:lnTo>
                  <a:lnTo>
                    <a:pt x="450" y="864"/>
                  </a:lnTo>
                  <a:lnTo>
                    <a:pt x="447" y="863"/>
                  </a:lnTo>
                  <a:lnTo>
                    <a:pt x="445" y="862"/>
                  </a:lnTo>
                  <a:lnTo>
                    <a:pt x="441" y="858"/>
                  </a:lnTo>
                  <a:lnTo>
                    <a:pt x="436" y="854"/>
                  </a:lnTo>
                  <a:lnTo>
                    <a:pt x="434" y="851"/>
                  </a:lnTo>
                  <a:lnTo>
                    <a:pt x="431" y="848"/>
                  </a:lnTo>
                  <a:lnTo>
                    <a:pt x="430" y="845"/>
                  </a:lnTo>
                  <a:lnTo>
                    <a:pt x="426" y="841"/>
                  </a:lnTo>
                  <a:lnTo>
                    <a:pt x="418" y="839"/>
                  </a:lnTo>
                  <a:lnTo>
                    <a:pt x="409" y="837"/>
                  </a:lnTo>
                  <a:lnTo>
                    <a:pt x="401" y="836"/>
                  </a:lnTo>
                  <a:lnTo>
                    <a:pt x="398" y="837"/>
                  </a:lnTo>
                  <a:lnTo>
                    <a:pt x="397" y="837"/>
                  </a:lnTo>
                  <a:lnTo>
                    <a:pt x="397" y="840"/>
                  </a:lnTo>
                  <a:lnTo>
                    <a:pt x="403" y="845"/>
                  </a:lnTo>
                  <a:lnTo>
                    <a:pt x="406" y="847"/>
                  </a:lnTo>
                  <a:lnTo>
                    <a:pt x="410" y="851"/>
                  </a:lnTo>
                  <a:lnTo>
                    <a:pt x="410" y="857"/>
                  </a:lnTo>
                  <a:lnTo>
                    <a:pt x="411" y="860"/>
                  </a:lnTo>
                  <a:lnTo>
                    <a:pt x="411" y="861"/>
                  </a:lnTo>
                  <a:lnTo>
                    <a:pt x="412" y="861"/>
                  </a:lnTo>
                  <a:lnTo>
                    <a:pt x="412" y="862"/>
                  </a:lnTo>
                  <a:lnTo>
                    <a:pt x="405" y="867"/>
                  </a:lnTo>
                  <a:lnTo>
                    <a:pt x="398" y="871"/>
                  </a:lnTo>
                  <a:lnTo>
                    <a:pt x="392" y="873"/>
                  </a:lnTo>
                  <a:lnTo>
                    <a:pt x="385" y="871"/>
                  </a:lnTo>
                  <a:lnTo>
                    <a:pt x="379" y="866"/>
                  </a:lnTo>
                  <a:lnTo>
                    <a:pt x="375" y="860"/>
                  </a:lnTo>
                  <a:lnTo>
                    <a:pt x="373" y="854"/>
                  </a:lnTo>
                  <a:lnTo>
                    <a:pt x="373" y="851"/>
                  </a:lnTo>
                  <a:lnTo>
                    <a:pt x="372" y="849"/>
                  </a:lnTo>
                  <a:lnTo>
                    <a:pt x="372" y="847"/>
                  </a:lnTo>
                  <a:lnTo>
                    <a:pt x="370" y="846"/>
                  </a:lnTo>
                  <a:lnTo>
                    <a:pt x="368" y="846"/>
                  </a:lnTo>
                  <a:lnTo>
                    <a:pt x="365" y="845"/>
                  </a:lnTo>
                  <a:lnTo>
                    <a:pt x="355" y="845"/>
                  </a:lnTo>
                  <a:lnTo>
                    <a:pt x="352" y="847"/>
                  </a:lnTo>
                  <a:lnTo>
                    <a:pt x="350" y="849"/>
                  </a:lnTo>
                  <a:lnTo>
                    <a:pt x="349" y="852"/>
                  </a:lnTo>
                  <a:lnTo>
                    <a:pt x="346" y="853"/>
                  </a:lnTo>
                  <a:lnTo>
                    <a:pt x="340" y="852"/>
                  </a:lnTo>
                  <a:lnTo>
                    <a:pt x="335" y="849"/>
                  </a:lnTo>
                  <a:lnTo>
                    <a:pt x="333" y="843"/>
                  </a:lnTo>
                  <a:lnTo>
                    <a:pt x="333" y="838"/>
                  </a:lnTo>
                  <a:lnTo>
                    <a:pt x="334" y="832"/>
                  </a:lnTo>
                  <a:lnTo>
                    <a:pt x="335" y="828"/>
                  </a:lnTo>
                  <a:lnTo>
                    <a:pt x="333" y="827"/>
                  </a:lnTo>
                  <a:lnTo>
                    <a:pt x="331" y="827"/>
                  </a:lnTo>
                  <a:lnTo>
                    <a:pt x="330" y="826"/>
                  </a:lnTo>
                  <a:lnTo>
                    <a:pt x="328" y="822"/>
                  </a:lnTo>
                  <a:lnTo>
                    <a:pt x="324" y="818"/>
                  </a:lnTo>
                  <a:lnTo>
                    <a:pt x="321" y="817"/>
                  </a:lnTo>
                  <a:lnTo>
                    <a:pt x="319" y="816"/>
                  </a:lnTo>
                  <a:lnTo>
                    <a:pt x="317" y="816"/>
                  </a:lnTo>
                  <a:lnTo>
                    <a:pt x="315" y="818"/>
                  </a:lnTo>
                  <a:lnTo>
                    <a:pt x="315" y="819"/>
                  </a:lnTo>
                  <a:lnTo>
                    <a:pt x="314" y="821"/>
                  </a:lnTo>
                  <a:lnTo>
                    <a:pt x="314" y="822"/>
                  </a:lnTo>
                  <a:lnTo>
                    <a:pt x="312" y="823"/>
                  </a:lnTo>
                  <a:lnTo>
                    <a:pt x="308" y="823"/>
                  </a:lnTo>
                  <a:lnTo>
                    <a:pt x="306" y="822"/>
                  </a:lnTo>
                  <a:lnTo>
                    <a:pt x="305" y="821"/>
                  </a:lnTo>
                  <a:lnTo>
                    <a:pt x="305" y="819"/>
                  </a:lnTo>
                  <a:lnTo>
                    <a:pt x="302" y="813"/>
                  </a:lnTo>
                  <a:lnTo>
                    <a:pt x="299" y="811"/>
                  </a:lnTo>
                  <a:lnTo>
                    <a:pt x="295" y="809"/>
                  </a:lnTo>
                  <a:lnTo>
                    <a:pt x="290" y="808"/>
                  </a:lnTo>
                  <a:lnTo>
                    <a:pt x="287" y="810"/>
                  </a:lnTo>
                  <a:lnTo>
                    <a:pt x="285" y="814"/>
                  </a:lnTo>
                  <a:lnTo>
                    <a:pt x="284" y="818"/>
                  </a:lnTo>
                  <a:lnTo>
                    <a:pt x="282" y="821"/>
                  </a:lnTo>
                  <a:lnTo>
                    <a:pt x="278" y="822"/>
                  </a:lnTo>
                  <a:lnTo>
                    <a:pt x="269" y="824"/>
                  </a:lnTo>
                  <a:lnTo>
                    <a:pt x="262" y="830"/>
                  </a:lnTo>
                  <a:lnTo>
                    <a:pt x="258" y="837"/>
                  </a:lnTo>
                  <a:lnTo>
                    <a:pt x="255" y="841"/>
                  </a:lnTo>
                  <a:lnTo>
                    <a:pt x="251" y="845"/>
                  </a:lnTo>
                  <a:lnTo>
                    <a:pt x="248" y="849"/>
                  </a:lnTo>
                  <a:lnTo>
                    <a:pt x="247" y="854"/>
                  </a:lnTo>
                  <a:lnTo>
                    <a:pt x="250" y="861"/>
                  </a:lnTo>
                  <a:lnTo>
                    <a:pt x="255" y="867"/>
                  </a:lnTo>
                  <a:lnTo>
                    <a:pt x="261" y="869"/>
                  </a:lnTo>
                  <a:lnTo>
                    <a:pt x="267" y="869"/>
                  </a:lnTo>
                  <a:lnTo>
                    <a:pt x="273" y="867"/>
                  </a:lnTo>
                  <a:lnTo>
                    <a:pt x="278" y="865"/>
                  </a:lnTo>
                  <a:lnTo>
                    <a:pt x="284" y="863"/>
                  </a:lnTo>
                  <a:lnTo>
                    <a:pt x="292" y="863"/>
                  </a:lnTo>
                  <a:lnTo>
                    <a:pt x="301" y="865"/>
                  </a:lnTo>
                  <a:lnTo>
                    <a:pt x="308" y="869"/>
                  </a:lnTo>
                  <a:lnTo>
                    <a:pt x="311" y="874"/>
                  </a:lnTo>
                  <a:lnTo>
                    <a:pt x="309" y="880"/>
                  </a:lnTo>
                  <a:lnTo>
                    <a:pt x="306" y="885"/>
                  </a:lnTo>
                  <a:lnTo>
                    <a:pt x="301" y="891"/>
                  </a:lnTo>
                  <a:lnTo>
                    <a:pt x="297" y="894"/>
                  </a:lnTo>
                  <a:lnTo>
                    <a:pt x="293" y="894"/>
                  </a:lnTo>
                  <a:lnTo>
                    <a:pt x="283" y="886"/>
                  </a:lnTo>
                  <a:lnTo>
                    <a:pt x="278" y="883"/>
                  </a:lnTo>
                  <a:lnTo>
                    <a:pt x="272" y="883"/>
                  </a:lnTo>
                  <a:lnTo>
                    <a:pt x="269" y="884"/>
                  </a:lnTo>
                  <a:lnTo>
                    <a:pt x="267" y="886"/>
                  </a:lnTo>
                  <a:lnTo>
                    <a:pt x="266" y="888"/>
                  </a:lnTo>
                  <a:lnTo>
                    <a:pt x="265" y="891"/>
                  </a:lnTo>
                  <a:lnTo>
                    <a:pt x="266" y="894"/>
                  </a:lnTo>
                  <a:lnTo>
                    <a:pt x="268" y="898"/>
                  </a:lnTo>
                  <a:lnTo>
                    <a:pt x="269" y="902"/>
                  </a:lnTo>
                  <a:lnTo>
                    <a:pt x="267" y="903"/>
                  </a:lnTo>
                  <a:lnTo>
                    <a:pt x="262" y="904"/>
                  </a:lnTo>
                  <a:lnTo>
                    <a:pt x="255" y="903"/>
                  </a:lnTo>
                  <a:lnTo>
                    <a:pt x="247" y="903"/>
                  </a:lnTo>
                  <a:lnTo>
                    <a:pt x="239" y="902"/>
                  </a:lnTo>
                  <a:lnTo>
                    <a:pt x="231" y="902"/>
                  </a:lnTo>
                  <a:lnTo>
                    <a:pt x="223" y="901"/>
                  </a:lnTo>
                  <a:lnTo>
                    <a:pt x="216" y="897"/>
                  </a:lnTo>
                  <a:lnTo>
                    <a:pt x="210" y="891"/>
                  </a:lnTo>
                  <a:lnTo>
                    <a:pt x="203" y="886"/>
                  </a:lnTo>
                  <a:lnTo>
                    <a:pt x="194" y="883"/>
                  </a:lnTo>
                  <a:lnTo>
                    <a:pt x="187" y="882"/>
                  </a:lnTo>
                  <a:lnTo>
                    <a:pt x="182" y="883"/>
                  </a:lnTo>
                  <a:lnTo>
                    <a:pt x="178" y="885"/>
                  </a:lnTo>
                  <a:lnTo>
                    <a:pt x="176" y="888"/>
                  </a:lnTo>
                  <a:lnTo>
                    <a:pt x="173" y="892"/>
                  </a:lnTo>
                  <a:lnTo>
                    <a:pt x="168" y="898"/>
                  </a:lnTo>
                  <a:lnTo>
                    <a:pt x="161" y="902"/>
                  </a:lnTo>
                  <a:lnTo>
                    <a:pt x="150" y="905"/>
                  </a:lnTo>
                  <a:lnTo>
                    <a:pt x="137" y="905"/>
                  </a:lnTo>
                  <a:lnTo>
                    <a:pt x="124" y="904"/>
                  </a:lnTo>
                  <a:lnTo>
                    <a:pt x="114" y="903"/>
                  </a:lnTo>
                  <a:lnTo>
                    <a:pt x="107" y="900"/>
                  </a:lnTo>
                  <a:lnTo>
                    <a:pt x="102" y="893"/>
                  </a:lnTo>
                  <a:lnTo>
                    <a:pt x="97" y="887"/>
                  </a:lnTo>
                  <a:lnTo>
                    <a:pt x="92" y="886"/>
                  </a:lnTo>
                  <a:lnTo>
                    <a:pt x="86" y="889"/>
                  </a:lnTo>
                  <a:lnTo>
                    <a:pt x="80" y="895"/>
                  </a:lnTo>
                  <a:lnTo>
                    <a:pt x="74" y="900"/>
                  </a:lnTo>
                  <a:lnTo>
                    <a:pt x="65" y="905"/>
                  </a:lnTo>
                  <a:lnTo>
                    <a:pt x="56" y="909"/>
                  </a:lnTo>
                  <a:lnTo>
                    <a:pt x="46" y="911"/>
                  </a:lnTo>
                  <a:lnTo>
                    <a:pt x="39" y="910"/>
                  </a:lnTo>
                  <a:lnTo>
                    <a:pt x="34" y="906"/>
                  </a:lnTo>
                  <a:lnTo>
                    <a:pt x="34" y="900"/>
                  </a:lnTo>
                  <a:lnTo>
                    <a:pt x="36" y="892"/>
                  </a:lnTo>
                  <a:lnTo>
                    <a:pt x="41" y="881"/>
                  </a:lnTo>
                  <a:lnTo>
                    <a:pt x="42" y="877"/>
                  </a:lnTo>
                  <a:lnTo>
                    <a:pt x="41" y="877"/>
                  </a:lnTo>
                  <a:lnTo>
                    <a:pt x="38" y="878"/>
                  </a:lnTo>
                  <a:lnTo>
                    <a:pt x="35" y="881"/>
                  </a:lnTo>
                  <a:lnTo>
                    <a:pt x="30" y="885"/>
                  </a:lnTo>
                  <a:lnTo>
                    <a:pt x="26" y="889"/>
                  </a:lnTo>
                  <a:lnTo>
                    <a:pt x="21" y="892"/>
                  </a:lnTo>
                  <a:lnTo>
                    <a:pt x="18" y="893"/>
                  </a:lnTo>
                  <a:lnTo>
                    <a:pt x="15" y="891"/>
                  </a:lnTo>
                  <a:lnTo>
                    <a:pt x="7" y="871"/>
                  </a:lnTo>
                  <a:lnTo>
                    <a:pt x="3" y="858"/>
                  </a:lnTo>
                  <a:lnTo>
                    <a:pt x="0" y="849"/>
                  </a:lnTo>
                  <a:lnTo>
                    <a:pt x="0" y="841"/>
                  </a:lnTo>
                  <a:lnTo>
                    <a:pt x="2" y="835"/>
                  </a:lnTo>
                  <a:lnTo>
                    <a:pt x="6" y="829"/>
                  </a:lnTo>
                  <a:lnTo>
                    <a:pt x="8" y="823"/>
                  </a:lnTo>
                  <a:lnTo>
                    <a:pt x="7" y="816"/>
                  </a:lnTo>
                  <a:lnTo>
                    <a:pt x="5" y="809"/>
                  </a:lnTo>
                  <a:lnTo>
                    <a:pt x="7" y="802"/>
                  </a:lnTo>
                  <a:lnTo>
                    <a:pt x="11" y="793"/>
                  </a:lnTo>
                  <a:lnTo>
                    <a:pt x="12" y="784"/>
                  </a:lnTo>
                  <a:lnTo>
                    <a:pt x="12" y="775"/>
                  </a:lnTo>
                  <a:lnTo>
                    <a:pt x="14" y="768"/>
                  </a:lnTo>
                  <a:lnTo>
                    <a:pt x="17" y="760"/>
                  </a:lnTo>
                  <a:lnTo>
                    <a:pt x="27" y="742"/>
                  </a:lnTo>
                  <a:lnTo>
                    <a:pt x="32" y="734"/>
                  </a:lnTo>
                  <a:lnTo>
                    <a:pt x="34" y="728"/>
                  </a:lnTo>
                  <a:lnTo>
                    <a:pt x="33" y="722"/>
                  </a:lnTo>
                  <a:lnTo>
                    <a:pt x="31" y="718"/>
                  </a:lnTo>
                  <a:lnTo>
                    <a:pt x="27" y="713"/>
                  </a:lnTo>
                  <a:lnTo>
                    <a:pt x="24" y="707"/>
                  </a:lnTo>
                  <a:lnTo>
                    <a:pt x="22" y="700"/>
                  </a:lnTo>
                  <a:lnTo>
                    <a:pt x="21" y="689"/>
                  </a:lnTo>
                  <a:lnTo>
                    <a:pt x="22" y="678"/>
                  </a:lnTo>
                  <a:lnTo>
                    <a:pt x="25" y="668"/>
                  </a:lnTo>
                  <a:lnTo>
                    <a:pt x="29" y="661"/>
                  </a:lnTo>
                  <a:lnTo>
                    <a:pt x="36" y="653"/>
                  </a:lnTo>
                  <a:lnTo>
                    <a:pt x="42" y="642"/>
                  </a:lnTo>
                  <a:lnTo>
                    <a:pt x="47" y="631"/>
                  </a:lnTo>
                  <a:lnTo>
                    <a:pt x="52" y="622"/>
                  </a:lnTo>
                  <a:lnTo>
                    <a:pt x="54" y="614"/>
                  </a:lnTo>
                  <a:lnTo>
                    <a:pt x="55" y="606"/>
                  </a:lnTo>
                  <a:lnTo>
                    <a:pt x="57" y="598"/>
                  </a:lnTo>
                  <a:lnTo>
                    <a:pt x="63" y="591"/>
                  </a:lnTo>
                  <a:lnTo>
                    <a:pt x="69" y="583"/>
                  </a:lnTo>
                  <a:lnTo>
                    <a:pt x="72" y="576"/>
                  </a:lnTo>
                  <a:lnTo>
                    <a:pt x="72" y="567"/>
                  </a:lnTo>
                  <a:lnTo>
                    <a:pt x="73" y="559"/>
                  </a:lnTo>
                  <a:lnTo>
                    <a:pt x="75" y="550"/>
                  </a:lnTo>
                  <a:lnTo>
                    <a:pt x="78" y="543"/>
                  </a:lnTo>
                  <a:lnTo>
                    <a:pt x="79" y="537"/>
                  </a:lnTo>
                  <a:lnTo>
                    <a:pt x="80" y="530"/>
                  </a:lnTo>
                  <a:lnTo>
                    <a:pt x="83" y="523"/>
                  </a:lnTo>
                  <a:lnTo>
                    <a:pt x="89" y="517"/>
                  </a:lnTo>
                  <a:lnTo>
                    <a:pt x="92" y="512"/>
                  </a:lnTo>
                  <a:lnTo>
                    <a:pt x="94" y="503"/>
                  </a:lnTo>
                  <a:lnTo>
                    <a:pt x="95" y="493"/>
                  </a:lnTo>
                  <a:lnTo>
                    <a:pt x="96" y="482"/>
                  </a:lnTo>
                  <a:lnTo>
                    <a:pt x="96" y="472"/>
                  </a:lnTo>
                  <a:lnTo>
                    <a:pt x="98" y="465"/>
                  </a:lnTo>
                  <a:lnTo>
                    <a:pt x="103" y="456"/>
                  </a:lnTo>
                  <a:lnTo>
                    <a:pt x="109" y="448"/>
                  </a:lnTo>
                  <a:lnTo>
                    <a:pt x="117" y="443"/>
                  </a:lnTo>
                  <a:lnTo>
                    <a:pt x="122" y="439"/>
                  </a:lnTo>
                  <a:lnTo>
                    <a:pt x="128" y="433"/>
                  </a:lnTo>
                  <a:lnTo>
                    <a:pt x="132" y="427"/>
                  </a:lnTo>
                  <a:lnTo>
                    <a:pt x="135" y="421"/>
                  </a:lnTo>
                  <a:lnTo>
                    <a:pt x="136" y="417"/>
                  </a:lnTo>
                  <a:lnTo>
                    <a:pt x="138" y="413"/>
                  </a:lnTo>
                  <a:lnTo>
                    <a:pt x="143" y="409"/>
                  </a:lnTo>
                  <a:lnTo>
                    <a:pt x="149" y="404"/>
                  </a:lnTo>
                  <a:lnTo>
                    <a:pt x="152" y="401"/>
                  </a:lnTo>
                  <a:lnTo>
                    <a:pt x="157" y="397"/>
                  </a:lnTo>
                  <a:lnTo>
                    <a:pt x="166" y="391"/>
                  </a:lnTo>
                  <a:lnTo>
                    <a:pt x="174" y="383"/>
                  </a:lnTo>
                  <a:lnTo>
                    <a:pt x="180" y="373"/>
                  </a:lnTo>
                  <a:lnTo>
                    <a:pt x="191" y="347"/>
                  </a:lnTo>
                  <a:lnTo>
                    <a:pt x="196" y="339"/>
                  </a:lnTo>
                  <a:lnTo>
                    <a:pt x="197" y="337"/>
                  </a:lnTo>
                  <a:lnTo>
                    <a:pt x="197" y="335"/>
                  </a:lnTo>
                  <a:lnTo>
                    <a:pt x="193" y="331"/>
                  </a:lnTo>
                  <a:lnTo>
                    <a:pt x="207" y="328"/>
                  </a:lnTo>
                  <a:lnTo>
                    <a:pt x="217" y="324"/>
                  </a:lnTo>
                  <a:lnTo>
                    <a:pt x="224" y="319"/>
                  </a:lnTo>
                  <a:lnTo>
                    <a:pt x="227" y="313"/>
                  </a:lnTo>
                  <a:lnTo>
                    <a:pt x="230" y="308"/>
                  </a:lnTo>
                  <a:lnTo>
                    <a:pt x="231" y="303"/>
                  </a:lnTo>
                  <a:lnTo>
                    <a:pt x="234" y="295"/>
                  </a:lnTo>
                  <a:lnTo>
                    <a:pt x="240" y="286"/>
                  </a:lnTo>
                  <a:lnTo>
                    <a:pt x="245" y="277"/>
                  </a:lnTo>
                  <a:lnTo>
                    <a:pt x="249" y="270"/>
                  </a:lnTo>
                  <a:lnTo>
                    <a:pt x="250" y="261"/>
                  </a:lnTo>
                  <a:lnTo>
                    <a:pt x="251" y="249"/>
                  </a:lnTo>
                  <a:lnTo>
                    <a:pt x="252" y="235"/>
                  </a:lnTo>
                  <a:lnTo>
                    <a:pt x="253" y="224"/>
                  </a:lnTo>
                  <a:lnTo>
                    <a:pt x="256" y="216"/>
                  </a:lnTo>
                  <a:lnTo>
                    <a:pt x="262" y="210"/>
                  </a:lnTo>
                  <a:lnTo>
                    <a:pt x="270" y="206"/>
                  </a:lnTo>
                  <a:lnTo>
                    <a:pt x="277" y="202"/>
                  </a:lnTo>
                  <a:lnTo>
                    <a:pt x="281" y="198"/>
                  </a:lnTo>
                  <a:lnTo>
                    <a:pt x="280" y="194"/>
                  </a:lnTo>
                  <a:lnTo>
                    <a:pt x="278" y="188"/>
                  </a:lnTo>
                  <a:lnTo>
                    <a:pt x="275" y="180"/>
                  </a:lnTo>
                  <a:lnTo>
                    <a:pt x="275" y="170"/>
                  </a:lnTo>
                  <a:lnTo>
                    <a:pt x="279" y="160"/>
                  </a:lnTo>
                  <a:lnTo>
                    <a:pt x="283" y="153"/>
                  </a:lnTo>
                  <a:lnTo>
                    <a:pt x="287" y="147"/>
                  </a:lnTo>
                  <a:lnTo>
                    <a:pt x="288" y="145"/>
                  </a:lnTo>
                  <a:lnTo>
                    <a:pt x="287" y="142"/>
                  </a:lnTo>
                  <a:lnTo>
                    <a:pt x="284" y="139"/>
                  </a:lnTo>
                  <a:lnTo>
                    <a:pt x="272" y="135"/>
                  </a:lnTo>
                  <a:lnTo>
                    <a:pt x="270" y="132"/>
                  </a:lnTo>
                  <a:lnTo>
                    <a:pt x="270" y="127"/>
                  </a:lnTo>
                  <a:lnTo>
                    <a:pt x="271" y="121"/>
                  </a:lnTo>
                  <a:lnTo>
                    <a:pt x="273" y="115"/>
                  </a:lnTo>
                  <a:lnTo>
                    <a:pt x="273" y="111"/>
                  </a:lnTo>
                  <a:lnTo>
                    <a:pt x="275" y="109"/>
                  </a:lnTo>
                  <a:lnTo>
                    <a:pt x="279" y="108"/>
                  </a:lnTo>
                  <a:lnTo>
                    <a:pt x="293" y="106"/>
                  </a:lnTo>
                  <a:lnTo>
                    <a:pt x="299" y="104"/>
                  </a:lnTo>
                  <a:lnTo>
                    <a:pt x="303" y="102"/>
                  </a:lnTo>
                  <a:lnTo>
                    <a:pt x="304" y="99"/>
                  </a:lnTo>
                  <a:lnTo>
                    <a:pt x="304" y="98"/>
                  </a:lnTo>
                  <a:lnTo>
                    <a:pt x="312" y="97"/>
                  </a:lnTo>
                  <a:lnTo>
                    <a:pt x="317" y="95"/>
                  </a:lnTo>
                  <a:lnTo>
                    <a:pt x="321" y="94"/>
                  </a:lnTo>
                  <a:lnTo>
                    <a:pt x="323" y="92"/>
                  </a:lnTo>
                  <a:lnTo>
                    <a:pt x="322" y="87"/>
                  </a:lnTo>
                  <a:lnTo>
                    <a:pt x="320" y="81"/>
                  </a:lnTo>
                  <a:lnTo>
                    <a:pt x="316" y="71"/>
                  </a:lnTo>
                  <a:lnTo>
                    <a:pt x="317" y="67"/>
                  </a:lnTo>
                  <a:lnTo>
                    <a:pt x="322" y="64"/>
                  </a:lnTo>
                  <a:lnTo>
                    <a:pt x="328" y="62"/>
                  </a:lnTo>
                  <a:lnTo>
                    <a:pt x="335" y="62"/>
                  </a:lnTo>
                  <a:lnTo>
                    <a:pt x="339" y="63"/>
                  </a:lnTo>
                  <a:lnTo>
                    <a:pt x="341" y="67"/>
                  </a:lnTo>
                  <a:lnTo>
                    <a:pt x="342" y="74"/>
                  </a:lnTo>
                  <a:lnTo>
                    <a:pt x="342" y="82"/>
                  </a:lnTo>
                  <a:lnTo>
                    <a:pt x="343" y="91"/>
                  </a:lnTo>
                  <a:lnTo>
                    <a:pt x="346" y="97"/>
                  </a:lnTo>
                  <a:lnTo>
                    <a:pt x="352" y="101"/>
                  </a:lnTo>
                  <a:lnTo>
                    <a:pt x="358" y="103"/>
                  </a:lnTo>
                  <a:lnTo>
                    <a:pt x="365" y="104"/>
                  </a:lnTo>
                  <a:lnTo>
                    <a:pt x="370" y="105"/>
                  </a:lnTo>
                  <a:lnTo>
                    <a:pt x="374" y="109"/>
                  </a:lnTo>
                  <a:lnTo>
                    <a:pt x="384" y="111"/>
                  </a:lnTo>
                  <a:lnTo>
                    <a:pt x="389" y="113"/>
                  </a:lnTo>
                  <a:lnTo>
                    <a:pt x="390" y="117"/>
                  </a:lnTo>
                  <a:lnTo>
                    <a:pt x="388" y="121"/>
                  </a:lnTo>
                  <a:lnTo>
                    <a:pt x="387" y="122"/>
                  </a:lnTo>
                  <a:lnTo>
                    <a:pt x="380" y="122"/>
                  </a:lnTo>
                  <a:lnTo>
                    <a:pt x="378" y="123"/>
                  </a:lnTo>
                  <a:lnTo>
                    <a:pt x="376" y="126"/>
                  </a:lnTo>
                  <a:lnTo>
                    <a:pt x="374" y="132"/>
                  </a:lnTo>
                  <a:lnTo>
                    <a:pt x="373" y="139"/>
                  </a:lnTo>
                  <a:lnTo>
                    <a:pt x="370" y="146"/>
                  </a:lnTo>
                  <a:lnTo>
                    <a:pt x="369" y="149"/>
                  </a:lnTo>
                  <a:lnTo>
                    <a:pt x="369" y="151"/>
                  </a:lnTo>
                  <a:lnTo>
                    <a:pt x="370" y="152"/>
                  </a:lnTo>
                  <a:lnTo>
                    <a:pt x="374" y="154"/>
                  </a:lnTo>
                  <a:lnTo>
                    <a:pt x="377" y="154"/>
                  </a:lnTo>
                  <a:lnTo>
                    <a:pt x="379" y="155"/>
                  </a:lnTo>
                  <a:lnTo>
                    <a:pt x="385" y="156"/>
                  </a:lnTo>
                  <a:lnTo>
                    <a:pt x="389" y="156"/>
                  </a:lnTo>
                  <a:lnTo>
                    <a:pt x="392" y="154"/>
                  </a:lnTo>
                  <a:lnTo>
                    <a:pt x="395" y="149"/>
                  </a:lnTo>
                  <a:lnTo>
                    <a:pt x="397" y="143"/>
                  </a:lnTo>
                  <a:lnTo>
                    <a:pt x="399" y="138"/>
                  </a:lnTo>
                  <a:lnTo>
                    <a:pt x="402" y="136"/>
                  </a:lnTo>
                  <a:lnTo>
                    <a:pt x="405" y="135"/>
                  </a:lnTo>
                  <a:lnTo>
                    <a:pt x="407" y="134"/>
                  </a:lnTo>
                  <a:lnTo>
                    <a:pt x="407" y="131"/>
                  </a:lnTo>
                  <a:lnTo>
                    <a:pt x="405" y="127"/>
                  </a:lnTo>
                  <a:lnTo>
                    <a:pt x="405" y="124"/>
                  </a:lnTo>
                  <a:lnTo>
                    <a:pt x="406" y="121"/>
                  </a:lnTo>
                  <a:lnTo>
                    <a:pt x="407" y="119"/>
                  </a:lnTo>
                  <a:lnTo>
                    <a:pt x="409" y="116"/>
                  </a:lnTo>
                  <a:lnTo>
                    <a:pt x="413" y="112"/>
                  </a:lnTo>
                  <a:lnTo>
                    <a:pt x="420" y="112"/>
                  </a:lnTo>
                  <a:lnTo>
                    <a:pt x="424" y="113"/>
                  </a:lnTo>
                  <a:lnTo>
                    <a:pt x="427" y="114"/>
                  </a:lnTo>
                  <a:lnTo>
                    <a:pt x="432" y="114"/>
                  </a:lnTo>
                  <a:lnTo>
                    <a:pt x="434" y="112"/>
                  </a:lnTo>
                  <a:lnTo>
                    <a:pt x="435" y="110"/>
                  </a:lnTo>
                  <a:lnTo>
                    <a:pt x="439" y="109"/>
                  </a:lnTo>
                  <a:lnTo>
                    <a:pt x="444" y="109"/>
                  </a:lnTo>
                  <a:lnTo>
                    <a:pt x="452" y="110"/>
                  </a:lnTo>
                  <a:lnTo>
                    <a:pt x="457" y="110"/>
                  </a:lnTo>
                  <a:lnTo>
                    <a:pt x="458" y="109"/>
                  </a:lnTo>
                  <a:lnTo>
                    <a:pt x="455" y="105"/>
                  </a:lnTo>
                  <a:lnTo>
                    <a:pt x="451" y="100"/>
                  </a:lnTo>
                  <a:lnTo>
                    <a:pt x="446" y="95"/>
                  </a:lnTo>
                  <a:lnTo>
                    <a:pt x="442" y="90"/>
                  </a:lnTo>
                  <a:lnTo>
                    <a:pt x="442" y="87"/>
                  </a:lnTo>
                  <a:lnTo>
                    <a:pt x="446" y="85"/>
                  </a:lnTo>
                  <a:lnTo>
                    <a:pt x="453" y="85"/>
                  </a:lnTo>
                  <a:lnTo>
                    <a:pt x="461" y="84"/>
                  </a:lnTo>
                  <a:lnTo>
                    <a:pt x="489" y="84"/>
                  </a:lnTo>
                  <a:lnTo>
                    <a:pt x="496" y="83"/>
                  </a:lnTo>
                  <a:lnTo>
                    <a:pt x="499" y="79"/>
                  </a:lnTo>
                  <a:lnTo>
                    <a:pt x="501" y="75"/>
                  </a:lnTo>
                  <a:lnTo>
                    <a:pt x="501" y="70"/>
                  </a:lnTo>
                  <a:lnTo>
                    <a:pt x="500" y="66"/>
                  </a:lnTo>
                  <a:lnTo>
                    <a:pt x="500" y="63"/>
                  </a:lnTo>
                  <a:lnTo>
                    <a:pt x="501" y="60"/>
                  </a:lnTo>
                  <a:lnTo>
                    <a:pt x="504" y="58"/>
                  </a:lnTo>
                  <a:lnTo>
                    <a:pt x="507" y="57"/>
                  </a:lnTo>
                  <a:lnTo>
                    <a:pt x="511" y="57"/>
                  </a:lnTo>
                  <a:lnTo>
                    <a:pt x="517" y="58"/>
                  </a:lnTo>
                  <a:lnTo>
                    <a:pt x="523" y="57"/>
                  </a:lnTo>
                  <a:lnTo>
                    <a:pt x="529" y="57"/>
                  </a:lnTo>
                  <a:lnTo>
                    <a:pt x="533" y="55"/>
                  </a:lnTo>
                  <a:lnTo>
                    <a:pt x="536" y="50"/>
                  </a:lnTo>
                  <a:lnTo>
                    <a:pt x="538" y="36"/>
                  </a:lnTo>
                  <a:lnTo>
                    <a:pt x="537" y="30"/>
                  </a:lnTo>
                  <a:lnTo>
                    <a:pt x="536" y="28"/>
                  </a:lnTo>
                  <a:lnTo>
                    <a:pt x="535" y="27"/>
                  </a:lnTo>
                  <a:lnTo>
                    <a:pt x="534" y="27"/>
                  </a:lnTo>
                  <a:lnTo>
                    <a:pt x="532" y="28"/>
                  </a:lnTo>
                  <a:lnTo>
                    <a:pt x="531" y="29"/>
                  </a:lnTo>
                  <a:lnTo>
                    <a:pt x="528" y="31"/>
                  </a:lnTo>
                  <a:lnTo>
                    <a:pt x="525" y="32"/>
                  </a:lnTo>
                  <a:lnTo>
                    <a:pt x="523" y="33"/>
                  </a:lnTo>
                  <a:lnTo>
                    <a:pt x="522" y="33"/>
                  </a:lnTo>
                  <a:lnTo>
                    <a:pt x="521" y="32"/>
                  </a:lnTo>
                  <a:lnTo>
                    <a:pt x="521" y="29"/>
                  </a:lnTo>
                  <a:lnTo>
                    <a:pt x="519" y="25"/>
                  </a:lnTo>
                  <a:lnTo>
                    <a:pt x="515" y="23"/>
                  </a:lnTo>
                  <a:lnTo>
                    <a:pt x="511" y="22"/>
                  </a:lnTo>
                  <a:lnTo>
                    <a:pt x="509" y="20"/>
                  </a:lnTo>
                  <a:lnTo>
                    <a:pt x="508" y="18"/>
                  </a:lnTo>
                  <a:lnTo>
                    <a:pt x="508" y="15"/>
                  </a:lnTo>
                  <a:lnTo>
                    <a:pt x="509" y="13"/>
                  </a:lnTo>
                  <a:lnTo>
                    <a:pt x="510" y="10"/>
                  </a:lnTo>
                  <a:lnTo>
                    <a:pt x="514" y="7"/>
                  </a:lnTo>
                  <a:lnTo>
                    <a:pt x="522" y="5"/>
                  </a:lnTo>
                  <a:lnTo>
                    <a:pt x="532" y="2"/>
                  </a:lnTo>
                  <a:lnTo>
                    <a:pt x="542" y="1"/>
                  </a:lnTo>
                  <a:lnTo>
                    <a:pt x="550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10">
              <a:extLst>
                <a:ext uri="{FF2B5EF4-FFF2-40B4-BE49-F238E27FC236}">
                  <a16:creationId xmlns:a16="http://schemas.microsoft.com/office/drawing/2014/main" id="{6C1828D8-95B5-4A17-9994-0886A2C030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91051" y="1990726"/>
              <a:ext cx="1958975" cy="1711325"/>
            </a:xfrm>
            <a:custGeom>
              <a:avLst/>
              <a:gdLst/>
              <a:ahLst/>
              <a:cxnLst>
                <a:cxn ang="0">
                  <a:pos x="530" y="347"/>
                </a:cxn>
                <a:cxn ang="0">
                  <a:pos x="573" y="302"/>
                </a:cxn>
                <a:cxn ang="0">
                  <a:pos x="486" y="280"/>
                </a:cxn>
                <a:cxn ang="0">
                  <a:pos x="598" y="19"/>
                </a:cxn>
                <a:cxn ang="0">
                  <a:pos x="688" y="59"/>
                </a:cxn>
                <a:cxn ang="0">
                  <a:pos x="785" y="176"/>
                </a:cxn>
                <a:cxn ang="0">
                  <a:pos x="883" y="210"/>
                </a:cxn>
                <a:cxn ang="0">
                  <a:pos x="972" y="221"/>
                </a:cxn>
                <a:cxn ang="0">
                  <a:pos x="1027" y="253"/>
                </a:cxn>
                <a:cxn ang="0">
                  <a:pos x="1119" y="303"/>
                </a:cxn>
                <a:cxn ang="0">
                  <a:pos x="1146" y="323"/>
                </a:cxn>
                <a:cxn ang="0">
                  <a:pos x="1229" y="352"/>
                </a:cxn>
                <a:cxn ang="0">
                  <a:pos x="1144" y="424"/>
                </a:cxn>
                <a:cxn ang="0">
                  <a:pos x="1075" y="420"/>
                </a:cxn>
                <a:cxn ang="0">
                  <a:pos x="1051" y="518"/>
                </a:cxn>
                <a:cxn ang="0">
                  <a:pos x="1075" y="580"/>
                </a:cxn>
                <a:cxn ang="0">
                  <a:pos x="1080" y="637"/>
                </a:cxn>
                <a:cxn ang="0">
                  <a:pos x="1097" y="725"/>
                </a:cxn>
                <a:cxn ang="0">
                  <a:pos x="1015" y="765"/>
                </a:cxn>
                <a:cxn ang="0">
                  <a:pos x="978" y="850"/>
                </a:cxn>
                <a:cxn ang="0">
                  <a:pos x="997" y="953"/>
                </a:cxn>
                <a:cxn ang="0">
                  <a:pos x="922" y="970"/>
                </a:cxn>
                <a:cxn ang="0">
                  <a:pos x="829" y="1027"/>
                </a:cxn>
                <a:cxn ang="0">
                  <a:pos x="793" y="1039"/>
                </a:cxn>
                <a:cxn ang="0">
                  <a:pos x="764" y="1060"/>
                </a:cxn>
                <a:cxn ang="0">
                  <a:pos x="749" y="1071"/>
                </a:cxn>
                <a:cxn ang="0">
                  <a:pos x="725" y="1034"/>
                </a:cxn>
                <a:cxn ang="0">
                  <a:pos x="739" y="963"/>
                </a:cxn>
                <a:cxn ang="0">
                  <a:pos x="717" y="938"/>
                </a:cxn>
                <a:cxn ang="0">
                  <a:pos x="682" y="890"/>
                </a:cxn>
                <a:cxn ang="0">
                  <a:pos x="660" y="826"/>
                </a:cxn>
                <a:cxn ang="0">
                  <a:pos x="623" y="785"/>
                </a:cxn>
                <a:cxn ang="0">
                  <a:pos x="581" y="727"/>
                </a:cxn>
                <a:cxn ang="0">
                  <a:pos x="580" y="666"/>
                </a:cxn>
                <a:cxn ang="0">
                  <a:pos x="606" y="578"/>
                </a:cxn>
                <a:cxn ang="0">
                  <a:pos x="508" y="603"/>
                </a:cxn>
                <a:cxn ang="0">
                  <a:pos x="443" y="582"/>
                </a:cxn>
                <a:cxn ang="0">
                  <a:pos x="409" y="597"/>
                </a:cxn>
                <a:cxn ang="0">
                  <a:pos x="450" y="706"/>
                </a:cxn>
                <a:cxn ang="0">
                  <a:pos x="378" y="739"/>
                </a:cxn>
                <a:cxn ang="0">
                  <a:pos x="303" y="731"/>
                </a:cxn>
                <a:cxn ang="0">
                  <a:pos x="301" y="696"/>
                </a:cxn>
                <a:cxn ang="0">
                  <a:pos x="293" y="622"/>
                </a:cxn>
                <a:cxn ang="0">
                  <a:pos x="227" y="598"/>
                </a:cxn>
                <a:cxn ang="0">
                  <a:pos x="112" y="659"/>
                </a:cxn>
                <a:cxn ang="0">
                  <a:pos x="81" y="589"/>
                </a:cxn>
                <a:cxn ang="0">
                  <a:pos x="13" y="570"/>
                </a:cxn>
                <a:cxn ang="0">
                  <a:pos x="12" y="507"/>
                </a:cxn>
                <a:cxn ang="0">
                  <a:pos x="79" y="502"/>
                </a:cxn>
                <a:cxn ang="0">
                  <a:pos x="105" y="437"/>
                </a:cxn>
                <a:cxn ang="0">
                  <a:pos x="140" y="287"/>
                </a:cxn>
                <a:cxn ang="0">
                  <a:pos x="153" y="220"/>
                </a:cxn>
                <a:cxn ang="0">
                  <a:pos x="109" y="142"/>
                </a:cxn>
                <a:cxn ang="0">
                  <a:pos x="164" y="78"/>
                </a:cxn>
                <a:cxn ang="0">
                  <a:pos x="330" y="66"/>
                </a:cxn>
                <a:cxn ang="0">
                  <a:pos x="379" y="148"/>
                </a:cxn>
                <a:cxn ang="0">
                  <a:pos x="365" y="176"/>
                </a:cxn>
                <a:cxn ang="0">
                  <a:pos x="415" y="147"/>
                </a:cxn>
                <a:cxn ang="0">
                  <a:pos x="429" y="119"/>
                </a:cxn>
                <a:cxn ang="0">
                  <a:pos x="460" y="166"/>
                </a:cxn>
                <a:cxn ang="0">
                  <a:pos x="473" y="46"/>
                </a:cxn>
              </a:cxnLst>
              <a:rect l="0" t="0" r="r" b="b"/>
              <a:pathLst>
                <a:path w="1234" h="1078">
                  <a:moveTo>
                    <a:pt x="471" y="276"/>
                  </a:moveTo>
                  <a:lnTo>
                    <a:pt x="466" y="277"/>
                  </a:lnTo>
                  <a:lnTo>
                    <a:pt x="464" y="281"/>
                  </a:lnTo>
                  <a:lnTo>
                    <a:pt x="467" y="285"/>
                  </a:lnTo>
                  <a:lnTo>
                    <a:pt x="472" y="291"/>
                  </a:lnTo>
                  <a:lnTo>
                    <a:pt x="480" y="296"/>
                  </a:lnTo>
                  <a:lnTo>
                    <a:pt x="487" y="302"/>
                  </a:lnTo>
                  <a:lnTo>
                    <a:pt x="493" y="308"/>
                  </a:lnTo>
                  <a:lnTo>
                    <a:pt x="500" y="320"/>
                  </a:lnTo>
                  <a:lnTo>
                    <a:pt x="505" y="332"/>
                  </a:lnTo>
                  <a:lnTo>
                    <a:pt x="511" y="343"/>
                  </a:lnTo>
                  <a:lnTo>
                    <a:pt x="516" y="346"/>
                  </a:lnTo>
                  <a:lnTo>
                    <a:pt x="521" y="347"/>
                  </a:lnTo>
                  <a:lnTo>
                    <a:pt x="530" y="347"/>
                  </a:lnTo>
                  <a:lnTo>
                    <a:pt x="535" y="349"/>
                  </a:lnTo>
                  <a:lnTo>
                    <a:pt x="544" y="353"/>
                  </a:lnTo>
                  <a:lnTo>
                    <a:pt x="554" y="355"/>
                  </a:lnTo>
                  <a:lnTo>
                    <a:pt x="565" y="356"/>
                  </a:lnTo>
                  <a:lnTo>
                    <a:pt x="572" y="354"/>
                  </a:lnTo>
                  <a:lnTo>
                    <a:pt x="577" y="349"/>
                  </a:lnTo>
                  <a:lnTo>
                    <a:pt x="579" y="342"/>
                  </a:lnTo>
                  <a:lnTo>
                    <a:pt x="580" y="334"/>
                  </a:lnTo>
                  <a:lnTo>
                    <a:pt x="580" y="327"/>
                  </a:lnTo>
                  <a:lnTo>
                    <a:pt x="579" y="321"/>
                  </a:lnTo>
                  <a:lnTo>
                    <a:pt x="579" y="316"/>
                  </a:lnTo>
                  <a:lnTo>
                    <a:pt x="579" y="309"/>
                  </a:lnTo>
                  <a:lnTo>
                    <a:pt x="578" y="305"/>
                  </a:lnTo>
                  <a:lnTo>
                    <a:pt x="573" y="302"/>
                  </a:lnTo>
                  <a:lnTo>
                    <a:pt x="567" y="300"/>
                  </a:lnTo>
                  <a:lnTo>
                    <a:pt x="563" y="301"/>
                  </a:lnTo>
                  <a:lnTo>
                    <a:pt x="561" y="304"/>
                  </a:lnTo>
                  <a:lnTo>
                    <a:pt x="558" y="307"/>
                  </a:lnTo>
                  <a:lnTo>
                    <a:pt x="554" y="309"/>
                  </a:lnTo>
                  <a:lnTo>
                    <a:pt x="549" y="308"/>
                  </a:lnTo>
                  <a:lnTo>
                    <a:pt x="542" y="303"/>
                  </a:lnTo>
                  <a:lnTo>
                    <a:pt x="534" y="297"/>
                  </a:lnTo>
                  <a:lnTo>
                    <a:pt x="526" y="292"/>
                  </a:lnTo>
                  <a:lnTo>
                    <a:pt x="518" y="291"/>
                  </a:lnTo>
                  <a:lnTo>
                    <a:pt x="511" y="290"/>
                  </a:lnTo>
                  <a:lnTo>
                    <a:pt x="503" y="287"/>
                  </a:lnTo>
                  <a:lnTo>
                    <a:pt x="494" y="284"/>
                  </a:lnTo>
                  <a:lnTo>
                    <a:pt x="486" y="280"/>
                  </a:lnTo>
                  <a:lnTo>
                    <a:pt x="478" y="277"/>
                  </a:lnTo>
                  <a:lnTo>
                    <a:pt x="471" y="276"/>
                  </a:lnTo>
                  <a:close/>
                  <a:moveTo>
                    <a:pt x="500" y="0"/>
                  </a:moveTo>
                  <a:lnTo>
                    <a:pt x="505" y="1"/>
                  </a:lnTo>
                  <a:lnTo>
                    <a:pt x="511" y="7"/>
                  </a:lnTo>
                  <a:lnTo>
                    <a:pt x="518" y="13"/>
                  </a:lnTo>
                  <a:lnTo>
                    <a:pt x="526" y="17"/>
                  </a:lnTo>
                  <a:lnTo>
                    <a:pt x="533" y="19"/>
                  </a:lnTo>
                  <a:lnTo>
                    <a:pt x="543" y="21"/>
                  </a:lnTo>
                  <a:lnTo>
                    <a:pt x="556" y="23"/>
                  </a:lnTo>
                  <a:lnTo>
                    <a:pt x="569" y="24"/>
                  </a:lnTo>
                  <a:lnTo>
                    <a:pt x="581" y="24"/>
                  </a:lnTo>
                  <a:lnTo>
                    <a:pt x="591" y="22"/>
                  </a:lnTo>
                  <a:lnTo>
                    <a:pt x="598" y="19"/>
                  </a:lnTo>
                  <a:lnTo>
                    <a:pt x="609" y="13"/>
                  </a:lnTo>
                  <a:lnTo>
                    <a:pt x="621" y="9"/>
                  </a:lnTo>
                  <a:lnTo>
                    <a:pt x="635" y="10"/>
                  </a:lnTo>
                  <a:lnTo>
                    <a:pt x="647" y="14"/>
                  </a:lnTo>
                  <a:lnTo>
                    <a:pt x="653" y="19"/>
                  </a:lnTo>
                  <a:lnTo>
                    <a:pt x="660" y="27"/>
                  </a:lnTo>
                  <a:lnTo>
                    <a:pt x="674" y="45"/>
                  </a:lnTo>
                  <a:lnTo>
                    <a:pt x="680" y="53"/>
                  </a:lnTo>
                  <a:lnTo>
                    <a:pt x="685" y="60"/>
                  </a:lnTo>
                  <a:lnTo>
                    <a:pt x="688" y="64"/>
                  </a:lnTo>
                  <a:lnTo>
                    <a:pt x="689" y="64"/>
                  </a:lnTo>
                  <a:lnTo>
                    <a:pt x="689" y="63"/>
                  </a:lnTo>
                  <a:lnTo>
                    <a:pt x="688" y="61"/>
                  </a:lnTo>
                  <a:lnTo>
                    <a:pt x="688" y="59"/>
                  </a:lnTo>
                  <a:lnTo>
                    <a:pt x="697" y="71"/>
                  </a:lnTo>
                  <a:lnTo>
                    <a:pt x="704" y="85"/>
                  </a:lnTo>
                  <a:lnTo>
                    <a:pt x="711" y="97"/>
                  </a:lnTo>
                  <a:lnTo>
                    <a:pt x="717" y="106"/>
                  </a:lnTo>
                  <a:lnTo>
                    <a:pt x="720" y="112"/>
                  </a:lnTo>
                  <a:lnTo>
                    <a:pt x="725" y="117"/>
                  </a:lnTo>
                  <a:lnTo>
                    <a:pt x="733" y="123"/>
                  </a:lnTo>
                  <a:lnTo>
                    <a:pt x="751" y="135"/>
                  </a:lnTo>
                  <a:lnTo>
                    <a:pt x="758" y="139"/>
                  </a:lnTo>
                  <a:lnTo>
                    <a:pt x="763" y="142"/>
                  </a:lnTo>
                  <a:lnTo>
                    <a:pt x="768" y="146"/>
                  </a:lnTo>
                  <a:lnTo>
                    <a:pt x="773" y="155"/>
                  </a:lnTo>
                  <a:lnTo>
                    <a:pt x="779" y="165"/>
                  </a:lnTo>
                  <a:lnTo>
                    <a:pt x="785" y="176"/>
                  </a:lnTo>
                  <a:lnTo>
                    <a:pt x="789" y="186"/>
                  </a:lnTo>
                  <a:lnTo>
                    <a:pt x="794" y="193"/>
                  </a:lnTo>
                  <a:lnTo>
                    <a:pt x="800" y="197"/>
                  </a:lnTo>
                  <a:lnTo>
                    <a:pt x="808" y="199"/>
                  </a:lnTo>
                  <a:lnTo>
                    <a:pt x="828" y="199"/>
                  </a:lnTo>
                  <a:lnTo>
                    <a:pt x="836" y="198"/>
                  </a:lnTo>
                  <a:lnTo>
                    <a:pt x="842" y="195"/>
                  </a:lnTo>
                  <a:lnTo>
                    <a:pt x="846" y="192"/>
                  </a:lnTo>
                  <a:lnTo>
                    <a:pt x="854" y="188"/>
                  </a:lnTo>
                  <a:lnTo>
                    <a:pt x="859" y="190"/>
                  </a:lnTo>
                  <a:lnTo>
                    <a:pt x="864" y="195"/>
                  </a:lnTo>
                  <a:lnTo>
                    <a:pt x="870" y="203"/>
                  </a:lnTo>
                  <a:lnTo>
                    <a:pt x="877" y="208"/>
                  </a:lnTo>
                  <a:lnTo>
                    <a:pt x="883" y="210"/>
                  </a:lnTo>
                  <a:lnTo>
                    <a:pt x="888" y="209"/>
                  </a:lnTo>
                  <a:lnTo>
                    <a:pt x="891" y="207"/>
                  </a:lnTo>
                  <a:lnTo>
                    <a:pt x="893" y="203"/>
                  </a:lnTo>
                  <a:lnTo>
                    <a:pt x="895" y="200"/>
                  </a:lnTo>
                  <a:lnTo>
                    <a:pt x="899" y="197"/>
                  </a:lnTo>
                  <a:lnTo>
                    <a:pt x="907" y="195"/>
                  </a:lnTo>
                  <a:lnTo>
                    <a:pt x="915" y="195"/>
                  </a:lnTo>
                  <a:lnTo>
                    <a:pt x="922" y="198"/>
                  </a:lnTo>
                  <a:lnTo>
                    <a:pt x="928" y="201"/>
                  </a:lnTo>
                  <a:lnTo>
                    <a:pt x="936" y="206"/>
                  </a:lnTo>
                  <a:lnTo>
                    <a:pt x="946" y="210"/>
                  </a:lnTo>
                  <a:lnTo>
                    <a:pt x="956" y="215"/>
                  </a:lnTo>
                  <a:lnTo>
                    <a:pt x="965" y="219"/>
                  </a:lnTo>
                  <a:lnTo>
                    <a:pt x="972" y="221"/>
                  </a:lnTo>
                  <a:lnTo>
                    <a:pt x="979" y="221"/>
                  </a:lnTo>
                  <a:lnTo>
                    <a:pt x="988" y="220"/>
                  </a:lnTo>
                  <a:lnTo>
                    <a:pt x="996" y="219"/>
                  </a:lnTo>
                  <a:lnTo>
                    <a:pt x="1003" y="219"/>
                  </a:lnTo>
                  <a:lnTo>
                    <a:pt x="1008" y="221"/>
                  </a:lnTo>
                  <a:lnTo>
                    <a:pt x="1011" y="224"/>
                  </a:lnTo>
                  <a:lnTo>
                    <a:pt x="1011" y="228"/>
                  </a:lnTo>
                  <a:lnTo>
                    <a:pt x="1010" y="234"/>
                  </a:lnTo>
                  <a:lnTo>
                    <a:pt x="1011" y="242"/>
                  </a:lnTo>
                  <a:lnTo>
                    <a:pt x="1013" y="246"/>
                  </a:lnTo>
                  <a:lnTo>
                    <a:pt x="1016" y="247"/>
                  </a:lnTo>
                  <a:lnTo>
                    <a:pt x="1020" y="248"/>
                  </a:lnTo>
                  <a:lnTo>
                    <a:pt x="1023" y="249"/>
                  </a:lnTo>
                  <a:lnTo>
                    <a:pt x="1027" y="253"/>
                  </a:lnTo>
                  <a:lnTo>
                    <a:pt x="1031" y="258"/>
                  </a:lnTo>
                  <a:lnTo>
                    <a:pt x="1038" y="264"/>
                  </a:lnTo>
                  <a:lnTo>
                    <a:pt x="1047" y="271"/>
                  </a:lnTo>
                  <a:lnTo>
                    <a:pt x="1057" y="279"/>
                  </a:lnTo>
                  <a:lnTo>
                    <a:pt x="1068" y="286"/>
                  </a:lnTo>
                  <a:lnTo>
                    <a:pt x="1078" y="294"/>
                  </a:lnTo>
                  <a:lnTo>
                    <a:pt x="1092" y="304"/>
                  </a:lnTo>
                  <a:lnTo>
                    <a:pt x="1096" y="307"/>
                  </a:lnTo>
                  <a:lnTo>
                    <a:pt x="1101" y="308"/>
                  </a:lnTo>
                  <a:lnTo>
                    <a:pt x="1105" y="306"/>
                  </a:lnTo>
                  <a:lnTo>
                    <a:pt x="1109" y="303"/>
                  </a:lnTo>
                  <a:lnTo>
                    <a:pt x="1115" y="302"/>
                  </a:lnTo>
                  <a:lnTo>
                    <a:pt x="1117" y="302"/>
                  </a:lnTo>
                  <a:lnTo>
                    <a:pt x="1119" y="303"/>
                  </a:lnTo>
                  <a:lnTo>
                    <a:pt x="1120" y="305"/>
                  </a:lnTo>
                  <a:lnTo>
                    <a:pt x="1120" y="306"/>
                  </a:lnTo>
                  <a:lnTo>
                    <a:pt x="1122" y="310"/>
                  </a:lnTo>
                  <a:lnTo>
                    <a:pt x="1123" y="313"/>
                  </a:lnTo>
                  <a:lnTo>
                    <a:pt x="1127" y="317"/>
                  </a:lnTo>
                  <a:lnTo>
                    <a:pt x="1129" y="317"/>
                  </a:lnTo>
                  <a:lnTo>
                    <a:pt x="1130" y="316"/>
                  </a:lnTo>
                  <a:lnTo>
                    <a:pt x="1132" y="315"/>
                  </a:lnTo>
                  <a:lnTo>
                    <a:pt x="1133" y="314"/>
                  </a:lnTo>
                  <a:lnTo>
                    <a:pt x="1134" y="312"/>
                  </a:lnTo>
                  <a:lnTo>
                    <a:pt x="1135" y="311"/>
                  </a:lnTo>
                  <a:lnTo>
                    <a:pt x="1138" y="311"/>
                  </a:lnTo>
                  <a:lnTo>
                    <a:pt x="1142" y="315"/>
                  </a:lnTo>
                  <a:lnTo>
                    <a:pt x="1146" y="323"/>
                  </a:lnTo>
                  <a:lnTo>
                    <a:pt x="1151" y="332"/>
                  </a:lnTo>
                  <a:lnTo>
                    <a:pt x="1154" y="339"/>
                  </a:lnTo>
                  <a:lnTo>
                    <a:pt x="1157" y="342"/>
                  </a:lnTo>
                  <a:lnTo>
                    <a:pt x="1161" y="342"/>
                  </a:lnTo>
                  <a:lnTo>
                    <a:pt x="1166" y="341"/>
                  </a:lnTo>
                  <a:lnTo>
                    <a:pt x="1172" y="340"/>
                  </a:lnTo>
                  <a:lnTo>
                    <a:pt x="1177" y="339"/>
                  </a:lnTo>
                  <a:lnTo>
                    <a:pt x="1185" y="339"/>
                  </a:lnTo>
                  <a:lnTo>
                    <a:pt x="1194" y="342"/>
                  </a:lnTo>
                  <a:lnTo>
                    <a:pt x="1202" y="346"/>
                  </a:lnTo>
                  <a:lnTo>
                    <a:pt x="1206" y="348"/>
                  </a:lnTo>
                  <a:lnTo>
                    <a:pt x="1214" y="350"/>
                  </a:lnTo>
                  <a:lnTo>
                    <a:pt x="1222" y="351"/>
                  </a:lnTo>
                  <a:lnTo>
                    <a:pt x="1229" y="352"/>
                  </a:lnTo>
                  <a:lnTo>
                    <a:pt x="1234" y="353"/>
                  </a:lnTo>
                  <a:lnTo>
                    <a:pt x="1216" y="363"/>
                  </a:lnTo>
                  <a:lnTo>
                    <a:pt x="1208" y="367"/>
                  </a:lnTo>
                  <a:lnTo>
                    <a:pt x="1205" y="370"/>
                  </a:lnTo>
                  <a:lnTo>
                    <a:pt x="1203" y="374"/>
                  </a:lnTo>
                  <a:lnTo>
                    <a:pt x="1205" y="384"/>
                  </a:lnTo>
                  <a:lnTo>
                    <a:pt x="1204" y="390"/>
                  </a:lnTo>
                  <a:lnTo>
                    <a:pt x="1199" y="395"/>
                  </a:lnTo>
                  <a:lnTo>
                    <a:pt x="1191" y="401"/>
                  </a:lnTo>
                  <a:lnTo>
                    <a:pt x="1180" y="407"/>
                  </a:lnTo>
                  <a:lnTo>
                    <a:pt x="1168" y="413"/>
                  </a:lnTo>
                  <a:lnTo>
                    <a:pt x="1157" y="418"/>
                  </a:lnTo>
                  <a:lnTo>
                    <a:pt x="1149" y="422"/>
                  </a:lnTo>
                  <a:lnTo>
                    <a:pt x="1144" y="424"/>
                  </a:lnTo>
                  <a:lnTo>
                    <a:pt x="1140" y="423"/>
                  </a:lnTo>
                  <a:lnTo>
                    <a:pt x="1133" y="416"/>
                  </a:lnTo>
                  <a:lnTo>
                    <a:pt x="1127" y="412"/>
                  </a:lnTo>
                  <a:lnTo>
                    <a:pt x="1120" y="411"/>
                  </a:lnTo>
                  <a:lnTo>
                    <a:pt x="1113" y="411"/>
                  </a:lnTo>
                  <a:lnTo>
                    <a:pt x="1109" y="410"/>
                  </a:lnTo>
                  <a:lnTo>
                    <a:pt x="1107" y="409"/>
                  </a:lnTo>
                  <a:lnTo>
                    <a:pt x="1104" y="408"/>
                  </a:lnTo>
                  <a:lnTo>
                    <a:pt x="1100" y="407"/>
                  </a:lnTo>
                  <a:lnTo>
                    <a:pt x="1092" y="407"/>
                  </a:lnTo>
                  <a:lnTo>
                    <a:pt x="1084" y="408"/>
                  </a:lnTo>
                  <a:lnTo>
                    <a:pt x="1080" y="411"/>
                  </a:lnTo>
                  <a:lnTo>
                    <a:pt x="1077" y="415"/>
                  </a:lnTo>
                  <a:lnTo>
                    <a:pt x="1075" y="420"/>
                  </a:lnTo>
                  <a:lnTo>
                    <a:pt x="1071" y="425"/>
                  </a:lnTo>
                  <a:lnTo>
                    <a:pt x="1066" y="431"/>
                  </a:lnTo>
                  <a:lnTo>
                    <a:pt x="1059" y="435"/>
                  </a:lnTo>
                  <a:lnTo>
                    <a:pt x="1051" y="437"/>
                  </a:lnTo>
                  <a:lnTo>
                    <a:pt x="1035" y="437"/>
                  </a:lnTo>
                  <a:lnTo>
                    <a:pt x="1029" y="438"/>
                  </a:lnTo>
                  <a:lnTo>
                    <a:pt x="1025" y="441"/>
                  </a:lnTo>
                  <a:lnTo>
                    <a:pt x="1024" y="447"/>
                  </a:lnTo>
                  <a:lnTo>
                    <a:pt x="1026" y="456"/>
                  </a:lnTo>
                  <a:lnTo>
                    <a:pt x="1029" y="467"/>
                  </a:lnTo>
                  <a:lnTo>
                    <a:pt x="1039" y="492"/>
                  </a:lnTo>
                  <a:lnTo>
                    <a:pt x="1044" y="503"/>
                  </a:lnTo>
                  <a:lnTo>
                    <a:pt x="1048" y="512"/>
                  </a:lnTo>
                  <a:lnTo>
                    <a:pt x="1051" y="518"/>
                  </a:lnTo>
                  <a:lnTo>
                    <a:pt x="1055" y="522"/>
                  </a:lnTo>
                  <a:lnTo>
                    <a:pt x="1060" y="526"/>
                  </a:lnTo>
                  <a:lnTo>
                    <a:pt x="1066" y="528"/>
                  </a:lnTo>
                  <a:lnTo>
                    <a:pt x="1070" y="531"/>
                  </a:lnTo>
                  <a:lnTo>
                    <a:pt x="1073" y="534"/>
                  </a:lnTo>
                  <a:lnTo>
                    <a:pt x="1072" y="537"/>
                  </a:lnTo>
                  <a:lnTo>
                    <a:pt x="1069" y="545"/>
                  </a:lnTo>
                  <a:lnTo>
                    <a:pt x="1071" y="555"/>
                  </a:lnTo>
                  <a:lnTo>
                    <a:pt x="1077" y="567"/>
                  </a:lnTo>
                  <a:lnTo>
                    <a:pt x="1080" y="572"/>
                  </a:lnTo>
                  <a:lnTo>
                    <a:pt x="1080" y="574"/>
                  </a:lnTo>
                  <a:lnTo>
                    <a:pt x="1080" y="576"/>
                  </a:lnTo>
                  <a:lnTo>
                    <a:pt x="1078" y="577"/>
                  </a:lnTo>
                  <a:lnTo>
                    <a:pt x="1075" y="580"/>
                  </a:lnTo>
                  <a:lnTo>
                    <a:pt x="1070" y="586"/>
                  </a:lnTo>
                  <a:lnTo>
                    <a:pt x="1068" y="592"/>
                  </a:lnTo>
                  <a:lnTo>
                    <a:pt x="1071" y="599"/>
                  </a:lnTo>
                  <a:lnTo>
                    <a:pt x="1076" y="606"/>
                  </a:lnTo>
                  <a:lnTo>
                    <a:pt x="1081" y="613"/>
                  </a:lnTo>
                  <a:lnTo>
                    <a:pt x="1088" y="619"/>
                  </a:lnTo>
                  <a:lnTo>
                    <a:pt x="1093" y="624"/>
                  </a:lnTo>
                  <a:lnTo>
                    <a:pt x="1095" y="628"/>
                  </a:lnTo>
                  <a:lnTo>
                    <a:pt x="1095" y="632"/>
                  </a:lnTo>
                  <a:lnTo>
                    <a:pt x="1094" y="633"/>
                  </a:lnTo>
                  <a:lnTo>
                    <a:pt x="1092" y="634"/>
                  </a:lnTo>
                  <a:lnTo>
                    <a:pt x="1089" y="635"/>
                  </a:lnTo>
                  <a:lnTo>
                    <a:pt x="1086" y="635"/>
                  </a:lnTo>
                  <a:lnTo>
                    <a:pt x="1080" y="637"/>
                  </a:lnTo>
                  <a:lnTo>
                    <a:pt x="1079" y="639"/>
                  </a:lnTo>
                  <a:lnTo>
                    <a:pt x="1080" y="642"/>
                  </a:lnTo>
                  <a:lnTo>
                    <a:pt x="1083" y="646"/>
                  </a:lnTo>
                  <a:lnTo>
                    <a:pt x="1086" y="650"/>
                  </a:lnTo>
                  <a:lnTo>
                    <a:pt x="1089" y="655"/>
                  </a:lnTo>
                  <a:lnTo>
                    <a:pt x="1089" y="664"/>
                  </a:lnTo>
                  <a:lnTo>
                    <a:pt x="1091" y="670"/>
                  </a:lnTo>
                  <a:lnTo>
                    <a:pt x="1094" y="675"/>
                  </a:lnTo>
                  <a:lnTo>
                    <a:pt x="1096" y="681"/>
                  </a:lnTo>
                  <a:lnTo>
                    <a:pt x="1095" y="686"/>
                  </a:lnTo>
                  <a:lnTo>
                    <a:pt x="1092" y="693"/>
                  </a:lnTo>
                  <a:lnTo>
                    <a:pt x="1093" y="701"/>
                  </a:lnTo>
                  <a:lnTo>
                    <a:pt x="1097" y="719"/>
                  </a:lnTo>
                  <a:lnTo>
                    <a:pt x="1097" y="725"/>
                  </a:lnTo>
                  <a:lnTo>
                    <a:pt x="1093" y="729"/>
                  </a:lnTo>
                  <a:lnTo>
                    <a:pt x="1088" y="733"/>
                  </a:lnTo>
                  <a:lnTo>
                    <a:pt x="1075" y="741"/>
                  </a:lnTo>
                  <a:lnTo>
                    <a:pt x="1070" y="745"/>
                  </a:lnTo>
                  <a:lnTo>
                    <a:pt x="1070" y="748"/>
                  </a:lnTo>
                  <a:lnTo>
                    <a:pt x="1072" y="750"/>
                  </a:lnTo>
                  <a:lnTo>
                    <a:pt x="1075" y="754"/>
                  </a:lnTo>
                  <a:lnTo>
                    <a:pt x="1076" y="757"/>
                  </a:lnTo>
                  <a:lnTo>
                    <a:pt x="1073" y="760"/>
                  </a:lnTo>
                  <a:lnTo>
                    <a:pt x="1065" y="761"/>
                  </a:lnTo>
                  <a:lnTo>
                    <a:pt x="1054" y="762"/>
                  </a:lnTo>
                  <a:lnTo>
                    <a:pt x="1041" y="763"/>
                  </a:lnTo>
                  <a:lnTo>
                    <a:pt x="1027" y="764"/>
                  </a:lnTo>
                  <a:lnTo>
                    <a:pt x="1015" y="765"/>
                  </a:lnTo>
                  <a:lnTo>
                    <a:pt x="1005" y="767"/>
                  </a:lnTo>
                  <a:lnTo>
                    <a:pt x="1000" y="769"/>
                  </a:lnTo>
                  <a:lnTo>
                    <a:pt x="996" y="772"/>
                  </a:lnTo>
                  <a:lnTo>
                    <a:pt x="986" y="778"/>
                  </a:lnTo>
                  <a:lnTo>
                    <a:pt x="981" y="780"/>
                  </a:lnTo>
                  <a:lnTo>
                    <a:pt x="979" y="784"/>
                  </a:lnTo>
                  <a:lnTo>
                    <a:pt x="980" y="788"/>
                  </a:lnTo>
                  <a:lnTo>
                    <a:pt x="984" y="798"/>
                  </a:lnTo>
                  <a:lnTo>
                    <a:pt x="987" y="808"/>
                  </a:lnTo>
                  <a:lnTo>
                    <a:pt x="989" y="818"/>
                  </a:lnTo>
                  <a:lnTo>
                    <a:pt x="991" y="825"/>
                  </a:lnTo>
                  <a:lnTo>
                    <a:pt x="992" y="832"/>
                  </a:lnTo>
                  <a:lnTo>
                    <a:pt x="990" y="838"/>
                  </a:lnTo>
                  <a:lnTo>
                    <a:pt x="978" y="850"/>
                  </a:lnTo>
                  <a:lnTo>
                    <a:pt x="976" y="858"/>
                  </a:lnTo>
                  <a:lnTo>
                    <a:pt x="977" y="866"/>
                  </a:lnTo>
                  <a:lnTo>
                    <a:pt x="979" y="876"/>
                  </a:lnTo>
                  <a:lnTo>
                    <a:pt x="983" y="886"/>
                  </a:lnTo>
                  <a:lnTo>
                    <a:pt x="990" y="894"/>
                  </a:lnTo>
                  <a:lnTo>
                    <a:pt x="996" y="903"/>
                  </a:lnTo>
                  <a:lnTo>
                    <a:pt x="999" y="912"/>
                  </a:lnTo>
                  <a:lnTo>
                    <a:pt x="1000" y="923"/>
                  </a:lnTo>
                  <a:lnTo>
                    <a:pt x="1003" y="937"/>
                  </a:lnTo>
                  <a:lnTo>
                    <a:pt x="1000" y="937"/>
                  </a:lnTo>
                  <a:lnTo>
                    <a:pt x="996" y="939"/>
                  </a:lnTo>
                  <a:lnTo>
                    <a:pt x="994" y="943"/>
                  </a:lnTo>
                  <a:lnTo>
                    <a:pt x="995" y="948"/>
                  </a:lnTo>
                  <a:lnTo>
                    <a:pt x="997" y="953"/>
                  </a:lnTo>
                  <a:lnTo>
                    <a:pt x="998" y="958"/>
                  </a:lnTo>
                  <a:lnTo>
                    <a:pt x="997" y="961"/>
                  </a:lnTo>
                  <a:lnTo>
                    <a:pt x="993" y="963"/>
                  </a:lnTo>
                  <a:lnTo>
                    <a:pt x="985" y="963"/>
                  </a:lnTo>
                  <a:lnTo>
                    <a:pt x="977" y="964"/>
                  </a:lnTo>
                  <a:lnTo>
                    <a:pt x="970" y="966"/>
                  </a:lnTo>
                  <a:lnTo>
                    <a:pt x="964" y="967"/>
                  </a:lnTo>
                  <a:lnTo>
                    <a:pt x="957" y="964"/>
                  </a:lnTo>
                  <a:lnTo>
                    <a:pt x="950" y="960"/>
                  </a:lnTo>
                  <a:lnTo>
                    <a:pt x="943" y="957"/>
                  </a:lnTo>
                  <a:lnTo>
                    <a:pt x="936" y="955"/>
                  </a:lnTo>
                  <a:lnTo>
                    <a:pt x="931" y="957"/>
                  </a:lnTo>
                  <a:lnTo>
                    <a:pt x="926" y="963"/>
                  </a:lnTo>
                  <a:lnTo>
                    <a:pt x="922" y="970"/>
                  </a:lnTo>
                  <a:lnTo>
                    <a:pt x="917" y="979"/>
                  </a:lnTo>
                  <a:lnTo>
                    <a:pt x="911" y="987"/>
                  </a:lnTo>
                  <a:lnTo>
                    <a:pt x="903" y="994"/>
                  </a:lnTo>
                  <a:lnTo>
                    <a:pt x="896" y="997"/>
                  </a:lnTo>
                  <a:lnTo>
                    <a:pt x="881" y="997"/>
                  </a:lnTo>
                  <a:lnTo>
                    <a:pt x="876" y="999"/>
                  </a:lnTo>
                  <a:lnTo>
                    <a:pt x="874" y="1002"/>
                  </a:lnTo>
                  <a:lnTo>
                    <a:pt x="872" y="1014"/>
                  </a:lnTo>
                  <a:lnTo>
                    <a:pt x="871" y="1019"/>
                  </a:lnTo>
                  <a:lnTo>
                    <a:pt x="867" y="1022"/>
                  </a:lnTo>
                  <a:lnTo>
                    <a:pt x="861" y="1024"/>
                  </a:lnTo>
                  <a:lnTo>
                    <a:pt x="845" y="1024"/>
                  </a:lnTo>
                  <a:lnTo>
                    <a:pt x="837" y="1025"/>
                  </a:lnTo>
                  <a:lnTo>
                    <a:pt x="829" y="1027"/>
                  </a:lnTo>
                  <a:lnTo>
                    <a:pt x="822" y="1031"/>
                  </a:lnTo>
                  <a:lnTo>
                    <a:pt x="816" y="1037"/>
                  </a:lnTo>
                  <a:lnTo>
                    <a:pt x="814" y="1032"/>
                  </a:lnTo>
                  <a:lnTo>
                    <a:pt x="812" y="1030"/>
                  </a:lnTo>
                  <a:lnTo>
                    <a:pt x="809" y="1027"/>
                  </a:lnTo>
                  <a:lnTo>
                    <a:pt x="806" y="1025"/>
                  </a:lnTo>
                  <a:lnTo>
                    <a:pt x="803" y="1025"/>
                  </a:lnTo>
                  <a:lnTo>
                    <a:pt x="800" y="1026"/>
                  </a:lnTo>
                  <a:lnTo>
                    <a:pt x="797" y="1029"/>
                  </a:lnTo>
                  <a:lnTo>
                    <a:pt x="797" y="1031"/>
                  </a:lnTo>
                  <a:lnTo>
                    <a:pt x="796" y="1033"/>
                  </a:lnTo>
                  <a:lnTo>
                    <a:pt x="796" y="1035"/>
                  </a:lnTo>
                  <a:lnTo>
                    <a:pt x="795" y="1037"/>
                  </a:lnTo>
                  <a:lnTo>
                    <a:pt x="793" y="1039"/>
                  </a:lnTo>
                  <a:lnTo>
                    <a:pt x="792" y="1039"/>
                  </a:lnTo>
                  <a:lnTo>
                    <a:pt x="789" y="1038"/>
                  </a:lnTo>
                  <a:lnTo>
                    <a:pt x="787" y="1037"/>
                  </a:lnTo>
                  <a:lnTo>
                    <a:pt x="784" y="1035"/>
                  </a:lnTo>
                  <a:lnTo>
                    <a:pt x="782" y="1033"/>
                  </a:lnTo>
                  <a:lnTo>
                    <a:pt x="779" y="1032"/>
                  </a:lnTo>
                  <a:lnTo>
                    <a:pt x="777" y="1032"/>
                  </a:lnTo>
                  <a:lnTo>
                    <a:pt x="771" y="1035"/>
                  </a:lnTo>
                  <a:lnTo>
                    <a:pt x="765" y="1040"/>
                  </a:lnTo>
                  <a:lnTo>
                    <a:pt x="759" y="1043"/>
                  </a:lnTo>
                  <a:lnTo>
                    <a:pt x="757" y="1046"/>
                  </a:lnTo>
                  <a:lnTo>
                    <a:pt x="757" y="1051"/>
                  </a:lnTo>
                  <a:lnTo>
                    <a:pt x="760" y="1057"/>
                  </a:lnTo>
                  <a:lnTo>
                    <a:pt x="764" y="1060"/>
                  </a:lnTo>
                  <a:lnTo>
                    <a:pt x="767" y="1061"/>
                  </a:lnTo>
                  <a:lnTo>
                    <a:pt x="770" y="1063"/>
                  </a:lnTo>
                  <a:lnTo>
                    <a:pt x="772" y="1064"/>
                  </a:lnTo>
                  <a:lnTo>
                    <a:pt x="773" y="1066"/>
                  </a:lnTo>
                  <a:lnTo>
                    <a:pt x="772" y="1067"/>
                  </a:lnTo>
                  <a:lnTo>
                    <a:pt x="771" y="1069"/>
                  </a:lnTo>
                  <a:lnTo>
                    <a:pt x="770" y="1070"/>
                  </a:lnTo>
                  <a:lnTo>
                    <a:pt x="768" y="1074"/>
                  </a:lnTo>
                  <a:lnTo>
                    <a:pt x="766" y="1075"/>
                  </a:lnTo>
                  <a:lnTo>
                    <a:pt x="765" y="1077"/>
                  </a:lnTo>
                  <a:lnTo>
                    <a:pt x="763" y="1078"/>
                  </a:lnTo>
                  <a:lnTo>
                    <a:pt x="759" y="1078"/>
                  </a:lnTo>
                  <a:lnTo>
                    <a:pt x="756" y="1076"/>
                  </a:lnTo>
                  <a:lnTo>
                    <a:pt x="749" y="1071"/>
                  </a:lnTo>
                  <a:lnTo>
                    <a:pt x="740" y="1066"/>
                  </a:lnTo>
                  <a:lnTo>
                    <a:pt x="731" y="1062"/>
                  </a:lnTo>
                  <a:lnTo>
                    <a:pt x="725" y="1059"/>
                  </a:lnTo>
                  <a:lnTo>
                    <a:pt x="720" y="1057"/>
                  </a:lnTo>
                  <a:lnTo>
                    <a:pt x="710" y="1051"/>
                  </a:lnTo>
                  <a:lnTo>
                    <a:pt x="707" y="1049"/>
                  </a:lnTo>
                  <a:lnTo>
                    <a:pt x="708" y="1048"/>
                  </a:lnTo>
                  <a:lnTo>
                    <a:pt x="717" y="1048"/>
                  </a:lnTo>
                  <a:lnTo>
                    <a:pt x="718" y="1047"/>
                  </a:lnTo>
                  <a:lnTo>
                    <a:pt x="720" y="1046"/>
                  </a:lnTo>
                  <a:lnTo>
                    <a:pt x="721" y="1044"/>
                  </a:lnTo>
                  <a:lnTo>
                    <a:pt x="721" y="1040"/>
                  </a:lnTo>
                  <a:lnTo>
                    <a:pt x="722" y="1036"/>
                  </a:lnTo>
                  <a:lnTo>
                    <a:pt x="725" y="1034"/>
                  </a:lnTo>
                  <a:lnTo>
                    <a:pt x="728" y="1033"/>
                  </a:lnTo>
                  <a:lnTo>
                    <a:pt x="732" y="1033"/>
                  </a:lnTo>
                  <a:lnTo>
                    <a:pt x="736" y="1031"/>
                  </a:lnTo>
                  <a:lnTo>
                    <a:pt x="738" y="1027"/>
                  </a:lnTo>
                  <a:lnTo>
                    <a:pt x="738" y="1019"/>
                  </a:lnTo>
                  <a:lnTo>
                    <a:pt x="735" y="1011"/>
                  </a:lnTo>
                  <a:lnTo>
                    <a:pt x="731" y="1001"/>
                  </a:lnTo>
                  <a:lnTo>
                    <a:pt x="728" y="992"/>
                  </a:lnTo>
                  <a:lnTo>
                    <a:pt x="728" y="984"/>
                  </a:lnTo>
                  <a:lnTo>
                    <a:pt x="731" y="977"/>
                  </a:lnTo>
                  <a:lnTo>
                    <a:pt x="733" y="971"/>
                  </a:lnTo>
                  <a:lnTo>
                    <a:pt x="735" y="968"/>
                  </a:lnTo>
                  <a:lnTo>
                    <a:pt x="738" y="964"/>
                  </a:lnTo>
                  <a:lnTo>
                    <a:pt x="739" y="963"/>
                  </a:lnTo>
                  <a:lnTo>
                    <a:pt x="741" y="962"/>
                  </a:lnTo>
                  <a:lnTo>
                    <a:pt x="742" y="963"/>
                  </a:lnTo>
                  <a:lnTo>
                    <a:pt x="744" y="964"/>
                  </a:lnTo>
                  <a:lnTo>
                    <a:pt x="745" y="965"/>
                  </a:lnTo>
                  <a:lnTo>
                    <a:pt x="746" y="965"/>
                  </a:lnTo>
                  <a:lnTo>
                    <a:pt x="747" y="966"/>
                  </a:lnTo>
                  <a:lnTo>
                    <a:pt x="748" y="965"/>
                  </a:lnTo>
                  <a:lnTo>
                    <a:pt x="749" y="963"/>
                  </a:lnTo>
                  <a:lnTo>
                    <a:pt x="749" y="957"/>
                  </a:lnTo>
                  <a:lnTo>
                    <a:pt x="746" y="951"/>
                  </a:lnTo>
                  <a:lnTo>
                    <a:pt x="740" y="945"/>
                  </a:lnTo>
                  <a:lnTo>
                    <a:pt x="731" y="939"/>
                  </a:lnTo>
                  <a:lnTo>
                    <a:pt x="724" y="937"/>
                  </a:lnTo>
                  <a:lnTo>
                    <a:pt x="717" y="938"/>
                  </a:lnTo>
                  <a:lnTo>
                    <a:pt x="711" y="939"/>
                  </a:lnTo>
                  <a:lnTo>
                    <a:pt x="707" y="939"/>
                  </a:lnTo>
                  <a:lnTo>
                    <a:pt x="704" y="937"/>
                  </a:lnTo>
                  <a:lnTo>
                    <a:pt x="704" y="935"/>
                  </a:lnTo>
                  <a:lnTo>
                    <a:pt x="704" y="929"/>
                  </a:lnTo>
                  <a:lnTo>
                    <a:pt x="704" y="927"/>
                  </a:lnTo>
                  <a:lnTo>
                    <a:pt x="704" y="924"/>
                  </a:lnTo>
                  <a:lnTo>
                    <a:pt x="702" y="924"/>
                  </a:lnTo>
                  <a:lnTo>
                    <a:pt x="684" y="930"/>
                  </a:lnTo>
                  <a:lnTo>
                    <a:pt x="674" y="932"/>
                  </a:lnTo>
                  <a:lnTo>
                    <a:pt x="674" y="911"/>
                  </a:lnTo>
                  <a:lnTo>
                    <a:pt x="675" y="905"/>
                  </a:lnTo>
                  <a:lnTo>
                    <a:pt x="678" y="897"/>
                  </a:lnTo>
                  <a:lnTo>
                    <a:pt x="682" y="890"/>
                  </a:lnTo>
                  <a:lnTo>
                    <a:pt x="688" y="885"/>
                  </a:lnTo>
                  <a:lnTo>
                    <a:pt x="691" y="880"/>
                  </a:lnTo>
                  <a:lnTo>
                    <a:pt x="693" y="873"/>
                  </a:lnTo>
                  <a:lnTo>
                    <a:pt x="693" y="864"/>
                  </a:lnTo>
                  <a:lnTo>
                    <a:pt x="694" y="855"/>
                  </a:lnTo>
                  <a:lnTo>
                    <a:pt x="694" y="847"/>
                  </a:lnTo>
                  <a:lnTo>
                    <a:pt x="695" y="843"/>
                  </a:lnTo>
                  <a:lnTo>
                    <a:pt x="694" y="842"/>
                  </a:lnTo>
                  <a:lnTo>
                    <a:pt x="690" y="841"/>
                  </a:lnTo>
                  <a:lnTo>
                    <a:pt x="670" y="841"/>
                  </a:lnTo>
                  <a:lnTo>
                    <a:pt x="665" y="840"/>
                  </a:lnTo>
                  <a:lnTo>
                    <a:pt x="664" y="838"/>
                  </a:lnTo>
                  <a:lnTo>
                    <a:pt x="664" y="832"/>
                  </a:lnTo>
                  <a:lnTo>
                    <a:pt x="660" y="826"/>
                  </a:lnTo>
                  <a:lnTo>
                    <a:pt x="654" y="821"/>
                  </a:lnTo>
                  <a:lnTo>
                    <a:pt x="647" y="818"/>
                  </a:lnTo>
                  <a:lnTo>
                    <a:pt x="644" y="816"/>
                  </a:lnTo>
                  <a:lnTo>
                    <a:pt x="643" y="812"/>
                  </a:lnTo>
                  <a:lnTo>
                    <a:pt x="645" y="807"/>
                  </a:lnTo>
                  <a:lnTo>
                    <a:pt x="646" y="801"/>
                  </a:lnTo>
                  <a:lnTo>
                    <a:pt x="647" y="796"/>
                  </a:lnTo>
                  <a:lnTo>
                    <a:pt x="646" y="793"/>
                  </a:lnTo>
                  <a:lnTo>
                    <a:pt x="641" y="792"/>
                  </a:lnTo>
                  <a:lnTo>
                    <a:pt x="636" y="794"/>
                  </a:lnTo>
                  <a:lnTo>
                    <a:pt x="631" y="795"/>
                  </a:lnTo>
                  <a:lnTo>
                    <a:pt x="625" y="794"/>
                  </a:lnTo>
                  <a:lnTo>
                    <a:pt x="622" y="790"/>
                  </a:lnTo>
                  <a:lnTo>
                    <a:pt x="623" y="785"/>
                  </a:lnTo>
                  <a:lnTo>
                    <a:pt x="625" y="779"/>
                  </a:lnTo>
                  <a:lnTo>
                    <a:pt x="626" y="773"/>
                  </a:lnTo>
                  <a:lnTo>
                    <a:pt x="626" y="768"/>
                  </a:lnTo>
                  <a:lnTo>
                    <a:pt x="624" y="763"/>
                  </a:lnTo>
                  <a:lnTo>
                    <a:pt x="625" y="758"/>
                  </a:lnTo>
                  <a:lnTo>
                    <a:pt x="626" y="753"/>
                  </a:lnTo>
                  <a:lnTo>
                    <a:pt x="624" y="747"/>
                  </a:lnTo>
                  <a:lnTo>
                    <a:pt x="619" y="741"/>
                  </a:lnTo>
                  <a:lnTo>
                    <a:pt x="613" y="735"/>
                  </a:lnTo>
                  <a:lnTo>
                    <a:pt x="610" y="731"/>
                  </a:lnTo>
                  <a:lnTo>
                    <a:pt x="607" y="729"/>
                  </a:lnTo>
                  <a:lnTo>
                    <a:pt x="600" y="728"/>
                  </a:lnTo>
                  <a:lnTo>
                    <a:pt x="590" y="727"/>
                  </a:lnTo>
                  <a:lnTo>
                    <a:pt x="581" y="727"/>
                  </a:lnTo>
                  <a:lnTo>
                    <a:pt x="578" y="726"/>
                  </a:lnTo>
                  <a:lnTo>
                    <a:pt x="576" y="723"/>
                  </a:lnTo>
                  <a:lnTo>
                    <a:pt x="576" y="718"/>
                  </a:lnTo>
                  <a:lnTo>
                    <a:pt x="577" y="713"/>
                  </a:lnTo>
                  <a:lnTo>
                    <a:pt x="577" y="705"/>
                  </a:lnTo>
                  <a:lnTo>
                    <a:pt x="578" y="702"/>
                  </a:lnTo>
                  <a:lnTo>
                    <a:pt x="581" y="700"/>
                  </a:lnTo>
                  <a:lnTo>
                    <a:pt x="591" y="696"/>
                  </a:lnTo>
                  <a:lnTo>
                    <a:pt x="594" y="694"/>
                  </a:lnTo>
                  <a:lnTo>
                    <a:pt x="594" y="690"/>
                  </a:lnTo>
                  <a:lnTo>
                    <a:pt x="592" y="685"/>
                  </a:lnTo>
                  <a:lnTo>
                    <a:pt x="588" y="680"/>
                  </a:lnTo>
                  <a:lnTo>
                    <a:pt x="583" y="674"/>
                  </a:lnTo>
                  <a:lnTo>
                    <a:pt x="580" y="666"/>
                  </a:lnTo>
                  <a:lnTo>
                    <a:pt x="579" y="657"/>
                  </a:lnTo>
                  <a:lnTo>
                    <a:pt x="579" y="643"/>
                  </a:lnTo>
                  <a:lnTo>
                    <a:pt x="580" y="641"/>
                  </a:lnTo>
                  <a:lnTo>
                    <a:pt x="584" y="640"/>
                  </a:lnTo>
                  <a:lnTo>
                    <a:pt x="589" y="639"/>
                  </a:lnTo>
                  <a:lnTo>
                    <a:pt x="595" y="637"/>
                  </a:lnTo>
                  <a:lnTo>
                    <a:pt x="601" y="633"/>
                  </a:lnTo>
                  <a:lnTo>
                    <a:pt x="605" y="627"/>
                  </a:lnTo>
                  <a:lnTo>
                    <a:pt x="608" y="620"/>
                  </a:lnTo>
                  <a:lnTo>
                    <a:pt x="610" y="610"/>
                  </a:lnTo>
                  <a:lnTo>
                    <a:pt x="611" y="599"/>
                  </a:lnTo>
                  <a:lnTo>
                    <a:pt x="611" y="590"/>
                  </a:lnTo>
                  <a:lnTo>
                    <a:pt x="610" y="582"/>
                  </a:lnTo>
                  <a:lnTo>
                    <a:pt x="606" y="578"/>
                  </a:lnTo>
                  <a:lnTo>
                    <a:pt x="600" y="577"/>
                  </a:lnTo>
                  <a:lnTo>
                    <a:pt x="594" y="581"/>
                  </a:lnTo>
                  <a:lnTo>
                    <a:pt x="587" y="587"/>
                  </a:lnTo>
                  <a:lnTo>
                    <a:pt x="581" y="595"/>
                  </a:lnTo>
                  <a:lnTo>
                    <a:pt x="577" y="603"/>
                  </a:lnTo>
                  <a:lnTo>
                    <a:pt x="573" y="609"/>
                  </a:lnTo>
                  <a:lnTo>
                    <a:pt x="567" y="613"/>
                  </a:lnTo>
                  <a:lnTo>
                    <a:pt x="557" y="616"/>
                  </a:lnTo>
                  <a:lnTo>
                    <a:pt x="545" y="618"/>
                  </a:lnTo>
                  <a:lnTo>
                    <a:pt x="523" y="620"/>
                  </a:lnTo>
                  <a:lnTo>
                    <a:pt x="517" y="620"/>
                  </a:lnTo>
                  <a:lnTo>
                    <a:pt x="513" y="618"/>
                  </a:lnTo>
                  <a:lnTo>
                    <a:pt x="510" y="612"/>
                  </a:lnTo>
                  <a:lnTo>
                    <a:pt x="508" y="603"/>
                  </a:lnTo>
                  <a:lnTo>
                    <a:pt x="506" y="595"/>
                  </a:lnTo>
                  <a:lnTo>
                    <a:pt x="505" y="587"/>
                  </a:lnTo>
                  <a:lnTo>
                    <a:pt x="505" y="581"/>
                  </a:lnTo>
                  <a:lnTo>
                    <a:pt x="503" y="576"/>
                  </a:lnTo>
                  <a:lnTo>
                    <a:pt x="498" y="571"/>
                  </a:lnTo>
                  <a:lnTo>
                    <a:pt x="491" y="568"/>
                  </a:lnTo>
                  <a:lnTo>
                    <a:pt x="483" y="569"/>
                  </a:lnTo>
                  <a:lnTo>
                    <a:pt x="476" y="571"/>
                  </a:lnTo>
                  <a:lnTo>
                    <a:pt x="470" y="572"/>
                  </a:lnTo>
                  <a:lnTo>
                    <a:pt x="463" y="573"/>
                  </a:lnTo>
                  <a:lnTo>
                    <a:pt x="453" y="574"/>
                  </a:lnTo>
                  <a:lnTo>
                    <a:pt x="447" y="575"/>
                  </a:lnTo>
                  <a:lnTo>
                    <a:pt x="444" y="578"/>
                  </a:lnTo>
                  <a:lnTo>
                    <a:pt x="443" y="582"/>
                  </a:lnTo>
                  <a:lnTo>
                    <a:pt x="444" y="587"/>
                  </a:lnTo>
                  <a:lnTo>
                    <a:pt x="444" y="591"/>
                  </a:lnTo>
                  <a:lnTo>
                    <a:pt x="443" y="596"/>
                  </a:lnTo>
                  <a:lnTo>
                    <a:pt x="440" y="600"/>
                  </a:lnTo>
                  <a:lnTo>
                    <a:pt x="436" y="599"/>
                  </a:lnTo>
                  <a:lnTo>
                    <a:pt x="430" y="596"/>
                  </a:lnTo>
                  <a:lnTo>
                    <a:pt x="421" y="592"/>
                  </a:lnTo>
                  <a:lnTo>
                    <a:pt x="417" y="591"/>
                  </a:lnTo>
                  <a:lnTo>
                    <a:pt x="414" y="591"/>
                  </a:lnTo>
                  <a:lnTo>
                    <a:pt x="412" y="592"/>
                  </a:lnTo>
                  <a:lnTo>
                    <a:pt x="411" y="592"/>
                  </a:lnTo>
                  <a:lnTo>
                    <a:pt x="410" y="594"/>
                  </a:lnTo>
                  <a:lnTo>
                    <a:pt x="410" y="595"/>
                  </a:lnTo>
                  <a:lnTo>
                    <a:pt x="409" y="597"/>
                  </a:lnTo>
                  <a:lnTo>
                    <a:pt x="409" y="606"/>
                  </a:lnTo>
                  <a:lnTo>
                    <a:pt x="411" y="611"/>
                  </a:lnTo>
                  <a:lnTo>
                    <a:pt x="417" y="615"/>
                  </a:lnTo>
                  <a:lnTo>
                    <a:pt x="425" y="620"/>
                  </a:lnTo>
                  <a:lnTo>
                    <a:pt x="434" y="626"/>
                  </a:lnTo>
                  <a:lnTo>
                    <a:pt x="441" y="634"/>
                  </a:lnTo>
                  <a:lnTo>
                    <a:pt x="445" y="643"/>
                  </a:lnTo>
                  <a:lnTo>
                    <a:pt x="446" y="654"/>
                  </a:lnTo>
                  <a:lnTo>
                    <a:pt x="444" y="676"/>
                  </a:lnTo>
                  <a:lnTo>
                    <a:pt x="441" y="688"/>
                  </a:lnTo>
                  <a:lnTo>
                    <a:pt x="442" y="691"/>
                  </a:lnTo>
                  <a:lnTo>
                    <a:pt x="445" y="695"/>
                  </a:lnTo>
                  <a:lnTo>
                    <a:pt x="448" y="701"/>
                  </a:lnTo>
                  <a:lnTo>
                    <a:pt x="450" y="706"/>
                  </a:lnTo>
                  <a:lnTo>
                    <a:pt x="449" y="711"/>
                  </a:lnTo>
                  <a:lnTo>
                    <a:pt x="444" y="716"/>
                  </a:lnTo>
                  <a:lnTo>
                    <a:pt x="437" y="722"/>
                  </a:lnTo>
                  <a:lnTo>
                    <a:pt x="429" y="729"/>
                  </a:lnTo>
                  <a:lnTo>
                    <a:pt x="424" y="733"/>
                  </a:lnTo>
                  <a:lnTo>
                    <a:pt x="421" y="733"/>
                  </a:lnTo>
                  <a:lnTo>
                    <a:pt x="417" y="731"/>
                  </a:lnTo>
                  <a:lnTo>
                    <a:pt x="411" y="729"/>
                  </a:lnTo>
                  <a:lnTo>
                    <a:pt x="401" y="727"/>
                  </a:lnTo>
                  <a:lnTo>
                    <a:pt x="393" y="727"/>
                  </a:lnTo>
                  <a:lnTo>
                    <a:pt x="387" y="728"/>
                  </a:lnTo>
                  <a:lnTo>
                    <a:pt x="385" y="730"/>
                  </a:lnTo>
                  <a:lnTo>
                    <a:pt x="381" y="736"/>
                  </a:lnTo>
                  <a:lnTo>
                    <a:pt x="378" y="739"/>
                  </a:lnTo>
                  <a:lnTo>
                    <a:pt x="370" y="743"/>
                  </a:lnTo>
                  <a:lnTo>
                    <a:pt x="359" y="745"/>
                  </a:lnTo>
                  <a:lnTo>
                    <a:pt x="349" y="746"/>
                  </a:lnTo>
                  <a:lnTo>
                    <a:pt x="340" y="746"/>
                  </a:lnTo>
                  <a:lnTo>
                    <a:pt x="334" y="748"/>
                  </a:lnTo>
                  <a:lnTo>
                    <a:pt x="329" y="753"/>
                  </a:lnTo>
                  <a:lnTo>
                    <a:pt x="324" y="758"/>
                  </a:lnTo>
                  <a:lnTo>
                    <a:pt x="318" y="763"/>
                  </a:lnTo>
                  <a:lnTo>
                    <a:pt x="312" y="763"/>
                  </a:lnTo>
                  <a:lnTo>
                    <a:pt x="307" y="758"/>
                  </a:lnTo>
                  <a:lnTo>
                    <a:pt x="303" y="750"/>
                  </a:lnTo>
                  <a:lnTo>
                    <a:pt x="300" y="741"/>
                  </a:lnTo>
                  <a:lnTo>
                    <a:pt x="300" y="735"/>
                  </a:lnTo>
                  <a:lnTo>
                    <a:pt x="303" y="731"/>
                  </a:lnTo>
                  <a:lnTo>
                    <a:pt x="308" y="729"/>
                  </a:lnTo>
                  <a:lnTo>
                    <a:pt x="315" y="728"/>
                  </a:lnTo>
                  <a:lnTo>
                    <a:pt x="327" y="728"/>
                  </a:lnTo>
                  <a:lnTo>
                    <a:pt x="329" y="727"/>
                  </a:lnTo>
                  <a:lnTo>
                    <a:pt x="329" y="723"/>
                  </a:lnTo>
                  <a:lnTo>
                    <a:pt x="327" y="719"/>
                  </a:lnTo>
                  <a:lnTo>
                    <a:pt x="327" y="715"/>
                  </a:lnTo>
                  <a:lnTo>
                    <a:pt x="328" y="713"/>
                  </a:lnTo>
                  <a:lnTo>
                    <a:pt x="329" y="708"/>
                  </a:lnTo>
                  <a:lnTo>
                    <a:pt x="329" y="705"/>
                  </a:lnTo>
                  <a:lnTo>
                    <a:pt x="323" y="703"/>
                  </a:lnTo>
                  <a:lnTo>
                    <a:pt x="312" y="700"/>
                  </a:lnTo>
                  <a:lnTo>
                    <a:pt x="305" y="698"/>
                  </a:lnTo>
                  <a:lnTo>
                    <a:pt x="301" y="696"/>
                  </a:lnTo>
                  <a:lnTo>
                    <a:pt x="301" y="693"/>
                  </a:lnTo>
                  <a:lnTo>
                    <a:pt x="302" y="690"/>
                  </a:lnTo>
                  <a:lnTo>
                    <a:pt x="304" y="687"/>
                  </a:lnTo>
                  <a:lnTo>
                    <a:pt x="305" y="684"/>
                  </a:lnTo>
                  <a:lnTo>
                    <a:pt x="307" y="679"/>
                  </a:lnTo>
                  <a:lnTo>
                    <a:pt x="310" y="673"/>
                  </a:lnTo>
                  <a:lnTo>
                    <a:pt x="312" y="666"/>
                  </a:lnTo>
                  <a:lnTo>
                    <a:pt x="312" y="654"/>
                  </a:lnTo>
                  <a:lnTo>
                    <a:pt x="314" y="649"/>
                  </a:lnTo>
                  <a:lnTo>
                    <a:pt x="316" y="643"/>
                  </a:lnTo>
                  <a:lnTo>
                    <a:pt x="314" y="639"/>
                  </a:lnTo>
                  <a:lnTo>
                    <a:pt x="309" y="633"/>
                  </a:lnTo>
                  <a:lnTo>
                    <a:pt x="302" y="627"/>
                  </a:lnTo>
                  <a:lnTo>
                    <a:pt x="293" y="622"/>
                  </a:lnTo>
                  <a:lnTo>
                    <a:pt x="285" y="621"/>
                  </a:lnTo>
                  <a:lnTo>
                    <a:pt x="275" y="620"/>
                  </a:lnTo>
                  <a:lnTo>
                    <a:pt x="265" y="616"/>
                  </a:lnTo>
                  <a:lnTo>
                    <a:pt x="257" y="609"/>
                  </a:lnTo>
                  <a:lnTo>
                    <a:pt x="254" y="600"/>
                  </a:lnTo>
                  <a:lnTo>
                    <a:pt x="253" y="591"/>
                  </a:lnTo>
                  <a:lnTo>
                    <a:pt x="250" y="584"/>
                  </a:lnTo>
                  <a:lnTo>
                    <a:pt x="244" y="580"/>
                  </a:lnTo>
                  <a:lnTo>
                    <a:pt x="234" y="578"/>
                  </a:lnTo>
                  <a:lnTo>
                    <a:pt x="227" y="579"/>
                  </a:lnTo>
                  <a:lnTo>
                    <a:pt x="224" y="582"/>
                  </a:lnTo>
                  <a:lnTo>
                    <a:pt x="223" y="587"/>
                  </a:lnTo>
                  <a:lnTo>
                    <a:pt x="224" y="593"/>
                  </a:lnTo>
                  <a:lnTo>
                    <a:pt x="227" y="598"/>
                  </a:lnTo>
                  <a:lnTo>
                    <a:pt x="229" y="604"/>
                  </a:lnTo>
                  <a:lnTo>
                    <a:pt x="226" y="609"/>
                  </a:lnTo>
                  <a:lnTo>
                    <a:pt x="221" y="615"/>
                  </a:lnTo>
                  <a:lnTo>
                    <a:pt x="212" y="620"/>
                  </a:lnTo>
                  <a:lnTo>
                    <a:pt x="204" y="623"/>
                  </a:lnTo>
                  <a:lnTo>
                    <a:pt x="193" y="630"/>
                  </a:lnTo>
                  <a:lnTo>
                    <a:pt x="181" y="637"/>
                  </a:lnTo>
                  <a:lnTo>
                    <a:pt x="169" y="646"/>
                  </a:lnTo>
                  <a:lnTo>
                    <a:pt x="159" y="653"/>
                  </a:lnTo>
                  <a:lnTo>
                    <a:pt x="152" y="659"/>
                  </a:lnTo>
                  <a:lnTo>
                    <a:pt x="146" y="661"/>
                  </a:lnTo>
                  <a:lnTo>
                    <a:pt x="139" y="661"/>
                  </a:lnTo>
                  <a:lnTo>
                    <a:pt x="121" y="659"/>
                  </a:lnTo>
                  <a:lnTo>
                    <a:pt x="112" y="659"/>
                  </a:lnTo>
                  <a:lnTo>
                    <a:pt x="104" y="661"/>
                  </a:lnTo>
                  <a:lnTo>
                    <a:pt x="97" y="665"/>
                  </a:lnTo>
                  <a:lnTo>
                    <a:pt x="92" y="668"/>
                  </a:lnTo>
                  <a:lnTo>
                    <a:pt x="85" y="669"/>
                  </a:lnTo>
                  <a:lnTo>
                    <a:pt x="84" y="661"/>
                  </a:lnTo>
                  <a:lnTo>
                    <a:pt x="82" y="652"/>
                  </a:lnTo>
                  <a:lnTo>
                    <a:pt x="82" y="643"/>
                  </a:lnTo>
                  <a:lnTo>
                    <a:pt x="84" y="637"/>
                  </a:lnTo>
                  <a:lnTo>
                    <a:pt x="90" y="621"/>
                  </a:lnTo>
                  <a:lnTo>
                    <a:pt x="93" y="615"/>
                  </a:lnTo>
                  <a:lnTo>
                    <a:pt x="94" y="609"/>
                  </a:lnTo>
                  <a:lnTo>
                    <a:pt x="92" y="605"/>
                  </a:lnTo>
                  <a:lnTo>
                    <a:pt x="85" y="598"/>
                  </a:lnTo>
                  <a:lnTo>
                    <a:pt x="81" y="589"/>
                  </a:lnTo>
                  <a:lnTo>
                    <a:pt x="78" y="580"/>
                  </a:lnTo>
                  <a:lnTo>
                    <a:pt x="78" y="578"/>
                  </a:lnTo>
                  <a:lnTo>
                    <a:pt x="77" y="577"/>
                  </a:lnTo>
                  <a:lnTo>
                    <a:pt x="75" y="576"/>
                  </a:lnTo>
                  <a:lnTo>
                    <a:pt x="73" y="577"/>
                  </a:lnTo>
                  <a:lnTo>
                    <a:pt x="70" y="578"/>
                  </a:lnTo>
                  <a:lnTo>
                    <a:pt x="64" y="584"/>
                  </a:lnTo>
                  <a:lnTo>
                    <a:pt x="61" y="586"/>
                  </a:lnTo>
                  <a:lnTo>
                    <a:pt x="56" y="585"/>
                  </a:lnTo>
                  <a:lnTo>
                    <a:pt x="49" y="583"/>
                  </a:lnTo>
                  <a:lnTo>
                    <a:pt x="37" y="579"/>
                  </a:lnTo>
                  <a:lnTo>
                    <a:pt x="27" y="581"/>
                  </a:lnTo>
                  <a:lnTo>
                    <a:pt x="23" y="578"/>
                  </a:lnTo>
                  <a:lnTo>
                    <a:pt x="13" y="570"/>
                  </a:lnTo>
                  <a:lnTo>
                    <a:pt x="6" y="567"/>
                  </a:lnTo>
                  <a:lnTo>
                    <a:pt x="2" y="564"/>
                  </a:lnTo>
                  <a:lnTo>
                    <a:pt x="0" y="559"/>
                  </a:lnTo>
                  <a:lnTo>
                    <a:pt x="1" y="553"/>
                  </a:lnTo>
                  <a:lnTo>
                    <a:pt x="4" y="547"/>
                  </a:lnTo>
                  <a:lnTo>
                    <a:pt x="10" y="537"/>
                  </a:lnTo>
                  <a:lnTo>
                    <a:pt x="13" y="534"/>
                  </a:lnTo>
                  <a:lnTo>
                    <a:pt x="16" y="532"/>
                  </a:lnTo>
                  <a:lnTo>
                    <a:pt x="19" y="529"/>
                  </a:lnTo>
                  <a:lnTo>
                    <a:pt x="18" y="526"/>
                  </a:lnTo>
                  <a:lnTo>
                    <a:pt x="14" y="521"/>
                  </a:lnTo>
                  <a:lnTo>
                    <a:pt x="10" y="515"/>
                  </a:lnTo>
                  <a:lnTo>
                    <a:pt x="10" y="511"/>
                  </a:lnTo>
                  <a:lnTo>
                    <a:pt x="12" y="507"/>
                  </a:lnTo>
                  <a:lnTo>
                    <a:pt x="17" y="503"/>
                  </a:lnTo>
                  <a:lnTo>
                    <a:pt x="26" y="497"/>
                  </a:lnTo>
                  <a:lnTo>
                    <a:pt x="28" y="495"/>
                  </a:lnTo>
                  <a:lnTo>
                    <a:pt x="31" y="495"/>
                  </a:lnTo>
                  <a:lnTo>
                    <a:pt x="33" y="497"/>
                  </a:lnTo>
                  <a:lnTo>
                    <a:pt x="34" y="497"/>
                  </a:lnTo>
                  <a:lnTo>
                    <a:pt x="35" y="498"/>
                  </a:lnTo>
                  <a:lnTo>
                    <a:pt x="54" y="498"/>
                  </a:lnTo>
                  <a:lnTo>
                    <a:pt x="63" y="499"/>
                  </a:lnTo>
                  <a:lnTo>
                    <a:pt x="70" y="501"/>
                  </a:lnTo>
                  <a:lnTo>
                    <a:pt x="73" y="502"/>
                  </a:lnTo>
                  <a:lnTo>
                    <a:pt x="75" y="503"/>
                  </a:lnTo>
                  <a:lnTo>
                    <a:pt x="78" y="503"/>
                  </a:lnTo>
                  <a:lnTo>
                    <a:pt x="79" y="502"/>
                  </a:lnTo>
                  <a:lnTo>
                    <a:pt x="81" y="502"/>
                  </a:lnTo>
                  <a:lnTo>
                    <a:pt x="83" y="501"/>
                  </a:lnTo>
                  <a:lnTo>
                    <a:pt x="88" y="501"/>
                  </a:lnTo>
                  <a:lnTo>
                    <a:pt x="90" y="503"/>
                  </a:lnTo>
                  <a:lnTo>
                    <a:pt x="91" y="505"/>
                  </a:lnTo>
                  <a:lnTo>
                    <a:pt x="93" y="507"/>
                  </a:lnTo>
                  <a:lnTo>
                    <a:pt x="94" y="505"/>
                  </a:lnTo>
                  <a:lnTo>
                    <a:pt x="96" y="497"/>
                  </a:lnTo>
                  <a:lnTo>
                    <a:pt x="98" y="486"/>
                  </a:lnTo>
                  <a:lnTo>
                    <a:pt x="99" y="474"/>
                  </a:lnTo>
                  <a:lnTo>
                    <a:pt x="101" y="461"/>
                  </a:lnTo>
                  <a:lnTo>
                    <a:pt x="102" y="450"/>
                  </a:lnTo>
                  <a:lnTo>
                    <a:pt x="103" y="443"/>
                  </a:lnTo>
                  <a:lnTo>
                    <a:pt x="105" y="437"/>
                  </a:lnTo>
                  <a:lnTo>
                    <a:pt x="109" y="427"/>
                  </a:lnTo>
                  <a:lnTo>
                    <a:pt x="113" y="415"/>
                  </a:lnTo>
                  <a:lnTo>
                    <a:pt x="119" y="402"/>
                  </a:lnTo>
                  <a:lnTo>
                    <a:pt x="124" y="389"/>
                  </a:lnTo>
                  <a:lnTo>
                    <a:pt x="129" y="378"/>
                  </a:lnTo>
                  <a:lnTo>
                    <a:pt x="133" y="370"/>
                  </a:lnTo>
                  <a:lnTo>
                    <a:pt x="136" y="365"/>
                  </a:lnTo>
                  <a:lnTo>
                    <a:pt x="138" y="360"/>
                  </a:lnTo>
                  <a:lnTo>
                    <a:pt x="139" y="351"/>
                  </a:lnTo>
                  <a:lnTo>
                    <a:pt x="139" y="330"/>
                  </a:lnTo>
                  <a:lnTo>
                    <a:pt x="138" y="319"/>
                  </a:lnTo>
                  <a:lnTo>
                    <a:pt x="137" y="311"/>
                  </a:lnTo>
                  <a:lnTo>
                    <a:pt x="137" y="298"/>
                  </a:lnTo>
                  <a:lnTo>
                    <a:pt x="140" y="287"/>
                  </a:lnTo>
                  <a:lnTo>
                    <a:pt x="144" y="278"/>
                  </a:lnTo>
                  <a:lnTo>
                    <a:pt x="145" y="272"/>
                  </a:lnTo>
                  <a:lnTo>
                    <a:pt x="143" y="264"/>
                  </a:lnTo>
                  <a:lnTo>
                    <a:pt x="140" y="254"/>
                  </a:lnTo>
                  <a:lnTo>
                    <a:pt x="144" y="254"/>
                  </a:lnTo>
                  <a:lnTo>
                    <a:pt x="147" y="253"/>
                  </a:lnTo>
                  <a:lnTo>
                    <a:pt x="149" y="252"/>
                  </a:lnTo>
                  <a:lnTo>
                    <a:pt x="150" y="251"/>
                  </a:lnTo>
                  <a:lnTo>
                    <a:pt x="150" y="246"/>
                  </a:lnTo>
                  <a:lnTo>
                    <a:pt x="151" y="240"/>
                  </a:lnTo>
                  <a:lnTo>
                    <a:pt x="151" y="234"/>
                  </a:lnTo>
                  <a:lnTo>
                    <a:pt x="153" y="230"/>
                  </a:lnTo>
                  <a:lnTo>
                    <a:pt x="154" y="226"/>
                  </a:lnTo>
                  <a:lnTo>
                    <a:pt x="153" y="220"/>
                  </a:lnTo>
                  <a:lnTo>
                    <a:pt x="149" y="216"/>
                  </a:lnTo>
                  <a:lnTo>
                    <a:pt x="142" y="213"/>
                  </a:lnTo>
                  <a:lnTo>
                    <a:pt x="134" y="214"/>
                  </a:lnTo>
                  <a:lnTo>
                    <a:pt x="127" y="215"/>
                  </a:lnTo>
                  <a:lnTo>
                    <a:pt x="118" y="216"/>
                  </a:lnTo>
                  <a:lnTo>
                    <a:pt x="111" y="214"/>
                  </a:lnTo>
                  <a:lnTo>
                    <a:pt x="103" y="208"/>
                  </a:lnTo>
                  <a:lnTo>
                    <a:pt x="99" y="200"/>
                  </a:lnTo>
                  <a:lnTo>
                    <a:pt x="98" y="189"/>
                  </a:lnTo>
                  <a:lnTo>
                    <a:pt x="98" y="177"/>
                  </a:lnTo>
                  <a:lnTo>
                    <a:pt x="100" y="165"/>
                  </a:lnTo>
                  <a:lnTo>
                    <a:pt x="102" y="154"/>
                  </a:lnTo>
                  <a:lnTo>
                    <a:pt x="106" y="146"/>
                  </a:lnTo>
                  <a:lnTo>
                    <a:pt x="109" y="142"/>
                  </a:lnTo>
                  <a:lnTo>
                    <a:pt x="113" y="141"/>
                  </a:lnTo>
                  <a:lnTo>
                    <a:pt x="128" y="141"/>
                  </a:lnTo>
                  <a:lnTo>
                    <a:pt x="131" y="138"/>
                  </a:lnTo>
                  <a:lnTo>
                    <a:pt x="132" y="133"/>
                  </a:lnTo>
                  <a:lnTo>
                    <a:pt x="129" y="126"/>
                  </a:lnTo>
                  <a:lnTo>
                    <a:pt x="125" y="120"/>
                  </a:lnTo>
                  <a:lnTo>
                    <a:pt x="121" y="116"/>
                  </a:lnTo>
                  <a:lnTo>
                    <a:pt x="119" y="112"/>
                  </a:lnTo>
                  <a:lnTo>
                    <a:pt x="121" y="108"/>
                  </a:lnTo>
                  <a:lnTo>
                    <a:pt x="128" y="103"/>
                  </a:lnTo>
                  <a:lnTo>
                    <a:pt x="137" y="96"/>
                  </a:lnTo>
                  <a:lnTo>
                    <a:pt x="147" y="89"/>
                  </a:lnTo>
                  <a:lnTo>
                    <a:pt x="156" y="82"/>
                  </a:lnTo>
                  <a:lnTo>
                    <a:pt x="164" y="78"/>
                  </a:lnTo>
                  <a:lnTo>
                    <a:pt x="175" y="75"/>
                  </a:lnTo>
                  <a:lnTo>
                    <a:pt x="188" y="74"/>
                  </a:lnTo>
                  <a:lnTo>
                    <a:pt x="200" y="74"/>
                  </a:lnTo>
                  <a:lnTo>
                    <a:pt x="209" y="76"/>
                  </a:lnTo>
                  <a:lnTo>
                    <a:pt x="225" y="80"/>
                  </a:lnTo>
                  <a:lnTo>
                    <a:pt x="240" y="79"/>
                  </a:lnTo>
                  <a:lnTo>
                    <a:pt x="256" y="73"/>
                  </a:lnTo>
                  <a:lnTo>
                    <a:pt x="268" y="71"/>
                  </a:lnTo>
                  <a:lnTo>
                    <a:pt x="280" y="70"/>
                  </a:lnTo>
                  <a:lnTo>
                    <a:pt x="292" y="71"/>
                  </a:lnTo>
                  <a:lnTo>
                    <a:pt x="303" y="70"/>
                  </a:lnTo>
                  <a:lnTo>
                    <a:pt x="312" y="68"/>
                  </a:lnTo>
                  <a:lnTo>
                    <a:pt x="322" y="67"/>
                  </a:lnTo>
                  <a:lnTo>
                    <a:pt x="330" y="66"/>
                  </a:lnTo>
                  <a:lnTo>
                    <a:pt x="338" y="67"/>
                  </a:lnTo>
                  <a:lnTo>
                    <a:pt x="344" y="68"/>
                  </a:lnTo>
                  <a:lnTo>
                    <a:pt x="347" y="71"/>
                  </a:lnTo>
                  <a:lnTo>
                    <a:pt x="348" y="80"/>
                  </a:lnTo>
                  <a:lnTo>
                    <a:pt x="350" y="91"/>
                  </a:lnTo>
                  <a:lnTo>
                    <a:pt x="353" y="102"/>
                  </a:lnTo>
                  <a:lnTo>
                    <a:pt x="358" y="112"/>
                  </a:lnTo>
                  <a:lnTo>
                    <a:pt x="365" y="122"/>
                  </a:lnTo>
                  <a:lnTo>
                    <a:pt x="371" y="129"/>
                  </a:lnTo>
                  <a:lnTo>
                    <a:pt x="376" y="131"/>
                  </a:lnTo>
                  <a:lnTo>
                    <a:pt x="378" y="133"/>
                  </a:lnTo>
                  <a:lnTo>
                    <a:pt x="380" y="137"/>
                  </a:lnTo>
                  <a:lnTo>
                    <a:pt x="381" y="143"/>
                  </a:lnTo>
                  <a:lnTo>
                    <a:pt x="379" y="148"/>
                  </a:lnTo>
                  <a:lnTo>
                    <a:pt x="376" y="153"/>
                  </a:lnTo>
                  <a:lnTo>
                    <a:pt x="369" y="154"/>
                  </a:lnTo>
                  <a:lnTo>
                    <a:pt x="359" y="154"/>
                  </a:lnTo>
                  <a:lnTo>
                    <a:pt x="356" y="155"/>
                  </a:lnTo>
                  <a:lnTo>
                    <a:pt x="355" y="156"/>
                  </a:lnTo>
                  <a:lnTo>
                    <a:pt x="354" y="158"/>
                  </a:lnTo>
                  <a:lnTo>
                    <a:pt x="356" y="164"/>
                  </a:lnTo>
                  <a:lnTo>
                    <a:pt x="358" y="169"/>
                  </a:lnTo>
                  <a:lnTo>
                    <a:pt x="359" y="173"/>
                  </a:lnTo>
                  <a:lnTo>
                    <a:pt x="360" y="175"/>
                  </a:lnTo>
                  <a:lnTo>
                    <a:pt x="362" y="177"/>
                  </a:lnTo>
                  <a:lnTo>
                    <a:pt x="363" y="177"/>
                  </a:lnTo>
                  <a:lnTo>
                    <a:pt x="364" y="176"/>
                  </a:lnTo>
                  <a:lnTo>
                    <a:pt x="365" y="176"/>
                  </a:lnTo>
                  <a:lnTo>
                    <a:pt x="367" y="175"/>
                  </a:lnTo>
                  <a:lnTo>
                    <a:pt x="369" y="175"/>
                  </a:lnTo>
                  <a:lnTo>
                    <a:pt x="372" y="176"/>
                  </a:lnTo>
                  <a:lnTo>
                    <a:pt x="376" y="178"/>
                  </a:lnTo>
                  <a:lnTo>
                    <a:pt x="385" y="193"/>
                  </a:lnTo>
                  <a:lnTo>
                    <a:pt x="388" y="197"/>
                  </a:lnTo>
                  <a:lnTo>
                    <a:pt x="394" y="198"/>
                  </a:lnTo>
                  <a:lnTo>
                    <a:pt x="401" y="195"/>
                  </a:lnTo>
                  <a:lnTo>
                    <a:pt x="408" y="187"/>
                  </a:lnTo>
                  <a:lnTo>
                    <a:pt x="413" y="177"/>
                  </a:lnTo>
                  <a:lnTo>
                    <a:pt x="416" y="166"/>
                  </a:lnTo>
                  <a:lnTo>
                    <a:pt x="418" y="155"/>
                  </a:lnTo>
                  <a:lnTo>
                    <a:pt x="418" y="149"/>
                  </a:lnTo>
                  <a:lnTo>
                    <a:pt x="415" y="147"/>
                  </a:lnTo>
                  <a:lnTo>
                    <a:pt x="412" y="146"/>
                  </a:lnTo>
                  <a:lnTo>
                    <a:pt x="408" y="146"/>
                  </a:lnTo>
                  <a:lnTo>
                    <a:pt x="404" y="147"/>
                  </a:lnTo>
                  <a:lnTo>
                    <a:pt x="401" y="146"/>
                  </a:lnTo>
                  <a:lnTo>
                    <a:pt x="400" y="144"/>
                  </a:lnTo>
                  <a:lnTo>
                    <a:pt x="400" y="139"/>
                  </a:lnTo>
                  <a:lnTo>
                    <a:pt x="401" y="131"/>
                  </a:lnTo>
                  <a:lnTo>
                    <a:pt x="404" y="123"/>
                  </a:lnTo>
                  <a:lnTo>
                    <a:pt x="408" y="116"/>
                  </a:lnTo>
                  <a:lnTo>
                    <a:pt x="414" y="110"/>
                  </a:lnTo>
                  <a:lnTo>
                    <a:pt x="420" y="108"/>
                  </a:lnTo>
                  <a:lnTo>
                    <a:pt x="425" y="110"/>
                  </a:lnTo>
                  <a:lnTo>
                    <a:pt x="428" y="113"/>
                  </a:lnTo>
                  <a:lnTo>
                    <a:pt x="429" y="119"/>
                  </a:lnTo>
                  <a:lnTo>
                    <a:pt x="431" y="124"/>
                  </a:lnTo>
                  <a:lnTo>
                    <a:pt x="434" y="128"/>
                  </a:lnTo>
                  <a:lnTo>
                    <a:pt x="439" y="130"/>
                  </a:lnTo>
                  <a:lnTo>
                    <a:pt x="446" y="131"/>
                  </a:lnTo>
                  <a:lnTo>
                    <a:pt x="461" y="137"/>
                  </a:lnTo>
                  <a:lnTo>
                    <a:pt x="467" y="141"/>
                  </a:lnTo>
                  <a:lnTo>
                    <a:pt x="471" y="144"/>
                  </a:lnTo>
                  <a:lnTo>
                    <a:pt x="472" y="145"/>
                  </a:lnTo>
                  <a:lnTo>
                    <a:pt x="470" y="147"/>
                  </a:lnTo>
                  <a:lnTo>
                    <a:pt x="467" y="151"/>
                  </a:lnTo>
                  <a:lnTo>
                    <a:pt x="463" y="156"/>
                  </a:lnTo>
                  <a:lnTo>
                    <a:pt x="460" y="161"/>
                  </a:lnTo>
                  <a:lnTo>
                    <a:pt x="459" y="165"/>
                  </a:lnTo>
                  <a:lnTo>
                    <a:pt x="460" y="166"/>
                  </a:lnTo>
                  <a:lnTo>
                    <a:pt x="464" y="165"/>
                  </a:lnTo>
                  <a:lnTo>
                    <a:pt x="470" y="163"/>
                  </a:lnTo>
                  <a:lnTo>
                    <a:pt x="475" y="159"/>
                  </a:lnTo>
                  <a:lnTo>
                    <a:pt x="478" y="155"/>
                  </a:lnTo>
                  <a:lnTo>
                    <a:pt x="479" y="146"/>
                  </a:lnTo>
                  <a:lnTo>
                    <a:pt x="477" y="135"/>
                  </a:lnTo>
                  <a:lnTo>
                    <a:pt x="474" y="123"/>
                  </a:lnTo>
                  <a:lnTo>
                    <a:pt x="469" y="114"/>
                  </a:lnTo>
                  <a:lnTo>
                    <a:pt x="463" y="103"/>
                  </a:lnTo>
                  <a:lnTo>
                    <a:pt x="459" y="91"/>
                  </a:lnTo>
                  <a:lnTo>
                    <a:pt x="459" y="79"/>
                  </a:lnTo>
                  <a:lnTo>
                    <a:pt x="463" y="69"/>
                  </a:lnTo>
                  <a:lnTo>
                    <a:pt x="468" y="58"/>
                  </a:lnTo>
                  <a:lnTo>
                    <a:pt x="473" y="46"/>
                  </a:lnTo>
                  <a:lnTo>
                    <a:pt x="477" y="36"/>
                  </a:lnTo>
                  <a:lnTo>
                    <a:pt x="479" y="29"/>
                  </a:lnTo>
                  <a:lnTo>
                    <a:pt x="480" y="22"/>
                  </a:lnTo>
                  <a:lnTo>
                    <a:pt x="484" y="15"/>
                  </a:lnTo>
                  <a:lnTo>
                    <a:pt x="489" y="8"/>
                  </a:lnTo>
                  <a:lnTo>
                    <a:pt x="495" y="3"/>
                  </a:lnTo>
                  <a:lnTo>
                    <a:pt x="500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11">
              <a:extLst>
                <a:ext uri="{FF2B5EF4-FFF2-40B4-BE49-F238E27FC236}">
                  <a16:creationId xmlns:a16="http://schemas.microsoft.com/office/drawing/2014/main" id="{D2948AD3-484B-442D-B42C-27029397AFD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7651" y="2428876"/>
              <a:ext cx="184150" cy="127000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14" y="1"/>
                </a:cxn>
                <a:cxn ang="0">
                  <a:pos x="22" y="4"/>
                </a:cxn>
                <a:cxn ang="0">
                  <a:pos x="30" y="8"/>
                </a:cxn>
                <a:cxn ang="0">
                  <a:pos x="39" y="11"/>
                </a:cxn>
                <a:cxn ang="0">
                  <a:pos x="47" y="14"/>
                </a:cxn>
                <a:cxn ang="0">
                  <a:pos x="54" y="15"/>
                </a:cxn>
                <a:cxn ang="0">
                  <a:pos x="62" y="16"/>
                </a:cxn>
                <a:cxn ang="0">
                  <a:pos x="70" y="21"/>
                </a:cxn>
                <a:cxn ang="0">
                  <a:pos x="78" y="27"/>
                </a:cxn>
                <a:cxn ang="0">
                  <a:pos x="85" y="32"/>
                </a:cxn>
                <a:cxn ang="0">
                  <a:pos x="90" y="33"/>
                </a:cxn>
                <a:cxn ang="0">
                  <a:pos x="94" y="31"/>
                </a:cxn>
                <a:cxn ang="0">
                  <a:pos x="97" y="28"/>
                </a:cxn>
                <a:cxn ang="0">
                  <a:pos x="99" y="25"/>
                </a:cxn>
                <a:cxn ang="0">
                  <a:pos x="103" y="24"/>
                </a:cxn>
                <a:cxn ang="0">
                  <a:pos x="109" y="26"/>
                </a:cxn>
                <a:cxn ang="0">
                  <a:pos x="114" y="29"/>
                </a:cxn>
                <a:cxn ang="0">
                  <a:pos x="115" y="33"/>
                </a:cxn>
                <a:cxn ang="0">
                  <a:pos x="115" y="40"/>
                </a:cxn>
                <a:cxn ang="0">
                  <a:pos x="115" y="45"/>
                </a:cxn>
                <a:cxn ang="0">
                  <a:pos x="116" y="51"/>
                </a:cxn>
                <a:cxn ang="0">
                  <a:pos x="116" y="58"/>
                </a:cxn>
                <a:cxn ang="0">
                  <a:pos x="115" y="66"/>
                </a:cxn>
                <a:cxn ang="0">
                  <a:pos x="113" y="73"/>
                </a:cxn>
                <a:cxn ang="0">
                  <a:pos x="108" y="78"/>
                </a:cxn>
                <a:cxn ang="0">
                  <a:pos x="101" y="80"/>
                </a:cxn>
                <a:cxn ang="0">
                  <a:pos x="90" y="79"/>
                </a:cxn>
                <a:cxn ang="0">
                  <a:pos x="80" y="77"/>
                </a:cxn>
                <a:cxn ang="0">
                  <a:pos x="71" y="73"/>
                </a:cxn>
                <a:cxn ang="0">
                  <a:pos x="66" y="71"/>
                </a:cxn>
                <a:cxn ang="0">
                  <a:pos x="57" y="71"/>
                </a:cxn>
                <a:cxn ang="0">
                  <a:pos x="52" y="70"/>
                </a:cxn>
                <a:cxn ang="0">
                  <a:pos x="47" y="67"/>
                </a:cxn>
                <a:cxn ang="0">
                  <a:pos x="41" y="56"/>
                </a:cxn>
                <a:cxn ang="0">
                  <a:pos x="36" y="44"/>
                </a:cxn>
                <a:cxn ang="0">
                  <a:pos x="29" y="32"/>
                </a:cxn>
                <a:cxn ang="0">
                  <a:pos x="23" y="26"/>
                </a:cxn>
                <a:cxn ang="0">
                  <a:pos x="16" y="20"/>
                </a:cxn>
                <a:cxn ang="0">
                  <a:pos x="8" y="15"/>
                </a:cxn>
                <a:cxn ang="0">
                  <a:pos x="3" y="9"/>
                </a:cxn>
                <a:cxn ang="0">
                  <a:pos x="0" y="5"/>
                </a:cxn>
                <a:cxn ang="0">
                  <a:pos x="2" y="1"/>
                </a:cxn>
                <a:cxn ang="0">
                  <a:pos x="7" y="0"/>
                </a:cxn>
              </a:cxnLst>
              <a:rect l="0" t="0" r="r" b="b"/>
              <a:pathLst>
                <a:path w="116" h="80">
                  <a:moveTo>
                    <a:pt x="7" y="0"/>
                  </a:moveTo>
                  <a:lnTo>
                    <a:pt x="14" y="1"/>
                  </a:lnTo>
                  <a:lnTo>
                    <a:pt x="22" y="4"/>
                  </a:lnTo>
                  <a:lnTo>
                    <a:pt x="30" y="8"/>
                  </a:lnTo>
                  <a:lnTo>
                    <a:pt x="39" y="11"/>
                  </a:lnTo>
                  <a:lnTo>
                    <a:pt x="47" y="14"/>
                  </a:lnTo>
                  <a:lnTo>
                    <a:pt x="54" y="15"/>
                  </a:lnTo>
                  <a:lnTo>
                    <a:pt x="62" y="16"/>
                  </a:lnTo>
                  <a:lnTo>
                    <a:pt x="70" y="21"/>
                  </a:lnTo>
                  <a:lnTo>
                    <a:pt x="78" y="27"/>
                  </a:lnTo>
                  <a:lnTo>
                    <a:pt x="85" y="32"/>
                  </a:lnTo>
                  <a:lnTo>
                    <a:pt x="90" y="33"/>
                  </a:lnTo>
                  <a:lnTo>
                    <a:pt x="94" y="31"/>
                  </a:lnTo>
                  <a:lnTo>
                    <a:pt x="97" y="28"/>
                  </a:lnTo>
                  <a:lnTo>
                    <a:pt x="99" y="25"/>
                  </a:lnTo>
                  <a:lnTo>
                    <a:pt x="103" y="24"/>
                  </a:lnTo>
                  <a:lnTo>
                    <a:pt x="109" y="26"/>
                  </a:lnTo>
                  <a:lnTo>
                    <a:pt x="114" y="29"/>
                  </a:lnTo>
                  <a:lnTo>
                    <a:pt x="115" y="33"/>
                  </a:lnTo>
                  <a:lnTo>
                    <a:pt x="115" y="40"/>
                  </a:lnTo>
                  <a:lnTo>
                    <a:pt x="115" y="45"/>
                  </a:lnTo>
                  <a:lnTo>
                    <a:pt x="116" y="51"/>
                  </a:lnTo>
                  <a:lnTo>
                    <a:pt x="116" y="58"/>
                  </a:lnTo>
                  <a:lnTo>
                    <a:pt x="115" y="66"/>
                  </a:lnTo>
                  <a:lnTo>
                    <a:pt x="113" y="73"/>
                  </a:lnTo>
                  <a:lnTo>
                    <a:pt x="108" y="78"/>
                  </a:lnTo>
                  <a:lnTo>
                    <a:pt x="101" y="80"/>
                  </a:lnTo>
                  <a:lnTo>
                    <a:pt x="90" y="79"/>
                  </a:lnTo>
                  <a:lnTo>
                    <a:pt x="80" y="77"/>
                  </a:lnTo>
                  <a:lnTo>
                    <a:pt x="71" y="73"/>
                  </a:lnTo>
                  <a:lnTo>
                    <a:pt x="66" y="71"/>
                  </a:lnTo>
                  <a:lnTo>
                    <a:pt x="57" y="71"/>
                  </a:lnTo>
                  <a:lnTo>
                    <a:pt x="52" y="70"/>
                  </a:lnTo>
                  <a:lnTo>
                    <a:pt x="47" y="67"/>
                  </a:lnTo>
                  <a:lnTo>
                    <a:pt x="41" y="56"/>
                  </a:lnTo>
                  <a:lnTo>
                    <a:pt x="36" y="44"/>
                  </a:lnTo>
                  <a:lnTo>
                    <a:pt x="29" y="32"/>
                  </a:lnTo>
                  <a:lnTo>
                    <a:pt x="23" y="26"/>
                  </a:lnTo>
                  <a:lnTo>
                    <a:pt x="16" y="20"/>
                  </a:lnTo>
                  <a:lnTo>
                    <a:pt x="8" y="15"/>
                  </a:lnTo>
                  <a:lnTo>
                    <a:pt x="3" y="9"/>
                  </a:lnTo>
                  <a:lnTo>
                    <a:pt x="0" y="5"/>
                  </a:lnTo>
                  <a:lnTo>
                    <a:pt x="2" y="1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12">
              <a:extLst>
                <a:ext uri="{FF2B5EF4-FFF2-40B4-BE49-F238E27FC236}">
                  <a16:creationId xmlns:a16="http://schemas.microsoft.com/office/drawing/2014/main" id="{5CC7848E-58CA-40E4-B450-A1910CDEFFE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4701" y="3478213"/>
              <a:ext cx="1154113" cy="935038"/>
            </a:xfrm>
            <a:custGeom>
              <a:avLst/>
              <a:gdLst/>
              <a:ahLst/>
              <a:cxnLst>
                <a:cxn ang="0">
                  <a:pos x="256" y="5"/>
                </a:cxn>
                <a:cxn ang="0">
                  <a:pos x="273" y="21"/>
                </a:cxn>
                <a:cxn ang="0">
                  <a:pos x="282" y="61"/>
                </a:cxn>
                <a:cxn ang="0">
                  <a:pos x="327" y="98"/>
                </a:cxn>
                <a:cxn ang="0">
                  <a:pos x="390" y="122"/>
                </a:cxn>
                <a:cxn ang="0">
                  <a:pos x="380" y="169"/>
                </a:cxn>
                <a:cxn ang="0">
                  <a:pos x="403" y="217"/>
                </a:cxn>
                <a:cxn ang="0">
                  <a:pos x="463" y="215"/>
                </a:cxn>
                <a:cxn ang="0">
                  <a:pos x="500" y="248"/>
                </a:cxn>
                <a:cxn ang="0">
                  <a:pos x="554" y="277"/>
                </a:cxn>
                <a:cxn ang="0">
                  <a:pos x="604" y="284"/>
                </a:cxn>
                <a:cxn ang="0">
                  <a:pos x="620" y="254"/>
                </a:cxn>
                <a:cxn ang="0">
                  <a:pos x="628" y="217"/>
                </a:cxn>
                <a:cxn ang="0">
                  <a:pos x="666" y="232"/>
                </a:cxn>
                <a:cxn ang="0">
                  <a:pos x="708" y="265"/>
                </a:cxn>
                <a:cxn ang="0">
                  <a:pos x="703" y="300"/>
                </a:cxn>
                <a:cxn ang="0">
                  <a:pos x="659" y="322"/>
                </a:cxn>
                <a:cxn ang="0">
                  <a:pos x="626" y="337"/>
                </a:cxn>
                <a:cxn ang="0">
                  <a:pos x="624" y="373"/>
                </a:cxn>
                <a:cxn ang="0">
                  <a:pos x="626" y="406"/>
                </a:cxn>
                <a:cxn ang="0">
                  <a:pos x="596" y="437"/>
                </a:cxn>
                <a:cxn ang="0">
                  <a:pos x="568" y="448"/>
                </a:cxn>
                <a:cxn ang="0">
                  <a:pos x="542" y="453"/>
                </a:cxn>
                <a:cxn ang="0">
                  <a:pos x="536" y="494"/>
                </a:cxn>
                <a:cxn ang="0">
                  <a:pos x="503" y="501"/>
                </a:cxn>
                <a:cxn ang="0">
                  <a:pos x="443" y="515"/>
                </a:cxn>
                <a:cxn ang="0">
                  <a:pos x="409" y="488"/>
                </a:cxn>
                <a:cxn ang="0">
                  <a:pos x="381" y="462"/>
                </a:cxn>
                <a:cxn ang="0">
                  <a:pos x="369" y="525"/>
                </a:cxn>
                <a:cxn ang="0">
                  <a:pos x="338" y="556"/>
                </a:cxn>
                <a:cxn ang="0">
                  <a:pos x="314" y="527"/>
                </a:cxn>
                <a:cxn ang="0">
                  <a:pos x="298" y="519"/>
                </a:cxn>
                <a:cxn ang="0">
                  <a:pos x="278" y="514"/>
                </a:cxn>
                <a:cxn ang="0">
                  <a:pos x="225" y="530"/>
                </a:cxn>
                <a:cxn ang="0">
                  <a:pos x="252" y="575"/>
                </a:cxn>
                <a:cxn ang="0">
                  <a:pos x="221" y="578"/>
                </a:cxn>
                <a:cxn ang="0">
                  <a:pos x="188" y="573"/>
                </a:cxn>
                <a:cxn ang="0">
                  <a:pos x="158" y="520"/>
                </a:cxn>
                <a:cxn ang="0">
                  <a:pos x="127" y="490"/>
                </a:cxn>
                <a:cxn ang="0">
                  <a:pos x="88" y="452"/>
                </a:cxn>
                <a:cxn ang="0">
                  <a:pos x="49" y="416"/>
                </a:cxn>
                <a:cxn ang="0">
                  <a:pos x="28" y="398"/>
                </a:cxn>
                <a:cxn ang="0">
                  <a:pos x="13" y="414"/>
                </a:cxn>
                <a:cxn ang="0">
                  <a:pos x="13" y="370"/>
                </a:cxn>
                <a:cxn ang="0">
                  <a:pos x="44" y="317"/>
                </a:cxn>
                <a:cxn ang="0">
                  <a:pos x="24" y="286"/>
                </a:cxn>
                <a:cxn ang="0">
                  <a:pos x="37" y="265"/>
                </a:cxn>
                <a:cxn ang="0">
                  <a:pos x="78" y="259"/>
                </a:cxn>
                <a:cxn ang="0">
                  <a:pos x="84" y="244"/>
                </a:cxn>
                <a:cxn ang="0">
                  <a:pos x="67" y="201"/>
                </a:cxn>
                <a:cxn ang="0">
                  <a:pos x="95" y="190"/>
                </a:cxn>
                <a:cxn ang="0">
                  <a:pos x="51" y="156"/>
                </a:cxn>
                <a:cxn ang="0">
                  <a:pos x="30" y="144"/>
                </a:cxn>
                <a:cxn ang="0">
                  <a:pos x="19" y="102"/>
                </a:cxn>
                <a:cxn ang="0">
                  <a:pos x="76" y="77"/>
                </a:cxn>
                <a:cxn ang="0">
                  <a:pos x="126" y="33"/>
                </a:cxn>
                <a:cxn ang="0">
                  <a:pos x="174" y="29"/>
                </a:cxn>
                <a:cxn ang="0">
                  <a:pos x="198" y="6"/>
                </a:cxn>
              </a:cxnLst>
              <a:rect l="0" t="0" r="r" b="b"/>
              <a:pathLst>
                <a:path w="727" h="589">
                  <a:moveTo>
                    <a:pt x="205" y="0"/>
                  </a:moveTo>
                  <a:lnTo>
                    <a:pt x="214" y="0"/>
                  </a:lnTo>
                  <a:lnTo>
                    <a:pt x="223" y="1"/>
                  </a:lnTo>
                  <a:lnTo>
                    <a:pt x="232" y="1"/>
                  </a:lnTo>
                  <a:lnTo>
                    <a:pt x="238" y="0"/>
                  </a:lnTo>
                  <a:lnTo>
                    <a:pt x="242" y="0"/>
                  </a:lnTo>
                  <a:lnTo>
                    <a:pt x="248" y="2"/>
                  </a:lnTo>
                  <a:lnTo>
                    <a:pt x="256" y="5"/>
                  </a:lnTo>
                  <a:lnTo>
                    <a:pt x="264" y="9"/>
                  </a:lnTo>
                  <a:lnTo>
                    <a:pt x="271" y="13"/>
                  </a:lnTo>
                  <a:lnTo>
                    <a:pt x="276" y="17"/>
                  </a:lnTo>
                  <a:lnTo>
                    <a:pt x="277" y="19"/>
                  </a:lnTo>
                  <a:lnTo>
                    <a:pt x="276" y="20"/>
                  </a:lnTo>
                  <a:lnTo>
                    <a:pt x="275" y="20"/>
                  </a:lnTo>
                  <a:lnTo>
                    <a:pt x="274" y="21"/>
                  </a:lnTo>
                  <a:lnTo>
                    <a:pt x="273" y="21"/>
                  </a:lnTo>
                  <a:lnTo>
                    <a:pt x="271" y="22"/>
                  </a:lnTo>
                  <a:lnTo>
                    <a:pt x="270" y="23"/>
                  </a:lnTo>
                  <a:lnTo>
                    <a:pt x="269" y="25"/>
                  </a:lnTo>
                  <a:lnTo>
                    <a:pt x="269" y="30"/>
                  </a:lnTo>
                  <a:lnTo>
                    <a:pt x="270" y="33"/>
                  </a:lnTo>
                  <a:lnTo>
                    <a:pt x="274" y="42"/>
                  </a:lnTo>
                  <a:lnTo>
                    <a:pt x="278" y="52"/>
                  </a:lnTo>
                  <a:lnTo>
                    <a:pt x="282" y="61"/>
                  </a:lnTo>
                  <a:lnTo>
                    <a:pt x="284" y="69"/>
                  </a:lnTo>
                  <a:lnTo>
                    <a:pt x="284" y="81"/>
                  </a:lnTo>
                  <a:lnTo>
                    <a:pt x="285" y="86"/>
                  </a:lnTo>
                  <a:lnTo>
                    <a:pt x="289" y="90"/>
                  </a:lnTo>
                  <a:lnTo>
                    <a:pt x="295" y="91"/>
                  </a:lnTo>
                  <a:lnTo>
                    <a:pt x="303" y="92"/>
                  </a:lnTo>
                  <a:lnTo>
                    <a:pt x="319" y="97"/>
                  </a:lnTo>
                  <a:lnTo>
                    <a:pt x="327" y="98"/>
                  </a:lnTo>
                  <a:lnTo>
                    <a:pt x="334" y="98"/>
                  </a:lnTo>
                  <a:lnTo>
                    <a:pt x="344" y="100"/>
                  </a:lnTo>
                  <a:lnTo>
                    <a:pt x="355" y="103"/>
                  </a:lnTo>
                  <a:lnTo>
                    <a:pt x="367" y="106"/>
                  </a:lnTo>
                  <a:lnTo>
                    <a:pt x="378" y="110"/>
                  </a:lnTo>
                  <a:lnTo>
                    <a:pt x="386" y="114"/>
                  </a:lnTo>
                  <a:lnTo>
                    <a:pt x="389" y="117"/>
                  </a:lnTo>
                  <a:lnTo>
                    <a:pt x="390" y="122"/>
                  </a:lnTo>
                  <a:lnTo>
                    <a:pt x="391" y="129"/>
                  </a:lnTo>
                  <a:lnTo>
                    <a:pt x="393" y="136"/>
                  </a:lnTo>
                  <a:lnTo>
                    <a:pt x="396" y="142"/>
                  </a:lnTo>
                  <a:lnTo>
                    <a:pt x="397" y="146"/>
                  </a:lnTo>
                  <a:lnTo>
                    <a:pt x="394" y="152"/>
                  </a:lnTo>
                  <a:lnTo>
                    <a:pt x="389" y="158"/>
                  </a:lnTo>
                  <a:lnTo>
                    <a:pt x="384" y="163"/>
                  </a:lnTo>
                  <a:lnTo>
                    <a:pt x="380" y="169"/>
                  </a:lnTo>
                  <a:lnTo>
                    <a:pt x="380" y="173"/>
                  </a:lnTo>
                  <a:lnTo>
                    <a:pt x="383" y="177"/>
                  </a:lnTo>
                  <a:lnTo>
                    <a:pt x="393" y="183"/>
                  </a:lnTo>
                  <a:lnTo>
                    <a:pt x="396" y="187"/>
                  </a:lnTo>
                  <a:lnTo>
                    <a:pt x="398" y="192"/>
                  </a:lnTo>
                  <a:lnTo>
                    <a:pt x="398" y="199"/>
                  </a:lnTo>
                  <a:lnTo>
                    <a:pt x="400" y="213"/>
                  </a:lnTo>
                  <a:lnTo>
                    <a:pt x="403" y="217"/>
                  </a:lnTo>
                  <a:lnTo>
                    <a:pt x="409" y="219"/>
                  </a:lnTo>
                  <a:lnTo>
                    <a:pt x="419" y="220"/>
                  </a:lnTo>
                  <a:lnTo>
                    <a:pt x="429" y="219"/>
                  </a:lnTo>
                  <a:lnTo>
                    <a:pt x="438" y="220"/>
                  </a:lnTo>
                  <a:lnTo>
                    <a:pt x="444" y="220"/>
                  </a:lnTo>
                  <a:lnTo>
                    <a:pt x="451" y="217"/>
                  </a:lnTo>
                  <a:lnTo>
                    <a:pt x="457" y="215"/>
                  </a:lnTo>
                  <a:lnTo>
                    <a:pt x="463" y="215"/>
                  </a:lnTo>
                  <a:lnTo>
                    <a:pt x="469" y="219"/>
                  </a:lnTo>
                  <a:lnTo>
                    <a:pt x="473" y="226"/>
                  </a:lnTo>
                  <a:lnTo>
                    <a:pt x="477" y="239"/>
                  </a:lnTo>
                  <a:lnTo>
                    <a:pt x="480" y="245"/>
                  </a:lnTo>
                  <a:lnTo>
                    <a:pt x="483" y="249"/>
                  </a:lnTo>
                  <a:lnTo>
                    <a:pt x="488" y="251"/>
                  </a:lnTo>
                  <a:lnTo>
                    <a:pt x="495" y="250"/>
                  </a:lnTo>
                  <a:lnTo>
                    <a:pt x="500" y="248"/>
                  </a:lnTo>
                  <a:lnTo>
                    <a:pt x="506" y="246"/>
                  </a:lnTo>
                  <a:lnTo>
                    <a:pt x="512" y="246"/>
                  </a:lnTo>
                  <a:lnTo>
                    <a:pt x="519" y="248"/>
                  </a:lnTo>
                  <a:lnTo>
                    <a:pt x="527" y="254"/>
                  </a:lnTo>
                  <a:lnTo>
                    <a:pt x="534" y="261"/>
                  </a:lnTo>
                  <a:lnTo>
                    <a:pt x="541" y="269"/>
                  </a:lnTo>
                  <a:lnTo>
                    <a:pt x="548" y="275"/>
                  </a:lnTo>
                  <a:lnTo>
                    <a:pt x="554" y="277"/>
                  </a:lnTo>
                  <a:lnTo>
                    <a:pt x="563" y="276"/>
                  </a:lnTo>
                  <a:lnTo>
                    <a:pt x="570" y="275"/>
                  </a:lnTo>
                  <a:lnTo>
                    <a:pt x="576" y="275"/>
                  </a:lnTo>
                  <a:lnTo>
                    <a:pt x="582" y="274"/>
                  </a:lnTo>
                  <a:lnTo>
                    <a:pt x="588" y="274"/>
                  </a:lnTo>
                  <a:lnTo>
                    <a:pt x="595" y="276"/>
                  </a:lnTo>
                  <a:lnTo>
                    <a:pt x="598" y="278"/>
                  </a:lnTo>
                  <a:lnTo>
                    <a:pt x="604" y="284"/>
                  </a:lnTo>
                  <a:lnTo>
                    <a:pt x="606" y="285"/>
                  </a:lnTo>
                  <a:lnTo>
                    <a:pt x="607" y="285"/>
                  </a:lnTo>
                  <a:lnTo>
                    <a:pt x="608" y="283"/>
                  </a:lnTo>
                  <a:lnTo>
                    <a:pt x="610" y="278"/>
                  </a:lnTo>
                  <a:lnTo>
                    <a:pt x="618" y="264"/>
                  </a:lnTo>
                  <a:lnTo>
                    <a:pt x="621" y="260"/>
                  </a:lnTo>
                  <a:lnTo>
                    <a:pt x="621" y="258"/>
                  </a:lnTo>
                  <a:lnTo>
                    <a:pt x="620" y="254"/>
                  </a:lnTo>
                  <a:lnTo>
                    <a:pt x="617" y="249"/>
                  </a:lnTo>
                  <a:lnTo>
                    <a:pt x="615" y="243"/>
                  </a:lnTo>
                  <a:lnTo>
                    <a:pt x="614" y="237"/>
                  </a:lnTo>
                  <a:lnTo>
                    <a:pt x="616" y="232"/>
                  </a:lnTo>
                  <a:lnTo>
                    <a:pt x="620" y="228"/>
                  </a:lnTo>
                  <a:lnTo>
                    <a:pt x="622" y="223"/>
                  </a:lnTo>
                  <a:lnTo>
                    <a:pt x="624" y="220"/>
                  </a:lnTo>
                  <a:lnTo>
                    <a:pt x="628" y="217"/>
                  </a:lnTo>
                  <a:lnTo>
                    <a:pt x="634" y="217"/>
                  </a:lnTo>
                  <a:lnTo>
                    <a:pt x="640" y="218"/>
                  </a:lnTo>
                  <a:lnTo>
                    <a:pt x="643" y="220"/>
                  </a:lnTo>
                  <a:lnTo>
                    <a:pt x="645" y="222"/>
                  </a:lnTo>
                  <a:lnTo>
                    <a:pt x="648" y="224"/>
                  </a:lnTo>
                  <a:lnTo>
                    <a:pt x="652" y="226"/>
                  </a:lnTo>
                  <a:lnTo>
                    <a:pt x="658" y="228"/>
                  </a:lnTo>
                  <a:lnTo>
                    <a:pt x="666" y="232"/>
                  </a:lnTo>
                  <a:lnTo>
                    <a:pt x="675" y="239"/>
                  </a:lnTo>
                  <a:lnTo>
                    <a:pt x="683" y="246"/>
                  </a:lnTo>
                  <a:lnTo>
                    <a:pt x="689" y="252"/>
                  </a:lnTo>
                  <a:lnTo>
                    <a:pt x="692" y="256"/>
                  </a:lnTo>
                  <a:lnTo>
                    <a:pt x="693" y="259"/>
                  </a:lnTo>
                  <a:lnTo>
                    <a:pt x="696" y="261"/>
                  </a:lnTo>
                  <a:lnTo>
                    <a:pt x="701" y="262"/>
                  </a:lnTo>
                  <a:lnTo>
                    <a:pt x="708" y="265"/>
                  </a:lnTo>
                  <a:lnTo>
                    <a:pt x="713" y="269"/>
                  </a:lnTo>
                  <a:lnTo>
                    <a:pt x="718" y="274"/>
                  </a:lnTo>
                  <a:lnTo>
                    <a:pt x="723" y="280"/>
                  </a:lnTo>
                  <a:lnTo>
                    <a:pt x="726" y="285"/>
                  </a:lnTo>
                  <a:lnTo>
                    <a:pt x="727" y="289"/>
                  </a:lnTo>
                  <a:lnTo>
                    <a:pt x="725" y="292"/>
                  </a:lnTo>
                  <a:lnTo>
                    <a:pt x="719" y="294"/>
                  </a:lnTo>
                  <a:lnTo>
                    <a:pt x="703" y="300"/>
                  </a:lnTo>
                  <a:lnTo>
                    <a:pt x="698" y="301"/>
                  </a:lnTo>
                  <a:lnTo>
                    <a:pt x="693" y="301"/>
                  </a:lnTo>
                  <a:lnTo>
                    <a:pt x="681" y="305"/>
                  </a:lnTo>
                  <a:lnTo>
                    <a:pt x="677" y="309"/>
                  </a:lnTo>
                  <a:lnTo>
                    <a:pt x="674" y="313"/>
                  </a:lnTo>
                  <a:lnTo>
                    <a:pt x="670" y="317"/>
                  </a:lnTo>
                  <a:lnTo>
                    <a:pt x="665" y="321"/>
                  </a:lnTo>
                  <a:lnTo>
                    <a:pt x="659" y="322"/>
                  </a:lnTo>
                  <a:lnTo>
                    <a:pt x="655" y="323"/>
                  </a:lnTo>
                  <a:lnTo>
                    <a:pt x="651" y="327"/>
                  </a:lnTo>
                  <a:lnTo>
                    <a:pt x="647" y="330"/>
                  </a:lnTo>
                  <a:lnTo>
                    <a:pt x="640" y="332"/>
                  </a:lnTo>
                  <a:lnTo>
                    <a:pt x="635" y="333"/>
                  </a:lnTo>
                  <a:lnTo>
                    <a:pt x="631" y="334"/>
                  </a:lnTo>
                  <a:lnTo>
                    <a:pt x="628" y="336"/>
                  </a:lnTo>
                  <a:lnTo>
                    <a:pt x="626" y="337"/>
                  </a:lnTo>
                  <a:lnTo>
                    <a:pt x="625" y="340"/>
                  </a:lnTo>
                  <a:lnTo>
                    <a:pt x="625" y="342"/>
                  </a:lnTo>
                  <a:lnTo>
                    <a:pt x="626" y="348"/>
                  </a:lnTo>
                  <a:lnTo>
                    <a:pt x="626" y="355"/>
                  </a:lnTo>
                  <a:lnTo>
                    <a:pt x="624" y="362"/>
                  </a:lnTo>
                  <a:lnTo>
                    <a:pt x="623" y="366"/>
                  </a:lnTo>
                  <a:lnTo>
                    <a:pt x="622" y="368"/>
                  </a:lnTo>
                  <a:lnTo>
                    <a:pt x="624" y="373"/>
                  </a:lnTo>
                  <a:lnTo>
                    <a:pt x="628" y="379"/>
                  </a:lnTo>
                  <a:lnTo>
                    <a:pt x="633" y="383"/>
                  </a:lnTo>
                  <a:lnTo>
                    <a:pt x="636" y="388"/>
                  </a:lnTo>
                  <a:lnTo>
                    <a:pt x="637" y="394"/>
                  </a:lnTo>
                  <a:lnTo>
                    <a:pt x="636" y="400"/>
                  </a:lnTo>
                  <a:lnTo>
                    <a:pt x="634" y="404"/>
                  </a:lnTo>
                  <a:lnTo>
                    <a:pt x="632" y="406"/>
                  </a:lnTo>
                  <a:lnTo>
                    <a:pt x="626" y="406"/>
                  </a:lnTo>
                  <a:lnTo>
                    <a:pt x="618" y="405"/>
                  </a:lnTo>
                  <a:lnTo>
                    <a:pt x="609" y="406"/>
                  </a:lnTo>
                  <a:lnTo>
                    <a:pt x="604" y="407"/>
                  </a:lnTo>
                  <a:lnTo>
                    <a:pt x="602" y="410"/>
                  </a:lnTo>
                  <a:lnTo>
                    <a:pt x="601" y="416"/>
                  </a:lnTo>
                  <a:lnTo>
                    <a:pt x="601" y="429"/>
                  </a:lnTo>
                  <a:lnTo>
                    <a:pt x="599" y="434"/>
                  </a:lnTo>
                  <a:lnTo>
                    <a:pt x="596" y="437"/>
                  </a:lnTo>
                  <a:lnTo>
                    <a:pt x="592" y="437"/>
                  </a:lnTo>
                  <a:lnTo>
                    <a:pt x="584" y="435"/>
                  </a:lnTo>
                  <a:lnTo>
                    <a:pt x="579" y="436"/>
                  </a:lnTo>
                  <a:lnTo>
                    <a:pt x="576" y="438"/>
                  </a:lnTo>
                  <a:lnTo>
                    <a:pt x="574" y="440"/>
                  </a:lnTo>
                  <a:lnTo>
                    <a:pt x="571" y="446"/>
                  </a:lnTo>
                  <a:lnTo>
                    <a:pt x="570" y="447"/>
                  </a:lnTo>
                  <a:lnTo>
                    <a:pt x="568" y="448"/>
                  </a:lnTo>
                  <a:lnTo>
                    <a:pt x="565" y="448"/>
                  </a:lnTo>
                  <a:lnTo>
                    <a:pt x="563" y="447"/>
                  </a:lnTo>
                  <a:lnTo>
                    <a:pt x="554" y="447"/>
                  </a:lnTo>
                  <a:lnTo>
                    <a:pt x="551" y="448"/>
                  </a:lnTo>
                  <a:lnTo>
                    <a:pt x="549" y="449"/>
                  </a:lnTo>
                  <a:lnTo>
                    <a:pt x="546" y="450"/>
                  </a:lnTo>
                  <a:lnTo>
                    <a:pt x="544" y="451"/>
                  </a:lnTo>
                  <a:lnTo>
                    <a:pt x="542" y="453"/>
                  </a:lnTo>
                  <a:lnTo>
                    <a:pt x="541" y="455"/>
                  </a:lnTo>
                  <a:lnTo>
                    <a:pt x="541" y="458"/>
                  </a:lnTo>
                  <a:lnTo>
                    <a:pt x="542" y="464"/>
                  </a:lnTo>
                  <a:lnTo>
                    <a:pt x="542" y="480"/>
                  </a:lnTo>
                  <a:lnTo>
                    <a:pt x="540" y="486"/>
                  </a:lnTo>
                  <a:lnTo>
                    <a:pt x="537" y="489"/>
                  </a:lnTo>
                  <a:lnTo>
                    <a:pt x="536" y="489"/>
                  </a:lnTo>
                  <a:lnTo>
                    <a:pt x="536" y="494"/>
                  </a:lnTo>
                  <a:lnTo>
                    <a:pt x="538" y="497"/>
                  </a:lnTo>
                  <a:lnTo>
                    <a:pt x="539" y="499"/>
                  </a:lnTo>
                  <a:lnTo>
                    <a:pt x="529" y="504"/>
                  </a:lnTo>
                  <a:lnTo>
                    <a:pt x="519" y="506"/>
                  </a:lnTo>
                  <a:lnTo>
                    <a:pt x="512" y="508"/>
                  </a:lnTo>
                  <a:lnTo>
                    <a:pt x="507" y="508"/>
                  </a:lnTo>
                  <a:lnTo>
                    <a:pt x="505" y="506"/>
                  </a:lnTo>
                  <a:lnTo>
                    <a:pt x="503" y="501"/>
                  </a:lnTo>
                  <a:lnTo>
                    <a:pt x="501" y="500"/>
                  </a:lnTo>
                  <a:lnTo>
                    <a:pt x="496" y="501"/>
                  </a:lnTo>
                  <a:lnTo>
                    <a:pt x="483" y="506"/>
                  </a:lnTo>
                  <a:lnTo>
                    <a:pt x="471" y="509"/>
                  </a:lnTo>
                  <a:lnTo>
                    <a:pt x="458" y="510"/>
                  </a:lnTo>
                  <a:lnTo>
                    <a:pt x="450" y="511"/>
                  </a:lnTo>
                  <a:lnTo>
                    <a:pt x="446" y="512"/>
                  </a:lnTo>
                  <a:lnTo>
                    <a:pt x="443" y="515"/>
                  </a:lnTo>
                  <a:lnTo>
                    <a:pt x="439" y="518"/>
                  </a:lnTo>
                  <a:lnTo>
                    <a:pt x="435" y="519"/>
                  </a:lnTo>
                  <a:lnTo>
                    <a:pt x="430" y="515"/>
                  </a:lnTo>
                  <a:lnTo>
                    <a:pt x="426" y="509"/>
                  </a:lnTo>
                  <a:lnTo>
                    <a:pt x="421" y="500"/>
                  </a:lnTo>
                  <a:lnTo>
                    <a:pt x="419" y="497"/>
                  </a:lnTo>
                  <a:lnTo>
                    <a:pt x="415" y="493"/>
                  </a:lnTo>
                  <a:lnTo>
                    <a:pt x="409" y="488"/>
                  </a:lnTo>
                  <a:lnTo>
                    <a:pt x="405" y="484"/>
                  </a:lnTo>
                  <a:lnTo>
                    <a:pt x="400" y="481"/>
                  </a:lnTo>
                  <a:lnTo>
                    <a:pt x="397" y="477"/>
                  </a:lnTo>
                  <a:lnTo>
                    <a:pt x="396" y="471"/>
                  </a:lnTo>
                  <a:lnTo>
                    <a:pt x="395" y="464"/>
                  </a:lnTo>
                  <a:lnTo>
                    <a:pt x="394" y="458"/>
                  </a:lnTo>
                  <a:lnTo>
                    <a:pt x="391" y="457"/>
                  </a:lnTo>
                  <a:lnTo>
                    <a:pt x="381" y="462"/>
                  </a:lnTo>
                  <a:lnTo>
                    <a:pt x="375" y="466"/>
                  </a:lnTo>
                  <a:lnTo>
                    <a:pt x="366" y="475"/>
                  </a:lnTo>
                  <a:lnTo>
                    <a:pt x="364" y="480"/>
                  </a:lnTo>
                  <a:lnTo>
                    <a:pt x="364" y="489"/>
                  </a:lnTo>
                  <a:lnTo>
                    <a:pt x="365" y="499"/>
                  </a:lnTo>
                  <a:lnTo>
                    <a:pt x="367" y="509"/>
                  </a:lnTo>
                  <a:lnTo>
                    <a:pt x="368" y="519"/>
                  </a:lnTo>
                  <a:lnTo>
                    <a:pt x="369" y="525"/>
                  </a:lnTo>
                  <a:lnTo>
                    <a:pt x="368" y="532"/>
                  </a:lnTo>
                  <a:lnTo>
                    <a:pt x="367" y="541"/>
                  </a:lnTo>
                  <a:lnTo>
                    <a:pt x="365" y="550"/>
                  </a:lnTo>
                  <a:lnTo>
                    <a:pt x="363" y="556"/>
                  </a:lnTo>
                  <a:lnTo>
                    <a:pt x="359" y="558"/>
                  </a:lnTo>
                  <a:lnTo>
                    <a:pt x="353" y="558"/>
                  </a:lnTo>
                  <a:lnTo>
                    <a:pt x="345" y="557"/>
                  </a:lnTo>
                  <a:lnTo>
                    <a:pt x="338" y="556"/>
                  </a:lnTo>
                  <a:lnTo>
                    <a:pt x="335" y="554"/>
                  </a:lnTo>
                  <a:lnTo>
                    <a:pt x="333" y="551"/>
                  </a:lnTo>
                  <a:lnTo>
                    <a:pt x="332" y="545"/>
                  </a:lnTo>
                  <a:lnTo>
                    <a:pt x="332" y="539"/>
                  </a:lnTo>
                  <a:lnTo>
                    <a:pt x="333" y="534"/>
                  </a:lnTo>
                  <a:lnTo>
                    <a:pt x="332" y="530"/>
                  </a:lnTo>
                  <a:lnTo>
                    <a:pt x="328" y="527"/>
                  </a:lnTo>
                  <a:lnTo>
                    <a:pt x="314" y="527"/>
                  </a:lnTo>
                  <a:lnTo>
                    <a:pt x="308" y="528"/>
                  </a:lnTo>
                  <a:lnTo>
                    <a:pt x="304" y="528"/>
                  </a:lnTo>
                  <a:lnTo>
                    <a:pt x="303" y="527"/>
                  </a:lnTo>
                  <a:lnTo>
                    <a:pt x="303" y="526"/>
                  </a:lnTo>
                  <a:lnTo>
                    <a:pt x="302" y="525"/>
                  </a:lnTo>
                  <a:lnTo>
                    <a:pt x="302" y="524"/>
                  </a:lnTo>
                  <a:lnTo>
                    <a:pt x="301" y="522"/>
                  </a:lnTo>
                  <a:lnTo>
                    <a:pt x="298" y="519"/>
                  </a:lnTo>
                  <a:lnTo>
                    <a:pt x="296" y="520"/>
                  </a:lnTo>
                  <a:lnTo>
                    <a:pt x="295" y="522"/>
                  </a:lnTo>
                  <a:lnTo>
                    <a:pt x="289" y="526"/>
                  </a:lnTo>
                  <a:lnTo>
                    <a:pt x="287" y="527"/>
                  </a:lnTo>
                  <a:lnTo>
                    <a:pt x="285" y="526"/>
                  </a:lnTo>
                  <a:lnTo>
                    <a:pt x="284" y="526"/>
                  </a:lnTo>
                  <a:lnTo>
                    <a:pt x="280" y="516"/>
                  </a:lnTo>
                  <a:lnTo>
                    <a:pt x="278" y="514"/>
                  </a:lnTo>
                  <a:lnTo>
                    <a:pt x="276" y="513"/>
                  </a:lnTo>
                  <a:lnTo>
                    <a:pt x="269" y="512"/>
                  </a:lnTo>
                  <a:lnTo>
                    <a:pt x="261" y="513"/>
                  </a:lnTo>
                  <a:lnTo>
                    <a:pt x="253" y="515"/>
                  </a:lnTo>
                  <a:lnTo>
                    <a:pt x="246" y="518"/>
                  </a:lnTo>
                  <a:lnTo>
                    <a:pt x="236" y="524"/>
                  </a:lnTo>
                  <a:lnTo>
                    <a:pt x="230" y="527"/>
                  </a:lnTo>
                  <a:lnTo>
                    <a:pt x="225" y="530"/>
                  </a:lnTo>
                  <a:lnTo>
                    <a:pt x="222" y="535"/>
                  </a:lnTo>
                  <a:lnTo>
                    <a:pt x="224" y="540"/>
                  </a:lnTo>
                  <a:lnTo>
                    <a:pt x="230" y="546"/>
                  </a:lnTo>
                  <a:lnTo>
                    <a:pt x="239" y="553"/>
                  </a:lnTo>
                  <a:lnTo>
                    <a:pt x="247" y="561"/>
                  </a:lnTo>
                  <a:lnTo>
                    <a:pt x="253" y="569"/>
                  </a:lnTo>
                  <a:lnTo>
                    <a:pt x="254" y="573"/>
                  </a:lnTo>
                  <a:lnTo>
                    <a:pt x="252" y="575"/>
                  </a:lnTo>
                  <a:lnTo>
                    <a:pt x="248" y="574"/>
                  </a:lnTo>
                  <a:lnTo>
                    <a:pt x="243" y="573"/>
                  </a:lnTo>
                  <a:lnTo>
                    <a:pt x="237" y="571"/>
                  </a:lnTo>
                  <a:lnTo>
                    <a:pt x="232" y="569"/>
                  </a:lnTo>
                  <a:lnTo>
                    <a:pt x="228" y="568"/>
                  </a:lnTo>
                  <a:lnTo>
                    <a:pt x="224" y="569"/>
                  </a:lnTo>
                  <a:lnTo>
                    <a:pt x="222" y="573"/>
                  </a:lnTo>
                  <a:lnTo>
                    <a:pt x="221" y="578"/>
                  </a:lnTo>
                  <a:lnTo>
                    <a:pt x="220" y="586"/>
                  </a:lnTo>
                  <a:lnTo>
                    <a:pt x="218" y="589"/>
                  </a:lnTo>
                  <a:lnTo>
                    <a:pt x="214" y="589"/>
                  </a:lnTo>
                  <a:lnTo>
                    <a:pt x="209" y="587"/>
                  </a:lnTo>
                  <a:lnTo>
                    <a:pt x="197" y="581"/>
                  </a:lnTo>
                  <a:lnTo>
                    <a:pt x="192" y="580"/>
                  </a:lnTo>
                  <a:lnTo>
                    <a:pt x="189" y="578"/>
                  </a:lnTo>
                  <a:lnTo>
                    <a:pt x="188" y="573"/>
                  </a:lnTo>
                  <a:lnTo>
                    <a:pt x="187" y="566"/>
                  </a:lnTo>
                  <a:lnTo>
                    <a:pt x="187" y="542"/>
                  </a:lnTo>
                  <a:lnTo>
                    <a:pt x="185" y="536"/>
                  </a:lnTo>
                  <a:lnTo>
                    <a:pt x="180" y="529"/>
                  </a:lnTo>
                  <a:lnTo>
                    <a:pt x="174" y="526"/>
                  </a:lnTo>
                  <a:lnTo>
                    <a:pt x="165" y="524"/>
                  </a:lnTo>
                  <a:lnTo>
                    <a:pt x="160" y="522"/>
                  </a:lnTo>
                  <a:lnTo>
                    <a:pt x="158" y="520"/>
                  </a:lnTo>
                  <a:lnTo>
                    <a:pt x="157" y="517"/>
                  </a:lnTo>
                  <a:lnTo>
                    <a:pt x="154" y="513"/>
                  </a:lnTo>
                  <a:lnTo>
                    <a:pt x="150" y="511"/>
                  </a:lnTo>
                  <a:lnTo>
                    <a:pt x="134" y="507"/>
                  </a:lnTo>
                  <a:lnTo>
                    <a:pt x="130" y="505"/>
                  </a:lnTo>
                  <a:lnTo>
                    <a:pt x="128" y="500"/>
                  </a:lnTo>
                  <a:lnTo>
                    <a:pt x="127" y="495"/>
                  </a:lnTo>
                  <a:lnTo>
                    <a:pt x="127" y="490"/>
                  </a:lnTo>
                  <a:lnTo>
                    <a:pt x="126" y="485"/>
                  </a:lnTo>
                  <a:lnTo>
                    <a:pt x="122" y="477"/>
                  </a:lnTo>
                  <a:lnTo>
                    <a:pt x="114" y="472"/>
                  </a:lnTo>
                  <a:lnTo>
                    <a:pt x="96" y="466"/>
                  </a:lnTo>
                  <a:lnTo>
                    <a:pt x="92" y="463"/>
                  </a:lnTo>
                  <a:lnTo>
                    <a:pt x="91" y="460"/>
                  </a:lnTo>
                  <a:lnTo>
                    <a:pt x="90" y="456"/>
                  </a:lnTo>
                  <a:lnTo>
                    <a:pt x="88" y="452"/>
                  </a:lnTo>
                  <a:lnTo>
                    <a:pt x="84" y="449"/>
                  </a:lnTo>
                  <a:lnTo>
                    <a:pt x="79" y="448"/>
                  </a:lnTo>
                  <a:lnTo>
                    <a:pt x="63" y="448"/>
                  </a:lnTo>
                  <a:lnTo>
                    <a:pt x="54" y="449"/>
                  </a:lnTo>
                  <a:lnTo>
                    <a:pt x="45" y="453"/>
                  </a:lnTo>
                  <a:lnTo>
                    <a:pt x="45" y="430"/>
                  </a:lnTo>
                  <a:lnTo>
                    <a:pt x="46" y="421"/>
                  </a:lnTo>
                  <a:lnTo>
                    <a:pt x="49" y="416"/>
                  </a:lnTo>
                  <a:lnTo>
                    <a:pt x="51" y="413"/>
                  </a:lnTo>
                  <a:lnTo>
                    <a:pt x="50" y="408"/>
                  </a:lnTo>
                  <a:lnTo>
                    <a:pt x="48" y="403"/>
                  </a:lnTo>
                  <a:lnTo>
                    <a:pt x="45" y="399"/>
                  </a:lnTo>
                  <a:lnTo>
                    <a:pt x="42" y="396"/>
                  </a:lnTo>
                  <a:lnTo>
                    <a:pt x="38" y="395"/>
                  </a:lnTo>
                  <a:lnTo>
                    <a:pt x="33" y="396"/>
                  </a:lnTo>
                  <a:lnTo>
                    <a:pt x="28" y="398"/>
                  </a:lnTo>
                  <a:lnTo>
                    <a:pt x="24" y="402"/>
                  </a:lnTo>
                  <a:lnTo>
                    <a:pt x="23" y="405"/>
                  </a:lnTo>
                  <a:lnTo>
                    <a:pt x="23" y="408"/>
                  </a:lnTo>
                  <a:lnTo>
                    <a:pt x="22" y="411"/>
                  </a:lnTo>
                  <a:lnTo>
                    <a:pt x="21" y="413"/>
                  </a:lnTo>
                  <a:lnTo>
                    <a:pt x="19" y="415"/>
                  </a:lnTo>
                  <a:lnTo>
                    <a:pt x="17" y="415"/>
                  </a:lnTo>
                  <a:lnTo>
                    <a:pt x="13" y="414"/>
                  </a:lnTo>
                  <a:lnTo>
                    <a:pt x="7" y="412"/>
                  </a:lnTo>
                  <a:lnTo>
                    <a:pt x="2" y="409"/>
                  </a:lnTo>
                  <a:lnTo>
                    <a:pt x="0" y="404"/>
                  </a:lnTo>
                  <a:lnTo>
                    <a:pt x="2" y="398"/>
                  </a:lnTo>
                  <a:lnTo>
                    <a:pt x="6" y="393"/>
                  </a:lnTo>
                  <a:lnTo>
                    <a:pt x="11" y="386"/>
                  </a:lnTo>
                  <a:lnTo>
                    <a:pt x="13" y="378"/>
                  </a:lnTo>
                  <a:lnTo>
                    <a:pt x="13" y="370"/>
                  </a:lnTo>
                  <a:lnTo>
                    <a:pt x="17" y="351"/>
                  </a:lnTo>
                  <a:lnTo>
                    <a:pt x="21" y="343"/>
                  </a:lnTo>
                  <a:lnTo>
                    <a:pt x="26" y="338"/>
                  </a:lnTo>
                  <a:lnTo>
                    <a:pt x="33" y="335"/>
                  </a:lnTo>
                  <a:lnTo>
                    <a:pt x="36" y="333"/>
                  </a:lnTo>
                  <a:lnTo>
                    <a:pt x="39" y="329"/>
                  </a:lnTo>
                  <a:lnTo>
                    <a:pt x="41" y="324"/>
                  </a:lnTo>
                  <a:lnTo>
                    <a:pt x="44" y="317"/>
                  </a:lnTo>
                  <a:lnTo>
                    <a:pt x="47" y="311"/>
                  </a:lnTo>
                  <a:lnTo>
                    <a:pt x="48" y="307"/>
                  </a:lnTo>
                  <a:lnTo>
                    <a:pt x="45" y="305"/>
                  </a:lnTo>
                  <a:lnTo>
                    <a:pt x="40" y="301"/>
                  </a:lnTo>
                  <a:lnTo>
                    <a:pt x="33" y="297"/>
                  </a:lnTo>
                  <a:lnTo>
                    <a:pt x="28" y="293"/>
                  </a:lnTo>
                  <a:lnTo>
                    <a:pt x="24" y="289"/>
                  </a:lnTo>
                  <a:lnTo>
                    <a:pt x="24" y="286"/>
                  </a:lnTo>
                  <a:lnTo>
                    <a:pt x="28" y="284"/>
                  </a:lnTo>
                  <a:lnTo>
                    <a:pt x="37" y="284"/>
                  </a:lnTo>
                  <a:lnTo>
                    <a:pt x="42" y="283"/>
                  </a:lnTo>
                  <a:lnTo>
                    <a:pt x="45" y="282"/>
                  </a:lnTo>
                  <a:lnTo>
                    <a:pt x="46" y="278"/>
                  </a:lnTo>
                  <a:lnTo>
                    <a:pt x="44" y="273"/>
                  </a:lnTo>
                  <a:lnTo>
                    <a:pt x="40" y="269"/>
                  </a:lnTo>
                  <a:lnTo>
                    <a:pt x="37" y="265"/>
                  </a:lnTo>
                  <a:lnTo>
                    <a:pt x="35" y="261"/>
                  </a:lnTo>
                  <a:lnTo>
                    <a:pt x="36" y="258"/>
                  </a:lnTo>
                  <a:lnTo>
                    <a:pt x="42" y="256"/>
                  </a:lnTo>
                  <a:lnTo>
                    <a:pt x="53" y="256"/>
                  </a:lnTo>
                  <a:lnTo>
                    <a:pt x="62" y="258"/>
                  </a:lnTo>
                  <a:lnTo>
                    <a:pt x="70" y="260"/>
                  </a:lnTo>
                  <a:lnTo>
                    <a:pt x="76" y="260"/>
                  </a:lnTo>
                  <a:lnTo>
                    <a:pt x="78" y="259"/>
                  </a:lnTo>
                  <a:lnTo>
                    <a:pt x="81" y="258"/>
                  </a:lnTo>
                  <a:lnTo>
                    <a:pt x="85" y="258"/>
                  </a:lnTo>
                  <a:lnTo>
                    <a:pt x="87" y="257"/>
                  </a:lnTo>
                  <a:lnTo>
                    <a:pt x="89" y="257"/>
                  </a:lnTo>
                  <a:lnTo>
                    <a:pt x="90" y="256"/>
                  </a:lnTo>
                  <a:lnTo>
                    <a:pt x="90" y="253"/>
                  </a:lnTo>
                  <a:lnTo>
                    <a:pt x="89" y="250"/>
                  </a:lnTo>
                  <a:lnTo>
                    <a:pt x="84" y="244"/>
                  </a:lnTo>
                  <a:lnTo>
                    <a:pt x="74" y="234"/>
                  </a:lnTo>
                  <a:lnTo>
                    <a:pt x="72" y="231"/>
                  </a:lnTo>
                  <a:lnTo>
                    <a:pt x="73" y="224"/>
                  </a:lnTo>
                  <a:lnTo>
                    <a:pt x="72" y="216"/>
                  </a:lnTo>
                  <a:lnTo>
                    <a:pt x="70" y="208"/>
                  </a:lnTo>
                  <a:lnTo>
                    <a:pt x="68" y="205"/>
                  </a:lnTo>
                  <a:lnTo>
                    <a:pt x="67" y="203"/>
                  </a:lnTo>
                  <a:lnTo>
                    <a:pt x="67" y="201"/>
                  </a:lnTo>
                  <a:lnTo>
                    <a:pt x="77" y="201"/>
                  </a:lnTo>
                  <a:lnTo>
                    <a:pt x="81" y="203"/>
                  </a:lnTo>
                  <a:lnTo>
                    <a:pt x="84" y="206"/>
                  </a:lnTo>
                  <a:lnTo>
                    <a:pt x="85" y="206"/>
                  </a:lnTo>
                  <a:lnTo>
                    <a:pt x="87" y="205"/>
                  </a:lnTo>
                  <a:lnTo>
                    <a:pt x="88" y="203"/>
                  </a:lnTo>
                  <a:lnTo>
                    <a:pt x="92" y="196"/>
                  </a:lnTo>
                  <a:lnTo>
                    <a:pt x="95" y="190"/>
                  </a:lnTo>
                  <a:lnTo>
                    <a:pt x="96" y="185"/>
                  </a:lnTo>
                  <a:lnTo>
                    <a:pt x="93" y="180"/>
                  </a:lnTo>
                  <a:lnTo>
                    <a:pt x="87" y="177"/>
                  </a:lnTo>
                  <a:lnTo>
                    <a:pt x="78" y="174"/>
                  </a:lnTo>
                  <a:lnTo>
                    <a:pt x="68" y="170"/>
                  </a:lnTo>
                  <a:lnTo>
                    <a:pt x="59" y="166"/>
                  </a:lnTo>
                  <a:lnTo>
                    <a:pt x="54" y="162"/>
                  </a:lnTo>
                  <a:lnTo>
                    <a:pt x="51" y="156"/>
                  </a:lnTo>
                  <a:lnTo>
                    <a:pt x="43" y="144"/>
                  </a:lnTo>
                  <a:lnTo>
                    <a:pt x="40" y="140"/>
                  </a:lnTo>
                  <a:lnTo>
                    <a:pt x="38" y="138"/>
                  </a:lnTo>
                  <a:lnTo>
                    <a:pt x="37" y="138"/>
                  </a:lnTo>
                  <a:lnTo>
                    <a:pt x="35" y="139"/>
                  </a:lnTo>
                  <a:lnTo>
                    <a:pt x="34" y="141"/>
                  </a:lnTo>
                  <a:lnTo>
                    <a:pt x="31" y="143"/>
                  </a:lnTo>
                  <a:lnTo>
                    <a:pt x="30" y="144"/>
                  </a:lnTo>
                  <a:lnTo>
                    <a:pt x="28" y="144"/>
                  </a:lnTo>
                  <a:lnTo>
                    <a:pt x="27" y="143"/>
                  </a:lnTo>
                  <a:lnTo>
                    <a:pt x="23" y="135"/>
                  </a:lnTo>
                  <a:lnTo>
                    <a:pt x="18" y="129"/>
                  </a:lnTo>
                  <a:lnTo>
                    <a:pt x="14" y="122"/>
                  </a:lnTo>
                  <a:lnTo>
                    <a:pt x="12" y="115"/>
                  </a:lnTo>
                  <a:lnTo>
                    <a:pt x="13" y="109"/>
                  </a:lnTo>
                  <a:lnTo>
                    <a:pt x="19" y="102"/>
                  </a:lnTo>
                  <a:lnTo>
                    <a:pt x="26" y="95"/>
                  </a:lnTo>
                  <a:lnTo>
                    <a:pt x="33" y="91"/>
                  </a:lnTo>
                  <a:lnTo>
                    <a:pt x="41" y="88"/>
                  </a:lnTo>
                  <a:lnTo>
                    <a:pt x="49" y="87"/>
                  </a:lnTo>
                  <a:lnTo>
                    <a:pt x="65" y="87"/>
                  </a:lnTo>
                  <a:lnTo>
                    <a:pt x="71" y="85"/>
                  </a:lnTo>
                  <a:lnTo>
                    <a:pt x="75" y="82"/>
                  </a:lnTo>
                  <a:lnTo>
                    <a:pt x="76" y="77"/>
                  </a:lnTo>
                  <a:lnTo>
                    <a:pt x="78" y="65"/>
                  </a:lnTo>
                  <a:lnTo>
                    <a:pt x="80" y="62"/>
                  </a:lnTo>
                  <a:lnTo>
                    <a:pt x="85" y="60"/>
                  </a:lnTo>
                  <a:lnTo>
                    <a:pt x="100" y="60"/>
                  </a:lnTo>
                  <a:lnTo>
                    <a:pt x="107" y="57"/>
                  </a:lnTo>
                  <a:lnTo>
                    <a:pt x="115" y="50"/>
                  </a:lnTo>
                  <a:lnTo>
                    <a:pt x="121" y="42"/>
                  </a:lnTo>
                  <a:lnTo>
                    <a:pt x="126" y="33"/>
                  </a:lnTo>
                  <a:lnTo>
                    <a:pt x="130" y="26"/>
                  </a:lnTo>
                  <a:lnTo>
                    <a:pt x="135" y="20"/>
                  </a:lnTo>
                  <a:lnTo>
                    <a:pt x="140" y="18"/>
                  </a:lnTo>
                  <a:lnTo>
                    <a:pt x="147" y="20"/>
                  </a:lnTo>
                  <a:lnTo>
                    <a:pt x="154" y="23"/>
                  </a:lnTo>
                  <a:lnTo>
                    <a:pt x="161" y="27"/>
                  </a:lnTo>
                  <a:lnTo>
                    <a:pt x="168" y="30"/>
                  </a:lnTo>
                  <a:lnTo>
                    <a:pt x="174" y="29"/>
                  </a:lnTo>
                  <a:lnTo>
                    <a:pt x="181" y="27"/>
                  </a:lnTo>
                  <a:lnTo>
                    <a:pt x="189" y="26"/>
                  </a:lnTo>
                  <a:lnTo>
                    <a:pt x="197" y="26"/>
                  </a:lnTo>
                  <a:lnTo>
                    <a:pt x="201" y="24"/>
                  </a:lnTo>
                  <a:lnTo>
                    <a:pt x="202" y="21"/>
                  </a:lnTo>
                  <a:lnTo>
                    <a:pt x="201" y="16"/>
                  </a:lnTo>
                  <a:lnTo>
                    <a:pt x="199" y="11"/>
                  </a:lnTo>
                  <a:lnTo>
                    <a:pt x="198" y="6"/>
                  </a:lnTo>
                  <a:lnTo>
                    <a:pt x="200" y="2"/>
                  </a:lnTo>
                  <a:lnTo>
                    <a:pt x="205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13">
              <a:extLst>
                <a:ext uri="{FF2B5EF4-FFF2-40B4-BE49-F238E27FC236}">
                  <a16:creationId xmlns:a16="http://schemas.microsoft.com/office/drawing/2014/main" id="{602949FD-4571-4BE0-A88D-D0D14E0A29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4813" y="4189413"/>
              <a:ext cx="2070100" cy="2133600"/>
            </a:xfrm>
            <a:custGeom>
              <a:avLst/>
              <a:gdLst/>
              <a:ahLst/>
              <a:cxnLst>
                <a:cxn ang="0">
                  <a:pos x="367" y="59"/>
                </a:cxn>
                <a:cxn ang="0">
                  <a:pos x="442" y="139"/>
                </a:cxn>
                <a:cxn ang="0">
                  <a:pos x="472" y="105"/>
                </a:cxn>
                <a:cxn ang="0">
                  <a:pos x="520" y="79"/>
                </a:cxn>
                <a:cxn ang="0">
                  <a:pos x="565" y="91"/>
                </a:cxn>
                <a:cxn ang="0">
                  <a:pos x="597" y="41"/>
                </a:cxn>
                <a:cxn ang="0">
                  <a:pos x="659" y="61"/>
                </a:cxn>
                <a:cxn ang="0">
                  <a:pos x="752" y="58"/>
                </a:cxn>
                <a:cxn ang="0">
                  <a:pos x="825" y="119"/>
                </a:cxn>
                <a:cxn ang="0">
                  <a:pos x="869" y="196"/>
                </a:cxn>
                <a:cxn ang="0">
                  <a:pos x="940" y="246"/>
                </a:cxn>
                <a:cxn ang="0">
                  <a:pos x="911" y="332"/>
                </a:cxn>
                <a:cxn ang="0">
                  <a:pos x="962" y="408"/>
                </a:cxn>
                <a:cxn ang="0">
                  <a:pos x="1032" y="488"/>
                </a:cxn>
                <a:cxn ang="0">
                  <a:pos x="1107" y="546"/>
                </a:cxn>
                <a:cxn ang="0">
                  <a:pos x="1211" y="635"/>
                </a:cxn>
                <a:cxn ang="0">
                  <a:pos x="1276" y="664"/>
                </a:cxn>
                <a:cxn ang="0">
                  <a:pos x="1290" y="788"/>
                </a:cxn>
                <a:cxn ang="0">
                  <a:pos x="1209" y="789"/>
                </a:cxn>
                <a:cxn ang="0">
                  <a:pos x="1171" y="897"/>
                </a:cxn>
                <a:cxn ang="0">
                  <a:pos x="1048" y="961"/>
                </a:cxn>
                <a:cxn ang="0">
                  <a:pos x="1072" y="1050"/>
                </a:cxn>
                <a:cxn ang="0">
                  <a:pos x="1103" y="1147"/>
                </a:cxn>
                <a:cxn ang="0">
                  <a:pos x="1107" y="1221"/>
                </a:cxn>
                <a:cxn ang="0">
                  <a:pos x="1039" y="1209"/>
                </a:cxn>
                <a:cxn ang="0">
                  <a:pos x="967" y="1186"/>
                </a:cxn>
                <a:cxn ang="0">
                  <a:pos x="887" y="1162"/>
                </a:cxn>
                <a:cxn ang="0">
                  <a:pos x="873" y="1192"/>
                </a:cxn>
                <a:cxn ang="0">
                  <a:pos x="713" y="1216"/>
                </a:cxn>
                <a:cxn ang="0">
                  <a:pos x="630" y="1278"/>
                </a:cxn>
                <a:cxn ang="0">
                  <a:pos x="541" y="1294"/>
                </a:cxn>
                <a:cxn ang="0">
                  <a:pos x="513" y="1243"/>
                </a:cxn>
                <a:cxn ang="0">
                  <a:pos x="407" y="1235"/>
                </a:cxn>
                <a:cxn ang="0">
                  <a:pos x="389" y="1249"/>
                </a:cxn>
                <a:cxn ang="0">
                  <a:pos x="312" y="1343"/>
                </a:cxn>
                <a:cxn ang="0">
                  <a:pos x="290" y="1300"/>
                </a:cxn>
                <a:cxn ang="0">
                  <a:pos x="232" y="1235"/>
                </a:cxn>
                <a:cxn ang="0">
                  <a:pos x="172" y="1233"/>
                </a:cxn>
                <a:cxn ang="0">
                  <a:pos x="233" y="1183"/>
                </a:cxn>
                <a:cxn ang="0">
                  <a:pos x="287" y="1145"/>
                </a:cxn>
                <a:cxn ang="0">
                  <a:pos x="305" y="1020"/>
                </a:cxn>
                <a:cxn ang="0">
                  <a:pos x="277" y="859"/>
                </a:cxn>
                <a:cxn ang="0">
                  <a:pos x="342" y="778"/>
                </a:cxn>
                <a:cxn ang="0">
                  <a:pos x="385" y="770"/>
                </a:cxn>
                <a:cxn ang="0">
                  <a:pos x="383" y="720"/>
                </a:cxn>
                <a:cxn ang="0">
                  <a:pos x="352" y="621"/>
                </a:cxn>
                <a:cxn ang="0">
                  <a:pos x="337" y="581"/>
                </a:cxn>
                <a:cxn ang="0">
                  <a:pos x="295" y="485"/>
                </a:cxn>
                <a:cxn ang="0">
                  <a:pos x="279" y="433"/>
                </a:cxn>
                <a:cxn ang="0">
                  <a:pos x="232" y="410"/>
                </a:cxn>
                <a:cxn ang="0">
                  <a:pos x="196" y="348"/>
                </a:cxn>
                <a:cxn ang="0">
                  <a:pos x="174" y="317"/>
                </a:cxn>
                <a:cxn ang="0">
                  <a:pos x="86" y="327"/>
                </a:cxn>
                <a:cxn ang="0">
                  <a:pos x="112" y="341"/>
                </a:cxn>
                <a:cxn ang="0">
                  <a:pos x="78" y="389"/>
                </a:cxn>
                <a:cxn ang="0">
                  <a:pos x="26" y="378"/>
                </a:cxn>
                <a:cxn ang="0">
                  <a:pos x="15" y="289"/>
                </a:cxn>
                <a:cxn ang="0">
                  <a:pos x="0" y="200"/>
                </a:cxn>
                <a:cxn ang="0">
                  <a:pos x="57" y="163"/>
                </a:cxn>
                <a:cxn ang="0">
                  <a:pos x="135" y="168"/>
                </a:cxn>
                <a:cxn ang="0">
                  <a:pos x="176" y="121"/>
                </a:cxn>
                <a:cxn ang="0">
                  <a:pos x="225" y="58"/>
                </a:cxn>
              </a:cxnLst>
              <a:rect l="0" t="0" r="r" b="b"/>
              <a:pathLst>
                <a:path w="1304" h="1344">
                  <a:moveTo>
                    <a:pt x="296" y="0"/>
                  </a:moveTo>
                  <a:lnTo>
                    <a:pt x="312" y="0"/>
                  </a:lnTo>
                  <a:lnTo>
                    <a:pt x="317" y="1"/>
                  </a:lnTo>
                  <a:lnTo>
                    <a:pt x="321" y="4"/>
                  </a:lnTo>
                  <a:lnTo>
                    <a:pt x="323" y="8"/>
                  </a:lnTo>
                  <a:lnTo>
                    <a:pt x="324" y="12"/>
                  </a:lnTo>
                  <a:lnTo>
                    <a:pt x="325" y="15"/>
                  </a:lnTo>
                  <a:lnTo>
                    <a:pt x="329" y="18"/>
                  </a:lnTo>
                  <a:lnTo>
                    <a:pt x="347" y="24"/>
                  </a:lnTo>
                  <a:lnTo>
                    <a:pt x="355" y="29"/>
                  </a:lnTo>
                  <a:lnTo>
                    <a:pt x="359" y="37"/>
                  </a:lnTo>
                  <a:lnTo>
                    <a:pt x="360" y="42"/>
                  </a:lnTo>
                  <a:lnTo>
                    <a:pt x="360" y="47"/>
                  </a:lnTo>
                  <a:lnTo>
                    <a:pt x="361" y="52"/>
                  </a:lnTo>
                  <a:lnTo>
                    <a:pt x="363" y="57"/>
                  </a:lnTo>
                  <a:lnTo>
                    <a:pt x="367" y="59"/>
                  </a:lnTo>
                  <a:lnTo>
                    <a:pt x="383" y="63"/>
                  </a:lnTo>
                  <a:lnTo>
                    <a:pt x="387" y="65"/>
                  </a:lnTo>
                  <a:lnTo>
                    <a:pt x="390" y="69"/>
                  </a:lnTo>
                  <a:lnTo>
                    <a:pt x="391" y="72"/>
                  </a:lnTo>
                  <a:lnTo>
                    <a:pt x="393" y="74"/>
                  </a:lnTo>
                  <a:lnTo>
                    <a:pt x="398" y="76"/>
                  </a:lnTo>
                  <a:lnTo>
                    <a:pt x="407" y="78"/>
                  </a:lnTo>
                  <a:lnTo>
                    <a:pt x="413" y="81"/>
                  </a:lnTo>
                  <a:lnTo>
                    <a:pt x="418" y="88"/>
                  </a:lnTo>
                  <a:lnTo>
                    <a:pt x="420" y="94"/>
                  </a:lnTo>
                  <a:lnTo>
                    <a:pt x="420" y="118"/>
                  </a:lnTo>
                  <a:lnTo>
                    <a:pt x="421" y="125"/>
                  </a:lnTo>
                  <a:lnTo>
                    <a:pt x="422" y="130"/>
                  </a:lnTo>
                  <a:lnTo>
                    <a:pt x="425" y="132"/>
                  </a:lnTo>
                  <a:lnTo>
                    <a:pt x="430" y="133"/>
                  </a:lnTo>
                  <a:lnTo>
                    <a:pt x="442" y="139"/>
                  </a:lnTo>
                  <a:lnTo>
                    <a:pt x="447" y="141"/>
                  </a:lnTo>
                  <a:lnTo>
                    <a:pt x="451" y="141"/>
                  </a:lnTo>
                  <a:lnTo>
                    <a:pt x="453" y="138"/>
                  </a:lnTo>
                  <a:lnTo>
                    <a:pt x="454" y="130"/>
                  </a:lnTo>
                  <a:lnTo>
                    <a:pt x="455" y="125"/>
                  </a:lnTo>
                  <a:lnTo>
                    <a:pt x="457" y="121"/>
                  </a:lnTo>
                  <a:lnTo>
                    <a:pt x="461" y="120"/>
                  </a:lnTo>
                  <a:lnTo>
                    <a:pt x="465" y="121"/>
                  </a:lnTo>
                  <a:lnTo>
                    <a:pt x="470" y="123"/>
                  </a:lnTo>
                  <a:lnTo>
                    <a:pt x="476" y="125"/>
                  </a:lnTo>
                  <a:lnTo>
                    <a:pt x="481" y="126"/>
                  </a:lnTo>
                  <a:lnTo>
                    <a:pt x="485" y="127"/>
                  </a:lnTo>
                  <a:lnTo>
                    <a:pt x="487" y="125"/>
                  </a:lnTo>
                  <a:lnTo>
                    <a:pt x="486" y="121"/>
                  </a:lnTo>
                  <a:lnTo>
                    <a:pt x="480" y="113"/>
                  </a:lnTo>
                  <a:lnTo>
                    <a:pt x="472" y="105"/>
                  </a:lnTo>
                  <a:lnTo>
                    <a:pt x="463" y="98"/>
                  </a:lnTo>
                  <a:lnTo>
                    <a:pt x="457" y="92"/>
                  </a:lnTo>
                  <a:lnTo>
                    <a:pt x="455" y="87"/>
                  </a:lnTo>
                  <a:lnTo>
                    <a:pt x="458" y="82"/>
                  </a:lnTo>
                  <a:lnTo>
                    <a:pt x="463" y="79"/>
                  </a:lnTo>
                  <a:lnTo>
                    <a:pt x="469" y="76"/>
                  </a:lnTo>
                  <a:lnTo>
                    <a:pt x="479" y="70"/>
                  </a:lnTo>
                  <a:lnTo>
                    <a:pt x="486" y="67"/>
                  </a:lnTo>
                  <a:lnTo>
                    <a:pt x="494" y="65"/>
                  </a:lnTo>
                  <a:lnTo>
                    <a:pt x="502" y="64"/>
                  </a:lnTo>
                  <a:lnTo>
                    <a:pt x="509" y="65"/>
                  </a:lnTo>
                  <a:lnTo>
                    <a:pt x="511" y="66"/>
                  </a:lnTo>
                  <a:lnTo>
                    <a:pt x="513" y="68"/>
                  </a:lnTo>
                  <a:lnTo>
                    <a:pt x="517" y="78"/>
                  </a:lnTo>
                  <a:lnTo>
                    <a:pt x="518" y="78"/>
                  </a:lnTo>
                  <a:lnTo>
                    <a:pt x="520" y="79"/>
                  </a:lnTo>
                  <a:lnTo>
                    <a:pt x="522" y="78"/>
                  </a:lnTo>
                  <a:lnTo>
                    <a:pt x="528" y="74"/>
                  </a:lnTo>
                  <a:lnTo>
                    <a:pt x="529" y="72"/>
                  </a:lnTo>
                  <a:lnTo>
                    <a:pt x="531" y="71"/>
                  </a:lnTo>
                  <a:lnTo>
                    <a:pt x="534" y="74"/>
                  </a:lnTo>
                  <a:lnTo>
                    <a:pt x="535" y="76"/>
                  </a:lnTo>
                  <a:lnTo>
                    <a:pt x="535" y="77"/>
                  </a:lnTo>
                  <a:lnTo>
                    <a:pt x="536" y="78"/>
                  </a:lnTo>
                  <a:lnTo>
                    <a:pt x="536" y="79"/>
                  </a:lnTo>
                  <a:lnTo>
                    <a:pt x="537" y="80"/>
                  </a:lnTo>
                  <a:lnTo>
                    <a:pt x="541" y="80"/>
                  </a:lnTo>
                  <a:lnTo>
                    <a:pt x="547" y="79"/>
                  </a:lnTo>
                  <a:lnTo>
                    <a:pt x="561" y="79"/>
                  </a:lnTo>
                  <a:lnTo>
                    <a:pt x="565" y="82"/>
                  </a:lnTo>
                  <a:lnTo>
                    <a:pt x="566" y="86"/>
                  </a:lnTo>
                  <a:lnTo>
                    <a:pt x="565" y="91"/>
                  </a:lnTo>
                  <a:lnTo>
                    <a:pt x="565" y="97"/>
                  </a:lnTo>
                  <a:lnTo>
                    <a:pt x="566" y="103"/>
                  </a:lnTo>
                  <a:lnTo>
                    <a:pt x="568" y="106"/>
                  </a:lnTo>
                  <a:lnTo>
                    <a:pt x="571" y="108"/>
                  </a:lnTo>
                  <a:lnTo>
                    <a:pt x="578" y="109"/>
                  </a:lnTo>
                  <a:lnTo>
                    <a:pt x="586" y="110"/>
                  </a:lnTo>
                  <a:lnTo>
                    <a:pt x="592" y="110"/>
                  </a:lnTo>
                  <a:lnTo>
                    <a:pt x="596" y="108"/>
                  </a:lnTo>
                  <a:lnTo>
                    <a:pt x="598" y="102"/>
                  </a:lnTo>
                  <a:lnTo>
                    <a:pt x="600" y="93"/>
                  </a:lnTo>
                  <a:lnTo>
                    <a:pt x="601" y="84"/>
                  </a:lnTo>
                  <a:lnTo>
                    <a:pt x="602" y="77"/>
                  </a:lnTo>
                  <a:lnTo>
                    <a:pt x="601" y="71"/>
                  </a:lnTo>
                  <a:lnTo>
                    <a:pt x="600" y="61"/>
                  </a:lnTo>
                  <a:lnTo>
                    <a:pt x="598" y="51"/>
                  </a:lnTo>
                  <a:lnTo>
                    <a:pt x="597" y="41"/>
                  </a:lnTo>
                  <a:lnTo>
                    <a:pt x="597" y="32"/>
                  </a:lnTo>
                  <a:lnTo>
                    <a:pt x="599" y="27"/>
                  </a:lnTo>
                  <a:lnTo>
                    <a:pt x="608" y="18"/>
                  </a:lnTo>
                  <a:lnTo>
                    <a:pt x="614" y="14"/>
                  </a:lnTo>
                  <a:lnTo>
                    <a:pt x="624" y="9"/>
                  </a:lnTo>
                  <a:lnTo>
                    <a:pt x="627" y="10"/>
                  </a:lnTo>
                  <a:lnTo>
                    <a:pt x="628" y="16"/>
                  </a:lnTo>
                  <a:lnTo>
                    <a:pt x="629" y="23"/>
                  </a:lnTo>
                  <a:lnTo>
                    <a:pt x="630" y="29"/>
                  </a:lnTo>
                  <a:lnTo>
                    <a:pt x="633" y="33"/>
                  </a:lnTo>
                  <a:lnTo>
                    <a:pt x="638" y="36"/>
                  </a:lnTo>
                  <a:lnTo>
                    <a:pt x="642" y="40"/>
                  </a:lnTo>
                  <a:lnTo>
                    <a:pt x="648" y="45"/>
                  </a:lnTo>
                  <a:lnTo>
                    <a:pt x="652" y="49"/>
                  </a:lnTo>
                  <a:lnTo>
                    <a:pt x="654" y="52"/>
                  </a:lnTo>
                  <a:lnTo>
                    <a:pt x="659" y="61"/>
                  </a:lnTo>
                  <a:lnTo>
                    <a:pt x="663" y="67"/>
                  </a:lnTo>
                  <a:lnTo>
                    <a:pt x="668" y="71"/>
                  </a:lnTo>
                  <a:lnTo>
                    <a:pt x="672" y="70"/>
                  </a:lnTo>
                  <a:lnTo>
                    <a:pt x="676" y="67"/>
                  </a:lnTo>
                  <a:lnTo>
                    <a:pt x="679" y="64"/>
                  </a:lnTo>
                  <a:lnTo>
                    <a:pt x="683" y="63"/>
                  </a:lnTo>
                  <a:lnTo>
                    <a:pt x="691" y="62"/>
                  </a:lnTo>
                  <a:lnTo>
                    <a:pt x="704" y="61"/>
                  </a:lnTo>
                  <a:lnTo>
                    <a:pt x="716" y="58"/>
                  </a:lnTo>
                  <a:lnTo>
                    <a:pt x="729" y="53"/>
                  </a:lnTo>
                  <a:lnTo>
                    <a:pt x="734" y="52"/>
                  </a:lnTo>
                  <a:lnTo>
                    <a:pt x="736" y="53"/>
                  </a:lnTo>
                  <a:lnTo>
                    <a:pt x="738" y="58"/>
                  </a:lnTo>
                  <a:lnTo>
                    <a:pt x="740" y="60"/>
                  </a:lnTo>
                  <a:lnTo>
                    <a:pt x="745" y="60"/>
                  </a:lnTo>
                  <a:lnTo>
                    <a:pt x="752" y="58"/>
                  </a:lnTo>
                  <a:lnTo>
                    <a:pt x="762" y="56"/>
                  </a:lnTo>
                  <a:lnTo>
                    <a:pt x="772" y="51"/>
                  </a:lnTo>
                  <a:lnTo>
                    <a:pt x="778" y="59"/>
                  </a:lnTo>
                  <a:lnTo>
                    <a:pt x="779" y="62"/>
                  </a:lnTo>
                  <a:lnTo>
                    <a:pt x="781" y="66"/>
                  </a:lnTo>
                  <a:lnTo>
                    <a:pt x="785" y="71"/>
                  </a:lnTo>
                  <a:lnTo>
                    <a:pt x="791" y="77"/>
                  </a:lnTo>
                  <a:lnTo>
                    <a:pt x="799" y="83"/>
                  </a:lnTo>
                  <a:lnTo>
                    <a:pt x="811" y="88"/>
                  </a:lnTo>
                  <a:lnTo>
                    <a:pt x="826" y="91"/>
                  </a:lnTo>
                  <a:lnTo>
                    <a:pt x="828" y="94"/>
                  </a:lnTo>
                  <a:lnTo>
                    <a:pt x="830" y="100"/>
                  </a:lnTo>
                  <a:lnTo>
                    <a:pt x="829" y="105"/>
                  </a:lnTo>
                  <a:lnTo>
                    <a:pt x="820" y="114"/>
                  </a:lnTo>
                  <a:lnTo>
                    <a:pt x="820" y="117"/>
                  </a:lnTo>
                  <a:lnTo>
                    <a:pt x="825" y="119"/>
                  </a:lnTo>
                  <a:lnTo>
                    <a:pt x="834" y="123"/>
                  </a:lnTo>
                  <a:lnTo>
                    <a:pt x="840" y="128"/>
                  </a:lnTo>
                  <a:lnTo>
                    <a:pt x="844" y="133"/>
                  </a:lnTo>
                  <a:lnTo>
                    <a:pt x="848" y="139"/>
                  </a:lnTo>
                  <a:lnTo>
                    <a:pt x="850" y="144"/>
                  </a:lnTo>
                  <a:lnTo>
                    <a:pt x="849" y="148"/>
                  </a:lnTo>
                  <a:lnTo>
                    <a:pt x="847" y="152"/>
                  </a:lnTo>
                  <a:lnTo>
                    <a:pt x="844" y="155"/>
                  </a:lnTo>
                  <a:lnTo>
                    <a:pt x="842" y="158"/>
                  </a:lnTo>
                  <a:lnTo>
                    <a:pt x="843" y="163"/>
                  </a:lnTo>
                  <a:lnTo>
                    <a:pt x="848" y="169"/>
                  </a:lnTo>
                  <a:lnTo>
                    <a:pt x="854" y="175"/>
                  </a:lnTo>
                  <a:lnTo>
                    <a:pt x="860" y="182"/>
                  </a:lnTo>
                  <a:lnTo>
                    <a:pt x="862" y="188"/>
                  </a:lnTo>
                  <a:lnTo>
                    <a:pt x="864" y="193"/>
                  </a:lnTo>
                  <a:lnTo>
                    <a:pt x="869" y="196"/>
                  </a:lnTo>
                  <a:lnTo>
                    <a:pt x="877" y="199"/>
                  </a:lnTo>
                  <a:lnTo>
                    <a:pt x="887" y="204"/>
                  </a:lnTo>
                  <a:lnTo>
                    <a:pt x="896" y="210"/>
                  </a:lnTo>
                  <a:lnTo>
                    <a:pt x="904" y="216"/>
                  </a:lnTo>
                  <a:lnTo>
                    <a:pt x="909" y="219"/>
                  </a:lnTo>
                  <a:lnTo>
                    <a:pt x="913" y="221"/>
                  </a:lnTo>
                  <a:lnTo>
                    <a:pt x="916" y="221"/>
                  </a:lnTo>
                  <a:lnTo>
                    <a:pt x="920" y="222"/>
                  </a:lnTo>
                  <a:lnTo>
                    <a:pt x="923" y="224"/>
                  </a:lnTo>
                  <a:lnTo>
                    <a:pt x="924" y="229"/>
                  </a:lnTo>
                  <a:lnTo>
                    <a:pt x="923" y="234"/>
                  </a:lnTo>
                  <a:lnTo>
                    <a:pt x="923" y="239"/>
                  </a:lnTo>
                  <a:lnTo>
                    <a:pt x="925" y="242"/>
                  </a:lnTo>
                  <a:lnTo>
                    <a:pt x="931" y="244"/>
                  </a:lnTo>
                  <a:lnTo>
                    <a:pt x="936" y="245"/>
                  </a:lnTo>
                  <a:lnTo>
                    <a:pt x="940" y="246"/>
                  </a:lnTo>
                  <a:lnTo>
                    <a:pt x="942" y="250"/>
                  </a:lnTo>
                  <a:lnTo>
                    <a:pt x="941" y="259"/>
                  </a:lnTo>
                  <a:lnTo>
                    <a:pt x="937" y="269"/>
                  </a:lnTo>
                  <a:lnTo>
                    <a:pt x="931" y="277"/>
                  </a:lnTo>
                  <a:lnTo>
                    <a:pt x="928" y="280"/>
                  </a:lnTo>
                  <a:lnTo>
                    <a:pt x="927" y="283"/>
                  </a:lnTo>
                  <a:lnTo>
                    <a:pt x="927" y="287"/>
                  </a:lnTo>
                  <a:lnTo>
                    <a:pt x="925" y="293"/>
                  </a:lnTo>
                  <a:lnTo>
                    <a:pt x="921" y="299"/>
                  </a:lnTo>
                  <a:lnTo>
                    <a:pt x="917" y="302"/>
                  </a:lnTo>
                  <a:lnTo>
                    <a:pt x="912" y="305"/>
                  </a:lnTo>
                  <a:lnTo>
                    <a:pt x="908" y="309"/>
                  </a:lnTo>
                  <a:lnTo>
                    <a:pt x="906" y="314"/>
                  </a:lnTo>
                  <a:lnTo>
                    <a:pt x="907" y="319"/>
                  </a:lnTo>
                  <a:lnTo>
                    <a:pt x="909" y="325"/>
                  </a:lnTo>
                  <a:lnTo>
                    <a:pt x="911" y="332"/>
                  </a:lnTo>
                  <a:lnTo>
                    <a:pt x="915" y="336"/>
                  </a:lnTo>
                  <a:lnTo>
                    <a:pt x="920" y="340"/>
                  </a:lnTo>
                  <a:lnTo>
                    <a:pt x="927" y="344"/>
                  </a:lnTo>
                  <a:lnTo>
                    <a:pt x="932" y="347"/>
                  </a:lnTo>
                  <a:lnTo>
                    <a:pt x="934" y="350"/>
                  </a:lnTo>
                  <a:lnTo>
                    <a:pt x="933" y="353"/>
                  </a:lnTo>
                  <a:lnTo>
                    <a:pt x="930" y="357"/>
                  </a:lnTo>
                  <a:lnTo>
                    <a:pt x="932" y="361"/>
                  </a:lnTo>
                  <a:lnTo>
                    <a:pt x="935" y="364"/>
                  </a:lnTo>
                  <a:lnTo>
                    <a:pt x="939" y="367"/>
                  </a:lnTo>
                  <a:lnTo>
                    <a:pt x="943" y="369"/>
                  </a:lnTo>
                  <a:lnTo>
                    <a:pt x="948" y="375"/>
                  </a:lnTo>
                  <a:lnTo>
                    <a:pt x="952" y="384"/>
                  </a:lnTo>
                  <a:lnTo>
                    <a:pt x="957" y="397"/>
                  </a:lnTo>
                  <a:lnTo>
                    <a:pt x="960" y="404"/>
                  </a:lnTo>
                  <a:lnTo>
                    <a:pt x="962" y="408"/>
                  </a:lnTo>
                  <a:lnTo>
                    <a:pt x="965" y="410"/>
                  </a:lnTo>
                  <a:lnTo>
                    <a:pt x="968" y="413"/>
                  </a:lnTo>
                  <a:lnTo>
                    <a:pt x="971" y="419"/>
                  </a:lnTo>
                  <a:lnTo>
                    <a:pt x="975" y="429"/>
                  </a:lnTo>
                  <a:lnTo>
                    <a:pt x="977" y="438"/>
                  </a:lnTo>
                  <a:lnTo>
                    <a:pt x="979" y="444"/>
                  </a:lnTo>
                  <a:lnTo>
                    <a:pt x="984" y="448"/>
                  </a:lnTo>
                  <a:lnTo>
                    <a:pt x="992" y="452"/>
                  </a:lnTo>
                  <a:lnTo>
                    <a:pt x="1000" y="458"/>
                  </a:lnTo>
                  <a:lnTo>
                    <a:pt x="1008" y="467"/>
                  </a:lnTo>
                  <a:lnTo>
                    <a:pt x="1013" y="476"/>
                  </a:lnTo>
                  <a:lnTo>
                    <a:pt x="1016" y="483"/>
                  </a:lnTo>
                  <a:lnTo>
                    <a:pt x="1019" y="485"/>
                  </a:lnTo>
                  <a:lnTo>
                    <a:pt x="1023" y="486"/>
                  </a:lnTo>
                  <a:lnTo>
                    <a:pt x="1027" y="486"/>
                  </a:lnTo>
                  <a:lnTo>
                    <a:pt x="1032" y="488"/>
                  </a:lnTo>
                  <a:lnTo>
                    <a:pt x="1034" y="489"/>
                  </a:lnTo>
                  <a:lnTo>
                    <a:pt x="1035" y="490"/>
                  </a:lnTo>
                  <a:lnTo>
                    <a:pt x="1037" y="488"/>
                  </a:lnTo>
                  <a:lnTo>
                    <a:pt x="1037" y="487"/>
                  </a:lnTo>
                  <a:lnTo>
                    <a:pt x="1039" y="483"/>
                  </a:lnTo>
                  <a:lnTo>
                    <a:pt x="1040" y="482"/>
                  </a:lnTo>
                  <a:lnTo>
                    <a:pt x="1041" y="480"/>
                  </a:lnTo>
                  <a:lnTo>
                    <a:pt x="1043" y="479"/>
                  </a:lnTo>
                  <a:lnTo>
                    <a:pt x="1045" y="479"/>
                  </a:lnTo>
                  <a:lnTo>
                    <a:pt x="1052" y="481"/>
                  </a:lnTo>
                  <a:lnTo>
                    <a:pt x="1060" y="485"/>
                  </a:lnTo>
                  <a:lnTo>
                    <a:pt x="1067" y="492"/>
                  </a:lnTo>
                  <a:lnTo>
                    <a:pt x="1074" y="500"/>
                  </a:lnTo>
                  <a:lnTo>
                    <a:pt x="1084" y="516"/>
                  </a:lnTo>
                  <a:lnTo>
                    <a:pt x="1091" y="526"/>
                  </a:lnTo>
                  <a:lnTo>
                    <a:pt x="1107" y="546"/>
                  </a:lnTo>
                  <a:lnTo>
                    <a:pt x="1114" y="555"/>
                  </a:lnTo>
                  <a:lnTo>
                    <a:pt x="1118" y="563"/>
                  </a:lnTo>
                  <a:lnTo>
                    <a:pt x="1122" y="569"/>
                  </a:lnTo>
                  <a:lnTo>
                    <a:pt x="1128" y="571"/>
                  </a:lnTo>
                  <a:lnTo>
                    <a:pt x="1153" y="571"/>
                  </a:lnTo>
                  <a:lnTo>
                    <a:pt x="1161" y="574"/>
                  </a:lnTo>
                  <a:lnTo>
                    <a:pt x="1168" y="582"/>
                  </a:lnTo>
                  <a:lnTo>
                    <a:pt x="1174" y="591"/>
                  </a:lnTo>
                  <a:lnTo>
                    <a:pt x="1178" y="601"/>
                  </a:lnTo>
                  <a:lnTo>
                    <a:pt x="1181" y="609"/>
                  </a:lnTo>
                  <a:lnTo>
                    <a:pt x="1182" y="615"/>
                  </a:lnTo>
                  <a:lnTo>
                    <a:pt x="1185" y="621"/>
                  </a:lnTo>
                  <a:lnTo>
                    <a:pt x="1192" y="626"/>
                  </a:lnTo>
                  <a:lnTo>
                    <a:pt x="1200" y="630"/>
                  </a:lnTo>
                  <a:lnTo>
                    <a:pt x="1209" y="634"/>
                  </a:lnTo>
                  <a:lnTo>
                    <a:pt x="1211" y="635"/>
                  </a:lnTo>
                  <a:lnTo>
                    <a:pt x="1213" y="634"/>
                  </a:lnTo>
                  <a:lnTo>
                    <a:pt x="1213" y="631"/>
                  </a:lnTo>
                  <a:lnTo>
                    <a:pt x="1212" y="629"/>
                  </a:lnTo>
                  <a:lnTo>
                    <a:pt x="1212" y="627"/>
                  </a:lnTo>
                  <a:lnTo>
                    <a:pt x="1211" y="625"/>
                  </a:lnTo>
                  <a:lnTo>
                    <a:pt x="1211" y="624"/>
                  </a:lnTo>
                  <a:lnTo>
                    <a:pt x="1210" y="622"/>
                  </a:lnTo>
                  <a:lnTo>
                    <a:pt x="1212" y="620"/>
                  </a:lnTo>
                  <a:lnTo>
                    <a:pt x="1216" y="621"/>
                  </a:lnTo>
                  <a:lnTo>
                    <a:pt x="1222" y="624"/>
                  </a:lnTo>
                  <a:lnTo>
                    <a:pt x="1229" y="629"/>
                  </a:lnTo>
                  <a:lnTo>
                    <a:pt x="1249" y="649"/>
                  </a:lnTo>
                  <a:lnTo>
                    <a:pt x="1254" y="655"/>
                  </a:lnTo>
                  <a:lnTo>
                    <a:pt x="1260" y="661"/>
                  </a:lnTo>
                  <a:lnTo>
                    <a:pt x="1266" y="664"/>
                  </a:lnTo>
                  <a:lnTo>
                    <a:pt x="1276" y="664"/>
                  </a:lnTo>
                  <a:lnTo>
                    <a:pt x="1280" y="666"/>
                  </a:lnTo>
                  <a:lnTo>
                    <a:pt x="1284" y="672"/>
                  </a:lnTo>
                  <a:lnTo>
                    <a:pt x="1289" y="679"/>
                  </a:lnTo>
                  <a:lnTo>
                    <a:pt x="1297" y="695"/>
                  </a:lnTo>
                  <a:lnTo>
                    <a:pt x="1299" y="700"/>
                  </a:lnTo>
                  <a:lnTo>
                    <a:pt x="1299" y="708"/>
                  </a:lnTo>
                  <a:lnTo>
                    <a:pt x="1296" y="715"/>
                  </a:lnTo>
                  <a:lnTo>
                    <a:pt x="1292" y="724"/>
                  </a:lnTo>
                  <a:lnTo>
                    <a:pt x="1291" y="732"/>
                  </a:lnTo>
                  <a:lnTo>
                    <a:pt x="1295" y="740"/>
                  </a:lnTo>
                  <a:lnTo>
                    <a:pt x="1300" y="747"/>
                  </a:lnTo>
                  <a:lnTo>
                    <a:pt x="1304" y="755"/>
                  </a:lnTo>
                  <a:lnTo>
                    <a:pt x="1304" y="764"/>
                  </a:lnTo>
                  <a:lnTo>
                    <a:pt x="1302" y="774"/>
                  </a:lnTo>
                  <a:lnTo>
                    <a:pt x="1297" y="782"/>
                  </a:lnTo>
                  <a:lnTo>
                    <a:pt x="1290" y="788"/>
                  </a:lnTo>
                  <a:lnTo>
                    <a:pt x="1285" y="792"/>
                  </a:lnTo>
                  <a:lnTo>
                    <a:pt x="1282" y="797"/>
                  </a:lnTo>
                  <a:lnTo>
                    <a:pt x="1280" y="802"/>
                  </a:lnTo>
                  <a:lnTo>
                    <a:pt x="1274" y="808"/>
                  </a:lnTo>
                  <a:lnTo>
                    <a:pt x="1268" y="810"/>
                  </a:lnTo>
                  <a:lnTo>
                    <a:pt x="1263" y="808"/>
                  </a:lnTo>
                  <a:lnTo>
                    <a:pt x="1257" y="803"/>
                  </a:lnTo>
                  <a:lnTo>
                    <a:pt x="1251" y="799"/>
                  </a:lnTo>
                  <a:lnTo>
                    <a:pt x="1243" y="797"/>
                  </a:lnTo>
                  <a:lnTo>
                    <a:pt x="1236" y="796"/>
                  </a:lnTo>
                  <a:lnTo>
                    <a:pt x="1230" y="794"/>
                  </a:lnTo>
                  <a:lnTo>
                    <a:pt x="1227" y="791"/>
                  </a:lnTo>
                  <a:lnTo>
                    <a:pt x="1224" y="789"/>
                  </a:lnTo>
                  <a:lnTo>
                    <a:pt x="1220" y="787"/>
                  </a:lnTo>
                  <a:lnTo>
                    <a:pt x="1214" y="787"/>
                  </a:lnTo>
                  <a:lnTo>
                    <a:pt x="1209" y="789"/>
                  </a:lnTo>
                  <a:lnTo>
                    <a:pt x="1204" y="795"/>
                  </a:lnTo>
                  <a:lnTo>
                    <a:pt x="1203" y="803"/>
                  </a:lnTo>
                  <a:lnTo>
                    <a:pt x="1204" y="810"/>
                  </a:lnTo>
                  <a:lnTo>
                    <a:pt x="1206" y="816"/>
                  </a:lnTo>
                  <a:lnTo>
                    <a:pt x="1206" y="821"/>
                  </a:lnTo>
                  <a:lnTo>
                    <a:pt x="1203" y="827"/>
                  </a:lnTo>
                  <a:lnTo>
                    <a:pt x="1201" y="833"/>
                  </a:lnTo>
                  <a:lnTo>
                    <a:pt x="1202" y="838"/>
                  </a:lnTo>
                  <a:lnTo>
                    <a:pt x="1205" y="843"/>
                  </a:lnTo>
                  <a:lnTo>
                    <a:pt x="1207" y="849"/>
                  </a:lnTo>
                  <a:lnTo>
                    <a:pt x="1208" y="857"/>
                  </a:lnTo>
                  <a:lnTo>
                    <a:pt x="1205" y="865"/>
                  </a:lnTo>
                  <a:lnTo>
                    <a:pt x="1198" y="874"/>
                  </a:lnTo>
                  <a:lnTo>
                    <a:pt x="1189" y="881"/>
                  </a:lnTo>
                  <a:lnTo>
                    <a:pt x="1179" y="889"/>
                  </a:lnTo>
                  <a:lnTo>
                    <a:pt x="1171" y="897"/>
                  </a:lnTo>
                  <a:lnTo>
                    <a:pt x="1164" y="902"/>
                  </a:lnTo>
                  <a:lnTo>
                    <a:pt x="1158" y="904"/>
                  </a:lnTo>
                  <a:lnTo>
                    <a:pt x="1151" y="905"/>
                  </a:lnTo>
                  <a:lnTo>
                    <a:pt x="1142" y="907"/>
                  </a:lnTo>
                  <a:lnTo>
                    <a:pt x="1132" y="910"/>
                  </a:lnTo>
                  <a:lnTo>
                    <a:pt x="1117" y="915"/>
                  </a:lnTo>
                  <a:lnTo>
                    <a:pt x="1105" y="920"/>
                  </a:lnTo>
                  <a:lnTo>
                    <a:pt x="1094" y="926"/>
                  </a:lnTo>
                  <a:lnTo>
                    <a:pt x="1084" y="934"/>
                  </a:lnTo>
                  <a:lnTo>
                    <a:pt x="1078" y="940"/>
                  </a:lnTo>
                  <a:lnTo>
                    <a:pt x="1071" y="943"/>
                  </a:lnTo>
                  <a:lnTo>
                    <a:pt x="1064" y="945"/>
                  </a:lnTo>
                  <a:lnTo>
                    <a:pt x="1058" y="946"/>
                  </a:lnTo>
                  <a:lnTo>
                    <a:pt x="1053" y="949"/>
                  </a:lnTo>
                  <a:lnTo>
                    <a:pt x="1051" y="953"/>
                  </a:lnTo>
                  <a:lnTo>
                    <a:pt x="1048" y="961"/>
                  </a:lnTo>
                  <a:lnTo>
                    <a:pt x="1042" y="968"/>
                  </a:lnTo>
                  <a:lnTo>
                    <a:pt x="1034" y="975"/>
                  </a:lnTo>
                  <a:lnTo>
                    <a:pt x="1026" y="981"/>
                  </a:lnTo>
                  <a:lnTo>
                    <a:pt x="1023" y="986"/>
                  </a:lnTo>
                  <a:lnTo>
                    <a:pt x="1023" y="992"/>
                  </a:lnTo>
                  <a:lnTo>
                    <a:pt x="1026" y="999"/>
                  </a:lnTo>
                  <a:lnTo>
                    <a:pt x="1031" y="1007"/>
                  </a:lnTo>
                  <a:lnTo>
                    <a:pt x="1038" y="1015"/>
                  </a:lnTo>
                  <a:lnTo>
                    <a:pt x="1047" y="1021"/>
                  </a:lnTo>
                  <a:lnTo>
                    <a:pt x="1054" y="1028"/>
                  </a:lnTo>
                  <a:lnTo>
                    <a:pt x="1057" y="1033"/>
                  </a:lnTo>
                  <a:lnTo>
                    <a:pt x="1058" y="1038"/>
                  </a:lnTo>
                  <a:lnTo>
                    <a:pt x="1059" y="1042"/>
                  </a:lnTo>
                  <a:lnTo>
                    <a:pt x="1061" y="1044"/>
                  </a:lnTo>
                  <a:lnTo>
                    <a:pt x="1065" y="1046"/>
                  </a:lnTo>
                  <a:lnTo>
                    <a:pt x="1072" y="1050"/>
                  </a:lnTo>
                  <a:lnTo>
                    <a:pt x="1077" y="1058"/>
                  </a:lnTo>
                  <a:lnTo>
                    <a:pt x="1085" y="1076"/>
                  </a:lnTo>
                  <a:lnTo>
                    <a:pt x="1089" y="1083"/>
                  </a:lnTo>
                  <a:lnTo>
                    <a:pt x="1094" y="1091"/>
                  </a:lnTo>
                  <a:lnTo>
                    <a:pt x="1093" y="1099"/>
                  </a:lnTo>
                  <a:lnTo>
                    <a:pt x="1087" y="1107"/>
                  </a:lnTo>
                  <a:lnTo>
                    <a:pt x="1082" y="1113"/>
                  </a:lnTo>
                  <a:lnTo>
                    <a:pt x="1079" y="1122"/>
                  </a:lnTo>
                  <a:lnTo>
                    <a:pt x="1077" y="1132"/>
                  </a:lnTo>
                  <a:lnTo>
                    <a:pt x="1075" y="1141"/>
                  </a:lnTo>
                  <a:lnTo>
                    <a:pt x="1073" y="1148"/>
                  </a:lnTo>
                  <a:lnTo>
                    <a:pt x="1073" y="1151"/>
                  </a:lnTo>
                  <a:lnTo>
                    <a:pt x="1077" y="1152"/>
                  </a:lnTo>
                  <a:lnTo>
                    <a:pt x="1082" y="1152"/>
                  </a:lnTo>
                  <a:lnTo>
                    <a:pt x="1089" y="1151"/>
                  </a:lnTo>
                  <a:lnTo>
                    <a:pt x="1103" y="1147"/>
                  </a:lnTo>
                  <a:lnTo>
                    <a:pt x="1108" y="1146"/>
                  </a:lnTo>
                  <a:lnTo>
                    <a:pt x="1112" y="1147"/>
                  </a:lnTo>
                  <a:lnTo>
                    <a:pt x="1116" y="1152"/>
                  </a:lnTo>
                  <a:lnTo>
                    <a:pt x="1120" y="1157"/>
                  </a:lnTo>
                  <a:lnTo>
                    <a:pt x="1123" y="1165"/>
                  </a:lnTo>
                  <a:lnTo>
                    <a:pt x="1124" y="1171"/>
                  </a:lnTo>
                  <a:lnTo>
                    <a:pt x="1123" y="1175"/>
                  </a:lnTo>
                  <a:lnTo>
                    <a:pt x="1120" y="1181"/>
                  </a:lnTo>
                  <a:lnTo>
                    <a:pt x="1114" y="1197"/>
                  </a:lnTo>
                  <a:lnTo>
                    <a:pt x="1110" y="1202"/>
                  </a:lnTo>
                  <a:lnTo>
                    <a:pt x="1109" y="1205"/>
                  </a:lnTo>
                  <a:lnTo>
                    <a:pt x="1110" y="1210"/>
                  </a:lnTo>
                  <a:lnTo>
                    <a:pt x="1112" y="1214"/>
                  </a:lnTo>
                  <a:lnTo>
                    <a:pt x="1113" y="1217"/>
                  </a:lnTo>
                  <a:lnTo>
                    <a:pt x="1111" y="1219"/>
                  </a:lnTo>
                  <a:lnTo>
                    <a:pt x="1107" y="1221"/>
                  </a:lnTo>
                  <a:lnTo>
                    <a:pt x="1107" y="1223"/>
                  </a:lnTo>
                  <a:lnTo>
                    <a:pt x="1109" y="1229"/>
                  </a:lnTo>
                  <a:lnTo>
                    <a:pt x="1112" y="1233"/>
                  </a:lnTo>
                  <a:lnTo>
                    <a:pt x="1113" y="1238"/>
                  </a:lnTo>
                  <a:lnTo>
                    <a:pt x="1109" y="1241"/>
                  </a:lnTo>
                  <a:lnTo>
                    <a:pt x="1102" y="1244"/>
                  </a:lnTo>
                  <a:lnTo>
                    <a:pt x="1084" y="1244"/>
                  </a:lnTo>
                  <a:lnTo>
                    <a:pt x="1076" y="1242"/>
                  </a:lnTo>
                  <a:lnTo>
                    <a:pt x="1071" y="1238"/>
                  </a:lnTo>
                  <a:lnTo>
                    <a:pt x="1065" y="1228"/>
                  </a:lnTo>
                  <a:lnTo>
                    <a:pt x="1062" y="1222"/>
                  </a:lnTo>
                  <a:lnTo>
                    <a:pt x="1057" y="1217"/>
                  </a:lnTo>
                  <a:lnTo>
                    <a:pt x="1052" y="1215"/>
                  </a:lnTo>
                  <a:lnTo>
                    <a:pt x="1046" y="1213"/>
                  </a:lnTo>
                  <a:lnTo>
                    <a:pt x="1041" y="1211"/>
                  </a:lnTo>
                  <a:lnTo>
                    <a:pt x="1039" y="1209"/>
                  </a:lnTo>
                  <a:lnTo>
                    <a:pt x="1040" y="1202"/>
                  </a:lnTo>
                  <a:lnTo>
                    <a:pt x="1044" y="1195"/>
                  </a:lnTo>
                  <a:lnTo>
                    <a:pt x="1048" y="1190"/>
                  </a:lnTo>
                  <a:lnTo>
                    <a:pt x="1048" y="1186"/>
                  </a:lnTo>
                  <a:lnTo>
                    <a:pt x="1036" y="1174"/>
                  </a:lnTo>
                  <a:lnTo>
                    <a:pt x="1034" y="1170"/>
                  </a:lnTo>
                  <a:lnTo>
                    <a:pt x="1032" y="1167"/>
                  </a:lnTo>
                  <a:lnTo>
                    <a:pt x="1025" y="1165"/>
                  </a:lnTo>
                  <a:lnTo>
                    <a:pt x="1017" y="1164"/>
                  </a:lnTo>
                  <a:lnTo>
                    <a:pt x="1009" y="1164"/>
                  </a:lnTo>
                  <a:lnTo>
                    <a:pt x="1000" y="1165"/>
                  </a:lnTo>
                  <a:lnTo>
                    <a:pt x="994" y="1167"/>
                  </a:lnTo>
                  <a:lnTo>
                    <a:pt x="990" y="1170"/>
                  </a:lnTo>
                  <a:lnTo>
                    <a:pt x="982" y="1180"/>
                  </a:lnTo>
                  <a:lnTo>
                    <a:pt x="976" y="1184"/>
                  </a:lnTo>
                  <a:lnTo>
                    <a:pt x="967" y="1186"/>
                  </a:lnTo>
                  <a:lnTo>
                    <a:pt x="959" y="1185"/>
                  </a:lnTo>
                  <a:lnTo>
                    <a:pt x="953" y="1182"/>
                  </a:lnTo>
                  <a:lnTo>
                    <a:pt x="948" y="1178"/>
                  </a:lnTo>
                  <a:lnTo>
                    <a:pt x="944" y="1172"/>
                  </a:lnTo>
                  <a:lnTo>
                    <a:pt x="941" y="1167"/>
                  </a:lnTo>
                  <a:lnTo>
                    <a:pt x="938" y="1163"/>
                  </a:lnTo>
                  <a:lnTo>
                    <a:pt x="933" y="1161"/>
                  </a:lnTo>
                  <a:lnTo>
                    <a:pt x="929" y="1161"/>
                  </a:lnTo>
                  <a:lnTo>
                    <a:pt x="925" y="1163"/>
                  </a:lnTo>
                  <a:lnTo>
                    <a:pt x="919" y="1164"/>
                  </a:lnTo>
                  <a:lnTo>
                    <a:pt x="913" y="1163"/>
                  </a:lnTo>
                  <a:lnTo>
                    <a:pt x="906" y="1162"/>
                  </a:lnTo>
                  <a:lnTo>
                    <a:pt x="901" y="1162"/>
                  </a:lnTo>
                  <a:lnTo>
                    <a:pt x="896" y="1164"/>
                  </a:lnTo>
                  <a:lnTo>
                    <a:pt x="891" y="1164"/>
                  </a:lnTo>
                  <a:lnTo>
                    <a:pt x="887" y="1162"/>
                  </a:lnTo>
                  <a:lnTo>
                    <a:pt x="885" y="1158"/>
                  </a:lnTo>
                  <a:lnTo>
                    <a:pt x="885" y="1154"/>
                  </a:lnTo>
                  <a:lnTo>
                    <a:pt x="886" y="1149"/>
                  </a:lnTo>
                  <a:lnTo>
                    <a:pt x="888" y="1145"/>
                  </a:lnTo>
                  <a:lnTo>
                    <a:pt x="888" y="1144"/>
                  </a:lnTo>
                  <a:lnTo>
                    <a:pt x="885" y="1145"/>
                  </a:lnTo>
                  <a:lnTo>
                    <a:pt x="880" y="1148"/>
                  </a:lnTo>
                  <a:lnTo>
                    <a:pt x="870" y="1155"/>
                  </a:lnTo>
                  <a:lnTo>
                    <a:pt x="866" y="1158"/>
                  </a:lnTo>
                  <a:lnTo>
                    <a:pt x="863" y="1162"/>
                  </a:lnTo>
                  <a:lnTo>
                    <a:pt x="864" y="1166"/>
                  </a:lnTo>
                  <a:lnTo>
                    <a:pt x="866" y="1171"/>
                  </a:lnTo>
                  <a:lnTo>
                    <a:pt x="869" y="1177"/>
                  </a:lnTo>
                  <a:lnTo>
                    <a:pt x="870" y="1181"/>
                  </a:lnTo>
                  <a:lnTo>
                    <a:pt x="872" y="1187"/>
                  </a:lnTo>
                  <a:lnTo>
                    <a:pt x="873" y="1192"/>
                  </a:lnTo>
                  <a:lnTo>
                    <a:pt x="873" y="1196"/>
                  </a:lnTo>
                  <a:lnTo>
                    <a:pt x="869" y="1199"/>
                  </a:lnTo>
                  <a:lnTo>
                    <a:pt x="863" y="1200"/>
                  </a:lnTo>
                  <a:lnTo>
                    <a:pt x="853" y="1200"/>
                  </a:lnTo>
                  <a:lnTo>
                    <a:pt x="839" y="1199"/>
                  </a:lnTo>
                  <a:lnTo>
                    <a:pt x="809" y="1199"/>
                  </a:lnTo>
                  <a:lnTo>
                    <a:pt x="796" y="1200"/>
                  </a:lnTo>
                  <a:lnTo>
                    <a:pt x="789" y="1202"/>
                  </a:lnTo>
                  <a:lnTo>
                    <a:pt x="783" y="1205"/>
                  </a:lnTo>
                  <a:lnTo>
                    <a:pt x="777" y="1209"/>
                  </a:lnTo>
                  <a:lnTo>
                    <a:pt x="768" y="1212"/>
                  </a:lnTo>
                  <a:lnTo>
                    <a:pt x="759" y="1213"/>
                  </a:lnTo>
                  <a:lnTo>
                    <a:pt x="747" y="1212"/>
                  </a:lnTo>
                  <a:lnTo>
                    <a:pt x="732" y="1211"/>
                  </a:lnTo>
                  <a:lnTo>
                    <a:pt x="720" y="1212"/>
                  </a:lnTo>
                  <a:lnTo>
                    <a:pt x="713" y="1216"/>
                  </a:lnTo>
                  <a:lnTo>
                    <a:pt x="709" y="1221"/>
                  </a:lnTo>
                  <a:lnTo>
                    <a:pt x="706" y="1228"/>
                  </a:lnTo>
                  <a:lnTo>
                    <a:pt x="701" y="1235"/>
                  </a:lnTo>
                  <a:lnTo>
                    <a:pt x="694" y="1241"/>
                  </a:lnTo>
                  <a:lnTo>
                    <a:pt x="684" y="1243"/>
                  </a:lnTo>
                  <a:lnTo>
                    <a:pt x="674" y="1243"/>
                  </a:lnTo>
                  <a:lnTo>
                    <a:pt x="665" y="1245"/>
                  </a:lnTo>
                  <a:lnTo>
                    <a:pt x="658" y="1247"/>
                  </a:lnTo>
                  <a:lnTo>
                    <a:pt x="654" y="1250"/>
                  </a:lnTo>
                  <a:lnTo>
                    <a:pt x="653" y="1254"/>
                  </a:lnTo>
                  <a:lnTo>
                    <a:pt x="652" y="1259"/>
                  </a:lnTo>
                  <a:lnTo>
                    <a:pt x="650" y="1264"/>
                  </a:lnTo>
                  <a:lnTo>
                    <a:pt x="646" y="1269"/>
                  </a:lnTo>
                  <a:lnTo>
                    <a:pt x="641" y="1271"/>
                  </a:lnTo>
                  <a:lnTo>
                    <a:pt x="634" y="1274"/>
                  </a:lnTo>
                  <a:lnTo>
                    <a:pt x="630" y="1278"/>
                  </a:lnTo>
                  <a:lnTo>
                    <a:pt x="622" y="1288"/>
                  </a:lnTo>
                  <a:lnTo>
                    <a:pt x="617" y="1290"/>
                  </a:lnTo>
                  <a:lnTo>
                    <a:pt x="614" y="1291"/>
                  </a:lnTo>
                  <a:lnTo>
                    <a:pt x="612" y="1291"/>
                  </a:lnTo>
                  <a:lnTo>
                    <a:pt x="610" y="1289"/>
                  </a:lnTo>
                  <a:lnTo>
                    <a:pt x="610" y="1287"/>
                  </a:lnTo>
                  <a:lnTo>
                    <a:pt x="608" y="1283"/>
                  </a:lnTo>
                  <a:lnTo>
                    <a:pt x="605" y="1280"/>
                  </a:lnTo>
                  <a:lnTo>
                    <a:pt x="599" y="1278"/>
                  </a:lnTo>
                  <a:lnTo>
                    <a:pt x="592" y="1281"/>
                  </a:lnTo>
                  <a:lnTo>
                    <a:pt x="585" y="1285"/>
                  </a:lnTo>
                  <a:lnTo>
                    <a:pt x="578" y="1290"/>
                  </a:lnTo>
                  <a:lnTo>
                    <a:pt x="568" y="1294"/>
                  </a:lnTo>
                  <a:lnTo>
                    <a:pt x="557" y="1295"/>
                  </a:lnTo>
                  <a:lnTo>
                    <a:pt x="546" y="1295"/>
                  </a:lnTo>
                  <a:lnTo>
                    <a:pt x="541" y="1294"/>
                  </a:lnTo>
                  <a:lnTo>
                    <a:pt x="540" y="1292"/>
                  </a:lnTo>
                  <a:lnTo>
                    <a:pt x="540" y="1286"/>
                  </a:lnTo>
                  <a:lnTo>
                    <a:pt x="538" y="1280"/>
                  </a:lnTo>
                  <a:lnTo>
                    <a:pt x="533" y="1271"/>
                  </a:lnTo>
                  <a:lnTo>
                    <a:pt x="530" y="1265"/>
                  </a:lnTo>
                  <a:lnTo>
                    <a:pt x="528" y="1259"/>
                  </a:lnTo>
                  <a:lnTo>
                    <a:pt x="526" y="1256"/>
                  </a:lnTo>
                  <a:lnTo>
                    <a:pt x="521" y="1255"/>
                  </a:lnTo>
                  <a:lnTo>
                    <a:pt x="509" y="1255"/>
                  </a:lnTo>
                  <a:lnTo>
                    <a:pt x="507" y="1254"/>
                  </a:lnTo>
                  <a:lnTo>
                    <a:pt x="506" y="1253"/>
                  </a:lnTo>
                  <a:lnTo>
                    <a:pt x="506" y="1250"/>
                  </a:lnTo>
                  <a:lnTo>
                    <a:pt x="507" y="1248"/>
                  </a:lnTo>
                  <a:lnTo>
                    <a:pt x="509" y="1246"/>
                  </a:lnTo>
                  <a:lnTo>
                    <a:pt x="511" y="1245"/>
                  </a:lnTo>
                  <a:lnTo>
                    <a:pt x="513" y="1243"/>
                  </a:lnTo>
                  <a:lnTo>
                    <a:pt x="517" y="1241"/>
                  </a:lnTo>
                  <a:lnTo>
                    <a:pt x="517" y="1239"/>
                  </a:lnTo>
                  <a:lnTo>
                    <a:pt x="513" y="1237"/>
                  </a:lnTo>
                  <a:lnTo>
                    <a:pt x="506" y="1237"/>
                  </a:lnTo>
                  <a:lnTo>
                    <a:pt x="503" y="1238"/>
                  </a:lnTo>
                  <a:lnTo>
                    <a:pt x="496" y="1239"/>
                  </a:lnTo>
                  <a:lnTo>
                    <a:pt x="471" y="1239"/>
                  </a:lnTo>
                  <a:lnTo>
                    <a:pt x="464" y="1237"/>
                  </a:lnTo>
                  <a:lnTo>
                    <a:pt x="457" y="1232"/>
                  </a:lnTo>
                  <a:lnTo>
                    <a:pt x="452" y="1228"/>
                  </a:lnTo>
                  <a:lnTo>
                    <a:pt x="446" y="1226"/>
                  </a:lnTo>
                  <a:lnTo>
                    <a:pt x="440" y="1226"/>
                  </a:lnTo>
                  <a:lnTo>
                    <a:pt x="434" y="1228"/>
                  </a:lnTo>
                  <a:lnTo>
                    <a:pt x="426" y="1234"/>
                  </a:lnTo>
                  <a:lnTo>
                    <a:pt x="414" y="1236"/>
                  </a:lnTo>
                  <a:lnTo>
                    <a:pt x="407" y="1235"/>
                  </a:lnTo>
                  <a:lnTo>
                    <a:pt x="401" y="1235"/>
                  </a:lnTo>
                  <a:lnTo>
                    <a:pt x="396" y="1233"/>
                  </a:lnTo>
                  <a:lnTo>
                    <a:pt x="394" y="1228"/>
                  </a:lnTo>
                  <a:lnTo>
                    <a:pt x="394" y="1222"/>
                  </a:lnTo>
                  <a:lnTo>
                    <a:pt x="395" y="1218"/>
                  </a:lnTo>
                  <a:lnTo>
                    <a:pt x="395" y="1216"/>
                  </a:lnTo>
                  <a:lnTo>
                    <a:pt x="392" y="1214"/>
                  </a:lnTo>
                  <a:lnTo>
                    <a:pt x="383" y="1214"/>
                  </a:lnTo>
                  <a:lnTo>
                    <a:pt x="380" y="1215"/>
                  </a:lnTo>
                  <a:lnTo>
                    <a:pt x="378" y="1217"/>
                  </a:lnTo>
                  <a:lnTo>
                    <a:pt x="379" y="1220"/>
                  </a:lnTo>
                  <a:lnTo>
                    <a:pt x="382" y="1224"/>
                  </a:lnTo>
                  <a:lnTo>
                    <a:pt x="383" y="1228"/>
                  </a:lnTo>
                  <a:lnTo>
                    <a:pt x="385" y="1232"/>
                  </a:lnTo>
                  <a:lnTo>
                    <a:pt x="386" y="1239"/>
                  </a:lnTo>
                  <a:lnTo>
                    <a:pt x="389" y="1249"/>
                  </a:lnTo>
                  <a:lnTo>
                    <a:pt x="395" y="1260"/>
                  </a:lnTo>
                  <a:lnTo>
                    <a:pt x="398" y="1268"/>
                  </a:lnTo>
                  <a:lnTo>
                    <a:pt x="397" y="1277"/>
                  </a:lnTo>
                  <a:lnTo>
                    <a:pt x="394" y="1284"/>
                  </a:lnTo>
                  <a:lnTo>
                    <a:pt x="390" y="1291"/>
                  </a:lnTo>
                  <a:lnTo>
                    <a:pt x="380" y="1300"/>
                  </a:lnTo>
                  <a:lnTo>
                    <a:pt x="374" y="1308"/>
                  </a:lnTo>
                  <a:lnTo>
                    <a:pt x="368" y="1317"/>
                  </a:lnTo>
                  <a:lnTo>
                    <a:pt x="362" y="1325"/>
                  </a:lnTo>
                  <a:lnTo>
                    <a:pt x="357" y="1331"/>
                  </a:lnTo>
                  <a:lnTo>
                    <a:pt x="351" y="1335"/>
                  </a:lnTo>
                  <a:lnTo>
                    <a:pt x="342" y="1339"/>
                  </a:lnTo>
                  <a:lnTo>
                    <a:pt x="332" y="1342"/>
                  </a:lnTo>
                  <a:lnTo>
                    <a:pt x="322" y="1343"/>
                  </a:lnTo>
                  <a:lnTo>
                    <a:pt x="314" y="1344"/>
                  </a:lnTo>
                  <a:lnTo>
                    <a:pt x="312" y="1343"/>
                  </a:lnTo>
                  <a:lnTo>
                    <a:pt x="312" y="1340"/>
                  </a:lnTo>
                  <a:lnTo>
                    <a:pt x="315" y="1336"/>
                  </a:lnTo>
                  <a:lnTo>
                    <a:pt x="319" y="1331"/>
                  </a:lnTo>
                  <a:lnTo>
                    <a:pt x="321" y="1326"/>
                  </a:lnTo>
                  <a:lnTo>
                    <a:pt x="321" y="1322"/>
                  </a:lnTo>
                  <a:lnTo>
                    <a:pt x="320" y="1317"/>
                  </a:lnTo>
                  <a:lnTo>
                    <a:pt x="321" y="1311"/>
                  </a:lnTo>
                  <a:lnTo>
                    <a:pt x="323" y="1304"/>
                  </a:lnTo>
                  <a:lnTo>
                    <a:pt x="323" y="1298"/>
                  </a:lnTo>
                  <a:lnTo>
                    <a:pt x="322" y="1296"/>
                  </a:lnTo>
                  <a:lnTo>
                    <a:pt x="318" y="1296"/>
                  </a:lnTo>
                  <a:lnTo>
                    <a:pt x="314" y="1299"/>
                  </a:lnTo>
                  <a:lnTo>
                    <a:pt x="308" y="1302"/>
                  </a:lnTo>
                  <a:lnTo>
                    <a:pt x="302" y="1304"/>
                  </a:lnTo>
                  <a:lnTo>
                    <a:pt x="295" y="1303"/>
                  </a:lnTo>
                  <a:lnTo>
                    <a:pt x="290" y="1300"/>
                  </a:lnTo>
                  <a:lnTo>
                    <a:pt x="287" y="1295"/>
                  </a:lnTo>
                  <a:lnTo>
                    <a:pt x="287" y="1284"/>
                  </a:lnTo>
                  <a:lnTo>
                    <a:pt x="289" y="1279"/>
                  </a:lnTo>
                  <a:lnTo>
                    <a:pt x="291" y="1275"/>
                  </a:lnTo>
                  <a:lnTo>
                    <a:pt x="291" y="1270"/>
                  </a:lnTo>
                  <a:lnTo>
                    <a:pt x="287" y="1265"/>
                  </a:lnTo>
                  <a:lnTo>
                    <a:pt x="281" y="1260"/>
                  </a:lnTo>
                  <a:lnTo>
                    <a:pt x="273" y="1256"/>
                  </a:lnTo>
                  <a:lnTo>
                    <a:pt x="266" y="1254"/>
                  </a:lnTo>
                  <a:lnTo>
                    <a:pt x="264" y="1250"/>
                  </a:lnTo>
                  <a:lnTo>
                    <a:pt x="262" y="1246"/>
                  </a:lnTo>
                  <a:lnTo>
                    <a:pt x="260" y="1240"/>
                  </a:lnTo>
                  <a:lnTo>
                    <a:pt x="256" y="1236"/>
                  </a:lnTo>
                  <a:lnTo>
                    <a:pt x="249" y="1234"/>
                  </a:lnTo>
                  <a:lnTo>
                    <a:pt x="240" y="1234"/>
                  </a:lnTo>
                  <a:lnTo>
                    <a:pt x="232" y="1235"/>
                  </a:lnTo>
                  <a:lnTo>
                    <a:pt x="225" y="1236"/>
                  </a:lnTo>
                  <a:lnTo>
                    <a:pt x="221" y="1236"/>
                  </a:lnTo>
                  <a:lnTo>
                    <a:pt x="220" y="1233"/>
                  </a:lnTo>
                  <a:lnTo>
                    <a:pt x="220" y="1224"/>
                  </a:lnTo>
                  <a:lnTo>
                    <a:pt x="219" y="1219"/>
                  </a:lnTo>
                  <a:lnTo>
                    <a:pt x="215" y="1216"/>
                  </a:lnTo>
                  <a:lnTo>
                    <a:pt x="209" y="1215"/>
                  </a:lnTo>
                  <a:lnTo>
                    <a:pt x="204" y="1219"/>
                  </a:lnTo>
                  <a:lnTo>
                    <a:pt x="199" y="1225"/>
                  </a:lnTo>
                  <a:lnTo>
                    <a:pt x="195" y="1232"/>
                  </a:lnTo>
                  <a:lnTo>
                    <a:pt x="192" y="1237"/>
                  </a:lnTo>
                  <a:lnTo>
                    <a:pt x="188" y="1239"/>
                  </a:lnTo>
                  <a:lnTo>
                    <a:pt x="183" y="1240"/>
                  </a:lnTo>
                  <a:lnTo>
                    <a:pt x="175" y="1238"/>
                  </a:lnTo>
                  <a:lnTo>
                    <a:pt x="173" y="1236"/>
                  </a:lnTo>
                  <a:lnTo>
                    <a:pt x="172" y="1233"/>
                  </a:lnTo>
                  <a:lnTo>
                    <a:pt x="171" y="1231"/>
                  </a:lnTo>
                  <a:lnTo>
                    <a:pt x="168" y="1227"/>
                  </a:lnTo>
                  <a:lnTo>
                    <a:pt x="165" y="1224"/>
                  </a:lnTo>
                  <a:lnTo>
                    <a:pt x="162" y="1222"/>
                  </a:lnTo>
                  <a:lnTo>
                    <a:pt x="158" y="1220"/>
                  </a:lnTo>
                  <a:lnTo>
                    <a:pt x="165" y="1215"/>
                  </a:lnTo>
                  <a:lnTo>
                    <a:pt x="171" y="1212"/>
                  </a:lnTo>
                  <a:lnTo>
                    <a:pt x="176" y="1210"/>
                  </a:lnTo>
                  <a:lnTo>
                    <a:pt x="186" y="1209"/>
                  </a:lnTo>
                  <a:lnTo>
                    <a:pt x="194" y="1208"/>
                  </a:lnTo>
                  <a:lnTo>
                    <a:pt x="202" y="1204"/>
                  </a:lnTo>
                  <a:lnTo>
                    <a:pt x="208" y="1198"/>
                  </a:lnTo>
                  <a:lnTo>
                    <a:pt x="214" y="1191"/>
                  </a:lnTo>
                  <a:lnTo>
                    <a:pt x="221" y="1185"/>
                  </a:lnTo>
                  <a:lnTo>
                    <a:pt x="227" y="1182"/>
                  </a:lnTo>
                  <a:lnTo>
                    <a:pt x="233" y="1183"/>
                  </a:lnTo>
                  <a:lnTo>
                    <a:pt x="240" y="1187"/>
                  </a:lnTo>
                  <a:lnTo>
                    <a:pt x="245" y="1190"/>
                  </a:lnTo>
                  <a:lnTo>
                    <a:pt x="250" y="1190"/>
                  </a:lnTo>
                  <a:lnTo>
                    <a:pt x="254" y="1187"/>
                  </a:lnTo>
                  <a:lnTo>
                    <a:pt x="259" y="1184"/>
                  </a:lnTo>
                  <a:lnTo>
                    <a:pt x="266" y="1181"/>
                  </a:lnTo>
                  <a:lnTo>
                    <a:pt x="286" y="1181"/>
                  </a:lnTo>
                  <a:lnTo>
                    <a:pt x="294" y="1179"/>
                  </a:lnTo>
                  <a:lnTo>
                    <a:pt x="297" y="1176"/>
                  </a:lnTo>
                  <a:lnTo>
                    <a:pt x="297" y="1159"/>
                  </a:lnTo>
                  <a:lnTo>
                    <a:pt x="298" y="1151"/>
                  </a:lnTo>
                  <a:lnTo>
                    <a:pt x="298" y="1149"/>
                  </a:lnTo>
                  <a:lnTo>
                    <a:pt x="296" y="1147"/>
                  </a:lnTo>
                  <a:lnTo>
                    <a:pt x="294" y="1146"/>
                  </a:lnTo>
                  <a:lnTo>
                    <a:pt x="289" y="1146"/>
                  </a:lnTo>
                  <a:lnTo>
                    <a:pt x="287" y="1145"/>
                  </a:lnTo>
                  <a:lnTo>
                    <a:pt x="287" y="1144"/>
                  </a:lnTo>
                  <a:lnTo>
                    <a:pt x="286" y="1143"/>
                  </a:lnTo>
                  <a:lnTo>
                    <a:pt x="287" y="1141"/>
                  </a:lnTo>
                  <a:lnTo>
                    <a:pt x="292" y="1133"/>
                  </a:lnTo>
                  <a:lnTo>
                    <a:pt x="296" y="1126"/>
                  </a:lnTo>
                  <a:lnTo>
                    <a:pt x="297" y="1121"/>
                  </a:lnTo>
                  <a:lnTo>
                    <a:pt x="294" y="1115"/>
                  </a:lnTo>
                  <a:lnTo>
                    <a:pt x="291" y="1107"/>
                  </a:lnTo>
                  <a:lnTo>
                    <a:pt x="291" y="1091"/>
                  </a:lnTo>
                  <a:lnTo>
                    <a:pt x="287" y="1071"/>
                  </a:lnTo>
                  <a:lnTo>
                    <a:pt x="288" y="1062"/>
                  </a:lnTo>
                  <a:lnTo>
                    <a:pt x="290" y="1055"/>
                  </a:lnTo>
                  <a:lnTo>
                    <a:pt x="294" y="1047"/>
                  </a:lnTo>
                  <a:lnTo>
                    <a:pt x="299" y="1038"/>
                  </a:lnTo>
                  <a:lnTo>
                    <a:pt x="303" y="1029"/>
                  </a:lnTo>
                  <a:lnTo>
                    <a:pt x="305" y="1020"/>
                  </a:lnTo>
                  <a:lnTo>
                    <a:pt x="304" y="1014"/>
                  </a:lnTo>
                  <a:lnTo>
                    <a:pt x="301" y="1006"/>
                  </a:lnTo>
                  <a:lnTo>
                    <a:pt x="298" y="994"/>
                  </a:lnTo>
                  <a:lnTo>
                    <a:pt x="294" y="981"/>
                  </a:lnTo>
                  <a:lnTo>
                    <a:pt x="288" y="955"/>
                  </a:lnTo>
                  <a:lnTo>
                    <a:pt x="286" y="946"/>
                  </a:lnTo>
                  <a:lnTo>
                    <a:pt x="283" y="939"/>
                  </a:lnTo>
                  <a:lnTo>
                    <a:pt x="279" y="930"/>
                  </a:lnTo>
                  <a:lnTo>
                    <a:pt x="275" y="920"/>
                  </a:lnTo>
                  <a:lnTo>
                    <a:pt x="266" y="902"/>
                  </a:lnTo>
                  <a:lnTo>
                    <a:pt x="265" y="895"/>
                  </a:lnTo>
                  <a:lnTo>
                    <a:pt x="265" y="891"/>
                  </a:lnTo>
                  <a:lnTo>
                    <a:pt x="268" y="885"/>
                  </a:lnTo>
                  <a:lnTo>
                    <a:pt x="273" y="879"/>
                  </a:lnTo>
                  <a:lnTo>
                    <a:pt x="277" y="870"/>
                  </a:lnTo>
                  <a:lnTo>
                    <a:pt x="277" y="859"/>
                  </a:lnTo>
                  <a:lnTo>
                    <a:pt x="280" y="856"/>
                  </a:lnTo>
                  <a:lnTo>
                    <a:pt x="286" y="854"/>
                  </a:lnTo>
                  <a:lnTo>
                    <a:pt x="302" y="852"/>
                  </a:lnTo>
                  <a:lnTo>
                    <a:pt x="313" y="849"/>
                  </a:lnTo>
                  <a:lnTo>
                    <a:pt x="324" y="845"/>
                  </a:lnTo>
                  <a:lnTo>
                    <a:pt x="333" y="840"/>
                  </a:lnTo>
                  <a:lnTo>
                    <a:pt x="340" y="833"/>
                  </a:lnTo>
                  <a:lnTo>
                    <a:pt x="343" y="829"/>
                  </a:lnTo>
                  <a:lnTo>
                    <a:pt x="347" y="827"/>
                  </a:lnTo>
                  <a:lnTo>
                    <a:pt x="351" y="826"/>
                  </a:lnTo>
                  <a:lnTo>
                    <a:pt x="353" y="823"/>
                  </a:lnTo>
                  <a:lnTo>
                    <a:pt x="354" y="817"/>
                  </a:lnTo>
                  <a:lnTo>
                    <a:pt x="353" y="809"/>
                  </a:lnTo>
                  <a:lnTo>
                    <a:pt x="350" y="799"/>
                  </a:lnTo>
                  <a:lnTo>
                    <a:pt x="346" y="788"/>
                  </a:lnTo>
                  <a:lnTo>
                    <a:pt x="342" y="778"/>
                  </a:lnTo>
                  <a:lnTo>
                    <a:pt x="340" y="770"/>
                  </a:lnTo>
                  <a:lnTo>
                    <a:pt x="341" y="764"/>
                  </a:lnTo>
                  <a:lnTo>
                    <a:pt x="345" y="763"/>
                  </a:lnTo>
                  <a:lnTo>
                    <a:pt x="349" y="764"/>
                  </a:lnTo>
                  <a:lnTo>
                    <a:pt x="354" y="767"/>
                  </a:lnTo>
                  <a:lnTo>
                    <a:pt x="359" y="771"/>
                  </a:lnTo>
                  <a:lnTo>
                    <a:pt x="363" y="773"/>
                  </a:lnTo>
                  <a:lnTo>
                    <a:pt x="367" y="773"/>
                  </a:lnTo>
                  <a:lnTo>
                    <a:pt x="369" y="771"/>
                  </a:lnTo>
                  <a:lnTo>
                    <a:pt x="372" y="765"/>
                  </a:lnTo>
                  <a:lnTo>
                    <a:pt x="375" y="762"/>
                  </a:lnTo>
                  <a:lnTo>
                    <a:pt x="379" y="762"/>
                  </a:lnTo>
                  <a:lnTo>
                    <a:pt x="381" y="763"/>
                  </a:lnTo>
                  <a:lnTo>
                    <a:pt x="383" y="765"/>
                  </a:lnTo>
                  <a:lnTo>
                    <a:pt x="385" y="769"/>
                  </a:lnTo>
                  <a:lnTo>
                    <a:pt x="385" y="770"/>
                  </a:lnTo>
                  <a:lnTo>
                    <a:pt x="386" y="772"/>
                  </a:lnTo>
                  <a:lnTo>
                    <a:pt x="388" y="772"/>
                  </a:lnTo>
                  <a:lnTo>
                    <a:pt x="389" y="771"/>
                  </a:lnTo>
                  <a:lnTo>
                    <a:pt x="391" y="770"/>
                  </a:lnTo>
                  <a:lnTo>
                    <a:pt x="392" y="770"/>
                  </a:lnTo>
                  <a:lnTo>
                    <a:pt x="398" y="767"/>
                  </a:lnTo>
                  <a:lnTo>
                    <a:pt x="400" y="763"/>
                  </a:lnTo>
                  <a:lnTo>
                    <a:pt x="399" y="761"/>
                  </a:lnTo>
                  <a:lnTo>
                    <a:pt x="398" y="758"/>
                  </a:lnTo>
                  <a:lnTo>
                    <a:pt x="394" y="753"/>
                  </a:lnTo>
                  <a:lnTo>
                    <a:pt x="391" y="749"/>
                  </a:lnTo>
                  <a:lnTo>
                    <a:pt x="387" y="746"/>
                  </a:lnTo>
                  <a:lnTo>
                    <a:pt x="383" y="743"/>
                  </a:lnTo>
                  <a:lnTo>
                    <a:pt x="382" y="737"/>
                  </a:lnTo>
                  <a:lnTo>
                    <a:pt x="383" y="730"/>
                  </a:lnTo>
                  <a:lnTo>
                    <a:pt x="383" y="720"/>
                  </a:lnTo>
                  <a:lnTo>
                    <a:pt x="386" y="710"/>
                  </a:lnTo>
                  <a:lnTo>
                    <a:pt x="388" y="699"/>
                  </a:lnTo>
                  <a:lnTo>
                    <a:pt x="389" y="691"/>
                  </a:lnTo>
                  <a:lnTo>
                    <a:pt x="388" y="685"/>
                  </a:lnTo>
                  <a:lnTo>
                    <a:pt x="387" y="680"/>
                  </a:lnTo>
                  <a:lnTo>
                    <a:pt x="389" y="675"/>
                  </a:lnTo>
                  <a:lnTo>
                    <a:pt x="391" y="672"/>
                  </a:lnTo>
                  <a:lnTo>
                    <a:pt x="391" y="668"/>
                  </a:lnTo>
                  <a:lnTo>
                    <a:pt x="390" y="664"/>
                  </a:lnTo>
                  <a:lnTo>
                    <a:pt x="385" y="658"/>
                  </a:lnTo>
                  <a:lnTo>
                    <a:pt x="379" y="649"/>
                  </a:lnTo>
                  <a:lnTo>
                    <a:pt x="372" y="640"/>
                  </a:lnTo>
                  <a:lnTo>
                    <a:pt x="365" y="632"/>
                  </a:lnTo>
                  <a:lnTo>
                    <a:pt x="359" y="625"/>
                  </a:lnTo>
                  <a:lnTo>
                    <a:pt x="355" y="622"/>
                  </a:lnTo>
                  <a:lnTo>
                    <a:pt x="352" y="621"/>
                  </a:lnTo>
                  <a:lnTo>
                    <a:pt x="349" y="621"/>
                  </a:lnTo>
                  <a:lnTo>
                    <a:pt x="347" y="620"/>
                  </a:lnTo>
                  <a:lnTo>
                    <a:pt x="346" y="620"/>
                  </a:lnTo>
                  <a:lnTo>
                    <a:pt x="344" y="619"/>
                  </a:lnTo>
                  <a:lnTo>
                    <a:pt x="343" y="617"/>
                  </a:lnTo>
                  <a:lnTo>
                    <a:pt x="342" y="614"/>
                  </a:lnTo>
                  <a:lnTo>
                    <a:pt x="338" y="607"/>
                  </a:lnTo>
                  <a:lnTo>
                    <a:pt x="333" y="601"/>
                  </a:lnTo>
                  <a:lnTo>
                    <a:pt x="329" y="596"/>
                  </a:lnTo>
                  <a:lnTo>
                    <a:pt x="328" y="595"/>
                  </a:lnTo>
                  <a:lnTo>
                    <a:pt x="330" y="591"/>
                  </a:lnTo>
                  <a:lnTo>
                    <a:pt x="332" y="589"/>
                  </a:lnTo>
                  <a:lnTo>
                    <a:pt x="334" y="588"/>
                  </a:lnTo>
                  <a:lnTo>
                    <a:pt x="336" y="586"/>
                  </a:lnTo>
                  <a:lnTo>
                    <a:pt x="338" y="582"/>
                  </a:lnTo>
                  <a:lnTo>
                    <a:pt x="337" y="581"/>
                  </a:lnTo>
                  <a:lnTo>
                    <a:pt x="331" y="577"/>
                  </a:lnTo>
                  <a:lnTo>
                    <a:pt x="323" y="571"/>
                  </a:lnTo>
                  <a:lnTo>
                    <a:pt x="314" y="564"/>
                  </a:lnTo>
                  <a:lnTo>
                    <a:pt x="309" y="557"/>
                  </a:lnTo>
                  <a:lnTo>
                    <a:pt x="306" y="551"/>
                  </a:lnTo>
                  <a:lnTo>
                    <a:pt x="304" y="543"/>
                  </a:lnTo>
                  <a:lnTo>
                    <a:pt x="302" y="536"/>
                  </a:lnTo>
                  <a:lnTo>
                    <a:pt x="301" y="529"/>
                  </a:lnTo>
                  <a:lnTo>
                    <a:pt x="303" y="525"/>
                  </a:lnTo>
                  <a:lnTo>
                    <a:pt x="303" y="521"/>
                  </a:lnTo>
                  <a:lnTo>
                    <a:pt x="301" y="515"/>
                  </a:lnTo>
                  <a:lnTo>
                    <a:pt x="297" y="508"/>
                  </a:lnTo>
                  <a:lnTo>
                    <a:pt x="293" y="500"/>
                  </a:lnTo>
                  <a:lnTo>
                    <a:pt x="292" y="493"/>
                  </a:lnTo>
                  <a:lnTo>
                    <a:pt x="293" y="487"/>
                  </a:lnTo>
                  <a:lnTo>
                    <a:pt x="295" y="485"/>
                  </a:lnTo>
                  <a:lnTo>
                    <a:pt x="298" y="483"/>
                  </a:lnTo>
                  <a:lnTo>
                    <a:pt x="306" y="479"/>
                  </a:lnTo>
                  <a:lnTo>
                    <a:pt x="308" y="477"/>
                  </a:lnTo>
                  <a:lnTo>
                    <a:pt x="308" y="472"/>
                  </a:lnTo>
                  <a:lnTo>
                    <a:pt x="305" y="467"/>
                  </a:lnTo>
                  <a:lnTo>
                    <a:pt x="302" y="462"/>
                  </a:lnTo>
                  <a:lnTo>
                    <a:pt x="300" y="458"/>
                  </a:lnTo>
                  <a:lnTo>
                    <a:pt x="299" y="452"/>
                  </a:lnTo>
                  <a:lnTo>
                    <a:pt x="299" y="445"/>
                  </a:lnTo>
                  <a:lnTo>
                    <a:pt x="298" y="436"/>
                  </a:lnTo>
                  <a:lnTo>
                    <a:pt x="295" y="427"/>
                  </a:lnTo>
                  <a:lnTo>
                    <a:pt x="292" y="419"/>
                  </a:lnTo>
                  <a:lnTo>
                    <a:pt x="289" y="417"/>
                  </a:lnTo>
                  <a:lnTo>
                    <a:pt x="286" y="420"/>
                  </a:lnTo>
                  <a:lnTo>
                    <a:pt x="283" y="426"/>
                  </a:lnTo>
                  <a:lnTo>
                    <a:pt x="279" y="433"/>
                  </a:lnTo>
                  <a:lnTo>
                    <a:pt x="274" y="438"/>
                  </a:lnTo>
                  <a:lnTo>
                    <a:pt x="269" y="440"/>
                  </a:lnTo>
                  <a:lnTo>
                    <a:pt x="257" y="440"/>
                  </a:lnTo>
                  <a:lnTo>
                    <a:pt x="253" y="438"/>
                  </a:lnTo>
                  <a:lnTo>
                    <a:pt x="250" y="435"/>
                  </a:lnTo>
                  <a:lnTo>
                    <a:pt x="249" y="429"/>
                  </a:lnTo>
                  <a:lnTo>
                    <a:pt x="248" y="420"/>
                  </a:lnTo>
                  <a:lnTo>
                    <a:pt x="246" y="411"/>
                  </a:lnTo>
                  <a:lnTo>
                    <a:pt x="245" y="403"/>
                  </a:lnTo>
                  <a:lnTo>
                    <a:pt x="243" y="400"/>
                  </a:lnTo>
                  <a:lnTo>
                    <a:pt x="242" y="401"/>
                  </a:lnTo>
                  <a:lnTo>
                    <a:pt x="240" y="402"/>
                  </a:lnTo>
                  <a:lnTo>
                    <a:pt x="239" y="404"/>
                  </a:lnTo>
                  <a:lnTo>
                    <a:pt x="237" y="407"/>
                  </a:lnTo>
                  <a:lnTo>
                    <a:pt x="235" y="409"/>
                  </a:lnTo>
                  <a:lnTo>
                    <a:pt x="232" y="410"/>
                  </a:lnTo>
                  <a:lnTo>
                    <a:pt x="230" y="410"/>
                  </a:lnTo>
                  <a:lnTo>
                    <a:pt x="228" y="409"/>
                  </a:lnTo>
                  <a:lnTo>
                    <a:pt x="227" y="405"/>
                  </a:lnTo>
                  <a:lnTo>
                    <a:pt x="228" y="399"/>
                  </a:lnTo>
                  <a:lnTo>
                    <a:pt x="230" y="393"/>
                  </a:lnTo>
                  <a:lnTo>
                    <a:pt x="232" y="386"/>
                  </a:lnTo>
                  <a:lnTo>
                    <a:pt x="232" y="381"/>
                  </a:lnTo>
                  <a:lnTo>
                    <a:pt x="229" y="376"/>
                  </a:lnTo>
                  <a:lnTo>
                    <a:pt x="222" y="369"/>
                  </a:lnTo>
                  <a:lnTo>
                    <a:pt x="221" y="364"/>
                  </a:lnTo>
                  <a:lnTo>
                    <a:pt x="221" y="357"/>
                  </a:lnTo>
                  <a:lnTo>
                    <a:pt x="220" y="350"/>
                  </a:lnTo>
                  <a:lnTo>
                    <a:pt x="218" y="345"/>
                  </a:lnTo>
                  <a:lnTo>
                    <a:pt x="215" y="342"/>
                  </a:lnTo>
                  <a:lnTo>
                    <a:pt x="211" y="342"/>
                  </a:lnTo>
                  <a:lnTo>
                    <a:pt x="196" y="348"/>
                  </a:lnTo>
                  <a:lnTo>
                    <a:pt x="193" y="348"/>
                  </a:lnTo>
                  <a:lnTo>
                    <a:pt x="191" y="346"/>
                  </a:lnTo>
                  <a:lnTo>
                    <a:pt x="190" y="344"/>
                  </a:lnTo>
                  <a:lnTo>
                    <a:pt x="189" y="343"/>
                  </a:lnTo>
                  <a:lnTo>
                    <a:pt x="189" y="342"/>
                  </a:lnTo>
                  <a:lnTo>
                    <a:pt x="186" y="342"/>
                  </a:lnTo>
                  <a:lnTo>
                    <a:pt x="182" y="344"/>
                  </a:lnTo>
                  <a:lnTo>
                    <a:pt x="178" y="348"/>
                  </a:lnTo>
                  <a:lnTo>
                    <a:pt x="173" y="349"/>
                  </a:lnTo>
                  <a:lnTo>
                    <a:pt x="169" y="348"/>
                  </a:lnTo>
                  <a:lnTo>
                    <a:pt x="168" y="345"/>
                  </a:lnTo>
                  <a:lnTo>
                    <a:pt x="168" y="339"/>
                  </a:lnTo>
                  <a:lnTo>
                    <a:pt x="170" y="333"/>
                  </a:lnTo>
                  <a:lnTo>
                    <a:pt x="172" y="327"/>
                  </a:lnTo>
                  <a:lnTo>
                    <a:pt x="174" y="321"/>
                  </a:lnTo>
                  <a:lnTo>
                    <a:pt x="174" y="317"/>
                  </a:lnTo>
                  <a:lnTo>
                    <a:pt x="172" y="316"/>
                  </a:lnTo>
                  <a:lnTo>
                    <a:pt x="167" y="317"/>
                  </a:lnTo>
                  <a:lnTo>
                    <a:pt x="161" y="319"/>
                  </a:lnTo>
                  <a:lnTo>
                    <a:pt x="155" y="322"/>
                  </a:lnTo>
                  <a:lnTo>
                    <a:pt x="150" y="324"/>
                  </a:lnTo>
                  <a:lnTo>
                    <a:pt x="147" y="324"/>
                  </a:lnTo>
                  <a:lnTo>
                    <a:pt x="142" y="321"/>
                  </a:lnTo>
                  <a:lnTo>
                    <a:pt x="137" y="317"/>
                  </a:lnTo>
                  <a:lnTo>
                    <a:pt x="132" y="314"/>
                  </a:lnTo>
                  <a:lnTo>
                    <a:pt x="127" y="314"/>
                  </a:lnTo>
                  <a:lnTo>
                    <a:pt x="119" y="315"/>
                  </a:lnTo>
                  <a:lnTo>
                    <a:pt x="109" y="316"/>
                  </a:lnTo>
                  <a:lnTo>
                    <a:pt x="99" y="319"/>
                  </a:lnTo>
                  <a:lnTo>
                    <a:pt x="91" y="321"/>
                  </a:lnTo>
                  <a:lnTo>
                    <a:pt x="87" y="324"/>
                  </a:lnTo>
                  <a:lnTo>
                    <a:pt x="86" y="327"/>
                  </a:lnTo>
                  <a:lnTo>
                    <a:pt x="85" y="329"/>
                  </a:lnTo>
                  <a:lnTo>
                    <a:pt x="85" y="332"/>
                  </a:lnTo>
                  <a:lnTo>
                    <a:pt x="86" y="334"/>
                  </a:lnTo>
                  <a:lnTo>
                    <a:pt x="88" y="336"/>
                  </a:lnTo>
                  <a:lnTo>
                    <a:pt x="92" y="337"/>
                  </a:lnTo>
                  <a:lnTo>
                    <a:pt x="96" y="339"/>
                  </a:lnTo>
                  <a:lnTo>
                    <a:pt x="98" y="343"/>
                  </a:lnTo>
                  <a:lnTo>
                    <a:pt x="98" y="346"/>
                  </a:lnTo>
                  <a:lnTo>
                    <a:pt x="99" y="347"/>
                  </a:lnTo>
                  <a:lnTo>
                    <a:pt x="100" y="347"/>
                  </a:lnTo>
                  <a:lnTo>
                    <a:pt x="102" y="346"/>
                  </a:lnTo>
                  <a:lnTo>
                    <a:pt x="105" y="345"/>
                  </a:lnTo>
                  <a:lnTo>
                    <a:pt x="108" y="343"/>
                  </a:lnTo>
                  <a:lnTo>
                    <a:pt x="109" y="342"/>
                  </a:lnTo>
                  <a:lnTo>
                    <a:pt x="111" y="341"/>
                  </a:lnTo>
                  <a:lnTo>
                    <a:pt x="112" y="341"/>
                  </a:lnTo>
                  <a:lnTo>
                    <a:pt x="113" y="342"/>
                  </a:lnTo>
                  <a:lnTo>
                    <a:pt x="114" y="344"/>
                  </a:lnTo>
                  <a:lnTo>
                    <a:pt x="115" y="350"/>
                  </a:lnTo>
                  <a:lnTo>
                    <a:pt x="113" y="364"/>
                  </a:lnTo>
                  <a:lnTo>
                    <a:pt x="110" y="369"/>
                  </a:lnTo>
                  <a:lnTo>
                    <a:pt x="106" y="371"/>
                  </a:lnTo>
                  <a:lnTo>
                    <a:pt x="100" y="371"/>
                  </a:lnTo>
                  <a:lnTo>
                    <a:pt x="94" y="372"/>
                  </a:lnTo>
                  <a:lnTo>
                    <a:pt x="88" y="371"/>
                  </a:lnTo>
                  <a:lnTo>
                    <a:pt x="84" y="371"/>
                  </a:lnTo>
                  <a:lnTo>
                    <a:pt x="81" y="372"/>
                  </a:lnTo>
                  <a:lnTo>
                    <a:pt x="78" y="374"/>
                  </a:lnTo>
                  <a:lnTo>
                    <a:pt x="77" y="377"/>
                  </a:lnTo>
                  <a:lnTo>
                    <a:pt x="77" y="380"/>
                  </a:lnTo>
                  <a:lnTo>
                    <a:pt x="78" y="384"/>
                  </a:lnTo>
                  <a:lnTo>
                    <a:pt x="78" y="389"/>
                  </a:lnTo>
                  <a:lnTo>
                    <a:pt x="76" y="393"/>
                  </a:lnTo>
                  <a:lnTo>
                    <a:pt x="73" y="397"/>
                  </a:lnTo>
                  <a:lnTo>
                    <a:pt x="66" y="398"/>
                  </a:lnTo>
                  <a:lnTo>
                    <a:pt x="56" y="398"/>
                  </a:lnTo>
                  <a:lnTo>
                    <a:pt x="45" y="399"/>
                  </a:lnTo>
                  <a:lnTo>
                    <a:pt x="25" y="399"/>
                  </a:lnTo>
                  <a:lnTo>
                    <a:pt x="22" y="396"/>
                  </a:lnTo>
                  <a:lnTo>
                    <a:pt x="18" y="390"/>
                  </a:lnTo>
                  <a:lnTo>
                    <a:pt x="17" y="387"/>
                  </a:lnTo>
                  <a:lnTo>
                    <a:pt x="18" y="384"/>
                  </a:lnTo>
                  <a:lnTo>
                    <a:pt x="19" y="382"/>
                  </a:lnTo>
                  <a:lnTo>
                    <a:pt x="20" y="381"/>
                  </a:lnTo>
                  <a:lnTo>
                    <a:pt x="22" y="380"/>
                  </a:lnTo>
                  <a:lnTo>
                    <a:pt x="23" y="379"/>
                  </a:lnTo>
                  <a:lnTo>
                    <a:pt x="25" y="379"/>
                  </a:lnTo>
                  <a:lnTo>
                    <a:pt x="26" y="378"/>
                  </a:lnTo>
                  <a:lnTo>
                    <a:pt x="28" y="378"/>
                  </a:lnTo>
                  <a:lnTo>
                    <a:pt x="28" y="376"/>
                  </a:lnTo>
                  <a:lnTo>
                    <a:pt x="29" y="374"/>
                  </a:lnTo>
                  <a:lnTo>
                    <a:pt x="28" y="371"/>
                  </a:lnTo>
                  <a:lnTo>
                    <a:pt x="26" y="364"/>
                  </a:lnTo>
                  <a:lnTo>
                    <a:pt x="24" y="359"/>
                  </a:lnTo>
                  <a:lnTo>
                    <a:pt x="23" y="356"/>
                  </a:lnTo>
                  <a:lnTo>
                    <a:pt x="31" y="348"/>
                  </a:lnTo>
                  <a:lnTo>
                    <a:pt x="34" y="340"/>
                  </a:lnTo>
                  <a:lnTo>
                    <a:pt x="36" y="332"/>
                  </a:lnTo>
                  <a:lnTo>
                    <a:pt x="37" y="327"/>
                  </a:lnTo>
                  <a:lnTo>
                    <a:pt x="35" y="322"/>
                  </a:lnTo>
                  <a:lnTo>
                    <a:pt x="27" y="308"/>
                  </a:lnTo>
                  <a:lnTo>
                    <a:pt x="24" y="302"/>
                  </a:lnTo>
                  <a:lnTo>
                    <a:pt x="20" y="295"/>
                  </a:lnTo>
                  <a:lnTo>
                    <a:pt x="15" y="289"/>
                  </a:lnTo>
                  <a:lnTo>
                    <a:pt x="12" y="282"/>
                  </a:lnTo>
                  <a:lnTo>
                    <a:pt x="11" y="277"/>
                  </a:lnTo>
                  <a:lnTo>
                    <a:pt x="10" y="269"/>
                  </a:lnTo>
                  <a:lnTo>
                    <a:pt x="8" y="259"/>
                  </a:lnTo>
                  <a:lnTo>
                    <a:pt x="7" y="250"/>
                  </a:lnTo>
                  <a:lnTo>
                    <a:pt x="7" y="241"/>
                  </a:lnTo>
                  <a:lnTo>
                    <a:pt x="9" y="236"/>
                  </a:lnTo>
                  <a:lnTo>
                    <a:pt x="12" y="231"/>
                  </a:lnTo>
                  <a:lnTo>
                    <a:pt x="15" y="225"/>
                  </a:lnTo>
                  <a:lnTo>
                    <a:pt x="16" y="218"/>
                  </a:lnTo>
                  <a:lnTo>
                    <a:pt x="15" y="212"/>
                  </a:lnTo>
                  <a:lnTo>
                    <a:pt x="11" y="207"/>
                  </a:lnTo>
                  <a:lnTo>
                    <a:pt x="5" y="203"/>
                  </a:lnTo>
                  <a:lnTo>
                    <a:pt x="3" y="202"/>
                  </a:lnTo>
                  <a:lnTo>
                    <a:pt x="1" y="200"/>
                  </a:lnTo>
                  <a:lnTo>
                    <a:pt x="0" y="200"/>
                  </a:lnTo>
                  <a:lnTo>
                    <a:pt x="0" y="198"/>
                  </a:lnTo>
                  <a:lnTo>
                    <a:pt x="1" y="197"/>
                  </a:lnTo>
                  <a:lnTo>
                    <a:pt x="3" y="195"/>
                  </a:lnTo>
                  <a:lnTo>
                    <a:pt x="8" y="187"/>
                  </a:lnTo>
                  <a:lnTo>
                    <a:pt x="14" y="180"/>
                  </a:lnTo>
                  <a:lnTo>
                    <a:pt x="20" y="174"/>
                  </a:lnTo>
                  <a:lnTo>
                    <a:pt x="28" y="172"/>
                  </a:lnTo>
                  <a:lnTo>
                    <a:pt x="33" y="173"/>
                  </a:lnTo>
                  <a:lnTo>
                    <a:pt x="36" y="175"/>
                  </a:lnTo>
                  <a:lnTo>
                    <a:pt x="39" y="178"/>
                  </a:lnTo>
                  <a:lnTo>
                    <a:pt x="42" y="178"/>
                  </a:lnTo>
                  <a:lnTo>
                    <a:pt x="46" y="176"/>
                  </a:lnTo>
                  <a:lnTo>
                    <a:pt x="50" y="173"/>
                  </a:lnTo>
                  <a:lnTo>
                    <a:pt x="52" y="167"/>
                  </a:lnTo>
                  <a:lnTo>
                    <a:pt x="54" y="164"/>
                  </a:lnTo>
                  <a:lnTo>
                    <a:pt x="57" y="163"/>
                  </a:lnTo>
                  <a:lnTo>
                    <a:pt x="64" y="163"/>
                  </a:lnTo>
                  <a:lnTo>
                    <a:pt x="76" y="164"/>
                  </a:lnTo>
                  <a:lnTo>
                    <a:pt x="84" y="166"/>
                  </a:lnTo>
                  <a:lnTo>
                    <a:pt x="91" y="169"/>
                  </a:lnTo>
                  <a:lnTo>
                    <a:pt x="97" y="174"/>
                  </a:lnTo>
                  <a:lnTo>
                    <a:pt x="99" y="177"/>
                  </a:lnTo>
                  <a:lnTo>
                    <a:pt x="101" y="179"/>
                  </a:lnTo>
                  <a:lnTo>
                    <a:pt x="103" y="183"/>
                  </a:lnTo>
                  <a:lnTo>
                    <a:pt x="105" y="184"/>
                  </a:lnTo>
                  <a:lnTo>
                    <a:pt x="106" y="186"/>
                  </a:lnTo>
                  <a:lnTo>
                    <a:pt x="112" y="186"/>
                  </a:lnTo>
                  <a:lnTo>
                    <a:pt x="128" y="184"/>
                  </a:lnTo>
                  <a:lnTo>
                    <a:pt x="134" y="182"/>
                  </a:lnTo>
                  <a:lnTo>
                    <a:pt x="137" y="178"/>
                  </a:lnTo>
                  <a:lnTo>
                    <a:pt x="137" y="173"/>
                  </a:lnTo>
                  <a:lnTo>
                    <a:pt x="135" y="168"/>
                  </a:lnTo>
                  <a:lnTo>
                    <a:pt x="135" y="163"/>
                  </a:lnTo>
                  <a:lnTo>
                    <a:pt x="139" y="159"/>
                  </a:lnTo>
                  <a:lnTo>
                    <a:pt x="141" y="156"/>
                  </a:lnTo>
                  <a:lnTo>
                    <a:pt x="140" y="151"/>
                  </a:lnTo>
                  <a:lnTo>
                    <a:pt x="139" y="145"/>
                  </a:lnTo>
                  <a:lnTo>
                    <a:pt x="137" y="139"/>
                  </a:lnTo>
                  <a:lnTo>
                    <a:pt x="136" y="133"/>
                  </a:lnTo>
                  <a:lnTo>
                    <a:pt x="137" y="129"/>
                  </a:lnTo>
                  <a:lnTo>
                    <a:pt x="141" y="127"/>
                  </a:lnTo>
                  <a:lnTo>
                    <a:pt x="147" y="127"/>
                  </a:lnTo>
                  <a:lnTo>
                    <a:pt x="151" y="129"/>
                  </a:lnTo>
                  <a:lnTo>
                    <a:pt x="156" y="131"/>
                  </a:lnTo>
                  <a:lnTo>
                    <a:pt x="160" y="131"/>
                  </a:lnTo>
                  <a:lnTo>
                    <a:pt x="167" y="128"/>
                  </a:lnTo>
                  <a:lnTo>
                    <a:pt x="173" y="124"/>
                  </a:lnTo>
                  <a:lnTo>
                    <a:pt x="176" y="121"/>
                  </a:lnTo>
                  <a:lnTo>
                    <a:pt x="177" y="118"/>
                  </a:lnTo>
                  <a:lnTo>
                    <a:pt x="178" y="116"/>
                  </a:lnTo>
                  <a:lnTo>
                    <a:pt x="179" y="112"/>
                  </a:lnTo>
                  <a:lnTo>
                    <a:pt x="183" y="108"/>
                  </a:lnTo>
                  <a:lnTo>
                    <a:pt x="189" y="104"/>
                  </a:lnTo>
                  <a:lnTo>
                    <a:pt x="196" y="100"/>
                  </a:lnTo>
                  <a:lnTo>
                    <a:pt x="201" y="96"/>
                  </a:lnTo>
                  <a:lnTo>
                    <a:pt x="203" y="90"/>
                  </a:lnTo>
                  <a:lnTo>
                    <a:pt x="202" y="84"/>
                  </a:lnTo>
                  <a:lnTo>
                    <a:pt x="200" y="76"/>
                  </a:lnTo>
                  <a:lnTo>
                    <a:pt x="200" y="62"/>
                  </a:lnTo>
                  <a:lnTo>
                    <a:pt x="202" y="58"/>
                  </a:lnTo>
                  <a:lnTo>
                    <a:pt x="207" y="55"/>
                  </a:lnTo>
                  <a:lnTo>
                    <a:pt x="214" y="54"/>
                  </a:lnTo>
                  <a:lnTo>
                    <a:pt x="219" y="55"/>
                  </a:lnTo>
                  <a:lnTo>
                    <a:pt x="225" y="58"/>
                  </a:lnTo>
                  <a:lnTo>
                    <a:pt x="227" y="58"/>
                  </a:lnTo>
                  <a:lnTo>
                    <a:pt x="231" y="57"/>
                  </a:lnTo>
                  <a:lnTo>
                    <a:pt x="239" y="54"/>
                  </a:lnTo>
                  <a:lnTo>
                    <a:pt x="248" y="49"/>
                  </a:lnTo>
                  <a:lnTo>
                    <a:pt x="267" y="35"/>
                  </a:lnTo>
                  <a:lnTo>
                    <a:pt x="274" y="27"/>
                  </a:lnTo>
                  <a:lnTo>
                    <a:pt x="277" y="19"/>
                  </a:lnTo>
                  <a:lnTo>
                    <a:pt x="278" y="15"/>
                  </a:lnTo>
                  <a:lnTo>
                    <a:pt x="278" y="5"/>
                  </a:lnTo>
                  <a:lnTo>
                    <a:pt x="287" y="1"/>
                  </a:lnTo>
                  <a:lnTo>
                    <a:pt x="296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14">
              <a:extLst>
                <a:ext uri="{FF2B5EF4-FFF2-40B4-BE49-F238E27FC236}">
                  <a16:creationId xmlns:a16="http://schemas.microsoft.com/office/drawing/2014/main" id="{87068E04-74A0-459D-82FC-12D50FE14D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3076" y="3921126"/>
              <a:ext cx="1012825" cy="1292225"/>
            </a:xfrm>
            <a:custGeom>
              <a:avLst/>
              <a:gdLst/>
              <a:ahLst/>
              <a:cxnLst>
                <a:cxn ang="0">
                  <a:pos x="473" y="28"/>
                </a:cxn>
                <a:cxn ang="0">
                  <a:pos x="506" y="48"/>
                </a:cxn>
                <a:cxn ang="0">
                  <a:pos x="518" y="97"/>
                </a:cxn>
                <a:cxn ang="0">
                  <a:pos x="530" y="125"/>
                </a:cxn>
                <a:cxn ang="0">
                  <a:pos x="525" y="171"/>
                </a:cxn>
                <a:cxn ang="0">
                  <a:pos x="504" y="172"/>
                </a:cxn>
                <a:cxn ang="0">
                  <a:pos x="499" y="208"/>
                </a:cxn>
                <a:cxn ang="0">
                  <a:pos x="509" y="250"/>
                </a:cxn>
                <a:cxn ang="0">
                  <a:pos x="533" y="275"/>
                </a:cxn>
                <a:cxn ang="0">
                  <a:pos x="507" y="293"/>
                </a:cxn>
                <a:cxn ang="0">
                  <a:pos x="477" y="309"/>
                </a:cxn>
                <a:cxn ang="0">
                  <a:pos x="471" y="340"/>
                </a:cxn>
                <a:cxn ang="0">
                  <a:pos x="438" y="360"/>
                </a:cxn>
                <a:cxn ang="0">
                  <a:pos x="490" y="388"/>
                </a:cxn>
                <a:cxn ang="0">
                  <a:pos x="568" y="384"/>
                </a:cxn>
                <a:cxn ang="0">
                  <a:pos x="585" y="436"/>
                </a:cxn>
                <a:cxn ang="0">
                  <a:pos x="613" y="485"/>
                </a:cxn>
                <a:cxn ang="0">
                  <a:pos x="588" y="519"/>
                </a:cxn>
                <a:cxn ang="0">
                  <a:pos x="627" y="569"/>
                </a:cxn>
                <a:cxn ang="0">
                  <a:pos x="607" y="594"/>
                </a:cxn>
                <a:cxn ang="0">
                  <a:pos x="622" y="628"/>
                </a:cxn>
                <a:cxn ang="0">
                  <a:pos x="615" y="681"/>
                </a:cxn>
                <a:cxn ang="0">
                  <a:pos x="584" y="744"/>
                </a:cxn>
                <a:cxn ang="0">
                  <a:pos x="558" y="802"/>
                </a:cxn>
                <a:cxn ang="0">
                  <a:pos x="486" y="785"/>
                </a:cxn>
                <a:cxn ang="0">
                  <a:pos x="441" y="773"/>
                </a:cxn>
                <a:cxn ang="0">
                  <a:pos x="386" y="772"/>
                </a:cxn>
                <a:cxn ang="0">
                  <a:pos x="351" y="741"/>
                </a:cxn>
                <a:cxn ang="0">
                  <a:pos x="314" y="721"/>
                </a:cxn>
                <a:cxn ang="0">
                  <a:pos x="292" y="696"/>
                </a:cxn>
                <a:cxn ang="0">
                  <a:pos x="322" y="653"/>
                </a:cxn>
                <a:cxn ang="0">
                  <a:pos x="295" y="620"/>
                </a:cxn>
                <a:cxn ang="0">
                  <a:pos x="304" y="573"/>
                </a:cxn>
                <a:cxn ang="0">
                  <a:pos x="273" y="555"/>
                </a:cxn>
                <a:cxn ang="0">
                  <a:pos x="212" y="528"/>
                </a:cxn>
                <a:cxn ang="0">
                  <a:pos x="136" y="557"/>
                </a:cxn>
                <a:cxn ang="0">
                  <a:pos x="52" y="545"/>
                </a:cxn>
                <a:cxn ang="0">
                  <a:pos x="92" y="493"/>
                </a:cxn>
                <a:cxn ang="0">
                  <a:pos x="97" y="448"/>
                </a:cxn>
                <a:cxn ang="0">
                  <a:pos x="63" y="431"/>
                </a:cxn>
                <a:cxn ang="0">
                  <a:pos x="27" y="402"/>
                </a:cxn>
                <a:cxn ang="0">
                  <a:pos x="1" y="353"/>
                </a:cxn>
                <a:cxn ang="0">
                  <a:pos x="11" y="293"/>
                </a:cxn>
                <a:cxn ang="0">
                  <a:pos x="18" y="266"/>
                </a:cxn>
                <a:cxn ang="0">
                  <a:pos x="59" y="233"/>
                </a:cxn>
                <a:cxn ang="0">
                  <a:pos x="82" y="230"/>
                </a:cxn>
                <a:cxn ang="0">
                  <a:pos x="94" y="227"/>
                </a:cxn>
                <a:cxn ang="0">
                  <a:pos x="134" y="219"/>
                </a:cxn>
                <a:cxn ang="0">
                  <a:pos x="153" y="227"/>
                </a:cxn>
                <a:cxn ang="0">
                  <a:pos x="182" y="222"/>
                </a:cxn>
                <a:cxn ang="0">
                  <a:pos x="186" y="174"/>
                </a:cxn>
                <a:cxn ang="0">
                  <a:pos x="215" y="156"/>
                </a:cxn>
                <a:cxn ang="0">
                  <a:pos x="262" y="137"/>
                </a:cxn>
                <a:cxn ang="0">
                  <a:pos x="308" y="121"/>
                </a:cxn>
                <a:cxn ang="0">
                  <a:pos x="345" y="91"/>
                </a:cxn>
                <a:cxn ang="0">
                  <a:pos x="424" y="56"/>
                </a:cxn>
                <a:cxn ang="0">
                  <a:pos x="445" y="32"/>
                </a:cxn>
              </a:cxnLst>
              <a:rect l="0" t="0" r="r" b="b"/>
              <a:pathLst>
                <a:path w="638" h="814">
                  <a:moveTo>
                    <a:pt x="449" y="0"/>
                  </a:moveTo>
                  <a:lnTo>
                    <a:pt x="461" y="0"/>
                  </a:lnTo>
                  <a:lnTo>
                    <a:pt x="466" y="2"/>
                  </a:lnTo>
                  <a:lnTo>
                    <a:pt x="469" y="6"/>
                  </a:lnTo>
                  <a:lnTo>
                    <a:pt x="469" y="10"/>
                  </a:lnTo>
                  <a:lnTo>
                    <a:pt x="467" y="17"/>
                  </a:lnTo>
                  <a:lnTo>
                    <a:pt x="469" y="24"/>
                  </a:lnTo>
                  <a:lnTo>
                    <a:pt x="473" y="28"/>
                  </a:lnTo>
                  <a:lnTo>
                    <a:pt x="476" y="30"/>
                  </a:lnTo>
                  <a:lnTo>
                    <a:pt x="482" y="38"/>
                  </a:lnTo>
                  <a:lnTo>
                    <a:pt x="486" y="42"/>
                  </a:lnTo>
                  <a:lnTo>
                    <a:pt x="491" y="43"/>
                  </a:lnTo>
                  <a:lnTo>
                    <a:pt x="499" y="43"/>
                  </a:lnTo>
                  <a:lnTo>
                    <a:pt x="502" y="44"/>
                  </a:lnTo>
                  <a:lnTo>
                    <a:pt x="505" y="46"/>
                  </a:lnTo>
                  <a:lnTo>
                    <a:pt x="506" y="48"/>
                  </a:lnTo>
                  <a:lnTo>
                    <a:pt x="507" y="51"/>
                  </a:lnTo>
                  <a:lnTo>
                    <a:pt x="506" y="55"/>
                  </a:lnTo>
                  <a:lnTo>
                    <a:pt x="503" y="62"/>
                  </a:lnTo>
                  <a:lnTo>
                    <a:pt x="500" y="68"/>
                  </a:lnTo>
                  <a:lnTo>
                    <a:pt x="500" y="74"/>
                  </a:lnTo>
                  <a:lnTo>
                    <a:pt x="502" y="80"/>
                  </a:lnTo>
                  <a:lnTo>
                    <a:pt x="507" y="87"/>
                  </a:lnTo>
                  <a:lnTo>
                    <a:pt x="518" y="97"/>
                  </a:lnTo>
                  <a:lnTo>
                    <a:pt x="522" y="99"/>
                  </a:lnTo>
                  <a:lnTo>
                    <a:pt x="525" y="99"/>
                  </a:lnTo>
                  <a:lnTo>
                    <a:pt x="528" y="100"/>
                  </a:lnTo>
                  <a:lnTo>
                    <a:pt x="532" y="101"/>
                  </a:lnTo>
                  <a:lnTo>
                    <a:pt x="536" y="103"/>
                  </a:lnTo>
                  <a:lnTo>
                    <a:pt x="531" y="110"/>
                  </a:lnTo>
                  <a:lnTo>
                    <a:pt x="529" y="118"/>
                  </a:lnTo>
                  <a:lnTo>
                    <a:pt x="530" y="125"/>
                  </a:lnTo>
                  <a:lnTo>
                    <a:pt x="542" y="143"/>
                  </a:lnTo>
                  <a:lnTo>
                    <a:pt x="543" y="148"/>
                  </a:lnTo>
                  <a:lnTo>
                    <a:pt x="536" y="155"/>
                  </a:lnTo>
                  <a:lnTo>
                    <a:pt x="533" y="161"/>
                  </a:lnTo>
                  <a:lnTo>
                    <a:pt x="531" y="167"/>
                  </a:lnTo>
                  <a:lnTo>
                    <a:pt x="529" y="171"/>
                  </a:lnTo>
                  <a:lnTo>
                    <a:pt x="527" y="172"/>
                  </a:lnTo>
                  <a:lnTo>
                    <a:pt x="525" y="171"/>
                  </a:lnTo>
                  <a:lnTo>
                    <a:pt x="524" y="169"/>
                  </a:lnTo>
                  <a:lnTo>
                    <a:pt x="523" y="167"/>
                  </a:lnTo>
                  <a:lnTo>
                    <a:pt x="519" y="165"/>
                  </a:lnTo>
                  <a:lnTo>
                    <a:pt x="516" y="165"/>
                  </a:lnTo>
                  <a:lnTo>
                    <a:pt x="514" y="166"/>
                  </a:lnTo>
                  <a:lnTo>
                    <a:pt x="511" y="167"/>
                  </a:lnTo>
                  <a:lnTo>
                    <a:pt x="507" y="169"/>
                  </a:lnTo>
                  <a:lnTo>
                    <a:pt x="504" y="172"/>
                  </a:lnTo>
                  <a:lnTo>
                    <a:pt x="504" y="174"/>
                  </a:lnTo>
                  <a:lnTo>
                    <a:pt x="503" y="178"/>
                  </a:lnTo>
                  <a:lnTo>
                    <a:pt x="503" y="184"/>
                  </a:lnTo>
                  <a:lnTo>
                    <a:pt x="504" y="191"/>
                  </a:lnTo>
                  <a:lnTo>
                    <a:pt x="505" y="197"/>
                  </a:lnTo>
                  <a:lnTo>
                    <a:pt x="505" y="202"/>
                  </a:lnTo>
                  <a:lnTo>
                    <a:pt x="503" y="205"/>
                  </a:lnTo>
                  <a:lnTo>
                    <a:pt x="499" y="208"/>
                  </a:lnTo>
                  <a:lnTo>
                    <a:pt x="496" y="211"/>
                  </a:lnTo>
                  <a:lnTo>
                    <a:pt x="493" y="215"/>
                  </a:lnTo>
                  <a:lnTo>
                    <a:pt x="493" y="219"/>
                  </a:lnTo>
                  <a:lnTo>
                    <a:pt x="495" y="222"/>
                  </a:lnTo>
                  <a:lnTo>
                    <a:pt x="507" y="229"/>
                  </a:lnTo>
                  <a:lnTo>
                    <a:pt x="513" y="235"/>
                  </a:lnTo>
                  <a:lnTo>
                    <a:pt x="514" y="240"/>
                  </a:lnTo>
                  <a:lnTo>
                    <a:pt x="509" y="250"/>
                  </a:lnTo>
                  <a:lnTo>
                    <a:pt x="505" y="262"/>
                  </a:lnTo>
                  <a:lnTo>
                    <a:pt x="506" y="265"/>
                  </a:lnTo>
                  <a:lnTo>
                    <a:pt x="509" y="267"/>
                  </a:lnTo>
                  <a:lnTo>
                    <a:pt x="516" y="268"/>
                  </a:lnTo>
                  <a:lnTo>
                    <a:pt x="523" y="270"/>
                  </a:lnTo>
                  <a:lnTo>
                    <a:pt x="530" y="272"/>
                  </a:lnTo>
                  <a:lnTo>
                    <a:pt x="534" y="274"/>
                  </a:lnTo>
                  <a:lnTo>
                    <a:pt x="533" y="275"/>
                  </a:lnTo>
                  <a:lnTo>
                    <a:pt x="528" y="275"/>
                  </a:lnTo>
                  <a:lnTo>
                    <a:pt x="515" y="277"/>
                  </a:lnTo>
                  <a:lnTo>
                    <a:pt x="510" y="278"/>
                  </a:lnTo>
                  <a:lnTo>
                    <a:pt x="507" y="281"/>
                  </a:lnTo>
                  <a:lnTo>
                    <a:pt x="507" y="285"/>
                  </a:lnTo>
                  <a:lnTo>
                    <a:pt x="508" y="287"/>
                  </a:lnTo>
                  <a:lnTo>
                    <a:pt x="508" y="292"/>
                  </a:lnTo>
                  <a:lnTo>
                    <a:pt x="507" y="293"/>
                  </a:lnTo>
                  <a:lnTo>
                    <a:pt x="505" y="293"/>
                  </a:lnTo>
                  <a:lnTo>
                    <a:pt x="502" y="294"/>
                  </a:lnTo>
                  <a:lnTo>
                    <a:pt x="494" y="295"/>
                  </a:lnTo>
                  <a:lnTo>
                    <a:pt x="487" y="298"/>
                  </a:lnTo>
                  <a:lnTo>
                    <a:pt x="483" y="301"/>
                  </a:lnTo>
                  <a:lnTo>
                    <a:pt x="482" y="305"/>
                  </a:lnTo>
                  <a:lnTo>
                    <a:pt x="481" y="307"/>
                  </a:lnTo>
                  <a:lnTo>
                    <a:pt x="477" y="309"/>
                  </a:lnTo>
                  <a:lnTo>
                    <a:pt x="472" y="311"/>
                  </a:lnTo>
                  <a:lnTo>
                    <a:pt x="468" y="312"/>
                  </a:lnTo>
                  <a:lnTo>
                    <a:pt x="466" y="314"/>
                  </a:lnTo>
                  <a:lnTo>
                    <a:pt x="467" y="317"/>
                  </a:lnTo>
                  <a:lnTo>
                    <a:pt x="469" y="322"/>
                  </a:lnTo>
                  <a:lnTo>
                    <a:pt x="473" y="334"/>
                  </a:lnTo>
                  <a:lnTo>
                    <a:pt x="473" y="338"/>
                  </a:lnTo>
                  <a:lnTo>
                    <a:pt x="471" y="340"/>
                  </a:lnTo>
                  <a:lnTo>
                    <a:pt x="466" y="339"/>
                  </a:lnTo>
                  <a:lnTo>
                    <a:pt x="461" y="337"/>
                  </a:lnTo>
                  <a:lnTo>
                    <a:pt x="458" y="337"/>
                  </a:lnTo>
                  <a:lnTo>
                    <a:pt x="450" y="347"/>
                  </a:lnTo>
                  <a:lnTo>
                    <a:pt x="445" y="350"/>
                  </a:lnTo>
                  <a:lnTo>
                    <a:pt x="441" y="353"/>
                  </a:lnTo>
                  <a:lnTo>
                    <a:pt x="438" y="356"/>
                  </a:lnTo>
                  <a:lnTo>
                    <a:pt x="438" y="360"/>
                  </a:lnTo>
                  <a:lnTo>
                    <a:pt x="442" y="366"/>
                  </a:lnTo>
                  <a:lnTo>
                    <a:pt x="448" y="372"/>
                  </a:lnTo>
                  <a:lnTo>
                    <a:pt x="454" y="377"/>
                  </a:lnTo>
                  <a:lnTo>
                    <a:pt x="456" y="381"/>
                  </a:lnTo>
                  <a:lnTo>
                    <a:pt x="459" y="385"/>
                  </a:lnTo>
                  <a:lnTo>
                    <a:pt x="467" y="389"/>
                  </a:lnTo>
                  <a:lnTo>
                    <a:pt x="478" y="391"/>
                  </a:lnTo>
                  <a:lnTo>
                    <a:pt x="490" y="388"/>
                  </a:lnTo>
                  <a:lnTo>
                    <a:pt x="505" y="383"/>
                  </a:lnTo>
                  <a:lnTo>
                    <a:pt x="516" y="380"/>
                  </a:lnTo>
                  <a:lnTo>
                    <a:pt x="525" y="376"/>
                  </a:lnTo>
                  <a:lnTo>
                    <a:pt x="533" y="375"/>
                  </a:lnTo>
                  <a:lnTo>
                    <a:pt x="542" y="376"/>
                  </a:lnTo>
                  <a:lnTo>
                    <a:pt x="553" y="378"/>
                  </a:lnTo>
                  <a:lnTo>
                    <a:pt x="562" y="382"/>
                  </a:lnTo>
                  <a:lnTo>
                    <a:pt x="568" y="384"/>
                  </a:lnTo>
                  <a:lnTo>
                    <a:pt x="574" y="388"/>
                  </a:lnTo>
                  <a:lnTo>
                    <a:pt x="580" y="396"/>
                  </a:lnTo>
                  <a:lnTo>
                    <a:pt x="584" y="405"/>
                  </a:lnTo>
                  <a:lnTo>
                    <a:pt x="586" y="414"/>
                  </a:lnTo>
                  <a:lnTo>
                    <a:pt x="585" y="419"/>
                  </a:lnTo>
                  <a:lnTo>
                    <a:pt x="581" y="427"/>
                  </a:lnTo>
                  <a:lnTo>
                    <a:pt x="582" y="431"/>
                  </a:lnTo>
                  <a:lnTo>
                    <a:pt x="585" y="436"/>
                  </a:lnTo>
                  <a:lnTo>
                    <a:pt x="590" y="442"/>
                  </a:lnTo>
                  <a:lnTo>
                    <a:pt x="594" y="450"/>
                  </a:lnTo>
                  <a:lnTo>
                    <a:pt x="594" y="462"/>
                  </a:lnTo>
                  <a:lnTo>
                    <a:pt x="596" y="476"/>
                  </a:lnTo>
                  <a:lnTo>
                    <a:pt x="598" y="481"/>
                  </a:lnTo>
                  <a:lnTo>
                    <a:pt x="602" y="483"/>
                  </a:lnTo>
                  <a:lnTo>
                    <a:pt x="611" y="483"/>
                  </a:lnTo>
                  <a:lnTo>
                    <a:pt x="613" y="485"/>
                  </a:lnTo>
                  <a:lnTo>
                    <a:pt x="614" y="487"/>
                  </a:lnTo>
                  <a:lnTo>
                    <a:pt x="613" y="489"/>
                  </a:lnTo>
                  <a:lnTo>
                    <a:pt x="610" y="496"/>
                  </a:lnTo>
                  <a:lnTo>
                    <a:pt x="608" y="501"/>
                  </a:lnTo>
                  <a:lnTo>
                    <a:pt x="604" y="505"/>
                  </a:lnTo>
                  <a:lnTo>
                    <a:pt x="599" y="508"/>
                  </a:lnTo>
                  <a:lnTo>
                    <a:pt x="592" y="513"/>
                  </a:lnTo>
                  <a:lnTo>
                    <a:pt x="588" y="519"/>
                  </a:lnTo>
                  <a:lnTo>
                    <a:pt x="586" y="525"/>
                  </a:lnTo>
                  <a:lnTo>
                    <a:pt x="591" y="540"/>
                  </a:lnTo>
                  <a:lnTo>
                    <a:pt x="594" y="548"/>
                  </a:lnTo>
                  <a:lnTo>
                    <a:pt x="599" y="554"/>
                  </a:lnTo>
                  <a:lnTo>
                    <a:pt x="604" y="557"/>
                  </a:lnTo>
                  <a:lnTo>
                    <a:pt x="611" y="559"/>
                  </a:lnTo>
                  <a:lnTo>
                    <a:pt x="619" y="563"/>
                  </a:lnTo>
                  <a:lnTo>
                    <a:pt x="627" y="569"/>
                  </a:lnTo>
                  <a:lnTo>
                    <a:pt x="634" y="576"/>
                  </a:lnTo>
                  <a:lnTo>
                    <a:pt x="638" y="582"/>
                  </a:lnTo>
                  <a:lnTo>
                    <a:pt x="637" y="585"/>
                  </a:lnTo>
                  <a:lnTo>
                    <a:pt x="633" y="587"/>
                  </a:lnTo>
                  <a:lnTo>
                    <a:pt x="627" y="589"/>
                  </a:lnTo>
                  <a:lnTo>
                    <a:pt x="613" y="591"/>
                  </a:lnTo>
                  <a:lnTo>
                    <a:pt x="609" y="592"/>
                  </a:lnTo>
                  <a:lnTo>
                    <a:pt x="607" y="594"/>
                  </a:lnTo>
                  <a:lnTo>
                    <a:pt x="607" y="598"/>
                  </a:lnTo>
                  <a:lnTo>
                    <a:pt x="605" y="604"/>
                  </a:lnTo>
                  <a:lnTo>
                    <a:pt x="604" y="610"/>
                  </a:lnTo>
                  <a:lnTo>
                    <a:pt x="604" y="615"/>
                  </a:lnTo>
                  <a:lnTo>
                    <a:pt x="606" y="618"/>
                  </a:lnTo>
                  <a:lnTo>
                    <a:pt x="618" y="622"/>
                  </a:lnTo>
                  <a:lnTo>
                    <a:pt x="621" y="625"/>
                  </a:lnTo>
                  <a:lnTo>
                    <a:pt x="622" y="628"/>
                  </a:lnTo>
                  <a:lnTo>
                    <a:pt x="621" y="630"/>
                  </a:lnTo>
                  <a:lnTo>
                    <a:pt x="617" y="636"/>
                  </a:lnTo>
                  <a:lnTo>
                    <a:pt x="613" y="643"/>
                  </a:lnTo>
                  <a:lnTo>
                    <a:pt x="609" y="653"/>
                  </a:lnTo>
                  <a:lnTo>
                    <a:pt x="609" y="663"/>
                  </a:lnTo>
                  <a:lnTo>
                    <a:pt x="612" y="671"/>
                  </a:lnTo>
                  <a:lnTo>
                    <a:pt x="614" y="677"/>
                  </a:lnTo>
                  <a:lnTo>
                    <a:pt x="615" y="681"/>
                  </a:lnTo>
                  <a:lnTo>
                    <a:pt x="611" y="685"/>
                  </a:lnTo>
                  <a:lnTo>
                    <a:pt x="604" y="689"/>
                  </a:lnTo>
                  <a:lnTo>
                    <a:pt x="596" y="693"/>
                  </a:lnTo>
                  <a:lnTo>
                    <a:pt x="590" y="699"/>
                  </a:lnTo>
                  <a:lnTo>
                    <a:pt x="587" y="707"/>
                  </a:lnTo>
                  <a:lnTo>
                    <a:pt x="586" y="718"/>
                  </a:lnTo>
                  <a:lnTo>
                    <a:pt x="585" y="732"/>
                  </a:lnTo>
                  <a:lnTo>
                    <a:pt x="584" y="744"/>
                  </a:lnTo>
                  <a:lnTo>
                    <a:pt x="583" y="753"/>
                  </a:lnTo>
                  <a:lnTo>
                    <a:pt x="579" y="760"/>
                  </a:lnTo>
                  <a:lnTo>
                    <a:pt x="574" y="769"/>
                  </a:lnTo>
                  <a:lnTo>
                    <a:pt x="568" y="778"/>
                  </a:lnTo>
                  <a:lnTo>
                    <a:pt x="565" y="786"/>
                  </a:lnTo>
                  <a:lnTo>
                    <a:pt x="564" y="791"/>
                  </a:lnTo>
                  <a:lnTo>
                    <a:pt x="561" y="796"/>
                  </a:lnTo>
                  <a:lnTo>
                    <a:pt x="558" y="802"/>
                  </a:lnTo>
                  <a:lnTo>
                    <a:pt x="551" y="807"/>
                  </a:lnTo>
                  <a:lnTo>
                    <a:pt x="541" y="811"/>
                  </a:lnTo>
                  <a:lnTo>
                    <a:pt x="527" y="814"/>
                  </a:lnTo>
                  <a:lnTo>
                    <a:pt x="518" y="809"/>
                  </a:lnTo>
                  <a:lnTo>
                    <a:pt x="507" y="803"/>
                  </a:lnTo>
                  <a:lnTo>
                    <a:pt x="499" y="797"/>
                  </a:lnTo>
                  <a:lnTo>
                    <a:pt x="493" y="791"/>
                  </a:lnTo>
                  <a:lnTo>
                    <a:pt x="486" y="785"/>
                  </a:lnTo>
                  <a:lnTo>
                    <a:pt x="478" y="780"/>
                  </a:lnTo>
                  <a:lnTo>
                    <a:pt x="470" y="778"/>
                  </a:lnTo>
                  <a:lnTo>
                    <a:pt x="463" y="780"/>
                  </a:lnTo>
                  <a:lnTo>
                    <a:pt x="458" y="782"/>
                  </a:lnTo>
                  <a:lnTo>
                    <a:pt x="455" y="781"/>
                  </a:lnTo>
                  <a:lnTo>
                    <a:pt x="451" y="779"/>
                  </a:lnTo>
                  <a:lnTo>
                    <a:pt x="447" y="775"/>
                  </a:lnTo>
                  <a:lnTo>
                    <a:pt x="441" y="773"/>
                  </a:lnTo>
                  <a:lnTo>
                    <a:pt x="431" y="771"/>
                  </a:lnTo>
                  <a:lnTo>
                    <a:pt x="419" y="769"/>
                  </a:lnTo>
                  <a:lnTo>
                    <a:pt x="411" y="769"/>
                  </a:lnTo>
                  <a:lnTo>
                    <a:pt x="405" y="770"/>
                  </a:lnTo>
                  <a:lnTo>
                    <a:pt x="400" y="772"/>
                  </a:lnTo>
                  <a:lnTo>
                    <a:pt x="394" y="774"/>
                  </a:lnTo>
                  <a:lnTo>
                    <a:pt x="389" y="774"/>
                  </a:lnTo>
                  <a:lnTo>
                    <a:pt x="386" y="772"/>
                  </a:lnTo>
                  <a:lnTo>
                    <a:pt x="384" y="769"/>
                  </a:lnTo>
                  <a:lnTo>
                    <a:pt x="383" y="766"/>
                  </a:lnTo>
                  <a:lnTo>
                    <a:pt x="381" y="764"/>
                  </a:lnTo>
                  <a:lnTo>
                    <a:pt x="378" y="764"/>
                  </a:lnTo>
                  <a:lnTo>
                    <a:pt x="372" y="763"/>
                  </a:lnTo>
                  <a:lnTo>
                    <a:pt x="366" y="758"/>
                  </a:lnTo>
                  <a:lnTo>
                    <a:pt x="358" y="750"/>
                  </a:lnTo>
                  <a:lnTo>
                    <a:pt x="351" y="741"/>
                  </a:lnTo>
                  <a:lnTo>
                    <a:pt x="347" y="734"/>
                  </a:lnTo>
                  <a:lnTo>
                    <a:pt x="347" y="724"/>
                  </a:lnTo>
                  <a:lnTo>
                    <a:pt x="343" y="722"/>
                  </a:lnTo>
                  <a:lnTo>
                    <a:pt x="337" y="720"/>
                  </a:lnTo>
                  <a:lnTo>
                    <a:pt x="330" y="716"/>
                  </a:lnTo>
                  <a:lnTo>
                    <a:pt x="323" y="715"/>
                  </a:lnTo>
                  <a:lnTo>
                    <a:pt x="318" y="717"/>
                  </a:lnTo>
                  <a:lnTo>
                    <a:pt x="314" y="721"/>
                  </a:lnTo>
                  <a:lnTo>
                    <a:pt x="311" y="726"/>
                  </a:lnTo>
                  <a:lnTo>
                    <a:pt x="311" y="727"/>
                  </a:lnTo>
                  <a:lnTo>
                    <a:pt x="310" y="727"/>
                  </a:lnTo>
                  <a:lnTo>
                    <a:pt x="310" y="728"/>
                  </a:lnTo>
                  <a:lnTo>
                    <a:pt x="301" y="719"/>
                  </a:lnTo>
                  <a:lnTo>
                    <a:pt x="294" y="711"/>
                  </a:lnTo>
                  <a:lnTo>
                    <a:pt x="290" y="703"/>
                  </a:lnTo>
                  <a:lnTo>
                    <a:pt x="292" y="696"/>
                  </a:lnTo>
                  <a:lnTo>
                    <a:pt x="299" y="688"/>
                  </a:lnTo>
                  <a:lnTo>
                    <a:pt x="304" y="681"/>
                  </a:lnTo>
                  <a:lnTo>
                    <a:pt x="308" y="675"/>
                  </a:lnTo>
                  <a:lnTo>
                    <a:pt x="309" y="668"/>
                  </a:lnTo>
                  <a:lnTo>
                    <a:pt x="310" y="664"/>
                  </a:lnTo>
                  <a:lnTo>
                    <a:pt x="314" y="660"/>
                  </a:lnTo>
                  <a:lnTo>
                    <a:pt x="318" y="657"/>
                  </a:lnTo>
                  <a:lnTo>
                    <a:pt x="322" y="653"/>
                  </a:lnTo>
                  <a:lnTo>
                    <a:pt x="324" y="649"/>
                  </a:lnTo>
                  <a:lnTo>
                    <a:pt x="323" y="643"/>
                  </a:lnTo>
                  <a:lnTo>
                    <a:pt x="319" y="638"/>
                  </a:lnTo>
                  <a:lnTo>
                    <a:pt x="314" y="635"/>
                  </a:lnTo>
                  <a:lnTo>
                    <a:pt x="309" y="633"/>
                  </a:lnTo>
                  <a:lnTo>
                    <a:pt x="304" y="630"/>
                  </a:lnTo>
                  <a:lnTo>
                    <a:pt x="299" y="626"/>
                  </a:lnTo>
                  <a:lnTo>
                    <a:pt x="295" y="620"/>
                  </a:lnTo>
                  <a:lnTo>
                    <a:pt x="288" y="613"/>
                  </a:lnTo>
                  <a:lnTo>
                    <a:pt x="288" y="609"/>
                  </a:lnTo>
                  <a:lnTo>
                    <a:pt x="291" y="605"/>
                  </a:lnTo>
                  <a:lnTo>
                    <a:pt x="300" y="597"/>
                  </a:lnTo>
                  <a:lnTo>
                    <a:pt x="306" y="590"/>
                  </a:lnTo>
                  <a:lnTo>
                    <a:pt x="308" y="584"/>
                  </a:lnTo>
                  <a:lnTo>
                    <a:pt x="307" y="580"/>
                  </a:lnTo>
                  <a:lnTo>
                    <a:pt x="304" y="573"/>
                  </a:lnTo>
                  <a:lnTo>
                    <a:pt x="301" y="565"/>
                  </a:lnTo>
                  <a:lnTo>
                    <a:pt x="297" y="558"/>
                  </a:lnTo>
                  <a:lnTo>
                    <a:pt x="293" y="552"/>
                  </a:lnTo>
                  <a:lnTo>
                    <a:pt x="291" y="551"/>
                  </a:lnTo>
                  <a:lnTo>
                    <a:pt x="289" y="553"/>
                  </a:lnTo>
                  <a:lnTo>
                    <a:pt x="283" y="557"/>
                  </a:lnTo>
                  <a:lnTo>
                    <a:pt x="278" y="557"/>
                  </a:lnTo>
                  <a:lnTo>
                    <a:pt x="273" y="555"/>
                  </a:lnTo>
                  <a:lnTo>
                    <a:pt x="266" y="550"/>
                  </a:lnTo>
                  <a:lnTo>
                    <a:pt x="257" y="547"/>
                  </a:lnTo>
                  <a:lnTo>
                    <a:pt x="247" y="542"/>
                  </a:lnTo>
                  <a:lnTo>
                    <a:pt x="238" y="536"/>
                  </a:lnTo>
                  <a:lnTo>
                    <a:pt x="231" y="532"/>
                  </a:lnTo>
                  <a:lnTo>
                    <a:pt x="225" y="532"/>
                  </a:lnTo>
                  <a:lnTo>
                    <a:pt x="218" y="531"/>
                  </a:lnTo>
                  <a:lnTo>
                    <a:pt x="212" y="528"/>
                  </a:lnTo>
                  <a:lnTo>
                    <a:pt x="207" y="527"/>
                  </a:lnTo>
                  <a:lnTo>
                    <a:pt x="199" y="529"/>
                  </a:lnTo>
                  <a:lnTo>
                    <a:pt x="189" y="532"/>
                  </a:lnTo>
                  <a:lnTo>
                    <a:pt x="177" y="537"/>
                  </a:lnTo>
                  <a:lnTo>
                    <a:pt x="165" y="543"/>
                  </a:lnTo>
                  <a:lnTo>
                    <a:pt x="154" y="548"/>
                  </a:lnTo>
                  <a:lnTo>
                    <a:pt x="145" y="553"/>
                  </a:lnTo>
                  <a:lnTo>
                    <a:pt x="136" y="557"/>
                  </a:lnTo>
                  <a:lnTo>
                    <a:pt x="131" y="558"/>
                  </a:lnTo>
                  <a:lnTo>
                    <a:pt x="123" y="559"/>
                  </a:lnTo>
                  <a:lnTo>
                    <a:pt x="110" y="560"/>
                  </a:lnTo>
                  <a:lnTo>
                    <a:pt x="93" y="562"/>
                  </a:lnTo>
                  <a:lnTo>
                    <a:pt x="72" y="563"/>
                  </a:lnTo>
                  <a:lnTo>
                    <a:pt x="49" y="562"/>
                  </a:lnTo>
                  <a:lnTo>
                    <a:pt x="51" y="554"/>
                  </a:lnTo>
                  <a:lnTo>
                    <a:pt x="52" y="545"/>
                  </a:lnTo>
                  <a:lnTo>
                    <a:pt x="54" y="536"/>
                  </a:lnTo>
                  <a:lnTo>
                    <a:pt x="59" y="528"/>
                  </a:lnTo>
                  <a:lnTo>
                    <a:pt x="66" y="518"/>
                  </a:lnTo>
                  <a:lnTo>
                    <a:pt x="69" y="509"/>
                  </a:lnTo>
                  <a:lnTo>
                    <a:pt x="70" y="503"/>
                  </a:lnTo>
                  <a:lnTo>
                    <a:pt x="72" y="500"/>
                  </a:lnTo>
                  <a:lnTo>
                    <a:pt x="78" y="497"/>
                  </a:lnTo>
                  <a:lnTo>
                    <a:pt x="92" y="493"/>
                  </a:lnTo>
                  <a:lnTo>
                    <a:pt x="95" y="491"/>
                  </a:lnTo>
                  <a:lnTo>
                    <a:pt x="95" y="482"/>
                  </a:lnTo>
                  <a:lnTo>
                    <a:pt x="94" y="478"/>
                  </a:lnTo>
                  <a:lnTo>
                    <a:pt x="95" y="473"/>
                  </a:lnTo>
                  <a:lnTo>
                    <a:pt x="97" y="467"/>
                  </a:lnTo>
                  <a:lnTo>
                    <a:pt x="96" y="460"/>
                  </a:lnTo>
                  <a:lnTo>
                    <a:pt x="96" y="453"/>
                  </a:lnTo>
                  <a:lnTo>
                    <a:pt x="97" y="448"/>
                  </a:lnTo>
                  <a:lnTo>
                    <a:pt x="96" y="445"/>
                  </a:lnTo>
                  <a:lnTo>
                    <a:pt x="91" y="444"/>
                  </a:lnTo>
                  <a:lnTo>
                    <a:pt x="85" y="444"/>
                  </a:lnTo>
                  <a:lnTo>
                    <a:pt x="81" y="446"/>
                  </a:lnTo>
                  <a:lnTo>
                    <a:pt x="78" y="447"/>
                  </a:lnTo>
                  <a:lnTo>
                    <a:pt x="73" y="444"/>
                  </a:lnTo>
                  <a:lnTo>
                    <a:pt x="68" y="438"/>
                  </a:lnTo>
                  <a:lnTo>
                    <a:pt x="63" y="431"/>
                  </a:lnTo>
                  <a:lnTo>
                    <a:pt x="60" y="428"/>
                  </a:lnTo>
                  <a:lnTo>
                    <a:pt x="57" y="428"/>
                  </a:lnTo>
                  <a:lnTo>
                    <a:pt x="54" y="429"/>
                  </a:lnTo>
                  <a:lnTo>
                    <a:pt x="51" y="429"/>
                  </a:lnTo>
                  <a:lnTo>
                    <a:pt x="47" y="426"/>
                  </a:lnTo>
                  <a:lnTo>
                    <a:pt x="40" y="418"/>
                  </a:lnTo>
                  <a:lnTo>
                    <a:pt x="34" y="411"/>
                  </a:lnTo>
                  <a:lnTo>
                    <a:pt x="27" y="402"/>
                  </a:lnTo>
                  <a:lnTo>
                    <a:pt x="23" y="395"/>
                  </a:lnTo>
                  <a:lnTo>
                    <a:pt x="22" y="389"/>
                  </a:lnTo>
                  <a:lnTo>
                    <a:pt x="20" y="384"/>
                  </a:lnTo>
                  <a:lnTo>
                    <a:pt x="16" y="382"/>
                  </a:lnTo>
                  <a:lnTo>
                    <a:pt x="12" y="379"/>
                  </a:lnTo>
                  <a:lnTo>
                    <a:pt x="8" y="372"/>
                  </a:lnTo>
                  <a:lnTo>
                    <a:pt x="4" y="363"/>
                  </a:lnTo>
                  <a:lnTo>
                    <a:pt x="1" y="353"/>
                  </a:lnTo>
                  <a:lnTo>
                    <a:pt x="0" y="345"/>
                  </a:lnTo>
                  <a:lnTo>
                    <a:pt x="0" y="336"/>
                  </a:lnTo>
                  <a:lnTo>
                    <a:pt x="1" y="325"/>
                  </a:lnTo>
                  <a:lnTo>
                    <a:pt x="3" y="314"/>
                  </a:lnTo>
                  <a:lnTo>
                    <a:pt x="4" y="306"/>
                  </a:lnTo>
                  <a:lnTo>
                    <a:pt x="4" y="299"/>
                  </a:lnTo>
                  <a:lnTo>
                    <a:pt x="8" y="295"/>
                  </a:lnTo>
                  <a:lnTo>
                    <a:pt x="11" y="293"/>
                  </a:lnTo>
                  <a:lnTo>
                    <a:pt x="14" y="290"/>
                  </a:lnTo>
                  <a:lnTo>
                    <a:pt x="19" y="287"/>
                  </a:lnTo>
                  <a:lnTo>
                    <a:pt x="22" y="284"/>
                  </a:lnTo>
                  <a:lnTo>
                    <a:pt x="22" y="281"/>
                  </a:lnTo>
                  <a:lnTo>
                    <a:pt x="19" y="279"/>
                  </a:lnTo>
                  <a:lnTo>
                    <a:pt x="16" y="276"/>
                  </a:lnTo>
                  <a:lnTo>
                    <a:pt x="15" y="271"/>
                  </a:lnTo>
                  <a:lnTo>
                    <a:pt x="18" y="266"/>
                  </a:lnTo>
                  <a:lnTo>
                    <a:pt x="23" y="262"/>
                  </a:lnTo>
                  <a:lnTo>
                    <a:pt x="31" y="258"/>
                  </a:lnTo>
                  <a:lnTo>
                    <a:pt x="39" y="256"/>
                  </a:lnTo>
                  <a:lnTo>
                    <a:pt x="45" y="254"/>
                  </a:lnTo>
                  <a:lnTo>
                    <a:pt x="49" y="251"/>
                  </a:lnTo>
                  <a:lnTo>
                    <a:pt x="52" y="245"/>
                  </a:lnTo>
                  <a:lnTo>
                    <a:pt x="55" y="238"/>
                  </a:lnTo>
                  <a:lnTo>
                    <a:pt x="59" y="233"/>
                  </a:lnTo>
                  <a:lnTo>
                    <a:pt x="61" y="231"/>
                  </a:lnTo>
                  <a:lnTo>
                    <a:pt x="64" y="231"/>
                  </a:lnTo>
                  <a:lnTo>
                    <a:pt x="65" y="232"/>
                  </a:lnTo>
                  <a:lnTo>
                    <a:pt x="65" y="233"/>
                  </a:lnTo>
                  <a:lnTo>
                    <a:pt x="66" y="235"/>
                  </a:lnTo>
                  <a:lnTo>
                    <a:pt x="67" y="236"/>
                  </a:lnTo>
                  <a:lnTo>
                    <a:pt x="73" y="239"/>
                  </a:lnTo>
                  <a:lnTo>
                    <a:pt x="82" y="230"/>
                  </a:lnTo>
                  <a:lnTo>
                    <a:pt x="82" y="227"/>
                  </a:lnTo>
                  <a:lnTo>
                    <a:pt x="76" y="222"/>
                  </a:lnTo>
                  <a:lnTo>
                    <a:pt x="78" y="216"/>
                  </a:lnTo>
                  <a:lnTo>
                    <a:pt x="78" y="214"/>
                  </a:lnTo>
                  <a:lnTo>
                    <a:pt x="80" y="212"/>
                  </a:lnTo>
                  <a:lnTo>
                    <a:pt x="82" y="212"/>
                  </a:lnTo>
                  <a:lnTo>
                    <a:pt x="86" y="215"/>
                  </a:lnTo>
                  <a:lnTo>
                    <a:pt x="94" y="227"/>
                  </a:lnTo>
                  <a:lnTo>
                    <a:pt x="98" y="230"/>
                  </a:lnTo>
                  <a:lnTo>
                    <a:pt x="103" y="230"/>
                  </a:lnTo>
                  <a:lnTo>
                    <a:pt x="109" y="227"/>
                  </a:lnTo>
                  <a:lnTo>
                    <a:pt x="114" y="222"/>
                  </a:lnTo>
                  <a:lnTo>
                    <a:pt x="120" y="218"/>
                  </a:lnTo>
                  <a:lnTo>
                    <a:pt x="126" y="216"/>
                  </a:lnTo>
                  <a:lnTo>
                    <a:pt x="131" y="217"/>
                  </a:lnTo>
                  <a:lnTo>
                    <a:pt x="134" y="219"/>
                  </a:lnTo>
                  <a:lnTo>
                    <a:pt x="136" y="222"/>
                  </a:lnTo>
                  <a:lnTo>
                    <a:pt x="138" y="224"/>
                  </a:lnTo>
                  <a:lnTo>
                    <a:pt x="139" y="226"/>
                  </a:lnTo>
                  <a:lnTo>
                    <a:pt x="141" y="227"/>
                  </a:lnTo>
                  <a:lnTo>
                    <a:pt x="142" y="227"/>
                  </a:lnTo>
                  <a:lnTo>
                    <a:pt x="146" y="226"/>
                  </a:lnTo>
                  <a:lnTo>
                    <a:pt x="149" y="225"/>
                  </a:lnTo>
                  <a:lnTo>
                    <a:pt x="153" y="227"/>
                  </a:lnTo>
                  <a:lnTo>
                    <a:pt x="158" y="230"/>
                  </a:lnTo>
                  <a:lnTo>
                    <a:pt x="163" y="232"/>
                  </a:lnTo>
                  <a:lnTo>
                    <a:pt x="169" y="232"/>
                  </a:lnTo>
                  <a:lnTo>
                    <a:pt x="175" y="230"/>
                  </a:lnTo>
                  <a:lnTo>
                    <a:pt x="180" y="230"/>
                  </a:lnTo>
                  <a:lnTo>
                    <a:pt x="181" y="229"/>
                  </a:lnTo>
                  <a:lnTo>
                    <a:pt x="182" y="229"/>
                  </a:lnTo>
                  <a:lnTo>
                    <a:pt x="182" y="222"/>
                  </a:lnTo>
                  <a:lnTo>
                    <a:pt x="180" y="212"/>
                  </a:lnTo>
                  <a:lnTo>
                    <a:pt x="177" y="203"/>
                  </a:lnTo>
                  <a:lnTo>
                    <a:pt x="175" y="196"/>
                  </a:lnTo>
                  <a:lnTo>
                    <a:pt x="175" y="190"/>
                  </a:lnTo>
                  <a:lnTo>
                    <a:pt x="177" y="185"/>
                  </a:lnTo>
                  <a:lnTo>
                    <a:pt x="179" y="179"/>
                  </a:lnTo>
                  <a:lnTo>
                    <a:pt x="182" y="176"/>
                  </a:lnTo>
                  <a:lnTo>
                    <a:pt x="186" y="174"/>
                  </a:lnTo>
                  <a:lnTo>
                    <a:pt x="190" y="175"/>
                  </a:lnTo>
                  <a:lnTo>
                    <a:pt x="195" y="178"/>
                  </a:lnTo>
                  <a:lnTo>
                    <a:pt x="201" y="181"/>
                  </a:lnTo>
                  <a:lnTo>
                    <a:pt x="207" y="183"/>
                  </a:lnTo>
                  <a:lnTo>
                    <a:pt x="211" y="184"/>
                  </a:lnTo>
                  <a:lnTo>
                    <a:pt x="214" y="182"/>
                  </a:lnTo>
                  <a:lnTo>
                    <a:pt x="215" y="176"/>
                  </a:lnTo>
                  <a:lnTo>
                    <a:pt x="215" y="156"/>
                  </a:lnTo>
                  <a:lnTo>
                    <a:pt x="217" y="152"/>
                  </a:lnTo>
                  <a:lnTo>
                    <a:pt x="224" y="150"/>
                  </a:lnTo>
                  <a:lnTo>
                    <a:pt x="233" y="147"/>
                  </a:lnTo>
                  <a:lnTo>
                    <a:pt x="243" y="143"/>
                  </a:lnTo>
                  <a:lnTo>
                    <a:pt x="250" y="137"/>
                  </a:lnTo>
                  <a:lnTo>
                    <a:pt x="254" y="134"/>
                  </a:lnTo>
                  <a:lnTo>
                    <a:pt x="258" y="135"/>
                  </a:lnTo>
                  <a:lnTo>
                    <a:pt x="262" y="137"/>
                  </a:lnTo>
                  <a:lnTo>
                    <a:pt x="268" y="138"/>
                  </a:lnTo>
                  <a:lnTo>
                    <a:pt x="273" y="136"/>
                  </a:lnTo>
                  <a:lnTo>
                    <a:pt x="280" y="131"/>
                  </a:lnTo>
                  <a:lnTo>
                    <a:pt x="284" y="125"/>
                  </a:lnTo>
                  <a:lnTo>
                    <a:pt x="288" y="121"/>
                  </a:lnTo>
                  <a:lnTo>
                    <a:pt x="293" y="118"/>
                  </a:lnTo>
                  <a:lnTo>
                    <a:pt x="299" y="119"/>
                  </a:lnTo>
                  <a:lnTo>
                    <a:pt x="308" y="121"/>
                  </a:lnTo>
                  <a:lnTo>
                    <a:pt x="318" y="122"/>
                  </a:lnTo>
                  <a:lnTo>
                    <a:pt x="327" y="121"/>
                  </a:lnTo>
                  <a:lnTo>
                    <a:pt x="334" y="117"/>
                  </a:lnTo>
                  <a:lnTo>
                    <a:pt x="337" y="113"/>
                  </a:lnTo>
                  <a:lnTo>
                    <a:pt x="338" y="108"/>
                  </a:lnTo>
                  <a:lnTo>
                    <a:pt x="339" y="102"/>
                  </a:lnTo>
                  <a:lnTo>
                    <a:pt x="341" y="96"/>
                  </a:lnTo>
                  <a:lnTo>
                    <a:pt x="345" y="91"/>
                  </a:lnTo>
                  <a:lnTo>
                    <a:pt x="352" y="89"/>
                  </a:lnTo>
                  <a:lnTo>
                    <a:pt x="362" y="89"/>
                  </a:lnTo>
                  <a:lnTo>
                    <a:pt x="375" y="86"/>
                  </a:lnTo>
                  <a:lnTo>
                    <a:pt x="402" y="76"/>
                  </a:lnTo>
                  <a:lnTo>
                    <a:pt x="414" y="71"/>
                  </a:lnTo>
                  <a:lnTo>
                    <a:pt x="422" y="66"/>
                  </a:lnTo>
                  <a:lnTo>
                    <a:pt x="425" y="61"/>
                  </a:lnTo>
                  <a:lnTo>
                    <a:pt x="424" y="56"/>
                  </a:lnTo>
                  <a:lnTo>
                    <a:pt x="421" y="53"/>
                  </a:lnTo>
                  <a:lnTo>
                    <a:pt x="420" y="50"/>
                  </a:lnTo>
                  <a:lnTo>
                    <a:pt x="420" y="47"/>
                  </a:lnTo>
                  <a:lnTo>
                    <a:pt x="424" y="44"/>
                  </a:lnTo>
                  <a:lnTo>
                    <a:pt x="432" y="41"/>
                  </a:lnTo>
                  <a:lnTo>
                    <a:pt x="439" y="38"/>
                  </a:lnTo>
                  <a:lnTo>
                    <a:pt x="443" y="36"/>
                  </a:lnTo>
                  <a:lnTo>
                    <a:pt x="445" y="32"/>
                  </a:lnTo>
                  <a:lnTo>
                    <a:pt x="445" y="28"/>
                  </a:lnTo>
                  <a:lnTo>
                    <a:pt x="444" y="21"/>
                  </a:lnTo>
                  <a:lnTo>
                    <a:pt x="444" y="7"/>
                  </a:lnTo>
                  <a:lnTo>
                    <a:pt x="446" y="2"/>
                  </a:lnTo>
                  <a:lnTo>
                    <a:pt x="449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15">
              <a:extLst>
                <a:ext uri="{FF2B5EF4-FFF2-40B4-BE49-F238E27FC236}">
                  <a16:creationId xmlns:a16="http://schemas.microsoft.com/office/drawing/2014/main" id="{653AB4AD-683B-452F-825D-00E882F5256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9276" y="4757738"/>
              <a:ext cx="438150" cy="342900"/>
            </a:xfrm>
            <a:custGeom>
              <a:avLst/>
              <a:gdLst/>
              <a:ahLst/>
              <a:cxnLst>
                <a:cxn ang="0">
                  <a:pos x="170" y="4"/>
                </a:cxn>
                <a:cxn ang="0">
                  <a:pos x="190" y="9"/>
                </a:cxn>
                <a:cxn ang="0">
                  <a:pos x="218" y="23"/>
                </a:cxn>
                <a:cxn ang="0">
                  <a:pos x="235" y="30"/>
                </a:cxn>
                <a:cxn ang="0">
                  <a:pos x="245" y="25"/>
                </a:cxn>
                <a:cxn ang="0">
                  <a:pos x="256" y="46"/>
                </a:cxn>
                <a:cxn ang="0">
                  <a:pos x="258" y="63"/>
                </a:cxn>
                <a:cxn ang="0">
                  <a:pos x="240" y="82"/>
                </a:cxn>
                <a:cxn ang="0">
                  <a:pos x="251" y="99"/>
                </a:cxn>
                <a:cxn ang="0">
                  <a:pos x="266" y="108"/>
                </a:cxn>
                <a:cxn ang="0">
                  <a:pos x="276" y="122"/>
                </a:cxn>
                <a:cxn ang="0">
                  <a:pos x="266" y="133"/>
                </a:cxn>
                <a:cxn ang="0">
                  <a:pos x="260" y="148"/>
                </a:cxn>
                <a:cxn ang="0">
                  <a:pos x="244" y="169"/>
                </a:cxn>
                <a:cxn ang="0">
                  <a:pos x="253" y="192"/>
                </a:cxn>
                <a:cxn ang="0">
                  <a:pos x="247" y="211"/>
                </a:cxn>
                <a:cxn ang="0">
                  <a:pos x="231" y="214"/>
                </a:cxn>
                <a:cxn ang="0">
                  <a:pos x="214" y="213"/>
                </a:cxn>
                <a:cxn ang="0">
                  <a:pos x="204" y="212"/>
                </a:cxn>
                <a:cxn ang="0">
                  <a:pos x="198" y="202"/>
                </a:cxn>
                <a:cxn ang="0">
                  <a:pos x="191" y="202"/>
                </a:cxn>
                <a:cxn ang="0">
                  <a:pos x="188" y="209"/>
                </a:cxn>
                <a:cxn ang="0">
                  <a:pos x="184" y="216"/>
                </a:cxn>
                <a:cxn ang="0">
                  <a:pos x="177" y="201"/>
                </a:cxn>
                <a:cxn ang="0">
                  <a:pos x="172" y="179"/>
                </a:cxn>
                <a:cxn ang="0">
                  <a:pos x="149" y="172"/>
                </a:cxn>
                <a:cxn ang="0">
                  <a:pos x="138" y="169"/>
                </a:cxn>
                <a:cxn ang="0">
                  <a:pos x="129" y="170"/>
                </a:cxn>
                <a:cxn ang="0">
                  <a:pos x="132" y="187"/>
                </a:cxn>
                <a:cxn ang="0">
                  <a:pos x="99" y="187"/>
                </a:cxn>
                <a:cxn ang="0">
                  <a:pos x="97" y="172"/>
                </a:cxn>
                <a:cxn ang="0">
                  <a:pos x="86" y="161"/>
                </a:cxn>
                <a:cxn ang="0">
                  <a:pos x="79" y="141"/>
                </a:cxn>
                <a:cxn ang="0">
                  <a:pos x="59" y="116"/>
                </a:cxn>
                <a:cxn ang="0">
                  <a:pos x="60" y="99"/>
                </a:cxn>
                <a:cxn ang="0">
                  <a:pos x="48" y="86"/>
                </a:cxn>
                <a:cxn ang="0">
                  <a:pos x="38" y="70"/>
                </a:cxn>
                <a:cxn ang="0">
                  <a:pos x="16" y="59"/>
                </a:cxn>
                <a:cxn ang="0">
                  <a:pos x="2" y="55"/>
                </a:cxn>
                <a:cxn ang="0">
                  <a:pos x="1" y="35"/>
                </a:cxn>
                <a:cxn ang="0">
                  <a:pos x="62" y="33"/>
                </a:cxn>
                <a:cxn ang="0">
                  <a:pos x="88" y="30"/>
                </a:cxn>
                <a:cxn ang="0">
                  <a:pos x="117" y="16"/>
                </a:cxn>
                <a:cxn ang="0">
                  <a:pos x="151" y="2"/>
                </a:cxn>
              </a:cxnLst>
              <a:rect l="0" t="0" r="r" b="b"/>
              <a:pathLst>
                <a:path w="276" h="216">
                  <a:moveTo>
                    <a:pt x="159" y="0"/>
                  </a:moveTo>
                  <a:lnTo>
                    <a:pt x="164" y="1"/>
                  </a:lnTo>
                  <a:lnTo>
                    <a:pt x="170" y="4"/>
                  </a:lnTo>
                  <a:lnTo>
                    <a:pt x="177" y="5"/>
                  </a:lnTo>
                  <a:lnTo>
                    <a:pt x="183" y="5"/>
                  </a:lnTo>
                  <a:lnTo>
                    <a:pt x="190" y="9"/>
                  </a:lnTo>
                  <a:lnTo>
                    <a:pt x="199" y="15"/>
                  </a:lnTo>
                  <a:lnTo>
                    <a:pt x="209" y="20"/>
                  </a:lnTo>
                  <a:lnTo>
                    <a:pt x="218" y="23"/>
                  </a:lnTo>
                  <a:lnTo>
                    <a:pt x="225" y="28"/>
                  </a:lnTo>
                  <a:lnTo>
                    <a:pt x="230" y="30"/>
                  </a:lnTo>
                  <a:lnTo>
                    <a:pt x="235" y="30"/>
                  </a:lnTo>
                  <a:lnTo>
                    <a:pt x="241" y="26"/>
                  </a:lnTo>
                  <a:lnTo>
                    <a:pt x="243" y="24"/>
                  </a:lnTo>
                  <a:lnTo>
                    <a:pt x="245" y="25"/>
                  </a:lnTo>
                  <a:lnTo>
                    <a:pt x="249" y="31"/>
                  </a:lnTo>
                  <a:lnTo>
                    <a:pt x="253" y="38"/>
                  </a:lnTo>
                  <a:lnTo>
                    <a:pt x="256" y="46"/>
                  </a:lnTo>
                  <a:lnTo>
                    <a:pt x="259" y="53"/>
                  </a:lnTo>
                  <a:lnTo>
                    <a:pt x="260" y="57"/>
                  </a:lnTo>
                  <a:lnTo>
                    <a:pt x="258" y="63"/>
                  </a:lnTo>
                  <a:lnTo>
                    <a:pt x="252" y="70"/>
                  </a:lnTo>
                  <a:lnTo>
                    <a:pt x="243" y="78"/>
                  </a:lnTo>
                  <a:lnTo>
                    <a:pt x="240" y="82"/>
                  </a:lnTo>
                  <a:lnTo>
                    <a:pt x="240" y="86"/>
                  </a:lnTo>
                  <a:lnTo>
                    <a:pt x="247" y="93"/>
                  </a:lnTo>
                  <a:lnTo>
                    <a:pt x="251" y="99"/>
                  </a:lnTo>
                  <a:lnTo>
                    <a:pt x="256" y="103"/>
                  </a:lnTo>
                  <a:lnTo>
                    <a:pt x="261" y="106"/>
                  </a:lnTo>
                  <a:lnTo>
                    <a:pt x="266" y="108"/>
                  </a:lnTo>
                  <a:lnTo>
                    <a:pt x="271" y="111"/>
                  </a:lnTo>
                  <a:lnTo>
                    <a:pt x="275" y="116"/>
                  </a:lnTo>
                  <a:lnTo>
                    <a:pt x="276" y="122"/>
                  </a:lnTo>
                  <a:lnTo>
                    <a:pt x="274" y="126"/>
                  </a:lnTo>
                  <a:lnTo>
                    <a:pt x="270" y="130"/>
                  </a:lnTo>
                  <a:lnTo>
                    <a:pt x="266" y="133"/>
                  </a:lnTo>
                  <a:lnTo>
                    <a:pt x="262" y="137"/>
                  </a:lnTo>
                  <a:lnTo>
                    <a:pt x="261" y="141"/>
                  </a:lnTo>
                  <a:lnTo>
                    <a:pt x="260" y="148"/>
                  </a:lnTo>
                  <a:lnTo>
                    <a:pt x="256" y="154"/>
                  </a:lnTo>
                  <a:lnTo>
                    <a:pt x="251" y="161"/>
                  </a:lnTo>
                  <a:lnTo>
                    <a:pt x="244" y="169"/>
                  </a:lnTo>
                  <a:lnTo>
                    <a:pt x="242" y="176"/>
                  </a:lnTo>
                  <a:lnTo>
                    <a:pt x="246" y="184"/>
                  </a:lnTo>
                  <a:lnTo>
                    <a:pt x="253" y="192"/>
                  </a:lnTo>
                  <a:lnTo>
                    <a:pt x="262" y="201"/>
                  </a:lnTo>
                  <a:lnTo>
                    <a:pt x="256" y="206"/>
                  </a:lnTo>
                  <a:lnTo>
                    <a:pt x="247" y="211"/>
                  </a:lnTo>
                  <a:lnTo>
                    <a:pt x="239" y="214"/>
                  </a:lnTo>
                  <a:lnTo>
                    <a:pt x="235" y="215"/>
                  </a:lnTo>
                  <a:lnTo>
                    <a:pt x="231" y="214"/>
                  </a:lnTo>
                  <a:lnTo>
                    <a:pt x="227" y="212"/>
                  </a:lnTo>
                  <a:lnTo>
                    <a:pt x="222" y="212"/>
                  </a:lnTo>
                  <a:lnTo>
                    <a:pt x="214" y="213"/>
                  </a:lnTo>
                  <a:lnTo>
                    <a:pt x="208" y="214"/>
                  </a:lnTo>
                  <a:lnTo>
                    <a:pt x="205" y="213"/>
                  </a:lnTo>
                  <a:lnTo>
                    <a:pt x="204" y="212"/>
                  </a:lnTo>
                  <a:lnTo>
                    <a:pt x="203" y="209"/>
                  </a:lnTo>
                  <a:lnTo>
                    <a:pt x="201" y="206"/>
                  </a:lnTo>
                  <a:lnTo>
                    <a:pt x="198" y="202"/>
                  </a:lnTo>
                  <a:lnTo>
                    <a:pt x="194" y="200"/>
                  </a:lnTo>
                  <a:lnTo>
                    <a:pt x="192" y="201"/>
                  </a:lnTo>
                  <a:lnTo>
                    <a:pt x="191" y="202"/>
                  </a:lnTo>
                  <a:lnTo>
                    <a:pt x="189" y="205"/>
                  </a:lnTo>
                  <a:lnTo>
                    <a:pt x="188" y="207"/>
                  </a:lnTo>
                  <a:lnTo>
                    <a:pt x="188" y="209"/>
                  </a:lnTo>
                  <a:lnTo>
                    <a:pt x="187" y="212"/>
                  </a:lnTo>
                  <a:lnTo>
                    <a:pt x="185" y="214"/>
                  </a:lnTo>
                  <a:lnTo>
                    <a:pt x="184" y="216"/>
                  </a:lnTo>
                  <a:lnTo>
                    <a:pt x="182" y="215"/>
                  </a:lnTo>
                  <a:lnTo>
                    <a:pt x="179" y="209"/>
                  </a:lnTo>
                  <a:lnTo>
                    <a:pt x="177" y="201"/>
                  </a:lnTo>
                  <a:lnTo>
                    <a:pt x="176" y="193"/>
                  </a:lnTo>
                  <a:lnTo>
                    <a:pt x="175" y="186"/>
                  </a:lnTo>
                  <a:lnTo>
                    <a:pt x="172" y="179"/>
                  </a:lnTo>
                  <a:lnTo>
                    <a:pt x="165" y="174"/>
                  </a:lnTo>
                  <a:lnTo>
                    <a:pt x="157" y="171"/>
                  </a:lnTo>
                  <a:lnTo>
                    <a:pt x="149" y="172"/>
                  </a:lnTo>
                  <a:lnTo>
                    <a:pt x="146" y="173"/>
                  </a:lnTo>
                  <a:lnTo>
                    <a:pt x="142" y="173"/>
                  </a:lnTo>
                  <a:lnTo>
                    <a:pt x="138" y="169"/>
                  </a:lnTo>
                  <a:lnTo>
                    <a:pt x="136" y="168"/>
                  </a:lnTo>
                  <a:lnTo>
                    <a:pt x="131" y="168"/>
                  </a:lnTo>
                  <a:lnTo>
                    <a:pt x="129" y="170"/>
                  </a:lnTo>
                  <a:lnTo>
                    <a:pt x="129" y="174"/>
                  </a:lnTo>
                  <a:lnTo>
                    <a:pt x="132" y="183"/>
                  </a:lnTo>
                  <a:lnTo>
                    <a:pt x="132" y="187"/>
                  </a:lnTo>
                  <a:lnTo>
                    <a:pt x="128" y="189"/>
                  </a:lnTo>
                  <a:lnTo>
                    <a:pt x="102" y="189"/>
                  </a:lnTo>
                  <a:lnTo>
                    <a:pt x="99" y="187"/>
                  </a:lnTo>
                  <a:lnTo>
                    <a:pt x="98" y="183"/>
                  </a:lnTo>
                  <a:lnTo>
                    <a:pt x="98" y="178"/>
                  </a:lnTo>
                  <a:lnTo>
                    <a:pt x="97" y="172"/>
                  </a:lnTo>
                  <a:lnTo>
                    <a:pt x="96" y="167"/>
                  </a:lnTo>
                  <a:lnTo>
                    <a:pt x="93" y="165"/>
                  </a:lnTo>
                  <a:lnTo>
                    <a:pt x="86" y="161"/>
                  </a:lnTo>
                  <a:lnTo>
                    <a:pt x="81" y="156"/>
                  </a:lnTo>
                  <a:lnTo>
                    <a:pt x="80" y="147"/>
                  </a:lnTo>
                  <a:lnTo>
                    <a:pt x="79" y="141"/>
                  </a:lnTo>
                  <a:lnTo>
                    <a:pt x="76" y="136"/>
                  </a:lnTo>
                  <a:lnTo>
                    <a:pt x="64" y="124"/>
                  </a:lnTo>
                  <a:lnTo>
                    <a:pt x="59" y="116"/>
                  </a:lnTo>
                  <a:lnTo>
                    <a:pt x="59" y="110"/>
                  </a:lnTo>
                  <a:lnTo>
                    <a:pt x="60" y="104"/>
                  </a:lnTo>
                  <a:lnTo>
                    <a:pt x="60" y="99"/>
                  </a:lnTo>
                  <a:lnTo>
                    <a:pt x="58" y="96"/>
                  </a:lnTo>
                  <a:lnTo>
                    <a:pt x="50" y="90"/>
                  </a:lnTo>
                  <a:lnTo>
                    <a:pt x="48" y="86"/>
                  </a:lnTo>
                  <a:lnTo>
                    <a:pt x="50" y="78"/>
                  </a:lnTo>
                  <a:lnTo>
                    <a:pt x="48" y="76"/>
                  </a:lnTo>
                  <a:lnTo>
                    <a:pt x="38" y="70"/>
                  </a:lnTo>
                  <a:lnTo>
                    <a:pt x="26" y="60"/>
                  </a:lnTo>
                  <a:lnTo>
                    <a:pt x="21" y="58"/>
                  </a:lnTo>
                  <a:lnTo>
                    <a:pt x="16" y="59"/>
                  </a:lnTo>
                  <a:lnTo>
                    <a:pt x="10" y="60"/>
                  </a:lnTo>
                  <a:lnTo>
                    <a:pt x="5" y="60"/>
                  </a:lnTo>
                  <a:lnTo>
                    <a:pt x="2" y="55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1" y="35"/>
                  </a:lnTo>
                  <a:lnTo>
                    <a:pt x="24" y="36"/>
                  </a:lnTo>
                  <a:lnTo>
                    <a:pt x="45" y="35"/>
                  </a:lnTo>
                  <a:lnTo>
                    <a:pt x="62" y="33"/>
                  </a:lnTo>
                  <a:lnTo>
                    <a:pt x="75" y="32"/>
                  </a:lnTo>
                  <a:lnTo>
                    <a:pt x="83" y="31"/>
                  </a:lnTo>
                  <a:lnTo>
                    <a:pt x="88" y="30"/>
                  </a:lnTo>
                  <a:lnTo>
                    <a:pt x="97" y="26"/>
                  </a:lnTo>
                  <a:lnTo>
                    <a:pt x="106" y="21"/>
                  </a:lnTo>
                  <a:lnTo>
                    <a:pt x="117" y="16"/>
                  </a:lnTo>
                  <a:lnTo>
                    <a:pt x="129" y="10"/>
                  </a:lnTo>
                  <a:lnTo>
                    <a:pt x="141" y="5"/>
                  </a:lnTo>
                  <a:lnTo>
                    <a:pt x="151" y="2"/>
                  </a:lnTo>
                  <a:lnTo>
                    <a:pt x="159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16">
              <a:extLst>
                <a:ext uri="{FF2B5EF4-FFF2-40B4-BE49-F238E27FC236}">
                  <a16:creationId xmlns:a16="http://schemas.microsoft.com/office/drawing/2014/main" id="{5E9E04CA-E533-469F-BE76-BB7C39B5D65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6401" y="2892426"/>
              <a:ext cx="1477963" cy="1397000"/>
            </a:xfrm>
            <a:custGeom>
              <a:avLst/>
              <a:gdLst/>
              <a:ahLst/>
              <a:cxnLst>
                <a:cxn ang="0">
                  <a:pos x="759" y="52"/>
                </a:cxn>
                <a:cxn ang="0">
                  <a:pos x="846" y="14"/>
                </a:cxn>
                <a:cxn ang="0">
                  <a:pos x="815" y="75"/>
                </a:cxn>
                <a:cxn ang="0">
                  <a:pos x="813" y="137"/>
                </a:cxn>
                <a:cxn ang="0">
                  <a:pos x="855" y="173"/>
                </a:cxn>
                <a:cxn ang="0">
                  <a:pos x="867" y="227"/>
                </a:cxn>
                <a:cxn ang="0">
                  <a:pos x="896" y="258"/>
                </a:cxn>
                <a:cxn ang="0">
                  <a:pos x="929" y="305"/>
                </a:cxn>
                <a:cxn ang="0">
                  <a:pos x="901" y="380"/>
                </a:cxn>
                <a:cxn ang="0">
                  <a:pos x="838" y="443"/>
                </a:cxn>
                <a:cxn ang="0">
                  <a:pos x="793" y="453"/>
                </a:cxn>
                <a:cxn ang="0">
                  <a:pos x="719" y="483"/>
                </a:cxn>
                <a:cxn ang="0">
                  <a:pos x="724" y="513"/>
                </a:cxn>
                <a:cxn ang="0">
                  <a:pos x="728" y="582"/>
                </a:cxn>
                <a:cxn ang="0">
                  <a:pos x="688" y="619"/>
                </a:cxn>
                <a:cxn ang="0">
                  <a:pos x="645" y="671"/>
                </a:cxn>
                <a:cxn ang="0">
                  <a:pos x="588" y="703"/>
                </a:cxn>
                <a:cxn ang="0">
                  <a:pos x="570" y="748"/>
                </a:cxn>
                <a:cxn ang="0">
                  <a:pos x="548" y="696"/>
                </a:cxn>
                <a:cxn ang="0">
                  <a:pos x="511" y="658"/>
                </a:cxn>
                <a:cxn ang="0">
                  <a:pos x="481" y="686"/>
                </a:cxn>
                <a:cxn ang="0">
                  <a:pos x="417" y="734"/>
                </a:cxn>
                <a:cxn ang="0">
                  <a:pos x="350" y="769"/>
                </a:cxn>
                <a:cxn ang="0">
                  <a:pos x="292" y="785"/>
                </a:cxn>
                <a:cxn ang="0">
                  <a:pos x="237" y="826"/>
                </a:cxn>
                <a:cxn ang="0">
                  <a:pos x="224" y="877"/>
                </a:cxn>
                <a:cxn ang="0">
                  <a:pos x="183" y="875"/>
                </a:cxn>
                <a:cxn ang="0">
                  <a:pos x="140" y="878"/>
                </a:cxn>
                <a:cxn ang="0">
                  <a:pos x="108" y="853"/>
                </a:cxn>
                <a:cxn ang="0">
                  <a:pos x="74" y="804"/>
                </a:cxn>
                <a:cxn ang="0">
                  <a:pos x="75" y="753"/>
                </a:cxn>
                <a:cxn ang="0">
                  <a:pos x="29" y="717"/>
                </a:cxn>
                <a:cxn ang="0">
                  <a:pos x="27" y="672"/>
                </a:cxn>
                <a:cxn ang="0">
                  <a:pos x="45" y="635"/>
                </a:cxn>
                <a:cxn ang="0">
                  <a:pos x="1" y="590"/>
                </a:cxn>
                <a:cxn ang="0">
                  <a:pos x="22" y="578"/>
                </a:cxn>
                <a:cxn ang="0">
                  <a:pos x="75" y="535"/>
                </a:cxn>
                <a:cxn ang="0">
                  <a:pos x="59" y="496"/>
                </a:cxn>
                <a:cxn ang="0">
                  <a:pos x="91" y="383"/>
                </a:cxn>
                <a:cxn ang="0">
                  <a:pos x="67" y="324"/>
                </a:cxn>
                <a:cxn ang="0">
                  <a:pos x="42" y="280"/>
                </a:cxn>
                <a:cxn ang="0">
                  <a:pos x="83" y="247"/>
                </a:cxn>
                <a:cxn ang="0">
                  <a:pos x="115" y="242"/>
                </a:cxn>
                <a:cxn ang="0">
                  <a:pos x="162" y="246"/>
                </a:cxn>
                <a:cxn ang="0">
                  <a:pos x="238" y="235"/>
                </a:cxn>
                <a:cxn ang="0">
                  <a:pos x="232" y="181"/>
                </a:cxn>
                <a:cxn ang="0">
                  <a:pos x="250" y="153"/>
                </a:cxn>
                <a:cxn ang="0">
                  <a:pos x="312" y="105"/>
                </a:cxn>
                <a:cxn ang="0">
                  <a:pos x="382" y="93"/>
                </a:cxn>
                <a:cxn ang="0">
                  <a:pos x="463" y="30"/>
                </a:cxn>
                <a:cxn ang="0">
                  <a:pos x="501" y="48"/>
                </a:cxn>
                <a:cxn ang="0">
                  <a:pos x="546" y="105"/>
                </a:cxn>
                <a:cxn ang="0">
                  <a:pos x="565" y="140"/>
                </a:cxn>
                <a:cxn ang="0">
                  <a:pos x="536" y="173"/>
                </a:cxn>
                <a:cxn ang="0">
                  <a:pos x="606" y="175"/>
                </a:cxn>
                <a:cxn ang="0">
                  <a:pos x="665" y="161"/>
                </a:cxn>
                <a:cxn ang="0">
                  <a:pos x="681" y="75"/>
                </a:cxn>
                <a:cxn ang="0">
                  <a:pos x="648" y="24"/>
                </a:cxn>
                <a:cxn ang="0">
                  <a:pos x="680" y="10"/>
                </a:cxn>
              </a:cxnLst>
              <a:rect l="0" t="0" r="r" b="b"/>
              <a:pathLst>
                <a:path w="931" h="880">
                  <a:moveTo>
                    <a:pt x="727" y="0"/>
                  </a:moveTo>
                  <a:lnTo>
                    <a:pt x="734" y="3"/>
                  </a:lnTo>
                  <a:lnTo>
                    <a:pt x="739" y="8"/>
                  </a:lnTo>
                  <a:lnTo>
                    <a:pt x="741" y="13"/>
                  </a:lnTo>
                  <a:lnTo>
                    <a:pt x="741" y="19"/>
                  </a:lnTo>
                  <a:lnTo>
                    <a:pt x="742" y="27"/>
                  </a:lnTo>
                  <a:lnTo>
                    <a:pt x="744" y="35"/>
                  </a:lnTo>
                  <a:lnTo>
                    <a:pt x="746" y="44"/>
                  </a:lnTo>
                  <a:lnTo>
                    <a:pt x="749" y="50"/>
                  </a:lnTo>
                  <a:lnTo>
                    <a:pt x="753" y="52"/>
                  </a:lnTo>
                  <a:lnTo>
                    <a:pt x="759" y="52"/>
                  </a:lnTo>
                  <a:lnTo>
                    <a:pt x="781" y="50"/>
                  </a:lnTo>
                  <a:lnTo>
                    <a:pt x="793" y="48"/>
                  </a:lnTo>
                  <a:lnTo>
                    <a:pt x="803" y="45"/>
                  </a:lnTo>
                  <a:lnTo>
                    <a:pt x="809" y="41"/>
                  </a:lnTo>
                  <a:lnTo>
                    <a:pt x="813" y="35"/>
                  </a:lnTo>
                  <a:lnTo>
                    <a:pt x="817" y="27"/>
                  </a:lnTo>
                  <a:lnTo>
                    <a:pt x="823" y="19"/>
                  </a:lnTo>
                  <a:lnTo>
                    <a:pt x="830" y="13"/>
                  </a:lnTo>
                  <a:lnTo>
                    <a:pt x="836" y="9"/>
                  </a:lnTo>
                  <a:lnTo>
                    <a:pt x="842" y="10"/>
                  </a:lnTo>
                  <a:lnTo>
                    <a:pt x="846" y="14"/>
                  </a:lnTo>
                  <a:lnTo>
                    <a:pt x="847" y="22"/>
                  </a:lnTo>
                  <a:lnTo>
                    <a:pt x="847" y="31"/>
                  </a:lnTo>
                  <a:lnTo>
                    <a:pt x="846" y="42"/>
                  </a:lnTo>
                  <a:lnTo>
                    <a:pt x="844" y="52"/>
                  </a:lnTo>
                  <a:lnTo>
                    <a:pt x="841" y="59"/>
                  </a:lnTo>
                  <a:lnTo>
                    <a:pt x="837" y="65"/>
                  </a:lnTo>
                  <a:lnTo>
                    <a:pt x="831" y="69"/>
                  </a:lnTo>
                  <a:lnTo>
                    <a:pt x="825" y="71"/>
                  </a:lnTo>
                  <a:lnTo>
                    <a:pt x="820" y="72"/>
                  </a:lnTo>
                  <a:lnTo>
                    <a:pt x="816" y="73"/>
                  </a:lnTo>
                  <a:lnTo>
                    <a:pt x="815" y="75"/>
                  </a:lnTo>
                  <a:lnTo>
                    <a:pt x="815" y="89"/>
                  </a:lnTo>
                  <a:lnTo>
                    <a:pt x="816" y="98"/>
                  </a:lnTo>
                  <a:lnTo>
                    <a:pt x="819" y="106"/>
                  </a:lnTo>
                  <a:lnTo>
                    <a:pt x="824" y="112"/>
                  </a:lnTo>
                  <a:lnTo>
                    <a:pt x="828" y="117"/>
                  </a:lnTo>
                  <a:lnTo>
                    <a:pt x="830" y="122"/>
                  </a:lnTo>
                  <a:lnTo>
                    <a:pt x="830" y="126"/>
                  </a:lnTo>
                  <a:lnTo>
                    <a:pt x="827" y="128"/>
                  </a:lnTo>
                  <a:lnTo>
                    <a:pt x="817" y="132"/>
                  </a:lnTo>
                  <a:lnTo>
                    <a:pt x="814" y="134"/>
                  </a:lnTo>
                  <a:lnTo>
                    <a:pt x="813" y="137"/>
                  </a:lnTo>
                  <a:lnTo>
                    <a:pt x="813" y="145"/>
                  </a:lnTo>
                  <a:lnTo>
                    <a:pt x="812" y="150"/>
                  </a:lnTo>
                  <a:lnTo>
                    <a:pt x="812" y="155"/>
                  </a:lnTo>
                  <a:lnTo>
                    <a:pt x="814" y="158"/>
                  </a:lnTo>
                  <a:lnTo>
                    <a:pt x="817" y="159"/>
                  </a:lnTo>
                  <a:lnTo>
                    <a:pt x="826" y="159"/>
                  </a:lnTo>
                  <a:lnTo>
                    <a:pt x="836" y="160"/>
                  </a:lnTo>
                  <a:lnTo>
                    <a:pt x="843" y="161"/>
                  </a:lnTo>
                  <a:lnTo>
                    <a:pt x="846" y="163"/>
                  </a:lnTo>
                  <a:lnTo>
                    <a:pt x="849" y="167"/>
                  </a:lnTo>
                  <a:lnTo>
                    <a:pt x="855" y="173"/>
                  </a:lnTo>
                  <a:lnTo>
                    <a:pt x="860" y="179"/>
                  </a:lnTo>
                  <a:lnTo>
                    <a:pt x="862" y="185"/>
                  </a:lnTo>
                  <a:lnTo>
                    <a:pt x="861" y="190"/>
                  </a:lnTo>
                  <a:lnTo>
                    <a:pt x="860" y="195"/>
                  </a:lnTo>
                  <a:lnTo>
                    <a:pt x="862" y="200"/>
                  </a:lnTo>
                  <a:lnTo>
                    <a:pt x="862" y="205"/>
                  </a:lnTo>
                  <a:lnTo>
                    <a:pt x="861" y="211"/>
                  </a:lnTo>
                  <a:lnTo>
                    <a:pt x="859" y="217"/>
                  </a:lnTo>
                  <a:lnTo>
                    <a:pt x="858" y="222"/>
                  </a:lnTo>
                  <a:lnTo>
                    <a:pt x="861" y="226"/>
                  </a:lnTo>
                  <a:lnTo>
                    <a:pt x="867" y="227"/>
                  </a:lnTo>
                  <a:lnTo>
                    <a:pt x="872" y="226"/>
                  </a:lnTo>
                  <a:lnTo>
                    <a:pt x="877" y="224"/>
                  </a:lnTo>
                  <a:lnTo>
                    <a:pt x="882" y="225"/>
                  </a:lnTo>
                  <a:lnTo>
                    <a:pt x="883" y="228"/>
                  </a:lnTo>
                  <a:lnTo>
                    <a:pt x="882" y="233"/>
                  </a:lnTo>
                  <a:lnTo>
                    <a:pt x="881" y="239"/>
                  </a:lnTo>
                  <a:lnTo>
                    <a:pt x="879" y="244"/>
                  </a:lnTo>
                  <a:lnTo>
                    <a:pt x="880" y="248"/>
                  </a:lnTo>
                  <a:lnTo>
                    <a:pt x="883" y="250"/>
                  </a:lnTo>
                  <a:lnTo>
                    <a:pt x="890" y="253"/>
                  </a:lnTo>
                  <a:lnTo>
                    <a:pt x="896" y="258"/>
                  </a:lnTo>
                  <a:lnTo>
                    <a:pt x="900" y="264"/>
                  </a:lnTo>
                  <a:lnTo>
                    <a:pt x="900" y="270"/>
                  </a:lnTo>
                  <a:lnTo>
                    <a:pt x="901" y="272"/>
                  </a:lnTo>
                  <a:lnTo>
                    <a:pt x="906" y="273"/>
                  </a:lnTo>
                  <a:lnTo>
                    <a:pt x="926" y="273"/>
                  </a:lnTo>
                  <a:lnTo>
                    <a:pt x="930" y="274"/>
                  </a:lnTo>
                  <a:lnTo>
                    <a:pt x="931" y="275"/>
                  </a:lnTo>
                  <a:lnTo>
                    <a:pt x="930" y="279"/>
                  </a:lnTo>
                  <a:lnTo>
                    <a:pt x="930" y="287"/>
                  </a:lnTo>
                  <a:lnTo>
                    <a:pt x="929" y="296"/>
                  </a:lnTo>
                  <a:lnTo>
                    <a:pt x="929" y="305"/>
                  </a:lnTo>
                  <a:lnTo>
                    <a:pt x="927" y="312"/>
                  </a:lnTo>
                  <a:lnTo>
                    <a:pt x="924" y="317"/>
                  </a:lnTo>
                  <a:lnTo>
                    <a:pt x="918" y="322"/>
                  </a:lnTo>
                  <a:lnTo>
                    <a:pt x="914" y="329"/>
                  </a:lnTo>
                  <a:lnTo>
                    <a:pt x="911" y="337"/>
                  </a:lnTo>
                  <a:lnTo>
                    <a:pt x="910" y="343"/>
                  </a:lnTo>
                  <a:lnTo>
                    <a:pt x="910" y="363"/>
                  </a:lnTo>
                  <a:lnTo>
                    <a:pt x="909" y="369"/>
                  </a:lnTo>
                  <a:lnTo>
                    <a:pt x="905" y="373"/>
                  </a:lnTo>
                  <a:lnTo>
                    <a:pt x="901" y="376"/>
                  </a:lnTo>
                  <a:lnTo>
                    <a:pt x="901" y="380"/>
                  </a:lnTo>
                  <a:lnTo>
                    <a:pt x="902" y="386"/>
                  </a:lnTo>
                  <a:lnTo>
                    <a:pt x="903" y="394"/>
                  </a:lnTo>
                  <a:lnTo>
                    <a:pt x="900" y="401"/>
                  </a:lnTo>
                  <a:lnTo>
                    <a:pt x="894" y="410"/>
                  </a:lnTo>
                  <a:lnTo>
                    <a:pt x="876" y="426"/>
                  </a:lnTo>
                  <a:lnTo>
                    <a:pt x="868" y="432"/>
                  </a:lnTo>
                  <a:lnTo>
                    <a:pt x="863" y="436"/>
                  </a:lnTo>
                  <a:lnTo>
                    <a:pt x="858" y="439"/>
                  </a:lnTo>
                  <a:lnTo>
                    <a:pt x="851" y="442"/>
                  </a:lnTo>
                  <a:lnTo>
                    <a:pt x="844" y="443"/>
                  </a:lnTo>
                  <a:lnTo>
                    <a:pt x="838" y="443"/>
                  </a:lnTo>
                  <a:lnTo>
                    <a:pt x="834" y="439"/>
                  </a:lnTo>
                  <a:lnTo>
                    <a:pt x="827" y="429"/>
                  </a:lnTo>
                  <a:lnTo>
                    <a:pt x="817" y="422"/>
                  </a:lnTo>
                  <a:lnTo>
                    <a:pt x="808" y="419"/>
                  </a:lnTo>
                  <a:lnTo>
                    <a:pt x="801" y="420"/>
                  </a:lnTo>
                  <a:lnTo>
                    <a:pt x="794" y="422"/>
                  </a:lnTo>
                  <a:lnTo>
                    <a:pt x="789" y="426"/>
                  </a:lnTo>
                  <a:lnTo>
                    <a:pt x="786" y="432"/>
                  </a:lnTo>
                  <a:lnTo>
                    <a:pt x="786" y="439"/>
                  </a:lnTo>
                  <a:lnTo>
                    <a:pt x="789" y="446"/>
                  </a:lnTo>
                  <a:lnTo>
                    <a:pt x="793" y="453"/>
                  </a:lnTo>
                  <a:lnTo>
                    <a:pt x="794" y="458"/>
                  </a:lnTo>
                  <a:lnTo>
                    <a:pt x="791" y="463"/>
                  </a:lnTo>
                  <a:lnTo>
                    <a:pt x="785" y="465"/>
                  </a:lnTo>
                  <a:lnTo>
                    <a:pt x="775" y="466"/>
                  </a:lnTo>
                  <a:lnTo>
                    <a:pt x="766" y="467"/>
                  </a:lnTo>
                  <a:lnTo>
                    <a:pt x="754" y="468"/>
                  </a:lnTo>
                  <a:lnTo>
                    <a:pt x="742" y="471"/>
                  </a:lnTo>
                  <a:lnTo>
                    <a:pt x="732" y="473"/>
                  </a:lnTo>
                  <a:lnTo>
                    <a:pt x="726" y="475"/>
                  </a:lnTo>
                  <a:lnTo>
                    <a:pt x="723" y="478"/>
                  </a:lnTo>
                  <a:lnTo>
                    <a:pt x="719" y="483"/>
                  </a:lnTo>
                  <a:lnTo>
                    <a:pt x="713" y="489"/>
                  </a:lnTo>
                  <a:lnTo>
                    <a:pt x="708" y="496"/>
                  </a:lnTo>
                  <a:lnTo>
                    <a:pt x="702" y="502"/>
                  </a:lnTo>
                  <a:lnTo>
                    <a:pt x="699" y="507"/>
                  </a:lnTo>
                  <a:lnTo>
                    <a:pt x="697" y="510"/>
                  </a:lnTo>
                  <a:lnTo>
                    <a:pt x="697" y="513"/>
                  </a:lnTo>
                  <a:lnTo>
                    <a:pt x="703" y="523"/>
                  </a:lnTo>
                  <a:lnTo>
                    <a:pt x="706" y="526"/>
                  </a:lnTo>
                  <a:lnTo>
                    <a:pt x="708" y="527"/>
                  </a:lnTo>
                  <a:lnTo>
                    <a:pt x="719" y="516"/>
                  </a:lnTo>
                  <a:lnTo>
                    <a:pt x="724" y="513"/>
                  </a:lnTo>
                  <a:lnTo>
                    <a:pt x="728" y="512"/>
                  </a:lnTo>
                  <a:lnTo>
                    <a:pt x="732" y="515"/>
                  </a:lnTo>
                  <a:lnTo>
                    <a:pt x="735" y="522"/>
                  </a:lnTo>
                  <a:lnTo>
                    <a:pt x="738" y="530"/>
                  </a:lnTo>
                  <a:lnTo>
                    <a:pt x="742" y="546"/>
                  </a:lnTo>
                  <a:lnTo>
                    <a:pt x="742" y="552"/>
                  </a:lnTo>
                  <a:lnTo>
                    <a:pt x="741" y="556"/>
                  </a:lnTo>
                  <a:lnTo>
                    <a:pt x="736" y="561"/>
                  </a:lnTo>
                  <a:lnTo>
                    <a:pt x="731" y="567"/>
                  </a:lnTo>
                  <a:lnTo>
                    <a:pt x="729" y="576"/>
                  </a:lnTo>
                  <a:lnTo>
                    <a:pt x="728" y="582"/>
                  </a:lnTo>
                  <a:lnTo>
                    <a:pt x="726" y="586"/>
                  </a:lnTo>
                  <a:lnTo>
                    <a:pt x="721" y="588"/>
                  </a:lnTo>
                  <a:lnTo>
                    <a:pt x="713" y="587"/>
                  </a:lnTo>
                  <a:lnTo>
                    <a:pt x="705" y="585"/>
                  </a:lnTo>
                  <a:lnTo>
                    <a:pt x="697" y="584"/>
                  </a:lnTo>
                  <a:lnTo>
                    <a:pt x="691" y="584"/>
                  </a:lnTo>
                  <a:lnTo>
                    <a:pt x="688" y="588"/>
                  </a:lnTo>
                  <a:lnTo>
                    <a:pt x="686" y="594"/>
                  </a:lnTo>
                  <a:lnTo>
                    <a:pt x="687" y="603"/>
                  </a:lnTo>
                  <a:lnTo>
                    <a:pt x="688" y="611"/>
                  </a:lnTo>
                  <a:lnTo>
                    <a:pt x="688" y="619"/>
                  </a:lnTo>
                  <a:lnTo>
                    <a:pt x="685" y="626"/>
                  </a:lnTo>
                  <a:lnTo>
                    <a:pt x="679" y="632"/>
                  </a:lnTo>
                  <a:lnTo>
                    <a:pt x="674" y="639"/>
                  </a:lnTo>
                  <a:lnTo>
                    <a:pt x="670" y="646"/>
                  </a:lnTo>
                  <a:lnTo>
                    <a:pt x="669" y="652"/>
                  </a:lnTo>
                  <a:lnTo>
                    <a:pt x="667" y="656"/>
                  </a:lnTo>
                  <a:lnTo>
                    <a:pt x="663" y="657"/>
                  </a:lnTo>
                  <a:lnTo>
                    <a:pt x="658" y="658"/>
                  </a:lnTo>
                  <a:lnTo>
                    <a:pt x="653" y="660"/>
                  </a:lnTo>
                  <a:lnTo>
                    <a:pt x="649" y="665"/>
                  </a:lnTo>
                  <a:lnTo>
                    <a:pt x="645" y="671"/>
                  </a:lnTo>
                  <a:lnTo>
                    <a:pt x="641" y="678"/>
                  </a:lnTo>
                  <a:lnTo>
                    <a:pt x="637" y="682"/>
                  </a:lnTo>
                  <a:lnTo>
                    <a:pt x="633" y="682"/>
                  </a:lnTo>
                  <a:lnTo>
                    <a:pt x="628" y="678"/>
                  </a:lnTo>
                  <a:lnTo>
                    <a:pt x="624" y="674"/>
                  </a:lnTo>
                  <a:lnTo>
                    <a:pt x="619" y="671"/>
                  </a:lnTo>
                  <a:lnTo>
                    <a:pt x="616" y="671"/>
                  </a:lnTo>
                  <a:lnTo>
                    <a:pt x="613" y="674"/>
                  </a:lnTo>
                  <a:lnTo>
                    <a:pt x="607" y="679"/>
                  </a:lnTo>
                  <a:lnTo>
                    <a:pt x="600" y="687"/>
                  </a:lnTo>
                  <a:lnTo>
                    <a:pt x="588" y="703"/>
                  </a:lnTo>
                  <a:lnTo>
                    <a:pt x="583" y="710"/>
                  </a:lnTo>
                  <a:lnTo>
                    <a:pt x="581" y="714"/>
                  </a:lnTo>
                  <a:lnTo>
                    <a:pt x="582" y="718"/>
                  </a:lnTo>
                  <a:lnTo>
                    <a:pt x="585" y="724"/>
                  </a:lnTo>
                  <a:lnTo>
                    <a:pt x="587" y="730"/>
                  </a:lnTo>
                  <a:lnTo>
                    <a:pt x="588" y="737"/>
                  </a:lnTo>
                  <a:lnTo>
                    <a:pt x="586" y="741"/>
                  </a:lnTo>
                  <a:lnTo>
                    <a:pt x="580" y="747"/>
                  </a:lnTo>
                  <a:lnTo>
                    <a:pt x="578" y="751"/>
                  </a:lnTo>
                  <a:lnTo>
                    <a:pt x="574" y="749"/>
                  </a:lnTo>
                  <a:lnTo>
                    <a:pt x="570" y="748"/>
                  </a:lnTo>
                  <a:lnTo>
                    <a:pt x="567" y="747"/>
                  </a:lnTo>
                  <a:lnTo>
                    <a:pt x="564" y="747"/>
                  </a:lnTo>
                  <a:lnTo>
                    <a:pt x="560" y="745"/>
                  </a:lnTo>
                  <a:lnTo>
                    <a:pt x="549" y="735"/>
                  </a:lnTo>
                  <a:lnTo>
                    <a:pt x="544" y="728"/>
                  </a:lnTo>
                  <a:lnTo>
                    <a:pt x="542" y="722"/>
                  </a:lnTo>
                  <a:lnTo>
                    <a:pt x="542" y="716"/>
                  </a:lnTo>
                  <a:lnTo>
                    <a:pt x="545" y="710"/>
                  </a:lnTo>
                  <a:lnTo>
                    <a:pt x="548" y="703"/>
                  </a:lnTo>
                  <a:lnTo>
                    <a:pt x="549" y="699"/>
                  </a:lnTo>
                  <a:lnTo>
                    <a:pt x="548" y="696"/>
                  </a:lnTo>
                  <a:lnTo>
                    <a:pt x="547" y="694"/>
                  </a:lnTo>
                  <a:lnTo>
                    <a:pt x="544" y="692"/>
                  </a:lnTo>
                  <a:lnTo>
                    <a:pt x="541" y="691"/>
                  </a:lnTo>
                  <a:lnTo>
                    <a:pt x="533" y="691"/>
                  </a:lnTo>
                  <a:lnTo>
                    <a:pt x="528" y="690"/>
                  </a:lnTo>
                  <a:lnTo>
                    <a:pt x="524" y="686"/>
                  </a:lnTo>
                  <a:lnTo>
                    <a:pt x="518" y="678"/>
                  </a:lnTo>
                  <a:lnTo>
                    <a:pt x="515" y="676"/>
                  </a:lnTo>
                  <a:lnTo>
                    <a:pt x="511" y="672"/>
                  </a:lnTo>
                  <a:lnTo>
                    <a:pt x="509" y="665"/>
                  </a:lnTo>
                  <a:lnTo>
                    <a:pt x="511" y="658"/>
                  </a:lnTo>
                  <a:lnTo>
                    <a:pt x="511" y="654"/>
                  </a:lnTo>
                  <a:lnTo>
                    <a:pt x="508" y="650"/>
                  </a:lnTo>
                  <a:lnTo>
                    <a:pt x="503" y="648"/>
                  </a:lnTo>
                  <a:lnTo>
                    <a:pt x="491" y="648"/>
                  </a:lnTo>
                  <a:lnTo>
                    <a:pt x="488" y="650"/>
                  </a:lnTo>
                  <a:lnTo>
                    <a:pt x="486" y="655"/>
                  </a:lnTo>
                  <a:lnTo>
                    <a:pt x="486" y="669"/>
                  </a:lnTo>
                  <a:lnTo>
                    <a:pt x="487" y="676"/>
                  </a:lnTo>
                  <a:lnTo>
                    <a:pt x="487" y="680"/>
                  </a:lnTo>
                  <a:lnTo>
                    <a:pt x="485" y="684"/>
                  </a:lnTo>
                  <a:lnTo>
                    <a:pt x="481" y="686"/>
                  </a:lnTo>
                  <a:lnTo>
                    <a:pt x="474" y="689"/>
                  </a:lnTo>
                  <a:lnTo>
                    <a:pt x="466" y="692"/>
                  </a:lnTo>
                  <a:lnTo>
                    <a:pt x="462" y="695"/>
                  </a:lnTo>
                  <a:lnTo>
                    <a:pt x="462" y="698"/>
                  </a:lnTo>
                  <a:lnTo>
                    <a:pt x="463" y="701"/>
                  </a:lnTo>
                  <a:lnTo>
                    <a:pt x="466" y="704"/>
                  </a:lnTo>
                  <a:lnTo>
                    <a:pt x="467" y="709"/>
                  </a:lnTo>
                  <a:lnTo>
                    <a:pt x="464" y="714"/>
                  </a:lnTo>
                  <a:lnTo>
                    <a:pt x="456" y="719"/>
                  </a:lnTo>
                  <a:lnTo>
                    <a:pt x="444" y="724"/>
                  </a:lnTo>
                  <a:lnTo>
                    <a:pt x="417" y="734"/>
                  </a:lnTo>
                  <a:lnTo>
                    <a:pt x="404" y="737"/>
                  </a:lnTo>
                  <a:lnTo>
                    <a:pt x="394" y="737"/>
                  </a:lnTo>
                  <a:lnTo>
                    <a:pt x="387" y="739"/>
                  </a:lnTo>
                  <a:lnTo>
                    <a:pt x="383" y="744"/>
                  </a:lnTo>
                  <a:lnTo>
                    <a:pt x="381" y="750"/>
                  </a:lnTo>
                  <a:lnTo>
                    <a:pt x="380" y="756"/>
                  </a:lnTo>
                  <a:lnTo>
                    <a:pt x="379" y="761"/>
                  </a:lnTo>
                  <a:lnTo>
                    <a:pt x="376" y="765"/>
                  </a:lnTo>
                  <a:lnTo>
                    <a:pt x="369" y="769"/>
                  </a:lnTo>
                  <a:lnTo>
                    <a:pt x="360" y="770"/>
                  </a:lnTo>
                  <a:lnTo>
                    <a:pt x="350" y="769"/>
                  </a:lnTo>
                  <a:lnTo>
                    <a:pt x="341" y="767"/>
                  </a:lnTo>
                  <a:lnTo>
                    <a:pt x="335" y="766"/>
                  </a:lnTo>
                  <a:lnTo>
                    <a:pt x="330" y="769"/>
                  </a:lnTo>
                  <a:lnTo>
                    <a:pt x="326" y="773"/>
                  </a:lnTo>
                  <a:lnTo>
                    <a:pt x="322" y="779"/>
                  </a:lnTo>
                  <a:lnTo>
                    <a:pt x="315" y="784"/>
                  </a:lnTo>
                  <a:lnTo>
                    <a:pt x="310" y="786"/>
                  </a:lnTo>
                  <a:lnTo>
                    <a:pt x="304" y="785"/>
                  </a:lnTo>
                  <a:lnTo>
                    <a:pt x="300" y="783"/>
                  </a:lnTo>
                  <a:lnTo>
                    <a:pt x="296" y="782"/>
                  </a:lnTo>
                  <a:lnTo>
                    <a:pt x="292" y="785"/>
                  </a:lnTo>
                  <a:lnTo>
                    <a:pt x="285" y="791"/>
                  </a:lnTo>
                  <a:lnTo>
                    <a:pt x="275" y="795"/>
                  </a:lnTo>
                  <a:lnTo>
                    <a:pt x="266" y="798"/>
                  </a:lnTo>
                  <a:lnTo>
                    <a:pt x="259" y="800"/>
                  </a:lnTo>
                  <a:lnTo>
                    <a:pt x="257" y="804"/>
                  </a:lnTo>
                  <a:lnTo>
                    <a:pt x="257" y="824"/>
                  </a:lnTo>
                  <a:lnTo>
                    <a:pt x="256" y="830"/>
                  </a:lnTo>
                  <a:lnTo>
                    <a:pt x="253" y="832"/>
                  </a:lnTo>
                  <a:lnTo>
                    <a:pt x="249" y="831"/>
                  </a:lnTo>
                  <a:lnTo>
                    <a:pt x="243" y="829"/>
                  </a:lnTo>
                  <a:lnTo>
                    <a:pt x="237" y="826"/>
                  </a:lnTo>
                  <a:lnTo>
                    <a:pt x="232" y="823"/>
                  </a:lnTo>
                  <a:lnTo>
                    <a:pt x="228" y="822"/>
                  </a:lnTo>
                  <a:lnTo>
                    <a:pt x="224" y="824"/>
                  </a:lnTo>
                  <a:lnTo>
                    <a:pt x="221" y="827"/>
                  </a:lnTo>
                  <a:lnTo>
                    <a:pt x="219" y="833"/>
                  </a:lnTo>
                  <a:lnTo>
                    <a:pt x="217" y="838"/>
                  </a:lnTo>
                  <a:lnTo>
                    <a:pt x="217" y="844"/>
                  </a:lnTo>
                  <a:lnTo>
                    <a:pt x="219" y="851"/>
                  </a:lnTo>
                  <a:lnTo>
                    <a:pt x="222" y="860"/>
                  </a:lnTo>
                  <a:lnTo>
                    <a:pt x="224" y="870"/>
                  </a:lnTo>
                  <a:lnTo>
                    <a:pt x="224" y="877"/>
                  </a:lnTo>
                  <a:lnTo>
                    <a:pt x="223" y="877"/>
                  </a:lnTo>
                  <a:lnTo>
                    <a:pt x="222" y="878"/>
                  </a:lnTo>
                  <a:lnTo>
                    <a:pt x="217" y="878"/>
                  </a:lnTo>
                  <a:lnTo>
                    <a:pt x="211" y="880"/>
                  </a:lnTo>
                  <a:lnTo>
                    <a:pt x="205" y="880"/>
                  </a:lnTo>
                  <a:lnTo>
                    <a:pt x="200" y="878"/>
                  </a:lnTo>
                  <a:lnTo>
                    <a:pt x="195" y="875"/>
                  </a:lnTo>
                  <a:lnTo>
                    <a:pt x="191" y="873"/>
                  </a:lnTo>
                  <a:lnTo>
                    <a:pt x="188" y="874"/>
                  </a:lnTo>
                  <a:lnTo>
                    <a:pt x="184" y="875"/>
                  </a:lnTo>
                  <a:lnTo>
                    <a:pt x="183" y="875"/>
                  </a:lnTo>
                  <a:lnTo>
                    <a:pt x="181" y="874"/>
                  </a:lnTo>
                  <a:lnTo>
                    <a:pt x="180" y="872"/>
                  </a:lnTo>
                  <a:lnTo>
                    <a:pt x="178" y="870"/>
                  </a:lnTo>
                  <a:lnTo>
                    <a:pt x="176" y="867"/>
                  </a:lnTo>
                  <a:lnTo>
                    <a:pt x="173" y="865"/>
                  </a:lnTo>
                  <a:lnTo>
                    <a:pt x="168" y="864"/>
                  </a:lnTo>
                  <a:lnTo>
                    <a:pt x="162" y="866"/>
                  </a:lnTo>
                  <a:lnTo>
                    <a:pt x="156" y="870"/>
                  </a:lnTo>
                  <a:lnTo>
                    <a:pt x="151" y="875"/>
                  </a:lnTo>
                  <a:lnTo>
                    <a:pt x="145" y="878"/>
                  </a:lnTo>
                  <a:lnTo>
                    <a:pt x="140" y="878"/>
                  </a:lnTo>
                  <a:lnTo>
                    <a:pt x="136" y="875"/>
                  </a:lnTo>
                  <a:lnTo>
                    <a:pt x="128" y="863"/>
                  </a:lnTo>
                  <a:lnTo>
                    <a:pt x="124" y="860"/>
                  </a:lnTo>
                  <a:lnTo>
                    <a:pt x="122" y="860"/>
                  </a:lnTo>
                  <a:lnTo>
                    <a:pt x="120" y="862"/>
                  </a:lnTo>
                  <a:lnTo>
                    <a:pt x="120" y="864"/>
                  </a:lnTo>
                  <a:lnTo>
                    <a:pt x="118" y="870"/>
                  </a:lnTo>
                  <a:lnTo>
                    <a:pt x="114" y="867"/>
                  </a:lnTo>
                  <a:lnTo>
                    <a:pt x="109" y="862"/>
                  </a:lnTo>
                  <a:lnTo>
                    <a:pt x="107" y="857"/>
                  </a:lnTo>
                  <a:lnTo>
                    <a:pt x="108" y="853"/>
                  </a:lnTo>
                  <a:lnTo>
                    <a:pt x="116" y="843"/>
                  </a:lnTo>
                  <a:lnTo>
                    <a:pt x="118" y="838"/>
                  </a:lnTo>
                  <a:lnTo>
                    <a:pt x="116" y="832"/>
                  </a:lnTo>
                  <a:lnTo>
                    <a:pt x="113" y="826"/>
                  </a:lnTo>
                  <a:lnTo>
                    <a:pt x="111" y="820"/>
                  </a:lnTo>
                  <a:lnTo>
                    <a:pt x="110" y="816"/>
                  </a:lnTo>
                  <a:lnTo>
                    <a:pt x="108" y="813"/>
                  </a:lnTo>
                  <a:lnTo>
                    <a:pt x="102" y="810"/>
                  </a:lnTo>
                  <a:lnTo>
                    <a:pt x="86" y="806"/>
                  </a:lnTo>
                  <a:lnTo>
                    <a:pt x="79" y="806"/>
                  </a:lnTo>
                  <a:lnTo>
                    <a:pt x="74" y="804"/>
                  </a:lnTo>
                  <a:lnTo>
                    <a:pt x="72" y="800"/>
                  </a:lnTo>
                  <a:lnTo>
                    <a:pt x="70" y="794"/>
                  </a:lnTo>
                  <a:lnTo>
                    <a:pt x="69" y="788"/>
                  </a:lnTo>
                  <a:lnTo>
                    <a:pt x="68" y="783"/>
                  </a:lnTo>
                  <a:lnTo>
                    <a:pt x="70" y="778"/>
                  </a:lnTo>
                  <a:lnTo>
                    <a:pt x="75" y="773"/>
                  </a:lnTo>
                  <a:lnTo>
                    <a:pt x="81" y="768"/>
                  </a:lnTo>
                  <a:lnTo>
                    <a:pt x="85" y="763"/>
                  </a:lnTo>
                  <a:lnTo>
                    <a:pt x="84" y="759"/>
                  </a:lnTo>
                  <a:lnTo>
                    <a:pt x="80" y="756"/>
                  </a:lnTo>
                  <a:lnTo>
                    <a:pt x="75" y="753"/>
                  </a:lnTo>
                  <a:lnTo>
                    <a:pt x="71" y="750"/>
                  </a:lnTo>
                  <a:lnTo>
                    <a:pt x="71" y="742"/>
                  </a:lnTo>
                  <a:lnTo>
                    <a:pt x="67" y="737"/>
                  </a:lnTo>
                  <a:lnTo>
                    <a:pt x="63" y="732"/>
                  </a:lnTo>
                  <a:lnTo>
                    <a:pt x="57" y="726"/>
                  </a:lnTo>
                  <a:lnTo>
                    <a:pt x="52" y="720"/>
                  </a:lnTo>
                  <a:lnTo>
                    <a:pt x="46" y="712"/>
                  </a:lnTo>
                  <a:lnTo>
                    <a:pt x="43" y="712"/>
                  </a:lnTo>
                  <a:lnTo>
                    <a:pt x="38" y="714"/>
                  </a:lnTo>
                  <a:lnTo>
                    <a:pt x="33" y="717"/>
                  </a:lnTo>
                  <a:lnTo>
                    <a:pt x="29" y="717"/>
                  </a:lnTo>
                  <a:lnTo>
                    <a:pt x="27" y="713"/>
                  </a:lnTo>
                  <a:lnTo>
                    <a:pt x="25" y="708"/>
                  </a:lnTo>
                  <a:lnTo>
                    <a:pt x="25" y="703"/>
                  </a:lnTo>
                  <a:lnTo>
                    <a:pt x="27" y="695"/>
                  </a:lnTo>
                  <a:lnTo>
                    <a:pt x="26" y="691"/>
                  </a:lnTo>
                  <a:lnTo>
                    <a:pt x="23" y="685"/>
                  </a:lnTo>
                  <a:lnTo>
                    <a:pt x="21" y="680"/>
                  </a:lnTo>
                  <a:lnTo>
                    <a:pt x="20" y="678"/>
                  </a:lnTo>
                  <a:lnTo>
                    <a:pt x="21" y="676"/>
                  </a:lnTo>
                  <a:lnTo>
                    <a:pt x="24" y="673"/>
                  </a:lnTo>
                  <a:lnTo>
                    <a:pt x="27" y="672"/>
                  </a:lnTo>
                  <a:lnTo>
                    <a:pt x="29" y="671"/>
                  </a:lnTo>
                  <a:lnTo>
                    <a:pt x="32" y="668"/>
                  </a:lnTo>
                  <a:lnTo>
                    <a:pt x="35" y="662"/>
                  </a:lnTo>
                  <a:lnTo>
                    <a:pt x="37" y="660"/>
                  </a:lnTo>
                  <a:lnTo>
                    <a:pt x="40" y="658"/>
                  </a:lnTo>
                  <a:lnTo>
                    <a:pt x="43" y="657"/>
                  </a:lnTo>
                  <a:lnTo>
                    <a:pt x="46" y="655"/>
                  </a:lnTo>
                  <a:lnTo>
                    <a:pt x="48" y="654"/>
                  </a:lnTo>
                  <a:lnTo>
                    <a:pt x="49" y="649"/>
                  </a:lnTo>
                  <a:lnTo>
                    <a:pt x="48" y="642"/>
                  </a:lnTo>
                  <a:lnTo>
                    <a:pt x="45" y="635"/>
                  </a:lnTo>
                  <a:lnTo>
                    <a:pt x="40" y="630"/>
                  </a:lnTo>
                  <a:lnTo>
                    <a:pt x="36" y="625"/>
                  </a:lnTo>
                  <a:lnTo>
                    <a:pt x="34" y="619"/>
                  </a:lnTo>
                  <a:lnTo>
                    <a:pt x="33" y="612"/>
                  </a:lnTo>
                  <a:lnTo>
                    <a:pt x="34" y="607"/>
                  </a:lnTo>
                  <a:lnTo>
                    <a:pt x="33" y="605"/>
                  </a:lnTo>
                  <a:lnTo>
                    <a:pt x="28" y="604"/>
                  </a:lnTo>
                  <a:lnTo>
                    <a:pt x="6" y="604"/>
                  </a:lnTo>
                  <a:lnTo>
                    <a:pt x="2" y="602"/>
                  </a:lnTo>
                  <a:lnTo>
                    <a:pt x="0" y="598"/>
                  </a:lnTo>
                  <a:lnTo>
                    <a:pt x="1" y="590"/>
                  </a:lnTo>
                  <a:lnTo>
                    <a:pt x="2" y="583"/>
                  </a:lnTo>
                  <a:lnTo>
                    <a:pt x="5" y="576"/>
                  </a:lnTo>
                  <a:lnTo>
                    <a:pt x="8" y="572"/>
                  </a:lnTo>
                  <a:lnTo>
                    <a:pt x="10" y="571"/>
                  </a:lnTo>
                  <a:lnTo>
                    <a:pt x="11" y="571"/>
                  </a:lnTo>
                  <a:lnTo>
                    <a:pt x="13" y="572"/>
                  </a:lnTo>
                  <a:lnTo>
                    <a:pt x="13" y="574"/>
                  </a:lnTo>
                  <a:lnTo>
                    <a:pt x="17" y="578"/>
                  </a:lnTo>
                  <a:lnTo>
                    <a:pt x="19" y="579"/>
                  </a:lnTo>
                  <a:lnTo>
                    <a:pt x="21" y="579"/>
                  </a:lnTo>
                  <a:lnTo>
                    <a:pt x="22" y="578"/>
                  </a:lnTo>
                  <a:lnTo>
                    <a:pt x="24" y="577"/>
                  </a:lnTo>
                  <a:lnTo>
                    <a:pt x="25" y="574"/>
                  </a:lnTo>
                  <a:lnTo>
                    <a:pt x="27" y="572"/>
                  </a:lnTo>
                  <a:lnTo>
                    <a:pt x="28" y="569"/>
                  </a:lnTo>
                  <a:lnTo>
                    <a:pt x="34" y="563"/>
                  </a:lnTo>
                  <a:lnTo>
                    <a:pt x="42" y="558"/>
                  </a:lnTo>
                  <a:lnTo>
                    <a:pt x="60" y="546"/>
                  </a:lnTo>
                  <a:lnTo>
                    <a:pt x="67" y="541"/>
                  </a:lnTo>
                  <a:lnTo>
                    <a:pt x="72" y="538"/>
                  </a:lnTo>
                  <a:lnTo>
                    <a:pt x="74" y="537"/>
                  </a:lnTo>
                  <a:lnTo>
                    <a:pt x="75" y="535"/>
                  </a:lnTo>
                  <a:lnTo>
                    <a:pt x="74" y="534"/>
                  </a:lnTo>
                  <a:lnTo>
                    <a:pt x="73" y="532"/>
                  </a:lnTo>
                  <a:lnTo>
                    <a:pt x="71" y="531"/>
                  </a:lnTo>
                  <a:lnTo>
                    <a:pt x="67" y="531"/>
                  </a:lnTo>
                  <a:lnTo>
                    <a:pt x="64" y="532"/>
                  </a:lnTo>
                  <a:lnTo>
                    <a:pt x="60" y="533"/>
                  </a:lnTo>
                  <a:lnTo>
                    <a:pt x="56" y="529"/>
                  </a:lnTo>
                  <a:lnTo>
                    <a:pt x="54" y="522"/>
                  </a:lnTo>
                  <a:lnTo>
                    <a:pt x="53" y="513"/>
                  </a:lnTo>
                  <a:lnTo>
                    <a:pt x="55" y="505"/>
                  </a:lnTo>
                  <a:lnTo>
                    <a:pt x="59" y="496"/>
                  </a:lnTo>
                  <a:lnTo>
                    <a:pt x="70" y="476"/>
                  </a:lnTo>
                  <a:lnTo>
                    <a:pt x="76" y="469"/>
                  </a:lnTo>
                  <a:lnTo>
                    <a:pt x="81" y="465"/>
                  </a:lnTo>
                  <a:lnTo>
                    <a:pt x="87" y="459"/>
                  </a:lnTo>
                  <a:lnTo>
                    <a:pt x="91" y="450"/>
                  </a:lnTo>
                  <a:lnTo>
                    <a:pt x="92" y="439"/>
                  </a:lnTo>
                  <a:lnTo>
                    <a:pt x="92" y="419"/>
                  </a:lnTo>
                  <a:lnTo>
                    <a:pt x="96" y="410"/>
                  </a:lnTo>
                  <a:lnTo>
                    <a:pt x="98" y="403"/>
                  </a:lnTo>
                  <a:lnTo>
                    <a:pt x="96" y="394"/>
                  </a:lnTo>
                  <a:lnTo>
                    <a:pt x="91" y="383"/>
                  </a:lnTo>
                  <a:lnTo>
                    <a:pt x="84" y="371"/>
                  </a:lnTo>
                  <a:lnTo>
                    <a:pt x="76" y="359"/>
                  </a:lnTo>
                  <a:lnTo>
                    <a:pt x="71" y="352"/>
                  </a:lnTo>
                  <a:lnTo>
                    <a:pt x="68" y="347"/>
                  </a:lnTo>
                  <a:lnTo>
                    <a:pt x="68" y="343"/>
                  </a:lnTo>
                  <a:lnTo>
                    <a:pt x="70" y="337"/>
                  </a:lnTo>
                  <a:lnTo>
                    <a:pt x="72" y="334"/>
                  </a:lnTo>
                  <a:lnTo>
                    <a:pt x="73" y="330"/>
                  </a:lnTo>
                  <a:lnTo>
                    <a:pt x="73" y="326"/>
                  </a:lnTo>
                  <a:lnTo>
                    <a:pt x="71" y="324"/>
                  </a:lnTo>
                  <a:lnTo>
                    <a:pt x="67" y="324"/>
                  </a:lnTo>
                  <a:lnTo>
                    <a:pt x="63" y="323"/>
                  </a:lnTo>
                  <a:lnTo>
                    <a:pt x="58" y="321"/>
                  </a:lnTo>
                  <a:lnTo>
                    <a:pt x="55" y="317"/>
                  </a:lnTo>
                  <a:lnTo>
                    <a:pt x="53" y="312"/>
                  </a:lnTo>
                  <a:lnTo>
                    <a:pt x="51" y="305"/>
                  </a:lnTo>
                  <a:lnTo>
                    <a:pt x="48" y="300"/>
                  </a:lnTo>
                  <a:lnTo>
                    <a:pt x="43" y="296"/>
                  </a:lnTo>
                  <a:lnTo>
                    <a:pt x="37" y="292"/>
                  </a:lnTo>
                  <a:lnTo>
                    <a:pt x="36" y="287"/>
                  </a:lnTo>
                  <a:lnTo>
                    <a:pt x="37" y="283"/>
                  </a:lnTo>
                  <a:lnTo>
                    <a:pt x="42" y="280"/>
                  </a:lnTo>
                  <a:lnTo>
                    <a:pt x="44" y="277"/>
                  </a:lnTo>
                  <a:lnTo>
                    <a:pt x="45" y="272"/>
                  </a:lnTo>
                  <a:lnTo>
                    <a:pt x="43" y="262"/>
                  </a:lnTo>
                  <a:lnTo>
                    <a:pt x="43" y="258"/>
                  </a:lnTo>
                  <a:lnTo>
                    <a:pt x="45" y="256"/>
                  </a:lnTo>
                  <a:lnTo>
                    <a:pt x="51" y="253"/>
                  </a:lnTo>
                  <a:lnTo>
                    <a:pt x="58" y="247"/>
                  </a:lnTo>
                  <a:lnTo>
                    <a:pt x="65" y="242"/>
                  </a:lnTo>
                  <a:lnTo>
                    <a:pt x="71" y="242"/>
                  </a:lnTo>
                  <a:lnTo>
                    <a:pt x="77" y="244"/>
                  </a:lnTo>
                  <a:lnTo>
                    <a:pt x="83" y="247"/>
                  </a:lnTo>
                  <a:lnTo>
                    <a:pt x="88" y="249"/>
                  </a:lnTo>
                  <a:lnTo>
                    <a:pt x="91" y="248"/>
                  </a:lnTo>
                  <a:lnTo>
                    <a:pt x="91" y="244"/>
                  </a:lnTo>
                  <a:lnTo>
                    <a:pt x="87" y="238"/>
                  </a:lnTo>
                  <a:lnTo>
                    <a:pt x="83" y="233"/>
                  </a:lnTo>
                  <a:lnTo>
                    <a:pt x="82" y="226"/>
                  </a:lnTo>
                  <a:lnTo>
                    <a:pt x="85" y="224"/>
                  </a:lnTo>
                  <a:lnTo>
                    <a:pt x="89" y="225"/>
                  </a:lnTo>
                  <a:lnTo>
                    <a:pt x="95" y="228"/>
                  </a:lnTo>
                  <a:lnTo>
                    <a:pt x="109" y="238"/>
                  </a:lnTo>
                  <a:lnTo>
                    <a:pt x="115" y="242"/>
                  </a:lnTo>
                  <a:lnTo>
                    <a:pt x="120" y="244"/>
                  </a:lnTo>
                  <a:lnTo>
                    <a:pt x="127" y="248"/>
                  </a:lnTo>
                  <a:lnTo>
                    <a:pt x="141" y="260"/>
                  </a:lnTo>
                  <a:lnTo>
                    <a:pt x="147" y="264"/>
                  </a:lnTo>
                  <a:lnTo>
                    <a:pt x="150" y="263"/>
                  </a:lnTo>
                  <a:lnTo>
                    <a:pt x="152" y="259"/>
                  </a:lnTo>
                  <a:lnTo>
                    <a:pt x="152" y="254"/>
                  </a:lnTo>
                  <a:lnTo>
                    <a:pt x="153" y="249"/>
                  </a:lnTo>
                  <a:lnTo>
                    <a:pt x="155" y="245"/>
                  </a:lnTo>
                  <a:lnTo>
                    <a:pt x="158" y="244"/>
                  </a:lnTo>
                  <a:lnTo>
                    <a:pt x="162" y="246"/>
                  </a:lnTo>
                  <a:lnTo>
                    <a:pt x="167" y="249"/>
                  </a:lnTo>
                  <a:lnTo>
                    <a:pt x="173" y="251"/>
                  </a:lnTo>
                  <a:lnTo>
                    <a:pt x="179" y="251"/>
                  </a:lnTo>
                  <a:lnTo>
                    <a:pt x="187" y="248"/>
                  </a:lnTo>
                  <a:lnTo>
                    <a:pt x="195" y="244"/>
                  </a:lnTo>
                  <a:lnTo>
                    <a:pt x="205" y="240"/>
                  </a:lnTo>
                  <a:lnTo>
                    <a:pt x="219" y="233"/>
                  </a:lnTo>
                  <a:lnTo>
                    <a:pt x="225" y="232"/>
                  </a:lnTo>
                  <a:lnTo>
                    <a:pt x="229" y="232"/>
                  </a:lnTo>
                  <a:lnTo>
                    <a:pt x="233" y="233"/>
                  </a:lnTo>
                  <a:lnTo>
                    <a:pt x="238" y="235"/>
                  </a:lnTo>
                  <a:lnTo>
                    <a:pt x="243" y="234"/>
                  </a:lnTo>
                  <a:lnTo>
                    <a:pt x="251" y="224"/>
                  </a:lnTo>
                  <a:lnTo>
                    <a:pt x="254" y="220"/>
                  </a:lnTo>
                  <a:lnTo>
                    <a:pt x="257" y="215"/>
                  </a:lnTo>
                  <a:lnTo>
                    <a:pt x="260" y="208"/>
                  </a:lnTo>
                  <a:lnTo>
                    <a:pt x="261" y="202"/>
                  </a:lnTo>
                  <a:lnTo>
                    <a:pt x="260" y="198"/>
                  </a:lnTo>
                  <a:lnTo>
                    <a:pt x="256" y="194"/>
                  </a:lnTo>
                  <a:lnTo>
                    <a:pt x="242" y="185"/>
                  </a:lnTo>
                  <a:lnTo>
                    <a:pt x="235" y="182"/>
                  </a:lnTo>
                  <a:lnTo>
                    <a:pt x="232" y="181"/>
                  </a:lnTo>
                  <a:lnTo>
                    <a:pt x="231" y="179"/>
                  </a:lnTo>
                  <a:lnTo>
                    <a:pt x="231" y="175"/>
                  </a:lnTo>
                  <a:lnTo>
                    <a:pt x="232" y="173"/>
                  </a:lnTo>
                  <a:lnTo>
                    <a:pt x="236" y="169"/>
                  </a:lnTo>
                  <a:lnTo>
                    <a:pt x="242" y="166"/>
                  </a:lnTo>
                  <a:lnTo>
                    <a:pt x="244" y="164"/>
                  </a:lnTo>
                  <a:lnTo>
                    <a:pt x="246" y="161"/>
                  </a:lnTo>
                  <a:lnTo>
                    <a:pt x="247" y="159"/>
                  </a:lnTo>
                  <a:lnTo>
                    <a:pt x="248" y="156"/>
                  </a:lnTo>
                  <a:lnTo>
                    <a:pt x="249" y="154"/>
                  </a:lnTo>
                  <a:lnTo>
                    <a:pt x="250" y="153"/>
                  </a:lnTo>
                  <a:lnTo>
                    <a:pt x="252" y="152"/>
                  </a:lnTo>
                  <a:lnTo>
                    <a:pt x="258" y="152"/>
                  </a:lnTo>
                  <a:lnTo>
                    <a:pt x="265" y="150"/>
                  </a:lnTo>
                  <a:lnTo>
                    <a:pt x="272" y="147"/>
                  </a:lnTo>
                  <a:lnTo>
                    <a:pt x="276" y="143"/>
                  </a:lnTo>
                  <a:lnTo>
                    <a:pt x="280" y="137"/>
                  </a:lnTo>
                  <a:lnTo>
                    <a:pt x="286" y="131"/>
                  </a:lnTo>
                  <a:lnTo>
                    <a:pt x="294" y="127"/>
                  </a:lnTo>
                  <a:lnTo>
                    <a:pt x="299" y="124"/>
                  </a:lnTo>
                  <a:lnTo>
                    <a:pt x="308" y="109"/>
                  </a:lnTo>
                  <a:lnTo>
                    <a:pt x="312" y="105"/>
                  </a:lnTo>
                  <a:lnTo>
                    <a:pt x="317" y="105"/>
                  </a:lnTo>
                  <a:lnTo>
                    <a:pt x="319" y="104"/>
                  </a:lnTo>
                  <a:lnTo>
                    <a:pt x="321" y="102"/>
                  </a:lnTo>
                  <a:lnTo>
                    <a:pt x="321" y="101"/>
                  </a:lnTo>
                  <a:lnTo>
                    <a:pt x="328" y="100"/>
                  </a:lnTo>
                  <a:lnTo>
                    <a:pt x="333" y="97"/>
                  </a:lnTo>
                  <a:lnTo>
                    <a:pt x="340" y="93"/>
                  </a:lnTo>
                  <a:lnTo>
                    <a:pt x="348" y="91"/>
                  </a:lnTo>
                  <a:lnTo>
                    <a:pt x="357" y="91"/>
                  </a:lnTo>
                  <a:lnTo>
                    <a:pt x="375" y="93"/>
                  </a:lnTo>
                  <a:lnTo>
                    <a:pt x="382" y="93"/>
                  </a:lnTo>
                  <a:lnTo>
                    <a:pt x="388" y="91"/>
                  </a:lnTo>
                  <a:lnTo>
                    <a:pt x="395" y="85"/>
                  </a:lnTo>
                  <a:lnTo>
                    <a:pt x="405" y="78"/>
                  </a:lnTo>
                  <a:lnTo>
                    <a:pt x="417" y="69"/>
                  </a:lnTo>
                  <a:lnTo>
                    <a:pt x="429" y="62"/>
                  </a:lnTo>
                  <a:lnTo>
                    <a:pt x="440" y="55"/>
                  </a:lnTo>
                  <a:lnTo>
                    <a:pt x="448" y="52"/>
                  </a:lnTo>
                  <a:lnTo>
                    <a:pt x="457" y="47"/>
                  </a:lnTo>
                  <a:lnTo>
                    <a:pt x="462" y="41"/>
                  </a:lnTo>
                  <a:lnTo>
                    <a:pt x="465" y="36"/>
                  </a:lnTo>
                  <a:lnTo>
                    <a:pt x="463" y="30"/>
                  </a:lnTo>
                  <a:lnTo>
                    <a:pt x="460" y="25"/>
                  </a:lnTo>
                  <a:lnTo>
                    <a:pt x="459" y="19"/>
                  </a:lnTo>
                  <a:lnTo>
                    <a:pt x="460" y="14"/>
                  </a:lnTo>
                  <a:lnTo>
                    <a:pt x="463" y="11"/>
                  </a:lnTo>
                  <a:lnTo>
                    <a:pt x="470" y="10"/>
                  </a:lnTo>
                  <a:lnTo>
                    <a:pt x="480" y="12"/>
                  </a:lnTo>
                  <a:lnTo>
                    <a:pt x="486" y="16"/>
                  </a:lnTo>
                  <a:lnTo>
                    <a:pt x="489" y="23"/>
                  </a:lnTo>
                  <a:lnTo>
                    <a:pt x="490" y="32"/>
                  </a:lnTo>
                  <a:lnTo>
                    <a:pt x="493" y="41"/>
                  </a:lnTo>
                  <a:lnTo>
                    <a:pt x="501" y="48"/>
                  </a:lnTo>
                  <a:lnTo>
                    <a:pt x="511" y="52"/>
                  </a:lnTo>
                  <a:lnTo>
                    <a:pt x="521" y="53"/>
                  </a:lnTo>
                  <a:lnTo>
                    <a:pt x="529" y="54"/>
                  </a:lnTo>
                  <a:lnTo>
                    <a:pt x="538" y="59"/>
                  </a:lnTo>
                  <a:lnTo>
                    <a:pt x="545" y="65"/>
                  </a:lnTo>
                  <a:lnTo>
                    <a:pt x="550" y="71"/>
                  </a:lnTo>
                  <a:lnTo>
                    <a:pt x="552" y="75"/>
                  </a:lnTo>
                  <a:lnTo>
                    <a:pt x="550" y="81"/>
                  </a:lnTo>
                  <a:lnTo>
                    <a:pt x="548" y="86"/>
                  </a:lnTo>
                  <a:lnTo>
                    <a:pt x="548" y="98"/>
                  </a:lnTo>
                  <a:lnTo>
                    <a:pt x="546" y="105"/>
                  </a:lnTo>
                  <a:lnTo>
                    <a:pt x="543" y="111"/>
                  </a:lnTo>
                  <a:lnTo>
                    <a:pt x="541" y="116"/>
                  </a:lnTo>
                  <a:lnTo>
                    <a:pt x="540" y="119"/>
                  </a:lnTo>
                  <a:lnTo>
                    <a:pt x="538" y="122"/>
                  </a:lnTo>
                  <a:lnTo>
                    <a:pt x="537" y="125"/>
                  </a:lnTo>
                  <a:lnTo>
                    <a:pt x="537" y="128"/>
                  </a:lnTo>
                  <a:lnTo>
                    <a:pt x="541" y="130"/>
                  </a:lnTo>
                  <a:lnTo>
                    <a:pt x="548" y="132"/>
                  </a:lnTo>
                  <a:lnTo>
                    <a:pt x="559" y="135"/>
                  </a:lnTo>
                  <a:lnTo>
                    <a:pt x="565" y="137"/>
                  </a:lnTo>
                  <a:lnTo>
                    <a:pt x="565" y="140"/>
                  </a:lnTo>
                  <a:lnTo>
                    <a:pt x="564" y="145"/>
                  </a:lnTo>
                  <a:lnTo>
                    <a:pt x="563" y="147"/>
                  </a:lnTo>
                  <a:lnTo>
                    <a:pt x="563" y="151"/>
                  </a:lnTo>
                  <a:lnTo>
                    <a:pt x="565" y="155"/>
                  </a:lnTo>
                  <a:lnTo>
                    <a:pt x="565" y="159"/>
                  </a:lnTo>
                  <a:lnTo>
                    <a:pt x="563" y="160"/>
                  </a:lnTo>
                  <a:lnTo>
                    <a:pt x="551" y="160"/>
                  </a:lnTo>
                  <a:lnTo>
                    <a:pt x="544" y="161"/>
                  </a:lnTo>
                  <a:lnTo>
                    <a:pt x="539" y="163"/>
                  </a:lnTo>
                  <a:lnTo>
                    <a:pt x="536" y="167"/>
                  </a:lnTo>
                  <a:lnTo>
                    <a:pt x="536" y="173"/>
                  </a:lnTo>
                  <a:lnTo>
                    <a:pt x="539" y="182"/>
                  </a:lnTo>
                  <a:lnTo>
                    <a:pt x="543" y="190"/>
                  </a:lnTo>
                  <a:lnTo>
                    <a:pt x="548" y="195"/>
                  </a:lnTo>
                  <a:lnTo>
                    <a:pt x="554" y="195"/>
                  </a:lnTo>
                  <a:lnTo>
                    <a:pt x="560" y="190"/>
                  </a:lnTo>
                  <a:lnTo>
                    <a:pt x="565" y="185"/>
                  </a:lnTo>
                  <a:lnTo>
                    <a:pt x="570" y="180"/>
                  </a:lnTo>
                  <a:lnTo>
                    <a:pt x="576" y="178"/>
                  </a:lnTo>
                  <a:lnTo>
                    <a:pt x="585" y="178"/>
                  </a:lnTo>
                  <a:lnTo>
                    <a:pt x="595" y="177"/>
                  </a:lnTo>
                  <a:lnTo>
                    <a:pt x="606" y="175"/>
                  </a:lnTo>
                  <a:lnTo>
                    <a:pt x="614" y="171"/>
                  </a:lnTo>
                  <a:lnTo>
                    <a:pt x="617" y="168"/>
                  </a:lnTo>
                  <a:lnTo>
                    <a:pt x="621" y="162"/>
                  </a:lnTo>
                  <a:lnTo>
                    <a:pt x="623" y="160"/>
                  </a:lnTo>
                  <a:lnTo>
                    <a:pt x="629" y="159"/>
                  </a:lnTo>
                  <a:lnTo>
                    <a:pt x="637" y="159"/>
                  </a:lnTo>
                  <a:lnTo>
                    <a:pt x="647" y="161"/>
                  </a:lnTo>
                  <a:lnTo>
                    <a:pt x="653" y="163"/>
                  </a:lnTo>
                  <a:lnTo>
                    <a:pt x="657" y="165"/>
                  </a:lnTo>
                  <a:lnTo>
                    <a:pt x="660" y="165"/>
                  </a:lnTo>
                  <a:lnTo>
                    <a:pt x="665" y="161"/>
                  </a:lnTo>
                  <a:lnTo>
                    <a:pt x="673" y="154"/>
                  </a:lnTo>
                  <a:lnTo>
                    <a:pt x="680" y="148"/>
                  </a:lnTo>
                  <a:lnTo>
                    <a:pt x="685" y="143"/>
                  </a:lnTo>
                  <a:lnTo>
                    <a:pt x="686" y="138"/>
                  </a:lnTo>
                  <a:lnTo>
                    <a:pt x="684" y="133"/>
                  </a:lnTo>
                  <a:lnTo>
                    <a:pt x="681" y="127"/>
                  </a:lnTo>
                  <a:lnTo>
                    <a:pt x="678" y="123"/>
                  </a:lnTo>
                  <a:lnTo>
                    <a:pt x="677" y="120"/>
                  </a:lnTo>
                  <a:lnTo>
                    <a:pt x="680" y="108"/>
                  </a:lnTo>
                  <a:lnTo>
                    <a:pt x="682" y="86"/>
                  </a:lnTo>
                  <a:lnTo>
                    <a:pt x="681" y="75"/>
                  </a:lnTo>
                  <a:lnTo>
                    <a:pt x="677" y="66"/>
                  </a:lnTo>
                  <a:lnTo>
                    <a:pt x="670" y="58"/>
                  </a:lnTo>
                  <a:lnTo>
                    <a:pt x="661" y="52"/>
                  </a:lnTo>
                  <a:lnTo>
                    <a:pt x="653" y="47"/>
                  </a:lnTo>
                  <a:lnTo>
                    <a:pt x="647" y="43"/>
                  </a:lnTo>
                  <a:lnTo>
                    <a:pt x="645" y="38"/>
                  </a:lnTo>
                  <a:lnTo>
                    <a:pt x="645" y="29"/>
                  </a:lnTo>
                  <a:lnTo>
                    <a:pt x="646" y="27"/>
                  </a:lnTo>
                  <a:lnTo>
                    <a:pt x="646" y="26"/>
                  </a:lnTo>
                  <a:lnTo>
                    <a:pt x="647" y="24"/>
                  </a:lnTo>
                  <a:lnTo>
                    <a:pt x="648" y="24"/>
                  </a:lnTo>
                  <a:lnTo>
                    <a:pt x="650" y="23"/>
                  </a:lnTo>
                  <a:lnTo>
                    <a:pt x="653" y="23"/>
                  </a:lnTo>
                  <a:lnTo>
                    <a:pt x="657" y="24"/>
                  </a:lnTo>
                  <a:lnTo>
                    <a:pt x="666" y="28"/>
                  </a:lnTo>
                  <a:lnTo>
                    <a:pt x="672" y="31"/>
                  </a:lnTo>
                  <a:lnTo>
                    <a:pt x="676" y="32"/>
                  </a:lnTo>
                  <a:lnTo>
                    <a:pt x="679" y="28"/>
                  </a:lnTo>
                  <a:lnTo>
                    <a:pt x="680" y="23"/>
                  </a:lnTo>
                  <a:lnTo>
                    <a:pt x="680" y="19"/>
                  </a:lnTo>
                  <a:lnTo>
                    <a:pt x="679" y="14"/>
                  </a:lnTo>
                  <a:lnTo>
                    <a:pt x="680" y="10"/>
                  </a:lnTo>
                  <a:lnTo>
                    <a:pt x="683" y="7"/>
                  </a:lnTo>
                  <a:lnTo>
                    <a:pt x="689" y="6"/>
                  </a:lnTo>
                  <a:lnTo>
                    <a:pt x="699" y="5"/>
                  </a:lnTo>
                  <a:lnTo>
                    <a:pt x="706" y="4"/>
                  </a:lnTo>
                  <a:lnTo>
                    <a:pt x="712" y="3"/>
                  </a:lnTo>
                  <a:lnTo>
                    <a:pt x="719" y="1"/>
                  </a:lnTo>
                  <a:lnTo>
                    <a:pt x="727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17">
              <a:extLst>
                <a:ext uri="{FF2B5EF4-FFF2-40B4-BE49-F238E27FC236}">
                  <a16:creationId xmlns:a16="http://schemas.microsoft.com/office/drawing/2014/main" id="{E8719308-4C0C-4544-BF98-63F704E03DF3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3901" y="2105026"/>
              <a:ext cx="238125" cy="219075"/>
            </a:xfrm>
            <a:custGeom>
              <a:avLst/>
              <a:gdLst/>
              <a:ahLst/>
              <a:cxnLst>
                <a:cxn ang="0">
                  <a:pos x="113" y="0"/>
                </a:cxn>
                <a:cxn ang="0">
                  <a:pos x="112" y="20"/>
                </a:cxn>
                <a:cxn ang="0">
                  <a:pos x="118" y="28"/>
                </a:cxn>
                <a:cxn ang="0">
                  <a:pos x="125" y="42"/>
                </a:cxn>
                <a:cxn ang="0">
                  <a:pos x="119" y="55"/>
                </a:cxn>
                <a:cxn ang="0">
                  <a:pos x="114" y="70"/>
                </a:cxn>
                <a:cxn ang="0">
                  <a:pos x="117" y="82"/>
                </a:cxn>
                <a:cxn ang="0">
                  <a:pos x="127" y="93"/>
                </a:cxn>
                <a:cxn ang="0">
                  <a:pos x="142" y="113"/>
                </a:cxn>
                <a:cxn ang="0">
                  <a:pos x="142" y="124"/>
                </a:cxn>
                <a:cxn ang="0">
                  <a:pos x="131" y="128"/>
                </a:cxn>
                <a:cxn ang="0">
                  <a:pos x="127" y="135"/>
                </a:cxn>
                <a:cxn ang="0">
                  <a:pos x="119" y="138"/>
                </a:cxn>
                <a:cxn ang="0">
                  <a:pos x="106" y="131"/>
                </a:cxn>
                <a:cxn ang="0">
                  <a:pos x="95" y="118"/>
                </a:cxn>
                <a:cxn ang="0">
                  <a:pos x="82" y="120"/>
                </a:cxn>
                <a:cxn ang="0">
                  <a:pos x="72" y="126"/>
                </a:cxn>
                <a:cxn ang="0">
                  <a:pos x="44" y="127"/>
                </a:cxn>
                <a:cxn ang="0">
                  <a:pos x="30" y="121"/>
                </a:cxn>
                <a:cxn ang="0">
                  <a:pos x="21" y="105"/>
                </a:cxn>
                <a:cxn ang="0">
                  <a:pos x="10" y="84"/>
                </a:cxn>
                <a:cxn ang="0">
                  <a:pos x="0" y="70"/>
                </a:cxn>
                <a:cxn ang="0">
                  <a:pos x="8" y="49"/>
                </a:cxn>
                <a:cxn ang="0">
                  <a:pos x="17" y="41"/>
                </a:cxn>
                <a:cxn ang="0">
                  <a:pos x="23" y="45"/>
                </a:cxn>
                <a:cxn ang="0">
                  <a:pos x="27" y="52"/>
                </a:cxn>
                <a:cxn ang="0">
                  <a:pos x="31" y="51"/>
                </a:cxn>
                <a:cxn ang="0">
                  <a:pos x="39" y="41"/>
                </a:cxn>
                <a:cxn ang="0">
                  <a:pos x="49" y="33"/>
                </a:cxn>
                <a:cxn ang="0">
                  <a:pos x="63" y="30"/>
                </a:cxn>
                <a:cxn ang="0">
                  <a:pos x="70" y="22"/>
                </a:cxn>
                <a:cxn ang="0">
                  <a:pos x="75" y="20"/>
                </a:cxn>
                <a:cxn ang="0">
                  <a:pos x="80" y="22"/>
                </a:cxn>
                <a:cxn ang="0">
                  <a:pos x="83" y="27"/>
                </a:cxn>
                <a:cxn ang="0">
                  <a:pos x="86" y="34"/>
                </a:cxn>
                <a:cxn ang="0">
                  <a:pos x="90" y="32"/>
                </a:cxn>
                <a:cxn ang="0">
                  <a:pos x="90" y="23"/>
                </a:cxn>
                <a:cxn ang="0">
                  <a:pos x="88" y="13"/>
                </a:cxn>
                <a:cxn ang="0">
                  <a:pos x="93" y="6"/>
                </a:cxn>
                <a:cxn ang="0">
                  <a:pos x="109" y="0"/>
                </a:cxn>
              </a:cxnLst>
              <a:rect l="0" t="0" r="r" b="b"/>
              <a:pathLst>
                <a:path w="150" h="138">
                  <a:moveTo>
                    <a:pt x="109" y="0"/>
                  </a:moveTo>
                  <a:lnTo>
                    <a:pt x="113" y="0"/>
                  </a:lnTo>
                  <a:lnTo>
                    <a:pt x="115" y="2"/>
                  </a:lnTo>
                  <a:lnTo>
                    <a:pt x="112" y="20"/>
                  </a:lnTo>
                  <a:lnTo>
                    <a:pt x="114" y="24"/>
                  </a:lnTo>
                  <a:lnTo>
                    <a:pt x="118" y="28"/>
                  </a:lnTo>
                  <a:lnTo>
                    <a:pt x="123" y="35"/>
                  </a:lnTo>
                  <a:lnTo>
                    <a:pt x="125" y="42"/>
                  </a:lnTo>
                  <a:lnTo>
                    <a:pt x="123" y="49"/>
                  </a:lnTo>
                  <a:lnTo>
                    <a:pt x="119" y="55"/>
                  </a:lnTo>
                  <a:lnTo>
                    <a:pt x="116" y="62"/>
                  </a:lnTo>
                  <a:lnTo>
                    <a:pt x="114" y="70"/>
                  </a:lnTo>
                  <a:lnTo>
                    <a:pt x="114" y="77"/>
                  </a:lnTo>
                  <a:lnTo>
                    <a:pt x="117" y="82"/>
                  </a:lnTo>
                  <a:lnTo>
                    <a:pt x="121" y="86"/>
                  </a:lnTo>
                  <a:lnTo>
                    <a:pt x="127" y="93"/>
                  </a:lnTo>
                  <a:lnTo>
                    <a:pt x="135" y="103"/>
                  </a:lnTo>
                  <a:lnTo>
                    <a:pt x="142" y="113"/>
                  </a:lnTo>
                  <a:lnTo>
                    <a:pt x="150" y="124"/>
                  </a:lnTo>
                  <a:lnTo>
                    <a:pt x="142" y="124"/>
                  </a:lnTo>
                  <a:lnTo>
                    <a:pt x="135" y="125"/>
                  </a:lnTo>
                  <a:lnTo>
                    <a:pt x="131" y="128"/>
                  </a:lnTo>
                  <a:lnTo>
                    <a:pt x="129" y="131"/>
                  </a:lnTo>
                  <a:lnTo>
                    <a:pt x="127" y="135"/>
                  </a:lnTo>
                  <a:lnTo>
                    <a:pt x="124" y="137"/>
                  </a:lnTo>
                  <a:lnTo>
                    <a:pt x="119" y="138"/>
                  </a:lnTo>
                  <a:lnTo>
                    <a:pt x="113" y="136"/>
                  </a:lnTo>
                  <a:lnTo>
                    <a:pt x="106" y="131"/>
                  </a:lnTo>
                  <a:lnTo>
                    <a:pt x="100" y="123"/>
                  </a:lnTo>
                  <a:lnTo>
                    <a:pt x="95" y="118"/>
                  </a:lnTo>
                  <a:lnTo>
                    <a:pt x="90" y="116"/>
                  </a:lnTo>
                  <a:lnTo>
                    <a:pt x="82" y="120"/>
                  </a:lnTo>
                  <a:lnTo>
                    <a:pt x="78" y="123"/>
                  </a:lnTo>
                  <a:lnTo>
                    <a:pt x="72" y="126"/>
                  </a:lnTo>
                  <a:lnTo>
                    <a:pt x="64" y="127"/>
                  </a:lnTo>
                  <a:lnTo>
                    <a:pt x="44" y="127"/>
                  </a:lnTo>
                  <a:lnTo>
                    <a:pt x="36" y="125"/>
                  </a:lnTo>
                  <a:lnTo>
                    <a:pt x="30" y="121"/>
                  </a:lnTo>
                  <a:lnTo>
                    <a:pt x="25" y="114"/>
                  </a:lnTo>
                  <a:lnTo>
                    <a:pt x="21" y="105"/>
                  </a:lnTo>
                  <a:lnTo>
                    <a:pt x="16" y="94"/>
                  </a:lnTo>
                  <a:lnTo>
                    <a:pt x="10" y="84"/>
                  </a:lnTo>
                  <a:lnTo>
                    <a:pt x="4" y="75"/>
                  </a:lnTo>
                  <a:lnTo>
                    <a:pt x="0" y="70"/>
                  </a:lnTo>
                  <a:lnTo>
                    <a:pt x="4" y="59"/>
                  </a:lnTo>
                  <a:lnTo>
                    <a:pt x="8" y="49"/>
                  </a:lnTo>
                  <a:lnTo>
                    <a:pt x="13" y="43"/>
                  </a:lnTo>
                  <a:lnTo>
                    <a:pt x="17" y="41"/>
                  </a:lnTo>
                  <a:lnTo>
                    <a:pt x="20" y="42"/>
                  </a:lnTo>
                  <a:lnTo>
                    <a:pt x="23" y="45"/>
                  </a:lnTo>
                  <a:lnTo>
                    <a:pt x="26" y="51"/>
                  </a:lnTo>
                  <a:lnTo>
                    <a:pt x="27" y="52"/>
                  </a:lnTo>
                  <a:lnTo>
                    <a:pt x="29" y="52"/>
                  </a:lnTo>
                  <a:lnTo>
                    <a:pt x="31" y="51"/>
                  </a:lnTo>
                  <a:lnTo>
                    <a:pt x="35" y="47"/>
                  </a:lnTo>
                  <a:lnTo>
                    <a:pt x="39" y="41"/>
                  </a:lnTo>
                  <a:lnTo>
                    <a:pt x="44" y="36"/>
                  </a:lnTo>
                  <a:lnTo>
                    <a:pt x="49" y="33"/>
                  </a:lnTo>
                  <a:lnTo>
                    <a:pt x="57" y="31"/>
                  </a:lnTo>
                  <a:lnTo>
                    <a:pt x="63" y="30"/>
                  </a:lnTo>
                  <a:lnTo>
                    <a:pt x="66" y="28"/>
                  </a:lnTo>
                  <a:lnTo>
                    <a:pt x="70" y="22"/>
                  </a:lnTo>
                  <a:lnTo>
                    <a:pt x="72" y="20"/>
                  </a:lnTo>
                  <a:lnTo>
                    <a:pt x="75" y="20"/>
                  </a:lnTo>
                  <a:lnTo>
                    <a:pt x="77" y="21"/>
                  </a:lnTo>
                  <a:lnTo>
                    <a:pt x="80" y="22"/>
                  </a:lnTo>
                  <a:lnTo>
                    <a:pt x="81" y="25"/>
                  </a:lnTo>
                  <a:lnTo>
                    <a:pt x="83" y="27"/>
                  </a:lnTo>
                  <a:lnTo>
                    <a:pt x="84" y="30"/>
                  </a:lnTo>
                  <a:lnTo>
                    <a:pt x="86" y="34"/>
                  </a:lnTo>
                  <a:lnTo>
                    <a:pt x="89" y="34"/>
                  </a:lnTo>
                  <a:lnTo>
                    <a:pt x="90" y="32"/>
                  </a:lnTo>
                  <a:lnTo>
                    <a:pt x="91" y="28"/>
                  </a:lnTo>
                  <a:lnTo>
                    <a:pt x="90" y="23"/>
                  </a:lnTo>
                  <a:lnTo>
                    <a:pt x="88" y="17"/>
                  </a:lnTo>
                  <a:lnTo>
                    <a:pt x="88" y="13"/>
                  </a:lnTo>
                  <a:lnTo>
                    <a:pt x="89" y="9"/>
                  </a:lnTo>
                  <a:lnTo>
                    <a:pt x="93" y="6"/>
                  </a:lnTo>
                  <a:lnTo>
                    <a:pt x="102" y="3"/>
                  </a:lnTo>
                  <a:lnTo>
                    <a:pt x="109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18">
              <a:extLst>
                <a:ext uri="{FF2B5EF4-FFF2-40B4-BE49-F238E27FC236}">
                  <a16:creationId xmlns:a16="http://schemas.microsoft.com/office/drawing/2014/main" id="{DC327609-921F-460C-B39B-195B0BC9632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2101" y="1319213"/>
              <a:ext cx="960438" cy="1022350"/>
            </a:xfrm>
            <a:custGeom>
              <a:avLst/>
              <a:gdLst/>
              <a:ahLst/>
              <a:cxnLst>
                <a:cxn ang="0">
                  <a:pos x="111" y="19"/>
                </a:cxn>
                <a:cxn ang="0">
                  <a:pos x="155" y="44"/>
                </a:cxn>
                <a:cxn ang="0">
                  <a:pos x="201" y="35"/>
                </a:cxn>
                <a:cxn ang="0">
                  <a:pos x="213" y="40"/>
                </a:cxn>
                <a:cxn ang="0">
                  <a:pos x="246" y="38"/>
                </a:cxn>
                <a:cxn ang="0">
                  <a:pos x="283" y="54"/>
                </a:cxn>
                <a:cxn ang="0">
                  <a:pos x="316" y="54"/>
                </a:cxn>
                <a:cxn ang="0">
                  <a:pos x="342" y="92"/>
                </a:cxn>
                <a:cxn ang="0">
                  <a:pos x="331" y="100"/>
                </a:cxn>
                <a:cxn ang="0">
                  <a:pos x="344" y="147"/>
                </a:cxn>
                <a:cxn ang="0">
                  <a:pos x="323" y="188"/>
                </a:cxn>
                <a:cxn ang="0">
                  <a:pos x="380" y="184"/>
                </a:cxn>
                <a:cxn ang="0">
                  <a:pos x="385" y="214"/>
                </a:cxn>
                <a:cxn ang="0">
                  <a:pos x="376" y="247"/>
                </a:cxn>
                <a:cxn ang="0">
                  <a:pos x="405" y="205"/>
                </a:cxn>
                <a:cxn ang="0">
                  <a:pos x="463" y="222"/>
                </a:cxn>
                <a:cxn ang="0">
                  <a:pos x="509" y="251"/>
                </a:cxn>
                <a:cxn ang="0">
                  <a:pos x="561" y="220"/>
                </a:cxn>
                <a:cxn ang="0">
                  <a:pos x="599" y="232"/>
                </a:cxn>
                <a:cxn ang="0">
                  <a:pos x="604" y="292"/>
                </a:cxn>
                <a:cxn ang="0">
                  <a:pos x="552" y="343"/>
                </a:cxn>
                <a:cxn ang="0">
                  <a:pos x="522" y="363"/>
                </a:cxn>
                <a:cxn ang="0">
                  <a:pos x="547" y="381"/>
                </a:cxn>
                <a:cxn ang="0">
                  <a:pos x="558" y="402"/>
                </a:cxn>
                <a:cxn ang="0">
                  <a:pos x="530" y="438"/>
                </a:cxn>
                <a:cxn ang="0">
                  <a:pos x="534" y="494"/>
                </a:cxn>
                <a:cxn ang="0">
                  <a:pos x="574" y="523"/>
                </a:cxn>
                <a:cxn ang="0">
                  <a:pos x="567" y="564"/>
                </a:cxn>
                <a:cxn ang="0">
                  <a:pos x="538" y="581"/>
                </a:cxn>
                <a:cxn ang="0">
                  <a:pos x="497" y="613"/>
                </a:cxn>
                <a:cxn ang="0">
                  <a:pos x="454" y="633"/>
                </a:cxn>
                <a:cxn ang="0">
                  <a:pos x="399" y="588"/>
                </a:cxn>
                <a:cxn ang="0">
                  <a:pos x="395" y="544"/>
                </a:cxn>
                <a:cxn ang="0">
                  <a:pos x="385" y="495"/>
                </a:cxn>
                <a:cxn ang="0">
                  <a:pos x="362" y="518"/>
                </a:cxn>
                <a:cxn ang="0">
                  <a:pos x="353" y="520"/>
                </a:cxn>
                <a:cxn ang="0">
                  <a:pos x="335" y="525"/>
                </a:cxn>
                <a:cxn ang="0">
                  <a:pos x="301" y="547"/>
                </a:cxn>
                <a:cxn ang="0">
                  <a:pos x="280" y="544"/>
                </a:cxn>
                <a:cxn ang="0">
                  <a:pos x="233" y="540"/>
                </a:cxn>
                <a:cxn ang="0">
                  <a:pos x="194" y="474"/>
                </a:cxn>
                <a:cxn ang="0">
                  <a:pos x="144" y="425"/>
                </a:cxn>
                <a:cxn ang="0">
                  <a:pos x="72" y="403"/>
                </a:cxn>
                <a:cxn ang="0">
                  <a:pos x="78" y="364"/>
                </a:cxn>
                <a:cxn ang="0">
                  <a:pos x="100" y="342"/>
                </a:cxn>
                <a:cxn ang="0">
                  <a:pos x="67" y="322"/>
                </a:cxn>
                <a:cxn ang="0">
                  <a:pos x="61" y="284"/>
                </a:cxn>
                <a:cxn ang="0">
                  <a:pos x="87" y="257"/>
                </a:cxn>
                <a:cxn ang="0">
                  <a:pos x="52" y="259"/>
                </a:cxn>
                <a:cxn ang="0">
                  <a:pos x="14" y="265"/>
                </a:cxn>
                <a:cxn ang="0">
                  <a:pos x="3" y="231"/>
                </a:cxn>
                <a:cxn ang="0">
                  <a:pos x="18" y="221"/>
                </a:cxn>
                <a:cxn ang="0">
                  <a:pos x="10" y="215"/>
                </a:cxn>
                <a:cxn ang="0">
                  <a:pos x="50" y="207"/>
                </a:cxn>
                <a:cxn ang="0">
                  <a:pos x="98" y="188"/>
                </a:cxn>
                <a:cxn ang="0">
                  <a:pos x="80" y="143"/>
                </a:cxn>
                <a:cxn ang="0">
                  <a:pos x="58" y="105"/>
                </a:cxn>
                <a:cxn ang="0">
                  <a:pos x="26" y="66"/>
                </a:cxn>
                <a:cxn ang="0">
                  <a:pos x="27" y="6"/>
                </a:cxn>
              </a:cxnLst>
              <a:rect l="0" t="0" r="r" b="b"/>
              <a:pathLst>
                <a:path w="605" h="644">
                  <a:moveTo>
                    <a:pt x="53" y="0"/>
                  </a:moveTo>
                  <a:lnTo>
                    <a:pt x="62" y="0"/>
                  </a:lnTo>
                  <a:lnTo>
                    <a:pt x="70" y="2"/>
                  </a:lnTo>
                  <a:lnTo>
                    <a:pt x="78" y="6"/>
                  </a:lnTo>
                  <a:lnTo>
                    <a:pt x="87" y="10"/>
                  </a:lnTo>
                  <a:lnTo>
                    <a:pt x="97" y="15"/>
                  </a:lnTo>
                  <a:lnTo>
                    <a:pt x="111" y="19"/>
                  </a:lnTo>
                  <a:lnTo>
                    <a:pt x="126" y="21"/>
                  </a:lnTo>
                  <a:lnTo>
                    <a:pt x="147" y="21"/>
                  </a:lnTo>
                  <a:lnTo>
                    <a:pt x="153" y="23"/>
                  </a:lnTo>
                  <a:lnTo>
                    <a:pt x="155" y="27"/>
                  </a:lnTo>
                  <a:lnTo>
                    <a:pt x="155" y="33"/>
                  </a:lnTo>
                  <a:lnTo>
                    <a:pt x="154" y="39"/>
                  </a:lnTo>
                  <a:lnTo>
                    <a:pt x="155" y="44"/>
                  </a:lnTo>
                  <a:lnTo>
                    <a:pt x="158" y="48"/>
                  </a:lnTo>
                  <a:lnTo>
                    <a:pt x="164" y="49"/>
                  </a:lnTo>
                  <a:lnTo>
                    <a:pt x="174" y="47"/>
                  </a:lnTo>
                  <a:lnTo>
                    <a:pt x="184" y="44"/>
                  </a:lnTo>
                  <a:lnTo>
                    <a:pt x="192" y="41"/>
                  </a:lnTo>
                  <a:lnTo>
                    <a:pt x="197" y="37"/>
                  </a:lnTo>
                  <a:lnTo>
                    <a:pt x="201" y="35"/>
                  </a:lnTo>
                  <a:lnTo>
                    <a:pt x="207" y="33"/>
                  </a:lnTo>
                  <a:lnTo>
                    <a:pt x="213" y="32"/>
                  </a:lnTo>
                  <a:lnTo>
                    <a:pt x="212" y="34"/>
                  </a:lnTo>
                  <a:lnTo>
                    <a:pt x="210" y="38"/>
                  </a:lnTo>
                  <a:lnTo>
                    <a:pt x="210" y="39"/>
                  </a:lnTo>
                  <a:lnTo>
                    <a:pt x="211" y="40"/>
                  </a:lnTo>
                  <a:lnTo>
                    <a:pt x="213" y="40"/>
                  </a:lnTo>
                  <a:lnTo>
                    <a:pt x="220" y="38"/>
                  </a:lnTo>
                  <a:lnTo>
                    <a:pt x="227" y="33"/>
                  </a:lnTo>
                  <a:lnTo>
                    <a:pt x="233" y="29"/>
                  </a:lnTo>
                  <a:lnTo>
                    <a:pt x="237" y="27"/>
                  </a:lnTo>
                  <a:lnTo>
                    <a:pt x="240" y="28"/>
                  </a:lnTo>
                  <a:lnTo>
                    <a:pt x="242" y="33"/>
                  </a:lnTo>
                  <a:lnTo>
                    <a:pt x="246" y="38"/>
                  </a:lnTo>
                  <a:lnTo>
                    <a:pt x="250" y="42"/>
                  </a:lnTo>
                  <a:lnTo>
                    <a:pt x="255" y="44"/>
                  </a:lnTo>
                  <a:lnTo>
                    <a:pt x="260" y="44"/>
                  </a:lnTo>
                  <a:lnTo>
                    <a:pt x="266" y="43"/>
                  </a:lnTo>
                  <a:lnTo>
                    <a:pt x="273" y="45"/>
                  </a:lnTo>
                  <a:lnTo>
                    <a:pt x="279" y="49"/>
                  </a:lnTo>
                  <a:lnTo>
                    <a:pt x="283" y="54"/>
                  </a:lnTo>
                  <a:lnTo>
                    <a:pt x="291" y="66"/>
                  </a:lnTo>
                  <a:lnTo>
                    <a:pt x="296" y="69"/>
                  </a:lnTo>
                  <a:lnTo>
                    <a:pt x="302" y="70"/>
                  </a:lnTo>
                  <a:lnTo>
                    <a:pt x="307" y="67"/>
                  </a:lnTo>
                  <a:lnTo>
                    <a:pt x="311" y="63"/>
                  </a:lnTo>
                  <a:lnTo>
                    <a:pt x="314" y="58"/>
                  </a:lnTo>
                  <a:lnTo>
                    <a:pt x="316" y="54"/>
                  </a:lnTo>
                  <a:lnTo>
                    <a:pt x="319" y="53"/>
                  </a:lnTo>
                  <a:lnTo>
                    <a:pt x="324" y="56"/>
                  </a:lnTo>
                  <a:lnTo>
                    <a:pt x="329" y="63"/>
                  </a:lnTo>
                  <a:lnTo>
                    <a:pt x="337" y="77"/>
                  </a:lnTo>
                  <a:lnTo>
                    <a:pt x="339" y="82"/>
                  </a:lnTo>
                  <a:lnTo>
                    <a:pt x="341" y="88"/>
                  </a:lnTo>
                  <a:lnTo>
                    <a:pt x="342" y="92"/>
                  </a:lnTo>
                  <a:lnTo>
                    <a:pt x="340" y="94"/>
                  </a:lnTo>
                  <a:lnTo>
                    <a:pt x="336" y="95"/>
                  </a:lnTo>
                  <a:lnTo>
                    <a:pt x="330" y="96"/>
                  </a:lnTo>
                  <a:lnTo>
                    <a:pt x="325" y="98"/>
                  </a:lnTo>
                  <a:lnTo>
                    <a:pt x="323" y="99"/>
                  </a:lnTo>
                  <a:lnTo>
                    <a:pt x="325" y="100"/>
                  </a:lnTo>
                  <a:lnTo>
                    <a:pt x="331" y="100"/>
                  </a:lnTo>
                  <a:lnTo>
                    <a:pt x="337" y="101"/>
                  </a:lnTo>
                  <a:lnTo>
                    <a:pt x="342" y="104"/>
                  </a:lnTo>
                  <a:lnTo>
                    <a:pt x="344" y="109"/>
                  </a:lnTo>
                  <a:lnTo>
                    <a:pt x="344" y="115"/>
                  </a:lnTo>
                  <a:lnTo>
                    <a:pt x="345" y="125"/>
                  </a:lnTo>
                  <a:lnTo>
                    <a:pt x="345" y="136"/>
                  </a:lnTo>
                  <a:lnTo>
                    <a:pt x="344" y="147"/>
                  </a:lnTo>
                  <a:lnTo>
                    <a:pt x="342" y="156"/>
                  </a:lnTo>
                  <a:lnTo>
                    <a:pt x="338" y="163"/>
                  </a:lnTo>
                  <a:lnTo>
                    <a:pt x="315" y="178"/>
                  </a:lnTo>
                  <a:lnTo>
                    <a:pt x="310" y="182"/>
                  </a:lnTo>
                  <a:lnTo>
                    <a:pt x="310" y="186"/>
                  </a:lnTo>
                  <a:lnTo>
                    <a:pt x="315" y="188"/>
                  </a:lnTo>
                  <a:lnTo>
                    <a:pt x="323" y="188"/>
                  </a:lnTo>
                  <a:lnTo>
                    <a:pt x="331" y="186"/>
                  </a:lnTo>
                  <a:lnTo>
                    <a:pt x="337" y="184"/>
                  </a:lnTo>
                  <a:lnTo>
                    <a:pt x="344" y="181"/>
                  </a:lnTo>
                  <a:lnTo>
                    <a:pt x="353" y="177"/>
                  </a:lnTo>
                  <a:lnTo>
                    <a:pt x="363" y="176"/>
                  </a:lnTo>
                  <a:lnTo>
                    <a:pt x="373" y="179"/>
                  </a:lnTo>
                  <a:lnTo>
                    <a:pt x="380" y="184"/>
                  </a:lnTo>
                  <a:lnTo>
                    <a:pt x="383" y="189"/>
                  </a:lnTo>
                  <a:lnTo>
                    <a:pt x="384" y="193"/>
                  </a:lnTo>
                  <a:lnTo>
                    <a:pt x="383" y="195"/>
                  </a:lnTo>
                  <a:lnTo>
                    <a:pt x="384" y="198"/>
                  </a:lnTo>
                  <a:lnTo>
                    <a:pt x="386" y="202"/>
                  </a:lnTo>
                  <a:lnTo>
                    <a:pt x="387" y="207"/>
                  </a:lnTo>
                  <a:lnTo>
                    <a:pt x="385" y="214"/>
                  </a:lnTo>
                  <a:lnTo>
                    <a:pt x="383" y="217"/>
                  </a:lnTo>
                  <a:lnTo>
                    <a:pt x="381" y="219"/>
                  </a:lnTo>
                  <a:lnTo>
                    <a:pt x="380" y="220"/>
                  </a:lnTo>
                  <a:lnTo>
                    <a:pt x="378" y="222"/>
                  </a:lnTo>
                  <a:lnTo>
                    <a:pt x="378" y="232"/>
                  </a:lnTo>
                  <a:lnTo>
                    <a:pt x="376" y="244"/>
                  </a:lnTo>
                  <a:lnTo>
                    <a:pt x="376" y="247"/>
                  </a:lnTo>
                  <a:lnTo>
                    <a:pt x="378" y="246"/>
                  </a:lnTo>
                  <a:lnTo>
                    <a:pt x="381" y="241"/>
                  </a:lnTo>
                  <a:lnTo>
                    <a:pt x="384" y="232"/>
                  </a:lnTo>
                  <a:lnTo>
                    <a:pt x="389" y="222"/>
                  </a:lnTo>
                  <a:lnTo>
                    <a:pt x="394" y="214"/>
                  </a:lnTo>
                  <a:lnTo>
                    <a:pt x="399" y="209"/>
                  </a:lnTo>
                  <a:lnTo>
                    <a:pt x="405" y="205"/>
                  </a:lnTo>
                  <a:lnTo>
                    <a:pt x="412" y="200"/>
                  </a:lnTo>
                  <a:lnTo>
                    <a:pt x="419" y="197"/>
                  </a:lnTo>
                  <a:lnTo>
                    <a:pt x="425" y="199"/>
                  </a:lnTo>
                  <a:lnTo>
                    <a:pt x="432" y="204"/>
                  </a:lnTo>
                  <a:lnTo>
                    <a:pt x="443" y="211"/>
                  </a:lnTo>
                  <a:lnTo>
                    <a:pt x="454" y="217"/>
                  </a:lnTo>
                  <a:lnTo>
                    <a:pt x="463" y="222"/>
                  </a:lnTo>
                  <a:lnTo>
                    <a:pt x="473" y="226"/>
                  </a:lnTo>
                  <a:lnTo>
                    <a:pt x="481" y="230"/>
                  </a:lnTo>
                  <a:lnTo>
                    <a:pt x="488" y="235"/>
                  </a:lnTo>
                  <a:lnTo>
                    <a:pt x="493" y="238"/>
                  </a:lnTo>
                  <a:lnTo>
                    <a:pt x="496" y="242"/>
                  </a:lnTo>
                  <a:lnTo>
                    <a:pt x="502" y="247"/>
                  </a:lnTo>
                  <a:lnTo>
                    <a:pt x="509" y="251"/>
                  </a:lnTo>
                  <a:lnTo>
                    <a:pt x="518" y="251"/>
                  </a:lnTo>
                  <a:lnTo>
                    <a:pt x="524" y="248"/>
                  </a:lnTo>
                  <a:lnTo>
                    <a:pt x="532" y="243"/>
                  </a:lnTo>
                  <a:lnTo>
                    <a:pt x="541" y="236"/>
                  </a:lnTo>
                  <a:lnTo>
                    <a:pt x="549" y="230"/>
                  </a:lnTo>
                  <a:lnTo>
                    <a:pt x="556" y="224"/>
                  </a:lnTo>
                  <a:lnTo>
                    <a:pt x="561" y="220"/>
                  </a:lnTo>
                  <a:lnTo>
                    <a:pt x="569" y="220"/>
                  </a:lnTo>
                  <a:lnTo>
                    <a:pt x="578" y="220"/>
                  </a:lnTo>
                  <a:lnTo>
                    <a:pt x="587" y="223"/>
                  </a:lnTo>
                  <a:lnTo>
                    <a:pt x="592" y="224"/>
                  </a:lnTo>
                  <a:lnTo>
                    <a:pt x="595" y="225"/>
                  </a:lnTo>
                  <a:lnTo>
                    <a:pt x="597" y="226"/>
                  </a:lnTo>
                  <a:lnTo>
                    <a:pt x="599" y="232"/>
                  </a:lnTo>
                  <a:lnTo>
                    <a:pt x="599" y="236"/>
                  </a:lnTo>
                  <a:lnTo>
                    <a:pt x="600" y="241"/>
                  </a:lnTo>
                  <a:lnTo>
                    <a:pt x="601" y="250"/>
                  </a:lnTo>
                  <a:lnTo>
                    <a:pt x="603" y="261"/>
                  </a:lnTo>
                  <a:lnTo>
                    <a:pt x="604" y="273"/>
                  </a:lnTo>
                  <a:lnTo>
                    <a:pt x="605" y="284"/>
                  </a:lnTo>
                  <a:lnTo>
                    <a:pt x="604" y="292"/>
                  </a:lnTo>
                  <a:lnTo>
                    <a:pt x="603" y="297"/>
                  </a:lnTo>
                  <a:lnTo>
                    <a:pt x="587" y="314"/>
                  </a:lnTo>
                  <a:lnTo>
                    <a:pt x="578" y="322"/>
                  </a:lnTo>
                  <a:lnTo>
                    <a:pt x="570" y="330"/>
                  </a:lnTo>
                  <a:lnTo>
                    <a:pt x="562" y="337"/>
                  </a:lnTo>
                  <a:lnTo>
                    <a:pt x="556" y="341"/>
                  </a:lnTo>
                  <a:lnTo>
                    <a:pt x="552" y="343"/>
                  </a:lnTo>
                  <a:lnTo>
                    <a:pt x="546" y="342"/>
                  </a:lnTo>
                  <a:lnTo>
                    <a:pt x="540" y="342"/>
                  </a:lnTo>
                  <a:lnTo>
                    <a:pt x="534" y="344"/>
                  </a:lnTo>
                  <a:lnTo>
                    <a:pt x="531" y="348"/>
                  </a:lnTo>
                  <a:lnTo>
                    <a:pt x="527" y="353"/>
                  </a:lnTo>
                  <a:lnTo>
                    <a:pt x="524" y="358"/>
                  </a:lnTo>
                  <a:lnTo>
                    <a:pt x="522" y="363"/>
                  </a:lnTo>
                  <a:lnTo>
                    <a:pt x="522" y="366"/>
                  </a:lnTo>
                  <a:lnTo>
                    <a:pt x="523" y="369"/>
                  </a:lnTo>
                  <a:lnTo>
                    <a:pt x="527" y="377"/>
                  </a:lnTo>
                  <a:lnTo>
                    <a:pt x="531" y="381"/>
                  </a:lnTo>
                  <a:lnTo>
                    <a:pt x="536" y="382"/>
                  </a:lnTo>
                  <a:lnTo>
                    <a:pt x="544" y="382"/>
                  </a:lnTo>
                  <a:lnTo>
                    <a:pt x="547" y="381"/>
                  </a:lnTo>
                  <a:lnTo>
                    <a:pt x="549" y="382"/>
                  </a:lnTo>
                  <a:lnTo>
                    <a:pt x="551" y="382"/>
                  </a:lnTo>
                  <a:lnTo>
                    <a:pt x="551" y="387"/>
                  </a:lnTo>
                  <a:lnTo>
                    <a:pt x="552" y="389"/>
                  </a:lnTo>
                  <a:lnTo>
                    <a:pt x="555" y="392"/>
                  </a:lnTo>
                  <a:lnTo>
                    <a:pt x="558" y="393"/>
                  </a:lnTo>
                  <a:lnTo>
                    <a:pt x="558" y="402"/>
                  </a:lnTo>
                  <a:lnTo>
                    <a:pt x="559" y="410"/>
                  </a:lnTo>
                  <a:lnTo>
                    <a:pt x="558" y="415"/>
                  </a:lnTo>
                  <a:lnTo>
                    <a:pt x="556" y="417"/>
                  </a:lnTo>
                  <a:lnTo>
                    <a:pt x="550" y="419"/>
                  </a:lnTo>
                  <a:lnTo>
                    <a:pt x="543" y="422"/>
                  </a:lnTo>
                  <a:lnTo>
                    <a:pt x="532" y="433"/>
                  </a:lnTo>
                  <a:lnTo>
                    <a:pt x="530" y="438"/>
                  </a:lnTo>
                  <a:lnTo>
                    <a:pt x="530" y="449"/>
                  </a:lnTo>
                  <a:lnTo>
                    <a:pt x="528" y="462"/>
                  </a:lnTo>
                  <a:lnTo>
                    <a:pt x="524" y="477"/>
                  </a:lnTo>
                  <a:lnTo>
                    <a:pt x="523" y="483"/>
                  </a:lnTo>
                  <a:lnTo>
                    <a:pt x="525" y="487"/>
                  </a:lnTo>
                  <a:lnTo>
                    <a:pt x="531" y="491"/>
                  </a:lnTo>
                  <a:lnTo>
                    <a:pt x="534" y="494"/>
                  </a:lnTo>
                  <a:lnTo>
                    <a:pt x="541" y="500"/>
                  </a:lnTo>
                  <a:lnTo>
                    <a:pt x="551" y="504"/>
                  </a:lnTo>
                  <a:lnTo>
                    <a:pt x="564" y="506"/>
                  </a:lnTo>
                  <a:lnTo>
                    <a:pt x="569" y="508"/>
                  </a:lnTo>
                  <a:lnTo>
                    <a:pt x="573" y="512"/>
                  </a:lnTo>
                  <a:lnTo>
                    <a:pt x="574" y="517"/>
                  </a:lnTo>
                  <a:lnTo>
                    <a:pt x="574" y="523"/>
                  </a:lnTo>
                  <a:lnTo>
                    <a:pt x="573" y="530"/>
                  </a:lnTo>
                  <a:lnTo>
                    <a:pt x="571" y="540"/>
                  </a:lnTo>
                  <a:lnTo>
                    <a:pt x="571" y="544"/>
                  </a:lnTo>
                  <a:lnTo>
                    <a:pt x="572" y="548"/>
                  </a:lnTo>
                  <a:lnTo>
                    <a:pt x="573" y="553"/>
                  </a:lnTo>
                  <a:lnTo>
                    <a:pt x="571" y="560"/>
                  </a:lnTo>
                  <a:lnTo>
                    <a:pt x="567" y="564"/>
                  </a:lnTo>
                  <a:lnTo>
                    <a:pt x="562" y="565"/>
                  </a:lnTo>
                  <a:lnTo>
                    <a:pt x="556" y="564"/>
                  </a:lnTo>
                  <a:lnTo>
                    <a:pt x="551" y="563"/>
                  </a:lnTo>
                  <a:lnTo>
                    <a:pt x="546" y="563"/>
                  </a:lnTo>
                  <a:lnTo>
                    <a:pt x="544" y="565"/>
                  </a:lnTo>
                  <a:lnTo>
                    <a:pt x="542" y="572"/>
                  </a:lnTo>
                  <a:lnTo>
                    <a:pt x="538" y="581"/>
                  </a:lnTo>
                  <a:lnTo>
                    <a:pt x="533" y="590"/>
                  </a:lnTo>
                  <a:lnTo>
                    <a:pt x="529" y="596"/>
                  </a:lnTo>
                  <a:lnTo>
                    <a:pt x="523" y="599"/>
                  </a:lnTo>
                  <a:lnTo>
                    <a:pt x="514" y="602"/>
                  </a:lnTo>
                  <a:lnTo>
                    <a:pt x="506" y="605"/>
                  </a:lnTo>
                  <a:lnTo>
                    <a:pt x="499" y="608"/>
                  </a:lnTo>
                  <a:lnTo>
                    <a:pt x="497" y="613"/>
                  </a:lnTo>
                  <a:lnTo>
                    <a:pt x="495" y="621"/>
                  </a:lnTo>
                  <a:lnTo>
                    <a:pt x="494" y="631"/>
                  </a:lnTo>
                  <a:lnTo>
                    <a:pt x="493" y="644"/>
                  </a:lnTo>
                  <a:lnTo>
                    <a:pt x="480" y="644"/>
                  </a:lnTo>
                  <a:lnTo>
                    <a:pt x="473" y="642"/>
                  </a:lnTo>
                  <a:lnTo>
                    <a:pt x="464" y="638"/>
                  </a:lnTo>
                  <a:lnTo>
                    <a:pt x="454" y="633"/>
                  </a:lnTo>
                  <a:lnTo>
                    <a:pt x="444" y="629"/>
                  </a:lnTo>
                  <a:lnTo>
                    <a:pt x="436" y="624"/>
                  </a:lnTo>
                  <a:lnTo>
                    <a:pt x="430" y="621"/>
                  </a:lnTo>
                  <a:lnTo>
                    <a:pt x="422" y="619"/>
                  </a:lnTo>
                  <a:lnTo>
                    <a:pt x="414" y="608"/>
                  </a:lnTo>
                  <a:lnTo>
                    <a:pt x="407" y="598"/>
                  </a:lnTo>
                  <a:lnTo>
                    <a:pt x="399" y="588"/>
                  </a:lnTo>
                  <a:lnTo>
                    <a:pt x="393" y="581"/>
                  </a:lnTo>
                  <a:lnTo>
                    <a:pt x="389" y="577"/>
                  </a:lnTo>
                  <a:lnTo>
                    <a:pt x="386" y="572"/>
                  </a:lnTo>
                  <a:lnTo>
                    <a:pt x="386" y="565"/>
                  </a:lnTo>
                  <a:lnTo>
                    <a:pt x="388" y="557"/>
                  </a:lnTo>
                  <a:lnTo>
                    <a:pt x="391" y="550"/>
                  </a:lnTo>
                  <a:lnTo>
                    <a:pt x="395" y="544"/>
                  </a:lnTo>
                  <a:lnTo>
                    <a:pt x="397" y="537"/>
                  </a:lnTo>
                  <a:lnTo>
                    <a:pt x="395" y="530"/>
                  </a:lnTo>
                  <a:lnTo>
                    <a:pt x="390" y="523"/>
                  </a:lnTo>
                  <a:lnTo>
                    <a:pt x="386" y="519"/>
                  </a:lnTo>
                  <a:lnTo>
                    <a:pt x="384" y="515"/>
                  </a:lnTo>
                  <a:lnTo>
                    <a:pt x="387" y="497"/>
                  </a:lnTo>
                  <a:lnTo>
                    <a:pt x="385" y="495"/>
                  </a:lnTo>
                  <a:lnTo>
                    <a:pt x="381" y="495"/>
                  </a:lnTo>
                  <a:lnTo>
                    <a:pt x="374" y="498"/>
                  </a:lnTo>
                  <a:lnTo>
                    <a:pt x="365" y="501"/>
                  </a:lnTo>
                  <a:lnTo>
                    <a:pt x="361" y="504"/>
                  </a:lnTo>
                  <a:lnTo>
                    <a:pt x="360" y="508"/>
                  </a:lnTo>
                  <a:lnTo>
                    <a:pt x="360" y="512"/>
                  </a:lnTo>
                  <a:lnTo>
                    <a:pt x="362" y="518"/>
                  </a:lnTo>
                  <a:lnTo>
                    <a:pt x="363" y="523"/>
                  </a:lnTo>
                  <a:lnTo>
                    <a:pt x="362" y="527"/>
                  </a:lnTo>
                  <a:lnTo>
                    <a:pt x="361" y="529"/>
                  </a:lnTo>
                  <a:lnTo>
                    <a:pt x="358" y="529"/>
                  </a:lnTo>
                  <a:lnTo>
                    <a:pt x="356" y="525"/>
                  </a:lnTo>
                  <a:lnTo>
                    <a:pt x="355" y="522"/>
                  </a:lnTo>
                  <a:lnTo>
                    <a:pt x="353" y="520"/>
                  </a:lnTo>
                  <a:lnTo>
                    <a:pt x="352" y="517"/>
                  </a:lnTo>
                  <a:lnTo>
                    <a:pt x="349" y="516"/>
                  </a:lnTo>
                  <a:lnTo>
                    <a:pt x="347" y="515"/>
                  </a:lnTo>
                  <a:lnTo>
                    <a:pt x="344" y="515"/>
                  </a:lnTo>
                  <a:lnTo>
                    <a:pt x="342" y="517"/>
                  </a:lnTo>
                  <a:lnTo>
                    <a:pt x="338" y="523"/>
                  </a:lnTo>
                  <a:lnTo>
                    <a:pt x="335" y="525"/>
                  </a:lnTo>
                  <a:lnTo>
                    <a:pt x="329" y="526"/>
                  </a:lnTo>
                  <a:lnTo>
                    <a:pt x="321" y="528"/>
                  </a:lnTo>
                  <a:lnTo>
                    <a:pt x="316" y="531"/>
                  </a:lnTo>
                  <a:lnTo>
                    <a:pt x="311" y="536"/>
                  </a:lnTo>
                  <a:lnTo>
                    <a:pt x="307" y="542"/>
                  </a:lnTo>
                  <a:lnTo>
                    <a:pt x="303" y="546"/>
                  </a:lnTo>
                  <a:lnTo>
                    <a:pt x="301" y="547"/>
                  </a:lnTo>
                  <a:lnTo>
                    <a:pt x="299" y="547"/>
                  </a:lnTo>
                  <a:lnTo>
                    <a:pt x="298" y="546"/>
                  </a:lnTo>
                  <a:lnTo>
                    <a:pt x="295" y="540"/>
                  </a:lnTo>
                  <a:lnTo>
                    <a:pt x="292" y="537"/>
                  </a:lnTo>
                  <a:lnTo>
                    <a:pt x="289" y="536"/>
                  </a:lnTo>
                  <a:lnTo>
                    <a:pt x="285" y="538"/>
                  </a:lnTo>
                  <a:lnTo>
                    <a:pt x="280" y="544"/>
                  </a:lnTo>
                  <a:lnTo>
                    <a:pt x="276" y="554"/>
                  </a:lnTo>
                  <a:lnTo>
                    <a:pt x="272" y="565"/>
                  </a:lnTo>
                  <a:lnTo>
                    <a:pt x="271" y="565"/>
                  </a:lnTo>
                  <a:lnTo>
                    <a:pt x="266" y="562"/>
                  </a:lnTo>
                  <a:lnTo>
                    <a:pt x="259" y="558"/>
                  </a:lnTo>
                  <a:lnTo>
                    <a:pt x="241" y="546"/>
                  </a:lnTo>
                  <a:lnTo>
                    <a:pt x="233" y="540"/>
                  </a:lnTo>
                  <a:lnTo>
                    <a:pt x="228" y="535"/>
                  </a:lnTo>
                  <a:lnTo>
                    <a:pt x="225" y="529"/>
                  </a:lnTo>
                  <a:lnTo>
                    <a:pt x="219" y="520"/>
                  </a:lnTo>
                  <a:lnTo>
                    <a:pt x="212" y="508"/>
                  </a:lnTo>
                  <a:lnTo>
                    <a:pt x="205" y="494"/>
                  </a:lnTo>
                  <a:lnTo>
                    <a:pt x="196" y="482"/>
                  </a:lnTo>
                  <a:lnTo>
                    <a:pt x="194" y="474"/>
                  </a:lnTo>
                  <a:lnTo>
                    <a:pt x="190" y="465"/>
                  </a:lnTo>
                  <a:lnTo>
                    <a:pt x="185" y="454"/>
                  </a:lnTo>
                  <a:lnTo>
                    <a:pt x="179" y="445"/>
                  </a:lnTo>
                  <a:lnTo>
                    <a:pt x="172" y="439"/>
                  </a:lnTo>
                  <a:lnTo>
                    <a:pt x="163" y="434"/>
                  </a:lnTo>
                  <a:lnTo>
                    <a:pt x="153" y="429"/>
                  </a:lnTo>
                  <a:lnTo>
                    <a:pt x="144" y="425"/>
                  </a:lnTo>
                  <a:lnTo>
                    <a:pt x="135" y="422"/>
                  </a:lnTo>
                  <a:lnTo>
                    <a:pt x="116" y="422"/>
                  </a:lnTo>
                  <a:lnTo>
                    <a:pt x="107" y="421"/>
                  </a:lnTo>
                  <a:lnTo>
                    <a:pt x="93" y="421"/>
                  </a:lnTo>
                  <a:lnTo>
                    <a:pt x="87" y="419"/>
                  </a:lnTo>
                  <a:lnTo>
                    <a:pt x="80" y="414"/>
                  </a:lnTo>
                  <a:lnTo>
                    <a:pt x="72" y="403"/>
                  </a:lnTo>
                  <a:lnTo>
                    <a:pt x="66" y="392"/>
                  </a:lnTo>
                  <a:lnTo>
                    <a:pt x="57" y="374"/>
                  </a:lnTo>
                  <a:lnTo>
                    <a:pt x="57" y="367"/>
                  </a:lnTo>
                  <a:lnTo>
                    <a:pt x="60" y="362"/>
                  </a:lnTo>
                  <a:lnTo>
                    <a:pt x="65" y="361"/>
                  </a:lnTo>
                  <a:lnTo>
                    <a:pt x="71" y="362"/>
                  </a:lnTo>
                  <a:lnTo>
                    <a:pt x="78" y="364"/>
                  </a:lnTo>
                  <a:lnTo>
                    <a:pt x="85" y="367"/>
                  </a:lnTo>
                  <a:lnTo>
                    <a:pt x="91" y="369"/>
                  </a:lnTo>
                  <a:lnTo>
                    <a:pt x="96" y="369"/>
                  </a:lnTo>
                  <a:lnTo>
                    <a:pt x="99" y="366"/>
                  </a:lnTo>
                  <a:lnTo>
                    <a:pt x="101" y="360"/>
                  </a:lnTo>
                  <a:lnTo>
                    <a:pt x="101" y="352"/>
                  </a:lnTo>
                  <a:lnTo>
                    <a:pt x="100" y="342"/>
                  </a:lnTo>
                  <a:lnTo>
                    <a:pt x="98" y="333"/>
                  </a:lnTo>
                  <a:lnTo>
                    <a:pt x="95" y="324"/>
                  </a:lnTo>
                  <a:lnTo>
                    <a:pt x="91" y="318"/>
                  </a:lnTo>
                  <a:lnTo>
                    <a:pt x="87" y="316"/>
                  </a:lnTo>
                  <a:lnTo>
                    <a:pt x="79" y="317"/>
                  </a:lnTo>
                  <a:lnTo>
                    <a:pt x="73" y="319"/>
                  </a:lnTo>
                  <a:lnTo>
                    <a:pt x="67" y="322"/>
                  </a:lnTo>
                  <a:lnTo>
                    <a:pt x="62" y="323"/>
                  </a:lnTo>
                  <a:lnTo>
                    <a:pt x="59" y="321"/>
                  </a:lnTo>
                  <a:lnTo>
                    <a:pt x="53" y="311"/>
                  </a:lnTo>
                  <a:lnTo>
                    <a:pt x="52" y="305"/>
                  </a:lnTo>
                  <a:lnTo>
                    <a:pt x="55" y="297"/>
                  </a:lnTo>
                  <a:lnTo>
                    <a:pt x="59" y="290"/>
                  </a:lnTo>
                  <a:lnTo>
                    <a:pt x="61" y="284"/>
                  </a:lnTo>
                  <a:lnTo>
                    <a:pt x="62" y="279"/>
                  </a:lnTo>
                  <a:lnTo>
                    <a:pt x="62" y="274"/>
                  </a:lnTo>
                  <a:lnTo>
                    <a:pt x="64" y="271"/>
                  </a:lnTo>
                  <a:lnTo>
                    <a:pt x="69" y="269"/>
                  </a:lnTo>
                  <a:lnTo>
                    <a:pt x="76" y="265"/>
                  </a:lnTo>
                  <a:lnTo>
                    <a:pt x="82" y="261"/>
                  </a:lnTo>
                  <a:lnTo>
                    <a:pt x="87" y="257"/>
                  </a:lnTo>
                  <a:lnTo>
                    <a:pt x="87" y="252"/>
                  </a:lnTo>
                  <a:lnTo>
                    <a:pt x="84" y="249"/>
                  </a:lnTo>
                  <a:lnTo>
                    <a:pt x="79" y="249"/>
                  </a:lnTo>
                  <a:lnTo>
                    <a:pt x="69" y="253"/>
                  </a:lnTo>
                  <a:lnTo>
                    <a:pt x="63" y="251"/>
                  </a:lnTo>
                  <a:lnTo>
                    <a:pt x="57" y="257"/>
                  </a:lnTo>
                  <a:lnTo>
                    <a:pt x="52" y="259"/>
                  </a:lnTo>
                  <a:lnTo>
                    <a:pt x="47" y="259"/>
                  </a:lnTo>
                  <a:lnTo>
                    <a:pt x="38" y="258"/>
                  </a:lnTo>
                  <a:lnTo>
                    <a:pt x="30" y="259"/>
                  </a:lnTo>
                  <a:lnTo>
                    <a:pt x="25" y="262"/>
                  </a:lnTo>
                  <a:lnTo>
                    <a:pt x="23" y="264"/>
                  </a:lnTo>
                  <a:lnTo>
                    <a:pt x="19" y="265"/>
                  </a:lnTo>
                  <a:lnTo>
                    <a:pt x="14" y="265"/>
                  </a:lnTo>
                  <a:lnTo>
                    <a:pt x="10" y="262"/>
                  </a:lnTo>
                  <a:lnTo>
                    <a:pt x="7" y="257"/>
                  </a:lnTo>
                  <a:lnTo>
                    <a:pt x="4" y="250"/>
                  </a:lnTo>
                  <a:lnTo>
                    <a:pt x="2" y="243"/>
                  </a:lnTo>
                  <a:lnTo>
                    <a:pt x="0" y="237"/>
                  </a:lnTo>
                  <a:lnTo>
                    <a:pt x="0" y="233"/>
                  </a:lnTo>
                  <a:lnTo>
                    <a:pt x="3" y="231"/>
                  </a:lnTo>
                  <a:lnTo>
                    <a:pt x="8" y="232"/>
                  </a:lnTo>
                  <a:lnTo>
                    <a:pt x="14" y="232"/>
                  </a:lnTo>
                  <a:lnTo>
                    <a:pt x="18" y="231"/>
                  </a:lnTo>
                  <a:lnTo>
                    <a:pt x="21" y="228"/>
                  </a:lnTo>
                  <a:lnTo>
                    <a:pt x="21" y="224"/>
                  </a:lnTo>
                  <a:lnTo>
                    <a:pt x="20" y="222"/>
                  </a:lnTo>
                  <a:lnTo>
                    <a:pt x="18" y="221"/>
                  </a:lnTo>
                  <a:lnTo>
                    <a:pt x="17" y="221"/>
                  </a:lnTo>
                  <a:lnTo>
                    <a:pt x="15" y="222"/>
                  </a:lnTo>
                  <a:lnTo>
                    <a:pt x="14" y="223"/>
                  </a:lnTo>
                  <a:lnTo>
                    <a:pt x="12" y="223"/>
                  </a:lnTo>
                  <a:lnTo>
                    <a:pt x="11" y="222"/>
                  </a:lnTo>
                  <a:lnTo>
                    <a:pt x="10" y="220"/>
                  </a:lnTo>
                  <a:lnTo>
                    <a:pt x="10" y="215"/>
                  </a:lnTo>
                  <a:lnTo>
                    <a:pt x="14" y="211"/>
                  </a:lnTo>
                  <a:lnTo>
                    <a:pt x="17" y="210"/>
                  </a:lnTo>
                  <a:lnTo>
                    <a:pt x="20" y="210"/>
                  </a:lnTo>
                  <a:lnTo>
                    <a:pt x="27" y="209"/>
                  </a:lnTo>
                  <a:lnTo>
                    <a:pt x="34" y="209"/>
                  </a:lnTo>
                  <a:lnTo>
                    <a:pt x="43" y="207"/>
                  </a:lnTo>
                  <a:lnTo>
                    <a:pt x="50" y="207"/>
                  </a:lnTo>
                  <a:lnTo>
                    <a:pt x="58" y="210"/>
                  </a:lnTo>
                  <a:lnTo>
                    <a:pt x="65" y="212"/>
                  </a:lnTo>
                  <a:lnTo>
                    <a:pt x="71" y="210"/>
                  </a:lnTo>
                  <a:lnTo>
                    <a:pt x="77" y="205"/>
                  </a:lnTo>
                  <a:lnTo>
                    <a:pt x="83" y="199"/>
                  </a:lnTo>
                  <a:lnTo>
                    <a:pt x="88" y="194"/>
                  </a:lnTo>
                  <a:lnTo>
                    <a:pt x="98" y="188"/>
                  </a:lnTo>
                  <a:lnTo>
                    <a:pt x="102" y="182"/>
                  </a:lnTo>
                  <a:lnTo>
                    <a:pt x="105" y="175"/>
                  </a:lnTo>
                  <a:lnTo>
                    <a:pt x="104" y="166"/>
                  </a:lnTo>
                  <a:lnTo>
                    <a:pt x="98" y="158"/>
                  </a:lnTo>
                  <a:lnTo>
                    <a:pt x="90" y="152"/>
                  </a:lnTo>
                  <a:lnTo>
                    <a:pt x="84" y="147"/>
                  </a:lnTo>
                  <a:lnTo>
                    <a:pt x="80" y="143"/>
                  </a:lnTo>
                  <a:lnTo>
                    <a:pt x="77" y="136"/>
                  </a:lnTo>
                  <a:lnTo>
                    <a:pt x="72" y="129"/>
                  </a:lnTo>
                  <a:lnTo>
                    <a:pt x="65" y="124"/>
                  </a:lnTo>
                  <a:lnTo>
                    <a:pt x="61" y="121"/>
                  </a:lnTo>
                  <a:lnTo>
                    <a:pt x="61" y="118"/>
                  </a:lnTo>
                  <a:lnTo>
                    <a:pt x="60" y="113"/>
                  </a:lnTo>
                  <a:lnTo>
                    <a:pt x="58" y="105"/>
                  </a:lnTo>
                  <a:lnTo>
                    <a:pt x="53" y="96"/>
                  </a:lnTo>
                  <a:lnTo>
                    <a:pt x="47" y="88"/>
                  </a:lnTo>
                  <a:lnTo>
                    <a:pt x="40" y="81"/>
                  </a:lnTo>
                  <a:lnTo>
                    <a:pt x="32" y="76"/>
                  </a:lnTo>
                  <a:lnTo>
                    <a:pt x="27" y="73"/>
                  </a:lnTo>
                  <a:lnTo>
                    <a:pt x="26" y="70"/>
                  </a:lnTo>
                  <a:lnTo>
                    <a:pt x="26" y="66"/>
                  </a:lnTo>
                  <a:lnTo>
                    <a:pt x="25" y="62"/>
                  </a:lnTo>
                  <a:lnTo>
                    <a:pt x="23" y="57"/>
                  </a:lnTo>
                  <a:lnTo>
                    <a:pt x="18" y="47"/>
                  </a:lnTo>
                  <a:lnTo>
                    <a:pt x="16" y="35"/>
                  </a:lnTo>
                  <a:lnTo>
                    <a:pt x="18" y="22"/>
                  </a:lnTo>
                  <a:lnTo>
                    <a:pt x="24" y="4"/>
                  </a:lnTo>
                  <a:lnTo>
                    <a:pt x="27" y="6"/>
                  </a:lnTo>
                  <a:lnTo>
                    <a:pt x="30" y="7"/>
                  </a:lnTo>
                  <a:lnTo>
                    <a:pt x="32" y="8"/>
                  </a:lnTo>
                  <a:lnTo>
                    <a:pt x="34" y="8"/>
                  </a:lnTo>
                  <a:lnTo>
                    <a:pt x="39" y="6"/>
                  </a:lnTo>
                  <a:lnTo>
                    <a:pt x="45" y="2"/>
                  </a:lnTo>
                  <a:lnTo>
                    <a:pt x="53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19">
              <a:extLst>
                <a:ext uri="{FF2B5EF4-FFF2-40B4-BE49-F238E27FC236}">
                  <a16:creationId xmlns:a16="http://schemas.microsoft.com/office/drawing/2014/main" id="{D2791750-A5AA-4D95-A850-2375563919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54738" y="1589088"/>
              <a:ext cx="1489075" cy="962025"/>
            </a:xfrm>
            <a:custGeom>
              <a:avLst/>
              <a:gdLst/>
              <a:ahLst/>
              <a:cxnLst>
                <a:cxn ang="0">
                  <a:pos x="480" y="436"/>
                </a:cxn>
                <a:cxn ang="0">
                  <a:pos x="507" y="453"/>
                </a:cxn>
                <a:cxn ang="0">
                  <a:pos x="530" y="455"/>
                </a:cxn>
                <a:cxn ang="0">
                  <a:pos x="516" y="425"/>
                </a:cxn>
                <a:cxn ang="0">
                  <a:pos x="454" y="2"/>
                </a:cxn>
                <a:cxn ang="0">
                  <a:pos x="541" y="24"/>
                </a:cxn>
                <a:cxn ang="0">
                  <a:pos x="488" y="28"/>
                </a:cxn>
                <a:cxn ang="0">
                  <a:pos x="432" y="56"/>
                </a:cxn>
                <a:cxn ang="0">
                  <a:pos x="439" y="100"/>
                </a:cxn>
                <a:cxn ang="0">
                  <a:pos x="465" y="55"/>
                </a:cxn>
                <a:cxn ang="0">
                  <a:pos x="525" y="50"/>
                </a:cxn>
                <a:cxn ang="0">
                  <a:pos x="571" y="18"/>
                </a:cxn>
                <a:cxn ang="0">
                  <a:pos x="590" y="47"/>
                </a:cxn>
                <a:cxn ang="0">
                  <a:pos x="626" y="95"/>
                </a:cxn>
                <a:cxn ang="0">
                  <a:pos x="668" y="125"/>
                </a:cxn>
                <a:cxn ang="0">
                  <a:pos x="693" y="153"/>
                </a:cxn>
                <a:cxn ang="0">
                  <a:pos x="740" y="121"/>
                </a:cxn>
                <a:cxn ang="0">
                  <a:pos x="758" y="137"/>
                </a:cxn>
                <a:cxn ang="0">
                  <a:pos x="769" y="188"/>
                </a:cxn>
                <a:cxn ang="0">
                  <a:pos x="797" y="220"/>
                </a:cxn>
                <a:cxn ang="0">
                  <a:pos x="775" y="245"/>
                </a:cxn>
                <a:cxn ang="0">
                  <a:pos x="827" y="284"/>
                </a:cxn>
                <a:cxn ang="0">
                  <a:pos x="880" y="298"/>
                </a:cxn>
                <a:cxn ang="0">
                  <a:pos x="910" y="345"/>
                </a:cxn>
                <a:cxn ang="0">
                  <a:pos x="938" y="458"/>
                </a:cxn>
                <a:cxn ang="0">
                  <a:pos x="864" y="489"/>
                </a:cxn>
                <a:cxn ang="0">
                  <a:pos x="808" y="432"/>
                </a:cxn>
                <a:cxn ang="0">
                  <a:pos x="718" y="464"/>
                </a:cxn>
                <a:cxn ang="0">
                  <a:pos x="691" y="512"/>
                </a:cxn>
                <a:cxn ang="0">
                  <a:pos x="665" y="495"/>
                </a:cxn>
                <a:cxn ang="0">
                  <a:pos x="641" y="514"/>
                </a:cxn>
                <a:cxn ang="0">
                  <a:pos x="619" y="516"/>
                </a:cxn>
                <a:cxn ang="0">
                  <a:pos x="577" y="545"/>
                </a:cxn>
                <a:cxn ang="0">
                  <a:pos x="527" y="526"/>
                </a:cxn>
                <a:cxn ang="0">
                  <a:pos x="477" y="505"/>
                </a:cxn>
                <a:cxn ang="0">
                  <a:pos x="431" y="491"/>
                </a:cxn>
                <a:cxn ang="0">
                  <a:pos x="363" y="472"/>
                </a:cxn>
                <a:cxn ang="0">
                  <a:pos x="315" y="507"/>
                </a:cxn>
                <a:cxn ang="0">
                  <a:pos x="273" y="510"/>
                </a:cxn>
                <a:cxn ang="0">
                  <a:pos x="226" y="561"/>
                </a:cxn>
                <a:cxn ang="0">
                  <a:pos x="264" y="599"/>
                </a:cxn>
                <a:cxn ang="0">
                  <a:pos x="200" y="592"/>
                </a:cxn>
                <a:cxn ang="0">
                  <a:pos x="153" y="564"/>
                </a:cxn>
                <a:cxn ang="0">
                  <a:pos x="135" y="559"/>
                </a:cxn>
                <a:cxn ang="0">
                  <a:pos x="93" y="547"/>
                </a:cxn>
                <a:cxn ang="0">
                  <a:pos x="28" y="499"/>
                </a:cxn>
                <a:cxn ang="0">
                  <a:pos x="2" y="451"/>
                </a:cxn>
                <a:cxn ang="0">
                  <a:pos x="51" y="395"/>
                </a:cxn>
                <a:cxn ang="0">
                  <a:pos x="78" y="370"/>
                </a:cxn>
                <a:cxn ang="0">
                  <a:pos x="38" y="321"/>
                </a:cxn>
                <a:cxn ang="0">
                  <a:pos x="63" y="247"/>
                </a:cxn>
                <a:cxn ang="0">
                  <a:pos x="111" y="206"/>
                </a:cxn>
                <a:cxn ang="0">
                  <a:pos x="145" y="221"/>
                </a:cxn>
                <a:cxn ang="0">
                  <a:pos x="176" y="231"/>
                </a:cxn>
                <a:cxn ang="0">
                  <a:pos x="206" y="229"/>
                </a:cxn>
                <a:cxn ang="0">
                  <a:pos x="239" y="168"/>
                </a:cxn>
                <a:cxn ang="0">
                  <a:pos x="330" y="132"/>
                </a:cxn>
                <a:cxn ang="0">
                  <a:pos x="415" y="72"/>
                </a:cxn>
                <a:cxn ang="0">
                  <a:pos x="450" y="1"/>
                </a:cxn>
              </a:cxnLst>
              <a:rect l="0" t="0" r="r" b="b"/>
              <a:pathLst>
                <a:path w="938" h="606">
                  <a:moveTo>
                    <a:pt x="500" y="393"/>
                  </a:moveTo>
                  <a:lnTo>
                    <a:pt x="500" y="394"/>
                  </a:lnTo>
                  <a:lnTo>
                    <a:pt x="498" y="398"/>
                  </a:lnTo>
                  <a:lnTo>
                    <a:pt x="497" y="401"/>
                  </a:lnTo>
                  <a:lnTo>
                    <a:pt x="495" y="408"/>
                  </a:lnTo>
                  <a:lnTo>
                    <a:pt x="491" y="416"/>
                  </a:lnTo>
                  <a:lnTo>
                    <a:pt x="486" y="424"/>
                  </a:lnTo>
                  <a:lnTo>
                    <a:pt x="482" y="431"/>
                  </a:lnTo>
                  <a:lnTo>
                    <a:pt x="480" y="435"/>
                  </a:lnTo>
                  <a:lnTo>
                    <a:pt x="480" y="436"/>
                  </a:lnTo>
                  <a:lnTo>
                    <a:pt x="481" y="437"/>
                  </a:lnTo>
                  <a:lnTo>
                    <a:pt x="483" y="438"/>
                  </a:lnTo>
                  <a:lnTo>
                    <a:pt x="492" y="438"/>
                  </a:lnTo>
                  <a:lnTo>
                    <a:pt x="494" y="440"/>
                  </a:lnTo>
                  <a:lnTo>
                    <a:pt x="495" y="442"/>
                  </a:lnTo>
                  <a:lnTo>
                    <a:pt x="497" y="443"/>
                  </a:lnTo>
                  <a:lnTo>
                    <a:pt x="501" y="447"/>
                  </a:lnTo>
                  <a:lnTo>
                    <a:pt x="504" y="447"/>
                  </a:lnTo>
                  <a:lnTo>
                    <a:pt x="506" y="449"/>
                  </a:lnTo>
                  <a:lnTo>
                    <a:pt x="507" y="453"/>
                  </a:lnTo>
                  <a:lnTo>
                    <a:pt x="507" y="464"/>
                  </a:lnTo>
                  <a:lnTo>
                    <a:pt x="508" y="470"/>
                  </a:lnTo>
                  <a:lnTo>
                    <a:pt x="510" y="473"/>
                  </a:lnTo>
                  <a:lnTo>
                    <a:pt x="514" y="473"/>
                  </a:lnTo>
                  <a:lnTo>
                    <a:pt x="516" y="470"/>
                  </a:lnTo>
                  <a:lnTo>
                    <a:pt x="518" y="466"/>
                  </a:lnTo>
                  <a:lnTo>
                    <a:pt x="520" y="461"/>
                  </a:lnTo>
                  <a:lnTo>
                    <a:pt x="523" y="458"/>
                  </a:lnTo>
                  <a:lnTo>
                    <a:pt x="527" y="456"/>
                  </a:lnTo>
                  <a:lnTo>
                    <a:pt x="530" y="455"/>
                  </a:lnTo>
                  <a:lnTo>
                    <a:pt x="532" y="454"/>
                  </a:lnTo>
                  <a:lnTo>
                    <a:pt x="533" y="453"/>
                  </a:lnTo>
                  <a:lnTo>
                    <a:pt x="534" y="451"/>
                  </a:lnTo>
                  <a:lnTo>
                    <a:pt x="533" y="449"/>
                  </a:lnTo>
                  <a:lnTo>
                    <a:pt x="533" y="447"/>
                  </a:lnTo>
                  <a:lnTo>
                    <a:pt x="532" y="444"/>
                  </a:lnTo>
                  <a:lnTo>
                    <a:pt x="532" y="442"/>
                  </a:lnTo>
                  <a:lnTo>
                    <a:pt x="530" y="437"/>
                  </a:lnTo>
                  <a:lnTo>
                    <a:pt x="524" y="431"/>
                  </a:lnTo>
                  <a:lnTo>
                    <a:pt x="516" y="425"/>
                  </a:lnTo>
                  <a:lnTo>
                    <a:pt x="510" y="419"/>
                  </a:lnTo>
                  <a:lnTo>
                    <a:pt x="506" y="411"/>
                  </a:lnTo>
                  <a:lnTo>
                    <a:pt x="504" y="404"/>
                  </a:lnTo>
                  <a:lnTo>
                    <a:pt x="503" y="396"/>
                  </a:lnTo>
                  <a:lnTo>
                    <a:pt x="502" y="394"/>
                  </a:lnTo>
                  <a:lnTo>
                    <a:pt x="501" y="393"/>
                  </a:lnTo>
                  <a:lnTo>
                    <a:pt x="500" y="393"/>
                  </a:lnTo>
                  <a:close/>
                  <a:moveTo>
                    <a:pt x="452" y="0"/>
                  </a:moveTo>
                  <a:lnTo>
                    <a:pt x="453" y="0"/>
                  </a:lnTo>
                  <a:lnTo>
                    <a:pt x="454" y="2"/>
                  </a:lnTo>
                  <a:lnTo>
                    <a:pt x="459" y="7"/>
                  </a:lnTo>
                  <a:lnTo>
                    <a:pt x="468" y="10"/>
                  </a:lnTo>
                  <a:lnTo>
                    <a:pt x="480" y="14"/>
                  </a:lnTo>
                  <a:lnTo>
                    <a:pt x="488" y="15"/>
                  </a:lnTo>
                  <a:lnTo>
                    <a:pt x="542" y="15"/>
                  </a:lnTo>
                  <a:lnTo>
                    <a:pt x="545" y="16"/>
                  </a:lnTo>
                  <a:lnTo>
                    <a:pt x="545" y="18"/>
                  </a:lnTo>
                  <a:lnTo>
                    <a:pt x="544" y="19"/>
                  </a:lnTo>
                  <a:lnTo>
                    <a:pt x="543" y="22"/>
                  </a:lnTo>
                  <a:lnTo>
                    <a:pt x="541" y="24"/>
                  </a:lnTo>
                  <a:lnTo>
                    <a:pt x="538" y="25"/>
                  </a:lnTo>
                  <a:lnTo>
                    <a:pt x="535" y="27"/>
                  </a:lnTo>
                  <a:lnTo>
                    <a:pt x="532" y="27"/>
                  </a:lnTo>
                  <a:lnTo>
                    <a:pt x="526" y="26"/>
                  </a:lnTo>
                  <a:lnTo>
                    <a:pt x="518" y="25"/>
                  </a:lnTo>
                  <a:lnTo>
                    <a:pt x="509" y="24"/>
                  </a:lnTo>
                  <a:lnTo>
                    <a:pt x="502" y="23"/>
                  </a:lnTo>
                  <a:lnTo>
                    <a:pt x="498" y="22"/>
                  </a:lnTo>
                  <a:lnTo>
                    <a:pt x="493" y="24"/>
                  </a:lnTo>
                  <a:lnTo>
                    <a:pt x="488" y="28"/>
                  </a:lnTo>
                  <a:lnTo>
                    <a:pt x="482" y="29"/>
                  </a:lnTo>
                  <a:lnTo>
                    <a:pt x="478" y="30"/>
                  </a:lnTo>
                  <a:lnTo>
                    <a:pt x="474" y="33"/>
                  </a:lnTo>
                  <a:lnTo>
                    <a:pt x="465" y="41"/>
                  </a:lnTo>
                  <a:lnTo>
                    <a:pt x="460" y="43"/>
                  </a:lnTo>
                  <a:lnTo>
                    <a:pt x="446" y="41"/>
                  </a:lnTo>
                  <a:lnTo>
                    <a:pt x="442" y="42"/>
                  </a:lnTo>
                  <a:lnTo>
                    <a:pt x="440" y="44"/>
                  </a:lnTo>
                  <a:lnTo>
                    <a:pt x="436" y="49"/>
                  </a:lnTo>
                  <a:lnTo>
                    <a:pt x="432" y="56"/>
                  </a:lnTo>
                  <a:lnTo>
                    <a:pt x="427" y="63"/>
                  </a:lnTo>
                  <a:lnTo>
                    <a:pt x="420" y="77"/>
                  </a:lnTo>
                  <a:lnTo>
                    <a:pt x="419" y="81"/>
                  </a:lnTo>
                  <a:lnTo>
                    <a:pt x="419" y="86"/>
                  </a:lnTo>
                  <a:lnTo>
                    <a:pt x="421" y="92"/>
                  </a:lnTo>
                  <a:lnTo>
                    <a:pt x="422" y="98"/>
                  </a:lnTo>
                  <a:lnTo>
                    <a:pt x="425" y="101"/>
                  </a:lnTo>
                  <a:lnTo>
                    <a:pt x="435" y="101"/>
                  </a:lnTo>
                  <a:lnTo>
                    <a:pt x="437" y="100"/>
                  </a:lnTo>
                  <a:lnTo>
                    <a:pt x="439" y="100"/>
                  </a:lnTo>
                  <a:lnTo>
                    <a:pt x="439" y="98"/>
                  </a:lnTo>
                  <a:lnTo>
                    <a:pt x="437" y="95"/>
                  </a:lnTo>
                  <a:lnTo>
                    <a:pt x="436" y="90"/>
                  </a:lnTo>
                  <a:lnTo>
                    <a:pt x="436" y="85"/>
                  </a:lnTo>
                  <a:lnTo>
                    <a:pt x="437" y="82"/>
                  </a:lnTo>
                  <a:lnTo>
                    <a:pt x="441" y="75"/>
                  </a:lnTo>
                  <a:lnTo>
                    <a:pt x="445" y="66"/>
                  </a:lnTo>
                  <a:lnTo>
                    <a:pt x="450" y="61"/>
                  </a:lnTo>
                  <a:lnTo>
                    <a:pt x="458" y="57"/>
                  </a:lnTo>
                  <a:lnTo>
                    <a:pt x="465" y="55"/>
                  </a:lnTo>
                  <a:lnTo>
                    <a:pt x="470" y="50"/>
                  </a:lnTo>
                  <a:lnTo>
                    <a:pt x="486" y="44"/>
                  </a:lnTo>
                  <a:lnTo>
                    <a:pt x="492" y="40"/>
                  </a:lnTo>
                  <a:lnTo>
                    <a:pt x="495" y="39"/>
                  </a:lnTo>
                  <a:lnTo>
                    <a:pt x="499" y="41"/>
                  </a:lnTo>
                  <a:lnTo>
                    <a:pt x="504" y="44"/>
                  </a:lnTo>
                  <a:lnTo>
                    <a:pt x="509" y="46"/>
                  </a:lnTo>
                  <a:lnTo>
                    <a:pt x="515" y="45"/>
                  </a:lnTo>
                  <a:lnTo>
                    <a:pt x="519" y="45"/>
                  </a:lnTo>
                  <a:lnTo>
                    <a:pt x="525" y="50"/>
                  </a:lnTo>
                  <a:lnTo>
                    <a:pt x="527" y="54"/>
                  </a:lnTo>
                  <a:lnTo>
                    <a:pt x="530" y="55"/>
                  </a:lnTo>
                  <a:lnTo>
                    <a:pt x="533" y="54"/>
                  </a:lnTo>
                  <a:lnTo>
                    <a:pt x="538" y="49"/>
                  </a:lnTo>
                  <a:lnTo>
                    <a:pt x="543" y="41"/>
                  </a:lnTo>
                  <a:lnTo>
                    <a:pt x="548" y="34"/>
                  </a:lnTo>
                  <a:lnTo>
                    <a:pt x="553" y="29"/>
                  </a:lnTo>
                  <a:lnTo>
                    <a:pt x="559" y="25"/>
                  </a:lnTo>
                  <a:lnTo>
                    <a:pt x="567" y="17"/>
                  </a:lnTo>
                  <a:lnTo>
                    <a:pt x="571" y="18"/>
                  </a:lnTo>
                  <a:lnTo>
                    <a:pt x="573" y="21"/>
                  </a:lnTo>
                  <a:lnTo>
                    <a:pt x="574" y="27"/>
                  </a:lnTo>
                  <a:lnTo>
                    <a:pt x="574" y="33"/>
                  </a:lnTo>
                  <a:lnTo>
                    <a:pt x="575" y="38"/>
                  </a:lnTo>
                  <a:lnTo>
                    <a:pt x="577" y="40"/>
                  </a:lnTo>
                  <a:lnTo>
                    <a:pt x="584" y="40"/>
                  </a:lnTo>
                  <a:lnTo>
                    <a:pt x="587" y="41"/>
                  </a:lnTo>
                  <a:lnTo>
                    <a:pt x="591" y="43"/>
                  </a:lnTo>
                  <a:lnTo>
                    <a:pt x="591" y="45"/>
                  </a:lnTo>
                  <a:lnTo>
                    <a:pt x="590" y="47"/>
                  </a:lnTo>
                  <a:lnTo>
                    <a:pt x="588" y="52"/>
                  </a:lnTo>
                  <a:lnTo>
                    <a:pt x="588" y="58"/>
                  </a:lnTo>
                  <a:lnTo>
                    <a:pt x="590" y="65"/>
                  </a:lnTo>
                  <a:lnTo>
                    <a:pt x="595" y="75"/>
                  </a:lnTo>
                  <a:lnTo>
                    <a:pt x="600" y="80"/>
                  </a:lnTo>
                  <a:lnTo>
                    <a:pt x="604" y="85"/>
                  </a:lnTo>
                  <a:lnTo>
                    <a:pt x="608" y="87"/>
                  </a:lnTo>
                  <a:lnTo>
                    <a:pt x="613" y="88"/>
                  </a:lnTo>
                  <a:lnTo>
                    <a:pt x="620" y="91"/>
                  </a:lnTo>
                  <a:lnTo>
                    <a:pt x="626" y="95"/>
                  </a:lnTo>
                  <a:lnTo>
                    <a:pt x="629" y="98"/>
                  </a:lnTo>
                  <a:lnTo>
                    <a:pt x="632" y="99"/>
                  </a:lnTo>
                  <a:lnTo>
                    <a:pt x="642" y="101"/>
                  </a:lnTo>
                  <a:lnTo>
                    <a:pt x="646" y="104"/>
                  </a:lnTo>
                  <a:lnTo>
                    <a:pt x="648" y="109"/>
                  </a:lnTo>
                  <a:lnTo>
                    <a:pt x="651" y="115"/>
                  </a:lnTo>
                  <a:lnTo>
                    <a:pt x="656" y="120"/>
                  </a:lnTo>
                  <a:lnTo>
                    <a:pt x="665" y="123"/>
                  </a:lnTo>
                  <a:lnTo>
                    <a:pt x="667" y="124"/>
                  </a:lnTo>
                  <a:lnTo>
                    <a:pt x="668" y="125"/>
                  </a:lnTo>
                  <a:lnTo>
                    <a:pt x="671" y="131"/>
                  </a:lnTo>
                  <a:lnTo>
                    <a:pt x="672" y="132"/>
                  </a:lnTo>
                  <a:lnTo>
                    <a:pt x="674" y="133"/>
                  </a:lnTo>
                  <a:lnTo>
                    <a:pt x="677" y="137"/>
                  </a:lnTo>
                  <a:lnTo>
                    <a:pt x="679" y="143"/>
                  </a:lnTo>
                  <a:lnTo>
                    <a:pt x="682" y="150"/>
                  </a:lnTo>
                  <a:lnTo>
                    <a:pt x="685" y="156"/>
                  </a:lnTo>
                  <a:lnTo>
                    <a:pt x="689" y="158"/>
                  </a:lnTo>
                  <a:lnTo>
                    <a:pt x="692" y="156"/>
                  </a:lnTo>
                  <a:lnTo>
                    <a:pt x="693" y="153"/>
                  </a:lnTo>
                  <a:lnTo>
                    <a:pt x="694" y="148"/>
                  </a:lnTo>
                  <a:lnTo>
                    <a:pt x="694" y="144"/>
                  </a:lnTo>
                  <a:lnTo>
                    <a:pt x="695" y="141"/>
                  </a:lnTo>
                  <a:lnTo>
                    <a:pt x="698" y="139"/>
                  </a:lnTo>
                  <a:lnTo>
                    <a:pt x="714" y="137"/>
                  </a:lnTo>
                  <a:lnTo>
                    <a:pt x="720" y="136"/>
                  </a:lnTo>
                  <a:lnTo>
                    <a:pt x="726" y="133"/>
                  </a:lnTo>
                  <a:lnTo>
                    <a:pt x="730" y="130"/>
                  </a:lnTo>
                  <a:lnTo>
                    <a:pt x="735" y="125"/>
                  </a:lnTo>
                  <a:lnTo>
                    <a:pt x="740" y="121"/>
                  </a:lnTo>
                  <a:lnTo>
                    <a:pt x="744" y="120"/>
                  </a:lnTo>
                  <a:lnTo>
                    <a:pt x="746" y="121"/>
                  </a:lnTo>
                  <a:lnTo>
                    <a:pt x="747" y="123"/>
                  </a:lnTo>
                  <a:lnTo>
                    <a:pt x="747" y="127"/>
                  </a:lnTo>
                  <a:lnTo>
                    <a:pt x="746" y="129"/>
                  </a:lnTo>
                  <a:lnTo>
                    <a:pt x="746" y="131"/>
                  </a:lnTo>
                  <a:lnTo>
                    <a:pt x="747" y="133"/>
                  </a:lnTo>
                  <a:lnTo>
                    <a:pt x="749" y="135"/>
                  </a:lnTo>
                  <a:lnTo>
                    <a:pt x="752" y="136"/>
                  </a:lnTo>
                  <a:lnTo>
                    <a:pt x="758" y="137"/>
                  </a:lnTo>
                  <a:lnTo>
                    <a:pt x="764" y="141"/>
                  </a:lnTo>
                  <a:lnTo>
                    <a:pt x="768" y="146"/>
                  </a:lnTo>
                  <a:lnTo>
                    <a:pt x="770" y="151"/>
                  </a:lnTo>
                  <a:lnTo>
                    <a:pt x="767" y="158"/>
                  </a:lnTo>
                  <a:lnTo>
                    <a:pt x="762" y="166"/>
                  </a:lnTo>
                  <a:lnTo>
                    <a:pt x="758" y="174"/>
                  </a:lnTo>
                  <a:lnTo>
                    <a:pt x="757" y="180"/>
                  </a:lnTo>
                  <a:lnTo>
                    <a:pt x="759" y="184"/>
                  </a:lnTo>
                  <a:lnTo>
                    <a:pt x="764" y="187"/>
                  </a:lnTo>
                  <a:lnTo>
                    <a:pt x="769" y="188"/>
                  </a:lnTo>
                  <a:lnTo>
                    <a:pt x="773" y="190"/>
                  </a:lnTo>
                  <a:lnTo>
                    <a:pt x="775" y="192"/>
                  </a:lnTo>
                  <a:lnTo>
                    <a:pt x="776" y="195"/>
                  </a:lnTo>
                  <a:lnTo>
                    <a:pt x="779" y="200"/>
                  </a:lnTo>
                  <a:lnTo>
                    <a:pt x="783" y="205"/>
                  </a:lnTo>
                  <a:lnTo>
                    <a:pt x="786" y="208"/>
                  </a:lnTo>
                  <a:lnTo>
                    <a:pt x="789" y="210"/>
                  </a:lnTo>
                  <a:lnTo>
                    <a:pt x="792" y="213"/>
                  </a:lnTo>
                  <a:lnTo>
                    <a:pt x="795" y="217"/>
                  </a:lnTo>
                  <a:lnTo>
                    <a:pt x="797" y="220"/>
                  </a:lnTo>
                  <a:lnTo>
                    <a:pt x="797" y="223"/>
                  </a:lnTo>
                  <a:lnTo>
                    <a:pt x="793" y="225"/>
                  </a:lnTo>
                  <a:lnTo>
                    <a:pt x="789" y="226"/>
                  </a:lnTo>
                  <a:lnTo>
                    <a:pt x="787" y="227"/>
                  </a:lnTo>
                  <a:lnTo>
                    <a:pt x="783" y="231"/>
                  </a:lnTo>
                  <a:lnTo>
                    <a:pt x="782" y="233"/>
                  </a:lnTo>
                  <a:lnTo>
                    <a:pt x="780" y="236"/>
                  </a:lnTo>
                  <a:lnTo>
                    <a:pt x="778" y="240"/>
                  </a:lnTo>
                  <a:lnTo>
                    <a:pt x="776" y="243"/>
                  </a:lnTo>
                  <a:lnTo>
                    <a:pt x="775" y="245"/>
                  </a:lnTo>
                  <a:lnTo>
                    <a:pt x="775" y="248"/>
                  </a:lnTo>
                  <a:lnTo>
                    <a:pt x="776" y="250"/>
                  </a:lnTo>
                  <a:lnTo>
                    <a:pt x="778" y="251"/>
                  </a:lnTo>
                  <a:lnTo>
                    <a:pt x="780" y="253"/>
                  </a:lnTo>
                  <a:lnTo>
                    <a:pt x="783" y="255"/>
                  </a:lnTo>
                  <a:lnTo>
                    <a:pt x="791" y="262"/>
                  </a:lnTo>
                  <a:lnTo>
                    <a:pt x="799" y="268"/>
                  </a:lnTo>
                  <a:lnTo>
                    <a:pt x="810" y="275"/>
                  </a:lnTo>
                  <a:lnTo>
                    <a:pt x="818" y="279"/>
                  </a:lnTo>
                  <a:lnTo>
                    <a:pt x="827" y="284"/>
                  </a:lnTo>
                  <a:lnTo>
                    <a:pt x="838" y="290"/>
                  </a:lnTo>
                  <a:lnTo>
                    <a:pt x="848" y="294"/>
                  </a:lnTo>
                  <a:lnTo>
                    <a:pt x="858" y="296"/>
                  </a:lnTo>
                  <a:lnTo>
                    <a:pt x="866" y="295"/>
                  </a:lnTo>
                  <a:lnTo>
                    <a:pt x="874" y="290"/>
                  </a:lnTo>
                  <a:lnTo>
                    <a:pt x="878" y="286"/>
                  </a:lnTo>
                  <a:lnTo>
                    <a:pt x="881" y="284"/>
                  </a:lnTo>
                  <a:lnTo>
                    <a:pt x="883" y="285"/>
                  </a:lnTo>
                  <a:lnTo>
                    <a:pt x="884" y="288"/>
                  </a:lnTo>
                  <a:lnTo>
                    <a:pt x="880" y="298"/>
                  </a:lnTo>
                  <a:lnTo>
                    <a:pt x="879" y="304"/>
                  </a:lnTo>
                  <a:lnTo>
                    <a:pt x="879" y="307"/>
                  </a:lnTo>
                  <a:lnTo>
                    <a:pt x="882" y="309"/>
                  </a:lnTo>
                  <a:lnTo>
                    <a:pt x="887" y="309"/>
                  </a:lnTo>
                  <a:lnTo>
                    <a:pt x="893" y="307"/>
                  </a:lnTo>
                  <a:lnTo>
                    <a:pt x="895" y="306"/>
                  </a:lnTo>
                  <a:lnTo>
                    <a:pt x="899" y="317"/>
                  </a:lnTo>
                  <a:lnTo>
                    <a:pt x="904" y="327"/>
                  </a:lnTo>
                  <a:lnTo>
                    <a:pt x="907" y="337"/>
                  </a:lnTo>
                  <a:lnTo>
                    <a:pt x="910" y="345"/>
                  </a:lnTo>
                  <a:lnTo>
                    <a:pt x="911" y="351"/>
                  </a:lnTo>
                  <a:lnTo>
                    <a:pt x="911" y="363"/>
                  </a:lnTo>
                  <a:lnTo>
                    <a:pt x="912" y="375"/>
                  </a:lnTo>
                  <a:lnTo>
                    <a:pt x="915" y="387"/>
                  </a:lnTo>
                  <a:lnTo>
                    <a:pt x="918" y="393"/>
                  </a:lnTo>
                  <a:lnTo>
                    <a:pt x="921" y="403"/>
                  </a:lnTo>
                  <a:lnTo>
                    <a:pt x="925" y="415"/>
                  </a:lnTo>
                  <a:lnTo>
                    <a:pt x="930" y="429"/>
                  </a:lnTo>
                  <a:lnTo>
                    <a:pt x="934" y="444"/>
                  </a:lnTo>
                  <a:lnTo>
                    <a:pt x="938" y="458"/>
                  </a:lnTo>
                  <a:lnTo>
                    <a:pt x="929" y="460"/>
                  </a:lnTo>
                  <a:lnTo>
                    <a:pt x="921" y="461"/>
                  </a:lnTo>
                  <a:lnTo>
                    <a:pt x="915" y="463"/>
                  </a:lnTo>
                  <a:lnTo>
                    <a:pt x="907" y="466"/>
                  </a:lnTo>
                  <a:lnTo>
                    <a:pt x="895" y="478"/>
                  </a:lnTo>
                  <a:lnTo>
                    <a:pt x="891" y="484"/>
                  </a:lnTo>
                  <a:lnTo>
                    <a:pt x="886" y="489"/>
                  </a:lnTo>
                  <a:lnTo>
                    <a:pt x="880" y="492"/>
                  </a:lnTo>
                  <a:lnTo>
                    <a:pt x="872" y="492"/>
                  </a:lnTo>
                  <a:lnTo>
                    <a:pt x="864" y="489"/>
                  </a:lnTo>
                  <a:lnTo>
                    <a:pt x="859" y="484"/>
                  </a:lnTo>
                  <a:lnTo>
                    <a:pt x="855" y="476"/>
                  </a:lnTo>
                  <a:lnTo>
                    <a:pt x="851" y="465"/>
                  </a:lnTo>
                  <a:lnTo>
                    <a:pt x="840" y="442"/>
                  </a:lnTo>
                  <a:lnTo>
                    <a:pt x="833" y="431"/>
                  </a:lnTo>
                  <a:lnTo>
                    <a:pt x="827" y="426"/>
                  </a:lnTo>
                  <a:lnTo>
                    <a:pt x="822" y="424"/>
                  </a:lnTo>
                  <a:lnTo>
                    <a:pt x="817" y="425"/>
                  </a:lnTo>
                  <a:lnTo>
                    <a:pt x="812" y="428"/>
                  </a:lnTo>
                  <a:lnTo>
                    <a:pt x="808" y="432"/>
                  </a:lnTo>
                  <a:lnTo>
                    <a:pt x="802" y="436"/>
                  </a:lnTo>
                  <a:lnTo>
                    <a:pt x="793" y="439"/>
                  </a:lnTo>
                  <a:lnTo>
                    <a:pt x="780" y="440"/>
                  </a:lnTo>
                  <a:lnTo>
                    <a:pt x="766" y="440"/>
                  </a:lnTo>
                  <a:lnTo>
                    <a:pt x="753" y="439"/>
                  </a:lnTo>
                  <a:lnTo>
                    <a:pt x="743" y="439"/>
                  </a:lnTo>
                  <a:lnTo>
                    <a:pt x="734" y="441"/>
                  </a:lnTo>
                  <a:lnTo>
                    <a:pt x="727" y="447"/>
                  </a:lnTo>
                  <a:lnTo>
                    <a:pt x="721" y="456"/>
                  </a:lnTo>
                  <a:lnTo>
                    <a:pt x="718" y="464"/>
                  </a:lnTo>
                  <a:lnTo>
                    <a:pt x="717" y="470"/>
                  </a:lnTo>
                  <a:lnTo>
                    <a:pt x="716" y="474"/>
                  </a:lnTo>
                  <a:lnTo>
                    <a:pt x="715" y="477"/>
                  </a:lnTo>
                  <a:lnTo>
                    <a:pt x="712" y="480"/>
                  </a:lnTo>
                  <a:lnTo>
                    <a:pt x="706" y="484"/>
                  </a:lnTo>
                  <a:lnTo>
                    <a:pt x="699" y="488"/>
                  </a:lnTo>
                  <a:lnTo>
                    <a:pt x="696" y="494"/>
                  </a:lnTo>
                  <a:lnTo>
                    <a:pt x="694" y="500"/>
                  </a:lnTo>
                  <a:lnTo>
                    <a:pt x="694" y="506"/>
                  </a:lnTo>
                  <a:lnTo>
                    <a:pt x="691" y="512"/>
                  </a:lnTo>
                  <a:lnTo>
                    <a:pt x="689" y="512"/>
                  </a:lnTo>
                  <a:lnTo>
                    <a:pt x="688" y="511"/>
                  </a:lnTo>
                  <a:lnTo>
                    <a:pt x="686" y="507"/>
                  </a:lnTo>
                  <a:lnTo>
                    <a:pt x="686" y="505"/>
                  </a:lnTo>
                  <a:lnTo>
                    <a:pt x="685" y="502"/>
                  </a:lnTo>
                  <a:lnTo>
                    <a:pt x="685" y="500"/>
                  </a:lnTo>
                  <a:lnTo>
                    <a:pt x="683" y="497"/>
                  </a:lnTo>
                  <a:lnTo>
                    <a:pt x="678" y="496"/>
                  </a:lnTo>
                  <a:lnTo>
                    <a:pt x="672" y="495"/>
                  </a:lnTo>
                  <a:lnTo>
                    <a:pt x="665" y="495"/>
                  </a:lnTo>
                  <a:lnTo>
                    <a:pt x="661" y="496"/>
                  </a:lnTo>
                  <a:lnTo>
                    <a:pt x="658" y="499"/>
                  </a:lnTo>
                  <a:lnTo>
                    <a:pt x="656" y="504"/>
                  </a:lnTo>
                  <a:lnTo>
                    <a:pt x="652" y="509"/>
                  </a:lnTo>
                  <a:lnTo>
                    <a:pt x="647" y="515"/>
                  </a:lnTo>
                  <a:lnTo>
                    <a:pt x="644" y="518"/>
                  </a:lnTo>
                  <a:lnTo>
                    <a:pt x="643" y="518"/>
                  </a:lnTo>
                  <a:lnTo>
                    <a:pt x="642" y="517"/>
                  </a:lnTo>
                  <a:lnTo>
                    <a:pt x="641" y="515"/>
                  </a:lnTo>
                  <a:lnTo>
                    <a:pt x="641" y="514"/>
                  </a:lnTo>
                  <a:lnTo>
                    <a:pt x="640" y="512"/>
                  </a:lnTo>
                  <a:lnTo>
                    <a:pt x="638" y="511"/>
                  </a:lnTo>
                  <a:lnTo>
                    <a:pt x="636" y="509"/>
                  </a:lnTo>
                  <a:lnTo>
                    <a:pt x="633" y="508"/>
                  </a:lnTo>
                  <a:lnTo>
                    <a:pt x="629" y="507"/>
                  </a:lnTo>
                  <a:lnTo>
                    <a:pt x="623" y="507"/>
                  </a:lnTo>
                  <a:lnTo>
                    <a:pt x="620" y="510"/>
                  </a:lnTo>
                  <a:lnTo>
                    <a:pt x="620" y="512"/>
                  </a:lnTo>
                  <a:lnTo>
                    <a:pt x="619" y="514"/>
                  </a:lnTo>
                  <a:lnTo>
                    <a:pt x="619" y="516"/>
                  </a:lnTo>
                  <a:lnTo>
                    <a:pt x="616" y="522"/>
                  </a:lnTo>
                  <a:lnTo>
                    <a:pt x="610" y="528"/>
                  </a:lnTo>
                  <a:lnTo>
                    <a:pt x="601" y="535"/>
                  </a:lnTo>
                  <a:lnTo>
                    <a:pt x="593" y="540"/>
                  </a:lnTo>
                  <a:lnTo>
                    <a:pt x="585" y="545"/>
                  </a:lnTo>
                  <a:lnTo>
                    <a:pt x="582" y="546"/>
                  </a:lnTo>
                  <a:lnTo>
                    <a:pt x="580" y="547"/>
                  </a:lnTo>
                  <a:lnTo>
                    <a:pt x="578" y="547"/>
                  </a:lnTo>
                  <a:lnTo>
                    <a:pt x="578" y="546"/>
                  </a:lnTo>
                  <a:lnTo>
                    <a:pt x="577" y="545"/>
                  </a:lnTo>
                  <a:lnTo>
                    <a:pt x="577" y="543"/>
                  </a:lnTo>
                  <a:lnTo>
                    <a:pt x="578" y="542"/>
                  </a:lnTo>
                  <a:lnTo>
                    <a:pt x="578" y="539"/>
                  </a:lnTo>
                  <a:lnTo>
                    <a:pt x="577" y="538"/>
                  </a:lnTo>
                  <a:lnTo>
                    <a:pt x="573" y="537"/>
                  </a:lnTo>
                  <a:lnTo>
                    <a:pt x="565" y="536"/>
                  </a:lnTo>
                  <a:lnTo>
                    <a:pt x="530" y="536"/>
                  </a:lnTo>
                  <a:lnTo>
                    <a:pt x="526" y="534"/>
                  </a:lnTo>
                  <a:lnTo>
                    <a:pt x="526" y="528"/>
                  </a:lnTo>
                  <a:lnTo>
                    <a:pt x="527" y="526"/>
                  </a:lnTo>
                  <a:lnTo>
                    <a:pt x="527" y="524"/>
                  </a:lnTo>
                  <a:lnTo>
                    <a:pt x="525" y="522"/>
                  </a:lnTo>
                  <a:lnTo>
                    <a:pt x="521" y="521"/>
                  </a:lnTo>
                  <a:lnTo>
                    <a:pt x="516" y="521"/>
                  </a:lnTo>
                  <a:lnTo>
                    <a:pt x="510" y="519"/>
                  </a:lnTo>
                  <a:lnTo>
                    <a:pt x="504" y="516"/>
                  </a:lnTo>
                  <a:lnTo>
                    <a:pt x="497" y="512"/>
                  </a:lnTo>
                  <a:lnTo>
                    <a:pt x="489" y="510"/>
                  </a:lnTo>
                  <a:lnTo>
                    <a:pt x="482" y="508"/>
                  </a:lnTo>
                  <a:lnTo>
                    <a:pt x="477" y="505"/>
                  </a:lnTo>
                  <a:lnTo>
                    <a:pt x="473" y="503"/>
                  </a:lnTo>
                  <a:lnTo>
                    <a:pt x="470" y="502"/>
                  </a:lnTo>
                  <a:lnTo>
                    <a:pt x="463" y="504"/>
                  </a:lnTo>
                  <a:lnTo>
                    <a:pt x="453" y="506"/>
                  </a:lnTo>
                  <a:lnTo>
                    <a:pt x="447" y="507"/>
                  </a:lnTo>
                  <a:lnTo>
                    <a:pt x="443" y="506"/>
                  </a:lnTo>
                  <a:lnTo>
                    <a:pt x="441" y="504"/>
                  </a:lnTo>
                  <a:lnTo>
                    <a:pt x="439" y="500"/>
                  </a:lnTo>
                  <a:lnTo>
                    <a:pt x="436" y="496"/>
                  </a:lnTo>
                  <a:lnTo>
                    <a:pt x="431" y="491"/>
                  </a:lnTo>
                  <a:lnTo>
                    <a:pt x="420" y="484"/>
                  </a:lnTo>
                  <a:lnTo>
                    <a:pt x="409" y="478"/>
                  </a:lnTo>
                  <a:lnTo>
                    <a:pt x="400" y="473"/>
                  </a:lnTo>
                  <a:lnTo>
                    <a:pt x="394" y="469"/>
                  </a:lnTo>
                  <a:lnTo>
                    <a:pt x="389" y="467"/>
                  </a:lnTo>
                  <a:lnTo>
                    <a:pt x="384" y="469"/>
                  </a:lnTo>
                  <a:lnTo>
                    <a:pt x="377" y="474"/>
                  </a:lnTo>
                  <a:lnTo>
                    <a:pt x="371" y="476"/>
                  </a:lnTo>
                  <a:lnTo>
                    <a:pt x="367" y="475"/>
                  </a:lnTo>
                  <a:lnTo>
                    <a:pt x="363" y="472"/>
                  </a:lnTo>
                  <a:lnTo>
                    <a:pt x="357" y="470"/>
                  </a:lnTo>
                  <a:lnTo>
                    <a:pt x="351" y="470"/>
                  </a:lnTo>
                  <a:lnTo>
                    <a:pt x="346" y="474"/>
                  </a:lnTo>
                  <a:lnTo>
                    <a:pt x="343" y="479"/>
                  </a:lnTo>
                  <a:lnTo>
                    <a:pt x="342" y="486"/>
                  </a:lnTo>
                  <a:lnTo>
                    <a:pt x="340" y="493"/>
                  </a:lnTo>
                  <a:lnTo>
                    <a:pt x="335" y="499"/>
                  </a:lnTo>
                  <a:lnTo>
                    <a:pt x="329" y="503"/>
                  </a:lnTo>
                  <a:lnTo>
                    <a:pt x="321" y="505"/>
                  </a:lnTo>
                  <a:lnTo>
                    <a:pt x="315" y="507"/>
                  </a:lnTo>
                  <a:lnTo>
                    <a:pt x="305" y="515"/>
                  </a:lnTo>
                  <a:lnTo>
                    <a:pt x="299" y="517"/>
                  </a:lnTo>
                  <a:lnTo>
                    <a:pt x="295" y="516"/>
                  </a:lnTo>
                  <a:lnTo>
                    <a:pt x="293" y="512"/>
                  </a:lnTo>
                  <a:lnTo>
                    <a:pt x="293" y="501"/>
                  </a:lnTo>
                  <a:lnTo>
                    <a:pt x="294" y="496"/>
                  </a:lnTo>
                  <a:lnTo>
                    <a:pt x="294" y="492"/>
                  </a:lnTo>
                  <a:lnTo>
                    <a:pt x="293" y="491"/>
                  </a:lnTo>
                  <a:lnTo>
                    <a:pt x="290" y="493"/>
                  </a:lnTo>
                  <a:lnTo>
                    <a:pt x="273" y="510"/>
                  </a:lnTo>
                  <a:lnTo>
                    <a:pt x="266" y="516"/>
                  </a:lnTo>
                  <a:lnTo>
                    <a:pt x="259" y="521"/>
                  </a:lnTo>
                  <a:lnTo>
                    <a:pt x="253" y="523"/>
                  </a:lnTo>
                  <a:lnTo>
                    <a:pt x="242" y="526"/>
                  </a:lnTo>
                  <a:lnTo>
                    <a:pt x="232" y="532"/>
                  </a:lnTo>
                  <a:lnTo>
                    <a:pt x="223" y="539"/>
                  </a:lnTo>
                  <a:lnTo>
                    <a:pt x="217" y="547"/>
                  </a:lnTo>
                  <a:lnTo>
                    <a:pt x="216" y="552"/>
                  </a:lnTo>
                  <a:lnTo>
                    <a:pt x="220" y="556"/>
                  </a:lnTo>
                  <a:lnTo>
                    <a:pt x="226" y="561"/>
                  </a:lnTo>
                  <a:lnTo>
                    <a:pt x="234" y="565"/>
                  </a:lnTo>
                  <a:lnTo>
                    <a:pt x="241" y="570"/>
                  </a:lnTo>
                  <a:lnTo>
                    <a:pt x="246" y="576"/>
                  </a:lnTo>
                  <a:lnTo>
                    <a:pt x="250" y="582"/>
                  </a:lnTo>
                  <a:lnTo>
                    <a:pt x="254" y="584"/>
                  </a:lnTo>
                  <a:lnTo>
                    <a:pt x="257" y="584"/>
                  </a:lnTo>
                  <a:lnTo>
                    <a:pt x="263" y="586"/>
                  </a:lnTo>
                  <a:lnTo>
                    <a:pt x="266" y="591"/>
                  </a:lnTo>
                  <a:lnTo>
                    <a:pt x="266" y="596"/>
                  </a:lnTo>
                  <a:lnTo>
                    <a:pt x="264" y="599"/>
                  </a:lnTo>
                  <a:lnTo>
                    <a:pt x="261" y="601"/>
                  </a:lnTo>
                  <a:lnTo>
                    <a:pt x="259" y="601"/>
                  </a:lnTo>
                  <a:lnTo>
                    <a:pt x="249" y="606"/>
                  </a:lnTo>
                  <a:lnTo>
                    <a:pt x="244" y="605"/>
                  </a:lnTo>
                  <a:lnTo>
                    <a:pt x="237" y="604"/>
                  </a:lnTo>
                  <a:lnTo>
                    <a:pt x="229" y="603"/>
                  </a:lnTo>
                  <a:lnTo>
                    <a:pt x="221" y="601"/>
                  </a:lnTo>
                  <a:lnTo>
                    <a:pt x="217" y="599"/>
                  </a:lnTo>
                  <a:lnTo>
                    <a:pt x="209" y="595"/>
                  </a:lnTo>
                  <a:lnTo>
                    <a:pt x="200" y="592"/>
                  </a:lnTo>
                  <a:lnTo>
                    <a:pt x="192" y="592"/>
                  </a:lnTo>
                  <a:lnTo>
                    <a:pt x="187" y="593"/>
                  </a:lnTo>
                  <a:lnTo>
                    <a:pt x="181" y="594"/>
                  </a:lnTo>
                  <a:lnTo>
                    <a:pt x="176" y="595"/>
                  </a:lnTo>
                  <a:lnTo>
                    <a:pt x="172" y="595"/>
                  </a:lnTo>
                  <a:lnTo>
                    <a:pt x="169" y="592"/>
                  </a:lnTo>
                  <a:lnTo>
                    <a:pt x="166" y="585"/>
                  </a:lnTo>
                  <a:lnTo>
                    <a:pt x="161" y="576"/>
                  </a:lnTo>
                  <a:lnTo>
                    <a:pt x="157" y="568"/>
                  </a:lnTo>
                  <a:lnTo>
                    <a:pt x="153" y="564"/>
                  </a:lnTo>
                  <a:lnTo>
                    <a:pt x="150" y="564"/>
                  </a:lnTo>
                  <a:lnTo>
                    <a:pt x="149" y="565"/>
                  </a:lnTo>
                  <a:lnTo>
                    <a:pt x="148" y="567"/>
                  </a:lnTo>
                  <a:lnTo>
                    <a:pt x="147" y="568"/>
                  </a:lnTo>
                  <a:lnTo>
                    <a:pt x="145" y="569"/>
                  </a:lnTo>
                  <a:lnTo>
                    <a:pt x="144" y="570"/>
                  </a:lnTo>
                  <a:lnTo>
                    <a:pt x="142" y="570"/>
                  </a:lnTo>
                  <a:lnTo>
                    <a:pt x="138" y="566"/>
                  </a:lnTo>
                  <a:lnTo>
                    <a:pt x="137" y="563"/>
                  </a:lnTo>
                  <a:lnTo>
                    <a:pt x="135" y="559"/>
                  </a:lnTo>
                  <a:lnTo>
                    <a:pt x="135" y="558"/>
                  </a:lnTo>
                  <a:lnTo>
                    <a:pt x="134" y="556"/>
                  </a:lnTo>
                  <a:lnTo>
                    <a:pt x="132" y="555"/>
                  </a:lnTo>
                  <a:lnTo>
                    <a:pt x="130" y="555"/>
                  </a:lnTo>
                  <a:lnTo>
                    <a:pt x="124" y="556"/>
                  </a:lnTo>
                  <a:lnTo>
                    <a:pt x="120" y="559"/>
                  </a:lnTo>
                  <a:lnTo>
                    <a:pt x="116" y="561"/>
                  </a:lnTo>
                  <a:lnTo>
                    <a:pt x="111" y="560"/>
                  </a:lnTo>
                  <a:lnTo>
                    <a:pt x="107" y="557"/>
                  </a:lnTo>
                  <a:lnTo>
                    <a:pt x="93" y="547"/>
                  </a:lnTo>
                  <a:lnTo>
                    <a:pt x="83" y="539"/>
                  </a:lnTo>
                  <a:lnTo>
                    <a:pt x="72" y="532"/>
                  </a:lnTo>
                  <a:lnTo>
                    <a:pt x="62" y="524"/>
                  </a:lnTo>
                  <a:lnTo>
                    <a:pt x="53" y="517"/>
                  </a:lnTo>
                  <a:lnTo>
                    <a:pt x="46" y="511"/>
                  </a:lnTo>
                  <a:lnTo>
                    <a:pt x="42" y="506"/>
                  </a:lnTo>
                  <a:lnTo>
                    <a:pt x="38" y="502"/>
                  </a:lnTo>
                  <a:lnTo>
                    <a:pt x="35" y="501"/>
                  </a:lnTo>
                  <a:lnTo>
                    <a:pt x="31" y="500"/>
                  </a:lnTo>
                  <a:lnTo>
                    <a:pt x="28" y="499"/>
                  </a:lnTo>
                  <a:lnTo>
                    <a:pt x="26" y="495"/>
                  </a:lnTo>
                  <a:lnTo>
                    <a:pt x="25" y="487"/>
                  </a:lnTo>
                  <a:lnTo>
                    <a:pt x="26" y="481"/>
                  </a:lnTo>
                  <a:lnTo>
                    <a:pt x="26" y="477"/>
                  </a:lnTo>
                  <a:lnTo>
                    <a:pt x="23" y="474"/>
                  </a:lnTo>
                  <a:lnTo>
                    <a:pt x="20" y="473"/>
                  </a:lnTo>
                  <a:lnTo>
                    <a:pt x="14" y="472"/>
                  </a:lnTo>
                  <a:lnTo>
                    <a:pt x="0" y="474"/>
                  </a:lnTo>
                  <a:lnTo>
                    <a:pt x="1" y="461"/>
                  </a:lnTo>
                  <a:lnTo>
                    <a:pt x="2" y="451"/>
                  </a:lnTo>
                  <a:lnTo>
                    <a:pt x="4" y="443"/>
                  </a:lnTo>
                  <a:lnTo>
                    <a:pt x="6" y="438"/>
                  </a:lnTo>
                  <a:lnTo>
                    <a:pt x="13" y="435"/>
                  </a:lnTo>
                  <a:lnTo>
                    <a:pt x="21" y="432"/>
                  </a:lnTo>
                  <a:lnTo>
                    <a:pt x="30" y="429"/>
                  </a:lnTo>
                  <a:lnTo>
                    <a:pt x="36" y="426"/>
                  </a:lnTo>
                  <a:lnTo>
                    <a:pt x="40" y="420"/>
                  </a:lnTo>
                  <a:lnTo>
                    <a:pt x="45" y="411"/>
                  </a:lnTo>
                  <a:lnTo>
                    <a:pt x="49" y="402"/>
                  </a:lnTo>
                  <a:lnTo>
                    <a:pt x="51" y="395"/>
                  </a:lnTo>
                  <a:lnTo>
                    <a:pt x="53" y="393"/>
                  </a:lnTo>
                  <a:lnTo>
                    <a:pt x="58" y="393"/>
                  </a:lnTo>
                  <a:lnTo>
                    <a:pt x="63" y="394"/>
                  </a:lnTo>
                  <a:lnTo>
                    <a:pt x="69" y="395"/>
                  </a:lnTo>
                  <a:lnTo>
                    <a:pt x="74" y="394"/>
                  </a:lnTo>
                  <a:lnTo>
                    <a:pt x="78" y="390"/>
                  </a:lnTo>
                  <a:lnTo>
                    <a:pt x="80" y="383"/>
                  </a:lnTo>
                  <a:lnTo>
                    <a:pt x="79" y="378"/>
                  </a:lnTo>
                  <a:lnTo>
                    <a:pt x="78" y="374"/>
                  </a:lnTo>
                  <a:lnTo>
                    <a:pt x="78" y="370"/>
                  </a:lnTo>
                  <a:lnTo>
                    <a:pt x="80" y="360"/>
                  </a:lnTo>
                  <a:lnTo>
                    <a:pt x="81" y="353"/>
                  </a:lnTo>
                  <a:lnTo>
                    <a:pt x="81" y="347"/>
                  </a:lnTo>
                  <a:lnTo>
                    <a:pt x="80" y="342"/>
                  </a:lnTo>
                  <a:lnTo>
                    <a:pt x="76" y="338"/>
                  </a:lnTo>
                  <a:lnTo>
                    <a:pt x="71" y="336"/>
                  </a:lnTo>
                  <a:lnTo>
                    <a:pt x="58" y="334"/>
                  </a:lnTo>
                  <a:lnTo>
                    <a:pt x="48" y="330"/>
                  </a:lnTo>
                  <a:lnTo>
                    <a:pt x="41" y="324"/>
                  </a:lnTo>
                  <a:lnTo>
                    <a:pt x="38" y="321"/>
                  </a:lnTo>
                  <a:lnTo>
                    <a:pt x="32" y="317"/>
                  </a:lnTo>
                  <a:lnTo>
                    <a:pt x="30" y="313"/>
                  </a:lnTo>
                  <a:lnTo>
                    <a:pt x="31" y="307"/>
                  </a:lnTo>
                  <a:lnTo>
                    <a:pt x="35" y="292"/>
                  </a:lnTo>
                  <a:lnTo>
                    <a:pt x="37" y="279"/>
                  </a:lnTo>
                  <a:lnTo>
                    <a:pt x="37" y="268"/>
                  </a:lnTo>
                  <a:lnTo>
                    <a:pt x="39" y="263"/>
                  </a:lnTo>
                  <a:lnTo>
                    <a:pt x="50" y="252"/>
                  </a:lnTo>
                  <a:lnTo>
                    <a:pt x="57" y="249"/>
                  </a:lnTo>
                  <a:lnTo>
                    <a:pt x="63" y="247"/>
                  </a:lnTo>
                  <a:lnTo>
                    <a:pt x="65" y="245"/>
                  </a:lnTo>
                  <a:lnTo>
                    <a:pt x="66" y="240"/>
                  </a:lnTo>
                  <a:lnTo>
                    <a:pt x="65" y="232"/>
                  </a:lnTo>
                  <a:lnTo>
                    <a:pt x="65" y="223"/>
                  </a:lnTo>
                  <a:lnTo>
                    <a:pt x="67" y="223"/>
                  </a:lnTo>
                  <a:lnTo>
                    <a:pt x="70" y="222"/>
                  </a:lnTo>
                  <a:lnTo>
                    <a:pt x="78" y="219"/>
                  </a:lnTo>
                  <a:lnTo>
                    <a:pt x="89" y="215"/>
                  </a:lnTo>
                  <a:lnTo>
                    <a:pt x="99" y="210"/>
                  </a:lnTo>
                  <a:lnTo>
                    <a:pt x="111" y="206"/>
                  </a:lnTo>
                  <a:lnTo>
                    <a:pt x="122" y="204"/>
                  </a:lnTo>
                  <a:lnTo>
                    <a:pt x="129" y="205"/>
                  </a:lnTo>
                  <a:lnTo>
                    <a:pt x="133" y="207"/>
                  </a:lnTo>
                  <a:lnTo>
                    <a:pt x="135" y="211"/>
                  </a:lnTo>
                  <a:lnTo>
                    <a:pt x="137" y="214"/>
                  </a:lnTo>
                  <a:lnTo>
                    <a:pt x="138" y="217"/>
                  </a:lnTo>
                  <a:lnTo>
                    <a:pt x="141" y="218"/>
                  </a:lnTo>
                  <a:lnTo>
                    <a:pt x="143" y="218"/>
                  </a:lnTo>
                  <a:lnTo>
                    <a:pt x="144" y="219"/>
                  </a:lnTo>
                  <a:lnTo>
                    <a:pt x="145" y="221"/>
                  </a:lnTo>
                  <a:lnTo>
                    <a:pt x="145" y="229"/>
                  </a:lnTo>
                  <a:lnTo>
                    <a:pt x="146" y="231"/>
                  </a:lnTo>
                  <a:lnTo>
                    <a:pt x="147" y="232"/>
                  </a:lnTo>
                  <a:lnTo>
                    <a:pt x="149" y="233"/>
                  </a:lnTo>
                  <a:lnTo>
                    <a:pt x="161" y="233"/>
                  </a:lnTo>
                  <a:lnTo>
                    <a:pt x="168" y="232"/>
                  </a:lnTo>
                  <a:lnTo>
                    <a:pt x="173" y="231"/>
                  </a:lnTo>
                  <a:lnTo>
                    <a:pt x="175" y="231"/>
                  </a:lnTo>
                  <a:lnTo>
                    <a:pt x="176" y="230"/>
                  </a:lnTo>
                  <a:lnTo>
                    <a:pt x="176" y="231"/>
                  </a:lnTo>
                  <a:lnTo>
                    <a:pt x="177" y="231"/>
                  </a:lnTo>
                  <a:lnTo>
                    <a:pt x="177" y="232"/>
                  </a:lnTo>
                  <a:lnTo>
                    <a:pt x="178" y="233"/>
                  </a:lnTo>
                  <a:lnTo>
                    <a:pt x="184" y="235"/>
                  </a:lnTo>
                  <a:lnTo>
                    <a:pt x="191" y="238"/>
                  </a:lnTo>
                  <a:lnTo>
                    <a:pt x="196" y="241"/>
                  </a:lnTo>
                  <a:lnTo>
                    <a:pt x="199" y="244"/>
                  </a:lnTo>
                  <a:lnTo>
                    <a:pt x="202" y="243"/>
                  </a:lnTo>
                  <a:lnTo>
                    <a:pt x="205" y="237"/>
                  </a:lnTo>
                  <a:lnTo>
                    <a:pt x="206" y="229"/>
                  </a:lnTo>
                  <a:lnTo>
                    <a:pt x="208" y="220"/>
                  </a:lnTo>
                  <a:lnTo>
                    <a:pt x="210" y="213"/>
                  </a:lnTo>
                  <a:lnTo>
                    <a:pt x="213" y="206"/>
                  </a:lnTo>
                  <a:lnTo>
                    <a:pt x="216" y="200"/>
                  </a:lnTo>
                  <a:lnTo>
                    <a:pt x="223" y="194"/>
                  </a:lnTo>
                  <a:lnTo>
                    <a:pt x="228" y="189"/>
                  </a:lnTo>
                  <a:lnTo>
                    <a:pt x="233" y="183"/>
                  </a:lnTo>
                  <a:lnTo>
                    <a:pt x="237" y="177"/>
                  </a:lnTo>
                  <a:lnTo>
                    <a:pt x="238" y="173"/>
                  </a:lnTo>
                  <a:lnTo>
                    <a:pt x="239" y="168"/>
                  </a:lnTo>
                  <a:lnTo>
                    <a:pt x="240" y="161"/>
                  </a:lnTo>
                  <a:lnTo>
                    <a:pt x="244" y="153"/>
                  </a:lnTo>
                  <a:lnTo>
                    <a:pt x="249" y="146"/>
                  </a:lnTo>
                  <a:lnTo>
                    <a:pt x="257" y="142"/>
                  </a:lnTo>
                  <a:lnTo>
                    <a:pt x="268" y="142"/>
                  </a:lnTo>
                  <a:lnTo>
                    <a:pt x="286" y="148"/>
                  </a:lnTo>
                  <a:lnTo>
                    <a:pt x="294" y="146"/>
                  </a:lnTo>
                  <a:lnTo>
                    <a:pt x="303" y="141"/>
                  </a:lnTo>
                  <a:lnTo>
                    <a:pt x="316" y="136"/>
                  </a:lnTo>
                  <a:lnTo>
                    <a:pt x="330" y="132"/>
                  </a:lnTo>
                  <a:lnTo>
                    <a:pt x="343" y="129"/>
                  </a:lnTo>
                  <a:lnTo>
                    <a:pt x="351" y="127"/>
                  </a:lnTo>
                  <a:lnTo>
                    <a:pt x="357" y="124"/>
                  </a:lnTo>
                  <a:lnTo>
                    <a:pt x="361" y="118"/>
                  </a:lnTo>
                  <a:lnTo>
                    <a:pt x="365" y="111"/>
                  </a:lnTo>
                  <a:lnTo>
                    <a:pt x="370" y="104"/>
                  </a:lnTo>
                  <a:lnTo>
                    <a:pt x="377" y="99"/>
                  </a:lnTo>
                  <a:lnTo>
                    <a:pt x="391" y="92"/>
                  </a:lnTo>
                  <a:lnTo>
                    <a:pt x="405" y="83"/>
                  </a:lnTo>
                  <a:lnTo>
                    <a:pt x="415" y="72"/>
                  </a:lnTo>
                  <a:lnTo>
                    <a:pt x="420" y="65"/>
                  </a:lnTo>
                  <a:lnTo>
                    <a:pt x="425" y="55"/>
                  </a:lnTo>
                  <a:lnTo>
                    <a:pt x="431" y="45"/>
                  </a:lnTo>
                  <a:lnTo>
                    <a:pt x="436" y="34"/>
                  </a:lnTo>
                  <a:lnTo>
                    <a:pt x="441" y="24"/>
                  </a:lnTo>
                  <a:lnTo>
                    <a:pt x="444" y="17"/>
                  </a:lnTo>
                  <a:lnTo>
                    <a:pt x="446" y="9"/>
                  </a:lnTo>
                  <a:lnTo>
                    <a:pt x="448" y="6"/>
                  </a:lnTo>
                  <a:lnTo>
                    <a:pt x="449" y="3"/>
                  </a:lnTo>
                  <a:lnTo>
                    <a:pt x="450" y="1"/>
                  </a:lnTo>
                  <a:lnTo>
                    <a:pt x="452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20">
              <a:extLst>
                <a:ext uri="{FF2B5EF4-FFF2-40B4-BE49-F238E27FC236}">
                  <a16:creationId xmlns:a16="http://schemas.microsoft.com/office/drawing/2014/main" id="{F4E474FB-D2AB-45E0-8529-0C4CCC178F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97638" y="2262188"/>
              <a:ext cx="1344613" cy="1370013"/>
            </a:xfrm>
            <a:custGeom>
              <a:avLst/>
              <a:gdLst/>
              <a:ahLst/>
              <a:cxnLst>
                <a:cxn ang="0">
                  <a:pos x="444" y="335"/>
                </a:cxn>
                <a:cxn ang="0">
                  <a:pos x="413" y="402"/>
                </a:cxn>
                <a:cxn ang="0">
                  <a:pos x="449" y="426"/>
                </a:cxn>
                <a:cxn ang="0">
                  <a:pos x="495" y="426"/>
                </a:cxn>
                <a:cxn ang="0">
                  <a:pos x="558" y="445"/>
                </a:cxn>
                <a:cxn ang="0">
                  <a:pos x="553" y="397"/>
                </a:cxn>
                <a:cxn ang="0">
                  <a:pos x="526" y="363"/>
                </a:cxn>
                <a:cxn ang="0">
                  <a:pos x="611" y="2"/>
                </a:cxn>
                <a:cxn ang="0">
                  <a:pos x="675" y="60"/>
                </a:cxn>
                <a:cxn ang="0">
                  <a:pos x="728" y="77"/>
                </a:cxn>
                <a:cxn ang="0">
                  <a:pos x="661" y="184"/>
                </a:cxn>
                <a:cxn ang="0">
                  <a:pos x="660" y="242"/>
                </a:cxn>
                <a:cxn ang="0">
                  <a:pos x="718" y="274"/>
                </a:cxn>
                <a:cxn ang="0">
                  <a:pos x="793" y="343"/>
                </a:cxn>
                <a:cxn ang="0">
                  <a:pos x="784" y="398"/>
                </a:cxn>
                <a:cxn ang="0">
                  <a:pos x="802" y="473"/>
                </a:cxn>
                <a:cxn ang="0">
                  <a:pos x="816" y="492"/>
                </a:cxn>
                <a:cxn ang="0">
                  <a:pos x="816" y="519"/>
                </a:cxn>
                <a:cxn ang="0">
                  <a:pos x="831" y="561"/>
                </a:cxn>
                <a:cxn ang="0">
                  <a:pos x="804" y="643"/>
                </a:cxn>
                <a:cxn ang="0">
                  <a:pos x="844" y="724"/>
                </a:cxn>
                <a:cxn ang="0">
                  <a:pos x="823" y="768"/>
                </a:cxn>
                <a:cxn ang="0">
                  <a:pos x="748" y="786"/>
                </a:cxn>
                <a:cxn ang="0">
                  <a:pos x="711" y="777"/>
                </a:cxn>
                <a:cxn ang="0">
                  <a:pos x="666" y="840"/>
                </a:cxn>
                <a:cxn ang="0">
                  <a:pos x="600" y="857"/>
                </a:cxn>
                <a:cxn ang="0">
                  <a:pos x="493" y="844"/>
                </a:cxn>
                <a:cxn ang="0">
                  <a:pos x="447" y="839"/>
                </a:cxn>
                <a:cxn ang="0">
                  <a:pos x="447" y="788"/>
                </a:cxn>
                <a:cxn ang="0">
                  <a:pos x="420" y="750"/>
                </a:cxn>
                <a:cxn ang="0">
                  <a:pos x="438" y="695"/>
                </a:cxn>
                <a:cxn ang="0">
                  <a:pos x="395" y="650"/>
                </a:cxn>
                <a:cxn ang="0">
                  <a:pos x="330" y="618"/>
                </a:cxn>
                <a:cxn ang="0">
                  <a:pos x="267" y="605"/>
                </a:cxn>
                <a:cxn ang="0">
                  <a:pos x="203" y="555"/>
                </a:cxn>
                <a:cxn ang="0">
                  <a:pos x="188" y="492"/>
                </a:cxn>
                <a:cxn ang="0">
                  <a:pos x="207" y="397"/>
                </a:cxn>
                <a:cxn ang="0">
                  <a:pos x="167" y="390"/>
                </a:cxn>
                <a:cxn ang="0">
                  <a:pos x="184" y="338"/>
                </a:cxn>
                <a:cxn ang="0">
                  <a:pos x="188" y="278"/>
                </a:cxn>
                <a:cxn ang="0">
                  <a:pos x="137" y="239"/>
                </a:cxn>
                <a:cxn ang="0">
                  <a:pos x="78" y="215"/>
                </a:cxn>
                <a:cxn ang="0">
                  <a:pos x="42" y="193"/>
                </a:cxn>
                <a:cxn ang="0">
                  <a:pos x="47" y="162"/>
                </a:cxn>
                <a:cxn ang="0">
                  <a:pos x="1" y="123"/>
                </a:cxn>
                <a:cxn ang="0">
                  <a:pos x="78" y="68"/>
                </a:cxn>
                <a:cxn ang="0">
                  <a:pos x="119" y="75"/>
                </a:cxn>
                <a:cxn ang="0">
                  <a:pos x="161" y="50"/>
                </a:cxn>
                <a:cxn ang="0">
                  <a:pos x="225" y="80"/>
                </a:cxn>
                <a:cxn ang="0">
                  <a:pos x="281" y="88"/>
                </a:cxn>
                <a:cxn ang="0">
                  <a:pos x="314" y="112"/>
                </a:cxn>
                <a:cxn ang="0">
                  <a:pos x="364" y="123"/>
                </a:cxn>
                <a:cxn ang="0">
                  <a:pos x="404" y="86"/>
                </a:cxn>
                <a:cxn ang="0">
                  <a:pos x="427" y="94"/>
                </a:cxn>
                <a:cxn ang="0">
                  <a:pos x="467" y="73"/>
                </a:cxn>
                <a:cxn ang="0">
                  <a:pos x="480" y="70"/>
                </a:cxn>
                <a:cxn ang="0">
                  <a:pos x="518" y="17"/>
                </a:cxn>
                <a:cxn ang="0">
                  <a:pos x="606" y="0"/>
                </a:cxn>
              </a:cxnLst>
              <a:rect l="0" t="0" r="r" b="b"/>
              <a:pathLst>
                <a:path w="847" h="863">
                  <a:moveTo>
                    <a:pt x="500" y="319"/>
                  </a:moveTo>
                  <a:lnTo>
                    <a:pt x="495" y="324"/>
                  </a:lnTo>
                  <a:lnTo>
                    <a:pt x="492" y="326"/>
                  </a:lnTo>
                  <a:lnTo>
                    <a:pt x="490" y="329"/>
                  </a:lnTo>
                  <a:lnTo>
                    <a:pt x="484" y="334"/>
                  </a:lnTo>
                  <a:lnTo>
                    <a:pt x="476" y="337"/>
                  </a:lnTo>
                  <a:lnTo>
                    <a:pt x="467" y="339"/>
                  </a:lnTo>
                  <a:lnTo>
                    <a:pt x="459" y="338"/>
                  </a:lnTo>
                  <a:lnTo>
                    <a:pt x="451" y="336"/>
                  </a:lnTo>
                  <a:lnTo>
                    <a:pt x="444" y="335"/>
                  </a:lnTo>
                  <a:lnTo>
                    <a:pt x="438" y="337"/>
                  </a:lnTo>
                  <a:lnTo>
                    <a:pt x="433" y="341"/>
                  </a:lnTo>
                  <a:lnTo>
                    <a:pt x="430" y="347"/>
                  </a:lnTo>
                  <a:lnTo>
                    <a:pt x="427" y="352"/>
                  </a:lnTo>
                  <a:lnTo>
                    <a:pt x="422" y="357"/>
                  </a:lnTo>
                  <a:lnTo>
                    <a:pt x="419" y="361"/>
                  </a:lnTo>
                  <a:lnTo>
                    <a:pt x="418" y="369"/>
                  </a:lnTo>
                  <a:lnTo>
                    <a:pt x="416" y="389"/>
                  </a:lnTo>
                  <a:lnTo>
                    <a:pt x="415" y="397"/>
                  </a:lnTo>
                  <a:lnTo>
                    <a:pt x="413" y="402"/>
                  </a:lnTo>
                  <a:lnTo>
                    <a:pt x="410" y="408"/>
                  </a:lnTo>
                  <a:lnTo>
                    <a:pt x="410" y="417"/>
                  </a:lnTo>
                  <a:lnTo>
                    <a:pt x="411" y="425"/>
                  </a:lnTo>
                  <a:lnTo>
                    <a:pt x="415" y="432"/>
                  </a:lnTo>
                  <a:lnTo>
                    <a:pt x="420" y="434"/>
                  </a:lnTo>
                  <a:lnTo>
                    <a:pt x="427" y="433"/>
                  </a:lnTo>
                  <a:lnTo>
                    <a:pt x="434" y="431"/>
                  </a:lnTo>
                  <a:lnTo>
                    <a:pt x="441" y="428"/>
                  </a:lnTo>
                  <a:lnTo>
                    <a:pt x="445" y="426"/>
                  </a:lnTo>
                  <a:lnTo>
                    <a:pt x="449" y="426"/>
                  </a:lnTo>
                  <a:lnTo>
                    <a:pt x="454" y="429"/>
                  </a:lnTo>
                  <a:lnTo>
                    <a:pt x="460" y="433"/>
                  </a:lnTo>
                  <a:lnTo>
                    <a:pt x="470" y="439"/>
                  </a:lnTo>
                  <a:lnTo>
                    <a:pt x="477" y="440"/>
                  </a:lnTo>
                  <a:lnTo>
                    <a:pt x="491" y="440"/>
                  </a:lnTo>
                  <a:lnTo>
                    <a:pt x="493" y="438"/>
                  </a:lnTo>
                  <a:lnTo>
                    <a:pt x="493" y="430"/>
                  </a:lnTo>
                  <a:lnTo>
                    <a:pt x="494" y="428"/>
                  </a:lnTo>
                  <a:lnTo>
                    <a:pt x="494" y="427"/>
                  </a:lnTo>
                  <a:lnTo>
                    <a:pt x="495" y="426"/>
                  </a:lnTo>
                  <a:lnTo>
                    <a:pt x="499" y="426"/>
                  </a:lnTo>
                  <a:lnTo>
                    <a:pt x="504" y="427"/>
                  </a:lnTo>
                  <a:lnTo>
                    <a:pt x="508" y="429"/>
                  </a:lnTo>
                  <a:lnTo>
                    <a:pt x="512" y="429"/>
                  </a:lnTo>
                  <a:lnTo>
                    <a:pt x="517" y="430"/>
                  </a:lnTo>
                  <a:lnTo>
                    <a:pt x="525" y="434"/>
                  </a:lnTo>
                  <a:lnTo>
                    <a:pt x="543" y="444"/>
                  </a:lnTo>
                  <a:lnTo>
                    <a:pt x="550" y="448"/>
                  </a:lnTo>
                  <a:lnTo>
                    <a:pt x="555" y="448"/>
                  </a:lnTo>
                  <a:lnTo>
                    <a:pt x="558" y="445"/>
                  </a:lnTo>
                  <a:lnTo>
                    <a:pt x="561" y="440"/>
                  </a:lnTo>
                  <a:lnTo>
                    <a:pt x="563" y="434"/>
                  </a:lnTo>
                  <a:lnTo>
                    <a:pt x="563" y="428"/>
                  </a:lnTo>
                  <a:lnTo>
                    <a:pt x="564" y="420"/>
                  </a:lnTo>
                  <a:lnTo>
                    <a:pt x="568" y="413"/>
                  </a:lnTo>
                  <a:lnTo>
                    <a:pt x="572" y="408"/>
                  </a:lnTo>
                  <a:lnTo>
                    <a:pt x="572" y="405"/>
                  </a:lnTo>
                  <a:lnTo>
                    <a:pt x="568" y="402"/>
                  </a:lnTo>
                  <a:lnTo>
                    <a:pt x="561" y="399"/>
                  </a:lnTo>
                  <a:lnTo>
                    <a:pt x="553" y="397"/>
                  </a:lnTo>
                  <a:lnTo>
                    <a:pt x="546" y="396"/>
                  </a:lnTo>
                  <a:lnTo>
                    <a:pt x="540" y="395"/>
                  </a:lnTo>
                  <a:lnTo>
                    <a:pt x="538" y="394"/>
                  </a:lnTo>
                  <a:lnTo>
                    <a:pt x="538" y="391"/>
                  </a:lnTo>
                  <a:lnTo>
                    <a:pt x="540" y="386"/>
                  </a:lnTo>
                  <a:lnTo>
                    <a:pt x="542" y="382"/>
                  </a:lnTo>
                  <a:lnTo>
                    <a:pt x="542" y="378"/>
                  </a:lnTo>
                  <a:lnTo>
                    <a:pt x="540" y="375"/>
                  </a:lnTo>
                  <a:lnTo>
                    <a:pt x="534" y="370"/>
                  </a:lnTo>
                  <a:lnTo>
                    <a:pt x="526" y="363"/>
                  </a:lnTo>
                  <a:lnTo>
                    <a:pt x="518" y="355"/>
                  </a:lnTo>
                  <a:lnTo>
                    <a:pt x="511" y="351"/>
                  </a:lnTo>
                  <a:lnTo>
                    <a:pt x="507" y="348"/>
                  </a:lnTo>
                  <a:lnTo>
                    <a:pt x="505" y="342"/>
                  </a:lnTo>
                  <a:lnTo>
                    <a:pt x="504" y="328"/>
                  </a:lnTo>
                  <a:lnTo>
                    <a:pt x="503" y="322"/>
                  </a:lnTo>
                  <a:lnTo>
                    <a:pt x="502" y="320"/>
                  </a:lnTo>
                  <a:lnTo>
                    <a:pt x="500" y="319"/>
                  </a:lnTo>
                  <a:close/>
                  <a:moveTo>
                    <a:pt x="606" y="0"/>
                  </a:moveTo>
                  <a:lnTo>
                    <a:pt x="611" y="2"/>
                  </a:lnTo>
                  <a:lnTo>
                    <a:pt x="617" y="7"/>
                  </a:lnTo>
                  <a:lnTo>
                    <a:pt x="624" y="18"/>
                  </a:lnTo>
                  <a:lnTo>
                    <a:pt x="635" y="41"/>
                  </a:lnTo>
                  <a:lnTo>
                    <a:pt x="639" y="52"/>
                  </a:lnTo>
                  <a:lnTo>
                    <a:pt x="643" y="60"/>
                  </a:lnTo>
                  <a:lnTo>
                    <a:pt x="648" y="65"/>
                  </a:lnTo>
                  <a:lnTo>
                    <a:pt x="656" y="68"/>
                  </a:lnTo>
                  <a:lnTo>
                    <a:pt x="664" y="68"/>
                  </a:lnTo>
                  <a:lnTo>
                    <a:pt x="670" y="65"/>
                  </a:lnTo>
                  <a:lnTo>
                    <a:pt x="675" y="60"/>
                  </a:lnTo>
                  <a:lnTo>
                    <a:pt x="679" y="54"/>
                  </a:lnTo>
                  <a:lnTo>
                    <a:pt x="691" y="42"/>
                  </a:lnTo>
                  <a:lnTo>
                    <a:pt x="699" y="39"/>
                  </a:lnTo>
                  <a:lnTo>
                    <a:pt x="705" y="37"/>
                  </a:lnTo>
                  <a:lnTo>
                    <a:pt x="713" y="36"/>
                  </a:lnTo>
                  <a:lnTo>
                    <a:pt x="722" y="34"/>
                  </a:lnTo>
                  <a:lnTo>
                    <a:pt x="726" y="48"/>
                  </a:lnTo>
                  <a:lnTo>
                    <a:pt x="729" y="60"/>
                  </a:lnTo>
                  <a:lnTo>
                    <a:pt x="730" y="67"/>
                  </a:lnTo>
                  <a:lnTo>
                    <a:pt x="728" y="77"/>
                  </a:lnTo>
                  <a:lnTo>
                    <a:pt x="723" y="87"/>
                  </a:lnTo>
                  <a:lnTo>
                    <a:pt x="718" y="96"/>
                  </a:lnTo>
                  <a:lnTo>
                    <a:pt x="716" y="106"/>
                  </a:lnTo>
                  <a:lnTo>
                    <a:pt x="716" y="133"/>
                  </a:lnTo>
                  <a:lnTo>
                    <a:pt x="714" y="149"/>
                  </a:lnTo>
                  <a:lnTo>
                    <a:pt x="709" y="157"/>
                  </a:lnTo>
                  <a:lnTo>
                    <a:pt x="700" y="165"/>
                  </a:lnTo>
                  <a:lnTo>
                    <a:pt x="678" y="176"/>
                  </a:lnTo>
                  <a:lnTo>
                    <a:pt x="668" y="181"/>
                  </a:lnTo>
                  <a:lnTo>
                    <a:pt x="661" y="184"/>
                  </a:lnTo>
                  <a:lnTo>
                    <a:pt x="658" y="187"/>
                  </a:lnTo>
                  <a:lnTo>
                    <a:pt x="657" y="191"/>
                  </a:lnTo>
                  <a:lnTo>
                    <a:pt x="659" y="197"/>
                  </a:lnTo>
                  <a:lnTo>
                    <a:pt x="663" y="203"/>
                  </a:lnTo>
                  <a:lnTo>
                    <a:pt x="666" y="210"/>
                  </a:lnTo>
                  <a:lnTo>
                    <a:pt x="667" y="218"/>
                  </a:lnTo>
                  <a:lnTo>
                    <a:pt x="665" y="225"/>
                  </a:lnTo>
                  <a:lnTo>
                    <a:pt x="662" y="232"/>
                  </a:lnTo>
                  <a:lnTo>
                    <a:pt x="659" y="238"/>
                  </a:lnTo>
                  <a:lnTo>
                    <a:pt x="660" y="242"/>
                  </a:lnTo>
                  <a:lnTo>
                    <a:pt x="665" y="245"/>
                  </a:lnTo>
                  <a:lnTo>
                    <a:pt x="671" y="247"/>
                  </a:lnTo>
                  <a:lnTo>
                    <a:pt x="677" y="248"/>
                  </a:lnTo>
                  <a:lnTo>
                    <a:pt x="681" y="250"/>
                  </a:lnTo>
                  <a:lnTo>
                    <a:pt x="688" y="254"/>
                  </a:lnTo>
                  <a:lnTo>
                    <a:pt x="696" y="259"/>
                  </a:lnTo>
                  <a:lnTo>
                    <a:pt x="703" y="265"/>
                  </a:lnTo>
                  <a:lnTo>
                    <a:pt x="710" y="269"/>
                  </a:lnTo>
                  <a:lnTo>
                    <a:pt x="714" y="271"/>
                  </a:lnTo>
                  <a:lnTo>
                    <a:pt x="718" y="274"/>
                  </a:lnTo>
                  <a:lnTo>
                    <a:pt x="725" y="281"/>
                  </a:lnTo>
                  <a:lnTo>
                    <a:pt x="733" y="290"/>
                  </a:lnTo>
                  <a:lnTo>
                    <a:pt x="741" y="300"/>
                  </a:lnTo>
                  <a:lnTo>
                    <a:pt x="748" y="310"/>
                  </a:lnTo>
                  <a:lnTo>
                    <a:pt x="755" y="317"/>
                  </a:lnTo>
                  <a:lnTo>
                    <a:pt x="766" y="323"/>
                  </a:lnTo>
                  <a:lnTo>
                    <a:pt x="777" y="328"/>
                  </a:lnTo>
                  <a:lnTo>
                    <a:pt x="786" y="332"/>
                  </a:lnTo>
                  <a:lnTo>
                    <a:pt x="791" y="337"/>
                  </a:lnTo>
                  <a:lnTo>
                    <a:pt x="793" y="343"/>
                  </a:lnTo>
                  <a:lnTo>
                    <a:pt x="791" y="349"/>
                  </a:lnTo>
                  <a:lnTo>
                    <a:pt x="788" y="354"/>
                  </a:lnTo>
                  <a:lnTo>
                    <a:pt x="786" y="359"/>
                  </a:lnTo>
                  <a:lnTo>
                    <a:pt x="786" y="365"/>
                  </a:lnTo>
                  <a:lnTo>
                    <a:pt x="789" y="369"/>
                  </a:lnTo>
                  <a:lnTo>
                    <a:pt x="792" y="374"/>
                  </a:lnTo>
                  <a:lnTo>
                    <a:pt x="794" y="379"/>
                  </a:lnTo>
                  <a:lnTo>
                    <a:pt x="793" y="385"/>
                  </a:lnTo>
                  <a:lnTo>
                    <a:pt x="789" y="391"/>
                  </a:lnTo>
                  <a:lnTo>
                    <a:pt x="784" y="398"/>
                  </a:lnTo>
                  <a:lnTo>
                    <a:pt x="774" y="410"/>
                  </a:lnTo>
                  <a:lnTo>
                    <a:pt x="772" y="416"/>
                  </a:lnTo>
                  <a:lnTo>
                    <a:pt x="773" y="424"/>
                  </a:lnTo>
                  <a:lnTo>
                    <a:pt x="776" y="433"/>
                  </a:lnTo>
                  <a:lnTo>
                    <a:pt x="780" y="443"/>
                  </a:lnTo>
                  <a:lnTo>
                    <a:pt x="784" y="451"/>
                  </a:lnTo>
                  <a:lnTo>
                    <a:pt x="787" y="460"/>
                  </a:lnTo>
                  <a:lnTo>
                    <a:pt x="791" y="467"/>
                  </a:lnTo>
                  <a:lnTo>
                    <a:pt x="796" y="471"/>
                  </a:lnTo>
                  <a:lnTo>
                    <a:pt x="802" y="473"/>
                  </a:lnTo>
                  <a:lnTo>
                    <a:pt x="808" y="474"/>
                  </a:lnTo>
                  <a:lnTo>
                    <a:pt x="813" y="476"/>
                  </a:lnTo>
                  <a:lnTo>
                    <a:pt x="817" y="479"/>
                  </a:lnTo>
                  <a:lnTo>
                    <a:pt x="819" y="482"/>
                  </a:lnTo>
                  <a:lnTo>
                    <a:pt x="820" y="484"/>
                  </a:lnTo>
                  <a:lnTo>
                    <a:pt x="821" y="485"/>
                  </a:lnTo>
                  <a:lnTo>
                    <a:pt x="820" y="486"/>
                  </a:lnTo>
                  <a:lnTo>
                    <a:pt x="820" y="487"/>
                  </a:lnTo>
                  <a:lnTo>
                    <a:pt x="817" y="490"/>
                  </a:lnTo>
                  <a:lnTo>
                    <a:pt x="816" y="492"/>
                  </a:lnTo>
                  <a:lnTo>
                    <a:pt x="815" y="496"/>
                  </a:lnTo>
                  <a:lnTo>
                    <a:pt x="816" y="499"/>
                  </a:lnTo>
                  <a:lnTo>
                    <a:pt x="818" y="503"/>
                  </a:lnTo>
                  <a:lnTo>
                    <a:pt x="820" y="509"/>
                  </a:lnTo>
                  <a:lnTo>
                    <a:pt x="820" y="515"/>
                  </a:lnTo>
                  <a:lnTo>
                    <a:pt x="819" y="515"/>
                  </a:lnTo>
                  <a:lnTo>
                    <a:pt x="818" y="516"/>
                  </a:lnTo>
                  <a:lnTo>
                    <a:pt x="817" y="516"/>
                  </a:lnTo>
                  <a:lnTo>
                    <a:pt x="816" y="517"/>
                  </a:lnTo>
                  <a:lnTo>
                    <a:pt x="816" y="519"/>
                  </a:lnTo>
                  <a:lnTo>
                    <a:pt x="815" y="521"/>
                  </a:lnTo>
                  <a:lnTo>
                    <a:pt x="815" y="524"/>
                  </a:lnTo>
                  <a:lnTo>
                    <a:pt x="817" y="531"/>
                  </a:lnTo>
                  <a:lnTo>
                    <a:pt x="822" y="536"/>
                  </a:lnTo>
                  <a:lnTo>
                    <a:pt x="828" y="540"/>
                  </a:lnTo>
                  <a:lnTo>
                    <a:pt x="834" y="543"/>
                  </a:lnTo>
                  <a:lnTo>
                    <a:pt x="837" y="546"/>
                  </a:lnTo>
                  <a:lnTo>
                    <a:pt x="837" y="549"/>
                  </a:lnTo>
                  <a:lnTo>
                    <a:pt x="834" y="554"/>
                  </a:lnTo>
                  <a:lnTo>
                    <a:pt x="831" y="561"/>
                  </a:lnTo>
                  <a:lnTo>
                    <a:pt x="828" y="569"/>
                  </a:lnTo>
                  <a:lnTo>
                    <a:pt x="826" y="578"/>
                  </a:lnTo>
                  <a:lnTo>
                    <a:pt x="825" y="586"/>
                  </a:lnTo>
                  <a:lnTo>
                    <a:pt x="827" y="593"/>
                  </a:lnTo>
                  <a:lnTo>
                    <a:pt x="829" y="603"/>
                  </a:lnTo>
                  <a:lnTo>
                    <a:pt x="827" y="613"/>
                  </a:lnTo>
                  <a:lnTo>
                    <a:pt x="822" y="622"/>
                  </a:lnTo>
                  <a:lnTo>
                    <a:pt x="816" y="631"/>
                  </a:lnTo>
                  <a:lnTo>
                    <a:pt x="809" y="637"/>
                  </a:lnTo>
                  <a:lnTo>
                    <a:pt x="804" y="643"/>
                  </a:lnTo>
                  <a:lnTo>
                    <a:pt x="803" y="650"/>
                  </a:lnTo>
                  <a:lnTo>
                    <a:pt x="805" y="656"/>
                  </a:lnTo>
                  <a:lnTo>
                    <a:pt x="808" y="662"/>
                  </a:lnTo>
                  <a:lnTo>
                    <a:pt x="813" y="669"/>
                  </a:lnTo>
                  <a:lnTo>
                    <a:pt x="817" y="679"/>
                  </a:lnTo>
                  <a:lnTo>
                    <a:pt x="820" y="690"/>
                  </a:lnTo>
                  <a:lnTo>
                    <a:pt x="823" y="699"/>
                  </a:lnTo>
                  <a:lnTo>
                    <a:pt x="830" y="708"/>
                  </a:lnTo>
                  <a:lnTo>
                    <a:pt x="838" y="716"/>
                  </a:lnTo>
                  <a:lnTo>
                    <a:pt x="844" y="724"/>
                  </a:lnTo>
                  <a:lnTo>
                    <a:pt x="847" y="733"/>
                  </a:lnTo>
                  <a:lnTo>
                    <a:pt x="846" y="742"/>
                  </a:lnTo>
                  <a:lnTo>
                    <a:pt x="842" y="750"/>
                  </a:lnTo>
                  <a:lnTo>
                    <a:pt x="839" y="751"/>
                  </a:lnTo>
                  <a:lnTo>
                    <a:pt x="834" y="751"/>
                  </a:lnTo>
                  <a:lnTo>
                    <a:pt x="832" y="752"/>
                  </a:lnTo>
                  <a:lnTo>
                    <a:pt x="828" y="755"/>
                  </a:lnTo>
                  <a:lnTo>
                    <a:pt x="826" y="758"/>
                  </a:lnTo>
                  <a:lnTo>
                    <a:pt x="825" y="763"/>
                  </a:lnTo>
                  <a:lnTo>
                    <a:pt x="823" y="768"/>
                  </a:lnTo>
                  <a:lnTo>
                    <a:pt x="820" y="770"/>
                  </a:lnTo>
                  <a:lnTo>
                    <a:pt x="817" y="769"/>
                  </a:lnTo>
                  <a:lnTo>
                    <a:pt x="813" y="765"/>
                  </a:lnTo>
                  <a:lnTo>
                    <a:pt x="810" y="763"/>
                  </a:lnTo>
                  <a:lnTo>
                    <a:pt x="807" y="763"/>
                  </a:lnTo>
                  <a:lnTo>
                    <a:pt x="792" y="769"/>
                  </a:lnTo>
                  <a:lnTo>
                    <a:pt x="780" y="773"/>
                  </a:lnTo>
                  <a:lnTo>
                    <a:pt x="767" y="777"/>
                  </a:lnTo>
                  <a:lnTo>
                    <a:pt x="755" y="782"/>
                  </a:lnTo>
                  <a:lnTo>
                    <a:pt x="748" y="786"/>
                  </a:lnTo>
                  <a:lnTo>
                    <a:pt x="742" y="790"/>
                  </a:lnTo>
                  <a:lnTo>
                    <a:pt x="741" y="791"/>
                  </a:lnTo>
                  <a:lnTo>
                    <a:pt x="739" y="791"/>
                  </a:lnTo>
                  <a:lnTo>
                    <a:pt x="739" y="789"/>
                  </a:lnTo>
                  <a:lnTo>
                    <a:pt x="738" y="788"/>
                  </a:lnTo>
                  <a:lnTo>
                    <a:pt x="738" y="786"/>
                  </a:lnTo>
                  <a:lnTo>
                    <a:pt x="737" y="785"/>
                  </a:lnTo>
                  <a:lnTo>
                    <a:pt x="731" y="781"/>
                  </a:lnTo>
                  <a:lnTo>
                    <a:pt x="722" y="778"/>
                  </a:lnTo>
                  <a:lnTo>
                    <a:pt x="711" y="777"/>
                  </a:lnTo>
                  <a:lnTo>
                    <a:pt x="702" y="776"/>
                  </a:lnTo>
                  <a:lnTo>
                    <a:pt x="696" y="779"/>
                  </a:lnTo>
                  <a:lnTo>
                    <a:pt x="690" y="785"/>
                  </a:lnTo>
                  <a:lnTo>
                    <a:pt x="684" y="793"/>
                  </a:lnTo>
                  <a:lnTo>
                    <a:pt x="679" y="801"/>
                  </a:lnTo>
                  <a:lnTo>
                    <a:pt x="675" y="805"/>
                  </a:lnTo>
                  <a:lnTo>
                    <a:pt x="672" y="809"/>
                  </a:lnTo>
                  <a:lnTo>
                    <a:pt x="670" y="817"/>
                  </a:lnTo>
                  <a:lnTo>
                    <a:pt x="668" y="828"/>
                  </a:lnTo>
                  <a:lnTo>
                    <a:pt x="666" y="840"/>
                  </a:lnTo>
                  <a:lnTo>
                    <a:pt x="664" y="851"/>
                  </a:lnTo>
                  <a:lnTo>
                    <a:pt x="661" y="859"/>
                  </a:lnTo>
                  <a:lnTo>
                    <a:pt x="658" y="862"/>
                  </a:lnTo>
                  <a:lnTo>
                    <a:pt x="655" y="861"/>
                  </a:lnTo>
                  <a:lnTo>
                    <a:pt x="644" y="851"/>
                  </a:lnTo>
                  <a:lnTo>
                    <a:pt x="639" y="848"/>
                  </a:lnTo>
                  <a:lnTo>
                    <a:pt x="633" y="848"/>
                  </a:lnTo>
                  <a:lnTo>
                    <a:pt x="624" y="850"/>
                  </a:lnTo>
                  <a:lnTo>
                    <a:pt x="613" y="853"/>
                  </a:lnTo>
                  <a:lnTo>
                    <a:pt x="600" y="857"/>
                  </a:lnTo>
                  <a:lnTo>
                    <a:pt x="587" y="860"/>
                  </a:lnTo>
                  <a:lnTo>
                    <a:pt x="575" y="862"/>
                  </a:lnTo>
                  <a:lnTo>
                    <a:pt x="565" y="863"/>
                  </a:lnTo>
                  <a:lnTo>
                    <a:pt x="552" y="861"/>
                  </a:lnTo>
                  <a:lnTo>
                    <a:pt x="539" y="857"/>
                  </a:lnTo>
                  <a:lnTo>
                    <a:pt x="526" y="851"/>
                  </a:lnTo>
                  <a:lnTo>
                    <a:pt x="515" y="845"/>
                  </a:lnTo>
                  <a:lnTo>
                    <a:pt x="507" y="840"/>
                  </a:lnTo>
                  <a:lnTo>
                    <a:pt x="501" y="840"/>
                  </a:lnTo>
                  <a:lnTo>
                    <a:pt x="493" y="844"/>
                  </a:lnTo>
                  <a:lnTo>
                    <a:pt x="485" y="849"/>
                  </a:lnTo>
                  <a:lnTo>
                    <a:pt x="478" y="854"/>
                  </a:lnTo>
                  <a:lnTo>
                    <a:pt x="470" y="854"/>
                  </a:lnTo>
                  <a:lnTo>
                    <a:pt x="463" y="852"/>
                  </a:lnTo>
                  <a:lnTo>
                    <a:pt x="458" y="851"/>
                  </a:lnTo>
                  <a:lnTo>
                    <a:pt x="448" y="853"/>
                  </a:lnTo>
                  <a:lnTo>
                    <a:pt x="445" y="852"/>
                  </a:lnTo>
                  <a:lnTo>
                    <a:pt x="444" y="849"/>
                  </a:lnTo>
                  <a:lnTo>
                    <a:pt x="445" y="844"/>
                  </a:lnTo>
                  <a:lnTo>
                    <a:pt x="447" y="839"/>
                  </a:lnTo>
                  <a:lnTo>
                    <a:pt x="450" y="835"/>
                  </a:lnTo>
                  <a:lnTo>
                    <a:pt x="452" y="831"/>
                  </a:lnTo>
                  <a:lnTo>
                    <a:pt x="451" y="826"/>
                  </a:lnTo>
                  <a:lnTo>
                    <a:pt x="449" y="822"/>
                  </a:lnTo>
                  <a:lnTo>
                    <a:pt x="448" y="818"/>
                  </a:lnTo>
                  <a:lnTo>
                    <a:pt x="450" y="815"/>
                  </a:lnTo>
                  <a:lnTo>
                    <a:pt x="453" y="810"/>
                  </a:lnTo>
                  <a:lnTo>
                    <a:pt x="452" y="804"/>
                  </a:lnTo>
                  <a:lnTo>
                    <a:pt x="450" y="796"/>
                  </a:lnTo>
                  <a:lnTo>
                    <a:pt x="447" y="788"/>
                  </a:lnTo>
                  <a:lnTo>
                    <a:pt x="442" y="782"/>
                  </a:lnTo>
                  <a:lnTo>
                    <a:pt x="436" y="776"/>
                  </a:lnTo>
                  <a:lnTo>
                    <a:pt x="428" y="774"/>
                  </a:lnTo>
                  <a:lnTo>
                    <a:pt x="422" y="771"/>
                  </a:lnTo>
                  <a:lnTo>
                    <a:pt x="416" y="766"/>
                  </a:lnTo>
                  <a:lnTo>
                    <a:pt x="411" y="761"/>
                  </a:lnTo>
                  <a:lnTo>
                    <a:pt x="413" y="758"/>
                  </a:lnTo>
                  <a:lnTo>
                    <a:pt x="414" y="755"/>
                  </a:lnTo>
                  <a:lnTo>
                    <a:pt x="417" y="752"/>
                  </a:lnTo>
                  <a:lnTo>
                    <a:pt x="420" y="750"/>
                  </a:lnTo>
                  <a:lnTo>
                    <a:pt x="427" y="745"/>
                  </a:lnTo>
                  <a:lnTo>
                    <a:pt x="433" y="739"/>
                  </a:lnTo>
                  <a:lnTo>
                    <a:pt x="440" y="733"/>
                  </a:lnTo>
                  <a:lnTo>
                    <a:pt x="444" y="727"/>
                  </a:lnTo>
                  <a:lnTo>
                    <a:pt x="445" y="723"/>
                  </a:lnTo>
                  <a:lnTo>
                    <a:pt x="444" y="720"/>
                  </a:lnTo>
                  <a:lnTo>
                    <a:pt x="438" y="714"/>
                  </a:lnTo>
                  <a:lnTo>
                    <a:pt x="437" y="709"/>
                  </a:lnTo>
                  <a:lnTo>
                    <a:pt x="438" y="703"/>
                  </a:lnTo>
                  <a:lnTo>
                    <a:pt x="438" y="695"/>
                  </a:lnTo>
                  <a:lnTo>
                    <a:pt x="436" y="685"/>
                  </a:lnTo>
                  <a:lnTo>
                    <a:pt x="431" y="676"/>
                  </a:lnTo>
                  <a:lnTo>
                    <a:pt x="424" y="669"/>
                  </a:lnTo>
                  <a:lnTo>
                    <a:pt x="417" y="665"/>
                  </a:lnTo>
                  <a:lnTo>
                    <a:pt x="411" y="662"/>
                  </a:lnTo>
                  <a:lnTo>
                    <a:pt x="408" y="658"/>
                  </a:lnTo>
                  <a:lnTo>
                    <a:pt x="407" y="654"/>
                  </a:lnTo>
                  <a:lnTo>
                    <a:pt x="405" y="651"/>
                  </a:lnTo>
                  <a:lnTo>
                    <a:pt x="401" y="650"/>
                  </a:lnTo>
                  <a:lnTo>
                    <a:pt x="395" y="650"/>
                  </a:lnTo>
                  <a:lnTo>
                    <a:pt x="392" y="649"/>
                  </a:lnTo>
                  <a:lnTo>
                    <a:pt x="389" y="647"/>
                  </a:lnTo>
                  <a:lnTo>
                    <a:pt x="384" y="643"/>
                  </a:lnTo>
                  <a:lnTo>
                    <a:pt x="379" y="640"/>
                  </a:lnTo>
                  <a:lnTo>
                    <a:pt x="368" y="640"/>
                  </a:lnTo>
                  <a:lnTo>
                    <a:pt x="364" y="639"/>
                  </a:lnTo>
                  <a:lnTo>
                    <a:pt x="359" y="635"/>
                  </a:lnTo>
                  <a:lnTo>
                    <a:pt x="352" y="629"/>
                  </a:lnTo>
                  <a:lnTo>
                    <a:pt x="342" y="623"/>
                  </a:lnTo>
                  <a:lnTo>
                    <a:pt x="330" y="618"/>
                  </a:lnTo>
                  <a:lnTo>
                    <a:pt x="319" y="614"/>
                  </a:lnTo>
                  <a:lnTo>
                    <a:pt x="311" y="611"/>
                  </a:lnTo>
                  <a:lnTo>
                    <a:pt x="307" y="610"/>
                  </a:lnTo>
                  <a:lnTo>
                    <a:pt x="303" y="612"/>
                  </a:lnTo>
                  <a:lnTo>
                    <a:pt x="300" y="614"/>
                  </a:lnTo>
                  <a:lnTo>
                    <a:pt x="297" y="617"/>
                  </a:lnTo>
                  <a:lnTo>
                    <a:pt x="292" y="618"/>
                  </a:lnTo>
                  <a:lnTo>
                    <a:pt x="285" y="617"/>
                  </a:lnTo>
                  <a:lnTo>
                    <a:pt x="275" y="611"/>
                  </a:lnTo>
                  <a:lnTo>
                    <a:pt x="267" y="605"/>
                  </a:lnTo>
                  <a:lnTo>
                    <a:pt x="261" y="600"/>
                  </a:lnTo>
                  <a:lnTo>
                    <a:pt x="255" y="598"/>
                  </a:lnTo>
                  <a:lnTo>
                    <a:pt x="251" y="599"/>
                  </a:lnTo>
                  <a:lnTo>
                    <a:pt x="245" y="599"/>
                  </a:lnTo>
                  <a:lnTo>
                    <a:pt x="239" y="598"/>
                  </a:lnTo>
                  <a:lnTo>
                    <a:pt x="233" y="595"/>
                  </a:lnTo>
                  <a:lnTo>
                    <a:pt x="228" y="589"/>
                  </a:lnTo>
                  <a:lnTo>
                    <a:pt x="221" y="580"/>
                  </a:lnTo>
                  <a:lnTo>
                    <a:pt x="213" y="567"/>
                  </a:lnTo>
                  <a:lnTo>
                    <a:pt x="203" y="555"/>
                  </a:lnTo>
                  <a:lnTo>
                    <a:pt x="195" y="544"/>
                  </a:lnTo>
                  <a:lnTo>
                    <a:pt x="190" y="534"/>
                  </a:lnTo>
                  <a:lnTo>
                    <a:pt x="190" y="524"/>
                  </a:lnTo>
                  <a:lnTo>
                    <a:pt x="193" y="515"/>
                  </a:lnTo>
                  <a:lnTo>
                    <a:pt x="197" y="509"/>
                  </a:lnTo>
                  <a:lnTo>
                    <a:pt x="198" y="506"/>
                  </a:lnTo>
                  <a:lnTo>
                    <a:pt x="196" y="503"/>
                  </a:lnTo>
                  <a:lnTo>
                    <a:pt x="192" y="500"/>
                  </a:lnTo>
                  <a:lnTo>
                    <a:pt x="189" y="496"/>
                  </a:lnTo>
                  <a:lnTo>
                    <a:pt x="188" y="492"/>
                  </a:lnTo>
                  <a:lnTo>
                    <a:pt x="193" y="477"/>
                  </a:lnTo>
                  <a:lnTo>
                    <a:pt x="194" y="467"/>
                  </a:lnTo>
                  <a:lnTo>
                    <a:pt x="193" y="457"/>
                  </a:lnTo>
                  <a:lnTo>
                    <a:pt x="193" y="441"/>
                  </a:lnTo>
                  <a:lnTo>
                    <a:pt x="195" y="435"/>
                  </a:lnTo>
                  <a:lnTo>
                    <a:pt x="198" y="427"/>
                  </a:lnTo>
                  <a:lnTo>
                    <a:pt x="202" y="419"/>
                  </a:lnTo>
                  <a:lnTo>
                    <a:pt x="205" y="410"/>
                  </a:lnTo>
                  <a:lnTo>
                    <a:pt x="207" y="403"/>
                  </a:lnTo>
                  <a:lnTo>
                    <a:pt x="207" y="397"/>
                  </a:lnTo>
                  <a:lnTo>
                    <a:pt x="205" y="395"/>
                  </a:lnTo>
                  <a:lnTo>
                    <a:pt x="200" y="392"/>
                  </a:lnTo>
                  <a:lnTo>
                    <a:pt x="195" y="388"/>
                  </a:lnTo>
                  <a:lnTo>
                    <a:pt x="192" y="385"/>
                  </a:lnTo>
                  <a:lnTo>
                    <a:pt x="188" y="386"/>
                  </a:lnTo>
                  <a:lnTo>
                    <a:pt x="184" y="390"/>
                  </a:lnTo>
                  <a:lnTo>
                    <a:pt x="180" y="393"/>
                  </a:lnTo>
                  <a:lnTo>
                    <a:pt x="176" y="395"/>
                  </a:lnTo>
                  <a:lnTo>
                    <a:pt x="172" y="394"/>
                  </a:lnTo>
                  <a:lnTo>
                    <a:pt x="167" y="390"/>
                  </a:lnTo>
                  <a:lnTo>
                    <a:pt x="162" y="385"/>
                  </a:lnTo>
                  <a:lnTo>
                    <a:pt x="159" y="381"/>
                  </a:lnTo>
                  <a:lnTo>
                    <a:pt x="160" y="378"/>
                  </a:lnTo>
                  <a:lnTo>
                    <a:pt x="163" y="373"/>
                  </a:lnTo>
                  <a:lnTo>
                    <a:pt x="168" y="365"/>
                  </a:lnTo>
                  <a:lnTo>
                    <a:pt x="172" y="357"/>
                  </a:lnTo>
                  <a:lnTo>
                    <a:pt x="173" y="349"/>
                  </a:lnTo>
                  <a:lnTo>
                    <a:pt x="174" y="344"/>
                  </a:lnTo>
                  <a:lnTo>
                    <a:pt x="178" y="341"/>
                  </a:lnTo>
                  <a:lnTo>
                    <a:pt x="184" y="338"/>
                  </a:lnTo>
                  <a:lnTo>
                    <a:pt x="188" y="335"/>
                  </a:lnTo>
                  <a:lnTo>
                    <a:pt x="189" y="329"/>
                  </a:lnTo>
                  <a:lnTo>
                    <a:pt x="187" y="322"/>
                  </a:lnTo>
                  <a:lnTo>
                    <a:pt x="184" y="313"/>
                  </a:lnTo>
                  <a:lnTo>
                    <a:pt x="180" y="305"/>
                  </a:lnTo>
                  <a:lnTo>
                    <a:pt x="179" y="297"/>
                  </a:lnTo>
                  <a:lnTo>
                    <a:pt x="180" y="290"/>
                  </a:lnTo>
                  <a:lnTo>
                    <a:pt x="183" y="285"/>
                  </a:lnTo>
                  <a:lnTo>
                    <a:pt x="186" y="281"/>
                  </a:lnTo>
                  <a:lnTo>
                    <a:pt x="188" y="278"/>
                  </a:lnTo>
                  <a:lnTo>
                    <a:pt x="189" y="273"/>
                  </a:lnTo>
                  <a:lnTo>
                    <a:pt x="188" y="266"/>
                  </a:lnTo>
                  <a:lnTo>
                    <a:pt x="184" y="257"/>
                  </a:lnTo>
                  <a:lnTo>
                    <a:pt x="180" y="252"/>
                  </a:lnTo>
                  <a:lnTo>
                    <a:pt x="176" y="250"/>
                  </a:lnTo>
                  <a:lnTo>
                    <a:pt x="164" y="250"/>
                  </a:lnTo>
                  <a:lnTo>
                    <a:pt x="158" y="249"/>
                  </a:lnTo>
                  <a:lnTo>
                    <a:pt x="153" y="243"/>
                  </a:lnTo>
                  <a:lnTo>
                    <a:pt x="149" y="239"/>
                  </a:lnTo>
                  <a:lnTo>
                    <a:pt x="137" y="239"/>
                  </a:lnTo>
                  <a:lnTo>
                    <a:pt x="130" y="240"/>
                  </a:lnTo>
                  <a:lnTo>
                    <a:pt x="125" y="240"/>
                  </a:lnTo>
                  <a:lnTo>
                    <a:pt x="119" y="238"/>
                  </a:lnTo>
                  <a:lnTo>
                    <a:pt x="111" y="237"/>
                  </a:lnTo>
                  <a:lnTo>
                    <a:pt x="102" y="235"/>
                  </a:lnTo>
                  <a:lnTo>
                    <a:pt x="94" y="233"/>
                  </a:lnTo>
                  <a:lnTo>
                    <a:pt x="88" y="230"/>
                  </a:lnTo>
                  <a:lnTo>
                    <a:pt x="88" y="222"/>
                  </a:lnTo>
                  <a:lnTo>
                    <a:pt x="84" y="218"/>
                  </a:lnTo>
                  <a:lnTo>
                    <a:pt x="78" y="215"/>
                  </a:lnTo>
                  <a:lnTo>
                    <a:pt x="74" y="212"/>
                  </a:lnTo>
                  <a:lnTo>
                    <a:pt x="73" y="210"/>
                  </a:lnTo>
                  <a:lnTo>
                    <a:pt x="73" y="208"/>
                  </a:lnTo>
                  <a:lnTo>
                    <a:pt x="70" y="207"/>
                  </a:lnTo>
                  <a:lnTo>
                    <a:pt x="66" y="207"/>
                  </a:lnTo>
                  <a:lnTo>
                    <a:pt x="60" y="206"/>
                  </a:lnTo>
                  <a:lnTo>
                    <a:pt x="56" y="205"/>
                  </a:lnTo>
                  <a:lnTo>
                    <a:pt x="53" y="202"/>
                  </a:lnTo>
                  <a:lnTo>
                    <a:pt x="49" y="197"/>
                  </a:lnTo>
                  <a:lnTo>
                    <a:pt x="42" y="193"/>
                  </a:lnTo>
                  <a:lnTo>
                    <a:pt x="36" y="188"/>
                  </a:lnTo>
                  <a:lnTo>
                    <a:pt x="34" y="184"/>
                  </a:lnTo>
                  <a:lnTo>
                    <a:pt x="34" y="182"/>
                  </a:lnTo>
                  <a:lnTo>
                    <a:pt x="33" y="182"/>
                  </a:lnTo>
                  <a:lnTo>
                    <a:pt x="43" y="177"/>
                  </a:lnTo>
                  <a:lnTo>
                    <a:pt x="45" y="177"/>
                  </a:lnTo>
                  <a:lnTo>
                    <a:pt x="48" y="175"/>
                  </a:lnTo>
                  <a:lnTo>
                    <a:pt x="50" y="172"/>
                  </a:lnTo>
                  <a:lnTo>
                    <a:pt x="50" y="167"/>
                  </a:lnTo>
                  <a:lnTo>
                    <a:pt x="47" y="162"/>
                  </a:lnTo>
                  <a:lnTo>
                    <a:pt x="41" y="160"/>
                  </a:lnTo>
                  <a:lnTo>
                    <a:pt x="38" y="160"/>
                  </a:lnTo>
                  <a:lnTo>
                    <a:pt x="34" y="158"/>
                  </a:lnTo>
                  <a:lnTo>
                    <a:pt x="30" y="152"/>
                  </a:lnTo>
                  <a:lnTo>
                    <a:pt x="25" y="146"/>
                  </a:lnTo>
                  <a:lnTo>
                    <a:pt x="18" y="141"/>
                  </a:lnTo>
                  <a:lnTo>
                    <a:pt x="10" y="137"/>
                  </a:lnTo>
                  <a:lnTo>
                    <a:pt x="4" y="132"/>
                  </a:lnTo>
                  <a:lnTo>
                    <a:pt x="0" y="128"/>
                  </a:lnTo>
                  <a:lnTo>
                    <a:pt x="1" y="123"/>
                  </a:lnTo>
                  <a:lnTo>
                    <a:pt x="7" y="115"/>
                  </a:lnTo>
                  <a:lnTo>
                    <a:pt x="16" y="108"/>
                  </a:lnTo>
                  <a:lnTo>
                    <a:pt x="26" y="102"/>
                  </a:lnTo>
                  <a:lnTo>
                    <a:pt x="37" y="99"/>
                  </a:lnTo>
                  <a:lnTo>
                    <a:pt x="43" y="97"/>
                  </a:lnTo>
                  <a:lnTo>
                    <a:pt x="50" y="92"/>
                  </a:lnTo>
                  <a:lnTo>
                    <a:pt x="57" y="86"/>
                  </a:lnTo>
                  <a:lnTo>
                    <a:pt x="74" y="69"/>
                  </a:lnTo>
                  <a:lnTo>
                    <a:pt x="77" y="67"/>
                  </a:lnTo>
                  <a:lnTo>
                    <a:pt x="78" y="68"/>
                  </a:lnTo>
                  <a:lnTo>
                    <a:pt x="78" y="72"/>
                  </a:lnTo>
                  <a:lnTo>
                    <a:pt x="77" y="77"/>
                  </a:lnTo>
                  <a:lnTo>
                    <a:pt x="77" y="88"/>
                  </a:lnTo>
                  <a:lnTo>
                    <a:pt x="79" y="92"/>
                  </a:lnTo>
                  <a:lnTo>
                    <a:pt x="83" y="93"/>
                  </a:lnTo>
                  <a:lnTo>
                    <a:pt x="89" y="91"/>
                  </a:lnTo>
                  <a:lnTo>
                    <a:pt x="99" y="83"/>
                  </a:lnTo>
                  <a:lnTo>
                    <a:pt x="105" y="81"/>
                  </a:lnTo>
                  <a:lnTo>
                    <a:pt x="113" y="79"/>
                  </a:lnTo>
                  <a:lnTo>
                    <a:pt x="119" y="75"/>
                  </a:lnTo>
                  <a:lnTo>
                    <a:pt x="124" y="69"/>
                  </a:lnTo>
                  <a:lnTo>
                    <a:pt x="126" y="62"/>
                  </a:lnTo>
                  <a:lnTo>
                    <a:pt x="127" y="55"/>
                  </a:lnTo>
                  <a:lnTo>
                    <a:pt x="130" y="50"/>
                  </a:lnTo>
                  <a:lnTo>
                    <a:pt x="135" y="46"/>
                  </a:lnTo>
                  <a:lnTo>
                    <a:pt x="141" y="46"/>
                  </a:lnTo>
                  <a:lnTo>
                    <a:pt x="147" y="48"/>
                  </a:lnTo>
                  <a:lnTo>
                    <a:pt x="151" y="51"/>
                  </a:lnTo>
                  <a:lnTo>
                    <a:pt x="155" y="52"/>
                  </a:lnTo>
                  <a:lnTo>
                    <a:pt x="161" y="50"/>
                  </a:lnTo>
                  <a:lnTo>
                    <a:pt x="168" y="45"/>
                  </a:lnTo>
                  <a:lnTo>
                    <a:pt x="173" y="43"/>
                  </a:lnTo>
                  <a:lnTo>
                    <a:pt x="178" y="45"/>
                  </a:lnTo>
                  <a:lnTo>
                    <a:pt x="184" y="49"/>
                  </a:lnTo>
                  <a:lnTo>
                    <a:pt x="193" y="54"/>
                  </a:lnTo>
                  <a:lnTo>
                    <a:pt x="204" y="60"/>
                  </a:lnTo>
                  <a:lnTo>
                    <a:pt x="215" y="67"/>
                  </a:lnTo>
                  <a:lnTo>
                    <a:pt x="220" y="72"/>
                  </a:lnTo>
                  <a:lnTo>
                    <a:pt x="223" y="76"/>
                  </a:lnTo>
                  <a:lnTo>
                    <a:pt x="225" y="80"/>
                  </a:lnTo>
                  <a:lnTo>
                    <a:pt x="227" y="82"/>
                  </a:lnTo>
                  <a:lnTo>
                    <a:pt x="231" y="83"/>
                  </a:lnTo>
                  <a:lnTo>
                    <a:pt x="237" y="82"/>
                  </a:lnTo>
                  <a:lnTo>
                    <a:pt x="247" y="80"/>
                  </a:lnTo>
                  <a:lnTo>
                    <a:pt x="254" y="78"/>
                  </a:lnTo>
                  <a:lnTo>
                    <a:pt x="257" y="79"/>
                  </a:lnTo>
                  <a:lnTo>
                    <a:pt x="261" y="81"/>
                  </a:lnTo>
                  <a:lnTo>
                    <a:pt x="266" y="84"/>
                  </a:lnTo>
                  <a:lnTo>
                    <a:pt x="273" y="86"/>
                  </a:lnTo>
                  <a:lnTo>
                    <a:pt x="281" y="88"/>
                  </a:lnTo>
                  <a:lnTo>
                    <a:pt x="288" y="92"/>
                  </a:lnTo>
                  <a:lnTo>
                    <a:pt x="294" y="95"/>
                  </a:lnTo>
                  <a:lnTo>
                    <a:pt x="300" y="97"/>
                  </a:lnTo>
                  <a:lnTo>
                    <a:pt x="305" y="97"/>
                  </a:lnTo>
                  <a:lnTo>
                    <a:pt x="309" y="98"/>
                  </a:lnTo>
                  <a:lnTo>
                    <a:pt x="311" y="100"/>
                  </a:lnTo>
                  <a:lnTo>
                    <a:pt x="311" y="102"/>
                  </a:lnTo>
                  <a:lnTo>
                    <a:pt x="310" y="104"/>
                  </a:lnTo>
                  <a:lnTo>
                    <a:pt x="310" y="110"/>
                  </a:lnTo>
                  <a:lnTo>
                    <a:pt x="314" y="112"/>
                  </a:lnTo>
                  <a:lnTo>
                    <a:pt x="349" y="112"/>
                  </a:lnTo>
                  <a:lnTo>
                    <a:pt x="357" y="113"/>
                  </a:lnTo>
                  <a:lnTo>
                    <a:pt x="361" y="114"/>
                  </a:lnTo>
                  <a:lnTo>
                    <a:pt x="362" y="115"/>
                  </a:lnTo>
                  <a:lnTo>
                    <a:pt x="362" y="118"/>
                  </a:lnTo>
                  <a:lnTo>
                    <a:pt x="361" y="119"/>
                  </a:lnTo>
                  <a:lnTo>
                    <a:pt x="361" y="121"/>
                  </a:lnTo>
                  <a:lnTo>
                    <a:pt x="362" y="122"/>
                  </a:lnTo>
                  <a:lnTo>
                    <a:pt x="362" y="123"/>
                  </a:lnTo>
                  <a:lnTo>
                    <a:pt x="364" y="123"/>
                  </a:lnTo>
                  <a:lnTo>
                    <a:pt x="366" y="122"/>
                  </a:lnTo>
                  <a:lnTo>
                    <a:pt x="369" y="121"/>
                  </a:lnTo>
                  <a:lnTo>
                    <a:pt x="377" y="116"/>
                  </a:lnTo>
                  <a:lnTo>
                    <a:pt x="385" y="111"/>
                  </a:lnTo>
                  <a:lnTo>
                    <a:pt x="394" y="104"/>
                  </a:lnTo>
                  <a:lnTo>
                    <a:pt x="400" y="98"/>
                  </a:lnTo>
                  <a:lnTo>
                    <a:pt x="403" y="92"/>
                  </a:lnTo>
                  <a:lnTo>
                    <a:pt x="403" y="90"/>
                  </a:lnTo>
                  <a:lnTo>
                    <a:pt x="404" y="88"/>
                  </a:lnTo>
                  <a:lnTo>
                    <a:pt x="404" y="86"/>
                  </a:lnTo>
                  <a:lnTo>
                    <a:pt x="407" y="83"/>
                  </a:lnTo>
                  <a:lnTo>
                    <a:pt x="413" y="83"/>
                  </a:lnTo>
                  <a:lnTo>
                    <a:pt x="417" y="84"/>
                  </a:lnTo>
                  <a:lnTo>
                    <a:pt x="420" y="85"/>
                  </a:lnTo>
                  <a:lnTo>
                    <a:pt x="422" y="87"/>
                  </a:lnTo>
                  <a:lnTo>
                    <a:pt x="424" y="88"/>
                  </a:lnTo>
                  <a:lnTo>
                    <a:pt x="425" y="90"/>
                  </a:lnTo>
                  <a:lnTo>
                    <a:pt x="425" y="91"/>
                  </a:lnTo>
                  <a:lnTo>
                    <a:pt x="426" y="93"/>
                  </a:lnTo>
                  <a:lnTo>
                    <a:pt x="427" y="94"/>
                  </a:lnTo>
                  <a:lnTo>
                    <a:pt x="428" y="94"/>
                  </a:lnTo>
                  <a:lnTo>
                    <a:pt x="431" y="91"/>
                  </a:lnTo>
                  <a:lnTo>
                    <a:pt x="436" y="85"/>
                  </a:lnTo>
                  <a:lnTo>
                    <a:pt x="440" y="80"/>
                  </a:lnTo>
                  <a:lnTo>
                    <a:pt x="442" y="75"/>
                  </a:lnTo>
                  <a:lnTo>
                    <a:pt x="445" y="72"/>
                  </a:lnTo>
                  <a:lnTo>
                    <a:pt x="449" y="71"/>
                  </a:lnTo>
                  <a:lnTo>
                    <a:pt x="456" y="71"/>
                  </a:lnTo>
                  <a:lnTo>
                    <a:pt x="462" y="72"/>
                  </a:lnTo>
                  <a:lnTo>
                    <a:pt x="467" y="73"/>
                  </a:lnTo>
                  <a:lnTo>
                    <a:pt x="469" y="76"/>
                  </a:lnTo>
                  <a:lnTo>
                    <a:pt x="469" y="78"/>
                  </a:lnTo>
                  <a:lnTo>
                    <a:pt x="470" y="81"/>
                  </a:lnTo>
                  <a:lnTo>
                    <a:pt x="470" y="83"/>
                  </a:lnTo>
                  <a:lnTo>
                    <a:pt x="472" y="87"/>
                  </a:lnTo>
                  <a:lnTo>
                    <a:pt x="473" y="88"/>
                  </a:lnTo>
                  <a:lnTo>
                    <a:pt x="475" y="88"/>
                  </a:lnTo>
                  <a:lnTo>
                    <a:pt x="478" y="82"/>
                  </a:lnTo>
                  <a:lnTo>
                    <a:pt x="478" y="76"/>
                  </a:lnTo>
                  <a:lnTo>
                    <a:pt x="480" y="70"/>
                  </a:lnTo>
                  <a:lnTo>
                    <a:pt x="483" y="64"/>
                  </a:lnTo>
                  <a:lnTo>
                    <a:pt x="490" y="60"/>
                  </a:lnTo>
                  <a:lnTo>
                    <a:pt x="496" y="56"/>
                  </a:lnTo>
                  <a:lnTo>
                    <a:pt x="499" y="53"/>
                  </a:lnTo>
                  <a:lnTo>
                    <a:pt x="500" y="50"/>
                  </a:lnTo>
                  <a:lnTo>
                    <a:pt x="501" y="46"/>
                  </a:lnTo>
                  <a:lnTo>
                    <a:pt x="502" y="40"/>
                  </a:lnTo>
                  <a:lnTo>
                    <a:pt x="505" y="32"/>
                  </a:lnTo>
                  <a:lnTo>
                    <a:pt x="511" y="23"/>
                  </a:lnTo>
                  <a:lnTo>
                    <a:pt x="518" y="17"/>
                  </a:lnTo>
                  <a:lnTo>
                    <a:pt x="527" y="15"/>
                  </a:lnTo>
                  <a:lnTo>
                    <a:pt x="537" y="15"/>
                  </a:lnTo>
                  <a:lnTo>
                    <a:pt x="550" y="16"/>
                  </a:lnTo>
                  <a:lnTo>
                    <a:pt x="564" y="16"/>
                  </a:lnTo>
                  <a:lnTo>
                    <a:pt x="577" y="15"/>
                  </a:lnTo>
                  <a:lnTo>
                    <a:pt x="586" y="12"/>
                  </a:lnTo>
                  <a:lnTo>
                    <a:pt x="592" y="8"/>
                  </a:lnTo>
                  <a:lnTo>
                    <a:pt x="596" y="4"/>
                  </a:lnTo>
                  <a:lnTo>
                    <a:pt x="601" y="1"/>
                  </a:lnTo>
                  <a:lnTo>
                    <a:pt x="606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21">
              <a:extLst>
                <a:ext uri="{FF2B5EF4-FFF2-40B4-BE49-F238E27FC236}">
                  <a16:creationId xmlns:a16="http://schemas.microsoft.com/office/drawing/2014/main" id="{377BB96C-60C7-48CC-AEF1-1756061EC0CD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8513" y="2768601"/>
              <a:ext cx="257175" cy="204788"/>
            </a:xfrm>
            <a:custGeom>
              <a:avLst/>
              <a:gdLst/>
              <a:ahLst/>
              <a:cxnLst>
                <a:cxn ang="0">
                  <a:pos x="92" y="1"/>
                </a:cxn>
                <a:cxn ang="0">
                  <a:pos x="94" y="9"/>
                </a:cxn>
                <a:cxn ang="0">
                  <a:pos x="97" y="29"/>
                </a:cxn>
                <a:cxn ang="0">
                  <a:pos x="108" y="36"/>
                </a:cxn>
                <a:cxn ang="0">
                  <a:pos x="124" y="51"/>
                </a:cxn>
                <a:cxn ang="0">
                  <a:pos x="132" y="59"/>
                </a:cxn>
                <a:cxn ang="0">
                  <a:pos x="130" y="67"/>
                </a:cxn>
                <a:cxn ang="0">
                  <a:pos x="128" y="75"/>
                </a:cxn>
                <a:cxn ang="0">
                  <a:pos x="136" y="77"/>
                </a:cxn>
                <a:cxn ang="0">
                  <a:pos x="151" y="80"/>
                </a:cxn>
                <a:cxn ang="0">
                  <a:pos x="162" y="86"/>
                </a:cxn>
                <a:cxn ang="0">
                  <a:pos x="158" y="94"/>
                </a:cxn>
                <a:cxn ang="0">
                  <a:pos x="153" y="109"/>
                </a:cxn>
                <a:cxn ang="0">
                  <a:pos x="151" y="121"/>
                </a:cxn>
                <a:cxn ang="0">
                  <a:pos x="145" y="129"/>
                </a:cxn>
                <a:cxn ang="0">
                  <a:pos x="133" y="125"/>
                </a:cxn>
                <a:cxn ang="0">
                  <a:pos x="107" y="111"/>
                </a:cxn>
                <a:cxn ang="0">
                  <a:pos x="98" y="110"/>
                </a:cxn>
                <a:cxn ang="0">
                  <a:pos x="89" y="107"/>
                </a:cxn>
                <a:cxn ang="0">
                  <a:pos x="84" y="108"/>
                </a:cxn>
                <a:cxn ang="0">
                  <a:pos x="83" y="111"/>
                </a:cxn>
                <a:cxn ang="0">
                  <a:pos x="81" y="121"/>
                </a:cxn>
                <a:cxn ang="0">
                  <a:pos x="60" y="120"/>
                </a:cxn>
                <a:cxn ang="0">
                  <a:pos x="44" y="110"/>
                </a:cxn>
                <a:cxn ang="0">
                  <a:pos x="35" y="107"/>
                </a:cxn>
                <a:cxn ang="0">
                  <a:pos x="24" y="112"/>
                </a:cxn>
                <a:cxn ang="0">
                  <a:pos x="10" y="115"/>
                </a:cxn>
                <a:cxn ang="0">
                  <a:pos x="1" y="106"/>
                </a:cxn>
                <a:cxn ang="0">
                  <a:pos x="0" y="89"/>
                </a:cxn>
                <a:cxn ang="0">
                  <a:pos x="5" y="78"/>
                </a:cxn>
                <a:cxn ang="0">
                  <a:pos x="8" y="50"/>
                </a:cxn>
                <a:cxn ang="0">
                  <a:pos x="12" y="38"/>
                </a:cxn>
                <a:cxn ang="0">
                  <a:pos x="20" y="28"/>
                </a:cxn>
                <a:cxn ang="0">
                  <a:pos x="28" y="18"/>
                </a:cxn>
                <a:cxn ang="0">
                  <a:pos x="41" y="17"/>
                </a:cxn>
                <a:cxn ang="0">
                  <a:pos x="57" y="20"/>
                </a:cxn>
                <a:cxn ang="0">
                  <a:pos x="74" y="15"/>
                </a:cxn>
                <a:cxn ang="0">
                  <a:pos x="82" y="7"/>
                </a:cxn>
                <a:cxn ang="0">
                  <a:pos x="90" y="0"/>
                </a:cxn>
              </a:cxnLst>
              <a:rect l="0" t="0" r="r" b="b"/>
              <a:pathLst>
                <a:path w="162" h="129">
                  <a:moveTo>
                    <a:pt x="90" y="0"/>
                  </a:moveTo>
                  <a:lnTo>
                    <a:pt x="92" y="1"/>
                  </a:lnTo>
                  <a:lnTo>
                    <a:pt x="93" y="3"/>
                  </a:lnTo>
                  <a:lnTo>
                    <a:pt x="94" y="9"/>
                  </a:lnTo>
                  <a:lnTo>
                    <a:pt x="95" y="23"/>
                  </a:lnTo>
                  <a:lnTo>
                    <a:pt x="97" y="29"/>
                  </a:lnTo>
                  <a:lnTo>
                    <a:pt x="101" y="32"/>
                  </a:lnTo>
                  <a:lnTo>
                    <a:pt x="108" y="36"/>
                  </a:lnTo>
                  <a:lnTo>
                    <a:pt x="116" y="44"/>
                  </a:lnTo>
                  <a:lnTo>
                    <a:pt x="124" y="51"/>
                  </a:lnTo>
                  <a:lnTo>
                    <a:pt x="130" y="56"/>
                  </a:lnTo>
                  <a:lnTo>
                    <a:pt x="132" y="59"/>
                  </a:lnTo>
                  <a:lnTo>
                    <a:pt x="132" y="63"/>
                  </a:lnTo>
                  <a:lnTo>
                    <a:pt x="130" y="67"/>
                  </a:lnTo>
                  <a:lnTo>
                    <a:pt x="128" y="72"/>
                  </a:lnTo>
                  <a:lnTo>
                    <a:pt x="128" y="75"/>
                  </a:lnTo>
                  <a:lnTo>
                    <a:pt x="130" y="76"/>
                  </a:lnTo>
                  <a:lnTo>
                    <a:pt x="136" y="77"/>
                  </a:lnTo>
                  <a:lnTo>
                    <a:pt x="143" y="78"/>
                  </a:lnTo>
                  <a:lnTo>
                    <a:pt x="151" y="80"/>
                  </a:lnTo>
                  <a:lnTo>
                    <a:pt x="158" y="83"/>
                  </a:lnTo>
                  <a:lnTo>
                    <a:pt x="162" y="86"/>
                  </a:lnTo>
                  <a:lnTo>
                    <a:pt x="162" y="89"/>
                  </a:lnTo>
                  <a:lnTo>
                    <a:pt x="158" y="94"/>
                  </a:lnTo>
                  <a:lnTo>
                    <a:pt x="154" y="101"/>
                  </a:lnTo>
                  <a:lnTo>
                    <a:pt x="153" y="109"/>
                  </a:lnTo>
                  <a:lnTo>
                    <a:pt x="153" y="115"/>
                  </a:lnTo>
                  <a:lnTo>
                    <a:pt x="151" y="121"/>
                  </a:lnTo>
                  <a:lnTo>
                    <a:pt x="148" y="126"/>
                  </a:lnTo>
                  <a:lnTo>
                    <a:pt x="145" y="129"/>
                  </a:lnTo>
                  <a:lnTo>
                    <a:pt x="140" y="129"/>
                  </a:lnTo>
                  <a:lnTo>
                    <a:pt x="133" y="125"/>
                  </a:lnTo>
                  <a:lnTo>
                    <a:pt x="115" y="115"/>
                  </a:lnTo>
                  <a:lnTo>
                    <a:pt x="107" y="111"/>
                  </a:lnTo>
                  <a:lnTo>
                    <a:pt x="102" y="110"/>
                  </a:lnTo>
                  <a:lnTo>
                    <a:pt x="98" y="110"/>
                  </a:lnTo>
                  <a:lnTo>
                    <a:pt x="94" y="108"/>
                  </a:lnTo>
                  <a:lnTo>
                    <a:pt x="89" y="107"/>
                  </a:lnTo>
                  <a:lnTo>
                    <a:pt x="85" y="107"/>
                  </a:lnTo>
                  <a:lnTo>
                    <a:pt x="84" y="108"/>
                  </a:lnTo>
                  <a:lnTo>
                    <a:pt x="84" y="109"/>
                  </a:lnTo>
                  <a:lnTo>
                    <a:pt x="83" y="111"/>
                  </a:lnTo>
                  <a:lnTo>
                    <a:pt x="83" y="119"/>
                  </a:lnTo>
                  <a:lnTo>
                    <a:pt x="81" y="121"/>
                  </a:lnTo>
                  <a:lnTo>
                    <a:pt x="67" y="121"/>
                  </a:lnTo>
                  <a:lnTo>
                    <a:pt x="60" y="120"/>
                  </a:lnTo>
                  <a:lnTo>
                    <a:pt x="50" y="114"/>
                  </a:lnTo>
                  <a:lnTo>
                    <a:pt x="44" y="110"/>
                  </a:lnTo>
                  <a:lnTo>
                    <a:pt x="39" y="107"/>
                  </a:lnTo>
                  <a:lnTo>
                    <a:pt x="35" y="107"/>
                  </a:lnTo>
                  <a:lnTo>
                    <a:pt x="31" y="109"/>
                  </a:lnTo>
                  <a:lnTo>
                    <a:pt x="24" y="112"/>
                  </a:lnTo>
                  <a:lnTo>
                    <a:pt x="17" y="114"/>
                  </a:lnTo>
                  <a:lnTo>
                    <a:pt x="10" y="115"/>
                  </a:lnTo>
                  <a:lnTo>
                    <a:pt x="5" y="113"/>
                  </a:lnTo>
                  <a:lnTo>
                    <a:pt x="1" y="106"/>
                  </a:lnTo>
                  <a:lnTo>
                    <a:pt x="0" y="98"/>
                  </a:lnTo>
                  <a:lnTo>
                    <a:pt x="0" y="89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6" y="70"/>
                  </a:lnTo>
                  <a:lnTo>
                    <a:pt x="8" y="50"/>
                  </a:lnTo>
                  <a:lnTo>
                    <a:pt x="9" y="42"/>
                  </a:lnTo>
                  <a:lnTo>
                    <a:pt x="12" y="38"/>
                  </a:lnTo>
                  <a:lnTo>
                    <a:pt x="17" y="33"/>
                  </a:lnTo>
                  <a:lnTo>
                    <a:pt x="20" y="28"/>
                  </a:lnTo>
                  <a:lnTo>
                    <a:pt x="23" y="22"/>
                  </a:lnTo>
                  <a:lnTo>
                    <a:pt x="28" y="18"/>
                  </a:lnTo>
                  <a:lnTo>
                    <a:pt x="34" y="16"/>
                  </a:lnTo>
                  <a:lnTo>
                    <a:pt x="41" y="17"/>
                  </a:lnTo>
                  <a:lnTo>
                    <a:pt x="49" y="19"/>
                  </a:lnTo>
                  <a:lnTo>
                    <a:pt x="57" y="20"/>
                  </a:lnTo>
                  <a:lnTo>
                    <a:pt x="66" y="18"/>
                  </a:lnTo>
                  <a:lnTo>
                    <a:pt x="74" y="15"/>
                  </a:lnTo>
                  <a:lnTo>
                    <a:pt x="80" y="10"/>
                  </a:lnTo>
                  <a:lnTo>
                    <a:pt x="82" y="7"/>
                  </a:lnTo>
                  <a:lnTo>
                    <a:pt x="85" y="5"/>
                  </a:lnTo>
                  <a:lnTo>
                    <a:pt x="90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22">
              <a:extLst>
                <a:ext uri="{FF2B5EF4-FFF2-40B4-BE49-F238E27FC236}">
                  <a16:creationId xmlns:a16="http://schemas.microsoft.com/office/drawing/2014/main" id="{40AADC4A-79B0-429C-A528-EC2E270449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8063" y="1776413"/>
              <a:ext cx="185738" cy="211138"/>
            </a:xfrm>
            <a:custGeom>
              <a:avLst/>
              <a:gdLst/>
              <a:ahLst/>
              <a:cxnLst>
                <a:cxn ang="0">
                  <a:pos x="13" y="1"/>
                </a:cxn>
                <a:cxn ang="0">
                  <a:pos x="20" y="9"/>
                </a:cxn>
                <a:cxn ang="0">
                  <a:pos x="31" y="28"/>
                </a:cxn>
                <a:cxn ang="0">
                  <a:pos x="45" y="32"/>
                </a:cxn>
                <a:cxn ang="0">
                  <a:pos x="65" y="43"/>
                </a:cxn>
                <a:cxn ang="0">
                  <a:pos x="78" y="58"/>
                </a:cxn>
                <a:cxn ang="0">
                  <a:pos x="96" y="76"/>
                </a:cxn>
                <a:cxn ang="0">
                  <a:pos x="114" y="89"/>
                </a:cxn>
                <a:cxn ang="0">
                  <a:pos x="115" y="90"/>
                </a:cxn>
                <a:cxn ang="0">
                  <a:pos x="117" y="123"/>
                </a:cxn>
                <a:cxn ang="0">
                  <a:pos x="110" y="119"/>
                </a:cxn>
                <a:cxn ang="0">
                  <a:pos x="96" y="120"/>
                </a:cxn>
                <a:cxn ang="0">
                  <a:pos x="79" y="121"/>
                </a:cxn>
                <a:cxn ang="0">
                  <a:pos x="69" y="124"/>
                </a:cxn>
                <a:cxn ang="0">
                  <a:pos x="53" y="130"/>
                </a:cxn>
                <a:cxn ang="0">
                  <a:pos x="36" y="133"/>
                </a:cxn>
                <a:cxn ang="0">
                  <a:pos x="29" y="130"/>
                </a:cxn>
                <a:cxn ang="0">
                  <a:pos x="30" y="124"/>
                </a:cxn>
                <a:cxn ang="0">
                  <a:pos x="35" y="120"/>
                </a:cxn>
                <a:cxn ang="0">
                  <a:pos x="46" y="115"/>
                </a:cxn>
                <a:cxn ang="0">
                  <a:pos x="51" y="108"/>
                </a:cxn>
                <a:cxn ang="0">
                  <a:pos x="38" y="89"/>
                </a:cxn>
                <a:cxn ang="0">
                  <a:pos x="35" y="77"/>
                </a:cxn>
                <a:cxn ang="0">
                  <a:pos x="46" y="73"/>
                </a:cxn>
                <a:cxn ang="0">
                  <a:pos x="50" y="76"/>
                </a:cxn>
                <a:cxn ang="0">
                  <a:pos x="51" y="86"/>
                </a:cxn>
                <a:cxn ang="0">
                  <a:pos x="53" y="89"/>
                </a:cxn>
                <a:cxn ang="0">
                  <a:pos x="55" y="88"/>
                </a:cxn>
                <a:cxn ang="0">
                  <a:pos x="69" y="89"/>
                </a:cxn>
                <a:cxn ang="0">
                  <a:pos x="73" y="85"/>
                </a:cxn>
                <a:cxn ang="0">
                  <a:pos x="77" y="75"/>
                </a:cxn>
                <a:cxn ang="0">
                  <a:pos x="76" y="67"/>
                </a:cxn>
                <a:cxn ang="0">
                  <a:pos x="67" y="61"/>
                </a:cxn>
                <a:cxn ang="0">
                  <a:pos x="55" y="48"/>
                </a:cxn>
                <a:cxn ang="0">
                  <a:pos x="45" y="46"/>
                </a:cxn>
                <a:cxn ang="0">
                  <a:pos x="42" y="49"/>
                </a:cxn>
                <a:cxn ang="0">
                  <a:pos x="41" y="52"/>
                </a:cxn>
                <a:cxn ang="0">
                  <a:pos x="40" y="55"/>
                </a:cxn>
                <a:cxn ang="0">
                  <a:pos x="38" y="60"/>
                </a:cxn>
                <a:cxn ang="0">
                  <a:pos x="32" y="67"/>
                </a:cxn>
                <a:cxn ang="0">
                  <a:pos x="29" y="69"/>
                </a:cxn>
                <a:cxn ang="0">
                  <a:pos x="26" y="66"/>
                </a:cxn>
                <a:cxn ang="0">
                  <a:pos x="26" y="62"/>
                </a:cxn>
                <a:cxn ang="0">
                  <a:pos x="27" y="58"/>
                </a:cxn>
                <a:cxn ang="0">
                  <a:pos x="28" y="55"/>
                </a:cxn>
                <a:cxn ang="0">
                  <a:pos x="24" y="54"/>
                </a:cxn>
                <a:cxn ang="0">
                  <a:pos x="20" y="59"/>
                </a:cxn>
                <a:cxn ang="0">
                  <a:pos x="17" y="62"/>
                </a:cxn>
                <a:cxn ang="0">
                  <a:pos x="11" y="60"/>
                </a:cxn>
                <a:cxn ang="0">
                  <a:pos x="10" y="51"/>
                </a:cxn>
                <a:cxn ang="0">
                  <a:pos x="20" y="33"/>
                </a:cxn>
                <a:cxn ang="0">
                  <a:pos x="18" y="22"/>
                </a:cxn>
                <a:cxn ang="0">
                  <a:pos x="7" y="14"/>
                </a:cxn>
                <a:cxn ang="0">
                  <a:pos x="0" y="6"/>
                </a:cxn>
                <a:cxn ang="0">
                  <a:pos x="9" y="0"/>
                </a:cxn>
              </a:cxnLst>
              <a:rect l="0" t="0" r="r" b="b"/>
              <a:pathLst>
                <a:path w="117" h="133">
                  <a:moveTo>
                    <a:pt x="9" y="0"/>
                  </a:moveTo>
                  <a:lnTo>
                    <a:pt x="13" y="1"/>
                  </a:lnTo>
                  <a:lnTo>
                    <a:pt x="16" y="4"/>
                  </a:lnTo>
                  <a:lnTo>
                    <a:pt x="20" y="9"/>
                  </a:lnTo>
                  <a:lnTo>
                    <a:pt x="28" y="23"/>
                  </a:lnTo>
                  <a:lnTo>
                    <a:pt x="31" y="28"/>
                  </a:lnTo>
                  <a:lnTo>
                    <a:pt x="36" y="30"/>
                  </a:lnTo>
                  <a:lnTo>
                    <a:pt x="45" y="32"/>
                  </a:lnTo>
                  <a:lnTo>
                    <a:pt x="56" y="36"/>
                  </a:lnTo>
                  <a:lnTo>
                    <a:pt x="65" y="43"/>
                  </a:lnTo>
                  <a:lnTo>
                    <a:pt x="70" y="49"/>
                  </a:lnTo>
                  <a:lnTo>
                    <a:pt x="78" y="58"/>
                  </a:lnTo>
                  <a:lnTo>
                    <a:pt x="87" y="68"/>
                  </a:lnTo>
                  <a:lnTo>
                    <a:pt x="96" y="76"/>
                  </a:lnTo>
                  <a:lnTo>
                    <a:pt x="105" y="84"/>
                  </a:lnTo>
                  <a:lnTo>
                    <a:pt x="114" y="89"/>
                  </a:lnTo>
                  <a:lnTo>
                    <a:pt x="114" y="90"/>
                  </a:lnTo>
                  <a:lnTo>
                    <a:pt x="115" y="90"/>
                  </a:lnTo>
                  <a:lnTo>
                    <a:pt x="116" y="108"/>
                  </a:lnTo>
                  <a:lnTo>
                    <a:pt x="117" y="123"/>
                  </a:lnTo>
                  <a:lnTo>
                    <a:pt x="114" y="121"/>
                  </a:lnTo>
                  <a:lnTo>
                    <a:pt x="110" y="119"/>
                  </a:lnTo>
                  <a:lnTo>
                    <a:pt x="103" y="119"/>
                  </a:lnTo>
                  <a:lnTo>
                    <a:pt x="96" y="120"/>
                  </a:lnTo>
                  <a:lnTo>
                    <a:pt x="87" y="120"/>
                  </a:lnTo>
                  <a:lnTo>
                    <a:pt x="79" y="121"/>
                  </a:lnTo>
                  <a:lnTo>
                    <a:pt x="74" y="122"/>
                  </a:lnTo>
                  <a:lnTo>
                    <a:pt x="69" y="124"/>
                  </a:lnTo>
                  <a:lnTo>
                    <a:pt x="62" y="127"/>
                  </a:lnTo>
                  <a:lnTo>
                    <a:pt x="53" y="130"/>
                  </a:lnTo>
                  <a:lnTo>
                    <a:pt x="43" y="133"/>
                  </a:lnTo>
                  <a:lnTo>
                    <a:pt x="36" y="133"/>
                  </a:lnTo>
                  <a:lnTo>
                    <a:pt x="31" y="132"/>
                  </a:lnTo>
                  <a:lnTo>
                    <a:pt x="29" y="130"/>
                  </a:lnTo>
                  <a:lnTo>
                    <a:pt x="28" y="128"/>
                  </a:lnTo>
                  <a:lnTo>
                    <a:pt x="30" y="124"/>
                  </a:lnTo>
                  <a:lnTo>
                    <a:pt x="32" y="122"/>
                  </a:lnTo>
                  <a:lnTo>
                    <a:pt x="35" y="120"/>
                  </a:lnTo>
                  <a:lnTo>
                    <a:pt x="40" y="118"/>
                  </a:lnTo>
                  <a:lnTo>
                    <a:pt x="46" y="115"/>
                  </a:lnTo>
                  <a:lnTo>
                    <a:pt x="49" y="112"/>
                  </a:lnTo>
                  <a:lnTo>
                    <a:pt x="51" y="108"/>
                  </a:lnTo>
                  <a:lnTo>
                    <a:pt x="50" y="103"/>
                  </a:lnTo>
                  <a:lnTo>
                    <a:pt x="38" y="89"/>
                  </a:lnTo>
                  <a:lnTo>
                    <a:pt x="34" y="83"/>
                  </a:lnTo>
                  <a:lnTo>
                    <a:pt x="35" y="77"/>
                  </a:lnTo>
                  <a:lnTo>
                    <a:pt x="41" y="73"/>
                  </a:lnTo>
                  <a:lnTo>
                    <a:pt x="46" y="73"/>
                  </a:lnTo>
                  <a:lnTo>
                    <a:pt x="48" y="74"/>
                  </a:lnTo>
                  <a:lnTo>
                    <a:pt x="50" y="76"/>
                  </a:lnTo>
                  <a:lnTo>
                    <a:pt x="50" y="83"/>
                  </a:lnTo>
                  <a:lnTo>
                    <a:pt x="51" y="86"/>
                  </a:lnTo>
                  <a:lnTo>
                    <a:pt x="52" y="88"/>
                  </a:lnTo>
                  <a:lnTo>
                    <a:pt x="53" y="89"/>
                  </a:lnTo>
                  <a:lnTo>
                    <a:pt x="54" y="89"/>
                  </a:lnTo>
                  <a:lnTo>
                    <a:pt x="55" y="88"/>
                  </a:lnTo>
                  <a:lnTo>
                    <a:pt x="59" y="87"/>
                  </a:lnTo>
                  <a:lnTo>
                    <a:pt x="69" y="89"/>
                  </a:lnTo>
                  <a:lnTo>
                    <a:pt x="72" y="88"/>
                  </a:lnTo>
                  <a:lnTo>
                    <a:pt x="73" y="85"/>
                  </a:lnTo>
                  <a:lnTo>
                    <a:pt x="75" y="81"/>
                  </a:lnTo>
                  <a:lnTo>
                    <a:pt x="77" y="75"/>
                  </a:lnTo>
                  <a:lnTo>
                    <a:pt x="77" y="70"/>
                  </a:lnTo>
                  <a:lnTo>
                    <a:pt x="76" y="67"/>
                  </a:lnTo>
                  <a:lnTo>
                    <a:pt x="72" y="64"/>
                  </a:lnTo>
                  <a:lnTo>
                    <a:pt x="67" y="61"/>
                  </a:lnTo>
                  <a:lnTo>
                    <a:pt x="63" y="56"/>
                  </a:lnTo>
                  <a:lnTo>
                    <a:pt x="55" y="48"/>
                  </a:lnTo>
                  <a:lnTo>
                    <a:pt x="50" y="46"/>
                  </a:lnTo>
                  <a:lnTo>
                    <a:pt x="45" y="46"/>
                  </a:lnTo>
                  <a:lnTo>
                    <a:pt x="43" y="47"/>
                  </a:lnTo>
                  <a:lnTo>
                    <a:pt x="42" y="49"/>
                  </a:lnTo>
                  <a:lnTo>
                    <a:pt x="41" y="50"/>
                  </a:lnTo>
                  <a:lnTo>
                    <a:pt x="41" y="52"/>
                  </a:lnTo>
                  <a:lnTo>
                    <a:pt x="40" y="53"/>
                  </a:lnTo>
                  <a:lnTo>
                    <a:pt x="40" y="55"/>
                  </a:lnTo>
                  <a:lnTo>
                    <a:pt x="39" y="57"/>
                  </a:lnTo>
                  <a:lnTo>
                    <a:pt x="38" y="60"/>
                  </a:lnTo>
                  <a:lnTo>
                    <a:pt x="36" y="63"/>
                  </a:lnTo>
                  <a:lnTo>
                    <a:pt x="32" y="67"/>
                  </a:lnTo>
                  <a:lnTo>
                    <a:pt x="31" y="69"/>
                  </a:lnTo>
                  <a:lnTo>
                    <a:pt x="29" y="69"/>
                  </a:lnTo>
                  <a:lnTo>
                    <a:pt x="27" y="68"/>
                  </a:lnTo>
                  <a:lnTo>
                    <a:pt x="26" y="66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6" y="60"/>
                  </a:lnTo>
                  <a:lnTo>
                    <a:pt x="27" y="58"/>
                  </a:lnTo>
                  <a:lnTo>
                    <a:pt x="27" y="56"/>
                  </a:lnTo>
                  <a:lnTo>
                    <a:pt x="28" y="55"/>
                  </a:lnTo>
                  <a:lnTo>
                    <a:pt x="27" y="54"/>
                  </a:lnTo>
                  <a:lnTo>
                    <a:pt x="24" y="54"/>
                  </a:lnTo>
                  <a:lnTo>
                    <a:pt x="21" y="57"/>
                  </a:lnTo>
                  <a:lnTo>
                    <a:pt x="20" y="59"/>
                  </a:lnTo>
                  <a:lnTo>
                    <a:pt x="18" y="60"/>
                  </a:lnTo>
                  <a:lnTo>
                    <a:pt x="17" y="62"/>
                  </a:lnTo>
                  <a:lnTo>
                    <a:pt x="13" y="62"/>
                  </a:lnTo>
                  <a:lnTo>
                    <a:pt x="11" y="60"/>
                  </a:lnTo>
                  <a:lnTo>
                    <a:pt x="8" y="56"/>
                  </a:lnTo>
                  <a:lnTo>
                    <a:pt x="10" y="51"/>
                  </a:lnTo>
                  <a:lnTo>
                    <a:pt x="16" y="43"/>
                  </a:lnTo>
                  <a:lnTo>
                    <a:pt x="20" y="33"/>
                  </a:lnTo>
                  <a:lnTo>
                    <a:pt x="21" y="27"/>
                  </a:lnTo>
                  <a:lnTo>
                    <a:pt x="18" y="22"/>
                  </a:lnTo>
                  <a:lnTo>
                    <a:pt x="13" y="18"/>
                  </a:lnTo>
                  <a:lnTo>
                    <a:pt x="7" y="14"/>
                  </a:lnTo>
                  <a:lnTo>
                    <a:pt x="2" y="10"/>
                  </a:lnTo>
                  <a:lnTo>
                    <a:pt x="0" y="6"/>
                  </a:lnTo>
                  <a:lnTo>
                    <a:pt x="3" y="3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23">
              <a:extLst>
                <a:ext uri="{FF2B5EF4-FFF2-40B4-BE49-F238E27FC236}">
                  <a16:creationId xmlns:a16="http://schemas.microsoft.com/office/drawing/2014/main" id="{6A728BE7-6EF5-45B3-9920-EE3492D062D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626" y="1919288"/>
              <a:ext cx="74613" cy="730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" y="4"/>
                </a:cxn>
                <a:cxn ang="0">
                  <a:pos x="23" y="7"/>
                </a:cxn>
                <a:cxn ang="0">
                  <a:pos x="32" y="10"/>
                </a:cxn>
                <a:cxn ang="0">
                  <a:pos x="37" y="13"/>
                </a:cxn>
                <a:cxn ang="0">
                  <a:pos x="38" y="15"/>
                </a:cxn>
                <a:cxn ang="0">
                  <a:pos x="39" y="18"/>
                </a:cxn>
                <a:cxn ang="0">
                  <a:pos x="39" y="21"/>
                </a:cxn>
                <a:cxn ang="0">
                  <a:pos x="41" y="25"/>
                </a:cxn>
                <a:cxn ang="0">
                  <a:pos x="45" y="27"/>
                </a:cxn>
                <a:cxn ang="0">
                  <a:pos x="46" y="29"/>
                </a:cxn>
                <a:cxn ang="0">
                  <a:pos x="46" y="31"/>
                </a:cxn>
                <a:cxn ang="0">
                  <a:pos x="47" y="33"/>
                </a:cxn>
                <a:cxn ang="0">
                  <a:pos x="47" y="35"/>
                </a:cxn>
                <a:cxn ang="0">
                  <a:pos x="45" y="37"/>
                </a:cxn>
                <a:cxn ang="0">
                  <a:pos x="40" y="37"/>
                </a:cxn>
                <a:cxn ang="0">
                  <a:pos x="37" y="38"/>
                </a:cxn>
                <a:cxn ang="0">
                  <a:pos x="34" y="40"/>
                </a:cxn>
                <a:cxn ang="0">
                  <a:pos x="31" y="43"/>
                </a:cxn>
                <a:cxn ang="0">
                  <a:pos x="31" y="45"/>
                </a:cxn>
                <a:cxn ang="0">
                  <a:pos x="29" y="46"/>
                </a:cxn>
                <a:cxn ang="0">
                  <a:pos x="24" y="46"/>
                </a:cxn>
                <a:cxn ang="0">
                  <a:pos x="18" y="45"/>
                </a:cxn>
                <a:cxn ang="0">
                  <a:pos x="12" y="42"/>
                </a:cxn>
                <a:cxn ang="0">
                  <a:pos x="8" y="39"/>
                </a:cxn>
                <a:cxn ang="0">
                  <a:pos x="2" y="33"/>
                </a:cxn>
                <a:cxn ang="0">
                  <a:pos x="1" y="18"/>
                </a:cxn>
                <a:cxn ang="0">
                  <a:pos x="0" y="0"/>
                </a:cxn>
              </a:cxnLst>
              <a:rect l="0" t="0" r="r" b="b"/>
              <a:pathLst>
                <a:path w="47" h="46">
                  <a:moveTo>
                    <a:pt x="0" y="0"/>
                  </a:moveTo>
                  <a:lnTo>
                    <a:pt x="12" y="4"/>
                  </a:lnTo>
                  <a:lnTo>
                    <a:pt x="23" y="7"/>
                  </a:lnTo>
                  <a:lnTo>
                    <a:pt x="32" y="10"/>
                  </a:lnTo>
                  <a:lnTo>
                    <a:pt x="37" y="13"/>
                  </a:lnTo>
                  <a:lnTo>
                    <a:pt x="38" y="15"/>
                  </a:lnTo>
                  <a:lnTo>
                    <a:pt x="39" y="18"/>
                  </a:lnTo>
                  <a:lnTo>
                    <a:pt x="39" y="21"/>
                  </a:lnTo>
                  <a:lnTo>
                    <a:pt x="41" y="25"/>
                  </a:lnTo>
                  <a:lnTo>
                    <a:pt x="45" y="27"/>
                  </a:lnTo>
                  <a:lnTo>
                    <a:pt x="46" y="29"/>
                  </a:lnTo>
                  <a:lnTo>
                    <a:pt x="46" y="31"/>
                  </a:lnTo>
                  <a:lnTo>
                    <a:pt x="47" y="33"/>
                  </a:lnTo>
                  <a:lnTo>
                    <a:pt x="47" y="35"/>
                  </a:lnTo>
                  <a:lnTo>
                    <a:pt x="45" y="37"/>
                  </a:lnTo>
                  <a:lnTo>
                    <a:pt x="40" y="37"/>
                  </a:lnTo>
                  <a:lnTo>
                    <a:pt x="37" y="38"/>
                  </a:lnTo>
                  <a:lnTo>
                    <a:pt x="34" y="40"/>
                  </a:lnTo>
                  <a:lnTo>
                    <a:pt x="31" y="43"/>
                  </a:lnTo>
                  <a:lnTo>
                    <a:pt x="31" y="45"/>
                  </a:lnTo>
                  <a:lnTo>
                    <a:pt x="29" y="46"/>
                  </a:lnTo>
                  <a:lnTo>
                    <a:pt x="24" y="46"/>
                  </a:lnTo>
                  <a:lnTo>
                    <a:pt x="18" y="45"/>
                  </a:lnTo>
                  <a:lnTo>
                    <a:pt x="12" y="42"/>
                  </a:lnTo>
                  <a:lnTo>
                    <a:pt x="8" y="39"/>
                  </a:lnTo>
                  <a:lnTo>
                    <a:pt x="2" y="33"/>
                  </a:lnTo>
                  <a:lnTo>
                    <a:pt x="1" y="1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24">
              <a:extLst>
                <a:ext uri="{FF2B5EF4-FFF2-40B4-BE49-F238E27FC236}">
                  <a16:creationId xmlns:a16="http://schemas.microsoft.com/office/drawing/2014/main" id="{145492CB-67E2-4166-B93D-4F15B7F106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5651" y="1449388"/>
              <a:ext cx="247650" cy="292100"/>
            </a:xfrm>
            <a:custGeom>
              <a:avLst/>
              <a:gdLst/>
              <a:ahLst/>
              <a:cxnLst>
                <a:cxn ang="0">
                  <a:pos x="65" y="6"/>
                </a:cxn>
                <a:cxn ang="0">
                  <a:pos x="61" y="19"/>
                </a:cxn>
                <a:cxn ang="0">
                  <a:pos x="75" y="37"/>
                </a:cxn>
                <a:cxn ang="0">
                  <a:pos x="112" y="36"/>
                </a:cxn>
                <a:cxn ang="0">
                  <a:pos x="131" y="45"/>
                </a:cxn>
                <a:cxn ang="0">
                  <a:pos x="123" y="67"/>
                </a:cxn>
                <a:cxn ang="0">
                  <a:pos x="111" y="97"/>
                </a:cxn>
                <a:cxn ang="0">
                  <a:pos x="132" y="112"/>
                </a:cxn>
                <a:cxn ang="0">
                  <a:pos x="156" y="133"/>
                </a:cxn>
                <a:cxn ang="0">
                  <a:pos x="152" y="157"/>
                </a:cxn>
                <a:cxn ang="0">
                  <a:pos x="129" y="156"/>
                </a:cxn>
                <a:cxn ang="0">
                  <a:pos x="138" y="151"/>
                </a:cxn>
                <a:cxn ang="0">
                  <a:pos x="141" y="146"/>
                </a:cxn>
                <a:cxn ang="0">
                  <a:pos x="132" y="142"/>
                </a:cxn>
                <a:cxn ang="0">
                  <a:pos x="134" y="136"/>
                </a:cxn>
                <a:cxn ang="0">
                  <a:pos x="126" y="134"/>
                </a:cxn>
                <a:cxn ang="0">
                  <a:pos x="107" y="138"/>
                </a:cxn>
                <a:cxn ang="0">
                  <a:pos x="83" y="145"/>
                </a:cxn>
                <a:cxn ang="0">
                  <a:pos x="62" y="164"/>
                </a:cxn>
                <a:cxn ang="0">
                  <a:pos x="63" y="171"/>
                </a:cxn>
                <a:cxn ang="0">
                  <a:pos x="73" y="176"/>
                </a:cxn>
                <a:cxn ang="0">
                  <a:pos x="74" y="182"/>
                </a:cxn>
                <a:cxn ang="0">
                  <a:pos x="53" y="184"/>
                </a:cxn>
                <a:cxn ang="0">
                  <a:pos x="54" y="170"/>
                </a:cxn>
                <a:cxn ang="0">
                  <a:pos x="33" y="174"/>
                </a:cxn>
                <a:cxn ang="0">
                  <a:pos x="7" y="153"/>
                </a:cxn>
                <a:cxn ang="0">
                  <a:pos x="5" y="130"/>
                </a:cxn>
                <a:cxn ang="0">
                  <a:pos x="30" y="127"/>
                </a:cxn>
                <a:cxn ang="0">
                  <a:pos x="16" y="109"/>
                </a:cxn>
                <a:cxn ang="0">
                  <a:pos x="12" y="99"/>
                </a:cxn>
                <a:cxn ang="0">
                  <a:pos x="20" y="92"/>
                </a:cxn>
                <a:cxn ang="0">
                  <a:pos x="31" y="87"/>
                </a:cxn>
                <a:cxn ang="0">
                  <a:pos x="18" y="73"/>
                </a:cxn>
                <a:cxn ang="0">
                  <a:pos x="5" y="65"/>
                </a:cxn>
                <a:cxn ang="0">
                  <a:pos x="22" y="56"/>
                </a:cxn>
                <a:cxn ang="0">
                  <a:pos x="33" y="64"/>
                </a:cxn>
                <a:cxn ang="0">
                  <a:pos x="39" y="68"/>
                </a:cxn>
                <a:cxn ang="0">
                  <a:pos x="49" y="48"/>
                </a:cxn>
                <a:cxn ang="0">
                  <a:pos x="53" y="60"/>
                </a:cxn>
                <a:cxn ang="0">
                  <a:pos x="63" y="62"/>
                </a:cxn>
                <a:cxn ang="0">
                  <a:pos x="70" y="75"/>
                </a:cxn>
                <a:cxn ang="0">
                  <a:pos x="83" y="77"/>
                </a:cxn>
                <a:cxn ang="0">
                  <a:pos x="92" y="51"/>
                </a:cxn>
                <a:cxn ang="0">
                  <a:pos x="63" y="45"/>
                </a:cxn>
                <a:cxn ang="0">
                  <a:pos x="58" y="35"/>
                </a:cxn>
                <a:cxn ang="0">
                  <a:pos x="51" y="30"/>
                </a:cxn>
                <a:cxn ang="0">
                  <a:pos x="30" y="45"/>
                </a:cxn>
                <a:cxn ang="0">
                  <a:pos x="39" y="23"/>
                </a:cxn>
                <a:cxn ang="0">
                  <a:pos x="24" y="18"/>
                </a:cxn>
                <a:cxn ang="0">
                  <a:pos x="26" y="10"/>
                </a:cxn>
                <a:cxn ang="0">
                  <a:pos x="60" y="0"/>
                </a:cxn>
              </a:cxnLst>
              <a:rect l="0" t="0" r="r" b="b"/>
              <a:pathLst>
                <a:path w="156" h="184">
                  <a:moveTo>
                    <a:pt x="66" y="0"/>
                  </a:moveTo>
                  <a:lnTo>
                    <a:pt x="69" y="0"/>
                  </a:lnTo>
                  <a:lnTo>
                    <a:pt x="69" y="2"/>
                  </a:lnTo>
                  <a:lnTo>
                    <a:pt x="65" y="6"/>
                  </a:lnTo>
                  <a:lnTo>
                    <a:pt x="63" y="9"/>
                  </a:lnTo>
                  <a:lnTo>
                    <a:pt x="62" y="12"/>
                  </a:lnTo>
                  <a:lnTo>
                    <a:pt x="61" y="14"/>
                  </a:lnTo>
                  <a:lnTo>
                    <a:pt x="61" y="19"/>
                  </a:lnTo>
                  <a:lnTo>
                    <a:pt x="62" y="25"/>
                  </a:lnTo>
                  <a:lnTo>
                    <a:pt x="64" y="31"/>
                  </a:lnTo>
                  <a:lnTo>
                    <a:pt x="68" y="34"/>
                  </a:lnTo>
                  <a:lnTo>
                    <a:pt x="75" y="37"/>
                  </a:lnTo>
                  <a:lnTo>
                    <a:pt x="85" y="39"/>
                  </a:lnTo>
                  <a:lnTo>
                    <a:pt x="96" y="38"/>
                  </a:lnTo>
                  <a:lnTo>
                    <a:pt x="103" y="37"/>
                  </a:lnTo>
                  <a:lnTo>
                    <a:pt x="112" y="36"/>
                  </a:lnTo>
                  <a:lnTo>
                    <a:pt x="120" y="36"/>
                  </a:lnTo>
                  <a:lnTo>
                    <a:pt x="125" y="38"/>
                  </a:lnTo>
                  <a:lnTo>
                    <a:pt x="129" y="40"/>
                  </a:lnTo>
                  <a:lnTo>
                    <a:pt x="131" y="45"/>
                  </a:lnTo>
                  <a:lnTo>
                    <a:pt x="132" y="52"/>
                  </a:lnTo>
                  <a:lnTo>
                    <a:pt x="131" y="59"/>
                  </a:lnTo>
                  <a:lnTo>
                    <a:pt x="128" y="63"/>
                  </a:lnTo>
                  <a:lnTo>
                    <a:pt x="123" y="67"/>
                  </a:lnTo>
                  <a:lnTo>
                    <a:pt x="117" y="74"/>
                  </a:lnTo>
                  <a:lnTo>
                    <a:pt x="111" y="82"/>
                  </a:lnTo>
                  <a:lnTo>
                    <a:pt x="109" y="90"/>
                  </a:lnTo>
                  <a:lnTo>
                    <a:pt x="111" y="97"/>
                  </a:lnTo>
                  <a:lnTo>
                    <a:pt x="114" y="104"/>
                  </a:lnTo>
                  <a:lnTo>
                    <a:pt x="120" y="109"/>
                  </a:lnTo>
                  <a:lnTo>
                    <a:pt x="124" y="111"/>
                  </a:lnTo>
                  <a:lnTo>
                    <a:pt x="132" y="112"/>
                  </a:lnTo>
                  <a:lnTo>
                    <a:pt x="139" y="115"/>
                  </a:lnTo>
                  <a:lnTo>
                    <a:pt x="145" y="120"/>
                  </a:lnTo>
                  <a:lnTo>
                    <a:pt x="153" y="130"/>
                  </a:lnTo>
                  <a:lnTo>
                    <a:pt x="156" y="133"/>
                  </a:lnTo>
                  <a:lnTo>
                    <a:pt x="156" y="137"/>
                  </a:lnTo>
                  <a:lnTo>
                    <a:pt x="155" y="140"/>
                  </a:lnTo>
                  <a:lnTo>
                    <a:pt x="153" y="152"/>
                  </a:lnTo>
                  <a:lnTo>
                    <a:pt x="152" y="157"/>
                  </a:lnTo>
                  <a:lnTo>
                    <a:pt x="148" y="159"/>
                  </a:lnTo>
                  <a:lnTo>
                    <a:pt x="132" y="159"/>
                  </a:lnTo>
                  <a:lnTo>
                    <a:pt x="129" y="158"/>
                  </a:lnTo>
                  <a:lnTo>
                    <a:pt x="129" y="156"/>
                  </a:lnTo>
                  <a:lnTo>
                    <a:pt x="131" y="155"/>
                  </a:lnTo>
                  <a:lnTo>
                    <a:pt x="133" y="153"/>
                  </a:lnTo>
                  <a:lnTo>
                    <a:pt x="135" y="152"/>
                  </a:lnTo>
                  <a:lnTo>
                    <a:pt x="138" y="151"/>
                  </a:lnTo>
                  <a:lnTo>
                    <a:pt x="140" y="149"/>
                  </a:lnTo>
                  <a:lnTo>
                    <a:pt x="142" y="148"/>
                  </a:lnTo>
                  <a:lnTo>
                    <a:pt x="142" y="147"/>
                  </a:lnTo>
                  <a:lnTo>
                    <a:pt x="141" y="146"/>
                  </a:lnTo>
                  <a:lnTo>
                    <a:pt x="139" y="145"/>
                  </a:lnTo>
                  <a:lnTo>
                    <a:pt x="136" y="144"/>
                  </a:lnTo>
                  <a:lnTo>
                    <a:pt x="134" y="144"/>
                  </a:lnTo>
                  <a:lnTo>
                    <a:pt x="132" y="142"/>
                  </a:lnTo>
                  <a:lnTo>
                    <a:pt x="132" y="140"/>
                  </a:lnTo>
                  <a:lnTo>
                    <a:pt x="133" y="138"/>
                  </a:lnTo>
                  <a:lnTo>
                    <a:pt x="133" y="138"/>
                  </a:lnTo>
                  <a:lnTo>
                    <a:pt x="134" y="136"/>
                  </a:lnTo>
                  <a:lnTo>
                    <a:pt x="134" y="134"/>
                  </a:lnTo>
                  <a:lnTo>
                    <a:pt x="132" y="133"/>
                  </a:lnTo>
                  <a:lnTo>
                    <a:pt x="130" y="133"/>
                  </a:lnTo>
                  <a:lnTo>
                    <a:pt x="126" y="134"/>
                  </a:lnTo>
                  <a:lnTo>
                    <a:pt x="121" y="138"/>
                  </a:lnTo>
                  <a:lnTo>
                    <a:pt x="119" y="139"/>
                  </a:lnTo>
                  <a:lnTo>
                    <a:pt x="115" y="138"/>
                  </a:lnTo>
                  <a:lnTo>
                    <a:pt x="107" y="138"/>
                  </a:lnTo>
                  <a:lnTo>
                    <a:pt x="98" y="138"/>
                  </a:lnTo>
                  <a:lnTo>
                    <a:pt x="90" y="139"/>
                  </a:lnTo>
                  <a:lnTo>
                    <a:pt x="86" y="141"/>
                  </a:lnTo>
                  <a:lnTo>
                    <a:pt x="83" y="145"/>
                  </a:lnTo>
                  <a:lnTo>
                    <a:pt x="73" y="159"/>
                  </a:lnTo>
                  <a:lnTo>
                    <a:pt x="69" y="163"/>
                  </a:lnTo>
                  <a:lnTo>
                    <a:pt x="67" y="164"/>
                  </a:lnTo>
                  <a:lnTo>
                    <a:pt x="62" y="164"/>
                  </a:lnTo>
                  <a:lnTo>
                    <a:pt x="60" y="166"/>
                  </a:lnTo>
                  <a:lnTo>
                    <a:pt x="60" y="167"/>
                  </a:lnTo>
                  <a:lnTo>
                    <a:pt x="61" y="169"/>
                  </a:lnTo>
                  <a:lnTo>
                    <a:pt x="63" y="171"/>
                  </a:lnTo>
                  <a:lnTo>
                    <a:pt x="69" y="173"/>
                  </a:lnTo>
                  <a:lnTo>
                    <a:pt x="71" y="173"/>
                  </a:lnTo>
                  <a:lnTo>
                    <a:pt x="72" y="174"/>
                  </a:lnTo>
                  <a:lnTo>
                    <a:pt x="73" y="176"/>
                  </a:lnTo>
                  <a:lnTo>
                    <a:pt x="74" y="177"/>
                  </a:lnTo>
                  <a:lnTo>
                    <a:pt x="75" y="179"/>
                  </a:lnTo>
                  <a:lnTo>
                    <a:pt x="74" y="180"/>
                  </a:lnTo>
                  <a:lnTo>
                    <a:pt x="74" y="182"/>
                  </a:lnTo>
                  <a:lnTo>
                    <a:pt x="72" y="183"/>
                  </a:lnTo>
                  <a:lnTo>
                    <a:pt x="70" y="183"/>
                  </a:lnTo>
                  <a:lnTo>
                    <a:pt x="64" y="184"/>
                  </a:lnTo>
                  <a:lnTo>
                    <a:pt x="53" y="184"/>
                  </a:lnTo>
                  <a:lnTo>
                    <a:pt x="51" y="181"/>
                  </a:lnTo>
                  <a:lnTo>
                    <a:pt x="51" y="179"/>
                  </a:lnTo>
                  <a:lnTo>
                    <a:pt x="54" y="173"/>
                  </a:lnTo>
                  <a:lnTo>
                    <a:pt x="54" y="170"/>
                  </a:lnTo>
                  <a:lnTo>
                    <a:pt x="51" y="170"/>
                  </a:lnTo>
                  <a:lnTo>
                    <a:pt x="45" y="171"/>
                  </a:lnTo>
                  <a:lnTo>
                    <a:pt x="39" y="173"/>
                  </a:lnTo>
                  <a:lnTo>
                    <a:pt x="33" y="174"/>
                  </a:lnTo>
                  <a:lnTo>
                    <a:pt x="29" y="174"/>
                  </a:lnTo>
                  <a:lnTo>
                    <a:pt x="25" y="172"/>
                  </a:lnTo>
                  <a:lnTo>
                    <a:pt x="13" y="160"/>
                  </a:lnTo>
                  <a:lnTo>
                    <a:pt x="7" y="153"/>
                  </a:lnTo>
                  <a:lnTo>
                    <a:pt x="2" y="146"/>
                  </a:lnTo>
                  <a:lnTo>
                    <a:pt x="0" y="140"/>
                  </a:lnTo>
                  <a:lnTo>
                    <a:pt x="2" y="134"/>
                  </a:lnTo>
                  <a:lnTo>
                    <a:pt x="5" y="130"/>
                  </a:lnTo>
                  <a:lnTo>
                    <a:pt x="11" y="129"/>
                  </a:lnTo>
                  <a:lnTo>
                    <a:pt x="27" y="129"/>
                  </a:lnTo>
                  <a:lnTo>
                    <a:pt x="29" y="128"/>
                  </a:lnTo>
                  <a:lnTo>
                    <a:pt x="30" y="127"/>
                  </a:lnTo>
                  <a:lnTo>
                    <a:pt x="30" y="123"/>
                  </a:lnTo>
                  <a:lnTo>
                    <a:pt x="27" y="118"/>
                  </a:lnTo>
                  <a:lnTo>
                    <a:pt x="22" y="113"/>
                  </a:lnTo>
                  <a:lnTo>
                    <a:pt x="16" y="109"/>
                  </a:lnTo>
                  <a:lnTo>
                    <a:pt x="12" y="107"/>
                  </a:lnTo>
                  <a:lnTo>
                    <a:pt x="11" y="107"/>
                  </a:lnTo>
                  <a:lnTo>
                    <a:pt x="11" y="101"/>
                  </a:lnTo>
                  <a:lnTo>
                    <a:pt x="12" y="99"/>
                  </a:lnTo>
                  <a:lnTo>
                    <a:pt x="14" y="97"/>
                  </a:lnTo>
                  <a:lnTo>
                    <a:pt x="15" y="95"/>
                  </a:lnTo>
                  <a:lnTo>
                    <a:pt x="16" y="94"/>
                  </a:lnTo>
                  <a:lnTo>
                    <a:pt x="20" y="92"/>
                  </a:lnTo>
                  <a:lnTo>
                    <a:pt x="23" y="92"/>
                  </a:lnTo>
                  <a:lnTo>
                    <a:pt x="26" y="91"/>
                  </a:lnTo>
                  <a:lnTo>
                    <a:pt x="30" y="89"/>
                  </a:lnTo>
                  <a:lnTo>
                    <a:pt x="31" y="87"/>
                  </a:lnTo>
                  <a:lnTo>
                    <a:pt x="31" y="86"/>
                  </a:lnTo>
                  <a:lnTo>
                    <a:pt x="28" y="83"/>
                  </a:lnTo>
                  <a:lnTo>
                    <a:pt x="24" y="78"/>
                  </a:lnTo>
                  <a:lnTo>
                    <a:pt x="18" y="73"/>
                  </a:lnTo>
                  <a:lnTo>
                    <a:pt x="12" y="70"/>
                  </a:lnTo>
                  <a:lnTo>
                    <a:pt x="9" y="68"/>
                  </a:lnTo>
                  <a:lnTo>
                    <a:pt x="6" y="67"/>
                  </a:lnTo>
                  <a:lnTo>
                    <a:pt x="5" y="65"/>
                  </a:lnTo>
                  <a:lnTo>
                    <a:pt x="5" y="63"/>
                  </a:lnTo>
                  <a:lnTo>
                    <a:pt x="7" y="59"/>
                  </a:lnTo>
                  <a:lnTo>
                    <a:pt x="10" y="58"/>
                  </a:lnTo>
                  <a:lnTo>
                    <a:pt x="22" y="56"/>
                  </a:lnTo>
                  <a:lnTo>
                    <a:pt x="28" y="56"/>
                  </a:lnTo>
                  <a:lnTo>
                    <a:pt x="31" y="59"/>
                  </a:lnTo>
                  <a:lnTo>
                    <a:pt x="32" y="61"/>
                  </a:lnTo>
                  <a:lnTo>
                    <a:pt x="33" y="64"/>
                  </a:lnTo>
                  <a:lnTo>
                    <a:pt x="34" y="66"/>
                  </a:lnTo>
                  <a:lnTo>
                    <a:pt x="37" y="69"/>
                  </a:lnTo>
                  <a:lnTo>
                    <a:pt x="38" y="69"/>
                  </a:lnTo>
                  <a:lnTo>
                    <a:pt x="39" y="68"/>
                  </a:lnTo>
                  <a:lnTo>
                    <a:pt x="41" y="64"/>
                  </a:lnTo>
                  <a:lnTo>
                    <a:pt x="43" y="59"/>
                  </a:lnTo>
                  <a:lnTo>
                    <a:pt x="46" y="53"/>
                  </a:lnTo>
                  <a:lnTo>
                    <a:pt x="49" y="48"/>
                  </a:lnTo>
                  <a:lnTo>
                    <a:pt x="51" y="45"/>
                  </a:lnTo>
                  <a:lnTo>
                    <a:pt x="52" y="45"/>
                  </a:lnTo>
                  <a:lnTo>
                    <a:pt x="52" y="55"/>
                  </a:lnTo>
                  <a:lnTo>
                    <a:pt x="53" y="60"/>
                  </a:lnTo>
                  <a:lnTo>
                    <a:pt x="54" y="64"/>
                  </a:lnTo>
                  <a:lnTo>
                    <a:pt x="56" y="65"/>
                  </a:lnTo>
                  <a:lnTo>
                    <a:pt x="60" y="63"/>
                  </a:lnTo>
                  <a:lnTo>
                    <a:pt x="63" y="62"/>
                  </a:lnTo>
                  <a:lnTo>
                    <a:pt x="67" y="62"/>
                  </a:lnTo>
                  <a:lnTo>
                    <a:pt x="69" y="63"/>
                  </a:lnTo>
                  <a:lnTo>
                    <a:pt x="70" y="65"/>
                  </a:lnTo>
                  <a:lnTo>
                    <a:pt x="70" y="75"/>
                  </a:lnTo>
                  <a:lnTo>
                    <a:pt x="71" y="76"/>
                  </a:lnTo>
                  <a:lnTo>
                    <a:pt x="73" y="77"/>
                  </a:lnTo>
                  <a:lnTo>
                    <a:pt x="76" y="78"/>
                  </a:lnTo>
                  <a:lnTo>
                    <a:pt x="83" y="77"/>
                  </a:lnTo>
                  <a:lnTo>
                    <a:pt x="90" y="74"/>
                  </a:lnTo>
                  <a:lnTo>
                    <a:pt x="94" y="70"/>
                  </a:lnTo>
                  <a:lnTo>
                    <a:pt x="94" y="53"/>
                  </a:lnTo>
                  <a:lnTo>
                    <a:pt x="92" y="51"/>
                  </a:lnTo>
                  <a:lnTo>
                    <a:pt x="90" y="50"/>
                  </a:lnTo>
                  <a:lnTo>
                    <a:pt x="77" y="50"/>
                  </a:lnTo>
                  <a:lnTo>
                    <a:pt x="69" y="49"/>
                  </a:lnTo>
                  <a:lnTo>
                    <a:pt x="63" y="45"/>
                  </a:lnTo>
                  <a:lnTo>
                    <a:pt x="61" y="43"/>
                  </a:lnTo>
                  <a:lnTo>
                    <a:pt x="60" y="40"/>
                  </a:lnTo>
                  <a:lnTo>
                    <a:pt x="59" y="38"/>
                  </a:lnTo>
                  <a:lnTo>
                    <a:pt x="58" y="35"/>
                  </a:lnTo>
                  <a:lnTo>
                    <a:pt x="56" y="31"/>
                  </a:lnTo>
                  <a:lnTo>
                    <a:pt x="54" y="30"/>
                  </a:lnTo>
                  <a:lnTo>
                    <a:pt x="53" y="29"/>
                  </a:lnTo>
                  <a:lnTo>
                    <a:pt x="51" y="30"/>
                  </a:lnTo>
                  <a:lnTo>
                    <a:pt x="47" y="33"/>
                  </a:lnTo>
                  <a:lnTo>
                    <a:pt x="37" y="43"/>
                  </a:lnTo>
                  <a:lnTo>
                    <a:pt x="33" y="46"/>
                  </a:lnTo>
                  <a:lnTo>
                    <a:pt x="30" y="45"/>
                  </a:lnTo>
                  <a:lnTo>
                    <a:pt x="30" y="42"/>
                  </a:lnTo>
                  <a:lnTo>
                    <a:pt x="31" y="38"/>
                  </a:lnTo>
                  <a:lnTo>
                    <a:pt x="37" y="28"/>
                  </a:lnTo>
                  <a:lnTo>
                    <a:pt x="39" y="23"/>
                  </a:lnTo>
                  <a:lnTo>
                    <a:pt x="40" y="20"/>
                  </a:lnTo>
                  <a:lnTo>
                    <a:pt x="37" y="18"/>
                  </a:lnTo>
                  <a:lnTo>
                    <a:pt x="30" y="17"/>
                  </a:lnTo>
                  <a:lnTo>
                    <a:pt x="24" y="18"/>
                  </a:lnTo>
                  <a:lnTo>
                    <a:pt x="20" y="18"/>
                  </a:lnTo>
                  <a:lnTo>
                    <a:pt x="18" y="17"/>
                  </a:lnTo>
                  <a:lnTo>
                    <a:pt x="19" y="14"/>
                  </a:lnTo>
                  <a:lnTo>
                    <a:pt x="26" y="10"/>
                  </a:lnTo>
                  <a:lnTo>
                    <a:pt x="35" y="7"/>
                  </a:lnTo>
                  <a:lnTo>
                    <a:pt x="45" y="5"/>
                  </a:lnTo>
                  <a:lnTo>
                    <a:pt x="53" y="2"/>
                  </a:lnTo>
                  <a:lnTo>
                    <a:pt x="60" y="0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25">
              <a:extLst>
                <a:ext uri="{FF2B5EF4-FFF2-40B4-BE49-F238E27FC236}">
                  <a16:creationId xmlns:a16="http://schemas.microsoft.com/office/drawing/2014/main" id="{D813E86A-C320-4BE9-BDD8-500CFB1442DC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1263" y="1570038"/>
              <a:ext cx="120650" cy="90488"/>
            </a:xfrm>
            <a:custGeom>
              <a:avLst/>
              <a:gdLst/>
              <a:ahLst/>
              <a:cxnLst>
                <a:cxn ang="0">
                  <a:pos x="23" y="0"/>
                </a:cxn>
                <a:cxn ang="0">
                  <a:pos x="30" y="2"/>
                </a:cxn>
                <a:cxn ang="0">
                  <a:pos x="39" y="5"/>
                </a:cxn>
                <a:cxn ang="0">
                  <a:pos x="49" y="10"/>
                </a:cxn>
                <a:cxn ang="0">
                  <a:pos x="58" y="14"/>
                </a:cxn>
                <a:cxn ang="0">
                  <a:pos x="62" y="19"/>
                </a:cxn>
                <a:cxn ang="0">
                  <a:pos x="64" y="23"/>
                </a:cxn>
                <a:cxn ang="0">
                  <a:pos x="72" y="35"/>
                </a:cxn>
                <a:cxn ang="0">
                  <a:pos x="75" y="41"/>
                </a:cxn>
                <a:cxn ang="0">
                  <a:pos x="76" y="46"/>
                </a:cxn>
                <a:cxn ang="0">
                  <a:pos x="75" y="48"/>
                </a:cxn>
                <a:cxn ang="0">
                  <a:pos x="68" y="48"/>
                </a:cxn>
                <a:cxn ang="0">
                  <a:pos x="52" y="46"/>
                </a:cxn>
                <a:cxn ang="0">
                  <a:pos x="45" y="46"/>
                </a:cxn>
                <a:cxn ang="0">
                  <a:pos x="42" y="47"/>
                </a:cxn>
                <a:cxn ang="0">
                  <a:pos x="38" y="51"/>
                </a:cxn>
                <a:cxn ang="0">
                  <a:pos x="36" y="55"/>
                </a:cxn>
                <a:cxn ang="0">
                  <a:pos x="34" y="56"/>
                </a:cxn>
                <a:cxn ang="0">
                  <a:pos x="33" y="57"/>
                </a:cxn>
                <a:cxn ang="0">
                  <a:pos x="31" y="56"/>
                </a:cxn>
                <a:cxn ang="0">
                  <a:pos x="29" y="52"/>
                </a:cxn>
                <a:cxn ang="0">
                  <a:pos x="27" y="47"/>
                </a:cxn>
                <a:cxn ang="0">
                  <a:pos x="26" y="42"/>
                </a:cxn>
                <a:cxn ang="0">
                  <a:pos x="25" y="38"/>
                </a:cxn>
                <a:cxn ang="0">
                  <a:pos x="22" y="37"/>
                </a:cxn>
                <a:cxn ang="0">
                  <a:pos x="6" y="37"/>
                </a:cxn>
                <a:cxn ang="0">
                  <a:pos x="2" y="36"/>
                </a:cxn>
                <a:cxn ang="0">
                  <a:pos x="0" y="33"/>
                </a:cxn>
                <a:cxn ang="0">
                  <a:pos x="2" y="28"/>
                </a:cxn>
                <a:cxn ang="0">
                  <a:pos x="5" y="21"/>
                </a:cxn>
                <a:cxn ang="0">
                  <a:pos x="9" y="13"/>
                </a:cxn>
                <a:cxn ang="0">
                  <a:pos x="14" y="7"/>
                </a:cxn>
                <a:cxn ang="0">
                  <a:pos x="19" y="2"/>
                </a:cxn>
                <a:cxn ang="0">
                  <a:pos x="23" y="0"/>
                </a:cxn>
              </a:cxnLst>
              <a:rect l="0" t="0" r="r" b="b"/>
              <a:pathLst>
                <a:path w="76" h="57">
                  <a:moveTo>
                    <a:pt x="23" y="0"/>
                  </a:moveTo>
                  <a:lnTo>
                    <a:pt x="30" y="2"/>
                  </a:lnTo>
                  <a:lnTo>
                    <a:pt x="39" y="5"/>
                  </a:lnTo>
                  <a:lnTo>
                    <a:pt x="49" y="10"/>
                  </a:lnTo>
                  <a:lnTo>
                    <a:pt x="58" y="14"/>
                  </a:lnTo>
                  <a:lnTo>
                    <a:pt x="62" y="19"/>
                  </a:lnTo>
                  <a:lnTo>
                    <a:pt x="64" y="23"/>
                  </a:lnTo>
                  <a:lnTo>
                    <a:pt x="72" y="35"/>
                  </a:lnTo>
                  <a:lnTo>
                    <a:pt x="75" y="41"/>
                  </a:lnTo>
                  <a:lnTo>
                    <a:pt x="76" y="46"/>
                  </a:lnTo>
                  <a:lnTo>
                    <a:pt x="75" y="48"/>
                  </a:lnTo>
                  <a:lnTo>
                    <a:pt x="68" y="48"/>
                  </a:lnTo>
                  <a:lnTo>
                    <a:pt x="52" y="46"/>
                  </a:lnTo>
                  <a:lnTo>
                    <a:pt x="45" y="46"/>
                  </a:lnTo>
                  <a:lnTo>
                    <a:pt x="42" y="47"/>
                  </a:lnTo>
                  <a:lnTo>
                    <a:pt x="38" y="51"/>
                  </a:lnTo>
                  <a:lnTo>
                    <a:pt x="36" y="55"/>
                  </a:lnTo>
                  <a:lnTo>
                    <a:pt x="34" y="56"/>
                  </a:lnTo>
                  <a:lnTo>
                    <a:pt x="33" y="57"/>
                  </a:lnTo>
                  <a:lnTo>
                    <a:pt x="31" y="56"/>
                  </a:lnTo>
                  <a:lnTo>
                    <a:pt x="29" y="52"/>
                  </a:lnTo>
                  <a:lnTo>
                    <a:pt x="27" y="47"/>
                  </a:lnTo>
                  <a:lnTo>
                    <a:pt x="26" y="42"/>
                  </a:lnTo>
                  <a:lnTo>
                    <a:pt x="25" y="38"/>
                  </a:lnTo>
                  <a:lnTo>
                    <a:pt x="22" y="37"/>
                  </a:lnTo>
                  <a:lnTo>
                    <a:pt x="6" y="37"/>
                  </a:lnTo>
                  <a:lnTo>
                    <a:pt x="2" y="36"/>
                  </a:lnTo>
                  <a:lnTo>
                    <a:pt x="0" y="33"/>
                  </a:lnTo>
                  <a:lnTo>
                    <a:pt x="2" y="28"/>
                  </a:lnTo>
                  <a:lnTo>
                    <a:pt x="5" y="21"/>
                  </a:lnTo>
                  <a:lnTo>
                    <a:pt x="9" y="13"/>
                  </a:lnTo>
                  <a:lnTo>
                    <a:pt x="14" y="7"/>
                  </a:lnTo>
                  <a:lnTo>
                    <a:pt x="19" y="2"/>
                  </a:lnTo>
                  <a:lnTo>
                    <a:pt x="23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26">
              <a:extLst>
                <a:ext uri="{FF2B5EF4-FFF2-40B4-BE49-F238E27FC236}">
                  <a16:creationId xmlns:a16="http://schemas.microsoft.com/office/drawing/2014/main" id="{F95002E8-4155-4756-B028-8ED8D8C00445}"/>
                </a:ext>
              </a:extLst>
            </p:cNvPr>
            <p:cNvSpPr>
              <a:spLocks/>
            </p:cNvSpPr>
            <p:nvPr/>
          </p:nvSpPr>
          <p:spPr bwMode="auto">
            <a:xfrm>
              <a:off x="6440488" y="1893888"/>
              <a:ext cx="39688" cy="47625"/>
            </a:xfrm>
            <a:custGeom>
              <a:avLst/>
              <a:gdLst/>
              <a:ahLst/>
              <a:cxnLst>
                <a:cxn ang="0">
                  <a:pos x="21" y="0"/>
                </a:cxn>
                <a:cxn ang="0">
                  <a:pos x="24" y="0"/>
                </a:cxn>
                <a:cxn ang="0">
                  <a:pos x="25" y="3"/>
                </a:cxn>
                <a:cxn ang="0">
                  <a:pos x="25" y="11"/>
                </a:cxn>
                <a:cxn ang="0">
                  <a:pos x="24" y="20"/>
                </a:cxn>
                <a:cxn ang="0">
                  <a:pos x="22" y="27"/>
                </a:cxn>
                <a:cxn ang="0">
                  <a:pos x="20" y="30"/>
                </a:cxn>
                <a:cxn ang="0">
                  <a:pos x="12" y="29"/>
                </a:cxn>
                <a:cxn ang="0">
                  <a:pos x="7" y="28"/>
                </a:cxn>
                <a:cxn ang="0">
                  <a:pos x="3" y="25"/>
                </a:cxn>
                <a:cxn ang="0">
                  <a:pos x="1" y="21"/>
                </a:cxn>
                <a:cxn ang="0">
                  <a:pos x="1" y="19"/>
                </a:cxn>
                <a:cxn ang="0">
                  <a:pos x="0" y="16"/>
                </a:cxn>
                <a:cxn ang="0">
                  <a:pos x="0" y="14"/>
                </a:cxn>
                <a:cxn ang="0">
                  <a:pos x="6" y="8"/>
                </a:cxn>
                <a:cxn ang="0">
                  <a:pos x="16" y="2"/>
                </a:cxn>
                <a:cxn ang="0">
                  <a:pos x="21" y="0"/>
                </a:cxn>
              </a:cxnLst>
              <a:rect l="0" t="0" r="r" b="b"/>
              <a:pathLst>
                <a:path w="25" h="30">
                  <a:moveTo>
                    <a:pt x="21" y="0"/>
                  </a:moveTo>
                  <a:lnTo>
                    <a:pt x="24" y="0"/>
                  </a:lnTo>
                  <a:lnTo>
                    <a:pt x="25" y="3"/>
                  </a:lnTo>
                  <a:lnTo>
                    <a:pt x="25" y="11"/>
                  </a:lnTo>
                  <a:lnTo>
                    <a:pt x="24" y="20"/>
                  </a:lnTo>
                  <a:lnTo>
                    <a:pt x="22" y="27"/>
                  </a:lnTo>
                  <a:lnTo>
                    <a:pt x="20" y="30"/>
                  </a:lnTo>
                  <a:lnTo>
                    <a:pt x="12" y="29"/>
                  </a:lnTo>
                  <a:lnTo>
                    <a:pt x="7" y="28"/>
                  </a:lnTo>
                  <a:lnTo>
                    <a:pt x="3" y="25"/>
                  </a:lnTo>
                  <a:lnTo>
                    <a:pt x="1" y="21"/>
                  </a:lnTo>
                  <a:lnTo>
                    <a:pt x="1" y="19"/>
                  </a:lnTo>
                  <a:lnTo>
                    <a:pt x="0" y="16"/>
                  </a:lnTo>
                  <a:lnTo>
                    <a:pt x="0" y="14"/>
                  </a:lnTo>
                  <a:lnTo>
                    <a:pt x="6" y="8"/>
                  </a:lnTo>
                  <a:lnTo>
                    <a:pt x="16" y="2"/>
                  </a:lnTo>
                  <a:lnTo>
                    <a:pt x="21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27">
              <a:extLst>
                <a:ext uri="{FF2B5EF4-FFF2-40B4-BE49-F238E27FC236}">
                  <a16:creationId xmlns:a16="http://schemas.microsoft.com/office/drawing/2014/main" id="{7E824595-8A8C-460C-8705-AB6645044F8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5826" y="2120901"/>
              <a:ext cx="14288" cy="1905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6" y="0"/>
                </a:cxn>
                <a:cxn ang="0">
                  <a:pos x="7" y="1"/>
                </a:cxn>
                <a:cxn ang="0">
                  <a:pos x="9" y="5"/>
                </a:cxn>
                <a:cxn ang="0">
                  <a:pos x="9" y="9"/>
                </a:cxn>
                <a:cxn ang="0">
                  <a:pos x="8" y="11"/>
                </a:cxn>
                <a:cxn ang="0">
                  <a:pos x="7" y="12"/>
                </a:cxn>
                <a:cxn ang="0">
                  <a:pos x="6" y="12"/>
                </a:cxn>
                <a:cxn ang="0">
                  <a:pos x="3" y="11"/>
                </a:cxn>
                <a:cxn ang="0">
                  <a:pos x="0" y="5"/>
                </a:cxn>
                <a:cxn ang="0">
                  <a:pos x="1" y="2"/>
                </a:cxn>
                <a:cxn ang="0">
                  <a:pos x="2" y="1"/>
                </a:cxn>
                <a:cxn ang="0">
                  <a:pos x="4" y="0"/>
                </a:cxn>
              </a:cxnLst>
              <a:rect l="0" t="0" r="r" b="b"/>
              <a:pathLst>
                <a:path w="9" h="12">
                  <a:moveTo>
                    <a:pt x="4" y="0"/>
                  </a:moveTo>
                  <a:lnTo>
                    <a:pt x="6" y="0"/>
                  </a:lnTo>
                  <a:lnTo>
                    <a:pt x="7" y="1"/>
                  </a:lnTo>
                  <a:lnTo>
                    <a:pt x="9" y="5"/>
                  </a:lnTo>
                  <a:lnTo>
                    <a:pt x="9" y="9"/>
                  </a:lnTo>
                  <a:lnTo>
                    <a:pt x="8" y="11"/>
                  </a:lnTo>
                  <a:lnTo>
                    <a:pt x="7" y="12"/>
                  </a:lnTo>
                  <a:lnTo>
                    <a:pt x="6" y="12"/>
                  </a:lnTo>
                  <a:lnTo>
                    <a:pt x="3" y="11"/>
                  </a:lnTo>
                  <a:lnTo>
                    <a:pt x="0" y="5"/>
                  </a:lnTo>
                  <a:lnTo>
                    <a:pt x="1" y="2"/>
                  </a:lnTo>
                  <a:lnTo>
                    <a:pt x="2" y="1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28">
              <a:extLst>
                <a:ext uri="{FF2B5EF4-FFF2-40B4-BE49-F238E27FC236}">
                  <a16:creationId xmlns:a16="http://schemas.microsoft.com/office/drawing/2014/main" id="{5A6E9855-0EDC-445E-B7A2-4F41B7B0143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4876" y="2103438"/>
              <a:ext cx="60325" cy="9525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28" y="0"/>
                </a:cxn>
                <a:cxn ang="0">
                  <a:pos x="34" y="1"/>
                </a:cxn>
                <a:cxn ang="0">
                  <a:pos x="38" y="2"/>
                </a:cxn>
                <a:cxn ang="0">
                  <a:pos x="37" y="3"/>
                </a:cxn>
                <a:cxn ang="0">
                  <a:pos x="32" y="4"/>
                </a:cxn>
                <a:cxn ang="0">
                  <a:pos x="25" y="5"/>
                </a:cxn>
                <a:cxn ang="0">
                  <a:pos x="17" y="6"/>
                </a:cxn>
                <a:cxn ang="0">
                  <a:pos x="2" y="6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4" y="1"/>
                </a:cxn>
                <a:cxn ang="0">
                  <a:pos x="11" y="0"/>
                </a:cxn>
              </a:cxnLst>
              <a:rect l="0" t="0" r="r" b="b"/>
              <a:pathLst>
                <a:path w="38" h="6">
                  <a:moveTo>
                    <a:pt x="11" y="0"/>
                  </a:moveTo>
                  <a:lnTo>
                    <a:pt x="28" y="0"/>
                  </a:lnTo>
                  <a:lnTo>
                    <a:pt x="34" y="1"/>
                  </a:lnTo>
                  <a:lnTo>
                    <a:pt x="38" y="2"/>
                  </a:lnTo>
                  <a:lnTo>
                    <a:pt x="37" y="3"/>
                  </a:lnTo>
                  <a:lnTo>
                    <a:pt x="32" y="4"/>
                  </a:lnTo>
                  <a:lnTo>
                    <a:pt x="25" y="5"/>
                  </a:lnTo>
                  <a:lnTo>
                    <a:pt x="17" y="6"/>
                  </a:lnTo>
                  <a:lnTo>
                    <a:pt x="2" y="6"/>
                  </a:lnTo>
                  <a:lnTo>
                    <a:pt x="0" y="4"/>
                  </a:lnTo>
                  <a:lnTo>
                    <a:pt x="0" y="2"/>
                  </a:lnTo>
                  <a:lnTo>
                    <a:pt x="4" y="1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29">
              <a:extLst>
                <a:ext uri="{FF2B5EF4-FFF2-40B4-BE49-F238E27FC236}">
                  <a16:creationId xmlns:a16="http://schemas.microsoft.com/office/drawing/2014/main" id="{0BD6E45B-0F23-4B26-B228-A24083FBFA7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6951" y="2078038"/>
              <a:ext cx="68263" cy="17463"/>
            </a:xfrm>
            <a:custGeom>
              <a:avLst/>
              <a:gdLst/>
              <a:ahLst/>
              <a:cxnLst>
                <a:cxn ang="0">
                  <a:pos x="32" y="0"/>
                </a:cxn>
                <a:cxn ang="0">
                  <a:pos x="39" y="0"/>
                </a:cxn>
                <a:cxn ang="0">
                  <a:pos x="43" y="1"/>
                </a:cxn>
                <a:cxn ang="0">
                  <a:pos x="42" y="3"/>
                </a:cxn>
                <a:cxn ang="0">
                  <a:pos x="37" y="6"/>
                </a:cxn>
                <a:cxn ang="0">
                  <a:pos x="30" y="9"/>
                </a:cxn>
                <a:cxn ang="0">
                  <a:pos x="21" y="11"/>
                </a:cxn>
                <a:cxn ang="0">
                  <a:pos x="5" y="11"/>
                </a:cxn>
                <a:cxn ang="0">
                  <a:pos x="0" y="8"/>
                </a:cxn>
                <a:cxn ang="0">
                  <a:pos x="1" y="6"/>
                </a:cxn>
                <a:cxn ang="0">
                  <a:pos x="6" y="5"/>
                </a:cxn>
                <a:cxn ang="0">
                  <a:pos x="14" y="3"/>
                </a:cxn>
                <a:cxn ang="0">
                  <a:pos x="24" y="1"/>
                </a:cxn>
                <a:cxn ang="0">
                  <a:pos x="32" y="0"/>
                </a:cxn>
              </a:cxnLst>
              <a:rect l="0" t="0" r="r" b="b"/>
              <a:pathLst>
                <a:path w="43" h="11">
                  <a:moveTo>
                    <a:pt x="32" y="0"/>
                  </a:moveTo>
                  <a:lnTo>
                    <a:pt x="39" y="0"/>
                  </a:lnTo>
                  <a:lnTo>
                    <a:pt x="43" y="1"/>
                  </a:lnTo>
                  <a:lnTo>
                    <a:pt x="42" y="3"/>
                  </a:lnTo>
                  <a:lnTo>
                    <a:pt x="37" y="6"/>
                  </a:lnTo>
                  <a:lnTo>
                    <a:pt x="30" y="9"/>
                  </a:lnTo>
                  <a:lnTo>
                    <a:pt x="21" y="11"/>
                  </a:lnTo>
                  <a:lnTo>
                    <a:pt x="5" y="11"/>
                  </a:lnTo>
                  <a:lnTo>
                    <a:pt x="0" y="8"/>
                  </a:lnTo>
                  <a:lnTo>
                    <a:pt x="1" y="6"/>
                  </a:lnTo>
                  <a:lnTo>
                    <a:pt x="6" y="5"/>
                  </a:lnTo>
                  <a:lnTo>
                    <a:pt x="14" y="3"/>
                  </a:lnTo>
                  <a:lnTo>
                    <a:pt x="24" y="1"/>
                  </a:lnTo>
                  <a:lnTo>
                    <a:pt x="32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30">
              <a:extLst>
                <a:ext uri="{FF2B5EF4-FFF2-40B4-BE49-F238E27FC236}">
                  <a16:creationId xmlns:a16="http://schemas.microsoft.com/office/drawing/2014/main" id="{7F4F5252-3BAE-4EF2-A274-726B09227AFA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2363" y="2058988"/>
              <a:ext cx="46038" cy="22225"/>
            </a:xfrm>
            <a:custGeom>
              <a:avLst/>
              <a:gdLst/>
              <a:ahLst/>
              <a:cxnLst>
                <a:cxn ang="0">
                  <a:pos x="15" y="0"/>
                </a:cxn>
                <a:cxn ang="0">
                  <a:pos x="23" y="1"/>
                </a:cxn>
                <a:cxn ang="0">
                  <a:pos x="29" y="4"/>
                </a:cxn>
                <a:cxn ang="0">
                  <a:pos x="29" y="5"/>
                </a:cxn>
                <a:cxn ang="0">
                  <a:pos x="27" y="7"/>
                </a:cxn>
                <a:cxn ang="0">
                  <a:pos x="24" y="7"/>
                </a:cxn>
                <a:cxn ang="0">
                  <a:pos x="22" y="8"/>
                </a:cxn>
                <a:cxn ang="0">
                  <a:pos x="15" y="8"/>
                </a:cxn>
                <a:cxn ang="0">
                  <a:pos x="13" y="9"/>
                </a:cxn>
                <a:cxn ang="0">
                  <a:pos x="8" y="14"/>
                </a:cxn>
                <a:cxn ang="0">
                  <a:pos x="6" y="14"/>
                </a:cxn>
                <a:cxn ang="0">
                  <a:pos x="3" y="13"/>
                </a:cxn>
                <a:cxn ang="0">
                  <a:pos x="0" y="11"/>
                </a:cxn>
                <a:cxn ang="0">
                  <a:pos x="0" y="7"/>
                </a:cxn>
                <a:cxn ang="0">
                  <a:pos x="2" y="5"/>
                </a:cxn>
                <a:cxn ang="0">
                  <a:pos x="6" y="3"/>
                </a:cxn>
                <a:cxn ang="0">
                  <a:pos x="15" y="0"/>
                </a:cxn>
              </a:cxnLst>
              <a:rect l="0" t="0" r="r" b="b"/>
              <a:pathLst>
                <a:path w="29" h="14">
                  <a:moveTo>
                    <a:pt x="15" y="0"/>
                  </a:moveTo>
                  <a:lnTo>
                    <a:pt x="23" y="1"/>
                  </a:lnTo>
                  <a:lnTo>
                    <a:pt x="29" y="4"/>
                  </a:lnTo>
                  <a:lnTo>
                    <a:pt x="29" y="5"/>
                  </a:lnTo>
                  <a:lnTo>
                    <a:pt x="27" y="7"/>
                  </a:lnTo>
                  <a:lnTo>
                    <a:pt x="24" y="7"/>
                  </a:lnTo>
                  <a:lnTo>
                    <a:pt x="22" y="8"/>
                  </a:lnTo>
                  <a:lnTo>
                    <a:pt x="15" y="8"/>
                  </a:lnTo>
                  <a:lnTo>
                    <a:pt x="13" y="9"/>
                  </a:lnTo>
                  <a:lnTo>
                    <a:pt x="8" y="14"/>
                  </a:lnTo>
                  <a:lnTo>
                    <a:pt x="6" y="14"/>
                  </a:lnTo>
                  <a:lnTo>
                    <a:pt x="3" y="13"/>
                  </a:lnTo>
                  <a:lnTo>
                    <a:pt x="0" y="11"/>
                  </a:lnTo>
                  <a:lnTo>
                    <a:pt x="0" y="7"/>
                  </a:lnTo>
                  <a:lnTo>
                    <a:pt x="2" y="5"/>
                  </a:lnTo>
                  <a:lnTo>
                    <a:pt x="6" y="3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31">
              <a:extLst>
                <a:ext uri="{FF2B5EF4-FFF2-40B4-BE49-F238E27FC236}">
                  <a16:creationId xmlns:a16="http://schemas.microsoft.com/office/drawing/2014/main" id="{5B699E58-65B2-4FD8-A45C-820662F1278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4913" y="2051051"/>
              <a:ext cx="38100" cy="15875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7" y="0"/>
                </a:cxn>
                <a:cxn ang="0">
                  <a:pos x="22" y="1"/>
                </a:cxn>
                <a:cxn ang="0">
                  <a:pos x="24" y="3"/>
                </a:cxn>
                <a:cxn ang="0">
                  <a:pos x="22" y="6"/>
                </a:cxn>
                <a:cxn ang="0">
                  <a:pos x="16" y="9"/>
                </a:cxn>
                <a:cxn ang="0">
                  <a:pos x="9" y="10"/>
                </a:cxn>
                <a:cxn ang="0">
                  <a:pos x="3" y="9"/>
                </a:cxn>
                <a:cxn ang="0">
                  <a:pos x="0" y="7"/>
                </a:cxn>
                <a:cxn ang="0">
                  <a:pos x="1" y="4"/>
                </a:cxn>
                <a:cxn ang="0">
                  <a:pos x="5" y="2"/>
                </a:cxn>
                <a:cxn ang="0">
                  <a:pos x="11" y="0"/>
                </a:cxn>
              </a:cxnLst>
              <a:rect l="0" t="0" r="r" b="b"/>
              <a:pathLst>
                <a:path w="24" h="10">
                  <a:moveTo>
                    <a:pt x="11" y="0"/>
                  </a:moveTo>
                  <a:lnTo>
                    <a:pt x="17" y="0"/>
                  </a:lnTo>
                  <a:lnTo>
                    <a:pt x="22" y="1"/>
                  </a:lnTo>
                  <a:lnTo>
                    <a:pt x="24" y="3"/>
                  </a:lnTo>
                  <a:lnTo>
                    <a:pt x="22" y="6"/>
                  </a:lnTo>
                  <a:lnTo>
                    <a:pt x="16" y="9"/>
                  </a:lnTo>
                  <a:lnTo>
                    <a:pt x="9" y="10"/>
                  </a:lnTo>
                  <a:lnTo>
                    <a:pt x="3" y="9"/>
                  </a:lnTo>
                  <a:lnTo>
                    <a:pt x="0" y="7"/>
                  </a:lnTo>
                  <a:lnTo>
                    <a:pt x="1" y="4"/>
                  </a:lnTo>
                  <a:lnTo>
                    <a:pt x="5" y="2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32">
              <a:extLst>
                <a:ext uri="{FF2B5EF4-FFF2-40B4-BE49-F238E27FC236}">
                  <a16:creationId xmlns:a16="http://schemas.microsoft.com/office/drawing/2014/main" id="{A9BA15D3-BE6D-4DEE-98E4-C82F2D44CC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4776" y="2085976"/>
              <a:ext cx="19050" cy="17463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9" y="0"/>
                </a:cxn>
                <a:cxn ang="0">
                  <a:pos x="11" y="1"/>
                </a:cxn>
                <a:cxn ang="0">
                  <a:pos x="12" y="3"/>
                </a:cxn>
                <a:cxn ang="0">
                  <a:pos x="12" y="7"/>
                </a:cxn>
                <a:cxn ang="0">
                  <a:pos x="10" y="9"/>
                </a:cxn>
                <a:cxn ang="0">
                  <a:pos x="9" y="11"/>
                </a:cxn>
                <a:cxn ang="0">
                  <a:pos x="6" y="11"/>
                </a:cxn>
                <a:cxn ang="0">
                  <a:pos x="1" y="11"/>
                </a:cxn>
                <a:cxn ang="0">
                  <a:pos x="0" y="11"/>
                </a:cxn>
                <a:cxn ang="0">
                  <a:pos x="0" y="7"/>
                </a:cxn>
                <a:cxn ang="0">
                  <a:pos x="1" y="4"/>
                </a:cxn>
                <a:cxn ang="0">
                  <a:pos x="2" y="2"/>
                </a:cxn>
                <a:cxn ang="0">
                  <a:pos x="4" y="0"/>
                </a:cxn>
              </a:cxnLst>
              <a:rect l="0" t="0" r="r" b="b"/>
              <a:pathLst>
                <a:path w="12" h="11">
                  <a:moveTo>
                    <a:pt x="4" y="0"/>
                  </a:moveTo>
                  <a:lnTo>
                    <a:pt x="9" y="0"/>
                  </a:lnTo>
                  <a:lnTo>
                    <a:pt x="11" y="1"/>
                  </a:lnTo>
                  <a:lnTo>
                    <a:pt x="12" y="3"/>
                  </a:lnTo>
                  <a:lnTo>
                    <a:pt x="12" y="7"/>
                  </a:lnTo>
                  <a:lnTo>
                    <a:pt x="10" y="9"/>
                  </a:lnTo>
                  <a:lnTo>
                    <a:pt x="9" y="11"/>
                  </a:lnTo>
                  <a:lnTo>
                    <a:pt x="6" y="11"/>
                  </a:lnTo>
                  <a:lnTo>
                    <a:pt x="1" y="11"/>
                  </a:lnTo>
                  <a:lnTo>
                    <a:pt x="0" y="11"/>
                  </a:lnTo>
                  <a:lnTo>
                    <a:pt x="0" y="7"/>
                  </a:lnTo>
                  <a:lnTo>
                    <a:pt x="1" y="4"/>
                  </a:lnTo>
                  <a:lnTo>
                    <a:pt x="2" y="2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33">
              <a:extLst>
                <a:ext uri="{FF2B5EF4-FFF2-40B4-BE49-F238E27FC236}">
                  <a16:creationId xmlns:a16="http://schemas.microsoft.com/office/drawing/2014/main" id="{6088442D-FF6A-4079-8DD3-2FFFF33FD793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1113" y="2044701"/>
              <a:ext cx="25400" cy="158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" y="0"/>
                </a:cxn>
                <a:cxn ang="0">
                  <a:pos x="8" y="1"/>
                </a:cxn>
                <a:cxn ang="0">
                  <a:pos x="13" y="4"/>
                </a:cxn>
                <a:cxn ang="0">
                  <a:pos x="16" y="7"/>
                </a:cxn>
                <a:cxn ang="0">
                  <a:pos x="16" y="9"/>
                </a:cxn>
                <a:cxn ang="0">
                  <a:pos x="12" y="10"/>
                </a:cxn>
                <a:cxn ang="0">
                  <a:pos x="7" y="9"/>
                </a:cxn>
                <a:cxn ang="0">
                  <a:pos x="3" y="6"/>
                </a:cxn>
                <a:cxn ang="0">
                  <a:pos x="0" y="3"/>
                </a:cxn>
                <a:cxn ang="0">
                  <a:pos x="0" y="0"/>
                </a:cxn>
              </a:cxnLst>
              <a:rect l="0" t="0" r="r" b="b"/>
              <a:pathLst>
                <a:path w="16" h="10">
                  <a:moveTo>
                    <a:pt x="0" y="0"/>
                  </a:moveTo>
                  <a:lnTo>
                    <a:pt x="3" y="0"/>
                  </a:lnTo>
                  <a:lnTo>
                    <a:pt x="8" y="1"/>
                  </a:lnTo>
                  <a:lnTo>
                    <a:pt x="13" y="4"/>
                  </a:lnTo>
                  <a:lnTo>
                    <a:pt x="16" y="7"/>
                  </a:lnTo>
                  <a:lnTo>
                    <a:pt x="16" y="9"/>
                  </a:lnTo>
                  <a:lnTo>
                    <a:pt x="12" y="10"/>
                  </a:lnTo>
                  <a:lnTo>
                    <a:pt x="7" y="9"/>
                  </a:lnTo>
                  <a:lnTo>
                    <a:pt x="3" y="6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34">
              <a:extLst>
                <a:ext uri="{FF2B5EF4-FFF2-40B4-BE49-F238E27FC236}">
                  <a16:creationId xmlns:a16="http://schemas.microsoft.com/office/drawing/2014/main" id="{ABFC7FC2-3B10-4661-BDD8-C8AEE97EB4FF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7488" y="1933576"/>
              <a:ext cx="15875" cy="25400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9" y="1"/>
                </a:cxn>
                <a:cxn ang="0">
                  <a:pos x="10" y="5"/>
                </a:cxn>
                <a:cxn ang="0">
                  <a:pos x="9" y="10"/>
                </a:cxn>
                <a:cxn ang="0">
                  <a:pos x="8" y="14"/>
                </a:cxn>
                <a:cxn ang="0">
                  <a:pos x="6" y="16"/>
                </a:cxn>
                <a:cxn ang="0">
                  <a:pos x="1" y="15"/>
                </a:cxn>
                <a:cxn ang="0">
                  <a:pos x="0" y="11"/>
                </a:cxn>
                <a:cxn ang="0">
                  <a:pos x="0" y="6"/>
                </a:cxn>
                <a:cxn ang="0">
                  <a:pos x="3" y="2"/>
                </a:cxn>
                <a:cxn ang="0">
                  <a:pos x="7" y="0"/>
                </a:cxn>
              </a:cxnLst>
              <a:rect l="0" t="0" r="r" b="b"/>
              <a:pathLst>
                <a:path w="10" h="16">
                  <a:moveTo>
                    <a:pt x="7" y="0"/>
                  </a:moveTo>
                  <a:lnTo>
                    <a:pt x="9" y="1"/>
                  </a:lnTo>
                  <a:lnTo>
                    <a:pt x="10" y="5"/>
                  </a:lnTo>
                  <a:lnTo>
                    <a:pt x="9" y="10"/>
                  </a:lnTo>
                  <a:lnTo>
                    <a:pt x="8" y="14"/>
                  </a:lnTo>
                  <a:lnTo>
                    <a:pt x="6" y="16"/>
                  </a:lnTo>
                  <a:lnTo>
                    <a:pt x="1" y="15"/>
                  </a:lnTo>
                  <a:lnTo>
                    <a:pt x="0" y="11"/>
                  </a:lnTo>
                  <a:lnTo>
                    <a:pt x="0" y="6"/>
                  </a:lnTo>
                  <a:lnTo>
                    <a:pt x="3" y="2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35">
              <a:extLst>
                <a:ext uri="{FF2B5EF4-FFF2-40B4-BE49-F238E27FC236}">
                  <a16:creationId xmlns:a16="http://schemas.microsoft.com/office/drawing/2014/main" id="{A7DE8179-B75D-48C1-82B7-AA86D9661C3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0676" y="1870076"/>
              <a:ext cx="11113" cy="15875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4" y="0"/>
                </a:cxn>
                <a:cxn ang="0">
                  <a:pos x="6" y="1"/>
                </a:cxn>
                <a:cxn ang="0">
                  <a:pos x="7" y="3"/>
                </a:cxn>
                <a:cxn ang="0">
                  <a:pos x="7" y="7"/>
                </a:cxn>
                <a:cxn ang="0">
                  <a:pos x="4" y="10"/>
                </a:cxn>
                <a:cxn ang="0">
                  <a:pos x="3" y="10"/>
                </a:cxn>
                <a:cxn ang="0">
                  <a:pos x="2" y="9"/>
                </a:cxn>
                <a:cxn ang="0">
                  <a:pos x="0" y="5"/>
                </a:cxn>
                <a:cxn ang="0">
                  <a:pos x="0" y="3"/>
                </a:cxn>
                <a:cxn ang="0">
                  <a:pos x="1" y="1"/>
                </a:cxn>
                <a:cxn ang="0">
                  <a:pos x="2" y="0"/>
                </a:cxn>
              </a:cxnLst>
              <a:rect l="0" t="0" r="r" b="b"/>
              <a:pathLst>
                <a:path w="7" h="10">
                  <a:moveTo>
                    <a:pt x="2" y="0"/>
                  </a:moveTo>
                  <a:lnTo>
                    <a:pt x="4" y="0"/>
                  </a:lnTo>
                  <a:lnTo>
                    <a:pt x="6" y="1"/>
                  </a:lnTo>
                  <a:lnTo>
                    <a:pt x="7" y="3"/>
                  </a:lnTo>
                  <a:lnTo>
                    <a:pt x="7" y="7"/>
                  </a:lnTo>
                  <a:lnTo>
                    <a:pt x="4" y="10"/>
                  </a:lnTo>
                  <a:lnTo>
                    <a:pt x="3" y="10"/>
                  </a:lnTo>
                  <a:lnTo>
                    <a:pt x="2" y="9"/>
                  </a:lnTo>
                  <a:lnTo>
                    <a:pt x="0" y="5"/>
                  </a:lnTo>
                  <a:lnTo>
                    <a:pt x="0" y="3"/>
                  </a:lnTo>
                  <a:lnTo>
                    <a:pt x="1" y="1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36">
              <a:extLst>
                <a:ext uri="{FF2B5EF4-FFF2-40B4-BE49-F238E27FC236}">
                  <a16:creationId xmlns:a16="http://schemas.microsoft.com/office/drawing/2014/main" id="{7166818B-C178-4734-A28B-EFFD8198FB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6238" y="1571626"/>
              <a:ext cx="52388" cy="44450"/>
            </a:xfrm>
            <a:custGeom>
              <a:avLst/>
              <a:gdLst/>
              <a:ahLst/>
              <a:cxnLst>
                <a:cxn ang="0">
                  <a:pos x="25" y="0"/>
                </a:cxn>
                <a:cxn ang="0">
                  <a:pos x="31" y="1"/>
                </a:cxn>
                <a:cxn ang="0">
                  <a:pos x="33" y="3"/>
                </a:cxn>
                <a:cxn ang="0">
                  <a:pos x="32" y="9"/>
                </a:cxn>
                <a:cxn ang="0">
                  <a:pos x="26" y="23"/>
                </a:cxn>
                <a:cxn ang="0">
                  <a:pos x="23" y="27"/>
                </a:cxn>
                <a:cxn ang="0">
                  <a:pos x="17" y="28"/>
                </a:cxn>
                <a:cxn ang="0">
                  <a:pos x="7" y="28"/>
                </a:cxn>
                <a:cxn ang="0">
                  <a:pos x="4" y="24"/>
                </a:cxn>
                <a:cxn ang="0">
                  <a:pos x="2" y="19"/>
                </a:cxn>
                <a:cxn ang="0">
                  <a:pos x="0" y="15"/>
                </a:cxn>
                <a:cxn ang="0">
                  <a:pos x="1" y="10"/>
                </a:cxn>
                <a:cxn ang="0">
                  <a:pos x="5" y="6"/>
                </a:cxn>
                <a:cxn ang="0">
                  <a:pos x="11" y="3"/>
                </a:cxn>
                <a:cxn ang="0">
                  <a:pos x="18" y="1"/>
                </a:cxn>
                <a:cxn ang="0">
                  <a:pos x="25" y="0"/>
                </a:cxn>
              </a:cxnLst>
              <a:rect l="0" t="0" r="r" b="b"/>
              <a:pathLst>
                <a:path w="33" h="28">
                  <a:moveTo>
                    <a:pt x="25" y="0"/>
                  </a:moveTo>
                  <a:lnTo>
                    <a:pt x="31" y="1"/>
                  </a:lnTo>
                  <a:lnTo>
                    <a:pt x="33" y="3"/>
                  </a:lnTo>
                  <a:lnTo>
                    <a:pt x="32" y="9"/>
                  </a:lnTo>
                  <a:lnTo>
                    <a:pt x="26" y="23"/>
                  </a:lnTo>
                  <a:lnTo>
                    <a:pt x="23" y="27"/>
                  </a:lnTo>
                  <a:lnTo>
                    <a:pt x="17" y="28"/>
                  </a:lnTo>
                  <a:lnTo>
                    <a:pt x="7" y="28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5"/>
                  </a:lnTo>
                  <a:lnTo>
                    <a:pt x="1" y="10"/>
                  </a:lnTo>
                  <a:lnTo>
                    <a:pt x="5" y="6"/>
                  </a:lnTo>
                  <a:lnTo>
                    <a:pt x="11" y="3"/>
                  </a:lnTo>
                  <a:lnTo>
                    <a:pt x="18" y="1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37">
              <a:extLst>
                <a:ext uri="{FF2B5EF4-FFF2-40B4-BE49-F238E27FC236}">
                  <a16:creationId xmlns:a16="http://schemas.microsoft.com/office/drawing/2014/main" id="{1C38B3E0-EB87-4E70-9CF6-2B468DED2CE4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3838" y="1420813"/>
              <a:ext cx="69850" cy="44450"/>
            </a:xfrm>
            <a:custGeom>
              <a:avLst/>
              <a:gdLst/>
              <a:ahLst/>
              <a:cxnLst>
                <a:cxn ang="0">
                  <a:pos x="29" y="0"/>
                </a:cxn>
                <a:cxn ang="0">
                  <a:pos x="41" y="0"/>
                </a:cxn>
                <a:cxn ang="0">
                  <a:pos x="43" y="2"/>
                </a:cxn>
                <a:cxn ang="0">
                  <a:pos x="44" y="8"/>
                </a:cxn>
                <a:cxn ang="0">
                  <a:pos x="43" y="14"/>
                </a:cxn>
                <a:cxn ang="0">
                  <a:pos x="41" y="20"/>
                </a:cxn>
                <a:cxn ang="0">
                  <a:pos x="39" y="26"/>
                </a:cxn>
                <a:cxn ang="0">
                  <a:pos x="36" y="28"/>
                </a:cxn>
                <a:cxn ang="0">
                  <a:pos x="31" y="27"/>
                </a:cxn>
                <a:cxn ang="0">
                  <a:pos x="23" y="26"/>
                </a:cxn>
                <a:cxn ang="0">
                  <a:pos x="14" y="23"/>
                </a:cxn>
                <a:cxn ang="0">
                  <a:pos x="6" y="20"/>
                </a:cxn>
                <a:cxn ang="0">
                  <a:pos x="2" y="18"/>
                </a:cxn>
                <a:cxn ang="0">
                  <a:pos x="0" y="14"/>
                </a:cxn>
                <a:cxn ang="0">
                  <a:pos x="3" y="9"/>
                </a:cxn>
                <a:cxn ang="0">
                  <a:pos x="6" y="4"/>
                </a:cxn>
                <a:cxn ang="0">
                  <a:pos x="11" y="1"/>
                </a:cxn>
                <a:cxn ang="0">
                  <a:pos x="22" y="1"/>
                </a:cxn>
                <a:cxn ang="0">
                  <a:pos x="29" y="0"/>
                </a:cxn>
              </a:cxnLst>
              <a:rect l="0" t="0" r="r" b="b"/>
              <a:pathLst>
                <a:path w="44" h="28">
                  <a:moveTo>
                    <a:pt x="29" y="0"/>
                  </a:moveTo>
                  <a:lnTo>
                    <a:pt x="41" y="0"/>
                  </a:lnTo>
                  <a:lnTo>
                    <a:pt x="43" y="2"/>
                  </a:lnTo>
                  <a:lnTo>
                    <a:pt x="44" y="8"/>
                  </a:lnTo>
                  <a:lnTo>
                    <a:pt x="43" y="14"/>
                  </a:lnTo>
                  <a:lnTo>
                    <a:pt x="41" y="20"/>
                  </a:lnTo>
                  <a:lnTo>
                    <a:pt x="39" y="26"/>
                  </a:lnTo>
                  <a:lnTo>
                    <a:pt x="36" y="28"/>
                  </a:lnTo>
                  <a:lnTo>
                    <a:pt x="31" y="27"/>
                  </a:lnTo>
                  <a:lnTo>
                    <a:pt x="23" y="26"/>
                  </a:lnTo>
                  <a:lnTo>
                    <a:pt x="14" y="23"/>
                  </a:lnTo>
                  <a:lnTo>
                    <a:pt x="6" y="20"/>
                  </a:lnTo>
                  <a:lnTo>
                    <a:pt x="2" y="18"/>
                  </a:lnTo>
                  <a:lnTo>
                    <a:pt x="0" y="14"/>
                  </a:lnTo>
                  <a:lnTo>
                    <a:pt x="3" y="9"/>
                  </a:lnTo>
                  <a:lnTo>
                    <a:pt x="6" y="4"/>
                  </a:lnTo>
                  <a:lnTo>
                    <a:pt x="11" y="1"/>
                  </a:lnTo>
                  <a:lnTo>
                    <a:pt x="22" y="1"/>
                  </a:lnTo>
                  <a:lnTo>
                    <a:pt x="29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38">
              <a:extLst>
                <a:ext uri="{FF2B5EF4-FFF2-40B4-BE49-F238E27FC236}">
                  <a16:creationId xmlns:a16="http://schemas.microsoft.com/office/drawing/2014/main" id="{372C477A-653B-4BE0-9A3C-BD07DC632BE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4151" y="1447801"/>
              <a:ext cx="33338" cy="60325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4" y="0"/>
                </a:cxn>
                <a:cxn ang="0">
                  <a:pos x="14" y="1"/>
                </a:cxn>
                <a:cxn ang="0">
                  <a:pos x="15" y="9"/>
                </a:cxn>
                <a:cxn ang="0">
                  <a:pos x="18" y="21"/>
                </a:cxn>
                <a:cxn ang="0">
                  <a:pos x="20" y="27"/>
                </a:cxn>
                <a:cxn ang="0">
                  <a:pos x="21" y="32"/>
                </a:cxn>
                <a:cxn ang="0">
                  <a:pos x="21" y="36"/>
                </a:cxn>
                <a:cxn ang="0">
                  <a:pos x="18" y="38"/>
                </a:cxn>
                <a:cxn ang="0">
                  <a:pos x="14" y="37"/>
                </a:cxn>
                <a:cxn ang="0">
                  <a:pos x="8" y="33"/>
                </a:cxn>
                <a:cxn ang="0">
                  <a:pos x="3" y="27"/>
                </a:cxn>
                <a:cxn ang="0">
                  <a:pos x="0" y="20"/>
                </a:cxn>
                <a:cxn ang="0">
                  <a:pos x="0" y="13"/>
                </a:cxn>
                <a:cxn ang="0">
                  <a:pos x="1" y="10"/>
                </a:cxn>
                <a:cxn ang="0">
                  <a:pos x="5" y="4"/>
                </a:cxn>
                <a:cxn ang="0">
                  <a:pos x="9" y="1"/>
                </a:cxn>
                <a:cxn ang="0">
                  <a:pos x="11" y="0"/>
                </a:cxn>
              </a:cxnLst>
              <a:rect l="0" t="0" r="r" b="b"/>
              <a:pathLst>
                <a:path w="21" h="38">
                  <a:moveTo>
                    <a:pt x="11" y="0"/>
                  </a:moveTo>
                  <a:lnTo>
                    <a:pt x="14" y="0"/>
                  </a:lnTo>
                  <a:lnTo>
                    <a:pt x="14" y="1"/>
                  </a:lnTo>
                  <a:lnTo>
                    <a:pt x="15" y="9"/>
                  </a:lnTo>
                  <a:lnTo>
                    <a:pt x="18" y="21"/>
                  </a:lnTo>
                  <a:lnTo>
                    <a:pt x="20" y="27"/>
                  </a:lnTo>
                  <a:lnTo>
                    <a:pt x="21" y="32"/>
                  </a:lnTo>
                  <a:lnTo>
                    <a:pt x="21" y="36"/>
                  </a:lnTo>
                  <a:lnTo>
                    <a:pt x="18" y="38"/>
                  </a:lnTo>
                  <a:lnTo>
                    <a:pt x="14" y="37"/>
                  </a:lnTo>
                  <a:lnTo>
                    <a:pt x="8" y="33"/>
                  </a:lnTo>
                  <a:lnTo>
                    <a:pt x="3" y="27"/>
                  </a:lnTo>
                  <a:lnTo>
                    <a:pt x="0" y="20"/>
                  </a:lnTo>
                  <a:lnTo>
                    <a:pt x="0" y="13"/>
                  </a:lnTo>
                  <a:lnTo>
                    <a:pt x="1" y="10"/>
                  </a:lnTo>
                  <a:lnTo>
                    <a:pt x="5" y="4"/>
                  </a:lnTo>
                  <a:lnTo>
                    <a:pt x="9" y="1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39">
              <a:extLst>
                <a:ext uri="{FF2B5EF4-FFF2-40B4-BE49-F238E27FC236}">
                  <a16:creationId xmlns:a16="http://schemas.microsoft.com/office/drawing/2014/main" id="{0204DF80-521D-4432-B6DF-A1AB8BA22BA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9388" y="1223963"/>
              <a:ext cx="125413" cy="198438"/>
            </a:xfrm>
            <a:custGeom>
              <a:avLst/>
              <a:gdLst/>
              <a:ahLst/>
              <a:cxnLst>
                <a:cxn ang="0">
                  <a:pos x="31" y="0"/>
                </a:cxn>
                <a:cxn ang="0">
                  <a:pos x="33" y="1"/>
                </a:cxn>
                <a:cxn ang="0">
                  <a:pos x="35" y="2"/>
                </a:cxn>
                <a:cxn ang="0">
                  <a:pos x="37" y="3"/>
                </a:cxn>
                <a:cxn ang="0">
                  <a:pos x="41" y="6"/>
                </a:cxn>
                <a:cxn ang="0">
                  <a:pos x="41" y="11"/>
                </a:cxn>
                <a:cxn ang="0">
                  <a:pos x="39" y="13"/>
                </a:cxn>
                <a:cxn ang="0">
                  <a:pos x="33" y="18"/>
                </a:cxn>
                <a:cxn ang="0">
                  <a:pos x="29" y="24"/>
                </a:cxn>
                <a:cxn ang="0">
                  <a:pos x="24" y="31"/>
                </a:cxn>
                <a:cxn ang="0">
                  <a:pos x="22" y="38"/>
                </a:cxn>
                <a:cxn ang="0">
                  <a:pos x="22" y="48"/>
                </a:cxn>
                <a:cxn ang="0">
                  <a:pos x="25" y="57"/>
                </a:cxn>
                <a:cxn ang="0">
                  <a:pos x="29" y="64"/>
                </a:cxn>
                <a:cxn ang="0">
                  <a:pos x="33" y="68"/>
                </a:cxn>
                <a:cxn ang="0">
                  <a:pos x="38" y="71"/>
                </a:cxn>
                <a:cxn ang="0">
                  <a:pos x="45" y="72"/>
                </a:cxn>
                <a:cxn ang="0">
                  <a:pos x="59" y="68"/>
                </a:cxn>
                <a:cxn ang="0">
                  <a:pos x="68" y="67"/>
                </a:cxn>
                <a:cxn ang="0">
                  <a:pos x="79" y="67"/>
                </a:cxn>
                <a:cxn ang="0">
                  <a:pos x="79" y="68"/>
                </a:cxn>
                <a:cxn ang="0">
                  <a:pos x="74" y="70"/>
                </a:cxn>
                <a:cxn ang="0">
                  <a:pos x="65" y="73"/>
                </a:cxn>
                <a:cxn ang="0">
                  <a:pos x="56" y="75"/>
                </a:cxn>
                <a:cxn ang="0">
                  <a:pos x="48" y="78"/>
                </a:cxn>
                <a:cxn ang="0">
                  <a:pos x="43" y="80"/>
                </a:cxn>
                <a:cxn ang="0">
                  <a:pos x="38" y="81"/>
                </a:cxn>
                <a:cxn ang="0">
                  <a:pos x="32" y="80"/>
                </a:cxn>
                <a:cxn ang="0">
                  <a:pos x="26" y="78"/>
                </a:cxn>
                <a:cxn ang="0">
                  <a:pos x="21" y="75"/>
                </a:cxn>
                <a:cxn ang="0">
                  <a:pos x="17" y="73"/>
                </a:cxn>
                <a:cxn ang="0">
                  <a:pos x="13" y="75"/>
                </a:cxn>
                <a:cxn ang="0">
                  <a:pos x="12" y="77"/>
                </a:cxn>
                <a:cxn ang="0">
                  <a:pos x="9" y="80"/>
                </a:cxn>
                <a:cxn ang="0">
                  <a:pos x="9" y="87"/>
                </a:cxn>
                <a:cxn ang="0">
                  <a:pos x="8" y="95"/>
                </a:cxn>
                <a:cxn ang="0">
                  <a:pos x="7" y="105"/>
                </a:cxn>
                <a:cxn ang="0">
                  <a:pos x="5" y="115"/>
                </a:cxn>
                <a:cxn ang="0">
                  <a:pos x="4" y="122"/>
                </a:cxn>
                <a:cxn ang="0">
                  <a:pos x="2" y="125"/>
                </a:cxn>
                <a:cxn ang="0">
                  <a:pos x="1" y="122"/>
                </a:cxn>
                <a:cxn ang="0">
                  <a:pos x="0" y="114"/>
                </a:cxn>
                <a:cxn ang="0">
                  <a:pos x="0" y="91"/>
                </a:cxn>
                <a:cxn ang="0">
                  <a:pos x="2" y="67"/>
                </a:cxn>
                <a:cxn ang="0">
                  <a:pos x="3" y="58"/>
                </a:cxn>
                <a:cxn ang="0">
                  <a:pos x="4" y="53"/>
                </a:cxn>
                <a:cxn ang="0">
                  <a:pos x="6" y="48"/>
                </a:cxn>
                <a:cxn ang="0">
                  <a:pos x="10" y="39"/>
                </a:cxn>
                <a:cxn ang="0">
                  <a:pos x="14" y="28"/>
                </a:cxn>
                <a:cxn ang="0">
                  <a:pos x="24" y="8"/>
                </a:cxn>
                <a:cxn ang="0">
                  <a:pos x="28" y="2"/>
                </a:cxn>
                <a:cxn ang="0">
                  <a:pos x="31" y="0"/>
                </a:cxn>
              </a:cxnLst>
              <a:rect l="0" t="0" r="r" b="b"/>
              <a:pathLst>
                <a:path w="79" h="125">
                  <a:moveTo>
                    <a:pt x="31" y="0"/>
                  </a:moveTo>
                  <a:lnTo>
                    <a:pt x="33" y="1"/>
                  </a:lnTo>
                  <a:lnTo>
                    <a:pt x="35" y="2"/>
                  </a:lnTo>
                  <a:lnTo>
                    <a:pt x="37" y="3"/>
                  </a:lnTo>
                  <a:lnTo>
                    <a:pt x="41" y="6"/>
                  </a:lnTo>
                  <a:lnTo>
                    <a:pt x="41" y="11"/>
                  </a:lnTo>
                  <a:lnTo>
                    <a:pt x="39" y="13"/>
                  </a:lnTo>
                  <a:lnTo>
                    <a:pt x="33" y="18"/>
                  </a:lnTo>
                  <a:lnTo>
                    <a:pt x="29" y="24"/>
                  </a:lnTo>
                  <a:lnTo>
                    <a:pt x="24" y="31"/>
                  </a:lnTo>
                  <a:lnTo>
                    <a:pt x="22" y="38"/>
                  </a:lnTo>
                  <a:lnTo>
                    <a:pt x="22" y="48"/>
                  </a:lnTo>
                  <a:lnTo>
                    <a:pt x="25" y="57"/>
                  </a:lnTo>
                  <a:lnTo>
                    <a:pt x="29" y="64"/>
                  </a:lnTo>
                  <a:lnTo>
                    <a:pt x="33" y="68"/>
                  </a:lnTo>
                  <a:lnTo>
                    <a:pt x="38" y="71"/>
                  </a:lnTo>
                  <a:lnTo>
                    <a:pt x="45" y="72"/>
                  </a:lnTo>
                  <a:lnTo>
                    <a:pt x="59" y="68"/>
                  </a:lnTo>
                  <a:lnTo>
                    <a:pt x="68" y="67"/>
                  </a:lnTo>
                  <a:lnTo>
                    <a:pt x="79" y="67"/>
                  </a:lnTo>
                  <a:lnTo>
                    <a:pt x="79" y="68"/>
                  </a:lnTo>
                  <a:lnTo>
                    <a:pt x="74" y="70"/>
                  </a:lnTo>
                  <a:lnTo>
                    <a:pt x="65" y="73"/>
                  </a:lnTo>
                  <a:lnTo>
                    <a:pt x="56" y="75"/>
                  </a:lnTo>
                  <a:lnTo>
                    <a:pt x="48" y="78"/>
                  </a:lnTo>
                  <a:lnTo>
                    <a:pt x="43" y="80"/>
                  </a:lnTo>
                  <a:lnTo>
                    <a:pt x="38" y="81"/>
                  </a:lnTo>
                  <a:lnTo>
                    <a:pt x="32" y="80"/>
                  </a:lnTo>
                  <a:lnTo>
                    <a:pt x="26" y="78"/>
                  </a:lnTo>
                  <a:lnTo>
                    <a:pt x="21" y="75"/>
                  </a:lnTo>
                  <a:lnTo>
                    <a:pt x="17" y="73"/>
                  </a:lnTo>
                  <a:lnTo>
                    <a:pt x="13" y="75"/>
                  </a:lnTo>
                  <a:lnTo>
                    <a:pt x="12" y="77"/>
                  </a:lnTo>
                  <a:lnTo>
                    <a:pt x="9" y="80"/>
                  </a:lnTo>
                  <a:lnTo>
                    <a:pt x="9" y="87"/>
                  </a:lnTo>
                  <a:lnTo>
                    <a:pt x="8" y="95"/>
                  </a:lnTo>
                  <a:lnTo>
                    <a:pt x="7" y="105"/>
                  </a:lnTo>
                  <a:lnTo>
                    <a:pt x="5" y="115"/>
                  </a:lnTo>
                  <a:lnTo>
                    <a:pt x="4" y="122"/>
                  </a:lnTo>
                  <a:lnTo>
                    <a:pt x="2" y="125"/>
                  </a:lnTo>
                  <a:lnTo>
                    <a:pt x="1" y="122"/>
                  </a:lnTo>
                  <a:lnTo>
                    <a:pt x="0" y="114"/>
                  </a:lnTo>
                  <a:lnTo>
                    <a:pt x="0" y="91"/>
                  </a:lnTo>
                  <a:lnTo>
                    <a:pt x="2" y="67"/>
                  </a:lnTo>
                  <a:lnTo>
                    <a:pt x="3" y="58"/>
                  </a:lnTo>
                  <a:lnTo>
                    <a:pt x="4" y="53"/>
                  </a:lnTo>
                  <a:lnTo>
                    <a:pt x="6" y="48"/>
                  </a:lnTo>
                  <a:lnTo>
                    <a:pt x="10" y="39"/>
                  </a:lnTo>
                  <a:lnTo>
                    <a:pt x="14" y="28"/>
                  </a:lnTo>
                  <a:lnTo>
                    <a:pt x="24" y="8"/>
                  </a:lnTo>
                  <a:lnTo>
                    <a:pt x="28" y="2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40">
              <a:extLst>
                <a:ext uri="{FF2B5EF4-FFF2-40B4-BE49-F238E27FC236}">
                  <a16:creationId xmlns:a16="http://schemas.microsoft.com/office/drawing/2014/main" id="{E1848032-2951-4736-978E-89D671816111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0826" y="1131888"/>
              <a:ext cx="46038" cy="84138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25" y="0"/>
                </a:cxn>
                <a:cxn ang="0">
                  <a:pos x="29" y="2"/>
                </a:cxn>
                <a:cxn ang="0">
                  <a:pos x="29" y="4"/>
                </a:cxn>
                <a:cxn ang="0">
                  <a:pos x="25" y="10"/>
                </a:cxn>
                <a:cxn ang="0">
                  <a:pos x="24" y="13"/>
                </a:cxn>
                <a:cxn ang="0">
                  <a:pos x="24" y="20"/>
                </a:cxn>
                <a:cxn ang="0">
                  <a:pos x="25" y="27"/>
                </a:cxn>
                <a:cxn ang="0">
                  <a:pos x="25" y="41"/>
                </a:cxn>
                <a:cxn ang="0">
                  <a:pos x="24" y="45"/>
                </a:cxn>
                <a:cxn ang="0">
                  <a:pos x="20" y="48"/>
                </a:cxn>
                <a:cxn ang="0">
                  <a:pos x="14" y="51"/>
                </a:cxn>
                <a:cxn ang="0">
                  <a:pos x="9" y="53"/>
                </a:cxn>
                <a:cxn ang="0">
                  <a:pos x="5" y="53"/>
                </a:cxn>
                <a:cxn ang="0">
                  <a:pos x="3" y="49"/>
                </a:cxn>
                <a:cxn ang="0">
                  <a:pos x="2" y="42"/>
                </a:cxn>
                <a:cxn ang="0">
                  <a:pos x="1" y="34"/>
                </a:cxn>
                <a:cxn ang="0">
                  <a:pos x="0" y="27"/>
                </a:cxn>
                <a:cxn ang="0">
                  <a:pos x="0" y="15"/>
                </a:cxn>
                <a:cxn ang="0">
                  <a:pos x="1" y="7"/>
                </a:cxn>
                <a:cxn ang="0">
                  <a:pos x="4" y="2"/>
                </a:cxn>
                <a:cxn ang="0">
                  <a:pos x="8" y="0"/>
                </a:cxn>
              </a:cxnLst>
              <a:rect l="0" t="0" r="r" b="b"/>
              <a:pathLst>
                <a:path w="29" h="53">
                  <a:moveTo>
                    <a:pt x="8" y="0"/>
                  </a:moveTo>
                  <a:lnTo>
                    <a:pt x="25" y="0"/>
                  </a:lnTo>
                  <a:lnTo>
                    <a:pt x="29" y="2"/>
                  </a:lnTo>
                  <a:lnTo>
                    <a:pt x="29" y="4"/>
                  </a:lnTo>
                  <a:lnTo>
                    <a:pt x="25" y="10"/>
                  </a:lnTo>
                  <a:lnTo>
                    <a:pt x="24" y="13"/>
                  </a:lnTo>
                  <a:lnTo>
                    <a:pt x="24" y="20"/>
                  </a:lnTo>
                  <a:lnTo>
                    <a:pt x="25" y="27"/>
                  </a:lnTo>
                  <a:lnTo>
                    <a:pt x="25" y="41"/>
                  </a:lnTo>
                  <a:lnTo>
                    <a:pt x="24" y="45"/>
                  </a:lnTo>
                  <a:lnTo>
                    <a:pt x="20" y="48"/>
                  </a:lnTo>
                  <a:lnTo>
                    <a:pt x="14" y="51"/>
                  </a:lnTo>
                  <a:lnTo>
                    <a:pt x="9" y="53"/>
                  </a:lnTo>
                  <a:lnTo>
                    <a:pt x="5" y="53"/>
                  </a:lnTo>
                  <a:lnTo>
                    <a:pt x="3" y="49"/>
                  </a:lnTo>
                  <a:lnTo>
                    <a:pt x="2" y="42"/>
                  </a:lnTo>
                  <a:lnTo>
                    <a:pt x="1" y="34"/>
                  </a:lnTo>
                  <a:lnTo>
                    <a:pt x="0" y="27"/>
                  </a:lnTo>
                  <a:lnTo>
                    <a:pt x="0" y="15"/>
                  </a:lnTo>
                  <a:lnTo>
                    <a:pt x="1" y="7"/>
                  </a:lnTo>
                  <a:lnTo>
                    <a:pt x="4" y="2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41">
              <a:extLst>
                <a:ext uri="{FF2B5EF4-FFF2-40B4-BE49-F238E27FC236}">
                  <a16:creationId xmlns:a16="http://schemas.microsoft.com/office/drawing/2014/main" id="{16B6D29D-F42B-436A-A9FE-A0A947438B9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8663" y="1501776"/>
              <a:ext cx="31750" cy="85725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18" y="0"/>
                </a:cxn>
                <a:cxn ang="0">
                  <a:pos x="19" y="1"/>
                </a:cxn>
                <a:cxn ang="0">
                  <a:pos x="20" y="1"/>
                </a:cxn>
                <a:cxn ang="0">
                  <a:pos x="20" y="3"/>
                </a:cxn>
                <a:cxn ang="0">
                  <a:pos x="18" y="7"/>
                </a:cxn>
                <a:cxn ang="0">
                  <a:pos x="16" y="8"/>
                </a:cxn>
                <a:cxn ang="0">
                  <a:pos x="14" y="12"/>
                </a:cxn>
                <a:cxn ang="0">
                  <a:pos x="14" y="16"/>
                </a:cxn>
                <a:cxn ang="0">
                  <a:pos x="13" y="23"/>
                </a:cxn>
                <a:cxn ang="0">
                  <a:pos x="13" y="30"/>
                </a:cxn>
                <a:cxn ang="0">
                  <a:pos x="13" y="34"/>
                </a:cxn>
                <a:cxn ang="0">
                  <a:pos x="12" y="37"/>
                </a:cxn>
                <a:cxn ang="0">
                  <a:pos x="9" y="42"/>
                </a:cxn>
                <a:cxn ang="0">
                  <a:pos x="6" y="48"/>
                </a:cxn>
                <a:cxn ang="0">
                  <a:pos x="3" y="52"/>
                </a:cxn>
                <a:cxn ang="0">
                  <a:pos x="1" y="54"/>
                </a:cxn>
                <a:cxn ang="0">
                  <a:pos x="0" y="51"/>
                </a:cxn>
                <a:cxn ang="0">
                  <a:pos x="1" y="45"/>
                </a:cxn>
                <a:cxn ang="0">
                  <a:pos x="4" y="39"/>
                </a:cxn>
                <a:cxn ang="0">
                  <a:pos x="5" y="32"/>
                </a:cxn>
                <a:cxn ang="0">
                  <a:pos x="6" y="27"/>
                </a:cxn>
                <a:cxn ang="0">
                  <a:pos x="6" y="14"/>
                </a:cxn>
                <a:cxn ang="0">
                  <a:pos x="7" y="7"/>
                </a:cxn>
                <a:cxn ang="0">
                  <a:pos x="9" y="3"/>
                </a:cxn>
                <a:cxn ang="0">
                  <a:pos x="13" y="1"/>
                </a:cxn>
                <a:cxn ang="0">
                  <a:pos x="14" y="1"/>
                </a:cxn>
                <a:cxn ang="0">
                  <a:pos x="16" y="0"/>
                </a:cxn>
              </a:cxnLst>
              <a:rect l="0" t="0" r="r" b="b"/>
              <a:pathLst>
                <a:path w="20" h="54">
                  <a:moveTo>
                    <a:pt x="16" y="0"/>
                  </a:moveTo>
                  <a:lnTo>
                    <a:pt x="18" y="0"/>
                  </a:lnTo>
                  <a:lnTo>
                    <a:pt x="19" y="1"/>
                  </a:lnTo>
                  <a:lnTo>
                    <a:pt x="20" y="1"/>
                  </a:lnTo>
                  <a:lnTo>
                    <a:pt x="20" y="3"/>
                  </a:lnTo>
                  <a:lnTo>
                    <a:pt x="18" y="7"/>
                  </a:lnTo>
                  <a:lnTo>
                    <a:pt x="16" y="8"/>
                  </a:lnTo>
                  <a:lnTo>
                    <a:pt x="14" y="12"/>
                  </a:lnTo>
                  <a:lnTo>
                    <a:pt x="14" y="16"/>
                  </a:lnTo>
                  <a:lnTo>
                    <a:pt x="13" y="23"/>
                  </a:lnTo>
                  <a:lnTo>
                    <a:pt x="13" y="30"/>
                  </a:lnTo>
                  <a:lnTo>
                    <a:pt x="13" y="34"/>
                  </a:lnTo>
                  <a:lnTo>
                    <a:pt x="12" y="37"/>
                  </a:lnTo>
                  <a:lnTo>
                    <a:pt x="9" y="42"/>
                  </a:lnTo>
                  <a:lnTo>
                    <a:pt x="6" y="48"/>
                  </a:lnTo>
                  <a:lnTo>
                    <a:pt x="3" y="52"/>
                  </a:lnTo>
                  <a:lnTo>
                    <a:pt x="1" y="54"/>
                  </a:lnTo>
                  <a:lnTo>
                    <a:pt x="0" y="51"/>
                  </a:lnTo>
                  <a:lnTo>
                    <a:pt x="1" y="45"/>
                  </a:lnTo>
                  <a:lnTo>
                    <a:pt x="4" y="39"/>
                  </a:lnTo>
                  <a:lnTo>
                    <a:pt x="5" y="32"/>
                  </a:lnTo>
                  <a:lnTo>
                    <a:pt x="6" y="27"/>
                  </a:lnTo>
                  <a:lnTo>
                    <a:pt x="6" y="14"/>
                  </a:lnTo>
                  <a:lnTo>
                    <a:pt x="7" y="7"/>
                  </a:lnTo>
                  <a:lnTo>
                    <a:pt x="9" y="3"/>
                  </a:lnTo>
                  <a:lnTo>
                    <a:pt x="13" y="1"/>
                  </a:lnTo>
                  <a:lnTo>
                    <a:pt x="14" y="1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50" name="Rectangle 13">
            <a:extLst>
              <a:ext uri="{FF2B5EF4-FFF2-40B4-BE49-F238E27FC236}">
                <a16:creationId xmlns:a16="http://schemas.microsoft.com/office/drawing/2014/main" id="{416BCF2C-E641-4955-9A8C-EA42A855734C}"/>
              </a:ext>
            </a:extLst>
          </p:cNvPr>
          <p:cNvSpPr>
            <a:spLocks/>
          </p:cNvSpPr>
          <p:nvPr/>
        </p:nvSpPr>
        <p:spPr bwMode="auto">
          <a:xfrm>
            <a:off x="3899989" y="1746782"/>
            <a:ext cx="7110909" cy="29251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108000" tIns="36000" rIns="36000" bIns="36000" anchor="ctr"/>
          <a:lstStyle/>
          <a:p>
            <a:r>
              <a:rPr lang="en-US" sz="1600" b="1" dirty="0" err="1">
                <a:solidFill>
                  <a:schemeClr val="bg1"/>
                </a:solidFill>
              </a:rPr>
              <a:t>Ausgangssituation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52" name="Rectangle 13">
            <a:extLst>
              <a:ext uri="{FF2B5EF4-FFF2-40B4-BE49-F238E27FC236}">
                <a16:creationId xmlns:a16="http://schemas.microsoft.com/office/drawing/2014/main" id="{571E793A-CA07-411A-9628-18FAE53C078B}"/>
              </a:ext>
            </a:extLst>
          </p:cNvPr>
          <p:cNvSpPr>
            <a:spLocks/>
          </p:cNvSpPr>
          <p:nvPr/>
        </p:nvSpPr>
        <p:spPr bwMode="auto">
          <a:xfrm>
            <a:off x="3899990" y="3056766"/>
            <a:ext cx="7110909" cy="28822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108000" tIns="36000" rIns="36000" bIns="36000" anchor="ctr"/>
          <a:lstStyle/>
          <a:p>
            <a:r>
              <a:rPr lang="en-US" sz="1600" b="1" dirty="0">
                <a:solidFill>
                  <a:schemeClr val="bg1"/>
                </a:solidFill>
              </a:rPr>
              <a:t>Wie hat </a:t>
            </a:r>
            <a:r>
              <a:rPr lang="en-US" sz="1600" b="1" dirty="0" err="1">
                <a:solidFill>
                  <a:schemeClr val="bg1"/>
                </a:solidFill>
              </a:rPr>
              <a:t>sich</a:t>
            </a:r>
            <a:r>
              <a:rPr lang="en-US" sz="1600" b="1" dirty="0">
                <a:solidFill>
                  <a:schemeClr val="bg1"/>
                </a:solidFill>
              </a:rPr>
              <a:t> </a:t>
            </a:r>
            <a:r>
              <a:rPr lang="en-US" sz="1600" b="1" dirty="0" err="1">
                <a:solidFill>
                  <a:schemeClr val="bg1"/>
                </a:solidFill>
              </a:rPr>
              <a:t>seitdem</a:t>
            </a:r>
            <a:r>
              <a:rPr lang="en-US" sz="1600" b="1" dirty="0">
                <a:solidFill>
                  <a:schemeClr val="bg1"/>
                </a:solidFill>
              </a:rPr>
              <a:t> der </a:t>
            </a:r>
            <a:r>
              <a:rPr lang="en-US" sz="1600" b="1" dirty="0" err="1">
                <a:solidFill>
                  <a:schemeClr val="bg1"/>
                </a:solidFill>
              </a:rPr>
              <a:t>Markt</a:t>
            </a:r>
            <a:r>
              <a:rPr lang="en-US" sz="1600" b="1" dirty="0">
                <a:solidFill>
                  <a:schemeClr val="bg1"/>
                </a:solidFill>
              </a:rPr>
              <a:t> </a:t>
            </a:r>
            <a:r>
              <a:rPr lang="en-US" sz="1600" b="1" dirty="0" err="1">
                <a:solidFill>
                  <a:schemeClr val="bg1"/>
                </a:solidFill>
              </a:rPr>
              <a:t>entwickelt</a:t>
            </a:r>
            <a:r>
              <a:rPr lang="en-US" sz="1600" b="1" dirty="0">
                <a:solidFill>
                  <a:schemeClr val="bg1"/>
                </a:solidFill>
              </a:rPr>
              <a:t>?</a:t>
            </a:r>
          </a:p>
        </p:txBody>
      </p:sp>
      <p:sp>
        <p:nvSpPr>
          <p:cNvPr id="153" name="Textfeld 152">
            <a:extLst>
              <a:ext uri="{FF2B5EF4-FFF2-40B4-BE49-F238E27FC236}">
                <a16:creationId xmlns:a16="http://schemas.microsoft.com/office/drawing/2014/main" id="{F259205D-E616-41D4-9BA0-4ECD8F16E5EC}"/>
              </a:ext>
            </a:extLst>
          </p:cNvPr>
          <p:cNvSpPr txBox="1"/>
          <p:nvPr/>
        </p:nvSpPr>
        <p:spPr>
          <a:xfrm>
            <a:off x="3901100" y="3374223"/>
            <a:ext cx="7109799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6213" indent="-87313">
              <a:spcBef>
                <a:spcPts val="600"/>
              </a:spcBef>
              <a:buClr>
                <a:srgbClr val="32AFAF"/>
              </a:buClr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Briefmarkt war bis zum Zeitpunkt der vollständigen Liberalisierung Anfang 2008 von Sendungsmengenwachstum gekennzeichnet</a:t>
            </a:r>
          </a:p>
          <a:p>
            <a:pPr marL="176213" indent="-87313">
              <a:spcBef>
                <a:spcPts val="600"/>
              </a:spcBef>
              <a:buClr>
                <a:srgbClr val="32AFAF"/>
              </a:buClr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Seit Marktöffnung sind Sendungsmengen mit rund -2% pro Jahr insgesamt rückläufig</a:t>
            </a:r>
          </a:p>
          <a:p>
            <a:pPr marL="176213" indent="-87313">
              <a:spcBef>
                <a:spcPts val="600"/>
              </a:spcBef>
              <a:buClr>
                <a:srgbClr val="32AFAF"/>
              </a:buClr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Sendungsmengenrückgang hat sich in den letzten Jahren deutlich verstärkt, bleibt in Summe aber noch unter dem Niveau anderer europäischer Länder</a:t>
            </a:r>
          </a:p>
          <a:p>
            <a:pPr marL="176213" indent="-87313">
              <a:spcBef>
                <a:spcPts val="600"/>
              </a:spcBef>
              <a:buClr>
                <a:srgbClr val="32AFAF"/>
              </a:buClr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Grad der Digitalisierung als wesentlicher Treiber für Briefmengenentwicklung</a:t>
            </a:r>
          </a:p>
          <a:p>
            <a:pPr marL="176213" indent="-87313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bg1">
                  <a:lumMod val="50000"/>
                </a:schemeClr>
              </a:solidFill>
              <a:cs typeface="Times New Roman" panose="02020603050405020304" pitchFamily="18" charset="0"/>
            </a:endParaRPr>
          </a:p>
        </p:txBody>
      </p:sp>
      <p:sp>
        <p:nvSpPr>
          <p:cNvPr id="52" name="Rectangle 13">
            <a:extLst>
              <a:ext uri="{FF2B5EF4-FFF2-40B4-BE49-F238E27FC236}">
                <a16:creationId xmlns:a16="http://schemas.microsoft.com/office/drawing/2014/main" id="{332AF151-41FC-4B34-B0CD-8E7542EA0A3E}"/>
              </a:ext>
            </a:extLst>
          </p:cNvPr>
          <p:cNvSpPr>
            <a:spLocks/>
          </p:cNvSpPr>
          <p:nvPr/>
        </p:nvSpPr>
        <p:spPr bwMode="auto">
          <a:xfrm>
            <a:off x="3908316" y="4989753"/>
            <a:ext cx="7102583" cy="28822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lIns="108000" tIns="0" rIns="0" bIns="0"/>
          <a:lstStyle/>
          <a:p>
            <a:r>
              <a:rPr lang="en-US" sz="1600" b="1" dirty="0">
                <a:solidFill>
                  <a:schemeClr val="bg1"/>
                </a:solidFill>
              </a:rPr>
              <a:t>Wie </a:t>
            </a:r>
            <a:r>
              <a:rPr lang="en-US" sz="1600" b="1" dirty="0" err="1">
                <a:solidFill>
                  <a:schemeClr val="bg1"/>
                </a:solidFill>
              </a:rPr>
              <a:t>haben</a:t>
            </a:r>
            <a:r>
              <a:rPr lang="en-US" sz="1600" b="1" dirty="0">
                <a:solidFill>
                  <a:schemeClr val="bg1"/>
                </a:solidFill>
              </a:rPr>
              <a:t> </a:t>
            </a:r>
            <a:r>
              <a:rPr lang="en-US" sz="1600" b="1" dirty="0" err="1">
                <a:solidFill>
                  <a:schemeClr val="bg1"/>
                </a:solidFill>
              </a:rPr>
              <a:t>andere</a:t>
            </a:r>
            <a:r>
              <a:rPr lang="en-US" sz="1600" b="1" dirty="0">
                <a:solidFill>
                  <a:schemeClr val="bg1"/>
                </a:solidFill>
              </a:rPr>
              <a:t> </a:t>
            </a:r>
            <a:r>
              <a:rPr lang="en-US" sz="1600" b="1" dirty="0" err="1">
                <a:solidFill>
                  <a:schemeClr val="bg1"/>
                </a:solidFill>
              </a:rPr>
              <a:t>europäische</a:t>
            </a:r>
            <a:r>
              <a:rPr lang="en-US" sz="1600" b="1" dirty="0">
                <a:solidFill>
                  <a:schemeClr val="bg1"/>
                </a:solidFill>
              </a:rPr>
              <a:t> Länder auf </a:t>
            </a:r>
            <a:r>
              <a:rPr lang="en-US" sz="1600" b="1" dirty="0" err="1">
                <a:solidFill>
                  <a:schemeClr val="bg1"/>
                </a:solidFill>
              </a:rPr>
              <a:t>Marktentwicklung</a:t>
            </a:r>
            <a:r>
              <a:rPr lang="en-US" sz="1600" b="1" dirty="0">
                <a:solidFill>
                  <a:schemeClr val="bg1"/>
                </a:solidFill>
              </a:rPr>
              <a:t> </a:t>
            </a:r>
            <a:r>
              <a:rPr lang="en-US" sz="1600" b="1" dirty="0" err="1">
                <a:solidFill>
                  <a:schemeClr val="bg1"/>
                </a:solidFill>
              </a:rPr>
              <a:t>reagiert</a:t>
            </a:r>
            <a:r>
              <a:rPr lang="en-US" sz="1600" b="1" dirty="0">
                <a:solidFill>
                  <a:schemeClr val="bg1"/>
                </a:solidFill>
              </a:rPr>
              <a:t>?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A2CC0D8B-BE43-4C0D-BE18-AA0485D603B6}"/>
              </a:ext>
            </a:extLst>
          </p:cNvPr>
          <p:cNvSpPr txBox="1"/>
          <p:nvPr/>
        </p:nvSpPr>
        <p:spPr>
          <a:xfrm>
            <a:off x="3901100" y="5302083"/>
            <a:ext cx="7117015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6213" indent="-87313">
              <a:spcBef>
                <a:spcPts val="600"/>
              </a:spcBef>
              <a:buClr>
                <a:srgbClr val="328287"/>
              </a:buClr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Frühzeitige Anpassungen des regulatorischen Rahmens im Hinblick auf Qualität (längere Laufzeiten) und Preisgestaltung (mehr Flexibilität) </a:t>
            </a:r>
          </a:p>
          <a:p>
            <a:pPr marL="176213" indent="-87313">
              <a:spcBef>
                <a:spcPts val="600"/>
              </a:spcBef>
              <a:buClr>
                <a:srgbClr val="328287"/>
              </a:buClr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Zusätzlich staatliche Ausgleichszahlungen zur Absicherung des Universaldienstes </a:t>
            </a:r>
          </a:p>
          <a:p>
            <a:pPr marL="176213" indent="-87313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bg1">
                  <a:lumMod val="50000"/>
                </a:schemeClr>
              </a:solidFill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18995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746319-778D-4FBC-9CA5-614FACA00834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4175206" y="6325766"/>
            <a:ext cx="4900087" cy="293322"/>
          </a:xfrm>
        </p:spPr>
        <p:txBody>
          <a:bodyPr/>
          <a:lstStyle/>
          <a:p>
            <a:r>
              <a:rPr lang="en-US" dirty="0" err="1"/>
              <a:t>Europäischer</a:t>
            </a:r>
            <a:r>
              <a:rPr lang="en-US" dirty="0"/>
              <a:t> </a:t>
            </a:r>
            <a:r>
              <a:rPr lang="en-US" dirty="0" err="1"/>
              <a:t>Vergleich</a:t>
            </a:r>
            <a:r>
              <a:rPr lang="en-US" dirty="0"/>
              <a:t> der </a:t>
            </a:r>
            <a:r>
              <a:rPr lang="en-US" dirty="0" err="1"/>
              <a:t>Regulierungsintensität</a:t>
            </a:r>
            <a:r>
              <a:rPr lang="en-US" dirty="0"/>
              <a:t> </a:t>
            </a:r>
            <a:r>
              <a:rPr lang="en-US" dirty="0" err="1"/>
              <a:t>im</a:t>
            </a:r>
            <a:r>
              <a:rPr lang="en-US" dirty="0"/>
              <a:t> </a:t>
            </a:r>
            <a:r>
              <a:rPr lang="en-US" dirty="0" err="1"/>
              <a:t>Postsektor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A51AE9-2B16-4F40-B911-5FF43E4529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F70EEBF-E97C-49FF-B05B-3B4D348638DC}" type="slidenum">
              <a:rPr lang="en-US" smtClean="0"/>
              <a:pPr/>
              <a:t>3</a:t>
            </a:fld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3AC0CD7-437E-4A1B-9053-C5BDF15A5E71}"/>
              </a:ext>
            </a:extLst>
          </p:cNvPr>
          <p:cNvGrpSpPr/>
          <p:nvPr/>
        </p:nvGrpSpPr>
        <p:grpSpPr>
          <a:xfrm>
            <a:off x="796928" y="608837"/>
            <a:ext cx="7948720" cy="830997"/>
            <a:chOff x="796928" y="755325"/>
            <a:chExt cx="7948720" cy="830997"/>
          </a:xfrm>
        </p:grpSpPr>
        <p:sp>
          <p:nvSpPr>
            <p:cNvPr id="143" name="TextBox 142">
              <a:extLst>
                <a:ext uri="{FF2B5EF4-FFF2-40B4-BE49-F238E27FC236}">
                  <a16:creationId xmlns:a16="http://schemas.microsoft.com/office/drawing/2014/main" id="{5E19689D-231A-4F0F-BE1B-F8B44BFEA398}"/>
                </a:ext>
              </a:extLst>
            </p:cNvPr>
            <p:cNvSpPr txBox="1"/>
            <p:nvPr/>
          </p:nvSpPr>
          <p:spPr>
            <a:xfrm>
              <a:off x="1069295" y="755325"/>
              <a:ext cx="7676353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2400" dirty="0">
                  <a:solidFill>
                    <a:schemeClr val="accent1"/>
                  </a:solidFill>
                  <a:latin typeface="+mj-lt"/>
                </a:rPr>
                <a:t>Regulierungsintensität Deutschland im europäischen Vergleich (2/2)</a:t>
              </a:r>
              <a:endParaRPr lang="en-US" sz="2400" spc="-200" dirty="0">
                <a:solidFill>
                  <a:schemeClr val="accent1"/>
                </a:solidFill>
                <a:latin typeface="+mj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642F8A5E-9D4B-4923-A5F9-E503B303BC8E}"/>
                </a:ext>
              </a:extLst>
            </p:cNvPr>
            <p:cNvCxnSpPr>
              <a:cxnSpLocks/>
            </p:cNvCxnSpPr>
            <p:nvPr/>
          </p:nvCxnSpPr>
          <p:spPr>
            <a:xfrm>
              <a:off x="796928" y="858120"/>
              <a:ext cx="0" cy="531091"/>
            </a:xfrm>
            <a:prstGeom prst="line">
              <a:avLst/>
            </a:prstGeom>
            <a:ln w="889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3" name="Straight Connector 14">
            <a:extLst>
              <a:ext uri="{FF2B5EF4-FFF2-40B4-BE49-F238E27FC236}">
                <a16:creationId xmlns:a16="http://schemas.microsoft.com/office/drawing/2014/main" id="{B6A1F946-54BE-4373-B625-CDEB8C7EE4FC}"/>
              </a:ext>
            </a:extLst>
          </p:cNvPr>
          <p:cNvCxnSpPr/>
          <p:nvPr/>
        </p:nvCxnSpPr>
        <p:spPr>
          <a:xfrm>
            <a:off x="9078659" y="6389084"/>
            <a:ext cx="0" cy="166687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Textfeld 94">
            <a:extLst>
              <a:ext uri="{FF2B5EF4-FFF2-40B4-BE49-F238E27FC236}">
                <a16:creationId xmlns:a16="http://schemas.microsoft.com/office/drawing/2014/main" id="{41F0792D-CC4F-4C57-9AA2-C30EC70218FA}"/>
              </a:ext>
            </a:extLst>
          </p:cNvPr>
          <p:cNvSpPr txBox="1"/>
          <p:nvPr/>
        </p:nvSpPr>
        <p:spPr>
          <a:xfrm>
            <a:off x="765137" y="6598338"/>
            <a:ext cx="6264998" cy="14561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lvl1pPr>
              <a:buFont typeface="Arial"/>
              <a:buChar char="•"/>
            </a:lvl1pPr>
            <a:lvl2pPr>
              <a:buFont typeface="Arial"/>
              <a:buChar char="•"/>
            </a:lvl2pPr>
            <a:lvl3pPr>
              <a:buFont typeface="Arial"/>
              <a:buChar char="•"/>
            </a:lvl3pPr>
            <a:lvl4pPr>
              <a:buFont typeface="Arial"/>
              <a:buChar char="•"/>
            </a:lvl4pPr>
            <a:lvl5pPr>
              <a:buFont typeface="Arial"/>
              <a:buChar char="•"/>
            </a:lvl5pPr>
            <a:lvl6pPr>
              <a:buFont typeface="Arial"/>
              <a:buChar char="•"/>
            </a:lvl6pPr>
            <a:lvl7pPr>
              <a:buFont typeface="Arial"/>
              <a:buChar char="•"/>
            </a:lvl7pPr>
            <a:lvl8pPr>
              <a:buFont typeface="Arial"/>
              <a:buChar char="•"/>
            </a:lvl8pPr>
            <a:lvl9pPr>
              <a:buFont typeface="Arial"/>
              <a:buChar char="•"/>
            </a:lvl9pPr>
          </a:lstStyle>
          <a:p>
            <a:pPr algn="l">
              <a:lnSpc>
                <a:spcPct val="110000"/>
              </a:lnSpc>
              <a:spcAft>
                <a:spcPts val="500"/>
              </a:spcAft>
              <a:buNone/>
            </a:pPr>
            <a:r>
              <a:rPr lang="de-DE" sz="900" dirty="0">
                <a:solidFill>
                  <a:srgbClr val="878787"/>
                </a:solidFill>
              </a:rPr>
              <a:t>Quellen: IPC </a:t>
            </a:r>
            <a:r>
              <a:rPr lang="de-DE" sz="900" dirty="0" err="1">
                <a:solidFill>
                  <a:srgbClr val="878787"/>
                </a:solidFill>
              </a:rPr>
              <a:t>Regulatory</a:t>
            </a:r>
            <a:r>
              <a:rPr lang="de-DE" sz="900" dirty="0">
                <a:solidFill>
                  <a:srgbClr val="878787"/>
                </a:solidFill>
              </a:rPr>
              <a:t> Database 2022, Geschäftsberichte, EU-Kommission, Regulierungsbehörden</a:t>
            </a:r>
          </a:p>
        </p:txBody>
      </p:sp>
      <p:graphicFrame>
        <p:nvGraphicFramePr>
          <p:cNvPr id="5" name="Tabelle 5">
            <a:extLst>
              <a:ext uri="{FF2B5EF4-FFF2-40B4-BE49-F238E27FC236}">
                <a16:creationId xmlns:a16="http://schemas.microsoft.com/office/drawing/2014/main" id="{F7235548-A1DE-42BD-90BC-3953FFF8FE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9253881"/>
              </p:ext>
            </p:extLst>
          </p:nvPr>
        </p:nvGraphicFramePr>
        <p:xfrm>
          <a:off x="500825" y="1889703"/>
          <a:ext cx="11328002" cy="432308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01355">
                  <a:extLst>
                    <a:ext uri="{9D8B030D-6E8A-4147-A177-3AD203B41FA5}">
                      <a16:colId xmlns:a16="http://schemas.microsoft.com/office/drawing/2014/main" val="2807840436"/>
                    </a:ext>
                  </a:extLst>
                </a:gridCol>
                <a:gridCol w="731520">
                  <a:extLst>
                    <a:ext uri="{9D8B030D-6E8A-4147-A177-3AD203B41FA5}">
                      <a16:colId xmlns:a16="http://schemas.microsoft.com/office/drawing/2014/main" val="332285786"/>
                    </a:ext>
                  </a:extLst>
                </a:gridCol>
                <a:gridCol w="739140">
                  <a:extLst>
                    <a:ext uri="{9D8B030D-6E8A-4147-A177-3AD203B41FA5}">
                      <a16:colId xmlns:a16="http://schemas.microsoft.com/office/drawing/2014/main" val="3115218393"/>
                    </a:ext>
                  </a:extLst>
                </a:gridCol>
                <a:gridCol w="746760">
                  <a:extLst>
                    <a:ext uri="{9D8B030D-6E8A-4147-A177-3AD203B41FA5}">
                      <a16:colId xmlns:a16="http://schemas.microsoft.com/office/drawing/2014/main" val="2855111767"/>
                    </a:ext>
                  </a:extLst>
                </a:gridCol>
                <a:gridCol w="723900">
                  <a:extLst>
                    <a:ext uri="{9D8B030D-6E8A-4147-A177-3AD203B41FA5}">
                      <a16:colId xmlns:a16="http://schemas.microsoft.com/office/drawing/2014/main" val="3235038427"/>
                    </a:ext>
                  </a:extLst>
                </a:gridCol>
                <a:gridCol w="754380">
                  <a:extLst>
                    <a:ext uri="{9D8B030D-6E8A-4147-A177-3AD203B41FA5}">
                      <a16:colId xmlns:a16="http://schemas.microsoft.com/office/drawing/2014/main" val="3727575120"/>
                    </a:ext>
                  </a:extLst>
                </a:gridCol>
                <a:gridCol w="739140">
                  <a:extLst>
                    <a:ext uri="{9D8B030D-6E8A-4147-A177-3AD203B41FA5}">
                      <a16:colId xmlns:a16="http://schemas.microsoft.com/office/drawing/2014/main" val="2510091939"/>
                    </a:ext>
                  </a:extLst>
                </a:gridCol>
                <a:gridCol w="731520">
                  <a:extLst>
                    <a:ext uri="{9D8B030D-6E8A-4147-A177-3AD203B41FA5}">
                      <a16:colId xmlns:a16="http://schemas.microsoft.com/office/drawing/2014/main" val="3543247870"/>
                    </a:ext>
                  </a:extLst>
                </a:gridCol>
                <a:gridCol w="743073">
                  <a:extLst>
                    <a:ext uri="{9D8B030D-6E8A-4147-A177-3AD203B41FA5}">
                      <a16:colId xmlns:a16="http://schemas.microsoft.com/office/drawing/2014/main" val="848679307"/>
                    </a:ext>
                  </a:extLst>
                </a:gridCol>
                <a:gridCol w="747252">
                  <a:extLst>
                    <a:ext uri="{9D8B030D-6E8A-4147-A177-3AD203B41FA5}">
                      <a16:colId xmlns:a16="http://schemas.microsoft.com/office/drawing/2014/main" val="174856428"/>
                    </a:ext>
                  </a:extLst>
                </a:gridCol>
                <a:gridCol w="737419">
                  <a:extLst>
                    <a:ext uri="{9D8B030D-6E8A-4147-A177-3AD203B41FA5}">
                      <a16:colId xmlns:a16="http://schemas.microsoft.com/office/drawing/2014/main" val="1218965084"/>
                    </a:ext>
                  </a:extLst>
                </a:gridCol>
                <a:gridCol w="747251">
                  <a:extLst>
                    <a:ext uri="{9D8B030D-6E8A-4147-A177-3AD203B41FA5}">
                      <a16:colId xmlns:a16="http://schemas.microsoft.com/office/drawing/2014/main" val="2681841383"/>
                    </a:ext>
                  </a:extLst>
                </a:gridCol>
                <a:gridCol w="727588">
                  <a:extLst>
                    <a:ext uri="{9D8B030D-6E8A-4147-A177-3AD203B41FA5}">
                      <a16:colId xmlns:a16="http://schemas.microsoft.com/office/drawing/2014/main" val="3102181720"/>
                    </a:ext>
                  </a:extLst>
                </a:gridCol>
                <a:gridCol w="757704">
                  <a:extLst>
                    <a:ext uri="{9D8B030D-6E8A-4147-A177-3AD203B41FA5}">
                      <a16:colId xmlns:a16="http://schemas.microsoft.com/office/drawing/2014/main" val="2070547149"/>
                    </a:ext>
                  </a:extLst>
                </a:gridCol>
              </a:tblGrid>
              <a:tr h="265546">
                <a:tc>
                  <a:txBody>
                    <a:bodyPr/>
                    <a:lstStyle/>
                    <a:p>
                      <a:endParaRPr lang="de-DE" sz="600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DE</a:t>
                      </a:r>
                    </a:p>
                  </a:txBody>
                  <a:tcPr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DK</a:t>
                      </a:r>
                    </a:p>
                  </a:txBody>
                  <a:tcPr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NO</a:t>
                      </a:r>
                    </a:p>
                  </a:txBody>
                  <a:tcPr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FI</a:t>
                      </a:r>
                    </a:p>
                  </a:txBody>
                  <a:tcPr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SE</a:t>
                      </a:r>
                    </a:p>
                  </a:txBody>
                  <a:tcPr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ES</a:t>
                      </a:r>
                    </a:p>
                  </a:txBody>
                  <a:tcPr anchor="ctr">
                    <a:solidFill>
                      <a:srgbClr val="2CB2A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IT</a:t>
                      </a:r>
                    </a:p>
                  </a:txBody>
                  <a:tcPr anchor="ctr">
                    <a:solidFill>
                      <a:srgbClr val="2CB2A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FR</a:t>
                      </a:r>
                    </a:p>
                  </a:txBody>
                  <a:tcPr anchor="ctr">
                    <a:solidFill>
                      <a:srgbClr val="37CDC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BE</a:t>
                      </a:r>
                    </a:p>
                  </a:txBody>
                  <a:tcPr anchor="ctr">
                    <a:solidFill>
                      <a:srgbClr val="37CDC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NL</a:t>
                      </a:r>
                    </a:p>
                  </a:txBody>
                  <a:tcPr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UK</a:t>
                      </a: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AT</a:t>
                      </a:r>
                    </a:p>
                  </a:txBody>
                  <a:tcPr anchor="ctr">
                    <a:solidFill>
                      <a:schemeClr val="accent5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CH</a:t>
                      </a:r>
                    </a:p>
                  </a:txBody>
                  <a:tcPr anchor="ctr">
                    <a:solidFill>
                      <a:schemeClr val="accent5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4262853"/>
                  </a:ext>
                </a:extLst>
              </a:tr>
              <a:tr h="265546">
                <a:tc>
                  <a:txBody>
                    <a:bodyPr/>
                    <a:lstStyle/>
                    <a:p>
                      <a:pPr algn="r"/>
                      <a:r>
                        <a:rPr lang="de-DE" sz="800" dirty="0"/>
                        <a:t>Preis Standardbrief 2012 (€)</a:t>
                      </a:r>
                    </a:p>
                  </a:txBody>
                  <a:tcPr marL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0,5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1,0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1,2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0,7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0,6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0,3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0,6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0,6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0,7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0,5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0,6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0,6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0,8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48087147"/>
                  </a:ext>
                </a:extLst>
              </a:tr>
              <a:tr h="265546">
                <a:tc>
                  <a:txBody>
                    <a:bodyPr/>
                    <a:lstStyle/>
                    <a:p>
                      <a:pPr algn="r"/>
                      <a:r>
                        <a:rPr lang="de-DE" sz="800" dirty="0"/>
                        <a:t>Preis Standard 2022 (€)</a:t>
                      </a:r>
                    </a:p>
                  </a:txBody>
                  <a:tcPr marL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0,8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3,9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1,8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3,4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1,2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0,7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2,8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1,4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1,8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0,9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1,1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0,8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1,0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63855400"/>
                  </a:ext>
                </a:extLst>
              </a:tr>
              <a:tr h="265546">
                <a:tc>
                  <a:txBody>
                    <a:bodyPr/>
                    <a:lstStyle/>
                    <a:p>
                      <a:pPr algn="r"/>
                      <a:r>
                        <a:rPr lang="de-DE" sz="800" dirty="0"/>
                        <a:t>Entwicklung Briefpreis seit 2012</a:t>
                      </a:r>
                    </a:p>
                  </a:txBody>
                  <a:tcPr marL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+54,5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+264,5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+53,3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+360,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+93,9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+108,3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+366,7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+138,3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+152,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+92,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+60,9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+37,1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+25,9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89954418"/>
                  </a:ext>
                </a:extLst>
              </a:tr>
              <a:tr h="265546">
                <a:tc>
                  <a:txBody>
                    <a:bodyPr/>
                    <a:lstStyle/>
                    <a:p>
                      <a:pPr algn="r"/>
                      <a:r>
                        <a:rPr lang="de-DE" sz="800" dirty="0"/>
                        <a:t>Briefmenge 2012 (Mio. </a:t>
                      </a:r>
                      <a:r>
                        <a:rPr lang="de-DE" sz="800" dirty="0" err="1"/>
                        <a:t>Stk</a:t>
                      </a:r>
                      <a:r>
                        <a:rPr lang="de-DE" sz="800" dirty="0"/>
                        <a:t>.)</a:t>
                      </a:r>
                    </a:p>
                  </a:txBody>
                  <a:tcPr marL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17.64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68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2.21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2.38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2.12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3.64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4.32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14.5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184</a:t>
                      </a:r>
                      <a:r>
                        <a:rPr lang="de-DE" sz="800" baseline="30000" dirty="0"/>
                        <a:t>1</a:t>
                      </a:r>
                      <a:endParaRPr lang="de-DE" sz="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3.34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16.42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5.82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5.468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72819411"/>
                  </a:ext>
                </a:extLst>
              </a:tr>
              <a:tr h="265546">
                <a:tc>
                  <a:txBody>
                    <a:bodyPr/>
                    <a:lstStyle/>
                    <a:p>
                      <a:pPr algn="r"/>
                      <a:r>
                        <a:rPr lang="de-DE" sz="800" dirty="0"/>
                        <a:t>Briefmenge 2021 (Mio. </a:t>
                      </a:r>
                      <a:r>
                        <a:rPr lang="de-DE" sz="800" dirty="0" err="1"/>
                        <a:t>Stk</a:t>
                      </a:r>
                      <a:r>
                        <a:rPr lang="de-DE" sz="800" dirty="0"/>
                        <a:t>.)</a:t>
                      </a:r>
                    </a:p>
                  </a:txBody>
                  <a:tcPr marL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14.216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177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389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411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1.069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1.849 (2020)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2.558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7.290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107</a:t>
                      </a:r>
                      <a:r>
                        <a:rPr lang="de-DE" sz="800" baseline="30000" dirty="0"/>
                        <a:t>1</a:t>
                      </a:r>
                      <a:endParaRPr lang="de-DE" sz="800" dirty="0"/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2.048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7.961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4.459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4.112</a:t>
                      </a:r>
                    </a:p>
                  </a:txBody>
                  <a:tcPr marL="36000" marR="36000" anchor="ctr"/>
                </a:tc>
                <a:extLst>
                  <a:ext uri="{0D108BD9-81ED-4DB2-BD59-A6C34878D82A}">
                    <a16:rowId xmlns:a16="http://schemas.microsoft.com/office/drawing/2014/main" val="1874074551"/>
                  </a:ext>
                </a:extLst>
              </a:tr>
              <a:tr h="265546">
                <a:tc>
                  <a:txBody>
                    <a:bodyPr/>
                    <a:lstStyle/>
                    <a:p>
                      <a:pPr algn="r"/>
                      <a:r>
                        <a:rPr lang="de-DE" sz="800" dirty="0"/>
                        <a:t>Briefmengenentwicklung seit 2012</a:t>
                      </a:r>
                    </a:p>
                  </a:txBody>
                  <a:tcPr marL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-19,4%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-74,2%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-82,5%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-82,8%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-49,6%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-49,2%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-40,9%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-49,7%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-41,8%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-40,4%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-51,5%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-23,4%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-24,8%</a:t>
                      </a:r>
                    </a:p>
                  </a:txBody>
                  <a:tcPr marL="36000" marR="36000" anchor="ctr"/>
                </a:tc>
                <a:extLst>
                  <a:ext uri="{0D108BD9-81ED-4DB2-BD59-A6C34878D82A}">
                    <a16:rowId xmlns:a16="http://schemas.microsoft.com/office/drawing/2014/main" val="4256545998"/>
                  </a:ext>
                </a:extLst>
              </a:tr>
              <a:tr h="265546">
                <a:tc>
                  <a:txBody>
                    <a:bodyPr/>
                    <a:lstStyle/>
                    <a:p>
                      <a:pPr algn="r"/>
                      <a:r>
                        <a:rPr lang="de-DE" sz="800" dirty="0"/>
                        <a:t>Zustellfrequenz</a:t>
                      </a:r>
                    </a:p>
                  </a:txBody>
                  <a:tcPr marL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6 Tage pro Woche</a:t>
                      </a: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5 Tage pro Woche für Schnellbrief; Rest 1 Tag pro Woche</a:t>
                      </a: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A/B-Zustellung an 5 Werk-tagen</a:t>
                      </a: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5 Tage bzw.  3 Tage in Ballungs-räumen</a:t>
                      </a: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dirty="0"/>
                        <a:t>A/B-Zustellung an 5 Werk-tagen</a:t>
                      </a:r>
                    </a:p>
                    <a:p>
                      <a:pPr algn="ctr"/>
                      <a:endParaRPr lang="de-DE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5 Tage pro Woche</a:t>
                      </a: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dirty="0"/>
                        <a:t>5 bzw. 3 Tage in </a:t>
                      </a:r>
                      <a:r>
                        <a:rPr lang="de-DE" sz="800" dirty="0" err="1"/>
                        <a:t>ausge</a:t>
                      </a:r>
                      <a:r>
                        <a:rPr lang="de-DE" sz="800" dirty="0"/>
                        <a:t>-wählten Ge-bieten</a:t>
                      </a: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6 Tage pro Woche</a:t>
                      </a: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5 Tage pro Woche</a:t>
                      </a: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5 Tage pro Woche                     (Die. – Sa.)</a:t>
                      </a: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6 Tage pro Woche</a:t>
                      </a: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5 Werktage pro Woche (Mo. – Fr.)</a:t>
                      </a: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5 Tage pro Woche</a:t>
                      </a:r>
                    </a:p>
                  </a:txBody>
                  <a:tcPr marL="36000" marR="36000"/>
                </a:tc>
                <a:extLst>
                  <a:ext uri="{0D108BD9-81ED-4DB2-BD59-A6C34878D82A}">
                    <a16:rowId xmlns:a16="http://schemas.microsoft.com/office/drawing/2014/main" val="2009189400"/>
                  </a:ext>
                </a:extLst>
              </a:tr>
              <a:tr h="265546">
                <a:tc>
                  <a:txBody>
                    <a:bodyPr/>
                    <a:lstStyle/>
                    <a:p>
                      <a:pPr algn="r"/>
                      <a:r>
                        <a:rPr lang="de-DE" sz="800" dirty="0"/>
                        <a:t>Laufzeit</a:t>
                      </a:r>
                    </a:p>
                  </a:txBody>
                  <a:tcPr marL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E+1 80%        E+2 95%</a:t>
                      </a: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E+1 93% (Schnellbrief)</a:t>
                      </a:r>
                    </a:p>
                    <a:p>
                      <a:pPr algn="ctr"/>
                      <a:r>
                        <a:rPr lang="de-DE" sz="800" dirty="0"/>
                        <a:t>E+5 93% (Rest)</a:t>
                      </a: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E+3 85%</a:t>
                      </a:r>
                    </a:p>
                    <a:p>
                      <a:pPr algn="ctr"/>
                      <a:r>
                        <a:rPr lang="de-DE" sz="800" dirty="0"/>
                        <a:t>E+5 97%</a:t>
                      </a: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E+2 80%</a:t>
                      </a:r>
                    </a:p>
                    <a:p>
                      <a:pPr algn="ctr"/>
                      <a:r>
                        <a:rPr lang="de-DE" sz="800" dirty="0"/>
                        <a:t>(Schnellbrief)</a:t>
                      </a:r>
                    </a:p>
                    <a:p>
                      <a:pPr algn="ctr"/>
                      <a:r>
                        <a:rPr lang="de-DE" sz="800" dirty="0"/>
                        <a:t>E+4 80%</a:t>
                      </a: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E+2 95%</a:t>
                      </a: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E+3 93%</a:t>
                      </a: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E+1 80% (Posta1)</a:t>
                      </a:r>
                    </a:p>
                    <a:p>
                      <a:pPr algn="ctr"/>
                      <a:r>
                        <a:rPr lang="de-DE" sz="800" dirty="0"/>
                        <a:t>E+4 90% und E+6 98% (Posta4)</a:t>
                      </a: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E+1 85%</a:t>
                      </a: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E+1 93%</a:t>
                      </a: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E+1 95%</a:t>
                      </a: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E+1 91,5%</a:t>
                      </a:r>
                    </a:p>
                    <a:p>
                      <a:pPr algn="ctr"/>
                      <a:r>
                        <a:rPr lang="de-DE" sz="800" dirty="0"/>
                        <a:t>(1st </a:t>
                      </a:r>
                      <a:r>
                        <a:rPr lang="de-DE" sz="800" dirty="0" err="1"/>
                        <a:t>class</a:t>
                      </a:r>
                      <a:r>
                        <a:rPr lang="de-DE" sz="800" dirty="0"/>
                        <a:t> mail)</a:t>
                      </a:r>
                    </a:p>
                    <a:p>
                      <a:pPr algn="ctr"/>
                      <a:r>
                        <a:rPr lang="de-DE" sz="800" dirty="0"/>
                        <a:t>E+3 98%      (2nd </a:t>
                      </a:r>
                      <a:r>
                        <a:rPr lang="de-DE" sz="800" dirty="0" err="1"/>
                        <a:t>class</a:t>
                      </a:r>
                      <a:r>
                        <a:rPr lang="de-DE" sz="800" dirty="0"/>
                        <a:t> mail)</a:t>
                      </a:r>
                    </a:p>
                  </a:txBody>
                  <a:tcPr marL="0" marR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E+1 95%</a:t>
                      </a:r>
                    </a:p>
                    <a:p>
                      <a:pPr algn="ctr"/>
                      <a:r>
                        <a:rPr lang="de-DE" sz="800" dirty="0"/>
                        <a:t>E+2 98%</a:t>
                      </a: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E+1 97%</a:t>
                      </a:r>
                    </a:p>
                  </a:txBody>
                  <a:tcPr marL="36000" marR="36000"/>
                </a:tc>
                <a:extLst>
                  <a:ext uri="{0D108BD9-81ED-4DB2-BD59-A6C34878D82A}">
                    <a16:rowId xmlns:a16="http://schemas.microsoft.com/office/drawing/2014/main" val="749367416"/>
                  </a:ext>
                </a:extLst>
              </a:tr>
              <a:tr h="265546">
                <a:tc>
                  <a:txBody>
                    <a:bodyPr/>
                    <a:lstStyle/>
                    <a:p>
                      <a:pPr algn="r"/>
                      <a:r>
                        <a:rPr lang="de-DE" sz="800" dirty="0"/>
                        <a:t>Netzzugang</a:t>
                      </a:r>
                    </a:p>
                  </a:txBody>
                  <a:tcPr marL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Ja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Nein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Ja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Nein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Nein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Ja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Ja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Ja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Ja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Nein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Ja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Nein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Nein</a:t>
                      </a:r>
                    </a:p>
                  </a:txBody>
                  <a:tcPr marL="36000" marR="36000" anchor="ctr"/>
                </a:tc>
                <a:extLst>
                  <a:ext uri="{0D108BD9-81ED-4DB2-BD59-A6C34878D82A}">
                    <a16:rowId xmlns:a16="http://schemas.microsoft.com/office/drawing/2014/main" val="2171488788"/>
                  </a:ext>
                </a:extLst>
              </a:tr>
              <a:tr h="265546">
                <a:tc>
                  <a:txBody>
                    <a:bodyPr/>
                    <a:lstStyle/>
                    <a:p>
                      <a:pPr algn="r"/>
                      <a:r>
                        <a:rPr lang="de-DE" sz="800" dirty="0"/>
                        <a:t>Marktanteil Wettbewerb (2021)</a:t>
                      </a:r>
                    </a:p>
                  </a:txBody>
                  <a:tcPr marL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&gt;15%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&lt;5%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&lt;5%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&lt;5%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&lt;15%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&lt;5%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&lt;10%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&lt;5%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&lt;5%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&lt;5%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&lt;5%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&lt;5%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0%</a:t>
                      </a:r>
                    </a:p>
                  </a:txBody>
                  <a:tcPr marL="36000" marR="36000" anchor="ctr"/>
                </a:tc>
                <a:extLst>
                  <a:ext uri="{0D108BD9-81ED-4DB2-BD59-A6C34878D82A}">
                    <a16:rowId xmlns:a16="http://schemas.microsoft.com/office/drawing/2014/main" val="3303074485"/>
                  </a:ext>
                </a:extLst>
              </a:tr>
              <a:tr h="265546">
                <a:tc>
                  <a:txBody>
                    <a:bodyPr/>
                    <a:lstStyle/>
                    <a:p>
                      <a:pPr algn="r"/>
                      <a:r>
                        <a:rPr lang="de-DE" sz="800" dirty="0"/>
                        <a:t>Umsatzrendite Post (2021)</a:t>
                      </a:r>
                    </a:p>
                  </a:txBody>
                  <a:tcPr marL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10,0%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3,7</a:t>
                      </a:r>
                      <a:r>
                        <a:rPr lang="de-DE" sz="800" baseline="0" dirty="0"/>
                        <a:t>%</a:t>
                      </a:r>
                      <a:r>
                        <a:rPr lang="de-DE" sz="800" baseline="30000" dirty="0"/>
                        <a:t>2</a:t>
                      </a:r>
                      <a:endParaRPr lang="de-DE" sz="800" dirty="0"/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5,1%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5,3%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7,9%</a:t>
                      </a:r>
                      <a:r>
                        <a:rPr lang="de-DE" sz="800" baseline="30000" dirty="0"/>
                        <a:t>3 </a:t>
                      </a:r>
                      <a:endParaRPr lang="de-DE" sz="800" dirty="0"/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dirty="0"/>
                        <a:t>-19%</a:t>
                      </a:r>
                      <a:r>
                        <a:rPr lang="de-DE" sz="800" baseline="30000" dirty="0"/>
                        <a:t>2 </a:t>
                      </a:r>
                      <a:r>
                        <a:rPr lang="de-DE" sz="800" baseline="0" dirty="0"/>
                        <a:t>(2020)</a:t>
                      </a:r>
                      <a:endParaRPr lang="de-DE" sz="800" dirty="0"/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-3,6%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11,7%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9,6%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10,5%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4,9%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12,7%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dirty="0"/>
                        <a:t>7,5</a:t>
                      </a:r>
                      <a:r>
                        <a:rPr lang="de-DE" sz="800" baseline="0" dirty="0"/>
                        <a:t>%</a:t>
                      </a:r>
                      <a:r>
                        <a:rPr lang="de-DE" sz="800" baseline="30000" dirty="0"/>
                        <a:t>2</a:t>
                      </a:r>
                      <a:endParaRPr lang="de-DE" sz="800" dirty="0"/>
                    </a:p>
                  </a:txBody>
                  <a:tcPr marL="36000" marR="36000" anchor="ctr"/>
                </a:tc>
                <a:extLst>
                  <a:ext uri="{0D108BD9-81ED-4DB2-BD59-A6C34878D82A}">
                    <a16:rowId xmlns:a16="http://schemas.microsoft.com/office/drawing/2014/main" val="3318525916"/>
                  </a:ext>
                </a:extLst>
              </a:tr>
              <a:tr h="265546">
                <a:tc>
                  <a:txBody>
                    <a:bodyPr/>
                    <a:lstStyle/>
                    <a:p>
                      <a:pPr algn="r"/>
                      <a:r>
                        <a:rPr lang="de-DE" sz="800" dirty="0"/>
                        <a:t>Staatliche Subventionen seit 2012</a:t>
                      </a:r>
                    </a:p>
                  </a:txBody>
                  <a:tcPr marL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n/a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160 Mio. €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n/a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n/a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n/a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dirty="0"/>
                        <a:t>1,28 Mrd. €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3,86 Mrd. €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2,35 Mrd. €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1,6 Mrd. €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n/a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Mind. 8,4 Mrd. €</a:t>
                      </a:r>
                    </a:p>
                  </a:txBody>
                  <a:tcPr marL="0" marR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n/a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dirty="0"/>
                        <a:t>n/a</a:t>
                      </a:r>
                    </a:p>
                  </a:txBody>
                  <a:tcPr marL="36000" marR="36000" anchor="ctr"/>
                </a:tc>
                <a:extLst>
                  <a:ext uri="{0D108BD9-81ED-4DB2-BD59-A6C34878D82A}">
                    <a16:rowId xmlns:a16="http://schemas.microsoft.com/office/drawing/2014/main" val="1439095191"/>
                  </a:ext>
                </a:extLst>
              </a:tr>
            </a:tbl>
          </a:graphicData>
        </a:graphic>
      </p:graphicFrame>
      <p:sp>
        <p:nvSpPr>
          <p:cNvPr id="6" name="Textfeld 5">
            <a:extLst>
              <a:ext uri="{FF2B5EF4-FFF2-40B4-BE49-F238E27FC236}">
                <a16:creationId xmlns:a16="http://schemas.microsoft.com/office/drawing/2014/main" id="{8362F018-6E95-4905-9BC1-7BBE7A027930}"/>
              </a:ext>
            </a:extLst>
          </p:cNvPr>
          <p:cNvSpPr txBox="1"/>
          <p:nvPr/>
        </p:nvSpPr>
        <p:spPr>
          <a:xfrm>
            <a:off x="500825" y="6246178"/>
            <a:ext cx="16754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baseline="30000" dirty="0"/>
              <a:t>1 </a:t>
            </a:r>
            <a:r>
              <a:rPr lang="de-DE" sz="900" dirty="0"/>
              <a:t>BE = Briefvolumen pro Kopf</a:t>
            </a:r>
          </a:p>
          <a:p>
            <a:r>
              <a:rPr lang="de-DE" sz="900" baseline="30000" dirty="0"/>
              <a:t>2 </a:t>
            </a:r>
            <a:r>
              <a:rPr lang="de-DE" sz="900" dirty="0"/>
              <a:t>Group Level</a:t>
            </a:r>
            <a:endParaRPr lang="de-DE" sz="900" baseline="30000" dirty="0"/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F20428C7-37F4-4949-897E-8AF1CC258690}"/>
              </a:ext>
            </a:extLst>
          </p:cNvPr>
          <p:cNvCxnSpPr>
            <a:cxnSpLocks/>
          </p:cNvCxnSpPr>
          <p:nvPr/>
        </p:nvCxnSpPr>
        <p:spPr>
          <a:xfrm flipV="1">
            <a:off x="10351770" y="1636301"/>
            <a:ext cx="0" cy="4584108"/>
          </a:xfrm>
          <a:prstGeom prst="straightConnector1">
            <a:avLst/>
          </a:prstGeom>
          <a:ln w="15875">
            <a:solidFill>
              <a:schemeClr val="tx1">
                <a:lumMod val="50000"/>
                <a:lumOff val="50000"/>
              </a:schemeClr>
            </a:solidFill>
            <a:prstDash val="lg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mit Pfeil 57">
            <a:extLst>
              <a:ext uri="{FF2B5EF4-FFF2-40B4-BE49-F238E27FC236}">
                <a16:creationId xmlns:a16="http://schemas.microsoft.com/office/drawing/2014/main" id="{14EF777B-FAEA-4BBE-8986-330976C1D743}"/>
              </a:ext>
            </a:extLst>
          </p:cNvPr>
          <p:cNvCxnSpPr>
            <a:cxnSpLocks/>
          </p:cNvCxnSpPr>
          <p:nvPr/>
        </p:nvCxnSpPr>
        <p:spPr>
          <a:xfrm flipV="1">
            <a:off x="2929890" y="1636301"/>
            <a:ext cx="0" cy="4584108"/>
          </a:xfrm>
          <a:prstGeom prst="straightConnector1">
            <a:avLst/>
          </a:prstGeom>
          <a:ln w="15875">
            <a:solidFill>
              <a:schemeClr val="tx1">
                <a:lumMod val="50000"/>
                <a:lumOff val="50000"/>
              </a:schemeClr>
            </a:solidFill>
            <a:prstDash val="lg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mit Pfeil 59">
            <a:extLst>
              <a:ext uri="{FF2B5EF4-FFF2-40B4-BE49-F238E27FC236}">
                <a16:creationId xmlns:a16="http://schemas.microsoft.com/office/drawing/2014/main" id="{0090C154-3C82-40F5-92BB-2E3B7C8FDAE4}"/>
              </a:ext>
            </a:extLst>
          </p:cNvPr>
          <p:cNvCxnSpPr>
            <a:cxnSpLocks/>
          </p:cNvCxnSpPr>
          <p:nvPr/>
        </p:nvCxnSpPr>
        <p:spPr>
          <a:xfrm flipH="1">
            <a:off x="2979420" y="1636301"/>
            <a:ext cx="7334250" cy="0"/>
          </a:xfrm>
          <a:prstGeom prst="straightConnector1">
            <a:avLst/>
          </a:prstGeom>
          <a:ln w="15875">
            <a:solidFill>
              <a:schemeClr val="tx1">
                <a:lumMod val="50000"/>
                <a:lumOff val="50000"/>
              </a:schemeClr>
            </a:solidFill>
            <a:prstDash val="lg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4A0B0E23-4F59-4DF8-B45F-A263FA24423D}"/>
              </a:ext>
            </a:extLst>
          </p:cNvPr>
          <p:cNvSpPr txBox="1"/>
          <p:nvPr/>
        </p:nvSpPr>
        <p:spPr>
          <a:xfrm>
            <a:off x="5258380" y="1623202"/>
            <a:ext cx="20569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tails siehe Seite 4 bis 8</a:t>
            </a:r>
          </a:p>
        </p:txBody>
      </p:sp>
    </p:spTree>
    <p:extLst>
      <p:ext uri="{BB962C8B-B14F-4D97-AF65-F5344CB8AC3E}">
        <p14:creationId xmlns:p14="http://schemas.microsoft.com/office/powerpoint/2010/main" val="40021751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746319-778D-4FBC-9CA5-614FACA00834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4175206" y="6325766"/>
            <a:ext cx="4900087" cy="293322"/>
          </a:xfrm>
        </p:spPr>
        <p:txBody>
          <a:bodyPr/>
          <a:lstStyle/>
          <a:p>
            <a:r>
              <a:rPr lang="en-US" dirty="0" err="1"/>
              <a:t>Europäischer</a:t>
            </a:r>
            <a:r>
              <a:rPr lang="en-US" dirty="0"/>
              <a:t> </a:t>
            </a:r>
            <a:r>
              <a:rPr lang="en-US" dirty="0" err="1"/>
              <a:t>Vergleich</a:t>
            </a:r>
            <a:r>
              <a:rPr lang="en-US" dirty="0"/>
              <a:t> der </a:t>
            </a:r>
            <a:r>
              <a:rPr lang="en-US" dirty="0" err="1"/>
              <a:t>Regulierungsintensität</a:t>
            </a:r>
            <a:r>
              <a:rPr lang="en-US" dirty="0"/>
              <a:t> </a:t>
            </a:r>
            <a:r>
              <a:rPr lang="en-US" dirty="0" err="1"/>
              <a:t>im</a:t>
            </a:r>
            <a:r>
              <a:rPr lang="en-US" dirty="0"/>
              <a:t> </a:t>
            </a:r>
            <a:r>
              <a:rPr lang="en-US" dirty="0" err="1"/>
              <a:t>Postsektor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A51AE9-2B16-4F40-B911-5FF43E4529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F70EEBF-E97C-49FF-B05B-3B4D348638DC}" type="slidenum">
              <a:rPr lang="en-US" smtClean="0"/>
              <a:pPr/>
              <a:t>4</a:t>
            </a:fld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3AC0CD7-437E-4A1B-9053-C5BDF15A5E71}"/>
              </a:ext>
            </a:extLst>
          </p:cNvPr>
          <p:cNvGrpSpPr/>
          <p:nvPr/>
        </p:nvGrpSpPr>
        <p:grpSpPr>
          <a:xfrm>
            <a:off x="796928" y="690314"/>
            <a:ext cx="5475080" cy="553998"/>
            <a:chOff x="796928" y="836802"/>
            <a:chExt cx="5475080" cy="553998"/>
          </a:xfrm>
        </p:grpSpPr>
        <p:sp>
          <p:nvSpPr>
            <p:cNvPr id="143" name="TextBox 142">
              <a:extLst>
                <a:ext uri="{FF2B5EF4-FFF2-40B4-BE49-F238E27FC236}">
                  <a16:creationId xmlns:a16="http://schemas.microsoft.com/office/drawing/2014/main" id="{5E19689D-231A-4F0F-BE1B-F8B44BFEA398}"/>
                </a:ext>
              </a:extLst>
            </p:cNvPr>
            <p:cNvSpPr txBox="1"/>
            <p:nvPr/>
          </p:nvSpPr>
          <p:spPr>
            <a:xfrm>
              <a:off x="1069295" y="836802"/>
              <a:ext cx="5202713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000" dirty="0" err="1">
                  <a:solidFill>
                    <a:schemeClr val="accent1"/>
                  </a:solidFill>
                  <a:latin typeface="+mj-lt"/>
                </a:rPr>
                <a:t>Skandinavien</a:t>
              </a:r>
              <a:endParaRPr lang="en-US" sz="3000" spc="-200" dirty="0">
                <a:solidFill>
                  <a:schemeClr val="accent1"/>
                </a:solidFill>
                <a:latin typeface="+mj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642F8A5E-9D4B-4923-A5F9-E503B303BC8E}"/>
                </a:ext>
              </a:extLst>
            </p:cNvPr>
            <p:cNvCxnSpPr>
              <a:cxnSpLocks/>
            </p:cNvCxnSpPr>
            <p:nvPr/>
          </p:nvCxnSpPr>
          <p:spPr>
            <a:xfrm>
              <a:off x="796928" y="858120"/>
              <a:ext cx="0" cy="531091"/>
            </a:xfrm>
            <a:prstGeom prst="line">
              <a:avLst/>
            </a:prstGeom>
            <a:ln w="889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" name="Group 135">
            <a:extLst>
              <a:ext uri="{FF2B5EF4-FFF2-40B4-BE49-F238E27FC236}">
                <a16:creationId xmlns:a16="http://schemas.microsoft.com/office/drawing/2014/main" id="{7596BB43-7964-4466-BF1E-669EBE6AC9B0}"/>
              </a:ext>
            </a:extLst>
          </p:cNvPr>
          <p:cNvGrpSpPr/>
          <p:nvPr/>
        </p:nvGrpSpPr>
        <p:grpSpPr>
          <a:xfrm>
            <a:off x="591264" y="1844353"/>
            <a:ext cx="4425063" cy="4155561"/>
            <a:chOff x="3844925" y="1308100"/>
            <a:chExt cx="4848225" cy="4552950"/>
          </a:xfr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</p:grpSpPr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01F0DFCC-D940-43A8-9F6B-8DCD486CD3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29325" y="4202113"/>
              <a:ext cx="1206500" cy="806450"/>
            </a:xfrm>
            <a:custGeom>
              <a:avLst/>
              <a:gdLst/>
              <a:ahLst/>
              <a:cxnLst>
                <a:cxn ang="0">
                  <a:pos x="472" y="405"/>
                </a:cxn>
                <a:cxn ang="0">
                  <a:pos x="555" y="395"/>
                </a:cxn>
                <a:cxn ang="0">
                  <a:pos x="405" y="334"/>
                </a:cxn>
                <a:cxn ang="0">
                  <a:pos x="492" y="1"/>
                </a:cxn>
                <a:cxn ang="0">
                  <a:pos x="518" y="43"/>
                </a:cxn>
                <a:cxn ang="0">
                  <a:pos x="535" y="81"/>
                </a:cxn>
                <a:cxn ang="0">
                  <a:pos x="558" y="102"/>
                </a:cxn>
                <a:cxn ang="0">
                  <a:pos x="591" y="132"/>
                </a:cxn>
                <a:cxn ang="0">
                  <a:pos x="652" y="147"/>
                </a:cxn>
                <a:cxn ang="0">
                  <a:pos x="701" y="167"/>
                </a:cxn>
                <a:cxn ang="0">
                  <a:pos x="746" y="190"/>
                </a:cxn>
                <a:cxn ang="0">
                  <a:pos x="740" y="227"/>
                </a:cxn>
                <a:cxn ang="0">
                  <a:pos x="738" y="250"/>
                </a:cxn>
                <a:cxn ang="0">
                  <a:pos x="745" y="295"/>
                </a:cxn>
                <a:cxn ang="0">
                  <a:pos x="680" y="326"/>
                </a:cxn>
                <a:cxn ang="0">
                  <a:pos x="640" y="358"/>
                </a:cxn>
                <a:cxn ang="0">
                  <a:pos x="597" y="372"/>
                </a:cxn>
                <a:cxn ang="0">
                  <a:pos x="555" y="391"/>
                </a:cxn>
                <a:cxn ang="0">
                  <a:pos x="544" y="431"/>
                </a:cxn>
                <a:cxn ang="0">
                  <a:pos x="598" y="444"/>
                </a:cxn>
                <a:cxn ang="0">
                  <a:pos x="595" y="471"/>
                </a:cxn>
                <a:cxn ang="0">
                  <a:pos x="546" y="483"/>
                </a:cxn>
                <a:cxn ang="0">
                  <a:pos x="494" y="507"/>
                </a:cxn>
                <a:cxn ang="0">
                  <a:pos x="483" y="470"/>
                </a:cxn>
                <a:cxn ang="0">
                  <a:pos x="443" y="440"/>
                </a:cxn>
                <a:cxn ang="0">
                  <a:pos x="487" y="420"/>
                </a:cxn>
                <a:cxn ang="0">
                  <a:pos x="467" y="402"/>
                </a:cxn>
                <a:cxn ang="0">
                  <a:pos x="428" y="400"/>
                </a:cxn>
                <a:cxn ang="0">
                  <a:pos x="401" y="383"/>
                </a:cxn>
                <a:cxn ang="0">
                  <a:pos x="422" y="377"/>
                </a:cxn>
                <a:cxn ang="0">
                  <a:pos x="412" y="360"/>
                </a:cxn>
                <a:cxn ang="0">
                  <a:pos x="392" y="363"/>
                </a:cxn>
                <a:cxn ang="0">
                  <a:pos x="365" y="384"/>
                </a:cxn>
                <a:cxn ang="0">
                  <a:pos x="330" y="425"/>
                </a:cxn>
                <a:cxn ang="0">
                  <a:pos x="314" y="438"/>
                </a:cxn>
                <a:cxn ang="0">
                  <a:pos x="318" y="457"/>
                </a:cxn>
                <a:cxn ang="0">
                  <a:pos x="281" y="457"/>
                </a:cxn>
                <a:cxn ang="0">
                  <a:pos x="268" y="433"/>
                </a:cxn>
                <a:cxn ang="0">
                  <a:pos x="291" y="400"/>
                </a:cxn>
                <a:cxn ang="0">
                  <a:pos x="317" y="385"/>
                </a:cxn>
                <a:cxn ang="0">
                  <a:pos x="330" y="367"/>
                </a:cxn>
                <a:cxn ang="0">
                  <a:pos x="314" y="334"/>
                </a:cxn>
                <a:cxn ang="0">
                  <a:pos x="298" y="305"/>
                </a:cxn>
                <a:cxn ang="0">
                  <a:pos x="279" y="279"/>
                </a:cxn>
                <a:cxn ang="0">
                  <a:pos x="251" y="273"/>
                </a:cxn>
                <a:cxn ang="0">
                  <a:pos x="205" y="265"/>
                </a:cxn>
                <a:cxn ang="0">
                  <a:pos x="171" y="285"/>
                </a:cxn>
                <a:cxn ang="0">
                  <a:pos x="88" y="295"/>
                </a:cxn>
                <a:cxn ang="0">
                  <a:pos x="36" y="289"/>
                </a:cxn>
                <a:cxn ang="0">
                  <a:pos x="9" y="272"/>
                </a:cxn>
                <a:cxn ang="0">
                  <a:pos x="18" y="218"/>
                </a:cxn>
                <a:cxn ang="0">
                  <a:pos x="32" y="174"/>
                </a:cxn>
                <a:cxn ang="0">
                  <a:pos x="80" y="108"/>
                </a:cxn>
                <a:cxn ang="0">
                  <a:pos x="63" y="70"/>
                </a:cxn>
                <a:cxn ang="0">
                  <a:pos x="121" y="31"/>
                </a:cxn>
                <a:cxn ang="0">
                  <a:pos x="223" y="53"/>
                </a:cxn>
                <a:cxn ang="0">
                  <a:pos x="257" y="51"/>
                </a:cxn>
                <a:cxn ang="0">
                  <a:pos x="291" y="51"/>
                </a:cxn>
                <a:cxn ang="0">
                  <a:pos x="319" y="61"/>
                </a:cxn>
                <a:cxn ang="0">
                  <a:pos x="359" y="70"/>
                </a:cxn>
                <a:cxn ang="0">
                  <a:pos x="357" y="41"/>
                </a:cxn>
                <a:cxn ang="0">
                  <a:pos x="387" y="19"/>
                </a:cxn>
                <a:cxn ang="0">
                  <a:pos x="447" y="8"/>
                </a:cxn>
              </a:cxnLst>
              <a:rect l="0" t="0" r="r" b="b"/>
              <a:pathLst>
                <a:path w="760" h="508">
                  <a:moveTo>
                    <a:pt x="337" y="422"/>
                  </a:moveTo>
                  <a:lnTo>
                    <a:pt x="328" y="432"/>
                  </a:lnTo>
                  <a:lnTo>
                    <a:pt x="324" y="434"/>
                  </a:lnTo>
                  <a:lnTo>
                    <a:pt x="320" y="436"/>
                  </a:lnTo>
                  <a:lnTo>
                    <a:pt x="323" y="434"/>
                  </a:lnTo>
                  <a:lnTo>
                    <a:pt x="324" y="433"/>
                  </a:lnTo>
                  <a:lnTo>
                    <a:pt x="325" y="433"/>
                  </a:lnTo>
                  <a:lnTo>
                    <a:pt x="325" y="432"/>
                  </a:lnTo>
                  <a:lnTo>
                    <a:pt x="326" y="432"/>
                  </a:lnTo>
                  <a:lnTo>
                    <a:pt x="335" y="424"/>
                  </a:lnTo>
                  <a:lnTo>
                    <a:pt x="337" y="422"/>
                  </a:lnTo>
                  <a:close/>
                  <a:moveTo>
                    <a:pt x="442" y="407"/>
                  </a:moveTo>
                  <a:lnTo>
                    <a:pt x="443" y="407"/>
                  </a:lnTo>
                  <a:lnTo>
                    <a:pt x="443" y="408"/>
                  </a:lnTo>
                  <a:lnTo>
                    <a:pt x="453" y="408"/>
                  </a:lnTo>
                  <a:lnTo>
                    <a:pt x="455" y="409"/>
                  </a:lnTo>
                  <a:lnTo>
                    <a:pt x="456" y="408"/>
                  </a:lnTo>
                  <a:lnTo>
                    <a:pt x="457" y="408"/>
                  </a:lnTo>
                  <a:lnTo>
                    <a:pt x="457" y="409"/>
                  </a:lnTo>
                  <a:lnTo>
                    <a:pt x="461" y="409"/>
                  </a:lnTo>
                  <a:lnTo>
                    <a:pt x="460" y="410"/>
                  </a:lnTo>
                  <a:lnTo>
                    <a:pt x="442" y="408"/>
                  </a:lnTo>
                  <a:lnTo>
                    <a:pt x="442" y="407"/>
                  </a:lnTo>
                  <a:close/>
                  <a:moveTo>
                    <a:pt x="472" y="405"/>
                  </a:moveTo>
                  <a:lnTo>
                    <a:pt x="472" y="406"/>
                  </a:lnTo>
                  <a:lnTo>
                    <a:pt x="471" y="406"/>
                  </a:lnTo>
                  <a:lnTo>
                    <a:pt x="472" y="405"/>
                  </a:lnTo>
                  <a:close/>
                  <a:moveTo>
                    <a:pt x="553" y="396"/>
                  </a:moveTo>
                  <a:lnTo>
                    <a:pt x="554" y="396"/>
                  </a:lnTo>
                  <a:lnTo>
                    <a:pt x="552" y="401"/>
                  </a:lnTo>
                  <a:lnTo>
                    <a:pt x="548" y="405"/>
                  </a:lnTo>
                  <a:lnTo>
                    <a:pt x="547" y="405"/>
                  </a:lnTo>
                  <a:lnTo>
                    <a:pt x="546" y="406"/>
                  </a:lnTo>
                  <a:lnTo>
                    <a:pt x="544" y="406"/>
                  </a:lnTo>
                  <a:lnTo>
                    <a:pt x="542" y="407"/>
                  </a:lnTo>
                  <a:lnTo>
                    <a:pt x="542" y="406"/>
                  </a:lnTo>
                  <a:lnTo>
                    <a:pt x="544" y="403"/>
                  </a:lnTo>
                  <a:lnTo>
                    <a:pt x="544" y="402"/>
                  </a:lnTo>
                  <a:lnTo>
                    <a:pt x="549" y="401"/>
                  </a:lnTo>
                  <a:lnTo>
                    <a:pt x="552" y="400"/>
                  </a:lnTo>
                  <a:lnTo>
                    <a:pt x="552" y="397"/>
                  </a:lnTo>
                  <a:lnTo>
                    <a:pt x="553" y="396"/>
                  </a:lnTo>
                  <a:close/>
                  <a:moveTo>
                    <a:pt x="398" y="395"/>
                  </a:moveTo>
                  <a:lnTo>
                    <a:pt x="400" y="395"/>
                  </a:lnTo>
                  <a:lnTo>
                    <a:pt x="413" y="399"/>
                  </a:lnTo>
                  <a:lnTo>
                    <a:pt x="419" y="400"/>
                  </a:lnTo>
                  <a:lnTo>
                    <a:pt x="423" y="402"/>
                  </a:lnTo>
                  <a:lnTo>
                    <a:pt x="422" y="402"/>
                  </a:lnTo>
                  <a:lnTo>
                    <a:pt x="421" y="401"/>
                  </a:lnTo>
                  <a:lnTo>
                    <a:pt x="405" y="397"/>
                  </a:lnTo>
                  <a:lnTo>
                    <a:pt x="398" y="395"/>
                  </a:lnTo>
                  <a:close/>
                  <a:moveTo>
                    <a:pt x="556" y="391"/>
                  </a:moveTo>
                  <a:lnTo>
                    <a:pt x="558" y="391"/>
                  </a:lnTo>
                  <a:lnTo>
                    <a:pt x="555" y="395"/>
                  </a:lnTo>
                  <a:lnTo>
                    <a:pt x="554" y="396"/>
                  </a:lnTo>
                  <a:lnTo>
                    <a:pt x="556" y="391"/>
                  </a:lnTo>
                  <a:close/>
                  <a:moveTo>
                    <a:pt x="396" y="389"/>
                  </a:moveTo>
                  <a:lnTo>
                    <a:pt x="397" y="391"/>
                  </a:lnTo>
                  <a:lnTo>
                    <a:pt x="397" y="394"/>
                  </a:lnTo>
                  <a:lnTo>
                    <a:pt x="398" y="395"/>
                  </a:lnTo>
                  <a:lnTo>
                    <a:pt x="396" y="393"/>
                  </a:lnTo>
                  <a:lnTo>
                    <a:pt x="396" y="389"/>
                  </a:lnTo>
                  <a:close/>
                  <a:moveTo>
                    <a:pt x="616" y="371"/>
                  </a:moveTo>
                  <a:lnTo>
                    <a:pt x="617" y="372"/>
                  </a:lnTo>
                  <a:lnTo>
                    <a:pt x="616" y="372"/>
                  </a:lnTo>
                  <a:lnTo>
                    <a:pt x="616" y="371"/>
                  </a:lnTo>
                  <a:close/>
                  <a:moveTo>
                    <a:pt x="409" y="341"/>
                  </a:moveTo>
                  <a:lnTo>
                    <a:pt x="409" y="342"/>
                  </a:lnTo>
                  <a:lnTo>
                    <a:pt x="411" y="345"/>
                  </a:lnTo>
                  <a:lnTo>
                    <a:pt x="410" y="346"/>
                  </a:lnTo>
                  <a:lnTo>
                    <a:pt x="410" y="347"/>
                  </a:lnTo>
                  <a:lnTo>
                    <a:pt x="409" y="350"/>
                  </a:lnTo>
                  <a:lnTo>
                    <a:pt x="411" y="350"/>
                  </a:lnTo>
                  <a:lnTo>
                    <a:pt x="410" y="348"/>
                  </a:lnTo>
                  <a:lnTo>
                    <a:pt x="411" y="346"/>
                  </a:lnTo>
                  <a:lnTo>
                    <a:pt x="412" y="345"/>
                  </a:lnTo>
                  <a:lnTo>
                    <a:pt x="411" y="342"/>
                  </a:lnTo>
                  <a:lnTo>
                    <a:pt x="410" y="342"/>
                  </a:lnTo>
                  <a:lnTo>
                    <a:pt x="410" y="341"/>
                  </a:lnTo>
                  <a:lnTo>
                    <a:pt x="409" y="341"/>
                  </a:lnTo>
                  <a:close/>
                  <a:moveTo>
                    <a:pt x="405" y="334"/>
                  </a:moveTo>
                  <a:lnTo>
                    <a:pt x="404" y="335"/>
                  </a:lnTo>
                  <a:lnTo>
                    <a:pt x="405" y="336"/>
                  </a:lnTo>
                  <a:lnTo>
                    <a:pt x="405" y="338"/>
                  </a:lnTo>
                  <a:lnTo>
                    <a:pt x="407" y="338"/>
                  </a:lnTo>
                  <a:lnTo>
                    <a:pt x="409" y="339"/>
                  </a:lnTo>
                  <a:lnTo>
                    <a:pt x="409" y="338"/>
                  </a:lnTo>
                  <a:lnTo>
                    <a:pt x="406" y="336"/>
                  </a:lnTo>
                  <a:lnTo>
                    <a:pt x="405" y="336"/>
                  </a:lnTo>
                  <a:lnTo>
                    <a:pt x="406" y="335"/>
                  </a:lnTo>
                  <a:lnTo>
                    <a:pt x="405" y="334"/>
                  </a:lnTo>
                  <a:close/>
                  <a:moveTo>
                    <a:pt x="22" y="213"/>
                  </a:moveTo>
                  <a:lnTo>
                    <a:pt x="24" y="213"/>
                  </a:lnTo>
                  <a:lnTo>
                    <a:pt x="24" y="215"/>
                  </a:lnTo>
                  <a:lnTo>
                    <a:pt x="22" y="213"/>
                  </a:lnTo>
                  <a:close/>
                  <a:moveTo>
                    <a:pt x="466" y="0"/>
                  </a:moveTo>
                  <a:lnTo>
                    <a:pt x="467" y="0"/>
                  </a:lnTo>
                  <a:lnTo>
                    <a:pt x="471" y="1"/>
                  </a:lnTo>
                  <a:lnTo>
                    <a:pt x="474" y="1"/>
                  </a:lnTo>
                  <a:lnTo>
                    <a:pt x="475" y="2"/>
                  </a:lnTo>
                  <a:lnTo>
                    <a:pt x="477" y="2"/>
                  </a:lnTo>
                  <a:lnTo>
                    <a:pt x="478" y="1"/>
                  </a:lnTo>
                  <a:lnTo>
                    <a:pt x="479" y="1"/>
                  </a:lnTo>
                  <a:lnTo>
                    <a:pt x="479" y="4"/>
                  </a:lnTo>
                  <a:lnTo>
                    <a:pt x="480" y="6"/>
                  </a:lnTo>
                  <a:lnTo>
                    <a:pt x="484" y="2"/>
                  </a:lnTo>
                  <a:lnTo>
                    <a:pt x="487" y="1"/>
                  </a:lnTo>
                  <a:lnTo>
                    <a:pt x="492" y="1"/>
                  </a:lnTo>
                  <a:lnTo>
                    <a:pt x="493" y="2"/>
                  </a:lnTo>
                  <a:lnTo>
                    <a:pt x="493" y="3"/>
                  </a:lnTo>
                  <a:lnTo>
                    <a:pt x="494" y="4"/>
                  </a:lnTo>
                  <a:lnTo>
                    <a:pt x="497" y="6"/>
                  </a:lnTo>
                  <a:lnTo>
                    <a:pt x="497" y="7"/>
                  </a:lnTo>
                  <a:lnTo>
                    <a:pt x="498" y="9"/>
                  </a:lnTo>
                  <a:lnTo>
                    <a:pt x="499" y="9"/>
                  </a:lnTo>
                  <a:lnTo>
                    <a:pt x="502" y="12"/>
                  </a:lnTo>
                  <a:lnTo>
                    <a:pt x="502" y="13"/>
                  </a:lnTo>
                  <a:lnTo>
                    <a:pt x="504" y="15"/>
                  </a:lnTo>
                  <a:lnTo>
                    <a:pt x="504" y="16"/>
                  </a:lnTo>
                  <a:lnTo>
                    <a:pt x="503" y="18"/>
                  </a:lnTo>
                  <a:lnTo>
                    <a:pt x="503" y="24"/>
                  </a:lnTo>
                  <a:lnTo>
                    <a:pt x="505" y="26"/>
                  </a:lnTo>
                  <a:lnTo>
                    <a:pt x="505" y="27"/>
                  </a:lnTo>
                  <a:lnTo>
                    <a:pt x="504" y="28"/>
                  </a:lnTo>
                  <a:lnTo>
                    <a:pt x="506" y="28"/>
                  </a:lnTo>
                  <a:lnTo>
                    <a:pt x="509" y="31"/>
                  </a:lnTo>
                  <a:lnTo>
                    <a:pt x="509" y="32"/>
                  </a:lnTo>
                  <a:lnTo>
                    <a:pt x="510" y="32"/>
                  </a:lnTo>
                  <a:lnTo>
                    <a:pt x="510" y="33"/>
                  </a:lnTo>
                  <a:lnTo>
                    <a:pt x="512" y="33"/>
                  </a:lnTo>
                  <a:lnTo>
                    <a:pt x="512" y="34"/>
                  </a:lnTo>
                  <a:lnTo>
                    <a:pt x="515" y="35"/>
                  </a:lnTo>
                  <a:lnTo>
                    <a:pt x="517" y="38"/>
                  </a:lnTo>
                  <a:lnTo>
                    <a:pt x="518" y="40"/>
                  </a:lnTo>
                  <a:lnTo>
                    <a:pt x="518" y="43"/>
                  </a:lnTo>
                  <a:lnTo>
                    <a:pt x="516" y="45"/>
                  </a:lnTo>
                  <a:lnTo>
                    <a:pt x="513" y="45"/>
                  </a:lnTo>
                  <a:lnTo>
                    <a:pt x="506" y="47"/>
                  </a:lnTo>
                  <a:lnTo>
                    <a:pt x="504" y="47"/>
                  </a:lnTo>
                  <a:lnTo>
                    <a:pt x="504" y="50"/>
                  </a:lnTo>
                  <a:lnTo>
                    <a:pt x="505" y="51"/>
                  </a:lnTo>
                  <a:lnTo>
                    <a:pt x="506" y="51"/>
                  </a:lnTo>
                  <a:lnTo>
                    <a:pt x="506" y="53"/>
                  </a:lnTo>
                  <a:lnTo>
                    <a:pt x="510" y="57"/>
                  </a:lnTo>
                  <a:lnTo>
                    <a:pt x="510" y="65"/>
                  </a:lnTo>
                  <a:lnTo>
                    <a:pt x="508" y="65"/>
                  </a:lnTo>
                  <a:lnTo>
                    <a:pt x="511" y="69"/>
                  </a:lnTo>
                  <a:lnTo>
                    <a:pt x="512" y="69"/>
                  </a:lnTo>
                  <a:lnTo>
                    <a:pt x="513" y="68"/>
                  </a:lnTo>
                  <a:lnTo>
                    <a:pt x="513" y="70"/>
                  </a:lnTo>
                  <a:lnTo>
                    <a:pt x="511" y="75"/>
                  </a:lnTo>
                  <a:lnTo>
                    <a:pt x="509" y="76"/>
                  </a:lnTo>
                  <a:lnTo>
                    <a:pt x="511" y="77"/>
                  </a:lnTo>
                  <a:lnTo>
                    <a:pt x="513" y="77"/>
                  </a:lnTo>
                  <a:lnTo>
                    <a:pt x="515" y="76"/>
                  </a:lnTo>
                  <a:lnTo>
                    <a:pt x="518" y="76"/>
                  </a:lnTo>
                  <a:lnTo>
                    <a:pt x="521" y="77"/>
                  </a:lnTo>
                  <a:lnTo>
                    <a:pt x="527" y="77"/>
                  </a:lnTo>
                  <a:lnTo>
                    <a:pt x="527" y="80"/>
                  </a:lnTo>
                  <a:lnTo>
                    <a:pt x="529" y="82"/>
                  </a:lnTo>
                  <a:lnTo>
                    <a:pt x="533" y="82"/>
                  </a:lnTo>
                  <a:lnTo>
                    <a:pt x="535" y="81"/>
                  </a:lnTo>
                  <a:lnTo>
                    <a:pt x="539" y="80"/>
                  </a:lnTo>
                  <a:lnTo>
                    <a:pt x="541" y="78"/>
                  </a:lnTo>
                  <a:lnTo>
                    <a:pt x="542" y="78"/>
                  </a:lnTo>
                  <a:lnTo>
                    <a:pt x="542" y="80"/>
                  </a:lnTo>
                  <a:lnTo>
                    <a:pt x="543" y="80"/>
                  </a:lnTo>
                  <a:lnTo>
                    <a:pt x="544" y="78"/>
                  </a:lnTo>
                  <a:lnTo>
                    <a:pt x="546" y="78"/>
                  </a:lnTo>
                  <a:lnTo>
                    <a:pt x="547" y="80"/>
                  </a:lnTo>
                  <a:lnTo>
                    <a:pt x="547" y="81"/>
                  </a:lnTo>
                  <a:lnTo>
                    <a:pt x="548" y="87"/>
                  </a:lnTo>
                  <a:lnTo>
                    <a:pt x="549" y="89"/>
                  </a:lnTo>
                  <a:lnTo>
                    <a:pt x="550" y="90"/>
                  </a:lnTo>
                  <a:lnTo>
                    <a:pt x="552" y="90"/>
                  </a:lnTo>
                  <a:lnTo>
                    <a:pt x="554" y="89"/>
                  </a:lnTo>
                  <a:lnTo>
                    <a:pt x="555" y="89"/>
                  </a:lnTo>
                  <a:lnTo>
                    <a:pt x="556" y="90"/>
                  </a:lnTo>
                  <a:lnTo>
                    <a:pt x="558" y="90"/>
                  </a:lnTo>
                  <a:lnTo>
                    <a:pt x="558" y="93"/>
                  </a:lnTo>
                  <a:lnTo>
                    <a:pt x="554" y="93"/>
                  </a:lnTo>
                  <a:lnTo>
                    <a:pt x="554" y="96"/>
                  </a:lnTo>
                  <a:lnTo>
                    <a:pt x="555" y="96"/>
                  </a:lnTo>
                  <a:lnTo>
                    <a:pt x="555" y="98"/>
                  </a:lnTo>
                  <a:lnTo>
                    <a:pt x="556" y="98"/>
                  </a:lnTo>
                  <a:lnTo>
                    <a:pt x="558" y="99"/>
                  </a:lnTo>
                  <a:lnTo>
                    <a:pt x="556" y="100"/>
                  </a:lnTo>
                  <a:lnTo>
                    <a:pt x="558" y="101"/>
                  </a:lnTo>
                  <a:lnTo>
                    <a:pt x="558" y="102"/>
                  </a:lnTo>
                  <a:lnTo>
                    <a:pt x="559" y="104"/>
                  </a:lnTo>
                  <a:lnTo>
                    <a:pt x="559" y="107"/>
                  </a:lnTo>
                  <a:lnTo>
                    <a:pt x="560" y="107"/>
                  </a:lnTo>
                  <a:lnTo>
                    <a:pt x="561" y="108"/>
                  </a:lnTo>
                  <a:lnTo>
                    <a:pt x="561" y="114"/>
                  </a:lnTo>
                  <a:lnTo>
                    <a:pt x="562" y="115"/>
                  </a:lnTo>
                  <a:lnTo>
                    <a:pt x="559" y="117"/>
                  </a:lnTo>
                  <a:lnTo>
                    <a:pt x="559" y="118"/>
                  </a:lnTo>
                  <a:lnTo>
                    <a:pt x="560" y="126"/>
                  </a:lnTo>
                  <a:lnTo>
                    <a:pt x="562" y="129"/>
                  </a:lnTo>
                  <a:lnTo>
                    <a:pt x="565" y="129"/>
                  </a:lnTo>
                  <a:lnTo>
                    <a:pt x="566" y="130"/>
                  </a:lnTo>
                  <a:lnTo>
                    <a:pt x="566" y="133"/>
                  </a:lnTo>
                  <a:lnTo>
                    <a:pt x="567" y="135"/>
                  </a:lnTo>
                  <a:lnTo>
                    <a:pt x="567" y="136"/>
                  </a:lnTo>
                  <a:lnTo>
                    <a:pt x="568" y="136"/>
                  </a:lnTo>
                  <a:lnTo>
                    <a:pt x="570" y="137"/>
                  </a:lnTo>
                  <a:lnTo>
                    <a:pt x="572" y="137"/>
                  </a:lnTo>
                  <a:lnTo>
                    <a:pt x="573" y="136"/>
                  </a:lnTo>
                  <a:lnTo>
                    <a:pt x="573" y="135"/>
                  </a:lnTo>
                  <a:lnTo>
                    <a:pt x="574" y="135"/>
                  </a:lnTo>
                  <a:lnTo>
                    <a:pt x="574" y="133"/>
                  </a:lnTo>
                  <a:lnTo>
                    <a:pt x="575" y="133"/>
                  </a:lnTo>
                  <a:lnTo>
                    <a:pt x="577" y="132"/>
                  </a:lnTo>
                  <a:lnTo>
                    <a:pt x="577" y="131"/>
                  </a:lnTo>
                  <a:lnTo>
                    <a:pt x="590" y="131"/>
                  </a:lnTo>
                  <a:lnTo>
                    <a:pt x="591" y="132"/>
                  </a:lnTo>
                  <a:lnTo>
                    <a:pt x="591" y="133"/>
                  </a:lnTo>
                  <a:lnTo>
                    <a:pt x="592" y="133"/>
                  </a:lnTo>
                  <a:lnTo>
                    <a:pt x="596" y="141"/>
                  </a:lnTo>
                  <a:lnTo>
                    <a:pt x="599" y="141"/>
                  </a:lnTo>
                  <a:lnTo>
                    <a:pt x="601" y="139"/>
                  </a:lnTo>
                  <a:lnTo>
                    <a:pt x="604" y="139"/>
                  </a:lnTo>
                  <a:lnTo>
                    <a:pt x="605" y="141"/>
                  </a:lnTo>
                  <a:lnTo>
                    <a:pt x="606" y="141"/>
                  </a:lnTo>
                  <a:lnTo>
                    <a:pt x="608" y="142"/>
                  </a:lnTo>
                  <a:lnTo>
                    <a:pt x="608" y="145"/>
                  </a:lnTo>
                  <a:lnTo>
                    <a:pt x="611" y="145"/>
                  </a:lnTo>
                  <a:lnTo>
                    <a:pt x="612" y="144"/>
                  </a:lnTo>
                  <a:lnTo>
                    <a:pt x="612" y="143"/>
                  </a:lnTo>
                  <a:lnTo>
                    <a:pt x="614" y="143"/>
                  </a:lnTo>
                  <a:lnTo>
                    <a:pt x="614" y="142"/>
                  </a:lnTo>
                  <a:lnTo>
                    <a:pt x="623" y="137"/>
                  </a:lnTo>
                  <a:lnTo>
                    <a:pt x="629" y="137"/>
                  </a:lnTo>
                  <a:lnTo>
                    <a:pt x="635" y="136"/>
                  </a:lnTo>
                  <a:lnTo>
                    <a:pt x="640" y="131"/>
                  </a:lnTo>
                  <a:lnTo>
                    <a:pt x="646" y="131"/>
                  </a:lnTo>
                  <a:lnTo>
                    <a:pt x="646" y="133"/>
                  </a:lnTo>
                  <a:lnTo>
                    <a:pt x="647" y="135"/>
                  </a:lnTo>
                  <a:lnTo>
                    <a:pt x="647" y="137"/>
                  </a:lnTo>
                  <a:lnTo>
                    <a:pt x="651" y="138"/>
                  </a:lnTo>
                  <a:lnTo>
                    <a:pt x="653" y="143"/>
                  </a:lnTo>
                  <a:lnTo>
                    <a:pt x="652" y="144"/>
                  </a:lnTo>
                  <a:lnTo>
                    <a:pt x="652" y="147"/>
                  </a:lnTo>
                  <a:lnTo>
                    <a:pt x="654" y="148"/>
                  </a:lnTo>
                  <a:lnTo>
                    <a:pt x="658" y="154"/>
                  </a:lnTo>
                  <a:lnTo>
                    <a:pt x="659" y="155"/>
                  </a:lnTo>
                  <a:lnTo>
                    <a:pt x="662" y="156"/>
                  </a:lnTo>
                  <a:lnTo>
                    <a:pt x="664" y="157"/>
                  </a:lnTo>
                  <a:lnTo>
                    <a:pt x="666" y="158"/>
                  </a:lnTo>
                  <a:lnTo>
                    <a:pt x="668" y="163"/>
                  </a:lnTo>
                  <a:lnTo>
                    <a:pt x="668" y="166"/>
                  </a:lnTo>
                  <a:lnTo>
                    <a:pt x="670" y="166"/>
                  </a:lnTo>
                  <a:lnTo>
                    <a:pt x="672" y="164"/>
                  </a:lnTo>
                  <a:lnTo>
                    <a:pt x="672" y="163"/>
                  </a:lnTo>
                  <a:lnTo>
                    <a:pt x="673" y="163"/>
                  </a:lnTo>
                  <a:lnTo>
                    <a:pt x="673" y="164"/>
                  </a:lnTo>
                  <a:lnTo>
                    <a:pt x="674" y="164"/>
                  </a:lnTo>
                  <a:lnTo>
                    <a:pt x="677" y="163"/>
                  </a:lnTo>
                  <a:lnTo>
                    <a:pt x="677" y="160"/>
                  </a:lnTo>
                  <a:lnTo>
                    <a:pt x="676" y="157"/>
                  </a:lnTo>
                  <a:lnTo>
                    <a:pt x="677" y="155"/>
                  </a:lnTo>
                  <a:lnTo>
                    <a:pt x="682" y="155"/>
                  </a:lnTo>
                  <a:lnTo>
                    <a:pt x="683" y="156"/>
                  </a:lnTo>
                  <a:lnTo>
                    <a:pt x="684" y="160"/>
                  </a:lnTo>
                  <a:lnTo>
                    <a:pt x="684" y="161"/>
                  </a:lnTo>
                  <a:lnTo>
                    <a:pt x="688" y="161"/>
                  </a:lnTo>
                  <a:lnTo>
                    <a:pt x="689" y="162"/>
                  </a:lnTo>
                  <a:lnTo>
                    <a:pt x="697" y="162"/>
                  </a:lnTo>
                  <a:lnTo>
                    <a:pt x="697" y="163"/>
                  </a:lnTo>
                  <a:lnTo>
                    <a:pt x="701" y="167"/>
                  </a:lnTo>
                  <a:lnTo>
                    <a:pt x="705" y="168"/>
                  </a:lnTo>
                  <a:lnTo>
                    <a:pt x="709" y="172"/>
                  </a:lnTo>
                  <a:lnTo>
                    <a:pt x="714" y="172"/>
                  </a:lnTo>
                  <a:lnTo>
                    <a:pt x="714" y="170"/>
                  </a:lnTo>
                  <a:lnTo>
                    <a:pt x="716" y="169"/>
                  </a:lnTo>
                  <a:lnTo>
                    <a:pt x="716" y="168"/>
                  </a:lnTo>
                  <a:lnTo>
                    <a:pt x="718" y="167"/>
                  </a:lnTo>
                  <a:lnTo>
                    <a:pt x="718" y="168"/>
                  </a:lnTo>
                  <a:lnTo>
                    <a:pt x="721" y="174"/>
                  </a:lnTo>
                  <a:lnTo>
                    <a:pt x="722" y="176"/>
                  </a:lnTo>
                  <a:lnTo>
                    <a:pt x="723" y="176"/>
                  </a:lnTo>
                  <a:lnTo>
                    <a:pt x="726" y="178"/>
                  </a:lnTo>
                  <a:lnTo>
                    <a:pt x="727" y="176"/>
                  </a:lnTo>
                  <a:lnTo>
                    <a:pt x="728" y="176"/>
                  </a:lnTo>
                  <a:lnTo>
                    <a:pt x="730" y="175"/>
                  </a:lnTo>
                  <a:lnTo>
                    <a:pt x="732" y="176"/>
                  </a:lnTo>
                  <a:lnTo>
                    <a:pt x="733" y="176"/>
                  </a:lnTo>
                  <a:lnTo>
                    <a:pt x="735" y="178"/>
                  </a:lnTo>
                  <a:lnTo>
                    <a:pt x="736" y="179"/>
                  </a:lnTo>
                  <a:lnTo>
                    <a:pt x="736" y="182"/>
                  </a:lnTo>
                  <a:lnTo>
                    <a:pt x="738" y="185"/>
                  </a:lnTo>
                  <a:lnTo>
                    <a:pt x="739" y="185"/>
                  </a:lnTo>
                  <a:lnTo>
                    <a:pt x="740" y="186"/>
                  </a:lnTo>
                  <a:lnTo>
                    <a:pt x="742" y="186"/>
                  </a:lnTo>
                  <a:lnTo>
                    <a:pt x="745" y="188"/>
                  </a:lnTo>
                  <a:lnTo>
                    <a:pt x="745" y="190"/>
                  </a:lnTo>
                  <a:lnTo>
                    <a:pt x="746" y="190"/>
                  </a:lnTo>
                  <a:lnTo>
                    <a:pt x="747" y="188"/>
                  </a:lnTo>
                  <a:lnTo>
                    <a:pt x="749" y="188"/>
                  </a:lnTo>
                  <a:lnTo>
                    <a:pt x="749" y="187"/>
                  </a:lnTo>
                  <a:lnTo>
                    <a:pt x="753" y="185"/>
                  </a:lnTo>
                  <a:lnTo>
                    <a:pt x="754" y="185"/>
                  </a:lnTo>
                  <a:lnTo>
                    <a:pt x="759" y="186"/>
                  </a:lnTo>
                  <a:lnTo>
                    <a:pt x="759" y="188"/>
                  </a:lnTo>
                  <a:lnTo>
                    <a:pt x="758" y="188"/>
                  </a:lnTo>
                  <a:lnTo>
                    <a:pt x="755" y="191"/>
                  </a:lnTo>
                  <a:lnTo>
                    <a:pt x="755" y="194"/>
                  </a:lnTo>
                  <a:lnTo>
                    <a:pt x="758" y="199"/>
                  </a:lnTo>
                  <a:lnTo>
                    <a:pt x="760" y="201"/>
                  </a:lnTo>
                  <a:lnTo>
                    <a:pt x="760" y="204"/>
                  </a:lnTo>
                  <a:lnTo>
                    <a:pt x="759" y="206"/>
                  </a:lnTo>
                  <a:lnTo>
                    <a:pt x="759" y="209"/>
                  </a:lnTo>
                  <a:lnTo>
                    <a:pt x="755" y="212"/>
                  </a:lnTo>
                  <a:lnTo>
                    <a:pt x="755" y="213"/>
                  </a:lnTo>
                  <a:lnTo>
                    <a:pt x="753" y="215"/>
                  </a:lnTo>
                  <a:lnTo>
                    <a:pt x="751" y="217"/>
                  </a:lnTo>
                  <a:lnTo>
                    <a:pt x="751" y="221"/>
                  </a:lnTo>
                  <a:lnTo>
                    <a:pt x="749" y="222"/>
                  </a:lnTo>
                  <a:lnTo>
                    <a:pt x="748" y="221"/>
                  </a:lnTo>
                  <a:lnTo>
                    <a:pt x="746" y="221"/>
                  </a:lnTo>
                  <a:lnTo>
                    <a:pt x="744" y="223"/>
                  </a:lnTo>
                  <a:lnTo>
                    <a:pt x="741" y="222"/>
                  </a:lnTo>
                  <a:lnTo>
                    <a:pt x="740" y="223"/>
                  </a:lnTo>
                  <a:lnTo>
                    <a:pt x="740" y="227"/>
                  </a:lnTo>
                  <a:lnTo>
                    <a:pt x="741" y="228"/>
                  </a:lnTo>
                  <a:lnTo>
                    <a:pt x="742" y="228"/>
                  </a:lnTo>
                  <a:lnTo>
                    <a:pt x="742" y="230"/>
                  </a:lnTo>
                  <a:lnTo>
                    <a:pt x="744" y="231"/>
                  </a:lnTo>
                  <a:lnTo>
                    <a:pt x="745" y="231"/>
                  </a:lnTo>
                  <a:lnTo>
                    <a:pt x="748" y="233"/>
                  </a:lnTo>
                  <a:lnTo>
                    <a:pt x="749" y="231"/>
                  </a:lnTo>
                  <a:lnTo>
                    <a:pt x="751" y="233"/>
                  </a:lnTo>
                  <a:lnTo>
                    <a:pt x="751" y="234"/>
                  </a:lnTo>
                  <a:lnTo>
                    <a:pt x="752" y="234"/>
                  </a:lnTo>
                  <a:lnTo>
                    <a:pt x="752" y="233"/>
                  </a:lnTo>
                  <a:lnTo>
                    <a:pt x="753" y="233"/>
                  </a:lnTo>
                  <a:lnTo>
                    <a:pt x="754" y="231"/>
                  </a:lnTo>
                  <a:lnTo>
                    <a:pt x="755" y="231"/>
                  </a:lnTo>
                  <a:lnTo>
                    <a:pt x="755" y="235"/>
                  </a:lnTo>
                  <a:lnTo>
                    <a:pt x="753" y="237"/>
                  </a:lnTo>
                  <a:lnTo>
                    <a:pt x="751" y="237"/>
                  </a:lnTo>
                  <a:lnTo>
                    <a:pt x="746" y="236"/>
                  </a:lnTo>
                  <a:lnTo>
                    <a:pt x="745" y="236"/>
                  </a:lnTo>
                  <a:lnTo>
                    <a:pt x="744" y="237"/>
                  </a:lnTo>
                  <a:lnTo>
                    <a:pt x="744" y="239"/>
                  </a:lnTo>
                  <a:lnTo>
                    <a:pt x="742" y="239"/>
                  </a:lnTo>
                  <a:lnTo>
                    <a:pt x="742" y="240"/>
                  </a:lnTo>
                  <a:lnTo>
                    <a:pt x="741" y="240"/>
                  </a:lnTo>
                  <a:lnTo>
                    <a:pt x="741" y="241"/>
                  </a:lnTo>
                  <a:lnTo>
                    <a:pt x="739" y="249"/>
                  </a:lnTo>
                  <a:lnTo>
                    <a:pt x="738" y="250"/>
                  </a:lnTo>
                  <a:lnTo>
                    <a:pt x="746" y="250"/>
                  </a:lnTo>
                  <a:lnTo>
                    <a:pt x="747" y="252"/>
                  </a:lnTo>
                  <a:lnTo>
                    <a:pt x="747" y="253"/>
                  </a:lnTo>
                  <a:lnTo>
                    <a:pt x="748" y="254"/>
                  </a:lnTo>
                  <a:lnTo>
                    <a:pt x="748" y="256"/>
                  </a:lnTo>
                  <a:lnTo>
                    <a:pt x="747" y="256"/>
                  </a:lnTo>
                  <a:lnTo>
                    <a:pt x="747" y="258"/>
                  </a:lnTo>
                  <a:lnTo>
                    <a:pt x="748" y="258"/>
                  </a:lnTo>
                  <a:lnTo>
                    <a:pt x="749" y="261"/>
                  </a:lnTo>
                  <a:lnTo>
                    <a:pt x="749" y="264"/>
                  </a:lnTo>
                  <a:lnTo>
                    <a:pt x="751" y="264"/>
                  </a:lnTo>
                  <a:lnTo>
                    <a:pt x="746" y="268"/>
                  </a:lnTo>
                  <a:lnTo>
                    <a:pt x="748" y="270"/>
                  </a:lnTo>
                  <a:lnTo>
                    <a:pt x="753" y="270"/>
                  </a:lnTo>
                  <a:lnTo>
                    <a:pt x="753" y="273"/>
                  </a:lnTo>
                  <a:lnTo>
                    <a:pt x="752" y="273"/>
                  </a:lnTo>
                  <a:lnTo>
                    <a:pt x="749" y="276"/>
                  </a:lnTo>
                  <a:lnTo>
                    <a:pt x="749" y="277"/>
                  </a:lnTo>
                  <a:lnTo>
                    <a:pt x="747" y="280"/>
                  </a:lnTo>
                  <a:lnTo>
                    <a:pt x="746" y="282"/>
                  </a:lnTo>
                  <a:lnTo>
                    <a:pt x="746" y="283"/>
                  </a:lnTo>
                  <a:lnTo>
                    <a:pt x="747" y="285"/>
                  </a:lnTo>
                  <a:lnTo>
                    <a:pt x="745" y="286"/>
                  </a:lnTo>
                  <a:lnTo>
                    <a:pt x="744" y="286"/>
                  </a:lnTo>
                  <a:lnTo>
                    <a:pt x="744" y="287"/>
                  </a:lnTo>
                  <a:lnTo>
                    <a:pt x="745" y="289"/>
                  </a:lnTo>
                  <a:lnTo>
                    <a:pt x="745" y="295"/>
                  </a:lnTo>
                  <a:lnTo>
                    <a:pt x="744" y="297"/>
                  </a:lnTo>
                  <a:lnTo>
                    <a:pt x="744" y="298"/>
                  </a:lnTo>
                  <a:lnTo>
                    <a:pt x="742" y="299"/>
                  </a:lnTo>
                  <a:lnTo>
                    <a:pt x="741" y="299"/>
                  </a:lnTo>
                  <a:lnTo>
                    <a:pt x="736" y="298"/>
                  </a:lnTo>
                  <a:lnTo>
                    <a:pt x="735" y="298"/>
                  </a:lnTo>
                  <a:lnTo>
                    <a:pt x="733" y="299"/>
                  </a:lnTo>
                  <a:lnTo>
                    <a:pt x="732" y="298"/>
                  </a:lnTo>
                  <a:lnTo>
                    <a:pt x="729" y="298"/>
                  </a:lnTo>
                  <a:lnTo>
                    <a:pt x="728" y="299"/>
                  </a:lnTo>
                  <a:lnTo>
                    <a:pt x="726" y="297"/>
                  </a:lnTo>
                  <a:lnTo>
                    <a:pt x="724" y="297"/>
                  </a:lnTo>
                  <a:lnTo>
                    <a:pt x="718" y="298"/>
                  </a:lnTo>
                  <a:lnTo>
                    <a:pt x="715" y="298"/>
                  </a:lnTo>
                  <a:lnTo>
                    <a:pt x="713" y="297"/>
                  </a:lnTo>
                  <a:lnTo>
                    <a:pt x="707" y="296"/>
                  </a:lnTo>
                  <a:lnTo>
                    <a:pt x="704" y="297"/>
                  </a:lnTo>
                  <a:lnTo>
                    <a:pt x="701" y="304"/>
                  </a:lnTo>
                  <a:lnTo>
                    <a:pt x="701" y="308"/>
                  </a:lnTo>
                  <a:lnTo>
                    <a:pt x="696" y="308"/>
                  </a:lnTo>
                  <a:lnTo>
                    <a:pt x="695" y="310"/>
                  </a:lnTo>
                  <a:lnTo>
                    <a:pt x="693" y="310"/>
                  </a:lnTo>
                  <a:lnTo>
                    <a:pt x="693" y="311"/>
                  </a:lnTo>
                  <a:lnTo>
                    <a:pt x="684" y="313"/>
                  </a:lnTo>
                  <a:lnTo>
                    <a:pt x="682" y="315"/>
                  </a:lnTo>
                  <a:lnTo>
                    <a:pt x="680" y="317"/>
                  </a:lnTo>
                  <a:lnTo>
                    <a:pt x="680" y="326"/>
                  </a:lnTo>
                  <a:lnTo>
                    <a:pt x="679" y="328"/>
                  </a:lnTo>
                  <a:lnTo>
                    <a:pt x="677" y="330"/>
                  </a:lnTo>
                  <a:lnTo>
                    <a:pt x="677" y="332"/>
                  </a:lnTo>
                  <a:lnTo>
                    <a:pt x="680" y="332"/>
                  </a:lnTo>
                  <a:lnTo>
                    <a:pt x="682" y="333"/>
                  </a:lnTo>
                  <a:lnTo>
                    <a:pt x="682" y="335"/>
                  </a:lnTo>
                  <a:lnTo>
                    <a:pt x="680" y="335"/>
                  </a:lnTo>
                  <a:lnTo>
                    <a:pt x="678" y="338"/>
                  </a:lnTo>
                  <a:lnTo>
                    <a:pt x="678" y="345"/>
                  </a:lnTo>
                  <a:lnTo>
                    <a:pt x="676" y="347"/>
                  </a:lnTo>
                  <a:lnTo>
                    <a:pt x="673" y="348"/>
                  </a:lnTo>
                  <a:lnTo>
                    <a:pt x="674" y="346"/>
                  </a:lnTo>
                  <a:lnTo>
                    <a:pt x="672" y="344"/>
                  </a:lnTo>
                  <a:lnTo>
                    <a:pt x="672" y="345"/>
                  </a:lnTo>
                  <a:lnTo>
                    <a:pt x="668" y="345"/>
                  </a:lnTo>
                  <a:lnTo>
                    <a:pt x="667" y="344"/>
                  </a:lnTo>
                  <a:lnTo>
                    <a:pt x="667" y="345"/>
                  </a:lnTo>
                  <a:lnTo>
                    <a:pt x="664" y="344"/>
                  </a:lnTo>
                  <a:lnTo>
                    <a:pt x="659" y="346"/>
                  </a:lnTo>
                  <a:lnTo>
                    <a:pt x="657" y="346"/>
                  </a:lnTo>
                  <a:lnTo>
                    <a:pt x="652" y="345"/>
                  </a:lnTo>
                  <a:lnTo>
                    <a:pt x="651" y="345"/>
                  </a:lnTo>
                  <a:lnTo>
                    <a:pt x="647" y="348"/>
                  </a:lnTo>
                  <a:lnTo>
                    <a:pt x="643" y="354"/>
                  </a:lnTo>
                  <a:lnTo>
                    <a:pt x="642" y="357"/>
                  </a:lnTo>
                  <a:lnTo>
                    <a:pt x="641" y="357"/>
                  </a:lnTo>
                  <a:lnTo>
                    <a:pt x="640" y="358"/>
                  </a:lnTo>
                  <a:lnTo>
                    <a:pt x="640" y="356"/>
                  </a:lnTo>
                  <a:lnTo>
                    <a:pt x="637" y="354"/>
                  </a:lnTo>
                  <a:lnTo>
                    <a:pt x="636" y="354"/>
                  </a:lnTo>
                  <a:lnTo>
                    <a:pt x="629" y="358"/>
                  </a:lnTo>
                  <a:lnTo>
                    <a:pt x="628" y="358"/>
                  </a:lnTo>
                  <a:lnTo>
                    <a:pt x="627" y="359"/>
                  </a:lnTo>
                  <a:lnTo>
                    <a:pt x="626" y="359"/>
                  </a:lnTo>
                  <a:lnTo>
                    <a:pt x="622" y="363"/>
                  </a:lnTo>
                  <a:lnTo>
                    <a:pt x="621" y="363"/>
                  </a:lnTo>
                  <a:lnTo>
                    <a:pt x="621" y="365"/>
                  </a:lnTo>
                  <a:lnTo>
                    <a:pt x="620" y="366"/>
                  </a:lnTo>
                  <a:lnTo>
                    <a:pt x="620" y="370"/>
                  </a:lnTo>
                  <a:lnTo>
                    <a:pt x="617" y="372"/>
                  </a:lnTo>
                  <a:lnTo>
                    <a:pt x="618" y="370"/>
                  </a:lnTo>
                  <a:lnTo>
                    <a:pt x="618" y="366"/>
                  </a:lnTo>
                  <a:lnTo>
                    <a:pt x="617" y="365"/>
                  </a:lnTo>
                  <a:lnTo>
                    <a:pt x="616" y="365"/>
                  </a:lnTo>
                  <a:lnTo>
                    <a:pt x="615" y="364"/>
                  </a:lnTo>
                  <a:lnTo>
                    <a:pt x="610" y="364"/>
                  </a:lnTo>
                  <a:lnTo>
                    <a:pt x="610" y="365"/>
                  </a:lnTo>
                  <a:lnTo>
                    <a:pt x="606" y="365"/>
                  </a:lnTo>
                  <a:lnTo>
                    <a:pt x="605" y="366"/>
                  </a:lnTo>
                  <a:lnTo>
                    <a:pt x="603" y="366"/>
                  </a:lnTo>
                  <a:lnTo>
                    <a:pt x="602" y="367"/>
                  </a:lnTo>
                  <a:lnTo>
                    <a:pt x="601" y="367"/>
                  </a:lnTo>
                  <a:lnTo>
                    <a:pt x="598" y="371"/>
                  </a:lnTo>
                  <a:lnTo>
                    <a:pt x="597" y="372"/>
                  </a:lnTo>
                  <a:lnTo>
                    <a:pt x="597" y="375"/>
                  </a:lnTo>
                  <a:lnTo>
                    <a:pt x="596" y="375"/>
                  </a:lnTo>
                  <a:lnTo>
                    <a:pt x="596" y="373"/>
                  </a:lnTo>
                  <a:lnTo>
                    <a:pt x="595" y="373"/>
                  </a:lnTo>
                  <a:lnTo>
                    <a:pt x="595" y="371"/>
                  </a:lnTo>
                  <a:lnTo>
                    <a:pt x="593" y="371"/>
                  </a:lnTo>
                  <a:lnTo>
                    <a:pt x="593" y="370"/>
                  </a:lnTo>
                  <a:lnTo>
                    <a:pt x="592" y="371"/>
                  </a:lnTo>
                  <a:lnTo>
                    <a:pt x="591" y="371"/>
                  </a:lnTo>
                  <a:lnTo>
                    <a:pt x="587" y="370"/>
                  </a:lnTo>
                  <a:lnTo>
                    <a:pt x="581" y="371"/>
                  </a:lnTo>
                  <a:lnTo>
                    <a:pt x="580" y="371"/>
                  </a:lnTo>
                  <a:lnTo>
                    <a:pt x="578" y="373"/>
                  </a:lnTo>
                  <a:lnTo>
                    <a:pt x="575" y="375"/>
                  </a:lnTo>
                  <a:lnTo>
                    <a:pt x="570" y="381"/>
                  </a:lnTo>
                  <a:lnTo>
                    <a:pt x="565" y="383"/>
                  </a:lnTo>
                  <a:lnTo>
                    <a:pt x="564" y="384"/>
                  </a:lnTo>
                  <a:lnTo>
                    <a:pt x="562" y="384"/>
                  </a:lnTo>
                  <a:lnTo>
                    <a:pt x="561" y="387"/>
                  </a:lnTo>
                  <a:lnTo>
                    <a:pt x="561" y="388"/>
                  </a:lnTo>
                  <a:lnTo>
                    <a:pt x="559" y="388"/>
                  </a:lnTo>
                  <a:lnTo>
                    <a:pt x="559" y="389"/>
                  </a:lnTo>
                  <a:lnTo>
                    <a:pt x="558" y="391"/>
                  </a:lnTo>
                  <a:lnTo>
                    <a:pt x="558" y="389"/>
                  </a:lnTo>
                  <a:lnTo>
                    <a:pt x="556" y="390"/>
                  </a:lnTo>
                  <a:lnTo>
                    <a:pt x="555" y="390"/>
                  </a:lnTo>
                  <a:lnTo>
                    <a:pt x="555" y="391"/>
                  </a:lnTo>
                  <a:lnTo>
                    <a:pt x="554" y="390"/>
                  </a:lnTo>
                  <a:lnTo>
                    <a:pt x="554" y="387"/>
                  </a:lnTo>
                  <a:lnTo>
                    <a:pt x="555" y="384"/>
                  </a:lnTo>
                  <a:lnTo>
                    <a:pt x="553" y="384"/>
                  </a:lnTo>
                  <a:lnTo>
                    <a:pt x="553" y="383"/>
                  </a:lnTo>
                  <a:lnTo>
                    <a:pt x="552" y="383"/>
                  </a:lnTo>
                  <a:lnTo>
                    <a:pt x="552" y="382"/>
                  </a:lnTo>
                  <a:lnTo>
                    <a:pt x="550" y="381"/>
                  </a:lnTo>
                  <a:lnTo>
                    <a:pt x="549" y="382"/>
                  </a:lnTo>
                  <a:lnTo>
                    <a:pt x="552" y="384"/>
                  </a:lnTo>
                  <a:lnTo>
                    <a:pt x="552" y="388"/>
                  </a:lnTo>
                  <a:lnTo>
                    <a:pt x="549" y="389"/>
                  </a:lnTo>
                  <a:lnTo>
                    <a:pt x="547" y="394"/>
                  </a:lnTo>
                  <a:lnTo>
                    <a:pt x="544" y="396"/>
                  </a:lnTo>
                  <a:lnTo>
                    <a:pt x="540" y="397"/>
                  </a:lnTo>
                  <a:lnTo>
                    <a:pt x="539" y="397"/>
                  </a:lnTo>
                  <a:lnTo>
                    <a:pt x="539" y="396"/>
                  </a:lnTo>
                  <a:lnTo>
                    <a:pt x="537" y="396"/>
                  </a:lnTo>
                  <a:lnTo>
                    <a:pt x="537" y="397"/>
                  </a:lnTo>
                  <a:lnTo>
                    <a:pt x="535" y="400"/>
                  </a:lnTo>
                  <a:lnTo>
                    <a:pt x="535" y="407"/>
                  </a:lnTo>
                  <a:lnTo>
                    <a:pt x="536" y="408"/>
                  </a:lnTo>
                  <a:lnTo>
                    <a:pt x="537" y="415"/>
                  </a:lnTo>
                  <a:lnTo>
                    <a:pt x="537" y="416"/>
                  </a:lnTo>
                  <a:lnTo>
                    <a:pt x="539" y="418"/>
                  </a:lnTo>
                  <a:lnTo>
                    <a:pt x="541" y="424"/>
                  </a:lnTo>
                  <a:lnTo>
                    <a:pt x="544" y="431"/>
                  </a:lnTo>
                  <a:lnTo>
                    <a:pt x="556" y="449"/>
                  </a:lnTo>
                  <a:lnTo>
                    <a:pt x="562" y="453"/>
                  </a:lnTo>
                  <a:lnTo>
                    <a:pt x="565" y="453"/>
                  </a:lnTo>
                  <a:lnTo>
                    <a:pt x="572" y="451"/>
                  </a:lnTo>
                  <a:lnTo>
                    <a:pt x="573" y="451"/>
                  </a:lnTo>
                  <a:lnTo>
                    <a:pt x="574" y="450"/>
                  </a:lnTo>
                  <a:lnTo>
                    <a:pt x="574" y="449"/>
                  </a:lnTo>
                  <a:lnTo>
                    <a:pt x="575" y="449"/>
                  </a:lnTo>
                  <a:lnTo>
                    <a:pt x="575" y="446"/>
                  </a:lnTo>
                  <a:lnTo>
                    <a:pt x="577" y="445"/>
                  </a:lnTo>
                  <a:lnTo>
                    <a:pt x="577" y="444"/>
                  </a:lnTo>
                  <a:lnTo>
                    <a:pt x="578" y="443"/>
                  </a:lnTo>
                  <a:lnTo>
                    <a:pt x="579" y="444"/>
                  </a:lnTo>
                  <a:lnTo>
                    <a:pt x="579" y="445"/>
                  </a:lnTo>
                  <a:lnTo>
                    <a:pt x="578" y="446"/>
                  </a:lnTo>
                  <a:lnTo>
                    <a:pt x="579" y="446"/>
                  </a:lnTo>
                  <a:lnTo>
                    <a:pt x="579" y="448"/>
                  </a:lnTo>
                  <a:lnTo>
                    <a:pt x="583" y="449"/>
                  </a:lnTo>
                  <a:lnTo>
                    <a:pt x="584" y="450"/>
                  </a:lnTo>
                  <a:lnTo>
                    <a:pt x="586" y="450"/>
                  </a:lnTo>
                  <a:lnTo>
                    <a:pt x="587" y="448"/>
                  </a:lnTo>
                  <a:lnTo>
                    <a:pt x="587" y="445"/>
                  </a:lnTo>
                  <a:lnTo>
                    <a:pt x="589" y="445"/>
                  </a:lnTo>
                  <a:lnTo>
                    <a:pt x="590" y="444"/>
                  </a:lnTo>
                  <a:lnTo>
                    <a:pt x="596" y="444"/>
                  </a:lnTo>
                  <a:lnTo>
                    <a:pt x="597" y="443"/>
                  </a:lnTo>
                  <a:lnTo>
                    <a:pt x="598" y="444"/>
                  </a:lnTo>
                  <a:lnTo>
                    <a:pt x="597" y="445"/>
                  </a:lnTo>
                  <a:lnTo>
                    <a:pt x="598" y="445"/>
                  </a:lnTo>
                  <a:lnTo>
                    <a:pt x="599" y="444"/>
                  </a:lnTo>
                  <a:lnTo>
                    <a:pt x="601" y="444"/>
                  </a:lnTo>
                  <a:lnTo>
                    <a:pt x="602" y="445"/>
                  </a:lnTo>
                  <a:lnTo>
                    <a:pt x="605" y="445"/>
                  </a:lnTo>
                  <a:lnTo>
                    <a:pt x="608" y="448"/>
                  </a:lnTo>
                  <a:lnTo>
                    <a:pt x="608" y="446"/>
                  </a:lnTo>
                  <a:lnTo>
                    <a:pt x="610" y="446"/>
                  </a:lnTo>
                  <a:lnTo>
                    <a:pt x="611" y="448"/>
                  </a:lnTo>
                  <a:lnTo>
                    <a:pt x="611" y="451"/>
                  </a:lnTo>
                  <a:lnTo>
                    <a:pt x="605" y="451"/>
                  </a:lnTo>
                  <a:lnTo>
                    <a:pt x="605" y="455"/>
                  </a:lnTo>
                  <a:lnTo>
                    <a:pt x="603" y="455"/>
                  </a:lnTo>
                  <a:lnTo>
                    <a:pt x="603" y="458"/>
                  </a:lnTo>
                  <a:lnTo>
                    <a:pt x="602" y="461"/>
                  </a:lnTo>
                  <a:lnTo>
                    <a:pt x="602" y="463"/>
                  </a:lnTo>
                  <a:lnTo>
                    <a:pt x="603" y="464"/>
                  </a:lnTo>
                  <a:lnTo>
                    <a:pt x="603" y="465"/>
                  </a:lnTo>
                  <a:lnTo>
                    <a:pt x="604" y="465"/>
                  </a:lnTo>
                  <a:lnTo>
                    <a:pt x="604" y="467"/>
                  </a:lnTo>
                  <a:lnTo>
                    <a:pt x="603" y="468"/>
                  </a:lnTo>
                  <a:lnTo>
                    <a:pt x="601" y="469"/>
                  </a:lnTo>
                  <a:lnTo>
                    <a:pt x="596" y="469"/>
                  </a:lnTo>
                  <a:lnTo>
                    <a:pt x="596" y="470"/>
                  </a:lnTo>
                  <a:lnTo>
                    <a:pt x="595" y="470"/>
                  </a:lnTo>
                  <a:lnTo>
                    <a:pt x="595" y="471"/>
                  </a:lnTo>
                  <a:lnTo>
                    <a:pt x="591" y="470"/>
                  </a:lnTo>
                  <a:lnTo>
                    <a:pt x="589" y="469"/>
                  </a:lnTo>
                  <a:lnTo>
                    <a:pt x="586" y="469"/>
                  </a:lnTo>
                  <a:lnTo>
                    <a:pt x="585" y="471"/>
                  </a:lnTo>
                  <a:lnTo>
                    <a:pt x="578" y="471"/>
                  </a:lnTo>
                  <a:lnTo>
                    <a:pt x="577" y="470"/>
                  </a:lnTo>
                  <a:lnTo>
                    <a:pt x="577" y="469"/>
                  </a:lnTo>
                  <a:lnTo>
                    <a:pt x="575" y="468"/>
                  </a:lnTo>
                  <a:lnTo>
                    <a:pt x="572" y="465"/>
                  </a:lnTo>
                  <a:lnTo>
                    <a:pt x="570" y="464"/>
                  </a:lnTo>
                  <a:lnTo>
                    <a:pt x="564" y="464"/>
                  </a:lnTo>
                  <a:lnTo>
                    <a:pt x="562" y="465"/>
                  </a:lnTo>
                  <a:lnTo>
                    <a:pt x="560" y="467"/>
                  </a:lnTo>
                  <a:lnTo>
                    <a:pt x="560" y="470"/>
                  </a:lnTo>
                  <a:lnTo>
                    <a:pt x="561" y="470"/>
                  </a:lnTo>
                  <a:lnTo>
                    <a:pt x="561" y="471"/>
                  </a:lnTo>
                  <a:lnTo>
                    <a:pt x="559" y="471"/>
                  </a:lnTo>
                  <a:lnTo>
                    <a:pt x="558" y="473"/>
                  </a:lnTo>
                  <a:lnTo>
                    <a:pt x="558" y="475"/>
                  </a:lnTo>
                  <a:lnTo>
                    <a:pt x="556" y="474"/>
                  </a:lnTo>
                  <a:lnTo>
                    <a:pt x="553" y="474"/>
                  </a:lnTo>
                  <a:lnTo>
                    <a:pt x="553" y="476"/>
                  </a:lnTo>
                  <a:lnTo>
                    <a:pt x="552" y="476"/>
                  </a:lnTo>
                  <a:lnTo>
                    <a:pt x="550" y="477"/>
                  </a:lnTo>
                  <a:lnTo>
                    <a:pt x="549" y="477"/>
                  </a:lnTo>
                  <a:lnTo>
                    <a:pt x="547" y="482"/>
                  </a:lnTo>
                  <a:lnTo>
                    <a:pt x="546" y="483"/>
                  </a:lnTo>
                  <a:lnTo>
                    <a:pt x="543" y="483"/>
                  </a:lnTo>
                  <a:lnTo>
                    <a:pt x="543" y="481"/>
                  </a:lnTo>
                  <a:lnTo>
                    <a:pt x="540" y="481"/>
                  </a:lnTo>
                  <a:lnTo>
                    <a:pt x="539" y="482"/>
                  </a:lnTo>
                  <a:lnTo>
                    <a:pt x="531" y="482"/>
                  </a:lnTo>
                  <a:lnTo>
                    <a:pt x="528" y="485"/>
                  </a:lnTo>
                  <a:lnTo>
                    <a:pt x="527" y="486"/>
                  </a:lnTo>
                  <a:lnTo>
                    <a:pt x="523" y="486"/>
                  </a:lnTo>
                  <a:lnTo>
                    <a:pt x="521" y="488"/>
                  </a:lnTo>
                  <a:lnTo>
                    <a:pt x="521" y="487"/>
                  </a:lnTo>
                  <a:lnTo>
                    <a:pt x="518" y="489"/>
                  </a:lnTo>
                  <a:lnTo>
                    <a:pt x="518" y="491"/>
                  </a:lnTo>
                  <a:lnTo>
                    <a:pt x="516" y="493"/>
                  </a:lnTo>
                  <a:lnTo>
                    <a:pt x="515" y="498"/>
                  </a:lnTo>
                  <a:lnTo>
                    <a:pt x="515" y="499"/>
                  </a:lnTo>
                  <a:lnTo>
                    <a:pt x="511" y="499"/>
                  </a:lnTo>
                  <a:lnTo>
                    <a:pt x="511" y="500"/>
                  </a:lnTo>
                  <a:lnTo>
                    <a:pt x="510" y="501"/>
                  </a:lnTo>
                  <a:lnTo>
                    <a:pt x="508" y="501"/>
                  </a:lnTo>
                  <a:lnTo>
                    <a:pt x="508" y="504"/>
                  </a:lnTo>
                  <a:lnTo>
                    <a:pt x="506" y="504"/>
                  </a:lnTo>
                  <a:lnTo>
                    <a:pt x="506" y="505"/>
                  </a:lnTo>
                  <a:lnTo>
                    <a:pt x="505" y="506"/>
                  </a:lnTo>
                  <a:lnTo>
                    <a:pt x="503" y="506"/>
                  </a:lnTo>
                  <a:lnTo>
                    <a:pt x="499" y="508"/>
                  </a:lnTo>
                  <a:lnTo>
                    <a:pt x="497" y="508"/>
                  </a:lnTo>
                  <a:lnTo>
                    <a:pt x="494" y="507"/>
                  </a:lnTo>
                  <a:lnTo>
                    <a:pt x="488" y="507"/>
                  </a:lnTo>
                  <a:lnTo>
                    <a:pt x="485" y="506"/>
                  </a:lnTo>
                  <a:lnTo>
                    <a:pt x="485" y="504"/>
                  </a:lnTo>
                  <a:lnTo>
                    <a:pt x="484" y="501"/>
                  </a:lnTo>
                  <a:lnTo>
                    <a:pt x="479" y="501"/>
                  </a:lnTo>
                  <a:lnTo>
                    <a:pt x="479" y="500"/>
                  </a:lnTo>
                  <a:lnTo>
                    <a:pt x="474" y="498"/>
                  </a:lnTo>
                  <a:lnTo>
                    <a:pt x="474" y="496"/>
                  </a:lnTo>
                  <a:lnTo>
                    <a:pt x="475" y="495"/>
                  </a:lnTo>
                  <a:lnTo>
                    <a:pt x="479" y="495"/>
                  </a:lnTo>
                  <a:lnTo>
                    <a:pt x="479" y="494"/>
                  </a:lnTo>
                  <a:lnTo>
                    <a:pt x="481" y="494"/>
                  </a:lnTo>
                  <a:lnTo>
                    <a:pt x="480" y="493"/>
                  </a:lnTo>
                  <a:lnTo>
                    <a:pt x="480" y="492"/>
                  </a:lnTo>
                  <a:lnTo>
                    <a:pt x="481" y="491"/>
                  </a:lnTo>
                  <a:lnTo>
                    <a:pt x="481" y="487"/>
                  </a:lnTo>
                  <a:lnTo>
                    <a:pt x="480" y="486"/>
                  </a:lnTo>
                  <a:lnTo>
                    <a:pt x="480" y="483"/>
                  </a:lnTo>
                  <a:lnTo>
                    <a:pt x="481" y="482"/>
                  </a:lnTo>
                  <a:lnTo>
                    <a:pt x="481" y="481"/>
                  </a:lnTo>
                  <a:lnTo>
                    <a:pt x="484" y="480"/>
                  </a:lnTo>
                  <a:lnTo>
                    <a:pt x="484" y="479"/>
                  </a:lnTo>
                  <a:lnTo>
                    <a:pt x="485" y="477"/>
                  </a:lnTo>
                  <a:lnTo>
                    <a:pt x="485" y="475"/>
                  </a:lnTo>
                  <a:lnTo>
                    <a:pt x="484" y="473"/>
                  </a:lnTo>
                  <a:lnTo>
                    <a:pt x="484" y="471"/>
                  </a:lnTo>
                  <a:lnTo>
                    <a:pt x="483" y="470"/>
                  </a:lnTo>
                  <a:lnTo>
                    <a:pt x="483" y="465"/>
                  </a:lnTo>
                  <a:lnTo>
                    <a:pt x="481" y="464"/>
                  </a:lnTo>
                  <a:lnTo>
                    <a:pt x="478" y="463"/>
                  </a:lnTo>
                  <a:lnTo>
                    <a:pt x="475" y="461"/>
                  </a:lnTo>
                  <a:lnTo>
                    <a:pt x="472" y="461"/>
                  </a:lnTo>
                  <a:lnTo>
                    <a:pt x="471" y="462"/>
                  </a:lnTo>
                  <a:lnTo>
                    <a:pt x="468" y="462"/>
                  </a:lnTo>
                  <a:lnTo>
                    <a:pt x="468" y="461"/>
                  </a:lnTo>
                  <a:lnTo>
                    <a:pt x="467" y="461"/>
                  </a:lnTo>
                  <a:lnTo>
                    <a:pt x="466" y="459"/>
                  </a:lnTo>
                  <a:lnTo>
                    <a:pt x="465" y="459"/>
                  </a:lnTo>
                  <a:lnTo>
                    <a:pt x="463" y="457"/>
                  </a:lnTo>
                  <a:lnTo>
                    <a:pt x="462" y="457"/>
                  </a:lnTo>
                  <a:lnTo>
                    <a:pt x="462" y="456"/>
                  </a:lnTo>
                  <a:lnTo>
                    <a:pt x="461" y="455"/>
                  </a:lnTo>
                  <a:lnTo>
                    <a:pt x="460" y="455"/>
                  </a:lnTo>
                  <a:lnTo>
                    <a:pt x="456" y="451"/>
                  </a:lnTo>
                  <a:lnTo>
                    <a:pt x="454" y="450"/>
                  </a:lnTo>
                  <a:lnTo>
                    <a:pt x="446" y="450"/>
                  </a:lnTo>
                  <a:lnTo>
                    <a:pt x="444" y="452"/>
                  </a:lnTo>
                  <a:lnTo>
                    <a:pt x="440" y="452"/>
                  </a:lnTo>
                  <a:lnTo>
                    <a:pt x="438" y="451"/>
                  </a:lnTo>
                  <a:lnTo>
                    <a:pt x="437" y="451"/>
                  </a:lnTo>
                  <a:lnTo>
                    <a:pt x="436" y="448"/>
                  </a:lnTo>
                  <a:lnTo>
                    <a:pt x="437" y="445"/>
                  </a:lnTo>
                  <a:lnTo>
                    <a:pt x="438" y="444"/>
                  </a:lnTo>
                  <a:lnTo>
                    <a:pt x="443" y="440"/>
                  </a:lnTo>
                  <a:lnTo>
                    <a:pt x="446" y="440"/>
                  </a:lnTo>
                  <a:lnTo>
                    <a:pt x="446" y="439"/>
                  </a:lnTo>
                  <a:lnTo>
                    <a:pt x="447" y="439"/>
                  </a:lnTo>
                  <a:lnTo>
                    <a:pt x="448" y="438"/>
                  </a:lnTo>
                  <a:lnTo>
                    <a:pt x="452" y="438"/>
                  </a:lnTo>
                  <a:lnTo>
                    <a:pt x="452" y="437"/>
                  </a:lnTo>
                  <a:lnTo>
                    <a:pt x="450" y="437"/>
                  </a:lnTo>
                  <a:lnTo>
                    <a:pt x="452" y="436"/>
                  </a:lnTo>
                  <a:lnTo>
                    <a:pt x="453" y="433"/>
                  </a:lnTo>
                  <a:lnTo>
                    <a:pt x="465" y="427"/>
                  </a:lnTo>
                  <a:lnTo>
                    <a:pt x="466" y="427"/>
                  </a:lnTo>
                  <a:lnTo>
                    <a:pt x="466" y="426"/>
                  </a:lnTo>
                  <a:lnTo>
                    <a:pt x="465" y="425"/>
                  </a:lnTo>
                  <a:lnTo>
                    <a:pt x="466" y="425"/>
                  </a:lnTo>
                  <a:lnTo>
                    <a:pt x="467" y="426"/>
                  </a:lnTo>
                  <a:lnTo>
                    <a:pt x="469" y="426"/>
                  </a:lnTo>
                  <a:lnTo>
                    <a:pt x="473" y="425"/>
                  </a:lnTo>
                  <a:lnTo>
                    <a:pt x="474" y="424"/>
                  </a:lnTo>
                  <a:lnTo>
                    <a:pt x="475" y="421"/>
                  </a:lnTo>
                  <a:lnTo>
                    <a:pt x="477" y="421"/>
                  </a:lnTo>
                  <a:lnTo>
                    <a:pt x="478" y="420"/>
                  </a:lnTo>
                  <a:lnTo>
                    <a:pt x="479" y="420"/>
                  </a:lnTo>
                  <a:lnTo>
                    <a:pt x="480" y="421"/>
                  </a:lnTo>
                  <a:lnTo>
                    <a:pt x="483" y="419"/>
                  </a:lnTo>
                  <a:lnTo>
                    <a:pt x="486" y="419"/>
                  </a:lnTo>
                  <a:lnTo>
                    <a:pt x="486" y="420"/>
                  </a:lnTo>
                  <a:lnTo>
                    <a:pt x="487" y="420"/>
                  </a:lnTo>
                  <a:lnTo>
                    <a:pt x="487" y="416"/>
                  </a:lnTo>
                  <a:lnTo>
                    <a:pt x="491" y="416"/>
                  </a:lnTo>
                  <a:lnTo>
                    <a:pt x="491" y="415"/>
                  </a:lnTo>
                  <a:lnTo>
                    <a:pt x="490" y="415"/>
                  </a:lnTo>
                  <a:lnTo>
                    <a:pt x="490" y="414"/>
                  </a:lnTo>
                  <a:lnTo>
                    <a:pt x="485" y="414"/>
                  </a:lnTo>
                  <a:lnTo>
                    <a:pt x="485" y="413"/>
                  </a:lnTo>
                  <a:lnTo>
                    <a:pt x="486" y="413"/>
                  </a:lnTo>
                  <a:lnTo>
                    <a:pt x="485" y="412"/>
                  </a:lnTo>
                  <a:lnTo>
                    <a:pt x="485" y="407"/>
                  </a:lnTo>
                  <a:lnTo>
                    <a:pt x="486" y="406"/>
                  </a:lnTo>
                  <a:lnTo>
                    <a:pt x="485" y="405"/>
                  </a:lnTo>
                  <a:lnTo>
                    <a:pt x="484" y="402"/>
                  </a:lnTo>
                  <a:lnTo>
                    <a:pt x="483" y="402"/>
                  </a:lnTo>
                  <a:lnTo>
                    <a:pt x="480" y="405"/>
                  </a:lnTo>
                  <a:lnTo>
                    <a:pt x="481" y="406"/>
                  </a:lnTo>
                  <a:lnTo>
                    <a:pt x="480" y="406"/>
                  </a:lnTo>
                  <a:lnTo>
                    <a:pt x="480" y="407"/>
                  </a:lnTo>
                  <a:lnTo>
                    <a:pt x="479" y="407"/>
                  </a:lnTo>
                  <a:lnTo>
                    <a:pt x="480" y="408"/>
                  </a:lnTo>
                  <a:lnTo>
                    <a:pt x="475" y="408"/>
                  </a:lnTo>
                  <a:lnTo>
                    <a:pt x="474" y="406"/>
                  </a:lnTo>
                  <a:lnTo>
                    <a:pt x="473" y="405"/>
                  </a:lnTo>
                  <a:lnTo>
                    <a:pt x="472" y="405"/>
                  </a:lnTo>
                  <a:lnTo>
                    <a:pt x="472" y="403"/>
                  </a:lnTo>
                  <a:lnTo>
                    <a:pt x="467" y="403"/>
                  </a:lnTo>
                  <a:lnTo>
                    <a:pt x="467" y="402"/>
                  </a:lnTo>
                  <a:lnTo>
                    <a:pt x="468" y="402"/>
                  </a:lnTo>
                  <a:lnTo>
                    <a:pt x="468" y="397"/>
                  </a:lnTo>
                  <a:lnTo>
                    <a:pt x="467" y="399"/>
                  </a:lnTo>
                  <a:lnTo>
                    <a:pt x="467" y="401"/>
                  </a:lnTo>
                  <a:lnTo>
                    <a:pt x="466" y="402"/>
                  </a:lnTo>
                  <a:lnTo>
                    <a:pt x="465" y="402"/>
                  </a:lnTo>
                  <a:lnTo>
                    <a:pt x="463" y="403"/>
                  </a:lnTo>
                  <a:lnTo>
                    <a:pt x="462" y="403"/>
                  </a:lnTo>
                  <a:lnTo>
                    <a:pt x="462" y="402"/>
                  </a:lnTo>
                  <a:lnTo>
                    <a:pt x="459" y="401"/>
                  </a:lnTo>
                  <a:lnTo>
                    <a:pt x="460" y="403"/>
                  </a:lnTo>
                  <a:lnTo>
                    <a:pt x="459" y="403"/>
                  </a:lnTo>
                  <a:lnTo>
                    <a:pt x="455" y="405"/>
                  </a:lnTo>
                  <a:lnTo>
                    <a:pt x="452" y="405"/>
                  </a:lnTo>
                  <a:lnTo>
                    <a:pt x="449" y="403"/>
                  </a:lnTo>
                  <a:lnTo>
                    <a:pt x="448" y="403"/>
                  </a:lnTo>
                  <a:lnTo>
                    <a:pt x="447" y="405"/>
                  </a:lnTo>
                  <a:lnTo>
                    <a:pt x="441" y="405"/>
                  </a:lnTo>
                  <a:lnTo>
                    <a:pt x="441" y="406"/>
                  </a:lnTo>
                  <a:lnTo>
                    <a:pt x="440" y="406"/>
                  </a:lnTo>
                  <a:lnTo>
                    <a:pt x="438" y="407"/>
                  </a:lnTo>
                  <a:lnTo>
                    <a:pt x="437" y="407"/>
                  </a:lnTo>
                  <a:lnTo>
                    <a:pt x="429" y="405"/>
                  </a:lnTo>
                  <a:lnTo>
                    <a:pt x="428" y="403"/>
                  </a:lnTo>
                  <a:lnTo>
                    <a:pt x="426" y="403"/>
                  </a:lnTo>
                  <a:lnTo>
                    <a:pt x="426" y="400"/>
                  </a:lnTo>
                  <a:lnTo>
                    <a:pt x="428" y="400"/>
                  </a:lnTo>
                  <a:lnTo>
                    <a:pt x="428" y="399"/>
                  </a:lnTo>
                  <a:lnTo>
                    <a:pt x="426" y="400"/>
                  </a:lnTo>
                  <a:lnTo>
                    <a:pt x="424" y="400"/>
                  </a:lnTo>
                  <a:lnTo>
                    <a:pt x="422" y="399"/>
                  </a:lnTo>
                  <a:lnTo>
                    <a:pt x="421" y="399"/>
                  </a:lnTo>
                  <a:lnTo>
                    <a:pt x="419" y="396"/>
                  </a:lnTo>
                  <a:lnTo>
                    <a:pt x="418" y="395"/>
                  </a:lnTo>
                  <a:lnTo>
                    <a:pt x="417" y="396"/>
                  </a:lnTo>
                  <a:lnTo>
                    <a:pt x="415" y="395"/>
                  </a:lnTo>
                  <a:lnTo>
                    <a:pt x="411" y="391"/>
                  </a:lnTo>
                  <a:lnTo>
                    <a:pt x="411" y="394"/>
                  </a:lnTo>
                  <a:lnTo>
                    <a:pt x="407" y="394"/>
                  </a:lnTo>
                  <a:lnTo>
                    <a:pt x="406" y="393"/>
                  </a:lnTo>
                  <a:lnTo>
                    <a:pt x="406" y="391"/>
                  </a:lnTo>
                  <a:lnTo>
                    <a:pt x="407" y="390"/>
                  </a:lnTo>
                  <a:lnTo>
                    <a:pt x="415" y="390"/>
                  </a:lnTo>
                  <a:lnTo>
                    <a:pt x="417" y="388"/>
                  </a:lnTo>
                  <a:lnTo>
                    <a:pt x="418" y="388"/>
                  </a:lnTo>
                  <a:lnTo>
                    <a:pt x="418" y="387"/>
                  </a:lnTo>
                  <a:lnTo>
                    <a:pt x="417" y="384"/>
                  </a:lnTo>
                  <a:lnTo>
                    <a:pt x="415" y="384"/>
                  </a:lnTo>
                  <a:lnTo>
                    <a:pt x="412" y="383"/>
                  </a:lnTo>
                  <a:lnTo>
                    <a:pt x="406" y="381"/>
                  </a:lnTo>
                  <a:lnTo>
                    <a:pt x="404" y="381"/>
                  </a:lnTo>
                  <a:lnTo>
                    <a:pt x="403" y="382"/>
                  </a:lnTo>
                  <a:lnTo>
                    <a:pt x="403" y="385"/>
                  </a:lnTo>
                  <a:lnTo>
                    <a:pt x="401" y="383"/>
                  </a:lnTo>
                  <a:lnTo>
                    <a:pt x="401" y="382"/>
                  </a:lnTo>
                  <a:lnTo>
                    <a:pt x="396" y="377"/>
                  </a:lnTo>
                  <a:lnTo>
                    <a:pt x="396" y="376"/>
                  </a:lnTo>
                  <a:lnTo>
                    <a:pt x="398" y="378"/>
                  </a:lnTo>
                  <a:lnTo>
                    <a:pt x="406" y="377"/>
                  </a:lnTo>
                  <a:lnTo>
                    <a:pt x="407" y="378"/>
                  </a:lnTo>
                  <a:lnTo>
                    <a:pt x="410" y="379"/>
                  </a:lnTo>
                  <a:lnTo>
                    <a:pt x="413" y="379"/>
                  </a:lnTo>
                  <a:lnTo>
                    <a:pt x="417" y="381"/>
                  </a:lnTo>
                  <a:lnTo>
                    <a:pt x="425" y="381"/>
                  </a:lnTo>
                  <a:lnTo>
                    <a:pt x="428" y="383"/>
                  </a:lnTo>
                  <a:lnTo>
                    <a:pt x="431" y="383"/>
                  </a:lnTo>
                  <a:lnTo>
                    <a:pt x="434" y="381"/>
                  </a:lnTo>
                  <a:lnTo>
                    <a:pt x="434" y="379"/>
                  </a:lnTo>
                  <a:lnTo>
                    <a:pt x="438" y="375"/>
                  </a:lnTo>
                  <a:lnTo>
                    <a:pt x="441" y="375"/>
                  </a:lnTo>
                  <a:lnTo>
                    <a:pt x="443" y="372"/>
                  </a:lnTo>
                  <a:lnTo>
                    <a:pt x="443" y="371"/>
                  </a:lnTo>
                  <a:lnTo>
                    <a:pt x="441" y="373"/>
                  </a:lnTo>
                  <a:lnTo>
                    <a:pt x="438" y="373"/>
                  </a:lnTo>
                  <a:lnTo>
                    <a:pt x="434" y="377"/>
                  </a:lnTo>
                  <a:lnTo>
                    <a:pt x="430" y="377"/>
                  </a:lnTo>
                  <a:lnTo>
                    <a:pt x="428" y="376"/>
                  </a:lnTo>
                  <a:lnTo>
                    <a:pt x="426" y="375"/>
                  </a:lnTo>
                  <a:lnTo>
                    <a:pt x="425" y="376"/>
                  </a:lnTo>
                  <a:lnTo>
                    <a:pt x="423" y="376"/>
                  </a:lnTo>
                  <a:lnTo>
                    <a:pt x="422" y="377"/>
                  </a:lnTo>
                  <a:lnTo>
                    <a:pt x="421" y="375"/>
                  </a:lnTo>
                  <a:lnTo>
                    <a:pt x="421" y="373"/>
                  </a:lnTo>
                  <a:lnTo>
                    <a:pt x="417" y="373"/>
                  </a:lnTo>
                  <a:lnTo>
                    <a:pt x="417" y="372"/>
                  </a:lnTo>
                  <a:lnTo>
                    <a:pt x="416" y="371"/>
                  </a:lnTo>
                  <a:lnTo>
                    <a:pt x="416" y="370"/>
                  </a:lnTo>
                  <a:lnTo>
                    <a:pt x="415" y="369"/>
                  </a:lnTo>
                  <a:lnTo>
                    <a:pt x="415" y="366"/>
                  </a:lnTo>
                  <a:lnTo>
                    <a:pt x="413" y="366"/>
                  </a:lnTo>
                  <a:lnTo>
                    <a:pt x="413" y="363"/>
                  </a:lnTo>
                  <a:lnTo>
                    <a:pt x="415" y="360"/>
                  </a:lnTo>
                  <a:lnTo>
                    <a:pt x="416" y="359"/>
                  </a:lnTo>
                  <a:lnTo>
                    <a:pt x="416" y="357"/>
                  </a:lnTo>
                  <a:lnTo>
                    <a:pt x="417" y="356"/>
                  </a:lnTo>
                  <a:lnTo>
                    <a:pt x="416" y="354"/>
                  </a:lnTo>
                  <a:lnTo>
                    <a:pt x="413" y="353"/>
                  </a:lnTo>
                  <a:lnTo>
                    <a:pt x="413" y="352"/>
                  </a:lnTo>
                  <a:lnTo>
                    <a:pt x="415" y="350"/>
                  </a:lnTo>
                  <a:lnTo>
                    <a:pt x="413" y="348"/>
                  </a:lnTo>
                  <a:lnTo>
                    <a:pt x="412" y="350"/>
                  </a:lnTo>
                  <a:lnTo>
                    <a:pt x="413" y="350"/>
                  </a:lnTo>
                  <a:lnTo>
                    <a:pt x="412" y="352"/>
                  </a:lnTo>
                  <a:lnTo>
                    <a:pt x="412" y="354"/>
                  </a:lnTo>
                  <a:lnTo>
                    <a:pt x="415" y="354"/>
                  </a:lnTo>
                  <a:lnTo>
                    <a:pt x="415" y="357"/>
                  </a:lnTo>
                  <a:lnTo>
                    <a:pt x="413" y="359"/>
                  </a:lnTo>
                  <a:lnTo>
                    <a:pt x="412" y="360"/>
                  </a:lnTo>
                  <a:lnTo>
                    <a:pt x="411" y="360"/>
                  </a:lnTo>
                  <a:lnTo>
                    <a:pt x="410" y="362"/>
                  </a:lnTo>
                  <a:lnTo>
                    <a:pt x="410" y="364"/>
                  </a:lnTo>
                  <a:lnTo>
                    <a:pt x="412" y="366"/>
                  </a:lnTo>
                  <a:lnTo>
                    <a:pt x="412" y="371"/>
                  </a:lnTo>
                  <a:lnTo>
                    <a:pt x="410" y="373"/>
                  </a:lnTo>
                  <a:lnTo>
                    <a:pt x="406" y="373"/>
                  </a:lnTo>
                  <a:lnTo>
                    <a:pt x="403" y="371"/>
                  </a:lnTo>
                  <a:lnTo>
                    <a:pt x="400" y="371"/>
                  </a:lnTo>
                  <a:lnTo>
                    <a:pt x="399" y="372"/>
                  </a:lnTo>
                  <a:lnTo>
                    <a:pt x="399" y="373"/>
                  </a:lnTo>
                  <a:lnTo>
                    <a:pt x="394" y="373"/>
                  </a:lnTo>
                  <a:lnTo>
                    <a:pt x="394" y="371"/>
                  </a:lnTo>
                  <a:lnTo>
                    <a:pt x="397" y="366"/>
                  </a:lnTo>
                  <a:lnTo>
                    <a:pt x="398" y="365"/>
                  </a:lnTo>
                  <a:lnTo>
                    <a:pt x="398" y="364"/>
                  </a:lnTo>
                  <a:lnTo>
                    <a:pt x="400" y="362"/>
                  </a:lnTo>
                  <a:lnTo>
                    <a:pt x="399" y="360"/>
                  </a:lnTo>
                  <a:lnTo>
                    <a:pt x="399" y="363"/>
                  </a:lnTo>
                  <a:lnTo>
                    <a:pt x="398" y="363"/>
                  </a:lnTo>
                  <a:lnTo>
                    <a:pt x="398" y="364"/>
                  </a:lnTo>
                  <a:lnTo>
                    <a:pt x="397" y="364"/>
                  </a:lnTo>
                  <a:lnTo>
                    <a:pt x="396" y="365"/>
                  </a:lnTo>
                  <a:lnTo>
                    <a:pt x="396" y="366"/>
                  </a:lnTo>
                  <a:lnTo>
                    <a:pt x="393" y="364"/>
                  </a:lnTo>
                  <a:lnTo>
                    <a:pt x="393" y="363"/>
                  </a:lnTo>
                  <a:lnTo>
                    <a:pt x="392" y="363"/>
                  </a:lnTo>
                  <a:lnTo>
                    <a:pt x="393" y="364"/>
                  </a:lnTo>
                  <a:lnTo>
                    <a:pt x="393" y="365"/>
                  </a:lnTo>
                  <a:lnTo>
                    <a:pt x="394" y="366"/>
                  </a:lnTo>
                  <a:lnTo>
                    <a:pt x="396" y="366"/>
                  </a:lnTo>
                  <a:lnTo>
                    <a:pt x="396" y="367"/>
                  </a:lnTo>
                  <a:lnTo>
                    <a:pt x="394" y="369"/>
                  </a:lnTo>
                  <a:lnTo>
                    <a:pt x="394" y="370"/>
                  </a:lnTo>
                  <a:lnTo>
                    <a:pt x="393" y="370"/>
                  </a:lnTo>
                  <a:lnTo>
                    <a:pt x="392" y="372"/>
                  </a:lnTo>
                  <a:lnTo>
                    <a:pt x="392" y="373"/>
                  </a:lnTo>
                  <a:lnTo>
                    <a:pt x="391" y="373"/>
                  </a:lnTo>
                  <a:lnTo>
                    <a:pt x="388" y="375"/>
                  </a:lnTo>
                  <a:lnTo>
                    <a:pt x="386" y="375"/>
                  </a:lnTo>
                  <a:lnTo>
                    <a:pt x="385" y="373"/>
                  </a:lnTo>
                  <a:lnTo>
                    <a:pt x="376" y="373"/>
                  </a:lnTo>
                  <a:lnTo>
                    <a:pt x="374" y="375"/>
                  </a:lnTo>
                  <a:lnTo>
                    <a:pt x="373" y="375"/>
                  </a:lnTo>
                  <a:lnTo>
                    <a:pt x="372" y="376"/>
                  </a:lnTo>
                  <a:lnTo>
                    <a:pt x="370" y="376"/>
                  </a:lnTo>
                  <a:lnTo>
                    <a:pt x="368" y="377"/>
                  </a:lnTo>
                  <a:lnTo>
                    <a:pt x="365" y="377"/>
                  </a:lnTo>
                  <a:lnTo>
                    <a:pt x="363" y="379"/>
                  </a:lnTo>
                  <a:lnTo>
                    <a:pt x="363" y="381"/>
                  </a:lnTo>
                  <a:lnTo>
                    <a:pt x="365" y="382"/>
                  </a:lnTo>
                  <a:lnTo>
                    <a:pt x="365" y="383"/>
                  </a:lnTo>
                  <a:lnTo>
                    <a:pt x="366" y="384"/>
                  </a:lnTo>
                  <a:lnTo>
                    <a:pt x="365" y="384"/>
                  </a:lnTo>
                  <a:lnTo>
                    <a:pt x="365" y="387"/>
                  </a:lnTo>
                  <a:lnTo>
                    <a:pt x="362" y="389"/>
                  </a:lnTo>
                  <a:lnTo>
                    <a:pt x="362" y="390"/>
                  </a:lnTo>
                  <a:lnTo>
                    <a:pt x="360" y="390"/>
                  </a:lnTo>
                  <a:lnTo>
                    <a:pt x="360" y="391"/>
                  </a:lnTo>
                  <a:lnTo>
                    <a:pt x="361" y="391"/>
                  </a:lnTo>
                  <a:lnTo>
                    <a:pt x="361" y="393"/>
                  </a:lnTo>
                  <a:lnTo>
                    <a:pt x="360" y="395"/>
                  </a:lnTo>
                  <a:lnTo>
                    <a:pt x="356" y="400"/>
                  </a:lnTo>
                  <a:lnTo>
                    <a:pt x="355" y="401"/>
                  </a:lnTo>
                  <a:lnTo>
                    <a:pt x="355" y="402"/>
                  </a:lnTo>
                  <a:lnTo>
                    <a:pt x="354" y="402"/>
                  </a:lnTo>
                  <a:lnTo>
                    <a:pt x="354" y="403"/>
                  </a:lnTo>
                  <a:lnTo>
                    <a:pt x="353" y="406"/>
                  </a:lnTo>
                  <a:lnTo>
                    <a:pt x="353" y="407"/>
                  </a:lnTo>
                  <a:lnTo>
                    <a:pt x="348" y="412"/>
                  </a:lnTo>
                  <a:lnTo>
                    <a:pt x="343" y="418"/>
                  </a:lnTo>
                  <a:lnTo>
                    <a:pt x="341" y="420"/>
                  </a:lnTo>
                  <a:lnTo>
                    <a:pt x="337" y="422"/>
                  </a:lnTo>
                  <a:lnTo>
                    <a:pt x="337" y="419"/>
                  </a:lnTo>
                  <a:lnTo>
                    <a:pt x="336" y="419"/>
                  </a:lnTo>
                  <a:lnTo>
                    <a:pt x="336" y="422"/>
                  </a:lnTo>
                  <a:lnTo>
                    <a:pt x="335" y="422"/>
                  </a:lnTo>
                  <a:lnTo>
                    <a:pt x="332" y="421"/>
                  </a:lnTo>
                  <a:lnTo>
                    <a:pt x="331" y="420"/>
                  </a:lnTo>
                  <a:lnTo>
                    <a:pt x="330" y="421"/>
                  </a:lnTo>
                  <a:lnTo>
                    <a:pt x="330" y="425"/>
                  </a:lnTo>
                  <a:lnTo>
                    <a:pt x="329" y="425"/>
                  </a:lnTo>
                  <a:lnTo>
                    <a:pt x="329" y="427"/>
                  </a:lnTo>
                  <a:lnTo>
                    <a:pt x="328" y="426"/>
                  </a:lnTo>
                  <a:lnTo>
                    <a:pt x="324" y="426"/>
                  </a:lnTo>
                  <a:lnTo>
                    <a:pt x="323" y="427"/>
                  </a:lnTo>
                  <a:lnTo>
                    <a:pt x="323" y="430"/>
                  </a:lnTo>
                  <a:lnTo>
                    <a:pt x="325" y="430"/>
                  </a:lnTo>
                  <a:lnTo>
                    <a:pt x="325" y="432"/>
                  </a:lnTo>
                  <a:lnTo>
                    <a:pt x="323" y="432"/>
                  </a:lnTo>
                  <a:lnTo>
                    <a:pt x="323" y="433"/>
                  </a:lnTo>
                  <a:lnTo>
                    <a:pt x="322" y="433"/>
                  </a:lnTo>
                  <a:lnTo>
                    <a:pt x="320" y="434"/>
                  </a:lnTo>
                  <a:lnTo>
                    <a:pt x="320" y="432"/>
                  </a:lnTo>
                  <a:lnTo>
                    <a:pt x="319" y="430"/>
                  </a:lnTo>
                  <a:lnTo>
                    <a:pt x="318" y="430"/>
                  </a:lnTo>
                  <a:lnTo>
                    <a:pt x="318" y="425"/>
                  </a:lnTo>
                  <a:lnTo>
                    <a:pt x="319" y="425"/>
                  </a:lnTo>
                  <a:lnTo>
                    <a:pt x="317" y="422"/>
                  </a:lnTo>
                  <a:lnTo>
                    <a:pt x="317" y="421"/>
                  </a:lnTo>
                  <a:lnTo>
                    <a:pt x="316" y="422"/>
                  </a:lnTo>
                  <a:lnTo>
                    <a:pt x="317" y="422"/>
                  </a:lnTo>
                  <a:lnTo>
                    <a:pt x="317" y="425"/>
                  </a:lnTo>
                  <a:lnTo>
                    <a:pt x="316" y="426"/>
                  </a:lnTo>
                  <a:lnTo>
                    <a:pt x="316" y="428"/>
                  </a:lnTo>
                  <a:lnTo>
                    <a:pt x="317" y="428"/>
                  </a:lnTo>
                  <a:lnTo>
                    <a:pt x="314" y="430"/>
                  </a:lnTo>
                  <a:lnTo>
                    <a:pt x="314" y="438"/>
                  </a:lnTo>
                  <a:lnTo>
                    <a:pt x="316" y="438"/>
                  </a:lnTo>
                  <a:lnTo>
                    <a:pt x="316" y="439"/>
                  </a:lnTo>
                  <a:lnTo>
                    <a:pt x="318" y="439"/>
                  </a:lnTo>
                  <a:lnTo>
                    <a:pt x="318" y="438"/>
                  </a:lnTo>
                  <a:lnTo>
                    <a:pt x="319" y="437"/>
                  </a:lnTo>
                  <a:lnTo>
                    <a:pt x="319" y="438"/>
                  </a:lnTo>
                  <a:lnTo>
                    <a:pt x="314" y="443"/>
                  </a:lnTo>
                  <a:lnTo>
                    <a:pt x="316" y="444"/>
                  </a:lnTo>
                  <a:lnTo>
                    <a:pt x="316" y="445"/>
                  </a:lnTo>
                  <a:lnTo>
                    <a:pt x="317" y="445"/>
                  </a:lnTo>
                  <a:lnTo>
                    <a:pt x="317" y="443"/>
                  </a:lnTo>
                  <a:lnTo>
                    <a:pt x="318" y="443"/>
                  </a:lnTo>
                  <a:lnTo>
                    <a:pt x="318" y="444"/>
                  </a:lnTo>
                  <a:lnTo>
                    <a:pt x="319" y="444"/>
                  </a:lnTo>
                  <a:lnTo>
                    <a:pt x="319" y="445"/>
                  </a:lnTo>
                  <a:lnTo>
                    <a:pt x="320" y="444"/>
                  </a:lnTo>
                  <a:lnTo>
                    <a:pt x="322" y="445"/>
                  </a:lnTo>
                  <a:lnTo>
                    <a:pt x="322" y="446"/>
                  </a:lnTo>
                  <a:lnTo>
                    <a:pt x="320" y="446"/>
                  </a:lnTo>
                  <a:lnTo>
                    <a:pt x="320" y="448"/>
                  </a:lnTo>
                  <a:lnTo>
                    <a:pt x="322" y="449"/>
                  </a:lnTo>
                  <a:lnTo>
                    <a:pt x="322" y="453"/>
                  </a:lnTo>
                  <a:lnTo>
                    <a:pt x="320" y="453"/>
                  </a:lnTo>
                  <a:lnTo>
                    <a:pt x="320" y="457"/>
                  </a:lnTo>
                  <a:lnTo>
                    <a:pt x="319" y="458"/>
                  </a:lnTo>
                  <a:lnTo>
                    <a:pt x="318" y="458"/>
                  </a:lnTo>
                  <a:lnTo>
                    <a:pt x="318" y="457"/>
                  </a:lnTo>
                  <a:lnTo>
                    <a:pt x="317" y="457"/>
                  </a:lnTo>
                  <a:lnTo>
                    <a:pt x="318" y="455"/>
                  </a:lnTo>
                  <a:lnTo>
                    <a:pt x="318" y="452"/>
                  </a:lnTo>
                  <a:lnTo>
                    <a:pt x="313" y="448"/>
                  </a:lnTo>
                  <a:lnTo>
                    <a:pt x="307" y="445"/>
                  </a:lnTo>
                  <a:lnTo>
                    <a:pt x="303" y="445"/>
                  </a:lnTo>
                  <a:lnTo>
                    <a:pt x="303" y="446"/>
                  </a:lnTo>
                  <a:lnTo>
                    <a:pt x="298" y="446"/>
                  </a:lnTo>
                  <a:lnTo>
                    <a:pt x="298" y="448"/>
                  </a:lnTo>
                  <a:lnTo>
                    <a:pt x="297" y="448"/>
                  </a:lnTo>
                  <a:lnTo>
                    <a:pt x="297" y="449"/>
                  </a:lnTo>
                  <a:lnTo>
                    <a:pt x="295" y="449"/>
                  </a:lnTo>
                  <a:lnTo>
                    <a:pt x="294" y="450"/>
                  </a:lnTo>
                  <a:lnTo>
                    <a:pt x="292" y="450"/>
                  </a:lnTo>
                  <a:lnTo>
                    <a:pt x="289" y="452"/>
                  </a:lnTo>
                  <a:lnTo>
                    <a:pt x="288" y="452"/>
                  </a:lnTo>
                  <a:lnTo>
                    <a:pt x="288" y="453"/>
                  </a:lnTo>
                  <a:lnTo>
                    <a:pt x="287" y="455"/>
                  </a:lnTo>
                  <a:lnTo>
                    <a:pt x="286" y="455"/>
                  </a:lnTo>
                  <a:lnTo>
                    <a:pt x="285" y="453"/>
                  </a:lnTo>
                  <a:lnTo>
                    <a:pt x="283" y="453"/>
                  </a:lnTo>
                  <a:lnTo>
                    <a:pt x="282" y="452"/>
                  </a:lnTo>
                  <a:lnTo>
                    <a:pt x="281" y="452"/>
                  </a:lnTo>
                  <a:lnTo>
                    <a:pt x="281" y="453"/>
                  </a:lnTo>
                  <a:lnTo>
                    <a:pt x="280" y="455"/>
                  </a:lnTo>
                  <a:lnTo>
                    <a:pt x="280" y="456"/>
                  </a:lnTo>
                  <a:lnTo>
                    <a:pt x="281" y="457"/>
                  </a:lnTo>
                  <a:lnTo>
                    <a:pt x="280" y="457"/>
                  </a:lnTo>
                  <a:lnTo>
                    <a:pt x="279" y="458"/>
                  </a:lnTo>
                  <a:lnTo>
                    <a:pt x="278" y="458"/>
                  </a:lnTo>
                  <a:lnTo>
                    <a:pt x="272" y="457"/>
                  </a:lnTo>
                  <a:lnTo>
                    <a:pt x="268" y="455"/>
                  </a:lnTo>
                  <a:lnTo>
                    <a:pt x="264" y="453"/>
                  </a:lnTo>
                  <a:lnTo>
                    <a:pt x="263" y="453"/>
                  </a:lnTo>
                  <a:lnTo>
                    <a:pt x="262" y="452"/>
                  </a:lnTo>
                  <a:lnTo>
                    <a:pt x="261" y="452"/>
                  </a:lnTo>
                  <a:lnTo>
                    <a:pt x="261" y="451"/>
                  </a:lnTo>
                  <a:lnTo>
                    <a:pt x="260" y="448"/>
                  </a:lnTo>
                  <a:lnTo>
                    <a:pt x="260" y="446"/>
                  </a:lnTo>
                  <a:lnTo>
                    <a:pt x="257" y="444"/>
                  </a:lnTo>
                  <a:lnTo>
                    <a:pt x="256" y="444"/>
                  </a:lnTo>
                  <a:lnTo>
                    <a:pt x="256" y="442"/>
                  </a:lnTo>
                  <a:lnTo>
                    <a:pt x="258" y="440"/>
                  </a:lnTo>
                  <a:lnTo>
                    <a:pt x="262" y="440"/>
                  </a:lnTo>
                  <a:lnTo>
                    <a:pt x="264" y="442"/>
                  </a:lnTo>
                  <a:lnTo>
                    <a:pt x="268" y="442"/>
                  </a:lnTo>
                  <a:lnTo>
                    <a:pt x="269" y="440"/>
                  </a:lnTo>
                  <a:lnTo>
                    <a:pt x="268" y="438"/>
                  </a:lnTo>
                  <a:lnTo>
                    <a:pt x="269" y="438"/>
                  </a:lnTo>
                  <a:lnTo>
                    <a:pt x="269" y="437"/>
                  </a:lnTo>
                  <a:lnTo>
                    <a:pt x="270" y="437"/>
                  </a:lnTo>
                  <a:lnTo>
                    <a:pt x="269" y="436"/>
                  </a:lnTo>
                  <a:lnTo>
                    <a:pt x="269" y="433"/>
                  </a:lnTo>
                  <a:lnTo>
                    <a:pt x="268" y="433"/>
                  </a:lnTo>
                  <a:lnTo>
                    <a:pt x="268" y="432"/>
                  </a:lnTo>
                  <a:lnTo>
                    <a:pt x="267" y="432"/>
                  </a:lnTo>
                  <a:lnTo>
                    <a:pt x="268" y="431"/>
                  </a:lnTo>
                  <a:lnTo>
                    <a:pt x="268" y="430"/>
                  </a:lnTo>
                  <a:lnTo>
                    <a:pt x="269" y="430"/>
                  </a:lnTo>
                  <a:lnTo>
                    <a:pt x="269" y="428"/>
                  </a:lnTo>
                  <a:lnTo>
                    <a:pt x="272" y="428"/>
                  </a:lnTo>
                  <a:lnTo>
                    <a:pt x="272" y="427"/>
                  </a:lnTo>
                  <a:lnTo>
                    <a:pt x="270" y="427"/>
                  </a:lnTo>
                  <a:lnTo>
                    <a:pt x="272" y="426"/>
                  </a:lnTo>
                  <a:lnTo>
                    <a:pt x="274" y="426"/>
                  </a:lnTo>
                  <a:lnTo>
                    <a:pt x="275" y="425"/>
                  </a:lnTo>
                  <a:lnTo>
                    <a:pt x="275" y="422"/>
                  </a:lnTo>
                  <a:lnTo>
                    <a:pt x="278" y="422"/>
                  </a:lnTo>
                  <a:lnTo>
                    <a:pt x="278" y="421"/>
                  </a:lnTo>
                  <a:lnTo>
                    <a:pt x="279" y="421"/>
                  </a:lnTo>
                  <a:lnTo>
                    <a:pt x="279" y="418"/>
                  </a:lnTo>
                  <a:lnTo>
                    <a:pt x="278" y="416"/>
                  </a:lnTo>
                  <a:lnTo>
                    <a:pt x="278" y="415"/>
                  </a:lnTo>
                  <a:lnTo>
                    <a:pt x="279" y="414"/>
                  </a:lnTo>
                  <a:lnTo>
                    <a:pt x="287" y="412"/>
                  </a:lnTo>
                  <a:lnTo>
                    <a:pt x="288" y="412"/>
                  </a:lnTo>
                  <a:lnTo>
                    <a:pt x="288" y="410"/>
                  </a:lnTo>
                  <a:lnTo>
                    <a:pt x="287" y="407"/>
                  </a:lnTo>
                  <a:lnTo>
                    <a:pt x="287" y="405"/>
                  </a:lnTo>
                  <a:lnTo>
                    <a:pt x="289" y="402"/>
                  </a:lnTo>
                  <a:lnTo>
                    <a:pt x="291" y="400"/>
                  </a:lnTo>
                  <a:lnTo>
                    <a:pt x="287" y="396"/>
                  </a:lnTo>
                  <a:lnTo>
                    <a:pt x="287" y="391"/>
                  </a:lnTo>
                  <a:lnTo>
                    <a:pt x="286" y="389"/>
                  </a:lnTo>
                  <a:lnTo>
                    <a:pt x="286" y="385"/>
                  </a:lnTo>
                  <a:lnTo>
                    <a:pt x="287" y="383"/>
                  </a:lnTo>
                  <a:lnTo>
                    <a:pt x="291" y="382"/>
                  </a:lnTo>
                  <a:lnTo>
                    <a:pt x="292" y="381"/>
                  </a:lnTo>
                  <a:lnTo>
                    <a:pt x="293" y="381"/>
                  </a:lnTo>
                  <a:lnTo>
                    <a:pt x="297" y="378"/>
                  </a:lnTo>
                  <a:lnTo>
                    <a:pt x="298" y="378"/>
                  </a:lnTo>
                  <a:lnTo>
                    <a:pt x="298" y="389"/>
                  </a:lnTo>
                  <a:lnTo>
                    <a:pt x="299" y="389"/>
                  </a:lnTo>
                  <a:lnTo>
                    <a:pt x="301" y="387"/>
                  </a:lnTo>
                  <a:lnTo>
                    <a:pt x="301" y="384"/>
                  </a:lnTo>
                  <a:lnTo>
                    <a:pt x="303" y="383"/>
                  </a:lnTo>
                  <a:lnTo>
                    <a:pt x="304" y="385"/>
                  </a:lnTo>
                  <a:lnTo>
                    <a:pt x="305" y="385"/>
                  </a:lnTo>
                  <a:lnTo>
                    <a:pt x="308" y="382"/>
                  </a:lnTo>
                  <a:lnTo>
                    <a:pt x="310" y="382"/>
                  </a:lnTo>
                  <a:lnTo>
                    <a:pt x="310" y="385"/>
                  </a:lnTo>
                  <a:lnTo>
                    <a:pt x="312" y="385"/>
                  </a:lnTo>
                  <a:lnTo>
                    <a:pt x="312" y="387"/>
                  </a:lnTo>
                  <a:lnTo>
                    <a:pt x="313" y="387"/>
                  </a:lnTo>
                  <a:lnTo>
                    <a:pt x="313" y="388"/>
                  </a:lnTo>
                  <a:lnTo>
                    <a:pt x="314" y="389"/>
                  </a:lnTo>
                  <a:lnTo>
                    <a:pt x="317" y="389"/>
                  </a:lnTo>
                  <a:lnTo>
                    <a:pt x="317" y="385"/>
                  </a:lnTo>
                  <a:lnTo>
                    <a:pt x="319" y="385"/>
                  </a:lnTo>
                  <a:lnTo>
                    <a:pt x="319" y="383"/>
                  </a:lnTo>
                  <a:lnTo>
                    <a:pt x="320" y="383"/>
                  </a:lnTo>
                  <a:lnTo>
                    <a:pt x="323" y="385"/>
                  </a:lnTo>
                  <a:lnTo>
                    <a:pt x="323" y="387"/>
                  </a:lnTo>
                  <a:lnTo>
                    <a:pt x="324" y="388"/>
                  </a:lnTo>
                  <a:lnTo>
                    <a:pt x="324" y="390"/>
                  </a:lnTo>
                  <a:lnTo>
                    <a:pt x="325" y="390"/>
                  </a:lnTo>
                  <a:lnTo>
                    <a:pt x="326" y="389"/>
                  </a:lnTo>
                  <a:lnTo>
                    <a:pt x="335" y="389"/>
                  </a:lnTo>
                  <a:lnTo>
                    <a:pt x="336" y="388"/>
                  </a:lnTo>
                  <a:lnTo>
                    <a:pt x="337" y="385"/>
                  </a:lnTo>
                  <a:lnTo>
                    <a:pt x="335" y="385"/>
                  </a:lnTo>
                  <a:lnTo>
                    <a:pt x="335" y="384"/>
                  </a:lnTo>
                  <a:lnTo>
                    <a:pt x="332" y="383"/>
                  </a:lnTo>
                  <a:lnTo>
                    <a:pt x="332" y="381"/>
                  </a:lnTo>
                  <a:lnTo>
                    <a:pt x="331" y="381"/>
                  </a:lnTo>
                  <a:lnTo>
                    <a:pt x="331" y="382"/>
                  </a:lnTo>
                  <a:lnTo>
                    <a:pt x="330" y="382"/>
                  </a:lnTo>
                  <a:lnTo>
                    <a:pt x="330" y="381"/>
                  </a:lnTo>
                  <a:lnTo>
                    <a:pt x="328" y="379"/>
                  </a:lnTo>
                  <a:lnTo>
                    <a:pt x="328" y="377"/>
                  </a:lnTo>
                  <a:lnTo>
                    <a:pt x="329" y="377"/>
                  </a:lnTo>
                  <a:lnTo>
                    <a:pt x="330" y="376"/>
                  </a:lnTo>
                  <a:lnTo>
                    <a:pt x="329" y="375"/>
                  </a:lnTo>
                  <a:lnTo>
                    <a:pt x="329" y="371"/>
                  </a:lnTo>
                  <a:lnTo>
                    <a:pt x="330" y="367"/>
                  </a:lnTo>
                  <a:lnTo>
                    <a:pt x="330" y="365"/>
                  </a:lnTo>
                  <a:lnTo>
                    <a:pt x="329" y="365"/>
                  </a:lnTo>
                  <a:lnTo>
                    <a:pt x="329" y="362"/>
                  </a:lnTo>
                  <a:lnTo>
                    <a:pt x="326" y="362"/>
                  </a:lnTo>
                  <a:lnTo>
                    <a:pt x="326" y="360"/>
                  </a:lnTo>
                  <a:lnTo>
                    <a:pt x="325" y="359"/>
                  </a:lnTo>
                  <a:lnTo>
                    <a:pt x="322" y="359"/>
                  </a:lnTo>
                  <a:lnTo>
                    <a:pt x="319" y="357"/>
                  </a:lnTo>
                  <a:lnTo>
                    <a:pt x="319" y="356"/>
                  </a:lnTo>
                  <a:lnTo>
                    <a:pt x="316" y="356"/>
                  </a:lnTo>
                  <a:lnTo>
                    <a:pt x="316" y="354"/>
                  </a:lnTo>
                  <a:lnTo>
                    <a:pt x="313" y="354"/>
                  </a:lnTo>
                  <a:lnTo>
                    <a:pt x="313" y="350"/>
                  </a:lnTo>
                  <a:lnTo>
                    <a:pt x="314" y="348"/>
                  </a:lnTo>
                  <a:lnTo>
                    <a:pt x="314" y="345"/>
                  </a:lnTo>
                  <a:lnTo>
                    <a:pt x="312" y="345"/>
                  </a:lnTo>
                  <a:lnTo>
                    <a:pt x="312" y="346"/>
                  </a:lnTo>
                  <a:lnTo>
                    <a:pt x="311" y="346"/>
                  </a:lnTo>
                  <a:lnTo>
                    <a:pt x="310" y="344"/>
                  </a:lnTo>
                  <a:lnTo>
                    <a:pt x="310" y="342"/>
                  </a:lnTo>
                  <a:lnTo>
                    <a:pt x="312" y="342"/>
                  </a:lnTo>
                  <a:lnTo>
                    <a:pt x="312" y="341"/>
                  </a:lnTo>
                  <a:lnTo>
                    <a:pt x="313" y="340"/>
                  </a:lnTo>
                  <a:lnTo>
                    <a:pt x="312" y="336"/>
                  </a:lnTo>
                  <a:lnTo>
                    <a:pt x="312" y="335"/>
                  </a:lnTo>
                  <a:lnTo>
                    <a:pt x="313" y="335"/>
                  </a:lnTo>
                  <a:lnTo>
                    <a:pt x="314" y="334"/>
                  </a:lnTo>
                  <a:lnTo>
                    <a:pt x="314" y="333"/>
                  </a:lnTo>
                  <a:lnTo>
                    <a:pt x="313" y="332"/>
                  </a:lnTo>
                  <a:lnTo>
                    <a:pt x="313" y="330"/>
                  </a:lnTo>
                  <a:lnTo>
                    <a:pt x="312" y="329"/>
                  </a:lnTo>
                  <a:lnTo>
                    <a:pt x="310" y="329"/>
                  </a:lnTo>
                  <a:lnTo>
                    <a:pt x="310" y="330"/>
                  </a:lnTo>
                  <a:lnTo>
                    <a:pt x="308" y="332"/>
                  </a:lnTo>
                  <a:lnTo>
                    <a:pt x="308" y="333"/>
                  </a:lnTo>
                  <a:lnTo>
                    <a:pt x="306" y="333"/>
                  </a:lnTo>
                  <a:lnTo>
                    <a:pt x="306" y="332"/>
                  </a:lnTo>
                  <a:lnTo>
                    <a:pt x="305" y="332"/>
                  </a:lnTo>
                  <a:lnTo>
                    <a:pt x="305" y="328"/>
                  </a:lnTo>
                  <a:lnTo>
                    <a:pt x="304" y="327"/>
                  </a:lnTo>
                  <a:lnTo>
                    <a:pt x="303" y="327"/>
                  </a:lnTo>
                  <a:lnTo>
                    <a:pt x="301" y="326"/>
                  </a:lnTo>
                  <a:lnTo>
                    <a:pt x="301" y="325"/>
                  </a:lnTo>
                  <a:lnTo>
                    <a:pt x="299" y="322"/>
                  </a:lnTo>
                  <a:lnTo>
                    <a:pt x="298" y="322"/>
                  </a:lnTo>
                  <a:lnTo>
                    <a:pt x="298" y="323"/>
                  </a:lnTo>
                  <a:lnTo>
                    <a:pt x="297" y="323"/>
                  </a:lnTo>
                  <a:lnTo>
                    <a:pt x="297" y="322"/>
                  </a:lnTo>
                  <a:lnTo>
                    <a:pt x="294" y="317"/>
                  </a:lnTo>
                  <a:lnTo>
                    <a:pt x="295" y="315"/>
                  </a:lnTo>
                  <a:lnTo>
                    <a:pt x="297" y="314"/>
                  </a:lnTo>
                  <a:lnTo>
                    <a:pt x="297" y="313"/>
                  </a:lnTo>
                  <a:lnTo>
                    <a:pt x="298" y="310"/>
                  </a:lnTo>
                  <a:lnTo>
                    <a:pt x="298" y="305"/>
                  </a:lnTo>
                  <a:lnTo>
                    <a:pt x="299" y="304"/>
                  </a:lnTo>
                  <a:lnTo>
                    <a:pt x="299" y="302"/>
                  </a:lnTo>
                  <a:lnTo>
                    <a:pt x="298" y="302"/>
                  </a:lnTo>
                  <a:lnTo>
                    <a:pt x="297" y="301"/>
                  </a:lnTo>
                  <a:lnTo>
                    <a:pt x="298" y="299"/>
                  </a:lnTo>
                  <a:lnTo>
                    <a:pt x="298" y="298"/>
                  </a:lnTo>
                  <a:lnTo>
                    <a:pt x="299" y="297"/>
                  </a:lnTo>
                  <a:lnTo>
                    <a:pt x="299" y="296"/>
                  </a:lnTo>
                  <a:lnTo>
                    <a:pt x="298" y="295"/>
                  </a:lnTo>
                  <a:lnTo>
                    <a:pt x="297" y="295"/>
                  </a:lnTo>
                  <a:lnTo>
                    <a:pt x="297" y="291"/>
                  </a:lnTo>
                  <a:lnTo>
                    <a:pt x="295" y="291"/>
                  </a:lnTo>
                  <a:lnTo>
                    <a:pt x="295" y="290"/>
                  </a:lnTo>
                  <a:lnTo>
                    <a:pt x="294" y="289"/>
                  </a:lnTo>
                  <a:lnTo>
                    <a:pt x="293" y="289"/>
                  </a:lnTo>
                  <a:lnTo>
                    <a:pt x="292" y="290"/>
                  </a:lnTo>
                  <a:lnTo>
                    <a:pt x="291" y="292"/>
                  </a:lnTo>
                  <a:lnTo>
                    <a:pt x="287" y="292"/>
                  </a:lnTo>
                  <a:lnTo>
                    <a:pt x="287" y="291"/>
                  </a:lnTo>
                  <a:lnTo>
                    <a:pt x="286" y="291"/>
                  </a:lnTo>
                  <a:lnTo>
                    <a:pt x="285" y="289"/>
                  </a:lnTo>
                  <a:lnTo>
                    <a:pt x="282" y="286"/>
                  </a:lnTo>
                  <a:lnTo>
                    <a:pt x="282" y="284"/>
                  </a:lnTo>
                  <a:lnTo>
                    <a:pt x="281" y="283"/>
                  </a:lnTo>
                  <a:lnTo>
                    <a:pt x="281" y="280"/>
                  </a:lnTo>
                  <a:lnTo>
                    <a:pt x="280" y="280"/>
                  </a:lnTo>
                  <a:lnTo>
                    <a:pt x="279" y="279"/>
                  </a:lnTo>
                  <a:lnTo>
                    <a:pt x="275" y="279"/>
                  </a:lnTo>
                  <a:lnTo>
                    <a:pt x="272" y="278"/>
                  </a:lnTo>
                  <a:lnTo>
                    <a:pt x="269" y="278"/>
                  </a:lnTo>
                  <a:lnTo>
                    <a:pt x="268" y="280"/>
                  </a:lnTo>
                  <a:lnTo>
                    <a:pt x="268" y="284"/>
                  </a:lnTo>
                  <a:lnTo>
                    <a:pt x="267" y="283"/>
                  </a:lnTo>
                  <a:lnTo>
                    <a:pt x="266" y="283"/>
                  </a:lnTo>
                  <a:lnTo>
                    <a:pt x="264" y="280"/>
                  </a:lnTo>
                  <a:lnTo>
                    <a:pt x="266" y="279"/>
                  </a:lnTo>
                  <a:lnTo>
                    <a:pt x="266" y="278"/>
                  </a:lnTo>
                  <a:lnTo>
                    <a:pt x="264" y="277"/>
                  </a:lnTo>
                  <a:lnTo>
                    <a:pt x="263" y="277"/>
                  </a:lnTo>
                  <a:lnTo>
                    <a:pt x="263" y="279"/>
                  </a:lnTo>
                  <a:lnTo>
                    <a:pt x="261" y="279"/>
                  </a:lnTo>
                  <a:lnTo>
                    <a:pt x="261" y="278"/>
                  </a:lnTo>
                  <a:lnTo>
                    <a:pt x="263" y="276"/>
                  </a:lnTo>
                  <a:lnTo>
                    <a:pt x="263" y="273"/>
                  </a:lnTo>
                  <a:lnTo>
                    <a:pt x="262" y="273"/>
                  </a:lnTo>
                  <a:lnTo>
                    <a:pt x="262" y="272"/>
                  </a:lnTo>
                  <a:lnTo>
                    <a:pt x="260" y="273"/>
                  </a:lnTo>
                  <a:lnTo>
                    <a:pt x="258" y="273"/>
                  </a:lnTo>
                  <a:lnTo>
                    <a:pt x="258" y="274"/>
                  </a:lnTo>
                  <a:lnTo>
                    <a:pt x="256" y="274"/>
                  </a:lnTo>
                  <a:lnTo>
                    <a:pt x="255" y="273"/>
                  </a:lnTo>
                  <a:lnTo>
                    <a:pt x="255" y="271"/>
                  </a:lnTo>
                  <a:lnTo>
                    <a:pt x="252" y="273"/>
                  </a:lnTo>
                  <a:lnTo>
                    <a:pt x="251" y="273"/>
                  </a:lnTo>
                  <a:lnTo>
                    <a:pt x="250" y="272"/>
                  </a:lnTo>
                  <a:lnTo>
                    <a:pt x="251" y="270"/>
                  </a:lnTo>
                  <a:lnTo>
                    <a:pt x="251" y="268"/>
                  </a:lnTo>
                  <a:lnTo>
                    <a:pt x="250" y="268"/>
                  </a:lnTo>
                  <a:lnTo>
                    <a:pt x="250" y="267"/>
                  </a:lnTo>
                  <a:lnTo>
                    <a:pt x="245" y="267"/>
                  </a:lnTo>
                  <a:lnTo>
                    <a:pt x="243" y="265"/>
                  </a:lnTo>
                  <a:lnTo>
                    <a:pt x="243" y="264"/>
                  </a:lnTo>
                  <a:lnTo>
                    <a:pt x="241" y="261"/>
                  </a:lnTo>
                  <a:lnTo>
                    <a:pt x="238" y="260"/>
                  </a:lnTo>
                  <a:lnTo>
                    <a:pt x="237" y="259"/>
                  </a:lnTo>
                  <a:lnTo>
                    <a:pt x="231" y="259"/>
                  </a:lnTo>
                  <a:lnTo>
                    <a:pt x="231" y="258"/>
                  </a:lnTo>
                  <a:lnTo>
                    <a:pt x="230" y="256"/>
                  </a:lnTo>
                  <a:lnTo>
                    <a:pt x="229" y="258"/>
                  </a:lnTo>
                  <a:lnTo>
                    <a:pt x="226" y="258"/>
                  </a:lnTo>
                  <a:lnTo>
                    <a:pt x="223" y="261"/>
                  </a:lnTo>
                  <a:lnTo>
                    <a:pt x="221" y="261"/>
                  </a:lnTo>
                  <a:lnTo>
                    <a:pt x="220" y="260"/>
                  </a:lnTo>
                  <a:lnTo>
                    <a:pt x="219" y="260"/>
                  </a:lnTo>
                  <a:lnTo>
                    <a:pt x="214" y="265"/>
                  </a:lnTo>
                  <a:lnTo>
                    <a:pt x="212" y="265"/>
                  </a:lnTo>
                  <a:lnTo>
                    <a:pt x="208" y="264"/>
                  </a:lnTo>
                  <a:lnTo>
                    <a:pt x="207" y="262"/>
                  </a:lnTo>
                  <a:lnTo>
                    <a:pt x="206" y="262"/>
                  </a:lnTo>
                  <a:lnTo>
                    <a:pt x="206" y="265"/>
                  </a:lnTo>
                  <a:lnTo>
                    <a:pt x="205" y="265"/>
                  </a:lnTo>
                  <a:lnTo>
                    <a:pt x="202" y="266"/>
                  </a:lnTo>
                  <a:lnTo>
                    <a:pt x="199" y="262"/>
                  </a:lnTo>
                  <a:lnTo>
                    <a:pt x="198" y="262"/>
                  </a:lnTo>
                  <a:lnTo>
                    <a:pt x="198" y="265"/>
                  </a:lnTo>
                  <a:lnTo>
                    <a:pt x="196" y="264"/>
                  </a:lnTo>
                  <a:lnTo>
                    <a:pt x="195" y="265"/>
                  </a:lnTo>
                  <a:lnTo>
                    <a:pt x="196" y="266"/>
                  </a:lnTo>
                  <a:lnTo>
                    <a:pt x="196" y="270"/>
                  </a:lnTo>
                  <a:lnTo>
                    <a:pt x="194" y="270"/>
                  </a:lnTo>
                  <a:lnTo>
                    <a:pt x="193" y="268"/>
                  </a:lnTo>
                  <a:lnTo>
                    <a:pt x="193" y="267"/>
                  </a:lnTo>
                  <a:lnTo>
                    <a:pt x="192" y="267"/>
                  </a:lnTo>
                  <a:lnTo>
                    <a:pt x="192" y="268"/>
                  </a:lnTo>
                  <a:lnTo>
                    <a:pt x="189" y="270"/>
                  </a:lnTo>
                  <a:lnTo>
                    <a:pt x="189" y="271"/>
                  </a:lnTo>
                  <a:lnTo>
                    <a:pt x="188" y="272"/>
                  </a:lnTo>
                  <a:lnTo>
                    <a:pt x="182" y="273"/>
                  </a:lnTo>
                  <a:lnTo>
                    <a:pt x="179" y="273"/>
                  </a:lnTo>
                  <a:lnTo>
                    <a:pt x="177" y="274"/>
                  </a:lnTo>
                  <a:lnTo>
                    <a:pt x="176" y="274"/>
                  </a:lnTo>
                  <a:lnTo>
                    <a:pt x="175" y="277"/>
                  </a:lnTo>
                  <a:lnTo>
                    <a:pt x="175" y="280"/>
                  </a:lnTo>
                  <a:lnTo>
                    <a:pt x="174" y="282"/>
                  </a:lnTo>
                  <a:lnTo>
                    <a:pt x="174" y="283"/>
                  </a:lnTo>
                  <a:lnTo>
                    <a:pt x="173" y="284"/>
                  </a:lnTo>
                  <a:lnTo>
                    <a:pt x="173" y="285"/>
                  </a:lnTo>
                  <a:lnTo>
                    <a:pt x="171" y="285"/>
                  </a:lnTo>
                  <a:lnTo>
                    <a:pt x="170" y="287"/>
                  </a:lnTo>
                  <a:lnTo>
                    <a:pt x="170" y="289"/>
                  </a:lnTo>
                  <a:lnTo>
                    <a:pt x="164" y="289"/>
                  </a:lnTo>
                  <a:lnTo>
                    <a:pt x="162" y="290"/>
                  </a:lnTo>
                  <a:lnTo>
                    <a:pt x="157" y="290"/>
                  </a:lnTo>
                  <a:lnTo>
                    <a:pt x="152" y="292"/>
                  </a:lnTo>
                  <a:lnTo>
                    <a:pt x="132" y="295"/>
                  </a:lnTo>
                  <a:lnTo>
                    <a:pt x="130" y="296"/>
                  </a:lnTo>
                  <a:lnTo>
                    <a:pt x="126" y="302"/>
                  </a:lnTo>
                  <a:lnTo>
                    <a:pt x="124" y="304"/>
                  </a:lnTo>
                  <a:lnTo>
                    <a:pt x="121" y="305"/>
                  </a:lnTo>
                  <a:lnTo>
                    <a:pt x="115" y="305"/>
                  </a:lnTo>
                  <a:lnTo>
                    <a:pt x="114" y="304"/>
                  </a:lnTo>
                  <a:lnTo>
                    <a:pt x="113" y="302"/>
                  </a:lnTo>
                  <a:lnTo>
                    <a:pt x="113" y="301"/>
                  </a:lnTo>
                  <a:lnTo>
                    <a:pt x="112" y="299"/>
                  </a:lnTo>
                  <a:lnTo>
                    <a:pt x="108" y="298"/>
                  </a:lnTo>
                  <a:lnTo>
                    <a:pt x="107" y="298"/>
                  </a:lnTo>
                  <a:lnTo>
                    <a:pt x="106" y="297"/>
                  </a:lnTo>
                  <a:lnTo>
                    <a:pt x="106" y="295"/>
                  </a:lnTo>
                  <a:lnTo>
                    <a:pt x="105" y="293"/>
                  </a:lnTo>
                  <a:lnTo>
                    <a:pt x="105" y="292"/>
                  </a:lnTo>
                  <a:lnTo>
                    <a:pt x="102" y="291"/>
                  </a:lnTo>
                  <a:lnTo>
                    <a:pt x="95" y="291"/>
                  </a:lnTo>
                  <a:lnTo>
                    <a:pt x="93" y="292"/>
                  </a:lnTo>
                  <a:lnTo>
                    <a:pt x="92" y="292"/>
                  </a:lnTo>
                  <a:lnTo>
                    <a:pt x="88" y="295"/>
                  </a:lnTo>
                  <a:lnTo>
                    <a:pt x="87" y="295"/>
                  </a:lnTo>
                  <a:lnTo>
                    <a:pt x="84" y="293"/>
                  </a:lnTo>
                  <a:lnTo>
                    <a:pt x="82" y="291"/>
                  </a:lnTo>
                  <a:lnTo>
                    <a:pt x="80" y="291"/>
                  </a:lnTo>
                  <a:lnTo>
                    <a:pt x="78" y="290"/>
                  </a:lnTo>
                  <a:lnTo>
                    <a:pt x="77" y="290"/>
                  </a:lnTo>
                  <a:lnTo>
                    <a:pt x="74" y="292"/>
                  </a:lnTo>
                  <a:lnTo>
                    <a:pt x="73" y="292"/>
                  </a:lnTo>
                  <a:lnTo>
                    <a:pt x="73" y="291"/>
                  </a:lnTo>
                  <a:lnTo>
                    <a:pt x="70" y="289"/>
                  </a:lnTo>
                  <a:lnTo>
                    <a:pt x="65" y="289"/>
                  </a:lnTo>
                  <a:lnTo>
                    <a:pt x="64" y="287"/>
                  </a:lnTo>
                  <a:lnTo>
                    <a:pt x="58" y="287"/>
                  </a:lnTo>
                  <a:lnTo>
                    <a:pt x="57" y="289"/>
                  </a:lnTo>
                  <a:lnTo>
                    <a:pt x="57" y="290"/>
                  </a:lnTo>
                  <a:lnTo>
                    <a:pt x="56" y="290"/>
                  </a:lnTo>
                  <a:lnTo>
                    <a:pt x="53" y="289"/>
                  </a:lnTo>
                  <a:lnTo>
                    <a:pt x="51" y="289"/>
                  </a:lnTo>
                  <a:lnTo>
                    <a:pt x="51" y="287"/>
                  </a:lnTo>
                  <a:lnTo>
                    <a:pt x="46" y="283"/>
                  </a:lnTo>
                  <a:lnTo>
                    <a:pt x="43" y="282"/>
                  </a:lnTo>
                  <a:lnTo>
                    <a:pt x="42" y="282"/>
                  </a:lnTo>
                  <a:lnTo>
                    <a:pt x="40" y="283"/>
                  </a:lnTo>
                  <a:lnTo>
                    <a:pt x="39" y="286"/>
                  </a:lnTo>
                  <a:lnTo>
                    <a:pt x="39" y="287"/>
                  </a:lnTo>
                  <a:lnTo>
                    <a:pt x="37" y="289"/>
                  </a:lnTo>
                  <a:lnTo>
                    <a:pt x="36" y="289"/>
                  </a:lnTo>
                  <a:lnTo>
                    <a:pt x="34" y="287"/>
                  </a:lnTo>
                  <a:lnTo>
                    <a:pt x="33" y="287"/>
                  </a:lnTo>
                  <a:lnTo>
                    <a:pt x="33" y="290"/>
                  </a:lnTo>
                  <a:lnTo>
                    <a:pt x="32" y="291"/>
                  </a:lnTo>
                  <a:lnTo>
                    <a:pt x="31" y="291"/>
                  </a:lnTo>
                  <a:lnTo>
                    <a:pt x="30" y="290"/>
                  </a:lnTo>
                  <a:lnTo>
                    <a:pt x="30" y="287"/>
                  </a:lnTo>
                  <a:lnTo>
                    <a:pt x="31" y="286"/>
                  </a:lnTo>
                  <a:lnTo>
                    <a:pt x="31" y="285"/>
                  </a:lnTo>
                  <a:lnTo>
                    <a:pt x="30" y="284"/>
                  </a:lnTo>
                  <a:lnTo>
                    <a:pt x="30" y="283"/>
                  </a:lnTo>
                  <a:lnTo>
                    <a:pt x="28" y="282"/>
                  </a:lnTo>
                  <a:lnTo>
                    <a:pt x="26" y="282"/>
                  </a:lnTo>
                  <a:lnTo>
                    <a:pt x="26" y="280"/>
                  </a:lnTo>
                  <a:lnTo>
                    <a:pt x="25" y="280"/>
                  </a:lnTo>
                  <a:lnTo>
                    <a:pt x="24" y="282"/>
                  </a:lnTo>
                  <a:lnTo>
                    <a:pt x="19" y="282"/>
                  </a:lnTo>
                  <a:lnTo>
                    <a:pt x="19" y="280"/>
                  </a:lnTo>
                  <a:lnTo>
                    <a:pt x="18" y="278"/>
                  </a:lnTo>
                  <a:lnTo>
                    <a:pt x="18" y="277"/>
                  </a:lnTo>
                  <a:lnTo>
                    <a:pt x="14" y="272"/>
                  </a:lnTo>
                  <a:lnTo>
                    <a:pt x="13" y="273"/>
                  </a:lnTo>
                  <a:lnTo>
                    <a:pt x="12" y="273"/>
                  </a:lnTo>
                  <a:lnTo>
                    <a:pt x="11" y="272"/>
                  </a:lnTo>
                  <a:lnTo>
                    <a:pt x="11" y="273"/>
                  </a:lnTo>
                  <a:lnTo>
                    <a:pt x="9" y="273"/>
                  </a:lnTo>
                  <a:lnTo>
                    <a:pt x="9" y="272"/>
                  </a:lnTo>
                  <a:lnTo>
                    <a:pt x="7" y="270"/>
                  </a:lnTo>
                  <a:lnTo>
                    <a:pt x="7" y="265"/>
                  </a:lnTo>
                  <a:lnTo>
                    <a:pt x="5" y="265"/>
                  </a:lnTo>
                  <a:lnTo>
                    <a:pt x="5" y="264"/>
                  </a:lnTo>
                  <a:lnTo>
                    <a:pt x="6" y="262"/>
                  </a:lnTo>
                  <a:lnTo>
                    <a:pt x="5" y="261"/>
                  </a:lnTo>
                  <a:lnTo>
                    <a:pt x="1" y="261"/>
                  </a:lnTo>
                  <a:lnTo>
                    <a:pt x="1" y="262"/>
                  </a:lnTo>
                  <a:lnTo>
                    <a:pt x="0" y="262"/>
                  </a:lnTo>
                  <a:lnTo>
                    <a:pt x="0" y="252"/>
                  </a:lnTo>
                  <a:lnTo>
                    <a:pt x="5" y="247"/>
                  </a:lnTo>
                  <a:lnTo>
                    <a:pt x="5" y="246"/>
                  </a:lnTo>
                  <a:lnTo>
                    <a:pt x="7" y="246"/>
                  </a:lnTo>
                  <a:lnTo>
                    <a:pt x="7" y="244"/>
                  </a:lnTo>
                  <a:lnTo>
                    <a:pt x="8" y="243"/>
                  </a:lnTo>
                  <a:lnTo>
                    <a:pt x="8" y="240"/>
                  </a:lnTo>
                  <a:lnTo>
                    <a:pt x="9" y="239"/>
                  </a:lnTo>
                  <a:lnTo>
                    <a:pt x="9" y="234"/>
                  </a:lnTo>
                  <a:lnTo>
                    <a:pt x="11" y="233"/>
                  </a:lnTo>
                  <a:lnTo>
                    <a:pt x="11" y="231"/>
                  </a:lnTo>
                  <a:lnTo>
                    <a:pt x="12" y="231"/>
                  </a:lnTo>
                  <a:lnTo>
                    <a:pt x="12" y="229"/>
                  </a:lnTo>
                  <a:lnTo>
                    <a:pt x="13" y="225"/>
                  </a:lnTo>
                  <a:lnTo>
                    <a:pt x="15" y="225"/>
                  </a:lnTo>
                  <a:lnTo>
                    <a:pt x="16" y="224"/>
                  </a:lnTo>
                  <a:lnTo>
                    <a:pt x="16" y="219"/>
                  </a:lnTo>
                  <a:lnTo>
                    <a:pt x="18" y="218"/>
                  </a:lnTo>
                  <a:lnTo>
                    <a:pt x="21" y="222"/>
                  </a:lnTo>
                  <a:lnTo>
                    <a:pt x="25" y="222"/>
                  </a:lnTo>
                  <a:lnTo>
                    <a:pt x="26" y="221"/>
                  </a:lnTo>
                  <a:lnTo>
                    <a:pt x="26" y="222"/>
                  </a:lnTo>
                  <a:lnTo>
                    <a:pt x="27" y="223"/>
                  </a:lnTo>
                  <a:lnTo>
                    <a:pt x="28" y="223"/>
                  </a:lnTo>
                  <a:lnTo>
                    <a:pt x="30" y="224"/>
                  </a:lnTo>
                  <a:lnTo>
                    <a:pt x="31" y="224"/>
                  </a:lnTo>
                  <a:lnTo>
                    <a:pt x="31" y="223"/>
                  </a:lnTo>
                  <a:lnTo>
                    <a:pt x="30" y="222"/>
                  </a:lnTo>
                  <a:lnTo>
                    <a:pt x="30" y="218"/>
                  </a:lnTo>
                  <a:lnTo>
                    <a:pt x="27" y="217"/>
                  </a:lnTo>
                  <a:lnTo>
                    <a:pt x="27" y="216"/>
                  </a:lnTo>
                  <a:lnTo>
                    <a:pt x="25" y="213"/>
                  </a:lnTo>
                  <a:lnTo>
                    <a:pt x="24" y="213"/>
                  </a:lnTo>
                  <a:lnTo>
                    <a:pt x="24" y="211"/>
                  </a:lnTo>
                  <a:lnTo>
                    <a:pt x="25" y="209"/>
                  </a:lnTo>
                  <a:lnTo>
                    <a:pt x="25" y="199"/>
                  </a:lnTo>
                  <a:lnTo>
                    <a:pt x="22" y="197"/>
                  </a:lnTo>
                  <a:lnTo>
                    <a:pt x="22" y="192"/>
                  </a:lnTo>
                  <a:lnTo>
                    <a:pt x="21" y="190"/>
                  </a:lnTo>
                  <a:lnTo>
                    <a:pt x="22" y="187"/>
                  </a:lnTo>
                  <a:lnTo>
                    <a:pt x="26" y="184"/>
                  </a:lnTo>
                  <a:lnTo>
                    <a:pt x="26" y="180"/>
                  </a:lnTo>
                  <a:lnTo>
                    <a:pt x="28" y="180"/>
                  </a:lnTo>
                  <a:lnTo>
                    <a:pt x="30" y="179"/>
                  </a:lnTo>
                  <a:lnTo>
                    <a:pt x="32" y="174"/>
                  </a:lnTo>
                  <a:lnTo>
                    <a:pt x="34" y="172"/>
                  </a:lnTo>
                  <a:lnTo>
                    <a:pt x="34" y="170"/>
                  </a:lnTo>
                  <a:lnTo>
                    <a:pt x="36" y="169"/>
                  </a:lnTo>
                  <a:lnTo>
                    <a:pt x="40" y="162"/>
                  </a:lnTo>
                  <a:lnTo>
                    <a:pt x="45" y="157"/>
                  </a:lnTo>
                  <a:lnTo>
                    <a:pt x="55" y="147"/>
                  </a:lnTo>
                  <a:lnTo>
                    <a:pt x="57" y="145"/>
                  </a:lnTo>
                  <a:lnTo>
                    <a:pt x="61" y="142"/>
                  </a:lnTo>
                  <a:lnTo>
                    <a:pt x="63" y="138"/>
                  </a:lnTo>
                  <a:lnTo>
                    <a:pt x="64" y="138"/>
                  </a:lnTo>
                  <a:lnTo>
                    <a:pt x="64" y="136"/>
                  </a:lnTo>
                  <a:lnTo>
                    <a:pt x="67" y="133"/>
                  </a:lnTo>
                  <a:lnTo>
                    <a:pt x="76" y="133"/>
                  </a:lnTo>
                  <a:lnTo>
                    <a:pt x="77" y="132"/>
                  </a:lnTo>
                  <a:lnTo>
                    <a:pt x="78" y="130"/>
                  </a:lnTo>
                  <a:lnTo>
                    <a:pt x="78" y="126"/>
                  </a:lnTo>
                  <a:lnTo>
                    <a:pt x="82" y="125"/>
                  </a:lnTo>
                  <a:lnTo>
                    <a:pt x="82" y="124"/>
                  </a:lnTo>
                  <a:lnTo>
                    <a:pt x="83" y="124"/>
                  </a:lnTo>
                  <a:lnTo>
                    <a:pt x="82" y="123"/>
                  </a:lnTo>
                  <a:lnTo>
                    <a:pt x="82" y="119"/>
                  </a:lnTo>
                  <a:lnTo>
                    <a:pt x="83" y="118"/>
                  </a:lnTo>
                  <a:lnTo>
                    <a:pt x="82" y="115"/>
                  </a:lnTo>
                  <a:lnTo>
                    <a:pt x="82" y="112"/>
                  </a:lnTo>
                  <a:lnTo>
                    <a:pt x="81" y="112"/>
                  </a:lnTo>
                  <a:lnTo>
                    <a:pt x="78" y="110"/>
                  </a:lnTo>
                  <a:lnTo>
                    <a:pt x="80" y="108"/>
                  </a:lnTo>
                  <a:lnTo>
                    <a:pt x="77" y="108"/>
                  </a:lnTo>
                  <a:lnTo>
                    <a:pt x="77" y="105"/>
                  </a:lnTo>
                  <a:lnTo>
                    <a:pt x="78" y="104"/>
                  </a:lnTo>
                  <a:lnTo>
                    <a:pt x="80" y="104"/>
                  </a:lnTo>
                  <a:lnTo>
                    <a:pt x="81" y="105"/>
                  </a:lnTo>
                  <a:lnTo>
                    <a:pt x="81" y="104"/>
                  </a:lnTo>
                  <a:lnTo>
                    <a:pt x="84" y="104"/>
                  </a:lnTo>
                  <a:lnTo>
                    <a:pt x="84" y="101"/>
                  </a:lnTo>
                  <a:lnTo>
                    <a:pt x="81" y="100"/>
                  </a:lnTo>
                  <a:lnTo>
                    <a:pt x="77" y="98"/>
                  </a:lnTo>
                  <a:lnTo>
                    <a:pt x="77" y="94"/>
                  </a:lnTo>
                  <a:lnTo>
                    <a:pt x="76" y="94"/>
                  </a:lnTo>
                  <a:lnTo>
                    <a:pt x="76" y="93"/>
                  </a:lnTo>
                  <a:lnTo>
                    <a:pt x="75" y="93"/>
                  </a:lnTo>
                  <a:lnTo>
                    <a:pt x="75" y="89"/>
                  </a:lnTo>
                  <a:lnTo>
                    <a:pt x="74" y="88"/>
                  </a:lnTo>
                  <a:lnTo>
                    <a:pt x="73" y="86"/>
                  </a:lnTo>
                  <a:lnTo>
                    <a:pt x="73" y="84"/>
                  </a:lnTo>
                  <a:lnTo>
                    <a:pt x="74" y="83"/>
                  </a:lnTo>
                  <a:lnTo>
                    <a:pt x="73" y="83"/>
                  </a:lnTo>
                  <a:lnTo>
                    <a:pt x="71" y="81"/>
                  </a:lnTo>
                  <a:lnTo>
                    <a:pt x="69" y="80"/>
                  </a:lnTo>
                  <a:lnTo>
                    <a:pt x="68" y="78"/>
                  </a:lnTo>
                  <a:lnTo>
                    <a:pt x="65" y="74"/>
                  </a:lnTo>
                  <a:lnTo>
                    <a:pt x="64" y="72"/>
                  </a:lnTo>
                  <a:lnTo>
                    <a:pt x="63" y="72"/>
                  </a:lnTo>
                  <a:lnTo>
                    <a:pt x="63" y="70"/>
                  </a:lnTo>
                  <a:lnTo>
                    <a:pt x="64" y="69"/>
                  </a:lnTo>
                  <a:lnTo>
                    <a:pt x="64" y="68"/>
                  </a:lnTo>
                  <a:lnTo>
                    <a:pt x="65" y="68"/>
                  </a:lnTo>
                  <a:lnTo>
                    <a:pt x="65" y="65"/>
                  </a:lnTo>
                  <a:lnTo>
                    <a:pt x="64" y="62"/>
                  </a:lnTo>
                  <a:lnTo>
                    <a:pt x="64" y="61"/>
                  </a:lnTo>
                  <a:lnTo>
                    <a:pt x="63" y="59"/>
                  </a:lnTo>
                  <a:lnTo>
                    <a:pt x="62" y="59"/>
                  </a:lnTo>
                  <a:lnTo>
                    <a:pt x="62" y="58"/>
                  </a:lnTo>
                  <a:lnTo>
                    <a:pt x="63" y="58"/>
                  </a:lnTo>
                  <a:lnTo>
                    <a:pt x="63" y="57"/>
                  </a:lnTo>
                  <a:lnTo>
                    <a:pt x="62" y="53"/>
                  </a:lnTo>
                  <a:lnTo>
                    <a:pt x="62" y="51"/>
                  </a:lnTo>
                  <a:lnTo>
                    <a:pt x="63" y="51"/>
                  </a:lnTo>
                  <a:lnTo>
                    <a:pt x="67" y="50"/>
                  </a:lnTo>
                  <a:lnTo>
                    <a:pt x="73" y="50"/>
                  </a:lnTo>
                  <a:lnTo>
                    <a:pt x="76" y="53"/>
                  </a:lnTo>
                  <a:lnTo>
                    <a:pt x="77" y="53"/>
                  </a:lnTo>
                  <a:lnTo>
                    <a:pt x="84" y="47"/>
                  </a:lnTo>
                  <a:lnTo>
                    <a:pt x="89" y="44"/>
                  </a:lnTo>
                  <a:lnTo>
                    <a:pt x="90" y="43"/>
                  </a:lnTo>
                  <a:lnTo>
                    <a:pt x="92" y="38"/>
                  </a:lnTo>
                  <a:lnTo>
                    <a:pt x="92" y="37"/>
                  </a:lnTo>
                  <a:lnTo>
                    <a:pt x="93" y="34"/>
                  </a:lnTo>
                  <a:lnTo>
                    <a:pt x="94" y="33"/>
                  </a:lnTo>
                  <a:lnTo>
                    <a:pt x="109" y="33"/>
                  </a:lnTo>
                  <a:lnTo>
                    <a:pt x="121" y="31"/>
                  </a:lnTo>
                  <a:lnTo>
                    <a:pt x="125" y="29"/>
                  </a:lnTo>
                  <a:lnTo>
                    <a:pt x="126" y="28"/>
                  </a:lnTo>
                  <a:lnTo>
                    <a:pt x="129" y="28"/>
                  </a:lnTo>
                  <a:lnTo>
                    <a:pt x="136" y="31"/>
                  </a:lnTo>
                  <a:lnTo>
                    <a:pt x="150" y="31"/>
                  </a:lnTo>
                  <a:lnTo>
                    <a:pt x="154" y="29"/>
                  </a:lnTo>
                  <a:lnTo>
                    <a:pt x="162" y="32"/>
                  </a:lnTo>
                  <a:lnTo>
                    <a:pt x="167" y="32"/>
                  </a:lnTo>
                  <a:lnTo>
                    <a:pt x="170" y="35"/>
                  </a:lnTo>
                  <a:lnTo>
                    <a:pt x="181" y="35"/>
                  </a:lnTo>
                  <a:lnTo>
                    <a:pt x="181" y="38"/>
                  </a:lnTo>
                  <a:lnTo>
                    <a:pt x="182" y="38"/>
                  </a:lnTo>
                  <a:lnTo>
                    <a:pt x="190" y="39"/>
                  </a:lnTo>
                  <a:lnTo>
                    <a:pt x="199" y="43"/>
                  </a:lnTo>
                  <a:lnTo>
                    <a:pt x="201" y="43"/>
                  </a:lnTo>
                  <a:lnTo>
                    <a:pt x="206" y="41"/>
                  </a:lnTo>
                  <a:lnTo>
                    <a:pt x="212" y="41"/>
                  </a:lnTo>
                  <a:lnTo>
                    <a:pt x="213" y="43"/>
                  </a:lnTo>
                  <a:lnTo>
                    <a:pt x="213" y="49"/>
                  </a:lnTo>
                  <a:lnTo>
                    <a:pt x="217" y="49"/>
                  </a:lnTo>
                  <a:lnTo>
                    <a:pt x="217" y="50"/>
                  </a:lnTo>
                  <a:lnTo>
                    <a:pt x="216" y="51"/>
                  </a:lnTo>
                  <a:lnTo>
                    <a:pt x="216" y="52"/>
                  </a:lnTo>
                  <a:lnTo>
                    <a:pt x="217" y="53"/>
                  </a:lnTo>
                  <a:lnTo>
                    <a:pt x="219" y="52"/>
                  </a:lnTo>
                  <a:lnTo>
                    <a:pt x="221" y="53"/>
                  </a:lnTo>
                  <a:lnTo>
                    <a:pt x="223" y="53"/>
                  </a:lnTo>
                  <a:lnTo>
                    <a:pt x="223" y="52"/>
                  </a:lnTo>
                  <a:lnTo>
                    <a:pt x="224" y="51"/>
                  </a:lnTo>
                  <a:lnTo>
                    <a:pt x="226" y="51"/>
                  </a:lnTo>
                  <a:lnTo>
                    <a:pt x="231" y="52"/>
                  </a:lnTo>
                  <a:lnTo>
                    <a:pt x="233" y="52"/>
                  </a:lnTo>
                  <a:lnTo>
                    <a:pt x="235" y="53"/>
                  </a:lnTo>
                  <a:lnTo>
                    <a:pt x="235" y="56"/>
                  </a:lnTo>
                  <a:lnTo>
                    <a:pt x="233" y="59"/>
                  </a:lnTo>
                  <a:lnTo>
                    <a:pt x="233" y="61"/>
                  </a:lnTo>
                  <a:lnTo>
                    <a:pt x="235" y="62"/>
                  </a:lnTo>
                  <a:lnTo>
                    <a:pt x="236" y="62"/>
                  </a:lnTo>
                  <a:lnTo>
                    <a:pt x="236" y="61"/>
                  </a:lnTo>
                  <a:lnTo>
                    <a:pt x="238" y="58"/>
                  </a:lnTo>
                  <a:lnTo>
                    <a:pt x="238" y="55"/>
                  </a:lnTo>
                  <a:lnTo>
                    <a:pt x="239" y="53"/>
                  </a:lnTo>
                  <a:lnTo>
                    <a:pt x="239" y="52"/>
                  </a:lnTo>
                  <a:lnTo>
                    <a:pt x="241" y="51"/>
                  </a:lnTo>
                  <a:lnTo>
                    <a:pt x="244" y="55"/>
                  </a:lnTo>
                  <a:lnTo>
                    <a:pt x="245" y="55"/>
                  </a:lnTo>
                  <a:lnTo>
                    <a:pt x="247" y="56"/>
                  </a:lnTo>
                  <a:lnTo>
                    <a:pt x="250" y="56"/>
                  </a:lnTo>
                  <a:lnTo>
                    <a:pt x="251" y="55"/>
                  </a:lnTo>
                  <a:lnTo>
                    <a:pt x="252" y="55"/>
                  </a:lnTo>
                  <a:lnTo>
                    <a:pt x="254" y="51"/>
                  </a:lnTo>
                  <a:lnTo>
                    <a:pt x="256" y="49"/>
                  </a:lnTo>
                  <a:lnTo>
                    <a:pt x="257" y="49"/>
                  </a:lnTo>
                  <a:lnTo>
                    <a:pt x="257" y="51"/>
                  </a:lnTo>
                  <a:lnTo>
                    <a:pt x="258" y="52"/>
                  </a:lnTo>
                  <a:lnTo>
                    <a:pt x="258" y="53"/>
                  </a:lnTo>
                  <a:lnTo>
                    <a:pt x="260" y="53"/>
                  </a:lnTo>
                  <a:lnTo>
                    <a:pt x="261" y="55"/>
                  </a:lnTo>
                  <a:lnTo>
                    <a:pt x="261" y="57"/>
                  </a:lnTo>
                  <a:lnTo>
                    <a:pt x="262" y="57"/>
                  </a:lnTo>
                  <a:lnTo>
                    <a:pt x="263" y="56"/>
                  </a:lnTo>
                  <a:lnTo>
                    <a:pt x="266" y="55"/>
                  </a:lnTo>
                  <a:lnTo>
                    <a:pt x="272" y="55"/>
                  </a:lnTo>
                  <a:lnTo>
                    <a:pt x="273" y="56"/>
                  </a:lnTo>
                  <a:lnTo>
                    <a:pt x="273" y="58"/>
                  </a:lnTo>
                  <a:lnTo>
                    <a:pt x="274" y="62"/>
                  </a:lnTo>
                  <a:lnTo>
                    <a:pt x="274" y="63"/>
                  </a:lnTo>
                  <a:lnTo>
                    <a:pt x="275" y="63"/>
                  </a:lnTo>
                  <a:lnTo>
                    <a:pt x="275" y="64"/>
                  </a:lnTo>
                  <a:lnTo>
                    <a:pt x="276" y="63"/>
                  </a:lnTo>
                  <a:lnTo>
                    <a:pt x="278" y="63"/>
                  </a:lnTo>
                  <a:lnTo>
                    <a:pt x="278" y="65"/>
                  </a:lnTo>
                  <a:lnTo>
                    <a:pt x="279" y="65"/>
                  </a:lnTo>
                  <a:lnTo>
                    <a:pt x="279" y="61"/>
                  </a:lnTo>
                  <a:lnTo>
                    <a:pt x="280" y="58"/>
                  </a:lnTo>
                  <a:lnTo>
                    <a:pt x="282" y="56"/>
                  </a:lnTo>
                  <a:lnTo>
                    <a:pt x="283" y="56"/>
                  </a:lnTo>
                  <a:lnTo>
                    <a:pt x="285" y="55"/>
                  </a:lnTo>
                  <a:lnTo>
                    <a:pt x="288" y="55"/>
                  </a:lnTo>
                  <a:lnTo>
                    <a:pt x="289" y="53"/>
                  </a:lnTo>
                  <a:lnTo>
                    <a:pt x="291" y="51"/>
                  </a:lnTo>
                  <a:lnTo>
                    <a:pt x="292" y="51"/>
                  </a:lnTo>
                  <a:lnTo>
                    <a:pt x="292" y="50"/>
                  </a:lnTo>
                  <a:lnTo>
                    <a:pt x="293" y="50"/>
                  </a:lnTo>
                  <a:lnTo>
                    <a:pt x="294" y="51"/>
                  </a:lnTo>
                  <a:lnTo>
                    <a:pt x="295" y="51"/>
                  </a:lnTo>
                  <a:lnTo>
                    <a:pt x="297" y="52"/>
                  </a:lnTo>
                  <a:lnTo>
                    <a:pt x="297" y="55"/>
                  </a:lnTo>
                  <a:lnTo>
                    <a:pt x="299" y="57"/>
                  </a:lnTo>
                  <a:lnTo>
                    <a:pt x="299" y="62"/>
                  </a:lnTo>
                  <a:lnTo>
                    <a:pt x="300" y="63"/>
                  </a:lnTo>
                  <a:lnTo>
                    <a:pt x="300" y="64"/>
                  </a:lnTo>
                  <a:lnTo>
                    <a:pt x="301" y="65"/>
                  </a:lnTo>
                  <a:lnTo>
                    <a:pt x="301" y="67"/>
                  </a:lnTo>
                  <a:lnTo>
                    <a:pt x="303" y="68"/>
                  </a:lnTo>
                  <a:lnTo>
                    <a:pt x="305" y="68"/>
                  </a:lnTo>
                  <a:lnTo>
                    <a:pt x="305" y="67"/>
                  </a:lnTo>
                  <a:lnTo>
                    <a:pt x="310" y="67"/>
                  </a:lnTo>
                  <a:lnTo>
                    <a:pt x="310" y="65"/>
                  </a:lnTo>
                  <a:lnTo>
                    <a:pt x="311" y="64"/>
                  </a:lnTo>
                  <a:lnTo>
                    <a:pt x="311" y="63"/>
                  </a:lnTo>
                  <a:lnTo>
                    <a:pt x="313" y="63"/>
                  </a:lnTo>
                  <a:lnTo>
                    <a:pt x="314" y="62"/>
                  </a:lnTo>
                  <a:lnTo>
                    <a:pt x="314" y="61"/>
                  </a:lnTo>
                  <a:lnTo>
                    <a:pt x="316" y="61"/>
                  </a:lnTo>
                  <a:lnTo>
                    <a:pt x="317" y="59"/>
                  </a:lnTo>
                  <a:lnTo>
                    <a:pt x="318" y="59"/>
                  </a:lnTo>
                  <a:lnTo>
                    <a:pt x="319" y="61"/>
                  </a:lnTo>
                  <a:lnTo>
                    <a:pt x="319" y="62"/>
                  </a:lnTo>
                  <a:lnTo>
                    <a:pt x="320" y="63"/>
                  </a:lnTo>
                  <a:lnTo>
                    <a:pt x="324" y="64"/>
                  </a:lnTo>
                  <a:lnTo>
                    <a:pt x="325" y="64"/>
                  </a:lnTo>
                  <a:lnTo>
                    <a:pt x="325" y="63"/>
                  </a:lnTo>
                  <a:lnTo>
                    <a:pt x="326" y="62"/>
                  </a:lnTo>
                  <a:lnTo>
                    <a:pt x="329" y="62"/>
                  </a:lnTo>
                  <a:lnTo>
                    <a:pt x="331" y="61"/>
                  </a:lnTo>
                  <a:lnTo>
                    <a:pt x="339" y="61"/>
                  </a:lnTo>
                  <a:lnTo>
                    <a:pt x="341" y="62"/>
                  </a:lnTo>
                  <a:lnTo>
                    <a:pt x="342" y="64"/>
                  </a:lnTo>
                  <a:lnTo>
                    <a:pt x="343" y="64"/>
                  </a:lnTo>
                  <a:lnTo>
                    <a:pt x="344" y="65"/>
                  </a:lnTo>
                  <a:lnTo>
                    <a:pt x="345" y="65"/>
                  </a:lnTo>
                  <a:lnTo>
                    <a:pt x="345" y="70"/>
                  </a:lnTo>
                  <a:lnTo>
                    <a:pt x="347" y="72"/>
                  </a:lnTo>
                  <a:lnTo>
                    <a:pt x="348" y="74"/>
                  </a:lnTo>
                  <a:lnTo>
                    <a:pt x="350" y="74"/>
                  </a:lnTo>
                  <a:lnTo>
                    <a:pt x="351" y="75"/>
                  </a:lnTo>
                  <a:lnTo>
                    <a:pt x="353" y="75"/>
                  </a:lnTo>
                  <a:lnTo>
                    <a:pt x="353" y="76"/>
                  </a:lnTo>
                  <a:lnTo>
                    <a:pt x="354" y="76"/>
                  </a:lnTo>
                  <a:lnTo>
                    <a:pt x="355" y="77"/>
                  </a:lnTo>
                  <a:lnTo>
                    <a:pt x="355" y="75"/>
                  </a:lnTo>
                  <a:lnTo>
                    <a:pt x="356" y="74"/>
                  </a:lnTo>
                  <a:lnTo>
                    <a:pt x="356" y="72"/>
                  </a:lnTo>
                  <a:lnTo>
                    <a:pt x="359" y="70"/>
                  </a:lnTo>
                  <a:lnTo>
                    <a:pt x="359" y="67"/>
                  </a:lnTo>
                  <a:lnTo>
                    <a:pt x="357" y="65"/>
                  </a:lnTo>
                  <a:lnTo>
                    <a:pt x="357" y="64"/>
                  </a:lnTo>
                  <a:lnTo>
                    <a:pt x="356" y="64"/>
                  </a:lnTo>
                  <a:lnTo>
                    <a:pt x="356" y="62"/>
                  </a:lnTo>
                  <a:lnTo>
                    <a:pt x="357" y="62"/>
                  </a:lnTo>
                  <a:lnTo>
                    <a:pt x="357" y="61"/>
                  </a:lnTo>
                  <a:lnTo>
                    <a:pt x="356" y="61"/>
                  </a:lnTo>
                  <a:lnTo>
                    <a:pt x="356" y="58"/>
                  </a:lnTo>
                  <a:lnTo>
                    <a:pt x="355" y="58"/>
                  </a:lnTo>
                  <a:lnTo>
                    <a:pt x="356" y="57"/>
                  </a:lnTo>
                  <a:lnTo>
                    <a:pt x="356" y="56"/>
                  </a:lnTo>
                  <a:lnTo>
                    <a:pt x="354" y="56"/>
                  </a:lnTo>
                  <a:lnTo>
                    <a:pt x="354" y="55"/>
                  </a:lnTo>
                  <a:lnTo>
                    <a:pt x="355" y="55"/>
                  </a:lnTo>
                  <a:lnTo>
                    <a:pt x="355" y="53"/>
                  </a:lnTo>
                  <a:lnTo>
                    <a:pt x="354" y="53"/>
                  </a:lnTo>
                  <a:lnTo>
                    <a:pt x="354" y="52"/>
                  </a:lnTo>
                  <a:lnTo>
                    <a:pt x="355" y="51"/>
                  </a:lnTo>
                  <a:lnTo>
                    <a:pt x="355" y="49"/>
                  </a:lnTo>
                  <a:lnTo>
                    <a:pt x="356" y="49"/>
                  </a:lnTo>
                  <a:lnTo>
                    <a:pt x="355" y="47"/>
                  </a:lnTo>
                  <a:lnTo>
                    <a:pt x="356" y="46"/>
                  </a:lnTo>
                  <a:lnTo>
                    <a:pt x="356" y="45"/>
                  </a:lnTo>
                  <a:lnTo>
                    <a:pt x="359" y="45"/>
                  </a:lnTo>
                  <a:lnTo>
                    <a:pt x="359" y="41"/>
                  </a:lnTo>
                  <a:lnTo>
                    <a:pt x="357" y="41"/>
                  </a:lnTo>
                  <a:lnTo>
                    <a:pt x="359" y="40"/>
                  </a:lnTo>
                  <a:lnTo>
                    <a:pt x="360" y="40"/>
                  </a:lnTo>
                  <a:lnTo>
                    <a:pt x="360" y="37"/>
                  </a:lnTo>
                  <a:lnTo>
                    <a:pt x="361" y="35"/>
                  </a:lnTo>
                  <a:lnTo>
                    <a:pt x="361" y="34"/>
                  </a:lnTo>
                  <a:lnTo>
                    <a:pt x="362" y="34"/>
                  </a:lnTo>
                  <a:lnTo>
                    <a:pt x="363" y="33"/>
                  </a:lnTo>
                  <a:lnTo>
                    <a:pt x="363" y="32"/>
                  </a:lnTo>
                  <a:lnTo>
                    <a:pt x="366" y="32"/>
                  </a:lnTo>
                  <a:lnTo>
                    <a:pt x="366" y="29"/>
                  </a:lnTo>
                  <a:lnTo>
                    <a:pt x="367" y="28"/>
                  </a:lnTo>
                  <a:lnTo>
                    <a:pt x="368" y="28"/>
                  </a:lnTo>
                  <a:lnTo>
                    <a:pt x="368" y="27"/>
                  </a:lnTo>
                  <a:lnTo>
                    <a:pt x="369" y="27"/>
                  </a:lnTo>
                  <a:lnTo>
                    <a:pt x="369" y="25"/>
                  </a:lnTo>
                  <a:lnTo>
                    <a:pt x="370" y="25"/>
                  </a:lnTo>
                  <a:lnTo>
                    <a:pt x="370" y="26"/>
                  </a:lnTo>
                  <a:lnTo>
                    <a:pt x="372" y="26"/>
                  </a:lnTo>
                  <a:lnTo>
                    <a:pt x="372" y="24"/>
                  </a:lnTo>
                  <a:lnTo>
                    <a:pt x="370" y="24"/>
                  </a:lnTo>
                  <a:lnTo>
                    <a:pt x="370" y="21"/>
                  </a:lnTo>
                  <a:lnTo>
                    <a:pt x="372" y="20"/>
                  </a:lnTo>
                  <a:lnTo>
                    <a:pt x="380" y="20"/>
                  </a:lnTo>
                  <a:lnTo>
                    <a:pt x="382" y="22"/>
                  </a:lnTo>
                  <a:lnTo>
                    <a:pt x="385" y="22"/>
                  </a:lnTo>
                  <a:lnTo>
                    <a:pt x="385" y="21"/>
                  </a:lnTo>
                  <a:lnTo>
                    <a:pt x="387" y="19"/>
                  </a:lnTo>
                  <a:lnTo>
                    <a:pt x="390" y="18"/>
                  </a:lnTo>
                  <a:lnTo>
                    <a:pt x="394" y="18"/>
                  </a:lnTo>
                  <a:lnTo>
                    <a:pt x="401" y="19"/>
                  </a:lnTo>
                  <a:lnTo>
                    <a:pt x="406" y="19"/>
                  </a:lnTo>
                  <a:lnTo>
                    <a:pt x="409" y="18"/>
                  </a:lnTo>
                  <a:lnTo>
                    <a:pt x="410" y="19"/>
                  </a:lnTo>
                  <a:lnTo>
                    <a:pt x="411" y="19"/>
                  </a:lnTo>
                  <a:lnTo>
                    <a:pt x="411" y="22"/>
                  </a:lnTo>
                  <a:lnTo>
                    <a:pt x="412" y="24"/>
                  </a:lnTo>
                  <a:lnTo>
                    <a:pt x="413" y="24"/>
                  </a:lnTo>
                  <a:lnTo>
                    <a:pt x="416" y="22"/>
                  </a:lnTo>
                  <a:lnTo>
                    <a:pt x="417" y="21"/>
                  </a:lnTo>
                  <a:lnTo>
                    <a:pt x="419" y="22"/>
                  </a:lnTo>
                  <a:lnTo>
                    <a:pt x="421" y="22"/>
                  </a:lnTo>
                  <a:lnTo>
                    <a:pt x="425" y="20"/>
                  </a:lnTo>
                  <a:lnTo>
                    <a:pt x="428" y="18"/>
                  </a:lnTo>
                  <a:lnTo>
                    <a:pt x="429" y="15"/>
                  </a:lnTo>
                  <a:lnTo>
                    <a:pt x="430" y="12"/>
                  </a:lnTo>
                  <a:lnTo>
                    <a:pt x="430" y="9"/>
                  </a:lnTo>
                  <a:lnTo>
                    <a:pt x="431" y="9"/>
                  </a:lnTo>
                  <a:lnTo>
                    <a:pt x="431" y="8"/>
                  </a:lnTo>
                  <a:lnTo>
                    <a:pt x="430" y="6"/>
                  </a:lnTo>
                  <a:lnTo>
                    <a:pt x="431" y="3"/>
                  </a:lnTo>
                  <a:lnTo>
                    <a:pt x="432" y="3"/>
                  </a:lnTo>
                  <a:lnTo>
                    <a:pt x="436" y="4"/>
                  </a:lnTo>
                  <a:lnTo>
                    <a:pt x="438" y="3"/>
                  </a:lnTo>
                  <a:lnTo>
                    <a:pt x="447" y="8"/>
                  </a:lnTo>
                  <a:lnTo>
                    <a:pt x="448" y="8"/>
                  </a:lnTo>
                  <a:lnTo>
                    <a:pt x="450" y="7"/>
                  </a:lnTo>
                  <a:lnTo>
                    <a:pt x="452" y="7"/>
                  </a:lnTo>
                  <a:lnTo>
                    <a:pt x="453" y="8"/>
                  </a:lnTo>
                  <a:lnTo>
                    <a:pt x="455" y="8"/>
                  </a:lnTo>
                  <a:lnTo>
                    <a:pt x="460" y="4"/>
                  </a:lnTo>
                  <a:lnTo>
                    <a:pt x="461" y="4"/>
                  </a:lnTo>
                  <a:lnTo>
                    <a:pt x="462" y="3"/>
                  </a:lnTo>
                  <a:lnTo>
                    <a:pt x="462" y="2"/>
                  </a:lnTo>
                  <a:lnTo>
                    <a:pt x="465" y="2"/>
                  </a:lnTo>
                  <a:lnTo>
                    <a:pt x="466" y="1"/>
                  </a:lnTo>
                  <a:lnTo>
                    <a:pt x="466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9E89BBBE-4AB4-4301-933A-16D3945A83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65863" y="5218113"/>
              <a:ext cx="1282700" cy="539750"/>
            </a:xfrm>
            <a:custGeom>
              <a:avLst/>
              <a:gdLst/>
              <a:ahLst/>
              <a:cxnLst>
                <a:cxn ang="0">
                  <a:pos x="72" y="295"/>
                </a:cxn>
                <a:cxn ang="0">
                  <a:pos x="12" y="104"/>
                </a:cxn>
                <a:cxn ang="0">
                  <a:pos x="82" y="86"/>
                </a:cxn>
                <a:cxn ang="0">
                  <a:pos x="86" y="7"/>
                </a:cxn>
                <a:cxn ang="0">
                  <a:pos x="105" y="30"/>
                </a:cxn>
                <a:cxn ang="0">
                  <a:pos x="195" y="50"/>
                </a:cxn>
                <a:cxn ang="0">
                  <a:pos x="275" y="26"/>
                </a:cxn>
                <a:cxn ang="0">
                  <a:pos x="373" y="7"/>
                </a:cxn>
                <a:cxn ang="0">
                  <a:pos x="415" y="26"/>
                </a:cxn>
                <a:cxn ang="0">
                  <a:pos x="452" y="46"/>
                </a:cxn>
                <a:cxn ang="0">
                  <a:pos x="508" y="55"/>
                </a:cxn>
                <a:cxn ang="0">
                  <a:pos x="553" y="62"/>
                </a:cxn>
                <a:cxn ang="0">
                  <a:pos x="615" y="66"/>
                </a:cxn>
                <a:cxn ang="0">
                  <a:pos x="668" y="33"/>
                </a:cxn>
                <a:cxn ang="0">
                  <a:pos x="722" y="33"/>
                </a:cxn>
                <a:cxn ang="0">
                  <a:pos x="752" y="62"/>
                </a:cxn>
                <a:cxn ang="0">
                  <a:pos x="770" y="116"/>
                </a:cxn>
                <a:cxn ang="0">
                  <a:pos x="797" y="130"/>
                </a:cxn>
                <a:cxn ang="0">
                  <a:pos x="780" y="177"/>
                </a:cxn>
                <a:cxn ang="0">
                  <a:pos x="785" y="222"/>
                </a:cxn>
                <a:cxn ang="0">
                  <a:pos x="798" y="253"/>
                </a:cxn>
                <a:cxn ang="0">
                  <a:pos x="782" y="271"/>
                </a:cxn>
                <a:cxn ang="0">
                  <a:pos x="744" y="261"/>
                </a:cxn>
                <a:cxn ang="0">
                  <a:pos x="690" y="270"/>
                </a:cxn>
                <a:cxn ang="0">
                  <a:pos x="528" y="284"/>
                </a:cxn>
                <a:cxn ang="0">
                  <a:pos x="459" y="310"/>
                </a:cxn>
                <a:cxn ang="0">
                  <a:pos x="440" y="339"/>
                </a:cxn>
                <a:cxn ang="0">
                  <a:pos x="432" y="308"/>
                </a:cxn>
                <a:cxn ang="0">
                  <a:pos x="419" y="300"/>
                </a:cxn>
                <a:cxn ang="0">
                  <a:pos x="369" y="296"/>
                </a:cxn>
                <a:cxn ang="0">
                  <a:pos x="337" y="322"/>
                </a:cxn>
                <a:cxn ang="0">
                  <a:pos x="282" y="322"/>
                </a:cxn>
                <a:cxn ang="0">
                  <a:pos x="223" y="286"/>
                </a:cxn>
                <a:cxn ang="0">
                  <a:pos x="200" y="319"/>
                </a:cxn>
                <a:cxn ang="0">
                  <a:pos x="168" y="321"/>
                </a:cxn>
                <a:cxn ang="0">
                  <a:pos x="145" y="302"/>
                </a:cxn>
                <a:cxn ang="0">
                  <a:pos x="121" y="288"/>
                </a:cxn>
                <a:cxn ang="0">
                  <a:pos x="111" y="294"/>
                </a:cxn>
                <a:cxn ang="0">
                  <a:pos x="96" y="292"/>
                </a:cxn>
                <a:cxn ang="0">
                  <a:pos x="86" y="290"/>
                </a:cxn>
                <a:cxn ang="0">
                  <a:pos x="108" y="278"/>
                </a:cxn>
                <a:cxn ang="0">
                  <a:pos x="70" y="278"/>
                </a:cxn>
                <a:cxn ang="0">
                  <a:pos x="80" y="265"/>
                </a:cxn>
                <a:cxn ang="0">
                  <a:pos x="65" y="247"/>
                </a:cxn>
                <a:cxn ang="0">
                  <a:pos x="50" y="223"/>
                </a:cxn>
                <a:cxn ang="0">
                  <a:pos x="27" y="209"/>
                </a:cxn>
                <a:cxn ang="0">
                  <a:pos x="38" y="194"/>
                </a:cxn>
                <a:cxn ang="0">
                  <a:pos x="55" y="202"/>
                </a:cxn>
                <a:cxn ang="0">
                  <a:pos x="53" y="181"/>
                </a:cxn>
                <a:cxn ang="0">
                  <a:pos x="45" y="159"/>
                </a:cxn>
                <a:cxn ang="0">
                  <a:pos x="16" y="146"/>
                </a:cxn>
                <a:cxn ang="0">
                  <a:pos x="68" y="92"/>
                </a:cxn>
                <a:cxn ang="0">
                  <a:pos x="100" y="92"/>
                </a:cxn>
                <a:cxn ang="0">
                  <a:pos x="137" y="92"/>
                </a:cxn>
                <a:cxn ang="0">
                  <a:pos x="158" y="75"/>
                </a:cxn>
                <a:cxn ang="0">
                  <a:pos x="124" y="61"/>
                </a:cxn>
                <a:cxn ang="0">
                  <a:pos x="68" y="79"/>
                </a:cxn>
                <a:cxn ang="0">
                  <a:pos x="30" y="109"/>
                </a:cxn>
                <a:cxn ang="0">
                  <a:pos x="36" y="85"/>
                </a:cxn>
                <a:cxn ang="0">
                  <a:pos x="28" y="54"/>
                </a:cxn>
                <a:cxn ang="0">
                  <a:pos x="34" y="17"/>
                </a:cxn>
              </a:cxnLst>
              <a:rect l="0" t="0" r="r" b="b"/>
              <a:pathLst>
                <a:path w="808" h="340">
                  <a:moveTo>
                    <a:pt x="96" y="300"/>
                  </a:moveTo>
                  <a:lnTo>
                    <a:pt x="101" y="300"/>
                  </a:lnTo>
                  <a:lnTo>
                    <a:pt x="101" y="301"/>
                  </a:lnTo>
                  <a:lnTo>
                    <a:pt x="100" y="301"/>
                  </a:lnTo>
                  <a:lnTo>
                    <a:pt x="100" y="302"/>
                  </a:lnTo>
                  <a:lnTo>
                    <a:pt x="98" y="302"/>
                  </a:lnTo>
                  <a:lnTo>
                    <a:pt x="96" y="301"/>
                  </a:lnTo>
                  <a:lnTo>
                    <a:pt x="96" y="300"/>
                  </a:lnTo>
                  <a:close/>
                  <a:moveTo>
                    <a:pt x="100" y="297"/>
                  </a:moveTo>
                  <a:lnTo>
                    <a:pt x="101" y="297"/>
                  </a:lnTo>
                  <a:lnTo>
                    <a:pt x="100" y="298"/>
                  </a:lnTo>
                  <a:lnTo>
                    <a:pt x="100" y="297"/>
                  </a:lnTo>
                  <a:close/>
                  <a:moveTo>
                    <a:pt x="136" y="296"/>
                  </a:moveTo>
                  <a:lnTo>
                    <a:pt x="137" y="297"/>
                  </a:lnTo>
                  <a:lnTo>
                    <a:pt x="136" y="297"/>
                  </a:lnTo>
                  <a:lnTo>
                    <a:pt x="136" y="296"/>
                  </a:lnTo>
                  <a:close/>
                  <a:moveTo>
                    <a:pt x="96" y="295"/>
                  </a:moveTo>
                  <a:lnTo>
                    <a:pt x="100" y="295"/>
                  </a:lnTo>
                  <a:lnTo>
                    <a:pt x="100" y="296"/>
                  </a:lnTo>
                  <a:lnTo>
                    <a:pt x="98" y="296"/>
                  </a:lnTo>
                  <a:lnTo>
                    <a:pt x="96" y="295"/>
                  </a:lnTo>
                  <a:close/>
                  <a:moveTo>
                    <a:pt x="418" y="294"/>
                  </a:moveTo>
                  <a:lnTo>
                    <a:pt x="418" y="295"/>
                  </a:lnTo>
                  <a:lnTo>
                    <a:pt x="419" y="295"/>
                  </a:lnTo>
                  <a:lnTo>
                    <a:pt x="419" y="294"/>
                  </a:lnTo>
                  <a:lnTo>
                    <a:pt x="418" y="294"/>
                  </a:lnTo>
                  <a:close/>
                  <a:moveTo>
                    <a:pt x="71" y="294"/>
                  </a:moveTo>
                  <a:lnTo>
                    <a:pt x="72" y="295"/>
                  </a:lnTo>
                  <a:lnTo>
                    <a:pt x="71" y="296"/>
                  </a:lnTo>
                  <a:lnTo>
                    <a:pt x="71" y="294"/>
                  </a:lnTo>
                  <a:close/>
                  <a:moveTo>
                    <a:pt x="74" y="277"/>
                  </a:moveTo>
                  <a:lnTo>
                    <a:pt x="74" y="278"/>
                  </a:lnTo>
                  <a:lnTo>
                    <a:pt x="72" y="278"/>
                  </a:lnTo>
                  <a:lnTo>
                    <a:pt x="74" y="277"/>
                  </a:lnTo>
                  <a:close/>
                  <a:moveTo>
                    <a:pt x="67" y="272"/>
                  </a:moveTo>
                  <a:lnTo>
                    <a:pt x="68" y="272"/>
                  </a:lnTo>
                  <a:lnTo>
                    <a:pt x="67" y="273"/>
                  </a:lnTo>
                  <a:lnTo>
                    <a:pt x="67" y="272"/>
                  </a:lnTo>
                  <a:close/>
                  <a:moveTo>
                    <a:pt x="26" y="206"/>
                  </a:moveTo>
                  <a:lnTo>
                    <a:pt x="27" y="206"/>
                  </a:lnTo>
                  <a:lnTo>
                    <a:pt x="27" y="208"/>
                  </a:lnTo>
                  <a:lnTo>
                    <a:pt x="26" y="208"/>
                  </a:lnTo>
                  <a:lnTo>
                    <a:pt x="26" y="206"/>
                  </a:lnTo>
                  <a:close/>
                  <a:moveTo>
                    <a:pt x="49" y="197"/>
                  </a:moveTo>
                  <a:lnTo>
                    <a:pt x="50" y="198"/>
                  </a:lnTo>
                  <a:lnTo>
                    <a:pt x="49" y="198"/>
                  </a:lnTo>
                  <a:lnTo>
                    <a:pt x="49" y="197"/>
                  </a:lnTo>
                  <a:close/>
                  <a:moveTo>
                    <a:pt x="13" y="126"/>
                  </a:moveTo>
                  <a:lnTo>
                    <a:pt x="18" y="126"/>
                  </a:lnTo>
                  <a:lnTo>
                    <a:pt x="18" y="129"/>
                  </a:lnTo>
                  <a:lnTo>
                    <a:pt x="16" y="129"/>
                  </a:lnTo>
                  <a:lnTo>
                    <a:pt x="15" y="128"/>
                  </a:lnTo>
                  <a:lnTo>
                    <a:pt x="13" y="128"/>
                  </a:lnTo>
                  <a:lnTo>
                    <a:pt x="13" y="126"/>
                  </a:lnTo>
                  <a:close/>
                  <a:moveTo>
                    <a:pt x="11" y="104"/>
                  </a:moveTo>
                  <a:lnTo>
                    <a:pt x="12" y="104"/>
                  </a:lnTo>
                  <a:lnTo>
                    <a:pt x="12" y="105"/>
                  </a:lnTo>
                  <a:lnTo>
                    <a:pt x="13" y="105"/>
                  </a:lnTo>
                  <a:lnTo>
                    <a:pt x="13" y="109"/>
                  </a:lnTo>
                  <a:lnTo>
                    <a:pt x="14" y="109"/>
                  </a:lnTo>
                  <a:lnTo>
                    <a:pt x="14" y="110"/>
                  </a:lnTo>
                  <a:lnTo>
                    <a:pt x="13" y="110"/>
                  </a:lnTo>
                  <a:lnTo>
                    <a:pt x="9" y="111"/>
                  </a:lnTo>
                  <a:lnTo>
                    <a:pt x="8" y="111"/>
                  </a:lnTo>
                  <a:lnTo>
                    <a:pt x="5" y="112"/>
                  </a:lnTo>
                  <a:lnTo>
                    <a:pt x="2" y="112"/>
                  </a:lnTo>
                  <a:lnTo>
                    <a:pt x="2" y="111"/>
                  </a:lnTo>
                  <a:lnTo>
                    <a:pt x="0" y="111"/>
                  </a:lnTo>
                  <a:lnTo>
                    <a:pt x="0" y="110"/>
                  </a:lnTo>
                  <a:lnTo>
                    <a:pt x="3" y="106"/>
                  </a:lnTo>
                  <a:lnTo>
                    <a:pt x="11" y="104"/>
                  </a:lnTo>
                  <a:close/>
                  <a:moveTo>
                    <a:pt x="81" y="89"/>
                  </a:moveTo>
                  <a:lnTo>
                    <a:pt x="82" y="89"/>
                  </a:lnTo>
                  <a:lnTo>
                    <a:pt x="83" y="91"/>
                  </a:lnTo>
                  <a:lnTo>
                    <a:pt x="83" y="92"/>
                  </a:lnTo>
                  <a:lnTo>
                    <a:pt x="81" y="92"/>
                  </a:lnTo>
                  <a:lnTo>
                    <a:pt x="81" y="89"/>
                  </a:lnTo>
                  <a:close/>
                  <a:moveTo>
                    <a:pt x="78" y="81"/>
                  </a:moveTo>
                  <a:lnTo>
                    <a:pt x="86" y="81"/>
                  </a:lnTo>
                  <a:lnTo>
                    <a:pt x="87" y="82"/>
                  </a:lnTo>
                  <a:lnTo>
                    <a:pt x="87" y="83"/>
                  </a:lnTo>
                  <a:lnTo>
                    <a:pt x="84" y="83"/>
                  </a:lnTo>
                  <a:lnTo>
                    <a:pt x="82" y="85"/>
                  </a:lnTo>
                  <a:lnTo>
                    <a:pt x="82" y="86"/>
                  </a:lnTo>
                  <a:lnTo>
                    <a:pt x="81" y="85"/>
                  </a:lnTo>
                  <a:lnTo>
                    <a:pt x="78" y="85"/>
                  </a:lnTo>
                  <a:lnTo>
                    <a:pt x="78" y="81"/>
                  </a:lnTo>
                  <a:close/>
                  <a:moveTo>
                    <a:pt x="120" y="57"/>
                  </a:moveTo>
                  <a:lnTo>
                    <a:pt x="121" y="58"/>
                  </a:lnTo>
                  <a:lnTo>
                    <a:pt x="121" y="60"/>
                  </a:lnTo>
                  <a:lnTo>
                    <a:pt x="123" y="60"/>
                  </a:lnTo>
                  <a:lnTo>
                    <a:pt x="123" y="58"/>
                  </a:lnTo>
                  <a:lnTo>
                    <a:pt x="121" y="57"/>
                  </a:lnTo>
                  <a:lnTo>
                    <a:pt x="120" y="57"/>
                  </a:lnTo>
                  <a:close/>
                  <a:moveTo>
                    <a:pt x="400" y="3"/>
                  </a:moveTo>
                  <a:lnTo>
                    <a:pt x="401" y="3"/>
                  </a:lnTo>
                  <a:lnTo>
                    <a:pt x="403" y="5"/>
                  </a:lnTo>
                  <a:lnTo>
                    <a:pt x="400" y="5"/>
                  </a:lnTo>
                  <a:lnTo>
                    <a:pt x="400" y="3"/>
                  </a:lnTo>
                  <a:close/>
                  <a:moveTo>
                    <a:pt x="65" y="0"/>
                  </a:moveTo>
                  <a:lnTo>
                    <a:pt x="67" y="0"/>
                  </a:lnTo>
                  <a:lnTo>
                    <a:pt x="68" y="1"/>
                  </a:lnTo>
                  <a:lnTo>
                    <a:pt x="69" y="1"/>
                  </a:lnTo>
                  <a:lnTo>
                    <a:pt x="70" y="2"/>
                  </a:lnTo>
                  <a:lnTo>
                    <a:pt x="72" y="6"/>
                  </a:lnTo>
                  <a:lnTo>
                    <a:pt x="74" y="7"/>
                  </a:lnTo>
                  <a:lnTo>
                    <a:pt x="77" y="9"/>
                  </a:lnTo>
                  <a:lnTo>
                    <a:pt x="80" y="12"/>
                  </a:lnTo>
                  <a:lnTo>
                    <a:pt x="80" y="9"/>
                  </a:lnTo>
                  <a:lnTo>
                    <a:pt x="82" y="9"/>
                  </a:lnTo>
                  <a:lnTo>
                    <a:pt x="82" y="8"/>
                  </a:lnTo>
                  <a:lnTo>
                    <a:pt x="86" y="7"/>
                  </a:lnTo>
                  <a:lnTo>
                    <a:pt x="87" y="7"/>
                  </a:lnTo>
                  <a:lnTo>
                    <a:pt x="89" y="9"/>
                  </a:lnTo>
                  <a:lnTo>
                    <a:pt x="90" y="9"/>
                  </a:lnTo>
                  <a:lnTo>
                    <a:pt x="90" y="6"/>
                  </a:lnTo>
                  <a:lnTo>
                    <a:pt x="93" y="6"/>
                  </a:lnTo>
                  <a:lnTo>
                    <a:pt x="94" y="7"/>
                  </a:lnTo>
                  <a:lnTo>
                    <a:pt x="99" y="7"/>
                  </a:lnTo>
                  <a:lnTo>
                    <a:pt x="100" y="11"/>
                  </a:lnTo>
                  <a:lnTo>
                    <a:pt x="100" y="12"/>
                  </a:lnTo>
                  <a:lnTo>
                    <a:pt x="98" y="12"/>
                  </a:lnTo>
                  <a:lnTo>
                    <a:pt x="98" y="13"/>
                  </a:lnTo>
                  <a:lnTo>
                    <a:pt x="96" y="14"/>
                  </a:lnTo>
                  <a:lnTo>
                    <a:pt x="98" y="15"/>
                  </a:lnTo>
                  <a:lnTo>
                    <a:pt x="98" y="17"/>
                  </a:lnTo>
                  <a:lnTo>
                    <a:pt x="99" y="18"/>
                  </a:lnTo>
                  <a:lnTo>
                    <a:pt x="99" y="19"/>
                  </a:lnTo>
                  <a:lnTo>
                    <a:pt x="100" y="21"/>
                  </a:lnTo>
                  <a:lnTo>
                    <a:pt x="100" y="23"/>
                  </a:lnTo>
                  <a:lnTo>
                    <a:pt x="101" y="23"/>
                  </a:lnTo>
                  <a:lnTo>
                    <a:pt x="101" y="24"/>
                  </a:lnTo>
                  <a:lnTo>
                    <a:pt x="102" y="24"/>
                  </a:lnTo>
                  <a:lnTo>
                    <a:pt x="102" y="25"/>
                  </a:lnTo>
                  <a:lnTo>
                    <a:pt x="101" y="25"/>
                  </a:lnTo>
                  <a:lnTo>
                    <a:pt x="102" y="26"/>
                  </a:lnTo>
                  <a:lnTo>
                    <a:pt x="102" y="27"/>
                  </a:lnTo>
                  <a:lnTo>
                    <a:pt x="103" y="27"/>
                  </a:lnTo>
                  <a:lnTo>
                    <a:pt x="105" y="28"/>
                  </a:lnTo>
                  <a:lnTo>
                    <a:pt x="105" y="30"/>
                  </a:lnTo>
                  <a:lnTo>
                    <a:pt x="108" y="33"/>
                  </a:lnTo>
                  <a:lnTo>
                    <a:pt x="114" y="37"/>
                  </a:lnTo>
                  <a:lnTo>
                    <a:pt x="124" y="40"/>
                  </a:lnTo>
                  <a:lnTo>
                    <a:pt x="137" y="48"/>
                  </a:lnTo>
                  <a:lnTo>
                    <a:pt x="140" y="48"/>
                  </a:lnTo>
                  <a:lnTo>
                    <a:pt x="142" y="49"/>
                  </a:lnTo>
                  <a:lnTo>
                    <a:pt x="142" y="48"/>
                  </a:lnTo>
                  <a:lnTo>
                    <a:pt x="143" y="48"/>
                  </a:lnTo>
                  <a:lnTo>
                    <a:pt x="144" y="49"/>
                  </a:lnTo>
                  <a:lnTo>
                    <a:pt x="145" y="49"/>
                  </a:lnTo>
                  <a:lnTo>
                    <a:pt x="145" y="50"/>
                  </a:lnTo>
                  <a:lnTo>
                    <a:pt x="143" y="52"/>
                  </a:lnTo>
                  <a:lnTo>
                    <a:pt x="142" y="52"/>
                  </a:lnTo>
                  <a:lnTo>
                    <a:pt x="143" y="54"/>
                  </a:lnTo>
                  <a:lnTo>
                    <a:pt x="143" y="57"/>
                  </a:lnTo>
                  <a:lnTo>
                    <a:pt x="144" y="56"/>
                  </a:lnTo>
                  <a:lnTo>
                    <a:pt x="144" y="54"/>
                  </a:lnTo>
                  <a:lnTo>
                    <a:pt x="143" y="54"/>
                  </a:lnTo>
                  <a:lnTo>
                    <a:pt x="148" y="49"/>
                  </a:lnTo>
                  <a:lnTo>
                    <a:pt x="150" y="49"/>
                  </a:lnTo>
                  <a:lnTo>
                    <a:pt x="158" y="50"/>
                  </a:lnTo>
                  <a:lnTo>
                    <a:pt x="167" y="52"/>
                  </a:lnTo>
                  <a:lnTo>
                    <a:pt x="177" y="54"/>
                  </a:lnTo>
                  <a:lnTo>
                    <a:pt x="190" y="54"/>
                  </a:lnTo>
                  <a:lnTo>
                    <a:pt x="193" y="51"/>
                  </a:lnTo>
                  <a:lnTo>
                    <a:pt x="194" y="51"/>
                  </a:lnTo>
                  <a:lnTo>
                    <a:pt x="194" y="50"/>
                  </a:lnTo>
                  <a:lnTo>
                    <a:pt x="195" y="50"/>
                  </a:lnTo>
                  <a:lnTo>
                    <a:pt x="196" y="51"/>
                  </a:lnTo>
                  <a:lnTo>
                    <a:pt x="199" y="52"/>
                  </a:lnTo>
                  <a:lnTo>
                    <a:pt x="212" y="55"/>
                  </a:lnTo>
                  <a:lnTo>
                    <a:pt x="214" y="57"/>
                  </a:lnTo>
                  <a:lnTo>
                    <a:pt x="230" y="57"/>
                  </a:lnTo>
                  <a:lnTo>
                    <a:pt x="230" y="56"/>
                  </a:lnTo>
                  <a:lnTo>
                    <a:pt x="231" y="56"/>
                  </a:lnTo>
                  <a:lnTo>
                    <a:pt x="231" y="57"/>
                  </a:lnTo>
                  <a:lnTo>
                    <a:pt x="232" y="57"/>
                  </a:lnTo>
                  <a:lnTo>
                    <a:pt x="233" y="56"/>
                  </a:lnTo>
                  <a:lnTo>
                    <a:pt x="235" y="57"/>
                  </a:lnTo>
                  <a:lnTo>
                    <a:pt x="235" y="56"/>
                  </a:lnTo>
                  <a:lnTo>
                    <a:pt x="237" y="56"/>
                  </a:lnTo>
                  <a:lnTo>
                    <a:pt x="242" y="51"/>
                  </a:lnTo>
                  <a:lnTo>
                    <a:pt x="242" y="48"/>
                  </a:lnTo>
                  <a:lnTo>
                    <a:pt x="243" y="46"/>
                  </a:lnTo>
                  <a:lnTo>
                    <a:pt x="242" y="45"/>
                  </a:lnTo>
                  <a:lnTo>
                    <a:pt x="242" y="44"/>
                  </a:lnTo>
                  <a:lnTo>
                    <a:pt x="245" y="44"/>
                  </a:lnTo>
                  <a:lnTo>
                    <a:pt x="245" y="43"/>
                  </a:lnTo>
                  <a:lnTo>
                    <a:pt x="247" y="42"/>
                  </a:lnTo>
                  <a:lnTo>
                    <a:pt x="252" y="39"/>
                  </a:lnTo>
                  <a:lnTo>
                    <a:pt x="262" y="33"/>
                  </a:lnTo>
                  <a:lnTo>
                    <a:pt x="267" y="31"/>
                  </a:lnTo>
                  <a:lnTo>
                    <a:pt x="268" y="30"/>
                  </a:lnTo>
                  <a:lnTo>
                    <a:pt x="269" y="30"/>
                  </a:lnTo>
                  <a:lnTo>
                    <a:pt x="273" y="28"/>
                  </a:lnTo>
                  <a:lnTo>
                    <a:pt x="275" y="26"/>
                  </a:lnTo>
                  <a:lnTo>
                    <a:pt x="277" y="23"/>
                  </a:lnTo>
                  <a:lnTo>
                    <a:pt x="279" y="21"/>
                  </a:lnTo>
                  <a:lnTo>
                    <a:pt x="282" y="21"/>
                  </a:lnTo>
                  <a:lnTo>
                    <a:pt x="282" y="20"/>
                  </a:lnTo>
                  <a:lnTo>
                    <a:pt x="285" y="20"/>
                  </a:lnTo>
                  <a:lnTo>
                    <a:pt x="286" y="19"/>
                  </a:lnTo>
                  <a:lnTo>
                    <a:pt x="289" y="17"/>
                  </a:lnTo>
                  <a:lnTo>
                    <a:pt x="292" y="17"/>
                  </a:lnTo>
                  <a:lnTo>
                    <a:pt x="292" y="15"/>
                  </a:lnTo>
                  <a:lnTo>
                    <a:pt x="293" y="15"/>
                  </a:lnTo>
                  <a:lnTo>
                    <a:pt x="294" y="14"/>
                  </a:lnTo>
                  <a:lnTo>
                    <a:pt x="295" y="15"/>
                  </a:lnTo>
                  <a:lnTo>
                    <a:pt x="298" y="14"/>
                  </a:lnTo>
                  <a:lnTo>
                    <a:pt x="301" y="14"/>
                  </a:lnTo>
                  <a:lnTo>
                    <a:pt x="303" y="13"/>
                  </a:lnTo>
                  <a:lnTo>
                    <a:pt x="306" y="13"/>
                  </a:lnTo>
                  <a:lnTo>
                    <a:pt x="307" y="12"/>
                  </a:lnTo>
                  <a:lnTo>
                    <a:pt x="310" y="11"/>
                  </a:lnTo>
                  <a:lnTo>
                    <a:pt x="316" y="8"/>
                  </a:lnTo>
                  <a:lnTo>
                    <a:pt x="323" y="5"/>
                  </a:lnTo>
                  <a:lnTo>
                    <a:pt x="332" y="5"/>
                  </a:lnTo>
                  <a:lnTo>
                    <a:pt x="334" y="6"/>
                  </a:lnTo>
                  <a:lnTo>
                    <a:pt x="335" y="6"/>
                  </a:lnTo>
                  <a:lnTo>
                    <a:pt x="344" y="7"/>
                  </a:lnTo>
                  <a:lnTo>
                    <a:pt x="351" y="7"/>
                  </a:lnTo>
                  <a:lnTo>
                    <a:pt x="366" y="8"/>
                  </a:lnTo>
                  <a:lnTo>
                    <a:pt x="370" y="7"/>
                  </a:lnTo>
                  <a:lnTo>
                    <a:pt x="373" y="7"/>
                  </a:lnTo>
                  <a:lnTo>
                    <a:pt x="374" y="8"/>
                  </a:lnTo>
                  <a:lnTo>
                    <a:pt x="375" y="8"/>
                  </a:lnTo>
                  <a:lnTo>
                    <a:pt x="381" y="9"/>
                  </a:lnTo>
                  <a:lnTo>
                    <a:pt x="382" y="8"/>
                  </a:lnTo>
                  <a:lnTo>
                    <a:pt x="385" y="8"/>
                  </a:lnTo>
                  <a:lnTo>
                    <a:pt x="387" y="6"/>
                  </a:lnTo>
                  <a:lnTo>
                    <a:pt x="390" y="6"/>
                  </a:lnTo>
                  <a:lnTo>
                    <a:pt x="391" y="3"/>
                  </a:lnTo>
                  <a:lnTo>
                    <a:pt x="391" y="2"/>
                  </a:lnTo>
                  <a:lnTo>
                    <a:pt x="392" y="0"/>
                  </a:lnTo>
                  <a:lnTo>
                    <a:pt x="393" y="1"/>
                  </a:lnTo>
                  <a:lnTo>
                    <a:pt x="395" y="1"/>
                  </a:lnTo>
                  <a:lnTo>
                    <a:pt x="395" y="3"/>
                  </a:lnTo>
                  <a:lnTo>
                    <a:pt x="397" y="5"/>
                  </a:lnTo>
                  <a:lnTo>
                    <a:pt x="399" y="5"/>
                  </a:lnTo>
                  <a:lnTo>
                    <a:pt x="399" y="6"/>
                  </a:lnTo>
                  <a:lnTo>
                    <a:pt x="398" y="6"/>
                  </a:lnTo>
                  <a:lnTo>
                    <a:pt x="398" y="11"/>
                  </a:lnTo>
                  <a:lnTo>
                    <a:pt x="399" y="13"/>
                  </a:lnTo>
                  <a:lnTo>
                    <a:pt x="403" y="17"/>
                  </a:lnTo>
                  <a:lnTo>
                    <a:pt x="401" y="17"/>
                  </a:lnTo>
                  <a:lnTo>
                    <a:pt x="403" y="18"/>
                  </a:lnTo>
                  <a:lnTo>
                    <a:pt x="403" y="19"/>
                  </a:lnTo>
                  <a:lnTo>
                    <a:pt x="405" y="21"/>
                  </a:lnTo>
                  <a:lnTo>
                    <a:pt x="406" y="21"/>
                  </a:lnTo>
                  <a:lnTo>
                    <a:pt x="411" y="24"/>
                  </a:lnTo>
                  <a:lnTo>
                    <a:pt x="412" y="25"/>
                  </a:lnTo>
                  <a:lnTo>
                    <a:pt x="415" y="26"/>
                  </a:lnTo>
                  <a:lnTo>
                    <a:pt x="421" y="26"/>
                  </a:lnTo>
                  <a:lnTo>
                    <a:pt x="422" y="25"/>
                  </a:lnTo>
                  <a:lnTo>
                    <a:pt x="425" y="25"/>
                  </a:lnTo>
                  <a:lnTo>
                    <a:pt x="429" y="23"/>
                  </a:lnTo>
                  <a:lnTo>
                    <a:pt x="431" y="23"/>
                  </a:lnTo>
                  <a:lnTo>
                    <a:pt x="434" y="21"/>
                  </a:lnTo>
                  <a:lnTo>
                    <a:pt x="434" y="23"/>
                  </a:lnTo>
                  <a:lnTo>
                    <a:pt x="432" y="23"/>
                  </a:lnTo>
                  <a:lnTo>
                    <a:pt x="432" y="25"/>
                  </a:lnTo>
                  <a:lnTo>
                    <a:pt x="434" y="24"/>
                  </a:lnTo>
                  <a:lnTo>
                    <a:pt x="434" y="23"/>
                  </a:lnTo>
                  <a:lnTo>
                    <a:pt x="435" y="21"/>
                  </a:lnTo>
                  <a:lnTo>
                    <a:pt x="437" y="24"/>
                  </a:lnTo>
                  <a:lnTo>
                    <a:pt x="437" y="23"/>
                  </a:lnTo>
                  <a:lnTo>
                    <a:pt x="441" y="27"/>
                  </a:lnTo>
                  <a:lnTo>
                    <a:pt x="442" y="28"/>
                  </a:lnTo>
                  <a:lnTo>
                    <a:pt x="442" y="31"/>
                  </a:lnTo>
                  <a:lnTo>
                    <a:pt x="441" y="31"/>
                  </a:lnTo>
                  <a:lnTo>
                    <a:pt x="441" y="36"/>
                  </a:lnTo>
                  <a:lnTo>
                    <a:pt x="442" y="36"/>
                  </a:lnTo>
                  <a:lnTo>
                    <a:pt x="443" y="38"/>
                  </a:lnTo>
                  <a:lnTo>
                    <a:pt x="444" y="39"/>
                  </a:lnTo>
                  <a:lnTo>
                    <a:pt x="446" y="42"/>
                  </a:lnTo>
                  <a:lnTo>
                    <a:pt x="447" y="43"/>
                  </a:lnTo>
                  <a:lnTo>
                    <a:pt x="449" y="44"/>
                  </a:lnTo>
                  <a:lnTo>
                    <a:pt x="450" y="44"/>
                  </a:lnTo>
                  <a:lnTo>
                    <a:pt x="450" y="46"/>
                  </a:lnTo>
                  <a:lnTo>
                    <a:pt x="452" y="46"/>
                  </a:lnTo>
                  <a:lnTo>
                    <a:pt x="453" y="48"/>
                  </a:lnTo>
                  <a:lnTo>
                    <a:pt x="454" y="48"/>
                  </a:lnTo>
                  <a:lnTo>
                    <a:pt x="454" y="49"/>
                  </a:lnTo>
                  <a:lnTo>
                    <a:pt x="456" y="49"/>
                  </a:lnTo>
                  <a:lnTo>
                    <a:pt x="460" y="45"/>
                  </a:lnTo>
                  <a:lnTo>
                    <a:pt x="460" y="44"/>
                  </a:lnTo>
                  <a:lnTo>
                    <a:pt x="461" y="43"/>
                  </a:lnTo>
                  <a:lnTo>
                    <a:pt x="461" y="42"/>
                  </a:lnTo>
                  <a:lnTo>
                    <a:pt x="462" y="40"/>
                  </a:lnTo>
                  <a:lnTo>
                    <a:pt x="462" y="42"/>
                  </a:lnTo>
                  <a:lnTo>
                    <a:pt x="468" y="42"/>
                  </a:lnTo>
                  <a:lnTo>
                    <a:pt x="471" y="43"/>
                  </a:lnTo>
                  <a:lnTo>
                    <a:pt x="478" y="45"/>
                  </a:lnTo>
                  <a:lnTo>
                    <a:pt x="479" y="46"/>
                  </a:lnTo>
                  <a:lnTo>
                    <a:pt x="479" y="51"/>
                  </a:lnTo>
                  <a:lnTo>
                    <a:pt x="480" y="52"/>
                  </a:lnTo>
                  <a:lnTo>
                    <a:pt x="481" y="52"/>
                  </a:lnTo>
                  <a:lnTo>
                    <a:pt x="482" y="54"/>
                  </a:lnTo>
                  <a:lnTo>
                    <a:pt x="491" y="54"/>
                  </a:lnTo>
                  <a:lnTo>
                    <a:pt x="493" y="56"/>
                  </a:lnTo>
                  <a:lnTo>
                    <a:pt x="494" y="56"/>
                  </a:lnTo>
                  <a:lnTo>
                    <a:pt x="496" y="57"/>
                  </a:lnTo>
                  <a:lnTo>
                    <a:pt x="497" y="57"/>
                  </a:lnTo>
                  <a:lnTo>
                    <a:pt x="499" y="60"/>
                  </a:lnTo>
                  <a:lnTo>
                    <a:pt x="504" y="60"/>
                  </a:lnTo>
                  <a:lnTo>
                    <a:pt x="504" y="57"/>
                  </a:lnTo>
                  <a:lnTo>
                    <a:pt x="508" y="54"/>
                  </a:lnTo>
                  <a:lnTo>
                    <a:pt x="508" y="55"/>
                  </a:lnTo>
                  <a:lnTo>
                    <a:pt x="509" y="56"/>
                  </a:lnTo>
                  <a:lnTo>
                    <a:pt x="510" y="55"/>
                  </a:lnTo>
                  <a:lnTo>
                    <a:pt x="511" y="55"/>
                  </a:lnTo>
                  <a:lnTo>
                    <a:pt x="511" y="58"/>
                  </a:lnTo>
                  <a:lnTo>
                    <a:pt x="513" y="61"/>
                  </a:lnTo>
                  <a:lnTo>
                    <a:pt x="515" y="61"/>
                  </a:lnTo>
                  <a:lnTo>
                    <a:pt x="515" y="62"/>
                  </a:lnTo>
                  <a:lnTo>
                    <a:pt x="516" y="63"/>
                  </a:lnTo>
                  <a:lnTo>
                    <a:pt x="517" y="62"/>
                  </a:lnTo>
                  <a:lnTo>
                    <a:pt x="519" y="63"/>
                  </a:lnTo>
                  <a:lnTo>
                    <a:pt x="524" y="64"/>
                  </a:lnTo>
                  <a:lnTo>
                    <a:pt x="527" y="64"/>
                  </a:lnTo>
                  <a:lnTo>
                    <a:pt x="529" y="66"/>
                  </a:lnTo>
                  <a:lnTo>
                    <a:pt x="530" y="66"/>
                  </a:lnTo>
                  <a:lnTo>
                    <a:pt x="531" y="64"/>
                  </a:lnTo>
                  <a:lnTo>
                    <a:pt x="534" y="67"/>
                  </a:lnTo>
                  <a:lnTo>
                    <a:pt x="535" y="67"/>
                  </a:lnTo>
                  <a:lnTo>
                    <a:pt x="536" y="66"/>
                  </a:lnTo>
                  <a:lnTo>
                    <a:pt x="539" y="67"/>
                  </a:lnTo>
                  <a:lnTo>
                    <a:pt x="540" y="67"/>
                  </a:lnTo>
                  <a:lnTo>
                    <a:pt x="543" y="66"/>
                  </a:lnTo>
                  <a:lnTo>
                    <a:pt x="546" y="64"/>
                  </a:lnTo>
                  <a:lnTo>
                    <a:pt x="547" y="63"/>
                  </a:lnTo>
                  <a:lnTo>
                    <a:pt x="548" y="63"/>
                  </a:lnTo>
                  <a:lnTo>
                    <a:pt x="548" y="64"/>
                  </a:lnTo>
                  <a:lnTo>
                    <a:pt x="552" y="64"/>
                  </a:lnTo>
                  <a:lnTo>
                    <a:pt x="552" y="63"/>
                  </a:lnTo>
                  <a:lnTo>
                    <a:pt x="553" y="62"/>
                  </a:lnTo>
                  <a:lnTo>
                    <a:pt x="554" y="62"/>
                  </a:lnTo>
                  <a:lnTo>
                    <a:pt x="558" y="61"/>
                  </a:lnTo>
                  <a:lnTo>
                    <a:pt x="559" y="60"/>
                  </a:lnTo>
                  <a:lnTo>
                    <a:pt x="565" y="60"/>
                  </a:lnTo>
                  <a:lnTo>
                    <a:pt x="567" y="58"/>
                  </a:lnTo>
                  <a:lnTo>
                    <a:pt x="568" y="58"/>
                  </a:lnTo>
                  <a:lnTo>
                    <a:pt x="569" y="57"/>
                  </a:lnTo>
                  <a:lnTo>
                    <a:pt x="571" y="57"/>
                  </a:lnTo>
                  <a:lnTo>
                    <a:pt x="573" y="60"/>
                  </a:lnTo>
                  <a:lnTo>
                    <a:pt x="574" y="60"/>
                  </a:lnTo>
                  <a:lnTo>
                    <a:pt x="574" y="58"/>
                  </a:lnTo>
                  <a:lnTo>
                    <a:pt x="577" y="58"/>
                  </a:lnTo>
                  <a:lnTo>
                    <a:pt x="579" y="56"/>
                  </a:lnTo>
                  <a:lnTo>
                    <a:pt x="583" y="56"/>
                  </a:lnTo>
                  <a:lnTo>
                    <a:pt x="589" y="62"/>
                  </a:lnTo>
                  <a:lnTo>
                    <a:pt x="591" y="62"/>
                  </a:lnTo>
                  <a:lnTo>
                    <a:pt x="592" y="61"/>
                  </a:lnTo>
                  <a:lnTo>
                    <a:pt x="593" y="61"/>
                  </a:lnTo>
                  <a:lnTo>
                    <a:pt x="595" y="62"/>
                  </a:lnTo>
                  <a:lnTo>
                    <a:pt x="596" y="62"/>
                  </a:lnTo>
                  <a:lnTo>
                    <a:pt x="598" y="64"/>
                  </a:lnTo>
                  <a:lnTo>
                    <a:pt x="600" y="64"/>
                  </a:lnTo>
                  <a:lnTo>
                    <a:pt x="604" y="63"/>
                  </a:lnTo>
                  <a:lnTo>
                    <a:pt x="606" y="66"/>
                  </a:lnTo>
                  <a:lnTo>
                    <a:pt x="608" y="66"/>
                  </a:lnTo>
                  <a:lnTo>
                    <a:pt x="610" y="67"/>
                  </a:lnTo>
                  <a:lnTo>
                    <a:pt x="612" y="66"/>
                  </a:lnTo>
                  <a:lnTo>
                    <a:pt x="615" y="66"/>
                  </a:lnTo>
                  <a:lnTo>
                    <a:pt x="615" y="64"/>
                  </a:lnTo>
                  <a:lnTo>
                    <a:pt x="617" y="64"/>
                  </a:lnTo>
                  <a:lnTo>
                    <a:pt x="624" y="60"/>
                  </a:lnTo>
                  <a:lnTo>
                    <a:pt x="628" y="60"/>
                  </a:lnTo>
                  <a:lnTo>
                    <a:pt x="629" y="58"/>
                  </a:lnTo>
                  <a:lnTo>
                    <a:pt x="631" y="57"/>
                  </a:lnTo>
                  <a:lnTo>
                    <a:pt x="634" y="57"/>
                  </a:lnTo>
                  <a:lnTo>
                    <a:pt x="634" y="56"/>
                  </a:lnTo>
                  <a:lnTo>
                    <a:pt x="636" y="54"/>
                  </a:lnTo>
                  <a:lnTo>
                    <a:pt x="640" y="51"/>
                  </a:lnTo>
                  <a:lnTo>
                    <a:pt x="643" y="51"/>
                  </a:lnTo>
                  <a:lnTo>
                    <a:pt x="645" y="50"/>
                  </a:lnTo>
                  <a:lnTo>
                    <a:pt x="648" y="50"/>
                  </a:lnTo>
                  <a:lnTo>
                    <a:pt x="648" y="49"/>
                  </a:lnTo>
                  <a:lnTo>
                    <a:pt x="649" y="49"/>
                  </a:lnTo>
                  <a:lnTo>
                    <a:pt x="651" y="46"/>
                  </a:lnTo>
                  <a:lnTo>
                    <a:pt x="652" y="46"/>
                  </a:lnTo>
                  <a:lnTo>
                    <a:pt x="653" y="45"/>
                  </a:lnTo>
                  <a:lnTo>
                    <a:pt x="655" y="45"/>
                  </a:lnTo>
                  <a:lnTo>
                    <a:pt x="659" y="42"/>
                  </a:lnTo>
                  <a:lnTo>
                    <a:pt x="661" y="42"/>
                  </a:lnTo>
                  <a:lnTo>
                    <a:pt x="662" y="40"/>
                  </a:lnTo>
                  <a:lnTo>
                    <a:pt x="664" y="40"/>
                  </a:lnTo>
                  <a:lnTo>
                    <a:pt x="665" y="39"/>
                  </a:lnTo>
                  <a:lnTo>
                    <a:pt x="665" y="37"/>
                  </a:lnTo>
                  <a:lnTo>
                    <a:pt x="666" y="37"/>
                  </a:lnTo>
                  <a:lnTo>
                    <a:pt x="668" y="34"/>
                  </a:lnTo>
                  <a:lnTo>
                    <a:pt x="668" y="33"/>
                  </a:lnTo>
                  <a:lnTo>
                    <a:pt x="673" y="36"/>
                  </a:lnTo>
                  <a:lnTo>
                    <a:pt x="676" y="36"/>
                  </a:lnTo>
                  <a:lnTo>
                    <a:pt x="676" y="34"/>
                  </a:lnTo>
                  <a:lnTo>
                    <a:pt x="677" y="34"/>
                  </a:lnTo>
                  <a:lnTo>
                    <a:pt x="677" y="36"/>
                  </a:lnTo>
                  <a:lnTo>
                    <a:pt x="678" y="37"/>
                  </a:lnTo>
                  <a:lnTo>
                    <a:pt x="679" y="37"/>
                  </a:lnTo>
                  <a:lnTo>
                    <a:pt x="680" y="38"/>
                  </a:lnTo>
                  <a:lnTo>
                    <a:pt x="682" y="38"/>
                  </a:lnTo>
                  <a:lnTo>
                    <a:pt x="683" y="37"/>
                  </a:lnTo>
                  <a:lnTo>
                    <a:pt x="684" y="34"/>
                  </a:lnTo>
                  <a:lnTo>
                    <a:pt x="685" y="34"/>
                  </a:lnTo>
                  <a:lnTo>
                    <a:pt x="686" y="33"/>
                  </a:lnTo>
                  <a:lnTo>
                    <a:pt x="690" y="34"/>
                  </a:lnTo>
                  <a:lnTo>
                    <a:pt x="697" y="34"/>
                  </a:lnTo>
                  <a:lnTo>
                    <a:pt x="698" y="36"/>
                  </a:lnTo>
                  <a:lnTo>
                    <a:pt x="701" y="34"/>
                  </a:lnTo>
                  <a:lnTo>
                    <a:pt x="708" y="38"/>
                  </a:lnTo>
                  <a:lnTo>
                    <a:pt x="709" y="38"/>
                  </a:lnTo>
                  <a:lnTo>
                    <a:pt x="709" y="37"/>
                  </a:lnTo>
                  <a:lnTo>
                    <a:pt x="713" y="33"/>
                  </a:lnTo>
                  <a:lnTo>
                    <a:pt x="713" y="30"/>
                  </a:lnTo>
                  <a:lnTo>
                    <a:pt x="715" y="30"/>
                  </a:lnTo>
                  <a:lnTo>
                    <a:pt x="717" y="28"/>
                  </a:lnTo>
                  <a:lnTo>
                    <a:pt x="723" y="30"/>
                  </a:lnTo>
                  <a:lnTo>
                    <a:pt x="723" y="32"/>
                  </a:lnTo>
                  <a:lnTo>
                    <a:pt x="722" y="32"/>
                  </a:lnTo>
                  <a:lnTo>
                    <a:pt x="722" y="33"/>
                  </a:lnTo>
                  <a:lnTo>
                    <a:pt x="721" y="33"/>
                  </a:lnTo>
                  <a:lnTo>
                    <a:pt x="723" y="36"/>
                  </a:lnTo>
                  <a:lnTo>
                    <a:pt x="724" y="36"/>
                  </a:lnTo>
                  <a:lnTo>
                    <a:pt x="724" y="34"/>
                  </a:lnTo>
                  <a:lnTo>
                    <a:pt x="726" y="34"/>
                  </a:lnTo>
                  <a:lnTo>
                    <a:pt x="728" y="37"/>
                  </a:lnTo>
                  <a:lnTo>
                    <a:pt x="729" y="37"/>
                  </a:lnTo>
                  <a:lnTo>
                    <a:pt x="729" y="38"/>
                  </a:lnTo>
                  <a:lnTo>
                    <a:pt x="730" y="40"/>
                  </a:lnTo>
                  <a:lnTo>
                    <a:pt x="732" y="40"/>
                  </a:lnTo>
                  <a:lnTo>
                    <a:pt x="734" y="43"/>
                  </a:lnTo>
                  <a:lnTo>
                    <a:pt x="736" y="44"/>
                  </a:lnTo>
                  <a:lnTo>
                    <a:pt x="738" y="45"/>
                  </a:lnTo>
                  <a:lnTo>
                    <a:pt x="739" y="45"/>
                  </a:lnTo>
                  <a:lnTo>
                    <a:pt x="739" y="46"/>
                  </a:lnTo>
                  <a:lnTo>
                    <a:pt x="738" y="46"/>
                  </a:lnTo>
                  <a:lnTo>
                    <a:pt x="735" y="48"/>
                  </a:lnTo>
                  <a:lnTo>
                    <a:pt x="736" y="49"/>
                  </a:lnTo>
                  <a:lnTo>
                    <a:pt x="739" y="49"/>
                  </a:lnTo>
                  <a:lnTo>
                    <a:pt x="739" y="50"/>
                  </a:lnTo>
                  <a:lnTo>
                    <a:pt x="740" y="52"/>
                  </a:lnTo>
                  <a:lnTo>
                    <a:pt x="741" y="52"/>
                  </a:lnTo>
                  <a:lnTo>
                    <a:pt x="745" y="51"/>
                  </a:lnTo>
                  <a:lnTo>
                    <a:pt x="747" y="51"/>
                  </a:lnTo>
                  <a:lnTo>
                    <a:pt x="751" y="55"/>
                  </a:lnTo>
                  <a:lnTo>
                    <a:pt x="749" y="56"/>
                  </a:lnTo>
                  <a:lnTo>
                    <a:pt x="749" y="60"/>
                  </a:lnTo>
                  <a:lnTo>
                    <a:pt x="752" y="62"/>
                  </a:lnTo>
                  <a:lnTo>
                    <a:pt x="753" y="62"/>
                  </a:lnTo>
                  <a:lnTo>
                    <a:pt x="755" y="63"/>
                  </a:lnTo>
                  <a:lnTo>
                    <a:pt x="759" y="67"/>
                  </a:lnTo>
                  <a:lnTo>
                    <a:pt x="759" y="71"/>
                  </a:lnTo>
                  <a:lnTo>
                    <a:pt x="761" y="74"/>
                  </a:lnTo>
                  <a:lnTo>
                    <a:pt x="761" y="82"/>
                  </a:lnTo>
                  <a:lnTo>
                    <a:pt x="760" y="82"/>
                  </a:lnTo>
                  <a:lnTo>
                    <a:pt x="761" y="83"/>
                  </a:lnTo>
                  <a:lnTo>
                    <a:pt x="759" y="86"/>
                  </a:lnTo>
                  <a:lnTo>
                    <a:pt x="759" y="88"/>
                  </a:lnTo>
                  <a:lnTo>
                    <a:pt x="757" y="88"/>
                  </a:lnTo>
                  <a:lnTo>
                    <a:pt x="757" y="89"/>
                  </a:lnTo>
                  <a:lnTo>
                    <a:pt x="754" y="91"/>
                  </a:lnTo>
                  <a:lnTo>
                    <a:pt x="755" y="92"/>
                  </a:lnTo>
                  <a:lnTo>
                    <a:pt x="755" y="93"/>
                  </a:lnTo>
                  <a:lnTo>
                    <a:pt x="758" y="94"/>
                  </a:lnTo>
                  <a:lnTo>
                    <a:pt x="757" y="97"/>
                  </a:lnTo>
                  <a:lnTo>
                    <a:pt x="757" y="99"/>
                  </a:lnTo>
                  <a:lnTo>
                    <a:pt x="760" y="103"/>
                  </a:lnTo>
                  <a:lnTo>
                    <a:pt x="760" y="104"/>
                  </a:lnTo>
                  <a:lnTo>
                    <a:pt x="759" y="105"/>
                  </a:lnTo>
                  <a:lnTo>
                    <a:pt x="761" y="107"/>
                  </a:lnTo>
                  <a:lnTo>
                    <a:pt x="761" y="109"/>
                  </a:lnTo>
                  <a:lnTo>
                    <a:pt x="759" y="110"/>
                  </a:lnTo>
                  <a:lnTo>
                    <a:pt x="759" y="111"/>
                  </a:lnTo>
                  <a:lnTo>
                    <a:pt x="761" y="112"/>
                  </a:lnTo>
                  <a:lnTo>
                    <a:pt x="765" y="113"/>
                  </a:lnTo>
                  <a:lnTo>
                    <a:pt x="770" y="116"/>
                  </a:lnTo>
                  <a:lnTo>
                    <a:pt x="774" y="117"/>
                  </a:lnTo>
                  <a:lnTo>
                    <a:pt x="776" y="117"/>
                  </a:lnTo>
                  <a:lnTo>
                    <a:pt x="777" y="116"/>
                  </a:lnTo>
                  <a:lnTo>
                    <a:pt x="782" y="116"/>
                  </a:lnTo>
                  <a:lnTo>
                    <a:pt x="784" y="114"/>
                  </a:lnTo>
                  <a:lnTo>
                    <a:pt x="785" y="114"/>
                  </a:lnTo>
                  <a:lnTo>
                    <a:pt x="790" y="117"/>
                  </a:lnTo>
                  <a:lnTo>
                    <a:pt x="792" y="119"/>
                  </a:lnTo>
                  <a:lnTo>
                    <a:pt x="796" y="120"/>
                  </a:lnTo>
                  <a:lnTo>
                    <a:pt x="796" y="122"/>
                  </a:lnTo>
                  <a:lnTo>
                    <a:pt x="797" y="123"/>
                  </a:lnTo>
                  <a:lnTo>
                    <a:pt x="797" y="125"/>
                  </a:lnTo>
                  <a:lnTo>
                    <a:pt x="798" y="125"/>
                  </a:lnTo>
                  <a:lnTo>
                    <a:pt x="798" y="126"/>
                  </a:lnTo>
                  <a:lnTo>
                    <a:pt x="800" y="126"/>
                  </a:lnTo>
                  <a:lnTo>
                    <a:pt x="802" y="129"/>
                  </a:lnTo>
                  <a:lnTo>
                    <a:pt x="803" y="129"/>
                  </a:lnTo>
                  <a:lnTo>
                    <a:pt x="805" y="132"/>
                  </a:lnTo>
                  <a:lnTo>
                    <a:pt x="805" y="134"/>
                  </a:lnTo>
                  <a:lnTo>
                    <a:pt x="807" y="135"/>
                  </a:lnTo>
                  <a:lnTo>
                    <a:pt x="807" y="136"/>
                  </a:lnTo>
                  <a:lnTo>
                    <a:pt x="808" y="137"/>
                  </a:lnTo>
                  <a:lnTo>
                    <a:pt x="804" y="135"/>
                  </a:lnTo>
                  <a:lnTo>
                    <a:pt x="803" y="134"/>
                  </a:lnTo>
                  <a:lnTo>
                    <a:pt x="801" y="132"/>
                  </a:lnTo>
                  <a:lnTo>
                    <a:pt x="800" y="132"/>
                  </a:lnTo>
                  <a:lnTo>
                    <a:pt x="798" y="130"/>
                  </a:lnTo>
                  <a:lnTo>
                    <a:pt x="797" y="130"/>
                  </a:lnTo>
                  <a:lnTo>
                    <a:pt x="792" y="134"/>
                  </a:lnTo>
                  <a:lnTo>
                    <a:pt x="792" y="138"/>
                  </a:lnTo>
                  <a:lnTo>
                    <a:pt x="791" y="141"/>
                  </a:lnTo>
                  <a:lnTo>
                    <a:pt x="791" y="144"/>
                  </a:lnTo>
                  <a:lnTo>
                    <a:pt x="790" y="146"/>
                  </a:lnTo>
                  <a:lnTo>
                    <a:pt x="790" y="149"/>
                  </a:lnTo>
                  <a:lnTo>
                    <a:pt x="789" y="150"/>
                  </a:lnTo>
                  <a:lnTo>
                    <a:pt x="786" y="152"/>
                  </a:lnTo>
                  <a:lnTo>
                    <a:pt x="785" y="152"/>
                  </a:lnTo>
                  <a:lnTo>
                    <a:pt x="782" y="149"/>
                  </a:lnTo>
                  <a:lnTo>
                    <a:pt x="780" y="149"/>
                  </a:lnTo>
                  <a:lnTo>
                    <a:pt x="778" y="150"/>
                  </a:lnTo>
                  <a:lnTo>
                    <a:pt x="776" y="150"/>
                  </a:lnTo>
                  <a:lnTo>
                    <a:pt x="774" y="152"/>
                  </a:lnTo>
                  <a:lnTo>
                    <a:pt x="774" y="153"/>
                  </a:lnTo>
                  <a:lnTo>
                    <a:pt x="776" y="154"/>
                  </a:lnTo>
                  <a:lnTo>
                    <a:pt x="776" y="157"/>
                  </a:lnTo>
                  <a:lnTo>
                    <a:pt x="777" y="159"/>
                  </a:lnTo>
                  <a:lnTo>
                    <a:pt x="777" y="161"/>
                  </a:lnTo>
                  <a:lnTo>
                    <a:pt x="779" y="163"/>
                  </a:lnTo>
                  <a:lnTo>
                    <a:pt x="782" y="165"/>
                  </a:lnTo>
                  <a:lnTo>
                    <a:pt x="782" y="166"/>
                  </a:lnTo>
                  <a:lnTo>
                    <a:pt x="780" y="167"/>
                  </a:lnTo>
                  <a:lnTo>
                    <a:pt x="780" y="171"/>
                  </a:lnTo>
                  <a:lnTo>
                    <a:pt x="779" y="172"/>
                  </a:lnTo>
                  <a:lnTo>
                    <a:pt x="779" y="174"/>
                  </a:lnTo>
                  <a:lnTo>
                    <a:pt x="780" y="174"/>
                  </a:lnTo>
                  <a:lnTo>
                    <a:pt x="780" y="177"/>
                  </a:lnTo>
                  <a:lnTo>
                    <a:pt x="782" y="178"/>
                  </a:lnTo>
                  <a:lnTo>
                    <a:pt x="782" y="179"/>
                  </a:lnTo>
                  <a:lnTo>
                    <a:pt x="783" y="179"/>
                  </a:lnTo>
                  <a:lnTo>
                    <a:pt x="785" y="180"/>
                  </a:lnTo>
                  <a:lnTo>
                    <a:pt x="785" y="183"/>
                  </a:lnTo>
                  <a:lnTo>
                    <a:pt x="784" y="186"/>
                  </a:lnTo>
                  <a:lnTo>
                    <a:pt x="784" y="191"/>
                  </a:lnTo>
                  <a:lnTo>
                    <a:pt x="785" y="191"/>
                  </a:lnTo>
                  <a:lnTo>
                    <a:pt x="786" y="192"/>
                  </a:lnTo>
                  <a:lnTo>
                    <a:pt x="786" y="193"/>
                  </a:lnTo>
                  <a:lnTo>
                    <a:pt x="785" y="196"/>
                  </a:lnTo>
                  <a:lnTo>
                    <a:pt x="786" y="198"/>
                  </a:lnTo>
                  <a:lnTo>
                    <a:pt x="786" y="199"/>
                  </a:lnTo>
                  <a:lnTo>
                    <a:pt x="785" y="202"/>
                  </a:lnTo>
                  <a:lnTo>
                    <a:pt x="785" y="205"/>
                  </a:lnTo>
                  <a:lnTo>
                    <a:pt x="786" y="205"/>
                  </a:lnTo>
                  <a:lnTo>
                    <a:pt x="789" y="206"/>
                  </a:lnTo>
                  <a:lnTo>
                    <a:pt x="790" y="205"/>
                  </a:lnTo>
                  <a:lnTo>
                    <a:pt x="791" y="205"/>
                  </a:lnTo>
                  <a:lnTo>
                    <a:pt x="792" y="206"/>
                  </a:lnTo>
                  <a:lnTo>
                    <a:pt x="792" y="209"/>
                  </a:lnTo>
                  <a:lnTo>
                    <a:pt x="789" y="212"/>
                  </a:lnTo>
                  <a:lnTo>
                    <a:pt x="789" y="218"/>
                  </a:lnTo>
                  <a:lnTo>
                    <a:pt x="788" y="218"/>
                  </a:lnTo>
                  <a:lnTo>
                    <a:pt x="788" y="221"/>
                  </a:lnTo>
                  <a:lnTo>
                    <a:pt x="786" y="221"/>
                  </a:lnTo>
                  <a:lnTo>
                    <a:pt x="786" y="222"/>
                  </a:lnTo>
                  <a:lnTo>
                    <a:pt x="785" y="222"/>
                  </a:lnTo>
                  <a:lnTo>
                    <a:pt x="785" y="224"/>
                  </a:lnTo>
                  <a:lnTo>
                    <a:pt x="784" y="226"/>
                  </a:lnTo>
                  <a:lnTo>
                    <a:pt x="783" y="226"/>
                  </a:lnTo>
                  <a:lnTo>
                    <a:pt x="783" y="230"/>
                  </a:lnTo>
                  <a:lnTo>
                    <a:pt x="782" y="230"/>
                  </a:lnTo>
                  <a:lnTo>
                    <a:pt x="782" y="232"/>
                  </a:lnTo>
                  <a:lnTo>
                    <a:pt x="783" y="233"/>
                  </a:lnTo>
                  <a:lnTo>
                    <a:pt x="789" y="233"/>
                  </a:lnTo>
                  <a:lnTo>
                    <a:pt x="789" y="234"/>
                  </a:lnTo>
                  <a:lnTo>
                    <a:pt x="790" y="234"/>
                  </a:lnTo>
                  <a:lnTo>
                    <a:pt x="790" y="236"/>
                  </a:lnTo>
                  <a:lnTo>
                    <a:pt x="791" y="236"/>
                  </a:lnTo>
                  <a:lnTo>
                    <a:pt x="791" y="239"/>
                  </a:lnTo>
                  <a:lnTo>
                    <a:pt x="792" y="239"/>
                  </a:lnTo>
                  <a:lnTo>
                    <a:pt x="794" y="237"/>
                  </a:lnTo>
                  <a:lnTo>
                    <a:pt x="796" y="237"/>
                  </a:lnTo>
                  <a:lnTo>
                    <a:pt x="797" y="239"/>
                  </a:lnTo>
                  <a:lnTo>
                    <a:pt x="798" y="241"/>
                  </a:lnTo>
                  <a:lnTo>
                    <a:pt x="798" y="242"/>
                  </a:lnTo>
                  <a:lnTo>
                    <a:pt x="797" y="243"/>
                  </a:lnTo>
                  <a:lnTo>
                    <a:pt x="796" y="243"/>
                  </a:lnTo>
                  <a:lnTo>
                    <a:pt x="796" y="246"/>
                  </a:lnTo>
                  <a:lnTo>
                    <a:pt x="797" y="246"/>
                  </a:lnTo>
                  <a:lnTo>
                    <a:pt x="798" y="247"/>
                  </a:lnTo>
                  <a:lnTo>
                    <a:pt x="798" y="249"/>
                  </a:lnTo>
                  <a:lnTo>
                    <a:pt x="797" y="251"/>
                  </a:lnTo>
                  <a:lnTo>
                    <a:pt x="797" y="253"/>
                  </a:lnTo>
                  <a:lnTo>
                    <a:pt x="798" y="253"/>
                  </a:lnTo>
                  <a:lnTo>
                    <a:pt x="797" y="255"/>
                  </a:lnTo>
                  <a:lnTo>
                    <a:pt x="797" y="257"/>
                  </a:lnTo>
                  <a:lnTo>
                    <a:pt x="801" y="257"/>
                  </a:lnTo>
                  <a:lnTo>
                    <a:pt x="801" y="259"/>
                  </a:lnTo>
                  <a:lnTo>
                    <a:pt x="803" y="259"/>
                  </a:lnTo>
                  <a:lnTo>
                    <a:pt x="803" y="260"/>
                  </a:lnTo>
                  <a:lnTo>
                    <a:pt x="804" y="260"/>
                  </a:lnTo>
                  <a:lnTo>
                    <a:pt x="807" y="263"/>
                  </a:lnTo>
                  <a:lnTo>
                    <a:pt x="807" y="266"/>
                  </a:lnTo>
                  <a:lnTo>
                    <a:pt x="805" y="266"/>
                  </a:lnTo>
                  <a:lnTo>
                    <a:pt x="805" y="271"/>
                  </a:lnTo>
                  <a:lnTo>
                    <a:pt x="804" y="270"/>
                  </a:lnTo>
                  <a:lnTo>
                    <a:pt x="797" y="270"/>
                  </a:lnTo>
                  <a:lnTo>
                    <a:pt x="795" y="272"/>
                  </a:lnTo>
                  <a:lnTo>
                    <a:pt x="794" y="275"/>
                  </a:lnTo>
                  <a:lnTo>
                    <a:pt x="792" y="275"/>
                  </a:lnTo>
                  <a:lnTo>
                    <a:pt x="791" y="276"/>
                  </a:lnTo>
                  <a:lnTo>
                    <a:pt x="788" y="277"/>
                  </a:lnTo>
                  <a:lnTo>
                    <a:pt x="788" y="278"/>
                  </a:lnTo>
                  <a:lnTo>
                    <a:pt x="786" y="279"/>
                  </a:lnTo>
                  <a:lnTo>
                    <a:pt x="786" y="280"/>
                  </a:lnTo>
                  <a:lnTo>
                    <a:pt x="784" y="280"/>
                  </a:lnTo>
                  <a:lnTo>
                    <a:pt x="783" y="279"/>
                  </a:lnTo>
                  <a:lnTo>
                    <a:pt x="782" y="276"/>
                  </a:lnTo>
                  <a:lnTo>
                    <a:pt x="780" y="275"/>
                  </a:lnTo>
                  <a:lnTo>
                    <a:pt x="780" y="273"/>
                  </a:lnTo>
                  <a:lnTo>
                    <a:pt x="782" y="272"/>
                  </a:lnTo>
                  <a:lnTo>
                    <a:pt x="782" y="271"/>
                  </a:lnTo>
                  <a:lnTo>
                    <a:pt x="784" y="271"/>
                  </a:lnTo>
                  <a:lnTo>
                    <a:pt x="784" y="267"/>
                  </a:lnTo>
                  <a:lnTo>
                    <a:pt x="783" y="266"/>
                  </a:lnTo>
                  <a:lnTo>
                    <a:pt x="783" y="265"/>
                  </a:lnTo>
                  <a:lnTo>
                    <a:pt x="782" y="265"/>
                  </a:lnTo>
                  <a:lnTo>
                    <a:pt x="782" y="264"/>
                  </a:lnTo>
                  <a:lnTo>
                    <a:pt x="777" y="263"/>
                  </a:lnTo>
                  <a:lnTo>
                    <a:pt x="773" y="263"/>
                  </a:lnTo>
                  <a:lnTo>
                    <a:pt x="771" y="264"/>
                  </a:lnTo>
                  <a:lnTo>
                    <a:pt x="770" y="265"/>
                  </a:lnTo>
                  <a:lnTo>
                    <a:pt x="769" y="267"/>
                  </a:lnTo>
                  <a:lnTo>
                    <a:pt x="766" y="267"/>
                  </a:lnTo>
                  <a:lnTo>
                    <a:pt x="766" y="269"/>
                  </a:lnTo>
                  <a:lnTo>
                    <a:pt x="765" y="269"/>
                  </a:lnTo>
                  <a:lnTo>
                    <a:pt x="763" y="266"/>
                  </a:lnTo>
                  <a:lnTo>
                    <a:pt x="761" y="266"/>
                  </a:lnTo>
                  <a:lnTo>
                    <a:pt x="758" y="267"/>
                  </a:lnTo>
                  <a:lnTo>
                    <a:pt x="757" y="266"/>
                  </a:lnTo>
                  <a:lnTo>
                    <a:pt x="754" y="266"/>
                  </a:lnTo>
                  <a:lnTo>
                    <a:pt x="754" y="265"/>
                  </a:lnTo>
                  <a:lnTo>
                    <a:pt x="753" y="265"/>
                  </a:lnTo>
                  <a:lnTo>
                    <a:pt x="752" y="266"/>
                  </a:lnTo>
                  <a:lnTo>
                    <a:pt x="751" y="266"/>
                  </a:lnTo>
                  <a:lnTo>
                    <a:pt x="748" y="264"/>
                  </a:lnTo>
                  <a:lnTo>
                    <a:pt x="747" y="264"/>
                  </a:lnTo>
                  <a:lnTo>
                    <a:pt x="746" y="263"/>
                  </a:lnTo>
                  <a:lnTo>
                    <a:pt x="746" y="261"/>
                  </a:lnTo>
                  <a:lnTo>
                    <a:pt x="744" y="261"/>
                  </a:lnTo>
                  <a:lnTo>
                    <a:pt x="744" y="263"/>
                  </a:lnTo>
                  <a:lnTo>
                    <a:pt x="742" y="263"/>
                  </a:lnTo>
                  <a:lnTo>
                    <a:pt x="736" y="259"/>
                  </a:lnTo>
                  <a:lnTo>
                    <a:pt x="735" y="259"/>
                  </a:lnTo>
                  <a:lnTo>
                    <a:pt x="733" y="260"/>
                  </a:lnTo>
                  <a:lnTo>
                    <a:pt x="732" y="260"/>
                  </a:lnTo>
                  <a:lnTo>
                    <a:pt x="730" y="261"/>
                  </a:lnTo>
                  <a:lnTo>
                    <a:pt x="727" y="261"/>
                  </a:lnTo>
                  <a:lnTo>
                    <a:pt x="723" y="260"/>
                  </a:lnTo>
                  <a:lnTo>
                    <a:pt x="723" y="259"/>
                  </a:lnTo>
                  <a:lnTo>
                    <a:pt x="722" y="259"/>
                  </a:lnTo>
                  <a:lnTo>
                    <a:pt x="720" y="260"/>
                  </a:lnTo>
                  <a:lnTo>
                    <a:pt x="718" y="260"/>
                  </a:lnTo>
                  <a:lnTo>
                    <a:pt x="718" y="261"/>
                  </a:lnTo>
                  <a:lnTo>
                    <a:pt x="714" y="270"/>
                  </a:lnTo>
                  <a:lnTo>
                    <a:pt x="713" y="271"/>
                  </a:lnTo>
                  <a:lnTo>
                    <a:pt x="708" y="272"/>
                  </a:lnTo>
                  <a:lnTo>
                    <a:pt x="705" y="273"/>
                  </a:lnTo>
                  <a:lnTo>
                    <a:pt x="704" y="273"/>
                  </a:lnTo>
                  <a:lnTo>
                    <a:pt x="704" y="271"/>
                  </a:lnTo>
                  <a:lnTo>
                    <a:pt x="703" y="271"/>
                  </a:lnTo>
                  <a:lnTo>
                    <a:pt x="703" y="270"/>
                  </a:lnTo>
                  <a:lnTo>
                    <a:pt x="704" y="267"/>
                  </a:lnTo>
                  <a:lnTo>
                    <a:pt x="702" y="265"/>
                  </a:lnTo>
                  <a:lnTo>
                    <a:pt x="702" y="264"/>
                  </a:lnTo>
                  <a:lnTo>
                    <a:pt x="698" y="264"/>
                  </a:lnTo>
                  <a:lnTo>
                    <a:pt x="698" y="261"/>
                  </a:lnTo>
                  <a:lnTo>
                    <a:pt x="690" y="270"/>
                  </a:lnTo>
                  <a:lnTo>
                    <a:pt x="685" y="271"/>
                  </a:lnTo>
                  <a:lnTo>
                    <a:pt x="667" y="275"/>
                  </a:lnTo>
                  <a:lnTo>
                    <a:pt x="655" y="276"/>
                  </a:lnTo>
                  <a:lnTo>
                    <a:pt x="654" y="276"/>
                  </a:lnTo>
                  <a:lnTo>
                    <a:pt x="653" y="275"/>
                  </a:lnTo>
                  <a:lnTo>
                    <a:pt x="642" y="272"/>
                  </a:lnTo>
                  <a:lnTo>
                    <a:pt x="635" y="273"/>
                  </a:lnTo>
                  <a:lnTo>
                    <a:pt x="633" y="275"/>
                  </a:lnTo>
                  <a:lnTo>
                    <a:pt x="627" y="277"/>
                  </a:lnTo>
                  <a:lnTo>
                    <a:pt x="624" y="278"/>
                  </a:lnTo>
                  <a:lnTo>
                    <a:pt x="622" y="278"/>
                  </a:lnTo>
                  <a:lnTo>
                    <a:pt x="621" y="279"/>
                  </a:lnTo>
                  <a:lnTo>
                    <a:pt x="616" y="283"/>
                  </a:lnTo>
                  <a:lnTo>
                    <a:pt x="612" y="285"/>
                  </a:lnTo>
                  <a:lnTo>
                    <a:pt x="611" y="285"/>
                  </a:lnTo>
                  <a:lnTo>
                    <a:pt x="610" y="286"/>
                  </a:lnTo>
                  <a:lnTo>
                    <a:pt x="608" y="286"/>
                  </a:lnTo>
                  <a:lnTo>
                    <a:pt x="604" y="289"/>
                  </a:lnTo>
                  <a:lnTo>
                    <a:pt x="595" y="292"/>
                  </a:lnTo>
                  <a:lnTo>
                    <a:pt x="581" y="295"/>
                  </a:lnTo>
                  <a:lnTo>
                    <a:pt x="573" y="297"/>
                  </a:lnTo>
                  <a:lnTo>
                    <a:pt x="571" y="297"/>
                  </a:lnTo>
                  <a:lnTo>
                    <a:pt x="564" y="295"/>
                  </a:lnTo>
                  <a:lnTo>
                    <a:pt x="550" y="295"/>
                  </a:lnTo>
                  <a:lnTo>
                    <a:pt x="548" y="294"/>
                  </a:lnTo>
                  <a:lnTo>
                    <a:pt x="541" y="286"/>
                  </a:lnTo>
                  <a:lnTo>
                    <a:pt x="533" y="284"/>
                  </a:lnTo>
                  <a:lnTo>
                    <a:pt x="528" y="284"/>
                  </a:lnTo>
                  <a:lnTo>
                    <a:pt x="525" y="285"/>
                  </a:lnTo>
                  <a:lnTo>
                    <a:pt x="522" y="288"/>
                  </a:lnTo>
                  <a:lnTo>
                    <a:pt x="521" y="288"/>
                  </a:lnTo>
                  <a:lnTo>
                    <a:pt x="519" y="289"/>
                  </a:lnTo>
                  <a:lnTo>
                    <a:pt x="512" y="291"/>
                  </a:lnTo>
                  <a:lnTo>
                    <a:pt x="505" y="292"/>
                  </a:lnTo>
                  <a:lnTo>
                    <a:pt x="503" y="294"/>
                  </a:lnTo>
                  <a:lnTo>
                    <a:pt x="497" y="298"/>
                  </a:lnTo>
                  <a:lnTo>
                    <a:pt x="496" y="298"/>
                  </a:lnTo>
                  <a:lnTo>
                    <a:pt x="488" y="297"/>
                  </a:lnTo>
                  <a:lnTo>
                    <a:pt x="481" y="297"/>
                  </a:lnTo>
                  <a:lnTo>
                    <a:pt x="481" y="298"/>
                  </a:lnTo>
                  <a:lnTo>
                    <a:pt x="479" y="298"/>
                  </a:lnTo>
                  <a:lnTo>
                    <a:pt x="479" y="294"/>
                  </a:lnTo>
                  <a:lnTo>
                    <a:pt x="477" y="291"/>
                  </a:lnTo>
                  <a:lnTo>
                    <a:pt x="474" y="291"/>
                  </a:lnTo>
                  <a:lnTo>
                    <a:pt x="472" y="290"/>
                  </a:lnTo>
                  <a:lnTo>
                    <a:pt x="463" y="288"/>
                  </a:lnTo>
                  <a:lnTo>
                    <a:pt x="462" y="288"/>
                  </a:lnTo>
                  <a:lnTo>
                    <a:pt x="463" y="289"/>
                  </a:lnTo>
                  <a:lnTo>
                    <a:pt x="462" y="290"/>
                  </a:lnTo>
                  <a:lnTo>
                    <a:pt x="462" y="291"/>
                  </a:lnTo>
                  <a:lnTo>
                    <a:pt x="461" y="292"/>
                  </a:lnTo>
                  <a:lnTo>
                    <a:pt x="461" y="295"/>
                  </a:lnTo>
                  <a:lnTo>
                    <a:pt x="460" y="296"/>
                  </a:lnTo>
                  <a:lnTo>
                    <a:pt x="460" y="303"/>
                  </a:lnTo>
                  <a:lnTo>
                    <a:pt x="459" y="306"/>
                  </a:lnTo>
                  <a:lnTo>
                    <a:pt x="459" y="310"/>
                  </a:lnTo>
                  <a:lnTo>
                    <a:pt x="460" y="310"/>
                  </a:lnTo>
                  <a:lnTo>
                    <a:pt x="461" y="312"/>
                  </a:lnTo>
                  <a:lnTo>
                    <a:pt x="461" y="314"/>
                  </a:lnTo>
                  <a:lnTo>
                    <a:pt x="462" y="314"/>
                  </a:lnTo>
                  <a:lnTo>
                    <a:pt x="462" y="315"/>
                  </a:lnTo>
                  <a:lnTo>
                    <a:pt x="463" y="315"/>
                  </a:lnTo>
                  <a:lnTo>
                    <a:pt x="463" y="316"/>
                  </a:lnTo>
                  <a:lnTo>
                    <a:pt x="465" y="318"/>
                  </a:lnTo>
                  <a:lnTo>
                    <a:pt x="465" y="319"/>
                  </a:lnTo>
                  <a:lnTo>
                    <a:pt x="463" y="319"/>
                  </a:lnTo>
                  <a:lnTo>
                    <a:pt x="461" y="320"/>
                  </a:lnTo>
                  <a:lnTo>
                    <a:pt x="455" y="320"/>
                  </a:lnTo>
                  <a:lnTo>
                    <a:pt x="455" y="321"/>
                  </a:lnTo>
                  <a:lnTo>
                    <a:pt x="453" y="321"/>
                  </a:lnTo>
                  <a:lnTo>
                    <a:pt x="453" y="320"/>
                  </a:lnTo>
                  <a:lnTo>
                    <a:pt x="452" y="320"/>
                  </a:lnTo>
                  <a:lnTo>
                    <a:pt x="452" y="322"/>
                  </a:lnTo>
                  <a:lnTo>
                    <a:pt x="450" y="329"/>
                  </a:lnTo>
                  <a:lnTo>
                    <a:pt x="452" y="332"/>
                  </a:lnTo>
                  <a:lnTo>
                    <a:pt x="450" y="332"/>
                  </a:lnTo>
                  <a:lnTo>
                    <a:pt x="448" y="331"/>
                  </a:lnTo>
                  <a:lnTo>
                    <a:pt x="448" y="332"/>
                  </a:lnTo>
                  <a:lnTo>
                    <a:pt x="447" y="333"/>
                  </a:lnTo>
                  <a:lnTo>
                    <a:pt x="446" y="333"/>
                  </a:lnTo>
                  <a:lnTo>
                    <a:pt x="443" y="335"/>
                  </a:lnTo>
                  <a:lnTo>
                    <a:pt x="443" y="339"/>
                  </a:lnTo>
                  <a:lnTo>
                    <a:pt x="442" y="340"/>
                  </a:lnTo>
                  <a:lnTo>
                    <a:pt x="440" y="339"/>
                  </a:lnTo>
                  <a:lnTo>
                    <a:pt x="438" y="338"/>
                  </a:lnTo>
                  <a:lnTo>
                    <a:pt x="436" y="338"/>
                  </a:lnTo>
                  <a:lnTo>
                    <a:pt x="435" y="337"/>
                  </a:lnTo>
                  <a:lnTo>
                    <a:pt x="436" y="337"/>
                  </a:lnTo>
                  <a:lnTo>
                    <a:pt x="436" y="335"/>
                  </a:lnTo>
                  <a:lnTo>
                    <a:pt x="432" y="335"/>
                  </a:lnTo>
                  <a:lnTo>
                    <a:pt x="432" y="334"/>
                  </a:lnTo>
                  <a:lnTo>
                    <a:pt x="435" y="332"/>
                  </a:lnTo>
                  <a:lnTo>
                    <a:pt x="435" y="331"/>
                  </a:lnTo>
                  <a:lnTo>
                    <a:pt x="434" y="327"/>
                  </a:lnTo>
                  <a:lnTo>
                    <a:pt x="431" y="322"/>
                  </a:lnTo>
                  <a:lnTo>
                    <a:pt x="430" y="321"/>
                  </a:lnTo>
                  <a:lnTo>
                    <a:pt x="430" y="320"/>
                  </a:lnTo>
                  <a:lnTo>
                    <a:pt x="429" y="319"/>
                  </a:lnTo>
                  <a:lnTo>
                    <a:pt x="429" y="318"/>
                  </a:lnTo>
                  <a:lnTo>
                    <a:pt x="428" y="318"/>
                  </a:lnTo>
                  <a:lnTo>
                    <a:pt x="428" y="316"/>
                  </a:lnTo>
                  <a:lnTo>
                    <a:pt x="426" y="315"/>
                  </a:lnTo>
                  <a:lnTo>
                    <a:pt x="426" y="314"/>
                  </a:lnTo>
                  <a:lnTo>
                    <a:pt x="428" y="313"/>
                  </a:lnTo>
                  <a:lnTo>
                    <a:pt x="429" y="313"/>
                  </a:lnTo>
                  <a:lnTo>
                    <a:pt x="429" y="312"/>
                  </a:lnTo>
                  <a:lnTo>
                    <a:pt x="430" y="312"/>
                  </a:lnTo>
                  <a:lnTo>
                    <a:pt x="430" y="310"/>
                  </a:lnTo>
                  <a:lnTo>
                    <a:pt x="431" y="310"/>
                  </a:lnTo>
                  <a:lnTo>
                    <a:pt x="431" y="309"/>
                  </a:lnTo>
                  <a:lnTo>
                    <a:pt x="432" y="309"/>
                  </a:lnTo>
                  <a:lnTo>
                    <a:pt x="432" y="308"/>
                  </a:lnTo>
                  <a:lnTo>
                    <a:pt x="434" y="307"/>
                  </a:lnTo>
                  <a:lnTo>
                    <a:pt x="435" y="307"/>
                  </a:lnTo>
                  <a:lnTo>
                    <a:pt x="435" y="306"/>
                  </a:lnTo>
                  <a:lnTo>
                    <a:pt x="437" y="303"/>
                  </a:lnTo>
                  <a:lnTo>
                    <a:pt x="438" y="303"/>
                  </a:lnTo>
                  <a:lnTo>
                    <a:pt x="443" y="300"/>
                  </a:lnTo>
                  <a:lnTo>
                    <a:pt x="444" y="300"/>
                  </a:lnTo>
                  <a:lnTo>
                    <a:pt x="444" y="289"/>
                  </a:lnTo>
                  <a:lnTo>
                    <a:pt x="438" y="283"/>
                  </a:lnTo>
                  <a:lnTo>
                    <a:pt x="435" y="283"/>
                  </a:lnTo>
                  <a:lnTo>
                    <a:pt x="434" y="284"/>
                  </a:lnTo>
                  <a:lnTo>
                    <a:pt x="431" y="288"/>
                  </a:lnTo>
                  <a:lnTo>
                    <a:pt x="430" y="288"/>
                  </a:lnTo>
                  <a:lnTo>
                    <a:pt x="430" y="289"/>
                  </a:lnTo>
                  <a:lnTo>
                    <a:pt x="428" y="290"/>
                  </a:lnTo>
                  <a:lnTo>
                    <a:pt x="428" y="291"/>
                  </a:lnTo>
                  <a:lnTo>
                    <a:pt x="421" y="291"/>
                  </a:lnTo>
                  <a:lnTo>
                    <a:pt x="421" y="292"/>
                  </a:lnTo>
                  <a:lnTo>
                    <a:pt x="422" y="294"/>
                  </a:lnTo>
                  <a:lnTo>
                    <a:pt x="424" y="294"/>
                  </a:lnTo>
                  <a:lnTo>
                    <a:pt x="421" y="295"/>
                  </a:lnTo>
                  <a:lnTo>
                    <a:pt x="419" y="296"/>
                  </a:lnTo>
                  <a:lnTo>
                    <a:pt x="419" y="297"/>
                  </a:lnTo>
                  <a:lnTo>
                    <a:pt x="422" y="295"/>
                  </a:lnTo>
                  <a:lnTo>
                    <a:pt x="423" y="295"/>
                  </a:lnTo>
                  <a:lnTo>
                    <a:pt x="421" y="297"/>
                  </a:lnTo>
                  <a:lnTo>
                    <a:pt x="421" y="300"/>
                  </a:lnTo>
                  <a:lnTo>
                    <a:pt x="419" y="300"/>
                  </a:lnTo>
                  <a:lnTo>
                    <a:pt x="419" y="301"/>
                  </a:lnTo>
                  <a:lnTo>
                    <a:pt x="417" y="301"/>
                  </a:lnTo>
                  <a:lnTo>
                    <a:pt x="415" y="298"/>
                  </a:lnTo>
                  <a:lnTo>
                    <a:pt x="415" y="300"/>
                  </a:lnTo>
                  <a:lnTo>
                    <a:pt x="416" y="301"/>
                  </a:lnTo>
                  <a:lnTo>
                    <a:pt x="415" y="301"/>
                  </a:lnTo>
                  <a:lnTo>
                    <a:pt x="412" y="300"/>
                  </a:lnTo>
                  <a:lnTo>
                    <a:pt x="409" y="303"/>
                  </a:lnTo>
                  <a:lnTo>
                    <a:pt x="407" y="303"/>
                  </a:lnTo>
                  <a:lnTo>
                    <a:pt x="407" y="302"/>
                  </a:lnTo>
                  <a:lnTo>
                    <a:pt x="406" y="302"/>
                  </a:lnTo>
                  <a:lnTo>
                    <a:pt x="406" y="301"/>
                  </a:lnTo>
                  <a:lnTo>
                    <a:pt x="395" y="295"/>
                  </a:lnTo>
                  <a:lnTo>
                    <a:pt x="394" y="295"/>
                  </a:lnTo>
                  <a:lnTo>
                    <a:pt x="393" y="294"/>
                  </a:lnTo>
                  <a:lnTo>
                    <a:pt x="390" y="294"/>
                  </a:lnTo>
                  <a:lnTo>
                    <a:pt x="390" y="292"/>
                  </a:lnTo>
                  <a:lnTo>
                    <a:pt x="387" y="290"/>
                  </a:lnTo>
                  <a:lnTo>
                    <a:pt x="384" y="289"/>
                  </a:lnTo>
                  <a:lnTo>
                    <a:pt x="382" y="288"/>
                  </a:lnTo>
                  <a:lnTo>
                    <a:pt x="381" y="289"/>
                  </a:lnTo>
                  <a:lnTo>
                    <a:pt x="378" y="290"/>
                  </a:lnTo>
                  <a:lnTo>
                    <a:pt x="376" y="290"/>
                  </a:lnTo>
                  <a:lnTo>
                    <a:pt x="375" y="291"/>
                  </a:lnTo>
                  <a:lnTo>
                    <a:pt x="374" y="291"/>
                  </a:lnTo>
                  <a:lnTo>
                    <a:pt x="374" y="292"/>
                  </a:lnTo>
                  <a:lnTo>
                    <a:pt x="373" y="294"/>
                  </a:lnTo>
                  <a:lnTo>
                    <a:pt x="369" y="296"/>
                  </a:lnTo>
                  <a:lnTo>
                    <a:pt x="364" y="300"/>
                  </a:lnTo>
                  <a:lnTo>
                    <a:pt x="363" y="301"/>
                  </a:lnTo>
                  <a:lnTo>
                    <a:pt x="360" y="306"/>
                  </a:lnTo>
                  <a:lnTo>
                    <a:pt x="359" y="306"/>
                  </a:lnTo>
                  <a:lnTo>
                    <a:pt x="359" y="307"/>
                  </a:lnTo>
                  <a:lnTo>
                    <a:pt x="357" y="307"/>
                  </a:lnTo>
                  <a:lnTo>
                    <a:pt x="356" y="309"/>
                  </a:lnTo>
                  <a:lnTo>
                    <a:pt x="355" y="309"/>
                  </a:lnTo>
                  <a:lnTo>
                    <a:pt x="355" y="314"/>
                  </a:lnTo>
                  <a:lnTo>
                    <a:pt x="354" y="315"/>
                  </a:lnTo>
                  <a:lnTo>
                    <a:pt x="351" y="315"/>
                  </a:lnTo>
                  <a:lnTo>
                    <a:pt x="351" y="316"/>
                  </a:lnTo>
                  <a:lnTo>
                    <a:pt x="350" y="318"/>
                  </a:lnTo>
                  <a:lnTo>
                    <a:pt x="350" y="320"/>
                  </a:lnTo>
                  <a:lnTo>
                    <a:pt x="349" y="320"/>
                  </a:lnTo>
                  <a:lnTo>
                    <a:pt x="349" y="316"/>
                  </a:lnTo>
                  <a:lnTo>
                    <a:pt x="348" y="315"/>
                  </a:lnTo>
                  <a:lnTo>
                    <a:pt x="345" y="315"/>
                  </a:lnTo>
                  <a:lnTo>
                    <a:pt x="344" y="316"/>
                  </a:lnTo>
                  <a:lnTo>
                    <a:pt x="344" y="318"/>
                  </a:lnTo>
                  <a:lnTo>
                    <a:pt x="343" y="318"/>
                  </a:lnTo>
                  <a:lnTo>
                    <a:pt x="343" y="319"/>
                  </a:lnTo>
                  <a:lnTo>
                    <a:pt x="342" y="320"/>
                  </a:lnTo>
                  <a:lnTo>
                    <a:pt x="341" y="320"/>
                  </a:lnTo>
                  <a:lnTo>
                    <a:pt x="339" y="322"/>
                  </a:lnTo>
                  <a:lnTo>
                    <a:pt x="338" y="322"/>
                  </a:lnTo>
                  <a:lnTo>
                    <a:pt x="338" y="323"/>
                  </a:lnTo>
                  <a:lnTo>
                    <a:pt x="337" y="322"/>
                  </a:lnTo>
                  <a:lnTo>
                    <a:pt x="337" y="321"/>
                  </a:lnTo>
                  <a:lnTo>
                    <a:pt x="336" y="321"/>
                  </a:lnTo>
                  <a:lnTo>
                    <a:pt x="332" y="325"/>
                  </a:lnTo>
                  <a:lnTo>
                    <a:pt x="331" y="325"/>
                  </a:lnTo>
                  <a:lnTo>
                    <a:pt x="332" y="323"/>
                  </a:lnTo>
                  <a:lnTo>
                    <a:pt x="323" y="323"/>
                  </a:lnTo>
                  <a:lnTo>
                    <a:pt x="323" y="325"/>
                  </a:lnTo>
                  <a:lnTo>
                    <a:pt x="317" y="325"/>
                  </a:lnTo>
                  <a:lnTo>
                    <a:pt x="316" y="323"/>
                  </a:lnTo>
                  <a:lnTo>
                    <a:pt x="314" y="325"/>
                  </a:lnTo>
                  <a:lnTo>
                    <a:pt x="314" y="326"/>
                  </a:lnTo>
                  <a:lnTo>
                    <a:pt x="313" y="327"/>
                  </a:lnTo>
                  <a:lnTo>
                    <a:pt x="312" y="327"/>
                  </a:lnTo>
                  <a:lnTo>
                    <a:pt x="312" y="326"/>
                  </a:lnTo>
                  <a:lnTo>
                    <a:pt x="311" y="327"/>
                  </a:lnTo>
                  <a:lnTo>
                    <a:pt x="307" y="326"/>
                  </a:lnTo>
                  <a:lnTo>
                    <a:pt x="304" y="327"/>
                  </a:lnTo>
                  <a:lnTo>
                    <a:pt x="304" y="328"/>
                  </a:lnTo>
                  <a:lnTo>
                    <a:pt x="301" y="329"/>
                  </a:lnTo>
                  <a:lnTo>
                    <a:pt x="299" y="329"/>
                  </a:lnTo>
                  <a:lnTo>
                    <a:pt x="295" y="328"/>
                  </a:lnTo>
                  <a:lnTo>
                    <a:pt x="294" y="328"/>
                  </a:lnTo>
                  <a:lnTo>
                    <a:pt x="291" y="326"/>
                  </a:lnTo>
                  <a:lnTo>
                    <a:pt x="288" y="326"/>
                  </a:lnTo>
                  <a:lnTo>
                    <a:pt x="286" y="323"/>
                  </a:lnTo>
                  <a:lnTo>
                    <a:pt x="285" y="323"/>
                  </a:lnTo>
                  <a:lnTo>
                    <a:pt x="285" y="322"/>
                  </a:lnTo>
                  <a:lnTo>
                    <a:pt x="282" y="322"/>
                  </a:lnTo>
                  <a:lnTo>
                    <a:pt x="281" y="319"/>
                  </a:lnTo>
                  <a:lnTo>
                    <a:pt x="279" y="319"/>
                  </a:lnTo>
                  <a:lnTo>
                    <a:pt x="279" y="316"/>
                  </a:lnTo>
                  <a:lnTo>
                    <a:pt x="275" y="313"/>
                  </a:lnTo>
                  <a:lnTo>
                    <a:pt x="275" y="310"/>
                  </a:lnTo>
                  <a:lnTo>
                    <a:pt x="274" y="310"/>
                  </a:lnTo>
                  <a:lnTo>
                    <a:pt x="274" y="309"/>
                  </a:lnTo>
                  <a:lnTo>
                    <a:pt x="272" y="307"/>
                  </a:lnTo>
                  <a:lnTo>
                    <a:pt x="272" y="306"/>
                  </a:lnTo>
                  <a:lnTo>
                    <a:pt x="270" y="306"/>
                  </a:lnTo>
                  <a:lnTo>
                    <a:pt x="268" y="303"/>
                  </a:lnTo>
                  <a:lnTo>
                    <a:pt x="268" y="302"/>
                  </a:lnTo>
                  <a:lnTo>
                    <a:pt x="263" y="302"/>
                  </a:lnTo>
                  <a:lnTo>
                    <a:pt x="263" y="301"/>
                  </a:lnTo>
                  <a:lnTo>
                    <a:pt x="260" y="301"/>
                  </a:lnTo>
                  <a:lnTo>
                    <a:pt x="258" y="300"/>
                  </a:lnTo>
                  <a:lnTo>
                    <a:pt x="257" y="300"/>
                  </a:lnTo>
                  <a:lnTo>
                    <a:pt x="256" y="298"/>
                  </a:lnTo>
                  <a:lnTo>
                    <a:pt x="256" y="297"/>
                  </a:lnTo>
                  <a:lnTo>
                    <a:pt x="255" y="297"/>
                  </a:lnTo>
                  <a:lnTo>
                    <a:pt x="251" y="296"/>
                  </a:lnTo>
                  <a:lnTo>
                    <a:pt x="250" y="296"/>
                  </a:lnTo>
                  <a:lnTo>
                    <a:pt x="250" y="295"/>
                  </a:lnTo>
                  <a:lnTo>
                    <a:pt x="242" y="291"/>
                  </a:lnTo>
                  <a:lnTo>
                    <a:pt x="241" y="291"/>
                  </a:lnTo>
                  <a:lnTo>
                    <a:pt x="241" y="290"/>
                  </a:lnTo>
                  <a:lnTo>
                    <a:pt x="239" y="289"/>
                  </a:lnTo>
                  <a:lnTo>
                    <a:pt x="223" y="286"/>
                  </a:lnTo>
                  <a:lnTo>
                    <a:pt x="213" y="286"/>
                  </a:lnTo>
                  <a:lnTo>
                    <a:pt x="212" y="284"/>
                  </a:lnTo>
                  <a:lnTo>
                    <a:pt x="207" y="289"/>
                  </a:lnTo>
                  <a:lnTo>
                    <a:pt x="207" y="292"/>
                  </a:lnTo>
                  <a:lnTo>
                    <a:pt x="206" y="294"/>
                  </a:lnTo>
                  <a:lnTo>
                    <a:pt x="206" y="295"/>
                  </a:lnTo>
                  <a:lnTo>
                    <a:pt x="207" y="295"/>
                  </a:lnTo>
                  <a:lnTo>
                    <a:pt x="207" y="296"/>
                  </a:lnTo>
                  <a:lnTo>
                    <a:pt x="206" y="296"/>
                  </a:lnTo>
                  <a:lnTo>
                    <a:pt x="206" y="300"/>
                  </a:lnTo>
                  <a:lnTo>
                    <a:pt x="207" y="300"/>
                  </a:lnTo>
                  <a:lnTo>
                    <a:pt x="207" y="303"/>
                  </a:lnTo>
                  <a:lnTo>
                    <a:pt x="205" y="304"/>
                  </a:lnTo>
                  <a:lnTo>
                    <a:pt x="205" y="306"/>
                  </a:lnTo>
                  <a:lnTo>
                    <a:pt x="204" y="308"/>
                  </a:lnTo>
                  <a:lnTo>
                    <a:pt x="204" y="309"/>
                  </a:lnTo>
                  <a:lnTo>
                    <a:pt x="202" y="310"/>
                  </a:lnTo>
                  <a:lnTo>
                    <a:pt x="202" y="312"/>
                  </a:lnTo>
                  <a:lnTo>
                    <a:pt x="204" y="312"/>
                  </a:lnTo>
                  <a:lnTo>
                    <a:pt x="204" y="313"/>
                  </a:lnTo>
                  <a:lnTo>
                    <a:pt x="205" y="314"/>
                  </a:lnTo>
                  <a:lnTo>
                    <a:pt x="204" y="314"/>
                  </a:lnTo>
                  <a:lnTo>
                    <a:pt x="202" y="315"/>
                  </a:lnTo>
                  <a:lnTo>
                    <a:pt x="202" y="318"/>
                  </a:lnTo>
                  <a:lnTo>
                    <a:pt x="201" y="318"/>
                  </a:lnTo>
                  <a:lnTo>
                    <a:pt x="201" y="320"/>
                  </a:lnTo>
                  <a:lnTo>
                    <a:pt x="200" y="320"/>
                  </a:lnTo>
                  <a:lnTo>
                    <a:pt x="200" y="319"/>
                  </a:lnTo>
                  <a:lnTo>
                    <a:pt x="199" y="318"/>
                  </a:lnTo>
                  <a:lnTo>
                    <a:pt x="199" y="316"/>
                  </a:lnTo>
                  <a:lnTo>
                    <a:pt x="198" y="318"/>
                  </a:lnTo>
                  <a:lnTo>
                    <a:pt x="193" y="315"/>
                  </a:lnTo>
                  <a:lnTo>
                    <a:pt x="189" y="315"/>
                  </a:lnTo>
                  <a:lnTo>
                    <a:pt x="189" y="318"/>
                  </a:lnTo>
                  <a:lnTo>
                    <a:pt x="188" y="318"/>
                  </a:lnTo>
                  <a:lnTo>
                    <a:pt x="188" y="319"/>
                  </a:lnTo>
                  <a:lnTo>
                    <a:pt x="187" y="318"/>
                  </a:lnTo>
                  <a:lnTo>
                    <a:pt x="187" y="319"/>
                  </a:lnTo>
                  <a:lnTo>
                    <a:pt x="186" y="319"/>
                  </a:lnTo>
                  <a:lnTo>
                    <a:pt x="185" y="318"/>
                  </a:lnTo>
                  <a:lnTo>
                    <a:pt x="185" y="319"/>
                  </a:lnTo>
                  <a:lnTo>
                    <a:pt x="182" y="320"/>
                  </a:lnTo>
                  <a:lnTo>
                    <a:pt x="179" y="320"/>
                  </a:lnTo>
                  <a:lnTo>
                    <a:pt x="177" y="321"/>
                  </a:lnTo>
                  <a:lnTo>
                    <a:pt x="176" y="321"/>
                  </a:lnTo>
                  <a:lnTo>
                    <a:pt x="176" y="322"/>
                  </a:lnTo>
                  <a:lnTo>
                    <a:pt x="175" y="322"/>
                  </a:lnTo>
                  <a:lnTo>
                    <a:pt x="175" y="323"/>
                  </a:lnTo>
                  <a:lnTo>
                    <a:pt x="173" y="323"/>
                  </a:lnTo>
                  <a:lnTo>
                    <a:pt x="171" y="322"/>
                  </a:lnTo>
                  <a:lnTo>
                    <a:pt x="170" y="322"/>
                  </a:lnTo>
                  <a:lnTo>
                    <a:pt x="170" y="323"/>
                  </a:lnTo>
                  <a:lnTo>
                    <a:pt x="167" y="323"/>
                  </a:lnTo>
                  <a:lnTo>
                    <a:pt x="167" y="322"/>
                  </a:lnTo>
                  <a:lnTo>
                    <a:pt x="168" y="322"/>
                  </a:lnTo>
                  <a:lnTo>
                    <a:pt x="168" y="321"/>
                  </a:lnTo>
                  <a:lnTo>
                    <a:pt x="167" y="321"/>
                  </a:lnTo>
                  <a:lnTo>
                    <a:pt x="165" y="320"/>
                  </a:lnTo>
                  <a:lnTo>
                    <a:pt x="162" y="320"/>
                  </a:lnTo>
                  <a:lnTo>
                    <a:pt x="158" y="319"/>
                  </a:lnTo>
                  <a:lnTo>
                    <a:pt x="158" y="318"/>
                  </a:lnTo>
                  <a:lnTo>
                    <a:pt x="156" y="318"/>
                  </a:lnTo>
                  <a:lnTo>
                    <a:pt x="156" y="319"/>
                  </a:lnTo>
                  <a:lnTo>
                    <a:pt x="155" y="319"/>
                  </a:lnTo>
                  <a:lnTo>
                    <a:pt x="155" y="318"/>
                  </a:lnTo>
                  <a:lnTo>
                    <a:pt x="154" y="319"/>
                  </a:lnTo>
                  <a:lnTo>
                    <a:pt x="151" y="316"/>
                  </a:lnTo>
                  <a:lnTo>
                    <a:pt x="151" y="315"/>
                  </a:lnTo>
                  <a:lnTo>
                    <a:pt x="150" y="314"/>
                  </a:lnTo>
                  <a:lnTo>
                    <a:pt x="148" y="314"/>
                  </a:lnTo>
                  <a:lnTo>
                    <a:pt x="148" y="313"/>
                  </a:lnTo>
                  <a:lnTo>
                    <a:pt x="146" y="313"/>
                  </a:lnTo>
                  <a:lnTo>
                    <a:pt x="146" y="312"/>
                  </a:lnTo>
                  <a:lnTo>
                    <a:pt x="145" y="312"/>
                  </a:lnTo>
                  <a:lnTo>
                    <a:pt x="145" y="310"/>
                  </a:lnTo>
                  <a:lnTo>
                    <a:pt x="146" y="309"/>
                  </a:lnTo>
                  <a:lnTo>
                    <a:pt x="145" y="309"/>
                  </a:lnTo>
                  <a:lnTo>
                    <a:pt x="146" y="308"/>
                  </a:lnTo>
                  <a:lnTo>
                    <a:pt x="145" y="308"/>
                  </a:lnTo>
                  <a:lnTo>
                    <a:pt x="145" y="307"/>
                  </a:lnTo>
                  <a:lnTo>
                    <a:pt x="144" y="307"/>
                  </a:lnTo>
                  <a:lnTo>
                    <a:pt x="144" y="306"/>
                  </a:lnTo>
                  <a:lnTo>
                    <a:pt x="145" y="306"/>
                  </a:lnTo>
                  <a:lnTo>
                    <a:pt x="145" y="302"/>
                  </a:lnTo>
                  <a:lnTo>
                    <a:pt x="144" y="302"/>
                  </a:lnTo>
                  <a:lnTo>
                    <a:pt x="142" y="303"/>
                  </a:lnTo>
                  <a:lnTo>
                    <a:pt x="142" y="300"/>
                  </a:lnTo>
                  <a:lnTo>
                    <a:pt x="143" y="298"/>
                  </a:lnTo>
                  <a:lnTo>
                    <a:pt x="145" y="298"/>
                  </a:lnTo>
                  <a:lnTo>
                    <a:pt x="145" y="297"/>
                  </a:lnTo>
                  <a:lnTo>
                    <a:pt x="144" y="296"/>
                  </a:lnTo>
                  <a:lnTo>
                    <a:pt x="142" y="295"/>
                  </a:lnTo>
                  <a:lnTo>
                    <a:pt x="138" y="294"/>
                  </a:lnTo>
                  <a:lnTo>
                    <a:pt x="138" y="292"/>
                  </a:lnTo>
                  <a:lnTo>
                    <a:pt x="137" y="292"/>
                  </a:lnTo>
                  <a:lnTo>
                    <a:pt x="137" y="294"/>
                  </a:lnTo>
                  <a:lnTo>
                    <a:pt x="136" y="294"/>
                  </a:lnTo>
                  <a:lnTo>
                    <a:pt x="136" y="295"/>
                  </a:lnTo>
                  <a:lnTo>
                    <a:pt x="134" y="295"/>
                  </a:lnTo>
                  <a:lnTo>
                    <a:pt x="134" y="300"/>
                  </a:lnTo>
                  <a:lnTo>
                    <a:pt x="133" y="300"/>
                  </a:lnTo>
                  <a:lnTo>
                    <a:pt x="133" y="297"/>
                  </a:lnTo>
                  <a:lnTo>
                    <a:pt x="132" y="297"/>
                  </a:lnTo>
                  <a:lnTo>
                    <a:pt x="130" y="295"/>
                  </a:lnTo>
                  <a:lnTo>
                    <a:pt x="126" y="295"/>
                  </a:lnTo>
                  <a:lnTo>
                    <a:pt x="126" y="294"/>
                  </a:lnTo>
                  <a:lnTo>
                    <a:pt x="125" y="294"/>
                  </a:lnTo>
                  <a:lnTo>
                    <a:pt x="125" y="295"/>
                  </a:lnTo>
                  <a:lnTo>
                    <a:pt x="124" y="295"/>
                  </a:lnTo>
                  <a:lnTo>
                    <a:pt x="124" y="289"/>
                  </a:lnTo>
                  <a:lnTo>
                    <a:pt x="123" y="289"/>
                  </a:lnTo>
                  <a:lnTo>
                    <a:pt x="121" y="288"/>
                  </a:lnTo>
                  <a:lnTo>
                    <a:pt x="120" y="289"/>
                  </a:lnTo>
                  <a:lnTo>
                    <a:pt x="120" y="290"/>
                  </a:lnTo>
                  <a:lnTo>
                    <a:pt x="119" y="289"/>
                  </a:lnTo>
                  <a:lnTo>
                    <a:pt x="118" y="289"/>
                  </a:lnTo>
                  <a:lnTo>
                    <a:pt x="118" y="285"/>
                  </a:lnTo>
                  <a:lnTo>
                    <a:pt x="117" y="285"/>
                  </a:lnTo>
                  <a:lnTo>
                    <a:pt x="117" y="286"/>
                  </a:lnTo>
                  <a:lnTo>
                    <a:pt x="114" y="286"/>
                  </a:lnTo>
                  <a:lnTo>
                    <a:pt x="114" y="288"/>
                  </a:lnTo>
                  <a:lnTo>
                    <a:pt x="117" y="288"/>
                  </a:lnTo>
                  <a:lnTo>
                    <a:pt x="115" y="289"/>
                  </a:lnTo>
                  <a:lnTo>
                    <a:pt x="115" y="290"/>
                  </a:lnTo>
                  <a:lnTo>
                    <a:pt x="114" y="290"/>
                  </a:lnTo>
                  <a:lnTo>
                    <a:pt x="112" y="289"/>
                  </a:lnTo>
                  <a:lnTo>
                    <a:pt x="112" y="290"/>
                  </a:lnTo>
                  <a:lnTo>
                    <a:pt x="109" y="290"/>
                  </a:lnTo>
                  <a:lnTo>
                    <a:pt x="109" y="289"/>
                  </a:lnTo>
                  <a:lnTo>
                    <a:pt x="111" y="289"/>
                  </a:lnTo>
                  <a:lnTo>
                    <a:pt x="112" y="288"/>
                  </a:lnTo>
                  <a:lnTo>
                    <a:pt x="111" y="288"/>
                  </a:lnTo>
                  <a:lnTo>
                    <a:pt x="111" y="286"/>
                  </a:lnTo>
                  <a:lnTo>
                    <a:pt x="109" y="286"/>
                  </a:lnTo>
                  <a:lnTo>
                    <a:pt x="108" y="288"/>
                  </a:lnTo>
                  <a:lnTo>
                    <a:pt x="108" y="289"/>
                  </a:lnTo>
                  <a:lnTo>
                    <a:pt x="109" y="290"/>
                  </a:lnTo>
                  <a:lnTo>
                    <a:pt x="108" y="291"/>
                  </a:lnTo>
                  <a:lnTo>
                    <a:pt x="111" y="292"/>
                  </a:lnTo>
                  <a:lnTo>
                    <a:pt x="111" y="294"/>
                  </a:lnTo>
                  <a:lnTo>
                    <a:pt x="109" y="292"/>
                  </a:lnTo>
                  <a:lnTo>
                    <a:pt x="109" y="294"/>
                  </a:lnTo>
                  <a:lnTo>
                    <a:pt x="108" y="294"/>
                  </a:lnTo>
                  <a:lnTo>
                    <a:pt x="108" y="295"/>
                  </a:lnTo>
                  <a:lnTo>
                    <a:pt x="106" y="295"/>
                  </a:lnTo>
                  <a:lnTo>
                    <a:pt x="105" y="296"/>
                  </a:lnTo>
                  <a:lnTo>
                    <a:pt x="105" y="297"/>
                  </a:lnTo>
                  <a:lnTo>
                    <a:pt x="103" y="298"/>
                  </a:lnTo>
                  <a:lnTo>
                    <a:pt x="103" y="300"/>
                  </a:lnTo>
                  <a:lnTo>
                    <a:pt x="102" y="301"/>
                  </a:lnTo>
                  <a:lnTo>
                    <a:pt x="101" y="300"/>
                  </a:lnTo>
                  <a:lnTo>
                    <a:pt x="101" y="298"/>
                  </a:lnTo>
                  <a:lnTo>
                    <a:pt x="102" y="297"/>
                  </a:lnTo>
                  <a:lnTo>
                    <a:pt x="101" y="297"/>
                  </a:lnTo>
                  <a:lnTo>
                    <a:pt x="101" y="296"/>
                  </a:lnTo>
                  <a:lnTo>
                    <a:pt x="100" y="295"/>
                  </a:lnTo>
                  <a:lnTo>
                    <a:pt x="100" y="294"/>
                  </a:lnTo>
                  <a:lnTo>
                    <a:pt x="103" y="294"/>
                  </a:lnTo>
                  <a:lnTo>
                    <a:pt x="103" y="292"/>
                  </a:lnTo>
                  <a:lnTo>
                    <a:pt x="102" y="292"/>
                  </a:lnTo>
                  <a:lnTo>
                    <a:pt x="102" y="291"/>
                  </a:lnTo>
                  <a:lnTo>
                    <a:pt x="103" y="291"/>
                  </a:lnTo>
                  <a:lnTo>
                    <a:pt x="103" y="289"/>
                  </a:lnTo>
                  <a:lnTo>
                    <a:pt x="102" y="289"/>
                  </a:lnTo>
                  <a:lnTo>
                    <a:pt x="102" y="290"/>
                  </a:lnTo>
                  <a:lnTo>
                    <a:pt x="101" y="291"/>
                  </a:lnTo>
                  <a:lnTo>
                    <a:pt x="98" y="291"/>
                  </a:lnTo>
                  <a:lnTo>
                    <a:pt x="96" y="292"/>
                  </a:lnTo>
                  <a:lnTo>
                    <a:pt x="96" y="291"/>
                  </a:lnTo>
                  <a:lnTo>
                    <a:pt x="95" y="292"/>
                  </a:lnTo>
                  <a:lnTo>
                    <a:pt x="95" y="291"/>
                  </a:lnTo>
                  <a:lnTo>
                    <a:pt x="94" y="291"/>
                  </a:lnTo>
                  <a:lnTo>
                    <a:pt x="94" y="292"/>
                  </a:lnTo>
                  <a:lnTo>
                    <a:pt x="92" y="292"/>
                  </a:lnTo>
                  <a:lnTo>
                    <a:pt x="90" y="291"/>
                  </a:lnTo>
                  <a:lnTo>
                    <a:pt x="87" y="291"/>
                  </a:lnTo>
                  <a:lnTo>
                    <a:pt x="84" y="294"/>
                  </a:lnTo>
                  <a:lnTo>
                    <a:pt x="86" y="294"/>
                  </a:lnTo>
                  <a:lnTo>
                    <a:pt x="84" y="296"/>
                  </a:lnTo>
                  <a:lnTo>
                    <a:pt x="84" y="297"/>
                  </a:lnTo>
                  <a:lnTo>
                    <a:pt x="83" y="296"/>
                  </a:lnTo>
                  <a:lnTo>
                    <a:pt x="80" y="296"/>
                  </a:lnTo>
                  <a:lnTo>
                    <a:pt x="80" y="295"/>
                  </a:lnTo>
                  <a:lnTo>
                    <a:pt x="76" y="296"/>
                  </a:lnTo>
                  <a:lnTo>
                    <a:pt x="76" y="297"/>
                  </a:lnTo>
                  <a:lnTo>
                    <a:pt x="75" y="296"/>
                  </a:lnTo>
                  <a:lnTo>
                    <a:pt x="72" y="296"/>
                  </a:lnTo>
                  <a:lnTo>
                    <a:pt x="72" y="295"/>
                  </a:lnTo>
                  <a:lnTo>
                    <a:pt x="74" y="294"/>
                  </a:lnTo>
                  <a:lnTo>
                    <a:pt x="74" y="292"/>
                  </a:lnTo>
                  <a:lnTo>
                    <a:pt x="75" y="292"/>
                  </a:lnTo>
                  <a:lnTo>
                    <a:pt x="75" y="291"/>
                  </a:lnTo>
                  <a:lnTo>
                    <a:pt x="82" y="291"/>
                  </a:lnTo>
                  <a:lnTo>
                    <a:pt x="82" y="289"/>
                  </a:lnTo>
                  <a:lnTo>
                    <a:pt x="83" y="289"/>
                  </a:lnTo>
                  <a:lnTo>
                    <a:pt x="86" y="290"/>
                  </a:lnTo>
                  <a:lnTo>
                    <a:pt x="88" y="290"/>
                  </a:lnTo>
                  <a:lnTo>
                    <a:pt x="89" y="289"/>
                  </a:lnTo>
                  <a:lnTo>
                    <a:pt x="95" y="289"/>
                  </a:lnTo>
                  <a:lnTo>
                    <a:pt x="96" y="290"/>
                  </a:lnTo>
                  <a:lnTo>
                    <a:pt x="98" y="289"/>
                  </a:lnTo>
                  <a:lnTo>
                    <a:pt x="99" y="290"/>
                  </a:lnTo>
                  <a:lnTo>
                    <a:pt x="100" y="290"/>
                  </a:lnTo>
                  <a:lnTo>
                    <a:pt x="101" y="289"/>
                  </a:lnTo>
                  <a:lnTo>
                    <a:pt x="100" y="289"/>
                  </a:lnTo>
                  <a:lnTo>
                    <a:pt x="100" y="288"/>
                  </a:lnTo>
                  <a:lnTo>
                    <a:pt x="99" y="286"/>
                  </a:lnTo>
                  <a:lnTo>
                    <a:pt x="100" y="286"/>
                  </a:lnTo>
                  <a:lnTo>
                    <a:pt x="100" y="285"/>
                  </a:lnTo>
                  <a:lnTo>
                    <a:pt x="101" y="285"/>
                  </a:lnTo>
                  <a:lnTo>
                    <a:pt x="100" y="284"/>
                  </a:lnTo>
                  <a:lnTo>
                    <a:pt x="100" y="282"/>
                  </a:lnTo>
                  <a:lnTo>
                    <a:pt x="101" y="282"/>
                  </a:lnTo>
                  <a:lnTo>
                    <a:pt x="102" y="283"/>
                  </a:lnTo>
                  <a:lnTo>
                    <a:pt x="103" y="283"/>
                  </a:lnTo>
                  <a:lnTo>
                    <a:pt x="103" y="282"/>
                  </a:lnTo>
                  <a:lnTo>
                    <a:pt x="105" y="283"/>
                  </a:lnTo>
                  <a:lnTo>
                    <a:pt x="106" y="283"/>
                  </a:lnTo>
                  <a:lnTo>
                    <a:pt x="105" y="282"/>
                  </a:lnTo>
                  <a:lnTo>
                    <a:pt x="106" y="282"/>
                  </a:lnTo>
                  <a:lnTo>
                    <a:pt x="107" y="280"/>
                  </a:lnTo>
                  <a:lnTo>
                    <a:pt x="107" y="279"/>
                  </a:lnTo>
                  <a:lnTo>
                    <a:pt x="109" y="279"/>
                  </a:lnTo>
                  <a:lnTo>
                    <a:pt x="108" y="278"/>
                  </a:lnTo>
                  <a:lnTo>
                    <a:pt x="111" y="277"/>
                  </a:lnTo>
                  <a:lnTo>
                    <a:pt x="112" y="277"/>
                  </a:lnTo>
                  <a:lnTo>
                    <a:pt x="112" y="276"/>
                  </a:lnTo>
                  <a:lnTo>
                    <a:pt x="111" y="276"/>
                  </a:lnTo>
                  <a:lnTo>
                    <a:pt x="106" y="277"/>
                  </a:lnTo>
                  <a:lnTo>
                    <a:pt x="102" y="277"/>
                  </a:lnTo>
                  <a:lnTo>
                    <a:pt x="103" y="278"/>
                  </a:lnTo>
                  <a:lnTo>
                    <a:pt x="102" y="278"/>
                  </a:lnTo>
                  <a:lnTo>
                    <a:pt x="98" y="277"/>
                  </a:lnTo>
                  <a:lnTo>
                    <a:pt x="96" y="278"/>
                  </a:lnTo>
                  <a:lnTo>
                    <a:pt x="95" y="277"/>
                  </a:lnTo>
                  <a:lnTo>
                    <a:pt x="94" y="277"/>
                  </a:lnTo>
                  <a:lnTo>
                    <a:pt x="90" y="278"/>
                  </a:lnTo>
                  <a:lnTo>
                    <a:pt x="89" y="278"/>
                  </a:lnTo>
                  <a:lnTo>
                    <a:pt x="89" y="279"/>
                  </a:lnTo>
                  <a:lnTo>
                    <a:pt x="87" y="279"/>
                  </a:lnTo>
                  <a:lnTo>
                    <a:pt x="87" y="278"/>
                  </a:lnTo>
                  <a:lnTo>
                    <a:pt x="86" y="278"/>
                  </a:lnTo>
                  <a:lnTo>
                    <a:pt x="83" y="279"/>
                  </a:lnTo>
                  <a:lnTo>
                    <a:pt x="80" y="279"/>
                  </a:lnTo>
                  <a:lnTo>
                    <a:pt x="80" y="280"/>
                  </a:lnTo>
                  <a:lnTo>
                    <a:pt x="78" y="279"/>
                  </a:lnTo>
                  <a:lnTo>
                    <a:pt x="76" y="279"/>
                  </a:lnTo>
                  <a:lnTo>
                    <a:pt x="75" y="278"/>
                  </a:lnTo>
                  <a:lnTo>
                    <a:pt x="75" y="277"/>
                  </a:lnTo>
                  <a:lnTo>
                    <a:pt x="72" y="277"/>
                  </a:lnTo>
                  <a:lnTo>
                    <a:pt x="71" y="278"/>
                  </a:lnTo>
                  <a:lnTo>
                    <a:pt x="70" y="278"/>
                  </a:lnTo>
                  <a:lnTo>
                    <a:pt x="70" y="279"/>
                  </a:lnTo>
                  <a:lnTo>
                    <a:pt x="69" y="280"/>
                  </a:lnTo>
                  <a:lnTo>
                    <a:pt x="67" y="280"/>
                  </a:lnTo>
                  <a:lnTo>
                    <a:pt x="67" y="277"/>
                  </a:lnTo>
                  <a:lnTo>
                    <a:pt x="65" y="277"/>
                  </a:lnTo>
                  <a:lnTo>
                    <a:pt x="65" y="276"/>
                  </a:lnTo>
                  <a:lnTo>
                    <a:pt x="67" y="275"/>
                  </a:lnTo>
                  <a:lnTo>
                    <a:pt x="68" y="275"/>
                  </a:lnTo>
                  <a:lnTo>
                    <a:pt x="68" y="272"/>
                  </a:lnTo>
                  <a:lnTo>
                    <a:pt x="71" y="272"/>
                  </a:lnTo>
                  <a:lnTo>
                    <a:pt x="71" y="271"/>
                  </a:lnTo>
                  <a:lnTo>
                    <a:pt x="72" y="271"/>
                  </a:lnTo>
                  <a:lnTo>
                    <a:pt x="72" y="272"/>
                  </a:lnTo>
                  <a:lnTo>
                    <a:pt x="74" y="272"/>
                  </a:lnTo>
                  <a:lnTo>
                    <a:pt x="76" y="275"/>
                  </a:lnTo>
                  <a:lnTo>
                    <a:pt x="77" y="273"/>
                  </a:lnTo>
                  <a:lnTo>
                    <a:pt x="78" y="273"/>
                  </a:lnTo>
                  <a:lnTo>
                    <a:pt x="78" y="272"/>
                  </a:lnTo>
                  <a:lnTo>
                    <a:pt x="80" y="272"/>
                  </a:lnTo>
                  <a:lnTo>
                    <a:pt x="80" y="270"/>
                  </a:lnTo>
                  <a:lnTo>
                    <a:pt x="78" y="270"/>
                  </a:lnTo>
                  <a:lnTo>
                    <a:pt x="78" y="269"/>
                  </a:lnTo>
                  <a:lnTo>
                    <a:pt x="81" y="269"/>
                  </a:lnTo>
                  <a:lnTo>
                    <a:pt x="81" y="266"/>
                  </a:lnTo>
                  <a:lnTo>
                    <a:pt x="82" y="266"/>
                  </a:lnTo>
                  <a:lnTo>
                    <a:pt x="82" y="264"/>
                  </a:lnTo>
                  <a:lnTo>
                    <a:pt x="80" y="264"/>
                  </a:lnTo>
                  <a:lnTo>
                    <a:pt x="80" y="265"/>
                  </a:lnTo>
                  <a:lnTo>
                    <a:pt x="78" y="266"/>
                  </a:lnTo>
                  <a:lnTo>
                    <a:pt x="78" y="265"/>
                  </a:lnTo>
                  <a:lnTo>
                    <a:pt x="76" y="265"/>
                  </a:lnTo>
                  <a:lnTo>
                    <a:pt x="76" y="263"/>
                  </a:lnTo>
                  <a:lnTo>
                    <a:pt x="77" y="263"/>
                  </a:lnTo>
                  <a:lnTo>
                    <a:pt x="77" y="261"/>
                  </a:lnTo>
                  <a:lnTo>
                    <a:pt x="76" y="260"/>
                  </a:lnTo>
                  <a:lnTo>
                    <a:pt x="76" y="263"/>
                  </a:lnTo>
                  <a:lnTo>
                    <a:pt x="74" y="263"/>
                  </a:lnTo>
                  <a:lnTo>
                    <a:pt x="72" y="261"/>
                  </a:lnTo>
                  <a:lnTo>
                    <a:pt x="72" y="259"/>
                  </a:lnTo>
                  <a:lnTo>
                    <a:pt x="74" y="259"/>
                  </a:lnTo>
                  <a:lnTo>
                    <a:pt x="75" y="258"/>
                  </a:lnTo>
                  <a:lnTo>
                    <a:pt x="74" y="258"/>
                  </a:lnTo>
                  <a:lnTo>
                    <a:pt x="74" y="257"/>
                  </a:lnTo>
                  <a:lnTo>
                    <a:pt x="72" y="257"/>
                  </a:lnTo>
                  <a:lnTo>
                    <a:pt x="71" y="258"/>
                  </a:lnTo>
                  <a:lnTo>
                    <a:pt x="71" y="259"/>
                  </a:lnTo>
                  <a:lnTo>
                    <a:pt x="70" y="259"/>
                  </a:lnTo>
                  <a:lnTo>
                    <a:pt x="70" y="260"/>
                  </a:lnTo>
                  <a:lnTo>
                    <a:pt x="64" y="260"/>
                  </a:lnTo>
                  <a:lnTo>
                    <a:pt x="64" y="259"/>
                  </a:lnTo>
                  <a:lnTo>
                    <a:pt x="65" y="259"/>
                  </a:lnTo>
                  <a:lnTo>
                    <a:pt x="65" y="253"/>
                  </a:lnTo>
                  <a:lnTo>
                    <a:pt x="64" y="254"/>
                  </a:lnTo>
                  <a:lnTo>
                    <a:pt x="64" y="249"/>
                  </a:lnTo>
                  <a:lnTo>
                    <a:pt x="65" y="249"/>
                  </a:lnTo>
                  <a:lnTo>
                    <a:pt x="65" y="247"/>
                  </a:lnTo>
                  <a:lnTo>
                    <a:pt x="64" y="247"/>
                  </a:lnTo>
                  <a:lnTo>
                    <a:pt x="62" y="246"/>
                  </a:lnTo>
                  <a:lnTo>
                    <a:pt x="58" y="245"/>
                  </a:lnTo>
                  <a:lnTo>
                    <a:pt x="57" y="243"/>
                  </a:lnTo>
                  <a:lnTo>
                    <a:pt x="57" y="242"/>
                  </a:lnTo>
                  <a:lnTo>
                    <a:pt x="62" y="242"/>
                  </a:lnTo>
                  <a:lnTo>
                    <a:pt x="65" y="241"/>
                  </a:lnTo>
                  <a:lnTo>
                    <a:pt x="67" y="240"/>
                  </a:lnTo>
                  <a:lnTo>
                    <a:pt x="67" y="237"/>
                  </a:lnTo>
                  <a:lnTo>
                    <a:pt x="68" y="236"/>
                  </a:lnTo>
                  <a:lnTo>
                    <a:pt x="67" y="235"/>
                  </a:lnTo>
                  <a:lnTo>
                    <a:pt x="67" y="232"/>
                  </a:lnTo>
                  <a:lnTo>
                    <a:pt x="68" y="232"/>
                  </a:lnTo>
                  <a:lnTo>
                    <a:pt x="68" y="230"/>
                  </a:lnTo>
                  <a:lnTo>
                    <a:pt x="67" y="230"/>
                  </a:lnTo>
                  <a:lnTo>
                    <a:pt x="68" y="229"/>
                  </a:lnTo>
                  <a:lnTo>
                    <a:pt x="68" y="228"/>
                  </a:lnTo>
                  <a:lnTo>
                    <a:pt x="67" y="227"/>
                  </a:lnTo>
                  <a:lnTo>
                    <a:pt x="62" y="227"/>
                  </a:lnTo>
                  <a:lnTo>
                    <a:pt x="59" y="224"/>
                  </a:lnTo>
                  <a:lnTo>
                    <a:pt x="59" y="223"/>
                  </a:lnTo>
                  <a:lnTo>
                    <a:pt x="57" y="223"/>
                  </a:lnTo>
                  <a:lnTo>
                    <a:pt x="55" y="222"/>
                  </a:lnTo>
                  <a:lnTo>
                    <a:pt x="52" y="222"/>
                  </a:lnTo>
                  <a:lnTo>
                    <a:pt x="52" y="223"/>
                  </a:lnTo>
                  <a:lnTo>
                    <a:pt x="51" y="223"/>
                  </a:lnTo>
                  <a:lnTo>
                    <a:pt x="51" y="224"/>
                  </a:lnTo>
                  <a:lnTo>
                    <a:pt x="50" y="223"/>
                  </a:lnTo>
                  <a:lnTo>
                    <a:pt x="50" y="220"/>
                  </a:lnTo>
                  <a:lnTo>
                    <a:pt x="47" y="217"/>
                  </a:lnTo>
                  <a:lnTo>
                    <a:pt x="47" y="216"/>
                  </a:lnTo>
                  <a:lnTo>
                    <a:pt x="46" y="217"/>
                  </a:lnTo>
                  <a:lnTo>
                    <a:pt x="46" y="214"/>
                  </a:lnTo>
                  <a:lnTo>
                    <a:pt x="45" y="215"/>
                  </a:lnTo>
                  <a:lnTo>
                    <a:pt x="40" y="215"/>
                  </a:lnTo>
                  <a:lnTo>
                    <a:pt x="40" y="220"/>
                  </a:lnTo>
                  <a:lnTo>
                    <a:pt x="39" y="220"/>
                  </a:lnTo>
                  <a:lnTo>
                    <a:pt x="38" y="218"/>
                  </a:lnTo>
                  <a:lnTo>
                    <a:pt x="38" y="220"/>
                  </a:lnTo>
                  <a:lnTo>
                    <a:pt x="37" y="218"/>
                  </a:lnTo>
                  <a:lnTo>
                    <a:pt x="36" y="218"/>
                  </a:lnTo>
                  <a:lnTo>
                    <a:pt x="36" y="216"/>
                  </a:lnTo>
                  <a:lnTo>
                    <a:pt x="33" y="216"/>
                  </a:lnTo>
                  <a:lnTo>
                    <a:pt x="32" y="215"/>
                  </a:lnTo>
                  <a:lnTo>
                    <a:pt x="31" y="215"/>
                  </a:lnTo>
                  <a:lnTo>
                    <a:pt x="31" y="211"/>
                  </a:lnTo>
                  <a:lnTo>
                    <a:pt x="30" y="211"/>
                  </a:lnTo>
                  <a:lnTo>
                    <a:pt x="30" y="214"/>
                  </a:lnTo>
                  <a:lnTo>
                    <a:pt x="27" y="214"/>
                  </a:lnTo>
                  <a:lnTo>
                    <a:pt x="26" y="212"/>
                  </a:lnTo>
                  <a:lnTo>
                    <a:pt x="26" y="211"/>
                  </a:lnTo>
                  <a:lnTo>
                    <a:pt x="24" y="211"/>
                  </a:lnTo>
                  <a:lnTo>
                    <a:pt x="24" y="210"/>
                  </a:lnTo>
                  <a:lnTo>
                    <a:pt x="26" y="210"/>
                  </a:lnTo>
                  <a:lnTo>
                    <a:pt x="26" y="209"/>
                  </a:lnTo>
                  <a:lnTo>
                    <a:pt x="27" y="209"/>
                  </a:lnTo>
                  <a:lnTo>
                    <a:pt x="27" y="208"/>
                  </a:lnTo>
                  <a:lnTo>
                    <a:pt x="28" y="208"/>
                  </a:lnTo>
                  <a:lnTo>
                    <a:pt x="28" y="209"/>
                  </a:lnTo>
                  <a:lnTo>
                    <a:pt x="31" y="209"/>
                  </a:lnTo>
                  <a:lnTo>
                    <a:pt x="30" y="208"/>
                  </a:lnTo>
                  <a:lnTo>
                    <a:pt x="32" y="208"/>
                  </a:lnTo>
                  <a:lnTo>
                    <a:pt x="33" y="206"/>
                  </a:lnTo>
                  <a:lnTo>
                    <a:pt x="34" y="206"/>
                  </a:lnTo>
                  <a:lnTo>
                    <a:pt x="34" y="205"/>
                  </a:lnTo>
                  <a:lnTo>
                    <a:pt x="33" y="204"/>
                  </a:lnTo>
                  <a:lnTo>
                    <a:pt x="33" y="203"/>
                  </a:lnTo>
                  <a:lnTo>
                    <a:pt x="34" y="203"/>
                  </a:lnTo>
                  <a:lnTo>
                    <a:pt x="34" y="204"/>
                  </a:lnTo>
                  <a:lnTo>
                    <a:pt x="36" y="203"/>
                  </a:lnTo>
                  <a:lnTo>
                    <a:pt x="36" y="202"/>
                  </a:lnTo>
                  <a:lnTo>
                    <a:pt x="34" y="202"/>
                  </a:lnTo>
                  <a:lnTo>
                    <a:pt x="33" y="200"/>
                  </a:lnTo>
                  <a:lnTo>
                    <a:pt x="32" y="200"/>
                  </a:lnTo>
                  <a:lnTo>
                    <a:pt x="32" y="202"/>
                  </a:lnTo>
                  <a:lnTo>
                    <a:pt x="31" y="202"/>
                  </a:lnTo>
                  <a:lnTo>
                    <a:pt x="31" y="199"/>
                  </a:lnTo>
                  <a:lnTo>
                    <a:pt x="30" y="197"/>
                  </a:lnTo>
                  <a:lnTo>
                    <a:pt x="30" y="194"/>
                  </a:lnTo>
                  <a:lnTo>
                    <a:pt x="28" y="192"/>
                  </a:lnTo>
                  <a:lnTo>
                    <a:pt x="28" y="190"/>
                  </a:lnTo>
                  <a:lnTo>
                    <a:pt x="34" y="190"/>
                  </a:lnTo>
                  <a:lnTo>
                    <a:pt x="38" y="193"/>
                  </a:lnTo>
                  <a:lnTo>
                    <a:pt x="38" y="194"/>
                  </a:lnTo>
                  <a:lnTo>
                    <a:pt x="39" y="196"/>
                  </a:lnTo>
                  <a:lnTo>
                    <a:pt x="39" y="197"/>
                  </a:lnTo>
                  <a:lnTo>
                    <a:pt x="40" y="197"/>
                  </a:lnTo>
                  <a:lnTo>
                    <a:pt x="40" y="200"/>
                  </a:lnTo>
                  <a:lnTo>
                    <a:pt x="39" y="200"/>
                  </a:lnTo>
                  <a:lnTo>
                    <a:pt x="39" y="203"/>
                  </a:lnTo>
                  <a:lnTo>
                    <a:pt x="40" y="204"/>
                  </a:lnTo>
                  <a:lnTo>
                    <a:pt x="40" y="205"/>
                  </a:lnTo>
                  <a:lnTo>
                    <a:pt x="41" y="208"/>
                  </a:lnTo>
                  <a:lnTo>
                    <a:pt x="43" y="209"/>
                  </a:lnTo>
                  <a:lnTo>
                    <a:pt x="44" y="209"/>
                  </a:lnTo>
                  <a:lnTo>
                    <a:pt x="43" y="208"/>
                  </a:lnTo>
                  <a:lnTo>
                    <a:pt x="43" y="203"/>
                  </a:lnTo>
                  <a:lnTo>
                    <a:pt x="45" y="203"/>
                  </a:lnTo>
                  <a:lnTo>
                    <a:pt x="45" y="204"/>
                  </a:lnTo>
                  <a:lnTo>
                    <a:pt x="46" y="206"/>
                  </a:lnTo>
                  <a:lnTo>
                    <a:pt x="50" y="206"/>
                  </a:lnTo>
                  <a:lnTo>
                    <a:pt x="53" y="205"/>
                  </a:lnTo>
                  <a:lnTo>
                    <a:pt x="55" y="204"/>
                  </a:lnTo>
                  <a:lnTo>
                    <a:pt x="61" y="204"/>
                  </a:lnTo>
                  <a:lnTo>
                    <a:pt x="63" y="202"/>
                  </a:lnTo>
                  <a:lnTo>
                    <a:pt x="62" y="202"/>
                  </a:lnTo>
                  <a:lnTo>
                    <a:pt x="62" y="200"/>
                  </a:lnTo>
                  <a:lnTo>
                    <a:pt x="61" y="202"/>
                  </a:lnTo>
                  <a:lnTo>
                    <a:pt x="59" y="202"/>
                  </a:lnTo>
                  <a:lnTo>
                    <a:pt x="58" y="200"/>
                  </a:lnTo>
                  <a:lnTo>
                    <a:pt x="57" y="200"/>
                  </a:lnTo>
                  <a:lnTo>
                    <a:pt x="55" y="202"/>
                  </a:lnTo>
                  <a:lnTo>
                    <a:pt x="53" y="203"/>
                  </a:lnTo>
                  <a:lnTo>
                    <a:pt x="53" y="202"/>
                  </a:lnTo>
                  <a:lnTo>
                    <a:pt x="52" y="199"/>
                  </a:lnTo>
                  <a:lnTo>
                    <a:pt x="51" y="199"/>
                  </a:lnTo>
                  <a:lnTo>
                    <a:pt x="50" y="198"/>
                  </a:lnTo>
                  <a:lnTo>
                    <a:pt x="51" y="198"/>
                  </a:lnTo>
                  <a:lnTo>
                    <a:pt x="50" y="197"/>
                  </a:lnTo>
                  <a:lnTo>
                    <a:pt x="49" y="197"/>
                  </a:lnTo>
                  <a:lnTo>
                    <a:pt x="50" y="196"/>
                  </a:lnTo>
                  <a:lnTo>
                    <a:pt x="50" y="193"/>
                  </a:lnTo>
                  <a:lnTo>
                    <a:pt x="47" y="193"/>
                  </a:lnTo>
                  <a:lnTo>
                    <a:pt x="46" y="192"/>
                  </a:lnTo>
                  <a:lnTo>
                    <a:pt x="46" y="191"/>
                  </a:lnTo>
                  <a:lnTo>
                    <a:pt x="45" y="191"/>
                  </a:lnTo>
                  <a:lnTo>
                    <a:pt x="45" y="190"/>
                  </a:lnTo>
                  <a:lnTo>
                    <a:pt x="46" y="190"/>
                  </a:lnTo>
                  <a:lnTo>
                    <a:pt x="44" y="187"/>
                  </a:lnTo>
                  <a:lnTo>
                    <a:pt x="45" y="186"/>
                  </a:lnTo>
                  <a:lnTo>
                    <a:pt x="47" y="186"/>
                  </a:lnTo>
                  <a:lnTo>
                    <a:pt x="49" y="185"/>
                  </a:lnTo>
                  <a:lnTo>
                    <a:pt x="49" y="186"/>
                  </a:lnTo>
                  <a:lnTo>
                    <a:pt x="52" y="186"/>
                  </a:lnTo>
                  <a:lnTo>
                    <a:pt x="52" y="185"/>
                  </a:lnTo>
                  <a:lnTo>
                    <a:pt x="53" y="185"/>
                  </a:lnTo>
                  <a:lnTo>
                    <a:pt x="53" y="184"/>
                  </a:lnTo>
                  <a:lnTo>
                    <a:pt x="52" y="183"/>
                  </a:lnTo>
                  <a:lnTo>
                    <a:pt x="52" y="181"/>
                  </a:lnTo>
                  <a:lnTo>
                    <a:pt x="53" y="181"/>
                  </a:lnTo>
                  <a:lnTo>
                    <a:pt x="53" y="183"/>
                  </a:lnTo>
                  <a:lnTo>
                    <a:pt x="55" y="183"/>
                  </a:lnTo>
                  <a:lnTo>
                    <a:pt x="55" y="180"/>
                  </a:lnTo>
                  <a:lnTo>
                    <a:pt x="56" y="180"/>
                  </a:lnTo>
                  <a:lnTo>
                    <a:pt x="56" y="179"/>
                  </a:lnTo>
                  <a:lnTo>
                    <a:pt x="58" y="179"/>
                  </a:lnTo>
                  <a:lnTo>
                    <a:pt x="58" y="175"/>
                  </a:lnTo>
                  <a:lnTo>
                    <a:pt x="57" y="175"/>
                  </a:lnTo>
                  <a:lnTo>
                    <a:pt x="57" y="177"/>
                  </a:lnTo>
                  <a:lnTo>
                    <a:pt x="55" y="177"/>
                  </a:lnTo>
                  <a:lnTo>
                    <a:pt x="55" y="175"/>
                  </a:lnTo>
                  <a:lnTo>
                    <a:pt x="52" y="175"/>
                  </a:lnTo>
                  <a:lnTo>
                    <a:pt x="51" y="177"/>
                  </a:lnTo>
                  <a:lnTo>
                    <a:pt x="50" y="177"/>
                  </a:lnTo>
                  <a:lnTo>
                    <a:pt x="50" y="175"/>
                  </a:lnTo>
                  <a:lnTo>
                    <a:pt x="49" y="175"/>
                  </a:lnTo>
                  <a:lnTo>
                    <a:pt x="47" y="174"/>
                  </a:lnTo>
                  <a:lnTo>
                    <a:pt x="47" y="172"/>
                  </a:lnTo>
                  <a:lnTo>
                    <a:pt x="49" y="171"/>
                  </a:lnTo>
                  <a:lnTo>
                    <a:pt x="47" y="171"/>
                  </a:lnTo>
                  <a:lnTo>
                    <a:pt x="50" y="168"/>
                  </a:lnTo>
                  <a:lnTo>
                    <a:pt x="51" y="168"/>
                  </a:lnTo>
                  <a:lnTo>
                    <a:pt x="51" y="167"/>
                  </a:lnTo>
                  <a:lnTo>
                    <a:pt x="50" y="166"/>
                  </a:lnTo>
                  <a:lnTo>
                    <a:pt x="49" y="163"/>
                  </a:lnTo>
                  <a:lnTo>
                    <a:pt x="46" y="162"/>
                  </a:lnTo>
                  <a:lnTo>
                    <a:pt x="45" y="162"/>
                  </a:lnTo>
                  <a:lnTo>
                    <a:pt x="45" y="159"/>
                  </a:lnTo>
                  <a:lnTo>
                    <a:pt x="44" y="157"/>
                  </a:lnTo>
                  <a:lnTo>
                    <a:pt x="39" y="157"/>
                  </a:lnTo>
                  <a:lnTo>
                    <a:pt x="40" y="156"/>
                  </a:lnTo>
                  <a:lnTo>
                    <a:pt x="41" y="156"/>
                  </a:lnTo>
                  <a:lnTo>
                    <a:pt x="44" y="154"/>
                  </a:lnTo>
                  <a:lnTo>
                    <a:pt x="49" y="150"/>
                  </a:lnTo>
                  <a:lnTo>
                    <a:pt x="47" y="150"/>
                  </a:lnTo>
                  <a:lnTo>
                    <a:pt x="47" y="148"/>
                  </a:lnTo>
                  <a:lnTo>
                    <a:pt x="50" y="148"/>
                  </a:lnTo>
                  <a:lnTo>
                    <a:pt x="50" y="147"/>
                  </a:lnTo>
                  <a:lnTo>
                    <a:pt x="51" y="147"/>
                  </a:lnTo>
                  <a:lnTo>
                    <a:pt x="53" y="146"/>
                  </a:lnTo>
                  <a:lnTo>
                    <a:pt x="53" y="141"/>
                  </a:lnTo>
                  <a:lnTo>
                    <a:pt x="52" y="141"/>
                  </a:lnTo>
                  <a:lnTo>
                    <a:pt x="51" y="140"/>
                  </a:lnTo>
                  <a:lnTo>
                    <a:pt x="51" y="141"/>
                  </a:lnTo>
                  <a:lnTo>
                    <a:pt x="50" y="141"/>
                  </a:lnTo>
                  <a:lnTo>
                    <a:pt x="49" y="142"/>
                  </a:lnTo>
                  <a:lnTo>
                    <a:pt x="47" y="141"/>
                  </a:lnTo>
                  <a:lnTo>
                    <a:pt x="41" y="142"/>
                  </a:lnTo>
                  <a:lnTo>
                    <a:pt x="33" y="143"/>
                  </a:lnTo>
                  <a:lnTo>
                    <a:pt x="32" y="144"/>
                  </a:lnTo>
                  <a:lnTo>
                    <a:pt x="31" y="144"/>
                  </a:lnTo>
                  <a:lnTo>
                    <a:pt x="30" y="146"/>
                  </a:lnTo>
                  <a:lnTo>
                    <a:pt x="25" y="146"/>
                  </a:lnTo>
                  <a:lnTo>
                    <a:pt x="25" y="147"/>
                  </a:lnTo>
                  <a:lnTo>
                    <a:pt x="16" y="147"/>
                  </a:lnTo>
                  <a:lnTo>
                    <a:pt x="16" y="146"/>
                  </a:lnTo>
                  <a:lnTo>
                    <a:pt x="18" y="142"/>
                  </a:lnTo>
                  <a:lnTo>
                    <a:pt x="19" y="140"/>
                  </a:lnTo>
                  <a:lnTo>
                    <a:pt x="20" y="138"/>
                  </a:lnTo>
                  <a:lnTo>
                    <a:pt x="20" y="137"/>
                  </a:lnTo>
                  <a:lnTo>
                    <a:pt x="21" y="134"/>
                  </a:lnTo>
                  <a:lnTo>
                    <a:pt x="20" y="134"/>
                  </a:lnTo>
                  <a:lnTo>
                    <a:pt x="20" y="120"/>
                  </a:lnTo>
                  <a:lnTo>
                    <a:pt x="21" y="119"/>
                  </a:lnTo>
                  <a:lnTo>
                    <a:pt x="22" y="117"/>
                  </a:lnTo>
                  <a:lnTo>
                    <a:pt x="25" y="118"/>
                  </a:lnTo>
                  <a:lnTo>
                    <a:pt x="25" y="117"/>
                  </a:lnTo>
                  <a:lnTo>
                    <a:pt x="27" y="117"/>
                  </a:lnTo>
                  <a:lnTo>
                    <a:pt x="28" y="114"/>
                  </a:lnTo>
                  <a:lnTo>
                    <a:pt x="30" y="113"/>
                  </a:lnTo>
                  <a:lnTo>
                    <a:pt x="30" y="112"/>
                  </a:lnTo>
                  <a:lnTo>
                    <a:pt x="31" y="112"/>
                  </a:lnTo>
                  <a:lnTo>
                    <a:pt x="31" y="106"/>
                  </a:lnTo>
                  <a:lnTo>
                    <a:pt x="36" y="106"/>
                  </a:lnTo>
                  <a:lnTo>
                    <a:pt x="36" y="105"/>
                  </a:lnTo>
                  <a:lnTo>
                    <a:pt x="39" y="101"/>
                  </a:lnTo>
                  <a:lnTo>
                    <a:pt x="44" y="95"/>
                  </a:lnTo>
                  <a:lnTo>
                    <a:pt x="58" y="95"/>
                  </a:lnTo>
                  <a:lnTo>
                    <a:pt x="59" y="93"/>
                  </a:lnTo>
                  <a:lnTo>
                    <a:pt x="61" y="93"/>
                  </a:lnTo>
                  <a:lnTo>
                    <a:pt x="62" y="92"/>
                  </a:lnTo>
                  <a:lnTo>
                    <a:pt x="64" y="93"/>
                  </a:lnTo>
                  <a:lnTo>
                    <a:pt x="67" y="93"/>
                  </a:lnTo>
                  <a:lnTo>
                    <a:pt x="68" y="92"/>
                  </a:lnTo>
                  <a:lnTo>
                    <a:pt x="69" y="92"/>
                  </a:lnTo>
                  <a:lnTo>
                    <a:pt x="69" y="93"/>
                  </a:lnTo>
                  <a:lnTo>
                    <a:pt x="70" y="94"/>
                  </a:lnTo>
                  <a:lnTo>
                    <a:pt x="69" y="95"/>
                  </a:lnTo>
                  <a:lnTo>
                    <a:pt x="72" y="99"/>
                  </a:lnTo>
                  <a:lnTo>
                    <a:pt x="75" y="100"/>
                  </a:lnTo>
                  <a:lnTo>
                    <a:pt x="80" y="100"/>
                  </a:lnTo>
                  <a:lnTo>
                    <a:pt x="81" y="99"/>
                  </a:lnTo>
                  <a:lnTo>
                    <a:pt x="83" y="99"/>
                  </a:lnTo>
                  <a:lnTo>
                    <a:pt x="84" y="100"/>
                  </a:lnTo>
                  <a:lnTo>
                    <a:pt x="86" y="100"/>
                  </a:lnTo>
                  <a:lnTo>
                    <a:pt x="86" y="99"/>
                  </a:lnTo>
                  <a:lnTo>
                    <a:pt x="87" y="100"/>
                  </a:lnTo>
                  <a:lnTo>
                    <a:pt x="89" y="100"/>
                  </a:lnTo>
                  <a:lnTo>
                    <a:pt x="90" y="98"/>
                  </a:lnTo>
                  <a:lnTo>
                    <a:pt x="93" y="97"/>
                  </a:lnTo>
                  <a:lnTo>
                    <a:pt x="90" y="95"/>
                  </a:lnTo>
                  <a:lnTo>
                    <a:pt x="89" y="95"/>
                  </a:lnTo>
                  <a:lnTo>
                    <a:pt x="89" y="94"/>
                  </a:lnTo>
                  <a:lnTo>
                    <a:pt x="88" y="94"/>
                  </a:lnTo>
                  <a:lnTo>
                    <a:pt x="88" y="92"/>
                  </a:lnTo>
                  <a:lnTo>
                    <a:pt x="87" y="92"/>
                  </a:lnTo>
                  <a:lnTo>
                    <a:pt x="84" y="89"/>
                  </a:lnTo>
                  <a:lnTo>
                    <a:pt x="86" y="89"/>
                  </a:lnTo>
                  <a:lnTo>
                    <a:pt x="87" y="88"/>
                  </a:lnTo>
                  <a:lnTo>
                    <a:pt x="90" y="88"/>
                  </a:lnTo>
                  <a:lnTo>
                    <a:pt x="98" y="89"/>
                  </a:lnTo>
                  <a:lnTo>
                    <a:pt x="100" y="92"/>
                  </a:lnTo>
                  <a:lnTo>
                    <a:pt x="99" y="93"/>
                  </a:lnTo>
                  <a:lnTo>
                    <a:pt x="95" y="94"/>
                  </a:lnTo>
                  <a:lnTo>
                    <a:pt x="94" y="95"/>
                  </a:lnTo>
                  <a:lnTo>
                    <a:pt x="94" y="97"/>
                  </a:lnTo>
                  <a:lnTo>
                    <a:pt x="96" y="98"/>
                  </a:lnTo>
                  <a:lnTo>
                    <a:pt x="103" y="95"/>
                  </a:lnTo>
                  <a:lnTo>
                    <a:pt x="118" y="95"/>
                  </a:lnTo>
                  <a:lnTo>
                    <a:pt x="118" y="97"/>
                  </a:lnTo>
                  <a:lnTo>
                    <a:pt x="119" y="95"/>
                  </a:lnTo>
                  <a:lnTo>
                    <a:pt x="121" y="95"/>
                  </a:lnTo>
                  <a:lnTo>
                    <a:pt x="124" y="97"/>
                  </a:lnTo>
                  <a:lnTo>
                    <a:pt x="125" y="98"/>
                  </a:lnTo>
                  <a:lnTo>
                    <a:pt x="125" y="97"/>
                  </a:lnTo>
                  <a:lnTo>
                    <a:pt x="130" y="97"/>
                  </a:lnTo>
                  <a:lnTo>
                    <a:pt x="130" y="95"/>
                  </a:lnTo>
                  <a:lnTo>
                    <a:pt x="134" y="95"/>
                  </a:lnTo>
                  <a:lnTo>
                    <a:pt x="136" y="97"/>
                  </a:lnTo>
                  <a:lnTo>
                    <a:pt x="137" y="97"/>
                  </a:lnTo>
                  <a:lnTo>
                    <a:pt x="138" y="98"/>
                  </a:lnTo>
                  <a:lnTo>
                    <a:pt x="142" y="98"/>
                  </a:lnTo>
                  <a:lnTo>
                    <a:pt x="144" y="95"/>
                  </a:lnTo>
                  <a:lnTo>
                    <a:pt x="144" y="94"/>
                  </a:lnTo>
                  <a:lnTo>
                    <a:pt x="146" y="94"/>
                  </a:lnTo>
                  <a:lnTo>
                    <a:pt x="146" y="93"/>
                  </a:lnTo>
                  <a:lnTo>
                    <a:pt x="144" y="91"/>
                  </a:lnTo>
                  <a:lnTo>
                    <a:pt x="140" y="91"/>
                  </a:lnTo>
                  <a:lnTo>
                    <a:pt x="139" y="92"/>
                  </a:lnTo>
                  <a:lnTo>
                    <a:pt x="137" y="92"/>
                  </a:lnTo>
                  <a:lnTo>
                    <a:pt x="133" y="89"/>
                  </a:lnTo>
                  <a:lnTo>
                    <a:pt x="131" y="88"/>
                  </a:lnTo>
                  <a:lnTo>
                    <a:pt x="133" y="86"/>
                  </a:lnTo>
                  <a:lnTo>
                    <a:pt x="136" y="85"/>
                  </a:lnTo>
                  <a:lnTo>
                    <a:pt x="137" y="83"/>
                  </a:lnTo>
                  <a:lnTo>
                    <a:pt x="139" y="82"/>
                  </a:lnTo>
                  <a:lnTo>
                    <a:pt x="140" y="82"/>
                  </a:lnTo>
                  <a:lnTo>
                    <a:pt x="152" y="81"/>
                  </a:lnTo>
                  <a:lnTo>
                    <a:pt x="154" y="80"/>
                  </a:lnTo>
                  <a:lnTo>
                    <a:pt x="156" y="79"/>
                  </a:lnTo>
                  <a:lnTo>
                    <a:pt x="157" y="79"/>
                  </a:lnTo>
                  <a:lnTo>
                    <a:pt x="158" y="80"/>
                  </a:lnTo>
                  <a:lnTo>
                    <a:pt x="158" y="79"/>
                  </a:lnTo>
                  <a:lnTo>
                    <a:pt x="159" y="79"/>
                  </a:lnTo>
                  <a:lnTo>
                    <a:pt x="161" y="77"/>
                  </a:lnTo>
                  <a:lnTo>
                    <a:pt x="163" y="77"/>
                  </a:lnTo>
                  <a:lnTo>
                    <a:pt x="163" y="79"/>
                  </a:lnTo>
                  <a:lnTo>
                    <a:pt x="164" y="79"/>
                  </a:lnTo>
                  <a:lnTo>
                    <a:pt x="173" y="77"/>
                  </a:lnTo>
                  <a:lnTo>
                    <a:pt x="180" y="77"/>
                  </a:lnTo>
                  <a:lnTo>
                    <a:pt x="180" y="75"/>
                  </a:lnTo>
                  <a:lnTo>
                    <a:pt x="175" y="75"/>
                  </a:lnTo>
                  <a:lnTo>
                    <a:pt x="174" y="76"/>
                  </a:lnTo>
                  <a:lnTo>
                    <a:pt x="173" y="76"/>
                  </a:lnTo>
                  <a:lnTo>
                    <a:pt x="171" y="75"/>
                  </a:lnTo>
                  <a:lnTo>
                    <a:pt x="169" y="74"/>
                  </a:lnTo>
                  <a:lnTo>
                    <a:pt x="158" y="74"/>
                  </a:lnTo>
                  <a:lnTo>
                    <a:pt x="158" y="75"/>
                  </a:lnTo>
                  <a:lnTo>
                    <a:pt x="155" y="75"/>
                  </a:lnTo>
                  <a:lnTo>
                    <a:pt x="155" y="71"/>
                  </a:lnTo>
                  <a:lnTo>
                    <a:pt x="154" y="71"/>
                  </a:lnTo>
                  <a:lnTo>
                    <a:pt x="152" y="73"/>
                  </a:lnTo>
                  <a:lnTo>
                    <a:pt x="151" y="73"/>
                  </a:lnTo>
                  <a:lnTo>
                    <a:pt x="152" y="71"/>
                  </a:lnTo>
                  <a:lnTo>
                    <a:pt x="152" y="70"/>
                  </a:lnTo>
                  <a:lnTo>
                    <a:pt x="151" y="69"/>
                  </a:lnTo>
                  <a:lnTo>
                    <a:pt x="150" y="69"/>
                  </a:lnTo>
                  <a:lnTo>
                    <a:pt x="149" y="68"/>
                  </a:lnTo>
                  <a:lnTo>
                    <a:pt x="146" y="67"/>
                  </a:lnTo>
                  <a:lnTo>
                    <a:pt x="144" y="64"/>
                  </a:lnTo>
                  <a:lnTo>
                    <a:pt x="142" y="63"/>
                  </a:lnTo>
                  <a:lnTo>
                    <a:pt x="142" y="61"/>
                  </a:lnTo>
                  <a:lnTo>
                    <a:pt x="140" y="61"/>
                  </a:lnTo>
                  <a:lnTo>
                    <a:pt x="142" y="60"/>
                  </a:lnTo>
                  <a:lnTo>
                    <a:pt x="140" y="60"/>
                  </a:lnTo>
                  <a:lnTo>
                    <a:pt x="140" y="62"/>
                  </a:lnTo>
                  <a:lnTo>
                    <a:pt x="137" y="62"/>
                  </a:lnTo>
                  <a:lnTo>
                    <a:pt x="136" y="63"/>
                  </a:lnTo>
                  <a:lnTo>
                    <a:pt x="134" y="63"/>
                  </a:lnTo>
                  <a:lnTo>
                    <a:pt x="133" y="64"/>
                  </a:lnTo>
                  <a:lnTo>
                    <a:pt x="131" y="64"/>
                  </a:lnTo>
                  <a:lnTo>
                    <a:pt x="131" y="63"/>
                  </a:lnTo>
                  <a:lnTo>
                    <a:pt x="130" y="63"/>
                  </a:lnTo>
                  <a:lnTo>
                    <a:pt x="125" y="64"/>
                  </a:lnTo>
                  <a:lnTo>
                    <a:pt x="124" y="63"/>
                  </a:lnTo>
                  <a:lnTo>
                    <a:pt x="124" y="61"/>
                  </a:lnTo>
                  <a:lnTo>
                    <a:pt x="121" y="61"/>
                  </a:lnTo>
                  <a:lnTo>
                    <a:pt x="121" y="63"/>
                  </a:lnTo>
                  <a:lnTo>
                    <a:pt x="120" y="62"/>
                  </a:lnTo>
                  <a:lnTo>
                    <a:pt x="118" y="61"/>
                  </a:lnTo>
                  <a:lnTo>
                    <a:pt x="117" y="60"/>
                  </a:lnTo>
                  <a:lnTo>
                    <a:pt x="115" y="60"/>
                  </a:lnTo>
                  <a:lnTo>
                    <a:pt x="112" y="58"/>
                  </a:lnTo>
                  <a:lnTo>
                    <a:pt x="109" y="58"/>
                  </a:lnTo>
                  <a:lnTo>
                    <a:pt x="108" y="57"/>
                  </a:lnTo>
                  <a:lnTo>
                    <a:pt x="105" y="57"/>
                  </a:lnTo>
                  <a:lnTo>
                    <a:pt x="103" y="58"/>
                  </a:lnTo>
                  <a:lnTo>
                    <a:pt x="102" y="58"/>
                  </a:lnTo>
                  <a:lnTo>
                    <a:pt x="100" y="60"/>
                  </a:lnTo>
                  <a:lnTo>
                    <a:pt x="99" y="60"/>
                  </a:lnTo>
                  <a:lnTo>
                    <a:pt x="99" y="61"/>
                  </a:lnTo>
                  <a:lnTo>
                    <a:pt x="98" y="61"/>
                  </a:lnTo>
                  <a:lnTo>
                    <a:pt x="96" y="62"/>
                  </a:lnTo>
                  <a:lnTo>
                    <a:pt x="96" y="63"/>
                  </a:lnTo>
                  <a:lnTo>
                    <a:pt x="92" y="63"/>
                  </a:lnTo>
                  <a:lnTo>
                    <a:pt x="92" y="62"/>
                  </a:lnTo>
                  <a:lnTo>
                    <a:pt x="89" y="62"/>
                  </a:lnTo>
                  <a:lnTo>
                    <a:pt x="87" y="61"/>
                  </a:lnTo>
                  <a:lnTo>
                    <a:pt x="78" y="63"/>
                  </a:lnTo>
                  <a:lnTo>
                    <a:pt x="77" y="63"/>
                  </a:lnTo>
                  <a:lnTo>
                    <a:pt x="76" y="66"/>
                  </a:lnTo>
                  <a:lnTo>
                    <a:pt x="75" y="70"/>
                  </a:lnTo>
                  <a:lnTo>
                    <a:pt x="70" y="75"/>
                  </a:lnTo>
                  <a:lnTo>
                    <a:pt x="68" y="79"/>
                  </a:lnTo>
                  <a:lnTo>
                    <a:pt x="64" y="81"/>
                  </a:lnTo>
                  <a:lnTo>
                    <a:pt x="64" y="82"/>
                  </a:lnTo>
                  <a:lnTo>
                    <a:pt x="62" y="82"/>
                  </a:lnTo>
                  <a:lnTo>
                    <a:pt x="61" y="83"/>
                  </a:lnTo>
                  <a:lnTo>
                    <a:pt x="58" y="83"/>
                  </a:lnTo>
                  <a:lnTo>
                    <a:pt x="56" y="86"/>
                  </a:lnTo>
                  <a:lnTo>
                    <a:pt x="55" y="86"/>
                  </a:lnTo>
                  <a:lnTo>
                    <a:pt x="53" y="87"/>
                  </a:lnTo>
                  <a:lnTo>
                    <a:pt x="52" y="87"/>
                  </a:lnTo>
                  <a:lnTo>
                    <a:pt x="50" y="88"/>
                  </a:lnTo>
                  <a:lnTo>
                    <a:pt x="50" y="89"/>
                  </a:lnTo>
                  <a:lnTo>
                    <a:pt x="46" y="89"/>
                  </a:lnTo>
                  <a:lnTo>
                    <a:pt x="44" y="92"/>
                  </a:lnTo>
                  <a:lnTo>
                    <a:pt x="43" y="92"/>
                  </a:lnTo>
                  <a:lnTo>
                    <a:pt x="43" y="94"/>
                  </a:lnTo>
                  <a:lnTo>
                    <a:pt x="41" y="94"/>
                  </a:lnTo>
                  <a:lnTo>
                    <a:pt x="40" y="95"/>
                  </a:lnTo>
                  <a:lnTo>
                    <a:pt x="40" y="98"/>
                  </a:lnTo>
                  <a:lnTo>
                    <a:pt x="39" y="98"/>
                  </a:lnTo>
                  <a:lnTo>
                    <a:pt x="36" y="101"/>
                  </a:lnTo>
                  <a:lnTo>
                    <a:pt x="34" y="101"/>
                  </a:lnTo>
                  <a:lnTo>
                    <a:pt x="34" y="103"/>
                  </a:lnTo>
                  <a:lnTo>
                    <a:pt x="32" y="105"/>
                  </a:lnTo>
                  <a:lnTo>
                    <a:pt x="31" y="105"/>
                  </a:lnTo>
                  <a:lnTo>
                    <a:pt x="30" y="106"/>
                  </a:lnTo>
                  <a:lnTo>
                    <a:pt x="28" y="106"/>
                  </a:lnTo>
                  <a:lnTo>
                    <a:pt x="28" y="107"/>
                  </a:lnTo>
                  <a:lnTo>
                    <a:pt x="30" y="109"/>
                  </a:lnTo>
                  <a:lnTo>
                    <a:pt x="26" y="112"/>
                  </a:lnTo>
                  <a:lnTo>
                    <a:pt x="21" y="114"/>
                  </a:lnTo>
                  <a:lnTo>
                    <a:pt x="20" y="114"/>
                  </a:lnTo>
                  <a:lnTo>
                    <a:pt x="22" y="112"/>
                  </a:lnTo>
                  <a:lnTo>
                    <a:pt x="22" y="110"/>
                  </a:lnTo>
                  <a:lnTo>
                    <a:pt x="25" y="106"/>
                  </a:lnTo>
                  <a:lnTo>
                    <a:pt x="25" y="103"/>
                  </a:lnTo>
                  <a:lnTo>
                    <a:pt x="24" y="101"/>
                  </a:lnTo>
                  <a:lnTo>
                    <a:pt x="24" y="100"/>
                  </a:lnTo>
                  <a:lnTo>
                    <a:pt x="22" y="100"/>
                  </a:lnTo>
                  <a:lnTo>
                    <a:pt x="25" y="98"/>
                  </a:lnTo>
                  <a:lnTo>
                    <a:pt x="27" y="98"/>
                  </a:lnTo>
                  <a:lnTo>
                    <a:pt x="32" y="93"/>
                  </a:lnTo>
                  <a:lnTo>
                    <a:pt x="37" y="91"/>
                  </a:lnTo>
                  <a:lnTo>
                    <a:pt x="38" y="89"/>
                  </a:lnTo>
                  <a:lnTo>
                    <a:pt x="43" y="89"/>
                  </a:lnTo>
                  <a:lnTo>
                    <a:pt x="44" y="88"/>
                  </a:lnTo>
                  <a:lnTo>
                    <a:pt x="44" y="87"/>
                  </a:lnTo>
                  <a:lnTo>
                    <a:pt x="45" y="86"/>
                  </a:lnTo>
                  <a:lnTo>
                    <a:pt x="46" y="87"/>
                  </a:lnTo>
                  <a:lnTo>
                    <a:pt x="47" y="86"/>
                  </a:lnTo>
                  <a:lnTo>
                    <a:pt x="49" y="86"/>
                  </a:lnTo>
                  <a:lnTo>
                    <a:pt x="49" y="85"/>
                  </a:lnTo>
                  <a:lnTo>
                    <a:pt x="47" y="81"/>
                  </a:lnTo>
                  <a:lnTo>
                    <a:pt x="44" y="81"/>
                  </a:lnTo>
                  <a:lnTo>
                    <a:pt x="43" y="82"/>
                  </a:lnTo>
                  <a:lnTo>
                    <a:pt x="38" y="82"/>
                  </a:lnTo>
                  <a:lnTo>
                    <a:pt x="36" y="85"/>
                  </a:lnTo>
                  <a:lnTo>
                    <a:pt x="34" y="83"/>
                  </a:lnTo>
                  <a:lnTo>
                    <a:pt x="28" y="83"/>
                  </a:lnTo>
                  <a:lnTo>
                    <a:pt x="27" y="85"/>
                  </a:lnTo>
                  <a:lnTo>
                    <a:pt x="19" y="85"/>
                  </a:lnTo>
                  <a:lnTo>
                    <a:pt x="16" y="82"/>
                  </a:lnTo>
                  <a:lnTo>
                    <a:pt x="16" y="77"/>
                  </a:lnTo>
                  <a:lnTo>
                    <a:pt x="15" y="76"/>
                  </a:lnTo>
                  <a:lnTo>
                    <a:pt x="19" y="76"/>
                  </a:lnTo>
                  <a:lnTo>
                    <a:pt x="20" y="75"/>
                  </a:lnTo>
                  <a:lnTo>
                    <a:pt x="20" y="73"/>
                  </a:lnTo>
                  <a:lnTo>
                    <a:pt x="22" y="70"/>
                  </a:lnTo>
                  <a:lnTo>
                    <a:pt x="22" y="69"/>
                  </a:lnTo>
                  <a:lnTo>
                    <a:pt x="24" y="69"/>
                  </a:lnTo>
                  <a:lnTo>
                    <a:pt x="24" y="68"/>
                  </a:lnTo>
                  <a:lnTo>
                    <a:pt x="25" y="68"/>
                  </a:lnTo>
                  <a:lnTo>
                    <a:pt x="25" y="67"/>
                  </a:lnTo>
                  <a:lnTo>
                    <a:pt x="26" y="67"/>
                  </a:lnTo>
                  <a:lnTo>
                    <a:pt x="26" y="66"/>
                  </a:lnTo>
                  <a:lnTo>
                    <a:pt x="28" y="66"/>
                  </a:lnTo>
                  <a:lnTo>
                    <a:pt x="28" y="62"/>
                  </a:lnTo>
                  <a:lnTo>
                    <a:pt x="30" y="62"/>
                  </a:lnTo>
                  <a:lnTo>
                    <a:pt x="30" y="61"/>
                  </a:lnTo>
                  <a:lnTo>
                    <a:pt x="27" y="58"/>
                  </a:lnTo>
                  <a:lnTo>
                    <a:pt x="27" y="57"/>
                  </a:lnTo>
                  <a:lnTo>
                    <a:pt x="28" y="56"/>
                  </a:lnTo>
                  <a:lnTo>
                    <a:pt x="28" y="55"/>
                  </a:lnTo>
                  <a:lnTo>
                    <a:pt x="27" y="55"/>
                  </a:lnTo>
                  <a:lnTo>
                    <a:pt x="28" y="54"/>
                  </a:lnTo>
                  <a:lnTo>
                    <a:pt x="27" y="52"/>
                  </a:lnTo>
                  <a:lnTo>
                    <a:pt x="27" y="50"/>
                  </a:lnTo>
                  <a:lnTo>
                    <a:pt x="28" y="49"/>
                  </a:lnTo>
                  <a:lnTo>
                    <a:pt x="27" y="49"/>
                  </a:lnTo>
                  <a:lnTo>
                    <a:pt x="28" y="48"/>
                  </a:lnTo>
                  <a:lnTo>
                    <a:pt x="31" y="48"/>
                  </a:lnTo>
                  <a:lnTo>
                    <a:pt x="33" y="45"/>
                  </a:lnTo>
                  <a:lnTo>
                    <a:pt x="34" y="45"/>
                  </a:lnTo>
                  <a:lnTo>
                    <a:pt x="34" y="44"/>
                  </a:lnTo>
                  <a:lnTo>
                    <a:pt x="37" y="43"/>
                  </a:lnTo>
                  <a:lnTo>
                    <a:pt x="38" y="43"/>
                  </a:lnTo>
                  <a:lnTo>
                    <a:pt x="39" y="44"/>
                  </a:lnTo>
                  <a:lnTo>
                    <a:pt x="40" y="43"/>
                  </a:lnTo>
                  <a:lnTo>
                    <a:pt x="40" y="36"/>
                  </a:lnTo>
                  <a:lnTo>
                    <a:pt x="39" y="33"/>
                  </a:lnTo>
                  <a:lnTo>
                    <a:pt x="39" y="27"/>
                  </a:lnTo>
                  <a:lnTo>
                    <a:pt x="38" y="28"/>
                  </a:lnTo>
                  <a:lnTo>
                    <a:pt x="33" y="26"/>
                  </a:lnTo>
                  <a:lnTo>
                    <a:pt x="34" y="25"/>
                  </a:lnTo>
                  <a:lnTo>
                    <a:pt x="34" y="24"/>
                  </a:lnTo>
                  <a:lnTo>
                    <a:pt x="31" y="24"/>
                  </a:lnTo>
                  <a:lnTo>
                    <a:pt x="30" y="23"/>
                  </a:lnTo>
                  <a:lnTo>
                    <a:pt x="30" y="21"/>
                  </a:lnTo>
                  <a:lnTo>
                    <a:pt x="28" y="23"/>
                  </a:lnTo>
                  <a:lnTo>
                    <a:pt x="27" y="21"/>
                  </a:lnTo>
                  <a:lnTo>
                    <a:pt x="27" y="19"/>
                  </a:lnTo>
                  <a:lnTo>
                    <a:pt x="30" y="17"/>
                  </a:lnTo>
                  <a:lnTo>
                    <a:pt x="34" y="17"/>
                  </a:lnTo>
                  <a:lnTo>
                    <a:pt x="36" y="15"/>
                  </a:lnTo>
                  <a:lnTo>
                    <a:pt x="37" y="15"/>
                  </a:lnTo>
                  <a:lnTo>
                    <a:pt x="37" y="12"/>
                  </a:lnTo>
                  <a:lnTo>
                    <a:pt x="38" y="12"/>
                  </a:lnTo>
                  <a:lnTo>
                    <a:pt x="38" y="11"/>
                  </a:lnTo>
                  <a:lnTo>
                    <a:pt x="37" y="11"/>
                  </a:lnTo>
                  <a:lnTo>
                    <a:pt x="37" y="9"/>
                  </a:lnTo>
                  <a:lnTo>
                    <a:pt x="38" y="9"/>
                  </a:lnTo>
                  <a:lnTo>
                    <a:pt x="40" y="7"/>
                  </a:lnTo>
                  <a:lnTo>
                    <a:pt x="44" y="8"/>
                  </a:lnTo>
                  <a:lnTo>
                    <a:pt x="45" y="8"/>
                  </a:lnTo>
                  <a:lnTo>
                    <a:pt x="46" y="7"/>
                  </a:lnTo>
                  <a:lnTo>
                    <a:pt x="47" y="7"/>
                  </a:lnTo>
                  <a:lnTo>
                    <a:pt x="49" y="8"/>
                  </a:lnTo>
                  <a:lnTo>
                    <a:pt x="49" y="7"/>
                  </a:lnTo>
                  <a:lnTo>
                    <a:pt x="51" y="7"/>
                  </a:lnTo>
                  <a:lnTo>
                    <a:pt x="52" y="6"/>
                  </a:lnTo>
                  <a:lnTo>
                    <a:pt x="53" y="6"/>
                  </a:lnTo>
                  <a:lnTo>
                    <a:pt x="56" y="3"/>
                  </a:lnTo>
                  <a:lnTo>
                    <a:pt x="57" y="1"/>
                  </a:lnTo>
                  <a:lnTo>
                    <a:pt x="59" y="1"/>
                  </a:lnTo>
                  <a:lnTo>
                    <a:pt x="61" y="2"/>
                  </a:lnTo>
                  <a:lnTo>
                    <a:pt x="64" y="2"/>
                  </a:lnTo>
                  <a:lnTo>
                    <a:pt x="64" y="1"/>
                  </a:lnTo>
                  <a:lnTo>
                    <a:pt x="65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id="{E2953CE4-E54E-41A2-A95A-730412B310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57750" y="1749425"/>
              <a:ext cx="900113" cy="1658938"/>
            </a:xfrm>
            <a:custGeom>
              <a:avLst/>
              <a:gdLst/>
              <a:ahLst/>
              <a:cxnLst>
                <a:cxn ang="0">
                  <a:pos x="35" y="1032"/>
                </a:cxn>
                <a:cxn ang="0">
                  <a:pos x="23" y="1033"/>
                </a:cxn>
                <a:cxn ang="0">
                  <a:pos x="25" y="986"/>
                </a:cxn>
                <a:cxn ang="0">
                  <a:pos x="30" y="967"/>
                </a:cxn>
                <a:cxn ang="0">
                  <a:pos x="35" y="967"/>
                </a:cxn>
                <a:cxn ang="0">
                  <a:pos x="24" y="953"/>
                </a:cxn>
                <a:cxn ang="0">
                  <a:pos x="16" y="919"/>
                </a:cxn>
                <a:cxn ang="0">
                  <a:pos x="33" y="924"/>
                </a:cxn>
                <a:cxn ang="0">
                  <a:pos x="4" y="878"/>
                </a:cxn>
                <a:cxn ang="0">
                  <a:pos x="10" y="860"/>
                </a:cxn>
                <a:cxn ang="0">
                  <a:pos x="45" y="764"/>
                </a:cxn>
                <a:cxn ang="0">
                  <a:pos x="38" y="758"/>
                </a:cxn>
                <a:cxn ang="0">
                  <a:pos x="66" y="749"/>
                </a:cxn>
                <a:cxn ang="0">
                  <a:pos x="89" y="713"/>
                </a:cxn>
                <a:cxn ang="0">
                  <a:pos x="116" y="699"/>
                </a:cxn>
                <a:cxn ang="0">
                  <a:pos x="150" y="683"/>
                </a:cxn>
                <a:cxn ang="0">
                  <a:pos x="147" y="658"/>
                </a:cxn>
                <a:cxn ang="0">
                  <a:pos x="191" y="645"/>
                </a:cxn>
                <a:cxn ang="0">
                  <a:pos x="188" y="636"/>
                </a:cxn>
                <a:cxn ang="0">
                  <a:pos x="173" y="625"/>
                </a:cxn>
                <a:cxn ang="0">
                  <a:pos x="286" y="551"/>
                </a:cxn>
                <a:cxn ang="0">
                  <a:pos x="275" y="512"/>
                </a:cxn>
                <a:cxn ang="0">
                  <a:pos x="259" y="513"/>
                </a:cxn>
                <a:cxn ang="0">
                  <a:pos x="319" y="494"/>
                </a:cxn>
                <a:cxn ang="0">
                  <a:pos x="327" y="454"/>
                </a:cxn>
                <a:cxn ang="0">
                  <a:pos x="318" y="470"/>
                </a:cxn>
                <a:cxn ang="0">
                  <a:pos x="304" y="443"/>
                </a:cxn>
                <a:cxn ang="0">
                  <a:pos x="347" y="400"/>
                </a:cxn>
                <a:cxn ang="0">
                  <a:pos x="330" y="392"/>
                </a:cxn>
                <a:cxn ang="0">
                  <a:pos x="348" y="362"/>
                </a:cxn>
                <a:cxn ang="0">
                  <a:pos x="397" y="285"/>
                </a:cxn>
                <a:cxn ang="0">
                  <a:pos x="431" y="245"/>
                </a:cxn>
                <a:cxn ang="0">
                  <a:pos x="435" y="193"/>
                </a:cxn>
                <a:cxn ang="0">
                  <a:pos x="448" y="191"/>
                </a:cxn>
                <a:cxn ang="0">
                  <a:pos x="353" y="200"/>
                </a:cxn>
                <a:cxn ang="0">
                  <a:pos x="362" y="189"/>
                </a:cxn>
                <a:cxn ang="0">
                  <a:pos x="397" y="153"/>
                </a:cxn>
                <a:cxn ang="0">
                  <a:pos x="381" y="176"/>
                </a:cxn>
                <a:cxn ang="0">
                  <a:pos x="381" y="154"/>
                </a:cxn>
                <a:cxn ang="0">
                  <a:pos x="423" y="159"/>
                </a:cxn>
                <a:cxn ang="0">
                  <a:pos x="415" y="150"/>
                </a:cxn>
                <a:cxn ang="0">
                  <a:pos x="497" y="129"/>
                </a:cxn>
                <a:cxn ang="0">
                  <a:pos x="424" y="132"/>
                </a:cxn>
                <a:cxn ang="0">
                  <a:pos x="530" y="96"/>
                </a:cxn>
                <a:cxn ang="0">
                  <a:pos x="474" y="99"/>
                </a:cxn>
                <a:cxn ang="0">
                  <a:pos x="484" y="91"/>
                </a:cxn>
                <a:cxn ang="0">
                  <a:pos x="501" y="122"/>
                </a:cxn>
                <a:cxn ang="0">
                  <a:pos x="467" y="141"/>
                </a:cxn>
                <a:cxn ang="0">
                  <a:pos x="445" y="147"/>
                </a:cxn>
                <a:cxn ang="0">
                  <a:pos x="455" y="119"/>
                </a:cxn>
                <a:cxn ang="0">
                  <a:pos x="462" y="92"/>
                </a:cxn>
                <a:cxn ang="0">
                  <a:pos x="446" y="80"/>
                </a:cxn>
                <a:cxn ang="0">
                  <a:pos x="429" y="117"/>
                </a:cxn>
                <a:cxn ang="0">
                  <a:pos x="421" y="116"/>
                </a:cxn>
                <a:cxn ang="0">
                  <a:pos x="423" y="93"/>
                </a:cxn>
                <a:cxn ang="0">
                  <a:pos x="545" y="65"/>
                </a:cxn>
                <a:cxn ang="0">
                  <a:pos x="460" y="73"/>
                </a:cxn>
                <a:cxn ang="0">
                  <a:pos x="551" y="9"/>
                </a:cxn>
                <a:cxn ang="0">
                  <a:pos x="564" y="23"/>
                </a:cxn>
                <a:cxn ang="0">
                  <a:pos x="529" y="66"/>
                </a:cxn>
                <a:cxn ang="0">
                  <a:pos x="517" y="46"/>
                </a:cxn>
                <a:cxn ang="0">
                  <a:pos x="536" y="29"/>
                </a:cxn>
                <a:cxn ang="0">
                  <a:pos x="546" y="13"/>
                </a:cxn>
              </a:cxnLst>
              <a:rect l="0" t="0" r="r" b="b"/>
              <a:pathLst>
                <a:path w="567" h="1045">
                  <a:moveTo>
                    <a:pt x="268" y="1039"/>
                  </a:moveTo>
                  <a:lnTo>
                    <a:pt x="269" y="1039"/>
                  </a:lnTo>
                  <a:lnTo>
                    <a:pt x="269" y="1041"/>
                  </a:lnTo>
                  <a:lnTo>
                    <a:pt x="272" y="1041"/>
                  </a:lnTo>
                  <a:lnTo>
                    <a:pt x="272" y="1042"/>
                  </a:lnTo>
                  <a:lnTo>
                    <a:pt x="271" y="1043"/>
                  </a:lnTo>
                  <a:lnTo>
                    <a:pt x="271" y="1044"/>
                  </a:lnTo>
                  <a:lnTo>
                    <a:pt x="269" y="1045"/>
                  </a:lnTo>
                  <a:lnTo>
                    <a:pt x="268" y="1045"/>
                  </a:lnTo>
                  <a:lnTo>
                    <a:pt x="268" y="1039"/>
                  </a:lnTo>
                  <a:close/>
                  <a:moveTo>
                    <a:pt x="262" y="1037"/>
                  </a:moveTo>
                  <a:lnTo>
                    <a:pt x="262" y="1038"/>
                  </a:lnTo>
                  <a:lnTo>
                    <a:pt x="263" y="1037"/>
                  </a:lnTo>
                  <a:lnTo>
                    <a:pt x="265" y="1037"/>
                  </a:lnTo>
                  <a:lnTo>
                    <a:pt x="265" y="1039"/>
                  </a:lnTo>
                  <a:lnTo>
                    <a:pt x="263" y="1041"/>
                  </a:lnTo>
                  <a:lnTo>
                    <a:pt x="261" y="1041"/>
                  </a:lnTo>
                  <a:lnTo>
                    <a:pt x="261" y="1038"/>
                  </a:lnTo>
                  <a:lnTo>
                    <a:pt x="262" y="1037"/>
                  </a:lnTo>
                  <a:close/>
                  <a:moveTo>
                    <a:pt x="39" y="1036"/>
                  </a:moveTo>
                  <a:lnTo>
                    <a:pt x="42" y="1036"/>
                  </a:lnTo>
                  <a:lnTo>
                    <a:pt x="43" y="1037"/>
                  </a:lnTo>
                  <a:lnTo>
                    <a:pt x="48" y="1037"/>
                  </a:lnTo>
                  <a:lnTo>
                    <a:pt x="48" y="1041"/>
                  </a:lnTo>
                  <a:lnTo>
                    <a:pt x="47" y="1041"/>
                  </a:lnTo>
                  <a:lnTo>
                    <a:pt x="43" y="1038"/>
                  </a:lnTo>
                  <a:lnTo>
                    <a:pt x="41" y="1037"/>
                  </a:lnTo>
                  <a:lnTo>
                    <a:pt x="39" y="1037"/>
                  </a:lnTo>
                  <a:lnTo>
                    <a:pt x="39" y="1036"/>
                  </a:lnTo>
                  <a:close/>
                  <a:moveTo>
                    <a:pt x="31" y="1027"/>
                  </a:moveTo>
                  <a:lnTo>
                    <a:pt x="33" y="1027"/>
                  </a:lnTo>
                  <a:lnTo>
                    <a:pt x="33" y="1029"/>
                  </a:lnTo>
                  <a:lnTo>
                    <a:pt x="35" y="1030"/>
                  </a:lnTo>
                  <a:lnTo>
                    <a:pt x="35" y="1032"/>
                  </a:lnTo>
                  <a:lnTo>
                    <a:pt x="33" y="1033"/>
                  </a:lnTo>
                  <a:lnTo>
                    <a:pt x="33" y="1032"/>
                  </a:lnTo>
                  <a:lnTo>
                    <a:pt x="32" y="1032"/>
                  </a:lnTo>
                  <a:lnTo>
                    <a:pt x="31" y="1031"/>
                  </a:lnTo>
                  <a:lnTo>
                    <a:pt x="31" y="1027"/>
                  </a:lnTo>
                  <a:close/>
                  <a:moveTo>
                    <a:pt x="56" y="1023"/>
                  </a:moveTo>
                  <a:lnTo>
                    <a:pt x="57" y="1023"/>
                  </a:lnTo>
                  <a:lnTo>
                    <a:pt x="60" y="1024"/>
                  </a:lnTo>
                  <a:lnTo>
                    <a:pt x="61" y="1024"/>
                  </a:lnTo>
                  <a:lnTo>
                    <a:pt x="61" y="1025"/>
                  </a:lnTo>
                  <a:lnTo>
                    <a:pt x="60" y="1027"/>
                  </a:lnTo>
                  <a:lnTo>
                    <a:pt x="57" y="1027"/>
                  </a:lnTo>
                  <a:lnTo>
                    <a:pt x="55" y="1029"/>
                  </a:lnTo>
                  <a:lnTo>
                    <a:pt x="54" y="1027"/>
                  </a:lnTo>
                  <a:lnTo>
                    <a:pt x="54" y="1025"/>
                  </a:lnTo>
                  <a:lnTo>
                    <a:pt x="56" y="1023"/>
                  </a:lnTo>
                  <a:close/>
                  <a:moveTo>
                    <a:pt x="23" y="1013"/>
                  </a:moveTo>
                  <a:lnTo>
                    <a:pt x="24" y="1013"/>
                  </a:lnTo>
                  <a:lnTo>
                    <a:pt x="25" y="1017"/>
                  </a:lnTo>
                  <a:lnTo>
                    <a:pt x="25" y="1018"/>
                  </a:lnTo>
                  <a:lnTo>
                    <a:pt x="26" y="1019"/>
                  </a:lnTo>
                  <a:lnTo>
                    <a:pt x="26" y="1020"/>
                  </a:lnTo>
                  <a:lnTo>
                    <a:pt x="27" y="1020"/>
                  </a:lnTo>
                  <a:lnTo>
                    <a:pt x="27" y="1021"/>
                  </a:lnTo>
                  <a:lnTo>
                    <a:pt x="26" y="1021"/>
                  </a:lnTo>
                  <a:lnTo>
                    <a:pt x="26" y="1023"/>
                  </a:lnTo>
                  <a:lnTo>
                    <a:pt x="29" y="1025"/>
                  </a:lnTo>
                  <a:lnTo>
                    <a:pt x="29" y="1029"/>
                  </a:lnTo>
                  <a:lnTo>
                    <a:pt x="27" y="1030"/>
                  </a:lnTo>
                  <a:lnTo>
                    <a:pt x="27" y="1033"/>
                  </a:lnTo>
                  <a:lnTo>
                    <a:pt x="25" y="1036"/>
                  </a:lnTo>
                  <a:lnTo>
                    <a:pt x="24" y="1036"/>
                  </a:lnTo>
                  <a:lnTo>
                    <a:pt x="23" y="1035"/>
                  </a:lnTo>
                  <a:lnTo>
                    <a:pt x="23" y="1033"/>
                  </a:lnTo>
                  <a:lnTo>
                    <a:pt x="21" y="1031"/>
                  </a:lnTo>
                  <a:lnTo>
                    <a:pt x="21" y="1029"/>
                  </a:lnTo>
                  <a:lnTo>
                    <a:pt x="23" y="1027"/>
                  </a:lnTo>
                  <a:lnTo>
                    <a:pt x="23" y="1025"/>
                  </a:lnTo>
                  <a:lnTo>
                    <a:pt x="21" y="1025"/>
                  </a:lnTo>
                  <a:lnTo>
                    <a:pt x="23" y="1023"/>
                  </a:lnTo>
                  <a:lnTo>
                    <a:pt x="25" y="1024"/>
                  </a:lnTo>
                  <a:lnTo>
                    <a:pt x="23" y="1020"/>
                  </a:lnTo>
                  <a:lnTo>
                    <a:pt x="23" y="1017"/>
                  </a:lnTo>
                  <a:lnTo>
                    <a:pt x="24" y="1016"/>
                  </a:lnTo>
                  <a:lnTo>
                    <a:pt x="23" y="1016"/>
                  </a:lnTo>
                  <a:lnTo>
                    <a:pt x="23" y="1013"/>
                  </a:lnTo>
                  <a:close/>
                  <a:moveTo>
                    <a:pt x="27" y="984"/>
                  </a:moveTo>
                  <a:lnTo>
                    <a:pt x="29" y="984"/>
                  </a:lnTo>
                  <a:lnTo>
                    <a:pt x="29" y="987"/>
                  </a:lnTo>
                  <a:lnTo>
                    <a:pt x="30" y="988"/>
                  </a:lnTo>
                  <a:lnTo>
                    <a:pt x="27" y="990"/>
                  </a:lnTo>
                  <a:lnTo>
                    <a:pt x="26" y="990"/>
                  </a:lnTo>
                  <a:lnTo>
                    <a:pt x="26" y="989"/>
                  </a:lnTo>
                  <a:lnTo>
                    <a:pt x="27" y="989"/>
                  </a:lnTo>
                  <a:lnTo>
                    <a:pt x="27" y="984"/>
                  </a:lnTo>
                  <a:close/>
                  <a:moveTo>
                    <a:pt x="19" y="975"/>
                  </a:moveTo>
                  <a:lnTo>
                    <a:pt x="21" y="975"/>
                  </a:lnTo>
                  <a:lnTo>
                    <a:pt x="21" y="976"/>
                  </a:lnTo>
                  <a:lnTo>
                    <a:pt x="24" y="978"/>
                  </a:lnTo>
                  <a:lnTo>
                    <a:pt x="24" y="980"/>
                  </a:lnTo>
                  <a:lnTo>
                    <a:pt x="25" y="980"/>
                  </a:lnTo>
                  <a:lnTo>
                    <a:pt x="26" y="981"/>
                  </a:lnTo>
                  <a:lnTo>
                    <a:pt x="26" y="982"/>
                  </a:lnTo>
                  <a:lnTo>
                    <a:pt x="27" y="983"/>
                  </a:lnTo>
                  <a:lnTo>
                    <a:pt x="27" y="984"/>
                  </a:lnTo>
                  <a:lnTo>
                    <a:pt x="26" y="984"/>
                  </a:lnTo>
                  <a:lnTo>
                    <a:pt x="26" y="986"/>
                  </a:lnTo>
                  <a:lnTo>
                    <a:pt x="25" y="986"/>
                  </a:lnTo>
                  <a:lnTo>
                    <a:pt x="24" y="984"/>
                  </a:lnTo>
                  <a:lnTo>
                    <a:pt x="23" y="986"/>
                  </a:lnTo>
                  <a:lnTo>
                    <a:pt x="23" y="989"/>
                  </a:lnTo>
                  <a:lnTo>
                    <a:pt x="21" y="990"/>
                  </a:lnTo>
                  <a:lnTo>
                    <a:pt x="21" y="993"/>
                  </a:lnTo>
                  <a:lnTo>
                    <a:pt x="23" y="993"/>
                  </a:lnTo>
                  <a:lnTo>
                    <a:pt x="23" y="994"/>
                  </a:lnTo>
                  <a:lnTo>
                    <a:pt x="24" y="995"/>
                  </a:lnTo>
                  <a:lnTo>
                    <a:pt x="23" y="995"/>
                  </a:lnTo>
                  <a:lnTo>
                    <a:pt x="24" y="996"/>
                  </a:lnTo>
                  <a:lnTo>
                    <a:pt x="23" y="996"/>
                  </a:lnTo>
                  <a:lnTo>
                    <a:pt x="23" y="998"/>
                  </a:lnTo>
                  <a:lnTo>
                    <a:pt x="21" y="998"/>
                  </a:lnTo>
                  <a:lnTo>
                    <a:pt x="20" y="996"/>
                  </a:lnTo>
                  <a:lnTo>
                    <a:pt x="20" y="994"/>
                  </a:lnTo>
                  <a:lnTo>
                    <a:pt x="19" y="993"/>
                  </a:lnTo>
                  <a:lnTo>
                    <a:pt x="20" y="990"/>
                  </a:lnTo>
                  <a:lnTo>
                    <a:pt x="20" y="988"/>
                  </a:lnTo>
                  <a:lnTo>
                    <a:pt x="21" y="986"/>
                  </a:lnTo>
                  <a:lnTo>
                    <a:pt x="23" y="984"/>
                  </a:lnTo>
                  <a:lnTo>
                    <a:pt x="20" y="984"/>
                  </a:lnTo>
                  <a:lnTo>
                    <a:pt x="20" y="982"/>
                  </a:lnTo>
                  <a:lnTo>
                    <a:pt x="19" y="983"/>
                  </a:lnTo>
                  <a:lnTo>
                    <a:pt x="18" y="983"/>
                  </a:lnTo>
                  <a:lnTo>
                    <a:pt x="18" y="981"/>
                  </a:lnTo>
                  <a:lnTo>
                    <a:pt x="19" y="981"/>
                  </a:lnTo>
                  <a:lnTo>
                    <a:pt x="19" y="978"/>
                  </a:lnTo>
                  <a:lnTo>
                    <a:pt x="21" y="978"/>
                  </a:lnTo>
                  <a:lnTo>
                    <a:pt x="20" y="977"/>
                  </a:lnTo>
                  <a:lnTo>
                    <a:pt x="19" y="975"/>
                  </a:lnTo>
                  <a:close/>
                  <a:moveTo>
                    <a:pt x="27" y="965"/>
                  </a:moveTo>
                  <a:lnTo>
                    <a:pt x="29" y="965"/>
                  </a:lnTo>
                  <a:lnTo>
                    <a:pt x="29" y="967"/>
                  </a:lnTo>
                  <a:lnTo>
                    <a:pt x="30" y="967"/>
                  </a:lnTo>
                  <a:lnTo>
                    <a:pt x="32" y="969"/>
                  </a:lnTo>
                  <a:lnTo>
                    <a:pt x="36" y="976"/>
                  </a:lnTo>
                  <a:lnTo>
                    <a:pt x="36" y="982"/>
                  </a:lnTo>
                  <a:lnTo>
                    <a:pt x="32" y="984"/>
                  </a:lnTo>
                  <a:lnTo>
                    <a:pt x="31" y="984"/>
                  </a:lnTo>
                  <a:lnTo>
                    <a:pt x="30" y="983"/>
                  </a:lnTo>
                  <a:lnTo>
                    <a:pt x="32" y="983"/>
                  </a:lnTo>
                  <a:lnTo>
                    <a:pt x="32" y="982"/>
                  </a:lnTo>
                  <a:lnTo>
                    <a:pt x="31" y="981"/>
                  </a:lnTo>
                  <a:lnTo>
                    <a:pt x="31" y="982"/>
                  </a:lnTo>
                  <a:lnTo>
                    <a:pt x="29" y="982"/>
                  </a:lnTo>
                  <a:lnTo>
                    <a:pt x="27" y="981"/>
                  </a:lnTo>
                  <a:lnTo>
                    <a:pt x="27" y="976"/>
                  </a:lnTo>
                  <a:lnTo>
                    <a:pt x="26" y="975"/>
                  </a:lnTo>
                  <a:lnTo>
                    <a:pt x="26" y="973"/>
                  </a:lnTo>
                  <a:lnTo>
                    <a:pt x="25" y="971"/>
                  </a:lnTo>
                  <a:lnTo>
                    <a:pt x="27" y="969"/>
                  </a:lnTo>
                  <a:lnTo>
                    <a:pt x="27" y="968"/>
                  </a:lnTo>
                  <a:lnTo>
                    <a:pt x="26" y="968"/>
                  </a:lnTo>
                  <a:lnTo>
                    <a:pt x="26" y="967"/>
                  </a:lnTo>
                  <a:lnTo>
                    <a:pt x="27" y="967"/>
                  </a:lnTo>
                  <a:lnTo>
                    <a:pt x="27" y="965"/>
                  </a:lnTo>
                  <a:close/>
                  <a:moveTo>
                    <a:pt x="41" y="957"/>
                  </a:moveTo>
                  <a:lnTo>
                    <a:pt x="43" y="957"/>
                  </a:lnTo>
                  <a:lnTo>
                    <a:pt x="43" y="964"/>
                  </a:lnTo>
                  <a:lnTo>
                    <a:pt x="41" y="967"/>
                  </a:lnTo>
                  <a:lnTo>
                    <a:pt x="41" y="969"/>
                  </a:lnTo>
                  <a:lnTo>
                    <a:pt x="42" y="971"/>
                  </a:lnTo>
                  <a:lnTo>
                    <a:pt x="41" y="971"/>
                  </a:lnTo>
                  <a:lnTo>
                    <a:pt x="39" y="970"/>
                  </a:lnTo>
                  <a:lnTo>
                    <a:pt x="37" y="973"/>
                  </a:lnTo>
                  <a:lnTo>
                    <a:pt x="36" y="973"/>
                  </a:lnTo>
                  <a:lnTo>
                    <a:pt x="36" y="968"/>
                  </a:lnTo>
                  <a:lnTo>
                    <a:pt x="35" y="967"/>
                  </a:lnTo>
                  <a:lnTo>
                    <a:pt x="35" y="968"/>
                  </a:lnTo>
                  <a:lnTo>
                    <a:pt x="32" y="968"/>
                  </a:lnTo>
                  <a:lnTo>
                    <a:pt x="31" y="967"/>
                  </a:lnTo>
                  <a:lnTo>
                    <a:pt x="31" y="965"/>
                  </a:lnTo>
                  <a:lnTo>
                    <a:pt x="30" y="964"/>
                  </a:lnTo>
                  <a:lnTo>
                    <a:pt x="31" y="964"/>
                  </a:lnTo>
                  <a:lnTo>
                    <a:pt x="33" y="963"/>
                  </a:lnTo>
                  <a:lnTo>
                    <a:pt x="35" y="963"/>
                  </a:lnTo>
                  <a:lnTo>
                    <a:pt x="33" y="962"/>
                  </a:lnTo>
                  <a:lnTo>
                    <a:pt x="33" y="959"/>
                  </a:lnTo>
                  <a:lnTo>
                    <a:pt x="36" y="959"/>
                  </a:lnTo>
                  <a:lnTo>
                    <a:pt x="37" y="958"/>
                  </a:lnTo>
                  <a:lnTo>
                    <a:pt x="41" y="958"/>
                  </a:lnTo>
                  <a:lnTo>
                    <a:pt x="41" y="957"/>
                  </a:lnTo>
                  <a:close/>
                  <a:moveTo>
                    <a:pt x="24" y="957"/>
                  </a:moveTo>
                  <a:lnTo>
                    <a:pt x="24" y="961"/>
                  </a:lnTo>
                  <a:lnTo>
                    <a:pt x="25" y="961"/>
                  </a:lnTo>
                  <a:lnTo>
                    <a:pt x="25" y="958"/>
                  </a:lnTo>
                  <a:lnTo>
                    <a:pt x="24" y="957"/>
                  </a:lnTo>
                  <a:close/>
                  <a:moveTo>
                    <a:pt x="24" y="953"/>
                  </a:moveTo>
                  <a:lnTo>
                    <a:pt x="25" y="955"/>
                  </a:lnTo>
                  <a:lnTo>
                    <a:pt x="25" y="957"/>
                  </a:lnTo>
                  <a:lnTo>
                    <a:pt x="27" y="957"/>
                  </a:lnTo>
                  <a:lnTo>
                    <a:pt x="27" y="962"/>
                  </a:lnTo>
                  <a:lnTo>
                    <a:pt x="26" y="963"/>
                  </a:lnTo>
                  <a:lnTo>
                    <a:pt x="26" y="964"/>
                  </a:lnTo>
                  <a:lnTo>
                    <a:pt x="25" y="964"/>
                  </a:lnTo>
                  <a:lnTo>
                    <a:pt x="25" y="963"/>
                  </a:lnTo>
                  <a:lnTo>
                    <a:pt x="24" y="963"/>
                  </a:lnTo>
                  <a:lnTo>
                    <a:pt x="24" y="962"/>
                  </a:lnTo>
                  <a:lnTo>
                    <a:pt x="23" y="961"/>
                  </a:lnTo>
                  <a:lnTo>
                    <a:pt x="23" y="957"/>
                  </a:lnTo>
                  <a:lnTo>
                    <a:pt x="24" y="956"/>
                  </a:lnTo>
                  <a:lnTo>
                    <a:pt x="24" y="953"/>
                  </a:lnTo>
                  <a:close/>
                  <a:moveTo>
                    <a:pt x="39" y="941"/>
                  </a:moveTo>
                  <a:lnTo>
                    <a:pt x="41" y="941"/>
                  </a:lnTo>
                  <a:lnTo>
                    <a:pt x="39" y="943"/>
                  </a:lnTo>
                  <a:lnTo>
                    <a:pt x="39" y="941"/>
                  </a:lnTo>
                  <a:close/>
                  <a:moveTo>
                    <a:pt x="13" y="926"/>
                  </a:moveTo>
                  <a:lnTo>
                    <a:pt x="14" y="926"/>
                  </a:lnTo>
                  <a:lnTo>
                    <a:pt x="14" y="927"/>
                  </a:lnTo>
                  <a:lnTo>
                    <a:pt x="19" y="937"/>
                  </a:lnTo>
                  <a:lnTo>
                    <a:pt x="19" y="939"/>
                  </a:lnTo>
                  <a:lnTo>
                    <a:pt x="17" y="939"/>
                  </a:lnTo>
                  <a:lnTo>
                    <a:pt x="19" y="941"/>
                  </a:lnTo>
                  <a:lnTo>
                    <a:pt x="19" y="947"/>
                  </a:lnTo>
                  <a:lnTo>
                    <a:pt x="17" y="947"/>
                  </a:lnTo>
                  <a:lnTo>
                    <a:pt x="17" y="944"/>
                  </a:lnTo>
                  <a:lnTo>
                    <a:pt x="16" y="943"/>
                  </a:lnTo>
                  <a:lnTo>
                    <a:pt x="16" y="945"/>
                  </a:lnTo>
                  <a:lnTo>
                    <a:pt x="14" y="945"/>
                  </a:lnTo>
                  <a:lnTo>
                    <a:pt x="13" y="943"/>
                  </a:lnTo>
                  <a:lnTo>
                    <a:pt x="13" y="941"/>
                  </a:lnTo>
                  <a:lnTo>
                    <a:pt x="12" y="940"/>
                  </a:lnTo>
                  <a:lnTo>
                    <a:pt x="12" y="939"/>
                  </a:lnTo>
                  <a:lnTo>
                    <a:pt x="16" y="939"/>
                  </a:lnTo>
                  <a:lnTo>
                    <a:pt x="17" y="937"/>
                  </a:lnTo>
                  <a:lnTo>
                    <a:pt x="16" y="938"/>
                  </a:lnTo>
                  <a:lnTo>
                    <a:pt x="16" y="937"/>
                  </a:lnTo>
                  <a:lnTo>
                    <a:pt x="14" y="937"/>
                  </a:lnTo>
                  <a:lnTo>
                    <a:pt x="14" y="936"/>
                  </a:lnTo>
                  <a:lnTo>
                    <a:pt x="13" y="936"/>
                  </a:lnTo>
                  <a:lnTo>
                    <a:pt x="13" y="930"/>
                  </a:lnTo>
                  <a:lnTo>
                    <a:pt x="12" y="927"/>
                  </a:lnTo>
                  <a:lnTo>
                    <a:pt x="13" y="926"/>
                  </a:lnTo>
                  <a:close/>
                  <a:moveTo>
                    <a:pt x="13" y="916"/>
                  </a:moveTo>
                  <a:lnTo>
                    <a:pt x="14" y="916"/>
                  </a:lnTo>
                  <a:lnTo>
                    <a:pt x="16" y="919"/>
                  </a:lnTo>
                  <a:lnTo>
                    <a:pt x="21" y="921"/>
                  </a:lnTo>
                  <a:lnTo>
                    <a:pt x="24" y="926"/>
                  </a:lnTo>
                  <a:lnTo>
                    <a:pt x="24" y="927"/>
                  </a:lnTo>
                  <a:lnTo>
                    <a:pt x="23" y="928"/>
                  </a:lnTo>
                  <a:lnTo>
                    <a:pt x="20" y="930"/>
                  </a:lnTo>
                  <a:lnTo>
                    <a:pt x="20" y="926"/>
                  </a:lnTo>
                  <a:lnTo>
                    <a:pt x="18" y="925"/>
                  </a:lnTo>
                  <a:lnTo>
                    <a:pt x="18" y="922"/>
                  </a:lnTo>
                  <a:lnTo>
                    <a:pt x="17" y="921"/>
                  </a:lnTo>
                  <a:lnTo>
                    <a:pt x="14" y="921"/>
                  </a:lnTo>
                  <a:lnTo>
                    <a:pt x="14" y="919"/>
                  </a:lnTo>
                  <a:lnTo>
                    <a:pt x="13" y="916"/>
                  </a:lnTo>
                  <a:close/>
                  <a:moveTo>
                    <a:pt x="6" y="907"/>
                  </a:moveTo>
                  <a:lnTo>
                    <a:pt x="7" y="908"/>
                  </a:lnTo>
                  <a:lnTo>
                    <a:pt x="7" y="910"/>
                  </a:lnTo>
                  <a:lnTo>
                    <a:pt x="8" y="910"/>
                  </a:lnTo>
                  <a:lnTo>
                    <a:pt x="8" y="914"/>
                  </a:lnTo>
                  <a:lnTo>
                    <a:pt x="6" y="914"/>
                  </a:lnTo>
                  <a:lnTo>
                    <a:pt x="6" y="907"/>
                  </a:lnTo>
                  <a:close/>
                  <a:moveTo>
                    <a:pt x="42" y="904"/>
                  </a:moveTo>
                  <a:lnTo>
                    <a:pt x="43" y="906"/>
                  </a:lnTo>
                  <a:lnTo>
                    <a:pt x="44" y="906"/>
                  </a:lnTo>
                  <a:lnTo>
                    <a:pt x="44" y="913"/>
                  </a:lnTo>
                  <a:lnTo>
                    <a:pt x="43" y="918"/>
                  </a:lnTo>
                  <a:lnTo>
                    <a:pt x="43" y="919"/>
                  </a:lnTo>
                  <a:lnTo>
                    <a:pt x="44" y="922"/>
                  </a:lnTo>
                  <a:lnTo>
                    <a:pt x="43" y="924"/>
                  </a:lnTo>
                  <a:lnTo>
                    <a:pt x="42" y="924"/>
                  </a:lnTo>
                  <a:lnTo>
                    <a:pt x="41" y="925"/>
                  </a:lnTo>
                  <a:lnTo>
                    <a:pt x="41" y="926"/>
                  </a:lnTo>
                  <a:lnTo>
                    <a:pt x="37" y="927"/>
                  </a:lnTo>
                  <a:lnTo>
                    <a:pt x="36" y="927"/>
                  </a:lnTo>
                  <a:lnTo>
                    <a:pt x="36" y="926"/>
                  </a:lnTo>
                  <a:lnTo>
                    <a:pt x="33" y="924"/>
                  </a:lnTo>
                  <a:lnTo>
                    <a:pt x="31" y="920"/>
                  </a:lnTo>
                  <a:lnTo>
                    <a:pt x="29" y="918"/>
                  </a:lnTo>
                  <a:lnTo>
                    <a:pt x="29" y="916"/>
                  </a:lnTo>
                  <a:lnTo>
                    <a:pt x="32" y="916"/>
                  </a:lnTo>
                  <a:lnTo>
                    <a:pt x="32" y="915"/>
                  </a:lnTo>
                  <a:lnTo>
                    <a:pt x="33" y="915"/>
                  </a:lnTo>
                  <a:lnTo>
                    <a:pt x="35" y="913"/>
                  </a:lnTo>
                  <a:lnTo>
                    <a:pt x="37" y="912"/>
                  </a:lnTo>
                  <a:lnTo>
                    <a:pt x="38" y="912"/>
                  </a:lnTo>
                  <a:lnTo>
                    <a:pt x="39" y="910"/>
                  </a:lnTo>
                  <a:lnTo>
                    <a:pt x="39" y="906"/>
                  </a:lnTo>
                  <a:lnTo>
                    <a:pt x="41" y="906"/>
                  </a:lnTo>
                  <a:lnTo>
                    <a:pt x="42" y="904"/>
                  </a:lnTo>
                  <a:close/>
                  <a:moveTo>
                    <a:pt x="6" y="883"/>
                  </a:moveTo>
                  <a:lnTo>
                    <a:pt x="8" y="883"/>
                  </a:lnTo>
                  <a:lnTo>
                    <a:pt x="8" y="884"/>
                  </a:lnTo>
                  <a:lnTo>
                    <a:pt x="10" y="884"/>
                  </a:lnTo>
                  <a:lnTo>
                    <a:pt x="10" y="885"/>
                  </a:lnTo>
                  <a:lnTo>
                    <a:pt x="11" y="887"/>
                  </a:lnTo>
                  <a:lnTo>
                    <a:pt x="12" y="889"/>
                  </a:lnTo>
                  <a:lnTo>
                    <a:pt x="12" y="890"/>
                  </a:lnTo>
                  <a:lnTo>
                    <a:pt x="10" y="890"/>
                  </a:lnTo>
                  <a:lnTo>
                    <a:pt x="10" y="888"/>
                  </a:lnTo>
                  <a:lnTo>
                    <a:pt x="8" y="888"/>
                  </a:lnTo>
                  <a:lnTo>
                    <a:pt x="7" y="887"/>
                  </a:lnTo>
                  <a:lnTo>
                    <a:pt x="8" y="887"/>
                  </a:lnTo>
                  <a:lnTo>
                    <a:pt x="7" y="885"/>
                  </a:lnTo>
                  <a:lnTo>
                    <a:pt x="6" y="885"/>
                  </a:lnTo>
                  <a:lnTo>
                    <a:pt x="6" y="883"/>
                  </a:lnTo>
                  <a:close/>
                  <a:moveTo>
                    <a:pt x="1" y="871"/>
                  </a:moveTo>
                  <a:lnTo>
                    <a:pt x="2" y="871"/>
                  </a:lnTo>
                  <a:lnTo>
                    <a:pt x="2" y="873"/>
                  </a:lnTo>
                  <a:lnTo>
                    <a:pt x="4" y="875"/>
                  </a:lnTo>
                  <a:lnTo>
                    <a:pt x="4" y="878"/>
                  </a:lnTo>
                  <a:lnTo>
                    <a:pt x="2" y="879"/>
                  </a:lnTo>
                  <a:lnTo>
                    <a:pt x="2" y="878"/>
                  </a:lnTo>
                  <a:lnTo>
                    <a:pt x="1" y="878"/>
                  </a:lnTo>
                  <a:lnTo>
                    <a:pt x="1" y="877"/>
                  </a:lnTo>
                  <a:lnTo>
                    <a:pt x="0" y="877"/>
                  </a:lnTo>
                  <a:lnTo>
                    <a:pt x="0" y="872"/>
                  </a:lnTo>
                  <a:lnTo>
                    <a:pt x="1" y="872"/>
                  </a:lnTo>
                  <a:lnTo>
                    <a:pt x="1" y="871"/>
                  </a:lnTo>
                  <a:close/>
                  <a:moveTo>
                    <a:pt x="10" y="860"/>
                  </a:moveTo>
                  <a:lnTo>
                    <a:pt x="10" y="864"/>
                  </a:lnTo>
                  <a:lnTo>
                    <a:pt x="11" y="865"/>
                  </a:lnTo>
                  <a:lnTo>
                    <a:pt x="11" y="864"/>
                  </a:lnTo>
                  <a:lnTo>
                    <a:pt x="12" y="863"/>
                  </a:lnTo>
                  <a:lnTo>
                    <a:pt x="12" y="861"/>
                  </a:lnTo>
                  <a:lnTo>
                    <a:pt x="13" y="861"/>
                  </a:lnTo>
                  <a:lnTo>
                    <a:pt x="13" y="863"/>
                  </a:lnTo>
                  <a:lnTo>
                    <a:pt x="14" y="867"/>
                  </a:lnTo>
                  <a:lnTo>
                    <a:pt x="14" y="869"/>
                  </a:lnTo>
                  <a:lnTo>
                    <a:pt x="11" y="872"/>
                  </a:lnTo>
                  <a:lnTo>
                    <a:pt x="11" y="873"/>
                  </a:lnTo>
                  <a:lnTo>
                    <a:pt x="10" y="872"/>
                  </a:lnTo>
                  <a:lnTo>
                    <a:pt x="10" y="870"/>
                  </a:lnTo>
                  <a:lnTo>
                    <a:pt x="8" y="870"/>
                  </a:lnTo>
                  <a:lnTo>
                    <a:pt x="7" y="871"/>
                  </a:lnTo>
                  <a:lnTo>
                    <a:pt x="7" y="873"/>
                  </a:lnTo>
                  <a:lnTo>
                    <a:pt x="6" y="875"/>
                  </a:lnTo>
                  <a:lnTo>
                    <a:pt x="6" y="865"/>
                  </a:lnTo>
                  <a:lnTo>
                    <a:pt x="7" y="865"/>
                  </a:lnTo>
                  <a:lnTo>
                    <a:pt x="7" y="864"/>
                  </a:lnTo>
                  <a:lnTo>
                    <a:pt x="8" y="867"/>
                  </a:lnTo>
                  <a:lnTo>
                    <a:pt x="10" y="867"/>
                  </a:lnTo>
                  <a:lnTo>
                    <a:pt x="10" y="865"/>
                  </a:lnTo>
                  <a:lnTo>
                    <a:pt x="8" y="861"/>
                  </a:lnTo>
                  <a:lnTo>
                    <a:pt x="10" y="860"/>
                  </a:lnTo>
                  <a:close/>
                  <a:moveTo>
                    <a:pt x="8" y="816"/>
                  </a:moveTo>
                  <a:lnTo>
                    <a:pt x="10" y="816"/>
                  </a:lnTo>
                  <a:lnTo>
                    <a:pt x="10" y="817"/>
                  </a:lnTo>
                  <a:lnTo>
                    <a:pt x="11" y="817"/>
                  </a:lnTo>
                  <a:lnTo>
                    <a:pt x="11" y="820"/>
                  </a:lnTo>
                  <a:lnTo>
                    <a:pt x="8" y="820"/>
                  </a:lnTo>
                  <a:lnTo>
                    <a:pt x="8" y="818"/>
                  </a:lnTo>
                  <a:lnTo>
                    <a:pt x="7" y="817"/>
                  </a:lnTo>
                  <a:lnTo>
                    <a:pt x="8" y="817"/>
                  </a:lnTo>
                  <a:lnTo>
                    <a:pt x="8" y="816"/>
                  </a:lnTo>
                  <a:close/>
                  <a:moveTo>
                    <a:pt x="10" y="799"/>
                  </a:moveTo>
                  <a:lnTo>
                    <a:pt x="13" y="799"/>
                  </a:lnTo>
                  <a:lnTo>
                    <a:pt x="24" y="803"/>
                  </a:lnTo>
                  <a:lnTo>
                    <a:pt x="24" y="804"/>
                  </a:lnTo>
                  <a:lnTo>
                    <a:pt x="23" y="805"/>
                  </a:lnTo>
                  <a:lnTo>
                    <a:pt x="20" y="805"/>
                  </a:lnTo>
                  <a:lnTo>
                    <a:pt x="20" y="803"/>
                  </a:lnTo>
                  <a:lnTo>
                    <a:pt x="19" y="805"/>
                  </a:lnTo>
                  <a:lnTo>
                    <a:pt x="17" y="807"/>
                  </a:lnTo>
                  <a:lnTo>
                    <a:pt x="16" y="808"/>
                  </a:lnTo>
                  <a:lnTo>
                    <a:pt x="11" y="809"/>
                  </a:lnTo>
                  <a:lnTo>
                    <a:pt x="10" y="808"/>
                  </a:lnTo>
                  <a:lnTo>
                    <a:pt x="10" y="807"/>
                  </a:lnTo>
                  <a:lnTo>
                    <a:pt x="11" y="807"/>
                  </a:lnTo>
                  <a:lnTo>
                    <a:pt x="12" y="805"/>
                  </a:lnTo>
                  <a:lnTo>
                    <a:pt x="11" y="805"/>
                  </a:lnTo>
                  <a:lnTo>
                    <a:pt x="7" y="804"/>
                  </a:lnTo>
                  <a:lnTo>
                    <a:pt x="6" y="804"/>
                  </a:lnTo>
                  <a:lnTo>
                    <a:pt x="10" y="801"/>
                  </a:lnTo>
                  <a:lnTo>
                    <a:pt x="10" y="799"/>
                  </a:lnTo>
                  <a:close/>
                  <a:moveTo>
                    <a:pt x="41" y="762"/>
                  </a:moveTo>
                  <a:lnTo>
                    <a:pt x="43" y="764"/>
                  </a:lnTo>
                  <a:lnTo>
                    <a:pt x="44" y="762"/>
                  </a:lnTo>
                  <a:lnTo>
                    <a:pt x="45" y="764"/>
                  </a:lnTo>
                  <a:lnTo>
                    <a:pt x="45" y="765"/>
                  </a:lnTo>
                  <a:lnTo>
                    <a:pt x="49" y="765"/>
                  </a:lnTo>
                  <a:lnTo>
                    <a:pt x="49" y="766"/>
                  </a:lnTo>
                  <a:lnTo>
                    <a:pt x="48" y="766"/>
                  </a:lnTo>
                  <a:lnTo>
                    <a:pt x="48" y="768"/>
                  </a:lnTo>
                  <a:lnTo>
                    <a:pt x="49" y="768"/>
                  </a:lnTo>
                  <a:lnTo>
                    <a:pt x="48" y="769"/>
                  </a:lnTo>
                  <a:lnTo>
                    <a:pt x="48" y="771"/>
                  </a:lnTo>
                  <a:lnTo>
                    <a:pt x="44" y="772"/>
                  </a:lnTo>
                  <a:lnTo>
                    <a:pt x="37" y="772"/>
                  </a:lnTo>
                  <a:lnTo>
                    <a:pt x="37" y="769"/>
                  </a:lnTo>
                  <a:lnTo>
                    <a:pt x="41" y="769"/>
                  </a:lnTo>
                  <a:lnTo>
                    <a:pt x="39" y="768"/>
                  </a:lnTo>
                  <a:lnTo>
                    <a:pt x="37" y="768"/>
                  </a:lnTo>
                  <a:lnTo>
                    <a:pt x="37" y="767"/>
                  </a:lnTo>
                  <a:lnTo>
                    <a:pt x="38" y="766"/>
                  </a:lnTo>
                  <a:lnTo>
                    <a:pt x="38" y="764"/>
                  </a:lnTo>
                  <a:lnTo>
                    <a:pt x="41" y="762"/>
                  </a:lnTo>
                  <a:close/>
                  <a:moveTo>
                    <a:pt x="44" y="756"/>
                  </a:moveTo>
                  <a:lnTo>
                    <a:pt x="45" y="756"/>
                  </a:lnTo>
                  <a:lnTo>
                    <a:pt x="47" y="758"/>
                  </a:lnTo>
                  <a:lnTo>
                    <a:pt x="45" y="759"/>
                  </a:lnTo>
                  <a:lnTo>
                    <a:pt x="45" y="760"/>
                  </a:lnTo>
                  <a:lnTo>
                    <a:pt x="44" y="761"/>
                  </a:lnTo>
                  <a:lnTo>
                    <a:pt x="43" y="760"/>
                  </a:lnTo>
                  <a:lnTo>
                    <a:pt x="42" y="761"/>
                  </a:lnTo>
                  <a:lnTo>
                    <a:pt x="41" y="760"/>
                  </a:lnTo>
                  <a:lnTo>
                    <a:pt x="42" y="759"/>
                  </a:lnTo>
                  <a:lnTo>
                    <a:pt x="44" y="759"/>
                  </a:lnTo>
                  <a:lnTo>
                    <a:pt x="43" y="758"/>
                  </a:lnTo>
                  <a:lnTo>
                    <a:pt x="44" y="756"/>
                  </a:lnTo>
                  <a:close/>
                  <a:moveTo>
                    <a:pt x="37" y="756"/>
                  </a:moveTo>
                  <a:lnTo>
                    <a:pt x="38" y="756"/>
                  </a:lnTo>
                  <a:lnTo>
                    <a:pt x="38" y="758"/>
                  </a:lnTo>
                  <a:lnTo>
                    <a:pt x="41" y="758"/>
                  </a:lnTo>
                  <a:lnTo>
                    <a:pt x="41" y="759"/>
                  </a:lnTo>
                  <a:lnTo>
                    <a:pt x="39" y="759"/>
                  </a:lnTo>
                  <a:lnTo>
                    <a:pt x="38" y="760"/>
                  </a:lnTo>
                  <a:lnTo>
                    <a:pt x="37" y="760"/>
                  </a:lnTo>
                  <a:lnTo>
                    <a:pt x="37" y="756"/>
                  </a:lnTo>
                  <a:close/>
                  <a:moveTo>
                    <a:pt x="54" y="750"/>
                  </a:moveTo>
                  <a:lnTo>
                    <a:pt x="55" y="750"/>
                  </a:lnTo>
                  <a:lnTo>
                    <a:pt x="56" y="752"/>
                  </a:lnTo>
                  <a:lnTo>
                    <a:pt x="56" y="754"/>
                  </a:lnTo>
                  <a:lnTo>
                    <a:pt x="57" y="755"/>
                  </a:lnTo>
                  <a:lnTo>
                    <a:pt x="57" y="756"/>
                  </a:lnTo>
                  <a:lnTo>
                    <a:pt x="60" y="759"/>
                  </a:lnTo>
                  <a:lnTo>
                    <a:pt x="51" y="767"/>
                  </a:lnTo>
                  <a:lnTo>
                    <a:pt x="49" y="767"/>
                  </a:lnTo>
                  <a:lnTo>
                    <a:pt x="49" y="766"/>
                  </a:lnTo>
                  <a:lnTo>
                    <a:pt x="50" y="765"/>
                  </a:lnTo>
                  <a:lnTo>
                    <a:pt x="50" y="760"/>
                  </a:lnTo>
                  <a:lnTo>
                    <a:pt x="49" y="759"/>
                  </a:lnTo>
                  <a:lnTo>
                    <a:pt x="49" y="755"/>
                  </a:lnTo>
                  <a:lnTo>
                    <a:pt x="50" y="753"/>
                  </a:lnTo>
                  <a:lnTo>
                    <a:pt x="51" y="752"/>
                  </a:lnTo>
                  <a:lnTo>
                    <a:pt x="52" y="752"/>
                  </a:lnTo>
                  <a:lnTo>
                    <a:pt x="54" y="750"/>
                  </a:lnTo>
                  <a:close/>
                  <a:moveTo>
                    <a:pt x="66" y="749"/>
                  </a:moveTo>
                  <a:lnTo>
                    <a:pt x="67" y="749"/>
                  </a:lnTo>
                  <a:lnTo>
                    <a:pt x="68" y="752"/>
                  </a:lnTo>
                  <a:lnTo>
                    <a:pt x="70" y="752"/>
                  </a:lnTo>
                  <a:lnTo>
                    <a:pt x="72" y="753"/>
                  </a:lnTo>
                  <a:lnTo>
                    <a:pt x="70" y="753"/>
                  </a:lnTo>
                  <a:lnTo>
                    <a:pt x="64" y="754"/>
                  </a:lnTo>
                  <a:lnTo>
                    <a:pt x="61" y="753"/>
                  </a:lnTo>
                  <a:lnTo>
                    <a:pt x="58" y="750"/>
                  </a:lnTo>
                  <a:lnTo>
                    <a:pt x="66" y="749"/>
                  </a:lnTo>
                  <a:close/>
                  <a:moveTo>
                    <a:pt x="93" y="722"/>
                  </a:moveTo>
                  <a:lnTo>
                    <a:pt x="94" y="722"/>
                  </a:lnTo>
                  <a:lnTo>
                    <a:pt x="95" y="723"/>
                  </a:lnTo>
                  <a:lnTo>
                    <a:pt x="95" y="726"/>
                  </a:lnTo>
                  <a:lnTo>
                    <a:pt x="88" y="728"/>
                  </a:lnTo>
                  <a:lnTo>
                    <a:pt x="86" y="730"/>
                  </a:lnTo>
                  <a:lnTo>
                    <a:pt x="85" y="730"/>
                  </a:lnTo>
                  <a:lnTo>
                    <a:pt x="85" y="726"/>
                  </a:lnTo>
                  <a:lnTo>
                    <a:pt x="86" y="726"/>
                  </a:lnTo>
                  <a:lnTo>
                    <a:pt x="86" y="723"/>
                  </a:lnTo>
                  <a:lnTo>
                    <a:pt x="87" y="723"/>
                  </a:lnTo>
                  <a:lnTo>
                    <a:pt x="87" y="724"/>
                  </a:lnTo>
                  <a:lnTo>
                    <a:pt x="88" y="724"/>
                  </a:lnTo>
                  <a:lnTo>
                    <a:pt x="93" y="722"/>
                  </a:lnTo>
                  <a:close/>
                  <a:moveTo>
                    <a:pt x="91" y="711"/>
                  </a:moveTo>
                  <a:lnTo>
                    <a:pt x="91" y="712"/>
                  </a:lnTo>
                  <a:lnTo>
                    <a:pt x="92" y="713"/>
                  </a:lnTo>
                  <a:lnTo>
                    <a:pt x="93" y="712"/>
                  </a:lnTo>
                  <a:lnTo>
                    <a:pt x="94" y="712"/>
                  </a:lnTo>
                  <a:lnTo>
                    <a:pt x="97" y="711"/>
                  </a:lnTo>
                  <a:lnTo>
                    <a:pt x="97" y="715"/>
                  </a:lnTo>
                  <a:lnTo>
                    <a:pt x="95" y="715"/>
                  </a:lnTo>
                  <a:lnTo>
                    <a:pt x="94" y="716"/>
                  </a:lnTo>
                  <a:lnTo>
                    <a:pt x="95" y="717"/>
                  </a:lnTo>
                  <a:lnTo>
                    <a:pt x="95" y="718"/>
                  </a:lnTo>
                  <a:lnTo>
                    <a:pt x="94" y="719"/>
                  </a:lnTo>
                  <a:lnTo>
                    <a:pt x="94" y="718"/>
                  </a:lnTo>
                  <a:lnTo>
                    <a:pt x="93" y="717"/>
                  </a:lnTo>
                  <a:lnTo>
                    <a:pt x="91" y="716"/>
                  </a:lnTo>
                  <a:lnTo>
                    <a:pt x="89" y="716"/>
                  </a:lnTo>
                  <a:lnTo>
                    <a:pt x="89" y="715"/>
                  </a:lnTo>
                  <a:lnTo>
                    <a:pt x="91" y="715"/>
                  </a:lnTo>
                  <a:lnTo>
                    <a:pt x="91" y="713"/>
                  </a:lnTo>
                  <a:lnTo>
                    <a:pt x="89" y="713"/>
                  </a:lnTo>
                  <a:lnTo>
                    <a:pt x="89" y="712"/>
                  </a:lnTo>
                  <a:lnTo>
                    <a:pt x="91" y="711"/>
                  </a:lnTo>
                  <a:close/>
                  <a:moveTo>
                    <a:pt x="129" y="689"/>
                  </a:moveTo>
                  <a:lnTo>
                    <a:pt x="130" y="689"/>
                  </a:lnTo>
                  <a:lnTo>
                    <a:pt x="132" y="691"/>
                  </a:lnTo>
                  <a:lnTo>
                    <a:pt x="135" y="689"/>
                  </a:lnTo>
                  <a:lnTo>
                    <a:pt x="137" y="689"/>
                  </a:lnTo>
                  <a:lnTo>
                    <a:pt x="138" y="691"/>
                  </a:lnTo>
                  <a:lnTo>
                    <a:pt x="137" y="692"/>
                  </a:lnTo>
                  <a:lnTo>
                    <a:pt x="136" y="694"/>
                  </a:lnTo>
                  <a:lnTo>
                    <a:pt x="135" y="695"/>
                  </a:lnTo>
                  <a:lnTo>
                    <a:pt x="134" y="695"/>
                  </a:lnTo>
                  <a:lnTo>
                    <a:pt x="132" y="697"/>
                  </a:lnTo>
                  <a:lnTo>
                    <a:pt x="131" y="695"/>
                  </a:lnTo>
                  <a:lnTo>
                    <a:pt x="130" y="695"/>
                  </a:lnTo>
                  <a:lnTo>
                    <a:pt x="128" y="693"/>
                  </a:lnTo>
                  <a:lnTo>
                    <a:pt x="129" y="692"/>
                  </a:lnTo>
                  <a:lnTo>
                    <a:pt x="129" y="689"/>
                  </a:lnTo>
                  <a:close/>
                  <a:moveTo>
                    <a:pt x="124" y="687"/>
                  </a:moveTo>
                  <a:lnTo>
                    <a:pt x="126" y="687"/>
                  </a:lnTo>
                  <a:lnTo>
                    <a:pt x="126" y="693"/>
                  </a:lnTo>
                  <a:lnTo>
                    <a:pt x="128" y="694"/>
                  </a:lnTo>
                  <a:lnTo>
                    <a:pt x="128" y="697"/>
                  </a:lnTo>
                  <a:lnTo>
                    <a:pt x="129" y="698"/>
                  </a:lnTo>
                  <a:lnTo>
                    <a:pt x="128" y="699"/>
                  </a:lnTo>
                  <a:lnTo>
                    <a:pt x="125" y="699"/>
                  </a:lnTo>
                  <a:lnTo>
                    <a:pt x="125" y="700"/>
                  </a:lnTo>
                  <a:lnTo>
                    <a:pt x="124" y="700"/>
                  </a:lnTo>
                  <a:lnTo>
                    <a:pt x="122" y="704"/>
                  </a:lnTo>
                  <a:lnTo>
                    <a:pt x="120" y="704"/>
                  </a:lnTo>
                  <a:lnTo>
                    <a:pt x="120" y="703"/>
                  </a:lnTo>
                  <a:lnTo>
                    <a:pt x="119" y="701"/>
                  </a:lnTo>
                  <a:lnTo>
                    <a:pt x="116" y="700"/>
                  </a:lnTo>
                  <a:lnTo>
                    <a:pt x="116" y="699"/>
                  </a:lnTo>
                  <a:lnTo>
                    <a:pt x="114" y="699"/>
                  </a:lnTo>
                  <a:lnTo>
                    <a:pt x="116" y="698"/>
                  </a:lnTo>
                  <a:lnTo>
                    <a:pt x="116" y="697"/>
                  </a:lnTo>
                  <a:lnTo>
                    <a:pt x="118" y="697"/>
                  </a:lnTo>
                  <a:lnTo>
                    <a:pt x="117" y="695"/>
                  </a:lnTo>
                  <a:lnTo>
                    <a:pt x="117" y="694"/>
                  </a:lnTo>
                  <a:lnTo>
                    <a:pt x="118" y="694"/>
                  </a:lnTo>
                  <a:lnTo>
                    <a:pt x="117" y="693"/>
                  </a:lnTo>
                  <a:lnTo>
                    <a:pt x="120" y="692"/>
                  </a:lnTo>
                  <a:lnTo>
                    <a:pt x="119" y="693"/>
                  </a:lnTo>
                  <a:lnTo>
                    <a:pt x="120" y="693"/>
                  </a:lnTo>
                  <a:lnTo>
                    <a:pt x="122" y="694"/>
                  </a:lnTo>
                  <a:lnTo>
                    <a:pt x="123" y="697"/>
                  </a:lnTo>
                  <a:lnTo>
                    <a:pt x="123" y="695"/>
                  </a:lnTo>
                  <a:lnTo>
                    <a:pt x="124" y="694"/>
                  </a:lnTo>
                  <a:lnTo>
                    <a:pt x="123" y="693"/>
                  </a:lnTo>
                  <a:lnTo>
                    <a:pt x="124" y="693"/>
                  </a:lnTo>
                  <a:lnTo>
                    <a:pt x="124" y="692"/>
                  </a:lnTo>
                  <a:lnTo>
                    <a:pt x="125" y="691"/>
                  </a:lnTo>
                  <a:lnTo>
                    <a:pt x="125" y="689"/>
                  </a:lnTo>
                  <a:lnTo>
                    <a:pt x="124" y="687"/>
                  </a:lnTo>
                  <a:close/>
                  <a:moveTo>
                    <a:pt x="144" y="675"/>
                  </a:moveTo>
                  <a:lnTo>
                    <a:pt x="147" y="676"/>
                  </a:lnTo>
                  <a:lnTo>
                    <a:pt x="148" y="679"/>
                  </a:lnTo>
                  <a:lnTo>
                    <a:pt x="149" y="680"/>
                  </a:lnTo>
                  <a:lnTo>
                    <a:pt x="149" y="678"/>
                  </a:lnTo>
                  <a:lnTo>
                    <a:pt x="151" y="678"/>
                  </a:lnTo>
                  <a:lnTo>
                    <a:pt x="153" y="680"/>
                  </a:lnTo>
                  <a:lnTo>
                    <a:pt x="154" y="680"/>
                  </a:lnTo>
                  <a:lnTo>
                    <a:pt x="154" y="681"/>
                  </a:lnTo>
                  <a:lnTo>
                    <a:pt x="155" y="681"/>
                  </a:lnTo>
                  <a:lnTo>
                    <a:pt x="155" y="682"/>
                  </a:lnTo>
                  <a:lnTo>
                    <a:pt x="151" y="683"/>
                  </a:lnTo>
                  <a:lnTo>
                    <a:pt x="150" y="683"/>
                  </a:lnTo>
                  <a:lnTo>
                    <a:pt x="150" y="682"/>
                  </a:lnTo>
                  <a:lnTo>
                    <a:pt x="149" y="682"/>
                  </a:lnTo>
                  <a:lnTo>
                    <a:pt x="149" y="683"/>
                  </a:lnTo>
                  <a:lnTo>
                    <a:pt x="142" y="686"/>
                  </a:lnTo>
                  <a:lnTo>
                    <a:pt x="141" y="685"/>
                  </a:lnTo>
                  <a:lnTo>
                    <a:pt x="138" y="681"/>
                  </a:lnTo>
                  <a:lnTo>
                    <a:pt x="141" y="680"/>
                  </a:lnTo>
                  <a:lnTo>
                    <a:pt x="143" y="676"/>
                  </a:lnTo>
                  <a:lnTo>
                    <a:pt x="144" y="675"/>
                  </a:lnTo>
                  <a:close/>
                  <a:moveTo>
                    <a:pt x="159" y="672"/>
                  </a:moveTo>
                  <a:lnTo>
                    <a:pt x="160" y="672"/>
                  </a:lnTo>
                  <a:lnTo>
                    <a:pt x="161" y="673"/>
                  </a:lnTo>
                  <a:lnTo>
                    <a:pt x="162" y="675"/>
                  </a:lnTo>
                  <a:lnTo>
                    <a:pt x="165" y="678"/>
                  </a:lnTo>
                  <a:lnTo>
                    <a:pt x="166" y="680"/>
                  </a:lnTo>
                  <a:lnTo>
                    <a:pt x="166" y="681"/>
                  </a:lnTo>
                  <a:lnTo>
                    <a:pt x="160" y="683"/>
                  </a:lnTo>
                  <a:lnTo>
                    <a:pt x="157" y="682"/>
                  </a:lnTo>
                  <a:lnTo>
                    <a:pt x="156" y="682"/>
                  </a:lnTo>
                  <a:lnTo>
                    <a:pt x="154" y="678"/>
                  </a:lnTo>
                  <a:lnTo>
                    <a:pt x="153" y="676"/>
                  </a:lnTo>
                  <a:lnTo>
                    <a:pt x="153" y="673"/>
                  </a:lnTo>
                  <a:lnTo>
                    <a:pt x="155" y="673"/>
                  </a:lnTo>
                  <a:lnTo>
                    <a:pt x="155" y="674"/>
                  </a:lnTo>
                  <a:lnTo>
                    <a:pt x="156" y="674"/>
                  </a:lnTo>
                  <a:lnTo>
                    <a:pt x="156" y="673"/>
                  </a:lnTo>
                  <a:lnTo>
                    <a:pt x="157" y="674"/>
                  </a:lnTo>
                  <a:lnTo>
                    <a:pt x="157" y="676"/>
                  </a:lnTo>
                  <a:lnTo>
                    <a:pt x="159" y="678"/>
                  </a:lnTo>
                  <a:lnTo>
                    <a:pt x="159" y="672"/>
                  </a:lnTo>
                  <a:close/>
                  <a:moveTo>
                    <a:pt x="142" y="654"/>
                  </a:moveTo>
                  <a:lnTo>
                    <a:pt x="144" y="654"/>
                  </a:lnTo>
                  <a:lnTo>
                    <a:pt x="145" y="655"/>
                  </a:lnTo>
                  <a:lnTo>
                    <a:pt x="147" y="658"/>
                  </a:lnTo>
                  <a:lnTo>
                    <a:pt x="149" y="660"/>
                  </a:lnTo>
                  <a:lnTo>
                    <a:pt x="149" y="662"/>
                  </a:lnTo>
                  <a:lnTo>
                    <a:pt x="148" y="664"/>
                  </a:lnTo>
                  <a:lnTo>
                    <a:pt x="148" y="666"/>
                  </a:lnTo>
                  <a:lnTo>
                    <a:pt x="145" y="666"/>
                  </a:lnTo>
                  <a:lnTo>
                    <a:pt x="145" y="668"/>
                  </a:lnTo>
                  <a:lnTo>
                    <a:pt x="142" y="668"/>
                  </a:lnTo>
                  <a:lnTo>
                    <a:pt x="141" y="669"/>
                  </a:lnTo>
                  <a:lnTo>
                    <a:pt x="141" y="668"/>
                  </a:lnTo>
                  <a:lnTo>
                    <a:pt x="138" y="667"/>
                  </a:lnTo>
                  <a:lnTo>
                    <a:pt x="138" y="666"/>
                  </a:lnTo>
                  <a:lnTo>
                    <a:pt x="139" y="666"/>
                  </a:lnTo>
                  <a:lnTo>
                    <a:pt x="134" y="663"/>
                  </a:lnTo>
                  <a:lnTo>
                    <a:pt x="132" y="662"/>
                  </a:lnTo>
                  <a:lnTo>
                    <a:pt x="132" y="660"/>
                  </a:lnTo>
                  <a:lnTo>
                    <a:pt x="134" y="658"/>
                  </a:lnTo>
                  <a:lnTo>
                    <a:pt x="135" y="658"/>
                  </a:lnTo>
                  <a:lnTo>
                    <a:pt x="137" y="657"/>
                  </a:lnTo>
                  <a:lnTo>
                    <a:pt x="138" y="657"/>
                  </a:lnTo>
                  <a:lnTo>
                    <a:pt x="142" y="654"/>
                  </a:lnTo>
                  <a:close/>
                  <a:moveTo>
                    <a:pt x="254" y="645"/>
                  </a:moveTo>
                  <a:lnTo>
                    <a:pt x="255" y="645"/>
                  </a:lnTo>
                  <a:lnTo>
                    <a:pt x="255" y="646"/>
                  </a:lnTo>
                  <a:lnTo>
                    <a:pt x="254" y="646"/>
                  </a:lnTo>
                  <a:lnTo>
                    <a:pt x="254" y="645"/>
                  </a:lnTo>
                  <a:close/>
                  <a:moveTo>
                    <a:pt x="178" y="637"/>
                  </a:moveTo>
                  <a:lnTo>
                    <a:pt x="182" y="637"/>
                  </a:lnTo>
                  <a:lnTo>
                    <a:pt x="182" y="639"/>
                  </a:lnTo>
                  <a:lnTo>
                    <a:pt x="184" y="643"/>
                  </a:lnTo>
                  <a:lnTo>
                    <a:pt x="186" y="640"/>
                  </a:lnTo>
                  <a:lnTo>
                    <a:pt x="187" y="642"/>
                  </a:lnTo>
                  <a:lnTo>
                    <a:pt x="188" y="644"/>
                  </a:lnTo>
                  <a:lnTo>
                    <a:pt x="190" y="645"/>
                  </a:lnTo>
                  <a:lnTo>
                    <a:pt x="191" y="645"/>
                  </a:lnTo>
                  <a:lnTo>
                    <a:pt x="188" y="648"/>
                  </a:lnTo>
                  <a:lnTo>
                    <a:pt x="178" y="652"/>
                  </a:lnTo>
                  <a:lnTo>
                    <a:pt x="172" y="652"/>
                  </a:lnTo>
                  <a:lnTo>
                    <a:pt x="169" y="655"/>
                  </a:lnTo>
                  <a:lnTo>
                    <a:pt x="166" y="655"/>
                  </a:lnTo>
                  <a:lnTo>
                    <a:pt x="162" y="657"/>
                  </a:lnTo>
                  <a:lnTo>
                    <a:pt x="157" y="657"/>
                  </a:lnTo>
                  <a:lnTo>
                    <a:pt x="156" y="656"/>
                  </a:lnTo>
                  <a:lnTo>
                    <a:pt x="156" y="655"/>
                  </a:lnTo>
                  <a:lnTo>
                    <a:pt x="155" y="655"/>
                  </a:lnTo>
                  <a:lnTo>
                    <a:pt x="155" y="656"/>
                  </a:lnTo>
                  <a:lnTo>
                    <a:pt x="154" y="656"/>
                  </a:lnTo>
                  <a:lnTo>
                    <a:pt x="154" y="655"/>
                  </a:lnTo>
                  <a:lnTo>
                    <a:pt x="153" y="655"/>
                  </a:lnTo>
                  <a:lnTo>
                    <a:pt x="154" y="652"/>
                  </a:lnTo>
                  <a:lnTo>
                    <a:pt x="154" y="651"/>
                  </a:lnTo>
                  <a:lnTo>
                    <a:pt x="155" y="650"/>
                  </a:lnTo>
                  <a:lnTo>
                    <a:pt x="159" y="645"/>
                  </a:lnTo>
                  <a:lnTo>
                    <a:pt x="160" y="645"/>
                  </a:lnTo>
                  <a:lnTo>
                    <a:pt x="168" y="644"/>
                  </a:lnTo>
                  <a:lnTo>
                    <a:pt x="170" y="645"/>
                  </a:lnTo>
                  <a:lnTo>
                    <a:pt x="172" y="645"/>
                  </a:lnTo>
                  <a:lnTo>
                    <a:pt x="170" y="644"/>
                  </a:lnTo>
                  <a:lnTo>
                    <a:pt x="166" y="643"/>
                  </a:lnTo>
                  <a:lnTo>
                    <a:pt x="165" y="642"/>
                  </a:lnTo>
                  <a:lnTo>
                    <a:pt x="166" y="640"/>
                  </a:lnTo>
                  <a:lnTo>
                    <a:pt x="168" y="640"/>
                  </a:lnTo>
                  <a:lnTo>
                    <a:pt x="175" y="638"/>
                  </a:lnTo>
                  <a:lnTo>
                    <a:pt x="176" y="638"/>
                  </a:lnTo>
                  <a:lnTo>
                    <a:pt x="176" y="640"/>
                  </a:lnTo>
                  <a:lnTo>
                    <a:pt x="178" y="640"/>
                  </a:lnTo>
                  <a:lnTo>
                    <a:pt x="178" y="637"/>
                  </a:lnTo>
                  <a:close/>
                  <a:moveTo>
                    <a:pt x="186" y="636"/>
                  </a:moveTo>
                  <a:lnTo>
                    <a:pt x="188" y="636"/>
                  </a:lnTo>
                  <a:lnTo>
                    <a:pt x="188" y="637"/>
                  </a:lnTo>
                  <a:lnTo>
                    <a:pt x="191" y="637"/>
                  </a:lnTo>
                  <a:lnTo>
                    <a:pt x="191" y="638"/>
                  </a:lnTo>
                  <a:lnTo>
                    <a:pt x="190" y="639"/>
                  </a:lnTo>
                  <a:lnTo>
                    <a:pt x="188" y="639"/>
                  </a:lnTo>
                  <a:lnTo>
                    <a:pt x="187" y="640"/>
                  </a:lnTo>
                  <a:lnTo>
                    <a:pt x="185" y="640"/>
                  </a:lnTo>
                  <a:lnTo>
                    <a:pt x="185" y="637"/>
                  </a:lnTo>
                  <a:lnTo>
                    <a:pt x="186" y="637"/>
                  </a:lnTo>
                  <a:lnTo>
                    <a:pt x="186" y="636"/>
                  </a:lnTo>
                  <a:close/>
                  <a:moveTo>
                    <a:pt x="173" y="621"/>
                  </a:moveTo>
                  <a:lnTo>
                    <a:pt x="173" y="623"/>
                  </a:lnTo>
                  <a:lnTo>
                    <a:pt x="174" y="623"/>
                  </a:lnTo>
                  <a:lnTo>
                    <a:pt x="175" y="621"/>
                  </a:lnTo>
                  <a:lnTo>
                    <a:pt x="175" y="626"/>
                  </a:lnTo>
                  <a:lnTo>
                    <a:pt x="176" y="627"/>
                  </a:lnTo>
                  <a:lnTo>
                    <a:pt x="176" y="631"/>
                  </a:lnTo>
                  <a:lnTo>
                    <a:pt x="175" y="632"/>
                  </a:lnTo>
                  <a:lnTo>
                    <a:pt x="173" y="633"/>
                  </a:lnTo>
                  <a:lnTo>
                    <a:pt x="165" y="635"/>
                  </a:lnTo>
                  <a:lnTo>
                    <a:pt x="162" y="636"/>
                  </a:lnTo>
                  <a:lnTo>
                    <a:pt x="161" y="635"/>
                  </a:lnTo>
                  <a:lnTo>
                    <a:pt x="163" y="633"/>
                  </a:lnTo>
                  <a:lnTo>
                    <a:pt x="161" y="633"/>
                  </a:lnTo>
                  <a:lnTo>
                    <a:pt x="161" y="635"/>
                  </a:lnTo>
                  <a:lnTo>
                    <a:pt x="160" y="633"/>
                  </a:lnTo>
                  <a:lnTo>
                    <a:pt x="159" y="635"/>
                  </a:lnTo>
                  <a:lnTo>
                    <a:pt x="156" y="635"/>
                  </a:lnTo>
                  <a:lnTo>
                    <a:pt x="156" y="636"/>
                  </a:lnTo>
                  <a:lnTo>
                    <a:pt x="155" y="636"/>
                  </a:lnTo>
                  <a:lnTo>
                    <a:pt x="153" y="633"/>
                  </a:lnTo>
                  <a:lnTo>
                    <a:pt x="155" y="632"/>
                  </a:lnTo>
                  <a:lnTo>
                    <a:pt x="163" y="631"/>
                  </a:lnTo>
                  <a:lnTo>
                    <a:pt x="173" y="625"/>
                  </a:lnTo>
                  <a:lnTo>
                    <a:pt x="170" y="625"/>
                  </a:lnTo>
                  <a:lnTo>
                    <a:pt x="173" y="621"/>
                  </a:lnTo>
                  <a:close/>
                  <a:moveTo>
                    <a:pt x="222" y="599"/>
                  </a:moveTo>
                  <a:lnTo>
                    <a:pt x="223" y="600"/>
                  </a:lnTo>
                  <a:lnTo>
                    <a:pt x="223" y="603"/>
                  </a:lnTo>
                  <a:lnTo>
                    <a:pt x="221" y="603"/>
                  </a:lnTo>
                  <a:lnTo>
                    <a:pt x="219" y="602"/>
                  </a:lnTo>
                  <a:lnTo>
                    <a:pt x="221" y="602"/>
                  </a:lnTo>
                  <a:lnTo>
                    <a:pt x="221" y="601"/>
                  </a:lnTo>
                  <a:lnTo>
                    <a:pt x="219" y="601"/>
                  </a:lnTo>
                  <a:lnTo>
                    <a:pt x="219" y="600"/>
                  </a:lnTo>
                  <a:lnTo>
                    <a:pt x="221" y="600"/>
                  </a:lnTo>
                  <a:lnTo>
                    <a:pt x="222" y="599"/>
                  </a:lnTo>
                  <a:close/>
                  <a:moveTo>
                    <a:pt x="284" y="541"/>
                  </a:moveTo>
                  <a:lnTo>
                    <a:pt x="285" y="544"/>
                  </a:lnTo>
                  <a:lnTo>
                    <a:pt x="285" y="543"/>
                  </a:lnTo>
                  <a:lnTo>
                    <a:pt x="287" y="546"/>
                  </a:lnTo>
                  <a:lnTo>
                    <a:pt x="288" y="549"/>
                  </a:lnTo>
                  <a:lnTo>
                    <a:pt x="288" y="550"/>
                  </a:lnTo>
                  <a:lnTo>
                    <a:pt x="286" y="550"/>
                  </a:lnTo>
                  <a:lnTo>
                    <a:pt x="286" y="551"/>
                  </a:lnTo>
                  <a:lnTo>
                    <a:pt x="285" y="550"/>
                  </a:lnTo>
                  <a:lnTo>
                    <a:pt x="283" y="549"/>
                  </a:lnTo>
                  <a:lnTo>
                    <a:pt x="283" y="546"/>
                  </a:lnTo>
                  <a:lnTo>
                    <a:pt x="284" y="546"/>
                  </a:lnTo>
                  <a:lnTo>
                    <a:pt x="284" y="541"/>
                  </a:lnTo>
                  <a:close/>
                  <a:moveTo>
                    <a:pt x="271" y="540"/>
                  </a:moveTo>
                  <a:lnTo>
                    <a:pt x="273" y="540"/>
                  </a:lnTo>
                  <a:lnTo>
                    <a:pt x="274" y="543"/>
                  </a:lnTo>
                  <a:lnTo>
                    <a:pt x="278" y="544"/>
                  </a:lnTo>
                  <a:lnTo>
                    <a:pt x="279" y="546"/>
                  </a:lnTo>
                  <a:lnTo>
                    <a:pt x="280" y="550"/>
                  </a:lnTo>
                  <a:lnTo>
                    <a:pt x="281" y="551"/>
                  </a:lnTo>
                  <a:lnTo>
                    <a:pt x="286" y="551"/>
                  </a:lnTo>
                  <a:lnTo>
                    <a:pt x="287" y="553"/>
                  </a:lnTo>
                  <a:lnTo>
                    <a:pt x="286" y="554"/>
                  </a:lnTo>
                  <a:lnTo>
                    <a:pt x="286" y="558"/>
                  </a:lnTo>
                  <a:lnTo>
                    <a:pt x="285" y="557"/>
                  </a:lnTo>
                  <a:lnTo>
                    <a:pt x="281" y="556"/>
                  </a:lnTo>
                  <a:lnTo>
                    <a:pt x="280" y="556"/>
                  </a:lnTo>
                  <a:lnTo>
                    <a:pt x="280" y="553"/>
                  </a:lnTo>
                  <a:lnTo>
                    <a:pt x="279" y="553"/>
                  </a:lnTo>
                  <a:lnTo>
                    <a:pt x="275" y="554"/>
                  </a:lnTo>
                  <a:lnTo>
                    <a:pt x="273" y="550"/>
                  </a:lnTo>
                  <a:lnTo>
                    <a:pt x="275" y="547"/>
                  </a:lnTo>
                  <a:lnTo>
                    <a:pt x="278" y="549"/>
                  </a:lnTo>
                  <a:lnTo>
                    <a:pt x="277" y="546"/>
                  </a:lnTo>
                  <a:lnTo>
                    <a:pt x="272" y="546"/>
                  </a:lnTo>
                  <a:lnTo>
                    <a:pt x="269" y="545"/>
                  </a:lnTo>
                  <a:lnTo>
                    <a:pt x="269" y="543"/>
                  </a:lnTo>
                  <a:lnTo>
                    <a:pt x="271" y="541"/>
                  </a:lnTo>
                  <a:lnTo>
                    <a:pt x="271" y="540"/>
                  </a:lnTo>
                  <a:close/>
                  <a:moveTo>
                    <a:pt x="281" y="537"/>
                  </a:moveTo>
                  <a:lnTo>
                    <a:pt x="283" y="538"/>
                  </a:lnTo>
                  <a:lnTo>
                    <a:pt x="283" y="544"/>
                  </a:lnTo>
                  <a:lnTo>
                    <a:pt x="281" y="544"/>
                  </a:lnTo>
                  <a:lnTo>
                    <a:pt x="281" y="545"/>
                  </a:lnTo>
                  <a:lnTo>
                    <a:pt x="280" y="545"/>
                  </a:lnTo>
                  <a:lnTo>
                    <a:pt x="280" y="544"/>
                  </a:lnTo>
                  <a:lnTo>
                    <a:pt x="279" y="543"/>
                  </a:lnTo>
                  <a:lnTo>
                    <a:pt x="279" y="541"/>
                  </a:lnTo>
                  <a:lnTo>
                    <a:pt x="275" y="541"/>
                  </a:lnTo>
                  <a:lnTo>
                    <a:pt x="275" y="538"/>
                  </a:lnTo>
                  <a:lnTo>
                    <a:pt x="281" y="537"/>
                  </a:lnTo>
                  <a:close/>
                  <a:moveTo>
                    <a:pt x="272" y="510"/>
                  </a:moveTo>
                  <a:lnTo>
                    <a:pt x="273" y="510"/>
                  </a:lnTo>
                  <a:lnTo>
                    <a:pt x="274" y="512"/>
                  </a:lnTo>
                  <a:lnTo>
                    <a:pt x="275" y="512"/>
                  </a:lnTo>
                  <a:lnTo>
                    <a:pt x="275" y="513"/>
                  </a:lnTo>
                  <a:lnTo>
                    <a:pt x="277" y="513"/>
                  </a:lnTo>
                  <a:lnTo>
                    <a:pt x="277" y="515"/>
                  </a:lnTo>
                  <a:lnTo>
                    <a:pt x="279" y="515"/>
                  </a:lnTo>
                  <a:lnTo>
                    <a:pt x="279" y="516"/>
                  </a:lnTo>
                  <a:lnTo>
                    <a:pt x="278" y="519"/>
                  </a:lnTo>
                  <a:lnTo>
                    <a:pt x="275" y="521"/>
                  </a:lnTo>
                  <a:lnTo>
                    <a:pt x="274" y="521"/>
                  </a:lnTo>
                  <a:lnTo>
                    <a:pt x="272" y="522"/>
                  </a:lnTo>
                  <a:lnTo>
                    <a:pt x="272" y="520"/>
                  </a:lnTo>
                  <a:lnTo>
                    <a:pt x="269" y="520"/>
                  </a:lnTo>
                  <a:lnTo>
                    <a:pt x="272" y="517"/>
                  </a:lnTo>
                  <a:lnTo>
                    <a:pt x="272" y="515"/>
                  </a:lnTo>
                  <a:lnTo>
                    <a:pt x="268" y="515"/>
                  </a:lnTo>
                  <a:lnTo>
                    <a:pt x="266" y="517"/>
                  </a:lnTo>
                  <a:lnTo>
                    <a:pt x="265" y="520"/>
                  </a:lnTo>
                  <a:lnTo>
                    <a:pt x="263" y="520"/>
                  </a:lnTo>
                  <a:lnTo>
                    <a:pt x="262" y="521"/>
                  </a:lnTo>
                  <a:lnTo>
                    <a:pt x="261" y="520"/>
                  </a:lnTo>
                  <a:lnTo>
                    <a:pt x="272" y="510"/>
                  </a:lnTo>
                  <a:close/>
                  <a:moveTo>
                    <a:pt x="269" y="507"/>
                  </a:moveTo>
                  <a:lnTo>
                    <a:pt x="272" y="507"/>
                  </a:lnTo>
                  <a:lnTo>
                    <a:pt x="273" y="508"/>
                  </a:lnTo>
                  <a:lnTo>
                    <a:pt x="273" y="509"/>
                  </a:lnTo>
                  <a:lnTo>
                    <a:pt x="267" y="514"/>
                  </a:lnTo>
                  <a:lnTo>
                    <a:pt x="263" y="515"/>
                  </a:lnTo>
                  <a:lnTo>
                    <a:pt x="260" y="519"/>
                  </a:lnTo>
                  <a:lnTo>
                    <a:pt x="257" y="520"/>
                  </a:lnTo>
                  <a:lnTo>
                    <a:pt x="257" y="519"/>
                  </a:lnTo>
                  <a:lnTo>
                    <a:pt x="256" y="519"/>
                  </a:lnTo>
                  <a:lnTo>
                    <a:pt x="257" y="516"/>
                  </a:lnTo>
                  <a:lnTo>
                    <a:pt x="257" y="515"/>
                  </a:lnTo>
                  <a:lnTo>
                    <a:pt x="259" y="514"/>
                  </a:lnTo>
                  <a:lnTo>
                    <a:pt x="259" y="513"/>
                  </a:lnTo>
                  <a:lnTo>
                    <a:pt x="262" y="513"/>
                  </a:lnTo>
                  <a:lnTo>
                    <a:pt x="265" y="512"/>
                  </a:lnTo>
                  <a:lnTo>
                    <a:pt x="267" y="509"/>
                  </a:lnTo>
                  <a:lnTo>
                    <a:pt x="269" y="508"/>
                  </a:lnTo>
                  <a:lnTo>
                    <a:pt x="269" y="507"/>
                  </a:lnTo>
                  <a:close/>
                  <a:moveTo>
                    <a:pt x="296" y="494"/>
                  </a:moveTo>
                  <a:lnTo>
                    <a:pt x="298" y="494"/>
                  </a:lnTo>
                  <a:lnTo>
                    <a:pt x="298" y="495"/>
                  </a:lnTo>
                  <a:lnTo>
                    <a:pt x="299" y="495"/>
                  </a:lnTo>
                  <a:lnTo>
                    <a:pt x="299" y="494"/>
                  </a:lnTo>
                  <a:lnTo>
                    <a:pt x="300" y="494"/>
                  </a:lnTo>
                  <a:lnTo>
                    <a:pt x="300" y="495"/>
                  </a:lnTo>
                  <a:lnTo>
                    <a:pt x="298" y="497"/>
                  </a:lnTo>
                  <a:lnTo>
                    <a:pt x="297" y="497"/>
                  </a:lnTo>
                  <a:lnTo>
                    <a:pt x="297" y="498"/>
                  </a:lnTo>
                  <a:lnTo>
                    <a:pt x="298" y="500"/>
                  </a:lnTo>
                  <a:lnTo>
                    <a:pt x="297" y="501"/>
                  </a:lnTo>
                  <a:lnTo>
                    <a:pt x="296" y="501"/>
                  </a:lnTo>
                  <a:lnTo>
                    <a:pt x="296" y="498"/>
                  </a:lnTo>
                  <a:lnTo>
                    <a:pt x="293" y="501"/>
                  </a:lnTo>
                  <a:lnTo>
                    <a:pt x="292" y="501"/>
                  </a:lnTo>
                  <a:lnTo>
                    <a:pt x="290" y="500"/>
                  </a:lnTo>
                  <a:lnTo>
                    <a:pt x="291" y="500"/>
                  </a:lnTo>
                  <a:lnTo>
                    <a:pt x="290" y="498"/>
                  </a:lnTo>
                  <a:lnTo>
                    <a:pt x="291" y="498"/>
                  </a:lnTo>
                  <a:lnTo>
                    <a:pt x="291" y="496"/>
                  </a:lnTo>
                  <a:lnTo>
                    <a:pt x="292" y="495"/>
                  </a:lnTo>
                  <a:lnTo>
                    <a:pt x="296" y="494"/>
                  </a:lnTo>
                  <a:close/>
                  <a:moveTo>
                    <a:pt x="317" y="484"/>
                  </a:moveTo>
                  <a:lnTo>
                    <a:pt x="318" y="484"/>
                  </a:lnTo>
                  <a:lnTo>
                    <a:pt x="319" y="485"/>
                  </a:lnTo>
                  <a:lnTo>
                    <a:pt x="321" y="488"/>
                  </a:lnTo>
                  <a:lnTo>
                    <a:pt x="322" y="489"/>
                  </a:lnTo>
                  <a:lnTo>
                    <a:pt x="319" y="494"/>
                  </a:lnTo>
                  <a:lnTo>
                    <a:pt x="322" y="494"/>
                  </a:lnTo>
                  <a:lnTo>
                    <a:pt x="323" y="495"/>
                  </a:lnTo>
                  <a:lnTo>
                    <a:pt x="323" y="496"/>
                  </a:lnTo>
                  <a:lnTo>
                    <a:pt x="322" y="497"/>
                  </a:lnTo>
                  <a:lnTo>
                    <a:pt x="317" y="500"/>
                  </a:lnTo>
                  <a:lnTo>
                    <a:pt x="316" y="500"/>
                  </a:lnTo>
                  <a:lnTo>
                    <a:pt x="313" y="498"/>
                  </a:lnTo>
                  <a:lnTo>
                    <a:pt x="310" y="498"/>
                  </a:lnTo>
                  <a:lnTo>
                    <a:pt x="310" y="497"/>
                  </a:lnTo>
                  <a:lnTo>
                    <a:pt x="312" y="497"/>
                  </a:lnTo>
                  <a:lnTo>
                    <a:pt x="312" y="494"/>
                  </a:lnTo>
                  <a:lnTo>
                    <a:pt x="315" y="494"/>
                  </a:lnTo>
                  <a:lnTo>
                    <a:pt x="316" y="492"/>
                  </a:lnTo>
                  <a:lnTo>
                    <a:pt x="315" y="492"/>
                  </a:lnTo>
                  <a:lnTo>
                    <a:pt x="313" y="491"/>
                  </a:lnTo>
                  <a:lnTo>
                    <a:pt x="313" y="490"/>
                  </a:lnTo>
                  <a:lnTo>
                    <a:pt x="315" y="489"/>
                  </a:lnTo>
                  <a:lnTo>
                    <a:pt x="315" y="486"/>
                  </a:lnTo>
                  <a:lnTo>
                    <a:pt x="317" y="484"/>
                  </a:lnTo>
                  <a:close/>
                  <a:moveTo>
                    <a:pt x="336" y="470"/>
                  </a:moveTo>
                  <a:lnTo>
                    <a:pt x="336" y="471"/>
                  </a:lnTo>
                  <a:lnTo>
                    <a:pt x="337" y="472"/>
                  </a:lnTo>
                  <a:lnTo>
                    <a:pt x="337" y="473"/>
                  </a:lnTo>
                  <a:lnTo>
                    <a:pt x="339" y="473"/>
                  </a:lnTo>
                  <a:lnTo>
                    <a:pt x="340" y="472"/>
                  </a:lnTo>
                  <a:lnTo>
                    <a:pt x="339" y="470"/>
                  </a:lnTo>
                  <a:lnTo>
                    <a:pt x="336" y="470"/>
                  </a:lnTo>
                  <a:close/>
                  <a:moveTo>
                    <a:pt x="321" y="447"/>
                  </a:moveTo>
                  <a:lnTo>
                    <a:pt x="322" y="447"/>
                  </a:lnTo>
                  <a:lnTo>
                    <a:pt x="323" y="448"/>
                  </a:lnTo>
                  <a:lnTo>
                    <a:pt x="323" y="451"/>
                  </a:lnTo>
                  <a:lnTo>
                    <a:pt x="324" y="452"/>
                  </a:lnTo>
                  <a:lnTo>
                    <a:pt x="327" y="453"/>
                  </a:lnTo>
                  <a:lnTo>
                    <a:pt x="327" y="454"/>
                  </a:lnTo>
                  <a:lnTo>
                    <a:pt x="329" y="459"/>
                  </a:lnTo>
                  <a:lnTo>
                    <a:pt x="329" y="463"/>
                  </a:lnTo>
                  <a:lnTo>
                    <a:pt x="330" y="464"/>
                  </a:lnTo>
                  <a:lnTo>
                    <a:pt x="330" y="465"/>
                  </a:lnTo>
                  <a:lnTo>
                    <a:pt x="331" y="465"/>
                  </a:lnTo>
                  <a:lnTo>
                    <a:pt x="331" y="466"/>
                  </a:lnTo>
                  <a:lnTo>
                    <a:pt x="329" y="467"/>
                  </a:lnTo>
                  <a:lnTo>
                    <a:pt x="329" y="469"/>
                  </a:lnTo>
                  <a:lnTo>
                    <a:pt x="327" y="470"/>
                  </a:lnTo>
                  <a:lnTo>
                    <a:pt x="325" y="471"/>
                  </a:lnTo>
                  <a:lnTo>
                    <a:pt x="325" y="472"/>
                  </a:lnTo>
                  <a:lnTo>
                    <a:pt x="324" y="472"/>
                  </a:lnTo>
                  <a:lnTo>
                    <a:pt x="321" y="473"/>
                  </a:lnTo>
                  <a:lnTo>
                    <a:pt x="318" y="473"/>
                  </a:lnTo>
                  <a:lnTo>
                    <a:pt x="319" y="474"/>
                  </a:lnTo>
                  <a:lnTo>
                    <a:pt x="319" y="476"/>
                  </a:lnTo>
                  <a:lnTo>
                    <a:pt x="321" y="476"/>
                  </a:lnTo>
                  <a:lnTo>
                    <a:pt x="321" y="478"/>
                  </a:lnTo>
                  <a:lnTo>
                    <a:pt x="319" y="478"/>
                  </a:lnTo>
                  <a:lnTo>
                    <a:pt x="318" y="480"/>
                  </a:lnTo>
                  <a:lnTo>
                    <a:pt x="313" y="484"/>
                  </a:lnTo>
                  <a:lnTo>
                    <a:pt x="312" y="483"/>
                  </a:lnTo>
                  <a:lnTo>
                    <a:pt x="313" y="482"/>
                  </a:lnTo>
                  <a:lnTo>
                    <a:pt x="315" y="479"/>
                  </a:lnTo>
                  <a:lnTo>
                    <a:pt x="316" y="474"/>
                  </a:lnTo>
                  <a:lnTo>
                    <a:pt x="315" y="476"/>
                  </a:lnTo>
                  <a:lnTo>
                    <a:pt x="313" y="474"/>
                  </a:lnTo>
                  <a:lnTo>
                    <a:pt x="315" y="473"/>
                  </a:lnTo>
                  <a:lnTo>
                    <a:pt x="315" y="471"/>
                  </a:lnTo>
                  <a:lnTo>
                    <a:pt x="316" y="470"/>
                  </a:lnTo>
                  <a:lnTo>
                    <a:pt x="316" y="469"/>
                  </a:lnTo>
                  <a:lnTo>
                    <a:pt x="317" y="469"/>
                  </a:lnTo>
                  <a:lnTo>
                    <a:pt x="317" y="470"/>
                  </a:lnTo>
                  <a:lnTo>
                    <a:pt x="318" y="470"/>
                  </a:lnTo>
                  <a:lnTo>
                    <a:pt x="318" y="469"/>
                  </a:lnTo>
                  <a:lnTo>
                    <a:pt x="319" y="467"/>
                  </a:lnTo>
                  <a:lnTo>
                    <a:pt x="319" y="466"/>
                  </a:lnTo>
                  <a:lnTo>
                    <a:pt x="318" y="467"/>
                  </a:lnTo>
                  <a:lnTo>
                    <a:pt x="318" y="466"/>
                  </a:lnTo>
                  <a:lnTo>
                    <a:pt x="317" y="466"/>
                  </a:lnTo>
                  <a:lnTo>
                    <a:pt x="317" y="465"/>
                  </a:lnTo>
                  <a:lnTo>
                    <a:pt x="322" y="460"/>
                  </a:lnTo>
                  <a:lnTo>
                    <a:pt x="324" y="459"/>
                  </a:lnTo>
                  <a:lnTo>
                    <a:pt x="324" y="458"/>
                  </a:lnTo>
                  <a:lnTo>
                    <a:pt x="323" y="457"/>
                  </a:lnTo>
                  <a:lnTo>
                    <a:pt x="323" y="455"/>
                  </a:lnTo>
                  <a:lnTo>
                    <a:pt x="321" y="458"/>
                  </a:lnTo>
                  <a:lnTo>
                    <a:pt x="318" y="458"/>
                  </a:lnTo>
                  <a:lnTo>
                    <a:pt x="319" y="457"/>
                  </a:lnTo>
                  <a:lnTo>
                    <a:pt x="318" y="457"/>
                  </a:lnTo>
                  <a:lnTo>
                    <a:pt x="321" y="452"/>
                  </a:lnTo>
                  <a:lnTo>
                    <a:pt x="321" y="451"/>
                  </a:lnTo>
                  <a:lnTo>
                    <a:pt x="319" y="451"/>
                  </a:lnTo>
                  <a:lnTo>
                    <a:pt x="321" y="449"/>
                  </a:lnTo>
                  <a:lnTo>
                    <a:pt x="321" y="447"/>
                  </a:lnTo>
                  <a:close/>
                  <a:moveTo>
                    <a:pt x="305" y="434"/>
                  </a:moveTo>
                  <a:lnTo>
                    <a:pt x="308" y="434"/>
                  </a:lnTo>
                  <a:lnTo>
                    <a:pt x="309" y="435"/>
                  </a:lnTo>
                  <a:lnTo>
                    <a:pt x="310" y="435"/>
                  </a:lnTo>
                  <a:lnTo>
                    <a:pt x="310" y="437"/>
                  </a:lnTo>
                  <a:lnTo>
                    <a:pt x="309" y="439"/>
                  </a:lnTo>
                  <a:lnTo>
                    <a:pt x="309" y="442"/>
                  </a:lnTo>
                  <a:lnTo>
                    <a:pt x="308" y="445"/>
                  </a:lnTo>
                  <a:lnTo>
                    <a:pt x="306" y="446"/>
                  </a:lnTo>
                  <a:lnTo>
                    <a:pt x="306" y="445"/>
                  </a:lnTo>
                  <a:lnTo>
                    <a:pt x="304" y="445"/>
                  </a:lnTo>
                  <a:lnTo>
                    <a:pt x="305" y="443"/>
                  </a:lnTo>
                  <a:lnTo>
                    <a:pt x="304" y="443"/>
                  </a:lnTo>
                  <a:lnTo>
                    <a:pt x="300" y="445"/>
                  </a:lnTo>
                  <a:lnTo>
                    <a:pt x="300" y="441"/>
                  </a:lnTo>
                  <a:lnTo>
                    <a:pt x="302" y="439"/>
                  </a:lnTo>
                  <a:lnTo>
                    <a:pt x="302" y="436"/>
                  </a:lnTo>
                  <a:lnTo>
                    <a:pt x="303" y="435"/>
                  </a:lnTo>
                  <a:lnTo>
                    <a:pt x="305" y="434"/>
                  </a:lnTo>
                  <a:close/>
                  <a:moveTo>
                    <a:pt x="347" y="400"/>
                  </a:moveTo>
                  <a:lnTo>
                    <a:pt x="348" y="402"/>
                  </a:lnTo>
                  <a:lnTo>
                    <a:pt x="348" y="404"/>
                  </a:lnTo>
                  <a:lnTo>
                    <a:pt x="347" y="404"/>
                  </a:lnTo>
                  <a:lnTo>
                    <a:pt x="341" y="406"/>
                  </a:lnTo>
                  <a:lnTo>
                    <a:pt x="339" y="409"/>
                  </a:lnTo>
                  <a:lnTo>
                    <a:pt x="336" y="410"/>
                  </a:lnTo>
                  <a:lnTo>
                    <a:pt x="331" y="416"/>
                  </a:lnTo>
                  <a:lnTo>
                    <a:pt x="330" y="417"/>
                  </a:lnTo>
                  <a:lnTo>
                    <a:pt x="329" y="417"/>
                  </a:lnTo>
                  <a:lnTo>
                    <a:pt x="329" y="416"/>
                  </a:lnTo>
                  <a:lnTo>
                    <a:pt x="330" y="415"/>
                  </a:lnTo>
                  <a:lnTo>
                    <a:pt x="330" y="414"/>
                  </a:lnTo>
                  <a:lnTo>
                    <a:pt x="325" y="415"/>
                  </a:lnTo>
                  <a:lnTo>
                    <a:pt x="329" y="411"/>
                  </a:lnTo>
                  <a:lnTo>
                    <a:pt x="329" y="410"/>
                  </a:lnTo>
                  <a:lnTo>
                    <a:pt x="330" y="406"/>
                  </a:lnTo>
                  <a:lnTo>
                    <a:pt x="330" y="405"/>
                  </a:lnTo>
                  <a:lnTo>
                    <a:pt x="331" y="404"/>
                  </a:lnTo>
                  <a:lnTo>
                    <a:pt x="336" y="402"/>
                  </a:lnTo>
                  <a:lnTo>
                    <a:pt x="337" y="402"/>
                  </a:lnTo>
                  <a:lnTo>
                    <a:pt x="336" y="404"/>
                  </a:lnTo>
                  <a:lnTo>
                    <a:pt x="336" y="406"/>
                  </a:lnTo>
                  <a:lnTo>
                    <a:pt x="337" y="406"/>
                  </a:lnTo>
                  <a:lnTo>
                    <a:pt x="340" y="404"/>
                  </a:lnTo>
                  <a:lnTo>
                    <a:pt x="341" y="402"/>
                  </a:lnTo>
                  <a:lnTo>
                    <a:pt x="344" y="402"/>
                  </a:lnTo>
                  <a:lnTo>
                    <a:pt x="347" y="400"/>
                  </a:lnTo>
                  <a:close/>
                  <a:moveTo>
                    <a:pt x="341" y="399"/>
                  </a:moveTo>
                  <a:lnTo>
                    <a:pt x="340" y="399"/>
                  </a:lnTo>
                  <a:lnTo>
                    <a:pt x="341" y="399"/>
                  </a:lnTo>
                  <a:close/>
                  <a:moveTo>
                    <a:pt x="334" y="380"/>
                  </a:moveTo>
                  <a:lnTo>
                    <a:pt x="335" y="381"/>
                  </a:lnTo>
                  <a:lnTo>
                    <a:pt x="335" y="383"/>
                  </a:lnTo>
                  <a:lnTo>
                    <a:pt x="336" y="384"/>
                  </a:lnTo>
                  <a:lnTo>
                    <a:pt x="336" y="387"/>
                  </a:lnTo>
                  <a:lnTo>
                    <a:pt x="334" y="390"/>
                  </a:lnTo>
                  <a:lnTo>
                    <a:pt x="336" y="390"/>
                  </a:lnTo>
                  <a:lnTo>
                    <a:pt x="336" y="391"/>
                  </a:lnTo>
                  <a:lnTo>
                    <a:pt x="335" y="391"/>
                  </a:lnTo>
                  <a:lnTo>
                    <a:pt x="335" y="392"/>
                  </a:lnTo>
                  <a:lnTo>
                    <a:pt x="337" y="392"/>
                  </a:lnTo>
                  <a:lnTo>
                    <a:pt x="339" y="393"/>
                  </a:lnTo>
                  <a:lnTo>
                    <a:pt x="337" y="393"/>
                  </a:lnTo>
                  <a:lnTo>
                    <a:pt x="337" y="394"/>
                  </a:lnTo>
                  <a:lnTo>
                    <a:pt x="335" y="394"/>
                  </a:lnTo>
                  <a:lnTo>
                    <a:pt x="335" y="396"/>
                  </a:lnTo>
                  <a:lnTo>
                    <a:pt x="323" y="402"/>
                  </a:lnTo>
                  <a:lnTo>
                    <a:pt x="324" y="399"/>
                  </a:lnTo>
                  <a:lnTo>
                    <a:pt x="325" y="398"/>
                  </a:lnTo>
                  <a:lnTo>
                    <a:pt x="327" y="398"/>
                  </a:lnTo>
                  <a:lnTo>
                    <a:pt x="327" y="397"/>
                  </a:lnTo>
                  <a:lnTo>
                    <a:pt x="328" y="396"/>
                  </a:lnTo>
                  <a:lnTo>
                    <a:pt x="328" y="394"/>
                  </a:lnTo>
                  <a:lnTo>
                    <a:pt x="327" y="394"/>
                  </a:lnTo>
                  <a:lnTo>
                    <a:pt x="325" y="396"/>
                  </a:lnTo>
                  <a:lnTo>
                    <a:pt x="324" y="396"/>
                  </a:lnTo>
                  <a:lnTo>
                    <a:pt x="324" y="394"/>
                  </a:lnTo>
                  <a:lnTo>
                    <a:pt x="325" y="394"/>
                  </a:lnTo>
                  <a:lnTo>
                    <a:pt x="327" y="393"/>
                  </a:lnTo>
                  <a:lnTo>
                    <a:pt x="329" y="392"/>
                  </a:lnTo>
                  <a:lnTo>
                    <a:pt x="330" y="392"/>
                  </a:lnTo>
                  <a:lnTo>
                    <a:pt x="330" y="391"/>
                  </a:lnTo>
                  <a:lnTo>
                    <a:pt x="333" y="388"/>
                  </a:lnTo>
                  <a:lnTo>
                    <a:pt x="335" y="387"/>
                  </a:lnTo>
                  <a:lnTo>
                    <a:pt x="333" y="386"/>
                  </a:lnTo>
                  <a:lnTo>
                    <a:pt x="331" y="385"/>
                  </a:lnTo>
                  <a:lnTo>
                    <a:pt x="330" y="385"/>
                  </a:lnTo>
                  <a:lnTo>
                    <a:pt x="329" y="386"/>
                  </a:lnTo>
                  <a:lnTo>
                    <a:pt x="333" y="383"/>
                  </a:lnTo>
                  <a:lnTo>
                    <a:pt x="334" y="380"/>
                  </a:lnTo>
                  <a:close/>
                  <a:moveTo>
                    <a:pt x="343" y="371"/>
                  </a:moveTo>
                  <a:lnTo>
                    <a:pt x="344" y="371"/>
                  </a:lnTo>
                  <a:lnTo>
                    <a:pt x="344" y="373"/>
                  </a:lnTo>
                  <a:lnTo>
                    <a:pt x="347" y="373"/>
                  </a:lnTo>
                  <a:lnTo>
                    <a:pt x="347" y="374"/>
                  </a:lnTo>
                  <a:lnTo>
                    <a:pt x="348" y="377"/>
                  </a:lnTo>
                  <a:lnTo>
                    <a:pt x="347" y="378"/>
                  </a:lnTo>
                  <a:lnTo>
                    <a:pt x="347" y="379"/>
                  </a:lnTo>
                  <a:lnTo>
                    <a:pt x="344" y="381"/>
                  </a:lnTo>
                  <a:lnTo>
                    <a:pt x="344" y="380"/>
                  </a:lnTo>
                  <a:lnTo>
                    <a:pt x="343" y="381"/>
                  </a:lnTo>
                  <a:lnTo>
                    <a:pt x="342" y="380"/>
                  </a:lnTo>
                  <a:lnTo>
                    <a:pt x="342" y="379"/>
                  </a:lnTo>
                  <a:lnTo>
                    <a:pt x="341" y="379"/>
                  </a:lnTo>
                  <a:lnTo>
                    <a:pt x="341" y="378"/>
                  </a:lnTo>
                  <a:lnTo>
                    <a:pt x="340" y="379"/>
                  </a:lnTo>
                  <a:lnTo>
                    <a:pt x="340" y="378"/>
                  </a:lnTo>
                  <a:lnTo>
                    <a:pt x="341" y="377"/>
                  </a:lnTo>
                  <a:lnTo>
                    <a:pt x="341" y="375"/>
                  </a:lnTo>
                  <a:lnTo>
                    <a:pt x="343" y="373"/>
                  </a:lnTo>
                  <a:lnTo>
                    <a:pt x="343" y="371"/>
                  </a:lnTo>
                  <a:close/>
                  <a:moveTo>
                    <a:pt x="350" y="355"/>
                  </a:moveTo>
                  <a:lnTo>
                    <a:pt x="350" y="361"/>
                  </a:lnTo>
                  <a:lnTo>
                    <a:pt x="349" y="362"/>
                  </a:lnTo>
                  <a:lnTo>
                    <a:pt x="348" y="362"/>
                  </a:lnTo>
                  <a:lnTo>
                    <a:pt x="348" y="361"/>
                  </a:lnTo>
                  <a:lnTo>
                    <a:pt x="347" y="362"/>
                  </a:lnTo>
                  <a:lnTo>
                    <a:pt x="348" y="365"/>
                  </a:lnTo>
                  <a:lnTo>
                    <a:pt x="348" y="367"/>
                  </a:lnTo>
                  <a:lnTo>
                    <a:pt x="344" y="363"/>
                  </a:lnTo>
                  <a:lnTo>
                    <a:pt x="346" y="362"/>
                  </a:lnTo>
                  <a:lnTo>
                    <a:pt x="346" y="357"/>
                  </a:lnTo>
                  <a:lnTo>
                    <a:pt x="344" y="357"/>
                  </a:lnTo>
                  <a:lnTo>
                    <a:pt x="346" y="356"/>
                  </a:lnTo>
                  <a:lnTo>
                    <a:pt x="348" y="356"/>
                  </a:lnTo>
                  <a:lnTo>
                    <a:pt x="348" y="357"/>
                  </a:lnTo>
                  <a:lnTo>
                    <a:pt x="349" y="359"/>
                  </a:lnTo>
                  <a:lnTo>
                    <a:pt x="349" y="356"/>
                  </a:lnTo>
                  <a:lnTo>
                    <a:pt x="350" y="355"/>
                  </a:lnTo>
                  <a:close/>
                  <a:moveTo>
                    <a:pt x="405" y="279"/>
                  </a:moveTo>
                  <a:lnTo>
                    <a:pt x="406" y="280"/>
                  </a:lnTo>
                  <a:lnTo>
                    <a:pt x="405" y="282"/>
                  </a:lnTo>
                  <a:lnTo>
                    <a:pt x="405" y="285"/>
                  </a:lnTo>
                  <a:lnTo>
                    <a:pt x="404" y="287"/>
                  </a:lnTo>
                  <a:lnTo>
                    <a:pt x="403" y="288"/>
                  </a:lnTo>
                  <a:lnTo>
                    <a:pt x="404" y="293"/>
                  </a:lnTo>
                  <a:lnTo>
                    <a:pt x="404" y="294"/>
                  </a:lnTo>
                  <a:lnTo>
                    <a:pt x="403" y="295"/>
                  </a:lnTo>
                  <a:lnTo>
                    <a:pt x="403" y="298"/>
                  </a:lnTo>
                  <a:lnTo>
                    <a:pt x="402" y="298"/>
                  </a:lnTo>
                  <a:lnTo>
                    <a:pt x="401" y="297"/>
                  </a:lnTo>
                  <a:lnTo>
                    <a:pt x="401" y="294"/>
                  </a:lnTo>
                  <a:lnTo>
                    <a:pt x="399" y="291"/>
                  </a:lnTo>
                  <a:lnTo>
                    <a:pt x="397" y="291"/>
                  </a:lnTo>
                  <a:lnTo>
                    <a:pt x="395" y="289"/>
                  </a:lnTo>
                  <a:lnTo>
                    <a:pt x="395" y="288"/>
                  </a:lnTo>
                  <a:lnTo>
                    <a:pt x="396" y="288"/>
                  </a:lnTo>
                  <a:lnTo>
                    <a:pt x="396" y="287"/>
                  </a:lnTo>
                  <a:lnTo>
                    <a:pt x="397" y="285"/>
                  </a:lnTo>
                  <a:lnTo>
                    <a:pt x="397" y="283"/>
                  </a:lnTo>
                  <a:lnTo>
                    <a:pt x="401" y="286"/>
                  </a:lnTo>
                  <a:lnTo>
                    <a:pt x="402" y="286"/>
                  </a:lnTo>
                  <a:lnTo>
                    <a:pt x="405" y="279"/>
                  </a:lnTo>
                  <a:close/>
                  <a:moveTo>
                    <a:pt x="410" y="250"/>
                  </a:moveTo>
                  <a:lnTo>
                    <a:pt x="411" y="250"/>
                  </a:lnTo>
                  <a:lnTo>
                    <a:pt x="411" y="251"/>
                  </a:lnTo>
                  <a:lnTo>
                    <a:pt x="412" y="251"/>
                  </a:lnTo>
                  <a:lnTo>
                    <a:pt x="412" y="252"/>
                  </a:lnTo>
                  <a:lnTo>
                    <a:pt x="411" y="255"/>
                  </a:lnTo>
                  <a:lnTo>
                    <a:pt x="410" y="255"/>
                  </a:lnTo>
                  <a:lnTo>
                    <a:pt x="406" y="256"/>
                  </a:lnTo>
                  <a:lnTo>
                    <a:pt x="406" y="257"/>
                  </a:lnTo>
                  <a:lnTo>
                    <a:pt x="404" y="257"/>
                  </a:lnTo>
                  <a:lnTo>
                    <a:pt x="404" y="256"/>
                  </a:lnTo>
                  <a:lnTo>
                    <a:pt x="406" y="254"/>
                  </a:lnTo>
                  <a:lnTo>
                    <a:pt x="408" y="251"/>
                  </a:lnTo>
                  <a:lnTo>
                    <a:pt x="410" y="250"/>
                  </a:lnTo>
                  <a:close/>
                  <a:moveTo>
                    <a:pt x="440" y="234"/>
                  </a:moveTo>
                  <a:lnTo>
                    <a:pt x="442" y="236"/>
                  </a:lnTo>
                  <a:lnTo>
                    <a:pt x="443" y="238"/>
                  </a:lnTo>
                  <a:lnTo>
                    <a:pt x="443" y="239"/>
                  </a:lnTo>
                  <a:lnTo>
                    <a:pt x="442" y="239"/>
                  </a:lnTo>
                  <a:lnTo>
                    <a:pt x="441" y="240"/>
                  </a:lnTo>
                  <a:lnTo>
                    <a:pt x="441" y="239"/>
                  </a:lnTo>
                  <a:lnTo>
                    <a:pt x="440" y="238"/>
                  </a:lnTo>
                  <a:lnTo>
                    <a:pt x="439" y="238"/>
                  </a:lnTo>
                  <a:lnTo>
                    <a:pt x="439" y="237"/>
                  </a:lnTo>
                  <a:lnTo>
                    <a:pt x="437" y="236"/>
                  </a:lnTo>
                  <a:lnTo>
                    <a:pt x="436" y="238"/>
                  </a:lnTo>
                  <a:lnTo>
                    <a:pt x="437" y="238"/>
                  </a:lnTo>
                  <a:lnTo>
                    <a:pt x="439" y="242"/>
                  </a:lnTo>
                  <a:lnTo>
                    <a:pt x="437" y="244"/>
                  </a:lnTo>
                  <a:lnTo>
                    <a:pt x="431" y="245"/>
                  </a:lnTo>
                  <a:lnTo>
                    <a:pt x="429" y="246"/>
                  </a:lnTo>
                  <a:lnTo>
                    <a:pt x="428" y="248"/>
                  </a:lnTo>
                  <a:lnTo>
                    <a:pt x="427" y="246"/>
                  </a:lnTo>
                  <a:lnTo>
                    <a:pt x="428" y="246"/>
                  </a:lnTo>
                  <a:lnTo>
                    <a:pt x="426" y="244"/>
                  </a:lnTo>
                  <a:lnTo>
                    <a:pt x="426" y="243"/>
                  </a:lnTo>
                  <a:lnTo>
                    <a:pt x="428" y="240"/>
                  </a:lnTo>
                  <a:lnTo>
                    <a:pt x="436" y="236"/>
                  </a:lnTo>
                  <a:lnTo>
                    <a:pt x="440" y="234"/>
                  </a:lnTo>
                  <a:close/>
                  <a:moveTo>
                    <a:pt x="430" y="213"/>
                  </a:moveTo>
                  <a:lnTo>
                    <a:pt x="430" y="214"/>
                  </a:lnTo>
                  <a:lnTo>
                    <a:pt x="429" y="214"/>
                  </a:lnTo>
                  <a:lnTo>
                    <a:pt x="430" y="213"/>
                  </a:lnTo>
                  <a:close/>
                  <a:moveTo>
                    <a:pt x="458" y="201"/>
                  </a:moveTo>
                  <a:lnTo>
                    <a:pt x="458" y="202"/>
                  </a:lnTo>
                  <a:lnTo>
                    <a:pt x="459" y="203"/>
                  </a:lnTo>
                  <a:lnTo>
                    <a:pt x="460" y="203"/>
                  </a:lnTo>
                  <a:lnTo>
                    <a:pt x="459" y="202"/>
                  </a:lnTo>
                  <a:lnTo>
                    <a:pt x="459" y="201"/>
                  </a:lnTo>
                  <a:lnTo>
                    <a:pt x="458" y="201"/>
                  </a:lnTo>
                  <a:close/>
                  <a:moveTo>
                    <a:pt x="441" y="188"/>
                  </a:moveTo>
                  <a:lnTo>
                    <a:pt x="441" y="190"/>
                  </a:lnTo>
                  <a:lnTo>
                    <a:pt x="443" y="193"/>
                  </a:lnTo>
                  <a:lnTo>
                    <a:pt x="447" y="193"/>
                  </a:lnTo>
                  <a:lnTo>
                    <a:pt x="447" y="194"/>
                  </a:lnTo>
                  <a:lnTo>
                    <a:pt x="449" y="194"/>
                  </a:lnTo>
                  <a:lnTo>
                    <a:pt x="449" y="196"/>
                  </a:lnTo>
                  <a:lnTo>
                    <a:pt x="447" y="196"/>
                  </a:lnTo>
                  <a:lnTo>
                    <a:pt x="443" y="197"/>
                  </a:lnTo>
                  <a:lnTo>
                    <a:pt x="442" y="196"/>
                  </a:lnTo>
                  <a:lnTo>
                    <a:pt x="437" y="196"/>
                  </a:lnTo>
                  <a:lnTo>
                    <a:pt x="436" y="197"/>
                  </a:lnTo>
                  <a:lnTo>
                    <a:pt x="435" y="196"/>
                  </a:lnTo>
                  <a:lnTo>
                    <a:pt x="435" y="193"/>
                  </a:lnTo>
                  <a:lnTo>
                    <a:pt x="436" y="191"/>
                  </a:lnTo>
                  <a:lnTo>
                    <a:pt x="435" y="190"/>
                  </a:lnTo>
                  <a:lnTo>
                    <a:pt x="437" y="190"/>
                  </a:lnTo>
                  <a:lnTo>
                    <a:pt x="439" y="191"/>
                  </a:lnTo>
                  <a:lnTo>
                    <a:pt x="440" y="190"/>
                  </a:lnTo>
                  <a:lnTo>
                    <a:pt x="440" y="189"/>
                  </a:lnTo>
                  <a:lnTo>
                    <a:pt x="441" y="188"/>
                  </a:lnTo>
                  <a:close/>
                  <a:moveTo>
                    <a:pt x="461" y="184"/>
                  </a:moveTo>
                  <a:lnTo>
                    <a:pt x="473" y="184"/>
                  </a:lnTo>
                  <a:lnTo>
                    <a:pt x="474" y="185"/>
                  </a:lnTo>
                  <a:lnTo>
                    <a:pt x="476" y="185"/>
                  </a:lnTo>
                  <a:lnTo>
                    <a:pt x="476" y="187"/>
                  </a:lnTo>
                  <a:lnTo>
                    <a:pt x="477" y="188"/>
                  </a:lnTo>
                  <a:lnTo>
                    <a:pt x="476" y="188"/>
                  </a:lnTo>
                  <a:lnTo>
                    <a:pt x="474" y="189"/>
                  </a:lnTo>
                  <a:lnTo>
                    <a:pt x="472" y="189"/>
                  </a:lnTo>
                  <a:lnTo>
                    <a:pt x="470" y="188"/>
                  </a:lnTo>
                  <a:lnTo>
                    <a:pt x="467" y="185"/>
                  </a:lnTo>
                  <a:lnTo>
                    <a:pt x="466" y="185"/>
                  </a:lnTo>
                  <a:lnTo>
                    <a:pt x="466" y="188"/>
                  </a:lnTo>
                  <a:lnTo>
                    <a:pt x="465" y="189"/>
                  </a:lnTo>
                  <a:lnTo>
                    <a:pt x="462" y="189"/>
                  </a:lnTo>
                  <a:lnTo>
                    <a:pt x="459" y="188"/>
                  </a:lnTo>
                  <a:lnTo>
                    <a:pt x="458" y="188"/>
                  </a:lnTo>
                  <a:lnTo>
                    <a:pt x="458" y="187"/>
                  </a:lnTo>
                  <a:lnTo>
                    <a:pt x="459" y="185"/>
                  </a:lnTo>
                  <a:lnTo>
                    <a:pt x="461" y="184"/>
                  </a:lnTo>
                  <a:close/>
                  <a:moveTo>
                    <a:pt x="446" y="183"/>
                  </a:moveTo>
                  <a:lnTo>
                    <a:pt x="447" y="183"/>
                  </a:lnTo>
                  <a:lnTo>
                    <a:pt x="447" y="184"/>
                  </a:lnTo>
                  <a:lnTo>
                    <a:pt x="448" y="187"/>
                  </a:lnTo>
                  <a:lnTo>
                    <a:pt x="448" y="188"/>
                  </a:lnTo>
                  <a:lnTo>
                    <a:pt x="449" y="190"/>
                  </a:lnTo>
                  <a:lnTo>
                    <a:pt x="448" y="191"/>
                  </a:lnTo>
                  <a:lnTo>
                    <a:pt x="445" y="191"/>
                  </a:lnTo>
                  <a:lnTo>
                    <a:pt x="445" y="190"/>
                  </a:lnTo>
                  <a:lnTo>
                    <a:pt x="443" y="189"/>
                  </a:lnTo>
                  <a:lnTo>
                    <a:pt x="443" y="187"/>
                  </a:lnTo>
                  <a:lnTo>
                    <a:pt x="445" y="187"/>
                  </a:lnTo>
                  <a:lnTo>
                    <a:pt x="445" y="185"/>
                  </a:lnTo>
                  <a:lnTo>
                    <a:pt x="446" y="184"/>
                  </a:lnTo>
                  <a:lnTo>
                    <a:pt x="446" y="183"/>
                  </a:lnTo>
                  <a:close/>
                  <a:moveTo>
                    <a:pt x="355" y="176"/>
                  </a:moveTo>
                  <a:lnTo>
                    <a:pt x="359" y="177"/>
                  </a:lnTo>
                  <a:lnTo>
                    <a:pt x="359" y="178"/>
                  </a:lnTo>
                  <a:lnTo>
                    <a:pt x="358" y="179"/>
                  </a:lnTo>
                  <a:lnTo>
                    <a:pt x="358" y="181"/>
                  </a:lnTo>
                  <a:lnTo>
                    <a:pt x="356" y="181"/>
                  </a:lnTo>
                  <a:lnTo>
                    <a:pt x="356" y="182"/>
                  </a:lnTo>
                  <a:lnTo>
                    <a:pt x="358" y="182"/>
                  </a:lnTo>
                  <a:lnTo>
                    <a:pt x="358" y="183"/>
                  </a:lnTo>
                  <a:lnTo>
                    <a:pt x="355" y="183"/>
                  </a:lnTo>
                  <a:lnTo>
                    <a:pt x="354" y="184"/>
                  </a:lnTo>
                  <a:lnTo>
                    <a:pt x="354" y="185"/>
                  </a:lnTo>
                  <a:lnTo>
                    <a:pt x="355" y="185"/>
                  </a:lnTo>
                  <a:lnTo>
                    <a:pt x="355" y="187"/>
                  </a:lnTo>
                  <a:lnTo>
                    <a:pt x="356" y="185"/>
                  </a:lnTo>
                  <a:lnTo>
                    <a:pt x="356" y="184"/>
                  </a:lnTo>
                  <a:lnTo>
                    <a:pt x="358" y="184"/>
                  </a:lnTo>
                  <a:lnTo>
                    <a:pt x="358" y="194"/>
                  </a:lnTo>
                  <a:lnTo>
                    <a:pt x="354" y="194"/>
                  </a:lnTo>
                  <a:lnTo>
                    <a:pt x="352" y="191"/>
                  </a:lnTo>
                  <a:lnTo>
                    <a:pt x="352" y="193"/>
                  </a:lnTo>
                  <a:lnTo>
                    <a:pt x="350" y="194"/>
                  </a:lnTo>
                  <a:lnTo>
                    <a:pt x="352" y="195"/>
                  </a:lnTo>
                  <a:lnTo>
                    <a:pt x="354" y="195"/>
                  </a:lnTo>
                  <a:lnTo>
                    <a:pt x="354" y="199"/>
                  </a:lnTo>
                  <a:lnTo>
                    <a:pt x="353" y="200"/>
                  </a:lnTo>
                  <a:lnTo>
                    <a:pt x="353" y="201"/>
                  </a:lnTo>
                  <a:lnTo>
                    <a:pt x="352" y="202"/>
                  </a:lnTo>
                  <a:lnTo>
                    <a:pt x="348" y="203"/>
                  </a:lnTo>
                  <a:lnTo>
                    <a:pt x="348" y="205"/>
                  </a:lnTo>
                  <a:lnTo>
                    <a:pt x="347" y="207"/>
                  </a:lnTo>
                  <a:lnTo>
                    <a:pt x="346" y="208"/>
                  </a:lnTo>
                  <a:lnTo>
                    <a:pt x="343" y="208"/>
                  </a:lnTo>
                  <a:lnTo>
                    <a:pt x="343" y="207"/>
                  </a:lnTo>
                  <a:lnTo>
                    <a:pt x="346" y="205"/>
                  </a:lnTo>
                  <a:lnTo>
                    <a:pt x="346" y="200"/>
                  </a:lnTo>
                  <a:lnTo>
                    <a:pt x="347" y="199"/>
                  </a:lnTo>
                  <a:lnTo>
                    <a:pt x="347" y="196"/>
                  </a:lnTo>
                  <a:lnTo>
                    <a:pt x="348" y="195"/>
                  </a:lnTo>
                  <a:lnTo>
                    <a:pt x="348" y="191"/>
                  </a:lnTo>
                  <a:lnTo>
                    <a:pt x="349" y="191"/>
                  </a:lnTo>
                  <a:lnTo>
                    <a:pt x="349" y="189"/>
                  </a:lnTo>
                  <a:lnTo>
                    <a:pt x="352" y="183"/>
                  </a:lnTo>
                  <a:lnTo>
                    <a:pt x="352" y="182"/>
                  </a:lnTo>
                  <a:lnTo>
                    <a:pt x="354" y="179"/>
                  </a:lnTo>
                  <a:lnTo>
                    <a:pt x="355" y="179"/>
                  </a:lnTo>
                  <a:lnTo>
                    <a:pt x="355" y="176"/>
                  </a:lnTo>
                  <a:close/>
                  <a:moveTo>
                    <a:pt x="365" y="170"/>
                  </a:moveTo>
                  <a:lnTo>
                    <a:pt x="366" y="170"/>
                  </a:lnTo>
                  <a:lnTo>
                    <a:pt x="370" y="171"/>
                  </a:lnTo>
                  <a:lnTo>
                    <a:pt x="371" y="172"/>
                  </a:lnTo>
                  <a:lnTo>
                    <a:pt x="371" y="173"/>
                  </a:lnTo>
                  <a:lnTo>
                    <a:pt x="370" y="178"/>
                  </a:lnTo>
                  <a:lnTo>
                    <a:pt x="370" y="181"/>
                  </a:lnTo>
                  <a:lnTo>
                    <a:pt x="368" y="182"/>
                  </a:lnTo>
                  <a:lnTo>
                    <a:pt x="368" y="185"/>
                  </a:lnTo>
                  <a:lnTo>
                    <a:pt x="367" y="187"/>
                  </a:lnTo>
                  <a:lnTo>
                    <a:pt x="366" y="184"/>
                  </a:lnTo>
                  <a:lnTo>
                    <a:pt x="364" y="188"/>
                  </a:lnTo>
                  <a:lnTo>
                    <a:pt x="362" y="189"/>
                  </a:lnTo>
                  <a:lnTo>
                    <a:pt x="362" y="185"/>
                  </a:lnTo>
                  <a:lnTo>
                    <a:pt x="361" y="184"/>
                  </a:lnTo>
                  <a:lnTo>
                    <a:pt x="360" y="185"/>
                  </a:lnTo>
                  <a:lnTo>
                    <a:pt x="359" y="184"/>
                  </a:lnTo>
                  <a:lnTo>
                    <a:pt x="359" y="183"/>
                  </a:lnTo>
                  <a:lnTo>
                    <a:pt x="360" y="182"/>
                  </a:lnTo>
                  <a:lnTo>
                    <a:pt x="360" y="181"/>
                  </a:lnTo>
                  <a:lnTo>
                    <a:pt x="362" y="177"/>
                  </a:lnTo>
                  <a:lnTo>
                    <a:pt x="364" y="176"/>
                  </a:lnTo>
                  <a:lnTo>
                    <a:pt x="364" y="177"/>
                  </a:lnTo>
                  <a:lnTo>
                    <a:pt x="365" y="179"/>
                  </a:lnTo>
                  <a:lnTo>
                    <a:pt x="366" y="181"/>
                  </a:lnTo>
                  <a:lnTo>
                    <a:pt x="367" y="177"/>
                  </a:lnTo>
                  <a:lnTo>
                    <a:pt x="366" y="176"/>
                  </a:lnTo>
                  <a:lnTo>
                    <a:pt x="365" y="173"/>
                  </a:lnTo>
                  <a:lnTo>
                    <a:pt x="365" y="170"/>
                  </a:lnTo>
                  <a:close/>
                  <a:moveTo>
                    <a:pt x="431" y="153"/>
                  </a:moveTo>
                  <a:lnTo>
                    <a:pt x="434" y="153"/>
                  </a:lnTo>
                  <a:lnTo>
                    <a:pt x="435" y="156"/>
                  </a:lnTo>
                  <a:lnTo>
                    <a:pt x="433" y="159"/>
                  </a:lnTo>
                  <a:lnTo>
                    <a:pt x="431" y="162"/>
                  </a:lnTo>
                  <a:lnTo>
                    <a:pt x="429" y="162"/>
                  </a:lnTo>
                  <a:lnTo>
                    <a:pt x="428" y="159"/>
                  </a:lnTo>
                  <a:lnTo>
                    <a:pt x="429" y="157"/>
                  </a:lnTo>
                  <a:lnTo>
                    <a:pt x="431" y="153"/>
                  </a:lnTo>
                  <a:close/>
                  <a:moveTo>
                    <a:pt x="399" y="148"/>
                  </a:moveTo>
                  <a:lnTo>
                    <a:pt x="403" y="152"/>
                  </a:lnTo>
                  <a:lnTo>
                    <a:pt x="405" y="152"/>
                  </a:lnTo>
                  <a:lnTo>
                    <a:pt x="406" y="156"/>
                  </a:lnTo>
                  <a:lnTo>
                    <a:pt x="405" y="158"/>
                  </a:lnTo>
                  <a:lnTo>
                    <a:pt x="403" y="159"/>
                  </a:lnTo>
                  <a:lnTo>
                    <a:pt x="401" y="157"/>
                  </a:lnTo>
                  <a:lnTo>
                    <a:pt x="401" y="153"/>
                  </a:lnTo>
                  <a:lnTo>
                    <a:pt x="397" y="153"/>
                  </a:lnTo>
                  <a:lnTo>
                    <a:pt x="396" y="152"/>
                  </a:lnTo>
                  <a:lnTo>
                    <a:pt x="398" y="152"/>
                  </a:lnTo>
                  <a:lnTo>
                    <a:pt x="397" y="150"/>
                  </a:lnTo>
                  <a:lnTo>
                    <a:pt x="399" y="148"/>
                  </a:lnTo>
                  <a:close/>
                  <a:moveTo>
                    <a:pt x="391" y="148"/>
                  </a:moveTo>
                  <a:lnTo>
                    <a:pt x="393" y="148"/>
                  </a:lnTo>
                  <a:lnTo>
                    <a:pt x="395" y="154"/>
                  </a:lnTo>
                  <a:lnTo>
                    <a:pt x="393" y="157"/>
                  </a:lnTo>
                  <a:lnTo>
                    <a:pt x="395" y="158"/>
                  </a:lnTo>
                  <a:lnTo>
                    <a:pt x="396" y="158"/>
                  </a:lnTo>
                  <a:lnTo>
                    <a:pt x="398" y="156"/>
                  </a:lnTo>
                  <a:lnTo>
                    <a:pt x="399" y="156"/>
                  </a:lnTo>
                  <a:lnTo>
                    <a:pt x="402" y="158"/>
                  </a:lnTo>
                  <a:lnTo>
                    <a:pt x="399" y="164"/>
                  </a:lnTo>
                  <a:lnTo>
                    <a:pt x="397" y="164"/>
                  </a:lnTo>
                  <a:lnTo>
                    <a:pt x="397" y="166"/>
                  </a:lnTo>
                  <a:lnTo>
                    <a:pt x="396" y="166"/>
                  </a:lnTo>
                  <a:lnTo>
                    <a:pt x="392" y="168"/>
                  </a:lnTo>
                  <a:lnTo>
                    <a:pt x="390" y="168"/>
                  </a:lnTo>
                  <a:lnTo>
                    <a:pt x="390" y="166"/>
                  </a:lnTo>
                  <a:lnTo>
                    <a:pt x="389" y="168"/>
                  </a:lnTo>
                  <a:lnTo>
                    <a:pt x="389" y="169"/>
                  </a:lnTo>
                  <a:lnTo>
                    <a:pt x="385" y="169"/>
                  </a:lnTo>
                  <a:lnTo>
                    <a:pt x="385" y="171"/>
                  </a:lnTo>
                  <a:lnTo>
                    <a:pt x="387" y="171"/>
                  </a:lnTo>
                  <a:lnTo>
                    <a:pt x="387" y="172"/>
                  </a:lnTo>
                  <a:lnTo>
                    <a:pt x="389" y="173"/>
                  </a:lnTo>
                  <a:lnTo>
                    <a:pt x="387" y="175"/>
                  </a:lnTo>
                  <a:lnTo>
                    <a:pt x="385" y="176"/>
                  </a:lnTo>
                  <a:lnTo>
                    <a:pt x="384" y="175"/>
                  </a:lnTo>
                  <a:lnTo>
                    <a:pt x="384" y="173"/>
                  </a:lnTo>
                  <a:lnTo>
                    <a:pt x="383" y="173"/>
                  </a:lnTo>
                  <a:lnTo>
                    <a:pt x="383" y="175"/>
                  </a:lnTo>
                  <a:lnTo>
                    <a:pt x="381" y="176"/>
                  </a:lnTo>
                  <a:lnTo>
                    <a:pt x="383" y="177"/>
                  </a:lnTo>
                  <a:lnTo>
                    <a:pt x="383" y="178"/>
                  </a:lnTo>
                  <a:lnTo>
                    <a:pt x="381" y="179"/>
                  </a:lnTo>
                  <a:lnTo>
                    <a:pt x="379" y="179"/>
                  </a:lnTo>
                  <a:lnTo>
                    <a:pt x="380" y="178"/>
                  </a:lnTo>
                  <a:lnTo>
                    <a:pt x="379" y="178"/>
                  </a:lnTo>
                  <a:lnTo>
                    <a:pt x="379" y="175"/>
                  </a:lnTo>
                  <a:lnTo>
                    <a:pt x="378" y="173"/>
                  </a:lnTo>
                  <a:lnTo>
                    <a:pt x="375" y="173"/>
                  </a:lnTo>
                  <a:lnTo>
                    <a:pt x="375" y="177"/>
                  </a:lnTo>
                  <a:lnTo>
                    <a:pt x="377" y="178"/>
                  </a:lnTo>
                  <a:lnTo>
                    <a:pt x="375" y="178"/>
                  </a:lnTo>
                  <a:lnTo>
                    <a:pt x="375" y="181"/>
                  </a:lnTo>
                  <a:lnTo>
                    <a:pt x="374" y="182"/>
                  </a:lnTo>
                  <a:lnTo>
                    <a:pt x="374" y="183"/>
                  </a:lnTo>
                  <a:lnTo>
                    <a:pt x="372" y="179"/>
                  </a:lnTo>
                  <a:lnTo>
                    <a:pt x="373" y="175"/>
                  </a:lnTo>
                  <a:lnTo>
                    <a:pt x="378" y="169"/>
                  </a:lnTo>
                  <a:lnTo>
                    <a:pt x="377" y="169"/>
                  </a:lnTo>
                  <a:lnTo>
                    <a:pt x="374" y="172"/>
                  </a:lnTo>
                  <a:lnTo>
                    <a:pt x="373" y="172"/>
                  </a:lnTo>
                  <a:lnTo>
                    <a:pt x="373" y="171"/>
                  </a:lnTo>
                  <a:lnTo>
                    <a:pt x="374" y="170"/>
                  </a:lnTo>
                  <a:lnTo>
                    <a:pt x="374" y="169"/>
                  </a:lnTo>
                  <a:lnTo>
                    <a:pt x="373" y="169"/>
                  </a:lnTo>
                  <a:lnTo>
                    <a:pt x="374" y="168"/>
                  </a:lnTo>
                  <a:lnTo>
                    <a:pt x="373" y="166"/>
                  </a:lnTo>
                  <a:lnTo>
                    <a:pt x="374" y="164"/>
                  </a:lnTo>
                  <a:lnTo>
                    <a:pt x="377" y="163"/>
                  </a:lnTo>
                  <a:lnTo>
                    <a:pt x="378" y="162"/>
                  </a:lnTo>
                  <a:lnTo>
                    <a:pt x="377" y="160"/>
                  </a:lnTo>
                  <a:lnTo>
                    <a:pt x="373" y="160"/>
                  </a:lnTo>
                  <a:lnTo>
                    <a:pt x="379" y="154"/>
                  </a:lnTo>
                  <a:lnTo>
                    <a:pt x="381" y="154"/>
                  </a:lnTo>
                  <a:lnTo>
                    <a:pt x="381" y="156"/>
                  </a:lnTo>
                  <a:lnTo>
                    <a:pt x="385" y="156"/>
                  </a:lnTo>
                  <a:lnTo>
                    <a:pt x="386" y="157"/>
                  </a:lnTo>
                  <a:lnTo>
                    <a:pt x="387" y="154"/>
                  </a:lnTo>
                  <a:lnTo>
                    <a:pt x="389" y="153"/>
                  </a:lnTo>
                  <a:lnTo>
                    <a:pt x="391" y="148"/>
                  </a:lnTo>
                  <a:close/>
                  <a:moveTo>
                    <a:pt x="470" y="140"/>
                  </a:moveTo>
                  <a:lnTo>
                    <a:pt x="471" y="141"/>
                  </a:lnTo>
                  <a:lnTo>
                    <a:pt x="471" y="142"/>
                  </a:lnTo>
                  <a:lnTo>
                    <a:pt x="470" y="141"/>
                  </a:lnTo>
                  <a:lnTo>
                    <a:pt x="470" y="140"/>
                  </a:lnTo>
                  <a:close/>
                  <a:moveTo>
                    <a:pt x="441" y="135"/>
                  </a:moveTo>
                  <a:lnTo>
                    <a:pt x="445" y="135"/>
                  </a:lnTo>
                  <a:lnTo>
                    <a:pt x="443" y="138"/>
                  </a:lnTo>
                  <a:lnTo>
                    <a:pt x="439" y="146"/>
                  </a:lnTo>
                  <a:lnTo>
                    <a:pt x="436" y="146"/>
                  </a:lnTo>
                  <a:lnTo>
                    <a:pt x="435" y="147"/>
                  </a:lnTo>
                  <a:lnTo>
                    <a:pt x="435" y="148"/>
                  </a:lnTo>
                  <a:lnTo>
                    <a:pt x="436" y="148"/>
                  </a:lnTo>
                  <a:lnTo>
                    <a:pt x="434" y="150"/>
                  </a:lnTo>
                  <a:lnTo>
                    <a:pt x="427" y="158"/>
                  </a:lnTo>
                  <a:lnTo>
                    <a:pt x="426" y="158"/>
                  </a:lnTo>
                  <a:lnTo>
                    <a:pt x="426" y="153"/>
                  </a:lnTo>
                  <a:lnTo>
                    <a:pt x="427" y="151"/>
                  </a:lnTo>
                  <a:lnTo>
                    <a:pt x="426" y="150"/>
                  </a:lnTo>
                  <a:lnTo>
                    <a:pt x="426" y="148"/>
                  </a:lnTo>
                  <a:lnTo>
                    <a:pt x="424" y="148"/>
                  </a:lnTo>
                  <a:lnTo>
                    <a:pt x="424" y="154"/>
                  </a:lnTo>
                  <a:lnTo>
                    <a:pt x="423" y="156"/>
                  </a:lnTo>
                  <a:lnTo>
                    <a:pt x="422" y="156"/>
                  </a:lnTo>
                  <a:lnTo>
                    <a:pt x="422" y="157"/>
                  </a:lnTo>
                  <a:lnTo>
                    <a:pt x="421" y="157"/>
                  </a:lnTo>
                  <a:lnTo>
                    <a:pt x="421" y="158"/>
                  </a:lnTo>
                  <a:lnTo>
                    <a:pt x="423" y="159"/>
                  </a:lnTo>
                  <a:lnTo>
                    <a:pt x="421" y="162"/>
                  </a:lnTo>
                  <a:lnTo>
                    <a:pt x="418" y="163"/>
                  </a:lnTo>
                  <a:lnTo>
                    <a:pt x="416" y="165"/>
                  </a:lnTo>
                  <a:lnTo>
                    <a:pt x="411" y="165"/>
                  </a:lnTo>
                  <a:lnTo>
                    <a:pt x="411" y="166"/>
                  </a:lnTo>
                  <a:lnTo>
                    <a:pt x="408" y="166"/>
                  </a:lnTo>
                  <a:lnTo>
                    <a:pt x="409" y="168"/>
                  </a:lnTo>
                  <a:lnTo>
                    <a:pt x="408" y="169"/>
                  </a:lnTo>
                  <a:lnTo>
                    <a:pt x="406" y="169"/>
                  </a:lnTo>
                  <a:lnTo>
                    <a:pt x="405" y="170"/>
                  </a:lnTo>
                  <a:lnTo>
                    <a:pt x="403" y="170"/>
                  </a:lnTo>
                  <a:lnTo>
                    <a:pt x="403" y="169"/>
                  </a:lnTo>
                  <a:lnTo>
                    <a:pt x="404" y="168"/>
                  </a:lnTo>
                  <a:lnTo>
                    <a:pt x="404" y="166"/>
                  </a:lnTo>
                  <a:lnTo>
                    <a:pt x="403" y="166"/>
                  </a:lnTo>
                  <a:lnTo>
                    <a:pt x="403" y="164"/>
                  </a:lnTo>
                  <a:lnTo>
                    <a:pt x="404" y="163"/>
                  </a:lnTo>
                  <a:lnTo>
                    <a:pt x="408" y="160"/>
                  </a:lnTo>
                  <a:lnTo>
                    <a:pt x="406" y="160"/>
                  </a:lnTo>
                  <a:lnTo>
                    <a:pt x="405" y="159"/>
                  </a:lnTo>
                  <a:lnTo>
                    <a:pt x="406" y="158"/>
                  </a:lnTo>
                  <a:lnTo>
                    <a:pt x="409" y="158"/>
                  </a:lnTo>
                  <a:lnTo>
                    <a:pt x="408" y="156"/>
                  </a:lnTo>
                  <a:lnTo>
                    <a:pt x="408" y="152"/>
                  </a:lnTo>
                  <a:lnTo>
                    <a:pt x="409" y="151"/>
                  </a:lnTo>
                  <a:lnTo>
                    <a:pt x="410" y="151"/>
                  </a:lnTo>
                  <a:lnTo>
                    <a:pt x="411" y="154"/>
                  </a:lnTo>
                  <a:lnTo>
                    <a:pt x="412" y="156"/>
                  </a:lnTo>
                  <a:lnTo>
                    <a:pt x="412" y="153"/>
                  </a:lnTo>
                  <a:lnTo>
                    <a:pt x="414" y="152"/>
                  </a:lnTo>
                  <a:lnTo>
                    <a:pt x="415" y="153"/>
                  </a:lnTo>
                  <a:lnTo>
                    <a:pt x="416" y="152"/>
                  </a:lnTo>
                  <a:lnTo>
                    <a:pt x="416" y="151"/>
                  </a:lnTo>
                  <a:lnTo>
                    <a:pt x="415" y="150"/>
                  </a:lnTo>
                  <a:lnTo>
                    <a:pt x="415" y="148"/>
                  </a:lnTo>
                  <a:lnTo>
                    <a:pt x="412" y="148"/>
                  </a:lnTo>
                  <a:lnTo>
                    <a:pt x="414" y="146"/>
                  </a:lnTo>
                  <a:lnTo>
                    <a:pt x="411" y="146"/>
                  </a:lnTo>
                  <a:lnTo>
                    <a:pt x="411" y="145"/>
                  </a:lnTo>
                  <a:lnTo>
                    <a:pt x="416" y="144"/>
                  </a:lnTo>
                  <a:lnTo>
                    <a:pt x="418" y="145"/>
                  </a:lnTo>
                  <a:lnTo>
                    <a:pt x="420" y="146"/>
                  </a:lnTo>
                  <a:lnTo>
                    <a:pt x="420" y="144"/>
                  </a:lnTo>
                  <a:lnTo>
                    <a:pt x="417" y="141"/>
                  </a:lnTo>
                  <a:lnTo>
                    <a:pt x="422" y="139"/>
                  </a:lnTo>
                  <a:lnTo>
                    <a:pt x="423" y="140"/>
                  </a:lnTo>
                  <a:lnTo>
                    <a:pt x="423" y="142"/>
                  </a:lnTo>
                  <a:lnTo>
                    <a:pt x="424" y="144"/>
                  </a:lnTo>
                  <a:lnTo>
                    <a:pt x="424" y="139"/>
                  </a:lnTo>
                  <a:lnTo>
                    <a:pt x="426" y="139"/>
                  </a:lnTo>
                  <a:lnTo>
                    <a:pt x="426" y="138"/>
                  </a:lnTo>
                  <a:lnTo>
                    <a:pt x="427" y="138"/>
                  </a:lnTo>
                  <a:lnTo>
                    <a:pt x="429" y="140"/>
                  </a:lnTo>
                  <a:lnTo>
                    <a:pt x="429" y="142"/>
                  </a:lnTo>
                  <a:lnTo>
                    <a:pt x="427" y="146"/>
                  </a:lnTo>
                  <a:lnTo>
                    <a:pt x="427" y="147"/>
                  </a:lnTo>
                  <a:lnTo>
                    <a:pt x="428" y="147"/>
                  </a:lnTo>
                  <a:lnTo>
                    <a:pt x="431" y="144"/>
                  </a:lnTo>
                  <a:lnTo>
                    <a:pt x="431" y="140"/>
                  </a:lnTo>
                  <a:lnTo>
                    <a:pt x="433" y="138"/>
                  </a:lnTo>
                  <a:lnTo>
                    <a:pt x="434" y="138"/>
                  </a:lnTo>
                  <a:lnTo>
                    <a:pt x="437" y="139"/>
                  </a:lnTo>
                  <a:lnTo>
                    <a:pt x="441" y="135"/>
                  </a:lnTo>
                  <a:close/>
                  <a:moveTo>
                    <a:pt x="493" y="126"/>
                  </a:moveTo>
                  <a:lnTo>
                    <a:pt x="495" y="126"/>
                  </a:lnTo>
                  <a:lnTo>
                    <a:pt x="496" y="127"/>
                  </a:lnTo>
                  <a:lnTo>
                    <a:pt x="496" y="128"/>
                  </a:lnTo>
                  <a:lnTo>
                    <a:pt x="497" y="129"/>
                  </a:lnTo>
                  <a:lnTo>
                    <a:pt x="497" y="132"/>
                  </a:lnTo>
                  <a:lnTo>
                    <a:pt x="498" y="133"/>
                  </a:lnTo>
                  <a:lnTo>
                    <a:pt x="498" y="134"/>
                  </a:lnTo>
                  <a:lnTo>
                    <a:pt x="496" y="135"/>
                  </a:lnTo>
                  <a:lnTo>
                    <a:pt x="495" y="136"/>
                  </a:lnTo>
                  <a:lnTo>
                    <a:pt x="496" y="136"/>
                  </a:lnTo>
                  <a:lnTo>
                    <a:pt x="496" y="139"/>
                  </a:lnTo>
                  <a:lnTo>
                    <a:pt x="497" y="140"/>
                  </a:lnTo>
                  <a:lnTo>
                    <a:pt x="496" y="140"/>
                  </a:lnTo>
                  <a:lnTo>
                    <a:pt x="489" y="141"/>
                  </a:lnTo>
                  <a:lnTo>
                    <a:pt x="486" y="141"/>
                  </a:lnTo>
                  <a:lnTo>
                    <a:pt x="485" y="144"/>
                  </a:lnTo>
                  <a:lnTo>
                    <a:pt x="484" y="144"/>
                  </a:lnTo>
                  <a:lnTo>
                    <a:pt x="483" y="142"/>
                  </a:lnTo>
                  <a:lnTo>
                    <a:pt x="484" y="140"/>
                  </a:lnTo>
                  <a:lnTo>
                    <a:pt x="486" y="139"/>
                  </a:lnTo>
                  <a:lnTo>
                    <a:pt x="485" y="139"/>
                  </a:lnTo>
                  <a:lnTo>
                    <a:pt x="484" y="138"/>
                  </a:lnTo>
                  <a:lnTo>
                    <a:pt x="486" y="130"/>
                  </a:lnTo>
                  <a:lnTo>
                    <a:pt x="488" y="128"/>
                  </a:lnTo>
                  <a:lnTo>
                    <a:pt x="489" y="128"/>
                  </a:lnTo>
                  <a:lnTo>
                    <a:pt x="493" y="126"/>
                  </a:lnTo>
                  <a:close/>
                  <a:moveTo>
                    <a:pt x="423" y="120"/>
                  </a:moveTo>
                  <a:lnTo>
                    <a:pt x="424" y="121"/>
                  </a:lnTo>
                  <a:lnTo>
                    <a:pt x="428" y="122"/>
                  </a:lnTo>
                  <a:lnTo>
                    <a:pt x="431" y="122"/>
                  </a:lnTo>
                  <a:lnTo>
                    <a:pt x="436" y="125"/>
                  </a:lnTo>
                  <a:lnTo>
                    <a:pt x="436" y="127"/>
                  </a:lnTo>
                  <a:lnTo>
                    <a:pt x="435" y="128"/>
                  </a:lnTo>
                  <a:lnTo>
                    <a:pt x="435" y="129"/>
                  </a:lnTo>
                  <a:lnTo>
                    <a:pt x="434" y="129"/>
                  </a:lnTo>
                  <a:lnTo>
                    <a:pt x="433" y="130"/>
                  </a:lnTo>
                  <a:lnTo>
                    <a:pt x="427" y="130"/>
                  </a:lnTo>
                  <a:lnTo>
                    <a:pt x="424" y="132"/>
                  </a:lnTo>
                  <a:lnTo>
                    <a:pt x="424" y="129"/>
                  </a:lnTo>
                  <a:lnTo>
                    <a:pt x="421" y="126"/>
                  </a:lnTo>
                  <a:lnTo>
                    <a:pt x="420" y="123"/>
                  </a:lnTo>
                  <a:lnTo>
                    <a:pt x="423" y="120"/>
                  </a:lnTo>
                  <a:close/>
                  <a:moveTo>
                    <a:pt x="521" y="89"/>
                  </a:moveTo>
                  <a:lnTo>
                    <a:pt x="522" y="89"/>
                  </a:lnTo>
                  <a:lnTo>
                    <a:pt x="522" y="90"/>
                  </a:lnTo>
                  <a:lnTo>
                    <a:pt x="523" y="93"/>
                  </a:lnTo>
                  <a:lnTo>
                    <a:pt x="524" y="93"/>
                  </a:lnTo>
                  <a:lnTo>
                    <a:pt x="527" y="97"/>
                  </a:lnTo>
                  <a:lnTo>
                    <a:pt x="527" y="99"/>
                  </a:lnTo>
                  <a:lnTo>
                    <a:pt x="526" y="101"/>
                  </a:lnTo>
                  <a:lnTo>
                    <a:pt x="515" y="104"/>
                  </a:lnTo>
                  <a:lnTo>
                    <a:pt x="514" y="103"/>
                  </a:lnTo>
                  <a:lnTo>
                    <a:pt x="514" y="99"/>
                  </a:lnTo>
                  <a:lnTo>
                    <a:pt x="517" y="96"/>
                  </a:lnTo>
                  <a:lnTo>
                    <a:pt x="520" y="90"/>
                  </a:lnTo>
                  <a:lnTo>
                    <a:pt x="521" y="89"/>
                  </a:lnTo>
                  <a:close/>
                  <a:moveTo>
                    <a:pt x="526" y="80"/>
                  </a:moveTo>
                  <a:lnTo>
                    <a:pt x="527" y="82"/>
                  </a:lnTo>
                  <a:lnTo>
                    <a:pt x="528" y="85"/>
                  </a:lnTo>
                  <a:lnTo>
                    <a:pt x="529" y="87"/>
                  </a:lnTo>
                  <a:lnTo>
                    <a:pt x="530" y="89"/>
                  </a:lnTo>
                  <a:lnTo>
                    <a:pt x="533" y="89"/>
                  </a:lnTo>
                  <a:lnTo>
                    <a:pt x="533" y="87"/>
                  </a:lnTo>
                  <a:lnTo>
                    <a:pt x="530" y="86"/>
                  </a:lnTo>
                  <a:lnTo>
                    <a:pt x="530" y="82"/>
                  </a:lnTo>
                  <a:lnTo>
                    <a:pt x="535" y="82"/>
                  </a:lnTo>
                  <a:lnTo>
                    <a:pt x="539" y="85"/>
                  </a:lnTo>
                  <a:lnTo>
                    <a:pt x="540" y="87"/>
                  </a:lnTo>
                  <a:lnTo>
                    <a:pt x="536" y="91"/>
                  </a:lnTo>
                  <a:lnTo>
                    <a:pt x="534" y="95"/>
                  </a:lnTo>
                  <a:lnTo>
                    <a:pt x="533" y="96"/>
                  </a:lnTo>
                  <a:lnTo>
                    <a:pt x="530" y="96"/>
                  </a:lnTo>
                  <a:lnTo>
                    <a:pt x="529" y="95"/>
                  </a:lnTo>
                  <a:lnTo>
                    <a:pt x="529" y="93"/>
                  </a:lnTo>
                  <a:lnTo>
                    <a:pt x="528" y="90"/>
                  </a:lnTo>
                  <a:lnTo>
                    <a:pt x="528" y="87"/>
                  </a:lnTo>
                  <a:lnTo>
                    <a:pt x="524" y="84"/>
                  </a:lnTo>
                  <a:lnTo>
                    <a:pt x="524" y="83"/>
                  </a:lnTo>
                  <a:lnTo>
                    <a:pt x="526" y="80"/>
                  </a:lnTo>
                  <a:close/>
                  <a:moveTo>
                    <a:pt x="431" y="80"/>
                  </a:moveTo>
                  <a:lnTo>
                    <a:pt x="435" y="80"/>
                  </a:lnTo>
                  <a:lnTo>
                    <a:pt x="436" y="82"/>
                  </a:lnTo>
                  <a:lnTo>
                    <a:pt x="436" y="85"/>
                  </a:lnTo>
                  <a:lnTo>
                    <a:pt x="435" y="86"/>
                  </a:lnTo>
                  <a:lnTo>
                    <a:pt x="433" y="87"/>
                  </a:lnTo>
                  <a:lnTo>
                    <a:pt x="433" y="86"/>
                  </a:lnTo>
                  <a:lnTo>
                    <a:pt x="430" y="86"/>
                  </a:lnTo>
                  <a:lnTo>
                    <a:pt x="430" y="82"/>
                  </a:lnTo>
                  <a:lnTo>
                    <a:pt x="431" y="80"/>
                  </a:lnTo>
                  <a:close/>
                  <a:moveTo>
                    <a:pt x="473" y="76"/>
                  </a:moveTo>
                  <a:lnTo>
                    <a:pt x="474" y="76"/>
                  </a:lnTo>
                  <a:lnTo>
                    <a:pt x="476" y="77"/>
                  </a:lnTo>
                  <a:lnTo>
                    <a:pt x="476" y="78"/>
                  </a:lnTo>
                  <a:lnTo>
                    <a:pt x="474" y="79"/>
                  </a:lnTo>
                  <a:lnTo>
                    <a:pt x="474" y="83"/>
                  </a:lnTo>
                  <a:lnTo>
                    <a:pt x="476" y="84"/>
                  </a:lnTo>
                  <a:lnTo>
                    <a:pt x="476" y="87"/>
                  </a:lnTo>
                  <a:lnTo>
                    <a:pt x="474" y="93"/>
                  </a:lnTo>
                  <a:lnTo>
                    <a:pt x="473" y="95"/>
                  </a:lnTo>
                  <a:lnTo>
                    <a:pt x="473" y="97"/>
                  </a:lnTo>
                  <a:lnTo>
                    <a:pt x="472" y="98"/>
                  </a:lnTo>
                  <a:lnTo>
                    <a:pt x="472" y="101"/>
                  </a:lnTo>
                  <a:lnTo>
                    <a:pt x="468" y="103"/>
                  </a:lnTo>
                  <a:lnTo>
                    <a:pt x="471" y="103"/>
                  </a:lnTo>
                  <a:lnTo>
                    <a:pt x="473" y="102"/>
                  </a:lnTo>
                  <a:lnTo>
                    <a:pt x="474" y="99"/>
                  </a:lnTo>
                  <a:lnTo>
                    <a:pt x="477" y="97"/>
                  </a:lnTo>
                  <a:lnTo>
                    <a:pt x="477" y="96"/>
                  </a:lnTo>
                  <a:lnTo>
                    <a:pt x="478" y="98"/>
                  </a:lnTo>
                  <a:lnTo>
                    <a:pt x="478" y="103"/>
                  </a:lnTo>
                  <a:lnTo>
                    <a:pt x="477" y="107"/>
                  </a:lnTo>
                  <a:lnTo>
                    <a:pt x="477" y="108"/>
                  </a:lnTo>
                  <a:lnTo>
                    <a:pt x="474" y="110"/>
                  </a:lnTo>
                  <a:lnTo>
                    <a:pt x="474" y="113"/>
                  </a:lnTo>
                  <a:lnTo>
                    <a:pt x="472" y="113"/>
                  </a:lnTo>
                  <a:lnTo>
                    <a:pt x="470" y="115"/>
                  </a:lnTo>
                  <a:lnTo>
                    <a:pt x="470" y="125"/>
                  </a:lnTo>
                  <a:lnTo>
                    <a:pt x="468" y="125"/>
                  </a:lnTo>
                  <a:lnTo>
                    <a:pt x="468" y="127"/>
                  </a:lnTo>
                  <a:lnTo>
                    <a:pt x="471" y="125"/>
                  </a:lnTo>
                  <a:lnTo>
                    <a:pt x="471" y="117"/>
                  </a:lnTo>
                  <a:lnTo>
                    <a:pt x="478" y="110"/>
                  </a:lnTo>
                  <a:lnTo>
                    <a:pt x="480" y="110"/>
                  </a:lnTo>
                  <a:lnTo>
                    <a:pt x="480" y="114"/>
                  </a:lnTo>
                  <a:lnTo>
                    <a:pt x="482" y="115"/>
                  </a:lnTo>
                  <a:lnTo>
                    <a:pt x="483" y="114"/>
                  </a:lnTo>
                  <a:lnTo>
                    <a:pt x="483" y="110"/>
                  </a:lnTo>
                  <a:lnTo>
                    <a:pt x="482" y="108"/>
                  </a:lnTo>
                  <a:lnTo>
                    <a:pt x="480" y="107"/>
                  </a:lnTo>
                  <a:lnTo>
                    <a:pt x="480" y="105"/>
                  </a:lnTo>
                  <a:lnTo>
                    <a:pt x="482" y="103"/>
                  </a:lnTo>
                  <a:lnTo>
                    <a:pt x="483" y="103"/>
                  </a:lnTo>
                  <a:lnTo>
                    <a:pt x="484" y="102"/>
                  </a:lnTo>
                  <a:lnTo>
                    <a:pt x="488" y="103"/>
                  </a:lnTo>
                  <a:lnTo>
                    <a:pt x="488" y="101"/>
                  </a:lnTo>
                  <a:lnTo>
                    <a:pt x="486" y="98"/>
                  </a:lnTo>
                  <a:lnTo>
                    <a:pt x="484" y="97"/>
                  </a:lnTo>
                  <a:lnTo>
                    <a:pt x="483" y="96"/>
                  </a:lnTo>
                  <a:lnTo>
                    <a:pt x="483" y="92"/>
                  </a:lnTo>
                  <a:lnTo>
                    <a:pt x="484" y="91"/>
                  </a:lnTo>
                  <a:lnTo>
                    <a:pt x="488" y="89"/>
                  </a:lnTo>
                  <a:lnTo>
                    <a:pt x="489" y="89"/>
                  </a:lnTo>
                  <a:lnTo>
                    <a:pt x="490" y="90"/>
                  </a:lnTo>
                  <a:lnTo>
                    <a:pt x="490" y="91"/>
                  </a:lnTo>
                  <a:lnTo>
                    <a:pt x="491" y="91"/>
                  </a:lnTo>
                  <a:lnTo>
                    <a:pt x="491" y="89"/>
                  </a:lnTo>
                  <a:lnTo>
                    <a:pt x="490" y="87"/>
                  </a:lnTo>
                  <a:lnTo>
                    <a:pt x="490" y="84"/>
                  </a:lnTo>
                  <a:lnTo>
                    <a:pt x="492" y="87"/>
                  </a:lnTo>
                  <a:lnTo>
                    <a:pt x="496" y="89"/>
                  </a:lnTo>
                  <a:lnTo>
                    <a:pt x="497" y="90"/>
                  </a:lnTo>
                  <a:lnTo>
                    <a:pt x="497" y="92"/>
                  </a:lnTo>
                  <a:lnTo>
                    <a:pt x="498" y="93"/>
                  </a:lnTo>
                  <a:lnTo>
                    <a:pt x="502" y="92"/>
                  </a:lnTo>
                  <a:lnTo>
                    <a:pt x="503" y="92"/>
                  </a:lnTo>
                  <a:lnTo>
                    <a:pt x="501" y="95"/>
                  </a:lnTo>
                  <a:lnTo>
                    <a:pt x="499" y="97"/>
                  </a:lnTo>
                  <a:lnTo>
                    <a:pt x="502" y="97"/>
                  </a:lnTo>
                  <a:lnTo>
                    <a:pt x="503" y="99"/>
                  </a:lnTo>
                  <a:lnTo>
                    <a:pt x="501" y="99"/>
                  </a:lnTo>
                  <a:lnTo>
                    <a:pt x="501" y="101"/>
                  </a:lnTo>
                  <a:lnTo>
                    <a:pt x="502" y="102"/>
                  </a:lnTo>
                  <a:lnTo>
                    <a:pt x="502" y="104"/>
                  </a:lnTo>
                  <a:lnTo>
                    <a:pt x="503" y="107"/>
                  </a:lnTo>
                  <a:lnTo>
                    <a:pt x="503" y="108"/>
                  </a:lnTo>
                  <a:lnTo>
                    <a:pt x="502" y="109"/>
                  </a:lnTo>
                  <a:lnTo>
                    <a:pt x="503" y="110"/>
                  </a:lnTo>
                  <a:lnTo>
                    <a:pt x="503" y="113"/>
                  </a:lnTo>
                  <a:lnTo>
                    <a:pt x="502" y="115"/>
                  </a:lnTo>
                  <a:lnTo>
                    <a:pt x="501" y="116"/>
                  </a:lnTo>
                  <a:lnTo>
                    <a:pt x="501" y="117"/>
                  </a:lnTo>
                  <a:lnTo>
                    <a:pt x="499" y="119"/>
                  </a:lnTo>
                  <a:lnTo>
                    <a:pt x="499" y="121"/>
                  </a:lnTo>
                  <a:lnTo>
                    <a:pt x="501" y="122"/>
                  </a:lnTo>
                  <a:lnTo>
                    <a:pt x="499" y="125"/>
                  </a:lnTo>
                  <a:lnTo>
                    <a:pt x="498" y="125"/>
                  </a:lnTo>
                  <a:lnTo>
                    <a:pt x="497" y="123"/>
                  </a:lnTo>
                  <a:lnTo>
                    <a:pt x="493" y="123"/>
                  </a:lnTo>
                  <a:lnTo>
                    <a:pt x="489" y="125"/>
                  </a:lnTo>
                  <a:lnTo>
                    <a:pt x="485" y="127"/>
                  </a:lnTo>
                  <a:lnTo>
                    <a:pt x="485" y="128"/>
                  </a:lnTo>
                  <a:lnTo>
                    <a:pt x="484" y="127"/>
                  </a:lnTo>
                  <a:lnTo>
                    <a:pt x="484" y="126"/>
                  </a:lnTo>
                  <a:lnTo>
                    <a:pt x="483" y="127"/>
                  </a:lnTo>
                  <a:lnTo>
                    <a:pt x="483" y="128"/>
                  </a:lnTo>
                  <a:lnTo>
                    <a:pt x="482" y="132"/>
                  </a:lnTo>
                  <a:lnTo>
                    <a:pt x="482" y="134"/>
                  </a:lnTo>
                  <a:lnTo>
                    <a:pt x="479" y="136"/>
                  </a:lnTo>
                  <a:lnTo>
                    <a:pt x="479" y="139"/>
                  </a:lnTo>
                  <a:lnTo>
                    <a:pt x="478" y="142"/>
                  </a:lnTo>
                  <a:lnTo>
                    <a:pt x="477" y="144"/>
                  </a:lnTo>
                  <a:lnTo>
                    <a:pt x="474" y="145"/>
                  </a:lnTo>
                  <a:lnTo>
                    <a:pt x="473" y="145"/>
                  </a:lnTo>
                  <a:lnTo>
                    <a:pt x="474" y="144"/>
                  </a:lnTo>
                  <a:lnTo>
                    <a:pt x="473" y="141"/>
                  </a:lnTo>
                  <a:lnTo>
                    <a:pt x="473" y="140"/>
                  </a:lnTo>
                  <a:lnTo>
                    <a:pt x="474" y="139"/>
                  </a:lnTo>
                  <a:lnTo>
                    <a:pt x="474" y="135"/>
                  </a:lnTo>
                  <a:lnTo>
                    <a:pt x="473" y="134"/>
                  </a:lnTo>
                  <a:lnTo>
                    <a:pt x="473" y="138"/>
                  </a:lnTo>
                  <a:lnTo>
                    <a:pt x="472" y="139"/>
                  </a:lnTo>
                  <a:lnTo>
                    <a:pt x="471" y="139"/>
                  </a:lnTo>
                  <a:lnTo>
                    <a:pt x="471" y="138"/>
                  </a:lnTo>
                  <a:lnTo>
                    <a:pt x="470" y="138"/>
                  </a:lnTo>
                  <a:lnTo>
                    <a:pt x="470" y="140"/>
                  </a:lnTo>
                  <a:lnTo>
                    <a:pt x="468" y="139"/>
                  </a:lnTo>
                  <a:lnTo>
                    <a:pt x="468" y="140"/>
                  </a:lnTo>
                  <a:lnTo>
                    <a:pt x="467" y="141"/>
                  </a:lnTo>
                  <a:lnTo>
                    <a:pt x="467" y="145"/>
                  </a:lnTo>
                  <a:lnTo>
                    <a:pt x="465" y="145"/>
                  </a:lnTo>
                  <a:lnTo>
                    <a:pt x="465" y="146"/>
                  </a:lnTo>
                  <a:lnTo>
                    <a:pt x="466" y="146"/>
                  </a:lnTo>
                  <a:lnTo>
                    <a:pt x="466" y="148"/>
                  </a:lnTo>
                  <a:lnTo>
                    <a:pt x="464" y="151"/>
                  </a:lnTo>
                  <a:lnTo>
                    <a:pt x="464" y="153"/>
                  </a:lnTo>
                  <a:lnTo>
                    <a:pt x="461" y="153"/>
                  </a:lnTo>
                  <a:lnTo>
                    <a:pt x="461" y="152"/>
                  </a:lnTo>
                  <a:lnTo>
                    <a:pt x="462" y="152"/>
                  </a:lnTo>
                  <a:lnTo>
                    <a:pt x="462" y="151"/>
                  </a:lnTo>
                  <a:lnTo>
                    <a:pt x="461" y="151"/>
                  </a:lnTo>
                  <a:lnTo>
                    <a:pt x="459" y="148"/>
                  </a:lnTo>
                  <a:lnTo>
                    <a:pt x="453" y="150"/>
                  </a:lnTo>
                  <a:lnTo>
                    <a:pt x="449" y="150"/>
                  </a:lnTo>
                  <a:lnTo>
                    <a:pt x="449" y="147"/>
                  </a:lnTo>
                  <a:lnTo>
                    <a:pt x="452" y="147"/>
                  </a:lnTo>
                  <a:lnTo>
                    <a:pt x="453" y="144"/>
                  </a:lnTo>
                  <a:lnTo>
                    <a:pt x="454" y="142"/>
                  </a:lnTo>
                  <a:lnTo>
                    <a:pt x="457" y="141"/>
                  </a:lnTo>
                  <a:lnTo>
                    <a:pt x="458" y="139"/>
                  </a:lnTo>
                  <a:lnTo>
                    <a:pt x="461" y="134"/>
                  </a:lnTo>
                  <a:lnTo>
                    <a:pt x="462" y="133"/>
                  </a:lnTo>
                  <a:lnTo>
                    <a:pt x="461" y="132"/>
                  </a:lnTo>
                  <a:lnTo>
                    <a:pt x="461" y="130"/>
                  </a:lnTo>
                  <a:lnTo>
                    <a:pt x="460" y="129"/>
                  </a:lnTo>
                  <a:lnTo>
                    <a:pt x="460" y="134"/>
                  </a:lnTo>
                  <a:lnTo>
                    <a:pt x="455" y="140"/>
                  </a:lnTo>
                  <a:lnTo>
                    <a:pt x="453" y="140"/>
                  </a:lnTo>
                  <a:lnTo>
                    <a:pt x="452" y="141"/>
                  </a:lnTo>
                  <a:lnTo>
                    <a:pt x="449" y="142"/>
                  </a:lnTo>
                  <a:lnTo>
                    <a:pt x="448" y="145"/>
                  </a:lnTo>
                  <a:lnTo>
                    <a:pt x="446" y="146"/>
                  </a:lnTo>
                  <a:lnTo>
                    <a:pt x="445" y="147"/>
                  </a:lnTo>
                  <a:lnTo>
                    <a:pt x="446" y="147"/>
                  </a:lnTo>
                  <a:lnTo>
                    <a:pt x="447" y="148"/>
                  </a:lnTo>
                  <a:lnTo>
                    <a:pt x="443" y="152"/>
                  </a:lnTo>
                  <a:lnTo>
                    <a:pt x="442" y="152"/>
                  </a:lnTo>
                  <a:lnTo>
                    <a:pt x="440" y="157"/>
                  </a:lnTo>
                  <a:lnTo>
                    <a:pt x="439" y="158"/>
                  </a:lnTo>
                  <a:lnTo>
                    <a:pt x="436" y="158"/>
                  </a:lnTo>
                  <a:lnTo>
                    <a:pt x="436" y="157"/>
                  </a:lnTo>
                  <a:lnTo>
                    <a:pt x="437" y="156"/>
                  </a:lnTo>
                  <a:lnTo>
                    <a:pt x="436" y="153"/>
                  </a:lnTo>
                  <a:lnTo>
                    <a:pt x="439" y="151"/>
                  </a:lnTo>
                  <a:lnTo>
                    <a:pt x="439" y="150"/>
                  </a:lnTo>
                  <a:lnTo>
                    <a:pt x="440" y="148"/>
                  </a:lnTo>
                  <a:lnTo>
                    <a:pt x="441" y="145"/>
                  </a:lnTo>
                  <a:lnTo>
                    <a:pt x="445" y="138"/>
                  </a:lnTo>
                  <a:lnTo>
                    <a:pt x="447" y="135"/>
                  </a:lnTo>
                  <a:lnTo>
                    <a:pt x="452" y="135"/>
                  </a:lnTo>
                  <a:lnTo>
                    <a:pt x="449" y="134"/>
                  </a:lnTo>
                  <a:lnTo>
                    <a:pt x="448" y="134"/>
                  </a:lnTo>
                  <a:lnTo>
                    <a:pt x="447" y="133"/>
                  </a:lnTo>
                  <a:lnTo>
                    <a:pt x="447" y="132"/>
                  </a:lnTo>
                  <a:lnTo>
                    <a:pt x="449" y="132"/>
                  </a:lnTo>
                  <a:lnTo>
                    <a:pt x="448" y="130"/>
                  </a:lnTo>
                  <a:lnTo>
                    <a:pt x="448" y="128"/>
                  </a:lnTo>
                  <a:lnTo>
                    <a:pt x="445" y="128"/>
                  </a:lnTo>
                  <a:lnTo>
                    <a:pt x="445" y="126"/>
                  </a:lnTo>
                  <a:lnTo>
                    <a:pt x="446" y="123"/>
                  </a:lnTo>
                  <a:lnTo>
                    <a:pt x="449" y="123"/>
                  </a:lnTo>
                  <a:lnTo>
                    <a:pt x="449" y="121"/>
                  </a:lnTo>
                  <a:lnTo>
                    <a:pt x="454" y="121"/>
                  </a:lnTo>
                  <a:lnTo>
                    <a:pt x="455" y="123"/>
                  </a:lnTo>
                  <a:lnTo>
                    <a:pt x="455" y="122"/>
                  </a:lnTo>
                  <a:lnTo>
                    <a:pt x="453" y="119"/>
                  </a:lnTo>
                  <a:lnTo>
                    <a:pt x="455" y="119"/>
                  </a:lnTo>
                  <a:lnTo>
                    <a:pt x="455" y="116"/>
                  </a:lnTo>
                  <a:lnTo>
                    <a:pt x="460" y="116"/>
                  </a:lnTo>
                  <a:lnTo>
                    <a:pt x="461" y="117"/>
                  </a:lnTo>
                  <a:lnTo>
                    <a:pt x="461" y="119"/>
                  </a:lnTo>
                  <a:lnTo>
                    <a:pt x="462" y="119"/>
                  </a:lnTo>
                  <a:lnTo>
                    <a:pt x="464" y="117"/>
                  </a:lnTo>
                  <a:lnTo>
                    <a:pt x="462" y="117"/>
                  </a:lnTo>
                  <a:lnTo>
                    <a:pt x="462" y="116"/>
                  </a:lnTo>
                  <a:lnTo>
                    <a:pt x="461" y="116"/>
                  </a:lnTo>
                  <a:lnTo>
                    <a:pt x="461" y="115"/>
                  </a:lnTo>
                  <a:lnTo>
                    <a:pt x="459" y="115"/>
                  </a:lnTo>
                  <a:lnTo>
                    <a:pt x="457" y="113"/>
                  </a:lnTo>
                  <a:lnTo>
                    <a:pt x="457" y="111"/>
                  </a:lnTo>
                  <a:lnTo>
                    <a:pt x="455" y="109"/>
                  </a:lnTo>
                  <a:lnTo>
                    <a:pt x="455" y="104"/>
                  </a:lnTo>
                  <a:lnTo>
                    <a:pt x="461" y="104"/>
                  </a:lnTo>
                  <a:lnTo>
                    <a:pt x="461" y="103"/>
                  </a:lnTo>
                  <a:lnTo>
                    <a:pt x="462" y="103"/>
                  </a:lnTo>
                  <a:lnTo>
                    <a:pt x="465" y="105"/>
                  </a:lnTo>
                  <a:lnTo>
                    <a:pt x="467" y="107"/>
                  </a:lnTo>
                  <a:lnTo>
                    <a:pt x="466" y="105"/>
                  </a:lnTo>
                  <a:lnTo>
                    <a:pt x="465" y="105"/>
                  </a:lnTo>
                  <a:lnTo>
                    <a:pt x="465" y="103"/>
                  </a:lnTo>
                  <a:lnTo>
                    <a:pt x="464" y="102"/>
                  </a:lnTo>
                  <a:lnTo>
                    <a:pt x="457" y="102"/>
                  </a:lnTo>
                  <a:lnTo>
                    <a:pt x="457" y="96"/>
                  </a:lnTo>
                  <a:lnTo>
                    <a:pt x="455" y="95"/>
                  </a:lnTo>
                  <a:lnTo>
                    <a:pt x="458" y="95"/>
                  </a:lnTo>
                  <a:lnTo>
                    <a:pt x="459" y="93"/>
                  </a:lnTo>
                  <a:lnTo>
                    <a:pt x="459" y="92"/>
                  </a:lnTo>
                  <a:lnTo>
                    <a:pt x="460" y="92"/>
                  </a:lnTo>
                  <a:lnTo>
                    <a:pt x="462" y="93"/>
                  </a:lnTo>
                  <a:lnTo>
                    <a:pt x="464" y="92"/>
                  </a:lnTo>
                  <a:lnTo>
                    <a:pt x="462" y="92"/>
                  </a:lnTo>
                  <a:lnTo>
                    <a:pt x="461" y="91"/>
                  </a:lnTo>
                  <a:lnTo>
                    <a:pt x="460" y="91"/>
                  </a:lnTo>
                  <a:lnTo>
                    <a:pt x="460" y="87"/>
                  </a:lnTo>
                  <a:lnTo>
                    <a:pt x="461" y="86"/>
                  </a:lnTo>
                  <a:lnTo>
                    <a:pt x="464" y="85"/>
                  </a:lnTo>
                  <a:lnTo>
                    <a:pt x="462" y="84"/>
                  </a:lnTo>
                  <a:lnTo>
                    <a:pt x="462" y="82"/>
                  </a:lnTo>
                  <a:lnTo>
                    <a:pt x="464" y="78"/>
                  </a:lnTo>
                  <a:lnTo>
                    <a:pt x="464" y="77"/>
                  </a:lnTo>
                  <a:lnTo>
                    <a:pt x="470" y="77"/>
                  </a:lnTo>
                  <a:lnTo>
                    <a:pt x="473" y="76"/>
                  </a:lnTo>
                  <a:close/>
                  <a:moveTo>
                    <a:pt x="492" y="72"/>
                  </a:moveTo>
                  <a:lnTo>
                    <a:pt x="495" y="73"/>
                  </a:lnTo>
                  <a:lnTo>
                    <a:pt x="498" y="77"/>
                  </a:lnTo>
                  <a:lnTo>
                    <a:pt x="501" y="77"/>
                  </a:lnTo>
                  <a:lnTo>
                    <a:pt x="503" y="76"/>
                  </a:lnTo>
                  <a:lnTo>
                    <a:pt x="504" y="77"/>
                  </a:lnTo>
                  <a:lnTo>
                    <a:pt x="504" y="80"/>
                  </a:lnTo>
                  <a:lnTo>
                    <a:pt x="503" y="82"/>
                  </a:lnTo>
                  <a:lnTo>
                    <a:pt x="504" y="84"/>
                  </a:lnTo>
                  <a:lnTo>
                    <a:pt x="503" y="85"/>
                  </a:lnTo>
                  <a:lnTo>
                    <a:pt x="497" y="85"/>
                  </a:lnTo>
                  <a:lnTo>
                    <a:pt x="496" y="84"/>
                  </a:lnTo>
                  <a:lnTo>
                    <a:pt x="493" y="80"/>
                  </a:lnTo>
                  <a:lnTo>
                    <a:pt x="491" y="78"/>
                  </a:lnTo>
                  <a:lnTo>
                    <a:pt x="490" y="76"/>
                  </a:lnTo>
                  <a:lnTo>
                    <a:pt x="492" y="72"/>
                  </a:lnTo>
                  <a:close/>
                  <a:moveTo>
                    <a:pt x="440" y="71"/>
                  </a:moveTo>
                  <a:lnTo>
                    <a:pt x="442" y="71"/>
                  </a:lnTo>
                  <a:lnTo>
                    <a:pt x="443" y="72"/>
                  </a:lnTo>
                  <a:lnTo>
                    <a:pt x="443" y="77"/>
                  </a:lnTo>
                  <a:lnTo>
                    <a:pt x="445" y="79"/>
                  </a:lnTo>
                  <a:lnTo>
                    <a:pt x="445" y="80"/>
                  </a:lnTo>
                  <a:lnTo>
                    <a:pt x="446" y="80"/>
                  </a:lnTo>
                  <a:lnTo>
                    <a:pt x="447" y="83"/>
                  </a:lnTo>
                  <a:lnTo>
                    <a:pt x="446" y="84"/>
                  </a:lnTo>
                  <a:lnTo>
                    <a:pt x="445" y="84"/>
                  </a:lnTo>
                  <a:lnTo>
                    <a:pt x="445" y="85"/>
                  </a:lnTo>
                  <a:lnTo>
                    <a:pt x="446" y="86"/>
                  </a:lnTo>
                  <a:lnTo>
                    <a:pt x="448" y="82"/>
                  </a:lnTo>
                  <a:lnTo>
                    <a:pt x="449" y="83"/>
                  </a:lnTo>
                  <a:lnTo>
                    <a:pt x="448" y="87"/>
                  </a:lnTo>
                  <a:lnTo>
                    <a:pt x="448" y="89"/>
                  </a:lnTo>
                  <a:lnTo>
                    <a:pt x="447" y="92"/>
                  </a:lnTo>
                  <a:lnTo>
                    <a:pt x="449" y="90"/>
                  </a:lnTo>
                  <a:lnTo>
                    <a:pt x="449" y="89"/>
                  </a:lnTo>
                  <a:lnTo>
                    <a:pt x="452" y="90"/>
                  </a:lnTo>
                  <a:lnTo>
                    <a:pt x="453" y="90"/>
                  </a:lnTo>
                  <a:lnTo>
                    <a:pt x="453" y="91"/>
                  </a:lnTo>
                  <a:lnTo>
                    <a:pt x="452" y="93"/>
                  </a:lnTo>
                  <a:lnTo>
                    <a:pt x="452" y="95"/>
                  </a:lnTo>
                  <a:lnTo>
                    <a:pt x="449" y="96"/>
                  </a:lnTo>
                  <a:lnTo>
                    <a:pt x="449" y="95"/>
                  </a:lnTo>
                  <a:lnTo>
                    <a:pt x="448" y="96"/>
                  </a:lnTo>
                  <a:lnTo>
                    <a:pt x="449" y="98"/>
                  </a:lnTo>
                  <a:lnTo>
                    <a:pt x="448" y="99"/>
                  </a:lnTo>
                  <a:lnTo>
                    <a:pt x="449" y="101"/>
                  </a:lnTo>
                  <a:lnTo>
                    <a:pt x="452" y="102"/>
                  </a:lnTo>
                  <a:lnTo>
                    <a:pt x="453" y="103"/>
                  </a:lnTo>
                  <a:lnTo>
                    <a:pt x="454" y="108"/>
                  </a:lnTo>
                  <a:lnTo>
                    <a:pt x="453" y="110"/>
                  </a:lnTo>
                  <a:lnTo>
                    <a:pt x="449" y="113"/>
                  </a:lnTo>
                  <a:lnTo>
                    <a:pt x="440" y="121"/>
                  </a:lnTo>
                  <a:lnTo>
                    <a:pt x="431" y="121"/>
                  </a:lnTo>
                  <a:lnTo>
                    <a:pt x="430" y="120"/>
                  </a:lnTo>
                  <a:lnTo>
                    <a:pt x="430" y="119"/>
                  </a:lnTo>
                  <a:lnTo>
                    <a:pt x="431" y="119"/>
                  </a:lnTo>
                  <a:lnTo>
                    <a:pt x="429" y="117"/>
                  </a:lnTo>
                  <a:lnTo>
                    <a:pt x="429" y="114"/>
                  </a:lnTo>
                  <a:lnTo>
                    <a:pt x="431" y="114"/>
                  </a:lnTo>
                  <a:lnTo>
                    <a:pt x="435" y="111"/>
                  </a:lnTo>
                  <a:lnTo>
                    <a:pt x="439" y="111"/>
                  </a:lnTo>
                  <a:lnTo>
                    <a:pt x="439" y="109"/>
                  </a:lnTo>
                  <a:lnTo>
                    <a:pt x="440" y="109"/>
                  </a:lnTo>
                  <a:lnTo>
                    <a:pt x="441" y="108"/>
                  </a:lnTo>
                  <a:lnTo>
                    <a:pt x="442" y="108"/>
                  </a:lnTo>
                  <a:lnTo>
                    <a:pt x="443" y="107"/>
                  </a:lnTo>
                  <a:lnTo>
                    <a:pt x="443" y="101"/>
                  </a:lnTo>
                  <a:lnTo>
                    <a:pt x="437" y="98"/>
                  </a:lnTo>
                  <a:lnTo>
                    <a:pt x="436" y="99"/>
                  </a:lnTo>
                  <a:lnTo>
                    <a:pt x="437" y="99"/>
                  </a:lnTo>
                  <a:lnTo>
                    <a:pt x="440" y="102"/>
                  </a:lnTo>
                  <a:lnTo>
                    <a:pt x="439" y="104"/>
                  </a:lnTo>
                  <a:lnTo>
                    <a:pt x="436" y="107"/>
                  </a:lnTo>
                  <a:lnTo>
                    <a:pt x="435" y="107"/>
                  </a:lnTo>
                  <a:lnTo>
                    <a:pt x="435" y="105"/>
                  </a:lnTo>
                  <a:lnTo>
                    <a:pt x="434" y="108"/>
                  </a:lnTo>
                  <a:lnTo>
                    <a:pt x="433" y="109"/>
                  </a:lnTo>
                  <a:lnTo>
                    <a:pt x="431" y="109"/>
                  </a:lnTo>
                  <a:lnTo>
                    <a:pt x="431" y="108"/>
                  </a:lnTo>
                  <a:lnTo>
                    <a:pt x="429" y="110"/>
                  </a:lnTo>
                  <a:lnTo>
                    <a:pt x="429" y="105"/>
                  </a:lnTo>
                  <a:lnTo>
                    <a:pt x="428" y="107"/>
                  </a:lnTo>
                  <a:lnTo>
                    <a:pt x="428" y="109"/>
                  </a:lnTo>
                  <a:lnTo>
                    <a:pt x="427" y="110"/>
                  </a:lnTo>
                  <a:lnTo>
                    <a:pt x="427" y="111"/>
                  </a:lnTo>
                  <a:lnTo>
                    <a:pt x="424" y="109"/>
                  </a:lnTo>
                  <a:lnTo>
                    <a:pt x="423" y="107"/>
                  </a:lnTo>
                  <a:lnTo>
                    <a:pt x="423" y="109"/>
                  </a:lnTo>
                  <a:lnTo>
                    <a:pt x="422" y="110"/>
                  </a:lnTo>
                  <a:lnTo>
                    <a:pt x="421" y="113"/>
                  </a:lnTo>
                  <a:lnTo>
                    <a:pt x="421" y="116"/>
                  </a:lnTo>
                  <a:lnTo>
                    <a:pt x="417" y="116"/>
                  </a:lnTo>
                  <a:lnTo>
                    <a:pt x="415" y="119"/>
                  </a:lnTo>
                  <a:lnTo>
                    <a:pt x="412" y="117"/>
                  </a:lnTo>
                  <a:lnTo>
                    <a:pt x="412" y="110"/>
                  </a:lnTo>
                  <a:lnTo>
                    <a:pt x="411" y="111"/>
                  </a:lnTo>
                  <a:lnTo>
                    <a:pt x="411" y="110"/>
                  </a:lnTo>
                  <a:lnTo>
                    <a:pt x="410" y="109"/>
                  </a:lnTo>
                  <a:lnTo>
                    <a:pt x="411" y="108"/>
                  </a:lnTo>
                  <a:lnTo>
                    <a:pt x="411" y="107"/>
                  </a:lnTo>
                  <a:lnTo>
                    <a:pt x="412" y="107"/>
                  </a:lnTo>
                  <a:lnTo>
                    <a:pt x="412" y="105"/>
                  </a:lnTo>
                  <a:lnTo>
                    <a:pt x="414" y="104"/>
                  </a:lnTo>
                  <a:lnTo>
                    <a:pt x="417" y="103"/>
                  </a:lnTo>
                  <a:lnTo>
                    <a:pt x="417" y="102"/>
                  </a:lnTo>
                  <a:lnTo>
                    <a:pt x="416" y="102"/>
                  </a:lnTo>
                  <a:lnTo>
                    <a:pt x="414" y="101"/>
                  </a:lnTo>
                  <a:lnTo>
                    <a:pt x="414" y="98"/>
                  </a:lnTo>
                  <a:lnTo>
                    <a:pt x="415" y="96"/>
                  </a:lnTo>
                  <a:lnTo>
                    <a:pt x="417" y="95"/>
                  </a:lnTo>
                  <a:lnTo>
                    <a:pt x="418" y="96"/>
                  </a:lnTo>
                  <a:lnTo>
                    <a:pt x="418" y="102"/>
                  </a:lnTo>
                  <a:lnTo>
                    <a:pt x="420" y="103"/>
                  </a:lnTo>
                  <a:lnTo>
                    <a:pt x="421" y="103"/>
                  </a:lnTo>
                  <a:lnTo>
                    <a:pt x="421" y="102"/>
                  </a:lnTo>
                  <a:lnTo>
                    <a:pt x="420" y="102"/>
                  </a:lnTo>
                  <a:lnTo>
                    <a:pt x="420" y="99"/>
                  </a:lnTo>
                  <a:lnTo>
                    <a:pt x="421" y="98"/>
                  </a:lnTo>
                  <a:lnTo>
                    <a:pt x="421" y="97"/>
                  </a:lnTo>
                  <a:lnTo>
                    <a:pt x="422" y="97"/>
                  </a:lnTo>
                  <a:lnTo>
                    <a:pt x="421" y="96"/>
                  </a:lnTo>
                  <a:lnTo>
                    <a:pt x="421" y="92"/>
                  </a:lnTo>
                  <a:lnTo>
                    <a:pt x="422" y="91"/>
                  </a:lnTo>
                  <a:lnTo>
                    <a:pt x="423" y="92"/>
                  </a:lnTo>
                  <a:lnTo>
                    <a:pt x="423" y="93"/>
                  </a:lnTo>
                  <a:lnTo>
                    <a:pt x="424" y="95"/>
                  </a:lnTo>
                  <a:lnTo>
                    <a:pt x="423" y="99"/>
                  </a:lnTo>
                  <a:lnTo>
                    <a:pt x="423" y="101"/>
                  </a:lnTo>
                  <a:lnTo>
                    <a:pt x="426" y="99"/>
                  </a:lnTo>
                  <a:lnTo>
                    <a:pt x="428" y="97"/>
                  </a:lnTo>
                  <a:lnTo>
                    <a:pt x="430" y="96"/>
                  </a:lnTo>
                  <a:lnTo>
                    <a:pt x="431" y="97"/>
                  </a:lnTo>
                  <a:lnTo>
                    <a:pt x="431" y="101"/>
                  </a:lnTo>
                  <a:lnTo>
                    <a:pt x="433" y="101"/>
                  </a:lnTo>
                  <a:lnTo>
                    <a:pt x="434" y="98"/>
                  </a:lnTo>
                  <a:lnTo>
                    <a:pt x="435" y="97"/>
                  </a:lnTo>
                  <a:lnTo>
                    <a:pt x="434" y="96"/>
                  </a:lnTo>
                  <a:lnTo>
                    <a:pt x="435" y="95"/>
                  </a:lnTo>
                  <a:lnTo>
                    <a:pt x="435" y="93"/>
                  </a:lnTo>
                  <a:lnTo>
                    <a:pt x="433" y="90"/>
                  </a:lnTo>
                  <a:lnTo>
                    <a:pt x="435" y="87"/>
                  </a:lnTo>
                  <a:lnTo>
                    <a:pt x="436" y="90"/>
                  </a:lnTo>
                  <a:lnTo>
                    <a:pt x="436" y="96"/>
                  </a:lnTo>
                  <a:lnTo>
                    <a:pt x="437" y="96"/>
                  </a:lnTo>
                  <a:lnTo>
                    <a:pt x="437" y="92"/>
                  </a:lnTo>
                  <a:lnTo>
                    <a:pt x="439" y="90"/>
                  </a:lnTo>
                  <a:lnTo>
                    <a:pt x="440" y="90"/>
                  </a:lnTo>
                  <a:lnTo>
                    <a:pt x="443" y="93"/>
                  </a:lnTo>
                  <a:lnTo>
                    <a:pt x="443" y="91"/>
                  </a:lnTo>
                  <a:lnTo>
                    <a:pt x="442" y="89"/>
                  </a:lnTo>
                  <a:lnTo>
                    <a:pt x="440" y="86"/>
                  </a:lnTo>
                  <a:lnTo>
                    <a:pt x="440" y="83"/>
                  </a:lnTo>
                  <a:lnTo>
                    <a:pt x="437" y="80"/>
                  </a:lnTo>
                  <a:lnTo>
                    <a:pt x="437" y="74"/>
                  </a:lnTo>
                  <a:lnTo>
                    <a:pt x="440" y="71"/>
                  </a:lnTo>
                  <a:close/>
                  <a:moveTo>
                    <a:pt x="545" y="61"/>
                  </a:moveTo>
                  <a:lnTo>
                    <a:pt x="546" y="61"/>
                  </a:lnTo>
                  <a:lnTo>
                    <a:pt x="545" y="62"/>
                  </a:lnTo>
                  <a:lnTo>
                    <a:pt x="545" y="65"/>
                  </a:lnTo>
                  <a:lnTo>
                    <a:pt x="541" y="68"/>
                  </a:lnTo>
                  <a:lnTo>
                    <a:pt x="540" y="68"/>
                  </a:lnTo>
                  <a:lnTo>
                    <a:pt x="540" y="70"/>
                  </a:lnTo>
                  <a:lnTo>
                    <a:pt x="539" y="72"/>
                  </a:lnTo>
                  <a:lnTo>
                    <a:pt x="538" y="73"/>
                  </a:lnTo>
                  <a:lnTo>
                    <a:pt x="536" y="72"/>
                  </a:lnTo>
                  <a:lnTo>
                    <a:pt x="535" y="72"/>
                  </a:lnTo>
                  <a:lnTo>
                    <a:pt x="536" y="71"/>
                  </a:lnTo>
                  <a:lnTo>
                    <a:pt x="536" y="66"/>
                  </a:lnTo>
                  <a:lnTo>
                    <a:pt x="538" y="65"/>
                  </a:lnTo>
                  <a:lnTo>
                    <a:pt x="539" y="62"/>
                  </a:lnTo>
                  <a:lnTo>
                    <a:pt x="540" y="62"/>
                  </a:lnTo>
                  <a:lnTo>
                    <a:pt x="545" y="61"/>
                  </a:lnTo>
                  <a:close/>
                  <a:moveTo>
                    <a:pt x="483" y="35"/>
                  </a:moveTo>
                  <a:lnTo>
                    <a:pt x="485" y="35"/>
                  </a:lnTo>
                  <a:lnTo>
                    <a:pt x="485" y="42"/>
                  </a:lnTo>
                  <a:lnTo>
                    <a:pt x="483" y="47"/>
                  </a:lnTo>
                  <a:lnTo>
                    <a:pt x="483" y="54"/>
                  </a:lnTo>
                  <a:lnTo>
                    <a:pt x="482" y="55"/>
                  </a:lnTo>
                  <a:lnTo>
                    <a:pt x="479" y="56"/>
                  </a:lnTo>
                  <a:lnTo>
                    <a:pt x="478" y="59"/>
                  </a:lnTo>
                  <a:lnTo>
                    <a:pt x="477" y="60"/>
                  </a:lnTo>
                  <a:lnTo>
                    <a:pt x="477" y="61"/>
                  </a:lnTo>
                  <a:lnTo>
                    <a:pt x="476" y="64"/>
                  </a:lnTo>
                  <a:lnTo>
                    <a:pt x="474" y="65"/>
                  </a:lnTo>
                  <a:lnTo>
                    <a:pt x="473" y="65"/>
                  </a:lnTo>
                  <a:lnTo>
                    <a:pt x="473" y="68"/>
                  </a:lnTo>
                  <a:lnTo>
                    <a:pt x="472" y="68"/>
                  </a:lnTo>
                  <a:lnTo>
                    <a:pt x="471" y="70"/>
                  </a:lnTo>
                  <a:lnTo>
                    <a:pt x="464" y="73"/>
                  </a:lnTo>
                  <a:lnTo>
                    <a:pt x="460" y="70"/>
                  </a:lnTo>
                  <a:lnTo>
                    <a:pt x="459" y="71"/>
                  </a:lnTo>
                  <a:lnTo>
                    <a:pt x="460" y="72"/>
                  </a:lnTo>
                  <a:lnTo>
                    <a:pt x="460" y="73"/>
                  </a:lnTo>
                  <a:lnTo>
                    <a:pt x="461" y="74"/>
                  </a:lnTo>
                  <a:lnTo>
                    <a:pt x="461" y="77"/>
                  </a:lnTo>
                  <a:lnTo>
                    <a:pt x="460" y="78"/>
                  </a:lnTo>
                  <a:lnTo>
                    <a:pt x="459" y="83"/>
                  </a:lnTo>
                  <a:lnTo>
                    <a:pt x="458" y="84"/>
                  </a:lnTo>
                  <a:lnTo>
                    <a:pt x="457" y="86"/>
                  </a:lnTo>
                  <a:lnTo>
                    <a:pt x="455" y="85"/>
                  </a:lnTo>
                  <a:lnTo>
                    <a:pt x="454" y="83"/>
                  </a:lnTo>
                  <a:lnTo>
                    <a:pt x="455" y="80"/>
                  </a:lnTo>
                  <a:lnTo>
                    <a:pt x="455" y="78"/>
                  </a:lnTo>
                  <a:lnTo>
                    <a:pt x="454" y="77"/>
                  </a:lnTo>
                  <a:lnTo>
                    <a:pt x="457" y="72"/>
                  </a:lnTo>
                  <a:lnTo>
                    <a:pt x="457" y="71"/>
                  </a:lnTo>
                  <a:lnTo>
                    <a:pt x="459" y="66"/>
                  </a:lnTo>
                  <a:lnTo>
                    <a:pt x="460" y="62"/>
                  </a:lnTo>
                  <a:lnTo>
                    <a:pt x="462" y="58"/>
                  </a:lnTo>
                  <a:lnTo>
                    <a:pt x="465" y="55"/>
                  </a:lnTo>
                  <a:lnTo>
                    <a:pt x="468" y="54"/>
                  </a:lnTo>
                  <a:lnTo>
                    <a:pt x="470" y="53"/>
                  </a:lnTo>
                  <a:lnTo>
                    <a:pt x="472" y="46"/>
                  </a:lnTo>
                  <a:lnTo>
                    <a:pt x="473" y="45"/>
                  </a:lnTo>
                  <a:lnTo>
                    <a:pt x="473" y="42"/>
                  </a:lnTo>
                  <a:lnTo>
                    <a:pt x="474" y="42"/>
                  </a:lnTo>
                  <a:lnTo>
                    <a:pt x="476" y="41"/>
                  </a:lnTo>
                  <a:lnTo>
                    <a:pt x="478" y="37"/>
                  </a:lnTo>
                  <a:lnTo>
                    <a:pt x="483" y="35"/>
                  </a:lnTo>
                  <a:close/>
                  <a:moveTo>
                    <a:pt x="541" y="0"/>
                  </a:moveTo>
                  <a:lnTo>
                    <a:pt x="544" y="0"/>
                  </a:lnTo>
                  <a:lnTo>
                    <a:pt x="545" y="4"/>
                  </a:lnTo>
                  <a:lnTo>
                    <a:pt x="547" y="10"/>
                  </a:lnTo>
                  <a:lnTo>
                    <a:pt x="548" y="11"/>
                  </a:lnTo>
                  <a:lnTo>
                    <a:pt x="549" y="11"/>
                  </a:lnTo>
                  <a:lnTo>
                    <a:pt x="551" y="10"/>
                  </a:lnTo>
                  <a:lnTo>
                    <a:pt x="551" y="9"/>
                  </a:lnTo>
                  <a:lnTo>
                    <a:pt x="549" y="9"/>
                  </a:lnTo>
                  <a:lnTo>
                    <a:pt x="549" y="3"/>
                  </a:lnTo>
                  <a:lnTo>
                    <a:pt x="548" y="2"/>
                  </a:lnTo>
                  <a:lnTo>
                    <a:pt x="549" y="0"/>
                  </a:lnTo>
                  <a:lnTo>
                    <a:pt x="551" y="0"/>
                  </a:lnTo>
                  <a:lnTo>
                    <a:pt x="551" y="2"/>
                  </a:lnTo>
                  <a:lnTo>
                    <a:pt x="552" y="6"/>
                  </a:lnTo>
                  <a:lnTo>
                    <a:pt x="553" y="7"/>
                  </a:lnTo>
                  <a:lnTo>
                    <a:pt x="554" y="6"/>
                  </a:lnTo>
                  <a:lnTo>
                    <a:pt x="555" y="4"/>
                  </a:lnTo>
                  <a:lnTo>
                    <a:pt x="555" y="2"/>
                  </a:lnTo>
                  <a:lnTo>
                    <a:pt x="558" y="2"/>
                  </a:lnTo>
                  <a:lnTo>
                    <a:pt x="558" y="4"/>
                  </a:lnTo>
                  <a:lnTo>
                    <a:pt x="559" y="7"/>
                  </a:lnTo>
                  <a:lnTo>
                    <a:pt x="559" y="9"/>
                  </a:lnTo>
                  <a:lnTo>
                    <a:pt x="557" y="11"/>
                  </a:lnTo>
                  <a:lnTo>
                    <a:pt x="557" y="15"/>
                  </a:lnTo>
                  <a:lnTo>
                    <a:pt x="555" y="17"/>
                  </a:lnTo>
                  <a:lnTo>
                    <a:pt x="557" y="18"/>
                  </a:lnTo>
                  <a:lnTo>
                    <a:pt x="557" y="19"/>
                  </a:lnTo>
                  <a:lnTo>
                    <a:pt x="558" y="18"/>
                  </a:lnTo>
                  <a:lnTo>
                    <a:pt x="558" y="16"/>
                  </a:lnTo>
                  <a:lnTo>
                    <a:pt x="559" y="13"/>
                  </a:lnTo>
                  <a:lnTo>
                    <a:pt x="559" y="12"/>
                  </a:lnTo>
                  <a:lnTo>
                    <a:pt x="560" y="12"/>
                  </a:lnTo>
                  <a:lnTo>
                    <a:pt x="560" y="10"/>
                  </a:lnTo>
                  <a:lnTo>
                    <a:pt x="563" y="10"/>
                  </a:lnTo>
                  <a:lnTo>
                    <a:pt x="565" y="13"/>
                  </a:lnTo>
                  <a:lnTo>
                    <a:pt x="565" y="15"/>
                  </a:lnTo>
                  <a:lnTo>
                    <a:pt x="563" y="15"/>
                  </a:lnTo>
                  <a:lnTo>
                    <a:pt x="563" y="18"/>
                  </a:lnTo>
                  <a:lnTo>
                    <a:pt x="561" y="21"/>
                  </a:lnTo>
                  <a:lnTo>
                    <a:pt x="563" y="23"/>
                  </a:lnTo>
                  <a:lnTo>
                    <a:pt x="564" y="23"/>
                  </a:lnTo>
                  <a:lnTo>
                    <a:pt x="564" y="21"/>
                  </a:lnTo>
                  <a:lnTo>
                    <a:pt x="565" y="19"/>
                  </a:lnTo>
                  <a:lnTo>
                    <a:pt x="566" y="19"/>
                  </a:lnTo>
                  <a:lnTo>
                    <a:pt x="566" y="22"/>
                  </a:lnTo>
                  <a:lnTo>
                    <a:pt x="567" y="25"/>
                  </a:lnTo>
                  <a:lnTo>
                    <a:pt x="567" y="30"/>
                  </a:lnTo>
                  <a:lnTo>
                    <a:pt x="564" y="30"/>
                  </a:lnTo>
                  <a:lnTo>
                    <a:pt x="561" y="31"/>
                  </a:lnTo>
                  <a:lnTo>
                    <a:pt x="559" y="34"/>
                  </a:lnTo>
                  <a:lnTo>
                    <a:pt x="560" y="35"/>
                  </a:lnTo>
                  <a:lnTo>
                    <a:pt x="560" y="39"/>
                  </a:lnTo>
                  <a:lnTo>
                    <a:pt x="561" y="40"/>
                  </a:lnTo>
                  <a:lnTo>
                    <a:pt x="561" y="42"/>
                  </a:lnTo>
                  <a:lnTo>
                    <a:pt x="558" y="42"/>
                  </a:lnTo>
                  <a:lnTo>
                    <a:pt x="558" y="43"/>
                  </a:lnTo>
                  <a:lnTo>
                    <a:pt x="560" y="45"/>
                  </a:lnTo>
                  <a:lnTo>
                    <a:pt x="561" y="46"/>
                  </a:lnTo>
                  <a:lnTo>
                    <a:pt x="561" y="48"/>
                  </a:lnTo>
                  <a:lnTo>
                    <a:pt x="564" y="48"/>
                  </a:lnTo>
                  <a:lnTo>
                    <a:pt x="561" y="50"/>
                  </a:lnTo>
                  <a:lnTo>
                    <a:pt x="555" y="52"/>
                  </a:lnTo>
                  <a:lnTo>
                    <a:pt x="551" y="52"/>
                  </a:lnTo>
                  <a:lnTo>
                    <a:pt x="547" y="54"/>
                  </a:lnTo>
                  <a:lnTo>
                    <a:pt x="544" y="53"/>
                  </a:lnTo>
                  <a:lnTo>
                    <a:pt x="542" y="54"/>
                  </a:lnTo>
                  <a:lnTo>
                    <a:pt x="542" y="50"/>
                  </a:lnTo>
                  <a:lnTo>
                    <a:pt x="544" y="48"/>
                  </a:lnTo>
                  <a:lnTo>
                    <a:pt x="541" y="48"/>
                  </a:lnTo>
                  <a:lnTo>
                    <a:pt x="539" y="50"/>
                  </a:lnTo>
                  <a:lnTo>
                    <a:pt x="538" y="54"/>
                  </a:lnTo>
                  <a:lnTo>
                    <a:pt x="529" y="62"/>
                  </a:lnTo>
                  <a:lnTo>
                    <a:pt x="528" y="66"/>
                  </a:lnTo>
                  <a:lnTo>
                    <a:pt x="528" y="67"/>
                  </a:lnTo>
                  <a:lnTo>
                    <a:pt x="529" y="66"/>
                  </a:lnTo>
                  <a:lnTo>
                    <a:pt x="530" y="67"/>
                  </a:lnTo>
                  <a:lnTo>
                    <a:pt x="529" y="70"/>
                  </a:lnTo>
                  <a:lnTo>
                    <a:pt x="527" y="71"/>
                  </a:lnTo>
                  <a:lnTo>
                    <a:pt x="524" y="71"/>
                  </a:lnTo>
                  <a:lnTo>
                    <a:pt x="523" y="70"/>
                  </a:lnTo>
                  <a:lnTo>
                    <a:pt x="523" y="67"/>
                  </a:lnTo>
                  <a:lnTo>
                    <a:pt x="526" y="67"/>
                  </a:lnTo>
                  <a:lnTo>
                    <a:pt x="524" y="66"/>
                  </a:lnTo>
                  <a:lnTo>
                    <a:pt x="524" y="65"/>
                  </a:lnTo>
                  <a:lnTo>
                    <a:pt x="526" y="64"/>
                  </a:lnTo>
                  <a:lnTo>
                    <a:pt x="527" y="64"/>
                  </a:lnTo>
                  <a:lnTo>
                    <a:pt x="526" y="62"/>
                  </a:lnTo>
                  <a:lnTo>
                    <a:pt x="514" y="66"/>
                  </a:lnTo>
                  <a:lnTo>
                    <a:pt x="514" y="65"/>
                  </a:lnTo>
                  <a:lnTo>
                    <a:pt x="511" y="64"/>
                  </a:lnTo>
                  <a:lnTo>
                    <a:pt x="511" y="61"/>
                  </a:lnTo>
                  <a:lnTo>
                    <a:pt x="513" y="59"/>
                  </a:lnTo>
                  <a:lnTo>
                    <a:pt x="514" y="58"/>
                  </a:lnTo>
                  <a:lnTo>
                    <a:pt x="516" y="60"/>
                  </a:lnTo>
                  <a:lnTo>
                    <a:pt x="517" y="60"/>
                  </a:lnTo>
                  <a:lnTo>
                    <a:pt x="516" y="56"/>
                  </a:lnTo>
                  <a:lnTo>
                    <a:pt x="521" y="55"/>
                  </a:lnTo>
                  <a:lnTo>
                    <a:pt x="522" y="56"/>
                  </a:lnTo>
                  <a:lnTo>
                    <a:pt x="523" y="56"/>
                  </a:lnTo>
                  <a:lnTo>
                    <a:pt x="524" y="54"/>
                  </a:lnTo>
                  <a:lnTo>
                    <a:pt x="523" y="54"/>
                  </a:lnTo>
                  <a:lnTo>
                    <a:pt x="523" y="53"/>
                  </a:lnTo>
                  <a:lnTo>
                    <a:pt x="527" y="50"/>
                  </a:lnTo>
                  <a:lnTo>
                    <a:pt x="528" y="48"/>
                  </a:lnTo>
                  <a:lnTo>
                    <a:pt x="524" y="50"/>
                  </a:lnTo>
                  <a:lnTo>
                    <a:pt x="523" y="50"/>
                  </a:lnTo>
                  <a:lnTo>
                    <a:pt x="520" y="49"/>
                  </a:lnTo>
                  <a:lnTo>
                    <a:pt x="517" y="49"/>
                  </a:lnTo>
                  <a:lnTo>
                    <a:pt x="517" y="46"/>
                  </a:lnTo>
                  <a:lnTo>
                    <a:pt x="516" y="46"/>
                  </a:lnTo>
                  <a:lnTo>
                    <a:pt x="518" y="45"/>
                  </a:lnTo>
                  <a:lnTo>
                    <a:pt x="524" y="45"/>
                  </a:lnTo>
                  <a:lnTo>
                    <a:pt x="527" y="42"/>
                  </a:lnTo>
                  <a:lnTo>
                    <a:pt x="526" y="42"/>
                  </a:lnTo>
                  <a:lnTo>
                    <a:pt x="526" y="39"/>
                  </a:lnTo>
                  <a:lnTo>
                    <a:pt x="524" y="37"/>
                  </a:lnTo>
                  <a:lnTo>
                    <a:pt x="524" y="40"/>
                  </a:lnTo>
                  <a:lnTo>
                    <a:pt x="521" y="40"/>
                  </a:lnTo>
                  <a:lnTo>
                    <a:pt x="521" y="37"/>
                  </a:lnTo>
                  <a:lnTo>
                    <a:pt x="522" y="36"/>
                  </a:lnTo>
                  <a:lnTo>
                    <a:pt x="518" y="37"/>
                  </a:lnTo>
                  <a:lnTo>
                    <a:pt x="517" y="36"/>
                  </a:lnTo>
                  <a:lnTo>
                    <a:pt x="517" y="34"/>
                  </a:lnTo>
                  <a:lnTo>
                    <a:pt x="527" y="35"/>
                  </a:lnTo>
                  <a:lnTo>
                    <a:pt x="526" y="34"/>
                  </a:lnTo>
                  <a:lnTo>
                    <a:pt x="526" y="33"/>
                  </a:lnTo>
                  <a:lnTo>
                    <a:pt x="523" y="33"/>
                  </a:lnTo>
                  <a:lnTo>
                    <a:pt x="523" y="30"/>
                  </a:lnTo>
                  <a:lnTo>
                    <a:pt x="526" y="30"/>
                  </a:lnTo>
                  <a:lnTo>
                    <a:pt x="524" y="29"/>
                  </a:lnTo>
                  <a:lnTo>
                    <a:pt x="523" y="29"/>
                  </a:lnTo>
                  <a:lnTo>
                    <a:pt x="520" y="30"/>
                  </a:lnTo>
                  <a:lnTo>
                    <a:pt x="516" y="29"/>
                  </a:lnTo>
                  <a:lnTo>
                    <a:pt x="518" y="27"/>
                  </a:lnTo>
                  <a:lnTo>
                    <a:pt x="518" y="24"/>
                  </a:lnTo>
                  <a:lnTo>
                    <a:pt x="521" y="25"/>
                  </a:lnTo>
                  <a:lnTo>
                    <a:pt x="522" y="24"/>
                  </a:lnTo>
                  <a:lnTo>
                    <a:pt x="523" y="24"/>
                  </a:lnTo>
                  <a:lnTo>
                    <a:pt x="523" y="25"/>
                  </a:lnTo>
                  <a:lnTo>
                    <a:pt x="524" y="27"/>
                  </a:lnTo>
                  <a:lnTo>
                    <a:pt x="527" y="24"/>
                  </a:lnTo>
                  <a:lnTo>
                    <a:pt x="533" y="25"/>
                  </a:lnTo>
                  <a:lnTo>
                    <a:pt x="536" y="29"/>
                  </a:lnTo>
                  <a:lnTo>
                    <a:pt x="538" y="29"/>
                  </a:lnTo>
                  <a:lnTo>
                    <a:pt x="538" y="27"/>
                  </a:lnTo>
                  <a:lnTo>
                    <a:pt x="536" y="25"/>
                  </a:lnTo>
                  <a:lnTo>
                    <a:pt x="535" y="25"/>
                  </a:lnTo>
                  <a:lnTo>
                    <a:pt x="534" y="23"/>
                  </a:lnTo>
                  <a:lnTo>
                    <a:pt x="540" y="23"/>
                  </a:lnTo>
                  <a:lnTo>
                    <a:pt x="542" y="21"/>
                  </a:lnTo>
                  <a:lnTo>
                    <a:pt x="535" y="19"/>
                  </a:lnTo>
                  <a:lnTo>
                    <a:pt x="532" y="18"/>
                  </a:lnTo>
                  <a:lnTo>
                    <a:pt x="529" y="12"/>
                  </a:lnTo>
                  <a:lnTo>
                    <a:pt x="530" y="12"/>
                  </a:lnTo>
                  <a:lnTo>
                    <a:pt x="533" y="15"/>
                  </a:lnTo>
                  <a:lnTo>
                    <a:pt x="533" y="16"/>
                  </a:lnTo>
                  <a:lnTo>
                    <a:pt x="534" y="17"/>
                  </a:lnTo>
                  <a:lnTo>
                    <a:pt x="534" y="15"/>
                  </a:lnTo>
                  <a:lnTo>
                    <a:pt x="538" y="15"/>
                  </a:lnTo>
                  <a:lnTo>
                    <a:pt x="536" y="13"/>
                  </a:lnTo>
                  <a:lnTo>
                    <a:pt x="535" y="10"/>
                  </a:lnTo>
                  <a:lnTo>
                    <a:pt x="534" y="10"/>
                  </a:lnTo>
                  <a:lnTo>
                    <a:pt x="534" y="9"/>
                  </a:lnTo>
                  <a:lnTo>
                    <a:pt x="535" y="7"/>
                  </a:lnTo>
                  <a:lnTo>
                    <a:pt x="536" y="9"/>
                  </a:lnTo>
                  <a:lnTo>
                    <a:pt x="539" y="10"/>
                  </a:lnTo>
                  <a:lnTo>
                    <a:pt x="540" y="10"/>
                  </a:lnTo>
                  <a:lnTo>
                    <a:pt x="541" y="11"/>
                  </a:lnTo>
                  <a:lnTo>
                    <a:pt x="541" y="12"/>
                  </a:lnTo>
                  <a:lnTo>
                    <a:pt x="542" y="13"/>
                  </a:lnTo>
                  <a:lnTo>
                    <a:pt x="544" y="13"/>
                  </a:lnTo>
                  <a:lnTo>
                    <a:pt x="547" y="17"/>
                  </a:lnTo>
                  <a:lnTo>
                    <a:pt x="548" y="17"/>
                  </a:lnTo>
                  <a:lnTo>
                    <a:pt x="548" y="16"/>
                  </a:lnTo>
                  <a:lnTo>
                    <a:pt x="547" y="16"/>
                  </a:lnTo>
                  <a:lnTo>
                    <a:pt x="547" y="15"/>
                  </a:lnTo>
                  <a:lnTo>
                    <a:pt x="546" y="13"/>
                  </a:lnTo>
                  <a:lnTo>
                    <a:pt x="546" y="12"/>
                  </a:lnTo>
                  <a:lnTo>
                    <a:pt x="545" y="10"/>
                  </a:lnTo>
                  <a:lnTo>
                    <a:pt x="541" y="6"/>
                  </a:lnTo>
                  <a:lnTo>
                    <a:pt x="541" y="0"/>
                  </a:lnTo>
                  <a:close/>
                </a:path>
              </a:pathLst>
            </a:custGeom>
            <a:solidFill>
              <a:schemeClr val="accent5">
                <a:lumMod val="95000"/>
              </a:schemeClr>
            </a:solidFill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71A410A2-520F-43F8-86B0-EDAB573798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76800" y="1444625"/>
              <a:ext cx="1752600" cy="2095500"/>
            </a:xfrm>
            <a:custGeom>
              <a:avLst/>
              <a:gdLst/>
              <a:ahLst/>
              <a:cxnLst>
                <a:cxn ang="0">
                  <a:pos x="1057" y="156"/>
                </a:cxn>
                <a:cxn ang="0">
                  <a:pos x="605" y="137"/>
                </a:cxn>
                <a:cxn ang="0">
                  <a:pos x="675" y="131"/>
                </a:cxn>
                <a:cxn ang="0">
                  <a:pos x="635" y="136"/>
                </a:cxn>
                <a:cxn ang="0">
                  <a:pos x="775" y="102"/>
                </a:cxn>
                <a:cxn ang="0">
                  <a:pos x="791" y="50"/>
                </a:cxn>
                <a:cxn ang="0">
                  <a:pos x="734" y="67"/>
                </a:cxn>
                <a:cxn ang="0">
                  <a:pos x="772" y="44"/>
                </a:cxn>
                <a:cxn ang="0">
                  <a:pos x="983" y="20"/>
                </a:cxn>
                <a:cxn ang="0">
                  <a:pos x="980" y="112"/>
                </a:cxn>
                <a:cxn ang="0">
                  <a:pos x="1068" y="63"/>
                </a:cxn>
                <a:cxn ang="0">
                  <a:pos x="1045" y="154"/>
                </a:cxn>
                <a:cxn ang="0">
                  <a:pos x="1067" y="199"/>
                </a:cxn>
                <a:cxn ang="0">
                  <a:pos x="880" y="228"/>
                </a:cxn>
                <a:cxn ang="0">
                  <a:pos x="578" y="322"/>
                </a:cxn>
                <a:cxn ang="0">
                  <a:pos x="312" y="1014"/>
                </a:cxn>
                <a:cxn ang="0">
                  <a:pos x="251" y="1223"/>
                </a:cxn>
                <a:cxn ang="0">
                  <a:pos x="230" y="1202"/>
                </a:cxn>
                <a:cxn ang="0">
                  <a:pos x="186" y="1259"/>
                </a:cxn>
                <a:cxn ang="0">
                  <a:pos x="89" y="1315"/>
                </a:cxn>
                <a:cxn ang="0">
                  <a:pos x="23" y="1259"/>
                </a:cxn>
                <a:cxn ang="0">
                  <a:pos x="48" y="1206"/>
                </a:cxn>
                <a:cxn ang="0">
                  <a:pos x="12" y="1204"/>
                </a:cxn>
                <a:cxn ang="0">
                  <a:pos x="56" y="1145"/>
                </a:cxn>
                <a:cxn ang="0">
                  <a:pos x="38" y="1155"/>
                </a:cxn>
                <a:cxn ang="0">
                  <a:pos x="31" y="1117"/>
                </a:cxn>
                <a:cxn ang="0">
                  <a:pos x="6" y="1085"/>
                </a:cxn>
                <a:cxn ang="0">
                  <a:pos x="94" y="1074"/>
                </a:cxn>
                <a:cxn ang="0">
                  <a:pos x="63" y="1061"/>
                </a:cxn>
                <a:cxn ang="0">
                  <a:pos x="25" y="1031"/>
                </a:cxn>
                <a:cxn ang="0">
                  <a:pos x="44" y="997"/>
                </a:cxn>
                <a:cxn ang="0">
                  <a:pos x="12" y="972"/>
                </a:cxn>
                <a:cxn ang="0">
                  <a:pos x="63" y="946"/>
                </a:cxn>
                <a:cxn ang="0">
                  <a:pos x="83" y="924"/>
                </a:cxn>
                <a:cxn ang="0">
                  <a:pos x="99" y="889"/>
                </a:cxn>
                <a:cxn ang="0">
                  <a:pos x="156" y="893"/>
                </a:cxn>
                <a:cxn ang="0">
                  <a:pos x="182" y="843"/>
                </a:cxn>
                <a:cxn ang="0">
                  <a:pos x="250" y="829"/>
                </a:cxn>
                <a:cxn ang="0">
                  <a:pos x="205" y="828"/>
                </a:cxn>
                <a:cxn ang="0">
                  <a:pos x="232" y="768"/>
                </a:cxn>
                <a:cxn ang="0">
                  <a:pos x="274" y="752"/>
                </a:cxn>
                <a:cxn ang="0">
                  <a:pos x="267" y="713"/>
                </a:cxn>
                <a:cxn ang="0">
                  <a:pos x="311" y="670"/>
                </a:cxn>
                <a:cxn ang="0">
                  <a:pos x="332" y="598"/>
                </a:cxn>
                <a:cxn ang="0">
                  <a:pos x="365" y="565"/>
                </a:cxn>
                <a:cxn ang="0">
                  <a:pos x="348" y="527"/>
                </a:cxn>
                <a:cxn ang="0">
                  <a:pos x="406" y="487"/>
                </a:cxn>
                <a:cxn ang="0">
                  <a:pos x="425" y="457"/>
                </a:cxn>
                <a:cxn ang="0">
                  <a:pos x="436" y="432"/>
                </a:cxn>
                <a:cxn ang="0">
                  <a:pos x="423" y="398"/>
                </a:cxn>
                <a:cxn ang="0">
                  <a:pos x="460" y="368"/>
                </a:cxn>
                <a:cxn ang="0">
                  <a:pos x="479" y="365"/>
                </a:cxn>
                <a:cxn ang="0">
                  <a:pos x="524" y="332"/>
                </a:cxn>
                <a:cxn ang="0">
                  <a:pos x="529" y="284"/>
                </a:cxn>
                <a:cxn ang="0">
                  <a:pos x="576" y="213"/>
                </a:cxn>
                <a:cxn ang="0">
                  <a:pos x="616" y="216"/>
                </a:cxn>
                <a:cxn ang="0">
                  <a:pos x="659" y="191"/>
                </a:cxn>
                <a:cxn ang="0">
                  <a:pos x="714" y="142"/>
                </a:cxn>
                <a:cxn ang="0">
                  <a:pos x="744" y="113"/>
                </a:cxn>
                <a:cxn ang="0">
                  <a:pos x="819" y="86"/>
                </a:cxn>
                <a:cxn ang="0">
                  <a:pos x="858" y="39"/>
                </a:cxn>
                <a:cxn ang="0">
                  <a:pos x="851" y="128"/>
                </a:cxn>
                <a:cxn ang="0">
                  <a:pos x="930" y="76"/>
                </a:cxn>
              </a:cxnLst>
              <a:rect l="0" t="0" r="r" b="b"/>
              <a:pathLst>
                <a:path w="1104" h="1320">
                  <a:moveTo>
                    <a:pt x="580" y="158"/>
                  </a:moveTo>
                  <a:lnTo>
                    <a:pt x="582" y="158"/>
                  </a:lnTo>
                  <a:lnTo>
                    <a:pt x="584" y="159"/>
                  </a:lnTo>
                  <a:lnTo>
                    <a:pt x="585" y="159"/>
                  </a:lnTo>
                  <a:lnTo>
                    <a:pt x="584" y="158"/>
                  </a:lnTo>
                  <a:lnTo>
                    <a:pt x="586" y="158"/>
                  </a:lnTo>
                  <a:lnTo>
                    <a:pt x="586" y="159"/>
                  </a:lnTo>
                  <a:lnTo>
                    <a:pt x="588" y="160"/>
                  </a:lnTo>
                  <a:lnTo>
                    <a:pt x="588" y="161"/>
                  </a:lnTo>
                  <a:lnTo>
                    <a:pt x="586" y="162"/>
                  </a:lnTo>
                  <a:lnTo>
                    <a:pt x="589" y="162"/>
                  </a:lnTo>
                  <a:lnTo>
                    <a:pt x="594" y="164"/>
                  </a:lnTo>
                  <a:lnTo>
                    <a:pt x="594" y="165"/>
                  </a:lnTo>
                  <a:lnTo>
                    <a:pt x="596" y="167"/>
                  </a:lnTo>
                  <a:lnTo>
                    <a:pt x="596" y="172"/>
                  </a:lnTo>
                  <a:lnTo>
                    <a:pt x="595" y="174"/>
                  </a:lnTo>
                  <a:lnTo>
                    <a:pt x="592" y="176"/>
                  </a:lnTo>
                  <a:lnTo>
                    <a:pt x="590" y="180"/>
                  </a:lnTo>
                  <a:lnTo>
                    <a:pt x="589" y="182"/>
                  </a:lnTo>
                  <a:lnTo>
                    <a:pt x="586" y="182"/>
                  </a:lnTo>
                  <a:lnTo>
                    <a:pt x="584" y="184"/>
                  </a:lnTo>
                  <a:lnTo>
                    <a:pt x="584" y="188"/>
                  </a:lnTo>
                  <a:lnTo>
                    <a:pt x="586" y="190"/>
                  </a:lnTo>
                  <a:lnTo>
                    <a:pt x="586" y="194"/>
                  </a:lnTo>
                  <a:lnTo>
                    <a:pt x="584" y="196"/>
                  </a:lnTo>
                  <a:lnTo>
                    <a:pt x="583" y="196"/>
                  </a:lnTo>
                  <a:lnTo>
                    <a:pt x="578" y="195"/>
                  </a:lnTo>
                  <a:lnTo>
                    <a:pt x="576" y="197"/>
                  </a:lnTo>
                  <a:lnTo>
                    <a:pt x="572" y="197"/>
                  </a:lnTo>
                  <a:lnTo>
                    <a:pt x="563" y="201"/>
                  </a:lnTo>
                  <a:lnTo>
                    <a:pt x="560" y="201"/>
                  </a:lnTo>
                  <a:lnTo>
                    <a:pt x="555" y="196"/>
                  </a:lnTo>
                  <a:lnTo>
                    <a:pt x="553" y="196"/>
                  </a:lnTo>
                  <a:lnTo>
                    <a:pt x="551" y="194"/>
                  </a:lnTo>
                  <a:lnTo>
                    <a:pt x="553" y="191"/>
                  </a:lnTo>
                  <a:lnTo>
                    <a:pt x="553" y="189"/>
                  </a:lnTo>
                  <a:lnTo>
                    <a:pt x="554" y="190"/>
                  </a:lnTo>
                  <a:lnTo>
                    <a:pt x="555" y="190"/>
                  </a:lnTo>
                  <a:lnTo>
                    <a:pt x="555" y="189"/>
                  </a:lnTo>
                  <a:lnTo>
                    <a:pt x="557" y="189"/>
                  </a:lnTo>
                  <a:lnTo>
                    <a:pt x="557" y="188"/>
                  </a:lnTo>
                  <a:lnTo>
                    <a:pt x="561" y="189"/>
                  </a:lnTo>
                  <a:lnTo>
                    <a:pt x="564" y="191"/>
                  </a:lnTo>
                  <a:lnTo>
                    <a:pt x="564" y="192"/>
                  </a:lnTo>
                  <a:lnTo>
                    <a:pt x="563" y="192"/>
                  </a:lnTo>
                  <a:lnTo>
                    <a:pt x="563" y="194"/>
                  </a:lnTo>
                  <a:lnTo>
                    <a:pt x="564" y="194"/>
                  </a:lnTo>
                  <a:lnTo>
                    <a:pt x="564" y="192"/>
                  </a:lnTo>
                  <a:lnTo>
                    <a:pt x="565" y="191"/>
                  </a:lnTo>
                  <a:lnTo>
                    <a:pt x="565" y="190"/>
                  </a:lnTo>
                  <a:lnTo>
                    <a:pt x="566" y="190"/>
                  </a:lnTo>
                  <a:lnTo>
                    <a:pt x="567" y="189"/>
                  </a:lnTo>
                  <a:lnTo>
                    <a:pt x="567" y="188"/>
                  </a:lnTo>
                  <a:lnTo>
                    <a:pt x="568" y="188"/>
                  </a:lnTo>
                  <a:lnTo>
                    <a:pt x="567" y="188"/>
                  </a:lnTo>
                  <a:lnTo>
                    <a:pt x="565" y="189"/>
                  </a:lnTo>
                  <a:lnTo>
                    <a:pt x="564" y="189"/>
                  </a:lnTo>
                  <a:lnTo>
                    <a:pt x="564" y="188"/>
                  </a:lnTo>
                  <a:lnTo>
                    <a:pt x="559" y="179"/>
                  </a:lnTo>
                  <a:lnTo>
                    <a:pt x="560" y="178"/>
                  </a:lnTo>
                  <a:lnTo>
                    <a:pt x="565" y="179"/>
                  </a:lnTo>
                  <a:lnTo>
                    <a:pt x="572" y="179"/>
                  </a:lnTo>
                  <a:lnTo>
                    <a:pt x="577" y="182"/>
                  </a:lnTo>
                  <a:lnTo>
                    <a:pt x="578" y="180"/>
                  </a:lnTo>
                  <a:lnTo>
                    <a:pt x="577" y="179"/>
                  </a:lnTo>
                  <a:lnTo>
                    <a:pt x="567" y="178"/>
                  </a:lnTo>
                  <a:lnTo>
                    <a:pt x="566" y="177"/>
                  </a:lnTo>
                  <a:lnTo>
                    <a:pt x="566" y="174"/>
                  </a:lnTo>
                  <a:lnTo>
                    <a:pt x="565" y="172"/>
                  </a:lnTo>
                  <a:lnTo>
                    <a:pt x="565" y="171"/>
                  </a:lnTo>
                  <a:lnTo>
                    <a:pt x="566" y="168"/>
                  </a:lnTo>
                  <a:lnTo>
                    <a:pt x="568" y="168"/>
                  </a:lnTo>
                  <a:lnTo>
                    <a:pt x="570" y="171"/>
                  </a:lnTo>
                  <a:lnTo>
                    <a:pt x="572" y="171"/>
                  </a:lnTo>
                  <a:lnTo>
                    <a:pt x="572" y="174"/>
                  </a:lnTo>
                  <a:lnTo>
                    <a:pt x="573" y="173"/>
                  </a:lnTo>
                  <a:lnTo>
                    <a:pt x="573" y="172"/>
                  </a:lnTo>
                  <a:lnTo>
                    <a:pt x="574" y="171"/>
                  </a:lnTo>
                  <a:lnTo>
                    <a:pt x="574" y="168"/>
                  </a:lnTo>
                  <a:lnTo>
                    <a:pt x="576" y="167"/>
                  </a:lnTo>
                  <a:lnTo>
                    <a:pt x="579" y="167"/>
                  </a:lnTo>
                  <a:lnTo>
                    <a:pt x="578" y="173"/>
                  </a:lnTo>
                  <a:lnTo>
                    <a:pt x="579" y="178"/>
                  </a:lnTo>
                  <a:lnTo>
                    <a:pt x="582" y="182"/>
                  </a:lnTo>
                  <a:lnTo>
                    <a:pt x="584" y="182"/>
                  </a:lnTo>
                  <a:lnTo>
                    <a:pt x="583" y="180"/>
                  </a:lnTo>
                  <a:lnTo>
                    <a:pt x="583" y="174"/>
                  </a:lnTo>
                  <a:lnTo>
                    <a:pt x="585" y="170"/>
                  </a:lnTo>
                  <a:lnTo>
                    <a:pt x="584" y="168"/>
                  </a:lnTo>
                  <a:lnTo>
                    <a:pt x="580" y="164"/>
                  </a:lnTo>
                  <a:lnTo>
                    <a:pt x="580" y="162"/>
                  </a:lnTo>
                  <a:lnTo>
                    <a:pt x="579" y="160"/>
                  </a:lnTo>
                  <a:lnTo>
                    <a:pt x="580" y="158"/>
                  </a:lnTo>
                  <a:close/>
                  <a:moveTo>
                    <a:pt x="1051" y="154"/>
                  </a:moveTo>
                  <a:lnTo>
                    <a:pt x="1052" y="154"/>
                  </a:lnTo>
                  <a:lnTo>
                    <a:pt x="1056" y="155"/>
                  </a:lnTo>
                  <a:lnTo>
                    <a:pt x="1057" y="156"/>
                  </a:lnTo>
                  <a:lnTo>
                    <a:pt x="1057" y="160"/>
                  </a:lnTo>
                  <a:lnTo>
                    <a:pt x="1058" y="160"/>
                  </a:lnTo>
                  <a:lnTo>
                    <a:pt x="1058" y="164"/>
                  </a:lnTo>
                  <a:lnTo>
                    <a:pt x="1062" y="164"/>
                  </a:lnTo>
                  <a:lnTo>
                    <a:pt x="1062" y="166"/>
                  </a:lnTo>
                  <a:lnTo>
                    <a:pt x="1055" y="170"/>
                  </a:lnTo>
                  <a:lnTo>
                    <a:pt x="1054" y="171"/>
                  </a:lnTo>
                  <a:lnTo>
                    <a:pt x="1051" y="168"/>
                  </a:lnTo>
                  <a:lnTo>
                    <a:pt x="1050" y="170"/>
                  </a:lnTo>
                  <a:lnTo>
                    <a:pt x="1051" y="171"/>
                  </a:lnTo>
                  <a:lnTo>
                    <a:pt x="1051" y="172"/>
                  </a:lnTo>
                  <a:lnTo>
                    <a:pt x="1049" y="173"/>
                  </a:lnTo>
                  <a:lnTo>
                    <a:pt x="1045" y="172"/>
                  </a:lnTo>
                  <a:lnTo>
                    <a:pt x="1049" y="165"/>
                  </a:lnTo>
                  <a:lnTo>
                    <a:pt x="1050" y="164"/>
                  </a:lnTo>
                  <a:lnTo>
                    <a:pt x="1050" y="156"/>
                  </a:lnTo>
                  <a:lnTo>
                    <a:pt x="1051" y="154"/>
                  </a:lnTo>
                  <a:close/>
                  <a:moveTo>
                    <a:pt x="666" y="154"/>
                  </a:moveTo>
                  <a:lnTo>
                    <a:pt x="666" y="156"/>
                  </a:lnTo>
                  <a:lnTo>
                    <a:pt x="665" y="156"/>
                  </a:lnTo>
                  <a:lnTo>
                    <a:pt x="665" y="160"/>
                  </a:lnTo>
                  <a:lnTo>
                    <a:pt x="666" y="164"/>
                  </a:lnTo>
                  <a:lnTo>
                    <a:pt x="665" y="166"/>
                  </a:lnTo>
                  <a:lnTo>
                    <a:pt x="664" y="167"/>
                  </a:lnTo>
                  <a:lnTo>
                    <a:pt x="661" y="168"/>
                  </a:lnTo>
                  <a:lnTo>
                    <a:pt x="659" y="168"/>
                  </a:lnTo>
                  <a:lnTo>
                    <a:pt x="658" y="166"/>
                  </a:lnTo>
                  <a:lnTo>
                    <a:pt x="658" y="161"/>
                  </a:lnTo>
                  <a:lnTo>
                    <a:pt x="659" y="159"/>
                  </a:lnTo>
                  <a:lnTo>
                    <a:pt x="659" y="156"/>
                  </a:lnTo>
                  <a:lnTo>
                    <a:pt x="660" y="155"/>
                  </a:lnTo>
                  <a:lnTo>
                    <a:pt x="661" y="155"/>
                  </a:lnTo>
                  <a:lnTo>
                    <a:pt x="666" y="154"/>
                  </a:lnTo>
                  <a:close/>
                  <a:moveTo>
                    <a:pt x="706" y="149"/>
                  </a:moveTo>
                  <a:lnTo>
                    <a:pt x="709" y="149"/>
                  </a:lnTo>
                  <a:lnTo>
                    <a:pt x="709" y="151"/>
                  </a:lnTo>
                  <a:lnTo>
                    <a:pt x="708" y="152"/>
                  </a:lnTo>
                  <a:lnTo>
                    <a:pt x="707" y="152"/>
                  </a:lnTo>
                  <a:lnTo>
                    <a:pt x="707" y="151"/>
                  </a:lnTo>
                  <a:lnTo>
                    <a:pt x="706" y="149"/>
                  </a:lnTo>
                  <a:close/>
                  <a:moveTo>
                    <a:pt x="626" y="143"/>
                  </a:moveTo>
                  <a:lnTo>
                    <a:pt x="628" y="143"/>
                  </a:lnTo>
                  <a:lnTo>
                    <a:pt x="629" y="145"/>
                  </a:lnTo>
                  <a:lnTo>
                    <a:pt x="629" y="149"/>
                  </a:lnTo>
                  <a:lnTo>
                    <a:pt x="627" y="153"/>
                  </a:lnTo>
                  <a:lnTo>
                    <a:pt x="624" y="160"/>
                  </a:lnTo>
                  <a:lnTo>
                    <a:pt x="622" y="161"/>
                  </a:lnTo>
                  <a:lnTo>
                    <a:pt x="614" y="164"/>
                  </a:lnTo>
                  <a:lnTo>
                    <a:pt x="611" y="162"/>
                  </a:lnTo>
                  <a:lnTo>
                    <a:pt x="613" y="161"/>
                  </a:lnTo>
                  <a:lnTo>
                    <a:pt x="615" y="156"/>
                  </a:lnTo>
                  <a:lnTo>
                    <a:pt x="616" y="153"/>
                  </a:lnTo>
                  <a:lnTo>
                    <a:pt x="619" y="152"/>
                  </a:lnTo>
                  <a:lnTo>
                    <a:pt x="623" y="148"/>
                  </a:lnTo>
                  <a:lnTo>
                    <a:pt x="624" y="146"/>
                  </a:lnTo>
                  <a:lnTo>
                    <a:pt x="626" y="145"/>
                  </a:lnTo>
                  <a:lnTo>
                    <a:pt x="626" y="143"/>
                  </a:lnTo>
                  <a:close/>
                  <a:moveTo>
                    <a:pt x="634" y="140"/>
                  </a:moveTo>
                  <a:lnTo>
                    <a:pt x="635" y="140"/>
                  </a:lnTo>
                  <a:lnTo>
                    <a:pt x="635" y="141"/>
                  </a:lnTo>
                  <a:lnTo>
                    <a:pt x="634" y="142"/>
                  </a:lnTo>
                  <a:lnTo>
                    <a:pt x="632" y="142"/>
                  </a:lnTo>
                  <a:lnTo>
                    <a:pt x="632" y="141"/>
                  </a:lnTo>
                  <a:lnTo>
                    <a:pt x="633" y="141"/>
                  </a:lnTo>
                  <a:lnTo>
                    <a:pt x="634" y="140"/>
                  </a:lnTo>
                  <a:close/>
                  <a:moveTo>
                    <a:pt x="672" y="137"/>
                  </a:moveTo>
                  <a:lnTo>
                    <a:pt x="673" y="139"/>
                  </a:lnTo>
                  <a:lnTo>
                    <a:pt x="676" y="142"/>
                  </a:lnTo>
                  <a:lnTo>
                    <a:pt x="676" y="143"/>
                  </a:lnTo>
                  <a:lnTo>
                    <a:pt x="682" y="142"/>
                  </a:lnTo>
                  <a:lnTo>
                    <a:pt x="677" y="146"/>
                  </a:lnTo>
                  <a:lnTo>
                    <a:pt x="677" y="148"/>
                  </a:lnTo>
                  <a:lnTo>
                    <a:pt x="676" y="149"/>
                  </a:lnTo>
                  <a:lnTo>
                    <a:pt x="673" y="151"/>
                  </a:lnTo>
                  <a:lnTo>
                    <a:pt x="671" y="151"/>
                  </a:lnTo>
                  <a:lnTo>
                    <a:pt x="670" y="149"/>
                  </a:lnTo>
                  <a:lnTo>
                    <a:pt x="667" y="145"/>
                  </a:lnTo>
                  <a:lnTo>
                    <a:pt x="667" y="143"/>
                  </a:lnTo>
                  <a:lnTo>
                    <a:pt x="670" y="139"/>
                  </a:lnTo>
                  <a:lnTo>
                    <a:pt x="671" y="139"/>
                  </a:lnTo>
                  <a:lnTo>
                    <a:pt x="672" y="137"/>
                  </a:lnTo>
                  <a:close/>
                  <a:moveTo>
                    <a:pt x="679" y="135"/>
                  </a:moveTo>
                  <a:lnTo>
                    <a:pt x="679" y="136"/>
                  </a:lnTo>
                  <a:lnTo>
                    <a:pt x="681" y="139"/>
                  </a:lnTo>
                  <a:lnTo>
                    <a:pt x="679" y="140"/>
                  </a:lnTo>
                  <a:lnTo>
                    <a:pt x="676" y="141"/>
                  </a:lnTo>
                  <a:lnTo>
                    <a:pt x="677" y="139"/>
                  </a:lnTo>
                  <a:lnTo>
                    <a:pt x="678" y="137"/>
                  </a:lnTo>
                  <a:lnTo>
                    <a:pt x="679" y="135"/>
                  </a:lnTo>
                  <a:close/>
                  <a:moveTo>
                    <a:pt x="602" y="131"/>
                  </a:moveTo>
                  <a:lnTo>
                    <a:pt x="603" y="131"/>
                  </a:lnTo>
                  <a:lnTo>
                    <a:pt x="603" y="135"/>
                  </a:lnTo>
                  <a:lnTo>
                    <a:pt x="604" y="135"/>
                  </a:lnTo>
                  <a:lnTo>
                    <a:pt x="607" y="133"/>
                  </a:lnTo>
                  <a:lnTo>
                    <a:pt x="608" y="134"/>
                  </a:lnTo>
                  <a:lnTo>
                    <a:pt x="607" y="135"/>
                  </a:lnTo>
                  <a:lnTo>
                    <a:pt x="605" y="137"/>
                  </a:lnTo>
                  <a:lnTo>
                    <a:pt x="605" y="140"/>
                  </a:lnTo>
                  <a:lnTo>
                    <a:pt x="608" y="141"/>
                  </a:lnTo>
                  <a:lnTo>
                    <a:pt x="610" y="145"/>
                  </a:lnTo>
                  <a:lnTo>
                    <a:pt x="611" y="145"/>
                  </a:lnTo>
                  <a:lnTo>
                    <a:pt x="611" y="142"/>
                  </a:lnTo>
                  <a:lnTo>
                    <a:pt x="614" y="137"/>
                  </a:lnTo>
                  <a:lnTo>
                    <a:pt x="616" y="136"/>
                  </a:lnTo>
                  <a:lnTo>
                    <a:pt x="617" y="136"/>
                  </a:lnTo>
                  <a:lnTo>
                    <a:pt x="617" y="137"/>
                  </a:lnTo>
                  <a:lnTo>
                    <a:pt x="619" y="140"/>
                  </a:lnTo>
                  <a:lnTo>
                    <a:pt x="619" y="141"/>
                  </a:lnTo>
                  <a:lnTo>
                    <a:pt x="617" y="142"/>
                  </a:lnTo>
                  <a:lnTo>
                    <a:pt x="617" y="143"/>
                  </a:lnTo>
                  <a:lnTo>
                    <a:pt x="619" y="145"/>
                  </a:lnTo>
                  <a:lnTo>
                    <a:pt x="619" y="143"/>
                  </a:lnTo>
                  <a:lnTo>
                    <a:pt x="620" y="142"/>
                  </a:lnTo>
                  <a:lnTo>
                    <a:pt x="620" y="141"/>
                  </a:lnTo>
                  <a:lnTo>
                    <a:pt x="622" y="141"/>
                  </a:lnTo>
                  <a:lnTo>
                    <a:pt x="622" y="145"/>
                  </a:lnTo>
                  <a:lnTo>
                    <a:pt x="621" y="147"/>
                  </a:lnTo>
                  <a:lnTo>
                    <a:pt x="616" y="149"/>
                  </a:lnTo>
                  <a:lnTo>
                    <a:pt x="616" y="152"/>
                  </a:lnTo>
                  <a:lnTo>
                    <a:pt x="615" y="153"/>
                  </a:lnTo>
                  <a:lnTo>
                    <a:pt x="615" y="155"/>
                  </a:lnTo>
                  <a:lnTo>
                    <a:pt x="614" y="155"/>
                  </a:lnTo>
                  <a:lnTo>
                    <a:pt x="614" y="158"/>
                  </a:lnTo>
                  <a:lnTo>
                    <a:pt x="611" y="159"/>
                  </a:lnTo>
                  <a:lnTo>
                    <a:pt x="611" y="162"/>
                  </a:lnTo>
                  <a:lnTo>
                    <a:pt x="608" y="166"/>
                  </a:lnTo>
                  <a:lnTo>
                    <a:pt x="598" y="170"/>
                  </a:lnTo>
                  <a:lnTo>
                    <a:pt x="597" y="167"/>
                  </a:lnTo>
                  <a:lnTo>
                    <a:pt x="596" y="164"/>
                  </a:lnTo>
                  <a:lnTo>
                    <a:pt x="586" y="155"/>
                  </a:lnTo>
                  <a:lnTo>
                    <a:pt x="584" y="154"/>
                  </a:lnTo>
                  <a:lnTo>
                    <a:pt x="582" y="149"/>
                  </a:lnTo>
                  <a:lnTo>
                    <a:pt x="584" y="149"/>
                  </a:lnTo>
                  <a:lnTo>
                    <a:pt x="588" y="151"/>
                  </a:lnTo>
                  <a:lnTo>
                    <a:pt x="589" y="151"/>
                  </a:lnTo>
                  <a:lnTo>
                    <a:pt x="590" y="148"/>
                  </a:lnTo>
                  <a:lnTo>
                    <a:pt x="591" y="147"/>
                  </a:lnTo>
                  <a:lnTo>
                    <a:pt x="589" y="147"/>
                  </a:lnTo>
                  <a:lnTo>
                    <a:pt x="588" y="146"/>
                  </a:lnTo>
                  <a:lnTo>
                    <a:pt x="586" y="143"/>
                  </a:lnTo>
                  <a:lnTo>
                    <a:pt x="588" y="141"/>
                  </a:lnTo>
                  <a:lnTo>
                    <a:pt x="589" y="141"/>
                  </a:lnTo>
                  <a:lnTo>
                    <a:pt x="591" y="140"/>
                  </a:lnTo>
                  <a:lnTo>
                    <a:pt x="594" y="141"/>
                  </a:lnTo>
                  <a:lnTo>
                    <a:pt x="594" y="140"/>
                  </a:lnTo>
                  <a:lnTo>
                    <a:pt x="595" y="139"/>
                  </a:lnTo>
                  <a:lnTo>
                    <a:pt x="596" y="139"/>
                  </a:lnTo>
                  <a:lnTo>
                    <a:pt x="596" y="141"/>
                  </a:lnTo>
                  <a:lnTo>
                    <a:pt x="597" y="141"/>
                  </a:lnTo>
                  <a:lnTo>
                    <a:pt x="598" y="140"/>
                  </a:lnTo>
                  <a:lnTo>
                    <a:pt x="598" y="139"/>
                  </a:lnTo>
                  <a:lnTo>
                    <a:pt x="596" y="136"/>
                  </a:lnTo>
                  <a:lnTo>
                    <a:pt x="596" y="134"/>
                  </a:lnTo>
                  <a:lnTo>
                    <a:pt x="597" y="135"/>
                  </a:lnTo>
                  <a:lnTo>
                    <a:pt x="598" y="135"/>
                  </a:lnTo>
                  <a:lnTo>
                    <a:pt x="598" y="134"/>
                  </a:lnTo>
                  <a:lnTo>
                    <a:pt x="602" y="131"/>
                  </a:lnTo>
                  <a:close/>
                  <a:moveTo>
                    <a:pt x="582" y="129"/>
                  </a:moveTo>
                  <a:lnTo>
                    <a:pt x="583" y="129"/>
                  </a:lnTo>
                  <a:lnTo>
                    <a:pt x="584" y="130"/>
                  </a:lnTo>
                  <a:lnTo>
                    <a:pt x="585" y="133"/>
                  </a:lnTo>
                  <a:lnTo>
                    <a:pt x="585" y="136"/>
                  </a:lnTo>
                  <a:lnTo>
                    <a:pt x="586" y="135"/>
                  </a:lnTo>
                  <a:lnTo>
                    <a:pt x="586" y="134"/>
                  </a:lnTo>
                  <a:lnTo>
                    <a:pt x="589" y="130"/>
                  </a:lnTo>
                  <a:lnTo>
                    <a:pt x="590" y="130"/>
                  </a:lnTo>
                  <a:lnTo>
                    <a:pt x="590" y="131"/>
                  </a:lnTo>
                  <a:lnTo>
                    <a:pt x="592" y="133"/>
                  </a:lnTo>
                  <a:lnTo>
                    <a:pt x="592" y="135"/>
                  </a:lnTo>
                  <a:lnTo>
                    <a:pt x="590" y="137"/>
                  </a:lnTo>
                  <a:lnTo>
                    <a:pt x="586" y="139"/>
                  </a:lnTo>
                  <a:lnTo>
                    <a:pt x="584" y="141"/>
                  </a:lnTo>
                  <a:lnTo>
                    <a:pt x="583" y="143"/>
                  </a:lnTo>
                  <a:lnTo>
                    <a:pt x="580" y="146"/>
                  </a:lnTo>
                  <a:lnTo>
                    <a:pt x="580" y="145"/>
                  </a:lnTo>
                  <a:lnTo>
                    <a:pt x="579" y="143"/>
                  </a:lnTo>
                  <a:lnTo>
                    <a:pt x="579" y="142"/>
                  </a:lnTo>
                  <a:lnTo>
                    <a:pt x="580" y="141"/>
                  </a:lnTo>
                  <a:lnTo>
                    <a:pt x="580" y="140"/>
                  </a:lnTo>
                  <a:lnTo>
                    <a:pt x="579" y="140"/>
                  </a:lnTo>
                  <a:lnTo>
                    <a:pt x="579" y="137"/>
                  </a:lnTo>
                  <a:lnTo>
                    <a:pt x="580" y="135"/>
                  </a:lnTo>
                  <a:lnTo>
                    <a:pt x="580" y="134"/>
                  </a:lnTo>
                  <a:lnTo>
                    <a:pt x="582" y="133"/>
                  </a:lnTo>
                  <a:lnTo>
                    <a:pt x="582" y="129"/>
                  </a:lnTo>
                  <a:close/>
                  <a:moveTo>
                    <a:pt x="851" y="127"/>
                  </a:moveTo>
                  <a:lnTo>
                    <a:pt x="852" y="127"/>
                  </a:lnTo>
                  <a:lnTo>
                    <a:pt x="852" y="128"/>
                  </a:lnTo>
                  <a:lnTo>
                    <a:pt x="851" y="128"/>
                  </a:lnTo>
                  <a:lnTo>
                    <a:pt x="851" y="127"/>
                  </a:lnTo>
                  <a:close/>
                  <a:moveTo>
                    <a:pt x="671" y="124"/>
                  </a:moveTo>
                  <a:lnTo>
                    <a:pt x="672" y="125"/>
                  </a:lnTo>
                  <a:lnTo>
                    <a:pt x="675" y="130"/>
                  </a:lnTo>
                  <a:lnTo>
                    <a:pt x="675" y="131"/>
                  </a:lnTo>
                  <a:lnTo>
                    <a:pt x="673" y="134"/>
                  </a:lnTo>
                  <a:lnTo>
                    <a:pt x="672" y="135"/>
                  </a:lnTo>
                  <a:lnTo>
                    <a:pt x="671" y="134"/>
                  </a:lnTo>
                  <a:lnTo>
                    <a:pt x="670" y="134"/>
                  </a:lnTo>
                  <a:lnTo>
                    <a:pt x="670" y="125"/>
                  </a:lnTo>
                  <a:lnTo>
                    <a:pt x="671" y="124"/>
                  </a:lnTo>
                  <a:close/>
                  <a:moveTo>
                    <a:pt x="610" y="123"/>
                  </a:moveTo>
                  <a:lnTo>
                    <a:pt x="613" y="124"/>
                  </a:lnTo>
                  <a:lnTo>
                    <a:pt x="617" y="128"/>
                  </a:lnTo>
                  <a:lnTo>
                    <a:pt x="617" y="131"/>
                  </a:lnTo>
                  <a:lnTo>
                    <a:pt x="614" y="131"/>
                  </a:lnTo>
                  <a:lnTo>
                    <a:pt x="609" y="129"/>
                  </a:lnTo>
                  <a:lnTo>
                    <a:pt x="608" y="129"/>
                  </a:lnTo>
                  <a:lnTo>
                    <a:pt x="608" y="125"/>
                  </a:lnTo>
                  <a:lnTo>
                    <a:pt x="610" y="123"/>
                  </a:lnTo>
                  <a:close/>
                  <a:moveTo>
                    <a:pt x="660" y="113"/>
                  </a:moveTo>
                  <a:lnTo>
                    <a:pt x="666" y="113"/>
                  </a:lnTo>
                  <a:lnTo>
                    <a:pt x="669" y="115"/>
                  </a:lnTo>
                  <a:lnTo>
                    <a:pt x="671" y="117"/>
                  </a:lnTo>
                  <a:lnTo>
                    <a:pt x="671" y="119"/>
                  </a:lnTo>
                  <a:lnTo>
                    <a:pt x="669" y="124"/>
                  </a:lnTo>
                  <a:lnTo>
                    <a:pt x="669" y="131"/>
                  </a:lnTo>
                  <a:lnTo>
                    <a:pt x="670" y="134"/>
                  </a:lnTo>
                  <a:lnTo>
                    <a:pt x="670" y="135"/>
                  </a:lnTo>
                  <a:lnTo>
                    <a:pt x="669" y="136"/>
                  </a:lnTo>
                  <a:lnTo>
                    <a:pt x="666" y="136"/>
                  </a:lnTo>
                  <a:lnTo>
                    <a:pt x="665" y="135"/>
                  </a:lnTo>
                  <a:lnTo>
                    <a:pt x="664" y="135"/>
                  </a:lnTo>
                  <a:lnTo>
                    <a:pt x="664" y="136"/>
                  </a:lnTo>
                  <a:lnTo>
                    <a:pt x="663" y="137"/>
                  </a:lnTo>
                  <a:lnTo>
                    <a:pt x="660" y="137"/>
                  </a:lnTo>
                  <a:lnTo>
                    <a:pt x="661" y="136"/>
                  </a:lnTo>
                  <a:lnTo>
                    <a:pt x="661" y="131"/>
                  </a:lnTo>
                  <a:lnTo>
                    <a:pt x="660" y="130"/>
                  </a:lnTo>
                  <a:lnTo>
                    <a:pt x="659" y="130"/>
                  </a:lnTo>
                  <a:lnTo>
                    <a:pt x="659" y="134"/>
                  </a:lnTo>
                  <a:lnTo>
                    <a:pt x="658" y="134"/>
                  </a:lnTo>
                  <a:lnTo>
                    <a:pt x="658" y="136"/>
                  </a:lnTo>
                  <a:lnTo>
                    <a:pt x="657" y="136"/>
                  </a:lnTo>
                  <a:lnTo>
                    <a:pt x="655" y="135"/>
                  </a:lnTo>
                  <a:lnTo>
                    <a:pt x="654" y="135"/>
                  </a:lnTo>
                  <a:lnTo>
                    <a:pt x="653" y="134"/>
                  </a:lnTo>
                  <a:lnTo>
                    <a:pt x="653" y="133"/>
                  </a:lnTo>
                  <a:lnTo>
                    <a:pt x="652" y="131"/>
                  </a:lnTo>
                  <a:lnTo>
                    <a:pt x="652" y="128"/>
                  </a:lnTo>
                  <a:lnTo>
                    <a:pt x="653" y="124"/>
                  </a:lnTo>
                  <a:lnTo>
                    <a:pt x="653" y="122"/>
                  </a:lnTo>
                  <a:lnTo>
                    <a:pt x="655" y="119"/>
                  </a:lnTo>
                  <a:lnTo>
                    <a:pt x="658" y="118"/>
                  </a:lnTo>
                  <a:lnTo>
                    <a:pt x="659" y="117"/>
                  </a:lnTo>
                  <a:lnTo>
                    <a:pt x="659" y="115"/>
                  </a:lnTo>
                  <a:lnTo>
                    <a:pt x="660" y="113"/>
                  </a:lnTo>
                  <a:close/>
                  <a:moveTo>
                    <a:pt x="601" y="111"/>
                  </a:moveTo>
                  <a:lnTo>
                    <a:pt x="602" y="112"/>
                  </a:lnTo>
                  <a:lnTo>
                    <a:pt x="603" y="112"/>
                  </a:lnTo>
                  <a:lnTo>
                    <a:pt x="603" y="117"/>
                  </a:lnTo>
                  <a:lnTo>
                    <a:pt x="604" y="118"/>
                  </a:lnTo>
                  <a:lnTo>
                    <a:pt x="604" y="122"/>
                  </a:lnTo>
                  <a:lnTo>
                    <a:pt x="603" y="123"/>
                  </a:lnTo>
                  <a:lnTo>
                    <a:pt x="603" y="127"/>
                  </a:lnTo>
                  <a:lnTo>
                    <a:pt x="599" y="130"/>
                  </a:lnTo>
                  <a:lnTo>
                    <a:pt x="595" y="125"/>
                  </a:lnTo>
                  <a:lnTo>
                    <a:pt x="594" y="125"/>
                  </a:lnTo>
                  <a:lnTo>
                    <a:pt x="594" y="124"/>
                  </a:lnTo>
                  <a:lnTo>
                    <a:pt x="596" y="122"/>
                  </a:lnTo>
                  <a:lnTo>
                    <a:pt x="597" y="123"/>
                  </a:lnTo>
                  <a:lnTo>
                    <a:pt x="597" y="124"/>
                  </a:lnTo>
                  <a:lnTo>
                    <a:pt x="598" y="124"/>
                  </a:lnTo>
                  <a:lnTo>
                    <a:pt x="598" y="119"/>
                  </a:lnTo>
                  <a:lnTo>
                    <a:pt x="599" y="119"/>
                  </a:lnTo>
                  <a:lnTo>
                    <a:pt x="599" y="118"/>
                  </a:lnTo>
                  <a:lnTo>
                    <a:pt x="598" y="117"/>
                  </a:lnTo>
                  <a:lnTo>
                    <a:pt x="598" y="116"/>
                  </a:lnTo>
                  <a:lnTo>
                    <a:pt x="597" y="115"/>
                  </a:lnTo>
                  <a:lnTo>
                    <a:pt x="597" y="113"/>
                  </a:lnTo>
                  <a:lnTo>
                    <a:pt x="601" y="113"/>
                  </a:lnTo>
                  <a:lnTo>
                    <a:pt x="601" y="111"/>
                  </a:lnTo>
                  <a:close/>
                  <a:moveTo>
                    <a:pt x="622" y="108"/>
                  </a:moveTo>
                  <a:lnTo>
                    <a:pt x="623" y="110"/>
                  </a:lnTo>
                  <a:lnTo>
                    <a:pt x="623" y="113"/>
                  </a:lnTo>
                  <a:lnTo>
                    <a:pt x="627" y="117"/>
                  </a:lnTo>
                  <a:lnTo>
                    <a:pt x="627" y="121"/>
                  </a:lnTo>
                  <a:lnTo>
                    <a:pt x="628" y="122"/>
                  </a:lnTo>
                  <a:lnTo>
                    <a:pt x="629" y="122"/>
                  </a:lnTo>
                  <a:lnTo>
                    <a:pt x="629" y="121"/>
                  </a:lnTo>
                  <a:lnTo>
                    <a:pt x="630" y="117"/>
                  </a:lnTo>
                  <a:lnTo>
                    <a:pt x="632" y="117"/>
                  </a:lnTo>
                  <a:lnTo>
                    <a:pt x="633" y="119"/>
                  </a:lnTo>
                  <a:lnTo>
                    <a:pt x="633" y="123"/>
                  </a:lnTo>
                  <a:lnTo>
                    <a:pt x="635" y="125"/>
                  </a:lnTo>
                  <a:lnTo>
                    <a:pt x="640" y="129"/>
                  </a:lnTo>
                  <a:lnTo>
                    <a:pt x="642" y="129"/>
                  </a:lnTo>
                  <a:lnTo>
                    <a:pt x="638" y="130"/>
                  </a:lnTo>
                  <a:lnTo>
                    <a:pt x="636" y="131"/>
                  </a:lnTo>
                  <a:lnTo>
                    <a:pt x="638" y="133"/>
                  </a:lnTo>
                  <a:lnTo>
                    <a:pt x="638" y="134"/>
                  </a:lnTo>
                  <a:lnTo>
                    <a:pt x="635" y="136"/>
                  </a:lnTo>
                  <a:lnTo>
                    <a:pt x="628" y="136"/>
                  </a:lnTo>
                  <a:lnTo>
                    <a:pt x="627" y="135"/>
                  </a:lnTo>
                  <a:lnTo>
                    <a:pt x="626" y="133"/>
                  </a:lnTo>
                  <a:lnTo>
                    <a:pt x="626" y="127"/>
                  </a:lnTo>
                  <a:lnTo>
                    <a:pt x="624" y="125"/>
                  </a:lnTo>
                  <a:lnTo>
                    <a:pt x="624" y="124"/>
                  </a:lnTo>
                  <a:lnTo>
                    <a:pt x="623" y="121"/>
                  </a:lnTo>
                  <a:lnTo>
                    <a:pt x="623" y="119"/>
                  </a:lnTo>
                  <a:lnTo>
                    <a:pt x="620" y="116"/>
                  </a:lnTo>
                  <a:lnTo>
                    <a:pt x="617" y="115"/>
                  </a:lnTo>
                  <a:lnTo>
                    <a:pt x="616" y="112"/>
                  </a:lnTo>
                  <a:lnTo>
                    <a:pt x="616" y="111"/>
                  </a:lnTo>
                  <a:lnTo>
                    <a:pt x="617" y="111"/>
                  </a:lnTo>
                  <a:lnTo>
                    <a:pt x="619" y="112"/>
                  </a:lnTo>
                  <a:lnTo>
                    <a:pt x="619" y="110"/>
                  </a:lnTo>
                  <a:lnTo>
                    <a:pt x="620" y="109"/>
                  </a:lnTo>
                  <a:lnTo>
                    <a:pt x="622" y="108"/>
                  </a:lnTo>
                  <a:close/>
                  <a:moveTo>
                    <a:pt x="708" y="94"/>
                  </a:moveTo>
                  <a:lnTo>
                    <a:pt x="709" y="96"/>
                  </a:lnTo>
                  <a:lnTo>
                    <a:pt x="709" y="97"/>
                  </a:lnTo>
                  <a:lnTo>
                    <a:pt x="711" y="99"/>
                  </a:lnTo>
                  <a:lnTo>
                    <a:pt x="711" y="103"/>
                  </a:lnTo>
                  <a:lnTo>
                    <a:pt x="710" y="108"/>
                  </a:lnTo>
                  <a:lnTo>
                    <a:pt x="709" y="109"/>
                  </a:lnTo>
                  <a:lnTo>
                    <a:pt x="709" y="110"/>
                  </a:lnTo>
                  <a:lnTo>
                    <a:pt x="708" y="111"/>
                  </a:lnTo>
                  <a:lnTo>
                    <a:pt x="707" y="110"/>
                  </a:lnTo>
                  <a:lnTo>
                    <a:pt x="707" y="97"/>
                  </a:lnTo>
                  <a:lnTo>
                    <a:pt x="708" y="97"/>
                  </a:lnTo>
                  <a:lnTo>
                    <a:pt x="708" y="94"/>
                  </a:lnTo>
                  <a:close/>
                  <a:moveTo>
                    <a:pt x="748" y="93"/>
                  </a:moveTo>
                  <a:lnTo>
                    <a:pt x="750" y="94"/>
                  </a:lnTo>
                  <a:lnTo>
                    <a:pt x="750" y="99"/>
                  </a:lnTo>
                  <a:lnTo>
                    <a:pt x="751" y="102"/>
                  </a:lnTo>
                  <a:lnTo>
                    <a:pt x="751" y="96"/>
                  </a:lnTo>
                  <a:lnTo>
                    <a:pt x="752" y="94"/>
                  </a:lnTo>
                  <a:lnTo>
                    <a:pt x="753" y="96"/>
                  </a:lnTo>
                  <a:lnTo>
                    <a:pt x="754" y="98"/>
                  </a:lnTo>
                  <a:lnTo>
                    <a:pt x="754" y="100"/>
                  </a:lnTo>
                  <a:lnTo>
                    <a:pt x="756" y="102"/>
                  </a:lnTo>
                  <a:lnTo>
                    <a:pt x="760" y="103"/>
                  </a:lnTo>
                  <a:lnTo>
                    <a:pt x="759" y="104"/>
                  </a:lnTo>
                  <a:lnTo>
                    <a:pt x="759" y="105"/>
                  </a:lnTo>
                  <a:lnTo>
                    <a:pt x="760" y="106"/>
                  </a:lnTo>
                  <a:lnTo>
                    <a:pt x="762" y="106"/>
                  </a:lnTo>
                  <a:lnTo>
                    <a:pt x="763" y="109"/>
                  </a:lnTo>
                  <a:lnTo>
                    <a:pt x="763" y="112"/>
                  </a:lnTo>
                  <a:lnTo>
                    <a:pt x="751" y="111"/>
                  </a:lnTo>
                  <a:lnTo>
                    <a:pt x="739" y="108"/>
                  </a:lnTo>
                  <a:lnTo>
                    <a:pt x="737" y="103"/>
                  </a:lnTo>
                  <a:lnTo>
                    <a:pt x="735" y="102"/>
                  </a:lnTo>
                  <a:lnTo>
                    <a:pt x="737" y="100"/>
                  </a:lnTo>
                  <a:lnTo>
                    <a:pt x="737" y="99"/>
                  </a:lnTo>
                  <a:lnTo>
                    <a:pt x="738" y="98"/>
                  </a:lnTo>
                  <a:lnTo>
                    <a:pt x="739" y="99"/>
                  </a:lnTo>
                  <a:lnTo>
                    <a:pt x="739" y="100"/>
                  </a:lnTo>
                  <a:lnTo>
                    <a:pt x="741" y="103"/>
                  </a:lnTo>
                  <a:lnTo>
                    <a:pt x="740" y="100"/>
                  </a:lnTo>
                  <a:lnTo>
                    <a:pt x="740" y="96"/>
                  </a:lnTo>
                  <a:lnTo>
                    <a:pt x="742" y="98"/>
                  </a:lnTo>
                  <a:lnTo>
                    <a:pt x="745" y="96"/>
                  </a:lnTo>
                  <a:lnTo>
                    <a:pt x="745" y="98"/>
                  </a:lnTo>
                  <a:lnTo>
                    <a:pt x="746" y="96"/>
                  </a:lnTo>
                  <a:lnTo>
                    <a:pt x="747" y="96"/>
                  </a:lnTo>
                  <a:lnTo>
                    <a:pt x="748" y="94"/>
                  </a:lnTo>
                  <a:lnTo>
                    <a:pt x="748" y="93"/>
                  </a:lnTo>
                  <a:close/>
                  <a:moveTo>
                    <a:pt x="978" y="85"/>
                  </a:moveTo>
                  <a:lnTo>
                    <a:pt x="978" y="86"/>
                  </a:lnTo>
                  <a:lnTo>
                    <a:pt x="977" y="87"/>
                  </a:lnTo>
                  <a:lnTo>
                    <a:pt x="978" y="85"/>
                  </a:lnTo>
                  <a:close/>
                  <a:moveTo>
                    <a:pt x="970" y="82"/>
                  </a:moveTo>
                  <a:lnTo>
                    <a:pt x="971" y="82"/>
                  </a:lnTo>
                  <a:lnTo>
                    <a:pt x="970" y="85"/>
                  </a:lnTo>
                  <a:lnTo>
                    <a:pt x="970" y="82"/>
                  </a:lnTo>
                  <a:close/>
                  <a:moveTo>
                    <a:pt x="782" y="65"/>
                  </a:moveTo>
                  <a:lnTo>
                    <a:pt x="783" y="65"/>
                  </a:lnTo>
                  <a:lnTo>
                    <a:pt x="783" y="66"/>
                  </a:lnTo>
                  <a:lnTo>
                    <a:pt x="784" y="67"/>
                  </a:lnTo>
                  <a:lnTo>
                    <a:pt x="785" y="66"/>
                  </a:lnTo>
                  <a:lnTo>
                    <a:pt x="787" y="67"/>
                  </a:lnTo>
                  <a:lnTo>
                    <a:pt x="785" y="67"/>
                  </a:lnTo>
                  <a:lnTo>
                    <a:pt x="787" y="68"/>
                  </a:lnTo>
                  <a:lnTo>
                    <a:pt x="788" y="70"/>
                  </a:lnTo>
                  <a:lnTo>
                    <a:pt x="788" y="73"/>
                  </a:lnTo>
                  <a:lnTo>
                    <a:pt x="787" y="74"/>
                  </a:lnTo>
                  <a:lnTo>
                    <a:pt x="787" y="76"/>
                  </a:lnTo>
                  <a:lnTo>
                    <a:pt x="788" y="79"/>
                  </a:lnTo>
                  <a:lnTo>
                    <a:pt x="789" y="80"/>
                  </a:lnTo>
                  <a:lnTo>
                    <a:pt x="790" y="80"/>
                  </a:lnTo>
                  <a:lnTo>
                    <a:pt x="790" y="81"/>
                  </a:lnTo>
                  <a:lnTo>
                    <a:pt x="789" y="81"/>
                  </a:lnTo>
                  <a:lnTo>
                    <a:pt x="789" y="82"/>
                  </a:lnTo>
                  <a:lnTo>
                    <a:pt x="790" y="85"/>
                  </a:lnTo>
                  <a:lnTo>
                    <a:pt x="788" y="92"/>
                  </a:lnTo>
                  <a:lnTo>
                    <a:pt x="779" y="99"/>
                  </a:lnTo>
                  <a:lnTo>
                    <a:pt x="776" y="100"/>
                  </a:lnTo>
                  <a:lnTo>
                    <a:pt x="775" y="102"/>
                  </a:lnTo>
                  <a:lnTo>
                    <a:pt x="776" y="102"/>
                  </a:lnTo>
                  <a:lnTo>
                    <a:pt x="778" y="104"/>
                  </a:lnTo>
                  <a:lnTo>
                    <a:pt x="771" y="109"/>
                  </a:lnTo>
                  <a:lnTo>
                    <a:pt x="766" y="109"/>
                  </a:lnTo>
                  <a:lnTo>
                    <a:pt x="766" y="103"/>
                  </a:lnTo>
                  <a:lnTo>
                    <a:pt x="768" y="99"/>
                  </a:lnTo>
                  <a:lnTo>
                    <a:pt x="768" y="96"/>
                  </a:lnTo>
                  <a:lnTo>
                    <a:pt x="769" y="93"/>
                  </a:lnTo>
                  <a:lnTo>
                    <a:pt x="768" y="92"/>
                  </a:lnTo>
                  <a:lnTo>
                    <a:pt x="765" y="98"/>
                  </a:lnTo>
                  <a:lnTo>
                    <a:pt x="764" y="100"/>
                  </a:lnTo>
                  <a:lnTo>
                    <a:pt x="763" y="100"/>
                  </a:lnTo>
                  <a:lnTo>
                    <a:pt x="762" y="99"/>
                  </a:lnTo>
                  <a:lnTo>
                    <a:pt x="760" y="99"/>
                  </a:lnTo>
                  <a:lnTo>
                    <a:pt x="759" y="98"/>
                  </a:lnTo>
                  <a:lnTo>
                    <a:pt x="757" y="93"/>
                  </a:lnTo>
                  <a:lnTo>
                    <a:pt x="756" y="92"/>
                  </a:lnTo>
                  <a:lnTo>
                    <a:pt x="760" y="92"/>
                  </a:lnTo>
                  <a:lnTo>
                    <a:pt x="760" y="91"/>
                  </a:lnTo>
                  <a:lnTo>
                    <a:pt x="759" y="90"/>
                  </a:lnTo>
                  <a:lnTo>
                    <a:pt x="758" y="90"/>
                  </a:lnTo>
                  <a:lnTo>
                    <a:pt x="758" y="87"/>
                  </a:lnTo>
                  <a:lnTo>
                    <a:pt x="759" y="86"/>
                  </a:lnTo>
                  <a:lnTo>
                    <a:pt x="760" y="86"/>
                  </a:lnTo>
                  <a:lnTo>
                    <a:pt x="760" y="84"/>
                  </a:lnTo>
                  <a:lnTo>
                    <a:pt x="763" y="84"/>
                  </a:lnTo>
                  <a:lnTo>
                    <a:pt x="763" y="81"/>
                  </a:lnTo>
                  <a:lnTo>
                    <a:pt x="768" y="78"/>
                  </a:lnTo>
                  <a:lnTo>
                    <a:pt x="769" y="79"/>
                  </a:lnTo>
                  <a:lnTo>
                    <a:pt x="769" y="81"/>
                  </a:lnTo>
                  <a:lnTo>
                    <a:pt x="771" y="79"/>
                  </a:lnTo>
                  <a:lnTo>
                    <a:pt x="772" y="79"/>
                  </a:lnTo>
                  <a:lnTo>
                    <a:pt x="772" y="78"/>
                  </a:lnTo>
                  <a:lnTo>
                    <a:pt x="771" y="78"/>
                  </a:lnTo>
                  <a:lnTo>
                    <a:pt x="770" y="76"/>
                  </a:lnTo>
                  <a:lnTo>
                    <a:pt x="770" y="75"/>
                  </a:lnTo>
                  <a:lnTo>
                    <a:pt x="771" y="74"/>
                  </a:lnTo>
                  <a:lnTo>
                    <a:pt x="773" y="76"/>
                  </a:lnTo>
                  <a:lnTo>
                    <a:pt x="773" y="84"/>
                  </a:lnTo>
                  <a:lnTo>
                    <a:pt x="775" y="84"/>
                  </a:lnTo>
                  <a:lnTo>
                    <a:pt x="775" y="82"/>
                  </a:lnTo>
                  <a:lnTo>
                    <a:pt x="776" y="79"/>
                  </a:lnTo>
                  <a:lnTo>
                    <a:pt x="776" y="76"/>
                  </a:lnTo>
                  <a:lnTo>
                    <a:pt x="775" y="76"/>
                  </a:lnTo>
                  <a:lnTo>
                    <a:pt x="775" y="75"/>
                  </a:lnTo>
                  <a:lnTo>
                    <a:pt x="776" y="74"/>
                  </a:lnTo>
                  <a:lnTo>
                    <a:pt x="778" y="76"/>
                  </a:lnTo>
                  <a:lnTo>
                    <a:pt x="779" y="76"/>
                  </a:lnTo>
                  <a:lnTo>
                    <a:pt x="779" y="75"/>
                  </a:lnTo>
                  <a:lnTo>
                    <a:pt x="778" y="75"/>
                  </a:lnTo>
                  <a:lnTo>
                    <a:pt x="779" y="73"/>
                  </a:lnTo>
                  <a:lnTo>
                    <a:pt x="783" y="75"/>
                  </a:lnTo>
                  <a:lnTo>
                    <a:pt x="785" y="75"/>
                  </a:lnTo>
                  <a:lnTo>
                    <a:pt x="784" y="73"/>
                  </a:lnTo>
                  <a:lnTo>
                    <a:pt x="783" y="72"/>
                  </a:lnTo>
                  <a:lnTo>
                    <a:pt x="781" y="70"/>
                  </a:lnTo>
                  <a:lnTo>
                    <a:pt x="781" y="69"/>
                  </a:lnTo>
                  <a:lnTo>
                    <a:pt x="782" y="68"/>
                  </a:lnTo>
                  <a:lnTo>
                    <a:pt x="782" y="67"/>
                  </a:lnTo>
                  <a:lnTo>
                    <a:pt x="779" y="67"/>
                  </a:lnTo>
                  <a:lnTo>
                    <a:pt x="778" y="66"/>
                  </a:lnTo>
                  <a:lnTo>
                    <a:pt x="782" y="65"/>
                  </a:lnTo>
                  <a:close/>
                  <a:moveTo>
                    <a:pt x="793" y="49"/>
                  </a:moveTo>
                  <a:lnTo>
                    <a:pt x="797" y="49"/>
                  </a:lnTo>
                  <a:lnTo>
                    <a:pt x="797" y="53"/>
                  </a:lnTo>
                  <a:lnTo>
                    <a:pt x="799" y="53"/>
                  </a:lnTo>
                  <a:lnTo>
                    <a:pt x="797" y="54"/>
                  </a:lnTo>
                  <a:lnTo>
                    <a:pt x="797" y="55"/>
                  </a:lnTo>
                  <a:lnTo>
                    <a:pt x="799" y="55"/>
                  </a:lnTo>
                  <a:lnTo>
                    <a:pt x="799" y="54"/>
                  </a:lnTo>
                  <a:lnTo>
                    <a:pt x="803" y="54"/>
                  </a:lnTo>
                  <a:lnTo>
                    <a:pt x="803" y="55"/>
                  </a:lnTo>
                  <a:lnTo>
                    <a:pt x="806" y="57"/>
                  </a:lnTo>
                  <a:lnTo>
                    <a:pt x="807" y="57"/>
                  </a:lnTo>
                  <a:lnTo>
                    <a:pt x="807" y="62"/>
                  </a:lnTo>
                  <a:lnTo>
                    <a:pt x="810" y="66"/>
                  </a:lnTo>
                  <a:lnTo>
                    <a:pt x="809" y="69"/>
                  </a:lnTo>
                  <a:lnTo>
                    <a:pt x="804" y="72"/>
                  </a:lnTo>
                  <a:lnTo>
                    <a:pt x="802" y="78"/>
                  </a:lnTo>
                  <a:lnTo>
                    <a:pt x="799" y="79"/>
                  </a:lnTo>
                  <a:lnTo>
                    <a:pt x="796" y="79"/>
                  </a:lnTo>
                  <a:lnTo>
                    <a:pt x="794" y="78"/>
                  </a:lnTo>
                  <a:lnTo>
                    <a:pt x="794" y="76"/>
                  </a:lnTo>
                  <a:lnTo>
                    <a:pt x="793" y="73"/>
                  </a:lnTo>
                  <a:lnTo>
                    <a:pt x="791" y="72"/>
                  </a:lnTo>
                  <a:lnTo>
                    <a:pt x="791" y="68"/>
                  </a:lnTo>
                  <a:lnTo>
                    <a:pt x="789" y="68"/>
                  </a:lnTo>
                  <a:lnTo>
                    <a:pt x="790" y="67"/>
                  </a:lnTo>
                  <a:lnTo>
                    <a:pt x="791" y="65"/>
                  </a:lnTo>
                  <a:lnTo>
                    <a:pt x="791" y="63"/>
                  </a:lnTo>
                  <a:lnTo>
                    <a:pt x="790" y="62"/>
                  </a:lnTo>
                  <a:lnTo>
                    <a:pt x="791" y="61"/>
                  </a:lnTo>
                  <a:lnTo>
                    <a:pt x="791" y="60"/>
                  </a:lnTo>
                  <a:lnTo>
                    <a:pt x="789" y="57"/>
                  </a:lnTo>
                  <a:lnTo>
                    <a:pt x="789" y="55"/>
                  </a:lnTo>
                  <a:lnTo>
                    <a:pt x="791" y="53"/>
                  </a:lnTo>
                  <a:lnTo>
                    <a:pt x="791" y="50"/>
                  </a:lnTo>
                  <a:lnTo>
                    <a:pt x="793" y="49"/>
                  </a:lnTo>
                  <a:close/>
                  <a:moveTo>
                    <a:pt x="769" y="39"/>
                  </a:moveTo>
                  <a:lnTo>
                    <a:pt x="770" y="41"/>
                  </a:lnTo>
                  <a:lnTo>
                    <a:pt x="769" y="41"/>
                  </a:lnTo>
                  <a:lnTo>
                    <a:pt x="769" y="39"/>
                  </a:lnTo>
                  <a:close/>
                  <a:moveTo>
                    <a:pt x="776" y="33"/>
                  </a:moveTo>
                  <a:lnTo>
                    <a:pt x="777" y="35"/>
                  </a:lnTo>
                  <a:lnTo>
                    <a:pt x="778" y="35"/>
                  </a:lnTo>
                  <a:lnTo>
                    <a:pt x="778" y="36"/>
                  </a:lnTo>
                  <a:lnTo>
                    <a:pt x="779" y="37"/>
                  </a:lnTo>
                  <a:lnTo>
                    <a:pt x="781" y="39"/>
                  </a:lnTo>
                  <a:lnTo>
                    <a:pt x="781" y="41"/>
                  </a:lnTo>
                  <a:lnTo>
                    <a:pt x="782" y="42"/>
                  </a:lnTo>
                  <a:lnTo>
                    <a:pt x="782" y="43"/>
                  </a:lnTo>
                  <a:lnTo>
                    <a:pt x="783" y="43"/>
                  </a:lnTo>
                  <a:lnTo>
                    <a:pt x="782" y="44"/>
                  </a:lnTo>
                  <a:lnTo>
                    <a:pt x="778" y="44"/>
                  </a:lnTo>
                  <a:lnTo>
                    <a:pt x="779" y="45"/>
                  </a:lnTo>
                  <a:lnTo>
                    <a:pt x="781" y="45"/>
                  </a:lnTo>
                  <a:lnTo>
                    <a:pt x="782" y="47"/>
                  </a:lnTo>
                  <a:lnTo>
                    <a:pt x="781" y="47"/>
                  </a:lnTo>
                  <a:lnTo>
                    <a:pt x="779" y="48"/>
                  </a:lnTo>
                  <a:lnTo>
                    <a:pt x="779" y="50"/>
                  </a:lnTo>
                  <a:lnTo>
                    <a:pt x="778" y="50"/>
                  </a:lnTo>
                  <a:lnTo>
                    <a:pt x="777" y="49"/>
                  </a:lnTo>
                  <a:lnTo>
                    <a:pt x="776" y="49"/>
                  </a:lnTo>
                  <a:lnTo>
                    <a:pt x="776" y="54"/>
                  </a:lnTo>
                  <a:lnTo>
                    <a:pt x="775" y="54"/>
                  </a:lnTo>
                  <a:lnTo>
                    <a:pt x="775" y="55"/>
                  </a:lnTo>
                  <a:lnTo>
                    <a:pt x="773" y="56"/>
                  </a:lnTo>
                  <a:lnTo>
                    <a:pt x="773" y="57"/>
                  </a:lnTo>
                  <a:lnTo>
                    <a:pt x="770" y="57"/>
                  </a:lnTo>
                  <a:lnTo>
                    <a:pt x="770" y="56"/>
                  </a:lnTo>
                  <a:lnTo>
                    <a:pt x="769" y="56"/>
                  </a:lnTo>
                  <a:lnTo>
                    <a:pt x="769" y="60"/>
                  </a:lnTo>
                  <a:lnTo>
                    <a:pt x="768" y="60"/>
                  </a:lnTo>
                  <a:lnTo>
                    <a:pt x="769" y="61"/>
                  </a:lnTo>
                  <a:lnTo>
                    <a:pt x="770" y="61"/>
                  </a:lnTo>
                  <a:lnTo>
                    <a:pt x="770" y="62"/>
                  </a:lnTo>
                  <a:lnTo>
                    <a:pt x="769" y="65"/>
                  </a:lnTo>
                  <a:lnTo>
                    <a:pt x="765" y="65"/>
                  </a:lnTo>
                  <a:lnTo>
                    <a:pt x="768" y="67"/>
                  </a:lnTo>
                  <a:lnTo>
                    <a:pt x="766" y="70"/>
                  </a:lnTo>
                  <a:lnTo>
                    <a:pt x="765" y="69"/>
                  </a:lnTo>
                  <a:lnTo>
                    <a:pt x="763" y="68"/>
                  </a:lnTo>
                  <a:lnTo>
                    <a:pt x="763" y="72"/>
                  </a:lnTo>
                  <a:lnTo>
                    <a:pt x="762" y="73"/>
                  </a:lnTo>
                  <a:lnTo>
                    <a:pt x="760" y="73"/>
                  </a:lnTo>
                  <a:lnTo>
                    <a:pt x="758" y="70"/>
                  </a:lnTo>
                  <a:lnTo>
                    <a:pt x="757" y="70"/>
                  </a:lnTo>
                  <a:lnTo>
                    <a:pt x="757" y="72"/>
                  </a:lnTo>
                  <a:lnTo>
                    <a:pt x="759" y="73"/>
                  </a:lnTo>
                  <a:lnTo>
                    <a:pt x="759" y="75"/>
                  </a:lnTo>
                  <a:lnTo>
                    <a:pt x="758" y="75"/>
                  </a:lnTo>
                  <a:lnTo>
                    <a:pt x="758" y="76"/>
                  </a:lnTo>
                  <a:lnTo>
                    <a:pt x="756" y="74"/>
                  </a:lnTo>
                  <a:lnTo>
                    <a:pt x="754" y="75"/>
                  </a:lnTo>
                  <a:lnTo>
                    <a:pt x="754" y="78"/>
                  </a:lnTo>
                  <a:lnTo>
                    <a:pt x="753" y="78"/>
                  </a:lnTo>
                  <a:lnTo>
                    <a:pt x="752" y="76"/>
                  </a:lnTo>
                  <a:lnTo>
                    <a:pt x="752" y="75"/>
                  </a:lnTo>
                  <a:lnTo>
                    <a:pt x="753" y="74"/>
                  </a:lnTo>
                  <a:lnTo>
                    <a:pt x="750" y="73"/>
                  </a:lnTo>
                  <a:lnTo>
                    <a:pt x="747" y="73"/>
                  </a:lnTo>
                  <a:lnTo>
                    <a:pt x="747" y="74"/>
                  </a:lnTo>
                  <a:lnTo>
                    <a:pt x="746" y="75"/>
                  </a:lnTo>
                  <a:lnTo>
                    <a:pt x="747" y="76"/>
                  </a:lnTo>
                  <a:lnTo>
                    <a:pt x="747" y="78"/>
                  </a:lnTo>
                  <a:lnTo>
                    <a:pt x="745" y="78"/>
                  </a:lnTo>
                  <a:lnTo>
                    <a:pt x="745" y="80"/>
                  </a:lnTo>
                  <a:lnTo>
                    <a:pt x="744" y="80"/>
                  </a:lnTo>
                  <a:lnTo>
                    <a:pt x="742" y="78"/>
                  </a:lnTo>
                  <a:lnTo>
                    <a:pt x="741" y="76"/>
                  </a:lnTo>
                  <a:lnTo>
                    <a:pt x="740" y="80"/>
                  </a:lnTo>
                  <a:lnTo>
                    <a:pt x="740" y="81"/>
                  </a:lnTo>
                  <a:lnTo>
                    <a:pt x="739" y="81"/>
                  </a:lnTo>
                  <a:lnTo>
                    <a:pt x="738" y="80"/>
                  </a:lnTo>
                  <a:lnTo>
                    <a:pt x="738" y="79"/>
                  </a:lnTo>
                  <a:lnTo>
                    <a:pt x="737" y="79"/>
                  </a:lnTo>
                  <a:lnTo>
                    <a:pt x="734" y="81"/>
                  </a:lnTo>
                  <a:lnTo>
                    <a:pt x="733" y="80"/>
                  </a:lnTo>
                  <a:lnTo>
                    <a:pt x="733" y="76"/>
                  </a:lnTo>
                  <a:lnTo>
                    <a:pt x="732" y="75"/>
                  </a:lnTo>
                  <a:lnTo>
                    <a:pt x="732" y="78"/>
                  </a:lnTo>
                  <a:lnTo>
                    <a:pt x="731" y="82"/>
                  </a:lnTo>
                  <a:lnTo>
                    <a:pt x="728" y="85"/>
                  </a:lnTo>
                  <a:lnTo>
                    <a:pt x="727" y="85"/>
                  </a:lnTo>
                  <a:lnTo>
                    <a:pt x="726" y="82"/>
                  </a:lnTo>
                  <a:lnTo>
                    <a:pt x="727" y="81"/>
                  </a:lnTo>
                  <a:lnTo>
                    <a:pt x="727" y="79"/>
                  </a:lnTo>
                  <a:lnTo>
                    <a:pt x="728" y="76"/>
                  </a:lnTo>
                  <a:lnTo>
                    <a:pt x="728" y="75"/>
                  </a:lnTo>
                  <a:lnTo>
                    <a:pt x="731" y="74"/>
                  </a:lnTo>
                  <a:lnTo>
                    <a:pt x="732" y="72"/>
                  </a:lnTo>
                  <a:lnTo>
                    <a:pt x="731" y="72"/>
                  </a:lnTo>
                  <a:lnTo>
                    <a:pt x="731" y="70"/>
                  </a:lnTo>
                  <a:lnTo>
                    <a:pt x="734" y="67"/>
                  </a:lnTo>
                  <a:lnTo>
                    <a:pt x="725" y="67"/>
                  </a:lnTo>
                  <a:lnTo>
                    <a:pt x="723" y="68"/>
                  </a:lnTo>
                  <a:lnTo>
                    <a:pt x="723" y="69"/>
                  </a:lnTo>
                  <a:lnTo>
                    <a:pt x="722" y="69"/>
                  </a:lnTo>
                  <a:lnTo>
                    <a:pt x="721" y="68"/>
                  </a:lnTo>
                  <a:lnTo>
                    <a:pt x="721" y="67"/>
                  </a:lnTo>
                  <a:lnTo>
                    <a:pt x="722" y="65"/>
                  </a:lnTo>
                  <a:lnTo>
                    <a:pt x="723" y="63"/>
                  </a:lnTo>
                  <a:lnTo>
                    <a:pt x="719" y="63"/>
                  </a:lnTo>
                  <a:lnTo>
                    <a:pt x="717" y="62"/>
                  </a:lnTo>
                  <a:lnTo>
                    <a:pt x="720" y="60"/>
                  </a:lnTo>
                  <a:lnTo>
                    <a:pt x="722" y="61"/>
                  </a:lnTo>
                  <a:lnTo>
                    <a:pt x="728" y="65"/>
                  </a:lnTo>
                  <a:lnTo>
                    <a:pt x="729" y="65"/>
                  </a:lnTo>
                  <a:lnTo>
                    <a:pt x="731" y="63"/>
                  </a:lnTo>
                  <a:lnTo>
                    <a:pt x="731" y="60"/>
                  </a:lnTo>
                  <a:lnTo>
                    <a:pt x="729" y="59"/>
                  </a:lnTo>
                  <a:lnTo>
                    <a:pt x="732" y="59"/>
                  </a:lnTo>
                  <a:lnTo>
                    <a:pt x="738" y="65"/>
                  </a:lnTo>
                  <a:lnTo>
                    <a:pt x="738" y="63"/>
                  </a:lnTo>
                  <a:lnTo>
                    <a:pt x="737" y="62"/>
                  </a:lnTo>
                  <a:lnTo>
                    <a:pt x="737" y="59"/>
                  </a:lnTo>
                  <a:lnTo>
                    <a:pt x="735" y="56"/>
                  </a:lnTo>
                  <a:lnTo>
                    <a:pt x="737" y="54"/>
                  </a:lnTo>
                  <a:lnTo>
                    <a:pt x="738" y="54"/>
                  </a:lnTo>
                  <a:lnTo>
                    <a:pt x="738" y="55"/>
                  </a:lnTo>
                  <a:lnTo>
                    <a:pt x="739" y="56"/>
                  </a:lnTo>
                  <a:lnTo>
                    <a:pt x="739" y="57"/>
                  </a:lnTo>
                  <a:lnTo>
                    <a:pt x="740" y="59"/>
                  </a:lnTo>
                  <a:lnTo>
                    <a:pt x="741" y="59"/>
                  </a:lnTo>
                  <a:lnTo>
                    <a:pt x="741" y="55"/>
                  </a:lnTo>
                  <a:lnTo>
                    <a:pt x="742" y="54"/>
                  </a:lnTo>
                  <a:lnTo>
                    <a:pt x="742" y="53"/>
                  </a:lnTo>
                  <a:lnTo>
                    <a:pt x="747" y="57"/>
                  </a:lnTo>
                  <a:lnTo>
                    <a:pt x="747" y="59"/>
                  </a:lnTo>
                  <a:lnTo>
                    <a:pt x="746" y="61"/>
                  </a:lnTo>
                  <a:lnTo>
                    <a:pt x="745" y="61"/>
                  </a:lnTo>
                  <a:lnTo>
                    <a:pt x="746" y="63"/>
                  </a:lnTo>
                  <a:lnTo>
                    <a:pt x="747" y="63"/>
                  </a:lnTo>
                  <a:lnTo>
                    <a:pt x="747" y="62"/>
                  </a:lnTo>
                  <a:lnTo>
                    <a:pt x="748" y="61"/>
                  </a:lnTo>
                  <a:lnTo>
                    <a:pt x="750" y="61"/>
                  </a:lnTo>
                  <a:lnTo>
                    <a:pt x="750" y="67"/>
                  </a:lnTo>
                  <a:lnTo>
                    <a:pt x="751" y="68"/>
                  </a:lnTo>
                  <a:lnTo>
                    <a:pt x="751" y="63"/>
                  </a:lnTo>
                  <a:lnTo>
                    <a:pt x="752" y="62"/>
                  </a:lnTo>
                  <a:lnTo>
                    <a:pt x="754" y="62"/>
                  </a:lnTo>
                  <a:lnTo>
                    <a:pt x="754" y="60"/>
                  </a:lnTo>
                  <a:lnTo>
                    <a:pt x="753" y="59"/>
                  </a:lnTo>
                  <a:lnTo>
                    <a:pt x="753" y="55"/>
                  </a:lnTo>
                  <a:lnTo>
                    <a:pt x="752" y="54"/>
                  </a:lnTo>
                  <a:lnTo>
                    <a:pt x="751" y="51"/>
                  </a:lnTo>
                  <a:lnTo>
                    <a:pt x="751" y="49"/>
                  </a:lnTo>
                  <a:lnTo>
                    <a:pt x="752" y="49"/>
                  </a:lnTo>
                  <a:lnTo>
                    <a:pt x="754" y="48"/>
                  </a:lnTo>
                  <a:lnTo>
                    <a:pt x="753" y="49"/>
                  </a:lnTo>
                  <a:lnTo>
                    <a:pt x="754" y="50"/>
                  </a:lnTo>
                  <a:lnTo>
                    <a:pt x="756" y="50"/>
                  </a:lnTo>
                  <a:lnTo>
                    <a:pt x="757" y="51"/>
                  </a:lnTo>
                  <a:lnTo>
                    <a:pt x="756" y="51"/>
                  </a:lnTo>
                  <a:lnTo>
                    <a:pt x="756" y="53"/>
                  </a:lnTo>
                  <a:lnTo>
                    <a:pt x="757" y="53"/>
                  </a:lnTo>
                  <a:lnTo>
                    <a:pt x="758" y="51"/>
                  </a:lnTo>
                  <a:lnTo>
                    <a:pt x="759" y="53"/>
                  </a:lnTo>
                  <a:lnTo>
                    <a:pt x="759" y="55"/>
                  </a:lnTo>
                  <a:lnTo>
                    <a:pt x="758" y="56"/>
                  </a:lnTo>
                  <a:lnTo>
                    <a:pt x="759" y="57"/>
                  </a:lnTo>
                  <a:lnTo>
                    <a:pt x="760" y="60"/>
                  </a:lnTo>
                  <a:lnTo>
                    <a:pt x="762" y="61"/>
                  </a:lnTo>
                  <a:lnTo>
                    <a:pt x="762" y="57"/>
                  </a:lnTo>
                  <a:lnTo>
                    <a:pt x="763" y="57"/>
                  </a:lnTo>
                  <a:lnTo>
                    <a:pt x="763" y="56"/>
                  </a:lnTo>
                  <a:lnTo>
                    <a:pt x="764" y="55"/>
                  </a:lnTo>
                  <a:lnTo>
                    <a:pt x="764" y="53"/>
                  </a:lnTo>
                  <a:lnTo>
                    <a:pt x="766" y="54"/>
                  </a:lnTo>
                  <a:lnTo>
                    <a:pt x="768" y="54"/>
                  </a:lnTo>
                  <a:lnTo>
                    <a:pt x="766" y="53"/>
                  </a:lnTo>
                  <a:lnTo>
                    <a:pt x="766" y="51"/>
                  </a:lnTo>
                  <a:lnTo>
                    <a:pt x="770" y="51"/>
                  </a:lnTo>
                  <a:lnTo>
                    <a:pt x="770" y="50"/>
                  </a:lnTo>
                  <a:lnTo>
                    <a:pt x="769" y="50"/>
                  </a:lnTo>
                  <a:lnTo>
                    <a:pt x="768" y="49"/>
                  </a:lnTo>
                  <a:lnTo>
                    <a:pt x="768" y="48"/>
                  </a:lnTo>
                  <a:lnTo>
                    <a:pt x="765" y="47"/>
                  </a:lnTo>
                  <a:lnTo>
                    <a:pt x="765" y="45"/>
                  </a:lnTo>
                  <a:lnTo>
                    <a:pt x="764" y="44"/>
                  </a:lnTo>
                  <a:lnTo>
                    <a:pt x="764" y="43"/>
                  </a:lnTo>
                  <a:lnTo>
                    <a:pt x="766" y="43"/>
                  </a:lnTo>
                  <a:lnTo>
                    <a:pt x="766" y="42"/>
                  </a:lnTo>
                  <a:lnTo>
                    <a:pt x="765" y="42"/>
                  </a:lnTo>
                  <a:lnTo>
                    <a:pt x="765" y="41"/>
                  </a:lnTo>
                  <a:lnTo>
                    <a:pt x="766" y="41"/>
                  </a:lnTo>
                  <a:lnTo>
                    <a:pt x="769" y="43"/>
                  </a:lnTo>
                  <a:lnTo>
                    <a:pt x="769" y="44"/>
                  </a:lnTo>
                  <a:lnTo>
                    <a:pt x="770" y="43"/>
                  </a:lnTo>
                  <a:lnTo>
                    <a:pt x="770" y="41"/>
                  </a:lnTo>
                  <a:lnTo>
                    <a:pt x="772" y="44"/>
                  </a:lnTo>
                  <a:lnTo>
                    <a:pt x="773" y="45"/>
                  </a:lnTo>
                  <a:lnTo>
                    <a:pt x="776" y="45"/>
                  </a:lnTo>
                  <a:lnTo>
                    <a:pt x="777" y="44"/>
                  </a:lnTo>
                  <a:lnTo>
                    <a:pt x="777" y="43"/>
                  </a:lnTo>
                  <a:lnTo>
                    <a:pt x="776" y="41"/>
                  </a:lnTo>
                  <a:lnTo>
                    <a:pt x="776" y="33"/>
                  </a:lnTo>
                  <a:close/>
                  <a:moveTo>
                    <a:pt x="803" y="13"/>
                  </a:moveTo>
                  <a:lnTo>
                    <a:pt x="808" y="13"/>
                  </a:lnTo>
                  <a:lnTo>
                    <a:pt x="808" y="16"/>
                  </a:lnTo>
                  <a:lnTo>
                    <a:pt x="809" y="17"/>
                  </a:lnTo>
                  <a:lnTo>
                    <a:pt x="813" y="16"/>
                  </a:lnTo>
                  <a:lnTo>
                    <a:pt x="814" y="17"/>
                  </a:lnTo>
                  <a:lnTo>
                    <a:pt x="813" y="18"/>
                  </a:lnTo>
                  <a:lnTo>
                    <a:pt x="809" y="18"/>
                  </a:lnTo>
                  <a:lnTo>
                    <a:pt x="808" y="19"/>
                  </a:lnTo>
                  <a:lnTo>
                    <a:pt x="808" y="22"/>
                  </a:lnTo>
                  <a:lnTo>
                    <a:pt x="813" y="22"/>
                  </a:lnTo>
                  <a:lnTo>
                    <a:pt x="815" y="23"/>
                  </a:lnTo>
                  <a:lnTo>
                    <a:pt x="814" y="23"/>
                  </a:lnTo>
                  <a:lnTo>
                    <a:pt x="814" y="24"/>
                  </a:lnTo>
                  <a:lnTo>
                    <a:pt x="812" y="24"/>
                  </a:lnTo>
                  <a:lnTo>
                    <a:pt x="812" y="26"/>
                  </a:lnTo>
                  <a:lnTo>
                    <a:pt x="810" y="26"/>
                  </a:lnTo>
                  <a:lnTo>
                    <a:pt x="810" y="25"/>
                  </a:lnTo>
                  <a:lnTo>
                    <a:pt x="809" y="25"/>
                  </a:lnTo>
                  <a:lnTo>
                    <a:pt x="808" y="26"/>
                  </a:lnTo>
                  <a:lnTo>
                    <a:pt x="808" y="27"/>
                  </a:lnTo>
                  <a:lnTo>
                    <a:pt x="806" y="27"/>
                  </a:lnTo>
                  <a:lnTo>
                    <a:pt x="804" y="26"/>
                  </a:lnTo>
                  <a:lnTo>
                    <a:pt x="804" y="24"/>
                  </a:lnTo>
                  <a:lnTo>
                    <a:pt x="801" y="23"/>
                  </a:lnTo>
                  <a:lnTo>
                    <a:pt x="802" y="22"/>
                  </a:lnTo>
                  <a:lnTo>
                    <a:pt x="804" y="22"/>
                  </a:lnTo>
                  <a:lnTo>
                    <a:pt x="806" y="20"/>
                  </a:lnTo>
                  <a:lnTo>
                    <a:pt x="804" y="19"/>
                  </a:lnTo>
                  <a:lnTo>
                    <a:pt x="801" y="19"/>
                  </a:lnTo>
                  <a:lnTo>
                    <a:pt x="800" y="17"/>
                  </a:lnTo>
                  <a:lnTo>
                    <a:pt x="802" y="17"/>
                  </a:lnTo>
                  <a:lnTo>
                    <a:pt x="802" y="14"/>
                  </a:lnTo>
                  <a:lnTo>
                    <a:pt x="801" y="14"/>
                  </a:lnTo>
                  <a:lnTo>
                    <a:pt x="803" y="13"/>
                  </a:lnTo>
                  <a:close/>
                  <a:moveTo>
                    <a:pt x="834" y="2"/>
                  </a:moveTo>
                  <a:lnTo>
                    <a:pt x="835" y="2"/>
                  </a:lnTo>
                  <a:lnTo>
                    <a:pt x="837" y="4"/>
                  </a:lnTo>
                  <a:lnTo>
                    <a:pt x="837" y="5"/>
                  </a:lnTo>
                  <a:lnTo>
                    <a:pt x="838" y="5"/>
                  </a:lnTo>
                  <a:lnTo>
                    <a:pt x="839" y="4"/>
                  </a:lnTo>
                  <a:lnTo>
                    <a:pt x="840" y="4"/>
                  </a:lnTo>
                  <a:lnTo>
                    <a:pt x="840" y="5"/>
                  </a:lnTo>
                  <a:lnTo>
                    <a:pt x="839" y="6"/>
                  </a:lnTo>
                  <a:lnTo>
                    <a:pt x="839" y="7"/>
                  </a:lnTo>
                  <a:lnTo>
                    <a:pt x="838" y="8"/>
                  </a:lnTo>
                  <a:lnTo>
                    <a:pt x="838" y="11"/>
                  </a:lnTo>
                  <a:lnTo>
                    <a:pt x="837" y="13"/>
                  </a:lnTo>
                  <a:lnTo>
                    <a:pt x="834" y="13"/>
                  </a:lnTo>
                  <a:lnTo>
                    <a:pt x="833" y="12"/>
                  </a:lnTo>
                  <a:lnTo>
                    <a:pt x="833" y="11"/>
                  </a:lnTo>
                  <a:lnTo>
                    <a:pt x="831" y="11"/>
                  </a:lnTo>
                  <a:lnTo>
                    <a:pt x="831" y="7"/>
                  </a:lnTo>
                  <a:lnTo>
                    <a:pt x="833" y="5"/>
                  </a:lnTo>
                  <a:lnTo>
                    <a:pt x="834" y="6"/>
                  </a:lnTo>
                  <a:lnTo>
                    <a:pt x="834" y="8"/>
                  </a:lnTo>
                  <a:lnTo>
                    <a:pt x="835" y="8"/>
                  </a:lnTo>
                  <a:lnTo>
                    <a:pt x="835" y="6"/>
                  </a:lnTo>
                  <a:lnTo>
                    <a:pt x="834" y="4"/>
                  </a:lnTo>
                  <a:lnTo>
                    <a:pt x="834" y="2"/>
                  </a:lnTo>
                  <a:close/>
                  <a:moveTo>
                    <a:pt x="958" y="0"/>
                  </a:moveTo>
                  <a:lnTo>
                    <a:pt x="962" y="4"/>
                  </a:lnTo>
                  <a:lnTo>
                    <a:pt x="962" y="5"/>
                  </a:lnTo>
                  <a:lnTo>
                    <a:pt x="961" y="8"/>
                  </a:lnTo>
                  <a:lnTo>
                    <a:pt x="962" y="10"/>
                  </a:lnTo>
                  <a:lnTo>
                    <a:pt x="965" y="10"/>
                  </a:lnTo>
                  <a:lnTo>
                    <a:pt x="968" y="12"/>
                  </a:lnTo>
                  <a:lnTo>
                    <a:pt x="971" y="11"/>
                  </a:lnTo>
                  <a:lnTo>
                    <a:pt x="974" y="8"/>
                  </a:lnTo>
                  <a:lnTo>
                    <a:pt x="974" y="7"/>
                  </a:lnTo>
                  <a:lnTo>
                    <a:pt x="975" y="7"/>
                  </a:lnTo>
                  <a:lnTo>
                    <a:pt x="976" y="8"/>
                  </a:lnTo>
                  <a:lnTo>
                    <a:pt x="976" y="11"/>
                  </a:lnTo>
                  <a:lnTo>
                    <a:pt x="977" y="12"/>
                  </a:lnTo>
                  <a:lnTo>
                    <a:pt x="977" y="11"/>
                  </a:lnTo>
                  <a:lnTo>
                    <a:pt x="980" y="7"/>
                  </a:lnTo>
                  <a:lnTo>
                    <a:pt x="981" y="6"/>
                  </a:lnTo>
                  <a:lnTo>
                    <a:pt x="982" y="6"/>
                  </a:lnTo>
                  <a:lnTo>
                    <a:pt x="984" y="8"/>
                  </a:lnTo>
                  <a:lnTo>
                    <a:pt x="984" y="12"/>
                  </a:lnTo>
                  <a:lnTo>
                    <a:pt x="983" y="12"/>
                  </a:lnTo>
                  <a:lnTo>
                    <a:pt x="982" y="13"/>
                  </a:lnTo>
                  <a:lnTo>
                    <a:pt x="982" y="16"/>
                  </a:lnTo>
                  <a:lnTo>
                    <a:pt x="981" y="16"/>
                  </a:lnTo>
                  <a:lnTo>
                    <a:pt x="981" y="17"/>
                  </a:lnTo>
                  <a:lnTo>
                    <a:pt x="982" y="17"/>
                  </a:lnTo>
                  <a:lnTo>
                    <a:pt x="983" y="16"/>
                  </a:lnTo>
                  <a:lnTo>
                    <a:pt x="983" y="18"/>
                  </a:lnTo>
                  <a:lnTo>
                    <a:pt x="982" y="18"/>
                  </a:lnTo>
                  <a:lnTo>
                    <a:pt x="982" y="19"/>
                  </a:lnTo>
                  <a:lnTo>
                    <a:pt x="983" y="20"/>
                  </a:lnTo>
                  <a:lnTo>
                    <a:pt x="988" y="17"/>
                  </a:lnTo>
                  <a:lnTo>
                    <a:pt x="994" y="17"/>
                  </a:lnTo>
                  <a:lnTo>
                    <a:pt x="995" y="19"/>
                  </a:lnTo>
                  <a:lnTo>
                    <a:pt x="996" y="19"/>
                  </a:lnTo>
                  <a:lnTo>
                    <a:pt x="996" y="23"/>
                  </a:lnTo>
                  <a:lnTo>
                    <a:pt x="995" y="25"/>
                  </a:lnTo>
                  <a:lnTo>
                    <a:pt x="995" y="27"/>
                  </a:lnTo>
                  <a:lnTo>
                    <a:pt x="994" y="29"/>
                  </a:lnTo>
                  <a:lnTo>
                    <a:pt x="994" y="31"/>
                  </a:lnTo>
                  <a:lnTo>
                    <a:pt x="992" y="32"/>
                  </a:lnTo>
                  <a:lnTo>
                    <a:pt x="989" y="31"/>
                  </a:lnTo>
                  <a:lnTo>
                    <a:pt x="989" y="33"/>
                  </a:lnTo>
                  <a:lnTo>
                    <a:pt x="992" y="33"/>
                  </a:lnTo>
                  <a:lnTo>
                    <a:pt x="992" y="36"/>
                  </a:lnTo>
                  <a:lnTo>
                    <a:pt x="990" y="37"/>
                  </a:lnTo>
                  <a:lnTo>
                    <a:pt x="988" y="37"/>
                  </a:lnTo>
                  <a:lnTo>
                    <a:pt x="988" y="39"/>
                  </a:lnTo>
                  <a:lnTo>
                    <a:pt x="983" y="38"/>
                  </a:lnTo>
                  <a:lnTo>
                    <a:pt x="983" y="39"/>
                  </a:lnTo>
                  <a:lnTo>
                    <a:pt x="984" y="41"/>
                  </a:lnTo>
                  <a:lnTo>
                    <a:pt x="986" y="41"/>
                  </a:lnTo>
                  <a:lnTo>
                    <a:pt x="984" y="43"/>
                  </a:lnTo>
                  <a:lnTo>
                    <a:pt x="983" y="44"/>
                  </a:lnTo>
                  <a:lnTo>
                    <a:pt x="978" y="44"/>
                  </a:lnTo>
                  <a:lnTo>
                    <a:pt x="977" y="43"/>
                  </a:lnTo>
                  <a:lnTo>
                    <a:pt x="974" y="43"/>
                  </a:lnTo>
                  <a:lnTo>
                    <a:pt x="974" y="41"/>
                  </a:lnTo>
                  <a:lnTo>
                    <a:pt x="973" y="41"/>
                  </a:lnTo>
                  <a:lnTo>
                    <a:pt x="973" y="42"/>
                  </a:lnTo>
                  <a:lnTo>
                    <a:pt x="971" y="42"/>
                  </a:lnTo>
                  <a:lnTo>
                    <a:pt x="971" y="43"/>
                  </a:lnTo>
                  <a:lnTo>
                    <a:pt x="965" y="44"/>
                  </a:lnTo>
                  <a:lnTo>
                    <a:pt x="965" y="43"/>
                  </a:lnTo>
                  <a:lnTo>
                    <a:pt x="964" y="44"/>
                  </a:lnTo>
                  <a:lnTo>
                    <a:pt x="963" y="44"/>
                  </a:lnTo>
                  <a:lnTo>
                    <a:pt x="964" y="45"/>
                  </a:lnTo>
                  <a:lnTo>
                    <a:pt x="965" y="45"/>
                  </a:lnTo>
                  <a:lnTo>
                    <a:pt x="967" y="47"/>
                  </a:lnTo>
                  <a:lnTo>
                    <a:pt x="965" y="47"/>
                  </a:lnTo>
                  <a:lnTo>
                    <a:pt x="964" y="48"/>
                  </a:lnTo>
                  <a:lnTo>
                    <a:pt x="964" y="50"/>
                  </a:lnTo>
                  <a:lnTo>
                    <a:pt x="968" y="48"/>
                  </a:lnTo>
                  <a:lnTo>
                    <a:pt x="969" y="47"/>
                  </a:lnTo>
                  <a:lnTo>
                    <a:pt x="973" y="48"/>
                  </a:lnTo>
                  <a:lnTo>
                    <a:pt x="973" y="49"/>
                  </a:lnTo>
                  <a:lnTo>
                    <a:pt x="974" y="49"/>
                  </a:lnTo>
                  <a:lnTo>
                    <a:pt x="974" y="50"/>
                  </a:lnTo>
                  <a:lnTo>
                    <a:pt x="977" y="49"/>
                  </a:lnTo>
                  <a:lnTo>
                    <a:pt x="977" y="50"/>
                  </a:lnTo>
                  <a:lnTo>
                    <a:pt x="978" y="51"/>
                  </a:lnTo>
                  <a:lnTo>
                    <a:pt x="976" y="55"/>
                  </a:lnTo>
                  <a:lnTo>
                    <a:pt x="970" y="57"/>
                  </a:lnTo>
                  <a:lnTo>
                    <a:pt x="968" y="60"/>
                  </a:lnTo>
                  <a:lnTo>
                    <a:pt x="968" y="61"/>
                  </a:lnTo>
                  <a:lnTo>
                    <a:pt x="964" y="63"/>
                  </a:lnTo>
                  <a:lnTo>
                    <a:pt x="962" y="66"/>
                  </a:lnTo>
                  <a:lnTo>
                    <a:pt x="959" y="66"/>
                  </a:lnTo>
                  <a:lnTo>
                    <a:pt x="958" y="67"/>
                  </a:lnTo>
                  <a:lnTo>
                    <a:pt x="964" y="67"/>
                  </a:lnTo>
                  <a:lnTo>
                    <a:pt x="980" y="59"/>
                  </a:lnTo>
                  <a:lnTo>
                    <a:pt x="986" y="53"/>
                  </a:lnTo>
                  <a:lnTo>
                    <a:pt x="986" y="61"/>
                  </a:lnTo>
                  <a:lnTo>
                    <a:pt x="983" y="66"/>
                  </a:lnTo>
                  <a:lnTo>
                    <a:pt x="981" y="69"/>
                  </a:lnTo>
                  <a:lnTo>
                    <a:pt x="973" y="78"/>
                  </a:lnTo>
                  <a:lnTo>
                    <a:pt x="970" y="79"/>
                  </a:lnTo>
                  <a:lnTo>
                    <a:pt x="967" y="82"/>
                  </a:lnTo>
                  <a:lnTo>
                    <a:pt x="968" y="85"/>
                  </a:lnTo>
                  <a:lnTo>
                    <a:pt x="968" y="86"/>
                  </a:lnTo>
                  <a:lnTo>
                    <a:pt x="969" y="90"/>
                  </a:lnTo>
                  <a:lnTo>
                    <a:pt x="969" y="88"/>
                  </a:lnTo>
                  <a:lnTo>
                    <a:pt x="970" y="85"/>
                  </a:lnTo>
                  <a:lnTo>
                    <a:pt x="976" y="81"/>
                  </a:lnTo>
                  <a:lnTo>
                    <a:pt x="981" y="80"/>
                  </a:lnTo>
                  <a:lnTo>
                    <a:pt x="976" y="84"/>
                  </a:lnTo>
                  <a:lnTo>
                    <a:pt x="975" y="86"/>
                  </a:lnTo>
                  <a:lnTo>
                    <a:pt x="975" y="88"/>
                  </a:lnTo>
                  <a:lnTo>
                    <a:pt x="977" y="87"/>
                  </a:lnTo>
                  <a:lnTo>
                    <a:pt x="978" y="88"/>
                  </a:lnTo>
                  <a:lnTo>
                    <a:pt x="978" y="87"/>
                  </a:lnTo>
                  <a:lnTo>
                    <a:pt x="981" y="84"/>
                  </a:lnTo>
                  <a:lnTo>
                    <a:pt x="982" y="81"/>
                  </a:lnTo>
                  <a:lnTo>
                    <a:pt x="984" y="80"/>
                  </a:lnTo>
                  <a:lnTo>
                    <a:pt x="986" y="79"/>
                  </a:lnTo>
                  <a:lnTo>
                    <a:pt x="988" y="79"/>
                  </a:lnTo>
                  <a:lnTo>
                    <a:pt x="987" y="81"/>
                  </a:lnTo>
                  <a:lnTo>
                    <a:pt x="986" y="82"/>
                  </a:lnTo>
                  <a:lnTo>
                    <a:pt x="986" y="84"/>
                  </a:lnTo>
                  <a:lnTo>
                    <a:pt x="984" y="85"/>
                  </a:lnTo>
                  <a:lnTo>
                    <a:pt x="983" y="87"/>
                  </a:lnTo>
                  <a:lnTo>
                    <a:pt x="981" y="94"/>
                  </a:lnTo>
                  <a:lnTo>
                    <a:pt x="980" y="96"/>
                  </a:lnTo>
                  <a:lnTo>
                    <a:pt x="980" y="98"/>
                  </a:lnTo>
                  <a:lnTo>
                    <a:pt x="981" y="100"/>
                  </a:lnTo>
                  <a:lnTo>
                    <a:pt x="981" y="104"/>
                  </a:lnTo>
                  <a:lnTo>
                    <a:pt x="980" y="108"/>
                  </a:lnTo>
                  <a:lnTo>
                    <a:pt x="980" y="112"/>
                  </a:lnTo>
                  <a:lnTo>
                    <a:pt x="981" y="121"/>
                  </a:lnTo>
                  <a:lnTo>
                    <a:pt x="981" y="127"/>
                  </a:lnTo>
                  <a:lnTo>
                    <a:pt x="978" y="129"/>
                  </a:lnTo>
                  <a:lnTo>
                    <a:pt x="977" y="133"/>
                  </a:lnTo>
                  <a:lnTo>
                    <a:pt x="975" y="135"/>
                  </a:lnTo>
                  <a:lnTo>
                    <a:pt x="976" y="135"/>
                  </a:lnTo>
                  <a:lnTo>
                    <a:pt x="978" y="134"/>
                  </a:lnTo>
                  <a:lnTo>
                    <a:pt x="981" y="129"/>
                  </a:lnTo>
                  <a:lnTo>
                    <a:pt x="982" y="124"/>
                  </a:lnTo>
                  <a:lnTo>
                    <a:pt x="983" y="122"/>
                  </a:lnTo>
                  <a:lnTo>
                    <a:pt x="982" y="121"/>
                  </a:lnTo>
                  <a:lnTo>
                    <a:pt x="982" y="111"/>
                  </a:lnTo>
                  <a:lnTo>
                    <a:pt x="981" y="108"/>
                  </a:lnTo>
                  <a:lnTo>
                    <a:pt x="982" y="106"/>
                  </a:lnTo>
                  <a:lnTo>
                    <a:pt x="982" y="103"/>
                  </a:lnTo>
                  <a:lnTo>
                    <a:pt x="983" y="100"/>
                  </a:lnTo>
                  <a:lnTo>
                    <a:pt x="983" y="92"/>
                  </a:lnTo>
                  <a:lnTo>
                    <a:pt x="987" y="88"/>
                  </a:lnTo>
                  <a:lnTo>
                    <a:pt x="987" y="85"/>
                  </a:lnTo>
                  <a:lnTo>
                    <a:pt x="988" y="82"/>
                  </a:lnTo>
                  <a:lnTo>
                    <a:pt x="989" y="81"/>
                  </a:lnTo>
                  <a:lnTo>
                    <a:pt x="992" y="81"/>
                  </a:lnTo>
                  <a:lnTo>
                    <a:pt x="993" y="82"/>
                  </a:lnTo>
                  <a:lnTo>
                    <a:pt x="993" y="86"/>
                  </a:lnTo>
                  <a:lnTo>
                    <a:pt x="994" y="87"/>
                  </a:lnTo>
                  <a:lnTo>
                    <a:pt x="995" y="87"/>
                  </a:lnTo>
                  <a:lnTo>
                    <a:pt x="995" y="85"/>
                  </a:lnTo>
                  <a:lnTo>
                    <a:pt x="994" y="84"/>
                  </a:lnTo>
                  <a:lnTo>
                    <a:pt x="994" y="82"/>
                  </a:lnTo>
                  <a:lnTo>
                    <a:pt x="995" y="82"/>
                  </a:lnTo>
                  <a:lnTo>
                    <a:pt x="995" y="81"/>
                  </a:lnTo>
                  <a:lnTo>
                    <a:pt x="996" y="80"/>
                  </a:lnTo>
                  <a:lnTo>
                    <a:pt x="994" y="79"/>
                  </a:lnTo>
                  <a:lnTo>
                    <a:pt x="993" y="79"/>
                  </a:lnTo>
                  <a:lnTo>
                    <a:pt x="990" y="75"/>
                  </a:lnTo>
                  <a:lnTo>
                    <a:pt x="990" y="73"/>
                  </a:lnTo>
                  <a:lnTo>
                    <a:pt x="994" y="65"/>
                  </a:lnTo>
                  <a:lnTo>
                    <a:pt x="994" y="60"/>
                  </a:lnTo>
                  <a:lnTo>
                    <a:pt x="996" y="57"/>
                  </a:lnTo>
                  <a:lnTo>
                    <a:pt x="998" y="59"/>
                  </a:lnTo>
                  <a:lnTo>
                    <a:pt x="1000" y="59"/>
                  </a:lnTo>
                  <a:lnTo>
                    <a:pt x="999" y="57"/>
                  </a:lnTo>
                  <a:lnTo>
                    <a:pt x="998" y="55"/>
                  </a:lnTo>
                  <a:lnTo>
                    <a:pt x="995" y="53"/>
                  </a:lnTo>
                  <a:lnTo>
                    <a:pt x="996" y="49"/>
                  </a:lnTo>
                  <a:lnTo>
                    <a:pt x="1000" y="44"/>
                  </a:lnTo>
                  <a:lnTo>
                    <a:pt x="1002" y="38"/>
                  </a:lnTo>
                  <a:lnTo>
                    <a:pt x="1004" y="36"/>
                  </a:lnTo>
                  <a:lnTo>
                    <a:pt x="1006" y="35"/>
                  </a:lnTo>
                  <a:lnTo>
                    <a:pt x="1007" y="33"/>
                  </a:lnTo>
                  <a:lnTo>
                    <a:pt x="1018" y="32"/>
                  </a:lnTo>
                  <a:lnTo>
                    <a:pt x="1019" y="32"/>
                  </a:lnTo>
                  <a:lnTo>
                    <a:pt x="1020" y="33"/>
                  </a:lnTo>
                  <a:lnTo>
                    <a:pt x="1018" y="33"/>
                  </a:lnTo>
                  <a:lnTo>
                    <a:pt x="1018" y="35"/>
                  </a:lnTo>
                  <a:lnTo>
                    <a:pt x="1025" y="36"/>
                  </a:lnTo>
                  <a:lnTo>
                    <a:pt x="1026" y="37"/>
                  </a:lnTo>
                  <a:lnTo>
                    <a:pt x="1026" y="41"/>
                  </a:lnTo>
                  <a:lnTo>
                    <a:pt x="1029" y="43"/>
                  </a:lnTo>
                  <a:lnTo>
                    <a:pt x="1032" y="43"/>
                  </a:lnTo>
                  <a:lnTo>
                    <a:pt x="1032" y="47"/>
                  </a:lnTo>
                  <a:lnTo>
                    <a:pt x="1027" y="50"/>
                  </a:lnTo>
                  <a:lnTo>
                    <a:pt x="1029" y="51"/>
                  </a:lnTo>
                  <a:lnTo>
                    <a:pt x="1032" y="51"/>
                  </a:lnTo>
                  <a:lnTo>
                    <a:pt x="1031" y="53"/>
                  </a:lnTo>
                  <a:lnTo>
                    <a:pt x="1029" y="53"/>
                  </a:lnTo>
                  <a:lnTo>
                    <a:pt x="1030" y="54"/>
                  </a:lnTo>
                  <a:lnTo>
                    <a:pt x="1030" y="55"/>
                  </a:lnTo>
                  <a:lnTo>
                    <a:pt x="1031" y="54"/>
                  </a:lnTo>
                  <a:lnTo>
                    <a:pt x="1030" y="56"/>
                  </a:lnTo>
                  <a:lnTo>
                    <a:pt x="1029" y="57"/>
                  </a:lnTo>
                  <a:lnTo>
                    <a:pt x="1027" y="57"/>
                  </a:lnTo>
                  <a:lnTo>
                    <a:pt x="1027" y="61"/>
                  </a:lnTo>
                  <a:lnTo>
                    <a:pt x="1030" y="61"/>
                  </a:lnTo>
                  <a:lnTo>
                    <a:pt x="1031" y="57"/>
                  </a:lnTo>
                  <a:lnTo>
                    <a:pt x="1032" y="56"/>
                  </a:lnTo>
                  <a:lnTo>
                    <a:pt x="1037" y="55"/>
                  </a:lnTo>
                  <a:lnTo>
                    <a:pt x="1045" y="50"/>
                  </a:lnTo>
                  <a:lnTo>
                    <a:pt x="1046" y="50"/>
                  </a:lnTo>
                  <a:lnTo>
                    <a:pt x="1049" y="53"/>
                  </a:lnTo>
                  <a:lnTo>
                    <a:pt x="1049" y="57"/>
                  </a:lnTo>
                  <a:lnTo>
                    <a:pt x="1048" y="60"/>
                  </a:lnTo>
                  <a:lnTo>
                    <a:pt x="1045" y="63"/>
                  </a:lnTo>
                  <a:lnTo>
                    <a:pt x="1044" y="66"/>
                  </a:lnTo>
                  <a:lnTo>
                    <a:pt x="1050" y="63"/>
                  </a:lnTo>
                  <a:lnTo>
                    <a:pt x="1051" y="63"/>
                  </a:lnTo>
                  <a:lnTo>
                    <a:pt x="1051" y="61"/>
                  </a:lnTo>
                  <a:lnTo>
                    <a:pt x="1052" y="60"/>
                  </a:lnTo>
                  <a:lnTo>
                    <a:pt x="1056" y="55"/>
                  </a:lnTo>
                  <a:lnTo>
                    <a:pt x="1057" y="54"/>
                  </a:lnTo>
                  <a:lnTo>
                    <a:pt x="1062" y="54"/>
                  </a:lnTo>
                  <a:lnTo>
                    <a:pt x="1067" y="57"/>
                  </a:lnTo>
                  <a:lnTo>
                    <a:pt x="1065" y="60"/>
                  </a:lnTo>
                  <a:lnTo>
                    <a:pt x="1064" y="61"/>
                  </a:lnTo>
                  <a:lnTo>
                    <a:pt x="1062" y="62"/>
                  </a:lnTo>
                  <a:lnTo>
                    <a:pt x="1063" y="63"/>
                  </a:lnTo>
                  <a:lnTo>
                    <a:pt x="1068" y="63"/>
                  </a:lnTo>
                  <a:lnTo>
                    <a:pt x="1073" y="68"/>
                  </a:lnTo>
                  <a:lnTo>
                    <a:pt x="1071" y="70"/>
                  </a:lnTo>
                  <a:lnTo>
                    <a:pt x="1069" y="72"/>
                  </a:lnTo>
                  <a:lnTo>
                    <a:pt x="1064" y="73"/>
                  </a:lnTo>
                  <a:lnTo>
                    <a:pt x="1063" y="74"/>
                  </a:lnTo>
                  <a:lnTo>
                    <a:pt x="1063" y="75"/>
                  </a:lnTo>
                  <a:lnTo>
                    <a:pt x="1064" y="75"/>
                  </a:lnTo>
                  <a:lnTo>
                    <a:pt x="1064" y="76"/>
                  </a:lnTo>
                  <a:lnTo>
                    <a:pt x="1063" y="76"/>
                  </a:lnTo>
                  <a:lnTo>
                    <a:pt x="1060" y="75"/>
                  </a:lnTo>
                  <a:lnTo>
                    <a:pt x="1057" y="75"/>
                  </a:lnTo>
                  <a:lnTo>
                    <a:pt x="1057" y="76"/>
                  </a:lnTo>
                  <a:lnTo>
                    <a:pt x="1064" y="78"/>
                  </a:lnTo>
                  <a:lnTo>
                    <a:pt x="1077" y="73"/>
                  </a:lnTo>
                  <a:lnTo>
                    <a:pt x="1079" y="73"/>
                  </a:lnTo>
                  <a:lnTo>
                    <a:pt x="1082" y="75"/>
                  </a:lnTo>
                  <a:lnTo>
                    <a:pt x="1083" y="78"/>
                  </a:lnTo>
                  <a:lnTo>
                    <a:pt x="1081" y="79"/>
                  </a:lnTo>
                  <a:lnTo>
                    <a:pt x="1088" y="85"/>
                  </a:lnTo>
                  <a:lnTo>
                    <a:pt x="1089" y="88"/>
                  </a:lnTo>
                  <a:lnTo>
                    <a:pt x="1091" y="91"/>
                  </a:lnTo>
                  <a:lnTo>
                    <a:pt x="1092" y="92"/>
                  </a:lnTo>
                  <a:lnTo>
                    <a:pt x="1093" y="91"/>
                  </a:lnTo>
                  <a:lnTo>
                    <a:pt x="1093" y="90"/>
                  </a:lnTo>
                  <a:lnTo>
                    <a:pt x="1096" y="86"/>
                  </a:lnTo>
                  <a:lnTo>
                    <a:pt x="1098" y="87"/>
                  </a:lnTo>
                  <a:lnTo>
                    <a:pt x="1099" y="91"/>
                  </a:lnTo>
                  <a:lnTo>
                    <a:pt x="1099" y="92"/>
                  </a:lnTo>
                  <a:lnTo>
                    <a:pt x="1100" y="92"/>
                  </a:lnTo>
                  <a:lnTo>
                    <a:pt x="1102" y="98"/>
                  </a:lnTo>
                  <a:lnTo>
                    <a:pt x="1102" y="99"/>
                  </a:lnTo>
                  <a:lnTo>
                    <a:pt x="1101" y="100"/>
                  </a:lnTo>
                  <a:lnTo>
                    <a:pt x="1101" y="104"/>
                  </a:lnTo>
                  <a:lnTo>
                    <a:pt x="1102" y="105"/>
                  </a:lnTo>
                  <a:lnTo>
                    <a:pt x="1102" y="106"/>
                  </a:lnTo>
                  <a:lnTo>
                    <a:pt x="1104" y="108"/>
                  </a:lnTo>
                  <a:lnTo>
                    <a:pt x="1101" y="108"/>
                  </a:lnTo>
                  <a:lnTo>
                    <a:pt x="1096" y="111"/>
                  </a:lnTo>
                  <a:lnTo>
                    <a:pt x="1081" y="112"/>
                  </a:lnTo>
                  <a:lnTo>
                    <a:pt x="1080" y="113"/>
                  </a:lnTo>
                  <a:lnTo>
                    <a:pt x="1080" y="117"/>
                  </a:lnTo>
                  <a:lnTo>
                    <a:pt x="1079" y="118"/>
                  </a:lnTo>
                  <a:lnTo>
                    <a:pt x="1075" y="119"/>
                  </a:lnTo>
                  <a:lnTo>
                    <a:pt x="1073" y="122"/>
                  </a:lnTo>
                  <a:lnTo>
                    <a:pt x="1073" y="123"/>
                  </a:lnTo>
                  <a:lnTo>
                    <a:pt x="1074" y="124"/>
                  </a:lnTo>
                  <a:lnTo>
                    <a:pt x="1073" y="128"/>
                  </a:lnTo>
                  <a:lnTo>
                    <a:pt x="1071" y="129"/>
                  </a:lnTo>
                  <a:lnTo>
                    <a:pt x="1064" y="131"/>
                  </a:lnTo>
                  <a:lnTo>
                    <a:pt x="1063" y="133"/>
                  </a:lnTo>
                  <a:lnTo>
                    <a:pt x="1063" y="134"/>
                  </a:lnTo>
                  <a:lnTo>
                    <a:pt x="1064" y="135"/>
                  </a:lnTo>
                  <a:lnTo>
                    <a:pt x="1044" y="131"/>
                  </a:lnTo>
                  <a:lnTo>
                    <a:pt x="1025" y="129"/>
                  </a:lnTo>
                  <a:lnTo>
                    <a:pt x="1013" y="124"/>
                  </a:lnTo>
                  <a:lnTo>
                    <a:pt x="1001" y="121"/>
                  </a:lnTo>
                  <a:lnTo>
                    <a:pt x="999" y="122"/>
                  </a:lnTo>
                  <a:lnTo>
                    <a:pt x="999" y="123"/>
                  </a:lnTo>
                  <a:lnTo>
                    <a:pt x="1005" y="123"/>
                  </a:lnTo>
                  <a:lnTo>
                    <a:pt x="1005" y="125"/>
                  </a:lnTo>
                  <a:lnTo>
                    <a:pt x="1000" y="128"/>
                  </a:lnTo>
                  <a:lnTo>
                    <a:pt x="999" y="129"/>
                  </a:lnTo>
                  <a:lnTo>
                    <a:pt x="1001" y="131"/>
                  </a:lnTo>
                  <a:lnTo>
                    <a:pt x="1005" y="131"/>
                  </a:lnTo>
                  <a:lnTo>
                    <a:pt x="1006" y="129"/>
                  </a:lnTo>
                  <a:lnTo>
                    <a:pt x="1008" y="131"/>
                  </a:lnTo>
                  <a:lnTo>
                    <a:pt x="1006" y="131"/>
                  </a:lnTo>
                  <a:lnTo>
                    <a:pt x="1005" y="133"/>
                  </a:lnTo>
                  <a:lnTo>
                    <a:pt x="1012" y="134"/>
                  </a:lnTo>
                  <a:lnTo>
                    <a:pt x="1015" y="136"/>
                  </a:lnTo>
                  <a:lnTo>
                    <a:pt x="1021" y="136"/>
                  </a:lnTo>
                  <a:lnTo>
                    <a:pt x="1021" y="137"/>
                  </a:lnTo>
                  <a:lnTo>
                    <a:pt x="1023" y="137"/>
                  </a:lnTo>
                  <a:lnTo>
                    <a:pt x="1024" y="139"/>
                  </a:lnTo>
                  <a:lnTo>
                    <a:pt x="1024" y="140"/>
                  </a:lnTo>
                  <a:lnTo>
                    <a:pt x="1021" y="141"/>
                  </a:lnTo>
                  <a:lnTo>
                    <a:pt x="1023" y="142"/>
                  </a:lnTo>
                  <a:lnTo>
                    <a:pt x="1030" y="141"/>
                  </a:lnTo>
                  <a:lnTo>
                    <a:pt x="1032" y="143"/>
                  </a:lnTo>
                  <a:lnTo>
                    <a:pt x="1044" y="147"/>
                  </a:lnTo>
                  <a:lnTo>
                    <a:pt x="1044" y="148"/>
                  </a:lnTo>
                  <a:lnTo>
                    <a:pt x="1039" y="152"/>
                  </a:lnTo>
                  <a:lnTo>
                    <a:pt x="1038" y="153"/>
                  </a:lnTo>
                  <a:lnTo>
                    <a:pt x="1036" y="154"/>
                  </a:lnTo>
                  <a:lnTo>
                    <a:pt x="1033" y="156"/>
                  </a:lnTo>
                  <a:lnTo>
                    <a:pt x="1033" y="158"/>
                  </a:lnTo>
                  <a:lnTo>
                    <a:pt x="1032" y="159"/>
                  </a:lnTo>
                  <a:lnTo>
                    <a:pt x="1032" y="160"/>
                  </a:lnTo>
                  <a:lnTo>
                    <a:pt x="1031" y="160"/>
                  </a:lnTo>
                  <a:lnTo>
                    <a:pt x="1033" y="161"/>
                  </a:lnTo>
                  <a:lnTo>
                    <a:pt x="1033" y="160"/>
                  </a:lnTo>
                  <a:lnTo>
                    <a:pt x="1036" y="158"/>
                  </a:lnTo>
                  <a:lnTo>
                    <a:pt x="1037" y="154"/>
                  </a:lnTo>
                  <a:lnTo>
                    <a:pt x="1039" y="154"/>
                  </a:lnTo>
                  <a:lnTo>
                    <a:pt x="1040" y="155"/>
                  </a:lnTo>
                  <a:lnTo>
                    <a:pt x="1044" y="155"/>
                  </a:lnTo>
                  <a:lnTo>
                    <a:pt x="1045" y="154"/>
                  </a:lnTo>
                  <a:lnTo>
                    <a:pt x="1046" y="155"/>
                  </a:lnTo>
                  <a:lnTo>
                    <a:pt x="1046" y="160"/>
                  </a:lnTo>
                  <a:lnTo>
                    <a:pt x="1048" y="164"/>
                  </a:lnTo>
                  <a:lnTo>
                    <a:pt x="1048" y="165"/>
                  </a:lnTo>
                  <a:lnTo>
                    <a:pt x="1046" y="167"/>
                  </a:lnTo>
                  <a:lnTo>
                    <a:pt x="1043" y="171"/>
                  </a:lnTo>
                  <a:lnTo>
                    <a:pt x="1043" y="173"/>
                  </a:lnTo>
                  <a:lnTo>
                    <a:pt x="1042" y="173"/>
                  </a:lnTo>
                  <a:lnTo>
                    <a:pt x="1042" y="174"/>
                  </a:lnTo>
                  <a:lnTo>
                    <a:pt x="1040" y="176"/>
                  </a:lnTo>
                  <a:lnTo>
                    <a:pt x="1040" y="178"/>
                  </a:lnTo>
                  <a:lnTo>
                    <a:pt x="1038" y="178"/>
                  </a:lnTo>
                  <a:lnTo>
                    <a:pt x="1037" y="179"/>
                  </a:lnTo>
                  <a:lnTo>
                    <a:pt x="1038" y="179"/>
                  </a:lnTo>
                  <a:lnTo>
                    <a:pt x="1038" y="180"/>
                  </a:lnTo>
                  <a:lnTo>
                    <a:pt x="1036" y="185"/>
                  </a:lnTo>
                  <a:lnTo>
                    <a:pt x="1038" y="183"/>
                  </a:lnTo>
                  <a:lnTo>
                    <a:pt x="1039" y="180"/>
                  </a:lnTo>
                  <a:lnTo>
                    <a:pt x="1044" y="176"/>
                  </a:lnTo>
                  <a:lnTo>
                    <a:pt x="1045" y="176"/>
                  </a:lnTo>
                  <a:lnTo>
                    <a:pt x="1050" y="174"/>
                  </a:lnTo>
                  <a:lnTo>
                    <a:pt x="1054" y="176"/>
                  </a:lnTo>
                  <a:lnTo>
                    <a:pt x="1057" y="172"/>
                  </a:lnTo>
                  <a:lnTo>
                    <a:pt x="1060" y="171"/>
                  </a:lnTo>
                  <a:lnTo>
                    <a:pt x="1061" y="172"/>
                  </a:lnTo>
                  <a:lnTo>
                    <a:pt x="1060" y="173"/>
                  </a:lnTo>
                  <a:lnTo>
                    <a:pt x="1058" y="176"/>
                  </a:lnTo>
                  <a:lnTo>
                    <a:pt x="1055" y="179"/>
                  </a:lnTo>
                  <a:lnTo>
                    <a:pt x="1055" y="182"/>
                  </a:lnTo>
                  <a:lnTo>
                    <a:pt x="1056" y="179"/>
                  </a:lnTo>
                  <a:lnTo>
                    <a:pt x="1057" y="178"/>
                  </a:lnTo>
                  <a:lnTo>
                    <a:pt x="1058" y="178"/>
                  </a:lnTo>
                  <a:lnTo>
                    <a:pt x="1061" y="176"/>
                  </a:lnTo>
                  <a:lnTo>
                    <a:pt x="1062" y="178"/>
                  </a:lnTo>
                  <a:lnTo>
                    <a:pt x="1062" y="179"/>
                  </a:lnTo>
                  <a:lnTo>
                    <a:pt x="1065" y="182"/>
                  </a:lnTo>
                  <a:lnTo>
                    <a:pt x="1065" y="180"/>
                  </a:lnTo>
                  <a:lnTo>
                    <a:pt x="1064" y="179"/>
                  </a:lnTo>
                  <a:lnTo>
                    <a:pt x="1063" y="174"/>
                  </a:lnTo>
                  <a:lnTo>
                    <a:pt x="1062" y="173"/>
                  </a:lnTo>
                  <a:lnTo>
                    <a:pt x="1063" y="173"/>
                  </a:lnTo>
                  <a:lnTo>
                    <a:pt x="1065" y="172"/>
                  </a:lnTo>
                  <a:lnTo>
                    <a:pt x="1067" y="172"/>
                  </a:lnTo>
                  <a:lnTo>
                    <a:pt x="1067" y="170"/>
                  </a:lnTo>
                  <a:lnTo>
                    <a:pt x="1065" y="168"/>
                  </a:lnTo>
                  <a:lnTo>
                    <a:pt x="1065" y="167"/>
                  </a:lnTo>
                  <a:lnTo>
                    <a:pt x="1064" y="166"/>
                  </a:lnTo>
                  <a:lnTo>
                    <a:pt x="1064" y="158"/>
                  </a:lnTo>
                  <a:lnTo>
                    <a:pt x="1070" y="158"/>
                  </a:lnTo>
                  <a:lnTo>
                    <a:pt x="1071" y="160"/>
                  </a:lnTo>
                  <a:lnTo>
                    <a:pt x="1071" y="161"/>
                  </a:lnTo>
                  <a:lnTo>
                    <a:pt x="1069" y="162"/>
                  </a:lnTo>
                  <a:lnTo>
                    <a:pt x="1070" y="164"/>
                  </a:lnTo>
                  <a:lnTo>
                    <a:pt x="1074" y="162"/>
                  </a:lnTo>
                  <a:lnTo>
                    <a:pt x="1075" y="164"/>
                  </a:lnTo>
                  <a:lnTo>
                    <a:pt x="1075" y="180"/>
                  </a:lnTo>
                  <a:lnTo>
                    <a:pt x="1074" y="183"/>
                  </a:lnTo>
                  <a:lnTo>
                    <a:pt x="1071" y="183"/>
                  </a:lnTo>
                  <a:lnTo>
                    <a:pt x="1073" y="184"/>
                  </a:lnTo>
                  <a:lnTo>
                    <a:pt x="1076" y="183"/>
                  </a:lnTo>
                  <a:lnTo>
                    <a:pt x="1076" y="176"/>
                  </a:lnTo>
                  <a:lnTo>
                    <a:pt x="1077" y="176"/>
                  </a:lnTo>
                  <a:lnTo>
                    <a:pt x="1077" y="171"/>
                  </a:lnTo>
                  <a:lnTo>
                    <a:pt x="1076" y="170"/>
                  </a:lnTo>
                  <a:lnTo>
                    <a:pt x="1077" y="170"/>
                  </a:lnTo>
                  <a:lnTo>
                    <a:pt x="1076" y="167"/>
                  </a:lnTo>
                  <a:lnTo>
                    <a:pt x="1079" y="166"/>
                  </a:lnTo>
                  <a:lnTo>
                    <a:pt x="1087" y="167"/>
                  </a:lnTo>
                  <a:lnTo>
                    <a:pt x="1088" y="168"/>
                  </a:lnTo>
                  <a:lnTo>
                    <a:pt x="1087" y="168"/>
                  </a:lnTo>
                  <a:lnTo>
                    <a:pt x="1087" y="171"/>
                  </a:lnTo>
                  <a:lnTo>
                    <a:pt x="1088" y="172"/>
                  </a:lnTo>
                  <a:lnTo>
                    <a:pt x="1088" y="171"/>
                  </a:lnTo>
                  <a:lnTo>
                    <a:pt x="1089" y="171"/>
                  </a:lnTo>
                  <a:lnTo>
                    <a:pt x="1093" y="167"/>
                  </a:lnTo>
                  <a:lnTo>
                    <a:pt x="1093" y="172"/>
                  </a:lnTo>
                  <a:lnTo>
                    <a:pt x="1094" y="174"/>
                  </a:lnTo>
                  <a:lnTo>
                    <a:pt x="1094" y="176"/>
                  </a:lnTo>
                  <a:lnTo>
                    <a:pt x="1095" y="178"/>
                  </a:lnTo>
                  <a:lnTo>
                    <a:pt x="1095" y="182"/>
                  </a:lnTo>
                  <a:lnTo>
                    <a:pt x="1096" y="184"/>
                  </a:lnTo>
                  <a:lnTo>
                    <a:pt x="1096" y="195"/>
                  </a:lnTo>
                  <a:lnTo>
                    <a:pt x="1095" y="199"/>
                  </a:lnTo>
                  <a:lnTo>
                    <a:pt x="1094" y="201"/>
                  </a:lnTo>
                  <a:lnTo>
                    <a:pt x="1089" y="202"/>
                  </a:lnTo>
                  <a:lnTo>
                    <a:pt x="1080" y="199"/>
                  </a:lnTo>
                  <a:lnTo>
                    <a:pt x="1077" y="199"/>
                  </a:lnTo>
                  <a:lnTo>
                    <a:pt x="1070" y="190"/>
                  </a:lnTo>
                  <a:lnTo>
                    <a:pt x="1068" y="188"/>
                  </a:lnTo>
                  <a:lnTo>
                    <a:pt x="1063" y="188"/>
                  </a:lnTo>
                  <a:lnTo>
                    <a:pt x="1063" y="189"/>
                  </a:lnTo>
                  <a:lnTo>
                    <a:pt x="1064" y="190"/>
                  </a:lnTo>
                  <a:lnTo>
                    <a:pt x="1067" y="191"/>
                  </a:lnTo>
                  <a:lnTo>
                    <a:pt x="1067" y="192"/>
                  </a:lnTo>
                  <a:lnTo>
                    <a:pt x="1068" y="195"/>
                  </a:lnTo>
                  <a:lnTo>
                    <a:pt x="1068" y="197"/>
                  </a:lnTo>
                  <a:lnTo>
                    <a:pt x="1067" y="199"/>
                  </a:lnTo>
                  <a:lnTo>
                    <a:pt x="1067" y="201"/>
                  </a:lnTo>
                  <a:lnTo>
                    <a:pt x="1064" y="203"/>
                  </a:lnTo>
                  <a:lnTo>
                    <a:pt x="1064" y="205"/>
                  </a:lnTo>
                  <a:lnTo>
                    <a:pt x="1063" y="207"/>
                  </a:lnTo>
                  <a:lnTo>
                    <a:pt x="1063" y="211"/>
                  </a:lnTo>
                  <a:lnTo>
                    <a:pt x="1057" y="217"/>
                  </a:lnTo>
                  <a:lnTo>
                    <a:pt x="1056" y="220"/>
                  </a:lnTo>
                  <a:lnTo>
                    <a:pt x="1056" y="221"/>
                  </a:lnTo>
                  <a:lnTo>
                    <a:pt x="1048" y="221"/>
                  </a:lnTo>
                  <a:lnTo>
                    <a:pt x="1043" y="226"/>
                  </a:lnTo>
                  <a:lnTo>
                    <a:pt x="1040" y="227"/>
                  </a:lnTo>
                  <a:lnTo>
                    <a:pt x="1033" y="227"/>
                  </a:lnTo>
                  <a:lnTo>
                    <a:pt x="1031" y="228"/>
                  </a:lnTo>
                  <a:lnTo>
                    <a:pt x="1030" y="231"/>
                  </a:lnTo>
                  <a:lnTo>
                    <a:pt x="1030" y="233"/>
                  </a:lnTo>
                  <a:lnTo>
                    <a:pt x="1029" y="237"/>
                  </a:lnTo>
                  <a:lnTo>
                    <a:pt x="1029" y="240"/>
                  </a:lnTo>
                  <a:lnTo>
                    <a:pt x="1027" y="241"/>
                  </a:lnTo>
                  <a:lnTo>
                    <a:pt x="1027" y="245"/>
                  </a:lnTo>
                  <a:lnTo>
                    <a:pt x="1026" y="248"/>
                  </a:lnTo>
                  <a:lnTo>
                    <a:pt x="1026" y="251"/>
                  </a:lnTo>
                  <a:lnTo>
                    <a:pt x="1025" y="252"/>
                  </a:lnTo>
                  <a:lnTo>
                    <a:pt x="1023" y="256"/>
                  </a:lnTo>
                  <a:lnTo>
                    <a:pt x="1018" y="260"/>
                  </a:lnTo>
                  <a:lnTo>
                    <a:pt x="1015" y="259"/>
                  </a:lnTo>
                  <a:lnTo>
                    <a:pt x="1014" y="260"/>
                  </a:lnTo>
                  <a:lnTo>
                    <a:pt x="1013" y="260"/>
                  </a:lnTo>
                  <a:lnTo>
                    <a:pt x="1008" y="254"/>
                  </a:lnTo>
                  <a:lnTo>
                    <a:pt x="1008" y="251"/>
                  </a:lnTo>
                  <a:lnTo>
                    <a:pt x="1009" y="242"/>
                  </a:lnTo>
                  <a:lnTo>
                    <a:pt x="1009" y="239"/>
                  </a:lnTo>
                  <a:lnTo>
                    <a:pt x="1025" y="220"/>
                  </a:lnTo>
                  <a:lnTo>
                    <a:pt x="1030" y="209"/>
                  </a:lnTo>
                  <a:lnTo>
                    <a:pt x="1024" y="194"/>
                  </a:lnTo>
                  <a:lnTo>
                    <a:pt x="1021" y="184"/>
                  </a:lnTo>
                  <a:lnTo>
                    <a:pt x="1021" y="183"/>
                  </a:lnTo>
                  <a:lnTo>
                    <a:pt x="1007" y="177"/>
                  </a:lnTo>
                  <a:lnTo>
                    <a:pt x="994" y="170"/>
                  </a:lnTo>
                  <a:lnTo>
                    <a:pt x="992" y="168"/>
                  </a:lnTo>
                  <a:lnTo>
                    <a:pt x="990" y="167"/>
                  </a:lnTo>
                  <a:lnTo>
                    <a:pt x="989" y="165"/>
                  </a:lnTo>
                  <a:lnTo>
                    <a:pt x="989" y="161"/>
                  </a:lnTo>
                  <a:lnTo>
                    <a:pt x="981" y="158"/>
                  </a:lnTo>
                  <a:lnTo>
                    <a:pt x="981" y="156"/>
                  </a:lnTo>
                  <a:lnTo>
                    <a:pt x="973" y="142"/>
                  </a:lnTo>
                  <a:lnTo>
                    <a:pt x="970" y="136"/>
                  </a:lnTo>
                  <a:lnTo>
                    <a:pt x="968" y="134"/>
                  </a:lnTo>
                  <a:lnTo>
                    <a:pt x="964" y="136"/>
                  </a:lnTo>
                  <a:lnTo>
                    <a:pt x="959" y="135"/>
                  </a:lnTo>
                  <a:lnTo>
                    <a:pt x="957" y="136"/>
                  </a:lnTo>
                  <a:lnTo>
                    <a:pt x="955" y="139"/>
                  </a:lnTo>
                  <a:lnTo>
                    <a:pt x="955" y="141"/>
                  </a:lnTo>
                  <a:lnTo>
                    <a:pt x="950" y="143"/>
                  </a:lnTo>
                  <a:lnTo>
                    <a:pt x="947" y="147"/>
                  </a:lnTo>
                  <a:lnTo>
                    <a:pt x="945" y="147"/>
                  </a:lnTo>
                  <a:lnTo>
                    <a:pt x="945" y="149"/>
                  </a:lnTo>
                  <a:lnTo>
                    <a:pt x="946" y="149"/>
                  </a:lnTo>
                  <a:lnTo>
                    <a:pt x="944" y="152"/>
                  </a:lnTo>
                  <a:lnTo>
                    <a:pt x="936" y="155"/>
                  </a:lnTo>
                  <a:lnTo>
                    <a:pt x="934" y="155"/>
                  </a:lnTo>
                  <a:lnTo>
                    <a:pt x="932" y="153"/>
                  </a:lnTo>
                  <a:lnTo>
                    <a:pt x="930" y="153"/>
                  </a:lnTo>
                  <a:lnTo>
                    <a:pt x="925" y="151"/>
                  </a:lnTo>
                  <a:lnTo>
                    <a:pt x="921" y="152"/>
                  </a:lnTo>
                  <a:lnTo>
                    <a:pt x="919" y="152"/>
                  </a:lnTo>
                  <a:lnTo>
                    <a:pt x="912" y="153"/>
                  </a:lnTo>
                  <a:lnTo>
                    <a:pt x="911" y="153"/>
                  </a:lnTo>
                  <a:lnTo>
                    <a:pt x="908" y="158"/>
                  </a:lnTo>
                  <a:lnTo>
                    <a:pt x="907" y="159"/>
                  </a:lnTo>
                  <a:lnTo>
                    <a:pt x="908" y="161"/>
                  </a:lnTo>
                  <a:lnTo>
                    <a:pt x="907" y="164"/>
                  </a:lnTo>
                  <a:lnTo>
                    <a:pt x="902" y="168"/>
                  </a:lnTo>
                  <a:lnTo>
                    <a:pt x="900" y="173"/>
                  </a:lnTo>
                  <a:lnTo>
                    <a:pt x="899" y="177"/>
                  </a:lnTo>
                  <a:lnTo>
                    <a:pt x="897" y="177"/>
                  </a:lnTo>
                  <a:lnTo>
                    <a:pt x="897" y="178"/>
                  </a:lnTo>
                  <a:lnTo>
                    <a:pt x="896" y="179"/>
                  </a:lnTo>
                  <a:lnTo>
                    <a:pt x="890" y="180"/>
                  </a:lnTo>
                  <a:lnTo>
                    <a:pt x="888" y="183"/>
                  </a:lnTo>
                  <a:lnTo>
                    <a:pt x="888" y="185"/>
                  </a:lnTo>
                  <a:lnTo>
                    <a:pt x="887" y="186"/>
                  </a:lnTo>
                  <a:lnTo>
                    <a:pt x="888" y="188"/>
                  </a:lnTo>
                  <a:lnTo>
                    <a:pt x="888" y="189"/>
                  </a:lnTo>
                  <a:lnTo>
                    <a:pt x="889" y="191"/>
                  </a:lnTo>
                  <a:lnTo>
                    <a:pt x="889" y="194"/>
                  </a:lnTo>
                  <a:lnTo>
                    <a:pt x="887" y="198"/>
                  </a:lnTo>
                  <a:lnTo>
                    <a:pt x="884" y="201"/>
                  </a:lnTo>
                  <a:lnTo>
                    <a:pt x="884" y="203"/>
                  </a:lnTo>
                  <a:lnTo>
                    <a:pt x="886" y="204"/>
                  </a:lnTo>
                  <a:lnTo>
                    <a:pt x="884" y="205"/>
                  </a:lnTo>
                  <a:lnTo>
                    <a:pt x="884" y="210"/>
                  </a:lnTo>
                  <a:lnTo>
                    <a:pt x="883" y="211"/>
                  </a:lnTo>
                  <a:lnTo>
                    <a:pt x="882" y="214"/>
                  </a:lnTo>
                  <a:lnTo>
                    <a:pt x="883" y="219"/>
                  </a:lnTo>
                  <a:lnTo>
                    <a:pt x="883" y="220"/>
                  </a:lnTo>
                  <a:lnTo>
                    <a:pt x="880" y="227"/>
                  </a:lnTo>
                  <a:lnTo>
                    <a:pt x="880" y="228"/>
                  </a:lnTo>
                  <a:lnTo>
                    <a:pt x="878" y="238"/>
                  </a:lnTo>
                  <a:lnTo>
                    <a:pt x="877" y="241"/>
                  </a:lnTo>
                  <a:lnTo>
                    <a:pt x="878" y="245"/>
                  </a:lnTo>
                  <a:lnTo>
                    <a:pt x="880" y="247"/>
                  </a:lnTo>
                  <a:lnTo>
                    <a:pt x="880" y="250"/>
                  </a:lnTo>
                  <a:lnTo>
                    <a:pt x="878" y="250"/>
                  </a:lnTo>
                  <a:lnTo>
                    <a:pt x="878" y="257"/>
                  </a:lnTo>
                  <a:lnTo>
                    <a:pt x="880" y="259"/>
                  </a:lnTo>
                  <a:lnTo>
                    <a:pt x="880" y="262"/>
                  </a:lnTo>
                  <a:lnTo>
                    <a:pt x="881" y="262"/>
                  </a:lnTo>
                  <a:lnTo>
                    <a:pt x="881" y="265"/>
                  </a:lnTo>
                  <a:lnTo>
                    <a:pt x="878" y="266"/>
                  </a:lnTo>
                  <a:lnTo>
                    <a:pt x="878" y="270"/>
                  </a:lnTo>
                  <a:lnTo>
                    <a:pt x="876" y="272"/>
                  </a:lnTo>
                  <a:lnTo>
                    <a:pt x="875" y="275"/>
                  </a:lnTo>
                  <a:lnTo>
                    <a:pt x="875" y="277"/>
                  </a:lnTo>
                  <a:lnTo>
                    <a:pt x="872" y="279"/>
                  </a:lnTo>
                  <a:lnTo>
                    <a:pt x="866" y="277"/>
                  </a:lnTo>
                  <a:lnTo>
                    <a:pt x="865" y="277"/>
                  </a:lnTo>
                  <a:lnTo>
                    <a:pt x="863" y="278"/>
                  </a:lnTo>
                  <a:lnTo>
                    <a:pt x="856" y="285"/>
                  </a:lnTo>
                  <a:lnTo>
                    <a:pt x="853" y="289"/>
                  </a:lnTo>
                  <a:lnTo>
                    <a:pt x="853" y="300"/>
                  </a:lnTo>
                  <a:lnTo>
                    <a:pt x="852" y="301"/>
                  </a:lnTo>
                  <a:lnTo>
                    <a:pt x="852" y="302"/>
                  </a:lnTo>
                  <a:lnTo>
                    <a:pt x="853" y="303"/>
                  </a:lnTo>
                  <a:lnTo>
                    <a:pt x="852" y="306"/>
                  </a:lnTo>
                  <a:lnTo>
                    <a:pt x="851" y="307"/>
                  </a:lnTo>
                  <a:lnTo>
                    <a:pt x="850" y="307"/>
                  </a:lnTo>
                  <a:lnTo>
                    <a:pt x="847" y="309"/>
                  </a:lnTo>
                  <a:lnTo>
                    <a:pt x="846" y="309"/>
                  </a:lnTo>
                  <a:lnTo>
                    <a:pt x="844" y="312"/>
                  </a:lnTo>
                  <a:lnTo>
                    <a:pt x="844" y="314"/>
                  </a:lnTo>
                  <a:lnTo>
                    <a:pt x="841" y="317"/>
                  </a:lnTo>
                  <a:lnTo>
                    <a:pt x="841" y="315"/>
                  </a:lnTo>
                  <a:lnTo>
                    <a:pt x="839" y="312"/>
                  </a:lnTo>
                  <a:lnTo>
                    <a:pt x="837" y="306"/>
                  </a:lnTo>
                  <a:lnTo>
                    <a:pt x="833" y="303"/>
                  </a:lnTo>
                  <a:lnTo>
                    <a:pt x="825" y="300"/>
                  </a:lnTo>
                  <a:lnTo>
                    <a:pt x="819" y="299"/>
                  </a:lnTo>
                  <a:lnTo>
                    <a:pt x="813" y="294"/>
                  </a:lnTo>
                  <a:lnTo>
                    <a:pt x="812" y="293"/>
                  </a:lnTo>
                  <a:lnTo>
                    <a:pt x="810" y="290"/>
                  </a:lnTo>
                  <a:lnTo>
                    <a:pt x="802" y="285"/>
                  </a:lnTo>
                  <a:lnTo>
                    <a:pt x="799" y="285"/>
                  </a:lnTo>
                  <a:lnTo>
                    <a:pt x="796" y="288"/>
                  </a:lnTo>
                  <a:lnTo>
                    <a:pt x="794" y="297"/>
                  </a:lnTo>
                  <a:lnTo>
                    <a:pt x="789" y="300"/>
                  </a:lnTo>
                  <a:lnTo>
                    <a:pt x="783" y="301"/>
                  </a:lnTo>
                  <a:lnTo>
                    <a:pt x="771" y="308"/>
                  </a:lnTo>
                  <a:lnTo>
                    <a:pt x="770" y="308"/>
                  </a:lnTo>
                  <a:lnTo>
                    <a:pt x="766" y="302"/>
                  </a:lnTo>
                  <a:lnTo>
                    <a:pt x="765" y="301"/>
                  </a:lnTo>
                  <a:lnTo>
                    <a:pt x="763" y="301"/>
                  </a:lnTo>
                  <a:lnTo>
                    <a:pt x="756" y="302"/>
                  </a:lnTo>
                  <a:lnTo>
                    <a:pt x="745" y="296"/>
                  </a:lnTo>
                  <a:lnTo>
                    <a:pt x="742" y="296"/>
                  </a:lnTo>
                  <a:lnTo>
                    <a:pt x="738" y="297"/>
                  </a:lnTo>
                  <a:lnTo>
                    <a:pt x="737" y="295"/>
                  </a:lnTo>
                  <a:lnTo>
                    <a:pt x="735" y="284"/>
                  </a:lnTo>
                  <a:lnTo>
                    <a:pt x="735" y="283"/>
                  </a:lnTo>
                  <a:lnTo>
                    <a:pt x="732" y="281"/>
                  </a:lnTo>
                  <a:lnTo>
                    <a:pt x="728" y="275"/>
                  </a:lnTo>
                  <a:lnTo>
                    <a:pt x="728" y="274"/>
                  </a:lnTo>
                  <a:lnTo>
                    <a:pt x="727" y="271"/>
                  </a:lnTo>
                  <a:lnTo>
                    <a:pt x="727" y="269"/>
                  </a:lnTo>
                  <a:lnTo>
                    <a:pt x="721" y="263"/>
                  </a:lnTo>
                  <a:lnTo>
                    <a:pt x="717" y="257"/>
                  </a:lnTo>
                  <a:lnTo>
                    <a:pt x="706" y="233"/>
                  </a:lnTo>
                  <a:lnTo>
                    <a:pt x="704" y="232"/>
                  </a:lnTo>
                  <a:lnTo>
                    <a:pt x="691" y="229"/>
                  </a:lnTo>
                  <a:lnTo>
                    <a:pt x="682" y="235"/>
                  </a:lnTo>
                  <a:lnTo>
                    <a:pt x="682" y="237"/>
                  </a:lnTo>
                  <a:lnTo>
                    <a:pt x="681" y="239"/>
                  </a:lnTo>
                  <a:lnTo>
                    <a:pt x="679" y="242"/>
                  </a:lnTo>
                  <a:lnTo>
                    <a:pt x="684" y="253"/>
                  </a:lnTo>
                  <a:lnTo>
                    <a:pt x="682" y="259"/>
                  </a:lnTo>
                  <a:lnTo>
                    <a:pt x="679" y="259"/>
                  </a:lnTo>
                  <a:lnTo>
                    <a:pt x="667" y="252"/>
                  </a:lnTo>
                  <a:lnTo>
                    <a:pt x="666" y="252"/>
                  </a:lnTo>
                  <a:lnTo>
                    <a:pt x="663" y="259"/>
                  </a:lnTo>
                  <a:lnTo>
                    <a:pt x="651" y="260"/>
                  </a:lnTo>
                  <a:lnTo>
                    <a:pt x="640" y="262"/>
                  </a:lnTo>
                  <a:lnTo>
                    <a:pt x="651" y="275"/>
                  </a:lnTo>
                  <a:lnTo>
                    <a:pt x="651" y="289"/>
                  </a:lnTo>
                  <a:lnTo>
                    <a:pt x="650" y="291"/>
                  </a:lnTo>
                  <a:lnTo>
                    <a:pt x="646" y="303"/>
                  </a:lnTo>
                  <a:lnTo>
                    <a:pt x="642" y="309"/>
                  </a:lnTo>
                  <a:lnTo>
                    <a:pt x="634" y="318"/>
                  </a:lnTo>
                  <a:lnTo>
                    <a:pt x="646" y="325"/>
                  </a:lnTo>
                  <a:lnTo>
                    <a:pt x="636" y="338"/>
                  </a:lnTo>
                  <a:lnTo>
                    <a:pt x="634" y="339"/>
                  </a:lnTo>
                  <a:lnTo>
                    <a:pt x="633" y="339"/>
                  </a:lnTo>
                  <a:lnTo>
                    <a:pt x="614" y="331"/>
                  </a:lnTo>
                  <a:lnTo>
                    <a:pt x="595" y="321"/>
                  </a:lnTo>
                  <a:lnTo>
                    <a:pt x="580" y="322"/>
                  </a:lnTo>
                  <a:lnTo>
                    <a:pt x="578" y="322"/>
                  </a:lnTo>
                  <a:lnTo>
                    <a:pt x="572" y="315"/>
                  </a:lnTo>
                  <a:lnTo>
                    <a:pt x="570" y="314"/>
                  </a:lnTo>
                  <a:lnTo>
                    <a:pt x="559" y="318"/>
                  </a:lnTo>
                  <a:lnTo>
                    <a:pt x="558" y="319"/>
                  </a:lnTo>
                  <a:lnTo>
                    <a:pt x="558" y="320"/>
                  </a:lnTo>
                  <a:lnTo>
                    <a:pt x="557" y="331"/>
                  </a:lnTo>
                  <a:lnTo>
                    <a:pt x="557" y="334"/>
                  </a:lnTo>
                  <a:lnTo>
                    <a:pt x="559" y="357"/>
                  </a:lnTo>
                  <a:lnTo>
                    <a:pt x="559" y="362"/>
                  </a:lnTo>
                  <a:lnTo>
                    <a:pt x="551" y="377"/>
                  </a:lnTo>
                  <a:lnTo>
                    <a:pt x="548" y="382"/>
                  </a:lnTo>
                  <a:lnTo>
                    <a:pt x="547" y="382"/>
                  </a:lnTo>
                  <a:lnTo>
                    <a:pt x="523" y="368"/>
                  </a:lnTo>
                  <a:lnTo>
                    <a:pt x="522" y="368"/>
                  </a:lnTo>
                  <a:lnTo>
                    <a:pt x="518" y="375"/>
                  </a:lnTo>
                  <a:lnTo>
                    <a:pt x="501" y="389"/>
                  </a:lnTo>
                  <a:lnTo>
                    <a:pt x="501" y="391"/>
                  </a:lnTo>
                  <a:lnTo>
                    <a:pt x="499" y="393"/>
                  </a:lnTo>
                  <a:lnTo>
                    <a:pt x="492" y="419"/>
                  </a:lnTo>
                  <a:lnTo>
                    <a:pt x="492" y="422"/>
                  </a:lnTo>
                  <a:lnTo>
                    <a:pt x="487" y="429"/>
                  </a:lnTo>
                  <a:lnTo>
                    <a:pt x="485" y="431"/>
                  </a:lnTo>
                  <a:lnTo>
                    <a:pt x="483" y="432"/>
                  </a:lnTo>
                  <a:lnTo>
                    <a:pt x="476" y="434"/>
                  </a:lnTo>
                  <a:lnTo>
                    <a:pt x="474" y="436"/>
                  </a:lnTo>
                  <a:lnTo>
                    <a:pt x="472" y="443"/>
                  </a:lnTo>
                  <a:lnTo>
                    <a:pt x="485" y="468"/>
                  </a:lnTo>
                  <a:lnTo>
                    <a:pt x="486" y="469"/>
                  </a:lnTo>
                  <a:lnTo>
                    <a:pt x="485" y="484"/>
                  </a:lnTo>
                  <a:lnTo>
                    <a:pt x="484" y="486"/>
                  </a:lnTo>
                  <a:lnTo>
                    <a:pt x="483" y="487"/>
                  </a:lnTo>
                  <a:lnTo>
                    <a:pt x="480" y="489"/>
                  </a:lnTo>
                  <a:lnTo>
                    <a:pt x="472" y="497"/>
                  </a:lnTo>
                  <a:lnTo>
                    <a:pt x="468" y="502"/>
                  </a:lnTo>
                  <a:lnTo>
                    <a:pt x="453" y="533"/>
                  </a:lnTo>
                  <a:lnTo>
                    <a:pt x="443" y="545"/>
                  </a:lnTo>
                  <a:lnTo>
                    <a:pt x="443" y="547"/>
                  </a:lnTo>
                  <a:lnTo>
                    <a:pt x="445" y="559"/>
                  </a:lnTo>
                  <a:lnTo>
                    <a:pt x="446" y="560"/>
                  </a:lnTo>
                  <a:lnTo>
                    <a:pt x="446" y="567"/>
                  </a:lnTo>
                  <a:lnTo>
                    <a:pt x="427" y="579"/>
                  </a:lnTo>
                  <a:lnTo>
                    <a:pt x="416" y="582"/>
                  </a:lnTo>
                  <a:lnTo>
                    <a:pt x="405" y="583"/>
                  </a:lnTo>
                  <a:lnTo>
                    <a:pt x="410" y="612"/>
                  </a:lnTo>
                  <a:lnTo>
                    <a:pt x="410" y="619"/>
                  </a:lnTo>
                  <a:lnTo>
                    <a:pt x="406" y="625"/>
                  </a:lnTo>
                  <a:lnTo>
                    <a:pt x="406" y="627"/>
                  </a:lnTo>
                  <a:lnTo>
                    <a:pt x="404" y="651"/>
                  </a:lnTo>
                  <a:lnTo>
                    <a:pt x="404" y="665"/>
                  </a:lnTo>
                  <a:lnTo>
                    <a:pt x="403" y="669"/>
                  </a:lnTo>
                  <a:lnTo>
                    <a:pt x="399" y="671"/>
                  </a:lnTo>
                  <a:lnTo>
                    <a:pt x="399" y="674"/>
                  </a:lnTo>
                  <a:lnTo>
                    <a:pt x="398" y="676"/>
                  </a:lnTo>
                  <a:lnTo>
                    <a:pt x="397" y="686"/>
                  </a:lnTo>
                  <a:lnTo>
                    <a:pt x="396" y="689"/>
                  </a:lnTo>
                  <a:lnTo>
                    <a:pt x="390" y="699"/>
                  </a:lnTo>
                  <a:lnTo>
                    <a:pt x="379" y="719"/>
                  </a:lnTo>
                  <a:lnTo>
                    <a:pt x="367" y="738"/>
                  </a:lnTo>
                  <a:lnTo>
                    <a:pt x="380" y="748"/>
                  </a:lnTo>
                  <a:lnTo>
                    <a:pt x="381" y="749"/>
                  </a:lnTo>
                  <a:lnTo>
                    <a:pt x="385" y="749"/>
                  </a:lnTo>
                  <a:lnTo>
                    <a:pt x="386" y="750"/>
                  </a:lnTo>
                  <a:lnTo>
                    <a:pt x="387" y="752"/>
                  </a:lnTo>
                  <a:lnTo>
                    <a:pt x="390" y="775"/>
                  </a:lnTo>
                  <a:lnTo>
                    <a:pt x="390" y="778"/>
                  </a:lnTo>
                  <a:lnTo>
                    <a:pt x="389" y="779"/>
                  </a:lnTo>
                  <a:lnTo>
                    <a:pt x="381" y="793"/>
                  </a:lnTo>
                  <a:lnTo>
                    <a:pt x="381" y="794"/>
                  </a:lnTo>
                  <a:lnTo>
                    <a:pt x="380" y="794"/>
                  </a:lnTo>
                  <a:lnTo>
                    <a:pt x="365" y="791"/>
                  </a:lnTo>
                  <a:lnTo>
                    <a:pt x="350" y="787"/>
                  </a:lnTo>
                  <a:lnTo>
                    <a:pt x="340" y="789"/>
                  </a:lnTo>
                  <a:lnTo>
                    <a:pt x="330" y="797"/>
                  </a:lnTo>
                  <a:lnTo>
                    <a:pt x="327" y="800"/>
                  </a:lnTo>
                  <a:lnTo>
                    <a:pt x="318" y="813"/>
                  </a:lnTo>
                  <a:lnTo>
                    <a:pt x="311" y="829"/>
                  </a:lnTo>
                  <a:lnTo>
                    <a:pt x="305" y="834"/>
                  </a:lnTo>
                  <a:lnTo>
                    <a:pt x="307" y="843"/>
                  </a:lnTo>
                  <a:lnTo>
                    <a:pt x="307" y="848"/>
                  </a:lnTo>
                  <a:lnTo>
                    <a:pt x="298" y="864"/>
                  </a:lnTo>
                  <a:lnTo>
                    <a:pt x="300" y="871"/>
                  </a:lnTo>
                  <a:lnTo>
                    <a:pt x="307" y="890"/>
                  </a:lnTo>
                  <a:lnTo>
                    <a:pt x="303" y="897"/>
                  </a:lnTo>
                  <a:lnTo>
                    <a:pt x="303" y="901"/>
                  </a:lnTo>
                  <a:lnTo>
                    <a:pt x="305" y="915"/>
                  </a:lnTo>
                  <a:lnTo>
                    <a:pt x="305" y="917"/>
                  </a:lnTo>
                  <a:lnTo>
                    <a:pt x="304" y="920"/>
                  </a:lnTo>
                  <a:lnTo>
                    <a:pt x="303" y="924"/>
                  </a:lnTo>
                  <a:lnTo>
                    <a:pt x="301" y="927"/>
                  </a:lnTo>
                  <a:lnTo>
                    <a:pt x="301" y="928"/>
                  </a:lnTo>
                  <a:lnTo>
                    <a:pt x="310" y="951"/>
                  </a:lnTo>
                  <a:lnTo>
                    <a:pt x="311" y="956"/>
                  </a:lnTo>
                  <a:lnTo>
                    <a:pt x="311" y="960"/>
                  </a:lnTo>
                  <a:lnTo>
                    <a:pt x="309" y="983"/>
                  </a:lnTo>
                  <a:lnTo>
                    <a:pt x="305" y="1006"/>
                  </a:lnTo>
                  <a:lnTo>
                    <a:pt x="305" y="1007"/>
                  </a:lnTo>
                  <a:lnTo>
                    <a:pt x="312" y="1014"/>
                  </a:lnTo>
                  <a:lnTo>
                    <a:pt x="316" y="1019"/>
                  </a:lnTo>
                  <a:lnTo>
                    <a:pt x="317" y="1020"/>
                  </a:lnTo>
                  <a:lnTo>
                    <a:pt x="322" y="1020"/>
                  </a:lnTo>
                  <a:lnTo>
                    <a:pt x="324" y="1022"/>
                  </a:lnTo>
                  <a:lnTo>
                    <a:pt x="335" y="1038"/>
                  </a:lnTo>
                  <a:lnTo>
                    <a:pt x="336" y="1038"/>
                  </a:lnTo>
                  <a:lnTo>
                    <a:pt x="336" y="1039"/>
                  </a:lnTo>
                  <a:lnTo>
                    <a:pt x="335" y="1047"/>
                  </a:lnTo>
                  <a:lnTo>
                    <a:pt x="330" y="1057"/>
                  </a:lnTo>
                  <a:lnTo>
                    <a:pt x="329" y="1058"/>
                  </a:lnTo>
                  <a:lnTo>
                    <a:pt x="329" y="1064"/>
                  </a:lnTo>
                  <a:lnTo>
                    <a:pt x="328" y="1065"/>
                  </a:lnTo>
                  <a:lnTo>
                    <a:pt x="328" y="1067"/>
                  </a:lnTo>
                  <a:lnTo>
                    <a:pt x="327" y="1067"/>
                  </a:lnTo>
                  <a:lnTo>
                    <a:pt x="322" y="1065"/>
                  </a:lnTo>
                  <a:lnTo>
                    <a:pt x="319" y="1065"/>
                  </a:lnTo>
                  <a:lnTo>
                    <a:pt x="310" y="1069"/>
                  </a:lnTo>
                  <a:lnTo>
                    <a:pt x="309" y="1070"/>
                  </a:lnTo>
                  <a:lnTo>
                    <a:pt x="309" y="1071"/>
                  </a:lnTo>
                  <a:lnTo>
                    <a:pt x="311" y="1076"/>
                  </a:lnTo>
                  <a:lnTo>
                    <a:pt x="311" y="1079"/>
                  </a:lnTo>
                  <a:lnTo>
                    <a:pt x="312" y="1085"/>
                  </a:lnTo>
                  <a:lnTo>
                    <a:pt x="315" y="1092"/>
                  </a:lnTo>
                  <a:lnTo>
                    <a:pt x="318" y="1100"/>
                  </a:lnTo>
                  <a:lnTo>
                    <a:pt x="323" y="1112"/>
                  </a:lnTo>
                  <a:lnTo>
                    <a:pt x="324" y="1114"/>
                  </a:lnTo>
                  <a:lnTo>
                    <a:pt x="324" y="1120"/>
                  </a:lnTo>
                  <a:lnTo>
                    <a:pt x="323" y="1123"/>
                  </a:lnTo>
                  <a:lnTo>
                    <a:pt x="323" y="1124"/>
                  </a:lnTo>
                  <a:lnTo>
                    <a:pt x="322" y="1125"/>
                  </a:lnTo>
                  <a:lnTo>
                    <a:pt x="319" y="1129"/>
                  </a:lnTo>
                  <a:lnTo>
                    <a:pt x="319" y="1133"/>
                  </a:lnTo>
                  <a:lnTo>
                    <a:pt x="321" y="1139"/>
                  </a:lnTo>
                  <a:lnTo>
                    <a:pt x="321" y="1142"/>
                  </a:lnTo>
                  <a:lnTo>
                    <a:pt x="318" y="1149"/>
                  </a:lnTo>
                  <a:lnTo>
                    <a:pt x="317" y="1151"/>
                  </a:lnTo>
                  <a:lnTo>
                    <a:pt x="311" y="1160"/>
                  </a:lnTo>
                  <a:lnTo>
                    <a:pt x="304" y="1165"/>
                  </a:lnTo>
                  <a:lnTo>
                    <a:pt x="293" y="1165"/>
                  </a:lnTo>
                  <a:lnTo>
                    <a:pt x="293" y="1166"/>
                  </a:lnTo>
                  <a:lnTo>
                    <a:pt x="292" y="1167"/>
                  </a:lnTo>
                  <a:lnTo>
                    <a:pt x="292" y="1170"/>
                  </a:lnTo>
                  <a:lnTo>
                    <a:pt x="293" y="1172"/>
                  </a:lnTo>
                  <a:lnTo>
                    <a:pt x="293" y="1173"/>
                  </a:lnTo>
                  <a:lnTo>
                    <a:pt x="294" y="1174"/>
                  </a:lnTo>
                  <a:lnTo>
                    <a:pt x="294" y="1180"/>
                  </a:lnTo>
                  <a:lnTo>
                    <a:pt x="293" y="1180"/>
                  </a:lnTo>
                  <a:lnTo>
                    <a:pt x="292" y="1184"/>
                  </a:lnTo>
                  <a:lnTo>
                    <a:pt x="291" y="1185"/>
                  </a:lnTo>
                  <a:lnTo>
                    <a:pt x="285" y="1187"/>
                  </a:lnTo>
                  <a:lnTo>
                    <a:pt x="285" y="1193"/>
                  </a:lnTo>
                  <a:lnTo>
                    <a:pt x="290" y="1209"/>
                  </a:lnTo>
                  <a:lnTo>
                    <a:pt x="290" y="1215"/>
                  </a:lnTo>
                  <a:lnTo>
                    <a:pt x="291" y="1217"/>
                  </a:lnTo>
                  <a:lnTo>
                    <a:pt x="291" y="1218"/>
                  </a:lnTo>
                  <a:lnTo>
                    <a:pt x="290" y="1219"/>
                  </a:lnTo>
                  <a:lnTo>
                    <a:pt x="290" y="1221"/>
                  </a:lnTo>
                  <a:lnTo>
                    <a:pt x="288" y="1222"/>
                  </a:lnTo>
                  <a:lnTo>
                    <a:pt x="287" y="1228"/>
                  </a:lnTo>
                  <a:lnTo>
                    <a:pt x="287" y="1234"/>
                  </a:lnTo>
                  <a:lnTo>
                    <a:pt x="286" y="1237"/>
                  </a:lnTo>
                  <a:lnTo>
                    <a:pt x="286" y="1239"/>
                  </a:lnTo>
                  <a:lnTo>
                    <a:pt x="285" y="1241"/>
                  </a:lnTo>
                  <a:lnTo>
                    <a:pt x="284" y="1246"/>
                  </a:lnTo>
                  <a:lnTo>
                    <a:pt x="282" y="1248"/>
                  </a:lnTo>
                  <a:lnTo>
                    <a:pt x="276" y="1248"/>
                  </a:lnTo>
                  <a:lnTo>
                    <a:pt x="275" y="1247"/>
                  </a:lnTo>
                  <a:lnTo>
                    <a:pt x="275" y="1242"/>
                  </a:lnTo>
                  <a:lnTo>
                    <a:pt x="274" y="1240"/>
                  </a:lnTo>
                  <a:lnTo>
                    <a:pt x="274" y="1239"/>
                  </a:lnTo>
                  <a:lnTo>
                    <a:pt x="273" y="1236"/>
                  </a:lnTo>
                  <a:lnTo>
                    <a:pt x="273" y="1233"/>
                  </a:lnTo>
                  <a:lnTo>
                    <a:pt x="272" y="1230"/>
                  </a:lnTo>
                  <a:lnTo>
                    <a:pt x="271" y="1230"/>
                  </a:lnTo>
                  <a:lnTo>
                    <a:pt x="269" y="1229"/>
                  </a:lnTo>
                  <a:lnTo>
                    <a:pt x="266" y="1230"/>
                  </a:lnTo>
                  <a:lnTo>
                    <a:pt x="263" y="1229"/>
                  </a:lnTo>
                  <a:lnTo>
                    <a:pt x="263" y="1228"/>
                  </a:lnTo>
                  <a:lnTo>
                    <a:pt x="265" y="1228"/>
                  </a:lnTo>
                  <a:lnTo>
                    <a:pt x="265" y="1227"/>
                  </a:lnTo>
                  <a:lnTo>
                    <a:pt x="263" y="1225"/>
                  </a:lnTo>
                  <a:lnTo>
                    <a:pt x="263" y="1223"/>
                  </a:lnTo>
                  <a:lnTo>
                    <a:pt x="262" y="1224"/>
                  </a:lnTo>
                  <a:lnTo>
                    <a:pt x="262" y="1228"/>
                  </a:lnTo>
                  <a:lnTo>
                    <a:pt x="261" y="1228"/>
                  </a:lnTo>
                  <a:lnTo>
                    <a:pt x="261" y="1227"/>
                  </a:lnTo>
                  <a:lnTo>
                    <a:pt x="260" y="1224"/>
                  </a:lnTo>
                  <a:lnTo>
                    <a:pt x="260" y="1229"/>
                  </a:lnTo>
                  <a:lnTo>
                    <a:pt x="257" y="1229"/>
                  </a:lnTo>
                  <a:lnTo>
                    <a:pt x="257" y="1227"/>
                  </a:lnTo>
                  <a:lnTo>
                    <a:pt x="255" y="1224"/>
                  </a:lnTo>
                  <a:lnTo>
                    <a:pt x="254" y="1224"/>
                  </a:lnTo>
                  <a:lnTo>
                    <a:pt x="254" y="1228"/>
                  </a:lnTo>
                  <a:lnTo>
                    <a:pt x="253" y="1228"/>
                  </a:lnTo>
                  <a:lnTo>
                    <a:pt x="253" y="1227"/>
                  </a:lnTo>
                  <a:lnTo>
                    <a:pt x="251" y="1225"/>
                  </a:lnTo>
                  <a:lnTo>
                    <a:pt x="251" y="1223"/>
                  </a:lnTo>
                  <a:lnTo>
                    <a:pt x="250" y="1224"/>
                  </a:lnTo>
                  <a:lnTo>
                    <a:pt x="249" y="1224"/>
                  </a:lnTo>
                  <a:lnTo>
                    <a:pt x="249" y="1225"/>
                  </a:lnTo>
                  <a:lnTo>
                    <a:pt x="248" y="1223"/>
                  </a:lnTo>
                  <a:lnTo>
                    <a:pt x="247" y="1223"/>
                  </a:lnTo>
                  <a:lnTo>
                    <a:pt x="247" y="1218"/>
                  </a:lnTo>
                  <a:lnTo>
                    <a:pt x="245" y="1218"/>
                  </a:lnTo>
                  <a:lnTo>
                    <a:pt x="245" y="1221"/>
                  </a:lnTo>
                  <a:lnTo>
                    <a:pt x="244" y="1219"/>
                  </a:lnTo>
                  <a:lnTo>
                    <a:pt x="245" y="1217"/>
                  </a:lnTo>
                  <a:lnTo>
                    <a:pt x="245" y="1215"/>
                  </a:lnTo>
                  <a:lnTo>
                    <a:pt x="247" y="1213"/>
                  </a:lnTo>
                  <a:lnTo>
                    <a:pt x="245" y="1213"/>
                  </a:lnTo>
                  <a:lnTo>
                    <a:pt x="245" y="1212"/>
                  </a:lnTo>
                  <a:lnTo>
                    <a:pt x="244" y="1211"/>
                  </a:lnTo>
                  <a:lnTo>
                    <a:pt x="244" y="1213"/>
                  </a:lnTo>
                  <a:lnTo>
                    <a:pt x="242" y="1213"/>
                  </a:lnTo>
                  <a:lnTo>
                    <a:pt x="242" y="1210"/>
                  </a:lnTo>
                  <a:lnTo>
                    <a:pt x="241" y="1208"/>
                  </a:lnTo>
                  <a:lnTo>
                    <a:pt x="242" y="1206"/>
                  </a:lnTo>
                  <a:lnTo>
                    <a:pt x="242" y="1205"/>
                  </a:lnTo>
                  <a:lnTo>
                    <a:pt x="241" y="1205"/>
                  </a:lnTo>
                  <a:lnTo>
                    <a:pt x="240" y="1204"/>
                  </a:lnTo>
                  <a:lnTo>
                    <a:pt x="238" y="1204"/>
                  </a:lnTo>
                  <a:lnTo>
                    <a:pt x="241" y="1199"/>
                  </a:lnTo>
                  <a:lnTo>
                    <a:pt x="241" y="1198"/>
                  </a:lnTo>
                  <a:lnTo>
                    <a:pt x="242" y="1198"/>
                  </a:lnTo>
                  <a:lnTo>
                    <a:pt x="242" y="1200"/>
                  </a:lnTo>
                  <a:lnTo>
                    <a:pt x="241" y="1203"/>
                  </a:lnTo>
                  <a:lnTo>
                    <a:pt x="242" y="1203"/>
                  </a:lnTo>
                  <a:lnTo>
                    <a:pt x="243" y="1202"/>
                  </a:lnTo>
                  <a:lnTo>
                    <a:pt x="243" y="1199"/>
                  </a:lnTo>
                  <a:lnTo>
                    <a:pt x="242" y="1198"/>
                  </a:lnTo>
                  <a:lnTo>
                    <a:pt x="242" y="1196"/>
                  </a:lnTo>
                  <a:lnTo>
                    <a:pt x="241" y="1193"/>
                  </a:lnTo>
                  <a:lnTo>
                    <a:pt x="241" y="1192"/>
                  </a:lnTo>
                  <a:lnTo>
                    <a:pt x="242" y="1190"/>
                  </a:lnTo>
                  <a:lnTo>
                    <a:pt x="241" y="1188"/>
                  </a:lnTo>
                  <a:lnTo>
                    <a:pt x="241" y="1186"/>
                  </a:lnTo>
                  <a:lnTo>
                    <a:pt x="240" y="1184"/>
                  </a:lnTo>
                  <a:lnTo>
                    <a:pt x="240" y="1182"/>
                  </a:lnTo>
                  <a:lnTo>
                    <a:pt x="238" y="1181"/>
                  </a:lnTo>
                  <a:lnTo>
                    <a:pt x="237" y="1179"/>
                  </a:lnTo>
                  <a:lnTo>
                    <a:pt x="237" y="1176"/>
                  </a:lnTo>
                  <a:lnTo>
                    <a:pt x="238" y="1175"/>
                  </a:lnTo>
                  <a:lnTo>
                    <a:pt x="240" y="1172"/>
                  </a:lnTo>
                  <a:lnTo>
                    <a:pt x="240" y="1169"/>
                  </a:lnTo>
                  <a:lnTo>
                    <a:pt x="242" y="1168"/>
                  </a:lnTo>
                  <a:lnTo>
                    <a:pt x="243" y="1170"/>
                  </a:lnTo>
                  <a:lnTo>
                    <a:pt x="243" y="1174"/>
                  </a:lnTo>
                  <a:lnTo>
                    <a:pt x="244" y="1178"/>
                  </a:lnTo>
                  <a:lnTo>
                    <a:pt x="244" y="1174"/>
                  </a:lnTo>
                  <a:lnTo>
                    <a:pt x="245" y="1172"/>
                  </a:lnTo>
                  <a:lnTo>
                    <a:pt x="245" y="1165"/>
                  </a:lnTo>
                  <a:lnTo>
                    <a:pt x="244" y="1165"/>
                  </a:lnTo>
                  <a:lnTo>
                    <a:pt x="243" y="1163"/>
                  </a:lnTo>
                  <a:lnTo>
                    <a:pt x="242" y="1165"/>
                  </a:lnTo>
                  <a:lnTo>
                    <a:pt x="242" y="1166"/>
                  </a:lnTo>
                  <a:lnTo>
                    <a:pt x="240" y="1165"/>
                  </a:lnTo>
                  <a:lnTo>
                    <a:pt x="240" y="1166"/>
                  </a:lnTo>
                  <a:lnTo>
                    <a:pt x="236" y="1166"/>
                  </a:lnTo>
                  <a:lnTo>
                    <a:pt x="234" y="1168"/>
                  </a:lnTo>
                  <a:lnTo>
                    <a:pt x="234" y="1169"/>
                  </a:lnTo>
                  <a:lnTo>
                    <a:pt x="235" y="1169"/>
                  </a:lnTo>
                  <a:lnTo>
                    <a:pt x="235" y="1180"/>
                  </a:lnTo>
                  <a:lnTo>
                    <a:pt x="236" y="1182"/>
                  </a:lnTo>
                  <a:lnTo>
                    <a:pt x="237" y="1184"/>
                  </a:lnTo>
                  <a:lnTo>
                    <a:pt x="238" y="1184"/>
                  </a:lnTo>
                  <a:lnTo>
                    <a:pt x="240" y="1186"/>
                  </a:lnTo>
                  <a:lnTo>
                    <a:pt x="240" y="1188"/>
                  </a:lnTo>
                  <a:lnTo>
                    <a:pt x="238" y="1192"/>
                  </a:lnTo>
                  <a:lnTo>
                    <a:pt x="237" y="1194"/>
                  </a:lnTo>
                  <a:lnTo>
                    <a:pt x="235" y="1197"/>
                  </a:lnTo>
                  <a:lnTo>
                    <a:pt x="232" y="1197"/>
                  </a:lnTo>
                  <a:lnTo>
                    <a:pt x="231" y="1194"/>
                  </a:lnTo>
                  <a:lnTo>
                    <a:pt x="231" y="1193"/>
                  </a:lnTo>
                  <a:lnTo>
                    <a:pt x="232" y="1190"/>
                  </a:lnTo>
                  <a:lnTo>
                    <a:pt x="232" y="1188"/>
                  </a:lnTo>
                  <a:lnTo>
                    <a:pt x="231" y="1186"/>
                  </a:lnTo>
                  <a:lnTo>
                    <a:pt x="231" y="1182"/>
                  </a:lnTo>
                  <a:lnTo>
                    <a:pt x="230" y="1181"/>
                  </a:lnTo>
                  <a:lnTo>
                    <a:pt x="230" y="1180"/>
                  </a:lnTo>
                  <a:lnTo>
                    <a:pt x="228" y="1180"/>
                  </a:lnTo>
                  <a:lnTo>
                    <a:pt x="225" y="1178"/>
                  </a:lnTo>
                  <a:lnTo>
                    <a:pt x="224" y="1178"/>
                  </a:lnTo>
                  <a:lnTo>
                    <a:pt x="223" y="1179"/>
                  </a:lnTo>
                  <a:lnTo>
                    <a:pt x="225" y="1181"/>
                  </a:lnTo>
                  <a:lnTo>
                    <a:pt x="226" y="1181"/>
                  </a:lnTo>
                  <a:lnTo>
                    <a:pt x="230" y="1185"/>
                  </a:lnTo>
                  <a:lnTo>
                    <a:pt x="230" y="1194"/>
                  </a:lnTo>
                  <a:lnTo>
                    <a:pt x="229" y="1196"/>
                  </a:lnTo>
                  <a:lnTo>
                    <a:pt x="228" y="1196"/>
                  </a:lnTo>
                  <a:lnTo>
                    <a:pt x="225" y="1193"/>
                  </a:lnTo>
                  <a:lnTo>
                    <a:pt x="224" y="1193"/>
                  </a:lnTo>
                  <a:lnTo>
                    <a:pt x="224" y="1194"/>
                  </a:lnTo>
                  <a:lnTo>
                    <a:pt x="228" y="1198"/>
                  </a:lnTo>
                  <a:lnTo>
                    <a:pt x="230" y="1202"/>
                  </a:lnTo>
                  <a:lnTo>
                    <a:pt x="234" y="1203"/>
                  </a:lnTo>
                  <a:lnTo>
                    <a:pt x="234" y="1206"/>
                  </a:lnTo>
                  <a:lnTo>
                    <a:pt x="232" y="1209"/>
                  </a:lnTo>
                  <a:lnTo>
                    <a:pt x="232" y="1210"/>
                  </a:lnTo>
                  <a:lnTo>
                    <a:pt x="236" y="1213"/>
                  </a:lnTo>
                  <a:lnTo>
                    <a:pt x="235" y="1215"/>
                  </a:lnTo>
                  <a:lnTo>
                    <a:pt x="235" y="1216"/>
                  </a:lnTo>
                  <a:lnTo>
                    <a:pt x="234" y="1217"/>
                  </a:lnTo>
                  <a:lnTo>
                    <a:pt x="234" y="1218"/>
                  </a:lnTo>
                  <a:lnTo>
                    <a:pt x="232" y="1218"/>
                  </a:lnTo>
                  <a:lnTo>
                    <a:pt x="231" y="1217"/>
                  </a:lnTo>
                  <a:lnTo>
                    <a:pt x="229" y="1217"/>
                  </a:lnTo>
                  <a:lnTo>
                    <a:pt x="229" y="1221"/>
                  </a:lnTo>
                  <a:lnTo>
                    <a:pt x="228" y="1222"/>
                  </a:lnTo>
                  <a:lnTo>
                    <a:pt x="228" y="1225"/>
                  </a:lnTo>
                  <a:lnTo>
                    <a:pt x="226" y="1228"/>
                  </a:lnTo>
                  <a:lnTo>
                    <a:pt x="226" y="1233"/>
                  </a:lnTo>
                  <a:lnTo>
                    <a:pt x="225" y="1231"/>
                  </a:lnTo>
                  <a:lnTo>
                    <a:pt x="225" y="1235"/>
                  </a:lnTo>
                  <a:lnTo>
                    <a:pt x="224" y="1230"/>
                  </a:lnTo>
                  <a:lnTo>
                    <a:pt x="223" y="1230"/>
                  </a:lnTo>
                  <a:lnTo>
                    <a:pt x="223" y="1235"/>
                  </a:lnTo>
                  <a:lnTo>
                    <a:pt x="224" y="1236"/>
                  </a:lnTo>
                  <a:lnTo>
                    <a:pt x="222" y="1239"/>
                  </a:lnTo>
                  <a:lnTo>
                    <a:pt x="219" y="1239"/>
                  </a:lnTo>
                  <a:lnTo>
                    <a:pt x="219" y="1237"/>
                  </a:lnTo>
                  <a:lnTo>
                    <a:pt x="220" y="1236"/>
                  </a:lnTo>
                  <a:lnTo>
                    <a:pt x="220" y="1235"/>
                  </a:lnTo>
                  <a:lnTo>
                    <a:pt x="219" y="1236"/>
                  </a:lnTo>
                  <a:lnTo>
                    <a:pt x="218" y="1236"/>
                  </a:lnTo>
                  <a:lnTo>
                    <a:pt x="217" y="1237"/>
                  </a:lnTo>
                  <a:lnTo>
                    <a:pt x="216" y="1237"/>
                  </a:lnTo>
                  <a:lnTo>
                    <a:pt x="216" y="1236"/>
                  </a:lnTo>
                  <a:lnTo>
                    <a:pt x="214" y="1236"/>
                  </a:lnTo>
                  <a:lnTo>
                    <a:pt x="216" y="1240"/>
                  </a:lnTo>
                  <a:lnTo>
                    <a:pt x="213" y="1242"/>
                  </a:lnTo>
                  <a:lnTo>
                    <a:pt x="206" y="1242"/>
                  </a:lnTo>
                  <a:lnTo>
                    <a:pt x="207" y="1241"/>
                  </a:lnTo>
                  <a:lnTo>
                    <a:pt x="207" y="1239"/>
                  </a:lnTo>
                  <a:lnTo>
                    <a:pt x="206" y="1237"/>
                  </a:lnTo>
                  <a:lnTo>
                    <a:pt x="205" y="1235"/>
                  </a:lnTo>
                  <a:lnTo>
                    <a:pt x="204" y="1235"/>
                  </a:lnTo>
                  <a:lnTo>
                    <a:pt x="204" y="1236"/>
                  </a:lnTo>
                  <a:lnTo>
                    <a:pt x="203" y="1234"/>
                  </a:lnTo>
                  <a:lnTo>
                    <a:pt x="201" y="1234"/>
                  </a:lnTo>
                  <a:lnTo>
                    <a:pt x="201" y="1231"/>
                  </a:lnTo>
                  <a:lnTo>
                    <a:pt x="200" y="1231"/>
                  </a:lnTo>
                  <a:lnTo>
                    <a:pt x="200" y="1235"/>
                  </a:lnTo>
                  <a:lnTo>
                    <a:pt x="199" y="1234"/>
                  </a:lnTo>
                  <a:lnTo>
                    <a:pt x="199" y="1230"/>
                  </a:lnTo>
                  <a:lnTo>
                    <a:pt x="198" y="1230"/>
                  </a:lnTo>
                  <a:lnTo>
                    <a:pt x="199" y="1229"/>
                  </a:lnTo>
                  <a:lnTo>
                    <a:pt x="198" y="1228"/>
                  </a:lnTo>
                  <a:lnTo>
                    <a:pt x="197" y="1229"/>
                  </a:lnTo>
                  <a:lnTo>
                    <a:pt x="194" y="1229"/>
                  </a:lnTo>
                  <a:lnTo>
                    <a:pt x="198" y="1233"/>
                  </a:lnTo>
                  <a:lnTo>
                    <a:pt x="199" y="1235"/>
                  </a:lnTo>
                  <a:lnTo>
                    <a:pt x="199" y="1236"/>
                  </a:lnTo>
                  <a:lnTo>
                    <a:pt x="201" y="1236"/>
                  </a:lnTo>
                  <a:lnTo>
                    <a:pt x="203" y="1237"/>
                  </a:lnTo>
                  <a:lnTo>
                    <a:pt x="203" y="1240"/>
                  </a:lnTo>
                  <a:lnTo>
                    <a:pt x="199" y="1240"/>
                  </a:lnTo>
                  <a:lnTo>
                    <a:pt x="199" y="1241"/>
                  </a:lnTo>
                  <a:lnTo>
                    <a:pt x="200" y="1241"/>
                  </a:lnTo>
                  <a:lnTo>
                    <a:pt x="200" y="1242"/>
                  </a:lnTo>
                  <a:lnTo>
                    <a:pt x="197" y="1243"/>
                  </a:lnTo>
                  <a:lnTo>
                    <a:pt x="197" y="1245"/>
                  </a:lnTo>
                  <a:lnTo>
                    <a:pt x="198" y="1245"/>
                  </a:lnTo>
                  <a:lnTo>
                    <a:pt x="195" y="1246"/>
                  </a:lnTo>
                  <a:lnTo>
                    <a:pt x="192" y="1245"/>
                  </a:lnTo>
                  <a:lnTo>
                    <a:pt x="194" y="1247"/>
                  </a:lnTo>
                  <a:lnTo>
                    <a:pt x="193" y="1248"/>
                  </a:lnTo>
                  <a:lnTo>
                    <a:pt x="192" y="1247"/>
                  </a:lnTo>
                  <a:lnTo>
                    <a:pt x="191" y="1247"/>
                  </a:lnTo>
                  <a:lnTo>
                    <a:pt x="191" y="1248"/>
                  </a:lnTo>
                  <a:lnTo>
                    <a:pt x="189" y="1248"/>
                  </a:lnTo>
                  <a:lnTo>
                    <a:pt x="188" y="1247"/>
                  </a:lnTo>
                  <a:lnTo>
                    <a:pt x="187" y="1248"/>
                  </a:lnTo>
                  <a:lnTo>
                    <a:pt x="188" y="1248"/>
                  </a:lnTo>
                  <a:lnTo>
                    <a:pt x="188" y="1249"/>
                  </a:lnTo>
                  <a:lnTo>
                    <a:pt x="186" y="1251"/>
                  </a:lnTo>
                  <a:lnTo>
                    <a:pt x="185" y="1251"/>
                  </a:lnTo>
                  <a:lnTo>
                    <a:pt x="185" y="1248"/>
                  </a:lnTo>
                  <a:lnTo>
                    <a:pt x="184" y="1249"/>
                  </a:lnTo>
                  <a:lnTo>
                    <a:pt x="184" y="1253"/>
                  </a:lnTo>
                  <a:lnTo>
                    <a:pt x="185" y="1253"/>
                  </a:lnTo>
                  <a:lnTo>
                    <a:pt x="187" y="1252"/>
                  </a:lnTo>
                  <a:lnTo>
                    <a:pt x="189" y="1252"/>
                  </a:lnTo>
                  <a:lnTo>
                    <a:pt x="191" y="1253"/>
                  </a:lnTo>
                  <a:lnTo>
                    <a:pt x="187" y="1256"/>
                  </a:lnTo>
                  <a:lnTo>
                    <a:pt x="188" y="1255"/>
                  </a:lnTo>
                  <a:lnTo>
                    <a:pt x="189" y="1255"/>
                  </a:lnTo>
                  <a:lnTo>
                    <a:pt x="189" y="1256"/>
                  </a:lnTo>
                  <a:lnTo>
                    <a:pt x="188" y="1256"/>
                  </a:lnTo>
                  <a:lnTo>
                    <a:pt x="187" y="1258"/>
                  </a:lnTo>
                  <a:lnTo>
                    <a:pt x="186" y="1258"/>
                  </a:lnTo>
                  <a:lnTo>
                    <a:pt x="186" y="1259"/>
                  </a:lnTo>
                  <a:lnTo>
                    <a:pt x="185" y="1260"/>
                  </a:lnTo>
                  <a:lnTo>
                    <a:pt x="182" y="1261"/>
                  </a:lnTo>
                  <a:lnTo>
                    <a:pt x="179" y="1260"/>
                  </a:lnTo>
                  <a:lnTo>
                    <a:pt x="175" y="1260"/>
                  </a:lnTo>
                  <a:lnTo>
                    <a:pt x="174" y="1261"/>
                  </a:lnTo>
                  <a:lnTo>
                    <a:pt x="178" y="1262"/>
                  </a:lnTo>
                  <a:lnTo>
                    <a:pt x="179" y="1262"/>
                  </a:lnTo>
                  <a:lnTo>
                    <a:pt x="176" y="1261"/>
                  </a:lnTo>
                  <a:lnTo>
                    <a:pt x="176" y="1260"/>
                  </a:lnTo>
                  <a:lnTo>
                    <a:pt x="179" y="1260"/>
                  </a:lnTo>
                  <a:lnTo>
                    <a:pt x="181" y="1261"/>
                  </a:lnTo>
                  <a:lnTo>
                    <a:pt x="181" y="1264"/>
                  </a:lnTo>
                  <a:lnTo>
                    <a:pt x="180" y="1264"/>
                  </a:lnTo>
                  <a:lnTo>
                    <a:pt x="175" y="1265"/>
                  </a:lnTo>
                  <a:lnTo>
                    <a:pt x="180" y="1265"/>
                  </a:lnTo>
                  <a:lnTo>
                    <a:pt x="180" y="1266"/>
                  </a:lnTo>
                  <a:lnTo>
                    <a:pt x="175" y="1271"/>
                  </a:lnTo>
                  <a:lnTo>
                    <a:pt x="173" y="1272"/>
                  </a:lnTo>
                  <a:lnTo>
                    <a:pt x="169" y="1272"/>
                  </a:lnTo>
                  <a:lnTo>
                    <a:pt x="168" y="1271"/>
                  </a:lnTo>
                  <a:lnTo>
                    <a:pt x="168" y="1272"/>
                  </a:lnTo>
                  <a:lnTo>
                    <a:pt x="169" y="1273"/>
                  </a:lnTo>
                  <a:lnTo>
                    <a:pt x="169" y="1279"/>
                  </a:lnTo>
                  <a:lnTo>
                    <a:pt x="168" y="1279"/>
                  </a:lnTo>
                  <a:lnTo>
                    <a:pt x="166" y="1283"/>
                  </a:lnTo>
                  <a:lnTo>
                    <a:pt x="164" y="1284"/>
                  </a:lnTo>
                  <a:lnTo>
                    <a:pt x="163" y="1284"/>
                  </a:lnTo>
                  <a:lnTo>
                    <a:pt x="162" y="1285"/>
                  </a:lnTo>
                  <a:lnTo>
                    <a:pt x="161" y="1285"/>
                  </a:lnTo>
                  <a:lnTo>
                    <a:pt x="161" y="1288"/>
                  </a:lnTo>
                  <a:lnTo>
                    <a:pt x="160" y="1289"/>
                  </a:lnTo>
                  <a:lnTo>
                    <a:pt x="160" y="1290"/>
                  </a:lnTo>
                  <a:lnTo>
                    <a:pt x="157" y="1290"/>
                  </a:lnTo>
                  <a:lnTo>
                    <a:pt x="156" y="1291"/>
                  </a:lnTo>
                  <a:lnTo>
                    <a:pt x="156" y="1292"/>
                  </a:lnTo>
                  <a:lnTo>
                    <a:pt x="155" y="1294"/>
                  </a:lnTo>
                  <a:lnTo>
                    <a:pt x="154" y="1294"/>
                  </a:lnTo>
                  <a:lnTo>
                    <a:pt x="154" y="1292"/>
                  </a:lnTo>
                  <a:lnTo>
                    <a:pt x="153" y="1295"/>
                  </a:lnTo>
                  <a:lnTo>
                    <a:pt x="151" y="1296"/>
                  </a:lnTo>
                  <a:lnTo>
                    <a:pt x="151" y="1298"/>
                  </a:lnTo>
                  <a:lnTo>
                    <a:pt x="150" y="1299"/>
                  </a:lnTo>
                  <a:lnTo>
                    <a:pt x="149" y="1298"/>
                  </a:lnTo>
                  <a:lnTo>
                    <a:pt x="148" y="1299"/>
                  </a:lnTo>
                  <a:lnTo>
                    <a:pt x="148" y="1298"/>
                  </a:lnTo>
                  <a:lnTo>
                    <a:pt x="147" y="1298"/>
                  </a:lnTo>
                  <a:lnTo>
                    <a:pt x="147" y="1301"/>
                  </a:lnTo>
                  <a:lnTo>
                    <a:pt x="144" y="1301"/>
                  </a:lnTo>
                  <a:lnTo>
                    <a:pt x="142" y="1303"/>
                  </a:lnTo>
                  <a:lnTo>
                    <a:pt x="141" y="1303"/>
                  </a:lnTo>
                  <a:lnTo>
                    <a:pt x="141" y="1305"/>
                  </a:lnTo>
                  <a:lnTo>
                    <a:pt x="139" y="1307"/>
                  </a:lnTo>
                  <a:lnTo>
                    <a:pt x="139" y="1309"/>
                  </a:lnTo>
                  <a:lnTo>
                    <a:pt x="138" y="1310"/>
                  </a:lnTo>
                  <a:lnTo>
                    <a:pt x="137" y="1309"/>
                  </a:lnTo>
                  <a:lnTo>
                    <a:pt x="137" y="1308"/>
                  </a:lnTo>
                  <a:lnTo>
                    <a:pt x="136" y="1308"/>
                  </a:lnTo>
                  <a:lnTo>
                    <a:pt x="135" y="1310"/>
                  </a:lnTo>
                  <a:lnTo>
                    <a:pt x="135" y="1311"/>
                  </a:lnTo>
                  <a:lnTo>
                    <a:pt x="132" y="1311"/>
                  </a:lnTo>
                  <a:lnTo>
                    <a:pt x="132" y="1310"/>
                  </a:lnTo>
                  <a:lnTo>
                    <a:pt x="131" y="1310"/>
                  </a:lnTo>
                  <a:lnTo>
                    <a:pt x="131" y="1309"/>
                  </a:lnTo>
                  <a:lnTo>
                    <a:pt x="132" y="1308"/>
                  </a:lnTo>
                  <a:lnTo>
                    <a:pt x="132" y="1305"/>
                  </a:lnTo>
                  <a:lnTo>
                    <a:pt x="131" y="1303"/>
                  </a:lnTo>
                  <a:lnTo>
                    <a:pt x="131" y="1302"/>
                  </a:lnTo>
                  <a:lnTo>
                    <a:pt x="130" y="1302"/>
                  </a:lnTo>
                  <a:lnTo>
                    <a:pt x="130" y="1303"/>
                  </a:lnTo>
                  <a:lnTo>
                    <a:pt x="131" y="1305"/>
                  </a:lnTo>
                  <a:lnTo>
                    <a:pt x="130" y="1307"/>
                  </a:lnTo>
                  <a:lnTo>
                    <a:pt x="130" y="1308"/>
                  </a:lnTo>
                  <a:lnTo>
                    <a:pt x="126" y="1311"/>
                  </a:lnTo>
                  <a:lnTo>
                    <a:pt x="127" y="1313"/>
                  </a:lnTo>
                  <a:lnTo>
                    <a:pt x="126" y="1314"/>
                  </a:lnTo>
                  <a:lnTo>
                    <a:pt x="119" y="1314"/>
                  </a:lnTo>
                  <a:lnTo>
                    <a:pt x="118" y="1315"/>
                  </a:lnTo>
                  <a:lnTo>
                    <a:pt x="114" y="1315"/>
                  </a:lnTo>
                  <a:lnTo>
                    <a:pt x="116" y="1316"/>
                  </a:lnTo>
                  <a:lnTo>
                    <a:pt x="114" y="1316"/>
                  </a:lnTo>
                  <a:lnTo>
                    <a:pt x="113" y="1315"/>
                  </a:lnTo>
                  <a:lnTo>
                    <a:pt x="114" y="1317"/>
                  </a:lnTo>
                  <a:lnTo>
                    <a:pt x="113" y="1319"/>
                  </a:lnTo>
                  <a:lnTo>
                    <a:pt x="112" y="1317"/>
                  </a:lnTo>
                  <a:lnTo>
                    <a:pt x="112" y="1319"/>
                  </a:lnTo>
                  <a:lnTo>
                    <a:pt x="104" y="1319"/>
                  </a:lnTo>
                  <a:lnTo>
                    <a:pt x="99" y="1317"/>
                  </a:lnTo>
                  <a:lnTo>
                    <a:pt x="98" y="1316"/>
                  </a:lnTo>
                  <a:lnTo>
                    <a:pt x="98" y="1315"/>
                  </a:lnTo>
                  <a:lnTo>
                    <a:pt x="95" y="1316"/>
                  </a:lnTo>
                  <a:lnTo>
                    <a:pt x="94" y="1317"/>
                  </a:lnTo>
                  <a:lnTo>
                    <a:pt x="94" y="1316"/>
                  </a:lnTo>
                  <a:lnTo>
                    <a:pt x="91" y="1317"/>
                  </a:lnTo>
                  <a:lnTo>
                    <a:pt x="91" y="1320"/>
                  </a:lnTo>
                  <a:lnTo>
                    <a:pt x="87" y="1320"/>
                  </a:lnTo>
                  <a:lnTo>
                    <a:pt x="87" y="1317"/>
                  </a:lnTo>
                  <a:lnTo>
                    <a:pt x="89" y="1315"/>
                  </a:lnTo>
                  <a:lnTo>
                    <a:pt x="91" y="1315"/>
                  </a:lnTo>
                  <a:lnTo>
                    <a:pt x="91" y="1314"/>
                  </a:lnTo>
                  <a:lnTo>
                    <a:pt x="92" y="1314"/>
                  </a:lnTo>
                  <a:lnTo>
                    <a:pt x="92" y="1315"/>
                  </a:lnTo>
                  <a:lnTo>
                    <a:pt x="93" y="1315"/>
                  </a:lnTo>
                  <a:lnTo>
                    <a:pt x="93" y="1311"/>
                  </a:lnTo>
                  <a:lnTo>
                    <a:pt x="91" y="1314"/>
                  </a:lnTo>
                  <a:lnTo>
                    <a:pt x="89" y="1314"/>
                  </a:lnTo>
                  <a:lnTo>
                    <a:pt x="88" y="1315"/>
                  </a:lnTo>
                  <a:lnTo>
                    <a:pt x="86" y="1316"/>
                  </a:lnTo>
                  <a:lnTo>
                    <a:pt x="85" y="1316"/>
                  </a:lnTo>
                  <a:lnTo>
                    <a:pt x="86" y="1315"/>
                  </a:lnTo>
                  <a:lnTo>
                    <a:pt x="87" y="1313"/>
                  </a:lnTo>
                  <a:lnTo>
                    <a:pt x="87" y="1311"/>
                  </a:lnTo>
                  <a:lnTo>
                    <a:pt x="85" y="1315"/>
                  </a:lnTo>
                  <a:lnTo>
                    <a:pt x="83" y="1315"/>
                  </a:lnTo>
                  <a:lnTo>
                    <a:pt x="83" y="1313"/>
                  </a:lnTo>
                  <a:lnTo>
                    <a:pt x="82" y="1313"/>
                  </a:lnTo>
                  <a:lnTo>
                    <a:pt x="82" y="1314"/>
                  </a:lnTo>
                  <a:lnTo>
                    <a:pt x="81" y="1314"/>
                  </a:lnTo>
                  <a:lnTo>
                    <a:pt x="79" y="1311"/>
                  </a:lnTo>
                  <a:lnTo>
                    <a:pt x="81" y="1310"/>
                  </a:lnTo>
                  <a:lnTo>
                    <a:pt x="86" y="1310"/>
                  </a:lnTo>
                  <a:lnTo>
                    <a:pt x="87" y="1309"/>
                  </a:lnTo>
                  <a:lnTo>
                    <a:pt x="82" y="1309"/>
                  </a:lnTo>
                  <a:lnTo>
                    <a:pt x="79" y="1305"/>
                  </a:lnTo>
                  <a:lnTo>
                    <a:pt x="77" y="1305"/>
                  </a:lnTo>
                  <a:lnTo>
                    <a:pt x="80" y="1309"/>
                  </a:lnTo>
                  <a:lnTo>
                    <a:pt x="79" y="1310"/>
                  </a:lnTo>
                  <a:lnTo>
                    <a:pt x="76" y="1310"/>
                  </a:lnTo>
                  <a:lnTo>
                    <a:pt x="75" y="1309"/>
                  </a:lnTo>
                  <a:lnTo>
                    <a:pt x="76" y="1308"/>
                  </a:lnTo>
                  <a:lnTo>
                    <a:pt x="76" y="1307"/>
                  </a:lnTo>
                  <a:lnTo>
                    <a:pt x="75" y="1305"/>
                  </a:lnTo>
                  <a:lnTo>
                    <a:pt x="75" y="1309"/>
                  </a:lnTo>
                  <a:lnTo>
                    <a:pt x="74" y="1310"/>
                  </a:lnTo>
                  <a:lnTo>
                    <a:pt x="75" y="1310"/>
                  </a:lnTo>
                  <a:lnTo>
                    <a:pt x="75" y="1311"/>
                  </a:lnTo>
                  <a:lnTo>
                    <a:pt x="76" y="1313"/>
                  </a:lnTo>
                  <a:lnTo>
                    <a:pt x="77" y="1313"/>
                  </a:lnTo>
                  <a:lnTo>
                    <a:pt x="77" y="1314"/>
                  </a:lnTo>
                  <a:lnTo>
                    <a:pt x="79" y="1314"/>
                  </a:lnTo>
                  <a:lnTo>
                    <a:pt x="79" y="1315"/>
                  </a:lnTo>
                  <a:lnTo>
                    <a:pt x="75" y="1315"/>
                  </a:lnTo>
                  <a:lnTo>
                    <a:pt x="71" y="1314"/>
                  </a:lnTo>
                  <a:lnTo>
                    <a:pt x="70" y="1314"/>
                  </a:lnTo>
                  <a:lnTo>
                    <a:pt x="68" y="1311"/>
                  </a:lnTo>
                  <a:lnTo>
                    <a:pt x="68" y="1310"/>
                  </a:lnTo>
                  <a:lnTo>
                    <a:pt x="69" y="1309"/>
                  </a:lnTo>
                  <a:lnTo>
                    <a:pt x="69" y="1308"/>
                  </a:lnTo>
                  <a:lnTo>
                    <a:pt x="70" y="1307"/>
                  </a:lnTo>
                  <a:lnTo>
                    <a:pt x="70" y="1305"/>
                  </a:lnTo>
                  <a:lnTo>
                    <a:pt x="74" y="1305"/>
                  </a:lnTo>
                  <a:lnTo>
                    <a:pt x="73" y="1304"/>
                  </a:lnTo>
                  <a:lnTo>
                    <a:pt x="74" y="1303"/>
                  </a:lnTo>
                  <a:lnTo>
                    <a:pt x="76" y="1302"/>
                  </a:lnTo>
                  <a:lnTo>
                    <a:pt x="77" y="1301"/>
                  </a:lnTo>
                  <a:lnTo>
                    <a:pt x="81" y="1298"/>
                  </a:lnTo>
                  <a:lnTo>
                    <a:pt x="79" y="1298"/>
                  </a:lnTo>
                  <a:lnTo>
                    <a:pt x="75" y="1302"/>
                  </a:lnTo>
                  <a:lnTo>
                    <a:pt x="74" y="1302"/>
                  </a:lnTo>
                  <a:lnTo>
                    <a:pt x="71" y="1298"/>
                  </a:lnTo>
                  <a:lnTo>
                    <a:pt x="73" y="1296"/>
                  </a:lnTo>
                  <a:lnTo>
                    <a:pt x="74" y="1296"/>
                  </a:lnTo>
                  <a:lnTo>
                    <a:pt x="75" y="1295"/>
                  </a:lnTo>
                  <a:lnTo>
                    <a:pt x="74" y="1294"/>
                  </a:lnTo>
                  <a:lnTo>
                    <a:pt x="73" y="1294"/>
                  </a:lnTo>
                  <a:lnTo>
                    <a:pt x="73" y="1295"/>
                  </a:lnTo>
                  <a:lnTo>
                    <a:pt x="71" y="1295"/>
                  </a:lnTo>
                  <a:lnTo>
                    <a:pt x="71" y="1301"/>
                  </a:lnTo>
                  <a:lnTo>
                    <a:pt x="69" y="1301"/>
                  </a:lnTo>
                  <a:lnTo>
                    <a:pt x="67" y="1298"/>
                  </a:lnTo>
                  <a:lnTo>
                    <a:pt x="62" y="1298"/>
                  </a:lnTo>
                  <a:lnTo>
                    <a:pt x="60" y="1297"/>
                  </a:lnTo>
                  <a:lnTo>
                    <a:pt x="57" y="1295"/>
                  </a:lnTo>
                  <a:lnTo>
                    <a:pt x="56" y="1295"/>
                  </a:lnTo>
                  <a:lnTo>
                    <a:pt x="55" y="1294"/>
                  </a:lnTo>
                  <a:lnTo>
                    <a:pt x="54" y="1294"/>
                  </a:lnTo>
                  <a:lnTo>
                    <a:pt x="49" y="1291"/>
                  </a:lnTo>
                  <a:lnTo>
                    <a:pt x="46" y="1289"/>
                  </a:lnTo>
                  <a:lnTo>
                    <a:pt x="45" y="1289"/>
                  </a:lnTo>
                  <a:lnTo>
                    <a:pt x="44" y="1288"/>
                  </a:lnTo>
                  <a:lnTo>
                    <a:pt x="44" y="1283"/>
                  </a:lnTo>
                  <a:lnTo>
                    <a:pt x="43" y="1282"/>
                  </a:lnTo>
                  <a:lnTo>
                    <a:pt x="38" y="1282"/>
                  </a:lnTo>
                  <a:lnTo>
                    <a:pt x="37" y="1280"/>
                  </a:lnTo>
                  <a:lnTo>
                    <a:pt x="36" y="1278"/>
                  </a:lnTo>
                  <a:lnTo>
                    <a:pt x="32" y="1278"/>
                  </a:lnTo>
                  <a:lnTo>
                    <a:pt x="30" y="1276"/>
                  </a:lnTo>
                  <a:lnTo>
                    <a:pt x="31" y="1274"/>
                  </a:lnTo>
                  <a:lnTo>
                    <a:pt x="29" y="1272"/>
                  </a:lnTo>
                  <a:lnTo>
                    <a:pt x="27" y="1270"/>
                  </a:lnTo>
                  <a:lnTo>
                    <a:pt x="26" y="1266"/>
                  </a:lnTo>
                  <a:lnTo>
                    <a:pt x="25" y="1264"/>
                  </a:lnTo>
                  <a:lnTo>
                    <a:pt x="25" y="1262"/>
                  </a:lnTo>
                  <a:lnTo>
                    <a:pt x="24" y="1261"/>
                  </a:lnTo>
                  <a:lnTo>
                    <a:pt x="23" y="1259"/>
                  </a:lnTo>
                  <a:lnTo>
                    <a:pt x="25" y="1256"/>
                  </a:lnTo>
                  <a:lnTo>
                    <a:pt x="25" y="1255"/>
                  </a:lnTo>
                  <a:lnTo>
                    <a:pt x="26" y="1254"/>
                  </a:lnTo>
                  <a:lnTo>
                    <a:pt x="26" y="1253"/>
                  </a:lnTo>
                  <a:lnTo>
                    <a:pt x="25" y="1251"/>
                  </a:lnTo>
                  <a:lnTo>
                    <a:pt x="25" y="1249"/>
                  </a:lnTo>
                  <a:lnTo>
                    <a:pt x="26" y="1249"/>
                  </a:lnTo>
                  <a:lnTo>
                    <a:pt x="26" y="1248"/>
                  </a:lnTo>
                  <a:lnTo>
                    <a:pt x="27" y="1248"/>
                  </a:lnTo>
                  <a:lnTo>
                    <a:pt x="27" y="1247"/>
                  </a:lnTo>
                  <a:lnTo>
                    <a:pt x="26" y="1247"/>
                  </a:lnTo>
                  <a:lnTo>
                    <a:pt x="26" y="1245"/>
                  </a:lnTo>
                  <a:lnTo>
                    <a:pt x="25" y="1243"/>
                  </a:lnTo>
                  <a:lnTo>
                    <a:pt x="25" y="1242"/>
                  </a:lnTo>
                  <a:lnTo>
                    <a:pt x="26" y="1242"/>
                  </a:lnTo>
                  <a:lnTo>
                    <a:pt x="26" y="1243"/>
                  </a:lnTo>
                  <a:lnTo>
                    <a:pt x="27" y="1243"/>
                  </a:lnTo>
                  <a:lnTo>
                    <a:pt x="29" y="1246"/>
                  </a:lnTo>
                  <a:lnTo>
                    <a:pt x="29" y="1247"/>
                  </a:lnTo>
                  <a:lnTo>
                    <a:pt x="30" y="1245"/>
                  </a:lnTo>
                  <a:lnTo>
                    <a:pt x="29" y="1245"/>
                  </a:lnTo>
                  <a:lnTo>
                    <a:pt x="27" y="1243"/>
                  </a:lnTo>
                  <a:lnTo>
                    <a:pt x="26" y="1241"/>
                  </a:lnTo>
                  <a:lnTo>
                    <a:pt x="27" y="1241"/>
                  </a:lnTo>
                  <a:lnTo>
                    <a:pt x="27" y="1240"/>
                  </a:lnTo>
                  <a:lnTo>
                    <a:pt x="25" y="1240"/>
                  </a:lnTo>
                  <a:lnTo>
                    <a:pt x="25" y="1239"/>
                  </a:lnTo>
                  <a:lnTo>
                    <a:pt x="26" y="1239"/>
                  </a:lnTo>
                  <a:lnTo>
                    <a:pt x="26" y="1236"/>
                  </a:lnTo>
                  <a:lnTo>
                    <a:pt x="33" y="1241"/>
                  </a:lnTo>
                  <a:lnTo>
                    <a:pt x="32" y="1243"/>
                  </a:lnTo>
                  <a:lnTo>
                    <a:pt x="32" y="1248"/>
                  </a:lnTo>
                  <a:lnTo>
                    <a:pt x="33" y="1249"/>
                  </a:lnTo>
                  <a:lnTo>
                    <a:pt x="33" y="1245"/>
                  </a:lnTo>
                  <a:lnTo>
                    <a:pt x="37" y="1245"/>
                  </a:lnTo>
                  <a:lnTo>
                    <a:pt x="37" y="1242"/>
                  </a:lnTo>
                  <a:lnTo>
                    <a:pt x="40" y="1242"/>
                  </a:lnTo>
                  <a:lnTo>
                    <a:pt x="43" y="1245"/>
                  </a:lnTo>
                  <a:lnTo>
                    <a:pt x="43" y="1246"/>
                  </a:lnTo>
                  <a:lnTo>
                    <a:pt x="49" y="1252"/>
                  </a:lnTo>
                  <a:lnTo>
                    <a:pt x="54" y="1252"/>
                  </a:lnTo>
                  <a:lnTo>
                    <a:pt x="50" y="1251"/>
                  </a:lnTo>
                  <a:lnTo>
                    <a:pt x="49" y="1251"/>
                  </a:lnTo>
                  <a:lnTo>
                    <a:pt x="49" y="1249"/>
                  </a:lnTo>
                  <a:lnTo>
                    <a:pt x="48" y="1248"/>
                  </a:lnTo>
                  <a:lnTo>
                    <a:pt x="48" y="1246"/>
                  </a:lnTo>
                  <a:lnTo>
                    <a:pt x="50" y="1243"/>
                  </a:lnTo>
                  <a:lnTo>
                    <a:pt x="50" y="1242"/>
                  </a:lnTo>
                  <a:lnTo>
                    <a:pt x="54" y="1240"/>
                  </a:lnTo>
                  <a:lnTo>
                    <a:pt x="71" y="1235"/>
                  </a:lnTo>
                  <a:lnTo>
                    <a:pt x="71" y="1234"/>
                  </a:lnTo>
                  <a:lnTo>
                    <a:pt x="60" y="1236"/>
                  </a:lnTo>
                  <a:lnTo>
                    <a:pt x="57" y="1237"/>
                  </a:lnTo>
                  <a:lnTo>
                    <a:pt x="52" y="1239"/>
                  </a:lnTo>
                  <a:lnTo>
                    <a:pt x="50" y="1240"/>
                  </a:lnTo>
                  <a:lnTo>
                    <a:pt x="46" y="1247"/>
                  </a:lnTo>
                  <a:lnTo>
                    <a:pt x="44" y="1243"/>
                  </a:lnTo>
                  <a:lnTo>
                    <a:pt x="44" y="1240"/>
                  </a:lnTo>
                  <a:lnTo>
                    <a:pt x="46" y="1240"/>
                  </a:lnTo>
                  <a:lnTo>
                    <a:pt x="48" y="1239"/>
                  </a:lnTo>
                  <a:lnTo>
                    <a:pt x="46" y="1239"/>
                  </a:lnTo>
                  <a:lnTo>
                    <a:pt x="46" y="1237"/>
                  </a:lnTo>
                  <a:lnTo>
                    <a:pt x="43" y="1237"/>
                  </a:lnTo>
                  <a:lnTo>
                    <a:pt x="39" y="1234"/>
                  </a:lnTo>
                  <a:lnTo>
                    <a:pt x="39" y="1231"/>
                  </a:lnTo>
                  <a:lnTo>
                    <a:pt x="40" y="1230"/>
                  </a:lnTo>
                  <a:lnTo>
                    <a:pt x="42" y="1230"/>
                  </a:lnTo>
                  <a:lnTo>
                    <a:pt x="46" y="1229"/>
                  </a:lnTo>
                  <a:lnTo>
                    <a:pt x="48" y="1228"/>
                  </a:lnTo>
                  <a:lnTo>
                    <a:pt x="50" y="1228"/>
                  </a:lnTo>
                  <a:lnTo>
                    <a:pt x="50" y="1227"/>
                  </a:lnTo>
                  <a:lnTo>
                    <a:pt x="45" y="1227"/>
                  </a:lnTo>
                  <a:lnTo>
                    <a:pt x="48" y="1222"/>
                  </a:lnTo>
                  <a:lnTo>
                    <a:pt x="52" y="1217"/>
                  </a:lnTo>
                  <a:lnTo>
                    <a:pt x="56" y="1216"/>
                  </a:lnTo>
                  <a:lnTo>
                    <a:pt x="58" y="1213"/>
                  </a:lnTo>
                  <a:lnTo>
                    <a:pt x="61" y="1212"/>
                  </a:lnTo>
                  <a:lnTo>
                    <a:pt x="58" y="1212"/>
                  </a:lnTo>
                  <a:lnTo>
                    <a:pt x="54" y="1216"/>
                  </a:lnTo>
                  <a:lnTo>
                    <a:pt x="51" y="1217"/>
                  </a:lnTo>
                  <a:lnTo>
                    <a:pt x="50" y="1216"/>
                  </a:lnTo>
                  <a:lnTo>
                    <a:pt x="49" y="1213"/>
                  </a:lnTo>
                  <a:lnTo>
                    <a:pt x="55" y="1213"/>
                  </a:lnTo>
                  <a:lnTo>
                    <a:pt x="55" y="1212"/>
                  </a:lnTo>
                  <a:lnTo>
                    <a:pt x="54" y="1211"/>
                  </a:lnTo>
                  <a:lnTo>
                    <a:pt x="54" y="1212"/>
                  </a:lnTo>
                  <a:lnTo>
                    <a:pt x="52" y="1212"/>
                  </a:lnTo>
                  <a:lnTo>
                    <a:pt x="51" y="1211"/>
                  </a:lnTo>
                  <a:lnTo>
                    <a:pt x="50" y="1212"/>
                  </a:lnTo>
                  <a:lnTo>
                    <a:pt x="49" y="1212"/>
                  </a:lnTo>
                  <a:lnTo>
                    <a:pt x="48" y="1211"/>
                  </a:lnTo>
                  <a:lnTo>
                    <a:pt x="46" y="1212"/>
                  </a:lnTo>
                  <a:lnTo>
                    <a:pt x="45" y="1212"/>
                  </a:lnTo>
                  <a:lnTo>
                    <a:pt x="45" y="1210"/>
                  </a:lnTo>
                  <a:lnTo>
                    <a:pt x="46" y="1209"/>
                  </a:lnTo>
                  <a:lnTo>
                    <a:pt x="46" y="1208"/>
                  </a:lnTo>
                  <a:lnTo>
                    <a:pt x="48" y="1206"/>
                  </a:lnTo>
                  <a:lnTo>
                    <a:pt x="49" y="1206"/>
                  </a:lnTo>
                  <a:lnTo>
                    <a:pt x="52" y="1203"/>
                  </a:lnTo>
                  <a:lnTo>
                    <a:pt x="54" y="1204"/>
                  </a:lnTo>
                  <a:lnTo>
                    <a:pt x="54" y="1202"/>
                  </a:lnTo>
                  <a:lnTo>
                    <a:pt x="55" y="1200"/>
                  </a:lnTo>
                  <a:lnTo>
                    <a:pt x="55" y="1197"/>
                  </a:lnTo>
                  <a:lnTo>
                    <a:pt x="63" y="1193"/>
                  </a:lnTo>
                  <a:lnTo>
                    <a:pt x="68" y="1193"/>
                  </a:lnTo>
                  <a:lnTo>
                    <a:pt x="67" y="1192"/>
                  </a:lnTo>
                  <a:lnTo>
                    <a:pt x="60" y="1193"/>
                  </a:lnTo>
                  <a:lnTo>
                    <a:pt x="56" y="1196"/>
                  </a:lnTo>
                  <a:lnTo>
                    <a:pt x="55" y="1196"/>
                  </a:lnTo>
                  <a:lnTo>
                    <a:pt x="56" y="1194"/>
                  </a:lnTo>
                  <a:lnTo>
                    <a:pt x="56" y="1193"/>
                  </a:lnTo>
                  <a:lnTo>
                    <a:pt x="57" y="1192"/>
                  </a:lnTo>
                  <a:lnTo>
                    <a:pt x="57" y="1186"/>
                  </a:lnTo>
                  <a:lnTo>
                    <a:pt x="58" y="1185"/>
                  </a:lnTo>
                  <a:lnTo>
                    <a:pt x="57" y="1185"/>
                  </a:lnTo>
                  <a:lnTo>
                    <a:pt x="56" y="1187"/>
                  </a:lnTo>
                  <a:lnTo>
                    <a:pt x="56" y="1192"/>
                  </a:lnTo>
                  <a:lnTo>
                    <a:pt x="55" y="1193"/>
                  </a:lnTo>
                  <a:lnTo>
                    <a:pt x="55" y="1196"/>
                  </a:lnTo>
                  <a:lnTo>
                    <a:pt x="54" y="1197"/>
                  </a:lnTo>
                  <a:lnTo>
                    <a:pt x="52" y="1200"/>
                  </a:lnTo>
                  <a:lnTo>
                    <a:pt x="51" y="1202"/>
                  </a:lnTo>
                  <a:lnTo>
                    <a:pt x="49" y="1203"/>
                  </a:lnTo>
                  <a:lnTo>
                    <a:pt x="49" y="1204"/>
                  </a:lnTo>
                  <a:lnTo>
                    <a:pt x="46" y="1205"/>
                  </a:lnTo>
                  <a:lnTo>
                    <a:pt x="46" y="1206"/>
                  </a:lnTo>
                  <a:lnTo>
                    <a:pt x="45" y="1205"/>
                  </a:lnTo>
                  <a:lnTo>
                    <a:pt x="45" y="1204"/>
                  </a:lnTo>
                  <a:lnTo>
                    <a:pt x="44" y="1204"/>
                  </a:lnTo>
                  <a:lnTo>
                    <a:pt x="44" y="1206"/>
                  </a:lnTo>
                  <a:lnTo>
                    <a:pt x="45" y="1206"/>
                  </a:lnTo>
                  <a:lnTo>
                    <a:pt x="45" y="1208"/>
                  </a:lnTo>
                  <a:lnTo>
                    <a:pt x="43" y="1210"/>
                  </a:lnTo>
                  <a:lnTo>
                    <a:pt x="42" y="1210"/>
                  </a:lnTo>
                  <a:lnTo>
                    <a:pt x="42" y="1208"/>
                  </a:lnTo>
                  <a:lnTo>
                    <a:pt x="40" y="1208"/>
                  </a:lnTo>
                  <a:lnTo>
                    <a:pt x="40" y="1202"/>
                  </a:lnTo>
                  <a:lnTo>
                    <a:pt x="42" y="1203"/>
                  </a:lnTo>
                  <a:lnTo>
                    <a:pt x="51" y="1199"/>
                  </a:lnTo>
                  <a:lnTo>
                    <a:pt x="51" y="1198"/>
                  </a:lnTo>
                  <a:lnTo>
                    <a:pt x="50" y="1198"/>
                  </a:lnTo>
                  <a:lnTo>
                    <a:pt x="48" y="1199"/>
                  </a:lnTo>
                  <a:lnTo>
                    <a:pt x="46" y="1200"/>
                  </a:lnTo>
                  <a:lnTo>
                    <a:pt x="40" y="1199"/>
                  </a:lnTo>
                  <a:lnTo>
                    <a:pt x="39" y="1199"/>
                  </a:lnTo>
                  <a:lnTo>
                    <a:pt x="39" y="1197"/>
                  </a:lnTo>
                  <a:lnTo>
                    <a:pt x="38" y="1197"/>
                  </a:lnTo>
                  <a:lnTo>
                    <a:pt x="38" y="1194"/>
                  </a:lnTo>
                  <a:lnTo>
                    <a:pt x="37" y="1194"/>
                  </a:lnTo>
                  <a:lnTo>
                    <a:pt x="36" y="1196"/>
                  </a:lnTo>
                  <a:lnTo>
                    <a:pt x="37" y="1198"/>
                  </a:lnTo>
                  <a:lnTo>
                    <a:pt x="37" y="1200"/>
                  </a:lnTo>
                  <a:lnTo>
                    <a:pt x="35" y="1203"/>
                  </a:lnTo>
                  <a:lnTo>
                    <a:pt x="33" y="1202"/>
                  </a:lnTo>
                  <a:lnTo>
                    <a:pt x="33" y="1203"/>
                  </a:lnTo>
                  <a:lnTo>
                    <a:pt x="32" y="1204"/>
                  </a:lnTo>
                  <a:lnTo>
                    <a:pt x="30" y="1205"/>
                  </a:lnTo>
                  <a:lnTo>
                    <a:pt x="31" y="1205"/>
                  </a:lnTo>
                  <a:lnTo>
                    <a:pt x="33" y="1204"/>
                  </a:lnTo>
                  <a:lnTo>
                    <a:pt x="37" y="1204"/>
                  </a:lnTo>
                  <a:lnTo>
                    <a:pt x="39" y="1208"/>
                  </a:lnTo>
                  <a:lnTo>
                    <a:pt x="39" y="1210"/>
                  </a:lnTo>
                  <a:lnTo>
                    <a:pt x="38" y="1210"/>
                  </a:lnTo>
                  <a:lnTo>
                    <a:pt x="36" y="1211"/>
                  </a:lnTo>
                  <a:lnTo>
                    <a:pt x="35" y="1210"/>
                  </a:lnTo>
                  <a:lnTo>
                    <a:pt x="35" y="1211"/>
                  </a:lnTo>
                  <a:lnTo>
                    <a:pt x="32" y="1211"/>
                  </a:lnTo>
                  <a:lnTo>
                    <a:pt x="32" y="1213"/>
                  </a:lnTo>
                  <a:lnTo>
                    <a:pt x="31" y="1213"/>
                  </a:lnTo>
                  <a:lnTo>
                    <a:pt x="30" y="1215"/>
                  </a:lnTo>
                  <a:lnTo>
                    <a:pt x="29" y="1215"/>
                  </a:lnTo>
                  <a:lnTo>
                    <a:pt x="29" y="1213"/>
                  </a:lnTo>
                  <a:lnTo>
                    <a:pt x="30" y="1212"/>
                  </a:lnTo>
                  <a:lnTo>
                    <a:pt x="30" y="1210"/>
                  </a:lnTo>
                  <a:lnTo>
                    <a:pt x="29" y="1206"/>
                  </a:lnTo>
                  <a:lnTo>
                    <a:pt x="27" y="1205"/>
                  </a:lnTo>
                  <a:lnTo>
                    <a:pt x="27" y="1213"/>
                  </a:lnTo>
                  <a:lnTo>
                    <a:pt x="25" y="1216"/>
                  </a:lnTo>
                  <a:lnTo>
                    <a:pt x="23" y="1216"/>
                  </a:lnTo>
                  <a:lnTo>
                    <a:pt x="23" y="1215"/>
                  </a:lnTo>
                  <a:lnTo>
                    <a:pt x="20" y="1212"/>
                  </a:lnTo>
                  <a:lnTo>
                    <a:pt x="21" y="1210"/>
                  </a:lnTo>
                  <a:lnTo>
                    <a:pt x="21" y="1205"/>
                  </a:lnTo>
                  <a:lnTo>
                    <a:pt x="20" y="1206"/>
                  </a:lnTo>
                  <a:lnTo>
                    <a:pt x="20" y="1215"/>
                  </a:lnTo>
                  <a:lnTo>
                    <a:pt x="19" y="1215"/>
                  </a:lnTo>
                  <a:lnTo>
                    <a:pt x="19" y="1212"/>
                  </a:lnTo>
                  <a:lnTo>
                    <a:pt x="18" y="1211"/>
                  </a:lnTo>
                  <a:lnTo>
                    <a:pt x="18" y="1205"/>
                  </a:lnTo>
                  <a:lnTo>
                    <a:pt x="17" y="1205"/>
                  </a:lnTo>
                  <a:lnTo>
                    <a:pt x="17" y="1210"/>
                  </a:lnTo>
                  <a:lnTo>
                    <a:pt x="15" y="1211"/>
                  </a:lnTo>
                  <a:lnTo>
                    <a:pt x="13" y="1204"/>
                  </a:lnTo>
                  <a:lnTo>
                    <a:pt x="12" y="1204"/>
                  </a:lnTo>
                  <a:lnTo>
                    <a:pt x="11" y="1203"/>
                  </a:lnTo>
                  <a:lnTo>
                    <a:pt x="11" y="1197"/>
                  </a:lnTo>
                  <a:lnTo>
                    <a:pt x="12" y="1196"/>
                  </a:lnTo>
                  <a:lnTo>
                    <a:pt x="13" y="1196"/>
                  </a:lnTo>
                  <a:lnTo>
                    <a:pt x="12" y="1194"/>
                  </a:lnTo>
                  <a:lnTo>
                    <a:pt x="12" y="1193"/>
                  </a:lnTo>
                  <a:lnTo>
                    <a:pt x="13" y="1193"/>
                  </a:lnTo>
                  <a:lnTo>
                    <a:pt x="15" y="1190"/>
                  </a:lnTo>
                  <a:lnTo>
                    <a:pt x="15" y="1187"/>
                  </a:lnTo>
                  <a:lnTo>
                    <a:pt x="17" y="1186"/>
                  </a:lnTo>
                  <a:lnTo>
                    <a:pt x="18" y="1186"/>
                  </a:lnTo>
                  <a:lnTo>
                    <a:pt x="18" y="1185"/>
                  </a:lnTo>
                  <a:lnTo>
                    <a:pt x="19" y="1185"/>
                  </a:lnTo>
                  <a:lnTo>
                    <a:pt x="19" y="1186"/>
                  </a:lnTo>
                  <a:lnTo>
                    <a:pt x="20" y="1188"/>
                  </a:lnTo>
                  <a:lnTo>
                    <a:pt x="21" y="1187"/>
                  </a:lnTo>
                  <a:lnTo>
                    <a:pt x="21" y="1186"/>
                  </a:lnTo>
                  <a:lnTo>
                    <a:pt x="20" y="1185"/>
                  </a:lnTo>
                  <a:lnTo>
                    <a:pt x="20" y="1182"/>
                  </a:lnTo>
                  <a:lnTo>
                    <a:pt x="21" y="1180"/>
                  </a:lnTo>
                  <a:lnTo>
                    <a:pt x="24" y="1178"/>
                  </a:lnTo>
                  <a:lnTo>
                    <a:pt x="24" y="1187"/>
                  </a:lnTo>
                  <a:lnTo>
                    <a:pt x="23" y="1187"/>
                  </a:lnTo>
                  <a:lnTo>
                    <a:pt x="24" y="1188"/>
                  </a:lnTo>
                  <a:lnTo>
                    <a:pt x="24" y="1192"/>
                  </a:lnTo>
                  <a:lnTo>
                    <a:pt x="21" y="1194"/>
                  </a:lnTo>
                  <a:lnTo>
                    <a:pt x="20" y="1194"/>
                  </a:lnTo>
                  <a:lnTo>
                    <a:pt x="20" y="1197"/>
                  </a:lnTo>
                  <a:lnTo>
                    <a:pt x="21" y="1197"/>
                  </a:lnTo>
                  <a:lnTo>
                    <a:pt x="24" y="1194"/>
                  </a:lnTo>
                  <a:lnTo>
                    <a:pt x="25" y="1194"/>
                  </a:lnTo>
                  <a:lnTo>
                    <a:pt x="25" y="1191"/>
                  </a:lnTo>
                  <a:lnTo>
                    <a:pt x="26" y="1190"/>
                  </a:lnTo>
                  <a:lnTo>
                    <a:pt x="25" y="1188"/>
                  </a:lnTo>
                  <a:lnTo>
                    <a:pt x="25" y="1186"/>
                  </a:lnTo>
                  <a:lnTo>
                    <a:pt x="26" y="1184"/>
                  </a:lnTo>
                  <a:lnTo>
                    <a:pt x="26" y="1182"/>
                  </a:lnTo>
                  <a:lnTo>
                    <a:pt x="27" y="1182"/>
                  </a:lnTo>
                  <a:lnTo>
                    <a:pt x="29" y="1184"/>
                  </a:lnTo>
                  <a:lnTo>
                    <a:pt x="33" y="1184"/>
                  </a:lnTo>
                  <a:lnTo>
                    <a:pt x="33" y="1188"/>
                  </a:lnTo>
                  <a:lnTo>
                    <a:pt x="35" y="1188"/>
                  </a:lnTo>
                  <a:lnTo>
                    <a:pt x="36" y="1187"/>
                  </a:lnTo>
                  <a:lnTo>
                    <a:pt x="36" y="1185"/>
                  </a:lnTo>
                  <a:lnTo>
                    <a:pt x="40" y="1185"/>
                  </a:lnTo>
                  <a:lnTo>
                    <a:pt x="40" y="1182"/>
                  </a:lnTo>
                  <a:lnTo>
                    <a:pt x="36" y="1185"/>
                  </a:lnTo>
                  <a:lnTo>
                    <a:pt x="35" y="1184"/>
                  </a:lnTo>
                  <a:lnTo>
                    <a:pt x="35" y="1182"/>
                  </a:lnTo>
                  <a:lnTo>
                    <a:pt x="37" y="1180"/>
                  </a:lnTo>
                  <a:lnTo>
                    <a:pt x="37" y="1179"/>
                  </a:lnTo>
                  <a:lnTo>
                    <a:pt x="39" y="1178"/>
                  </a:lnTo>
                  <a:lnTo>
                    <a:pt x="40" y="1178"/>
                  </a:lnTo>
                  <a:lnTo>
                    <a:pt x="40" y="1175"/>
                  </a:lnTo>
                  <a:lnTo>
                    <a:pt x="42" y="1175"/>
                  </a:lnTo>
                  <a:lnTo>
                    <a:pt x="42" y="1176"/>
                  </a:lnTo>
                  <a:lnTo>
                    <a:pt x="43" y="1178"/>
                  </a:lnTo>
                  <a:lnTo>
                    <a:pt x="46" y="1178"/>
                  </a:lnTo>
                  <a:lnTo>
                    <a:pt x="52" y="1173"/>
                  </a:lnTo>
                  <a:lnTo>
                    <a:pt x="52" y="1172"/>
                  </a:lnTo>
                  <a:lnTo>
                    <a:pt x="54" y="1172"/>
                  </a:lnTo>
                  <a:lnTo>
                    <a:pt x="54" y="1170"/>
                  </a:lnTo>
                  <a:lnTo>
                    <a:pt x="57" y="1169"/>
                  </a:lnTo>
                  <a:lnTo>
                    <a:pt x="58" y="1168"/>
                  </a:lnTo>
                  <a:lnTo>
                    <a:pt x="56" y="1169"/>
                  </a:lnTo>
                  <a:lnTo>
                    <a:pt x="50" y="1172"/>
                  </a:lnTo>
                  <a:lnTo>
                    <a:pt x="46" y="1175"/>
                  </a:lnTo>
                  <a:lnTo>
                    <a:pt x="46" y="1176"/>
                  </a:lnTo>
                  <a:lnTo>
                    <a:pt x="44" y="1176"/>
                  </a:lnTo>
                  <a:lnTo>
                    <a:pt x="43" y="1175"/>
                  </a:lnTo>
                  <a:lnTo>
                    <a:pt x="43" y="1169"/>
                  </a:lnTo>
                  <a:lnTo>
                    <a:pt x="42" y="1170"/>
                  </a:lnTo>
                  <a:lnTo>
                    <a:pt x="42" y="1173"/>
                  </a:lnTo>
                  <a:lnTo>
                    <a:pt x="39" y="1175"/>
                  </a:lnTo>
                  <a:lnTo>
                    <a:pt x="38" y="1175"/>
                  </a:lnTo>
                  <a:lnTo>
                    <a:pt x="37" y="1174"/>
                  </a:lnTo>
                  <a:lnTo>
                    <a:pt x="36" y="1174"/>
                  </a:lnTo>
                  <a:lnTo>
                    <a:pt x="35" y="1172"/>
                  </a:lnTo>
                  <a:lnTo>
                    <a:pt x="33" y="1170"/>
                  </a:lnTo>
                  <a:lnTo>
                    <a:pt x="33" y="1168"/>
                  </a:lnTo>
                  <a:lnTo>
                    <a:pt x="32" y="1168"/>
                  </a:lnTo>
                  <a:lnTo>
                    <a:pt x="32" y="1169"/>
                  </a:lnTo>
                  <a:lnTo>
                    <a:pt x="31" y="1169"/>
                  </a:lnTo>
                  <a:lnTo>
                    <a:pt x="30" y="1168"/>
                  </a:lnTo>
                  <a:lnTo>
                    <a:pt x="31" y="1168"/>
                  </a:lnTo>
                  <a:lnTo>
                    <a:pt x="32" y="1167"/>
                  </a:lnTo>
                  <a:lnTo>
                    <a:pt x="35" y="1166"/>
                  </a:lnTo>
                  <a:lnTo>
                    <a:pt x="35" y="1163"/>
                  </a:lnTo>
                  <a:lnTo>
                    <a:pt x="37" y="1161"/>
                  </a:lnTo>
                  <a:lnTo>
                    <a:pt x="39" y="1160"/>
                  </a:lnTo>
                  <a:lnTo>
                    <a:pt x="44" y="1160"/>
                  </a:lnTo>
                  <a:lnTo>
                    <a:pt x="44" y="1157"/>
                  </a:lnTo>
                  <a:lnTo>
                    <a:pt x="43" y="1156"/>
                  </a:lnTo>
                  <a:lnTo>
                    <a:pt x="45" y="1151"/>
                  </a:lnTo>
                  <a:lnTo>
                    <a:pt x="49" y="1148"/>
                  </a:lnTo>
                  <a:lnTo>
                    <a:pt x="57" y="1145"/>
                  </a:lnTo>
                  <a:lnTo>
                    <a:pt x="56" y="1145"/>
                  </a:lnTo>
                  <a:lnTo>
                    <a:pt x="56" y="1142"/>
                  </a:lnTo>
                  <a:lnTo>
                    <a:pt x="54" y="1144"/>
                  </a:lnTo>
                  <a:lnTo>
                    <a:pt x="54" y="1145"/>
                  </a:lnTo>
                  <a:lnTo>
                    <a:pt x="52" y="1147"/>
                  </a:lnTo>
                  <a:lnTo>
                    <a:pt x="50" y="1147"/>
                  </a:lnTo>
                  <a:lnTo>
                    <a:pt x="50" y="1144"/>
                  </a:lnTo>
                  <a:lnTo>
                    <a:pt x="49" y="1142"/>
                  </a:lnTo>
                  <a:lnTo>
                    <a:pt x="49" y="1139"/>
                  </a:lnTo>
                  <a:lnTo>
                    <a:pt x="52" y="1136"/>
                  </a:lnTo>
                  <a:lnTo>
                    <a:pt x="52" y="1133"/>
                  </a:lnTo>
                  <a:lnTo>
                    <a:pt x="54" y="1132"/>
                  </a:lnTo>
                  <a:lnTo>
                    <a:pt x="54" y="1130"/>
                  </a:lnTo>
                  <a:lnTo>
                    <a:pt x="56" y="1130"/>
                  </a:lnTo>
                  <a:lnTo>
                    <a:pt x="58" y="1128"/>
                  </a:lnTo>
                  <a:lnTo>
                    <a:pt x="58" y="1126"/>
                  </a:lnTo>
                  <a:lnTo>
                    <a:pt x="60" y="1126"/>
                  </a:lnTo>
                  <a:lnTo>
                    <a:pt x="60" y="1125"/>
                  </a:lnTo>
                  <a:lnTo>
                    <a:pt x="61" y="1124"/>
                  </a:lnTo>
                  <a:lnTo>
                    <a:pt x="63" y="1124"/>
                  </a:lnTo>
                  <a:lnTo>
                    <a:pt x="63" y="1123"/>
                  </a:lnTo>
                  <a:lnTo>
                    <a:pt x="67" y="1119"/>
                  </a:lnTo>
                  <a:lnTo>
                    <a:pt x="69" y="1119"/>
                  </a:lnTo>
                  <a:lnTo>
                    <a:pt x="73" y="1120"/>
                  </a:lnTo>
                  <a:lnTo>
                    <a:pt x="69" y="1128"/>
                  </a:lnTo>
                  <a:lnTo>
                    <a:pt x="69" y="1131"/>
                  </a:lnTo>
                  <a:lnTo>
                    <a:pt x="68" y="1132"/>
                  </a:lnTo>
                  <a:lnTo>
                    <a:pt x="68" y="1133"/>
                  </a:lnTo>
                  <a:lnTo>
                    <a:pt x="67" y="1141"/>
                  </a:lnTo>
                  <a:lnTo>
                    <a:pt x="67" y="1144"/>
                  </a:lnTo>
                  <a:lnTo>
                    <a:pt x="68" y="1142"/>
                  </a:lnTo>
                  <a:lnTo>
                    <a:pt x="68" y="1141"/>
                  </a:lnTo>
                  <a:lnTo>
                    <a:pt x="69" y="1137"/>
                  </a:lnTo>
                  <a:lnTo>
                    <a:pt x="69" y="1132"/>
                  </a:lnTo>
                  <a:lnTo>
                    <a:pt x="70" y="1131"/>
                  </a:lnTo>
                  <a:lnTo>
                    <a:pt x="71" y="1125"/>
                  </a:lnTo>
                  <a:lnTo>
                    <a:pt x="75" y="1122"/>
                  </a:lnTo>
                  <a:lnTo>
                    <a:pt x="76" y="1118"/>
                  </a:lnTo>
                  <a:lnTo>
                    <a:pt x="79" y="1116"/>
                  </a:lnTo>
                  <a:lnTo>
                    <a:pt x="85" y="1114"/>
                  </a:lnTo>
                  <a:lnTo>
                    <a:pt x="88" y="1116"/>
                  </a:lnTo>
                  <a:lnTo>
                    <a:pt x="91" y="1116"/>
                  </a:lnTo>
                  <a:lnTo>
                    <a:pt x="92" y="1113"/>
                  </a:lnTo>
                  <a:lnTo>
                    <a:pt x="83" y="1113"/>
                  </a:lnTo>
                  <a:lnTo>
                    <a:pt x="83" y="1112"/>
                  </a:lnTo>
                  <a:lnTo>
                    <a:pt x="85" y="1112"/>
                  </a:lnTo>
                  <a:lnTo>
                    <a:pt x="85" y="1110"/>
                  </a:lnTo>
                  <a:lnTo>
                    <a:pt x="86" y="1110"/>
                  </a:lnTo>
                  <a:lnTo>
                    <a:pt x="88" y="1106"/>
                  </a:lnTo>
                  <a:lnTo>
                    <a:pt x="87" y="1106"/>
                  </a:lnTo>
                  <a:lnTo>
                    <a:pt x="85" y="1107"/>
                  </a:lnTo>
                  <a:lnTo>
                    <a:pt x="83" y="1108"/>
                  </a:lnTo>
                  <a:lnTo>
                    <a:pt x="81" y="1113"/>
                  </a:lnTo>
                  <a:lnTo>
                    <a:pt x="77" y="1114"/>
                  </a:lnTo>
                  <a:lnTo>
                    <a:pt x="76" y="1116"/>
                  </a:lnTo>
                  <a:lnTo>
                    <a:pt x="74" y="1119"/>
                  </a:lnTo>
                  <a:lnTo>
                    <a:pt x="70" y="1119"/>
                  </a:lnTo>
                  <a:lnTo>
                    <a:pt x="70" y="1117"/>
                  </a:lnTo>
                  <a:lnTo>
                    <a:pt x="74" y="1113"/>
                  </a:lnTo>
                  <a:lnTo>
                    <a:pt x="74" y="1112"/>
                  </a:lnTo>
                  <a:lnTo>
                    <a:pt x="73" y="1112"/>
                  </a:lnTo>
                  <a:lnTo>
                    <a:pt x="69" y="1117"/>
                  </a:lnTo>
                  <a:lnTo>
                    <a:pt x="67" y="1118"/>
                  </a:lnTo>
                  <a:lnTo>
                    <a:pt x="66" y="1118"/>
                  </a:lnTo>
                  <a:lnTo>
                    <a:pt x="63" y="1119"/>
                  </a:lnTo>
                  <a:lnTo>
                    <a:pt x="62" y="1119"/>
                  </a:lnTo>
                  <a:lnTo>
                    <a:pt x="58" y="1123"/>
                  </a:lnTo>
                  <a:lnTo>
                    <a:pt x="56" y="1123"/>
                  </a:lnTo>
                  <a:lnTo>
                    <a:pt x="56" y="1122"/>
                  </a:lnTo>
                  <a:lnTo>
                    <a:pt x="54" y="1119"/>
                  </a:lnTo>
                  <a:lnTo>
                    <a:pt x="54" y="1116"/>
                  </a:lnTo>
                  <a:lnTo>
                    <a:pt x="52" y="1116"/>
                  </a:lnTo>
                  <a:lnTo>
                    <a:pt x="52" y="1118"/>
                  </a:lnTo>
                  <a:lnTo>
                    <a:pt x="54" y="1119"/>
                  </a:lnTo>
                  <a:lnTo>
                    <a:pt x="54" y="1122"/>
                  </a:lnTo>
                  <a:lnTo>
                    <a:pt x="55" y="1123"/>
                  </a:lnTo>
                  <a:lnTo>
                    <a:pt x="55" y="1124"/>
                  </a:lnTo>
                  <a:lnTo>
                    <a:pt x="54" y="1123"/>
                  </a:lnTo>
                  <a:lnTo>
                    <a:pt x="52" y="1124"/>
                  </a:lnTo>
                  <a:lnTo>
                    <a:pt x="51" y="1124"/>
                  </a:lnTo>
                  <a:lnTo>
                    <a:pt x="50" y="1125"/>
                  </a:lnTo>
                  <a:lnTo>
                    <a:pt x="54" y="1125"/>
                  </a:lnTo>
                  <a:lnTo>
                    <a:pt x="52" y="1128"/>
                  </a:lnTo>
                  <a:lnTo>
                    <a:pt x="51" y="1129"/>
                  </a:lnTo>
                  <a:lnTo>
                    <a:pt x="51" y="1131"/>
                  </a:lnTo>
                  <a:lnTo>
                    <a:pt x="52" y="1131"/>
                  </a:lnTo>
                  <a:lnTo>
                    <a:pt x="51" y="1133"/>
                  </a:lnTo>
                  <a:lnTo>
                    <a:pt x="51" y="1135"/>
                  </a:lnTo>
                  <a:lnTo>
                    <a:pt x="49" y="1135"/>
                  </a:lnTo>
                  <a:lnTo>
                    <a:pt x="46" y="1133"/>
                  </a:lnTo>
                  <a:lnTo>
                    <a:pt x="45" y="1132"/>
                  </a:lnTo>
                  <a:lnTo>
                    <a:pt x="45" y="1133"/>
                  </a:lnTo>
                  <a:lnTo>
                    <a:pt x="44" y="1135"/>
                  </a:lnTo>
                  <a:lnTo>
                    <a:pt x="44" y="1137"/>
                  </a:lnTo>
                  <a:lnTo>
                    <a:pt x="42" y="1142"/>
                  </a:lnTo>
                  <a:lnTo>
                    <a:pt x="39" y="1142"/>
                  </a:lnTo>
                  <a:lnTo>
                    <a:pt x="39" y="1154"/>
                  </a:lnTo>
                  <a:lnTo>
                    <a:pt x="38" y="1155"/>
                  </a:lnTo>
                  <a:lnTo>
                    <a:pt x="36" y="1155"/>
                  </a:lnTo>
                  <a:lnTo>
                    <a:pt x="36" y="1154"/>
                  </a:lnTo>
                  <a:lnTo>
                    <a:pt x="35" y="1156"/>
                  </a:lnTo>
                  <a:lnTo>
                    <a:pt x="32" y="1155"/>
                  </a:lnTo>
                  <a:lnTo>
                    <a:pt x="32" y="1150"/>
                  </a:lnTo>
                  <a:lnTo>
                    <a:pt x="36" y="1150"/>
                  </a:lnTo>
                  <a:lnTo>
                    <a:pt x="36" y="1149"/>
                  </a:lnTo>
                  <a:lnTo>
                    <a:pt x="37" y="1148"/>
                  </a:lnTo>
                  <a:lnTo>
                    <a:pt x="35" y="1148"/>
                  </a:lnTo>
                  <a:lnTo>
                    <a:pt x="35" y="1149"/>
                  </a:lnTo>
                  <a:lnTo>
                    <a:pt x="33" y="1149"/>
                  </a:lnTo>
                  <a:lnTo>
                    <a:pt x="33" y="1148"/>
                  </a:lnTo>
                  <a:lnTo>
                    <a:pt x="32" y="1147"/>
                  </a:lnTo>
                  <a:lnTo>
                    <a:pt x="33" y="1147"/>
                  </a:lnTo>
                  <a:lnTo>
                    <a:pt x="33" y="1144"/>
                  </a:lnTo>
                  <a:lnTo>
                    <a:pt x="32" y="1142"/>
                  </a:lnTo>
                  <a:lnTo>
                    <a:pt x="36" y="1138"/>
                  </a:lnTo>
                  <a:lnTo>
                    <a:pt x="33" y="1138"/>
                  </a:lnTo>
                  <a:lnTo>
                    <a:pt x="31" y="1141"/>
                  </a:lnTo>
                  <a:lnTo>
                    <a:pt x="31" y="1142"/>
                  </a:lnTo>
                  <a:lnTo>
                    <a:pt x="30" y="1143"/>
                  </a:lnTo>
                  <a:lnTo>
                    <a:pt x="29" y="1143"/>
                  </a:lnTo>
                  <a:lnTo>
                    <a:pt x="27" y="1144"/>
                  </a:lnTo>
                  <a:lnTo>
                    <a:pt x="26" y="1143"/>
                  </a:lnTo>
                  <a:lnTo>
                    <a:pt x="26" y="1142"/>
                  </a:lnTo>
                  <a:lnTo>
                    <a:pt x="27" y="1141"/>
                  </a:lnTo>
                  <a:lnTo>
                    <a:pt x="27" y="1139"/>
                  </a:lnTo>
                  <a:lnTo>
                    <a:pt x="26" y="1139"/>
                  </a:lnTo>
                  <a:lnTo>
                    <a:pt x="26" y="1138"/>
                  </a:lnTo>
                  <a:lnTo>
                    <a:pt x="29" y="1138"/>
                  </a:lnTo>
                  <a:lnTo>
                    <a:pt x="33" y="1136"/>
                  </a:lnTo>
                  <a:lnTo>
                    <a:pt x="29" y="1136"/>
                  </a:lnTo>
                  <a:lnTo>
                    <a:pt x="30" y="1135"/>
                  </a:lnTo>
                  <a:lnTo>
                    <a:pt x="30" y="1132"/>
                  </a:lnTo>
                  <a:lnTo>
                    <a:pt x="29" y="1132"/>
                  </a:lnTo>
                  <a:lnTo>
                    <a:pt x="30" y="1129"/>
                  </a:lnTo>
                  <a:lnTo>
                    <a:pt x="31" y="1128"/>
                  </a:lnTo>
                  <a:lnTo>
                    <a:pt x="31" y="1125"/>
                  </a:lnTo>
                  <a:lnTo>
                    <a:pt x="32" y="1125"/>
                  </a:lnTo>
                  <a:lnTo>
                    <a:pt x="35" y="1123"/>
                  </a:lnTo>
                  <a:lnTo>
                    <a:pt x="33" y="1123"/>
                  </a:lnTo>
                  <a:lnTo>
                    <a:pt x="32" y="1124"/>
                  </a:lnTo>
                  <a:lnTo>
                    <a:pt x="31" y="1124"/>
                  </a:lnTo>
                  <a:lnTo>
                    <a:pt x="31" y="1125"/>
                  </a:lnTo>
                  <a:lnTo>
                    <a:pt x="30" y="1125"/>
                  </a:lnTo>
                  <a:lnTo>
                    <a:pt x="29" y="1126"/>
                  </a:lnTo>
                  <a:lnTo>
                    <a:pt x="29" y="1128"/>
                  </a:lnTo>
                  <a:lnTo>
                    <a:pt x="27" y="1130"/>
                  </a:lnTo>
                  <a:lnTo>
                    <a:pt x="27" y="1132"/>
                  </a:lnTo>
                  <a:lnTo>
                    <a:pt x="25" y="1136"/>
                  </a:lnTo>
                  <a:lnTo>
                    <a:pt x="25" y="1138"/>
                  </a:lnTo>
                  <a:lnTo>
                    <a:pt x="23" y="1139"/>
                  </a:lnTo>
                  <a:lnTo>
                    <a:pt x="21" y="1142"/>
                  </a:lnTo>
                  <a:lnTo>
                    <a:pt x="20" y="1143"/>
                  </a:lnTo>
                  <a:lnTo>
                    <a:pt x="20" y="1144"/>
                  </a:lnTo>
                  <a:lnTo>
                    <a:pt x="19" y="1143"/>
                  </a:lnTo>
                  <a:lnTo>
                    <a:pt x="18" y="1143"/>
                  </a:lnTo>
                  <a:lnTo>
                    <a:pt x="18" y="1142"/>
                  </a:lnTo>
                  <a:lnTo>
                    <a:pt x="19" y="1142"/>
                  </a:lnTo>
                  <a:lnTo>
                    <a:pt x="17" y="1141"/>
                  </a:lnTo>
                  <a:lnTo>
                    <a:pt x="15" y="1139"/>
                  </a:lnTo>
                  <a:lnTo>
                    <a:pt x="17" y="1139"/>
                  </a:lnTo>
                  <a:lnTo>
                    <a:pt x="17" y="1138"/>
                  </a:lnTo>
                  <a:lnTo>
                    <a:pt x="18" y="1138"/>
                  </a:lnTo>
                  <a:lnTo>
                    <a:pt x="18" y="1137"/>
                  </a:lnTo>
                  <a:lnTo>
                    <a:pt x="17" y="1137"/>
                  </a:lnTo>
                  <a:lnTo>
                    <a:pt x="13" y="1138"/>
                  </a:lnTo>
                  <a:lnTo>
                    <a:pt x="12" y="1138"/>
                  </a:lnTo>
                  <a:lnTo>
                    <a:pt x="15" y="1135"/>
                  </a:lnTo>
                  <a:lnTo>
                    <a:pt x="15" y="1133"/>
                  </a:lnTo>
                  <a:lnTo>
                    <a:pt x="14" y="1133"/>
                  </a:lnTo>
                  <a:lnTo>
                    <a:pt x="9" y="1132"/>
                  </a:lnTo>
                  <a:lnTo>
                    <a:pt x="9" y="1129"/>
                  </a:lnTo>
                  <a:lnTo>
                    <a:pt x="13" y="1129"/>
                  </a:lnTo>
                  <a:lnTo>
                    <a:pt x="12" y="1128"/>
                  </a:lnTo>
                  <a:lnTo>
                    <a:pt x="11" y="1128"/>
                  </a:lnTo>
                  <a:lnTo>
                    <a:pt x="9" y="1126"/>
                  </a:lnTo>
                  <a:lnTo>
                    <a:pt x="8" y="1126"/>
                  </a:lnTo>
                  <a:lnTo>
                    <a:pt x="9" y="1125"/>
                  </a:lnTo>
                  <a:lnTo>
                    <a:pt x="11" y="1123"/>
                  </a:lnTo>
                  <a:lnTo>
                    <a:pt x="15" y="1123"/>
                  </a:lnTo>
                  <a:lnTo>
                    <a:pt x="14" y="1122"/>
                  </a:lnTo>
                  <a:lnTo>
                    <a:pt x="13" y="1119"/>
                  </a:lnTo>
                  <a:lnTo>
                    <a:pt x="14" y="1118"/>
                  </a:lnTo>
                  <a:lnTo>
                    <a:pt x="13" y="1116"/>
                  </a:lnTo>
                  <a:lnTo>
                    <a:pt x="13" y="1114"/>
                  </a:lnTo>
                  <a:lnTo>
                    <a:pt x="14" y="1112"/>
                  </a:lnTo>
                  <a:lnTo>
                    <a:pt x="15" y="1111"/>
                  </a:lnTo>
                  <a:lnTo>
                    <a:pt x="19" y="1114"/>
                  </a:lnTo>
                  <a:lnTo>
                    <a:pt x="20" y="1114"/>
                  </a:lnTo>
                  <a:lnTo>
                    <a:pt x="21" y="1118"/>
                  </a:lnTo>
                  <a:lnTo>
                    <a:pt x="23" y="1119"/>
                  </a:lnTo>
                  <a:lnTo>
                    <a:pt x="25" y="1120"/>
                  </a:lnTo>
                  <a:lnTo>
                    <a:pt x="29" y="1120"/>
                  </a:lnTo>
                  <a:lnTo>
                    <a:pt x="31" y="1119"/>
                  </a:lnTo>
                  <a:lnTo>
                    <a:pt x="30" y="1118"/>
                  </a:lnTo>
                  <a:lnTo>
                    <a:pt x="31" y="1117"/>
                  </a:lnTo>
                  <a:lnTo>
                    <a:pt x="32" y="1117"/>
                  </a:lnTo>
                  <a:lnTo>
                    <a:pt x="33" y="1116"/>
                  </a:lnTo>
                  <a:lnTo>
                    <a:pt x="33" y="1111"/>
                  </a:lnTo>
                  <a:lnTo>
                    <a:pt x="32" y="1108"/>
                  </a:lnTo>
                  <a:lnTo>
                    <a:pt x="33" y="1105"/>
                  </a:lnTo>
                  <a:lnTo>
                    <a:pt x="33" y="1101"/>
                  </a:lnTo>
                  <a:lnTo>
                    <a:pt x="35" y="1100"/>
                  </a:lnTo>
                  <a:lnTo>
                    <a:pt x="33" y="1099"/>
                  </a:lnTo>
                  <a:lnTo>
                    <a:pt x="33" y="1098"/>
                  </a:lnTo>
                  <a:lnTo>
                    <a:pt x="35" y="1095"/>
                  </a:lnTo>
                  <a:lnTo>
                    <a:pt x="35" y="1094"/>
                  </a:lnTo>
                  <a:lnTo>
                    <a:pt x="33" y="1095"/>
                  </a:lnTo>
                  <a:lnTo>
                    <a:pt x="33" y="1096"/>
                  </a:lnTo>
                  <a:lnTo>
                    <a:pt x="31" y="1095"/>
                  </a:lnTo>
                  <a:lnTo>
                    <a:pt x="31" y="1094"/>
                  </a:lnTo>
                  <a:lnTo>
                    <a:pt x="32" y="1093"/>
                  </a:lnTo>
                  <a:lnTo>
                    <a:pt x="32" y="1092"/>
                  </a:lnTo>
                  <a:lnTo>
                    <a:pt x="31" y="1092"/>
                  </a:lnTo>
                  <a:lnTo>
                    <a:pt x="30" y="1094"/>
                  </a:lnTo>
                  <a:lnTo>
                    <a:pt x="29" y="1095"/>
                  </a:lnTo>
                  <a:lnTo>
                    <a:pt x="29" y="1096"/>
                  </a:lnTo>
                  <a:lnTo>
                    <a:pt x="25" y="1096"/>
                  </a:lnTo>
                  <a:lnTo>
                    <a:pt x="25" y="1102"/>
                  </a:lnTo>
                  <a:lnTo>
                    <a:pt x="24" y="1102"/>
                  </a:lnTo>
                  <a:lnTo>
                    <a:pt x="21" y="1104"/>
                  </a:lnTo>
                  <a:lnTo>
                    <a:pt x="19" y="1106"/>
                  </a:lnTo>
                  <a:lnTo>
                    <a:pt x="15" y="1108"/>
                  </a:lnTo>
                  <a:lnTo>
                    <a:pt x="13" y="1108"/>
                  </a:lnTo>
                  <a:lnTo>
                    <a:pt x="12" y="1107"/>
                  </a:lnTo>
                  <a:lnTo>
                    <a:pt x="11" y="1105"/>
                  </a:lnTo>
                  <a:lnTo>
                    <a:pt x="9" y="1104"/>
                  </a:lnTo>
                  <a:lnTo>
                    <a:pt x="7" y="1100"/>
                  </a:lnTo>
                  <a:lnTo>
                    <a:pt x="6" y="1099"/>
                  </a:lnTo>
                  <a:lnTo>
                    <a:pt x="8" y="1100"/>
                  </a:lnTo>
                  <a:lnTo>
                    <a:pt x="9" y="1100"/>
                  </a:lnTo>
                  <a:lnTo>
                    <a:pt x="12" y="1104"/>
                  </a:lnTo>
                  <a:lnTo>
                    <a:pt x="13" y="1102"/>
                  </a:lnTo>
                  <a:lnTo>
                    <a:pt x="6" y="1095"/>
                  </a:lnTo>
                  <a:lnTo>
                    <a:pt x="9" y="1095"/>
                  </a:lnTo>
                  <a:lnTo>
                    <a:pt x="8" y="1094"/>
                  </a:lnTo>
                  <a:lnTo>
                    <a:pt x="7" y="1094"/>
                  </a:lnTo>
                  <a:lnTo>
                    <a:pt x="6" y="1093"/>
                  </a:lnTo>
                  <a:lnTo>
                    <a:pt x="5" y="1093"/>
                  </a:lnTo>
                  <a:lnTo>
                    <a:pt x="2" y="1089"/>
                  </a:lnTo>
                  <a:lnTo>
                    <a:pt x="0" y="1087"/>
                  </a:lnTo>
                  <a:lnTo>
                    <a:pt x="4" y="1087"/>
                  </a:lnTo>
                  <a:lnTo>
                    <a:pt x="5" y="1089"/>
                  </a:lnTo>
                  <a:lnTo>
                    <a:pt x="7" y="1089"/>
                  </a:lnTo>
                  <a:lnTo>
                    <a:pt x="11" y="1093"/>
                  </a:lnTo>
                  <a:lnTo>
                    <a:pt x="14" y="1094"/>
                  </a:lnTo>
                  <a:lnTo>
                    <a:pt x="15" y="1095"/>
                  </a:lnTo>
                  <a:lnTo>
                    <a:pt x="15" y="1098"/>
                  </a:lnTo>
                  <a:lnTo>
                    <a:pt x="17" y="1100"/>
                  </a:lnTo>
                  <a:lnTo>
                    <a:pt x="18" y="1101"/>
                  </a:lnTo>
                  <a:lnTo>
                    <a:pt x="18" y="1099"/>
                  </a:lnTo>
                  <a:lnTo>
                    <a:pt x="19" y="1100"/>
                  </a:lnTo>
                  <a:lnTo>
                    <a:pt x="20" y="1102"/>
                  </a:lnTo>
                  <a:lnTo>
                    <a:pt x="21" y="1102"/>
                  </a:lnTo>
                  <a:lnTo>
                    <a:pt x="19" y="1100"/>
                  </a:lnTo>
                  <a:lnTo>
                    <a:pt x="19" y="1098"/>
                  </a:lnTo>
                  <a:lnTo>
                    <a:pt x="21" y="1099"/>
                  </a:lnTo>
                  <a:lnTo>
                    <a:pt x="20" y="1098"/>
                  </a:lnTo>
                  <a:lnTo>
                    <a:pt x="20" y="1095"/>
                  </a:lnTo>
                  <a:lnTo>
                    <a:pt x="19" y="1095"/>
                  </a:lnTo>
                  <a:lnTo>
                    <a:pt x="19" y="1094"/>
                  </a:lnTo>
                  <a:lnTo>
                    <a:pt x="18" y="1094"/>
                  </a:lnTo>
                  <a:lnTo>
                    <a:pt x="18" y="1092"/>
                  </a:lnTo>
                  <a:lnTo>
                    <a:pt x="15" y="1092"/>
                  </a:lnTo>
                  <a:lnTo>
                    <a:pt x="14" y="1090"/>
                  </a:lnTo>
                  <a:lnTo>
                    <a:pt x="13" y="1090"/>
                  </a:lnTo>
                  <a:lnTo>
                    <a:pt x="13" y="1089"/>
                  </a:lnTo>
                  <a:lnTo>
                    <a:pt x="14" y="1088"/>
                  </a:lnTo>
                  <a:lnTo>
                    <a:pt x="15" y="1088"/>
                  </a:lnTo>
                  <a:lnTo>
                    <a:pt x="17" y="1087"/>
                  </a:lnTo>
                  <a:lnTo>
                    <a:pt x="18" y="1087"/>
                  </a:lnTo>
                  <a:lnTo>
                    <a:pt x="17" y="1085"/>
                  </a:lnTo>
                  <a:lnTo>
                    <a:pt x="18" y="1083"/>
                  </a:lnTo>
                  <a:lnTo>
                    <a:pt x="21" y="1081"/>
                  </a:lnTo>
                  <a:lnTo>
                    <a:pt x="21" y="1082"/>
                  </a:lnTo>
                  <a:lnTo>
                    <a:pt x="25" y="1082"/>
                  </a:lnTo>
                  <a:lnTo>
                    <a:pt x="25" y="1081"/>
                  </a:lnTo>
                  <a:lnTo>
                    <a:pt x="24" y="1081"/>
                  </a:lnTo>
                  <a:lnTo>
                    <a:pt x="23" y="1080"/>
                  </a:lnTo>
                  <a:lnTo>
                    <a:pt x="24" y="1079"/>
                  </a:lnTo>
                  <a:lnTo>
                    <a:pt x="23" y="1079"/>
                  </a:lnTo>
                  <a:lnTo>
                    <a:pt x="20" y="1081"/>
                  </a:lnTo>
                  <a:lnTo>
                    <a:pt x="18" y="1081"/>
                  </a:lnTo>
                  <a:lnTo>
                    <a:pt x="17" y="1082"/>
                  </a:lnTo>
                  <a:lnTo>
                    <a:pt x="17" y="1083"/>
                  </a:lnTo>
                  <a:lnTo>
                    <a:pt x="15" y="1086"/>
                  </a:lnTo>
                  <a:lnTo>
                    <a:pt x="13" y="1086"/>
                  </a:lnTo>
                  <a:lnTo>
                    <a:pt x="11" y="1085"/>
                  </a:lnTo>
                  <a:lnTo>
                    <a:pt x="9" y="1083"/>
                  </a:lnTo>
                  <a:lnTo>
                    <a:pt x="9" y="1086"/>
                  </a:lnTo>
                  <a:lnTo>
                    <a:pt x="8" y="1087"/>
                  </a:lnTo>
                  <a:lnTo>
                    <a:pt x="8" y="1085"/>
                  </a:lnTo>
                  <a:lnTo>
                    <a:pt x="6" y="1085"/>
                  </a:lnTo>
                  <a:lnTo>
                    <a:pt x="5" y="1083"/>
                  </a:lnTo>
                  <a:lnTo>
                    <a:pt x="5" y="1082"/>
                  </a:lnTo>
                  <a:lnTo>
                    <a:pt x="4" y="1080"/>
                  </a:lnTo>
                  <a:lnTo>
                    <a:pt x="4" y="1076"/>
                  </a:lnTo>
                  <a:lnTo>
                    <a:pt x="2" y="1075"/>
                  </a:lnTo>
                  <a:lnTo>
                    <a:pt x="2" y="1074"/>
                  </a:lnTo>
                  <a:lnTo>
                    <a:pt x="4" y="1073"/>
                  </a:lnTo>
                  <a:lnTo>
                    <a:pt x="6" y="1075"/>
                  </a:lnTo>
                  <a:lnTo>
                    <a:pt x="6" y="1080"/>
                  </a:lnTo>
                  <a:lnTo>
                    <a:pt x="7" y="1081"/>
                  </a:lnTo>
                  <a:lnTo>
                    <a:pt x="7" y="1074"/>
                  </a:lnTo>
                  <a:lnTo>
                    <a:pt x="8" y="1073"/>
                  </a:lnTo>
                  <a:lnTo>
                    <a:pt x="9" y="1073"/>
                  </a:lnTo>
                  <a:lnTo>
                    <a:pt x="8" y="1071"/>
                  </a:lnTo>
                  <a:lnTo>
                    <a:pt x="7" y="1073"/>
                  </a:lnTo>
                  <a:lnTo>
                    <a:pt x="4" y="1073"/>
                  </a:lnTo>
                  <a:lnTo>
                    <a:pt x="4" y="1067"/>
                  </a:lnTo>
                  <a:lnTo>
                    <a:pt x="6" y="1064"/>
                  </a:lnTo>
                  <a:lnTo>
                    <a:pt x="8" y="1063"/>
                  </a:lnTo>
                  <a:lnTo>
                    <a:pt x="12" y="1064"/>
                  </a:lnTo>
                  <a:lnTo>
                    <a:pt x="14" y="1067"/>
                  </a:lnTo>
                  <a:lnTo>
                    <a:pt x="17" y="1068"/>
                  </a:lnTo>
                  <a:lnTo>
                    <a:pt x="21" y="1068"/>
                  </a:lnTo>
                  <a:lnTo>
                    <a:pt x="21" y="1070"/>
                  </a:lnTo>
                  <a:lnTo>
                    <a:pt x="23" y="1070"/>
                  </a:lnTo>
                  <a:lnTo>
                    <a:pt x="23" y="1065"/>
                  </a:lnTo>
                  <a:lnTo>
                    <a:pt x="24" y="1065"/>
                  </a:lnTo>
                  <a:lnTo>
                    <a:pt x="25" y="1063"/>
                  </a:lnTo>
                  <a:lnTo>
                    <a:pt x="27" y="1064"/>
                  </a:lnTo>
                  <a:lnTo>
                    <a:pt x="29" y="1064"/>
                  </a:lnTo>
                  <a:lnTo>
                    <a:pt x="30" y="1065"/>
                  </a:lnTo>
                  <a:lnTo>
                    <a:pt x="30" y="1064"/>
                  </a:lnTo>
                  <a:lnTo>
                    <a:pt x="29" y="1063"/>
                  </a:lnTo>
                  <a:lnTo>
                    <a:pt x="30" y="1062"/>
                  </a:lnTo>
                  <a:lnTo>
                    <a:pt x="31" y="1062"/>
                  </a:lnTo>
                  <a:lnTo>
                    <a:pt x="31" y="1063"/>
                  </a:lnTo>
                  <a:lnTo>
                    <a:pt x="32" y="1062"/>
                  </a:lnTo>
                  <a:lnTo>
                    <a:pt x="35" y="1061"/>
                  </a:lnTo>
                  <a:lnTo>
                    <a:pt x="36" y="1061"/>
                  </a:lnTo>
                  <a:lnTo>
                    <a:pt x="36" y="1064"/>
                  </a:lnTo>
                  <a:lnTo>
                    <a:pt x="37" y="1064"/>
                  </a:lnTo>
                  <a:lnTo>
                    <a:pt x="37" y="1063"/>
                  </a:lnTo>
                  <a:lnTo>
                    <a:pt x="38" y="1062"/>
                  </a:lnTo>
                  <a:lnTo>
                    <a:pt x="38" y="1061"/>
                  </a:lnTo>
                  <a:lnTo>
                    <a:pt x="39" y="1059"/>
                  </a:lnTo>
                  <a:lnTo>
                    <a:pt x="44" y="1059"/>
                  </a:lnTo>
                  <a:lnTo>
                    <a:pt x="45" y="1061"/>
                  </a:lnTo>
                  <a:lnTo>
                    <a:pt x="46" y="1061"/>
                  </a:lnTo>
                  <a:lnTo>
                    <a:pt x="49" y="1059"/>
                  </a:lnTo>
                  <a:lnTo>
                    <a:pt x="51" y="1059"/>
                  </a:lnTo>
                  <a:lnTo>
                    <a:pt x="54" y="1061"/>
                  </a:lnTo>
                  <a:lnTo>
                    <a:pt x="55" y="1062"/>
                  </a:lnTo>
                  <a:lnTo>
                    <a:pt x="56" y="1062"/>
                  </a:lnTo>
                  <a:lnTo>
                    <a:pt x="56" y="1065"/>
                  </a:lnTo>
                  <a:lnTo>
                    <a:pt x="55" y="1067"/>
                  </a:lnTo>
                  <a:lnTo>
                    <a:pt x="57" y="1065"/>
                  </a:lnTo>
                  <a:lnTo>
                    <a:pt x="58" y="1064"/>
                  </a:lnTo>
                  <a:lnTo>
                    <a:pt x="61" y="1064"/>
                  </a:lnTo>
                  <a:lnTo>
                    <a:pt x="61" y="1067"/>
                  </a:lnTo>
                  <a:lnTo>
                    <a:pt x="60" y="1068"/>
                  </a:lnTo>
                  <a:lnTo>
                    <a:pt x="60" y="1069"/>
                  </a:lnTo>
                  <a:lnTo>
                    <a:pt x="61" y="1069"/>
                  </a:lnTo>
                  <a:lnTo>
                    <a:pt x="61" y="1067"/>
                  </a:lnTo>
                  <a:lnTo>
                    <a:pt x="62" y="1064"/>
                  </a:lnTo>
                  <a:lnTo>
                    <a:pt x="64" y="1062"/>
                  </a:lnTo>
                  <a:lnTo>
                    <a:pt x="67" y="1062"/>
                  </a:lnTo>
                  <a:lnTo>
                    <a:pt x="70" y="1058"/>
                  </a:lnTo>
                  <a:lnTo>
                    <a:pt x="70" y="1055"/>
                  </a:lnTo>
                  <a:lnTo>
                    <a:pt x="71" y="1055"/>
                  </a:lnTo>
                  <a:lnTo>
                    <a:pt x="71" y="1056"/>
                  </a:lnTo>
                  <a:lnTo>
                    <a:pt x="73" y="1056"/>
                  </a:lnTo>
                  <a:lnTo>
                    <a:pt x="79" y="1057"/>
                  </a:lnTo>
                  <a:lnTo>
                    <a:pt x="80" y="1058"/>
                  </a:lnTo>
                  <a:lnTo>
                    <a:pt x="81" y="1058"/>
                  </a:lnTo>
                  <a:lnTo>
                    <a:pt x="81" y="1062"/>
                  </a:lnTo>
                  <a:lnTo>
                    <a:pt x="82" y="1062"/>
                  </a:lnTo>
                  <a:lnTo>
                    <a:pt x="82" y="1063"/>
                  </a:lnTo>
                  <a:lnTo>
                    <a:pt x="85" y="1062"/>
                  </a:lnTo>
                  <a:lnTo>
                    <a:pt x="86" y="1063"/>
                  </a:lnTo>
                  <a:lnTo>
                    <a:pt x="87" y="1067"/>
                  </a:lnTo>
                  <a:lnTo>
                    <a:pt x="87" y="1069"/>
                  </a:lnTo>
                  <a:lnTo>
                    <a:pt x="88" y="1069"/>
                  </a:lnTo>
                  <a:lnTo>
                    <a:pt x="87" y="1070"/>
                  </a:lnTo>
                  <a:lnTo>
                    <a:pt x="87" y="1071"/>
                  </a:lnTo>
                  <a:lnTo>
                    <a:pt x="86" y="1071"/>
                  </a:lnTo>
                  <a:lnTo>
                    <a:pt x="85" y="1073"/>
                  </a:lnTo>
                  <a:lnTo>
                    <a:pt x="82" y="1076"/>
                  </a:lnTo>
                  <a:lnTo>
                    <a:pt x="86" y="1073"/>
                  </a:lnTo>
                  <a:lnTo>
                    <a:pt x="88" y="1073"/>
                  </a:lnTo>
                  <a:lnTo>
                    <a:pt x="89" y="1074"/>
                  </a:lnTo>
                  <a:lnTo>
                    <a:pt x="92" y="1075"/>
                  </a:lnTo>
                  <a:lnTo>
                    <a:pt x="93" y="1076"/>
                  </a:lnTo>
                  <a:lnTo>
                    <a:pt x="93" y="1077"/>
                  </a:lnTo>
                  <a:lnTo>
                    <a:pt x="92" y="1082"/>
                  </a:lnTo>
                  <a:lnTo>
                    <a:pt x="93" y="1081"/>
                  </a:lnTo>
                  <a:lnTo>
                    <a:pt x="94" y="1079"/>
                  </a:lnTo>
                  <a:lnTo>
                    <a:pt x="94" y="1074"/>
                  </a:lnTo>
                  <a:lnTo>
                    <a:pt x="92" y="1074"/>
                  </a:lnTo>
                  <a:lnTo>
                    <a:pt x="91" y="1073"/>
                  </a:lnTo>
                  <a:lnTo>
                    <a:pt x="89" y="1068"/>
                  </a:lnTo>
                  <a:lnTo>
                    <a:pt x="88" y="1067"/>
                  </a:lnTo>
                  <a:lnTo>
                    <a:pt x="88" y="1065"/>
                  </a:lnTo>
                  <a:lnTo>
                    <a:pt x="87" y="1063"/>
                  </a:lnTo>
                  <a:lnTo>
                    <a:pt x="87" y="1062"/>
                  </a:lnTo>
                  <a:lnTo>
                    <a:pt x="88" y="1062"/>
                  </a:lnTo>
                  <a:lnTo>
                    <a:pt x="89" y="1061"/>
                  </a:lnTo>
                  <a:lnTo>
                    <a:pt x="94" y="1061"/>
                  </a:lnTo>
                  <a:lnTo>
                    <a:pt x="96" y="1058"/>
                  </a:lnTo>
                  <a:lnTo>
                    <a:pt x="100" y="1058"/>
                  </a:lnTo>
                  <a:lnTo>
                    <a:pt x="100" y="1059"/>
                  </a:lnTo>
                  <a:lnTo>
                    <a:pt x="101" y="1061"/>
                  </a:lnTo>
                  <a:lnTo>
                    <a:pt x="102" y="1061"/>
                  </a:lnTo>
                  <a:lnTo>
                    <a:pt x="106" y="1062"/>
                  </a:lnTo>
                  <a:lnTo>
                    <a:pt x="106" y="1061"/>
                  </a:lnTo>
                  <a:lnTo>
                    <a:pt x="105" y="1061"/>
                  </a:lnTo>
                  <a:lnTo>
                    <a:pt x="102" y="1058"/>
                  </a:lnTo>
                  <a:lnTo>
                    <a:pt x="102" y="1057"/>
                  </a:lnTo>
                  <a:lnTo>
                    <a:pt x="105" y="1056"/>
                  </a:lnTo>
                  <a:lnTo>
                    <a:pt x="105" y="1053"/>
                  </a:lnTo>
                  <a:lnTo>
                    <a:pt x="106" y="1053"/>
                  </a:lnTo>
                  <a:lnTo>
                    <a:pt x="113" y="1052"/>
                  </a:lnTo>
                  <a:lnTo>
                    <a:pt x="114" y="1052"/>
                  </a:lnTo>
                  <a:lnTo>
                    <a:pt x="117" y="1050"/>
                  </a:lnTo>
                  <a:lnTo>
                    <a:pt x="116" y="1050"/>
                  </a:lnTo>
                  <a:lnTo>
                    <a:pt x="114" y="1051"/>
                  </a:lnTo>
                  <a:lnTo>
                    <a:pt x="113" y="1051"/>
                  </a:lnTo>
                  <a:lnTo>
                    <a:pt x="106" y="1053"/>
                  </a:lnTo>
                  <a:lnTo>
                    <a:pt x="104" y="1052"/>
                  </a:lnTo>
                  <a:lnTo>
                    <a:pt x="102" y="1052"/>
                  </a:lnTo>
                  <a:lnTo>
                    <a:pt x="102" y="1051"/>
                  </a:lnTo>
                  <a:lnTo>
                    <a:pt x="101" y="1050"/>
                  </a:lnTo>
                  <a:lnTo>
                    <a:pt x="101" y="1045"/>
                  </a:lnTo>
                  <a:lnTo>
                    <a:pt x="100" y="1045"/>
                  </a:lnTo>
                  <a:lnTo>
                    <a:pt x="100" y="1043"/>
                  </a:lnTo>
                  <a:lnTo>
                    <a:pt x="102" y="1042"/>
                  </a:lnTo>
                  <a:lnTo>
                    <a:pt x="102" y="1038"/>
                  </a:lnTo>
                  <a:lnTo>
                    <a:pt x="106" y="1034"/>
                  </a:lnTo>
                  <a:lnTo>
                    <a:pt x="106" y="1033"/>
                  </a:lnTo>
                  <a:lnTo>
                    <a:pt x="107" y="1032"/>
                  </a:lnTo>
                  <a:lnTo>
                    <a:pt x="107" y="1031"/>
                  </a:lnTo>
                  <a:lnTo>
                    <a:pt x="108" y="1031"/>
                  </a:lnTo>
                  <a:lnTo>
                    <a:pt x="112" y="1027"/>
                  </a:lnTo>
                  <a:lnTo>
                    <a:pt x="108" y="1030"/>
                  </a:lnTo>
                  <a:lnTo>
                    <a:pt x="101" y="1037"/>
                  </a:lnTo>
                  <a:lnTo>
                    <a:pt x="99" y="1036"/>
                  </a:lnTo>
                  <a:lnTo>
                    <a:pt x="99" y="1037"/>
                  </a:lnTo>
                  <a:lnTo>
                    <a:pt x="100" y="1038"/>
                  </a:lnTo>
                  <a:lnTo>
                    <a:pt x="100" y="1039"/>
                  </a:lnTo>
                  <a:lnTo>
                    <a:pt x="98" y="1043"/>
                  </a:lnTo>
                  <a:lnTo>
                    <a:pt x="98" y="1045"/>
                  </a:lnTo>
                  <a:lnTo>
                    <a:pt x="100" y="1047"/>
                  </a:lnTo>
                  <a:lnTo>
                    <a:pt x="100" y="1051"/>
                  </a:lnTo>
                  <a:lnTo>
                    <a:pt x="101" y="1052"/>
                  </a:lnTo>
                  <a:lnTo>
                    <a:pt x="101" y="1053"/>
                  </a:lnTo>
                  <a:lnTo>
                    <a:pt x="102" y="1053"/>
                  </a:lnTo>
                  <a:lnTo>
                    <a:pt x="101" y="1056"/>
                  </a:lnTo>
                  <a:lnTo>
                    <a:pt x="98" y="1056"/>
                  </a:lnTo>
                  <a:lnTo>
                    <a:pt x="98" y="1055"/>
                  </a:lnTo>
                  <a:lnTo>
                    <a:pt x="94" y="1055"/>
                  </a:lnTo>
                  <a:lnTo>
                    <a:pt x="94" y="1057"/>
                  </a:lnTo>
                  <a:lnTo>
                    <a:pt x="93" y="1057"/>
                  </a:lnTo>
                  <a:lnTo>
                    <a:pt x="88" y="1059"/>
                  </a:lnTo>
                  <a:lnTo>
                    <a:pt x="86" y="1059"/>
                  </a:lnTo>
                  <a:lnTo>
                    <a:pt x="86" y="1061"/>
                  </a:lnTo>
                  <a:lnTo>
                    <a:pt x="85" y="1061"/>
                  </a:lnTo>
                  <a:lnTo>
                    <a:pt x="83" y="1058"/>
                  </a:lnTo>
                  <a:lnTo>
                    <a:pt x="85" y="1057"/>
                  </a:lnTo>
                  <a:lnTo>
                    <a:pt x="87" y="1056"/>
                  </a:lnTo>
                  <a:lnTo>
                    <a:pt x="87" y="1055"/>
                  </a:lnTo>
                  <a:lnTo>
                    <a:pt x="86" y="1056"/>
                  </a:lnTo>
                  <a:lnTo>
                    <a:pt x="83" y="1056"/>
                  </a:lnTo>
                  <a:lnTo>
                    <a:pt x="80" y="1055"/>
                  </a:lnTo>
                  <a:lnTo>
                    <a:pt x="73" y="1053"/>
                  </a:lnTo>
                  <a:lnTo>
                    <a:pt x="69" y="1051"/>
                  </a:lnTo>
                  <a:lnTo>
                    <a:pt x="69" y="1049"/>
                  </a:lnTo>
                  <a:lnTo>
                    <a:pt x="71" y="1046"/>
                  </a:lnTo>
                  <a:lnTo>
                    <a:pt x="73" y="1042"/>
                  </a:lnTo>
                  <a:lnTo>
                    <a:pt x="74" y="1042"/>
                  </a:lnTo>
                  <a:lnTo>
                    <a:pt x="74" y="1040"/>
                  </a:lnTo>
                  <a:lnTo>
                    <a:pt x="75" y="1039"/>
                  </a:lnTo>
                  <a:lnTo>
                    <a:pt x="75" y="1036"/>
                  </a:lnTo>
                  <a:lnTo>
                    <a:pt x="71" y="1043"/>
                  </a:lnTo>
                  <a:lnTo>
                    <a:pt x="70" y="1046"/>
                  </a:lnTo>
                  <a:lnTo>
                    <a:pt x="69" y="1047"/>
                  </a:lnTo>
                  <a:lnTo>
                    <a:pt x="68" y="1046"/>
                  </a:lnTo>
                  <a:lnTo>
                    <a:pt x="68" y="1045"/>
                  </a:lnTo>
                  <a:lnTo>
                    <a:pt x="67" y="1045"/>
                  </a:lnTo>
                  <a:lnTo>
                    <a:pt x="67" y="1051"/>
                  </a:lnTo>
                  <a:lnTo>
                    <a:pt x="68" y="1052"/>
                  </a:lnTo>
                  <a:lnTo>
                    <a:pt x="66" y="1052"/>
                  </a:lnTo>
                  <a:lnTo>
                    <a:pt x="66" y="1053"/>
                  </a:lnTo>
                  <a:lnTo>
                    <a:pt x="67" y="1055"/>
                  </a:lnTo>
                  <a:lnTo>
                    <a:pt x="67" y="1057"/>
                  </a:lnTo>
                  <a:lnTo>
                    <a:pt x="63" y="1061"/>
                  </a:lnTo>
                  <a:lnTo>
                    <a:pt x="61" y="1061"/>
                  </a:lnTo>
                  <a:lnTo>
                    <a:pt x="57" y="1059"/>
                  </a:lnTo>
                  <a:lnTo>
                    <a:pt x="54" y="1057"/>
                  </a:lnTo>
                  <a:lnTo>
                    <a:pt x="52" y="1055"/>
                  </a:lnTo>
                  <a:lnTo>
                    <a:pt x="48" y="1057"/>
                  </a:lnTo>
                  <a:lnTo>
                    <a:pt x="45" y="1057"/>
                  </a:lnTo>
                  <a:lnTo>
                    <a:pt x="43" y="1056"/>
                  </a:lnTo>
                  <a:lnTo>
                    <a:pt x="45" y="1055"/>
                  </a:lnTo>
                  <a:lnTo>
                    <a:pt x="46" y="1053"/>
                  </a:lnTo>
                  <a:lnTo>
                    <a:pt x="46" y="1052"/>
                  </a:lnTo>
                  <a:lnTo>
                    <a:pt x="43" y="1056"/>
                  </a:lnTo>
                  <a:lnTo>
                    <a:pt x="39" y="1056"/>
                  </a:lnTo>
                  <a:lnTo>
                    <a:pt x="37" y="1057"/>
                  </a:lnTo>
                  <a:lnTo>
                    <a:pt x="36" y="1056"/>
                  </a:lnTo>
                  <a:lnTo>
                    <a:pt x="36" y="1053"/>
                  </a:lnTo>
                  <a:lnTo>
                    <a:pt x="35" y="1055"/>
                  </a:lnTo>
                  <a:lnTo>
                    <a:pt x="35" y="1057"/>
                  </a:lnTo>
                  <a:lnTo>
                    <a:pt x="32" y="1057"/>
                  </a:lnTo>
                  <a:lnTo>
                    <a:pt x="31" y="1058"/>
                  </a:lnTo>
                  <a:lnTo>
                    <a:pt x="25" y="1058"/>
                  </a:lnTo>
                  <a:lnTo>
                    <a:pt x="23" y="1062"/>
                  </a:lnTo>
                  <a:lnTo>
                    <a:pt x="20" y="1063"/>
                  </a:lnTo>
                  <a:lnTo>
                    <a:pt x="19" y="1063"/>
                  </a:lnTo>
                  <a:lnTo>
                    <a:pt x="17" y="1062"/>
                  </a:lnTo>
                  <a:lnTo>
                    <a:pt x="15" y="1059"/>
                  </a:lnTo>
                  <a:lnTo>
                    <a:pt x="14" y="1059"/>
                  </a:lnTo>
                  <a:lnTo>
                    <a:pt x="14" y="1061"/>
                  </a:lnTo>
                  <a:lnTo>
                    <a:pt x="11" y="1061"/>
                  </a:lnTo>
                  <a:lnTo>
                    <a:pt x="11" y="1059"/>
                  </a:lnTo>
                  <a:lnTo>
                    <a:pt x="9" y="1059"/>
                  </a:lnTo>
                  <a:lnTo>
                    <a:pt x="9" y="1058"/>
                  </a:lnTo>
                  <a:lnTo>
                    <a:pt x="13" y="1058"/>
                  </a:lnTo>
                  <a:lnTo>
                    <a:pt x="12" y="1057"/>
                  </a:lnTo>
                  <a:lnTo>
                    <a:pt x="8" y="1057"/>
                  </a:lnTo>
                  <a:lnTo>
                    <a:pt x="6" y="1056"/>
                  </a:lnTo>
                  <a:lnTo>
                    <a:pt x="5" y="1056"/>
                  </a:lnTo>
                  <a:lnTo>
                    <a:pt x="6" y="1053"/>
                  </a:lnTo>
                  <a:lnTo>
                    <a:pt x="8" y="1053"/>
                  </a:lnTo>
                  <a:lnTo>
                    <a:pt x="12" y="1056"/>
                  </a:lnTo>
                  <a:lnTo>
                    <a:pt x="12" y="1055"/>
                  </a:lnTo>
                  <a:lnTo>
                    <a:pt x="13" y="1055"/>
                  </a:lnTo>
                  <a:lnTo>
                    <a:pt x="9" y="1051"/>
                  </a:lnTo>
                  <a:lnTo>
                    <a:pt x="2" y="1051"/>
                  </a:lnTo>
                  <a:lnTo>
                    <a:pt x="4" y="1050"/>
                  </a:lnTo>
                  <a:lnTo>
                    <a:pt x="2" y="1049"/>
                  </a:lnTo>
                  <a:lnTo>
                    <a:pt x="2" y="1047"/>
                  </a:lnTo>
                  <a:lnTo>
                    <a:pt x="1" y="1047"/>
                  </a:lnTo>
                  <a:lnTo>
                    <a:pt x="4" y="1045"/>
                  </a:lnTo>
                  <a:lnTo>
                    <a:pt x="5" y="1045"/>
                  </a:lnTo>
                  <a:lnTo>
                    <a:pt x="6" y="1044"/>
                  </a:lnTo>
                  <a:lnTo>
                    <a:pt x="7" y="1044"/>
                  </a:lnTo>
                  <a:lnTo>
                    <a:pt x="7" y="1043"/>
                  </a:lnTo>
                  <a:lnTo>
                    <a:pt x="8" y="1044"/>
                  </a:lnTo>
                  <a:lnTo>
                    <a:pt x="9" y="1043"/>
                  </a:lnTo>
                  <a:lnTo>
                    <a:pt x="11" y="1040"/>
                  </a:lnTo>
                  <a:lnTo>
                    <a:pt x="13" y="1040"/>
                  </a:lnTo>
                  <a:lnTo>
                    <a:pt x="15" y="1043"/>
                  </a:lnTo>
                  <a:lnTo>
                    <a:pt x="15" y="1046"/>
                  </a:lnTo>
                  <a:lnTo>
                    <a:pt x="17" y="1047"/>
                  </a:lnTo>
                  <a:lnTo>
                    <a:pt x="17" y="1043"/>
                  </a:lnTo>
                  <a:lnTo>
                    <a:pt x="14" y="1040"/>
                  </a:lnTo>
                  <a:lnTo>
                    <a:pt x="14" y="1039"/>
                  </a:lnTo>
                  <a:lnTo>
                    <a:pt x="21" y="1038"/>
                  </a:lnTo>
                  <a:lnTo>
                    <a:pt x="30" y="1038"/>
                  </a:lnTo>
                  <a:lnTo>
                    <a:pt x="29" y="1037"/>
                  </a:lnTo>
                  <a:lnTo>
                    <a:pt x="26" y="1037"/>
                  </a:lnTo>
                  <a:lnTo>
                    <a:pt x="9" y="1039"/>
                  </a:lnTo>
                  <a:lnTo>
                    <a:pt x="7" y="1042"/>
                  </a:lnTo>
                  <a:lnTo>
                    <a:pt x="5" y="1042"/>
                  </a:lnTo>
                  <a:lnTo>
                    <a:pt x="4" y="1040"/>
                  </a:lnTo>
                  <a:lnTo>
                    <a:pt x="4" y="1039"/>
                  </a:lnTo>
                  <a:lnTo>
                    <a:pt x="2" y="1038"/>
                  </a:lnTo>
                  <a:lnTo>
                    <a:pt x="2" y="1037"/>
                  </a:lnTo>
                  <a:lnTo>
                    <a:pt x="4" y="1036"/>
                  </a:lnTo>
                  <a:lnTo>
                    <a:pt x="4" y="1034"/>
                  </a:lnTo>
                  <a:lnTo>
                    <a:pt x="5" y="1034"/>
                  </a:lnTo>
                  <a:lnTo>
                    <a:pt x="5" y="1036"/>
                  </a:lnTo>
                  <a:lnTo>
                    <a:pt x="6" y="1037"/>
                  </a:lnTo>
                  <a:lnTo>
                    <a:pt x="6" y="1034"/>
                  </a:lnTo>
                  <a:lnTo>
                    <a:pt x="8" y="1033"/>
                  </a:lnTo>
                  <a:lnTo>
                    <a:pt x="7" y="1032"/>
                  </a:lnTo>
                  <a:lnTo>
                    <a:pt x="7" y="1033"/>
                  </a:lnTo>
                  <a:lnTo>
                    <a:pt x="4" y="1033"/>
                  </a:lnTo>
                  <a:lnTo>
                    <a:pt x="2" y="1034"/>
                  </a:lnTo>
                  <a:lnTo>
                    <a:pt x="1" y="1034"/>
                  </a:lnTo>
                  <a:lnTo>
                    <a:pt x="1" y="1033"/>
                  </a:lnTo>
                  <a:lnTo>
                    <a:pt x="5" y="1031"/>
                  </a:lnTo>
                  <a:lnTo>
                    <a:pt x="9" y="1031"/>
                  </a:lnTo>
                  <a:lnTo>
                    <a:pt x="11" y="1030"/>
                  </a:lnTo>
                  <a:lnTo>
                    <a:pt x="11" y="1028"/>
                  </a:lnTo>
                  <a:lnTo>
                    <a:pt x="12" y="1030"/>
                  </a:lnTo>
                  <a:lnTo>
                    <a:pt x="14" y="1031"/>
                  </a:lnTo>
                  <a:lnTo>
                    <a:pt x="15" y="1031"/>
                  </a:lnTo>
                  <a:lnTo>
                    <a:pt x="17" y="1030"/>
                  </a:lnTo>
                  <a:lnTo>
                    <a:pt x="24" y="1032"/>
                  </a:lnTo>
                  <a:lnTo>
                    <a:pt x="26" y="1032"/>
                  </a:lnTo>
                  <a:lnTo>
                    <a:pt x="25" y="1031"/>
                  </a:lnTo>
                  <a:lnTo>
                    <a:pt x="29" y="1031"/>
                  </a:lnTo>
                  <a:lnTo>
                    <a:pt x="29" y="1030"/>
                  </a:lnTo>
                  <a:lnTo>
                    <a:pt x="30" y="1030"/>
                  </a:lnTo>
                  <a:lnTo>
                    <a:pt x="30" y="1028"/>
                  </a:lnTo>
                  <a:lnTo>
                    <a:pt x="31" y="1027"/>
                  </a:lnTo>
                  <a:lnTo>
                    <a:pt x="35" y="1027"/>
                  </a:lnTo>
                  <a:lnTo>
                    <a:pt x="35" y="1028"/>
                  </a:lnTo>
                  <a:lnTo>
                    <a:pt x="36" y="1031"/>
                  </a:lnTo>
                  <a:lnTo>
                    <a:pt x="37" y="1031"/>
                  </a:lnTo>
                  <a:lnTo>
                    <a:pt x="37" y="1030"/>
                  </a:lnTo>
                  <a:lnTo>
                    <a:pt x="36" y="1030"/>
                  </a:lnTo>
                  <a:lnTo>
                    <a:pt x="35" y="1027"/>
                  </a:lnTo>
                  <a:lnTo>
                    <a:pt x="33" y="1026"/>
                  </a:lnTo>
                  <a:lnTo>
                    <a:pt x="31" y="1026"/>
                  </a:lnTo>
                  <a:lnTo>
                    <a:pt x="30" y="1027"/>
                  </a:lnTo>
                  <a:lnTo>
                    <a:pt x="29" y="1027"/>
                  </a:lnTo>
                  <a:lnTo>
                    <a:pt x="27" y="1030"/>
                  </a:lnTo>
                  <a:lnTo>
                    <a:pt x="25" y="1030"/>
                  </a:lnTo>
                  <a:lnTo>
                    <a:pt x="24" y="1031"/>
                  </a:lnTo>
                  <a:lnTo>
                    <a:pt x="23" y="1031"/>
                  </a:lnTo>
                  <a:lnTo>
                    <a:pt x="21" y="1030"/>
                  </a:lnTo>
                  <a:lnTo>
                    <a:pt x="21" y="1028"/>
                  </a:lnTo>
                  <a:lnTo>
                    <a:pt x="20" y="1027"/>
                  </a:lnTo>
                  <a:lnTo>
                    <a:pt x="15" y="1028"/>
                  </a:lnTo>
                  <a:lnTo>
                    <a:pt x="13" y="1027"/>
                  </a:lnTo>
                  <a:lnTo>
                    <a:pt x="11" y="1025"/>
                  </a:lnTo>
                  <a:lnTo>
                    <a:pt x="8" y="1024"/>
                  </a:lnTo>
                  <a:lnTo>
                    <a:pt x="9" y="1022"/>
                  </a:lnTo>
                  <a:lnTo>
                    <a:pt x="8" y="1022"/>
                  </a:lnTo>
                  <a:lnTo>
                    <a:pt x="8" y="1021"/>
                  </a:lnTo>
                  <a:lnTo>
                    <a:pt x="9" y="1021"/>
                  </a:lnTo>
                  <a:lnTo>
                    <a:pt x="12" y="1022"/>
                  </a:lnTo>
                  <a:lnTo>
                    <a:pt x="13" y="1021"/>
                  </a:lnTo>
                  <a:lnTo>
                    <a:pt x="17" y="1021"/>
                  </a:lnTo>
                  <a:lnTo>
                    <a:pt x="11" y="1019"/>
                  </a:lnTo>
                  <a:lnTo>
                    <a:pt x="9" y="1018"/>
                  </a:lnTo>
                  <a:lnTo>
                    <a:pt x="17" y="1018"/>
                  </a:lnTo>
                  <a:lnTo>
                    <a:pt x="17" y="1019"/>
                  </a:lnTo>
                  <a:lnTo>
                    <a:pt x="21" y="1019"/>
                  </a:lnTo>
                  <a:lnTo>
                    <a:pt x="18" y="1016"/>
                  </a:lnTo>
                  <a:lnTo>
                    <a:pt x="14" y="1016"/>
                  </a:lnTo>
                  <a:lnTo>
                    <a:pt x="17" y="1015"/>
                  </a:lnTo>
                  <a:lnTo>
                    <a:pt x="18" y="1014"/>
                  </a:lnTo>
                  <a:lnTo>
                    <a:pt x="14" y="1014"/>
                  </a:lnTo>
                  <a:lnTo>
                    <a:pt x="13" y="1015"/>
                  </a:lnTo>
                  <a:lnTo>
                    <a:pt x="2" y="1015"/>
                  </a:lnTo>
                  <a:lnTo>
                    <a:pt x="1" y="1014"/>
                  </a:lnTo>
                  <a:lnTo>
                    <a:pt x="0" y="1012"/>
                  </a:lnTo>
                  <a:lnTo>
                    <a:pt x="0" y="1010"/>
                  </a:lnTo>
                  <a:lnTo>
                    <a:pt x="1" y="1009"/>
                  </a:lnTo>
                  <a:lnTo>
                    <a:pt x="1" y="1007"/>
                  </a:lnTo>
                  <a:lnTo>
                    <a:pt x="2" y="1006"/>
                  </a:lnTo>
                  <a:lnTo>
                    <a:pt x="2" y="1004"/>
                  </a:lnTo>
                  <a:lnTo>
                    <a:pt x="4" y="1004"/>
                  </a:lnTo>
                  <a:lnTo>
                    <a:pt x="5" y="1003"/>
                  </a:lnTo>
                  <a:lnTo>
                    <a:pt x="5" y="1004"/>
                  </a:lnTo>
                  <a:lnTo>
                    <a:pt x="6" y="1004"/>
                  </a:lnTo>
                  <a:lnTo>
                    <a:pt x="6" y="1006"/>
                  </a:lnTo>
                  <a:lnTo>
                    <a:pt x="7" y="1006"/>
                  </a:lnTo>
                  <a:lnTo>
                    <a:pt x="8" y="1007"/>
                  </a:lnTo>
                  <a:lnTo>
                    <a:pt x="9" y="1007"/>
                  </a:lnTo>
                  <a:lnTo>
                    <a:pt x="9" y="1006"/>
                  </a:lnTo>
                  <a:lnTo>
                    <a:pt x="8" y="1004"/>
                  </a:lnTo>
                  <a:lnTo>
                    <a:pt x="8" y="1003"/>
                  </a:lnTo>
                  <a:lnTo>
                    <a:pt x="9" y="1003"/>
                  </a:lnTo>
                  <a:lnTo>
                    <a:pt x="11" y="1002"/>
                  </a:lnTo>
                  <a:lnTo>
                    <a:pt x="6" y="1003"/>
                  </a:lnTo>
                  <a:lnTo>
                    <a:pt x="6" y="1002"/>
                  </a:lnTo>
                  <a:lnTo>
                    <a:pt x="8" y="1000"/>
                  </a:lnTo>
                  <a:lnTo>
                    <a:pt x="13" y="999"/>
                  </a:lnTo>
                  <a:lnTo>
                    <a:pt x="14" y="997"/>
                  </a:lnTo>
                  <a:lnTo>
                    <a:pt x="14" y="996"/>
                  </a:lnTo>
                  <a:lnTo>
                    <a:pt x="17" y="996"/>
                  </a:lnTo>
                  <a:lnTo>
                    <a:pt x="17" y="995"/>
                  </a:lnTo>
                  <a:lnTo>
                    <a:pt x="15" y="995"/>
                  </a:lnTo>
                  <a:lnTo>
                    <a:pt x="15" y="994"/>
                  </a:lnTo>
                  <a:lnTo>
                    <a:pt x="18" y="990"/>
                  </a:lnTo>
                  <a:lnTo>
                    <a:pt x="25" y="990"/>
                  </a:lnTo>
                  <a:lnTo>
                    <a:pt x="26" y="991"/>
                  </a:lnTo>
                  <a:lnTo>
                    <a:pt x="27" y="990"/>
                  </a:lnTo>
                  <a:lnTo>
                    <a:pt x="29" y="990"/>
                  </a:lnTo>
                  <a:lnTo>
                    <a:pt x="30" y="991"/>
                  </a:lnTo>
                  <a:lnTo>
                    <a:pt x="31" y="991"/>
                  </a:lnTo>
                  <a:lnTo>
                    <a:pt x="35" y="995"/>
                  </a:lnTo>
                  <a:lnTo>
                    <a:pt x="33" y="996"/>
                  </a:lnTo>
                  <a:lnTo>
                    <a:pt x="30" y="996"/>
                  </a:lnTo>
                  <a:lnTo>
                    <a:pt x="29" y="999"/>
                  </a:lnTo>
                  <a:lnTo>
                    <a:pt x="30" y="999"/>
                  </a:lnTo>
                  <a:lnTo>
                    <a:pt x="33" y="996"/>
                  </a:lnTo>
                  <a:lnTo>
                    <a:pt x="42" y="995"/>
                  </a:lnTo>
                  <a:lnTo>
                    <a:pt x="43" y="996"/>
                  </a:lnTo>
                  <a:lnTo>
                    <a:pt x="43" y="999"/>
                  </a:lnTo>
                  <a:lnTo>
                    <a:pt x="42" y="1001"/>
                  </a:lnTo>
                  <a:lnTo>
                    <a:pt x="40" y="1004"/>
                  </a:lnTo>
                  <a:lnTo>
                    <a:pt x="43" y="1002"/>
                  </a:lnTo>
                  <a:lnTo>
                    <a:pt x="43" y="1001"/>
                  </a:lnTo>
                  <a:lnTo>
                    <a:pt x="44" y="997"/>
                  </a:lnTo>
                  <a:lnTo>
                    <a:pt x="45" y="996"/>
                  </a:lnTo>
                  <a:lnTo>
                    <a:pt x="45" y="997"/>
                  </a:lnTo>
                  <a:lnTo>
                    <a:pt x="48" y="999"/>
                  </a:lnTo>
                  <a:lnTo>
                    <a:pt x="49" y="1001"/>
                  </a:lnTo>
                  <a:lnTo>
                    <a:pt x="50" y="1002"/>
                  </a:lnTo>
                  <a:lnTo>
                    <a:pt x="52" y="1002"/>
                  </a:lnTo>
                  <a:lnTo>
                    <a:pt x="52" y="1001"/>
                  </a:lnTo>
                  <a:lnTo>
                    <a:pt x="51" y="1001"/>
                  </a:lnTo>
                  <a:lnTo>
                    <a:pt x="50" y="1000"/>
                  </a:lnTo>
                  <a:lnTo>
                    <a:pt x="50" y="999"/>
                  </a:lnTo>
                  <a:lnTo>
                    <a:pt x="49" y="999"/>
                  </a:lnTo>
                  <a:lnTo>
                    <a:pt x="49" y="997"/>
                  </a:lnTo>
                  <a:lnTo>
                    <a:pt x="48" y="997"/>
                  </a:lnTo>
                  <a:lnTo>
                    <a:pt x="48" y="996"/>
                  </a:lnTo>
                  <a:lnTo>
                    <a:pt x="57" y="996"/>
                  </a:lnTo>
                  <a:lnTo>
                    <a:pt x="58" y="997"/>
                  </a:lnTo>
                  <a:lnTo>
                    <a:pt x="61" y="999"/>
                  </a:lnTo>
                  <a:lnTo>
                    <a:pt x="66" y="1000"/>
                  </a:lnTo>
                  <a:lnTo>
                    <a:pt x="68" y="997"/>
                  </a:lnTo>
                  <a:lnTo>
                    <a:pt x="68" y="995"/>
                  </a:lnTo>
                  <a:lnTo>
                    <a:pt x="69" y="994"/>
                  </a:lnTo>
                  <a:lnTo>
                    <a:pt x="70" y="994"/>
                  </a:lnTo>
                  <a:lnTo>
                    <a:pt x="71" y="993"/>
                  </a:lnTo>
                  <a:lnTo>
                    <a:pt x="73" y="993"/>
                  </a:lnTo>
                  <a:lnTo>
                    <a:pt x="75" y="994"/>
                  </a:lnTo>
                  <a:lnTo>
                    <a:pt x="76" y="995"/>
                  </a:lnTo>
                  <a:lnTo>
                    <a:pt x="77" y="995"/>
                  </a:lnTo>
                  <a:lnTo>
                    <a:pt x="77" y="996"/>
                  </a:lnTo>
                  <a:lnTo>
                    <a:pt x="79" y="996"/>
                  </a:lnTo>
                  <a:lnTo>
                    <a:pt x="79" y="994"/>
                  </a:lnTo>
                  <a:lnTo>
                    <a:pt x="80" y="994"/>
                  </a:lnTo>
                  <a:lnTo>
                    <a:pt x="80" y="993"/>
                  </a:lnTo>
                  <a:lnTo>
                    <a:pt x="79" y="993"/>
                  </a:lnTo>
                  <a:lnTo>
                    <a:pt x="77" y="994"/>
                  </a:lnTo>
                  <a:lnTo>
                    <a:pt x="77" y="993"/>
                  </a:lnTo>
                  <a:lnTo>
                    <a:pt x="74" y="993"/>
                  </a:lnTo>
                  <a:lnTo>
                    <a:pt x="74" y="991"/>
                  </a:lnTo>
                  <a:lnTo>
                    <a:pt x="73" y="991"/>
                  </a:lnTo>
                  <a:lnTo>
                    <a:pt x="69" y="993"/>
                  </a:lnTo>
                  <a:lnTo>
                    <a:pt x="67" y="995"/>
                  </a:lnTo>
                  <a:lnTo>
                    <a:pt x="67" y="996"/>
                  </a:lnTo>
                  <a:lnTo>
                    <a:pt x="66" y="997"/>
                  </a:lnTo>
                  <a:lnTo>
                    <a:pt x="56" y="995"/>
                  </a:lnTo>
                  <a:lnTo>
                    <a:pt x="49" y="995"/>
                  </a:lnTo>
                  <a:lnTo>
                    <a:pt x="46" y="994"/>
                  </a:lnTo>
                  <a:lnTo>
                    <a:pt x="43" y="994"/>
                  </a:lnTo>
                  <a:lnTo>
                    <a:pt x="42" y="993"/>
                  </a:lnTo>
                  <a:lnTo>
                    <a:pt x="39" y="993"/>
                  </a:lnTo>
                  <a:lnTo>
                    <a:pt x="37" y="995"/>
                  </a:lnTo>
                  <a:lnTo>
                    <a:pt x="33" y="991"/>
                  </a:lnTo>
                  <a:lnTo>
                    <a:pt x="42" y="990"/>
                  </a:lnTo>
                  <a:lnTo>
                    <a:pt x="43" y="990"/>
                  </a:lnTo>
                  <a:lnTo>
                    <a:pt x="43" y="989"/>
                  </a:lnTo>
                  <a:lnTo>
                    <a:pt x="30" y="989"/>
                  </a:lnTo>
                  <a:lnTo>
                    <a:pt x="25" y="988"/>
                  </a:lnTo>
                  <a:lnTo>
                    <a:pt x="18" y="988"/>
                  </a:lnTo>
                  <a:lnTo>
                    <a:pt x="15" y="989"/>
                  </a:lnTo>
                  <a:lnTo>
                    <a:pt x="14" y="990"/>
                  </a:lnTo>
                  <a:lnTo>
                    <a:pt x="12" y="989"/>
                  </a:lnTo>
                  <a:lnTo>
                    <a:pt x="11" y="989"/>
                  </a:lnTo>
                  <a:lnTo>
                    <a:pt x="9" y="990"/>
                  </a:lnTo>
                  <a:lnTo>
                    <a:pt x="9" y="991"/>
                  </a:lnTo>
                  <a:lnTo>
                    <a:pt x="7" y="989"/>
                  </a:lnTo>
                  <a:lnTo>
                    <a:pt x="7" y="988"/>
                  </a:lnTo>
                  <a:lnTo>
                    <a:pt x="5" y="988"/>
                  </a:lnTo>
                  <a:lnTo>
                    <a:pt x="4" y="987"/>
                  </a:lnTo>
                  <a:lnTo>
                    <a:pt x="4" y="985"/>
                  </a:lnTo>
                  <a:lnTo>
                    <a:pt x="5" y="985"/>
                  </a:lnTo>
                  <a:lnTo>
                    <a:pt x="5" y="984"/>
                  </a:lnTo>
                  <a:lnTo>
                    <a:pt x="2" y="982"/>
                  </a:lnTo>
                  <a:lnTo>
                    <a:pt x="2" y="978"/>
                  </a:lnTo>
                  <a:lnTo>
                    <a:pt x="4" y="979"/>
                  </a:lnTo>
                  <a:lnTo>
                    <a:pt x="6" y="981"/>
                  </a:lnTo>
                  <a:lnTo>
                    <a:pt x="7" y="981"/>
                  </a:lnTo>
                  <a:lnTo>
                    <a:pt x="7" y="979"/>
                  </a:lnTo>
                  <a:lnTo>
                    <a:pt x="8" y="979"/>
                  </a:lnTo>
                  <a:lnTo>
                    <a:pt x="9" y="982"/>
                  </a:lnTo>
                  <a:lnTo>
                    <a:pt x="9" y="983"/>
                  </a:lnTo>
                  <a:lnTo>
                    <a:pt x="8" y="983"/>
                  </a:lnTo>
                  <a:lnTo>
                    <a:pt x="8" y="984"/>
                  </a:lnTo>
                  <a:lnTo>
                    <a:pt x="9" y="984"/>
                  </a:lnTo>
                  <a:lnTo>
                    <a:pt x="9" y="985"/>
                  </a:lnTo>
                  <a:lnTo>
                    <a:pt x="11" y="985"/>
                  </a:lnTo>
                  <a:lnTo>
                    <a:pt x="11" y="984"/>
                  </a:lnTo>
                  <a:lnTo>
                    <a:pt x="12" y="984"/>
                  </a:lnTo>
                  <a:lnTo>
                    <a:pt x="12" y="985"/>
                  </a:lnTo>
                  <a:lnTo>
                    <a:pt x="13" y="985"/>
                  </a:lnTo>
                  <a:lnTo>
                    <a:pt x="13" y="983"/>
                  </a:lnTo>
                  <a:lnTo>
                    <a:pt x="15" y="982"/>
                  </a:lnTo>
                  <a:lnTo>
                    <a:pt x="15" y="979"/>
                  </a:lnTo>
                  <a:lnTo>
                    <a:pt x="17" y="979"/>
                  </a:lnTo>
                  <a:lnTo>
                    <a:pt x="19" y="981"/>
                  </a:lnTo>
                  <a:lnTo>
                    <a:pt x="20" y="979"/>
                  </a:lnTo>
                  <a:lnTo>
                    <a:pt x="19" y="978"/>
                  </a:lnTo>
                  <a:lnTo>
                    <a:pt x="17" y="978"/>
                  </a:lnTo>
                  <a:lnTo>
                    <a:pt x="17" y="977"/>
                  </a:lnTo>
                  <a:lnTo>
                    <a:pt x="12" y="972"/>
                  </a:lnTo>
                  <a:lnTo>
                    <a:pt x="7" y="972"/>
                  </a:lnTo>
                  <a:lnTo>
                    <a:pt x="7" y="970"/>
                  </a:lnTo>
                  <a:lnTo>
                    <a:pt x="8" y="970"/>
                  </a:lnTo>
                  <a:lnTo>
                    <a:pt x="6" y="967"/>
                  </a:lnTo>
                  <a:lnTo>
                    <a:pt x="6" y="966"/>
                  </a:lnTo>
                  <a:lnTo>
                    <a:pt x="7" y="966"/>
                  </a:lnTo>
                  <a:lnTo>
                    <a:pt x="6" y="965"/>
                  </a:lnTo>
                  <a:lnTo>
                    <a:pt x="6" y="964"/>
                  </a:lnTo>
                  <a:lnTo>
                    <a:pt x="9" y="964"/>
                  </a:lnTo>
                  <a:lnTo>
                    <a:pt x="9" y="963"/>
                  </a:lnTo>
                  <a:lnTo>
                    <a:pt x="11" y="963"/>
                  </a:lnTo>
                  <a:lnTo>
                    <a:pt x="13" y="965"/>
                  </a:lnTo>
                  <a:lnTo>
                    <a:pt x="13" y="966"/>
                  </a:lnTo>
                  <a:lnTo>
                    <a:pt x="14" y="966"/>
                  </a:lnTo>
                  <a:lnTo>
                    <a:pt x="14" y="970"/>
                  </a:lnTo>
                  <a:lnTo>
                    <a:pt x="17" y="972"/>
                  </a:lnTo>
                  <a:lnTo>
                    <a:pt x="19" y="973"/>
                  </a:lnTo>
                  <a:lnTo>
                    <a:pt x="21" y="976"/>
                  </a:lnTo>
                  <a:lnTo>
                    <a:pt x="23" y="981"/>
                  </a:lnTo>
                  <a:lnTo>
                    <a:pt x="24" y="979"/>
                  </a:lnTo>
                  <a:lnTo>
                    <a:pt x="25" y="976"/>
                  </a:lnTo>
                  <a:lnTo>
                    <a:pt x="25" y="975"/>
                  </a:lnTo>
                  <a:lnTo>
                    <a:pt x="26" y="975"/>
                  </a:lnTo>
                  <a:lnTo>
                    <a:pt x="27" y="976"/>
                  </a:lnTo>
                  <a:lnTo>
                    <a:pt x="26" y="973"/>
                  </a:lnTo>
                  <a:lnTo>
                    <a:pt x="20" y="972"/>
                  </a:lnTo>
                  <a:lnTo>
                    <a:pt x="20" y="971"/>
                  </a:lnTo>
                  <a:lnTo>
                    <a:pt x="19" y="971"/>
                  </a:lnTo>
                  <a:lnTo>
                    <a:pt x="19" y="970"/>
                  </a:lnTo>
                  <a:lnTo>
                    <a:pt x="20" y="967"/>
                  </a:lnTo>
                  <a:lnTo>
                    <a:pt x="20" y="966"/>
                  </a:lnTo>
                  <a:lnTo>
                    <a:pt x="23" y="964"/>
                  </a:lnTo>
                  <a:lnTo>
                    <a:pt x="23" y="965"/>
                  </a:lnTo>
                  <a:lnTo>
                    <a:pt x="25" y="966"/>
                  </a:lnTo>
                  <a:lnTo>
                    <a:pt x="29" y="966"/>
                  </a:lnTo>
                  <a:lnTo>
                    <a:pt x="30" y="967"/>
                  </a:lnTo>
                  <a:lnTo>
                    <a:pt x="30" y="969"/>
                  </a:lnTo>
                  <a:lnTo>
                    <a:pt x="31" y="970"/>
                  </a:lnTo>
                  <a:lnTo>
                    <a:pt x="31" y="971"/>
                  </a:lnTo>
                  <a:lnTo>
                    <a:pt x="32" y="971"/>
                  </a:lnTo>
                  <a:lnTo>
                    <a:pt x="31" y="969"/>
                  </a:lnTo>
                  <a:lnTo>
                    <a:pt x="31" y="966"/>
                  </a:lnTo>
                  <a:lnTo>
                    <a:pt x="32" y="965"/>
                  </a:lnTo>
                  <a:lnTo>
                    <a:pt x="36" y="965"/>
                  </a:lnTo>
                  <a:lnTo>
                    <a:pt x="38" y="964"/>
                  </a:lnTo>
                  <a:lnTo>
                    <a:pt x="39" y="963"/>
                  </a:lnTo>
                  <a:lnTo>
                    <a:pt x="40" y="964"/>
                  </a:lnTo>
                  <a:lnTo>
                    <a:pt x="42" y="964"/>
                  </a:lnTo>
                  <a:lnTo>
                    <a:pt x="42" y="973"/>
                  </a:lnTo>
                  <a:lnTo>
                    <a:pt x="39" y="977"/>
                  </a:lnTo>
                  <a:lnTo>
                    <a:pt x="38" y="979"/>
                  </a:lnTo>
                  <a:lnTo>
                    <a:pt x="42" y="976"/>
                  </a:lnTo>
                  <a:lnTo>
                    <a:pt x="43" y="973"/>
                  </a:lnTo>
                  <a:lnTo>
                    <a:pt x="43" y="969"/>
                  </a:lnTo>
                  <a:lnTo>
                    <a:pt x="44" y="969"/>
                  </a:lnTo>
                  <a:lnTo>
                    <a:pt x="46" y="972"/>
                  </a:lnTo>
                  <a:lnTo>
                    <a:pt x="48" y="973"/>
                  </a:lnTo>
                  <a:lnTo>
                    <a:pt x="48" y="976"/>
                  </a:lnTo>
                  <a:lnTo>
                    <a:pt x="49" y="975"/>
                  </a:lnTo>
                  <a:lnTo>
                    <a:pt x="54" y="975"/>
                  </a:lnTo>
                  <a:lnTo>
                    <a:pt x="61" y="976"/>
                  </a:lnTo>
                  <a:lnTo>
                    <a:pt x="49" y="972"/>
                  </a:lnTo>
                  <a:lnTo>
                    <a:pt x="49" y="971"/>
                  </a:lnTo>
                  <a:lnTo>
                    <a:pt x="48" y="969"/>
                  </a:lnTo>
                  <a:lnTo>
                    <a:pt x="46" y="969"/>
                  </a:lnTo>
                  <a:lnTo>
                    <a:pt x="44" y="965"/>
                  </a:lnTo>
                  <a:lnTo>
                    <a:pt x="42" y="964"/>
                  </a:lnTo>
                  <a:lnTo>
                    <a:pt x="42" y="961"/>
                  </a:lnTo>
                  <a:lnTo>
                    <a:pt x="43" y="961"/>
                  </a:lnTo>
                  <a:lnTo>
                    <a:pt x="45" y="963"/>
                  </a:lnTo>
                  <a:lnTo>
                    <a:pt x="46" y="963"/>
                  </a:lnTo>
                  <a:lnTo>
                    <a:pt x="45" y="961"/>
                  </a:lnTo>
                  <a:lnTo>
                    <a:pt x="44" y="961"/>
                  </a:lnTo>
                  <a:lnTo>
                    <a:pt x="44" y="959"/>
                  </a:lnTo>
                  <a:lnTo>
                    <a:pt x="43" y="959"/>
                  </a:lnTo>
                  <a:lnTo>
                    <a:pt x="44" y="957"/>
                  </a:lnTo>
                  <a:lnTo>
                    <a:pt x="49" y="952"/>
                  </a:lnTo>
                  <a:lnTo>
                    <a:pt x="51" y="952"/>
                  </a:lnTo>
                  <a:lnTo>
                    <a:pt x="58" y="948"/>
                  </a:lnTo>
                  <a:lnTo>
                    <a:pt x="60" y="950"/>
                  </a:lnTo>
                  <a:lnTo>
                    <a:pt x="60" y="951"/>
                  </a:lnTo>
                  <a:lnTo>
                    <a:pt x="61" y="953"/>
                  </a:lnTo>
                  <a:lnTo>
                    <a:pt x="62" y="957"/>
                  </a:lnTo>
                  <a:lnTo>
                    <a:pt x="62" y="958"/>
                  </a:lnTo>
                  <a:lnTo>
                    <a:pt x="64" y="959"/>
                  </a:lnTo>
                  <a:lnTo>
                    <a:pt x="66" y="960"/>
                  </a:lnTo>
                  <a:lnTo>
                    <a:pt x="68" y="966"/>
                  </a:lnTo>
                  <a:lnTo>
                    <a:pt x="69" y="967"/>
                  </a:lnTo>
                  <a:lnTo>
                    <a:pt x="69" y="969"/>
                  </a:lnTo>
                  <a:lnTo>
                    <a:pt x="68" y="972"/>
                  </a:lnTo>
                  <a:lnTo>
                    <a:pt x="70" y="970"/>
                  </a:lnTo>
                  <a:lnTo>
                    <a:pt x="69" y="967"/>
                  </a:lnTo>
                  <a:lnTo>
                    <a:pt x="66" y="959"/>
                  </a:lnTo>
                  <a:lnTo>
                    <a:pt x="63" y="953"/>
                  </a:lnTo>
                  <a:lnTo>
                    <a:pt x="62" y="951"/>
                  </a:lnTo>
                  <a:lnTo>
                    <a:pt x="62" y="947"/>
                  </a:lnTo>
                  <a:lnTo>
                    <a:pt x="63" y="946"/>
                  </a:lnTo>
                  <a:lnTo>
                    <a:pt x="67" y="946"/>
                  </a:lnTo>
                  <a:lnTo>
                    <a:pt x="68" y="947"/>
                  </a:lnTo>
                  <a:lnTo>
                    <a:pt x="69" y="950"/>
                  </a:lnTo>
                  <a:lnTo>
                    <a:pt x="69" y="946"/>
                  </a:lnTo>
                  <a:lnTo>
                    <a:pt x="68" y="945"/>
                  </a:lnTo>
                  <a:lnTo>
                    <a:pt x="69" y="944"/>
                  </a:lnTo>
                  <a:lnTo>
                    <a:pt x="73" y="942"/>
                  </a:lnTo>
                  <a:lnTo>
                    <a:pt x="74" y="941"/>
                  </a:lnTo>
                  <a:lnTo>
                    <a:pt x="75" y="941"/>
                  </a:lnTo>
                  <a:lnTo>
                    <a:pt x="76" y="942"/>
                  </a:lnTo>
                  <a:lnTo>
                    <a:pt x="82" y="944"/>
                  </a:lnTo>
                  <a:lnTo>
                    <a:pt x="82" y="951"/>
                  </a:lnTo>
                  <a:lnTo>
                    <a:pt x="87" y="956"/>
                  </a:lnTo>
                  <a:lnTo>
                    <a:pt x="87" y="959"/>
                  </a:lnTo>
                  <a:lnTo>
                    <a:pt x="88" y="963"/>
                  </a:lnTo>
                  <a:lnTo>
                    <a:pt x="87" y="964"/>
                  </a:lnTo>
                  <a:lnTo>
                    <a:pt x="87" y="965"/>
                  </a:lnTo>
                  <a:lnTo>
                    <a:pt x="85" y="970"/>
                  </a:lnTo>
                  <a:lnTo>
                    <a:pt x="85" y="971"/>
                  </a:lnTo>
                  <a:lnTo>
                    <a:pt x="87" y="973"/>
                  </a:lnTo>
                  <a:lnTo>
                    <a:pt x="88" y="973"/>
                  </a:lnTo>
                  <a:lnTo>
                    <a:pt x="92" y="972"/>
                  </a:lnTo>
                  <a:lnTo>
                    <a:pt x="93" y="971"/>
                  </a:lnTo>
                  <a:lnTo>
                    <a:pt x="94" y="971"/>
                  </a:lnTo>
                  <a:lnTo>
                    <a:pt x="95" y="972"/>
                  </a:lnTo>
                  <a:lnTo>
                    <a:pt x="94" y="970"/>
                  </a:lnTo>
                  <a:lnTo>
                    <a:pt x="88" y="972"/>
                  </a:lnTo>
                  <a:lnTo>
                    <a:pt x="86" y="970"/>
                  </a:lnTo>
                  <a:lnTo>
                    <a:pt x="87" y="969"/>
                  </a:lnTo>
                  <a:lnTo>
                    <a:pt x="88" y="966"/>
                  </a:lnTo>
                  <a:lnTo>
                    <a:pt x="89" y="965"/>
                  </a:lnTo>
                  <a:lnTo>
                    <a:pt x="89" y="964"/>
                  </a:lnTo>
                  <a:lnTo>
                    <a:pt x="88" y="958"/>
                  </a:lnTo>
                  <a:lnTo>
                    <a:pt x="89" y="957"/>
                  </a:lnTo>
                  <a:lnTo>
                    <a:pt x="92" y="957"/>
                  </a:lnTo>
                  <a:lnTo>
                    <a:pt x="96" y="959"/>
                  </a:lnTo>
                  <a:lnTo>
                    <a:pt x="98" y="958"/>
                  </a:lnTo>
                  <a:lnTo>
                    <a:pt x="98" y="957"/>
                  </a:lnTo>
                  <a:lnTo>
                    <a:pt x="101" y="957"/>
                  </a:lnTo>
                  <a:lnTo>
                    <a:pt x="102" y="958"/>
                  </a:lnTo>
                  <a:lnTo>
                    <a:pt x="102" y="959"/>
                  </a:lnTo>
                  <a:lnTo>
                    <a:pt x="104" y="960"/>
                  </a:lnTo>
                  <a:lnTo>
                    <a:pt x="105" y="960"/>
                  </a:lnTo>
                  <a:lnTo>
                    <a:pt x="102" y="957"/>
                  </a:lnTo>
                  <a:lnTo>
                    <a:pt x="100" y="954"/>
                  </a:lnTo>
                  <a:lnTo>
                    <a:pt x="94" y="956"/>
                  </a:lnTo>
                  <a:lnTo>
                    <a:pt x="88" y="954"/>
                  </a:lnTo>
                  <a:lnTo>
                    <a:pt x="86" y="952"/>
                  </a:lnTo>
                  <a:lnTo>
                    <a:pt x="83" y="948"/>
                  </a:lnTo>
                  <a:lnTo>
                    <a:pt x="86" y="948"/>
                  </a:lnTo>
                  <a:lnTo>
                    <a:pt x="86" y="947"/>
                  </a:lnTo>
                  <a:lnTo>
                    <a:pt x="81" y="940"/>
                  </a:lnTo>
                  <a:lnTo>
                    <a:pt x="77" y="940"/>
                  </a:lnTo>
                  <a:lnTo>
                    <a:pt x="77" y="939"/>
                  </a:lnTo>
                  <a:lnTo>
                    <a:pt x="74" y="939"/>
                  </a:lnTo>
                  <a:lnTo>
                    <a:pt x="66" y="942"/>
                  </a:lnTo>
                  <a:lnTo>
                    <a:pt x="62" y="944"/>
                  </a:lnTo>
                  <a:lnTo>
                    <a:pt x="61" y="942"/>
                  </a:lnTo>
                  <a:lnTo>
                    <a:pt x="60" y="942"/>
                  </a:lnTo>
                  <a:lnTo>
                    <a:pt x="58" y="940"/>
                  </a:lnTo>
                  <a:lnTo>
                    <a:pt x="57" y="940"/>
                  </a:lnTo>
                  <a:lnTo>
                    <a:pt x="56" y="941"/>
                  </a:lnTo>
                  <a:lnTo>
                    <a:pt x="55" y="941"/>
                  </a:lnTo>
                  <a:lnTo>
                    <a:pt x="55" y="940"/>
                  </a:lnTo>
                  <a:lnTo>
                    <a:pt x="56" y="939"/>
                  </a:lnTo>
                  <a:lnTo>
                    <a:pt x="60" y="939"/>
                  </a:lnTo>
                  <a:lnTo>
                    <a:pt x="63" y="938"/>
                  </a:lnTo>
                  <a:lnTo>
                    <a:pt x="63" y="936"/>
                  </a:lnTo>
                  <a:lnTo>
                    <a:pt x="73" y="936"/>
                  </a:lnTo>
                  <a:lnTo>
                    <a:pt x="71" y="934"/>
                  </a:lnTo>
                  <a:lnTo>
                    <a:pt x="69" y="935"/>
                  </a:lnTo>
                  <a:lnTo>
                    <a:pt x="66" y="935"/>
                  </a:lnTo>
                  <a:lnTo>
                    <a:pt x="66" y="934"/>
                  </a:lnTo>
                  <a:lnTo>
                    <a:pt x="69" y="934"/>
                  </a:lnTo>
                  <a:lnTo>
                    <a:pt x="68" y="933"/>
                  </a:lnTo>
                  <a:lnTo>
                    <a:pt x="56" y="934"/>
                  </a:lnTo>
                  <a:lnTo>
                    <a:pt x="56" y="928"/>
                  </a:lnTo>
                  <a:lnTo>
                    <a:pt x="57" y="927"/>
                  </a:lnTo>
                  <a:lnTo>
                    <a:pt x="58" y="927"/>
                  </a:lnTo>
                  <a:lnTo>
                    <a:pt x="68" y="926"/>
                  </a:lnTo>
                  <a:lnTo>
                    <a:pt x="69" y="926"/>
                  </a:lnTo>
                  <a:lnTo>
                    <a:pt x="70" y="927"/>
                  </a:lnTo>
                  <a:lnTo>
                    <a:pt x="70" y="930"/>
                  </a:lnTo>
                  <a:lnTo>
                    <a:pt x="71" y="930"/>
                  </a:lnTo>
                  <a:lnTo>
                    <a:pt x="71" y="924"/>
                  </a:lnTo>
                  <a:lnTo>
                    <a:pt x="73" y="926"/>
                  </a:lnTo>
                  <a:lnTo>
                    <a:pt x="73" y="927"/>
                  </a:lnTo>
                  <a:lnTo>
                    <a:pt x="74" y="924"/>
                  </a:lnTo>
                  <a:lnTo>
                    <a:pt x="76" y="922"/>
                  </a:lnTo>
                  <a:lnTo>
                    <a:pt x="77" y="922"/>
                  </a:lnTo>
                  <a:lnTo>
                    <a:pt x="83" y="928"/>
                  </a:lnTo>
                  <a:lnTo>
                    <a:pt x="83" y="929"/>
                  </a:lnTo>
                  <a:lnTo>
                    <a:pt x="85" y="929"/>
                  </a:lnTo>
                  <a:lnTo>
                    <a:pt x="83" y="928"/>
                  </a:lnTo>
                  <a:lnTo>
                    <a:pt x="83" y="927"/>
                  </a:lnTo>
                  <a:lnTo>
                    <a:pt x="85" y="924"/>
                  </a:lnTo>
                  <a:lnTo>
                    <a:pt x="83" y="924"/>
                  </a:lnTo>
                  <a:lnTo>
                    <a:pt x="82" y="923"/>
                  </a:lnTo>
                  <a:lnTo>
                    <a:pt x="85" y="922"/>
                  </a:lnTo>
                  <a:lnTo>
                    <a:pt x="92" y="922"/>
                  </a:lnTo>
                  <a:lnTo>
                    <a:pt x="91" y="923"/>
                  </a:lnTo>
                  <a:lnTo>
                    <a:pt x="91" y="924"/>
                  </a:lnTo>
                  <a:lnTo>
                    <a:pt x="89" y="924"/>
                  </a:lnTo>
                  <a:lnTo>
                    <a:pt x="89" y="927"/>
                  </a:lnTo>
                  <a:lnTo>
                    <a:pt x="92" y="926"/>
                  </a:lnTo>
                  <a:lnTo>
                    <a:pt x="92" y="929"/>
                  </a:lnTo>
                  <a:lnTo>
                    <a:pt x="93" y="932"/>
                  </a:lnTo>
                  <a:lnTo>
                    <a:pt x="93" y="933"/>
                  </a:lnTo>
                  <a:lnTo>
                    <a:pt x="94" y="930"/>
                  </a:lnTo>
                  <a:lnTo>
                    <a:pt x="94" y="929"/>
                  </a:lnTo>
                  <a:lnTo>
                    <a:pt x="93" y="928"/>
                  </a:lnTo>
                  <a:lnTo>
                    <a:pt x="93" y="927"/>
                  </a:lnTo>
                  <a:lnTo>
                    <a:pt x="94" y="924"/>
                  </a:lnTo>
                  <a:lnTo>
                    <a:pt x="96" y="926"/>
                  </a:lnTo>
                  <a:lnTo>
                    <a:pt x="100" y="927"/>
                  </a:lnTo>
                  <a:lnTo>
                    <a:pt x="102" y="928"/>
                  </a:lnTo>
                  <a:lnTo>
                    <a:pt x="105" y="932"/>
                  </a:lnTo>
                  <a:lnTo>
                    <a:pt x="108" y="932"/>
                  </a:lnTo>
                  <a:lnTo>
                    <a:pt x="110" y="933"/>
                  </a:lnTo>
                  <a:lnTo>
                    <a:pt x="110" y="936"/>
                  </a:lnTo>
                  <a:lnTo>
                    <a:pt x="111" y="935"/>
                  </a:lnTo>
                  <a:lnTo>
                    <a:pt x="111" y="933"/>
                  </a:lnTo>
                  <a:lnTo>
                    <a:pt x="112" y="932"/>
                  </a:lnTo>
                  <a:lnTo>
                    <a:pt x="120" y="929"/>
                  </a:lnTo>
                  <a:lnTo>
                    <a:pt x="119" y="928"/>
                  </a:lnTo>
                  <a:lnTo>
                    <a:pt x="108" y="930"/>
                  </a:lnTo>
                  <a:lnTo>
                    <a:pt x="105" y="927"/>
                  </a:lnTo>
                  <a:lnTo>
                    <a:pt x="105" y="924"/>
                  </a:lnTo>
                  <a:lnTo>
                    <a:pt x="106" y="923"/>
                  </a:lnTo>
                  <a:lnTo>
                    <a:pt x="107" y="923"/>
                  </a:lnTo>
                  <a:lnTo>
                    <a:pt x="108" y="926"/>
                  </a:lnTo>
                  <a:lnTo>
                    <a:pt x="108" y="928"/>
                  </a:lnTo>
                  <a:lnTo>
                    <a:pt x="110" y="928"/>
                  </a:lnTo>
                  <a:lnTo>
                    <a:pt x="110" y="926"/>
                  </a:lnTo>
                  <a:lnTo>
                    <a:pt x="108" y="922"/>
                  </a:lnTo>
                  <a:lnTo>
                    <a:pt x="108" y="921"/>
                  </a:lnTo>
                  <a:lnTo>
                    <a:pt x="110" y="921"/>
                  </a:lnTo>
                  <a:lnTo>
                    <a:pt x="111" y="920"/>
                  </a:lnTo>
                  <a:lnTo>
                    <a:pt x="113" y="918"/>
                  </a:lnTo>
                  <a:lnTo>
                    <a:pt x="123" y="915"/>
                  </a:lnTo>
                  <a:lnTo>
                    <a:pt x="131" y="915"/>
                  </a:lnTo>
                  <a:lnTo>
                    <a:pt x="135" y="918"/>
                  </a:lnTo>
                  <a:lnTo>
                    <a:pt x="136" y="918"/>
                  </a:lnTo>
                  <a:lnTo>
                    <a:pt x="135" y="916"/>
                  </a:lnTo>
                  <a:lnTo>
                    <a:pt x="132" y="915"/>
                  </a:lnTo>
                  <a:lnTo>
                    <a:pt x="131" y="913"/>
                  </a:lnTo>
                  <a:lnTo>
                    <a:pt x="132" y="913"/>
                  </a:lnTo>
                  <a:lnTo>
                    <a:pt x="132" y="910"/>
                  </a:lnTo>
                  <a:lnTo>
                    <a:pt x="131" y="910"/>
                  </a:lnTo>
                  <a:lnTo>
                    <a:pt x="130" y="911"/>
                  </a:lnTo>
                  <a:lnTo>
                    <a:pt x="125" y="913"/>
                  </a:lnTo>
                  <a:lnTo>
                    <a:pt x="124" y="914"/>
                  </a:lnTo>
                  <a:lnTo>
                    <a:pt x="114" y="915"/>
                  </a:lnTo>
                  <a:lnTo>
                    <a:pt x="110" y="918"/>
                  </a:lnTo>
                  <a:lnTo>
                    <a:pt x="108" y="920"/>
                  </a:lnTo>
                  <a:lnTo>
                    <a:pt x="104" y="920"/>
                  </a:lnTo>
                  <a:lnTo>
                    <a:pt x="102" y="918"/>
                  </a:lnTo>
                  <a:lnTo>
                    <a:pt x="104" y="917"/>
                  </a:lnTo>
                  <a:lnTo>
                    <a:pt x="105" y="917"/>
                  </a:lnTo>
                  <a:lnTo>
                    <a:pt x="102" y="915"/>
                  </a:lnTo>
                  <a:lnTo>
                    <a:pt x="105" y="915"/>
                  </a:lnTo>
                  <a:lnTo>
                    <a:pt x="107" y="911"/>
                  </a:lnTo>
                  <a:lnTo>
                    <a:pt x="116" y="909"/>
                  </a:lnTo>
                  <a:lnTo>
                    <a:pt x="113" y="909"/>
                  </a:lnTo>
                  <a:lnTo>
                    <a:pt x="106" y="911"/>
                  </a:lnTo>
                  <a:lnTo>
                    <a:pt x="105" y="913"/>
                  </a:lnTo>
                  <a:lnTo>
                    <a:pt x="102" y="913"/>
                  </a:lnTo>
                  <a:lnTo>
                    <a:pt x="100" y="914"/>
                  </a:lnTo>
                  <a:lnTo>
                    <a:pt x="86" y="916"/>
                  </a:lnTo>
                  <a:lnTo>
                    <a:pt x="85" y="915"/>
                  </a:lnTo>
                  <a:lnTo>
                    <a:pt x="86" y="915"/>
                  </a:lnTo>
                  <a:lnTo>
                    <a:pt x="87" y="914"/>
                  </a:lnTo>
                  <a:lnTo>
                    <a:pt x="87" y="913"/>
                  </a:lnTo>
                  <a:lnTo>
                    <a:pt x="86" y="913"/>
                  </a:lnTo>
                  <a:lnTo>
                    <a:pt x="86" y="909"/>
                  </a:lnTo>
                  <a:lnTo>
                    <a:pt x="88" y="908"/>
                  </a:lnTo>
                  <a:lnTo>
                    <a:pt x="89" y="907"/>
                  </a:lnTo>
                  <a:lnTo>
                    <a:pt x="96" y="908"/>
                  </a:lnTo>
                  <a:lnTo>
                    <a:pt x="95" y="907"/>
                  </a:lnTo>
                  <a:lnTo>
                    <a:pt x="94" y="904"/>
                  </a:lnTo>
                  <a:lnTo>
                    <a:pt x="93" y="904"/>
                  </a:lnTo>
                  <a:lnTo>
                    <a:pt x="88" y="905"/>
                  </a:lnTo>
                  <a:lnTo>
                    <a:pt x="87" y="904"/>
                  </a:lnTo>
                  <a:lnTo>
                    <a:pt x="86" y="901"/>
                  </a:lnTo>
                  <a:lnTo>
                    <a:pt x="85" y="899"/>
                  </a:lnTo>
                  <a:lnTo>
                    <a:pt x="85" y="898"/>
                  </a:lnTo>
                  <a:lnTo>
                    <a:pt x="82" y="898"/>
                  </a:lnTo>
                  <a:lnTo>
                    <a:pt x="82" y="897"/>
                  </a:lnTo>
                  <a:lnTo>
                    <a:pt x="83" y="897"/>
                  </a:lnTo>
                  <a:lnTo>
                    <a:pt x="91" y="892"/>
                  </a:lnTo>
                  <a:lnTo>
                    <a:pt x="92" y="891"/>
                  </a:lnTo>
                  <a:lnTo>
                    <a:pt x="94" y="890"/>
                  </a:lnTo>
                  <a:lnTo>
                    <a:pt x="98" y="889"/>
                  </a:lnTo>
                  <a:lnTo>
                    <a:pt x="99" y="889"/>
                  </a:lnTo>
                  <a:lnTo>
                    <a:pt x="100" y="890"/>
                  </a:lnTo>
                  <a:lnTo>
                    <a:pt x="101" y="892"/>
                  </a:lnTo>
                  <a:lnTo>
                    <a:pt x="102" y="892"/>
                  </a:lnTo>
                  <a:lnTo>
                    <a:pt x="105" y="895"/>
                  </a:lnTo>
                  <a:lnTo>
                    <a:pt x="105" y="896"/>
                  </a:lnTo>
                  <a:lnTo>
                    <a:pt x="106" y="898"/>
                  </a:lnTo>
                  <a:lnTo>
                    <a:pt x="108" y="898"/>
                  </a:lnTo>
                  <a:lnTo>
                    <a:pt x="111" y="897"/>
                  </a:lnTo>
                  <a:lnTo>
                    <a:pt x="113" y="893"/>
                  </a:lnTo>
                  <a:lnTo>
                    <a:pt x="116" y="892"/>
                  </a:lnTo>
                  <a:lnTo>
                    <a:pt x="120" y="892"/>
                  </a:lnTo>
                  <a:lnTo>
                    <a:pt x="120" y="893"/>
                  </a:lnTo>
                  <a:lnTo>
                    <a:pt x="119" y="895"/>
                  </a:lnTo>
                  <a:lnTo>
                    <a:pt x="119" y="896"/>
                  </a:lnTo>
                  <a:lnTo>
                    <a:pt x="116" y="898"/>
                  </a:lnTo>
                  <a:lnTo>
                    <a:pt x="117" y="898"/>
                  </a:lnTo>
                  <a:lnTo>
                    <a:pt x="123" y="895"/>
                  </a:lnTo>
                  <a:lnTo>
                    <a:pt x="125" y="895"/>
                  </a:lnTo>
                  <a:lnTo>
                    <a:pt x="127" y="892"/>
                  </a:lnTo>
                  <a:lnTo>
                    <a:pt x="129" y="892"/>
                  </a:lnTo>
                  <a:lnTo>
                    <a:pt x="132" y="895"/>
                  </a:lnTo>
                  <a:lnTo>
                    <a:pt x="133" y="896"/>
                  </a:lnTo>
                  <a:lnTo>
                    <a:pt x="133" y="897"/>
                  </a:lnTo>
                  <a:lnTo>
                    <a:pt x="135" y="898"/>
                  </a:lnTo>
                  <a:lnTo>
                    <a:pt x="135" y="903"/>
                  </a:lnTo>
                  <a:lnTo>
                    <a:pt x="136" y="905"/>
                  </a:lnTo>
                  <a:lnTo>
                    <a:pt x="136" y="908"/>
                  </a:lnTo>
                  <a:lnTo>
                    <a:pt x="137" y="909"/>
                  </a:lnTo>
                  <a:lnTo>
                    <a:pt x="142" y="910"/>
                  </a:lnTo>
                  <a:lnTo>
                    <a:pt x="143" y="911"/>
                  </a:lnTo>
                  <a:lnTo>
                    <a:pt x="147" y="916"/>
                  </a:lnTo>
                  <a:lnTo>
                    <a:pt x="150" y="916"/>
                  </a:lnTo>
                  <a:lnTo>
                    <a:pt x="153" y="918"/>
                  </a:lnTo>
                  <a:lnTo>
                    <a:pt x="153" y="922"/>
                  </a:lnTo>
                  <a:lnTo>
                    <a:pt x="154" y="920"/>
                  </a:lnTo>
                  <a:lnTo>
                    <a:pt x="154" y="917"/>
                  </a:lnTo>
                  <a:lnTo>
                    <a:pt x="149" y="913"/>
                  </a:lnTo>
                  <a:lnTo>
                    <a:pt x="145" y="911"/>
                  </a:lnTo>
                  <a:lnTo>
                    <a:pt x="143" y="909"/>
                  </a:lnTo>
                  <a:lnTo>
                    <a:pt x="139" y="908"/>
                  </a:lnTo>
                  <a:lnTo>
                    <a:pt x="137" y="904"/>
                  </a:lnTo>
                  <a:lnTo>
                    <a:pt x="137" y="897"/>
                  </a:lnTo>
                  <a:lnTo>
                    <a:pt x="136" y="897"/>
                  </a:lnTo>
                  <a:lnTo>
                    <a:pt x="136" y="895"/>
                  </a:lnTo>
                  <a:lnTo>
                    <a:pt x="135" y="893"/>
                  </a:lnTo>
                  <a:lnTo>
                    <a:pt x="133" y="893"/>
                  </a:lnTo>
                  <a:lnTo>
                    <a:pt x="129" y="889"/>
                  </a:lnTo>
                  <a:lnTo>
                    <a:pt x="129" y="887"/>
                  </a:lnTo>
                  <a:lnTo>
                    <a:pt x="127" y="887"/>
                  </a:lnTo>
                  <a:lnTo>
                    <a:pt x="127" y="889"/>
                  </a:lnTo>
                  <a:lnTo>
                    <a:pt x="129" y="890"/>
                  </a:lnTo>
                  <a:lnTo>
                    <a:pt x="124" y="890"/>
                  </a:lnTo>
                  <a:lnTo>
                    <a:pt x="125" y="889"/>
                  </a:lnTo>
                  <a:lnTo>
                    <a:pt x="126" y="886"/>
                  </a:lnTo>
                  <a:lnTo>
                    <a:pt x="127" y="886"/>
                  </a:lnTo>
                  <a:lnTo>
                    <a:pt x="129" y="883"/>
                  </a:lnTo>
                  <a:lnTo>
                    <a:pt x="130" y="881"/>
                  </a:lnTo>
                  <a:lnTo>
                    <a:pt x="130" y="880"/>
                  </a:lnTo>
                  <a:lnTo>
                    <a:pt x="133" y="880"/>
                  </a:lnTo>
                  <a:lnTo>
                    <a:pt x="135" y="881"/>
                  </a:lnTo>
                  <a:lnTo>
                    <a:pt x="135" y="885"/>
                  </a:lnTo>
                  <a:lnTo>
                    <a:pt x="136" y="886"/>
                  </a:lnTo>
                  <a:lnTo>
                    <a:pt x="136" y="887"/>
                  </a:lnTo>
                  <a:lnTo>
                    <a:pt x="137" y="889"/>
                  </a:lnTo>
                  <a:lnTo>
                    <a:pt x="139" y="890"/>
                  </a:lnTo>
                  <a:lnTo>
                    <a:pt x="142" y="892"/>
                  </a:lnTo>
                  <a:lnTo>
                    <a:pt x="143" y="892"/>
                  </a:lnTo>
                  <a:lnTo>
                    <a:pt x="144" y="893"/>
                  </a:lnTo>
                  <a:lnTo>
                    <a:pt x="144" y="895"/>
                  </a:lnTo>
                  <a:lnTo>
                    <a:pt x="143" y="896"/>
                  </a:lnTo>
                  <a:lnTo>
                    <a:pt x="143" y="897"/>
                  </a:lnTo>
                  <a:lnTo>
                    <a:pt x="144" y="898"/>
                  </a:lnTo>
                  <a:lnTo>
                    <a:pt x="143" y="901"/>
                  </a:lnTo>
                  <a:lnTo>
                    <a:pt x="143" y="902"/>
                  </a:lnTo>
                  <a:lnTo>
                    <a:pt x="144" y="901"/>
                  </a:lnTo>
                  <a:lnTo>
                    <a:pt x="147" y="901"/>
                  </a:lnTo>
                  <a:lnTo>
                    <a:pt x="150" y="904"/>
                  </a:lnTo>
                  <a:lnTo>
                    <a:pt x="153" y="904"/>
                  </a:lnTo>
                  <a:lnTo>
                    <a:pt x="151" y="902"/>
                  </a:lnTo>
                  <a:lnTo>
                    <a:pt x="149" y="901"/>
                  </a:lnTo>
                  <a:lnTo>
                    <a:pt x="148" y="899"/>
                  </a:lnTo>
                  <a:lnTo>
                    <a:pt x="149" y="899"/>
                  </a:lnTo>
                  <a:lnTo>
                    <a:pt x="154" y="902"/>
                  </a:lnTo>
                  <a:lnTo>
                    <a:pt x="155" y="902"/>
                  </a:lnTo>
                  <a:lnTo>
                    <a:pt x="155" y="903"/>
                  </a:lnTo>
                  <a:lnTo>
                    <a:pt x="156" y="904"/>
                  </a:lnTo>
                  <a:lnTo>
                    <a:pt x="156" y="905"/>
                  </a:lnTo>
                  <a:lnTo>
                    <a:pt x="157" y="905"/>
                  </a:lnTo>
                  <a:lnTo>
                    <a:pt x="158" y="907"/>
                  </a:lnTo>
                  <a:lnTo>
                    <a:pt x="160" y="907"/>
                  </a:lnTo>
                  <a:lnTo>
                    <a:pt x="156" y="902"/>
                  </a:lnTo>
                  <a:lnTo>
                    <a:pt x="155" y="901"/>
                  </a:lnTo>
                  <a:lnTo>
                    <a:pt x="151" y="901"/>
                  </a:lnTo>
                  <a:lnTo>
                    <a:pt x="150" y="899"/>
                  </a:lnTo>
                  <a:lnTo>
                    <a:pt x="148" y="895"/>
                  </a:lnTo>
                  <a:lnTo>
                    <a:pt x="147" y="895"/>
                  </a:lnTo>
                  <a:lnTo>
                    <a:pt x="156" y="893"/>
                  </a:lnTo>
                  <a:lnTo>
                    <a:pt x="157" y="892"/>
                  </a:lnTo>
                  <a:lnTo>
                    <a:pt x="156" y="891"/>
                  </a:lnTo>
                  <a:lnTo>
                    <a:pt x="154" y="892"/>
                  </a:lnTo>
                  <a:lnTo>
                    <a:pt x="153" y="892"/>
                  </a:lnTo>
                  <a:lnTo>
                    <a:pt x="151" y="891"/>
                  </a:lnTo>
                  <a:lnTo>
                    <a:pt x="154" y="889"/>
                  </a:lnTo>
                  <a:lnTo>
                    <a:pt x="153" y="889"/>
                  </a:lnTo>
                  <a:lnTo>
                    <a:pt x="150" y="891"/>
                  </a:lnTo>
                  <a:lnTo>
                    <a:pt x="147" y="892"/>
                  </a:lnTo>
                  <a:lnTo>
                    <a:pt x="145" y="892"/>
                  </a:lnTo>
                  <a:lnTo>
                    <a:pt x="143" y="890"/>
                  </a:lnTo>
                  <a:lnTo>
                    <a:pt x="148" y="890"/>
                  </a:lnTo>
                  <a:lnTo>
                    <a:pt x="149" y="889"/>
                  </a:lnTo>
                  <a:lnTo>
                    <a:pt x="148" y="887"/>
                  </a:lnTo>
                  <a:lnTo>
                    <a:pt x="142" y="889"/>
                  </a:lnTo>
                  <a:lnTo>
                    <a:pt x="141" y="889"/>
                  </a:lnTo>
                  <a:lnTo>
                    <a:pt x="139" y="887"/>
                  </a:lnTo>
                  <a:lnTo>
                    <a:pt x="139" y="884"/>
                  </a:lnTo>
                  <a:lnTo>
                    <a:pt x="138" y="884"/>
                  </a:lnTo>
                  <a:lnTo>
                    <a:pt x="138" y="881"/>
                  </a:lnTo>
                  <a:lnTo>
                    <a:pt x="137" y="880"/>
                  </a:lnTo>
                  <a:lnTo>
                    <a:pt x="137" y="878"/>
                  </a:lnTo>
                  <a:lnTo>
                    <a:pt x="138" y="878"/>
                  </a:lnTo>
                  <a:lnTo>
                    <a:pt x="142" y="881"/>
                  </a:lnTo>
                  <a:lnTo>
                    <a:pt x="142" y="883"/>
                  </a:lnTo>
                  <a:lnTo>
                    <a:pt x="143" y="883"/>
                  </a:lnTo>
                  <a:lnTo>
                    <a:pt x="143" y="880"/>
                  </a:lnTo>
                  <a:lnTo>
                    <a:pt x="142" y="879"/>
                  </a:lnTo>
                  <a:lnTo>
                    <a:pt x="142" y="878"/>
                  </a:lnTo>
                  <a:lnTo>
                    <a:pt x="139" y="877"/>
                  </a:lnTo>
                  <a:lnTo>
                    <a:pt x="153" y="878"/>
                  </a:lnTo>
                  <a:lnTo>
                    <a:pt x="156" y="880"/>
                  </a:lnTo>
                  <a:lnTo>
                    <a:pt x="156" y="878"/>
                  </a:lnTo>
                  <a:lnTo>
                    <a:pt x="154" y="877"/>
                  </a:lnTo>
                  <a:lnTo>
                    <a:pt x="154" y="874"/>
                  </a:lnTo>
                  <a:lnTo>
                    <a:pt x="155" y="873"/>
                  </a:lnTo>
                  <a:lnTo>
                    <a:pt x="166" y="871"/>
                  </a:lnTo>
                  <a:lnTo>
                    <a:pt x="157" y="871"/>
                  </a:lnTo>
                  <a:lnTo>
                    <a:pt x="156" y="872"/>
                  </a:lnTo>
                  <a:lnTo>
                    <a:pt x="155" y="871"/>
                  </a:lnTo>
                  <a:lnTo>
                    <a:pt x="155" y="868"/>
                  </a:lnTo>
                  <a:lnTo>
                    <a:pt x="154" y="867"/>
                  </a:lnTo>
                  <a:lnTo>
                    <a:pt x="151" y="864"/>
                  </a:lnTo>
                  <a:lnTo>
                    <a:pt x="150" y="864"/>
                  </a:lnTo>
                  <a:lnTo>
                    <a:pt x="150" y="862"/>
                  </a:lnTo>
                  <a:lnTo>
                    <a:pt x="151" y="861"/>
                  </a:lnTo>
                  <a:lnTo>
                    <a:pt x="160" y="860"/>
                  </a:lnTo>
                  <a:lnTo>
                    <a:pt x="162" y="858"/>
                  </a:lnTo>
                  <a:lnTo>
                    <a:pt x="160" y="858"/>
                  </a:lnTo>
                  <a:lnTo>
                    <a:pt x="158" y="856"/>
                  </a:lnTo>
                  <a:lnTo>
                    <a:pt x="158" y="855"/>
                  </a:lnTo>
                  <a:lnTo>
                    <a:pt x="156" y="854"/>
                  </a:lnTo>
                  <a:lnTo>
                    <a:pt x="157" y="852"/>
                  </a:lnTo>
                  <a:lnTo>
                    <a:pt x="157" y="850"/>
                  </a:lnTo>
                  <a:lnTo>
                    <a:pt x="160" y="852"/>
                  </a:lnTo>
                  <a:lnTo>
                    <a:pt x="161" y="852"/>
                  </a:lnTo>
                  <a:lnTo>
                    <a:pt x="163" y="849"/>
                  </a:lnTo>
                  <a:lnTo>
                    <a:pt x="167" y="853"/>
                  </a:lnTo>
                  <a:lnTo>
                    <a:pt x="167" y="850"/>
                  </a:lnTo>
                  <a:lnTo>
                    <a:pt x="170" y="850"/>
                  </a:lnTo>
                  <a:lnTo>
                    <a:pt x="172" y="852"/>
                  </a:lnTo>
                  <a:lnTo>
                    <a:pt x="172" y="850"/>
                  </a:lnTo>
                  <a:lnTo>
                    <a:pt x="170" y="850"/>
                  </a:lnTo>
                  <a:lnTo>
                    <a:pt x="170" y="848"/>
                  </a:lnTo>
                  <a:lnTo>
                    <a:pt x="172" y="847"/>
                  </a:lnTo>
                  <a:lnTo>
                    <a:pt x="173" y="847"/>
                  </a:lnTo>
                  <a:lnTo>
                    <a:pt x="174" y="848"/>
                  </a:lnTo>
                  <a:lnTo>
                    <a:pt x="176" y="852"/>
                  </a:lnTo>
                  <a:lnTo>
                    <a:pt x="178" y="853"/>
                  </a:lnTo>
                  <a:lnTo>
                    <a:pt x="178" y="856"/>
                  </a:lnTo>
                  <a:lnTo>
                    <a:pt x="176" y="858"/>
                  </a:lnTo>
                  <a:lnTo>
                    <a:pt x="175" y="860"/>
                  </a:lnTo>
                  <a:lnTo>
                    <a:pt x="175" y="862"/>
                  </a:lnTo>
                  <a:lnTo>
                    <a:pt x="176" y="860"/>
                  </a:lnTo>
                  <a:lnTo>
                    <a:pt x="178" y="859"/>
                  </a:lnTo>
                  <a:lnTo>
                    <a:pt x="180" y="859"/>
                  </a:lnTo>
                  <a:lnTo>
                    <a:pt x="182" y="856"/>
                  </a:lnTo>
                  <a:lnTo>
                    <a:pt x="189" y="854"/>
                  </a:lnTo>
                  <a:lnTo>
                    <a:pt x="192" y="853"/>
                  </a:lnTo>
                  <a:lnTo>
                    <a:pt x="191" y="853"/>
                  </a:lnTo>
                  <a:lnTo>
                    <a:pt x="188" y="854"/>
                  </a:lnTo>
                  <a:lnTo>
                    <a:pt x="182" y="854"/>
                  </a:lnTo>
                  <a:lnTo>
                    <a:pt x="181" y="855"/>
                  </a:lnTo>
                  <a:lnTo>
                    <a:pt x="180" y="855"/>
                  </a:lnTo>
                  <a:lnTo>
                    <a:pt x="180" y="854"/>
                  </a:lnTo>
                  <a:lnTo>
                    <a:pt x="179" y="853"/>
                  </a:lnTo>
                  <a:lnTo>
                    <a:pt x="179" y="850"/>
                  </a:lnTo>
                  <a:lnTo>
                    <a:pt x="180" y="849"/>
                  </a:lnTo>
                  <a:lnTo>
                    <a:pt x="192" y="846"/>
                  </a:lnTo>
                  <a:lnTo>
                    <a:pt x="192" y="844"/>
                  </a:lnTo>
                  <a:lnTo>
                    <a:pt x="191" y="846"/>
                  </a:lnTo>
                  <a:lnTo>
                    <a:pt x="187" y="847"/>
                  </a:lnTo>
                  <a:lnTo>
                    <a:pt x="186" y="847"/>
                  </a:lnTo>
                  <a:lnTo>
                    <a:pt x="185" y="846"/>
                  </a:lnTo>
                  <a:lnTo>
                    <a:pt x="184" y="846"/>
                  </a:lnTo>
                  <a:lnTo>
                    <a:pt x="184" y="843"/>
                  </a:lnTo>
                  <a:lnTo>
                    <a:pt x="182" y="843"/>
                  </a:lnTo>
                  <a:lnTo>
                    <a:pt x="182" y="844"/>
                  </a:lnTo>
                  <a:lnTo>
                    <a:pt x="184" y="846"/>
                  </a:lnTo>
                  <a:lnTo>
                    <a:pt x="184" y="847"/>
                  </a:lnTo>
                  <a:lnTo>
                    <a:pt x="179" y="847"/>
                  </a:lnTo>
                  <a:lnTo>
                    <a:pt x="178" y="844"/>
                  </a:lnTo>
                  <a:lnTo>
                    <a:pt x="179" y="842"/>
                  </a:lnTo>
                  <a:lnTo>
                    <a:pt x="182" y="842"/>
                  </a:lnTo>
                  <a:lnTo>
                    <a:pt x="181" y="840"/>
                  </a:lnTo>
                  <a:lnTo>
                    <a:pt x="182" y="840"/>
                  </a:lnTo>
                  <a:lnTo>
                    <a:pt x="184" y="841"/>
                  </a:lnTo>
                  <a:lnTo>
                    <a:pt x="185" y="841"/>
                  </a:lnTo>
                  <a:lnTo>
                    <a:pt x="185" y="840"/>
                  </a:lnTo>
                  <a:lnTo>
                    <a:pt x="187" y="837"/>
                  </a:lnTo>
                  <a:lnTo>
                    <a:pt x="188" y="837"/>
                  </a:lnTo>
                  <a:lnTo>
                    <a:pt x="187" y="838"/>
                  </a:lnTo>
                  <a:lnTo>
                    <a:pt x="187" y="841"/>
                  </a:lnTo>
                  <a:lnTo>
                    <a:pt x="188" y="841"/>
                  </a:lnTo>
                  <a:lnTo>
                    <a:pt x="188" y="842"/>
                  </a:lnTo>
                  <a:lnTo>
                    <a:pt x="189" y="841"/>
                  </a:lnTo>
                  <a:lnTo>
                    <a:pt x="191" y="837"/>
                  </a:lnTo>
                  <a:lnTo>
                    <a:pt x="192" y="836"/>
                  </a:lnTo>
                  <a:lnTo>
                    <a:pt x="193" y="836"/>
                  </a:lnTo>
                  <a:lnTo>
                    <a:pt x="195" y="838"/>
                  </a:lnTo>
                  <a:lnTo>
                    <a:pt x="195" y="837"/>
                  </a:lnTo>
                  <a:lnTo>
                    <a:pt x="194" y="836"/>
                  </a:lnTo>
                  <a:lnTo>
                    <a:pt x="194" y="835"/>
                  </a:lnTo>
                  <a:lnTo>
                    <a:pt x="192" y="835"/>
                  </a:lnTo>
                  <a:lnTo>
                    <a:pt x="194" y="832"/>
                  </a:lnTo>
                  <a:lnTo>
                    <a:pt x="198" y="832"/>
                  </a:lnTo>
                  <a:lnTo>
                    <a:pt x="200" y="830"/>
                  </a:lnTo>
                  <a:lnTo>
                    <a:pt x="203" y="830"/>
                  </a:lnTo>
                  <a:lnTo>
                    <a:pt x="203" y="834"/>
                  </a:lnTo>
                  <a:lnTo>
                    <a:pt x="205" y="836"/>
                  </a:lnTo>
                  <a:lnTo>
                    <a:pt x="205" y="837"/>
                  </a:lnTo>
                  <a:lnTo>
                    <a:pt x="206" y="838"/>
                  </a:lnTo>
                  <a:lnTo>
                    <a:pt x="206" y="842"/>
                  </a:lnTo>
                  <a:lnTo>
                    <a:pt x="212" y="848"/>
                  </a:lnTo>
                  <a:lnTo>
                    <a:pt x="212" y="850"/>
                  </a:lnTo>
                  <a:lnTo>
                    <a:pt x="211" y="853"/>
                  </a:lnTo>
                  <a:lnTo>
                    <a:pt x="211" y="855"/>
                  </a:lnTo>
                  <a:lnTo>
                    <a:pt x="207" y="860"/>
                  </a:lnTo>
                  <a:lnTo>
                    <a:pt x="210" y="859"/>
                  </a:lnTo>
                  <a:lnTo>
                    <a:pt x="211" y="859"/>
                  </a:lnTo>
                  <a:lnTo>
                    <a:pt x="213" y="856"/>
                  </a:lnTo>
                  <a:lnTo>
                    <a:pt x="214" y="856"/>
                  </a:lnTo>
                  <a:lnTo>
                    <a:pt x="218" y="860"/>
                  </a:lnTo>
                  <a:lnTo>
                    <a:pt x="224" y="860"/>
                  </a:lnTo>
                  <a:lnTo>
                    <a:pt x="224" y="861"/>
                  </a:lnTo>
                  <a:lnTo>
                    <a:pt x="225" y="865"/>
                  </a:lnTo>
                  <a:lnTo>
                    <a:pt x="225" y="859"/>
                  </a:lnTo>
                  <a:lnTo>
                    <a:pt x="224" y="858"/>
                  </a:lnTo>
                  <a:lnTo>
                    <a:pt x="217" y="856"/>
                  </a:lnTo>
                  <a:lnTo>
                    <a:pt x="216" y="855"/>
                  </a:lnTo>
                  <a:lnTo>
                    <a:pt x="216" y="852"/>
                  </a:lnTo>
                  <a:lnTo>
                    <a:pt x="217" y="852"/>
                  </a:lnTo>
                  <a:lnTo>
                    <a:pt x="217" y="849"/>
                  </a:lnTo>
                  <a:lnTo>
                    <a:pt x="218" y="849"/>
                  </a:lnTo>
                  <a:lnTo>
                    <a:pt x="220" y="848"/>
                  </a:lnTo>
                  <a:lnTo>
                    <a:pt x="226" y="847"/>
                  </a:lnTo>
                  <a:lnTo>
                    <a:pt x="228" y="847"/>
                  </a:lnTo>
                  <a:lnTo>
                    <a:pt x="230" y="849"/>
                  </a:lnTo>
                  <a:lnTo>
                    <a:pt x="232" y="847"/>
                  </a:lnTo>
                  <a:lnTo>
                    <a:pt x="235" y="848"/>
                  </a:lnTo>
                  <a:lnTo>
                    <a:pt x="236" y="848"/>
                  </a:lnTo>
                  <a:lnTo>
                    <a:pt x="238" y="850"/>
                  </a:lnTo>
                  <a:lnTo>
                    <a:pt x="243" y="848"/>
                  </a:lnTo>
                  <a:lnTo>
                    <a:pt x="245" y="849"/>
                  </a:lnTo>
                  <a:lnTo>
                    <a:pt x="248" y="852"/>
                  </a:lnTo>
                  <a:lnTo>
                    <a:pt x="248" y="850"/>
                  </a:lnTo>
                  <a:lnTo>
                    <a:pt x="249" y="849"/>
                  </a:lnTo>
                  <a:lnTo>
                    <a:pt x="249" y="848"/>
                  </a:lnTo>
                  <a:lnTo>
                    <a:pt x="253" y="848"/>
                  </a:lnTo>
                  <a:lnTo>
                    <a:pt x="253" y="847"/>
                  </a:lnTo>
                  <a:lnTo>
                    <a:pt x="249" y="846"/>
                  </a:lnTo>
                  <a:lnTo>
                    <a:pt x="247" y="844"/>
                  </a:lnTo>
                  <a:lnTo>
                    <a:pt x="245" y="842"/>
                  </a:lnTo>
                  <a:lnTo>
                    <a:pt x="247" y="840"/>
                  </a:lnTo>
                  <a:lnTo>
                    <a:pt x="249" y="838"/>
                  </a:lnTo>
                  <a:lnTo>
                    <a:pt x="253" y="838"/>
                  </a:lnTo>
                  <a:lnTo>
                    <a:pt x="253" y="837"/>
                  </a:lnTo>
                  <a:lnTo>
                    <a:pt x="250" y="837"/>
                  </a:lnTo>
                  <a:lnTo>
                    <a:pt x="250" y="836"/>
                  </a:lnTo>
                  <a:lnTo>
                    <a:pt x="251" y="835"/>
                  </a:lnTo>
                  <a:lnTo>
                    <a:pt x="253" y="835"/>
                  </a:lnTo>
                  <a:lnTo>
                    <a:pt x="253" y="834"/>
                  </a:lnTo>
                  <a:lnTo>
                    <a:pt x="250" y="834"/>
                  </a:lnTo>
                  <a:lnTo>
                    <a:pt x="248" y="835"/>
                  </a:lnTo>
                  <a:lnTo>
                    <a:pt x="247" y="836"/>
                  </a:lnTo>
                  <a:lnTo>
                    <a:pt x="244" y="836"/>
                  </a:lnTo>
                  <a:lnTo>
                    <a:pt x="244" y="837"/>
                  </a:lnTo>
                  <a:lnTo>
                    <a:pt x="243" y="837"/>
                  </a:lnTo>
                  <a:lnTo>
                    <a:pt x="243" y="835"/>
                  </a:lnTo>
                  <a:lnTo>
                    <a:pt x="244" y="835"/>
                  </a:lnTo>
                  <a:lnTo>
                    <a:pt x="244" y="832"/>
                  </a:lnTo>
                  <a:lnTo>
                    <a:pt x="247" y="830"/>
                  </a:lnTo>
                  <a:lnTo>
                    <a:pt x="249" y="830"/>
                  </a:lnTo>
                  <a:lnTo>
                    <a:pt x="250" y="829"/>
                  </a:lnTo>
                  <a:lnTo>
                    <a:pt x="253" y="825"/>
                  </a:lnTo>
                  <a:lnTo>
                    <a:pt x="257" y="823"/>
                  </a:lnTo>
                  <a:lnTo>
                    <a:pt x="259" y="823"/>
                  </a:lnTo>
                  <a:lnTo>
                    <a:pt x="260" y="824"/>
                  </a:lnTo>
                  <a:lnTo>
                    <a:pt x="261" y="824"/>
                  </a:lnTo>
                  <a:lnTo>
                    <a:pt x="262" y="823"/>
                  </a:lnTo>
                  <a:lnTo>
                    <a:pt x="263" y="823"/>
                  </a:lnTo>
                  <a:lnTo>
                    <a:pt x="266" y="818"/>
                  </a:lnTo>
                  <a:lnTo>
                    <a:pt x="267" y="817"/>
                  </a:lnTo>
                  <a:lnTo>
                    <a:pt x="271" y="816"/>
                  </a:lnTo>
                  <a:lnTo>
                    <a:pt x="275" y="816"/>
                  </a:lnTo>
                  <a:lnTo>
                    <a:pt x="275" y="813"/>
                  </a:lnTo>
                  <a:lnTo>
                    <a:pt x="274" y="812"/>
                  </a:lnTo>
                  <a:lnTo>
                    <a:pt x="274" y="810"/>
                  </a:lnTo>
                  <a:lnTo>
                    <a:pt x="269" y="810"/>
                  </a:lnTo>
                  <a:lnTo>
                    <a:pt x="269" y="809"/>
                  </a:lnTo>
                  <a:lnTo>
                    <a:pt x="267" y="809"/>
                  </a:lnTo>
                  <a:lnTo>
                    <a:pt x="261" y="810"/>
                  </a:lnTo>
                  <a:lnTo>
                    <a:pt x="260" y="810"/>
                  </a:lnTo>
                  <a:lnTo>
                    <a:pt x="260" y="806"/>
                  </a:lnTo>
                  <a:lnTo>
                    <a:pt x="261" y="806"/>
                  </a:lnTo>
                  <a:lnTo>
                    <a:pt x="263" y="804"/>
                  </a:lnTo>
                  <a:lnTo>
                    <a:pt x="265" y="804"/>
                  </a:lnTo>
                  <a:lnTo>
                    <a:pt x="265" y="801"/>
                  </a:lnTo>
                  <a:lnTo>
                    <a:pt x="266" y="800"/>
                  </a:lnTo>
                  <a:lnTo>
                    <a:pt x="268" y="799"/>
                  </a:lnTo>
                  <a:lnTo>
                    <a:pt x="274" y="797"/>
                  </a:lnTo>
                  <a:lnTo>
                    <a:pt x="275" y="797"/>
                  </a:lnTo>
                  <a:lnTo>
                    <a:pt x="276" y="795"/>
                  </a:lnTo>
                  <a:lnTo>
                    <a:pt x="276" y="793"/>
                  </a:lnTo>
                  <a:lnTo>
                    <a:pt x="275" y="794"/>
                  </a:lnTo>
                  <a:lnTo>
                    <a:pt x="274" y="793"/>
                  </a:lnTo>
                  <a:lnTo>
                    <a:pt x="272" y="793"/>
                  </a:lnTo>
                  <a:lnTo>
                    <a:pt x="267" y="792"/>
                  </a:lnTo>
                  <a:lnTo>
                    <a:pt x="266" y="791"/>
                  </a:lnTo>
                  <a:lnTo>
                    <a:pt x="266" y="789"/>
                  </a:lnTo>
                  <a:lnTo>
                    <a:pt x="267" y="789"/>
                  </a:lnTo>
                  <a:lnTo>
                    <a:pt x="272" y="785"/>
                  </a:lnTo>
                  <a:lnTo>
                    <a:pt x="268" y="785"/>
                  </a:lnTo>
                  <a:lnTo>
                    <a:pt x="266" y="788"/>
                  </a:lnTo>
                  <a:lnTo>
                    <a:pt x="265" y="793"/>
                  </a:lnTo>
                  <a:lnTo>
                    <a:pt x="263" y="795"/>
                  </a:lnTo>
                  <a:lnTo>
                    <a:pt x="255" y="800"/>
                  </a:lnTo>
                  <a:lnTo>
                    <a:pt x="253" y="803"/>
                  </a:lnTo>
                  <a:lnTo>
                    <a:pt x="251" y="805"/>
                  </a:lnTo>
                  <a:lnTo>
                    <a:pt x="250" y="805"/>
                  </a:lnTo>
                  <a:lnTo>
                    <a:pt x="249" y="806"/>
                  </a:lnTo>
                  <a:lnTo>
                    <a:pt x="244" y="809"/>
                  </a:lnTo>
                  <a:lnTo>
                    <a:pt x="243" y="809"/>
                  </a:lnTo>
                  <a:lnTo>
                    <a:pt x="241" y="811"/>
                  </a:lnTo>
                  <a:lnTo>
                    <a:pt x="240" y="813"/>
                  </a:lnTo>
                  <a:lnTo>
                    <a:pt x="241" y="813"/>
                  </a:lnTo>
                  <a:lnTo>
                    <a:pt x="243" y="811"/>
                  </a:lnTo>
                  <a:lnTo>
                    <a:pt x="247" y="810"/>
                  </a:lnTo>
                  <a:lnTo>
                    <a:pt x="251" y="806"/>
                  </a:lnTo>
                  <a:lnTo>
                    <a:pt x="254" y="805"/>
                  </a:lnTo>
                  <a:lnTo>
                    <a:pt x="256" y="807"/>
                  </a:lnTo>
                  <a:lnTo>
                    <a:pt x="257" y="807"/>
                  </a:lnTo>
                  <a:lnTo>
                    <a:pt x="259" y="809"/>
                  </a:lnTo>
                  <a:lnTo>
                    <a:pt x="259" y="812"/>
                  </a:lnTo>
                  <a:lnTo>
                    <a:pt x="257" y="812"/>
                  </a:lnTo>
                  <a:lnTo>
                    <a:pt x="256" y="813"/>
                  </a:lnTo>
                  <a:lnTo>
                    <a:pt x="256" y="815"/>
                  </a:lnTo>
                  <a:lnTo>
                    <a:pt x="255" y="816"/>
                  </a:lnTo>
                  <a:lnTo>
                    <a:pt x="255" y="818"/>
                  </a:lnTo>
                  <a:lnTo>
                    <a:pt x="254" y="819"/>
                  </a:lnTo>
                  <a:lnTo>
                    <a:pt x="253" y="822"/>
                  </a:lnTo>
                  <a:lnTo>
                    <a:pt x="248" y="823"/>
                  </a:lnTo>
                  <a:lnTo>
                    <a:pt x="245" y="825"/>
                  </a:lnTo>
                  <a:lnTo>
                    <a:pt x="242" y="825"/>
                  </a:lnTo>
                  <a:lnTo>
                    <a:pt x="241" y="827"/>
                  </a:lnTo>
                  <a:lnTo>
                    <a:pt x="241" y="828"/>
                  </a:lnTo>
                  <a:lnTo>
                    <a:pt x="240" y="830"/>
                  </a:lnTo>
                  <a:lnTo>
                    <a:pt x="238" y="831"/>
                  </a:lnTo>
                  <a:lnTo>
                    <a:pt x="236" y="832"/>
                  </a:lnTo>
                  <a:lnTo>
                    <a:pt x="231" y="836"/>
                  </a:lnTo>
                  <a:lnTo>
                    <a:pt x="229" y="836"/>
                  </a:lnTo>
                  <a:lnTo>
                    <a:pt x="228" y="837"/>
                  </a:lnTo>
                  <a:lnTo>
                    <a:pt x="224" y="837"/>
                  </a:lnTo>
                  <a:lnTo>
                    <a:pt x="223" y="840"/>
                  </a:lnTo>
                  <a:lnTo>
                    <a:pt x="220" y="840"/>
                  </a:lnTo>
                  <a:lnTo>
                    <a:pt x="217" y="842"/>
                  </a:lnTo>
                  <a:lnTo>
                    <a:pt x="216" y="843"/>
                  </a:lnTo>
                  <a:lnTo>
                    <a:pt x="212" y="843"/>
                  </a:lnTo>
                  <a:lnTo>
                    <a:pt x="211" y="842"/>
                  </a:lnTo>
                  <a:lnTo>
                    <a:pt x="210" y="840"/>
                  </a:lnTo>
                  <a:lnTo>
                    <a:pt x="210" y="838"/>
                  </a:lnTo>
                  <a:lnTo>
                    <a:pt x="209" y="836"/>
                  </a:lnTo>
                  <a:lnTo>
                    <a:pt x="210" y="835"/>
                  </a:lnTo>
                  <a:lnTo>
                    <a:pt x="209" y="834"/>
                  </a:lnTo>
                  <a:lnTo>
                    <a:pt x="207" y="834"/>
                  </a:lnTo>
                  <a:lnTo>
                    <a:pt x="206" y="832"/>
                  </a:lnTo>
                  <a:lnTo>
                    <a:pt x="206" y="830"/>
                  </a:lnTo>
                  <a:lnTo>
                    <a:pt x="207" y="830"/>
                  </a:lnTo>
                  <a:lnTo>
                    <a:pt x="206" y="829"/>
                  </a:lnTo>
                  <a:lnTo>
                    <a:pt x="206" y="828"/>
                  </a:lnTo>
                  <a:lnTo>
                    <a:pt x="205" y="828"/>
                  </a:lnTo>
                  <a:lnTo>
                    <a:pt x="205" y="825"/>
                  </a:lnTo>
                  <a:lnTo>
                    <a:pt x="207" y="824"/>
                  </a:lnTo>
                  <a:lnTo>
                    <a:pt x="211" y="823"/>
                  </a:lnTo>
                  <a:lnTo>
                    <a:pt x="216" y="821"/>
                  </a:lnTo>
                  <a:lnTo>
                    <a:pt x="218" y="818"/>
                  </a:lnTo>
                  <a:lnTo>
                    <a:pt x="217" y="818"/>
                  </a:lnTo>
                  <a:lnTo>
                    <a:pt x="216" y="819"/>
                  </a:lnTo>
                  <a:lnTo>
                    <a:pt x="214" y="819"/>
                  </a:lnTo>
                  <a:lnTo>
                    <a:pt x="214" y="817"/>
                  </a:lnTo>
                  <a:lnTo>
                    <a:pt x="216" y="817"/>
                  </a:lnTo>
                  <a:lnTo>
                    <a:pt x="214" y="816"/>
                  </a:lnTo>
                  <a:lnTo>
                    <a:pt x="214" y="817"/>
                  </a:lnTo>
                  <a:lnTo>
                    <a:pt x="213" y="817"/>
                  </a:lnTo>
                  <a:lnTo>
                    <a:pt x="213" y="818"/>
                  </a:lnTo>
                  <a:lnTo>
                    <a:pt x="212" y="818"/>
                  </a:lnTo>
                  <a:lnTo>
                    <a:pt x="210" y="819"/>
                  </a:lnTo>
                  <a:lnTo>
                    <a:pt x="207" y="822"/>
                  </a:lnTo>
                  <a:lnTo>
                    <a:pt x="205" y="822"/>
                  </a:lnTo>
                  <a:lnTo>
                    <a:pt x="203" y="824"/>
                  </a:lnTo>
                  <a:lnTo>
                    <a:pt x="199" y="824"/>
                  </a:lnTo>
                  <a:lnTo>
                    <a:pt x="199" y="825"/>
                  </a:lnTo>
                  <a:lnTo>
                    <a:pt x="198" y="825"/>
                  </a:lnTo>
                  <a:lnTo>
                    <a:pt x="197" y="827"/>
                  </a:lnTo>
                  <a:lnTo>
                    <a:pt x="194" y="828"/>
                  </a:lnTo>
                  <a:lnTo>
                    <a:pt x="195" y="825"/>
                  </a:lnTo>
                  <a:lnTo>
                    <a:pt x="195" y="822"/>
                  </a:lnTo>
                  <a:lnTo>
                    <a:pt x="203" y="818"/>
                  </a:lnTo>
                  <a:lnTo>
                    <a:pt x="205" y="818"/>
                  </a:lnTo>
                  <a:lnTo>
                    <a:pt x="205" y="817"/>
                  </a:lnTo>
                  <a:lnTo>
                    <a:pt x="197" y="818"/>
                  </a:lnTo>
                  <a:lnTo>
                    <a:pt x="194" y="817"/>
                  </a:lnTo>
                  <a:lnTo>
                    <a:pt x="200" y="813"/>
                  </a:lnTo>
                  <a:lnTo>
                    <a:pt x="206" y="809"/>
                  </a:lnTo>
                  <a:lnTo>
                    <a:pt x="209" y="809"/>
                  </a:lnTo>
                  <a:lnTo>
                    <a:pt x="206" y="807"/>
                  </a:lnTo>
                  <a:lnTo>
                    <a:pt x="205" y="806"/>
                  </a:lnTo>
                  <a:lnTo>
                    <a:pt x="210" y="805"/>
                  </a:lnTo>
                  <a:lnTo>
                    <a:pt x="210" y="806"/>
                  </a:lnTo>
                  <a:lnTo>
                    <a:pt x="211" y="806"/>
                  </a:lnTo>
                  <a:lnTo>
                    <a:pt x="212" y="805"/>
                  </a:lnTo>
                  <a:lnTo>
                    <a:pt x="217" y="804"/>
                  </a:lnTo>
                  <a:lnTo>
                    <a:pt x="219" y="801"/>
                  </a:lnTo>
                  <a:lnTo>
                    <a:pt x="222" y="801"/>
                  </a:lnTo>
                  <a:lnTo>
                    <a:pt x="222" y="800"/>
                  </a:lnTo>
                  <a:lnTo>
                    <a:pt x="220" y="799"/>
                  </a:lnTo>
                  <a:lnTo>
                    <a:pt x="219" y="799"/>
                  </a:lnTo>
                  <a:lnTo>
                    <a:pt x="217" y="801"/>
                  </a:lnTo>
                  <a:lnTo>
                    <a:pt x="216" y="801"/>
                  </a:lnTo>
                  <a:lnTo>
                    <a:pt x="213" y="803"/>
                  </a:lnTo>
                  <a:lnTo>
                    <a:pt x="212" y="804"/>
                  </a:lnTo>
                  <a:lnTo>
                    <a:pt x="211" y="804"/>
                  </a:lnTo>
                  <a:lnTo>
                    <a:pt x="212" y="801"/>
                  </a:lnTo>
                  <a:lnTo>
                    <a:pt x="218" y="799"/>
                  </a:lnTo>
                  <a:lnTo>
                    <a:pt x="219" y="797"/>
                  </a:lnTo>
                  <a:lnTo>
                    <a:pt x="218" y="797"/>
                  </a:lnTo>
                  <a:lnTo>
                    <a:pt x="218" y="798"/>
                  </a:lnTo>
                  <a:lnTo>
                    <a:pt x="217" y="798"/>
                  </a:lnTo>
                  <a:lnTo>
                    <a:pt x="217" y="797"/>
                  </a:lnTo>
                  <a:lnTo>
                    <a:pt x="213" y="799"/>
                  </a:lnTo>
                  <a:lnTo>
                    <a:pt x="211" y="799"/>
                  </a:lnTo>
                  <a:lnTo>
                    <a:pt x="211" y="798"/>
                  </a:lnTo>
                  <a:lnTo>
                    <a:pt x="212" y="797"/>
                  </a:lnTo>
                  <a:lnTo>
                    <a:pt x="213" y="797"/>
                  </a:lnTo>
                  <a:lnTo>
                    <a:pt x="213" y="792"/>
                  </a:lnTo>
                  <a:lnTo>
                    <a:pt x="214" y="792"/>
                  </a:lnTo>
                  <a:lnTo>
                    <a:pt x="214" y="787"/>
                  </a:lnTo>
                  <a:lnTo>
                    <a:pt x="213" y="786"/>
                  </a:lnTo>
                  <a:lnTo>
                    <a:pt x="213" y="785"/>
                  </a:lnTo>
                  <a:lnTo>
                    <a:pt x="214" y="784"/>
                  </a:lnTo>
                  <a:lnTo>
                    <a:pt x="218" y="787"/>
                  </a:lnTo>
                  <a:lnTo>
                    <a:pt x="222" y="786"/>
                  </a:lnTo>
                  <a:lnTo>
                    <a:pt x="223" y="785"/>
                  </a:lnTo>
                  <a:lnTo>
                    <a:pt x="223" y="784"/>
                  </a:lnTo>
                  <a:lnTo>
                    <a:pt x="222" y="785"/>
                  </a:lnTo>
                  <a:lnTo>
                    <a:pt x="218" y="785"/>
                  </a:lnTo>
                  <a:lnTo>
                    <a:pt x="219" y="784"/>
                  </a:lnTo>
                  <a:lnTo>
                    <a:pt x="219" y="782"/>
                  </a:lnTo>
                  <a:lnTo>
                    <a:pt x="220" y="782"/>
                  </a:lnTo>
                  <a:lnTo>
                    <a:pt x="220" y="780"/>
                  </a:lnTo>
                  <a:lnTo>
                    <a:pt x="222" y="780"/>
                  </a:lnTo>
                  <a:lnTo>
                    <a:pt x="222" y="776"/>
                  </a:lnTo>
                  <a:lnTo>
                    <a:pt x="224" y="776"/>
                  </a:lnTo>
                  <a:lnTo>
                    <a:pt x="224" y="775"/>
                  </a:lnTo>
                  <a:lnTo>
                    <a:pt x="228" y="775"/>
                  </a:lnTo>
                  <a:lnTo>
                    <a:pt x="229" y="778"/>
                  </a:lnTo>
                  <a:lnTo>
                    <a:pt x="230" y="778"/>
                  </a:lnTo>
                  <a:lnTo>
                    <a:pt x="229" y="775"/>
                  </a:lnTo>
                  <a:lnTo>
                    <a:pt x="228" y="774"/>
                  </a:lnTo>
                  <a:lnTo>
                    <a:pt x="224" y="773"/>
                  </a:lnTo>
                  <a:lnTo>
                    <a:pt x="225" y="772"/>
                  </a:lnTo>
                  <a:lnTo>
                    <a:pt x="228" y="770"/>
                  </a:lnTo>
                  <a:lnTo>
                    <a:pt x="228" y="769"/>
                  </a:lnTo>
                  <a:lnTo>
                    <a:pt x="229" y="769"/>
                  </a:lnTo>
                  <a:lnTo>
                    <a:pt x="231" y="770"/>
                  </a:lnTo>
                  <a:lnTo>
                    <a:pt x="230" y="769"/>
                  </a:lnTo>
                  <a:lnTo>
                    <a:pt x="230" y="768"/>
                  </a:lnTo>
                  <a:lnTo>
                    <a:pt x="232" y="768"/>
                  </a:lnTo>
                  <a:lnTo>
                    <a:pt x="234" y="767"/>
                  </a:lnTo>
                  <a:lnTo>
                    <a:pt x="232" y="766"/>
                  </a:lnTo>
                  <a:lnTo>
                    <a:pt x="232" y="762"/>
                  </a:lnTo>
                  <a:lnTo>
                    <a:pt x="234" y="762"/>
                  </a:lnTo>
                  <a:lnTo>
                    <a:pt x="234" y="761"/>
                  </a:lnTo>
                  <a:lnTo>
                    <a:pt x="235" y="761"/>
                  </a:lnTo>
                  <a:lnTo>
                    <a:pt x="237" y="763"/>
                  </a:lnTo>
                  <a:lnTo>
                    <a:pt x="237" y="761"/>
                  </a:lnTo>
                  <a:lnTo>
                    <a:pt x="235" y="761"/>
                  </a:lnTo>
                  <a:lnTo>
                    <a:pt x="235" y="760"/>
                  </a:lnTo>
                  <a:lnTo>
                    <a:pt x="237" y="760"/>
                  </a:lnTo>
                  <a:lnTo>
                    <a:pt x="240" y="762"/>
                  </a:lnTo>
                  <a:lnTo>
                    <a:pt x="241" y="761"/>
                  </a:lnTo>
                  <a:lnTo>
                    <a:pt x="240" y="761"/>
                  </a:lnTo>
                  <a:lnTo>
                    <a:pt x="240" y="758"/>
                  </a:lnTo>
                  <a:lnTo>
                    <a:pt x="238" y="758"/>
                  </a:lnTo>
                  <a:lnTo>
                    <a:pt x="238" y="757"/>
                  </a:lnTo>
                  <a:lnTo>
                    <a:pt x="237" y="757"/>
                  </a:lnTo>
                  <a:lnTo>
                    <a:pt x="237" y="756"/>
                  </a:lnTo>
                  <a:lnTo>
                    <a:pt x="234" y="756"/>
                  </a:lnTo>
                  <a:lnTo>
                    <a:pt x="234" y="755"/>
                  </a:lnTo>
                  <a:lnTo>
                    <a:pt x="235" y="755"/>
                  </a:lnTo>
                  <a:lnTo>
                    <a:pt x="235" y="754"/>
                  </a:lnTo>
                  <a:lnTo>
                    <a:pt x="237" y="754"/>
                  </a:lnTo>
                  <a:lnTo>
                    <a:pt x="241" y="757"/>
                  </a:lnTo>
                  <a:lnTo>
                    <a:pt x="241" y="756"/>
                  </a:lnTo>
                  <a:lnTo>
                    <a:pt x="240" y="755"/>
                  </a:lnTo>
                  <a:lnTo>
                    <a:pt x="240" y="754"/>
                  </a:lnTo>
                  <a:lnTo>
                    <a:pt x="238" y="755"/>
                  </a:lnTo>
                  <a:lnTo>
                    <a:pt x="238" y="752"/>
                  </a:lnTo>
                  <a:lnTo>
                    <a:pt x="240" y="752"/>
                  </a:lnTo>
                  <a:lnTo>
                    <a:pt x="240" y="751"/>
                  </a:lnTo>
                  <a:lnTo>
                    <a:pt x="241" y="752"/>
                  </a:lnTo>
                  <a:lnTo>
                    <a:pt x="241" y="754"/>
                  </a:lnTo>
                  <a:lnTo>
                    <a:pt x="242" y="755"/>
                  </a:lnTo>
                  <a:lnTo>
                    <a:pt x="244" y="755"/>
                  </a:lnTo>
                  <a:lnTo>
                    <a:pt x="245" y="756"/>
                  </a:lnTo>
                  <a:lnTo>
                    <a:pt x="245" y="757"/>
                  </a:lnTo>
                  <a:lnTo>
                    <a:pt x="248" y="760"/>
                  </a:lnTo>
                  <a:lnTo>
                    <a:pt x="249" y="760"/>
                  </a:lnTo>
                  <a:lnTo>
                    <a:pt x="250" y="758"/>
                  </a:lnTo>
                  <a:lnTo>
                    <a:pt x="248" y="757"/>
                  </a:lnTo>
                  <a:lnTo>
                    <a:pt x="247" y="756"/>
                  </a:lnTo>
                  <a:lnTo>
                    <a:pt x="248" y="755"/>
                  </a:lnTo>
                  <a:lnTo>
                    <a:pt x="248" y="754"/>
                  </a:lnTo>
                  <a:lnTo>
                    <a:pt x="247" y="752"/>
                  </a:lnTo>
                  <a:lnTo>
                    <a:pt x="242" y="752"/>
                  </a:lnTo>
                  <a:lnTo>
                    <a:pt x="242" y="751"/>
                  </a:lnTo>
                  <a:lnTo>
                    <a:pt x="243" y="750"/>
                  </a:lnTo>
                  <a:lnTo>
                    <a:pt x="245" y="750"/>
                  </a:lnTo>
                  <a:lnTo>
                    <a:pt x="245" y="749"/>
                  </a:lnTo>
                  <a:lnTo>
                    <a:pt x="248" y="749"/>
                  </a:lnTo>
                  <a:lnTo>
                    <a:pt x="249" y="750"/>
                  </a:lnTo>
                  <a:lnTo>
                    <a:pt x="249" y="748"/>
                  </a:lnTo>
                  <a:lnTo>
                    <a:pt x="248" y="748"/>
                  </a:lnTo>
                  <a:lnTo>
                    <a:pt x="248" y="746"/>
                  </a:lnTo>
                  <a:lnTo>
                    <a:pt x="249" y="745"/>
                  </a:lnTo>
                  <a:lnTo>
                    <a:pt x="249" y="746"/>
                  </a:lnTo>
                  <a:lnTo>
                    <a:pt x="251" y="749"/>
                  </a:lnTo>
                  <a:lnTo>
                    <a:pt x="253" y="748"/>
                  </a:lnTo>
                  <a:lnTo>
                    <a:pt x="254" y="748"/>
                  </a:lnTo>
                  <a:lnTo>
                    <a:pt x="253" y="746"/>
                  </a:lnTo>
                  <a:lnTo>
                    <a:pt x="253" y="745"/>
                  </a:lnTo>
                  <a:lnTo>
                    <a:pt x="254" y="745"/>
                  </a:lnTo>
                  <a:lnTo>
                    <a:pt x="255" y="746"/>
                  </a:lnTo>
                  <a:lnTo>
                    <a:pt x="255" y="745"/>
                  </a:lnTo>
                  <a:lnTo>
                    <a:pt x="254" y="745"/>
                  </a:lnTo>
                  <a:lnTo>
                    <a:pt x="254" y="741"/>
                  </a:lnTo>
                  <a:lnTo>
                    <a:pt x="253" y="739"/>
                  </a:lnTo>
                  <a:lnTo>
                    <a:pt x="254" y="739"/>
                  </a:lnTo>
                  <a:lnTo>
                    <a:pt x="254" y="737"/>
                  </a:lnTo>
                  <a:lnTo>
                    <a:pt x="255" y="737"/>
                  </a:lnTo>
                  <a:lnTo>
                    <a:pt x="256" y="738"/>
                  </a:lnTo>
                  <a:lnTo>
                    <a:pt x="259" y="739"/>
                  </a:lnTo>
                  <a:lnTo>
                    <a:pt x="259" y="743"/>
                  </a:lnTo>
                  <a:lnTo>
                    <a:pt x="260" y="744"/>
                  </a:lnTo>
                  <a:lnTo>
                    <a:pt x="260" y="745"/>
                  </a:lnTo>
                  <a:lnTo>
                    <a:pt x="263" y="748"/>
                  </a:lnTo>
                  <a:lnTo>
                    <a:pt x="263" y="752"/>
                  </a:lnTo>
                  <a:lnTo>
                    <a:pt x="267" y="751"/>
                  </a:lnTo>
                  <a:lnTo>
                    <a:pt x="268" y="752"/>
                  </a:lnTo>
                  <a:lnTo>
                    <a:pt x="269" y="752"/>
                  </a:lnTo>
                  <a:lnTo>
                    <a:pt x="271" y="754"/>
                  </a:lnTo>
                  <a:lnTo>
                    <a:pt x="271" y="756"/>
                  </a:lnTo>
                  <a:lnTo>
                    <a:pt x="267" y="760"/>
                  </a:lnTo>
                  <a:lnTo>
                    <a:pt x="266" y="764"/>
                  </a:lnTo>
                  <a:lnTo>
                    <a:pt x="267" y="764"/>
                  </a:lnTo>
                  <a:lnTo>
                    <a:pt x="267" y="763"/>
                  </a:lnTo>
                  <a:lnTo>
                    <a:pt x="268" y="760"/>
                  </a:lnTo>
                  <a:lnTo>
                    <a:pt x="272" y="757"/>
                  </a:lnTo>
                  <a:lnTo>
                    <a:pt x="273" y="756"/>
                  </a:lnTo>
                  <a:lnTo>
                    <a:pt x="272" y="756"/>
                  </a:lnTo>
                  <a:lnTo>
                    <a:pt x="272" y="755"/>
                  </a:lnTo>
                  <a:lnTo>
                    <a:pt x="273" y="752"/>
                  </a:lnTo>
                  <a:lnTo>
                    <a:pt x="273" y="751"/>
                  </a:lnTo>
                  <a:lnTo>
                    <a:pt x="274" y="751"/>
                  </a:lnTo>
                  <a:lnTo>
                    <a:pt x="274" y="752"/>
                  </a:lnTo>
                  <a:lnTo>
                    <a:pt x="275" y="752"/>
                  </a:lnTo>
                  <a:lnTo>
                    <a:pt x="278" y="750"/>
                  </a:lnTo>
                  <a:lnTo>
                    <a:pt x="282" y="750"/>
                  </a:lnTo>
                  <a:lnTo>
                    <a:pt x="284" y="749"/>
                  </a:lnTo>
                  <a:lnTo>
                    <a:pt x="274" y="750"/>
                  </a:lnTo>
                  <a:lnTo>
                    <a:pt x="275" y="749"/>
                  </a:lnTo>
                  <a:lnTo>
                    <a:pt x="275" y="745"/>
                  </a:lnTo>
                  <a:lnTo>
                    <a:pt x="279" y="745"/>
                  </a:lnTo>
                  <a:lnTo>
                    <a:pt x="279" y="744"/>
                  </a:lnTo>
                  <a:lnTo>
                    <a:pt x="278" y="744"/>
                  </a:lnTo>
                  <a:lnTo>
                    <a:pt x="278" y="742"/>
                  </a:lnTo>
                  <a:lnTo>
                    <a:pt x="280" y="742"/>
                  </a:lnTo>
                  <a:lnTo>
                    <a:pt x="279" y="743"/>
                  </a:lnTo>
                  <a:lnTo>
                    <a:pt x="280" y="743"/>
                  </a:lnTo>
                  <a:lnTo>
                    <a:pt x="287" y="738"/>
                  </a:lnTo>
                  <a:lnTo>
                    <a:pt x="288" y="737"/>
                  </a:lnTo>
                  <a:lnTo>
                    <a:pt x="284" y="738"/>
                  </a:lnTo>
                  <a:lnTo>
                    <a:pt x="282" y="739"/>
                  </a:lnTo>
                  <a:lnTo>
                    <a:pt x="282" y="735"/>
                  </a:lnTo>
                  <a:lnTo>
                    <a:pt x="281" y="735"/>
                  </a:lnTo>
                  <a:lnTo>
                    <a:pt x="279" y="737"/>
                  </a:lnTo>
                  <a:lnTo>
                    <a:pt x="281" y="737"/>
                  </a:lnTo>
                  <a:lnTo>
                    <a:pt x="280" y="739"/>
                  </a:lnTo>
                  <a:lnTo>
                    <a:pt x="279" y="741"/>
                  </a:lnTo>
                  <a:lnTo>
                    <a:pt x="276" y="738"/>
                  </a:lnTo>
                  <a:lnTo>
                    <a:pt x="275" y="736"/>
                  </a:lnTo>
                  <a:lnTo>
                    <a:pt x="275" y="735"/>
                  </a:lnTo>
                  <a:lnTo>
                    <a:pt x="274" y="735"/>
                  </a:lnTo>
                  <a:lnTo>
                    <a:pt x="274" y="732"/>
                  </a:lnTo>
                  <a:lnTo>
                    <a:pt x="273" y="732"/>
                  </a:lnTo>
                  <a:lnTo>
                    <a:pt x="273" y="729"/>
                  </a:lnTo>
                  <a:lnTo>
                    <a:pt x="274" y="729"/>
                  </a:lnTo>
                  <a:lnTo>
                    <a:pt x="274" y="727"/>
                  </a:lnTo>
                  <a:lnTo>
                    <a:pt x="273" y="727"/>
                  </a:lnTo>
                  <a:lnTo>
                    <a:pt x="273" y="726"/>
                  </a:lnTo>
                  <a:lnTo>
                    <a:pt x="274" y="726"/>
                  </a:lnTo>
                  <a:lnTo>
                    <a:pt x="276" y="725"/>
                  </a:lnTo>
                  <a:lnTo>
                    <a:pt x="279" y="723"/>
                  </a:lnTo>
                  <a:lnTo>
                    <a:pt x="280" y="723"/>
                  </a:lnTo>
                  <a:lnTo>
                    <a:pt x="281" y="724"/>
                  </a:lnTo>
                  <a:lnTo>
                    <a:pt x="282" y="724"/>
                  </a:lnTo>
                  <a:lnTo>
                    <a:pt x="281" y="723"/>
                  </a:lnTo>
                  <a:lnTo>
                    <a:pt x="281" y="721"/>
                  </a:lnTo>
                  <a:lnTo>
                    <a:pt x="280" y="721"/>
                  </a:lnTo>
                  <a:lnTo>
                    <a:pt x="279" y="720"/>
                  </a:lnTo>
                  <a:lnTo>
                    <a:pt x="290" y="719"/>
                  </a:lnTo>
                  <a:lnTo>
                    <a:pt x="291" y="718"/>
                  </a:lnTo>
                  <a:lnTo>
                    <a:pt x="292" y="718"/>
                  </a:lnTo>
                  <a:lnTo>
                    <a:pt x="292" y="717"/>
                  </a:lnTo>
                  <a:lnTo>
                    <a:pt x="286" y="717"/>
                  </a:lnTo>
                  <a:lnTo>
                    <a:pt x="285" y="715"/>
                  </a:lnTo>
                  <a:lnTo>
                    <a:pt x="284" y="715"/>
                  </a:lnTo>
                  <a:lnTo>
                    <a:pt x="285" y="714"/>
                  </a:lnTo>
                  <a:lnTo>
                    <a:pt x="290" y="714"/>
                  </a:lnTo>
                  <a:lnTo>
                    <a:pt x="290" y="713"/>
                  </a:lnTo>
                  <a:lnTo>
                    <a:pt x="288" y="712"/>
                  </a:lnTo>
                  <a:lnTo>
                    <a:pt x="290" y="712"/>
                  </a:lnTo>
                  <a:lnTo>
                    <a:pt x="288" y="712"/>
                  </a:lnTo>
                  <a:lnTo>
                    <a:pt x="286" y="713"/>
                  </a:lnTo>
                  <a:lnTo>
                    <a:pt x="285" y="714"/>
                  </a:lnTo>
                  <a:lnTo>
                    <a:pt x="284" y="713"/>
                  </a:lnTo>
                  <a:lnTo>
                    <a:pt x="286" y="712"/>
                  </a:lnTo>
                  <a:lnTo>
                    <a:pt x="287" y="709"/>
                  </a:lnTo>
                  <a:lnTo>
                    <a:pt x="288" y="708"/>
                  </a:lnTo>
                  <a:lnTo>
                    <a:pt x="291" y="708"/>
                  </a:lnTo>
                  <a:lnTo>
                    <a:pt x="294" y="705"/>
                  </a:lnTo>
                  <a:lnTo>
                    <a:pt x="298" y="705"/>
                  </a:lnTo>
                  <a:lnTo>
                    <a:pt x="301" y="701"/>
                  </a:lnTo>
                  <a:lnTo>
                    <a:pt x="307" y="704"/>
                  </a:lnTo>
                  <a:lnTo>
                    <a:pt x="306" y="701"/>
                  </a:lnTo>
                  <a:lnTo>
                    <a:pt x="304" y="700"/>
                  </a:lnTo>
                  <a:lnTo>
                    <a:pt x="299" y="700"/>
                  </a:lnTo>
                  <a:lnTo>
                    <a:pt x="298" y="702"/>
                  </a:lnTo>
                  <a:lnTo>
                    <a:pt x="294" y="702"/>
                  </a:lnTo>
                  <a:lnTo>
                    <a:pt x="287" y="708"/>
                  </a:lnTo>
                  <a:lnTo>
                    <a:pt x="282" y="711"/>
                  </a:lnTo>
                  <a:lnTo>
                    <a:pt x="281" y="711"/>
                  </a:lnTo>
                  <a:lnTo>
                    <a:pt x="282" y="712"/>
                  </a:lnTo>
                  <a:lnTo>
                    <a:pt x="282" y="713"/>
                  </a:lnTo>
                  <a:lnTo>
                    <a:pt x="279" y="715"/>
                  </a:lnTo>
                  <a:lnTo>
                    <a:pt x="276" y="715"/>
                  </a:lnTo>
                  <a:lnTo>
                    <a:pt x="276" y="717"/>
                  </a:lnTo>
                  <a:lnTo>
                    <a:pt x="275" y="718"/>
                  </a:lnTo>
                  <a:lnTo>
                    <a:pt x="275" y="719"/>
                  </a:lnTo>
                  <a:lnTo>
                    <a:pt x="272" y="723"/>
                  </a:lnTo>
                  <a:lnTo>
                    <a:pt x="267" y="724"/>
                  </a:lnTo>
                  <a:lnTo>
                    <a:pt x="266" y="724"/>
                  </a:lnTo>
                  <a:lnTo>
                    <a:pt x="267" y="723"/>
                  </a:lnTo>
                  <a:lnTo>
                    <a:pt x="269" y="721"/>
                  </a:lnTo>
                  <a:lnTo>
                    <a:pt x="271" y="720"/>
                  </a:lnTo>
                  <a:lnTo>
                    <a:pt x="272" y="720"/>
                  </a:lnTo>
                  <a:lnTo>
                    <a:pt x="274" y="717"/>
                  </a:lnTo>
                  <a:lnTo>
                    <a:pt x="274" y="715"/>
                  </a:lnTo>
                  <a:lnTo>
                    <a:pt x="271" y="717"/>
                  </a:lnTo>
                  <a:lnTo>
                    <a:pt x="269" y="715"/>
                  </a:lnTo>
                  <a:lnTo>
                    <a:pt x="266" y="715"/>
                  </a:lnTo>
                  <a:lnTo>
                    <a:pt x="267" y="713"/>
                  </a:lnTo>
                  <a:lnTo>
                    <a:pt x="268" y="713"/>
                  </a:lnTo>
                  <a:lnTo>
                    <a:pt x="278" y="711"/>
                  </a:lnTo>
                  <a:lnTo>
                    <a:pt x="284" y="708"/>
                  </a:lnTo>
                  <a:lnTo>
                    <a:pt x="286" y="706"/>
                  </a:lnTo>
                  <a:lnTo>
                    <a:pt x="285" y="706"/>
                  </a:lnTo>
                  <a:lnTo>
                    <a:pt x="281" y="708"/>
                  </a:lnTo>
                  <a:lnTo>
                    <a:pt x="267" y="712"/>
                  </a:lnTo>
                  <a:lnTo>
                    <a:pt x="267" y="711"/>
                  </a:lnTo>
                  <a:lnTo>
                    <a:pt x="273" y="705"/>
                  </a:lnTo>
                  <a:lnTo>
                    <a:pt x="275" y="705"/>
                  </a:lnTo>
                  <a:lnTo>
                    <a:pt x="279" y="708"/>
                  </a:lnTo>
                  <a:lnTo>
                    <a:pt x="279" y="707"/>
                  </a:lnTo>
                  <a:lnTo>
                    <a:pt x="280" y="707"/>
                  </a:lnTo>
                  <a:lnTo>
                    <a:pt x="281" y="706"/>
                  </a:lnTo>
                  <a:lnTo>
                    <a:pt x="281" y="705"/>
                  </a:lnTo>
                  <a:lnTo>
                    <a:pt x="280" y="705"/>
                  </a:lnTo>
                  <a:lnTo>
                    <a:pt x="279" y="707"/>
                  </a:lnTo>
                  <a:lnTo>
                    <a:pt x="278" y="707"/>
                  </a:lnTo>
                  <a:lnTo>
                    <a:pt x="276" y="705"/>
                  </a:lnTo>
                  <a:lnTo>
                    <a:pt x="276" y="704"/>
                  </a:lnTo>
                  <a:lnTo>
                    <a:pt x="280" y="702"/>
                  </a:lnTo>
                  <a:lnTo>
                    <a:pt x="282" y="704"/>
                  </a:lnTo>
                  <a:lnTo>
                    <a:pt x="282" y="701"/>
                  </a:lnTo>
                  <a:lnTo>
                    <a:pt x="284" y="701"/>
                  </a:lnTo>
                  <a:lnTo>
                    <a:pt x="284" y="702"/>
                  </a:lnTo>
                  <a:lnTo>
                    <a:pt x="286" y="702"/>
                  </a:lnTo>
                  <a:lnTo>
                    <a:pt x="288" y="700"/>
                  </a:lnTo>
                  <a:lnTo>
                    <a:pt x="291" y="700"/>
                  </a:lnTo>
                  <a:lnTo>
                    <a:pt x="291" y="699"/>
                  </a:lnTo>
                  <a:lnTo>
                    <a:pt x="290" y="698"/>
                  </a:lnTo>
                  <a:lnTo>
                    <a:pt x="290" y="696"/>
                  </a:lnTo>
                  <a:lnTo>
                    <a:pt x="293" y="693"/>
                  </a:lnTo>
                  <a:lnTo>
                    <a:pt x="294" y="693"/>
                  </a:lnTo>
                  <a:lnTo>
                    <a:pt x="297" y="690"/>
                  </a:lnTo>
                  <a:lnTo>
                    <a:pt x="299" y="692"/>
                  </a:lnTo>
                  <a:lnTo>
                    <a:pt x="299" y="694"/>
                  </a:lnTo>
                  <a:lnTo>
                    <a:pt x="300" y="693"/>
                  </a:lnTo>
                  <a:lnTo>
                    <a:pt x="304" y="693"/>
                  </a:lnTo>
                  <a:lnTo>
                    <a:pt x="305" y="694"/>
                  </a:lnTo>
                  <a:lnTo>
                    <a:pt x="305" y="695"/>
                  </a:lnTo>
                  <a:lnTo>
                    <a:pt x="306" y="696"/>
                  </a:lnTo>
                  <a:lnTo>
                    <a:pt x="305" y="696"/>
                  </a:lnTo>
                  <a:lnTo>
                    <a:pt x="305" y="698"/>
                  </a:lnTo>
                  <a:lnTo>
                    <a:pt x="306" y="698"/>
                  </a:lnTo>
                  <a:lnTo>
                    <a:pt x="307" y="696"/>
                  </a:lnTo>
                  <a:lnTo>
                    <a:pt x="306" y="695"/>
                  </a:lnTo>
                  <a:lnTo>
                    <a:pt x="306" y="693"/>
                  </a:lnTo>
                  <a:lnTo>
                    <a:pt x="310" y="692"/>
                  </a:lnTo>
                  <a:lnTo>
                    <a:pt x="313" y="688"/>
                  </a:lnTo>
                  <a:lnTo>
                    <a:pt x="317" y="689"/>
                  </a:lnTo>
                  <a:lnTo>
                    <a:pt x="318" y="688"/>
                  </a:lnTo>
                  <a:lnTo>
                    <a:pt x="318" y="686"/>
                  </a:lnTo>
                  <a:lnTo>
                    <a:pt x="319" y="686"/>
                  </a:lnTo>
                  <a:lnTo>
                    <a:pt x="324" y="684"/>
                  </a:lnTo>
                  <a:lnTo>
                    <a:pt x="325" y="684"/>
                  </a:lnTo>
                  <a:lnTo>
                    <a:pt x="324" y="683"/>
                  </a:lnTo>
                  <a:lnTo>
                    <a:pt x="324" y="682"/>
                  </a:lnTo>
                  <a:lnTo>
                    <a:pt x="327" y="682"/>
                  </a:lnTo>
                  <a:lnTo>
                    <a:pt x="329" y="678"/>
                  </a:lnTo>
                  <a:lnTo>
                    <a:pt x="332" y="675"/>
                  </a:lnTo>
                  <a:lnTo>
                    <a:pt x="332" y="672"/>
                  </a:lnTo>
                  <a:lnTo>
                    <a:pt x="334" y="672"/>
                  </a:lnTo>
                  <a:lnTo>
                    <a:pt x="337" y="666"/>
                  </a:lnTo>
                  <a:lnTo>
                    <a:pt x="338" y="664"/>
                  </a:lnTo>
                  <a:lnTo>
                    <a:pt x="337" y="664"/>
                  </a:lnTo>
                  <a:lnTo>
                    <a:pt x="336" y="666"/>
                  </a:lnTo>
                  <a:lnTo>
                    <a:pt x="332" y="670"/>
                  </a:lnTo>
                  <a:lnTo>
                    <a:pt x="327" y="677"/>
                  </a:lnTo>
                  <a:lnTo>
                    <a:pt x="322" y="681"/>
                  </a:lnTo>
                  <a:lnTo>
                    <a:pt x="321" y="681"/>
                  </a:lnTo>
                  <a:lnTo>
                    <a:pt x="319" y="683"/>
                  </a:lnTo>
                  <a:lnTo>
                    <a:pt x="315" y="683"/>
                  </a:lnTo>
                  <a:lnTo>
                    <a:pt x="313" y="682"/>
                  </a:lnTo>
                  <a:lnTo>
                    <a:pt x="315" y="680"/>
                  </a:lnTo>
                  <a:lnTo>
                    <a:pt x="318" y="680"/>
                  </a:lnTo>
                  <a:lnTo>
                    <a:pt x="319" y="677"/>
                  </a:lnTo>
                  <a:lnTo>
                    <a:pt x="317" y="677"/>
                  </a:lnTo>
                  <a:lnTo>
                    <a:pt x="317" y="675"/>
                  </a:lnTo>
                  <a:lnTo>
                    <a:pt x="313" y="675"/>
                  </a:lnTo>
                  <a:lnTo>
                    <a:pt x="316" y="672"/>
                  </a:lnTo>
                  <a:lnTo>
                    <a:pt x="317" y="672"/>
                  </a:lnTo>
                  <a:lnTo>
                    <a:pt x="318" y="674"/>
                  </a:lnTo>
                  <a:lnTo>
                    <a:pt x="319" y="674"/>
                  </a:lnTo>
                  <a:lnTo>
                    <a:pt x="321" y="672"/>
                  </a:lnTo>
                  <a:lnTo>
                    <a:pt x="328" y="672"/>
                  </a:lnTo>
                  <a:lnTo>
                    <a:pt x="327" y="671"/>
                  </a:lnTo>
                  <a:lnTo>
                    <a:pt x="323" y="671"/>
                  </a:lnTo>
                  <a:lnTo>
                    <a:pt x="321" y="670"/>
                  </a:lnTo>
                  <a:lnTo>
                    <a:pt x="319" y="671"/>
                  </a:lnTo>
                  <a:lnTo>
                    <a:pt x="318" y="671"/>
                  </a:lnTo>
                  <a:lnTo>
                    <a:pt x="318" y="670"/>
                  </a:lnTo>
                  <a:lnTo>
                    <a:pt x="312" y="670"/>
                  </a:lnTo>
                  <a:lnTo>
                    <a:pt x="312" y="671"/>
                  </a:lnTo>
                  <a:lnTo>
                    <a:pt x="310" y="674"/>
                  </a:lnTo>
                  <a:lnTo>
                    <a:pt x="309" y="674"/>
                  </a:lnTo>
                  <a:lnTo>
                    <a:pt x="309" y="672"/>
                  </a:lnTo>
                  <a:lnTo>
                    <a:pt x="311" y="670"/>
                  </a:lnTo>
                  <a:lnTo>
                    <a:pt x="312" y="668"/>
                  </a:lnTo>
                  <a:lnTo>
                    <a:pt x="312" y="666"/>
                  </a:lnTo>
                  <a:lnTo>
                    <a:pt x="317" y="666"/>
                  </a:lnTo>
                  <a:lnTo>
                    <a:pt x="318" y="664"/>
                  </a:lnTo>
                  <a:lnTo>
                    <a:pt x="316" y="665"/>
                  </a:lnTo>
                  <a:lnTo>
                    <a:pt x="316" y="664"/>
                  </a:lnTo>
                  <a:lnTo>
                    <a:pt x="319" y="661"/>
                  </a:lnTo>
                  <a:lnTo>
                    <a:pt x="319" y="662"/>
                  </a:lnTo>
                  <a:lnTo>
                    <a:pt x="323" y="662"/>
                  </a:lnTo>
                  <a:lnTo>
                    <a:pt x="322" y="661"/>
                  </a:lnTo>
                  <a:lnTo>
                    <a:pt x="321" y="661"/>
                  </a:lnTo>
                  <a:lnTo>
                    <a:pt x="321" y="657"/>
                  </a:lnTo>
                  <a:lnTo>
                    <a:pt x="319" y="656"/>
                  </a:lnTo>
                  <a:lnTo>
                    <a:pt x="319" y="653"/>
                  </a:lnTo>
                  <a:lnTo>
                    <a:pt x="318" y="652"/>
                  </a:lnTo>
                  <a:lnTo>
                    <a:pt x="322" y="652"/>
                  </a:lnTo>
                  <a:lnTo>
                    <a:pt x="322" y="655"/>
                  </a:lnTo>
                  <a:lnTo>
                    <a:pt x="323" y="656"/>
                  </a:lnTo>
                  <a:lnTo>
                    <a:pt x="323" y="655"/>
                  </a:lnTo>
                  <a:lnTo>
                    <a:pt x="324" y="653"/>
                  </a:lnTo>
                  <a:lnTo>
                    <a:pt x="325" y="655"/>
                  </a:lnTo>
                  <a:lnTo>
                    <a:pt x="325" y="656"/>
                  </a:lnTo>
                  <a:lnTo>
                    <a:pt x="327" y="657"/>
                  </a:lnTo>
                  <a:lnTo>
                    <a:pt x="327" y="659"/>
                  </a:lnTo>
                  <a:lnTo>
                    <a:pt x="328" y="661"/>
                  </a:lnTo>
                  <a:lnTo>
                    <a:pt x="327" y="657"/>
                  </a:lnTo>
                  <a:lnTo>
                    <a:pt x="325" y="655"/>
                  </a:lnTo>
                  <a:lnTo>
                    <a:pt x="325" y="652"/>
                  </a:lnTo>
                  <a:lnTo>
                    <a:pt x="331" y="651"/>
                  </a:lnTo>
                  <a:lnTo>
                    <a:pt x="329" y="650"/>
                  </a:lnTo>
                  <a:lnTo>
                    <a:pt x="324" y="651"/>
                  </a:lnTo>
                  <a:lnTo>
                    <a:pt x="324" y="650"/>
                  </a:lnTo>
                  <a:lnTo>
                    <a:pt x="325" y="650"/>
                  </a:lnTo>
                  <a:lnTo>
                    <a:pt x="327" y="649"/>
                  </a:lnTo>
                  <a:lnTo>
                    <a:pt x="323" y="649"/>
                  </a:lnTo>
                  <a:lnTo>
                    <a:pt x="323" y="647"/>
                  </a:lnTo>
                  <a:lnTo>
                    <a:pt x="322" y="646"/>
                  </a:lnTo>
                  <a:lnTo>
                    <a:pt x="324" y="644"/>
                  </a:lnTo>
                  <a:lnTo>
                    <a:pt x="323" y="644"/>
                  </a:lnTo>
                  <a:lnTo>
                    <a:pt x="323" y="638"/>
                  </a:lnTo>
                  <a:lnTo>
                    <a:pt x="322" y="640"/>
                  </a:lnTo>
                  <a:lnTo>
                    <a:pt x="321" y="644"/>
                  </a:lnTo>
                  <a:lnTo>
                    <a:pt x="319" y="646"/>
                  </a:lnTo>
                  <a:lnTo>
                    <a:pt x="318" y="645"/>
                  </a:lnTo>
                  <a:lnTo>
                    <a:pt x="318" y="643"/>
                  </a:lnTo>
                  <a:lnTo>
                    <a:pt x="319" y="643"/>
                  </a:lnTo>
                  <a:lnTo>
                    <a:pt x="321" y="640"/>
                  </a:lnTo>
                  <a:lnTo>
                    <a:pt x="321" y="639"/>
                  </a:lnTo>
                  <a:lnTo>
                    <a:pt x="319" y="639"/>
                  </a:lnTo>
                  <a:lnTo>
                    <a:pt x="318" y="643"/>
                  </a:lnTo>
                  <a:lnTo>
                    <a:pt x="318" y="644"/>
                  </a:lnTo>
                  <a:lnTo>
                    <a:pt x="316" y="644"/>
                  </a:lnTo>
                  <a:lnTo>
                    <a:pt x="315" y="641"/>
                  </a:lnTo>
                  <a:lnTo>
                    <a:pt x="316" y="639"/>
                  </a:lnTo>
                  <a:lnTo>
                    <a:pt x="316" y="637"/>
                  </a:lnTo>
                  <a:lnTo>
                    <a:pt x="315" y="637"/>
                  </a:lnTo>
                  <a:lnTo>
                    <a:pt x="315" y="638"/>
                  </a:lnTo>
                  <a:lnTo>
                    <a:pt x="313" y="638"/>
                  </a:lnTo>
                  <a:lnTo>
                    <a:pt x="313" y="632"/>
                  </a:lnTo>
                  <a:lnTo>
                    <a:pt x="315" y="629"/>
                  </a:lnTo>
                  <a:lnTo>
                    <a:pt x="316" y="628"/>
                  </a:lnTo>
                  <a:lnTo>
                    <a:pt x="316" y="627"/>
                  </a:lnTo>
                  <a:lnTo>
                    <a:pt x="319" y="623"/>
                  </a:lnTo>
                  <a:lnTo>
                    <a:pt x="322" y="623"/>
                  </a:lnTo>
                  <a:lnTo>
                    <a:pt x="323" y="625"/>
                  </a:lnTo>
                  <a:lnTo>
                    <a:pt x="323" y="628"/>
                  </a:lnTo>
                  <a:lnTo>
                    <a:pt x="324" y="628"/>
                  </a:lnTo>
                  <a:lnTo>
                    <a:pt x="324" y="632"/>
                  </a:lnTo>
                  <a:lnTo>
                    <a:pt x="327" y="633"/>
                  </a:lnTo>
                  <a:lnTo>
                    <a:pt x="328" y="632"/>
                  </a:lnTo>
                  <a:lnTo>
                    <a:pt x="329" y="634"/>
                  </a:lnTo>
                  <a:lnTo>
                    <a:pt x="330" y="634"/>
                  </a:lnTo>
                  <a:lnTo>
                    <a:pt x="331" y="633"/>
                  </a:lnTo>
                  <a:lnTo>
                    <a:pt x="331" y="632"/>
                  </a:lnTo>
                  <a:lnTo>
                    <a:pt x="330" y="631"/>
                  </a:lnTo>
                  <a:lnTo>
                    <a:pt x="327" y="631"/>
                  </a:lnTo>
                  <a:lnTo>
                    <a:pt x="327" y="627"/>
                  </a:lnTo>
                  <a:lnTo>
                    <a:pt x="323" y="623"/>
                  </a:lnTo>
                  <a:lnTo>
                    <a:pt x="322" y="621"/>
                  </a:lnTo>
                  <a:lnTo>
                    <a:pt x="322" y="620"/>
                  </a:lnTo>
                  <a:lnTo>
                    <a:pt x="325" y="616"/>
                  </a:lnTo>
                  <a:lnTo>
                    <a:pt x="325" y="615"/>
                  </a:lnTo>
                  <a:lnTo>
                    <a:pt x="327" y="615"/>
                  </a:lnTo>
                  <a:lnTo>
                    <a:pt x="328" y="616"/>
                  </a:lnTo>
                  <a:lnTo>
                    <a:pt x="328" y="618"/>
                  </a:lnTo>
                  <a:lnTo>
                    <a:pt x="329" y="618"/>
                  </a:lnTo>
                  <a:lnTo>
                    <a:pt x="328" y="616"/>
                  </a:lnTo>
                  <a:lnTo>
                    <a:pt x="328" y="613"/>
                  </a:lnTo>
                  <a:lnTo>
                    <a:pt x="327" y="613"/>
                  </a:lnTo>
                  <a:lnTo>
                    <a:pt x="324" y="614"/>
                  </a:lnTo>
                  <a:lnTo>
                    <a:pt x="324" y="610"/>
                  </a:lnTo>
                  <a:lnTo>
                    <a:pt x="325" y="610"/>
                  </a:lnTo>
                  <a:lnTo>
                    <a:pt x="325" y="607"/>
                  </a:lnTo>
                  <a:lnTo>
                    <a:pt x="327" y="604"/>
                  </a:lnTo>
                  <a:lnTo>
                    <a:pt x="327" y="603"/>
                  </a:lnTo>
                  <a:lnTo>
                    <a:pt x="331" y="600"/>
                  </a:lnTo>
                  <a:lnTo>
                    <a:pt x="332" y="598"/>
                  </a:lnTo>
                  <a:lnTo>
                    <a:pt x="334" y="600"/>
                  </a:lnTo>
                  <a:lnTo>
                    <a:pt x="337" y="601"/>
                  </a:lnTo>
                  <a:lnTo>
                    <a:pt x="338" y="603"/>
                  </a:lnTo>
                  <a:lnTo>
                    <a:pt x="342" y="603"/>
                  </a:lnTo>
                  <a:lnTo>
                    <a:pt x="342" y="604"/>
                  </a:lnTo>
                  <a:lnTo>
                    <a:pt x="343" y="606"/>
                  </a:lnTo>
                  <a:lnTo>
                    <a:pt x="343" y="607"/>
                  </a:lnTo>
                  <a:lnTo>
                    <a:pt x="346" y="607"/>
                  </a:lnTo>
                  <a:lnTo>
                    <a:pt x="346" y="608"/>
                  </a:lnTo>
                  <a:lnTo>
                    <a:pt x="347" y="612"/>
                  </a:lnTo>
                  <a:lnTo>
                    <a:pt x="348" y="610"/>
                  </a:lnTo>
                  <a:lnTo>
                    <a:pt x="348" y="609"/>
                  </a:lnTo>
                  <a:lnTo>
                    <a:pt x="347" y="607"/>
                  </a:lnTo>
                  <a:lnTo>
                    <a:pt x="347" y="604"/>
                  </a:lnTo>
                  <a:lnTo>
                    <a:pt x="346" y="603"/>
                  </a:lnTo>
                  <a:lnTo>
                    <a:pt x="346" y="601"/>
                  </a:lnTo>
                  <a:lnTo>
                    <a:pt x="342" y="601"/>
                  </a:lnTo>
                  <a:lnTo>
                    <a:pt x="340" y="600"/>
                  </a:lnTo>
                  <a:lnTo>
                    <a:pt x="338" y="598"/>
                  </a:lnTo>
                  <a:lnTo>
                    <a:pt x="337" y="596"/>
                  </a:lnTo>
                  <a:lnTo>
                    <a:pt x="338" y="596"/>
                  </a:lnTo>
                  <a:lnTo>
                    <a:pt x="338" y="595"/>
                  </a:lnTo>
                  <a:lnTo>
                    <a:pt x="340" y="594"/>
                  </a:lnTo>
                  <a:lnTo>
                    <a:pt x="338" y="592"/>
                  </a:lnTo>
                  <a:lnTo>
                    <a:pt x="340" y="590"/>
                  </a:lnTo>
                  <a:lnTo>
                    <a:pt x="341" y="589"/>
                  </a:lnTo>
                  <a:lnTo>
                    <a:pt x="342" y="586"/>
                  </a:lnTo>
                  <a:lnTo>
                    <a:pt x="341" y="586"/>
                  </a:lnTo>
                  <a:lnTo>
                    <a:pt x="337" y="589"/>
                  </a:lnTo>
                  <a:lnTo>
                    <a:pt x="329" y="591"/>
                  </a:lnTo>
                  <a:lnTo>
                    <a:pt x="329" y="590"/>
                  </a:lnTo>
                  <a:lnTo>
                    <a:pt x="328" y="589"/>
                  </a:lnTo>
                  <a:lnTo>
                    <a:pt x="327" y="589"/>
                  </a:lnTo>
                  <a:lnTo>
                    <a:pt x="331" y="584"/>
                  </a:lnTo>
                  <a:lnTo>
                    <a:pt x="332" y="584"/>
                  </a:lnTo>
                  <a:lnTo>
                    <a:pt x="335" y="582"/>
                  </a:lnTo>
                  <a:lnTo>
                    <a:pt x="342" y="579"/>
                  </a:lnTo>
                  <a:lnTo>
                    <a:pt x="343" y="580"/>
                  </a:lnTo>
                  <a:lnTo>
                    <a:pt x="344" y="580"/>
                  </a:lnTo>
                  <a:lnTo>
                    <a:pt x="344" y="579"/>
                  </a:lnTo>
                  <a:lnTo>
                    <a:pt x="347" y="578"/>
                  </a:lnTo>
                  <a:lnTo>
                    <a:pt x="348" y="577"/>
                  </a:lnTo>
                  <a:lnTo>
                    <a:pt x="350" y="576"/>
                  </a:lnTo>
                  <a:lnTo>
                    <a:pt x="353" y="573"/>
                  </a:lnTo>
                  <a:lnTo>
                    <a:pt x="362" y="571"/>
                  </a:lnTo>
                  <a:lnTo>
                    <a:pt x="365" y="571"/>
                  </a:lnTo>
                  <a:lnTo>
                    <a:pt x="365" y="573"/>
                  </a:lnTo>
                  <a:lnTo>
                    <a:pt x="362" y="576"/>
                  </a:lnTo>
                  <a:lnTo>
                    <a:pt x="365" y="576"/>
                  </a:lnTo>
                  <a:lnTo>
                    <a:pt x="365" y="578"/>
                  </a:lnTo>
                  <a:lnTo>
                    <a:pt x="363" y="579"/>
                  </a:lnTo>
                  <a:lnTo>
                    <a:pt x="363" y="582"/>
                  </a:lnTo>
                  <a:lnTo>
                    <a:pt x="362" y="583"/>
                  </a:lnTo>
                  <a:lnTo>
                    <a:pt x="363" y="584"/>
                  </a:lnTo>
                  <a:lnTo>
                    <a:pt x="365" y="584"/>
                  </a:lnTo>
                  <a:lnTo>
                    <a:pt x="365" y="583"/>
                  </a:lnTo>
                  <a:lnTo>
                    <a:pt x="366" y="580"/>
                  </a:lnTo>
                  <a:lnTo>
                    <a:pt x="366" y="579"/>
                  </a:lnTo>
                  <a:lnTo>
                    <a:pt x="371" y="579"/>
                  </a:lnTo>
                  <a:lnTo>
                    <a:pt x="372" y="578"/>
                  </a:lnTo>
                  <a:lnTo>
                    <a:pt x="373" y="578"/>
                  </a:lnTo>
                  <a:lnTo>
                    <a:pt x="375" y="580"/>
                  </a:lnTo>
                  <a:lnTo>
                    <a:pt x="375" y="578"/>
                  </a:lnTo>
                  <a:lnTo>
                    <a:pt x="373" y="577"/>
                  </a:lnTo>
                  <a:lnTo>
                    <a:pt x="371" y="578"/>
                  </a:lnTo>
                  <a:lnTo>
                    <a:pt x="366" y="576"/>
                  </a:lnTo>
                  <a:lnTo>
                    <a:pt x="367" y="572"/>
                  </a:lnTo>
                  <a:lnTo>
                    <a:pt x="372" y="570"/>
                  </a:lnTo>
                  <a:lnTo>
                    <a:pt x="374" y="571"/>
                  </a:lnTo>
                  <a:lnTo>
                    <a:pt x="374" y="572"/>
                  </a:lnTo>
                  <a:lnTo>
                    <a:pt x="373" y="573"/>
                  </a:lnTo>
                  <a:lnTo>
                    <a:pt x="373" y="575"/>
                  </a:lnTo>
                  <a:lnTo>
                    <a:pt x="374" y="575"/>
                  </a:lnTo>
                  <a:lnTo>
                    <a:pt x="375" y="572"/>
                  </a:lnTo>
                  <a:lnTo>
                    <a:pt x="381" y="571"/>
                  </a:lnTo>
                  <a:lnTo>
                    <a:pt x="383" y="571"/>
                  </a:lnTo>
                  <a:lnTo>
                    <a:pt x="383" y="567"/>
                  </a:lnTo>
                  <a:lnTo>
                    <a:pt x="384" y="566"/>
                  </a:lnTo>
                  <a:lnTo>
                    <a:pt x="385" y="566"/>
                  </a:lnTo>
                  <a:lnTo>
                    <a:pt x="389" y="563"/>
                  </a:lnTo>
                  <a:lnTo>
                    <a:pt x="389" y="560"/>
                  </a:lnTo>
                  <a:lnTo>
                    <a:pt x="387" y="560"/>
                  </a:lnTo>
                  <a:lnTo>
                    <a:pt x="385" y="563"/>
                  </a:lnTo>
                  <a:lnTo>
                    <a:pt x="381" y="564"/>
                  </a:lnTo>
                  <a:lnTo>
                    <a:pt x="380" y="565"/>
                  </a:lnTo>
                  <a:lnTo>
                    <a:pt x="379" y="567"/>
                  </a:lnTo>
                  <a:lnTo>
                    <a:pt x="374" y="566"/>
                  </a:lnTo>
                  <a:lnTo>
                    <a:pt x="373" y="566"/>
                  </a:lnTo>
                  <a:lnTo>
                    <a:pt x="373" y="565"/>
                  </a:lnTo>
                  <a:lnTo>
                    <a:pt x="372" y="565"/>
                  </a:lnTo>
                  <a:lnTo>
                    <a:pt x="372" y="566"/>
                  </a:lnTo>
                  <a:lnTo>
                    <a:pt x="371" y="569"/>
                  </a:lnTo>
                  <a:lnTo>
                    <a:pt x="369" y="570"/>
                  </a:lnTo>
                  <a:lnTo>
                    <a:pt x="367" y="571"/>
                  </a:lnTo>
                  <a:lnTo>
                    <a:pt x="365" y="569"/>
                  </a:lnTo>
                  <a:lnTo>
                    <a:pt x="367" y="567"/>
                  </a:lnTo>
                  <a:lnTo>
                    <a:pt x="365" y="565"/>
                  </a:lnTo>
                  <a:lnTo>
                    <a:pt x="365" y="566"/>
                  </a:lnTo>
                  <a:lnTo>
                    <a:pt x="361" y="569"/>
                  </a:lnTo>
                  <a:lnTo>
                    <a:pt x="360" y="569"/>
                  </a:lnTo>
                  <a:lnTo>
                    <a:pt x="358" y="570"/>
                  </a:lnTo>
                  <a:lnTo>
                    <a:pt x="354" y="570"/>
                  </a:lnTo>
                  <a:lnTo>
                    <a:pt x="349" y="575"/>
                  </a:lnTo>
                  <a:lnTo>
                    <a:pt x="343" y="577"/>
                  </a:lnTo>
                  <a:lnTo>
                    <a:pt x="342" y="577"/>
                  </a:lnTo>
                  <a:lnTo>
                    <a:pt x="342" y="575"/>
                  </a:lnTo>
                  <a:lnTo>
                    <a:pt x="344" y="572"/>
                  </a:lnTo>
                  <a:lnTo>
                    <a:pt x="346" y="572"/>
                  </a:lnTo>
                  <a:lnTo>
                    <a:pt x="346" y="570"/>
                  </a:lnTo>
                  <a:lnTo>
                    <a:pt x="347" y="569"/>
                  </a:lnTo>
                  <a:lnTo>
                    <a:pt x="354" y="564"/>
                  </a:lnTo>
                  <a:lnTo>
                    <a:pt x="363" y="564"/>
                  </a:lnTo>
                  <a:lnTo>
                    <a:pt x="362" y="563"/>
                  </a:lnTo>
                  <a:lnTo>
                    <a:pt x="358" y="563"/>
                  </a:lnTo>
                  <a:lnTo>
                    <a:pt x="358" y="561"/>
                  </a:lnTo>
                  <a:lnTo>
                    <a:pt x="359" y="561"/>
                  </a:lnTo>
                  <a:lnTo>
                    <a:pt x="360" y="560"/>
                  </a:lnTo>
                  <a:lnTo>
                    <a:pt x="355" y="560"/>
                  </a:lnTo>
                  <a:lnTo>
                    <a:pt x="355" y="558"/>
                  </a:lnTo>
                  <a:lnTo>
                    <a:pt x="354" y="557"/>
                  </a:lnTo>
                  <a:lnTo>
                    <a:pt x="354" y="560"/>
                  </a:lnTo>
                  <a:lnTo>
                    <a:pt x="355" y="561"/>
                  </a:lnTo>
                  <a:lnTo>
                    <a:pt x="354" y="561"/>
                  </a:lnTo>
                  <a:lnTo>
                    <a:pt x="354" y="563"/>
                  </a:lnTo>
                  <a:lnTo>
                    <a:pt x="350" y="565"/>
                  </a:lnTo>
                  <a:lnTo>
                    <a:pt x="349" y="565"/>
                  </a:lnTo>
                  <a:lnTo>
                    <a:pt x="347" y="564"/>
                  </a:lnTo>
                  <a:lnTo>
                    <a:pt x="347" y="561"/>
                  </a:lnTo>
                  <a:lnTo>
                    <a:pt x="346" y="561"/>
                  </a:lnTo>
                  <a:lnTo>
                    <a:pt x="344" y="563"/>
                  </a:lnTo>
                  <a:lnTo>
                    <a:pt x="342" y="563"/>
                  </a:lnTo>
                  <a:lnTo>
                    <a:pt x="341" y="560"/>
                  </a:lnTo>
                  <a:lnTo>
                    <a:pt x="341" y="558"/>
                  </a:lnTo>
                  <a:lnTo>
                    <a:pt x="347" y="555"/>
                  </a:lnTo>
                  <a:lnTo>
                    <a:pt x="348" y="553"/>
                  </a:lnTo>
                  <a:lnTo>
                    <a:pt x="348" y="552"/>
                  </a:lnTo>
                  <a:lnTo>
                    <a:pt x="347" y="552"/>
                  </a:lnTo>
                  <a:lnTo>
                    <a:pt x="347" y="549"/>
                  </a:lnTo>
                  <a:lnTo>
                    <a:pt x="344" y="548"/>
                  </a:lnTo>
                  <a:lnTo>
                    <a:pt x="346" y="547"/>
                  </a:lnTo>
                  <a:lnTo>
                    <a:pt x="347" y="547"/>
                  </a:lnTo>
                  <a:lnTo>
                    <a:pt x="347" y="546"/>
                  </a:lnTo>
                  <a:lnTo>
                    <a:pt x="344" y="546"/>
                  </a:lnTo>
                  <a:lnTo>
                    <a:pt x="344" y="543"/>
                  </a:lnTo>
                  <a:lnTo>
                    <a:pt x="342" y="543"/>
                  </a:lnTo>
                  <a:lnTo>
                    <a:pt x="341" y="542"/>
                  </a:lnTo>
                  <a:lnTo>
                    <a:pt x="340" y="542"/>
                  </a:lnTo>
                  <a:lnTo>
                    <a:pt x="340" y="541"/>
                  </a:lnTo>
                  <a:lnTo>
                    <a:pt x="344" y="539"/>
                  </a:lnTo>
                  <a:lnTo>
                    <a:pt x="346" y="539"/>
                  </a:lnTo>
                  <a:lnTo>
                    <a:pt x="346" y="540"/>
                  </a:lnTo>
                  <a:lnTo>
                    <a:pt x="348" y="541"/>
                  </a:lnTo>
                  <a:lnTo>
                    <a:pt x="349" y="542"/>
                  </a:lnTo>
                  <a:lnTo>
                    <a:pt x="350" y="545"/>
                  </a:lnTo>
                  <a:lnTo>
                    <a:pt x="350" y="548"/>
                  </a:lnTo>
                  <a:lnTo>
                    <a:pt x="355" y="548"/>
                  </a:lnTo>
                  <a:lnTo>
                    <a:pt x="358" y="547"/>
                  </a:lnTo>
                  <a:lnTo>
                    <a:pt x="352" y="547"/>
                  </a:lnTo>
                  <a:lnTo>
                    <a:pt x="352" y="545"/>
                  </a:lnTo>
                  <a:lnTo>
                    <a:pt x="353" y="543"/>
                  </a:lnTo>
                  <a:lnTo>
                    <a:pt x="353" y="542"/>
                  </a:lnTo>
                  <a:lnTo>
                    <a:pt x="352" y="541"/>
                  </a:lnTo>
                  <a:lnTo>
                    <a:pt x="353" y="541"/>
                  </a:lnTo>
                  <a:lnTo>
                    <a:pt x="354" y="539"/>
                  </a:lnTo>
                  <a:lnTo>
                    <a:pt x="360" y="539"/>
                  </a:lnTo>
                  <a:lnTo>
                    <a:pt x="361" y="537"/>
                  </a:lnTo>
                  <a:lnTo>
                    <a:pt x="362" y="539"/>
                  </a:lnTo>
                  <a:lnTo>
                    <a:pt x="367" y="541"/>
                  </a:lnTo>
                  <a:lnTo>
                    <a:pt x="368" y="541"/>
                  </a:lnTo>
                  <a:lnTo>
                    <a:pt x="368" y="540"/>
                  </a:lnTo>
                  <a:lnTo>
                    <a:pt x="367" y="539"/>
                  </a:lnTo>
                  <a:lnTo>
                    <a:pt x="361" y="537"/>
                  </a:lnTo>
                  <a:lnTo>
                    <a:pt x="360" y="536"/>
                  </a:lnTo>
                  <a:lnTo>
                    <a:pt x="362" y="534"/>
                  </a:lnTo>
                  <a:lnTo>
                    <a:pt x="366" y="532"/>
                  </a:lnTo>
                  <a:lnTo>
                    <a:pt x="371" y="532"/>
                  </a:lnTo>
                  <a:lnTo>
                    <a:pt x="369" y="530"/>
                  </a:lnTo>
                  <a:lnTo>
                    <a:pt x="361" y="532"/>
                  </a:lnTo>
                  <a:lnTo>
                    <a:pt x="360" y="533"/>
                  </a:lnTo>
                  <a:lnTo>
                    <a:pt x="359" y="536"/>
                  </a:lnTo>
                  <a:lnTo>
                    <a:pt x="358" y="537"/>
                  </a:lnTo>
                  <a:lnTo>
                    <a:pt x="355" y="537"/>
                  </a:lnTo>
                  <a:lnTo>
                    <a:pt x="352" y="539"/>
                  </a:lnTo>
                  <a:lnTo>
                    <a:pt x="350" y="537"/>
                  </a:lnTo>
                  <a:lnTo>
                    <a:pt x="349" y="537"/>
                  </a:lnTo>
                  <a:lnTo>
                    <a:pt x="349" y="534"/>
                  </a:lnTo>
                  <a:lnTo>
                    <a:pt x="350" y="533"/>
                  </a:lnTo>
                  <a:lnTo>
                    <a:pt x="350" y="532"/>
                  </a:lnTo>
                  <a:lnTo>
                    <a:pt x="352" y="532"/>
                  </a:lnTo>
                  <a:lnTo>
                    <a:pt x="353" y="530"/>
                  </a:lnTo>
                  <a:lnTo>
                    <a:pt x="358" y="530"/>
                  </a:lnTo>
                  <a:lnTo>
                    <a:pt x="356" y="529"/>
                  </a:lnTo>
                  <a:lnTo>
                    <a:pt x="352" y="529"/>
                  </a:lnTo>
                  <a:lnTo>
                    <a:pt x="348" y="527"/>
                  </a:lnTo>
                  <a:lnTo>
                    <a:pt x="348" y="526"/>
                  </a:lnTo>
                  <a:lnTo>
                    <a:pt x="349" y="526"/>
                  </a:lnTo>
                  <a:lnTo>
                    <a:pt x="350" y="527"/>
                  </a:lnTo>
                  <a:lnTo>
                    <a:pt x="352" y="527"/>
                  </a:lnTo>
                  <a:lnTo>
                    <a:pt x="353" y="526"/>
                  </a:lnTo>
                  <a:lnTo>
                    <a:pt x="355" y="528"/>
                  </a:lnTo>
                  <a:lnTo>
                    <a:pt x="356" y="528"/>
                  </a:lnTo>
                  <a:lnTo>
                    <a:pt x="359" y="527"/>
                  </a:lnTo>
                  <a:lnTo>
                    <a:pt x="360" y="527"/>
                  </a:lnTo>
                  <a:lnTo>
                    <a:pt x="362" y="528"/>
                  </a:lnTo>
                  <a:lnTo>
                    <a:pt x="363" y="528"/>
                  </a:lnTo>
                  <a:lnTo>
                    <a:pt x="362" y="526"/>
                  </a:lnTo>
                  <a:lnTo>
                    <a:pt x="361" y="524"/>
                  </a:lnTo>
                  <a:lnTo>
                    <a:pt x="352" y="522"/>
                  </a:lnTo>
                  <a:lnTo>
                    <a:pt x="350" y="521"/>
                  </a:lnTo>
                  <a:lnTo>
                    <a:pt x="352" y="520"/>
                  </a:lnTo>
                  <a:lnTo>
                    <a:pt x="361" y="521"/>
                  </a:lnTo>
                  <a:lnTo>
                    <a:pt x="362" y="522"/>
                  </a:lnTo>
                  <a:lnTo>
                    <a:pt x="362" y="523"/>
                  </a:lnTo>
                  <a:lnTo>
                    <a:pt x="369" y="523"/>
                  </a:lnTo>
                  <a:lnTo>
                    <a:pt x="371" y="522"/>
                  </a:lnTo>
                  <a:lnTo>
                    <a:pt x="369" y="521"/>
                  </a:lnTo>
                  <a:lnTo>
                    <a:pt x="374" y="521"/>
                  </a:lnTo>
                  <a:lnTo>
                    <a:pt x="377" y="520"/>
                  </a:lnTo>
                  <a:lnTo>
                    <a:pt x="378" y="518"/>
                  </a:lnTo>
                  <a:lnTo>
                    <a:pt x="369" y="518"/>
                  </a:lnTo>
                  <a:lnTo>
                    <a:pt x="366" y="521"/>
                  </a:lnTo>
                  <a:lnTo>
                    <a:pt x="365" y="521"/>
                  </a:lnTo>
                  <a:lnTo>
                    <a:pt x="363" y="520"/>
                  </a:lnTo>
                  <a:lnTo>
                    <a:pt x="363" y="516"/>
                  </a:lnTo>
                  <a:lnTo>
                    <a:pt x="366" y="515"/>
                  </a:lnTo>
                  <a:lnTo>
                    <a:pt x="371" y="516"/>
                  </a:lnTo>
                  <a:lnTo>
                    <a:pt x="372" y="515"/>
                  </a:lnTo>
                  <a:lnTo>
                    <a:pt x="371" y="515"/>
                  </a:lnTo>
                  <a:lnTo>
                    <a:pt x="365" y="514"/>
                  </a:lnTo>
                  <a:lnTo>
                    <a:pt x="363" y="514"/>
                  </a:lnTo>
                  <a:lnTo>
                    <a:pt x="363" y="515"/>
                  </a:lnTo>
                  <a:lnTo>
                    <a:pt x="362" y="514"/>
                  </a:lnTo>
                  <a:lnTo>
                    <a:pt x="363" y="511"/>
                  </a:lnTo>
                  <a:lnTo>
                    <a:pt x="366" y="510"/>
                  </a:lnTo>
                  <a:lnTo>
                    <a:pt x="369" y="510"/>
                  </a:lnTo>
                  <a:lnTo>
                    <a:pt x="373" y="512"/>
                  </a:lnTo>
                  <a:lnTo>
                    <a:pt x="383" y="512"/>
                  </a:lnTo>
                  <a:lnTo>
                    <a:pt x="380" y="511"/>
                  </a:lnTo>
                  <a:lnTo>
                    <a:pt x="374" y="510"/>
                  </a:lnTo>
                  <a:lnTo>
                    <a:pt x="373" y="510"/>
                  </a:lnTo>
                  <a:lnTo>
                    <a:pt x="373" y="508"/>
                  </a:lnTo>
                  <a:lnTo>
                    <a:pt x="369" y="508"/>
                  </a:lnTo>
                  <a:lnTo>
                    <a:pt x="369" y="504"/>
                  </a:lnTo>
                  <a:lnTo>
                    <a:pt x="367" y="504"/>
                  </a:lnTo>
                  <a:lnTo>
                    <a:pt x="367" y="500"/>
                  </a:lnTo>
                  <a:lnTo>
                    <a:pt x="366" y="499"/>
                  </a:lnTo>
                  <a:lnTo>
                    <a:pt x="363" y="500"/>
                  </a:lnTo>
                  <a:lnTo>
                    <a:pt x="362" y="499"/>
                  </a:lnTo>
                  <a:lnTo>
                    <a:pt x="365" y="497"/>
                  </a:lnTo>
                  <a:lnTo>
                    <a:pt x="372" y="497"/>
                  </a:lnTo>
                  <a:lnTo>
                    <a:pt x="373" y="496"/>
                  </a:lnTo>
                  <a:lnTo>
                    <a:pt x="373" y="493"/>
                  </a:lnTo>
                  <a:lnTo>
                    <a:pt x="377" y="493"/>
                  </a:lnTo>
                  <a:lnTo>
                    <a:pt x="378" y="491"/>
                  </a:lnTo>
                  <a:lnTo>
                    <a:pt x="379" y="491"/>
                  </a:lnTo>
                  <a:lnTo>
                    <a:pt x="380" y="490"/>
                  </a:lnTo>
                  <a:lnTo>
                    <a:pt x="381" y="490"/>
                  </a:lnTo>
                  <a:lnTo>
                    <a:pt x="381" y="492"/>
                  </a:lnTo>
                  <a:lnTo>
                    <a:pt x="380" y="493"/>
                  </a:lnTo>
                  <a:lnTo>
                    <a:pt x="379" y="493"/>
                  </a:lnTo>
                  <a:lnTo>
                    <a:pt x="378" y="494"/>
                  </a:lnTo>
                  <a:lnTo>
                    <a:pt x="379" y="497"/>
                  </a:lnTo>
                  <a:lnTo>
                    <a:pt x="380" y="498"/>
                  </a:lnTo>
                  <a:lnTo>
                    <a:pt x="381" y="498"/>
                  </a:lnTo>
                  <a:lnTo>
                    <a:pt x="380" y="497"/>
                  </a:lnTo>
                  <a:lnTo>
                    <a:pt x="381" y="494"/>
                  </a:lnTo>
                  <a:lnTo>
                    <a:pt x="381" y="493"/>
                  </a:lnTo>
                  <a:lnTo>
                    <a:pt x="384" y="493"/>
                  </a:lnTo>
                  <a:lnTo>
                    <a:pt x="385" y="492"/>
                  </a:lnTo>
                  <a:lnTo>
                    <a:pt x="385" y="490"/>
                  </a:lnTo>
                  <a:lnTo>
                    <a:pt x="384" y="489"/>
                  </a:lnTo>
                  <a:lnTo>
                    <a:pt x="384" y="484"/>
                  </a:lnTo>
                  <a:lnTo>
                    <a:pt x="385" y="483"/>
                  </a:lnTo>
                  <a:lnTo>
                    <a:pt x="386" y="484"/>
                  </a:lnTo>
                  <a:lnTo>
                    <a:pt x="386" y="486"/>
                  </a:lnTo>
                  <a:lnTo>
                    <a:pt x="387" y="490"/>
                  </a:lnTo>
                  <a:lnTo>
                    <a:pt x="387" y="491"/>
                  </a:lnTo>
                  <a:lnTo>
                    <a:pt x="389" y="493"/>
                  </a:lnTo>
                  <a:lnTo>
                    <a:pt x="390" y="492"/>
                  </a:lnTo>
                  <a:lnTo>
                    <a:pt x="392" y="492"/>
                  </a:lnTo>
                  <a:lnTo>
                    <a:pt x="392" y="490"/>
                  </a:lnTo>
                  <a:lnTo>
                    <a:pt x="393" y="490"/>
                  </a:lnTo>
                  <a:lnTo>
                    <a:pt x="394" y="487"/>
                  </a:lnTo>
                  <a:lnTo>
                    <a:pt x="394" y="485"/>
                  </a:lnTo>
                  <a:lnTo>
                    <a:pt x="393" y="484"/>
                  </a:lnTo>
                  <a:lnTo>
                    <a:pt x="394" y="484"/>
                  </a:lnTo>
                  <a:lnTo>
                    <a:pt x="400" y="483"/>
                  </a:lnTo>
                  <a:lnTo>
                    <a:pt x="403" y="485"/>
                  </a:lnTo>
                  <a:lnTo>
                    <a:pt x="405" y="485"/>
                  </a:lnTo>
                  <a:lnTo>
                    <a:pt x="406" y="486"/>
                  </a:lnTo>
                  <a:lnTo>
                    <a:pt x="406" y="487"/>
                  </a:lnTo>
                  <a:lnTo>
                    <a:pt x="408" y="487"/>
                  </a:lnTo>
                  <a:lnTo>
                    <a:pt x="408" y="484"/>
                  </a:lnTo>
                  <a:lnTo>
                    <a:pt x="406" y="483"/>
                  </a:lnTo>
                  <a:lnTo>
                    <a:pt x="404" y="483"/>
                  </a:lnTo>
                  <a:lnTo>
                    <a:pt x="398" y="481"/>
                  </a:lnTo>
                  <a:lnTo>
                    <a:pt x="394" y="481"/>
                  </a:lnTo>
                  <a:lnTo>
                    <a:pt x="394" y="480"/>
                  </a:lnTo>
                  <a:lnTo>
                    <a:pt x="396" y="479"/>
                  </a:lnTo>
                  <a:lnTo>
                    <a:pt x="396" y="478"/>
                  </a:lnTo>
                  <a:lnTo>
                    <a:pt x="397" y="477"/>
                  </a:lnTo>
                  <a:lnTo>
                    <a:pt x="396" y="475"/>
                  </a:lnTo>
                  <a:lnTo>
                    <a:pt x="397" y="474"/>
                  </a:lnTo>
                  <a:lnTo>
                    <a:pt x="397" y="473"/>
                  </a:lnTo>
                  <a:lnTo>
                    <a:pt x="398" y="472"/>
                  </a:lnTo>
                  <a:lnTo>
                    <a:pt x="402" y="472"/>
                  </a:lnTo>
                  <a:lnTo>
                    <a:pt x="402" y="473"/>
                  </a:lnTo>
                  <a:lnTo>
                    <a:pt x="400" y="474"/>
                  </a:lnTo>
                  <a:lnTo>
                    <a:pt x="400" y="478"/>
                  </a:lnTo>
                  <a:lnTo>
                    <a:pt x="402" y="478"/>
                  </a:lnTo>
                  <a:lnTo>
                    <a:pt x="402" y="475"/>
                  </a:lnTo>
                  <a:lnTo>
                    <a:pt x="403" y="474"/>
                  </a:lnTo>
                  <a:lnTo>
                    <a:pt x="402" y="474"/>
                  </a:lnTo>
                  <a:lnTo>
                    <a:pt x="402" y="473"/>
                  </a:lnTo>
                  <a:lnTo>
                    <a:pt x="411" y="472"/>
                  </a:lnTo>
                  <a:lnTo>
                    <a:pt x="412" y="473"/>
                  </a:lnTo>
                  <a:lnTo>
                    <a:pt x="414" y="477"/>
                  </a:lnTo>
                  <a:lnTo>
                    <a:pt x="415" y="477"/>
                  </a:lnTo>
                  <a:lnTo>
                    <a:pt x="415" y="474"/>
                  </a:lnTo>
                  <a:lnTo>
                    <a:pt x="414" y="473"/>
                  </a:lnTo>
                  <a:lnTo>
                    <a:pt x="414" y="472"/>
                  </a:lnTo>
                  <a:lnTo>
                    <a:pt x="410" y="471"/>
                  </a:lnTo>
                  <a:lnTo>
                    <a:pt x="404" y="471"/>
                  </a:lnTo>
                  <a:lnTo>
                    <a:pt x="408" y="467"/>
                  </a:lnTo>
                  <a:lnTo>
                    <a:pt x="410" y="469"/>
                  </a:lnTo>
                  <a:lnTo>
                    <a:pt x="411" y="469"/>
                  </a:lnTo>
                  <a:lnTo>
                    <a:pt x="412" y="468"/>
                  </a:lnTo>
                  <a:lnTo>
                    <a:pt x="414" y="468"/>
                  </a:lnTo>
                  <a:lnTo>
                    <a:pt x="416" y="466"/>
                  </a:lnTo>
                  <a:lnTo>
                    <a:pt x="419" y="467"/>
                  </a:lnTo>
                  <a:lnTo>
                    <a:pt x="424" y="466"/>
                  </a:lnTo>
                  <a:lnTo>
                    <a:pt x="424" y="467"/>
                  </a:lnTo>
                  <a:lnTo>
                    <a:pt x="422" y="467"/>
                  </a:lnTo>
                  <a:lnTo>
                    <a:pt x="422" y="471"/>
                  </a:lnTo>
                  <a:lnTo>
                    <a:pt x="421" y="472"/>
                  </a:lnTo>
                  <a:lnTo>
                    <a:pt x="421" y="474"/>
                  </a:lnTo>
                  <a:lnTo>
                    <a:pt x="423" y="479"/>
                  </a:lnTo>
                  <a:lnTo>
                    <a:pt x="425" y="479"/>
                  </a:lnTo>
                  <a:lnTo>
                    <a:pt x="425" y="478"/>
                  </a:lnTo>
                  <a:lnTo>
                    <a:pt x="424" y="475"/>
                  </a:lnTo>
                  <a:lnTo>
                    <a:pt x="422" y="473"/>
                  </a:lnTo>
                  <a:lnTo>
                    <a:pt x="425" y="468"/>
                  </a:lnTo>
                  <a:lnTo>
                    <a:pt x="425" y="467"/>
                  </a:lnTo>
                  <a:lnTo>
                    <a:pt x="429" y="467"/>
                  </a:lnTo>
                  <a:lnTo>
                    <a:pt x="430" y="468"/>
                  </a:lnTo>
                  <a:lnTo>
                    <a:pt x="434" y="468"/>
                  </a:lnTo>
                  <a:lnTo>
                    <a:pt x="437" y="472"/>
                  </a:lnTo>
                  <a:lnTo>
                    <a:pt x="440" y="472"/>
                  </a:lnTo>
                  <a:lnTo>
                    <a:pt x="441" y="473"/>
                  </a:lnTo>
                  <a:lnTo>
                    <a:pt x="441" y="479"/>
                  </a:lnTo>
                  <a:lnTo>
                    <a:pt x="445" y="483"/>
                  </a:lnTo>
                  <a:lnTo>
                    <a:pt x="446" y="483"/>
                  </a:lnTo>
                  <a:lnTo>
                    <a:pt x="446" y="481"/>
                  </a:lnTo>
                  <a:lnTo>
                    <a:pt x="443" y="479"/>
                  </a:lnTo>
                  <a:lnTo>
                    <a:pt x="443" y="477"/>
                  </a:lnTo>
                  <a:lnTo>
                    <a:pt x="445" y="474"/>
                  </a:lnTo>
                  <a:lnTo>
                    <a:pt x="445" y="471"/>
                  </a:lnTo>
                  <a:lnTo>
                    <a:pt x="442" y="469"/>
                  </a:lnTo>
                  <a:lnTo>
                    <a:pt x="441" y="468"/>
                  </a:lnTo>
                  <a:lnTo>
                    <a:pt x="442" y="467"/>
                  </a:lnTo>
                  <a:lnTo>
                    <a:pt x="445" y="467"/>
                  </a:lnTo>
                  <a:lnTo>
                    <a:pt x="455" y="471"/>
                  </a:lnTo>
                  <a:lnTo>
                    <a:pt x="456" y="471"/>
                  </a:lnTo>
                  <a:lnTo>
                    <a:pt x="455" y="469"/>
                  </a:lnTo>
                  <a:lnTo>
                    <a:pt x="455" y="468"/>
                  </a:lnTo>
                  <a:lnTo>
                    <a:pt x="454" y="468"/>
                  </a:lnTo>
                  <a:lnTo>
                    <a:pt x="454" y="466"/>
                  </a:lnTo>
                  <a:lnTo>
                    <a:pt x="450" y="468"/>
                  </a:lnTo>
                  <a:lnTo>
                    <a:pt x="448" y="466"/>
                  </a:lnTo>
                  <a:lnTo>
                    <a:pt x="442" y="465"/>
                  </a:lnTo>
                  <a:lnTo>
                    <a:pt x="440" y="465"/>
                  </a:lnTo>
                  <a:lnTo>
                    <a:pt x="437" y="467"/>
                  </a:lnTo>
                  <a:lnTo>
                    <a:pt x="436" y="466"/>
                  </a:lnTo>
                  <a:lnTo>
                    <a:pt x="437" y="466"/>
                  </a:lnTo>
                  <a:lnTo>
                    <a:pt x="440" y="463"/>
                  </a:lnTo>
                  <a:lnTo>
                    <a:pt x="436" y="462"/>
                  </a:lnTo>
                  <a:lnTo>
                    <a:pt x="436" y="463"/>
                  </a:lnTo>
                  <a:lnTo>
                    <a:pt x="435" y="463"/>
                  </a:lnTo>
                  <a:lnTo>
                    <a:pt x="434" y="465"/>
                  </a:lnTo>
                  <a:lnTo>
                    <a:pt x="428" y="462"/>
                  </a:lnTo>
                  <a:lnTo>
                    <a:pt x="428" y="461"/>
                  </a:lnTo>
                  <a:lnTo>
                    <a:pt x="430" y="461"/>
                  </a:lnTo>
                  <a:lnTo>
                    <a:pt x="430" y="460"/>
                  </a:lnTo>
                  <a:lnTo>
                    <a:pt x="431" y="460"/>
                  </a:lnTo>
                  <a:lnTo>
                    <a:pt x="431" y="456"/>
                  </a:lnTo>
                  <a:lnTo>
                    <a:pt x="430" y="456"/>
                  </a:lnTo>
                  <a:lnTo>
                    <a:pt x="427" y="457"/>
                  </a:lnTo>
                  <a:lnTo>
                    <a:pt x="425" y="457"/>
                  </a:lnTo>
                  <a:lnTo>
                    <a:pt x="425" y="460"/>
                  </a:lnTo>
                  <a:lnTo>
                    <a:pt x="415" y="460"/>
                  </a:lnTo>
                  <a:lnTo>
                    <a:pt x="416" y="461"/>
                  </a:lnTo>
                  <a:lnTo>
                    <a:pt x="417" y="461"/>
                  </a:lnTo>
                  <a:lnTo>
                    <a:pt x="418" y="462"/>
                  </a:lnTo>
                  <a:lnTo>
                    <a:pt x="417" y="463"/>
                  </a:lnTo>
                  <a:lnTo>
                    <a:pt x="411" y="466"/>
                  </a:lnTo>
                  <a:lnTo>
                    <a:pt x="409" y="466"/>
                  </a:lnTo>
                  <a:lnTo>
                    <a:pt x="411" y="465"/>
                  </a:lnTo>
                  <a:lnTo>
                    <a:pt x="412" y="462"/>
                  </a:lnTo>
                  <a:lnTo>
                    <a:pt x="412" y="460"/>
                  </a:lnTo>
                  <a:lnTo>
                    <a:pt x="411" y="460"/>
                  </a:lnTo>
                  <a:lnTo>
                    <a:pt x="406" y="462"/>
                  </a:lnTo>
                  <a:lnTo>
                    <a:pt x="400" y="462"/>
                  </a:lnTo>
                  <a:lnTo>
                    <a:pt x="399" y="463"/>
                  </a:lnTo>
                  <a:lnTo>
                    <a:pt x="398" y="463"/>
                  </a:lnTo>
                  <a:lnTo>
                    <a:pt x="397" y="465"/>
                  </a:lnTo>
                  <a:lnTo>
                    <a:pt x="397" y="463"/>
                  </a:lnTo>
                  <a:lnTo>
                    <a:pt x="400" y="460"/>
                  </a:lnTo>
                  <a:lnTo>
                    <a:pt x="399" y="460"/>
                  </a:lnTo>
                  <a:lnTo>
                    <a:pt x="402" y="457"/>
                  </a:lnTo>
                  <a:lnTo>
                    <a:pt x="403" y="455"/>
                  </a:lnTo>
                  <a:lnTo>
                    <a:pt x="408" y="449"/>
                  </a:lnTo>
                  <a:lnTo>
                    <a:pt x="409" y="448"/>
                  </a:lnTo>
                  <a:lnTo>
                    <a:pt x="408" y="447"/>
                  </a:lnTo>
                  <a:lnTo>
                    <a:pt x="408" y="446"/>
                  </a:lnTo>
                  <a:lnTo>
                    <a:pt x="409" y="446"/>
                  </a:lnTo>
                  <a:lnTo>
                    <a:pt x="409" y="444"/>
                  </a:lnTo>
                  <a:lnTo>
                    <a:pt x="410" y="443"/>
                  </a:lnTo>
                  <a:lnTo>
                    <a:pt x="414" y="444"/>
                  </a:lnTo>
                  <a:lnTo>
                    <a:pt x="415" y="443"/>
                  </a:lnTo>
                  <a:lnTo>
                    <a:pt x="416" y="443"/>
                  </a:lnTo>
                  <a:lnTo>
                    <a:pt x="417" y="446"/>
                  </a:lnTo>
                  <a:lnTo>
                    <a:pt x="417" y="447"/>
                  </a:lnTo>
                  <a:lnTo>
                    <a:pt x="416" y="448"/>
                  </a:lnTo>
                  <a:lnTo>
                    <a:pt x="417" y="448"/>
                  </a:lnTo>
                  <a:lnTo>
                    <a:pt x="421" y="444"/>
                  </a:lnTo>
                  <a:lnTo>
                    <a:pt x="422" y="444"/>
                  </a:lnTo>
                  <a:lnTo>
                    <a:pt x="424" y="443"/>
                  </a:lnTo>
                  <a:lnTo>
                    <a:pt x="427" y="441"/>
                  </a:lnTo>
                  <a:lnTo>
                    <a:pt x="422" y="442"/>
                  </a:lnTo>
                  <a:lnTo>
                    <a:pt x="417" y="441"/>
                  </a:lnTo>
                  <a:lnTo>
                    <a:pt x="418" y="440"/>
                  </a:lnTo>
                  <a:lnTo>
                    <a:pt x="417" y="438"/>
                  </a:lnTo>
                  <a:lnTo>
                    <a:pt x="425" y="438"/>
                  </a:lnTo>
                  <a:lnTo>
                    <a:pt x="427" y="437"/>
                  </a:lnTo>
                  <a:lnTo>
                    <a:pt x="427" y="436"/>
                  </a:lnTo>
                  <a:lnTo>
                    <a:pt x="428" y="436"/>
                  </a:lnTo>
                  <a:lnTo>
                    <a:pt x="429" y="435"/>
                  </a:lnTo>
                  <a:lnTo>
                    <a:pt x="430" y="435"/>
                  </a:lnTo>
                  <a:lnTo>
                    <a:pt x="433" y="432"/>
                  </a:lnTo>
                  <a:lnTo>
                    <a:pt x="433" y="435"/>
                  </a:lnTo>
                  <a:lnTo>
                    <a:pt x="434" y="436"/>
                  </a:lnTo>
                  <a:lnTo>
                    <a:pt x="433" y="437"/>
                  </a:lnTo>
                  <a:lnTo>
                    <a:pt x="431" y="437"/>
                  </a:lnTo>
                  <a:lnTo>
                    <a:pt x="431" y="438"/>
                  </a:lnTo>
                  <a:lnTo>
                    <a:pt x="433" y="438"/>
                  </a:lnTo>
                  <a:lnTo>
                    <a:pt x="431" y="440"/>
                  </a:lnTo>
                  <a:lnTo>
                    <a:pt x="431" y="442"/>
                  </a:lnTo>
                  <a:lnTo>
                    <a:pt x="430" y="444"/>
                  </a:lnTo>
                  <a:lnTo>
                    <a:pt x="434" y="441"/>
                  </a:lnTo>
                  <a:lnTo>
                    <a:pt x="434" y="438"/>
                  </a:lnTo>
                  <a:lnTo>
                    <a:pt x="435" y="437"/>
                  </a:lnTo>
                  <a:lnTo>
                    <a:pt x="441" y="436"/>
                  </a:lnTo>
                  <a:lnTo>
                    <a:pt x="443" y="437"/>
                  </a:lnTo>
                  <a:lnTo>
                    <a:pt x="445" y="440"/>
                  </a:lnTo>
                  <a:lnTo>
                    <a:pt x="445" y="441"/>
                  </a:lnTo>
                  <a:lnTo>
                    <a:pt x="448" y="448"/>
                  </a:lnTo>
                  <a:lnTo>
                    <a:pt x="448" y="451"/>
                  </a:lnTo>
                  <a:lnTo>
                    <a:pt x="449" y="454"/>
                  </a:lnTo>
                  <a:lnTo>
                    <a:pt x="452" y="456"/>
                  </a:lnTo>
                  <a:lnTo>
                    <a:pt x="452" y="457"/>
                  </a:lnTo>
                  <a:lnTo>
                    <a:pt x="450" y="457"/>
                  </a:lnTo>
                  <a:lnTo>
                    <a:pt x="450" y="459"/>
                  </a:lnTo>
                  <a:lnTo>
                    <a:pt x="452" y="460"/>
                  </a:lnTo>
                  <a:lnTo>
                    <a:pt x="453" y="460"/>
                  </a:lnTo>
                  <a:lnTo>
                    <a:pt x="454" y="456"/>
                  </a:lnTo>
                  <a:lnTo>
                    <a:pt x="454" y="455"/>
                  </a:lnTo>
                  <a:lnTo>
                    <a:pt x="452" y="454"/>
                  </a:lnTo>
                  <a:lnTo>
                    <a:pt x="450" y="454"/>
                  </a:lnTo>
                  <a:lnTo>
                    <a:pt x="450" y="448"/>
                  </a:lnTo>
                  <a:lnTo>
                    <a:pt x="448" y="446"/>
                  </a:lnTo>
                  <a:lnTo>
                    <a:pt x="447" y="443"/>
                  </a:lnTo>
                  <a:lnTo>
                    <a:pt x="447" y="442"/>
                  </a:lnTo>
                  <a:lnTo>
                    <a:pt x="449" y="441"/>
                  </a:lnTo>
                  <a:lnTo>
                    <a:pt x="449" y="440"/>
                  </a:lnTo>
                  <a:lnTo>
                    <a:pt x="448" y="440"/>
                  </a:lnTo>
                  <a:lnTo>
                    <a:pt x="447" y="438"/>
                  </a:lnTo>
                  <a:lnTo>
                    <a:pt x="448" y="436"/>
                  </a:lnTo>
                  <a:lnTo>
                    <a:pt x="450" y="434"/>
                  </a:lnTo>
                  <a:lnTo>
                    <a:pt x="458" y="430"/>
                  </a:lnTo>
                  <a:lnTo>
                    <a:pt x="462" y="429"/>
                  </a:lnTo>
                  <a:lnTo>
                    <a:pt x="461" y="426"/>
                  </a:lnTo>
                  <a:lnTo>
                    <a:pt x="453" y="429"/>
                  </a:lnTo>
                  <a:lnTo>
                    <a:pt x="448" y="434"/>
                  </a:lnTo>
                  <a:lnTo>
                    <a:pt x="446" y="434"/>
                  </a:lnTo>
                  <a:lnTo>
                    <a:pt x="436" y="432"/>
                  </a:lnTo>
                  <a:lnTo>
                    <a:pt x="435" y="432"/>
                  </a:lnTo>
                  <a:lnTo>
                    <a:pt x="434" y="431"/>
                  </a:lnTo>
                  <a:lnTo>
                    <a:pt x="435" y="429"/>
                  </a:lnTo>
                  <a:lnTo>
                    <a:pt x="435" y="428"/>
                  </a:lnTo>
                  <a:lnTo>
                    <a:pt x="436" y="426"/>
                  </a:lnTo>
                  <a:lnTo>
                    <a:pt x="435" y="425"/>
                  </a:lnTo>
                  <a:lnTo>
                    <a:pt x="441" y="425"/>
                  </a:lnTo>
                  <a:lnTo>
                    <a:pt x="442" y="426"/>
                  </a:lnTo>
                  <a:lnTo>
                    <a:pt x="443" y="426"/>
                  </a:lnTo>
                  <a:lnTo>
                    <a:pt x="443" y="429"/>
                  </a:lnTo>
                  <a:lnTo>
                    <a:pt x="445" y="428"/>
                  </a:lnTo>
                  <a:lnTo>
                    <a:pt x="445" y="426"/>
                  </a:lnTo>
                  <a:lnTo>
                    <a:pt x="442" y="424"/>
                  </a:lnTo>
                  <a:lnTo>
                    <a:pt x="442" y="423"/>
                  </a:lnTo>
                  <a:lnTo>
                    <a:pt x="443" y="423"/>
                  </a:lnTo>
                  <a:lnTo>
                    <a:pt x="442" y="422"/>
                  </a:lnTo>
                  <a:lnTo>
                    <a:pt x="442" y="420"/>
                  </a:lnTo>
                  <a:lnTo>
                    <a:pt x="441" y="420"/>
                  </a:lnTo>
                  <a:lnTo>
                    <a:pt x="441" y="423"/>
                  </a:lnTo>
                  <a:lnTo>
                    <a:pt x="437" y="423"/>
                  </a:lnTo>
                  <a:lnTo>
                    <a:pt x="437" y="422"/>
                  </a:lnTo>
                  <a:lnTo>
                    <a:pt x="436" y="422"/>
                  </a:lnTo>
                  <a:lnTo>
                    <a:pt x="434" y="423"/>
                  </a:lnTo>
                  <a:lnTo>
                    <a:pt x="433" y="423"/>
                  </a:lnTo>
                  <a:lnTo>
                    <a:pt x="433" y="419"/>
                  </a:lnTo>
                  <a:lnTo>
                    <a:pt x="437" y="414"/>
                  </a:lnTo>
                  <a:lnTo>
                    <a:pt x="436" y="413"/>
                  </a:lnTo>
                  <a:lnTo>
                    <a:pt x="437" y="411"/>
                  </a:lnTo>
                  <a:lnTo>
                    <a:pt x="441" y="412"/>
                  </a:lnTo>
                  <a:lnTo>
                    <a:pt x="442" y="414"/>
                  </a:lnTo>
                  <a:lnTo>
                    <a:pt x="448" y="416"/>
                  </a:lnTo>
                  <a:lnTo>
                    <a:pt x="447" y="414"/>
                  </a:lnTo>
                  <a:lnTo>
                    <a:pt x="447" y="413"/>
                  </a:lnTo>
                  <a:lnTo>
                    <a:pt x="453" y="416"/>
                  </a:lnTo>
                  <a:lnTo>
                    <a:pt x="449" y="412"/>
                  </a:lnTo>
                  <a:lnTo>
                    <a:pt x="448" y="412"/>
                  </a:lnTo>
                  <a:lnTo>
                    <a:pt x="446" y="413"/>
                  </a:lnTo>
                  <a:lnTo>
                    <a:pt x="445" y="412"/>
                  </a:lnTo>
                  <a:lnTo>
                    <a:pt x="442" y="408"/>
                  </a:lnTo>
                  <a:lnTo>
                    <a:pt x="450" y="407"/>
                  </a:lnTo>
                  <a:lnTo>
                    <a:pt x="453" y="408"/>
                  </a:lnTo>
                  <a:lnTo>
                    <a:pt x="459" y="416"/>
                  </a:lnTo>
                  <a:lnTo>
                    <a:pt x="460" y="416"/>
                  </a:lnTo>
                  <a:lnTo>
                    <a:pt x="460" y="413"/>
                  </a:lnTo>
                  <a:lnTo>
                    <a:pt x="459" y="413"/>
                  </a:lnTo>
                  <a:lnTo>
                    <a:pt x="458" y="412"/>
                  </a:lnTo>
                  <a:lnTo>
                    <a:pt x="458" y="410"/>
                  </a:lnTo>
                  <a:lnTo>
                    <a:pt x="453" y="406"/>
                  </a:lnTo>
                  <a:lnTo>
                    <a:pt x="452" y="406"/>
                  </a:lnTo>
                  <a:lnTo>
                    <a:pt x="452" y="405"/>
                  </a:lnTo>
                  <a:lnTo>
                    <a:pt x="453" y="404"/>
                  </a:lnTo>
                  <a:lnTo>
                    <a:pt x="453" y="403"/>
                  </a:lnTo>
                  <a:lnTo>
                    <a:pt x="450" y="405"/>
                  </a:lnTo>
                  <a:lnTo>
                    <a:pt x="442" y="403"/>
                  </a:lnTo>
                  <a:lnTo>
                    <a:pt x="442" y="400"/>
                  </a:lnTo>
                  <a:lnTo>
                    <a:pt x="443" y="398"/>
                  </a:lnTo>
                  <a:lnTo>
                    <a:pt x="443" y="395"/>
                  </a:lnTo>
                  <a:lnTo>
                    <a:pt x="442" y="395"/>
                  </a:lnTo>
                  <a:lnTo>
                    <a:pt x="442" y="399"/>
                  </a:lnTo>
                  <a:lnTo>
                    <a:pt x="441" y="395"/>
                  </a:lnTo>
                  <a:lnTo>
                    <a:pt x="441" y="394"/>
                  </a:lnTo>
                  <a:lnTo>
                    <a:pt x="440" y="397"/>
                  </a:lnTo>
                  <a:lnTo>
                    <a:pt x="441" y="400"/>
                  </a:lnTo>
                  <a:lnTo>
                    <a:pt x="441" y="401"/>
                  </a:lnTo>
                  <a:lnTo>
                    <a:pt x="437" y="405"/>
                  </a:lnTo>
                  <a:lnTo>
                    <a:pt x="436" y="407"/>
                  </a:lnTo>
                  <a:lnTo>
                    <a:pt x="434" y="408"/>
                  </a:lnTo>
                  <a:lnTo>
                    <a:pt x="433" y="411"/>
                  </a:lnTo>
                  <a:lnTo>
                    <a:pt x="431" y="412"/>
                  </a:lnTo>
                  <a:lnTo>
                    <a:pt x="427" y="416"/>
                  </a:lnTo>
                  <a:lnTo>
                    <a:pt x="423" y="417"/>
                  </a:lnTo>
                  <a:lnTo>
                    <a:pt x="422" y="418"/>
                  </a:lnTo>
                  <a:lnTo>
                    <a:pt x="418" y="419"/>
                  </a:lnTo>
                  <a:lnTo>
                    <a:pt x="417" y="418"/>
                  </a:lnTo>
                  <a:lnTo>
                    <a:pt x="415" y="419"/>
                  </a:lnTo>
                  <a:lnTo>
                    <a:pt x="414" y="417"/>
                  </a:lnTo>
                  <a:lnTo>
                    <a:pt x="419" y="413"/>
                  </a:lnTo>
                  <a:lnTo>
                    <a:pt x="419" y="412"/>
                  </a:lnTo>
                  <a:lnTo>
                    <a:pt x="416" y="411"/>
                  </a:lnTo>
                  <a:lnTo>
                    <a:pt x="416" y="410"/>
                  </a:lnTo>
                  <a:lnTo>
                    <a:pt x="419" y="410"/>
                  </a:lnTo>
                  <a:lnTo>
                    <a:pt x="430" y="408"/>
                  </a:lnTo>
                  <a:lnTo>
                    <a:pt x="429" y="407"/>
                  </a:lnTo>
                  <a:lnTo>
                    <a:pt x="425" y="407"/>
                  </a:lnTo>
                  <a:lnTo>
                    <a:pt x="424" y="405"/>
                  </a:lnTo>
                  <a:lnTo>
                    <a:pt x="425" y="405"/>
                  </a:lnTo>
                  <a:lnTo>
                    <a:pt x="427" y="404"/>
                  </a:lnTo>
                  <a:lnTo>
                    <a:pt x="419" y="405"/>
                  </a:lnTo>
                  <a:lnTo>
                    <a:pt x="417" y="405"/>
                  </a:lnTo>
                  <a:lnTo>
                    <a:pt x="417" y="403"/>
                  </a:lnTo>
                  <a:lnTo>
                    <a:pt x="416" y="403"/>
                  </a:lnTo>
                  <a:lnTo>
                    <a:pt x="416" y="404"/>
                  </a:lnTo>
                  <a:lnTo>
                    <a:pt x="415" y="403"/>
                  </a:lnTo>
                  <a:lnTo>
                    <a:pt x="415" y="400"/>
                  </a:lnTo>
                  <a:lnTo>
                    <a:pt x="416" y="399"/>
                  </a:lnTo>
                  <a:lnTo>
                    <a:pt x="419" y="399"/>
                  </a:lnTo>
                  <a:lnTo>
                    <a:pt x="423" y="398"/>
                  </a:lnTo>
                  <a:lnTo>
                    <a:pt x="428" y="398"/>
                  </a:lnTo>
                  <a:lnTo>
                    <a:pt x="429" y="397"/>
                  </a:lnTo>
                  <a:lnTo>
                    <a:pt x="428" y="395"/>
                  </a:lnTo>
                  <a:lnTo>
                    <a:pt x="418" y="397"/>
                  </a:lnTo>
                  <a:lnTo>
                    <a:pt x="424" y="391"/>
                  </a:lnTo>
                  <a:lnTo>
                    <a:pt x="427" y="391"/>
                  </a:lnTo>
                  <a:lnTo>
                    <a:pt x="428" y="392"/>
                  </a:lnTo>
                  <a:lnTo>
                    <a:pt x="433" y="392"/>
                  </a:lnTo>
                  <a:lnTo>
                    <a:pt x="435" y="394"/>
                  </a:lnTo>
                  <a:lnTo>
                    <a:pt x="434" y="394"/>
                  </a:lnTo>
                  <a:lnTo>
                    <a:pt x="434" y="395"/>
                  </a:lnTo>
                  <a:lnTo>
                    <a:pt x="433" y="397"/>
                  </a:lnTo>
                  <a:lnTo>
                    <a:pt x="433" y="398"/>
                  </a:lnTo>
                  <a:lnTo>
                    <a:pt x="437" y="392"/>
                  </a:lnTo>
                  <a:lnTo>
                    <a:pt x="437" y="391"/>
                  </a:lnTo>
                  <a:lnTo>
                    <a:pt x="437" y="392"/>
                  </a:lnTo>
                  <a:lnTo>
                    <a:pt x="440" y="392"/>
                  </a:lnTo>
                  <a:lnTo>
                    <a:pt x="446" y="388"/>
                  </a:lnTo>
                  <a:lnTo>
                    <a:pt x="448" y="388"/>
                  </a:lnTo>
                  <a:lnTo>
                    <a:pt x="447" y="392"/>
                  </a:lnTo>
                  <a:lnTo>
                    <a:pt x="448" y="391"/>
                  </a:lnTo>
                  <a:lnTo>
                    <a:pt x="448" y="389"/>
                  </a:lnTo>
                  <a:lnTo>
                    <a:pt x="449" y="389"/>
                  </a:lnTo>
                  <a:lnTo>
                    <a:pt x="450" y="388"/>
                  </a:lnTo>
                  <a:lnTo>
                    <a:pt x="450" y="387"/>
                  </a:lnTo>
                  <a:lnTo>
                    <a:pt x="456" y="385"/>
                  </a:lnTo>
                  <a:lnTo>
                    <a:pt x="458" y="385"/>
                  </a:lnTo>
                  <a:lnTo>
                    <a:pt x="460" y="386"/>
                  </a:lnTo>
                  <a:lnTo>
                    <a:pt x="460" y="391"/>
                  </a:lnTo>
                  <a:lnTo>
                    <a:pt x="461" y="391"/>
                  </a:lnTo>
                  <a:lnTo>
                    <a:pt x="461" y="387"/>
                  </a:lnTo>
                  <a:lnTo>
                    <a:pt x="465" y="383"/>
                  </a:lnTo>
                  <a:lnTo>
                    <a:pt x="465" y="382"/>
                  </a:lnTo>
                  <a:lnTo>
                    <a:pt x="466" y="380"/>
                  </a:lnTo>
                  <a:lnTo>
                    <a:pt x="465" y="380"/>
                  </a:lnTo>
                  <a:lnTo>
                    <a:pt x="467" y="377"/>
                  </a:lnTo>
                  <a:lnTo>
                    <a:pt x="470" y="379"/>
                  </a:lnTo>
                  <a:lnTo>
                    <a:pt x="470" y="377"/>
                  </a:lnTo>
                  <a:lnTo>
                    <a:pt x="462" y="376"/>
                  </a:lnTo>
                  <a:lnTo>
                    <a:pt x="461" y="375"/>
                  </a:lnTo>
                  <a:lnTo>
                    <a:pt x="461" y="374"/>
                  </a:lnTo>
                  <a:lnTo>
                    <a:pt x="462" y="373"/>
                  </a:lnTo>
                  <a:lnTo>
                    <a:pt x="462" y="371"/>
                  </a:lnTo>
                  <a:lnTo>
                    <a:pt x="461" y="371"/>
                  </a:lnTo>
                  <a:lnTo>
                    <a:pt x="460" y="374"/>
                  </a:lnTo>
                  <a:lnTo>
                    <a:pt x="459" y="374"/>
                  </a:lnTo>
                  <a:lnTo>
                    <a:pt x="458" y="375"/>
                  </a:lnTo>
                  <a:lnTo>
                    <a:pt x="450" y="375"/>
                  </a:lnTo>
                  <a:lnTo>
                    <a:pt x="449" y="374"/>
                  </a:lnTo>
                  <a:lnTo>
                    <a:pt x="449" y="373"/>
                  </a:lnTo>
                  <a:lnTo>
                    <a:pt x="448" y="371"/>
                  </a:lnTo>
                  <a:lnTo>
                    <a:pt x="448" y="370"/>
                  </a:lnTo>
                  <a:lnTo>
                    <a:pt x="447" y="371"/>
                  </a:lnTo>
                  <a:lnTo>
                    <a:pt x="447" y="373"/>
                  </a:lnTo>
                  <a:lnTo>
                    <a:pt x="441" y="376"/>
                  </a:lnTo>
                  <a:lnTo>
                    <a:pt x="441" y="377"/>
                  </a:lnTo>
                  <a:lnTo>
                    <a:pt x="442" y="379"/>
                  </a:lnTo>
                  <a:lnTo>
                    <a:pt x="442" y="377"/>
                  </a:lnTo>
                  <a:lnTo>
                    <a:pt x="443" y="379"/>
                  </a:lnTo>
                  <a:lnTo>
                    <a:pt x="442" y="380"/>
                  </a:lnTo>
                  <a:lnTo>
                    <a:pt x="440" y="380"/>
                  </a:lnTo>
                  <a:lnTo>
                    <a:pt x="437" y="379"/>
                  </a:lnTo>
                  <a:lnTo>
                    <a:pt x="436" y="375"/>
                  </a:lnTo>
                  <a:lnTo>
                    <a:pt x="437" y="374"/>
                  </a:lnTo>
                  <a:lnTo>
                    <a:pt x="437" y="373"/>
                  </a:lnTo>
                  <a:lnTo>
                    <a:pt x="440" y="373"/>
                  </a:lnTo>
                  <a:lnTo>
                    <a:pt x="440" y="370"/>
                  </a:lnTo>
                  <a:lnTo>
                    <a:pt x="446" y="364"/>
                  </a:lnTo>
                  <a:lnTo>
                    <a:pt x="446" y="368"/>
                  </a:lnTo>
                  <a:lnTo>
                    <a:pt x="447" y="368"/>
                  </a:lnTo>
                  <a:lnTo>
                    <a:pt x="447" y="367"/>
                  </a:lnTo>
                  <a:lnTo>
                    <a:pt x="449" y="367"/>
                  </a:lnTo>
                  <a:lnTo>
                    <a:pt x="452" y="364"/>
                  </a:lnTo>
                  <a:lnTo>
                    <a:pt x="452" y="361"/>
                  </a:lnTo>
                  <a:lnTo>
                    <a:pt x="453" y="361"/>
                  </a:lnTo>
                  <a:lnTo>
                    <a:pt x="453" y="362"/>
                  </a:lnTo>
                  <a:lnTo>
                    <a:pt x="455" y="363"/>
                  </a:lnTo>
                  <a:lnTo>
                    <a:pt x="455" y="364"/>
                  </a:lnTo>
                  <a:lnTo>
                    <a:pt x="454" y="365"/>
                  </a:lnTo>
                  <a:lnTo>
                    <a:pt x="455" y="365"/>
                  </a:lnTo>
                  <a:lnTo>
                    <a:pt x="455" y="367"/>
                  </a:lnTo>
                  <a:lnTo>
                    <a:pt x="456" y="368"/>
                  </a:lnTo>
                  <a:lnTo>
                    <a:pt x="455" y="369"/>
                  </a:lnTo>
                  <a:lnTo>
                    <a:pt x="455" y="370"/>
                  </a:lnTo>
                  <a:lnTo>
                    <a:pt x="452" y="368"/>
                  </a:lnTo>
                  <a:lnTo>
                    <a:pt x="450" y="369"/>
                  </a:lnTo>
                  <a:lnTo>
                    <a:pt x="452" y="370"/>
                  </a:lnTo>
                  <a:lnTo>
                    <a:pt x="452" y="371"/>
                  </a:lnTo>
                  <a:lnTo>
                    <a:pt x="450" y="373"/>
                  </a:lnTo>
                  <a:lnTo>
                    <a:pt x="452" y="374"/>
                  </a:lnTo>
                  <a:lnTo>
                    <a:pt x="453" y="374"/>
                  </a:lnTo>
                  <a:lnTo>
                    <a:pt x="453" y="371"/>
                  </a:lnTo>
                  <a:lnTo>
                    <a:pt x="455" y="371"/>
                  </a:lnTo>
                  <a:lnTo>
                    <a:pt x="456" y="370"/>
                  </a:lnTo>
                  <a:lnTo>
                    <a:pt x="456" y="369"/>
                  </a:lnTo>
                  <a:lnTo>
                    <a:pt x="460" y="369"/>
                  </a:lnTo>
                  <a:lnTo>
                    <a:pt x="460" y="368"/>
                  </a:lnTo>
                  <a:lnTo>
                    <a:pt x="461" y="368"/>
                  </a:lnTo>
                  <a:lnTo>
                    <a:pt x="462" y="365"/>
                  </a:lnTo>
                  <a:lnTo>
                    <a:pt x="464" y="364"/>
                  </a:lnTo>
                  <a:lnTo>
                    <a:pt x="461" y="360"/>
                  </a:lnTo>
                  <a:lnTo>
                    <a:pt x="461" y="358"/>
                  </a:lnTo>
                  <a:lnTo>
                    <a:pt x="462" y="357"/>
                  </a:lnTo>
                  <a:lnTo>
                    <a:pt x="464" y="358"/>
                  </a:lnTo>
                  <a:lnTo>
                    <a:pt x="465" y="358"/>
                  </a:lnTo>
                  <a:lnTo>
                    <a:pt x="465" y="352"/>
                  </a:lnTo>
                  <a:lnTo>
                    <a:pt x="466" y="351"/>
                  </a:lnTo>
                  <a:lnTo>
                    <a:pt x="468" y="351"/>
                  </a:lnTo>
                  <a:lnTo>
                    <a:pt x="468" y="354"/>
                  </a:lnTo>
                  <a:lnTo>
                    <a:pt x="470" y="355"/>
                  </a:lnTo>
                  <a:lnTo>
                    <a:pt x="470" y="358"/>
                  </a:lnTo>
                  <a:lnTo>
                    <a:pt x="468" y="358"/>
                  </a:lnTo>
                  <a:lnTo>
                    <a:pt x="468" y="361"/>
                  </a:lnTo>
                  <a:lnTo>
                    <a:pt x="470" y="361"/>
                  </a:lnTo>
                  <a:lnTo>
                    <a:pt x="471" y="360"/>
                  </a:lnTo>
                  <a:lnTo>
                    <a:pt x="472" y="361"/>
                  </a:lnTo>
                  <a:lnTo>
                    <a:pt x="471" y="363"/>
                  </a:lnTo>
                  <a:lnTo>
                    <a:pt x="471" y="365"/>
                  </a:lnTo>
                  <a:lnTo>
                    <a:pt x="470" y="367"/>
                  </a:lnTo>
                  <a:lnTo>
                    <a:pt x="470" y="368"/>
                  </a:lnTo>
                  <a:lnTo>
                    <a:pt x="471" y="371"/>
                  </a:lnTo>
                  <a:lnTo>
                    <a:pt x="471" y="373"/>
                  </a:lnTo>
                  <a:lnTo>
                    <a:pt x="470" y="374"/>
                  </a:lnTo>
                  <a:lnTo>
                    <a:pt x="470" y="375"/>
                  </a:lnTo>
                  <a:lnTo>
                    <a:pt x="468" y="376"/>
                  </a:lnTo>
                  <a:lnTo>
                    <a:pt x="473" y="380"/>
                  </a:lnTo>
                  <a:lnTo>
                    <a:pt x="476" y="381"/>
                  </a:lnTo>
                  <a:lnTo>
                    <a:pt x="476" y="389"/>
                  </a:lnTo>
                  <a:lnTo>
                    <a:pt x="477" y="392"/>
                  </a:lnTo>
                  <a:lnTo>
                    <a:pt x="477" y="393"/>
                  </a:lnTo>
                  <a:lnTo>
                    <a:pt x="479" y="393"/>
                  </a:lnTo>
                  <a:lnTo>
                    <a:pt x="479" y="394"/>
                  </a:lnTo>
                  <a:lnTo>
                    <a:pt x="480" y="395"/>
                  </a:lnTo>
                  <a:lnTo>
                    <a:pt x="485" y="401"/>
                  </a:lnTo>
                  <a:lnTo>
                    <a:pt x="487" y="403"/>
                  </a:lnTo>
                  <a:lnTo>
                    <a:pt x="489" y="401"/>
                  </a:lnTo>
                  <a:lnTo>
                    <a:pt x="487" y="401"/>
                  </a:lnTo>
                  <a:lnTo>
                    <a:pt x="486" y="400"/>
                  </a:lnTo>
                  <a:lnTo>
                    <a:pt x="486" y="397"/>
                  </a:lnTo>
                  <a:lnTo>
                    <a:pt x="480" y="393"/>
                  </a:lnTo>
                  <a:lnTo>
                    <a:pt x="478" y="392"/>
                  </a:lnTo>
                  <a:lnTo>
                    <a:pt x="478" y="388"/>
                  </a:lnTo>
                  <a:lnTo>
                    <a:pt x="479" y="387"/>
                  </a:lnTo>
                  <a:lnTo>
                    <a:pt x="479" y="386"/>
                  </a:lnTo>
                  <a:lnTo>
                    <a:pt x="478" y="383"/>
                  </a:lnTo>
                  <a:lnTo>
                    <a:pt x="479" y="382"/>
                  </a:lnTo>
                  <a:lnTo>
                    <a:pt x="476" y="379"/>
                  </a:lnTo>
                  <a:lnTo>
                    <a:pt x="479" y="379"/>
                  </a:lnTo>
                  <a:lnTo>
                    <a:pt x="480" y="380"/>
                  </a:lnTo>
                  <a:lnTo>
                    <a:pt x="484" y="388"/>
                  </a:lnTo>
                  <a:lnTo>
                    <a:pt x="484" y="389"/>
                  </a:lnTo>
                  <a:lnTo>
                    <a:pt x="486" y="391"/>
                  </a:lnTo>
                  <a:lnTo>
                    <a:pt x="486" y="386"/>
                  </a:lnTo>
                  <a:lnTo>
                    <a:pt x="484" y="385"/>
                  </a:lnTo>
                  <a:lnTo>
                    <a:pt x="484" y="383"/>
                  </a:lnTo>
                  <a:lnTo>
                    <a:pt x="483" y="382"/>
                  </a:lnTo>
                  <a:lnTo>
                    <a:pt x="481" y="380"/>
                  </a:lnTo>
                  <a:lnTo>
                    <a:pt x="481" y="379"/>
                  </a:lnTo>
                  <a:lnTo>
                    <a:pt x="484" y="379"/>
                  </a:lnTo>
                  <a:lnTo>
                    <a:pt x="485" y="382"/>
                  </a:lnTo>
                  <a:lnTo>
                    <a:pt x="487" y="385"/>
                  </a:lnTo>
                  <a:lnTo>
                    <a:pt x="489" y="385"/>
                  </a:lnTo>
                  <a:lnTo>
                    <a:pt x="490" y="383"/>
                  </a:lnTo>
                  <a:lnTo>
                    <a:pt x="489" y="383"/>
                  </a:lnTo>
                  <a:lnTo>
                    <a:pt x="487" y="382"/>
                  </a:lnTo>
                  <a:lnTo>
                    <a:pt x="486" y="382"/>
                  </a:lnTo>
                  <a:lnTo>
                    <a:pt x="486" y="381"/>
                  </a:lnTo>
                  <a:lnTo>
                    <a:pt x="487" y="380"/>
                  </a:lnTo>
                  <a:lnTo>
                    <a:pt x="489" y="377"/>
                  </a:lnTo>
                  <a:lnTo>
                    <a:pt x="483" y="376"/>
                  </a:lnTo>
                  <a:lnTo>
                    <a:pt x="483" y="374"/>
                  </a:lnTo>
                  <a:lnTo>
                    <a:pt x="484" y="373"/>
                  </a:lnTo>
                  <a:lnTo>
                    <a:pt x="484" y="371"/>
                  </a:lnTo>
                  <a:lnTo>
                    <a:pt x="485" y="371"/>
                  </a:lnTo>
                  <a:lnTo>
                    <a:pt x="486" y="370"/>
                  </a:lnTo>
                  <a:lnTo>
                    <a:pt x="486" y="369"/>
                  </a:lnTo>
                  <a:lnTo>
                    <a:pt x="487" y="369"/>
                  </a:lnTo>
                  <a:lnTo>
                    <a:pt x="490" y="371"/>
                  </a:lnTo>
                  <a:lnTo>
                    <a:pt x="495" y="374"/>
                  </a:lnTo>
                  <a:lnTo>
                    <a:pt x="496" y="373"/>
                  </a:lnTo>
                  <a:lnTo>
                    <a:pt x="495" y="373"/>
                  </a:lnTo>
                  <a:lnTo>
                    <a:pt x="496" y="371"/>
                  </a:lnTo>
                  <a:lnTo>
                    <a:pt x="491" y="369"/>
                  </a:lnTo>
                  <a:lnTo>
                    <a:pt x="490" y="369"/>
                  </a:lnTo>
                  <a:lnTo>
                    <a:pt x="489" y="367"/>
                  </a:lnTo>
                  <a:lnTo>
                    <a:pt x="489" y="365"/>
                  </a:lnTo>
                  <a:lnTo>
                    <a:pt x="486" y="367"/>
                  </a:lnTo>
                  <a:lnTo>
                    <a:pt x="481" y="370"/>
                  </a:lnTo>
                  <a:lnTo>
                    <a:pt x="479" y="369"/>
                  </a:lnTo>
                  <a:lnTo>
                    <a:pt x="479" y="368"/>
                  </a:lnTo>
                  <a:lnTo>
                    <a:pt x="480" y="367"/>
                  </a:lnTo>
                  <a:lnTo>
                    <a:pt x="478" y="365"/>
                  </a:lnTo>
                  <a:lnTo>
                    <a:pt x="477" y="364"/>
                  </a:lnTo>
                  <a:lnTo>
                    <a:pt x="479" y="365"/>
                  </a:lnTo>
                  <a:lnTo>
                    <a:pt x="480" y="365"/>
                  </a:lnTo>
                  <a:lnTo>
                    <a:pt x="483" y="363"/>
                  </a:lnTo>
                  <a:lnTo>
                    <a:pt x="484" y="364"/>
                  </a:lnTo>
                  <a:lnTo>
                    <a:pt x="484" y="362"/>
                  </a:lnTo>
                  <a:lnTo>
                    <a:pt x="487" y="362"/>
                  </a:lnTo>
                  <a:lnTo>
                    <a:pt x="486" y="361"/>
                  </a:lnTo>
                  <a:lnTo>
                    <a:pt x="486" y="360"/>
                  </a:lnTo>
                  <a:lnTo>
                    <a:pt x="484" y="358"/>
                  </a:lnTo>
                  <a:lnTo>
                    <a:pt x="490" y="361"/>
                  </a:lnTo>
                  <a:lnTo>
                    <a:pt x="492" y="361"/>
                  </a:lnTo>
                  <a:lnTo>
                    <a:pt x="491" y="360"/>
                  </a:lnTo>
                  <a:lnTo>
                    <a:pt x="490" y="360"/>
                  </a:lnTo>
                  <a:lnTo>
                    <a:pt x="486" y="356"/>
                  </a:lnTo>
                  <a:lnTo>
                    <a:pt x="486" y="354"/>
                  </a:lnTo>
                  <a:lnTo>
                    <a:pt x="485" y="354"/>
                  </a:lnTo>
                  <a:lnTo>
                    <a:pt x="485" y="356"/>
                  </a:lnTo>
                  <a:lnTo>
                    <a:pt x="474" y="356"/>
                  </a:lnTo>
                  <a:lnTo>
                    <a:pt x="474" y="355"/>
                  </a:lnTo>
                  <a:lnTo>
                    <a:pt x="476" y="354"/>
                  </a:lnTo>
                  <a:lnTo>
                    <a:pt x="481" y="354"/>
                  </a:lnTo>
                  <a:lnTo>
                    <a:pt x="481" y="351"/>
                  </a:lnTo>
                  <a:lnTo>
                    <a:pt x="476" y="350"/>
                  </a:lnTo>
                  <a:lnTo>
                    <a:pt x="472" y="349"/>
                  </a:lnTo>
                  <a:lnTo>
                    <a:pt x="472" y="346"/>
                  </a:lnTo>
                  <a:lnTo>
                    <a:pt x="473" y="344"/>
                  </a:lnTo>
                  <a:lnTo>
                    <a:pt x="474" y="343"/>
                  </a:lnTo>
                  <a:lnTo>
                    <a:pt x="476" y="344"/>
                  </a:lnTo>
                  <a:lnTo>
                    <a:pt x="477" y="344"/>
                  </a:lnTo>
                  <a:lnTo>
                    <a:pt x="478" y="345"/>
                  </a:lnTo>
                  <a:lnTo>
                    <a:pt x="478" y="344"/>
                  </a:lnTo>
                  <a:lnTo>
                    <a:pt x="479" y="344"/>
                  </a:lnTo>
                  <a:lnTo>
                    <a:pt x="479" y="345"/>
                  </a:lnTo>
                  <a:lnTo>
                    <a:pt x="480" y="345"/>
                  </a:lnTo>
                  <a:lnTo>
                    <a:pt x="480" y="348"/>
                  </a:lnTo>
                  <a:lnTo>
                    <a:pt x="484" y="348"/>
                  </a:lnTo>
                  <a:lnTo>
                    <a:pt x="489" y="350"/>
                  </a:lnTo>
                  <a:lnTo>
                    <a:pt x="491" y="352"/>
                  </a:lnTo>
                  <a:lnTo>
                    <a:pt x="491" y="357"/>
                  </a:lnTo>
                  <a:lnTo>
                    <a:pt x="498" y="363"/>
                  </a:lnTo>
                  <a:lnTo>
                    <a:pt x="499" y="364"/>
                  </a:lnTo>
                  <a:lnTo>
                    <a:pt x="501" y="364"/>
                  </a:lnTo>
                  <a:lnTo>
                    <a:pt x="498" y="362"/>
                  </a:lnTo>
                  <a:lnTo>
                    <a:pt x="498" y="360"/>
                  </a:lnTo>
                  <a:lnTo>
                    <a:pt x="493" y="355"/>
                  </a:lnTo>
                  <a:lnTo>
                    <a:pt x="492" y="352"/>
                  </a:lnTo>
                  <a:lnTo>
                    <a:pt x="492" y="350"/>
                  </a:lnTo>
                  <a:lnTo>
                    <a:pt x="491" y="348"/>
                  </a:lnTo>
                  <a:lnTo>
                    <a:pt x="489" y="346"/>
                  </a:lnTo>
                  <a:lnTo>
                    <a:pt x="484" y="345"/>
                  </a:lnTo>
                  <a:lnTo>
                    <a:pt x="480" y="342"/>
                  </a:lnTo>
                  <a:lnTo>
                    <a:pt x="478" y="343"/>
                  </a:lnTo>
                  <a:lnTo>
                    <a:pt x="477" y="342"/>
                  </a:lnTo>
                  <a:lnTo>
                    <a:pt x="479" y="340"/>
                  </a:lnTo>
                  <a:lnTo>
                    <a:pt x="477" y="340"/>
                  </a:lnTo>
                  <a:lnTo>
                    <a:pt x="477" y="339"/>
                  </a:lnTo>
                  <a:lnTo>
                    <a:pt x="478" y="338"/>
                  </a:lnTo>
                  <a:lnTo>
                    <a:pt x="481" y="337"/>
                  </a:lnTo>
                  <a:lnTo>
                    <a:pt x="485" y="334"/>
                  </a:lnTo>
                  <a:lnTo>
                    <a:pt x="496" y="333"/>
                  </a:lnTo>
                  <a:lnTo>
                    <a:pt x="497" y="333"/>
                  </a:lnTo>
                  <a:lnTo>
                    <a:pt x="501" y="336"/>
                  </a:lnTo>
                  <a:lnTo>
                    <a:pt x="503" y="337"/>
                  </a:lnTo>
                  <a:lnTo>
                    <a:pt x="504" y="337"/>
                  </a:lnTo>
                  <a:lnTo>
                    <a:pt x="504" y="339"/>
                  </a:lnTo>
                  <a:lnTo>
                    <a:pt x="502" y="342"/>
                  </a:lnTo>
                  <a:lnTo>
                    <a:pt x="502" y="343"/>
                  </a:lnTo>
                  <a:lnTo>
                    <a:pt x="503" y="343"/>
                  </a:lnTo>
                  <a:lnTo>
                    <a:pt x="509" y="340"/>
                  </a:lnTo>
                  <a:lnTo>
                    <a:pt x="510" y="338"/>
                  </a:lnTo>
                  <a:lnTo>
                    <a:pt x="511" y="338"/>
                  </a:lnTo>
                  <a:lnTo>
                    <a:pt x="515" y="337"/>
                  </a:lnTo>
                  <a:lnTo>
                    <a:pt x="516" y="340"/>
                  </a:lnTo>
                  <a:lnTo>
                    <a:pt x="517" y="340"/>
                  </a:lnTo>
                  <a:lnTo>
                    <a:pt x="517" y="345"/>
                  </a:lnTo>
                  <a:lnTo>
                    <a:pt x="518" y="348"/>
                  </a:lnTo>
                  <a:lnTo>
                    <a:pt x="523" y="350"/>
                  </a:lnTo>
                  <a:lnTo>
                    <a:pt x="522" y="352"/>
                  </a:lnTo>
                  <a:lnTo>
                    <a:pt x="522" y="354"/>
                  </a:lnTo>
                  <a:lnTo>
                    <a:pt x="523" y="355"/>
                  </a:lnTo>
                  <a:lnTo>
                    <a:pt x="523" y="361"/>
                  </a:lnTo>
                  <a:lnTo>
                    <a:pt x="524" y="360"/>
                  </a:lnTo>
                  <a:lnTo>
                    <a:pt x="524" y="352"/>
                  </a:lnTo>
                  <a:lnTo>
                    <a:pt x="527" y="352"/>
                  </a:lnTo>
                  <a:lnTo>
                    <a:pt x="526" y="349"/>
                  </a:lnTo>
                  <a:lnTo>
                    <a:pt x="524" y="346"/>
                  </a:lnTo>
                  <a:lnTo>
                    <a:pt x="521" y="344"/>
                  </a:lnTo>
                  <a:lnTo>
                    <a:pt x="520" y="343"/>
                  </a:lnTo>
                  <a:lnTo>
                    <a:pt x="520" y="342"/>
                  </a:lnTo>
                  <a:lnTo>
                    <a:pt x="518" y="340"/>
                  </a:lnTo>
                  <a:lnTo>
                    <a:pt x="518" y="337"/>
                  </a:lnTo>
                  <a:lnTo>
                    <a:pt x="520" y="336"/>
                  </a:lnTo>
                  <a:lnTo>
                    <a:pt x="520" y="333"/>
                  </a:lnTo>
                  <a:lnTo>
                    <a:pt x="523" y="333"/>
                  </a:lnTo>
                  <a:lnTo>
                    <a:pt x="530" y="338"/>
                  </a:lnTo>
                  <a:lnTo>
                    <a:pt x="534" y="338"/>
                  </a:lnTo>
                  <a:lnTo>
                    <a:pt x="533" y="337"/>
                  </a:lnTo>
                  <a:lnTo>
                    <a:pt x="524" y="332"/>
                  </a:lnTo>
                  <a:lnTo>
                    <a:pt x="526" y="331"/>
                  </a:lnTo>
                  <a:lnTo>
                    <a:pt x="532" y="331"/>
                  </a:lnTo>
                  <a:lnTo>
                    <a:pt x="539" y="332"/>
                  </a:lnTo>
                  <a:lnTo>
                    <a:pt x="543" y="336"/>
                  </a:lnTo>
                  <a:lnTo>
                    <a:pt x="546" y="334"/>
                  </a:lnTo>
                  <a:lnTo>
                    <a:pt x="543" y="334"/>
                  </a:lnTo>
                  <a:lnTo>
                    <a:pt x="535" y="328"/>
                  </a:lnTo>
                  <a:lnTo>
                    <a:pt x="529" y="328"/>
                  </a:lnTo>
                  <a:lnTo>
                    <a:pt x="533" y="320"/>
                  </a:lnTo>
                  <a:lnTo>
                    <a:pt x="533" y="319"/>
                  </a:lnTo>
                  <a:lnTo>
                    <a:pt x="532" y="319"/>
                  </a:lnTo>
                  <a:lnTo>
                    <a:pt x="529" y="320"/>
                  </a:lnTo>
                  <a:lnTo>
                    <a:pt x="528" y="321"/>
                  </a:lnTo>
                  <a:lnTo>
                    <a:pt x="524" y="322"/>
                  </a:lnTo>
                  <a:lnTo>
                    <a:pt x="520" y="327"/>
                  </a:lnTo>
                  <a:lnTo>
                    <a:pt x="511" y="330"/>
                  </a:lnTo>
                  <a:lnTo>
                    <a:pt x="509" y="328"/>
                  </a:lnTo>
                  <a:lnTo>
                    <a:pt x="510" y="327"/>
                  </a:lnTo>
                  <a:lnTo>
                    <a:pt x="512" y="327"/>
                  </a:lnTo>
                  <a:lnTo>
                    <a:pt x="514" y="326"/>
                  </a:lnTo>
                  <a:lnTo>
                    <a:pt x="514" y="325"/>
                  </a:lnTo>
                  <a:lnTo>
                    <a:pt x="511" y="322"/>
                  </a:lnTo>
                  <a:lnTo>
                    <a:pt x="510" y="322"/>
                  </a:lnTo>
                  <a:lnTo>
                    <a:pt x="509" y="321"/>
                  </a:lnTo>
                  <a:lnTo>
                    <a:pt x="508" y="321"/>
                  </a:lnTo>
                  <a:lnTo>
                    <a:pt x="505" y="325"/>
                  </a:lnTo>
                  <a:lnTo>
                    <a:pt x="504" y="326"/>
                  </a:lnTo>
                  <a:lnTo>
                    <a:pt x="503" y="328"/>
                  </a:lnTo>
                  <a:lnTo>
                    <a:pt x="498" y="327"/>
                  </a:lnTo>
                  <a:lnTo>
                    <a:pt x="496" y="330"/>
                  </a:lnTo>
                  <a:lnTo>
                    <a:pt x="490" y="330"/>
                  </a:lnTo>
                  <a:lnTo>
                    <a:pt x="489" y="328"/>
                  </a:lnTo>
                  <a:lnTo>
                    <a:pt x="489" y="326"/>
                  </a:lnTo>
                  <a:lnTo>
                    <a:pt x="487" y="325"/>
                  </a:lnTo>
                  <a:lnTo>
                    <a:pt x="487" y="322"/>
                  </a:lnTo>
                  <a:lnTo>
                    <a:pt x="486" y="321"/>
                  </a:lnTo>
                  <a:lnTo>
                    <a:pt x="487" y="320"/>
                  </a:lnTo>
                  <a:lnTo>
                    <a:pt x="487" y="319"/>
                  </a:lnTo>
                  <a:lnTo>
                    <a:pt x="490" y="318"/>
                  </a:lnTo>
                  <a:lnTo>
                    <a:pt x="491" y="318"/>
                  </a:lnTo>
                  <a:lnTo>
                    <a:pt x="492" y="319"/>
                  </a:lnTo>
                  <a:lnTo>
                    <a:pt x="493" y="319"/>
                  </a:lnTo>
                  <a:lnTo>
                    <a:pt x="493" y="317"/>
                  </a:lnTo>
                  <a:lnTo>
                    <a:pt x="492" y="315"/>
                  </a:lnTo>
                  <a:lnTo>
                    <a:pt x="491" y="315"/>
                  </a:lnTo>
                  <a:lnTo>
                    <a:pt x="491" y="309"/>
                  </a:lnTo>
                  <a:lnTo>
                    <a:pt x="492" y="307"/>
                  </a:lnTo>
                  <a:lnTo>
                    <a:pt x="493" y="306"/>
                  </a:lnTo>
                  <a:lnTo>
                    <a:pt x="497" y="305"/>
                  </a:lnTo>
                  <a:lnTo>
                    <a:pt x="502" y="301"/>
                  </a:lnTo>
                  <a:lnTo>
                    <a:pt x="506" y="300"/>
                  </a:lnTo>
                  <a:lnTo>
                    <a:pt x="508" y="299"/>
                  </a:lnTo>
                  <a:lnTo>
                    <a:pt x="509" y="299"/>
                  </a:lnTo>
                  <a:lnTo>
                    <a:pt x="510" y="300"/>
                  </a:lnTo>
                  <a:lnTo>
                    <a:pt x="511" y="302"/>
                  </a:lnTo>
                  <a:lnTo>
                    <a:pt x="512" y="303"/>
                  </a:lnTo>
                  <a:lnTo>
                    <a:pt x="512" y="306"/>
                  </a:lnTo>
                  <a:lnTo>
                    <a:pt x="515" y="307"/>
                  </a:lnTo>
                  <a:lnTo>
                    <a:pt x="516" y="307"/>
                  </a:lnTo>
                  <a:lnTo>
                    <a:pt x="517" y="306"/>
                  </a:lnTo>
                  <a:lnTo>
                    <a:pt x="516" y="305"/>
                  </a:lnTo>
                  <a:lnTo>
                    <a:pt x="515" y="305"/>
                  </a:lnTo>
                  <a:lnTo>
                    <a:pt x="514" y="303"/>
                  </a:lnTo>
                  <a:lnTo>
                    <a:pt x="514" y="300"/>
                  </a:lnTo>
                  <a:lnTo>
                    <a:pt x="518" y="297"/>
                  </a:lnTo>
                  <a:lnTo>
                    <a:pt x="520" y="296"/>
                  </a:lnTo>
                  <a:lnTo>
                    <a:pt x="521" y="296"/>
                  </a:lnTo>
                  <a:lnTo>
                    <a:pt x="522" y="299"/>
                  </a:lnTo>
                  <a:lnTo>
                    <a:pt x="523" y="299"/>
                  </a:lnTo>
                  <a:lnTo>
                    <a:pt x="524" y="297"/>
                  </a:lnTo>
                  <a:lnTo>
                    <a:pt x="527" y="301"/>
                  </a:lnTo>
                  <a:lnTo>
                    <a:pt x="527" y="302"/>
                  </a:lnTo>
                  <a:lnTo>
                    <a:pt x="528" y="302"/>
                  </a:lnTo>
                  <a:lnTo>
                    <a:pt x="529" y="303"/>
                  </a:lnTo>
                  <a:lnTo>
                    <a:pt x="530" y="303"/>
                  </a:lnTo>
                  <a:lnTo>
                    <a:pt x="534" y="302"/>
                  </a:lnTo>
                  <a:lnTo>
                    <a:pt x="536" y="305"/>
                  </a:lnTo>
                  <a:lnTo>
                    <a:pt x="537" y="303"/>
                  </a:lnTo>
                  <a:lnTo>
                    <a:pt x="535" y="301"/>
                  </a:lnTo>
                  <a:lnTo>
                    <a:pt x="530" y="300"/>
                  </a:lnTo>
                  <a:lnTo>
                    <a:pt x="527" y="296"/>
                  </a:lnTo>
                  <a:lnTo>
                    <a:pt x="527" y="294"/>
                  </a:lnTo>
                  <a:lnTo>
                    <a:pt x="524" y="294"/>
                  </a:lnTo>
                  <a:lnTo>
                    <a:pt x="524" y="295"/>
                  </a:lnTo>
                  <a:lnTo>
                    <a:pt x="522" y="295"/>
                  </a:lnTo>
                  <a:lnTo>
                    <a:pt x="520" y="293"/>
                  </a:lnTo>
                  <a:lnTo>
                    <a:pt x="523" y="289"/>
                  </a:lnTo>
                  <a:lnTo>
                    <a:pt x="526" y="288"/>
                  </a:lnTo>
                  <a:lnTo>
                    <a:pt x="527" y="287"/>
                  </a:lnTo>
                  <a:lnTo>
                    <a:pt x="529" y="285"/>
                  </a:lnTo>
                  <a:lnTo>
                    <a:pt x="533" y="289"/>
                  </a:lnTo>
                  <a:lnTo>
                    <a:pt x="540" y="290"/>
                  </a:lnTo>
                  <a:lnTo>
                    <a:pt x="542" y="294"/>
                  </a:lnTo>
                  <a:lnTo>
                    <a:pt x="542" y="290"/>
                  </a:lnTo>
                  <a:lnTo>
                    <a:pt x="540" y="289"/>
                  </a:lnTo>
                  <a:lnTo>
                    <a:pt x="536" y="288"/>
                  </a:lnTo>
                  <a:lnTo>
                    <a:pt x="529" y="284"/>
                  </a:lnTo>
                  <a:lnTo>
                    <a:pt x="533" y="282"/>
                  </a:lnTo>
                  <a:lnTo>
                    <a:pt x="536" y="278"/>
                  </a:lnTo>
                  <a:lnTo>
                    <a:pt x="537" y="278"/>
                  </a:lnTo>
                  <a:lnTo>
                    <a:pt x="539" y="277"/>
                  </a:lnTo>
                  <a:lnTo>
                    <a:pt x="540" y="277"/>
                  </a:lnTo>
                  <a:lnTo>
                    <a:pt x="540" y="278"/>
                  </a:lnTo>
                  <a:lnTo>
                    <a:pt x="541" y="279"/>
                  </a:lnTo>
                  <a:lnTo>
                    <a:pt x="545" y="279"/>
                  </a:lnTo>
                  <a:lnTo>
                    <a:pt x="543" y="276"/>
                  </a:lnTo>
                  <a:lnTo>
                    <a:pt x="539" y="275"/>
                  </a:lnTo>
                  <a:lnTo>
                    <a:pt x="539" y="274"/>
                  </a:lnTo>
                  <a:lnTo>
                    <a:pt x="540" y="272"/>
                  </a:lnTo>
                  <a:lnTo>
                    <a:pt x="532" y="274"/>
                  </a:lnTo>
                  <a:lnTo>
                    <a:pt x="528" y="276"/>
                  </a:lnTo>
                  <a:lnTo>
                    <a:pt x="527" y="276"/>
                  </a:lnTo>
                  <a:lnTo>
                    <a:pt x="528" y="275"/>
                  </a:lnTo>
                  <a:lnTo>
                    <a:pt x="529" y="270"/>
                  </a:lnTo>
                  <a:lnTo>
                    <a:pt x="530" y="269"/>
                  </a:lnTo>
                  <a:lnTo>
                    <a:pt x="532" y="269"/>
                  </a:lnTo>
                  <a:lnTo>
                    <a:pt x="532" y="265"/>
                  </a:lnTo>
                  <a:lnTo>
                    <a:pt x="530" y="265"/>
                  </a:lnTo>
                  <a:lnTo>
                    <a:pt x="530" y="264"/>
                  </a:lnTo>
                  <a:lnTo>
                    <a:pt x="535" y="257"/>
                  </a:lnTo>
                  <a:lnTo>
                    <a:pt x="537" y="254"/>
                  </a:lnTo>
                  <a:lnTo>
                    <a:pt x="537" y="253"/>
                  </a:lnTo>
                  <a:lnTo>
                    <a:pt x="536" y="252"/>
                  </a:lnTo>
                  <a:lnTo>
                    <a:pt x="537" y="250"/>
                  </a:lnTo>
                  <a:lnTo>
                    <a:pt x="546" y="250"/>
                  </a:lnTo>
                  <a:lnTo>
                    <a:pt x="549" y="246"/>
                  </a:lnTo>
                  <a:lnTo>
                    <a:pt x="558" y="246"/>
                  </a:lnTo>
                  <a:lnTo>
                    <a:pt x="554" y="242"/>
                  </a:lnTo>
                  <a:lnTo>
                    <a:pt x="554" y="239"/>
                  </a:lnTo>
                  <a:lnTo>
                    <a:pt x="555" y="239"/>
                  </a:lnTo>
                  <a:lnTo>
                    <a:pt x="555" y="237"/>
                  </a:lnTo>
                  <a:lnTo>
                    <a:pt x="554" y="235"/>
                  </a:lnTo>
                  <a:lnTo>
                    <a:pt x="552" y="237"/>
                  </a:lnTo>
                  <a:lnTo>
                    <a:pt x="551" y="237"/>
                  </a:lnTo>
                  <a:lnTo>
                    <a:pt x="552" y="234"/>
                  </a:lnTo>
                  <a:lnTo>
                    <a:pt x="552" y="228"/>
                  </a:lnTo>
                  <a:lnTo>
                    <a:pt x="553" y="226"/>
                  </a:lnTo>
                  <a:lnTo>
                    <a:pt x="557" y="225"/>
                  </a:lnTo>
                  <a:lnTo>
                    <a:pt x="558" y="222"/>
                  </a:lnTo>
                  <a:lnTo>
                    <a:pt x="557" y="220"/>
                  </a:lnTo>
                  <a:lnTo>
                    <a:pt x="559" y="217"/>
                  </a:lnTo>
                  <a:lnTo>
                    <a:pt x="559" y="213"/>
                  </a:lnTo>
                  <a:lnTo>
                    <a:pt x="558" y="211"/>
                  </a:lnTo>
                  <a:lnTo>
                    <a:pt x="558" y="209"/>
                  </a:lnTo>
                  <a:lnTo>
                    <a:pt x="559" y="209"/>
                  </a:lnTo>
                  <a:lnTo>
                    <a:pt x="559" y="208"/>
                  </a:lnTo>
                  <a:lnTo>
                    <a:pt x="561" y="208"/>
                  </a:lnTo>
                  <a:lnTo>
                    <a:pt x="561" y="207"/>
                  </a:lnTo>
                  <a:lnTo>
                    <a:pt x="563" y="207"/>
                  </a:lnTo>
                  <a:lnTo>
                    <a:pt x="563" y="205"/>
                  </a:lnTo>
                  <a:lnTo>
                    <a:pt x="564" y="205"/>
                  </a:lnTo>
                  <a:lnTo>
                    <a:pt x="566" y="208"/>
                  </a:lnTo>
                  <a:lnTo>
                    <a:pt x="567" y="213"/>
                  </a:lnTo>
                  <a:lnTo>
                    <a:pt x="567" y="217"/>
                  </a:lnTo>
                  <a:lnTo>
                    <a:pt x="571" y="217"/>
                  </a:lnTo>
                  <a:lnTo>
                    <a:pt x="572" y="219"/>
                  </a:lnTo>
                  <a:lnTo>
                    <a:pt x="572" y="220"/>
                  </a:lnTo>
                  <a:lnTo>
                    <a:pt x="573" y="222"/>
                  </a:lnTo>
                  <a:lnTo>
                    <a:pt x="573" y="223"/>
                  </a:lnTo>
                  <a:lnTo>
                    <a:pt x="572" y="228"/>
                  </a:lnTo>
                  <a:lnTo>
                    <a:pt x="572" y="229"/>
                  </a:lnTo>
                  <a:lnTo>
                    <a:pt x="573" y="231"/>
                  </a:lnTo>
                  <a:lnTo>
                    <a:pt x="573" y="233"/>
                  </a:lnTo>
                  <a:lnTo>
                    <a:pt x="572" y="233"/>
                  </a:lnTo>
                  <a:lnTo>
                    <a:pt x="572" y="237"/>
                  </a:lnTo>
                  <a:lnTo>
                    <a:pt x="573" y="233"/>
                  </a:lnTo>
                  <a:lnTo>
                    <a:pt x="574" y="231"/>
                  </a:lnTo>
                  <a:lnTo>
                    <a:pt x="574" y="221"/>
                  </a:lnTo>
                  <a:lnTo>
                    <a:pt x="576" y="221"/>
                  </a:lnTo>
                  <a:lnTo>
                    <a:pt x="576" y="225"/>
                  </a:lnTo>
                  <a:lnTo>
                    <a:pt x="577" y="227"/>
                  </a:lnTo>
                  <a:lnTo>
                    <a:pt x="577" y="228"/>
                  </a:lnTo>
                  <a:lnTo>
                    <a:pt x="578" y="229"/>
                  </a:lnTo>
                  <a:lnTo>
                    <a:pt x="579" y="229"/>
                  </a:lnTo>
                  <a:lnTo>
                    <a:pt x="579" y="231"/>
                  </a:lnTo>
                  <a:lnTo>
                    <a:pt x="580" y="232"/>
                  </a:lnTo>
                  <a:lnTo>
                    <a:pt x="580" y="233"/>
                  </a:lnTo>
                  <a:lnTo>
                    <a:pt x="582" y="233"/>
                  </a:lnTo>
                  <a:lnTo>
                    <a:pt x="582" y="229"/>
                  </a:lnTo>
                  <a:lnTo>
                    <a:pt x="580" y="229"/>
                  </a:lnTo>
                  <a:lnTo>
                    <a:pt x="579" y="228"/>
                  </a:lnTo>
                  <a:lnTo>
                    <a:pt x="580" y="226"/>
                  </a:lnTo>
                  <a:lnTo>
                    <a:pt x="588" y="226"/>
                  </a:lnTo>
                  <a:lnTo>
                    <a:pt x="591" y="229"/>
                  </a:lnTo>
                  <a:lnTo>
                    <a:pt x="594" y="231"/>
                  </a:lnTo>
                  <a:lnTo>
                    <a:pt x="595" y="231"/>
                  </a:lnTo>
                  <a:lnTo>
                    <a:pt x="595" y="228"/>
                  </a:lnTo>
                  <a:lnTo>
                    <a:pt x="594" y="228"/>
                  </a:lnTo>
                  <a:lnTo>
                    <a:pt x="591" y="225"/>
                  </a:lnTo>
                  <a:lnTo>
                    <a:pt x="579" y="220"/>
                  </a:lnTo>
                  <a:lnTo>
                    <a:pt x="578" y="219"/>
                  </a:lnTo>
                  <a:lnTo>
                    <a:pt x="577" y="219"/>
                  </a:lnTo>
                  <a:lnTo>
                    <a:pt x="577" y="214"/>
                  </a:lnTo>
                  <a:lnTo>
                    <a:pt x="576" y="213"/>
                  </a:lnTo>
                  <a:lnTo>
                    <a:pt x="576" y="211"/>
                  </a:lnTo>
                  <a:lnTo>
                    <a:pt x="571" y="211"/>
                  </a:lnTo>
                  <a:lnTo>
                    <a:pt x="571" y="208"/>
                  </a:lnTo>
                  <a:lnTo>
                    <a:pt x="572" y="207"/>
                  </a:lnTo>
                  <a:lnTo>
                    <a:pt x="571" y="204"/>
                  </a:lnTo>
                  <a:lnTo>
                    <a:pt x="571" y="202"/>
                  </a:lnTo>
                  <a:lnTo>
                    <a:pt x="572" y="202"/>
                  </a:lnTo>
                  <a:lnTo>
                    <a:pt x="576" y="201"/>
                  </a:lnTo>
                  <a:lnTo>
                    <a:pt x="578" y="199"/>
                  </a:lnTo>
                  <a:lnTo>
                    <a:pt x="588" y="198"/>
                  </a:lnTo>
                  <a:lnTo>
                    <a:pt x="588" y="204"/>
                  </a:lnTo>
                  <a:lnTo>
                    <a:pt x="589" y="204"/>
                  </a:lnTo>
                  <a:lnTo>
                    <a:pt x="590" y="205"/>
                  </a:lnTo>
                  <a:lnTo>
                    <a:pt x="590" y="209"/>
                  </a:lnTo>
                  <a:lnTo>
                    <a:pt x="591" y="211"/>
                  </a:lnTo>
                  <a:lnTo>
                    <a:pt x="594" y="213"/>
                  </a:lnTo>
                  <a:lnTo>
                    <a:pt x="594" y="215"/>
                  </a:lnTo>
                  <a:lnTo>
                    <a:pt x="595" y="216"/>
                  </a:lnTo>
                  <a:lnTo>
                    <a:pt x="596" y="219"/>
                  </a:lnTo>
                  <a:lnTo>
                    <a:pt x="599" y="222"/>
                  </a:lnTo>
                  <a:lnTo>
                    <a:pt x="608" y="223"/>
                  </a:lnTo>
                  <a:lnTo>
                    <a:pt x="609" y="226"/>
                  </a:lnTo>
                  <a:lnTo>
                    <a:pt x="609" y="228"/>
                  </a:lnTo>
                  <a:lnTo>
                    <a:pt x="605" y="232"/>
                  </a:lnTo>
                  <a:lnTo>
                    <a:pt x="603" y="231"/>
                  </a:lnTo>
                  <a:lnTo>
                    <a:pt x="601" y="233"/>
                  </a:lnTo>
                  <a:lnTo>
                    <a:pt x="601" y="234"/>
                  </a:lnTo>
                  <a:lnTo>
                    <a:pt x="602" y="234"/>
                  </a:lnTo>
                  <a:lnTo>
                    <a:pt x="604" y="232"/>
                  </a:lnTo>
                  <a:lnTo>
                    <a:pt x="605" y="233"/>
                  </a:lnTo>
                  <a:lnTo>
                    <a:pt x="605" y="234"/>
                  </a:lnTo>
                  <a:lnTo>
                    <a:pt x="604" y="235"/>
                  </a:lnTo>
                  <a:lnTo>
                    <a:pt x="604" y="237"/>
                  </a:lnTo>
                  <a:lnTo>
                    <a:pt x="607" y="238"/>
                  </a:lnTo>
                  <a:lnTo>
                    <a:pt x="608" y="238"/>
                  </a:lnTo>
                  <a:lnTo>
                    <a:pt x="609" y="235"/>
                  </a:lnTo>
                  <a:lnTo>
                    <a:pt x="611" y="235"/>
                  </a:lnTo>
                  <a:lnTo>
                    <a:pt x="614" y="238"/>
                  </a:lnTo>
                  <a:lnTo>
                    <a:pt x="615" y="237"/>
                  </a:lnTo>
                  <a:lnTo>
                    <a:pt x="614" y="235"/>
                  </a:lnTo>
                  <a:lnTo>
                    <a:pt x="614" y="234"/>
                  </a:lnTo>
                  <a:lnTo>
                    <a:pt x="613" y="233"/>
                  </a:lnTo>
                  <a:lnTo>
                    <a:pt x="613" y="226"/>
                  </a:lnTo>
                  <a:lnTo>
                    <a:pt x="611" y="223"/>
                  </a:lnTo>
                  <a:lnTo>
                    <a:pt x="608" y="219"/>
                  </a:lnTo>
                  <a:lnTo>
                    <a:pt x="598" y="219"/>
                  </a:lnTo>
                  <a:lnTo>
                    <a:pt x="598" y="217"/>
                  </a:lnTo>
                  <a:lnTo>
                    <a:pt x="597" y="215"/>
                  </a:lnTo>
                  <a:lnTo>
                    <a:pt x="597" y="211"/>
                  </a:lnTo>
                  <a:lnTo>
                    <a:pt x="596" y="211"/>
                  </a:lnTo>
                  <a:lnTo>
                    <a:pt x="594" y="209"/>
                  </a:lnTo>
                  <a:lnTo>
                    <a:pt x="594" y="203"/>
                  </a:lnTo>
                  <a:lnTo>
                    <a:pt x="596" y="201"/>
                  </a:lnTo>
                  <a:lnTo>
                    <a:pt x="601" y="198"/>
                  </a:lnTo>
                  <a:lnTo>
                    <a:pt x="602" y="198"/>
                  </a:lnTo>
                  <a:lnTo>
                    <a:pt x="603" y="201"/>
                  </a:lnTo>
                  <a:lnTo>
                    <a:pt x="604" y="202"/>
                  </a:lnTo>
                  <a:lnTo>
                    <a:pt x="604" y="199"/>
                  </a:lnTo>
                  <a:lnTo>
                    <a:pt x="603" y="198"/>
                  </a:lnTo>
                  <a:lnTo>
                    <a:pt x="603" y="196"/>
                  </a:lnTo>
                  <a:lnTo>
                    <a:pt x="599" y="197"/>
                  </a:lnTo>
                  <a:lnTo>
                    <a:pt x="598" y="197"/>
                  </a:lnTo>
                  <a:lnTo>
                    <a:pt x="596" y="198"/>
                  </a:lnTo>
                  <a:lnTo>
                    <a:pt x="595" y="199"/>
                  </a:lnTo>
                  <a:lnTo>
                    <a:pt x="595" y="201"/>
                  </a:lnTo>
                  <a:lnTo>
                    <a:pt x="592" y="198"/>
                  </a:lnTo>
                  <a:lnTo>
                    <a:pt x="592" y="197"/>
                  </a:lnTo>
                  <a:lnTo>
                    <a:pt x="591" y="190"/>
                  </a:lnTo>
                  <a:lnTo>
                    <a:pt x="597" y="180"/>
                  </a:lnTo>
                  <a:lnTo>
                    <a:pt x="598" y="176"/>
                  </a:lnTo>
                  <a:lnTo>
                    <a:pt x="598" y="174"/>
                  </a:lnTo>
                  <a:lnTo>
                    <a:pt x="602" y="174"/>
                  </a:lnTo>
                  <a:lnTo>
                    <a:pt x="602" y="173"/>
                  </a:lnTo>
                  <a:lnTo>
                    <a:pt x="604" y="171"/>
                  </a:lnTo>
                  <a:lnTo>
                    <a:pt x="607" y="170"/>
                  </a:lnTo>
                  <a:lnTo>
                    <a:pt x="613" y="171"/>
                  </a:lnTo>
                  <a:lnTo>
                    <a:pt x="614" y="170"/>
                  </a:lnTo>
                  <a:lnTo>
                    <a:pt x="624" y="166"/>
                  </a:lnTo>
                  <a:lnTo>
                    <a:pt x="627" y="167"/>
                  </a:lnTo>
                  <a:lnTo>
                    <a:pt x="627" y="168"/>
                  </a:lnTo>
                  <a:lnTo>
                    <a:pt x="626" y="170"/>
                  </a:lnTo>
                  <a:lnTo>
                    <a:pt x="624" y="173"/>
                  </a:lnTo>
                  <a:lnTo>
                    <a:pt x="624" y="177"/>
                  </a:lnTo>
                  <a:lnTo>
                    <a:pt x="622" y="182"/>
                  </a:lnTo>
                  <a:lnTo>
                    <a:pt x="622" y="183"/>
                  </a:lnTo>
                  <a:lnTo>
                    <a:pt x="624" y="188"/>
                  </a:lnTo>
                  <a:lnTo>
                    <a:pt x="623" y="191"/>
                  </a:lnTo>
                  <a:lnTo>
                    <a:pt x="623" y="194"/>
                  </a:lnTo>
                  <a:lnTo>
                    <a:pt x="621" y="199"/>
                  </a:lnTo>
                  <a:lnTo>
                    <a:pt x="621" y="201"/>
                  </a:lnTo>
                  <a:lnTo>
                    <a:pt x="620" y="202"/>
                  </a:lnTo>
                  <a:lnTo>
                    <a:pt x="620" y="207"/>
                  </a:lnTo>
                  <a:lnTo>
                    <a:pt x="621" y="208"/>
                  </a:lnTo>
                  <a:lnTo>
                    <a:pt x="621" y="210"/>
                  </a:lnTo>
                  <a:lnTo>
                    <a:pt x="620" y="210"/>
                  </a:lnTo>
                  <a:lnTo>
                    <a:pt x="619" y="211"/>
                  </a:lnTo>
                  <a:lnTo>
                    <a:pt x="616" y="216"/>
                  </a:lnTo>
                  <a:lnTo>
                    <a:pt x="622" y="211"/>
                  </a:lnTo>
                  <a:lnTo>
                    <a:pt x="623" y="209"/>
                  </a:lnTo>
                  <a:lnTo>
                    <a:pt x="623" y="205"/>
                  </a:lnTo>
                  <a:lnTo>
                    <a:pt x="624" y="202"/>
                  </a:lnTo>
                  <a:lnTo>
                    <a:pt x="623" y="201"/>
                  </a:lnTo>
                  <a:lnTo>
                    <a:pt x="626" y="192"/>
                  </a:lnTo>
                  <a:lnTo>
                    <a:pt x="626" y="191"/>
                  </a:lnTo>
                  <a:lnTo>
                    <a:pt x="633" y="191"/>
                  </a:lnTo>
                  <a:lnTo>
                    <a:pt x="635" y="194"/>
                  </a:lnTo>
                  <a:lnTo>
                    <a:pt x="639" y="195"/>
                  </a:lnTo>
                  <a:lnTo>
                    <a:pt x="638" y="194"/>
                  </a:lnTo>
                  <a:lnTo>
                    <a:pt x="635" y="192"/>
                  </a:lnTo>
                  <a:lnTo>
                    <a:pt x="633" y="190"/>
                  </a:lnTo>
                  <a:lnTo>
                    <a:pt x="632" y="190"/>
                  </a:lnTo>
                  <a:lnTo>
                    <a:pt x="629" y="189"/>
                  </a:lnTo>
                  <a:lnTo>
                    <a:pt x="629" y="185"/>
                  </a:lnTo>
                  <a:lnTo>
                    <a:pt x="628" y="184"/>
                  </a:lnTo>
                  <a:lnTo>
                    <a:pt x="628" y="179"/>
                  </a:lnTo>
                  <a:lnTo>
                    <a:pt x="629" y="177"/>
                  </a:lnTo>
                  <a:lnTo>
                    <a:pt x="629" y="176"/>
                  </a:lnTo>
                  <a:lnTo>
                    <a:pt x="630" y="174"/>
                  </a:lnTo>
                  <a:lnTo>
                    <a:pt x="630" y="172"/>
                  </a:lnTo>
                  <a:lnTo>
                    <a:pt x="633" y="170"/>
                  </a:lnTo>
                  <a:lnTo>
                    <a:pt x="633" y="168"/>
                  </a:lnTo>
                  <a:lnTo>
                    <a:pt x="635" y="164"/>
                  </a:lnTo>
                  <a:lnTo>
                    <a:pt x="636" y="162"/>
                  </a:lnTo>
                  <a:lnTo>
                    <a:pt x="636" y="165"/>
                  </a:lnTo>
                  <a:lnTo>
                    <a:pt x="634" y="172"/>
                  </a:lnTo>
                  <a:lnTo>
                    <a:pt x="636" y="172"/>
                  </a:lnTo>
                  <a:lnTo>
                    <a:pt x="638" y="170"/>
                  </a:lnTo>
                  <a:lnTo>
                    <a:pt x="639" y="162"/>
                  </a:lnTo>
                  <a:lnTo>
                    <a:pt x="641" y="159"/>
                  </a:lnTo>
                  <a:lnTo>
                    <a:pt x="642" y="153"/>
                  </a:lnTo>
                  <a:lnTo>
                    <a:pt x="642" y="158"/>
                  </a:lnTo>
                  <a:lnTo>
                    <a:pt x="644" y="159"/>
                  </a:lnTo>
                  <a:lnTo>
                    <a:pt x="644" y="160"/>
                  </a:lnTo>
                  <a:lnTo>
                    <a:pt x="645" y="161"/>
                  </a:lnTo>
                  <a:lnTo>
                    <a:pt x="645" y="152"/>
                  </a:lnTo>
                  <a:lnTo>
                    <a:pt x="646" y="151"/>
                  </a:lnTo>
                  <a:lnTo>
                    <a:pt x="647" y="147"/>
                  </a:lnTo>
                  <a:lnTo>
                    <a:pt x="648" y="147"/>
                  </a:lnTo>
                  <a:lnTo>
                    <a:pt x="650" y="148"/>
                  </a:lnTo>
                  <a:lnTo>
                    <a:pt x="653" y="156"/>
                  </a:lnTo>
                  <a:lnTo>
                    <a:pt x="654" y="159"/>
                  </a:lnTo>
                  <a:lnTo>
                    <a:pt x="653" y="160"/>
                  </a:lnTo>
                  <a:lnTo>
                    <a:pt x="653" y="162"/>
                  </a:lnTo>
                  <a:lnTo>
                    <a:pt x="652" y="164"/>
                  </a:lnTo>
                  <a:lnTo>
                    <a:pt x="652" y="170"/>
                  </a:lnTo>
                  <a:lnTo>
                    <a:pt x="651" y="171"/>
                  </a:lnTo>
                  <a:lnTo>
                    <a:pt x="651" y="176"/>
                  </a:lnTo>
                  <a:lnTo>
                    <a:pt x="650" y="177"/>
                  </a:lnTo>
                  <a:lnTo>
                    <a:pt x="650" y="185"/>
                  </a:lnTo>
                  <a:lnTo>
                    <a:pt x="652" y="188"/>
                  </a:lnTo>
                  <a:lnTo>
                    <a:pt x="652" y="194"/>
                  </a:lnTo>
                  <a:lnTo>
                    <a:pt x="651" y="194"/>
                  </a:lnTo>
                  <a:lnTo>
                    <a:pt x="647" y="197"/>
                  </a:lnTo>
                  <a:lnTo>
                    <a:pt x="648" y="199"/>
                  </a:lnTo>
                  <a:lnTo>
                    <a:pt x="647" y="201"/>
                  </a:lnTo>
                  <a:lnTo>
                    <a:pt x="647" y="208"/>
                  </a:lnTo>
                  <a:lnTo>
                    <a:pt x="646" y="209"/>
                  </a:lnTo>
                  <a:lnTo>
                    <a:pt x="645" y="208"/>
                  </a:lnTo>
                  <a:lnTo>
                    <a:pt x="645" y="211"/>
                  </a:lnTo>
                  <a:lnTo>
                    <a:pt x="644" y="215"/>
                  </a:lnTo>
                  <a:lnTo>
                    <a:pt x="642" y="217"/>
                  </a:lnTo>
                  <a:lnTo>
                    <a:pt x="641" y="219"/>
                  </a:lnTo>
                  <a:lnTo>
                    <a:pt x="638" y="221"/>
                  </a:lnTo>
                  <a:lnTo>
                    <a:pt x="635" y="222"/>
                  </a:lnTo>
                  <a:lnTo>
                    <a:pt x="635" y="225"/>
                  </a:lnTo>
                  <a:lnTo>
                    <a:pt x="636" y="226"/>
                  </a:lnTo>
                  <a:lnTo>
                    <a:pt x="633" y="229"/>
                  </a:lnTo>
                  <a:lnTo>
                    <a:pt x="633" y="232"/>
                  </a:lnTo>
                  <a:lnTo>
                    <a:pt x="634" y="233"/>
                  </a:lnTo>
                  <a:lnTo>
                    <a:pt x="634" y="232"/>
                  </a:lnTo>
                  <a:lnTo>
                    <a:pt x="635" y="231"/>
                  </a:lnTo>
                  <a:lnTo>
                    <a:pt x="638" y="226"/>
                  </a:lnTo>
                  <a:lnTo>
                    <a:pt x="645" y="219"/>
                  </a:lnTo>
                  <a:lnTo>
                    <a:pt x="647" y="217"/>
                  </a:lnTo>
                  <a:lnTo>
                    <a:pt x="651" y="208"/>
                  </a:lnTo>
                  <a:lnTo>
                    <a:pt x="652" y="207"/>
                  </a:lnTo>
                  <a:lnTo>
                    <a:pt x="653" y="203"/>
                  </a:lnTo>
                  <a:lnTo>
                    <a:pt x="654" y="202"/>
                  </a:lnTo>
                  <a:lnTo>
                    <a:pt x="654" y="197"/>
                  </a:lnTo>
                  <a:lnTo>
                    <a:pt x="655" y="197"/>
                  </a:lnTo>
                  <a:lnTo>
                    <a:pt x="655" y="196"/>
                  </a:lnTo>
                  <a:lnTo>
                    <a:pt x="657" y="195"/>
                  </a:lnTo>
                  <a:lnTo>
                    <a:pt x="658" y="196"/>
                  </a:lnTo>
                  <a:lnTo>
                    <a:pt x="658" y="197"/>
                  </a:lnTo>
                  <a:lnTo>
                    <a:pt x="663" y="202"/>
                  </a:lnTo>
                  <a:lnTo>
                    <a:pt x="669" y="203"/>
                  </a:lnTo>
                  <a:lnTo>
                    <a:pt x="671" y="205"/>
                  </a:lnTo>
                  <a:lnTo>
                    <a:pt x="672" y="205"/>
                  </a:lnTo>
                  <a:lnTo>
                    <a:pt x="670" y="203"/>
                  </a:lnTo>
                  <a:lnTo>
                    <a:pt x="666" y="201"/>
                  </a:lnTo>
                  <a:lnTo>
                    <a:pt x="665" y="198"/>
                  </a:lnTo>
                  <a:lnTo>
                    <a:pt x="664" y="195"/>
                  </a:lnTo>
                  <a:lnTo>
                    <a:pt x="663" y="194"/>
                  </a:lnTo>
                  <a:lnTo>
                    <a:pt x="659" y="191"/>
                  </a:lnTo>
                  <a:lnTo>
                    <a:pt x="657" y="189"/>
                  </a:lnTo>
                  <a:lnTo>
                    <a:pt x="657" y="186"/>
                  </a:lnTo>
                  <a:lnTo>
                    <a:pt x="659" y="179"/>
                  </a:lnTo>
                  <a:lnTo>
                    <a:pt x="658" y="177"/>
                  </a:lnTo>
                  <a:lnTo>
                    <a:pt x="658" y="174"/>
                  </a:lnTo>
                  <a:lnTo>
                    <a:pt x="657" y="173"/>
                  </a:lnTo>
                  <a:lnTo>
                    <a:pt x="657" y="172"/>
                  </a:lnTo>
                  <a:lnTo>
                    <a:pt x="658" y="172"/>
                  </a:lnTo>
                  <a:lnTo>
                    <a:pt x="663" y="171"/>
                  </a:lnTo>
                  <a:lnTo>
                    <a:pt x="669" y="167"/>
                  </a:lnTo>
                  <a:lnTo>
                    <a:pt x="671" y="165"/>
                  </a:lnTo>
                  <a:lnTo>
                    <a:pt x="671" y="162"/>
                  </a:lnTo>
                  <a:lnTo>
                    <a:pt x="670" y="161"/>
                  </a:lnTo>
                  <a:lnTo>
                    <a:pt x="670" y="160"/>
                  </a:lnTo>
                  <a:lnTo>
                    <a:pt x="669" y="158"/>
                  </a:lnTo>
                  <a:lnTo>
                    <a:pt x="671" y="158"/>
                  </a:lnTo>
                  <a:lnTo>
                    <a:pt x="681" y="151"/>
                  </a:lnTo>
                  <a:lnTo>
                    <a:pt x="682" y="149"/>
                  </a:lnTo>
                  <a:lnTo>
                    <a:pt x="682" y="151"/>
                  </a:lnTo>
                  <a:lnTo>
                    <a:pt x="677" y="155"/>
                  </a:lnTo>
                  <a:lnTo>
                    <a:pt x="675" y="160"/>
                  </a:lnTo>
                  <a:lnTo>
                    <a:pt x="673" y="160"/>
                  </a:lnTo>
                  <a:lnTo>
                    <a:pt x="673" y="161"/>
                  </a:lnTo>
                  <a:lnTo>
                    <a:pt x="675" y="162"/>
                  </a:lnTo>
                  <a:lnTo>
                    <a:pt x="676" y="162"/>
                  </a:lnTo>
                  <a:lnTo>
                    <a:pt x="677" y="164"/>
                  </a:lnTo>
                  <a:lnTo>
                    <a:pt x="676" y="164"/>
                  </a:lnTo>
                  <a:lnTo>
                    <a:pt x="676" y="166"/>
                  </a:lnTo>
                  <a:lnTo>
                    <a:pt x="679" y="170"/>
                  </a:lnTo>
                  <a:lnTo>
                    <a:pt x="681" y="168"/>
                  </a:lnTo>
                  <a:lnTo>
                    <a:pt x="678" y="166"/>
                  </a:lnTo>
                  <a:lnTo>
                    <a:pt x="678" y="165"/>
                  </a:lnTo>
                  <a:lnTo>
                    <a:pt x="681" y="164"/>
                  </a:lnTo>
                  <a:lnTo>
                    <a:pt x="681" y="160"/>
                  </a:lnTo>
                  <a:lnTo>
                    <a:pt x="682" y="160"/>
                  </a:lnTo>
                  <a:lnTo>
                    <a:pt x="685" y="159"/>
                  </a:lnTo>
                  <a:lnTo>
                    <a:pt x="686" y="159"/>
                  </a:lnTo>
                  <a:lnTo>
                    <a:pt x="685" y="161"/>
                  </a:lnTo>
                  <a:lnTo>
                    <a:pt x="684" y="165"/>
                  </a:lnTo>
                  <a:lnTo>
                    <a:pt x="683" y="166"/>
                  </a:lnTo>
                  <a:lnTo>
                    <a:pt x="685" y="166"/>
                  </a:lnTo>
                  <a:lnTo>
                    <a:pt x="686" y="164"/>
                  </a:lnTo>
                  <a:lnTo>
                    <a:pt x="688" y="162"/>
                  </a:lnTo>
                  <a:lnTo>
                    <a:pt x="688" y="161"/>
                  </a:lnTo>
                  <a:lnTo>
                    <a:pt x="686" y="155"/>
                  </a:lnTo>
                  <a:lnTo>
                    <a:pt x="691" y="155"/>
                  </a:lnTo>
                  <a:lnTo>
                    <a:pt x="691" y="153"/>
                  </a:lnTo>
                  <a:lnTo>
                    <a:pt x="689" y="152"/>
                  </a:lnTo>
                  <a:lnTo>
                    <a:pt x="686" y="152"/>
                  </a:lnTo>
                  <a:lnTo>
                    <a:pt x="688" y="147"/>
                  </a:lnTo>
                  <a:lnTo>
                    <a:pt x="689" y="143"/>
                  </a:lnTo>
                  <a:lnTo>
                    <a:pt x="690" y="141"/>
                  </a:lnTo>
                  <a:lnTo>
                    <a:pt x="692" y="140"/>
                  </a:lnTo>
                  <a:lnTo>
                    <a:pt x="695" y="140"/>
                  </a:lnTo>
                  <a:lnTo>
                    <a:pt x="702" y="145"/>
                  </a:lnTo>
                  <a:lnTo>
                    <a:pt x="702" y="148"/>
                  </a:lnTo>
                  <a:lnTo>
                    <a:pt x="703" y="149"/>
                  </a:lnTo>
                  <a:lnTo>
                    <a:pt x="702" y="152"/>
                  </a:lnTo>
                  <a:lnTo>
                    <a:pt x="703" y="154"/>
                  </a:lnTo>
                  <a:lnTo>
                    <a:pt x="706" y="155"/>
                  </a:lnTo>
                  <a:lnTo>
                    <a:pt x="707" y="156"/>
                  </a:lnTo>
                  <a:lnTo>
                    <a:pt x="710" y="158"/>
                  </a:lnTo>
                  <a:lnTo>
                    <a:pt x="716" y="165"/>
                  </a:lnTo>
                  <a:lnTo>
                    <a:pt x="717" y="167"/>
                  </a:lnTo>
                  <a:lnTo>
                    <a:pt x="717" y="170"/>
                  </a:lnTo>
                  <a:lnTo>
                    <a:pt x="722" y="174"/>
                  </a:lnTo>
                  <a:lnTo>
                    <a:pt x="719" y="174"/>
                  </a:lnTo>
                  <a:lnTo>
                    <a:pt x="720" y="176"/>
                  </a:lnTo>
                  <a:lnTo>
                    <a:pt x="723" y="176"/>
                  </a:lnTo>
                  <a:lnTo>
                    <a:pt x="725" y="174"/>
                  </a:lnTo>
                  <a:lnTo>
                    <a:pt x="725" y="173"/>
                  </a:lnTo>
                  <a:lnTo>
                    <a:pt x="722" y="172"/>
                  </a:lnTo>
                  <a:lnTo>
                    <a:pt x="722" y="168"/>
                  </a:lnTo>
                  <a:lnTo>
                    <a:pt x="721" y="166"/>
                  </a:lnTo>
                  <a:lnTo>
                    <a:pt x="716" y="164"/>
                  </a:lnTo>
                  <a:lnTo>
                    <a:pt x="717" y="162"/>
                  </a:lnTo>
                  <a:lnTo>
                    <a:pt x="720" y="164"/>
                  </a:lnTo>
                  <a:lnTo>
                    <a:pt x="721" y="162"/>
                  </a:lnTo>
                  <a:lnTo>
                    <a:pt x="721" y="160"/>
                  </a:lnTo>
                  <a:lnTo>
                    <a:pt x="720" y="160"/>
                  </a:lnTo>
                  <a:lnTo>
                    <a:pt x="717" y="159"/>
                  </a:lnTo>
                  <a:lnTo>
                    <a:pt x="717" y="153"/>
                  </a:lnTo>
                  <a:lnTo>
                    <a:pt x="716" y="151"/>
                  </a:lnTo>
                  <a:lnTo>
                    <a:pt x="717" y="148"/>
                  </a:lnTo>
                  <a:lnTo>
                    <a:pt x="717" y="147"/>
                  </a:lnTo>
                  <a:lnTo>
                    <a:pt x="716" y="146"/>
                  </a:lnTo>
                  <a:lnTo>
                    <a:pt x="717" y="146"/>
                  </a:lnTo>
                  <a:lnTo>
                    <a:pt x="717" y="145"/>
                  </a:lnTo>
                  <a:lnTo>
                    <a:pt x="720" y="146"/>
                  </a:lnTo>
                  <a:lnTo>
                    <a:pt x="721" y="145"/>
                  </a:lnTo>
                  <a:lnTo>
                    <a:pt x="721" y="149"/>
                  </a:lnTo>
                  <a:lnTo>
                    <a:pt x="722" y="151"/>
                  </a:lnTo>
                  <a:lnTo>
                    <a:pt x="722" y="141"/>
                  </a:lnTo>
                  <a:lnTo>
                    <a:pt x="723" y="141"/>
                  </a:lnTo>
                  <a:lnTo>
                    <a:pt x="725" y="140"/>
                  </a:lnTo>
                  <a:lnTo>
                    <a:pt x="719" y="142"/>
                  </a:lnTo>
                  <a:lnTo>
                    <a:pt x="714" y="142"/>
                  </a:lnTo>
                  <a:lnTo>
                    <a:pt x="711" y="139"/>
                  </a:lnTo>
                  <a:lnTo>
                    <a:pt x="714" y="136"/>
                  </a:lnTo>
                  <a:lnTo>
                    <a:pt x="720" y="136"/>
                  </a:lnTo>
                  <a:lnTo>
                    <a:pt x="721" y="135"/>
                  </a:lnTo>
                  <a:lnTo>
                    <a:pt x="722" y="133"/>
                  </a:lnTo>
                  <a:lnTo>
                    <a:pt x="725" y="130"/>
                  </a:lnTo>
                  <a:lnTo>
                    <a:pt x="725" y="129"/>
                  </a:lnTo>
                  <a:lnTo>
                    <a:pt x="721" y="130"/>
                  </a:lnTo>
                  <a:lnTo>
                    <a:pt x="720" y="133"/>
                  </a:lnTo>
                  <a:lnTo>
                    <a:pt x="719" y="133"/>
                  </a:lnTo>
                  <a:lnTo>
                    <a:pt x="714" y="131"/>
                  </a:lnTo>
                  <a:lnTo>
                    <a:pt x="713" y="133"/>
                  </a:lnTo>
                  <a:lnTo>
                    <a:pt x="713" y="134"/>
                  </a:lnTo>
                  <a:lnTo>
                    <a:pt x="711" y="135"/>
                  </a:lnTo>
                  <a:lnTo>
                    <a:pt x="708" y="136"/>
                  </a:lnTo>
                  <a:lnTo>
                    <a:pt x="707" y="135"/>
                  </a:lnTo>
                  <a:lnTo>
                    <a:pt x="704" y="131"/>
                  </a:lnTo>
                  <a:lnTo>
                    <a:pt x="700" y="133"/>
                  </a:lnTo>
                  <a:lnTo>
                    <a:pt x="697" y="130"/>
                  </a:lnTo>
                  <a:lnTo>
                    <a:pt x="696" y="127"/>
                  </a:lnTo>
                  <a:lnTo>
                    <a:pt x="696" y="124"/>
                  </a:lnTo>
                  <a:lnTo>
                    <a:pt x="697" y="124"/>
                  </a:lnTo>
                  <a:lnTo>
                    <a:pt x="698" y="123"/>
                  </a:lnTo>
                  <a:lnTo>
                    <a:pt x="698" y="122"/>
                  </a:lnTo>
                  <a:lnTo>
                    <a:pt x="694" y="123"/>
                  </a:lnTo>
                  <a:lnTo>
                    <a:pt x="691" y="123"/>
                  </a:lnTo>
                  <a:lnTo>
                    <a:pt x="689" y="121"/>
                  </a:lnTo>
                  <a:lnTo>
                    <a:pt x="689" y="118"/>
                  </a:lnTo>
                  <a:lnTo>
                    <a:pt x="686" y="118"/>
                  </a:lnTo>
                  <a:lnTo>
                    <a:pt x="686" y="117"/>
                  </a:lnTo>
                  <a:lnTo>
                    <a:pt x="688" y="116"/>
                  </a:lnTo>
                  <a:lnTo>
                    <a:pt x="689" y="113"/>
                  </a:lnTo>
                  <a:lnTo>
                    <a:pt x="691" y="112"/>
                  </a:lnTo>
                  <a:lnTo>
                    <a:pt x="692" y="112"/>
                  </a:lnTo>
                  <a:lnTo>
                    <a:pt x="695" y="110"/>
                  </a:lnTo>
                  <a:lnTo>
                    <a:pt x="696" y="110"/>
                  </a:lnTo>
                  <a:lnTo>
                    <a:pt x="696" y="112"/>
                  </a:lnTo>
                  <a:lnTo>
                    <a:pt x="697" y="113"/>
                  </a:lnTo>
                  <a:lnTo>
                    <a:pt x="698" y="117"/>
                  </a:lnTo>
                  <a:lnTo>
                    <a:pt x="698" y="113"/>
                  </a:lnTo>
                  <a:lnTo>
                    <a:pt x="700" y="112"/>
                  </a:lnTo>
                  <a:lnTo>
                    <a:pt x="700" y="105"/>
                  </a:lnTo>
                  <a:lnTo>
                    <a:pt x="701" y="104"/>
                  </a:lnTo>
                  <a:lnTo>
                    <a:pt x="703" y="104"/>
                  </a:lnTo>
                  <a:lnTo>
                    <a:pt x="703" y="108"/>
                  </a:lnTo>
                  <a:lnTo>
                    <a:pt x="704" y="110"/>
                  </a:lnTo>
                  <a:lnTo>
                    <a:pt x="704" y="111"/>
                  </a:lnTo>
                  <a:lnTo>
                    <a:pt x="707" y="111"/>
                  </a:lnTo>
                  <a:lnTo>
                    <a:pt x="708" y="112"/>
                  </a:lnTo>
                  <a:lnTo>
                    <a:pt x="711" y="118"/>
                  </a:lnTo>
                  <a:lnTo>
                    <a:pt x="711" y="119"/>
                  </a:lnTo>
                  <a:lnTo>
                    <a:pt x="713" y="122"/>
                  </a:lnTo>
                  <a:lnTo>
                    <a:pt x="713" y="123"/>
                  </a:lnTo>
                  <a:lnTo>
                    <a:pt x="715" y="125"/>
                  </a:lnTo>
                  <a:lnTo>
                    <a:pt x="715" y="119"/>
                  </a:lnTo>
                  <a:lnTo>
                    <a:pt x="714" y="119"/>
                  </a:lnTo>
                  <a:lnTo>
                    <a:pt x="714" y="118"/>
                  </a:lnTo>
                  <a:lnTo>
                    <a:pt x="715" y="117"/>
                  </a:lnTo>
                  <a:lnTo>
                    <a:pt x="711" y="113"/>
                  </a:lnTo>
                  <a:lnTo>
                    <a:pt x="711" y="111"/>
                  </a:lnTo>
                  <a:lnTo>
                    <a:pt x="720" y="103"/>
                  </a:lnTo>
                  <a:lnTo>
                    <a:pt x="721" y="103"/>
                  </a:lnTo>
                  <a:lnTo>
                    <a:pt x="721" y="105"/>
                  </a:lnTo>
                  <a:lnTo>
                    <a:pt x="720" y="106"/>
                  </a:lnTo>
                  <a:lnTo>
                    <a:pt x="720" y="108"/>
                  </a:lnTo>
                  <a:lnTo>
                    <a:pt x="721" y="108"/>
                  </a:lnTo>
                  <a:lnTo>
                    <a:pt x="723" y="105"/>
                  </a:lnTo>
                  <a:lnTo>
                    <a:pt x="725" y="105"/>
                  </a:lnTo>
                  <a:lnTo>
                    <a:pt x="725" y="115"/>
                  </a:lnTo>
                  <a:lnTo>
                    <a:pt x="727" y="112"/>
                  </a:lnTo>
                  <a:lnTo>
                    <a:pt x="727" y="111"/>
                  </a:lnTo>
                  <a:lnTo>
                    <a:pt x="726" y="108"/>
                  </a:lnTo>
                  <a:lnTo>
                    <a:pt x="732" y="106"/>
                  </a:lnTo>
                  <a:lnTo>
                    <a:pt x="733" y="108"/>
                  </a:lnTo>
                  <a:lnTo>
                    <a:pt x="733" y="111"/>
                  </a:lnTo>
                  <a:lnTo>
                    <a:pt x="732" y="113"/>
                  </a:lnTo>
                  <a:lnTo>
                    <a:pt x="731" y="115"/>
                  </a:lnTo>
                  <a:lnTo>
                    <a:pt x="732" y="116"/>
                  </a:lnTo>
                  <a:lnTo>
                    <a:pt x="732" y="121"/>
                  </a:lnTo>
                  <a:lnTo>
                    <a:pt x="733" y="123"/>
                  </a:lnTo>
                  <a:lnTo>
                    <a:pt x="732" y="124"/>
                  </a:lnTo>
                  <a:lnTo>
                    <a:pt x="731" y="124"/>
                  </a:lnTo>
                  <a:lnTo>
                    <a:pt x="731" y="125"/>
                  </a:lnTo>
                  <a:lnTo>
                    <a:pt x="732" y="127"/>
                  </a:lnTo>
                  <a:lnTo>
                    <a:pt x="738" y="125"/>
                  </a:lnTo>
                  <a:lnTo>
                    <a:pt x="742" y="128"/>
                  </a:lnTo>
                  <a:lnTo>
                    <a:pt x="744" y="128"/>
                  </a:lnTo>
                  <a:lnTo>
                    <a:pt x="741" y="125"/>
                  </a:lnTo>
                  <a:lnTo>
                    <a:pt x="734" y="123"/>
                  </a:lnTo>
                  <a:lnTo>
                    <a:pt x="734" y="121"/>
                  </a:lnTo>
                  <a:lnTo>
                    <a:pt x="735" y="117"/>
                  </a:lnTo>
                  <a:lnTo>
                    <a:pt x="737" y="112"/>
                  </a:lnTo>
                  <a:lnTo>
                    <a:pt x="735" y="112"/>
                  </a:lnTo>
                  <a:lnTo>
                    <a:pt x="737" y="111"/>
                  </a:lnTo>
                  <a:lnTo>
                    <a:pt x="740" y="111"/>
                  </a:lnTo>
                  <a:lnTo>
                    <a:pt x="741" y="112"/>
                  </a:lnTo>
                  <a:lnTo>
                    <a:pt x="744" y="113"/>
                  </a:lnTo>
                  <a:lnTo>
                    <a:pt x="745" y="113"/>
                  </a:lnTo>
                  <a:lnTo>
                    <a:pt x="745" y="116"/>
                  </a:lnTo>
                  <a:lnTo>
                    <a:pt x="748" y="116"/>
                  </a:lnTo>
                  <a:lnTo>
                    <a:pt x="760" y="117"/>
                  </a:lnTo>
                  <a:lnTo>
                    <a:pt x="762" y="118"/>
                  </a:lnTo>
                  <a:lnTo>
                    <a:pt x="762" y="119"/>
                  </a:lnTo>
                  <a:lnTo>
                    <a:pt x="757" y="128"/>
                  </a:lnTo>
                  <a:lnTo>
                    <a:pt x="756" y="129"/>
                  </a:lnTo>
                  <a:lnTo>
                    <a:pt x="754" y="129"/>
                  </a:lnTo>
                  <a:lnTo>
                    <a:pt x="744" y="133"/>
                  </a:lnTo>
                  <a:lnTo>
                    <a:pt x="739" y="133"/>
                  </a:lnTo>
                  <a:lnTo>
                    <a:pt x="737" y="135"/>
                  </a:lnTo>
                  <a:lnTo>
                    <a:pt x="732" y="137"/>
                  </a:lnTo>
                  <a:lnTo>
                    <a:pt x="733" y="139"/>
                  </a:lnTo>
                  <a:lnTo>
                    <a:pt x="734" y="139"/>
                  </a:lnTo>
                  <a:lnTo>
                    <a:pt x="737" y="136"/>
                  </a:lnTo>
                  <a:lnTo>
                    <a:pt x="747" y="134"/>
                  </a:lnTo>
                  <a:lnTo>
                    <a:pt x="751" y="131"/>
                  </a:lnTo>
                  <a:lnTo>
                    <a:pt x="757" y="130"/>
                  </a:lnTo>
                  <a:lnTo>
                    <a:pt x="762" y="125"/>
                  </a:lnTo>
                  <a:lnTo>
                    <a:pt x="763" y="125"/>
                  </a:lnTo>
                  <a:lnTo>
                    <a:pt x="763" y="139"/>
                  </a:lnTo>
                  <a:lnTo>
                    <a:pt x="764" y="140"/>
                  </a:lnTo>
                  <a:lnTo>
                    <a:pt x="765" y="140"/>
                  </a:lnTo>
                  <a:lnTo>
                    <a:pt x="766" y="139"/>
                  </a:lnTo>
                  <a:lnTo>
                    <a:pt x="768" y="139"/>
                  </a:lnTo>
                  <a:lnTo>
                    <a:pt x="768" y="145"/>
                  </a:lnTo>
                  <a:lnTo>
                    <a:pt x="769" y="147"/>
                  </a:lnTo>
                  <a:lnTo>
                    <a:pt x="768" y="147"/>
                  </a:lnTo>
                  <a:lnTo>
                    <a:pt x="768" y="148"/>
                  </a:lnTo>
                  <a:lnTo>
                    <a:pt x="766" y="149"/>
                  </a:lnTo>
                  <a:lnTo>
                    <a:pt x="768" y="151"/>
                  </a:lnTo>
                  <a:lnTo>
                    <a:pt x="769" y="149"/>
                  </a:lnTo>
                  <a:lnTo>
                    <a:pt x="775" y="145"/>
                  </a:lnTo>
                  <a:lnTo>
                    <a:pt x="775" y="143"/>
                  </a:lnTo>
                  <a:lnTo>
                    <a:pt x="776" y="143"/>
                  </a:lnTo>
                  <a:lnTo>
                    <a:pt x="776" y="146"/>
                  </a:lnTo>
                  <a:lnTo>
                    <a:pt x="777" y="146"/>
                  </a:lnTo>
                  <a:lnTo>
                    <a:pt x="777" y="147"/>
                  </a:lnTo>
                  <a:lnTo>
                    <a:pt x="776" y="149"/>
                  </a:lnTo>
                  <a:lnTo>
                    <a:pt x="781" y="146"/>
                  </a:lnTo>
                  <a:lnTo>
                    <a:pt x="782" y="145"/>
                  </a:lnTo>
                  <a:lnTo>
                    <a:pt x="783" y="145"/>
                  </a:lnTo>
                  <a:lnTo>
                    <a:pt x="783" y="142"/>
                  </a:lnTo>
                  <a:lnTo>
                    <a:pt x="784" y="141"/>
                  </a:lnTo>
                  <a:lnTo>
                    <a:pt x="785" y="141"/>
                  </a:lnTo>
                  <a:lnTo>
                    <a:pt x="783" y="139"/>
                  </a:lnTo>
                  <a:lnTo>
                    <a:pt x="775" y="139"/>
                  </a:lnTo>
                  <a:lnTo>
                    <a:pt x="773" y="137"/>
                  </a:lnTo>
                  <a:lnTo>
                    <a:pt x="770" y="131"/>
                  </a:lnTo>
                  <a:lnTo>
                    <a:pt x="772" y="131"/>
                  </a:lnTo>
                  <a:lnTo>
                    <a:pt x="772" y="130"/>
                  </a:lnTo>
                  <a:lnTo>
                    <a:pt x="773" y="130"/>
                  </a:lnTo>
                  <a:lnTo>
                    <a:pt x="773" y="129"/>
                  </a:lnTo>
                  <a:lnTo>
                    <a:pt x="777" y="129"/>
                  </a:lnTo>
                  <a:lnTo>
                    <a:pt x="778" y="128"/>
                  </a:lnTo>
                  <a:lnTo>
                    <a:pt x="779" y="125"/>
                  </a:lnTo>
                  <a:lnTo>
                    <a:pt x="778" y="124"/>
                  </a:lnTo>
                  <a:lnTo>
                    <a:pt x="776" y="123"/>
                  </a:lnTo>
                  <a:lnTo>
                    <a:pt x="775" y="123"/>
                  </a:lnTo>
                  <a:lnTo>
                    <a:pt x="776" y="122"/>
                  </a:lnTo>
                  <a:lnTo>
                    <a:pt x="779" y="121"/>
                  </a:lnTo>
                  <a:lnTo>
                    <a:pt x="781" y="119"/>
                  </a:lnTo>
                  <a:lnTo>
                    <a:pt x="776" y="119"/>
                  </a:lnTo>
                  <a:lnTo>
                    <a:pt x="775" y="118"/>
                  </a:lnTo>
                  <a:lnTo>
                    <a:pt x="772" y="117"/>
                  </a:lnTo>
                  <a:lnTo>
                    <a:pt x="773" y="116"/>
                  </a:lnTo>
                  <a:lnTo>
                    <a:pt x="778" y="115"/>
                  </a:lnTo>
                  <a:lnTo>
                    <a:pt x="783" y="115"/>
                  </a:lnTo>
                  <a:lnTo>
                    <a:pt x="783" y="113"/>
                  </a:lnTo>
                  <a:lnTo>
                    <a:pt x="784" y="113"/>
                  </a:lnTo>
                  <a:lnTo>
                    <a:pt x="782" y="111"/>
                  </a:lnTo>
                  <a:lnTo>
                    <a:pt x="775" y="113"/>
                  </a:lnTo>
                  <a:lnTo>
                    <a:pt x="776" y="111"/>
                  </a:lnTo>
                  <a:lnTo>
                    <a:pt x="779" y="109"/>
                  </a:lnTo>
                  <a:lnTo>
                    <a:pt x="787" y="108"/>
                  </a:lnTo>
                  <a:lnTo>
                    <a:pt x="788" y="105"/>
                  </a:lnTo>
                  <a:lnTo>
                    <a:pt x="784" y="106"/>
                  </a:lnTo>
                  <a:lnTo>
                    <a:pt x="784" y="105"/>
                  </a:lnTo>
                  <a:lnTo>
                    <a:pt x="785" y="103"/>
                  </a:lnTo>
                  <a:lnTo>
                    <a:pt x="784" y="103"/>
                  </a:lnTo>
                  <a:lnTo>
                    <a:pt x="783" y="104"/>
                  </a:lnTo>
                  <a:lnTo>
                    <a:pt x="782" y="104"/>
                  </a:lnTo>
                  <a:lnTo>
                    <a:pt x="783" y="103"/>
                  </a:lnTo>
                  <a:lnTo>
                    <a:pt x="784" y="98"/>
                  </a:lnTo>
                  <a:lnTo>
                    <a:pt x="785" y="97"/>
                  </a:lnTo>
                  <a:lnTo>
                    <a:pt x="787" y="97"/>
                  </a:lnTo>
                  <a:lnTo>
                    <a:pt x="788" y="96"/>
                  </a:lnTo>
                  <a:lnTo>
                    <a:pt x="789" y="92"/>
                  </a:lnTo>
                  <a:lnTo>
                    <a:pt x="794" y="87"/>
                  </a:lnTo>
                  <a:lnTo>
                    <a:pt x="797" y="82"/>
                  </a:lnTo>
                  <a:lnTo>
                    <a:pt x="797" y="81"/>
                  </a:lnTo>
                  <a:lnTo>
                    <a:pt x="801" y="80"/>
                  </a:lnTo>
                  <a:lnTo>
                    <a:pt x="813" y="81"/>
                  </a:lnTo>
                  <a:lnTo>
                    <a:pt x="818" y="84"/>
                  </a:lnTo>
                  <a:lnTo>
                    <a:pt x="818" y="85"/>
                  </a:lnTo>
                  <a:lnTo>
                    <a:pt x="819" y="86"/>
                  </a:lnTo>
                  <a:lnTo>
                    <a:pt x="820" y="86"/>
                  </a:lnTo>
                  <a:lnTo>
                    <a:pt x="820" y="85"/>
                  </a:lnTo>
                  <a:lnTo>
                    <a:pt x="818" y="82"/>
                  </a:lnTo>
                  <a:lnTo>
                    <a:pt x="815" y="79"/>
                  </a:lnTo>
                  <a:lnTo>
                    <a:pt x="814" y="78"/>
                  </a:lnTo>
                  <a:lnTo>
                    <a:pt x="809" y="76"/>
                  </a:lnTo>
                  <a:lnTo>
                    <a:pt x="809" y="74"/>
                  </a:lnTo>
                  <a:lnTo>
                    <a:pt x="814" y="70"/>
                  </a:lnTo>
                  <a:lnTo>
                    <a:pt x="814" y="68"/>
                  </a:lnTo>
                  <a:lnTo>
                    <a:pt x="815" y="68"/>
                  </a:lnTo>
                  <a:lnTo>
                    <a:pt x="815" y="67"/>
                  </a:lnTo>
                  <a:lnTo>
                    <a:pt x="816" y="67"/>
                  </a:lnTo>
                  <a:lnTo>
                    <a:pt x="816" y="60"/>
                  </a:lnTo>
                  <a:lnTo>
                    <a:pt x="820" y="56"/>
                  </a:lnTo>
                  <a:lnTo>
                    <a:pt x="822" y="57"/>
                  </a:lnTo>
                  <a:lnTo>
                    <a:pt x="825" y="57"/>
                  </a:lnTo>
                  <a:lnTo>
                    <a:pt x="826" y="59"/>
                  </a:lnTo>
                  <a:lnTo>
                    <a:pt x="831" y="65"/>
                  </a:lnTo>
                  <a:lnTo>
                    <a:pt x="833" y="67"/>
                  </a:lnTo>
                  <a:lnTo>
                    <a:pt x="835" y="66"/>
                  </a:lnTo>
                  <a:lnTo>
                    <a:pt x="835" y="60"/>
                  </a:lnTo>
                  <a:lnTo>
                    <a:pt x="832" y="57"/>
                  </a:lnTo>
                  <a:lnTo>
                    <a:pt x="832" y="54"/>
                  </a:lnTo>
                  <a:lnTo>
                    <a:pt x="829" y="53"/>
                  </a:lnTo>
                  <a:lnTo>
                    <a:pt x="828" y="51"/>
                  </a:lnTo>
                  <a:lnTo>
                    <a:pt x="827" y="49"/>
                  </a:lnTo>
                  <a:lnTo>
                    <a:pt x="824" y="49"/>
                  </a:lnTo>
                  <a:lnTo>
                    <a:pt x="819" y="48"/>
                  </a:lnTo>
                  <a:lnTo>
                    <a:pt x="816" y="47"/>
                  </a:lnTo>
                  <a:lnTo>
                    <a:pt x="815" y="47"/>
                  </a:lnTo>
                  <a:lnTo>
                    <a:pt x="815" y="44"/>
                  </a:lnTo>
                  <a:lnTo>
                    <a:pt x="816" y="43"/>
                  </a:lnTo>
                  <a:lnTo>
                    <a:pt x="816" y="37"/>
                  </a:lnTo>
                  <a:lnTo>
                    <a:pt x="820" y="35"/>
                  </a:lnTo>
                  <a:lnTo>
                    <a:pt x="821" y="33"/>
                  </a:lnTo>
                  <a:lnTo>
                    <a:pt x="822" y="36"/>
                  </a:lnTo>
                  <a:lnTo>
                    <a:pt x="822" y="37"/>
                  </a:lnTo>
                  <a:lnTo>
                    <a:pt x="824" y="37"/>
                  </a:lnTo>
                  <a:lnTo>
                    <a:pt x="825" y="38"/>
                  </a:lnTo>
                  <a:lnTo>
                    <a:pt x="824" y="41"/>
                  </a:lnTo>
                  <a:lnTo>
                    <a:pt x="826" y="41"/>
                  </a:lnTo>
                  <a:lnTo>
                    <a:pt x="831" y="45"/>
                  </a:lnTo>
                  <a:lnTo>
                    <a:pt x="832" y="45"/>
                  </a:lnTo>
                  <a:lnTo>
                    <a:pt x="832" y="42"/>
                  </a:lnTo>
                  <a:lnTo>
                    <a:pt x="829" y="39"/>
                  </a:lnTo>
                  <a:lnTo>
                    <a:pt x="831" y="37"/>
                  </a:lnTo>
                  <a:lnTo>
                    <a:pt x="831" y="33"/>
                  </a:lnTo>
                  <a:lnTo>
                    <a:pt x="832" y="35"/>
                  </a:lnTo>
                  <a:lnTo>
                    <a:pt x="834" y="35"/>
                  </a:lnTo>
                  <a:lnTo>
                    <a:pt x="835" y="33"/>
                  </a:lnTo>
                  <a:lnTo>
                    <a:pt x="832" y="31"/>
                  </a:lnTo>
                  <a:lnTo>
                    <a:pt x="831" y="30"/>
                  </a:lnTo>
                  <a:lnTo>
                    <a:pt x="831" y="29"/>
                  </a:lnTo>
                  <a:lnTo>
                    <a:pt x="829" y="27"/>
                  </a:lnTo>
                  <a:lnTo>
                    <a:pt x="829" y="26"/>
                  </a:lnTo>
                  <a:lnTo>
                    <a:pt x="828" y="25"/>
                  </a:lnTo>
                  <a:lnTo>
                    <a:pt x="829" y="24"/>
                  </a:lnTo>
                  <a:lnTo>
                    <a:pt x="831" y="24"/>
                  </a:lnTo>
                  <a:lnTo>
                    <a:pt x="832" y="23"/>
                  </a:lnTo>
                  <a:lnTo>
                    <a:pt x="829" y="23"/>
                  </a:lnTo>
                  <a:lnTo>
                    <a:pt x="829" y="22"/>
                  </a:lnTo>
                  <a:lnTo>
                    <a:pt x="831" y="20"/>
                  </a:lnTo>
                  <a:lnTo>
                    <a:pt x="832" y="20"/>
                  </a:lnTo>
                  <a:lnTo>
                    <a:pt x="833" y="19"/>
                  </a:lnTo>
                  <a:lnTo>
                    <a:pt x="837" y="20"/>
                  </a:lnTo>
                  <a:lnTo>
                    <a:pt x="838" y="22"/>
                  </a:lnTo>
                  <a:lnTo>
                    <a:pt x="838" y="23"/>
                  </a:lnTo>
                  <a:lnTo>
                    <a:pt x="839" y="24"/>
                  </a:lnTo>
                  <a:lnTo>
                    <a:pt x="840" y="24"/>
                  </a:lnTo>
                  <a:lnTo>
                    <a:pt x="840" y="27"/>
                  </a:lnTo>
                  <a:lnTo>
                    <a:pt x="839" y="29"/>
                  </a:lnTo>
                  <a:lnTo>
                    <a:pt x="846" y="27"/>
                  </a:lnTo>
                  <a:lnTo>
                    <a:pt x="845" y="26"/>
                  </a:lnTo>
                  <a:lnTo>
                    <a:pt x="846" y="24"/>
                  </a:lnTo>
                  <a:lnTo>
                    <a:pt x="846" y="23"/>
                  </a:lnTo>
                  <a:lnTo>
                    <a:pt x="845" y="22"/>
                  </a:lnTo>
                  <a:lnTo>
                    <a:pt x="846" y="20"/>
                  </a:lnTo>
                  <a:lnTo>
                    <a:pt x="849" y="20"/>
                  </a:lnTo>
                  <a:lnTo>
                    <a:pt x="850" y="23"/>
                  </a:lnTo>
                  <a:lnTo>
                    <a:pt x="849" y="26"/>
                  </a:lnTo>
                  <a:lnTo>
                    <a:pt x="846" y="31"/>
                  </a:lnTo>
                  <a:lnTo>
                    <a:pt x="845" y="32"/>
                  </a:lnTo>
                  <a:lnTo>
                    <a:pt x="843" y="33"/>
                  </a:lnTo>
                  <a:lnTo>
                    <a:pt x="844" y="33"/>
                  </a:lnTo>
                  <a:lnTo>
                    <a:pt x="845" y="32"/>
                  </a:lnTo>
                  <a:lnTo>
                    <a:pt x="847" y="35"/>
                  </a:lnTo>
                  <a:lnTo>
                    <a:pt x="849" y="35"/>
                  </a:lnTo>
                  <a:lnTo>
                    <a:pt x="850" y="36"/>
                  </a:lnTo>
                  <a:lnTo>
                    <a:pt x="850" y="32"/>
                  </a:lnTo>
                  <a:lnTo>
                    <a:pt x="851" y="29"/>
                  </a:lnTo>
                  <a:lnTo>
                    <a:pt x="852" y="27"/>
                  </a:lnTo>
                  <a:lnTo>
                    <a:pt x="853" y="27"/>
                  </a:lnTo>
                  <a:lnTo>
                    <a:pt x="853" y="29"/>
                  </a:lnTo>
                  <a:lnTo>
                    <a:pt x="855" y="29"/>
                  </a:lnTo>
                  <a:lnTo>
                    <a:pt x="857" y="33"/>
                  </a:lnTo>
                  <a:lnTo>
                    <a:pt x="857" y="35"/>
                  </a:lnTo>
                  <a:lnTo>
                    <a:pt x="858" y="39"/>
                  </a:lnTo>
                  <a:lnTo>
                    <a:pt x="857" y="44"/>
                  </a:lnTo>
                  <a:lnTo>
                    <a:pt x="858" y="44"/>
                  </a:lnTo>
                  <a:lnTo>
                    <a:pt x="858" y="42"/>
                  </a:lnTo>
                  <a:lnTo>
                    <a:pt x="859" y="41"/>
                  </a:lnTo>
                  <a:lnTo>
                    <a:pt x="862" y="41"/>
                  </a:lnTo>
                  <a:lnTo>
                    <a:pt x="863" y="32"/>
                  </a:lnTo>
                  <a:lnTo>
                    <a:pt x="863" y="27"/>
                  </a:lnTo>
                  <a:lnTo>
                    <a:pt x="862" y="26"/>
                  </a:lnTo>
                  <a:lnTo>
                    <a:pt x="862" y="20"/>
                  </a:lnTo>
                  <a:lnTo>
                    <a:pt x="864" y="22"/>
                  </a:lnTo>
                  <a:lnTo>
                    <a:pt x="869" y="26"/>
                  </a:lnTo>
                  <a:lnTo>
                    <a:pt x="869" y="31"/>
                  </a:lnTo>
                  <a:lnTo>
                    <a:pt x="865" y="35"/>
                  </a:lnTo>
                  <a:lnTo>
                    <a:pt x="864" y="35"/>
                  </a:lnTo>
                  <a:lnTo>
                    <a:pt x="865" y="37"/>
                  </a:lnTo>
                  <a:lnTo>
                    <a:pt x="866" y="37"/>
                  </a:lnTo>
                  <a:lnTo>
                    <a:pt x="869" y="33"/>
                  </a:lnTo>
                  <a:lnTo>
                    <a:pt x="870" y="36"/>
                  </a:lnTo>
                  <a:lnTo>
                    <a:pt x="870" y="35"/>
                  </a:lnTo>
                  <a:lnTo>
                    <a:pt x="871" y="32"/>
                  </a:lnTo>
                  <a:lnTo>
                    <a:pt x="872" y="31"/>
                  </a:lnTo>
                  <a:lnTo>
                    <a:pt x="875" y="30"/>
                  </a:lnTo>
                  <a:lnTo>
                    <a:pt x="876" y="30"/>
                  </a:lnTo>
                  <a:lnTo>
                    <a:pt x="877" y="32"/>
                  </a:lnTo>
                  <a:lnTo>
                    <a:pt x="878" y="33"/>
                  </a:lnTo>
                  <a:lnTo>
                    <a:pt x="878" y="35"/>
                  </a:lnTo>
                  <a:lnTo>
                    <a:pt x="880" y="35"/>
                  </a:lnTo>
                  <a:lnTo>
                    <a:pt x="880" y="32"/>
                  </a:lnTo>
                  <a:lnTo>
                    <a:pt x="882" y="31"/>
                  </a:lnTo>
                  <a:lnTo>
                    <a:pt x="883" y="31"/>
                  </a:lnTo>
                  <a:lnTo>
                    <a:pt x="884" y="30"/>
                  </a:lnTo>
                  <a:lnTo>
                    <a:pt x="886" y="32"/>
                  </a:lnTo>
                  <a:lnTo>
                    <a:pt x="886" y="36"/>
                  </a:lnTo>
                  <a:lnTo>
                    <a:pt x="884" y="36"/>
                  </a:lnTo>
                  <a:lnTo>
                    <a:pt x="883" y="38"/>
                  </a:lnTo>
                  <a:lnTo>
                    <a:pt x="881" y="41"/>
                  </a:lnTo>
                  <a:lnTo>
                    <a:pt x="878" y="44"/>
                  </a:lnTo>
                  <a:lnTo>
                    <a:pt x="877" y="45"/>
                  </a:lnTo>
                  <a:lnTo>
                    <a:pt x="874" y="48"/>
                  </a:lnTo>
                  <a:lnTo>
                    <a:pt x="874" y="49"/>
                  </a:lnTo>
                  <a:lnTo>
                    <a:pt x="875" y="51"/>
                  </a:lnTo>
                  <a:lnTo>
                    <a:pt x="872" y="54"/>
                  </a:lnTo>
                  <a:lnTo>
                    <a:pt x="872" y="55"/>
                  </a:lnTo>
                  <a:lnTo>
                    <a:pt x="870" y="55"/>
                  </a:lnTo>
                  <a:lnTo>
                    <a:pt x="869" y="59"/>
                  </a:lnTo>
                  <a:lnTo>
                    <a:pt x="865" y="60"/>
                  </a:lnTo>
                  <a:lnTo>
                    <a:pt x="865" y="63"/>
                  </a:lnTo>
                  <a:lnTo>
                    <a:pt x="862" y="67"/>
                  </a:lnTo>
                  <a:lnTo>
                    <a:pt x="859" y="68"/>
                  </a:lnTo>
                  <a:lnTo>
                    <a:pt x="859" y="69"/>
                  </a:lnTo>
                  <a:lnTo>
                    <a:pt x="857" y="72"/>
                  </a:lnTo>
                  <a:lnTo>
                    <a:pt x="857" y="73"/>
                  </a:lnTo>
                  <a:lnTo>
                    <a:pt x="851" y="78"/>
                  </a:lnTo>
                  <a:lnTo>
                    <a:pt x="850" y="80"/>
                  </a:lnTo>
                  <a:lnTo>
                    <a:pt x="857" y="78"/>
                  </a:lnTo>
                  <a:lnTo>
                    <a:pt x="859" y="80"/>
                  </a:lnTo>
                  <a:lnTo>
                    <a:pt x="857" y="82"/>
                  </a:lnTo>
                  <a:lnTo>
                    <a:pt x="850" y="82"/>
                  </a:lnTo>
                  <a:lnTo>
                    <a:pt x="851" y="85"/>
                  </a:lnTo>
                  <a:lnTo>
                    <a:pt x="857" y="84"/>
                  </a:lnTo>
                  <a:lnTo>
                    <a:pt x="859" y="86"/>
                  </a:lnTo>
                  <a:lnTo>
                    <a:pt x="858" y="86"/>
                  </a:lnTo>
                  <a:lnTo>
                    <a:pt x="857" y="87"/>
                  </a:lnTo>
                  <a:lnTo>
                    <a:pt x="857" y="90"/>
                  </a:lnTo>
                  <a:lnTo>
                    <a:pt x="858" y="93"/>
                  </a:lnTo>
                  <a:lnTo>
                    <a:pt x="858" y="96"/>
                  </a:lnTo>
                  <a:lnTo>
                    <a:pt x="855" y="93"/>
                  </a:lnTo>
                  <a:lnTo>
                    <a:pt x="853" y="94"/>
                  </a:lnTo>
                  <a:lnTo>
                    <a:pt x="850" y="99"/>
                  </a:lnTo>
                  <a:lnTo>
                    <a:pt x="852" y="99"/>
                  </a:lnTo>
                  <a:lnTo>
                    <a:pt x="852" y="100"/>
                  </a:lnTo>
                  <a:lnTo>
                    <a:pt x="851" y="102"/>
                  </a:lnTo>
                  <a:lnTo>
                    <a:pt x="851" y="103"/>
                  </a:lnTo>
                  <a:lnTo>
                    <a:pt x="852" y="104"/>
                  </a:lnTo>
                  <a:lnTo>
                    <a:pt x="852" y="103"/>
                  </a:lnTo>
                  <a:lnTo>
                    <a:pt x="853" y="102"/>
                  </a:lnTo>
                  <a:lnTo>
                    <a:pt x="856" y="102"/>
                  </a:lnTo>
                  <a:lnTo>
                    <a:pt x="856" y="105"/>
                  </a:lnTo>
                  <a:lnTo>
                    <a:pt x="849" y="112"/>
                  </a:lnTo>
                  <a:lnTo>
                    <a:pt x="847" y="112"/>
                  </a:lnTo>
                  <a:lnTo>
                    <a:pt x="847" y="113"/>
                  </a:lnTo>
                  <a:lnTo>
                    <a:pt x="846" y="115"/>
                  </a:lnTo>
                  <a:lnTo>
                    <a:pt x="846" y="117"/>
                  </a:lnTo>
                  <a:lnTo>
                    <a:pt x="845" y="118"/>
                  </a:lnTo>
                  <a:lnTo>
                    <a:pt x="845" y="124"/>
                  </a:lnTo>
                  <a:lnTo>
                    <a:pt x="844" y="125"/>
                  </a:lnTo>
                  <a:lnTo>
                    <a:pt x="844" y="130"/>
                  </a:lnTo>
                  <a:lnTo>
                    <a:pt x="845" y="134"/>
                  </a:lnTo>
                  <a:lnTo>
                    <a:pt x="847" y="135"/>
                  </a:lnTo>
                  <a:lnTo>
                    <a:pt x="849" y="135"/>
                  </a:lnTo>
                  <a:lnTo>
                    <a:pt x="849" y="131"/>
                  </a:lnTo>
                  <a:lnTo>
                    <a:pt x="847" y="131"/>
                  </a:lnTo>
                  <a:lnTo>
                    <a:pt x="847" y="125"/>
                  </a:lnTo>
                  <a:lnTo>
                    <a:pt x="851" y="124"/>
                  </a:lnTo>
                  <a:lnTo>
                    <a:pt x="851" y="125"/>
                  </a:lnTo>
                  <a:lnTo>
                    <a:pt x="850" y="128"/>
                  </a:lnTo>
                  <a:lnTo>
                    <a:pt x="851" y="128"/>
                  </a:lnTo>
                  <a:lnTo>
                    <a:pt x="851" y="129"/>
                  </a:lnTo>
                  <a:lnTo>
                    <a:pt x="850" y="130"/>
                  </a:lnTo>
                  <a:lnTo>
                    <a:pt x="851" y="131"/>
                  </a:lnTo>
                  <a:lnTo>
                    <a:pt x="851" y="133"/>
                  </a:lnTo>
                  <a:lnTo>
                    <a:pt x="852" y="134"/>
                  </a:lnTo>
                  <a:lnTo>
                    <a:pt x="853" y="134"/>
                  </a:lnTo>
                  <a:lnTo>
                    <a:pt x="856" y="133"/>
                  </a:lnTo>
                  <a:lnTo>
                    <a:pt x="857" y="131"/>
                  </a:lnTo>
                  <a:lnTo>
                    <a:pt x="858" y="128"/>
                  </a:lnTo>
                  <a:lnTo>
                    <a:pt x="859" y="122"/>
                  </a:lnTo>
                  <a:lnTo>
                    <a:pt x="862" y="119"/>
                  </a:lnTo>
                  <a:lnTo>
                    <a:pt x="863" y="119"/>
                  </a:lnTo>
                  <a:lnTo>
                    <a:pt x="863" y="118"/>
                  </a:lnTo>
                  <a:lnTo>
                    <a:pt x="865" y="116"/>
                  </a:lnTo>
                  <a:lnTo>
                    <a:pt x="865" y="112"/>
                  </a:lnTo>
                  <a:lnTo>
                    <a:pt x="869" y="109"/>
                  </a:lnTo>
                  <a:lnTo>
                    <a:pt x="870" y="106"/>
                  </a:lnTo>
                  <a:lnTo>
                    <a:pt x="869" y="105"/>
                  </a:lnTo>
                  <a:lnTo>
                    <a:pt x="864" y="103"/>
                  </a:lnTo>
                  <a:lnTo>
                    <a:pt x="865" y="100"/>
                  </a:lnTo>
                  <a:lnTo>
                    <a:pt x="875" y="88"/>
                  </a:lnTo>
                  <a:lnTo>
                    <a:pt x="883" y="73"/>
                  </a:lnTo>
                  <a:lnTo>
                    <a:pt x="884" y="72"/>
                  </a:lnTo>
                  <a:lnTo>
                    <a:pt x="886" y="72"/>
                  </a:lnTo>
                  <a:lnTo>
                    <a:pt x="887" y="69"/>
                  </a:lnTo>
                  <a:lnTo>
                    <a:pt x="889" y="67"/>
                  </a:lnTo>
                  <a:lnTo>
                    <a:pt x="889" y="65"/>
                  </a:lnTo>
                  <a:lnTo>
                    <a:pt x="891" y="56"/>
                  </a:lnTo>
                  <a:lnTo>
                    <a:pt x="891" y="54"/>
                  </a:lnTo>
                  <a:lnTo>
                    <a:pt x="894" y="54"/>
                  </a:lnTo>
                  <a:lnTo>
                    <a:pt x="895" y="53"/>
                  </a:lnTo>
                  <a:lnTo>
                    <a:pt x="895" y="49"/>
                  </a:lnTo>
                  <a:lnTo>
                    <a:pt x="896" y="48"/>
                  </a:lnTo>
                  <a:lnTo>
                    <a:pt x="897" y="45"/>
                  </a:lnTo>
                  <a:lnTo>
                    <a:pt x="900" y="43"/>
                  </a:lnTo>
                  <a:lnTo>
                    <a:pt x="905" y="33"/>
                  </a:lnTo>
                  <a:lnTo>
                    <a:pt x="915" y="24"/>
                  </a:lnTo>
                  <a:lnTo>
                    <a:pt x="918" y="23"/>
                  </a:lnTo>
                  <a:lnTo>
                    <a:pt x="918" y="24"/>
                  </a:lnTo>
                  <a:lnTo>
                    <a:pt x="920" y="26"/>
                  </a:lnTo>
                  <a:lnTo>
                    <a:pt x="919" y="27"/>
                  </a:lnTo>
                  <a:lnTo>
                    <a:pt x="919" y="29"/>
                  </a:lnTo>
                  <a:lnTo>
                    <a:pt x="920" y="29"/>
                  </a:lnTo>
                  <a:lnTo>
                    <a:pt x="920" y="31"/>
                  </a:lnTo>
                  <a:lnTo>
                    <a:pt x="919" y="32"/>
                  </a:lnTo>
                  <a:lnTo>
                    <a:pt x="919" y="33"/>
                  </a:lnTo>
                  <a:lnTo>
                    <a:pt x="916" y="36"/>
                  </a:lnTo>
                  <a:lnTo>
                    <a:pt x="916" y="38"/>
                  </a:lnTo>
                  <a:lnTo>
                    <a:pt x="918" y="38"/>
                  </a:lnTo>
                  <a:lnTo>
                    <a:pt x="918" y="39"/>
                  </a:lnTo>
                  <a:lnTo>
                    <a:pt x="919" y="39"/>
                  </a:lnTo>
                  <a:lnTo>
                    <a:pt x="919" y="38"/>
                  </a:lnTo>
                  <a:lnTo>
                    <a:pt x="920" y="37"/>
                  </a:lnTo>
                  <a:lnTo>
                    <a:pt x="920" y="41"/>
                  </a:lnTo>
                  <a:lnTo>
                    <a:pt x="919" y="42"/>
                  </a:lnTo>
                  <a:lnTo>
                    <a:pt x="919" y="44"/>
                  </a:lnTo>
                  <a:lnTo>
                    <a:pt x="918" y="47"/>
                  </a:lnTo>
                  <a:lnTo>
                    <a:pt x="918" y="51"/>
                  </a:lnTo>
                  <a:lnTo>
                    <a:pt x="916" y="55"/>
                  </a:lnTo>
                  <a:lnTo>
                    <a:pt x="903" y="62"/>
                  </a:lnTo>
                  <a:lnTo>
                    <a:pt x="905" y="63"/>
                  </a:lnTo>
                  <a:lnTo>
                    <a:pt x="911" y="61"/>
                  </a:lnTo>
                  <a:lnTo>
                    <a:pt x="912" y="60"/>
                  </a:lnTo>
                  <a:lnTo>
                    <a:pt x="915" y="62"/>
                  </a:lnTo>
                  <a:lnTo>
                    <a:pt x="916" y="63"/>
                  </a:lnTo>
                  <a:lnTo>
                    <a:pt x="914" y="73"/>
                  </a:lnTo>
                  <a:lnTo>
                    <a:pt x="914" y="76"/>
                  </a:lnTo>
                  <a:lnTo>
                    <a:pt x="913" y="78"/>
                  </a:lnTo>
                  <a:lnTo>
                    <a:pt x="913" y="84"/>
                  </a:lnTo>
                  <a:lnTo>
                    <a:pt x="912" y="86"/>
                  </a:lnTo>
                  <a:lnTo>
                    <a:pt x="911" y="87"/>
                  </a:lnTo>
                  <a:lnTo>
                    <a:pt x="911" y="99"/>
                  </a:lnTo>
                  <a:lnTo>
                    <a:pt x="913" y="99"/>
                  </a:lnTo>
                  <a:lnTo>
                    <a:pt x="913" y="97"/>
                  </a:lnTo>
                  <a:lnTo>
                    <a:pt x="914" y="96"/>
                  </a:lnTo>
                  <a:lnTo>
                    <a:pt x="915" y="97"/>
                  </a:lnTo>
                  <a:lnTo>
                    <a:pt x="916" y="96"/>
                  </a:lnTo>
                  <a:lnTo>
                    <a:pt x="915" y="93"/>
                  </a:lnTo>
                  <a:lnTo>
                    <a:pt x="915" y="92"/>
                  </a:lnTo>
                  <a:lnTo>
                    <a:pt x="916" y="91"/>
                  </a:lnTo>
                  <a:lnTo>
                    <a:pt x="916" y="90"/>
                  </a:lnTo>
                  <a:lnTo>
                    <a:pt x="918" y="91"/>
                  </a:lnTo>
                  <a:lnTo>
                    <a:pt x="919" y="91"/>
                  </a:lnTo>
                  <a:lnTo>
                    <a:pt x="921" y="90"/>
                  </a:lnTo>
                  <a:lnTo>
                    <a:pt x="921" y="88"/>
                  </a:lnTo>
                  <a:lnTo>
                    <a:pt x="922" y="86"/>
                  </a:lnTo>
                  <a:lnTo>
                    <a:pt x="922" y="85"/>
                  </a:lnTo>
                  <a:lnTo>
                    <a:pt x="924" y="84"/>
                  </a:lnTo>
                  <a:lnTo>
                    <a:pt x="928" y="82"/>
                  </a:lnTo>
                  <a:lnTo>
                    <a:pt x="928" y="86"/>
                  </a:lnTo>
                  <a:lnTo>
                    <a:pt x="933" y="84"/>
                  </a:lnTo>
                  <a:lnTo>
                    <a:pt x="934" y="84"/>
                  </a:lnTo>
                  <a:lnTo>
                    <a:pt x="936" y="85"/>
                  </a:lnTo>
                  <a:lnTo>
                    <a:pt x="933" y="82"/>
                  </a:lnTo>
                  <a:lnTo>
                    <a:pt x="932" y="80"/>
                  </a:lnTo>
                  <a:lnTo>
                    <a:pt x="930" y="78"/>
                  </a:lnTo>
                  <a:lnTo>
                    <a:pt x="930" y="76"/>
                  </a:lnTo>
                  <a:lnTo>
                    <a:pt x="931" y="75"/>
                  </a:lnTo>
                  <a:lnTo>
                    <a:pt x="931" y="73"/>
                  </a:lnTo>
                  <a:lnTo>
                    <a:pt x="930" y="73"/>
                  </a:lnTo>
                  <a:lnTo>
                    <a:pt x="932" y="68"/>
                  </a:lnTo>
                  <a:lnTo>
                    <a:pt x="933" y="67"/>
                  </a:lnTo>
                  <a:lnTo>
                    <a:pt x="934" y="67"/>
                  </a:lnTo>
                  <a:lnTo>
                    <a:pt x="936" y="68"/>
                  </a:lnTo>
                  <a:lnTo>
                    <a:pt x="938" y="68"/>
                  </a:lnTo>
                  <a:lnTo>
                    <a:pt x="942" y="70"/>
                  </a:lnTo>
                  <a:lnTo>
                    <a:pt x="943" y="70"/>
                  </a:lnTo>
                  <a:lnTo>
                    <a:pt x="942" y="68"/>
                  </a:lnTo>
                  <a:lnTo>
                    <a:pt x="937" y="65"/>
                  </a:lnTo>
                  <a:lnTo>
                    <a:pt x="936" y="63"/>
                  </a:lnTo>
                  <a:lnTo>
                    <a:pt x="936" y="61"/>
                  </a:lnTo>
                  <a:lnTo>
                    <a:pt x="938" y="57"/>
                  </a:lnTo>
                  <a:lnTo>
                    <a:pt x="937" y="57"/>
                  </a:lnTo>
                  <a:lnTo>
                    <a:pt x="934" y="55"/>
                  </a:lnTo>
                  <a:lnTo>
                    <a:pt x="936" y="51"/>
                  </a:lnTo>
                  <a:lnTo>
                    <a:pt x="937" y="50"/>
                  </a:lnTo>
                  <a:lnTo>
                    <a:pt x="945" y="50"/>
                  </a:lnTo>
                  <a:lnTo>
                    <a:pt x="945" y="48"/>
                  </a:lnTo>
                  <a:lnTo>
                    <a:pt x="944" y="48"/>
                  </a:lnTo>
                  <a:lnTo>
                    <a:pt x="943" y="45"/>
                  </a:lnTo>
                  <a:lnTo>
                    <a:pt x="944" y="43"/>
                  </a:lnTo>
                  <a:lnTo>
                    <a:pt x="944" y="41"/>
                  </a:lnTo>
                  <a:lnTo>
                    <a:pt x="945" y="39"/>
                  </a:lnTo>
                  <a:lnTo>
                    <a:pt x="946" y="39"/>
                  </a:lnTo>
                  <a:lnTo>
                    <a:pt x="958" y="42"/>
                  </a:lnTo>
                  <a:lnTo>
                    <a:pt x="951" y="39"/>
                  </a:lnTo>
                  <a:lnTo>
                    <a:pt x="951" y="38"/>
                  </a:lnTo>
                  <a:lnTo>
                    <a:pt x="952" y="38"/>
                  </a:lnTo>
                  <a:lnTo>
                    <a:pt x="953" y="37"/>
                  </a:lnTo>
                  <a:lnTo>
                    <a:pt x="953" y="36"/>
                  </a:lnTo>
                  <a:lnTo>
                    <a:pt x="952" y="35"/>
                  </a:lnTo>
                  <a:lnTo>
                    <a:pt x="952" y="33"/>
                  </a:lnTo>
                  <a:lnTo>
                    <a:pt x="951" y="35"/>
                  </a:lnTo>
                  <a:lnTo>
                    <a:pt x="951" y="33"/>
                  </a:lnTo>
                  <a:lnTo>
                    <a:pt x="950" y="33"/>
                  </a:lnTo>
                  <a:lnTo>
                    <a:pt x="950" y="32"/>
                  </a:lnTo>
                  <a:lnTo>
                    <a:pt x="947" y="32"/>
                  </a:lnTo>
                  <a:lnTo>
                    <a:pt x="947" y="31"/>
                  </a:lnTo>
                  <a:lnTo>
                    <a:pt x="949" y="29"/>
                  </a:lnTo>
                  <a:lnTo>
                    <a:pt x="949" y="27"/>
                  </a:lnTo>
                  <a:lnTo>
                    <a:pt x="947" y="29"/>
                  </a:lnTo>
                  <a:lnTo>
                    <a:pt x="946" y="31"/>
                  </a:lnTo>
                  <a:lnTo>
                    <a:pt x="945" y="32"/>
                  </a:lnTo>
                  <a:lnTo>
                    <a:pt x="939" y="30"/>
                  </a:lnTo>
                  <a:lnTo>
                    <a:pt x="937" y="27"/>
                  </a:lnTo>
                  <a:lnTo>
                    <a:pt x="937" y="23"/>
                  </a:lnTo>
                  <a:lnTo>
                    <a:pt x="938" y="22"/>
                  </a:lnTo>
                  <a:lnTo>
                    <a:pt x="946" y="24"/>
                  </a:lnTo>
                  <a:lnTo>
                    <a:pt x="945" y="23"/>
                  </a:lnTo>
                  <a:lnTo>
                    <a:pt x="945" y="22"/>
                  </a:lnTo>
                  <a:lnTo>
                    <a:pt x="940" y="17"/>
                  </a:lnTo>
                  <a:lnTo>
                    <a:pt x="940" y="14"/>
                  </a:lnTo>
                  <a:lnTo>
                    <a:pt x="942" y="13"/>
                  </a:lnTo>
                  <a:lnTo>
                    <a:pt x="951" y="16"/>
                  </a:lnTo>
                  <a:lnTo>
                    <a:pt x="952" y="18"/>
                  </a:lnTo>
                  <a:lnTo>
                    <a:pt x="952" y="20"/>
                  </a:lnTo>
                  <a:lnTo>
                    <a:pt x="953" y="23"/>
                  </a:lnTo>
                  <a:lnTo>
                    <a:pt x="955" y="23"/>
                  </a:lnTo>
                  <a:lnTo>
                    <a:pt x="956" y="20"/>
                  </a:lnTo>
                  <a:lnTo>
                    <a:pt x="955" y="19"/>
                  </a:lnTo>
                  <a:lnTo>
                    <a:pt x="955" y="16"/>
                  </a:lnTo>
                  <a:lnTo>
                    <a:pt x="956" y="14"/>
                  </a:lnTo>
                  <a:lnTo>
                    <a:pt x="955" y="14"/>
                  </a:lnTo>
                  <a:lnTo>
                    <a:pt x="953" y="13"/>
                  </a:lnTo>
                  <a:lnTo>
                    <a:pt x="953" y="6"/>
                  </a:lnTo>
                  <a:lnTo>
                    <a:pt x="955" y="4"/>
                  </a:lnTo>
                  <a:lnTo>
                    <a:pt x="957" y="5"/>
                  </a:lnTo>
                  <a:lnTo>
                    <a:pt x="958" y="5"/>
                  </a:lnTo>
                  <a:lnTo>
                    <a:pt x="958" y="0"/>
                  </a:lnTo>
                  <a:close/>
                </a:path>
              </a:pathLst>
            </a:custGeom>
            <a:solidFill>
              <a:schemeClr val="accent5">
                <a:lumMod val="95000"/>
              </a:schemeClr>
            </a:solidFill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Freeform 11">
              <a:extLst>
                <a:ext uri="{FF2B5EF4-FFF2-40B4-BE49-F238E27FC236}">
                  <a16:creationId xmlns:a16="http://schemas.microsoft.com/office/drawing/2014/main" id="{E5F634EF-497B-4C15-97F3-B795CD30F0D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5063" y="4679950"/>
              <a:ext cx="303213" cy="192088"/>
            </a:xfrm>
            <a:custGeom>
              <a:avLst/>
              <a:gdLst/>
              <a:ahLst/>
              <a:cxnLst>
                <a:cxn ang="0">
                  <a:pos x="114" y="0"/>
                </a:cxn>
                <a:cxn ang="0">
                  <a:pos x="115" y="4"/>
                </a:cxn>
                <a:cxn ang="0">
                  <a:pos x="121" y="6"/>
                </a:cxn>
                <a:cxn ang="0">
                  <a:pos x="129" y="7"/>
                </a:cxn>
                <a:cxn ang="0">
                  <a:pos x="156" y="21"/>
                </a:cxn>
                <a:cxn ang="0">
                  <a:pos x="149" y="37"/>
                </a:cxn>
                <a:cxn ang="0">
                  <a:pos x="150" y="45"/>
                </a:cxn>
                <a:cxn ang="0">
                  <a:pos x="164" y="49"/>
                </a:cxn>
                <a:cxn ang="0">
                  <a:pos x="177" y="58"/>
                </a:cxn>
                <a:cxn ang="0">
                  <a:pos x="185" y="51"/>
                </a:cxn>
                <a:cxn ang="0">
                  <a:pos x="191" y="57"/>
                </a:cxn>
                <a:cxn ang="0">
                  <a:pos x="189" y="64"/>
                </a:cxn>
                <a:cxn ang="0">
                  <a:pos x="189" y="77"/>
                </a:cxn>
                <a:cxn ang="0">
                  <a:pos x="179" y="72"/>
                </a:cxn>
                <a:cxn ang="0">
                  <a:pos x="171" y="81"/>
                </a:cxn>
                <a:cxn ang="0">
                  <a:pos x="176" y="88"/>
                </a:cxn>
                <a:cxn ang="0">
                  <a:pos x="173" y="96"/>
                </a:cxn>
                <a:cxn ang="0">
                  <a:pos x="164" y="88"/>
                </a:cxn>
                <a:cxn ang="0">
                  <a:pos x="150" y="92"/>
                </a:cxn>
                <a:cxn ang="0">
                  <a:pos x="146" y="80"/>
                </a:cxn>
                <a:cxn ang="0">
                  <a:pos x="143" y="80"/>
                </a:cxn>
                <a:cxn ang="0">
                  <a:pos x="139" y="87"/>
                </a:cxn>
                <a:cxn ang="0">
                  <a:pos x="136" y="100"/>
                </a:cxn>
                <a:cxn ang="0">
                  <a:pos x="131" y="107"/>
                </a:cxn>
                <a:cxn ang="0">
                  <a:pos x="129" y="113"/>
                </a:cxn>
                <a:cxn ang="0">
                  <a:pos x="129" y="121"/>
                </a:cxn>
                <a:cxn ang="0">
                  <a:pos x="124" y="114"/>
                </a:cxn>
                <a:cxn ang="0">
                  <a:pos x="121" y="106"/>
                </a:cxn>
                <a:cxn ang="0">
                  <a:pos x="115" y="105"/>
                </a:cxn>
                <a:cxn ang="0">
                  <a:pos x="107" y="98"/>
                </a:cxn>
                <a:cxn ang="0">
                  <a:pos x="99" y="84"/>
                </a:cxn>
                <a:cxn ang="0">
                  <a:pos x="90" y="94"/>
                </a:cxn>
                <a:cxn ang="0">
                  <a:pos x="89" y="105"/>
                </a:cxn>
                <a:cxn ang="0">
                  <a:pos x="81" y="112"/>
                </a:cxn>
                <a:cxn ang="0">
                  <a:pos x="71" y="112"/>
                </a:cxn>
                <a:cxn ang="0">
                  <a:pos x="61" y="115"/>
                </a:cxn>
                <a:cxn ang="0">
                  <a:pos x="44" y="113"/>
                </a:cxn>
                <a:cxn ang="0">
                  <a:pos x="38" y="102"/>
                </a:cxn>
                <a:cxn ang="0">
                  <a:pos x="33" y="89"/>
                </a:cxn>
                <a:cxn ang="0">
                  <a:pos x="23" y="83"/>
                </a:cxn>
                <a:cxn ang="0">
                  <a:pos x="12" y="90"/>
                </a:cxn>
                <a:cxn ang="0">
                  <a:pos x="7" y="102"/>
                </a:cxn>
                <a:cxn ang="0">
                  <a:pos x="1" y="99"/>
                </a:cxn>
                <a:cxn ang="0">
                  <a:pos x="6" y="92"/>
                </a:cxn>
                <a:cxn ang="0">
                  <a:pos x="5" y="84"/>
                </a:cxn>
                <a:cxn ang="0">
                  <a:pos x="7" y="75"/>
                </a:cxn>
                <a:cxn ang="0">
                  <a:pos x="20" y="64"/>
                </a:cxn>
                <a:cxn ang="0">
                  <a:pos x="21" y="52"/>
                </a:cxn>
                <a:cxn ang="0">
                  <a:pos x="33" y="43"/>
                </a:cxn>
                <a:cxn ang="0">
                  <a:pos x="43" y="34"/>
                </a:cxn>
                <a:cxn ang="0">
                  <a:pos x="44" y="26"/>
                </a:cxn>
                <a:cxn ang="0">
                  <a:pos x="43" y="22"/>
                </a:cxn>
                <a:cxn ang="0">
                  <a:pos x="45" y="18"/>
                </a:cxn>
                <a:cxn ang="0">
                  <a:pos x="53" y="24"/>
                </a:cxn>
                <a:cxn ang="0">
                  <a:pos x="64" y="18"/>
                </a:cxn>
                <a:cxn ang="0">
                  <a:pos x="69" y="13"/>
                </a:cxn>
                <a:cxn ang="0">
                  <a:pos x="76" y="15"/>
                </a:cxn>
                <a:cxn ang="0">
                  <a:pos x="90" y="14"/>
                </a:cxn>
                <a:cxn ang="0">
                  <a:pos x="99" y="10"/>
                </a:cxn>
                <a:cxn ang="0">
                  <a:pos x="111" y="13"/>
                </a:cxn>
                <a:cxn ang="0">
                  <a:pos x="105" y="9"/>
                </a:cxn>
                <a:cxn ang="0">
                  <a:pos x="105" y="3"/>
                </a:cxn>
              </a:cxnLst>
              <a:rect l="0" t="0" r="r" b="b"/>
              <a:pathLst>
                <a:path w="191" h="121">
                  <a:moveTo>
                    <a:pt x="110" y="0"/>
                  </a:moveTo>
                  <a:lnTo>
                    <a:pt x="112" y="0"/>
                  </a:lnTo>
                  <a:lnTo>
                    <a:pt x="112" y="2"/>
                  </a:lnTo>
                  <a:lnTo>
                    <a:pt x="113" y="2"/>
                  </a:lnTo>
                  <a:lnTo>
                    <a:pt x="113" y="0"/>
                  </a:lnTo>
                  <a:lnTo>
                    <a:pt x="114" y="0"/>
                  </a:lnTo>
                  <a:lnTo>
                    <a:pt x="114" y="1"/>
                  </a:lnTo>
                  <a:lnTo>
                    <a:pt x="115" y="1"/>
                  </a:lnTo>
                  <a:lnTo>
                    <a:pt x="115" y="2"/>
                  </a:lnTo>
                  <a:lnTo>
                    <a:pt x="117" y="2"/>
                  </a:lnTo>
                  <a:lnTo>
                    <a:pt x="117" y="3"/>
                  </a:lnTo>
                  <a:lnTo>
                    <a:pt x="115" y="4"/>
                  </a:lnTo>
                  <a:lnTo>
                    <a:pt x="117" y="4"/>
                  </a:lnTo>
                  <a:lnTo>
                    <a:pt x="117" y="6"/>
                  </a:lnTo>
                  <a:lnTo>
                    <a:pt x="119" y="6"/>
                  </a:lnTo>
                  <a:lnTo>
                    <a:pt x="119" y="4"/>
                  </a:lnTo>
                  <a:lnTo>
                    <a:pt x="120" y="4"/>
                  </a:lnTo>
                  <a:lnTo>
                    <a:pt x="121" y="6"/>
                  </a:lnTo>
                  <a:lnTo>
                    <a:pt x="123" y="6"/>
                  </a:lnTo>
                  <a:lnTo>
                    <a:pt x="121" y="7"/>
                  </a:lnTo>
                  <a:lnTo>
                    <a:pt x="123" y="7"/>
                  </a:lnTo>
                  <a:lnTo>
                    <a:pt x="124" y="8"/>
                  </a:lnTo>
                  <a:lnTo>
                    <a:pt x="127" y="8"/>
                  </a:lnTo>
                  <a:lnTo>
                    <a:pt x="129" y="7"/>
                  </a:lnTo>
                  <a:lnTo>
                    <a:pt x="130" y="7"/>
                  </a:lnTo>
                  <a:lnTo>
                    <a:pt x="135" y="8"/>
                  </a:lnTo>
                  <a:lnTo>
                    <a:pt x="138" y="8"/>
                  </a:lnTo>
                  <a:lnTo>
                    <a:pt x="141" y="9"/>
                  </a:lnTo>
                  <a:lnTo>
                    <a:pt x="151" y="16"/>
                  </a:lnTo>
                  <a:lnTo>
                    <a:pt x="156" y="21"/>
                  </a:lnTo>
                  <a:lnTo>
                    <a:pt x="156" y="25"/>
                  </a:lnTo>
                  <a:lnTo>
                    <a:pt x="154" y="27"/>
                  </a:lnTo>
                  <a:lnTo>
                    <a:pt x="154" y="28"/>
                  </a:lnTo>
                  <a:lnTo>
                    <a:pt x="151" y="33"/>
                  </a:lnTo>
                  <a:lnTo>
                    <a:pt x="150" y="34"/>
                  </a:lnTo>
                  <a:lnTo>
                    <a:pt x="149" y="37"/>
                  </a:lnTo>
                  <a:lnTo>
                    <a:pt x="149" y="39"/>
                  </a:lnTo>
                  <a:lnTo>
                    <a:pt x="150" y="40"/>
                  </a:lnTo>
                  <a:lnTo>
                    <a:pt x="150" y="44"/>
                  </a:lnTo>
                  <a:lnTo>
                    <a:pt x="149" y="44"/>
                  </a:lnTo>
                  <a:lnTo>
                    <a:pt x="149" y="45"/>
                  </a:lnTo>
                  <a:lnTo>
                    <a:pt x="150" y="45"/>
                  </a:lnTo>
                  <a:lnTo>
                    <a:pt x="152" y="46"/>
                  </a:lnTo>
                  <a:lnTo>
                    <a:pt x="154" y="45"/>
                  </a:lnTo>
                  <a:lnTo>
                    <a:pt x="154" y="46"/>
                  </a:lnTo>
                  <a:lnTo>
                    <a:pt x="156" y="45"/>
                  </a:lnTo>
                  <a:lnTo>
                    <a:pt x="157" y="46"/>
                  </a:lnTo>
                  <a:lnTo>
                    <a:pt x="164" y="49"/>
                  </a:lnTo>
                  <a:lnTo>
                    <a:pt x="166" y="49"/>
                  </a:lnTo>
                  <a:lnTo>
                    <a:pt x="166" y="53"/>
                  </a:lnTo>
                  <a:lnTo>
                    <a:pt x="167" y="55"/>
                  </a:lnTo>
                  <a:lnTo>
                    <a:pt x="171" y="56"/>
                  </a:lnTo>
                  <a:lnTo>
                    <a:pt x="174" y="58"/>
                  </a:lnTo>
                  <a:lnTo>
                    <a:pt x="177" y="58"/>
                  </a:lnTo>
                  <a:lnTo>
                    <a:pt x="180" y="57"/>
                  </a:lnTo>
                  <a:lnTo>
                    <a:pt x="180" y="55"/>
                  </a:lnTo>
                  <a:lnTo>
                    <a:pt x="181" y="53"/>
                  </a:lnTo>
                  <a:lnTo>
                    <a:pt x="183" y="53"/>
                  </a:lnTo>
                  <a:lnTo>
                    <a:pt x="183" y="52"/>
                  </a:lnTo>
                  <a:lnTo>
                    <a:pt x="185" y="51"/>
                  </a:lnTo>
                  <a:lnTo>
                    <a:pt x="185" y="50"/>
                  </a:lnTo>
                  <a:lnTo>
                    <a:pt x="187" y="50"/>
                  </a:lnTo>
                  <a:lnTo>
                    <a:pt x="191" y="53"/>
                  </a:lnTo>
                  <a:lnTo>
                    <a:pt x="191" y="55"/>
                  </a:lnTo>
                  <a:lnTo>
                    <a:pt x="189" y="56"/>
                  </a:lnTo>
                  <a:lnTo>
                    <a:pt x="191" y="57"/>
                  </a:lnTo>
                  <a:lnTo>
                    <a:pt x="189" y="59"/>
                  </a:lnTo>
                  <a:lnTo>
                    <a:pt x="189" y="61"/>
                  </a:lnTo>
                  <a:lnTo>
                    <a:pt x="188" y="62"/>
                  </a:lnTo>
                  <a:lnTo>
                    <a:pt x="188" y="63"/>
                  </a:lnTo>
                  <a:lnTo>
                    <a:pt x="189" y="63"/>
                  </a:lnTo>
                  <a:lnTo>
                    <a:pt x="189" y="64"/>
                  </a:lnTo>
                  <a:lnTo>
                    <a:pt x="187" y="66"/>
                  </a:lnTo>
                  <a:lnTo>
                    <a:pt x="187" y="71"/>
                  </a:lnTo>
                  <a:lnTo>
                    <a:pt x="189" y="71"/>
                  </a:lnTo>
                  <a:lnTo>
                    <a:pt x="191" y="72"/>
                  </a:lnTo>
                  <a:lnTo>
                    <a:pt x="191" y="76"/>
                  </a:lnTo>
                  <a:lnTo>
                    <a:pt x="189" y="77"/>
                  </a:lnTo>
                  <a:lnTo>
                    <a:pt x="183" y="77"/>
                  </a:lnTo>
                  <a:lnTo>
                    <a:pt x="183" y="76"/>
                  </a:lnTo>
                  <a:lnTo>
                    <a:pt x="182" y="76"/>
                  </a:lnTo>
                  <a:lnTo>
                    <a:pt x="181" y="75"/>
                  </a:lnTo>
                  <a:lnTo>
                    <a:pt x="181" y="72"/>
                  </a:lnTo>
                  <a:lnTo>
                    <a:pt x="179" y="72"/>
                  </a:lnTo>
                  <a:lnTo>
                    <a:pt x="175" y="74"/>
                  </a:lnTo>
                  <a:lnTo>
                    <a:pt x="174" y="74"/>
                  </a:lnTo>
                  <a:lnTo>
                    <a:pt x="174" y="76"/>
                  </a:lnTo>
                  <a:lnTo>
                    <a:pt x="173" y="77"/>
                  </a:lnTo>
                  <a:lnTo>
                    <a:pt x="173" y="80"/>
                  </a:lnTo>
                  <a:lnTo>
                    <a:pt x="171" y="81"/>
                  </a:lnTo>
                  <a:lnTo>
                    <a:pt x="173" y="81"/>
                  </a:lnTo>
                  <a:lnTo>
                    <a:pt x="173" y="82"/>
                  </a:lnTo>
                  <a:lnTo>
                    <a:pt x="171" y="83"/>
                  </a:lnTo>
                  <a:lnTo>
                    <a:pt x="173" y="84"/>
                  </a:lnTo>
                  <a:lnTo>
                    <a:pt x="176" y="84"/>
                  </a:lnTo>
                  <a:lnTo>
                    <a:pt x="176" y="88"/>
                  </a:lnTo>
                  <a:lnTo>
                    <a:pt x="175" y="88"/>
                  </a:lnTo>
                  <a:lnTo>
                    <a:pt x="175" y="92"/>
                  </a:lnTo>
                  <a:lnTo>
                    <a:pt x="177" y="93"/>
                  </a:lnTo>
                  <a:lnTo>
                    <a:pt x="177" y="95"/>
                  </a:lnTo>
                  <a:lnTo>
                    <a:pt x="176" y="96"/>
                  </a:lnTo>
                  <a:lnTo>
                    <a:pt x="173" y="96"/>
                  </a:lnTo>
                  <a:lnTo>
                    <a:pt x="173" y="94"/>
                  </a:lnTo>
                  <a:lnTo>
                    <a:pt x="170" y="93"/>
                  </a:lnTo>
                  <a:lnTo>
                    <a:pt x="169" y="90"/>
                  </a:lnTo>
                  <a:lnTo>
                    <a:pt x="169" y="89"/>
                  </a:lnTo>
                  <a:lnTo>
                    <a:pt x="168" y="88"/>
                  </a:lnTo>
                  <a:lnTo>
                    <a:pt x="164" y="88"/>
                  </a:lnTo>
                  <a:lnTo>
                    <a:pt x="162" y="89"/>
                  </a:lnTo>
                  <a:lnTo>
                    <a:pt x="158" y="89"/>
                  </a:lnTo>
                  <a:lnTo>
                    <a:pt x="158" y="93"/>
                  </a:lnTo>
                  <a:lnTo>
                    <a:pt x="152" y="93"/>
                  </a:lnTo>
                  <a:lnTo>
                    <a:pt x="151" y="92"/>
                  </a:lnTo>
                  <a:lnTo>
                    <a:pt x="150" y="92"/>
                  </a:lnTo>
                  <a:lnTo>
                    <a:pt x="150" y="90"/>
                  </a:lnTo>
                  <a:lnTo>
                    <a:pt x="149" y="89"/>
                  </a:lnTo>
                  <a:lnTo>
                    <a:pt x="149" y="88"/>
                  </a:lnTo>
                  <a:lnTo>
                    <a:pt x="148" y="88"/>
                  </a:lnTo>
                  <a:lnTo>
                    <a:pt x="148" y="81"/>
                  </a:lnTo>
                  <a:lnTo>
                    <a:pt x="146" y="80"/>
                  </a:lnTo>
                  <a:lnTo>
                    <a:pt x="146" y="81"/>
                  </a:lnTo>
                  <a:lnTo>
                    <a:pt x="145" y="81"/>
                  </a:lnTo>
                  <a:lnTo>
                    <a:pt x="145" y="82"/>
                  </a:lnTo>
                  <a:lnTo>
                    <a:pt x="144" y="82"/>
                  </a:lnTo>
                  <a:lnTo>
                    <a:pt x="143" y="81"/>
                  </a:lnTo>
                  <a:lnTo>
                    <a:pt x="143" y="80"/>
                  </a:lnTo>
                  <a:lnTo>
                    <a:pt x="141" y="80"/>
                  </a:lnTo>
                  <a:lnTo>
                    <a:pt x="139" y="81"/>
                  </a:lnTo>
                  <a:lnTo>
                    <a:pt x="139" y="82"/>
                  </a:lnTo>
                  <a:lnTo>
                    <a:pt x="138" y="83"/>
                  </a:lnTo>
                  <a:lnTo>
                    <a:pt x="139" y="84"/>
                  </a:lnTo>
                  <a:lnTo>
                    <a:pt x="139" y="87"/>
                  </a:lnTo>
                  <a:lnTo>
                    <a:pt x="141" y="89"/>
                  </a:lnTo>
                  <a:lnTo>
                    <a:pt x="141" y="92"/>
                  </a:lnTo>
                  <a:lnTo>
                    <a:pt x="138" y="96"/>
                  </a:lnTo>
                  <a:lnTo>
                    <a:pt x="137" y="98"/>
                  </a:lnTo>
                  <a:lnTo>
                    <a:pt x="136" y="98"/>
                  </a:lnTo>
                  <a:lnTo>
                    <a:pt x="136" y="100"/>
                  </a:lnTo>
                  <a:lnTo>
                    <a:pt x="132" y="102"/>
                  </a:lnTo>
                  <a:lnTo>
                    <a:pt x="132" y="104"/>
                  </a:lnTo>
                  <a:lnTo>
                    <a:pt x="131" y="104"/>
                  </a:lnTo>
                  <a:lnTo>
                    <a:pt x="132" y="105"/>
                  </a:lnTo>
                  <a:lnTo>
                    <a:pt x="131" y="106"/>
                  </a:lnTo>
                  <a:lnTo>
                    <a:pt x="131" y="107"/>
                  </a:lnTo>
                  <a:lnTo>
                    <a:pt x="130" y="107"/>
                  </a:lnTo>
                  <a:lnTo>
                    <a:pt x="129" y="108"/>
                  </a:lnTo>
                  <a:lnTo>
                    <a:pt x="130" y="111"/>
                  </a:lnTo>
                  <a:lnTo>
                    <a:pt x="127" y="112"/>
                  </a:lnTo>
                  <a:lnTo>
                    <a:pt x="127" y="113"/>
                  </a:lnTo>
                  <a:lnTo>
                    <a:pt x="129" y="113"/>
                  </a:lnTo>
                  <a:lnTo>
                    <a:pt x="129" y="114"/>
                  </a:lnTo>
                  <a:lnTo>
                    <a:pt x="130" y="115"/>
                  </a:lnTo>
                  <a:lnTo>
                    <a:pt x="131" y="115"/>
                  </a:lnTo>
                  <a:lnTo>
                    <a:pt x="131" y="118"/>
                  </a:lnTo>
                  <a:lnTo>
                    <a:pt x="130" y="119"/>
                  </a:lnTo>
                  <a:lnTo>
                    <a:pt x="129" y="121"/>
                  </a:lnTo>
                  <a:lnTo>
                    <a:pt x="127" y="121"/>
                  </a:lnTo>
                  <a:lnTo>
                    <a:pt x="126" y="120"/>
                  </a:lnTo>
                  <a:lnTo>
                    <a:pt x="125" y="120"/>
                  </a:lnTo>
                  <a:lnTo>
                    <a:pt x="125" y="117"/>
                  </a:lnTo>
                  <a:lnTo>
                    <a:pt x="124" y="115"/>
                  </a:lnTo>
                  <a:lnTo>
                    <a:pt x="124" y="114"/>
                  </a:lnTo>
                  <a:lnTo>
                    <a:pt x="123" y="113"/>
                  </a:lnTo>
                  <a:lnTo>
                    <a:pt x="120" y="112"/>
                  </a:lnTo>
                  <a:lnTo>
                    <a:pt x="119" y="112"/>
                  </a:lnTo>
                  <a:lnTo>
                    <a:pt x="119" y="111"/>
                  </a:lnTo>
                  <a:lnTo>
                    <a:pt x="121" y="108"/>
                  </a:lnTo>
                  <a:lnTo>
                    <a:pt x="121" y="106"/>
                  </a:lnTo>
                  <a:lnTo>
                    <a:pt x="120" y="105"/>
                  </a:lnTo>
                  <a:lnTo>
                    <a:pt x="118" y="105"/>
                  </a:lnTo>
                  <a:lnTo>
                    <a:pt x="118" y="104"/>
                  </a:lnTo>
                  <a:lnTo>
                    <a:pt x="117" y="104"/>
                  </a:lnTo>
                  <a:lnTo>
                    <a:pt x="117" y="105"/>
                  </a:lnTo>
                  <a:lnTo>
                    <a:pt x="115" y="105"/>
                  </a:lnTo>
                  <a:lnTo>
                    <a:pt x="113" y="104"/>
                  </a:lnTo>
                  <a:lnTo>
                    <a:pt x="112" y="104"/>
                  </a:lnTo>
                  <a:lnTo>
                    <a:pt x="112" y="102"/>
                  </a:lnTo>
                  <a:lnTo>
                    <a:pt x="110" y="99"/>
                  </a:lnTo>
                  <a:lnTo>
                    <a:pt x="108" y="98"/>
                  </a:lnTo>
                  <a:lnTo>
                    <a:pt x="107" y="98"/>
                  </a:lnTo>
                  <a:lnTo>
                    <a:pt x="106" y="96"/>
                  </a:lnTo>
                  <a:lnTo>
                    <a:pt x="105" y="96"/>
                  </a:lnTo>
                  <a:lnTo>
                    <a:pt x="105" y="83"/>
                  </a:lnTo>
                  <a:lnTo>
                    <a:pt x="101" y="83"/>
                  </a:lnTo>
                  <a:lnTo>
                    <a:pt x="100" y="84"/>
                  </a:lnTo>
                  <a:lnTo>
                    <a:pt x="99" y="84"/>
                  </a:lnTo>
                  <a:lnTo>
                    <a:pt x="99" y="88"/>
                  </a:lnTo>
                  <a:lnTo>
                    <a:pt x="98" y="88"/>
                  </a:lnTo>
                  <a:lnTo>
                    <a:pt x="94" y="92"/>
                  </a:lnTo>
                  <a:lnTo>
                    <a:pt x="92" y="93"/>
                  </a:lnTo>
                  <a:lnTo>
                    <a:pt x="90" y="93"/>
                  </a:lnTo>
                  <a:lnTo>
                    <a:pt x="90" y="94"/>
                  </a:lnTo>
                  <a:lnTo>
                    <a:pt x="89" y="94"/>
                  </a:lnTo>
                  <a:lnTo>
                    <a:pt x="89" y="95"/>
                  </a:lnTo>
                  <a:lnTo>
                    <a:pt x="90" y="96"/>
                  </a:lnTo>
                  <a:lnTo>
                    <a:pt x="92" y="99"/>
                  </a:lnTo>
                  <a:lnTo>
                    <a:pt x="92" y="102"/>
                  </a:lnTo>
                  <a:lnTo>
                    <a:pt x="89" y="105"/>
                  </a:lnTo>
                  <a:lnTo>
                    <a:pt x="88" y="105"/>
                  </a:lnTo>
                  <a:lnTo>
                    <a:pt x="87" y="106"/>
                  </a:lnTo>
                  <a:lnTo>
                    <a:pt x="87" y="109"/>
                  </a:lnTo>
                  <a:lnTo>
                    <a:pt x="86" y="111"/>
                  </a:lnTo>
                  <a:lnTo>
                    <a:pt x="82" y="112"/>
                  </a:lnTo>
                  <a:lnTo>
                    <a:pt x="81" y="112"/>
                  </a:lnTo>
                  <a:lnTo>
                    <a:pt x="80" y="114"/>
                  </a:lnTo>
                  <a:lnTo>
                    <a:pt x="80" y="115"/>
                  </a:lnTo>
                  <a:lnTo>
                    <a:pt x="77" y="115"/>
                  </a:lnTo>
                  <a:lnTo>
                    <a:pt x="75" y="114"/>
                  </a:lnTo>
                  <a:lnTo>
                    <a:pt x="74" y="114"/>
                  </a:lnTo>
                  <a:lnTo>
                    <a:pt x="71" y="112"/>
                  </a:lnTo>
                  <a:lnTo>
                    <a:pt x="67" y="111"/>
                  </a:lnTo>
                  <a:lnTo>
                    <a:pt x="67" y="112"/>
                  </a:lnTo>
                  <a:lnTo>
                    <a:pt x="65" y="112"/>
                  </a:lnTo>
                  <a:lnTo>
                    <a:pt x="65" y="113"/>
                  </a:lnTo>
                  <a:lnTo>
                    <a:pt x="63" y="113"/>
                  </a:lnTo>
                  <a:lnTo>
                    <a:pt x="61" y="115"/>
                  </a:lnTo>
                  <a:lnTo>
                    <a:pt x="56" y="115"/>
                  </a:lnTo>
                  <a:lnTo>
                    <a:pt x="55" y="117"/>
                  </a:lnTo>
                  <a:lnTo>
                    <a:pt x="52" y="118"/>
                  </a:lnTo>
                  <a:lnTo>
                    <a:pt x="48" y="118"/>
                  </a:lnTo>
                  <a:lnTo>
                    <a:pt x="48" y="117"/>
                  </a:lnTo>
                  <a:lnTo>
                    <a:pt x="44" y="113"/>
                  </a:lnTo>
                  <a:lnTo>
                    <a:pt x="44" y="111"/>
                  </a:lnTo>
                  <a:lnTo>
                    <a:pt x="40" y="107"/>
                  </a:lnTo>
                  <a:lnTo>
                    <a:pt x="38" y="107"/>
                  </a:lnTo>
                  <a:lnTo>
                    <a:pt x="38" y="105"/>
                  </a:lnTo>
                  <a:lnTo>
                    <a:pt x="39" y="104"/>
                  </a:lnTo>
                  <a:lnTo>
                    <a:pt x="38" y="102"/>
                  </a:lnTo>
                  <a:lnTo>
                    <a:pt x="34" y="102"/>
                  </a:lnTo>
                  <a:lnTo>
                    <a:pt x="34" y="99"/>
                  </a:lnTo>
                  <a:lnTo>
                    <a:pt x="37" y="94"/>
                  </a:lnTo>
                  <a:lnTo>
                    <a:pt x="36" y="93"/>
                  </a:lnTo>
                  <a:lnTo>
                    <a:pt x="34" y="90"/>
                  </a:lnTo>
                  <a:lnTo>
                    <a:pt x="33" y="89"/>
                  </a:lnTo>
                  <a:lnTo>
                    <a:pt x="36" y="87"/>
                  </a:lnTo>
                  <a:lnTo>
                    <a:pt x="36" y="86"/>
                  </a:lnTo>
                  <a:lnTo>
                    <a:pt x="34" y="84"/>
                  </a:lnTo>
                  <a:lnTo>
                    <a:pt x="28" y="82"/>
                  </a:lnTo>
                  <a:lnTo>
                    <a:pt x="25" y="82"/>
                  </a:lnTo>
                  <a:lnTo>
                    <a:pt x="23" y="83"/>
                  </a:lnTo>
                  <a:lnTo>
                    <a:pt x="19" y="86"/>
                  </a:lnTo>
                  <a:lnTo>
                    <a:pt x="17" y="86"/>
                  </a:lnTo>
                  <a:lnTo>
                    <a:pt x="15" y="87"/>
                  </a:lnTo>
                  <a:lnTo>
                    <a:pt x="13" y="88"/>
                  </a:lnTo>
                  <a:lnTo>
                    <a:pt x="12" y="89"/>
                  </a:lnTo>
                  <a:lnTo>
                    <a:pt x="12" y="90"/>
                  </a:lnTo>
                  <a:lnTo>
                    <a:pt x="11" y="92"/>
                  </a:lnTo>
                  <a:lnTo>
                    <a:pt x="12" y="92"/>
                  </a:lnTo>
                  <a:lnTo>
                    <a:pt x="12" y="94"/>
                  </a:lnTo>
                  <a:lnTo>
                    <a:pt x="14" y="94"/>
                  </a:lnTo>
                  <a:lnTo>
                    <a:pt x="14" y="95"/>
                  </a:lnTo>
                  <a:lnTo>
                    <a:pt x="7" y="102"/>
                  </a:lnTo>
                  <a:lnTo>
                    <a:pt x="5" y="101"/>
                  </a:lnTo>
                  <a:lnTo>
                    <a:pt x="3" y="101"/>
                  </a:lnTo>
                  <a:lnTo>
                    <a:pt x="1" y="102"/>
                  </a:lnTo>
                  <a:lnTo>
                    <a:pt x="0" y="102"/>
                  </a:lnTo>
                  <a:lnTo>
                    <a:pt x="1" y="101"/>
                  </a:lnTo>
                  <a:lnTo>
                    <a:pt x="1" y="99"/>
                  </a:lnTo>
                  <a:lnTo>
                    <a:pt x="0" y="99"/>
                  </a:lnTo>
                  <a:lnTo>
                    <a:pt x="0" y="98"/>
                  </a:lnTo>
                  <a:lnTo>
                    <a:pt x="1" y="96"/>
                  </a:lnTo>
                  <a:lnTo>
                    <a:pt x="3" y="95"/>
                  </a:lnTo>
                  <a:lnTo>
                    <a:pt x="6" y="95"/>
                  </a:lnTo>
                  <a:lnTo>
                    <a:pt x="6" y="92"/>
                  </a:lnTo>
                  <a:lnTo>
                    <a:pt x="7" y="92"/>
                  </a:lnTo>
                  <a:lnTo>
                    <a:pt x="7" y="90"/>
                  </a:lnTo>
                  <a:lnTo>
                    <a:pt x="8" y="88"/>
                  </a:lnTo>
                  <a:lnTo>
                    <a:pt x="7" y="87"/>
                  </a:lnTo>
                  <a:lnTo>
                    <a:pt x="7" y="86"/>
                  </a:lnTo>
                  <a:lnTo>
                    <a:pt x="5" y="84"/>
                  </a:lnTo>
                  <a:lnTo>
                    <a:pt x="5" y="82"/>
                  </a:lnTo>
                  <a:lnTo>
                    <a:pt x="6" y="81"/>
                  </a:lnTo>
                  <a:lnTo>
                    <a:pt x="7" y="78"/>
                  </a:lnTo>
                  <a:lnTo>
                    <a:pt x="8" y="77"/>
                  </a:lnTo>
                  <a:lnTo>
                    <a:pt x="7" y="76"/>
                  </a:lnTo>
                  <a:lnTo>
                    <a:pt x="7" y="75"/>
                  </a:lnTo>
                  <a:lnTo>
                    <a:pt x="13" y="69"/>
                  </a:lnTo>
                  <a:lnTo>
                    <a:pt x="17" y="68"/>
                  </a:lnTo>
                  <a:lnTo>
                    <a:pt x="17" y="66"/>
                  </a:lnTo>
                  <a:lnTo>
                    <a:pt x="18" y="65"/>
                  </a:lnTo>
                  <a:lnTo>
                    <a:pt x="19" y="65"/>
                  </a:lnTo>
                  <a:lnTo>
                    <a:pt x="20" y="64"/>
                  </a:lnTo>
                  <a:lnTo>
                    <a:pt x="20" y="58"/>
                  </a:lnTo>
                  <a:lnTo>
                    <a:pt x="21" y="58"/>
                  </a:lnTo>
                  <a:lnTo>
                    <a:pt x="21" y="56"/>
                  </a:lnTo>
                  <a:lnTo>
                    <a:pt x="20" y="56"/>
                  </a:lnTo>
                  <a:lnTo>
                    <a:pt x="20" y="55"/>
                  </a:lnTo>
                  <a:lnTo>
                    <a:pt x="21" y="52"/>
                  </a:lnTo>
                  <a:lnTo>
                    <a:pt x="23" y="51"/>
                  </a:lnTo>
                  <a:lnTo>
                    <a:pt x="27" y="50"/>
                  </a:lnTo>
                  <a:lnTo>
                    <a:pt x="31" y="46"/>
                  </a:lnTo>
                  <a:lnTo>
                    <a:pt x="31" y="44"/>
                  </a:lnTo>
                  <a:lnTo>
                    <a:pt x="32" y="44"/>
                  </a:lnTo>
                  <a:lnTo>
                    <a:pt x="33" y="43"/>
                  </a:lnTo>
                  <a:lnTo>
                    <a:pt x="33" y="41"/>
                  </a:lnTo>
                  <a:lnTo>
                    <a:pt x="34" y="41"/>
                  </a:lnTo>
                  <a:lnTo>
                    <a:pt x="38" y="39"/>
                  </a:lnTo>
                  <a:lnTo>
                    <a:pt x="38" y="38"/>
                  </a:lnTo>
                  <a:lnTo>
                    <a:pt x="39" y="35"/>
                  </a:lnTo>
                  <a:lnTo>
                    <a:pt x="43" y="34"/>
                  </a:lnTo>
                  <a:lnTo>
                    <a:pt x="43" y="31"/>
                  </a:lnTo>
                  <a:lnTo>
                    <a:pt x="44" y="31"/>
                  </a:lnTo>
                  <a:lnTo>
                    <a:pt x="44" y="29"/>
                  </a:lnTo>
                  <a:lnTo>
                    <a:pt x="45" y="29"/>
                  </a:lnTo>
                  <a:lnTo>
                    <a:pt x="46" y="28"/>
                  </a:lnTo>
                  <a:lnTo>
                    <a:pt x="44" y="26"/>
                  </a:lnTo>
                  <a:lnTo>
                    <a:pt x="44" y="27"/>
                  </a:lnTo>
                  <a:lnTo>
                    <a:pt x="39" y="27"/>
                  </a:lnTo>
                  <a:lnTo>
                    <a:pt x="39" y="26"/>
                  </a:lnTo>
                  <a:lnTo>
                    <a:pt x="42" y="24"/>
                  </a:lnTo>
                  <a:lnTo>
                    <a:pt x="42" y="22"/>
                  </a:lnTo>
                  <a:lnTo>
                    <a:pt x="43" y="22"/>
                  </a:lnTo>
                  <a:lnTo>
                    <a:pt x="44" y="21"/>
                  </a:lnTo>
                  <a:lnTo>
                    <a:pt x="44" y="20"/>
                  </a:lnTo>
                  <a:lnTo>
                    <a:pt x="43" y="20"/>
                  </a:lnTo>
                  <a:lnTo>
                    <a:pt x="43" y="19"/>
                  </a:lnTo>
                  <a:lnTo>
                    <a:pt x="44" y="19"/>
                  </a:lnTo>
                  <a:lnTo>
                    <a:pt x="45" y="18"/>
                  </a:lnTo>
                  <a:lnTo>
                    <a:pt x="45" y="19"/>
                  </a:lnTo>
                  <a:lnTo>
                    <a:pt x="52" y="19"/>
                  </a:lnTo>
                  <a:lnTo>
                    <a:pt x="51" y="21"/>
                  </a:lnTo>
                  <a:lnTo>
                    <a:pt x="52" y="22"/>
                  </a:lnTo>
                  <a:lnTo>
                    <a:pt x="53" y="22"/>
                  </a:lnTo>
                  <a:lnTo>
                    <a:pt x="53" y="24"/>
                  </a:lnTo>
                  <a:lnTo>
                    <a:pt x="55" y="24"/>
                  </a:lnTo>
                  <a:lnTo>
                    <a:pt x="56" y="22"/>
                  </a:lnTo>
                  <a:lnTo>
                    <a:pt x="62" y="22"/>
                  </a:lnTo>
                  <a:lnTo>
                    <a:pt x="62" y="19"/>
                  </a:lnTo>
                  <a:lnTo>
                    <a:pt x="64" y="19"/>
                  </a:lnTo>
                  <a:lnTo>
                    <a:pt x="64" y="18"/>
                  </a:lnTo>
                  <a:lnTo>
                    <a:pt x="65" y="18"/>
                  </a:lnTo>
                  <a:lnTo>
                    <a:pt x="65" y="16"/>
                  </a:lnTo>
                  <a:lnTo>
                    <a:pt x="64" y="15"/>
                  </a:lnTo>
                  <a:lnTo>
                    <a:pt x="67" y="14"/>
                  </a:lnTo>
                  <a:lnTo>
                    <a:pt x="68" y="13"/>
                  </a:lnTo>
                  <a:lnTo>
                    <a:pt x="69" y="13"/>
                  </a:lnTo>
                  <a:lnTo>
                    <a:pt x="71" y="12"/>
                  </a:lnTo>
                  <a:lnTo>
                    <a:pt x="73" y="12"/>
                  </a:lnTo>
                  <a:lnTo>
                    <a:pt x="71" y="14"/>
                  </a:lnTo>
                  <a:lnTo>
                    <a:pt x="70" y="14"/>
                  </a:lnTo>
                  <a:lnTo>
                    <a:pt x="71" y="15"/>
                  </a:lnTo>
                  <a:lnTo>
                    <a:pt x="76" y="15"/>
                  </a:lnTo>
                  <a:lnTo>
                    <a:pt x="79" y="13"/>
                  </a:lnTo>
                  <a:lnTo>
                    <a:pt x="79" y="12"/>
                  </a:lnTo>
                  <a:lnTo>
                    <a:pt x="80" y="13"/>
                  </a:lnTo>
                  <a:lnTo>
                    <a:pt x="82" y="13"/>
                  </a:lnTo>
                  <a:lnTo>
                    <a:pt x="82" y="14"/>
                  </a:lnTo>
                  <a:lnTo>
                    <a:pt x="90" y="14"/>
                  </a:lnTo>
                  <a:lnTo>
                    <a:pt x="90" y="13"/>
                  </a:lnTo>
                  <a:lnTo>
                    <a:pt x="92" y="13"/>
                  </a:lnTo>
                  <a:lnTo>
                    <a:pt x="93" y="12"/>
                  </a:lnTo>
                  <a:lnTo>
                    <a:pt x="94" y="12"/>
                  </a:lnTo>
                  <a:lnTo>
                    <a:pt x="94" y="10"/>
                  </a:lnTo>
                  <a:lnTo>
                    <a:pt x="99" y="10"/>
                  </a:lnTo>
                  <a:lnTo>
                    <a:pt x="99" y="13"/>
                  </a:lnTo>
                  <a:lnTo>
                    <a:pt x="106" y="13"/>
                  </a:lnTo>
                  <a:lnTo>
                    <a:pt x="106" y="12"/>
                  </a:lnTo>
                  <a:lnTo>
                    <a:pt x="107" y="10"/>
                  </a:lnTo>
                  <a:lnTo>
                    <a:pt x="108" y="10"/>
                  </a:lnTo>
                  <a:lnTo>
                    <a:pt x="111" y="13"/>
                  </a:lnTo>
                  <a:lnTo>
                    <a:pt x="111" y="9"/>
                  </a:lnTo>
                  <a:lnTo>
                    <a:pt x="112" y="9"/>
                  </a:lnTo>
                  <a:lnTo>
                    <a:pt x="112" y="8"/>
                  </a:lnTo>
                  <a:lnTo>
                    <a:pt x="108" y="8"/>
                  </a:lnTo>
                  <a:lnTo>
                    <a:pt x="107" y="9"/>
                  </a:lnTo>
                  <a:lnTo>
                    <a:pt x="105" y="9"/>
                  </a:lnTo>
                  <a:lnTo>
                    <a:pt x="104" y="8"/>
                  </a:lnTo>
                  <a:lnTo>
                    <a:pt x="104" y="7"/>
                  </a:lnTo>
                  <a:lnTo>
                    <a:pt x="102" y="6"/>
                  </a:lnTo>
                  <a:lnTo>
                    <a:pt x="104" y="6"/>
                  </a:lnTo>
                  <a:lnTo>
                    <a:pt x="105" y="4"/>
                  </a:lnTo>
                  <a:lnTo>
                    <a:pt x="105" y="3"/>
                  </a:lnTo>
                  <a:lnTo>
                    <a:pt x="106" y="2"/>
                  </a:lnTo>
                  <a:lnTo>
                    <a:pt x="106" y="1"/>
                  </a:lnTo>
                  <a:lnTo>
                    <a:pt x="110" y="1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12">
              <a:extLst>
                <a:ext uri="{FF2B5EF4-FFF2-40B4-BE49-F238E27FC236}">
                  <a16:creationId xmlns:a16="http://schemas.microsoft.com/office/drawing/2014/main" id="{9CF024F8-95CB-4CC0-8D61-CB4A28F1543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91138" y="1855788"/>
              <a:ext cx="874713" cy="2008188"/>
            </a:xfrm>
            <a:custGeom>
              <a:avLst/>
              <a:gdLst/>
              <a:ahLst/>
              <a:cxnLst>
                <a:cxn ang="0">
                  <a:pos x="240" y="1154"/>
                </a:cxn>
                <a:cxn ang="0">
                  <a:pos x="319" y="1067"/>
                </a:cxn>
                <a:cxn ang="0">
                  <a:pos x="329" y="1106"/>
                </a:cxn>
                <a:cxn ang="0">
                  <a:pos x="298" y="1128"/>
                </a:cxn>
                <a:cxn ang="0">
                  <a:pos x="336" y="1063"/>
                </a:cxn>
                <a:cxn ang="0">
                  <a:pos x="346" y="1031"/>
                </a:cxn>
                <a:cxn ang="0">
                  <a:pos x="299" y="980"/>
                </a:cxn>
                <a:cxn ang="0">
                  <a:pos x="323" y="958"/>
                </a:cxn>
                <a:cxn ang="0">
                  <a:pos x="330" y="947"/>
                </a:cxn>
                <a:cxn ang="0">
                  <a:pos x="329" y="932"/>
                </a:cxn>
                <a:cxn ang="0">
                  <a:pos x="256" y="772"/>
                </a:cxn>
                <a:cxn ang="0">
                  <a:pos x="412" y="559"/>
                </a:cxn>
                <a:cxn ang="0">
                  <a:pos x="474" y="387"/>
                </a:cxn>
                <a:cxn ang="0">
                  <a:pos x="534" y="367"/>
                </a:cxn>
                <a:cxn ang="0">
                  <a:pos x="458" y="59"/>
                </a:cxn>
                <a:cxn ang="0">
                  <a:pos x="523" y="133"/>
                </a:cxn>
                <a:cxn ang="0">
                  <a:pos x="541" y="253"/>
                </a:cxn>
                <a:cxn ang="0">
                  <a:pos x="546" y="357"/>
                </a:cxn>
                <a:cxn ang="0">
                  <a:pos x="503" y="361"/>
                </a:cxn>
                <a:cxn ang="0">
                  <a:pos x="468" y="363"/>
                </a:cxn>
                <a:cxn ang="0">
                  <a:pos x="456" y="372"/>
                </a:cxn>
                <a:cxn ang="0">
                  <a:pos x="437" y="400"/>
                </a:cxn>
                <a:cxn ang="0">
                  <a:pos x="439" y="436"/>
                </a:cxn>
                <a:cxn ang="0">
                  <a:pos x="424" y="467"/>
                </a:cxn>
                <a:cxn ang="0">
                  <a:pos x="442" y="490"/>
                </a:cxn>
                <a:cxn ang="0">
                  <a:pos x="402" y="554"/>
                </a:cxn>
                <a:cxn ang="0">
                  <a:pos x="358" y="584"/>
                </a:cxn>
                <a:cxn ang="0">
                  <a:pos x="337" y="611"/>
                </a:cxn>
                <a:cxn ang="0">
                  <a:pos x="317" y="620"/>
                </a:cxn>
                <a:cxn ang="0">
                  <a:pos x="299" y="643"/>
                </a:cxn>
                <a:cxn ang="0">
                  <a:pos x="288" y="650"/>
                </a:cxn>
                <a:cxn ang="0">
                  <a:pos x="262" y="680"/>
                </a:cxn>
                <a:cxn ang="0">
                  <a:pos x="262" y="736"/>
                </a:cxn>
                <a:cxn ang="0">
                  <a:pos x="257" y="757"/>
                </a:cxn>
                <a:cxn ang="0">
                  <a:pos x="256" y="791"/>
                </a:cxn>
                <a:cxn ang="0">
                  <a:pos x="263" y="841"/>
                </a:cxn>
                <a:cxn ang="0">
                  <a:pos x="307" y="874"/>
                </a:cxn>
                <a:cxn ang="0">
                  <a:pos x="329" y="903"/>
                </a:cxn>
                <a:cxn ang="0">
                  <a:pos x="302" y="941"/>
                </a:cxn>
                <a:cxn ang="0">
                  <a:pos x="316" y="950"/>
                </a:cxn>
                <a:cxn ang="0">
                  <a:pos x="302" y="970"/>
                </a:cxn>
                <a:cxn ang="0">
                  <a:pos x="274" y="977"/>
                </a:cxn>
                <a:cxn ang="0">
                  <a:pos x="251" y="1001"/>
                </a:cxn>
                <a:cxn ang="0">
                  <a:pos x="241" y="1017"/>
                </a:cxn>
                <a:cxn ang="0">
                  <a:pos x="241" y="1043"/>
                </a:cxn>
                <a:cxn ang="0">
                  <a:pos x="236" y="1069"/>
                </a:cxn>
                <a:cxn ang="0">
                  <a:pos x="230" y="1093"/>
                </a:cxn>
                <a:cxn ang="0">
                  <a:pos x="226" y="1136"/>
                </a:cxn>
                <a:cxn ang="0">
                  <a:pos x="198" y="1203"/>
                </a:cxn>
                <a:cxn ang="0">
                  <a:pos x="154" y="1203"/>
                </a:cxn>
                <a:cxn ang="0">
                  <a:pos x="123" y="1261"/>
                </a:cxn>
                <a:cxn ang="0">
                  <a:pos x="75" y="1227"/>
                </a:cxn>
                <a:cxn ang="0">
                  <a:pos x="66" y="1164"/>
                </a:cxn>
                <a:cxn ang="0">
                  <a:pos x="40" y="1113"/>
                </a:cxn>
                <a:cxn ang="0">
                  <a:pos x="24" y="1073"/>
                </a:cxn>
                <a:cxn ang="0">
                  <a:pos x="29" y="1037"/>
                </a:cxn>
                <a:cxn ang="0">
                  <a:pos x="12" y="1030"/>
                </a:cxn>
                <a:cxn ang="0">
                  <a:pos x="0" y="984"/>
                </a:cxn>
                <a:cxn ang="0">
                  <a:pos x="43" y="906"/>
                </a:cxn>
                <a:cxn ang="0">
                  <a:pos x="50" y="697"/>
                </a:cxn>
                <a:cxn ang="0">
                  <a:pos x="143" y="406"/>
                </a:cxn>
                <a:cxn ang="0">
                  <a:pos x="296" y="72"/>
                </a:cxn>
              </a:cxnLst>
              <a:rect l="0" t="0" r="r" b="b"/>
              <a:pathLst>
                <a:path w="551" h="1265">
                  <a:moveTo>
                    <a:pt x="192" y="1207"/>
                  </a:moveTo>
                  <a:lnTo>
                    <a:pt x="194" y="1207"/>
                  </a:lnTo>
                  <a:lnTo>
                    <a:pt x="194" y="1208"/>
                  </a:lnTo>
                  <a:lnTo>
                    <a:pt x="193" y="1208"/>
                  </a:lnTo>
                  <a:lnTo>
                    <a:pt x="193" y="1210"/>
                  </a:lnTo>
                  <a:lnTo>
                    <a:pt x="191" y="1209"/>
                  </a:lnTo>
                  <a:lnTo>
                    <a:pt x="191" y="1208"/>
                  </a:lnTo>
                  <a:lnTo>
                    <a:pt x="192" y="1207"/>
                  </a:lnTo>
                  <a:close/>
                  <a:moveTo>
                    <a:pt x="225" y="1155"/>
                  </a:moveTo>
                  <a:lnTo>
                    <a:pt x="226" y="1155"/>
                  </a:lnTo>
                  <a:lnTo>
                    <a:pt x="226" y="1156"/>
                  </a:lnTo>
                  <a:lnTo>
                    <a:pt x="225" y="1158"/>
                  </a:lnTo>
                  <a:lnTo>
                    <a:pt x="224" y="1156"/>
                  </a:lnTo>
                  <a:lnTo>
                    <a:pt x="225" y="1155"/>
                  </a:lnTo>
                  <a:close/>
                  <a:moveTo>
                    <a:pt x="250" y="1111"/>
                  </a:moveTo>
                  <a:lnTo>
                    <a:pt x="251" y="1111"/>
                  </a:lnTo>
                  <a:lnTo>
                    <a:pt x="251" y="1112"/>
                  </a:lnTo>
                  <a:lnTo>
                    <a:pt x="253" y="1112"/>
                  </a:lnTo>
                  <a:lnTo>
                    <a:pt x="253" y="1113"/>
                  </a:lnTo>
                  <a:lnTo>
                    <a:pt x="254" y="1115"/>
                  </a:lnTo>
                  <a:lnTo>
                    <a:pt x="253" y="1115"/>
                  </a:lnTo>
                  <a:lnTo>
                    <a:pt x="251" y="1116"/>
                  </a:lnTo>
                  <a:lnTo>
                    <a:pt x="250" y="1118"/>
                  </a:lnTo>
                  <a:lnTo>
                    <a:pt x="251" y="1121"/>
                  </a:lnTo>
                  <a:lnTo>
                    <a:pt x="251" y="1122"/>
                  </a:lnTo>
                  <a:lnTo>
                    <a:pt x="250" y="1124"/>
                  </a:lnTo>
                  <a:lnTo>
                    <a:pt x="250" y="1125"/>
                  </a:lnTo>
                  <a:lnTo>
                    <a:pt x="249" y="1125"/>
                  </a:lnTo>
                  <a:lnTo>
                    <a:pt x="249" y="1128"/>
                  </a:lnTo>
                  <a:lnTo>
                    <a:pt x="247" y="1131"/>
                  </a:lnTo>
                  <a:lnTo>
                    <a:pt x="247" y="1135"/>
                  </a:lnTo>
                  <a:lnTo>
                    <a:pt x="245" y="1135"/>
                  </a:lnTo>
                  <a:lnTo>
                    <a:pt x="244" y="1136"/>
                  </a:lnTo>
                  <a:lnTo>
                    <a:pt x="244" y="1137"/>
                  </a:lnTo>
                  <a:lnTo>
                    <a:pt x="245" y="1137"/>
                  </a:lnTo>
                  <a:lnTo>
                    <a:pt x="245" y="1138"/>
                  </a:lnTo>
                  <a:lnTo>
                    <a:pt x="244" y="1138"/>
                  </a:lnTo>
                  <a:lnTo>
                    <a:pt x="244" y="1140"/>
                  </a:lnTo>
                  <a:lnTo>
                    <a:pt x="243" y="1142"/>
                  </a:lnTo>
                  <a:lnTo>
                    <a:pt x="243" y="1147"/>
                  </a:lnTo>
                  <a:lnTo>
                    <a:pt x="242" y="1147"/>
                  </a:lnTo>
                  <a:lnTo>
                    <a:pt x="242" y="1152"/>
                  </a:lnTo>
                  <a:lnTo>
                    <a:pt x="240" y="1154"/>
                  </a:lnTo>
                  <a:lnTo>
                    <a:pt x="238" y="1154"/>
                  </a:lnTo>
                  <a:lnTo>
                    <a:pt x="238" y="1159"/>
                  </a:lnTo>
                  <a:lnTo>
                    <a:pt x="236" y="1167"/>
                  </a:lnTo>
                  <a:lnTo>
                    <a:pt x="235" y="1168"/>
                  </a:lnTo>
                  <a:lnTo>
                    <a:pt x="235" y="1172"/>
                  </a:lnTo>
                  <a:lnTo>
                    <a:pt x="234" y="1172"/>
                  </a:lnTo>
                  <a:lnTo>
                    <a:pt x="234" y="1173"/>
                  </a:lnTo>
                  <a:lnTo>
                    <a:pt x="232" y="1173"/>
                  </a:lnTo>
                  <a:lnTo>
                    <a:pt x="232" y="1180"/>
                  </a:lnTo>
                  <a:lnTo>
                    <a:pt x="231" y="1181"/>
                  </a:lnTo>
                  <a:lnTo>
                    <a:pt x="231" y="1184"/>
                  </a:lnTo>
                  <a:lnTo>
                    <a:pt x="230" y="1185"/>
                  </a:lnTo>
                  <a:lnTo>
                    <a:pt x="230" y="1190"/>
                  </a:lnTo>
                  <a:lnTo>
                    <a:pt x="229" y="1191"/>
                  </a:lnTo>
                  <a:lnTo>
                    <a:pt x="229" y="1192"/>
                  </a:lnTo>
                  <a:lnTo>
                    <a:pt x="226" y="1198"/>
                  </a:lnTo>
                  <a:lnTo>
                    <a:pt x="225" y="1199"/>
                  </a:lnTo>
                  <a:lnTo>
                    <a:pt x="224" y="1199"/>
                  </a:lnTo>
                  <a:lnTo>
                    <a:pt x="223" y="1198"/>
                  </a:lnTo>
                  <a:lnTo>
                    <a:pt x="223" y="1186"/>
                  </a:lnTo>
                  <a:lnTo>
                    <a:pt x="224" y="1185"/>
                  </a:lnTo>
                  <a:lnTo>
                    <a:pt x="223" y="1184"/>
                  </a:lnTo>
                  <a:lnTo>
                    <a:pt x="223" y="1173"/>
                  </a:lnTo>
                  <a:lnTo>
                    <a:pt x="224" y="1171"/>
                  </a:lnTo>
                  <a:lnTo>
                    <a:pt x="225" y="1169"/>
                  </a:lnTo>
                  <a:lnTo>
                    <a:pt x="225" y="1167"/>
                  </a:lnTo>
                  <a:lnTo>
                    <a:pt x="232" y="1149"/>
                  </a:lnTo>
                  <a:lnTo>
                    <a:pt x="232" y="1148"/>
                  </a:lnTo>
                  <a:lnTo>
                    <a:pt x="236" y="1148"/>
                  </a:lnTo>
                  <a:lnTo>
                    <a:pt x="237" y="1147"/>
                  </a:lnTo>
                  <a:lnTo>
                    <a:pt x="237" y="1144"/>
                  </a:lnTo>
                  <a:lnTo>
                    <a:pt x="242" y="1135"/>
                  </a:lnTo>
                  <a:lnTo>
                    <a:pt x="243" y="1130"/>
                  </a:lnTo>
                  <a:lnTo>
                    <a:pt x="244" y="1124"/>
                  </a:lnTo>
                  <a:lnTo>
                    <a:pt x="244" y="1123"/>
                  </a:lnTo>
                  <a:lnTo>
                    <a:pt x="245" y="1123"/>
                  </a:lnTo>
                  <a:lnTo>
                    <a:pt x="247" y="1122"/>
                  </a:lnTo>
                  <a:lnTo>
                    <a:pt x="247" y="1116"/>
                  </a:lnTo>
                  <a:lnTo>
                    <a:pt x="248" y="1115"/>
                  </a:lnTo>
                  <a:lnTo>
                    <a:pt x="249" y="1112"/>
                  </a:lnTo>
                  <a:lnTo>
                    <a:pt x="250" y="1112"/>
                  </a:lnTo>
                  <a:lnTo>
                    <a:pt x="250" y="1111"/>
                  </a:lnTo>
                  <a:close/>
                  <a:moveTo>
                    <a:pt x="319" y="1067"/>
                  </a:moveTo>
                  <a:lnTo>
                    <a:pt x="322" y="1067"/>
                  </a:lnTo>
                  <a:lnTo>
                    <a:pt x="322" y="1068"/>
                  </a:lnTo>
                  <a:lnTo>
                    <a:pt x="323" y="1069"/>
                  </a:lnTo>
                  <a:lnTo>
                    <a:pt x="323" y="1074"/>
                  </a:lnTo>
                  <a:lnTo>
                    <a:pt x="324" y="1075"/>
                  </a:lnTo>
                  <a:lnTo>
                    <a:pt x="324" y="1073"/>
                  </a:lnTo>
                  <a:lnTo>
                    <a:pt x="327" y="1070"/>
                  </a:lnTo>
                  <a:lnTo>
                    <a:pt x="327" y="1069"/>
                  </a:lnTo>
                  <a:lnTo>
                    <a:pt x="325" y="1068"/>
                  </a:lnTo>
                  <a:lnTo>
                    <a:pt x="327" y="1068"/>
                  </a:lnTo>
                  <a:lnTo>
                    <a:pt x="329" y="1067"/>
                  </a:lnTo>
                  <a:lnTo>
                    <a:pt x="329" y="1068"/>
                  </a:lnTo>
                  <a:lnTo>
                    <a:pt x="328" y="1069"/>
                  </a:lnTo>
                  <a:lnTo>
                    <a:pt x="330" y="1069"/>
                  </a:lnTo>
                  <a:lnTo>
                    <a:pt x="331" y="1068"/>
                  </a:lnTo>
                  <a:lnTo>
                    <a:pt x="333" y="1068"/>
                  </a:lnTo>
                  <a:lnTo>
                    <a:pt x="333" y="1069"/>
                  </a:lnTo>
                  <a:lnTo>
                    <a:pt x="334" y="1070"/>
                  </a:lnTo>
                  <a:lnTo>
                    <a:pt x="334" y="1072"/>
                  </a:lnTo>
                  <a:lnTo>
                    <a:pt x="335" y="1072"/>
                  </a:lnTo>
                  <a:lnTo>
                    <a:pt x="336" y="1074"/>
                  </a:lnTo>
                  <a:lnTo>
                    <a:pt x="336" y="1075"/>
                  </a:lnTo>
                  <a:lnTo>
                    <a:pt x="334" y="1075"/>
                  </a:lnTo>
                  <a:lnTo>
                    <a:pt x="333" y="1076"/>
                  </a:lnTo>
                  <a:lnTo>
                    <a:pt x="331" y="1079"/>
                  </a:lnTo>
                  <a:lnTo>
                    <a:pt x="331" y="1078"/>
                  </a:lnTo>
                  <a:lnTo>
                    <a:pt x="330" y="1078"/>
                  </a:lnTo>
                  <a:lnTo>
                    <a:pt x="330" y="1082"/>
                  </a:lnTo>
                  <a:lnTo>
                    <a:pt x="325" y="1082"/>
                  </a:lnTo>
                  <a:lnTo>
                    <a:pt x="325" y="1081"/>
                  </a:lnTo>
                  <a:lnTo>
                    <a:pt x="324" y="1082"/>
                  </a:lnTo>
                  <a:lnTo>
                    <a:pt x="324" y="1087"/>
                  </a:lnTo>
                  <a:lnTo>
                    <a:pt x="323" y="1088"/>
                  </a:lnTo>
                  <a:lnTo>
                    <a:pt x="323" y="1092"/>
                  </a:lnTo>
                  <a:lnTo>
                    <a:pt x="324" y="1092"/>
                  </a:lnTo>
                  <a:lnTo>
                    <a:pt x="324" y="1097"/>
                  </a:lnTo>
                  <a:lnTo>
                    <a:pt x="323" y="1098"/>
                  </a:lnTo>
                  <a:lnTo>
                    <a:pt x="323" y="1103"/>
                  </a:lnTo>
                  <a:lnTo>
                    <a:pt x="324" y="1103"/>
                  </a:lnTo>
                  <a:lnTo>
                    <a:pt x="324" y="1104"/>
                  </a:lnTo>
                  <a:lnTo>
                    <a:pt x="325" y="1105"/>
                  </a:lnTo>
                  <a:lnTo>
                    <a:pt x="329" y="1105"/>
                  </a:lnTo>
                  <a:lnTo>
                    <a:pt x="329" y="1106"/>
                  </a:lnTo>
                  <a:lnTo>
                    <a:pt x="330" y="1107"/>
                  </a:lnTo>
                  <a:lnTo>
                    <a:pt x="329" y="1109"/>
                  </a:lnTo>
                  <a:lnTo>
                    <a:pt x="327" y="1109"/>
                  </a:lnTo>
                  <a:lnTo>
                    <a:pt x="325" y="1110"/>
                  </a:lnTo>
                  <a:lnTo>
                    <a:pt x="324" y="1110"/>
                  </a:lnTo>
                  <a:lnTo>
                    <a:pt x="321" y="1113"/>
                  </a:lnTo>
                  <a:lnTo>
                    <a:pt x="319" y="1116"/>
                  </a:lnTo>
                  <a:lnTo>
                    <a:pt x="318" y="1116"/>
                  </a:lnTo>
                  <a:lnTo>
                    <a:pt x="318" y="1118"/>
                  </a:lnTo>
                  <a:lnTo>
                    <a:pt x="321" y="1118"/>
                  </a:lnTo>
                  <a:lnTo>
                    <a:pt x="321" y="1121"/>
                  </a:lnTo>
                  <a:lnTo>
                    <a:pt x="319" y="1122"/>
                  </a:lnTo>
                  <a:lnTo>
                    <a:pt x="316" y="1123"/>
                  </a:lnTo>
                  <a:lnTo>
                    <a:pt x="315" y="1123"/>
                  </a:lnTo>
                  <a:lnTo>
                    <a:pt x="315" y="1124"/>
                  </a:lnTo>
                  <a:lnTo>
                    <a:pt x="313" y="1124"/>
                  </a:lnTo>
                  <a:lnTo>
                    <a:pt x="309" y="1128"/>
                  </a:lnTo>
                  <a:lnTo>
                    <a:pt x="307" y="1128"/>
                  </a:lnTo>
                  <a:lnTo>
                    <a:pt x="306" y="1129"/>
                  </a:lnTo>
                  <a:lnTo>
                    <a:pt x="310" y="1129"/>
                  </a:lnTo>
                  <a:lnTo>
                    <a:pt x="309" y="1130"/>
                  </a:lnTo>
                  <a:lnTo>
                    <a:pt x="305" y="1132"/>
                  </a:lnTo>
                  <a:lnTo>
                    <a:pt x="305" y="1140"/>
                  </a:lnTo>
                  <a:lnTo>
                    <a:pt x="304" y="1141"/>
                  </a:lnTo>
                  <a:lnTo>
                    <a:pt x="304" y="1143"/>
                  </a:lnTo>
                  <a:lnTo>
                    <a:pt x="303" y="1144"/>
                  </a:lnTo>
                  <a:lnTo>
                    <a:pt x="299" y="1146"/>
                  </a:lnTo>
                  <a:lnTo>
                    <a:pt x="297" y="1146"/>
                  </a:lnTo>
                  <a:lnTo>
                    <a:pt x="299" y="1141"/>
                  </a:lnTo>
                  <a:lnTo>
                    <a:pt x="299" y="1137"/>
                  </a:lnTo>
                  <a:lnTo>
                    <a:pt x="302" y="1137"/>
                  </a:lnTo>
                  <a:lnTo>
                    <a:pt x="302" y="1135"/>
                  </a:lnTo>
                  <a:lnTo>
                    <a:pt x="303" y="1132"/>
                  </a:lnTo>
                  <a:lnTo>
                    <a:pt x="302" y="1132"/>
                  </a:lnTo>
                  <a:lnTo>
                    <a:pt x="300" y="1134"/>
                  </a:lnTo>
                  <a:lnTo>
                    <a:pt x="300" y="1135"/>
                  </a:lnTo>
                  <a:lnTo>
                    <a:pt x="299" y="1135"/>
                  </a:lnTo>
                  <a:lnTo>
                    <a:pt x="299" y="1132"/>
                  </a:lnTo>
                  <a:lnTo>
                    <a:pt x="300" y="1132"/>
                  </a:lnTo>
                  <a:lnTo>
                    <a:pt x="300" y="1131"/>
                  </a:lnTo>
                  <a:lnTo>
                    <a:pt x="299" y="1130"/>
                  </a:lnTo>
                  <a:lnTo>
                    <a:pt x="300" y="1129"/>
                  </a:lnTo>
                  <a:lnTo>
                    <a:pt x="298" y="1128"/>
                  </a:lnTo>
                  <a:lnTo>
                    <a:pt x="297" y="1122"/>
                  </a:lnTo>
                  <a:lnTo>
                    <a:pt x="294" y="1119"/>
                  </a:lnTo>
                  <a:lnTo>
                    <a:pt x="294" y="1118"/>
                  </a:lnTo>
                  <a:lnTo>
                    <a:pt x="296" y="1116"/>
                  </a:lnTo>
                  <a:lnTo>
                    <a:pt x="298" y="1113"/>
                  </a:lnTo>
                  <a:lnTo>
                    <a:pt x="298" y="1109"/>
                  </a:lnTo>
                  <a:lnTo>
                    <a:pt x="297" y="1109"/>
                  </a:lnTo>
                  <a:lnTo>
                    <a:pt x="297" y="1106"/>
                  </a:lnTo>
                  <a:lnTo>
                    <a:pt x="296" y="1105"/>
                  </a:lnTo>
                  <a:lnTo>
                    <a:pt x="296" y="1097"/>
                  </a:lnTo>
                  <a:lnTo>
                    <a:pt x="297" y="1094"/>
                  </a:lnTo>
                  <a:lnTo>
                    <a:pt x="304" y="1087"/>
                  </a:lnTo>
                  <a:lnTo>
                    <a:pt x="310" y="1076"/>
                  </a:lnTo>
                  <a:lnTo>
                    <a:pt x="311" y="1075"/>
                  </a:lnTo>
                  <a:lnTo>
                    <a:pt x="313" y="1074"/>
                  </a:lnTo>
                  <a:lnTo>
                    <a:pt x="316" y="1074"/>
                  </a:lnTo>
                  <a:lnTo>
                    <a:pt x="316" y="1073"/>
                  </a:lnTo>
                  <a:lnTo>
                    <a:pt x="317" y="1072"/>
                  </a:lnTo>
                  <a:lnTo>
                    <a:pt x="317" y="1070"/>
                  </a:lnTo>
                  <a:lnTo>
                    <a:pt x="319" y="1068"/>
                  </a:lnTo>
                  <a:lnTo>
                    <a:pt x="319" y="1067"/>
                  </a:lnTo>
                  <a:close/>
                  <a:moveTo>
                    <a:pt x="337" y="1062"/>
                  </a:moveTo>
                  <a:lnTo>
                    <a:pt x="342" y="1062"/>
                  </a:lnTo>
                  <a:lnTo>
                    <a:pt x="342" y="1063"/>
                  </a:lnTo>
                  <a:lnTo>
                    <a:pt x="347" y="1063"/>
                  </a:lnTo>
                  <a:lnTo>
                    <a:pt x="347" y="1064"/>
                  </a:lnTo>
                  <a:lnTo>
                    <a:pt x="346" y="1064"/>
                  </a:lnTo>
                  <a:lnTo>
                    <a:pt x="346" y="1066"/>
                  </a:lnTo>
                  <a:lnTo>
                    <a:pt x="343" y="1064"/>
                  </a:lnTo>
                  <a:lnTo>
                    <a:pt x="342" y="1066"/>
                  </a:lnTo>
                  <a:lnTo>
                    <a:pt x="341" y="1066"/>
                  </a:lnTo>
                  <a:lnTo>
                    <a:pt x="338" y="1068"/>
                  </a:lnTo>
                  <a:lnTo>
                    <a:pt x="338" y="1069"/>
                  </a:lnTo>
                  <a:lnTo>
                    <a:pt x="340" y="1069"/>
                  </a:lnTo>
                  <a:lnTo>
                    <a:pt x="340" y="1070"/>
                  </a:lnTo>
                  <a:lnTo>
                    <a:pt x="338" y="1073"/>
                  </a:lnTo>
                  <a:lnTo>
                    <a:pt x="337" y="1073"/>
                  </a:lnTo>
                  <a:lnTo>
                    <a:pt x="336" y="1072"/>
                  </a:lnTo>
                  <a:lnTo>
                    <a:pt x="334" y="1068"/>
                  </a:lnTo>
                  <a:lnTo>
                    <a:pt x="335" y="1067"/>
                  </a:lnTo>
                  <a:lnTo>
                    <a:pt x="335" y="1066"/>
                  </a:lnTo>
                  <a:lnTo>
                    <a:pt x="336" y="1064"/>
                  </a:lnTo>
                  <a:lnTo>
                    <a:pt x="336" y="1063"/>
                  </a:lnTo>
                  <a:lnTo>
                    <a:pt x="337" y="1063"/>
                  </a:lnTo>
                  <a:lnTo>
                    <a:pt x="337" y="1062"/>
                  </a:lnTo>
                  <a:close/>
                  <a:moveTo>
                    <a:pt x="25" y="1056"/>
                  </a:moveTo>
                  <a:lnTo>
                    <a:pt x="26" y="1056"/>
                  </a:lnTo>
                  <a:lnTo>
                    <a:pt x="26" y="1061"/>
                  </a:lnTo>
                  <a:lnTo>
                    <a:pt x="25" y="1062"/>
                  </a:lnTo>
                  <a:lnTo>
                    <a:pt x="25" y="1060"/>
                  </a:lnTo>
                  <a:lnTo>
                    <a:pt x="24" y="1060"/>
                  </a:lnTo>
                  <a:lnTo>
                    <a:pt x="24" y="1061"/>
                  </a:lnTo>
                  <a:lnTo>
                    <a:pt x="23" y="1062"/>
                  </a:lnTo>
                  <a:lnTo>
                    <a:pt x="23" y="1064"/>
                  </a:lnTo>
                  <a:lnTo>
                    <a:pt x="20" y="1064"/>
                  </a:lnTo>
                  <a:lnTo>
                    <a:pt x="20" y="1066"/>
                  </a:lnTo>
                  <a:lnTo>
                    <a:pt x="19" y="1066"/>
                  </a:lnTo>
                  <a:lnTo>
                    <a:pt x="19" y="1064"/>
                  </a:lnTo>
                  <a:lnTo>
                    <a:pt x="18" y="1064"/>
                  </a:lnTo>
                  <a:lnTo>
                    <a:pt x="17" y="1063"/>
                  </a:lnTo>
                  <a:lnTo>
                    <a:pt x="17" y="1061"/>
                  </a:lnTo>
                  <a:lnTo>
                    <a:pt x="19" y="1061"/>
                  </a:lnTo>
                  <a:lnTo>
                    <a:pt x="18" y="1060"/>
                  </a:lnTo>
                  <a:lnTo>
                    <a:pt x="17" y="1060"/>
                  </a:lnTo>
                  <a:lnTo>
                    <a:pt x="15" y="1058"/>
                  </a:lnTo>
                  <a:lnTo>
                    <a:pt x="17" y="1057"/>
                  </a:lnTo>
                  <a:lnTo>
                    <a:pt x="24" y="1057"/>
                  </a:lnTo>
                  <a:lnTo>
                    <a:pt x="25" y="1056"/>
                  </a:lnTo>
                  <a:close/>
                  <a:moveTo>
                    <a:pt x="12" y="1038"/>
                  </a:moveTo>
                  <a:lnTo>
                    <a:pt x="13" y="1038"/>
                  </a:lnTo>
                  <a:lnTo>
                    <a:pt x="12" y="1039"/>
                  </a:lnTo>
                  <a:lnTo>
                    <a:pt x="12" y="1038"/>
                  </a:lnTo>
                  <a:close/>
                  <a:moveTo>
                    <a:pt x="13" y="1037"/>
                  </a:moveTo>
                  <a:lnTo>
                    <a:pt x="14" y="1037"/>
                  </a:lnTo>
                  <a:lnTo>
                    <a:pt x="13" y="1038"/>
                  </a:lnTo>
                  <a:lnTo>
                    <a:pt x="13" y="1037"/>
                  </a:lnTo>
                  <a:close/>
                  <a:moveTo>
                    <a:pt x="242" y="1036"/>
                  </a:moveTo>
                  <a:lnTo>
                    <a:pt x="243" y="1037"/>
                  </a:lnTo>
                  <a:lnTo>
                    <a:pt x="243" y="1039"/>
                  </a:lnTo>
                  <a:lnTo>
                    <a:pt x="242" y="1039"/>
                  </a:lnTo>
                  <a:lnTo>
                    <a:pt x="241" y="1038"/>
                  </a:lnTo>
                  <a:lnTo>
                    <a:pt x="241" y="1037"/>
                  </a:lnTo>
                  <a:lnTo>
                    <a:pt x="242" y="1036"/>
                  </a:lnTo>
                  <a:close/>
                  <a:moveTo>
                    <a:pt x="341" y="1030"/>
                  </a:moveTo>
                  <a:lnTo>
                    <a:pt x="343" y="1030"/>
                  </a:lnTo>
                  <a:lnTo>
                    <a:pt x="346" y="1031"/>
                  </a:lnTo>
                  <a:lnTo>
                    <a:pt x="347" y="1031"/>
                  </a:lnTo>
                  <a:lnTo>
                    <a:pt x="344" y="1033"/>
                  </a:lnTo>
                  <a:lnTo>
                    <a:pt x="343" y="1033"/>
                  </a:lnTo>
                  <a:lnTo>
                    <a:pt x="342" y="1032"/>
                  </a:lnTo>
                  <a:lnTo>
                    <a:pt x="341" y="1030"/>
                  </a:lnTo>
                  <a:close/>
                  <a:moveTo>
                    <a:pt x="241" y="1029"/>
                  </a:moveTo>
                  <a:lnTo>
                    <a:pt x="242" y="1029"/>
                  </a:lnTo>
                  <a:lnTo>
                    <a:pt x="242" y="1030"/>
                  </a:lnTo>
                  <a:lnTo>
                    <a:pt x="241" y="1030"/>
                  </a:lnTo>
                  <a:lnTo>
                    <a:pt x="242" y="1031"/>
                  </a:lnTo>
                  <a:lnTo>
                    <a:pt x="241" y="1031"/>
                  </a:lnTo>
                  <a:lnTo>
                    <a:pt x="241" y="1032"/>
                  </a:lnTo>
                  <a:lnTo>
                    <a:pt x="243" y="1035"/>
                  </a:lnTo>
                  <a:lnTo>
                    <a:pt x="244" y="1033"/>
                  </a:lnTo>
                  <a:lnTo>
                    <a:pt x="244" y="1036"/>
                  </a:lnTo>
                  <a:lnTo>
                    <a:pt x="242" y="1036"/>
                  </a:lnTo>
                  <a:lnTo>
                    <a:pt x="241" y="1035"/>
                  </a:lnTo>
                  <a:lnTo>
                    <a:pt x="241" y="1033"/>
                  </a:lnTo>
                  <a:lnTo>
                    <a:pt x="240" y="1033"/>
                  </a:lnTo>
                  <a:lnTo>
                    <a:pt x="240" y="1030"/>
                  </a:lnTo>
                  <a:lnTo>
                    <a:pt x="241" y="1029"/>
                  </a:lnTo>
                  <a:close/>
                  <a:moveTo>
                    <a:pt x="276" y="987"/>
                  </a:moveTo>
                  <a:lnTo>
                    <a:pt x="278" y="988"/>
                  </a:lnTo>
                  <a:lnTo>
                    <a:pt x="276" y="988"/>
                  </a:lnTo>
                  <a:lnTo>
                    <a:pt x="276" y="987"/>
                  </a:lnTo>
                  <a:close/>
                  <a:moveTo>
                    <a:pt x="304" y="982"/>
                  </a:moveTo>
                  <a:lnTo>
                    <a:pt x="305" y="982"/>
                  </a:lnTo>
                  <a:lnTo>
                    <a:pt x="305" y="983"/>
                  </a:lnTo>
                  <a:lnTo>
                    <a:pt x="304" y="984"/>
                  </a:lnTo>
                  <a:lnTo>
                    <a:pt x="303" y="984"/>
                  </a:lnTo>
                  <a:lnTo>
                    <a:pt x="303" y="986"/>
                  </a:lnTo>
                  <a:lnTo>
                    <a:pt x="304" y="986"/>
                  </a:lnTo>
                  <a:lnTo>
                    <a:pt x="303" y="987"/>
                  </a:lnTo>
                  <a:lnTo>
                    <a:pt x="300" y="987"/>
                  </a:lnTo>
                  <a:lnTo>
                    <a:pt x="299" y="988"/>
                  </a:lnTo>
                  <a:lnTo>
                    <a:pt x="299" y="986"/>
                  </a:lnTo>
                  <a:lnTo>
                    <a:pt x="302" y="983"/>
                  </a:lnTo>
                  <a:lnTo>
                    <a:pt x="303" y="983"/>
                  </a:lnTo>
                  <a:lnTo>
                    <a:pt x="304" y="982"/>
                  </a:lnTo>
                  <a:close/>
                  <a:moveTo>
                    <a:pt x="298" y="977"/>
                  </a:moveTo>
                  <a:lnTo>
                    <a:pt x="299" y="978"/>
                  </a:lnTo>
                  <a:lnTo>
                    <a:pt x="298" y="980"/>
                  </a:lnTo>
                  <a:lnTo>
                    <a:pt x="299" y="980"/>
                  </a:lnTo>
                  <a:lnTo>
                    <a:pt x="299" y="981"/>
                  </a:lnTo>
                  <a:lnTo>
                    <a:pt x="297" y="981"/>
                  </a:lnTo>
                  <a:lnTo>
                    <a:pt x="297" y="982"/>
                  </a:lnTo>
                  <a:lnTo>
                    <a:pt x="296" y="983"/>
                  </a:lnTo>
                  <a:lnTo>
                    <a:pt x="294" y="982"/>
                  </a:lnTo>
                  <a:lnTo>
                    <a:pt x="293" y="983"/>
                  </a:lnTo>
                  <a:lnTo>
                    <a:pt x="292" y="983"/>
                  </a:lnTo>
                  <a:lnTo>
                    <a:pt x="293" y="982"/>
                  </a:lnTo>
                  <a:lnTo>
                    <a:pt x="293" y="981"/>
                  </a:lnTo>
                  <a:lnTo>
                    <a:pt x="294" y="981"/>
                  </a:lnTo>
                  <a:lnTo>
                    <a:pt x="293" y="980"/>
                  </a:lnTo>
                  <a:lnTo>
                    <a:pt x="294" y="980"/>
                  </a:lnTo>
                  <a:lnTo>
                    <a:pt x="294" y="978"/>
                  </a:lnTo>
                  <a:lnTo>
                    <a:pt x="297" y="978"/>
                  </a:lnTo>
                  <a:lnTo>
                    <a:pt x="298" y="977"/>
                  </a:lnTo>
                  <a:close/>
                  <a:moveTo>
                    <a:pt x="310" y="970"/>
                  </a:moveTo>
                  <a:lnTo>
                    <a:pt x="311" y="970"/>
                  </a:lnTo>
                  <a:lnTo>
                    <a:pt x="311" y="974"/>
                  </a:lnTo>
                  <a:lnTo>
                    <a:pt x="309" y="976"/>
                  </a:lnTo>
                  <a:lnTo>
                    <a:pt x="309" y="978"/>
                  </a:lnTo>
                  <a:lnTo>
                    <a:pt x="307" y="980"/>
                  </a:lnTo>
                  <a:lnTo>
                    <a:pt x="306" y="980"/>
                  </a:lnTo>
                  <a:lnTo>
                    <a:pt x="305" y="978"/>
                  </a:lnTo>
                  <a:lnTo>
                    <a:pt x="305" y="976"/>
                  </a:lnTo>
                  <a:lnTo>
                    <a:pt x="306" y="975"/>
                  </a:lnTo>
                  <a:lnTo>
                    <a:pt x="306" y="974"/>
                  </a:lnTo>
                  <a:lnTo>
                    <a:pt x="309" y="971"/>
                  </a:lnTo>
                  <a:lnTo>
                    <a:pt x="310" y="971"/>
                  </a:lnTo>
                  <a:lnTo>
                    <a:pt x="310" y="970"/>
                  </a:lnTo>
                  <a:close/>
                  <a:moveTo>
                    <a:pt x="319" y="963"/>
                  </a:moveTo>
                  <a:lnTo>
                    <a:pt x="322" y="963"/>
                  </a:lnTo>
                  <a:lnTo>
                    <a:pt x="322" y="964"/>
                  </a:lnTo>
                  <a:lnTo>
                    <a:pt x="318" y="965"/>
                  </a:lnTo>
                  <a:lnTo>
                    <a:pt x="318" y="964"/>
                  </a:lnTo>
                  <a:lnTo>
                    <a:pt x="319" y="964"/>
                  </a:lnTo>
                  <a:lnTo>
                    <a:pt x="319" y="963"/>
                  </a:lnTo>
                  <a:close/>
                  <a:moveTo>
                    <a:pt x="305" y="960"/>
                  </a:moveTo>
                  <a:lnTo>
                    <a:pt x="309" y="964"/>
                  </a:lnTo>
                  <a:lnTo>
                    <a:pt x="305" y="960"/>
                  </a:lnTo>
                  <a:close/>
                  <a:moveTo>
                    <a:pt x="322" y="956"/>
                  </a:moveTo>
                  <a:lnTo>
                    <a:pt x="324" y="956"/>
                  </a:lnTo>
                  <a:lnTo>
                    <a:pt x="324" y="958"/>
                  </a:lnTo>
                  <a:lnTo>
                    <a:pt x="323" y="958"/>
                  </a:lnTo>
                  <a:lnTo>
                    <a:pt x="323" y="959"/>
                  </a:lnTo>
                  <a:lnTo>
                    <a:pt x="322" y="959"/>
                  </a:lnTo>
                  <a:lnTo>
                    <a:pt x="321" y="958"/>
                  </a:lnTo>
                  <a:lnTo>
                    <a:pt x="322" y="957"/>
                  </a:lnTo>
                  <a:lnTo>
                    <a:pt x="322" y="956"/>
                  </a:lnTo>
                  <a:close/>
                  <a:moveTo>
                    <a:pt x="305" y="956"/>
                  </a:moveTo>
                  <a:lnTo>
                    <a:pt x="312" y="956"/>
                  </a:lnTo>
                  <a:lnTo>
                    <a:pt x="316" y="959"/>
                  </a:lnTo>
                  <a:lnTo>
                    <a:pt x="313" y="959"/>
                  </a:lnTo>
                  <a:lnTo>
                    <a:pt x="313" y="958"/>
                  </a:lnTo>
                  <a:lnTo>
                    <a:pt x="312" y="958"/>
                  </a:lnTo>
                  <a:lnTo>
                    <a:pt x="312" y="960"/>
                  </a:lnTo>
                  <a:lnTo>
                    <a:pt x="315" y="960"/>
                  </a:lnTo>
                  <a:lnTo>
                    <a:pt x="313" y="962"/>
                  </a:lnTo>
                  <a:lnTo>
                    <a:pt x="312" y="962"/>
                  </a:lnTo>
                  <a:lnTo>
                    <a:pt x="310" y="959"/>
                  </a:lnTo>
                  <a:lnTo>
                    <a:pt x="309" y="959"/>
                  </a:lnTo>
                  <a:lnTo>
                    <a:pt x="309" y="958"/>
                  </a:lnTo>
                  <a:lnTo>
                    <a:pt x="307" y="958"/>
                  </a:lnTo>
                  <a:lnTo>
                    <a:pt x="307" y="957"/>
                  </a:lnTo>
                  <a:lnTo>
                    <a:pt x="305" y="956"/>
                  </a:lnTo>
                  <a:close/>
                  <a:moveTo>
                    <a:pt x="317" y="950"/>
                  </a:moveTo>
                  <a:lnTo>
                    <a:pt x="321" y="950"/>
                  </a:lnTo>
                  <a:lnTo>
                    <a:pt x="322" y="951"/>
                  </a:lnTo>
                  <a:lnTo>
                    <a:pt x="322" y="953"/>
                  </a:lnTo>
                  <a:lnTo>
                    <a:pt x="319" y="956"/>
                  </a:lnTo>
                  <a:lnTo>
                    <a:pt x="318" y="954"/>
                  </a:lnTo>
                  <a:lnTo>
                    <a:pt x="319" y="954"/>
                  </a:lnTo>
                  <a:lnTo>
                    <a:pt x="319" y="952"/>
                  </a:lnTo>
                  <a:lnTo>
                    <a:pt x="317" y="950"/>
                  </a:lnTo>
                  <a:close/>
                  <a:moveTo>
                    <a:pt x="294" y="949"/>
                  </a:moveTo>
                  <a:lnTo>
                    <a:pt x="296" y="949"/>
                  </a:lnTo>
                  <a:lnTo>
                    <a:pt x="300" y="950"/>
                  </a:lnTo>
                  <a:lnTo>
                    <a:pt x="299" y="950"/>
                  </a:lnTo>
                  <a:lnTo>
                    <a:pt x="300" y="951"/>
                  </a:lnTo>
                  <a:lnTo>
                    <a:pt x="299" y="952"/>
                  </a:lnTo>
                  <a:lnTo>
                    <a:pt x="298" y="952"/>
                  </a:lnTo>
                  <a:lnTo>
                    <a:pt x="297" y="951"/>
                  </a:lnTo>
                  <a:lnTo>
                    <a:pt x="296" y="951"/>
                  </a:lnTo>
                  <a:lnTo>
                    <a:pt x="296" y="950"/>
                  </a:lnTo>
                  <a:lnTo>
                    <a:pt x="294" y="949"/>
                  </a:lnTo>
                  <a:close/>
                  <a:moveTo>
                    <a:pt x="329" y="946"/>
                  </a:moveTo>
                  <a:lnTo>
                    <a:pt x="330" y="947"/>
                  </a:lnTo>
                  <a:lnTo>
                    <a:pt x="330" y="950"/>
                  </a:lnTo>
                  <a:lnTo>
                    <a:pt x="329" y="949"/>
                  </a:lnTo>
                  <a:lnTo>
                    <a:pt x="329" y="947"/>
                  </a:lnTo>
                  <a:lnTo>
                    <a:pt x="328" y="947"/>
                  </a:lnTo>
                  <a:lnTo>
                    <a:pt x="329" y="946"/>
                  </a:lnTo>
                  <a:close/>
                  <a:moveTo>
                    <a:pt x="329" y="943"/>
                  </a:moveTo>
                  <a:lnTo>
                    <a:pt x="329" y="946"/>
                  </a:lnTo>
                  <a:lnTo>
                    <a:pt x="328" y="946"/>
                  </a:lnTo>
                  <a:lnTo>
                    <a:pt x="327" y="945"/>
                  </a:lnTo>
                  <a:lnTo>
                    <a:pt x="329" y="943"/>
                  </a:lnTo>
                  <a:close/>
                  <a:moveTo>
                    <a:pt x="317" y="934"/>
                  </a:moveTo>
                  <a:lnTo>
                    <a:pt x="318" y="934"/>
                  </a:lnTo>
                  <a:lnTo>
                    <a:pt x="319" y="935"/>
                  </a:lnTo>
                  <a:lnTo>
                    <a:pt x="322" y="935"/>
                  </a:lnTo>
                  <a:lnTo>
                    <a:pt x="319" y="937"/>
                  </a:lnTo>
                  <a:lnTo>
                    <a:pt x="317" y="939"/>
                  </a:lnTo>
                  <a:lnTo>
                    <a:pt x="317" y="940"/>
                  </a:lnTo>
                  <a:lnTo>
                    <a:pt x="316" y="939"/>
                  </a:lnTo>
                  <a:lnTo>
                    <a:pt x="316" y="943"/>
                  </a:lnTo>
                  <a:lnTo>
                    <a:pt x="315" y="943"/>
                  </a:lnTo>
                  <a:lnTo>
                    <a:pt x="315" y="945"/>
                  </a:lnTo>
                  <a:lnTo>
                    <a:pt x="313" y="945"/>
                  </a:lnTo>
                  <a:lnTo>
                    <a:pt x="313" y="944"/>
                  </a:lnTo>
                  <a:lnTo>
                    <a:pt x="312" y="943"/>
                  </a:lnTo>
                  <a:lnTo>
                    <a:pt x="312" y="939"/>
                  </a:lnTo>
                  <a:lnTo>
                    <a:pt x="313" y="939"/>
                  </a:lnTo>
                  <a:lnTo>
                    <a:pt x="313" y="938"/>
                  </a:lnTo>
                  <a:lnTo>
                    <a:pt x="317" y="934"/>
                  </a:lnTo>
                  <a:close/>
                  <a:moveTo>
                    <a:pt x="323" y="932"/>
                  </a:moveTo>
                  <a:lnTo>
                    <a:pt x="324" y="932"/>
                  </a:lnTo>
                  <a:lnTo>
                    <a:pt x="323" y="933"/>
                  </a:lnTo>
                  <a:lnTo>
                    <a:pt x="322" y="933"/>
                  </a:lnTo>
                  <a:lnTo>
                    <a:pt x="323" y="932"/>
                  </a:lnTo>
                  <a:close/>
                  <a:moveTo>
                    <a:pt x="325" y="931"/>
                  </a:moveTo>
                  <a:lnTo>
                    <a:pt x="325" y="932"/>
                  </a:lnTo>
                  <a:lnTo>
                    <a:pt x="324" y="932"/>
                  </a:lnTo>
                  <a:lnTo>
                    <a:pt x="325" y="931"/>
                  </a:lnTo>
                  <a:close/>
                  <a:moveTo>
                    <a:pt x="330" y="926"/>
                  </a:moveTo>
                  <a:lnTo>
                    <a:pt x="331" y="927"/>
                  </a:lnTo>
                  <a:lnTo>
                    <a:pt x="331" y="928"/>
                  </a:lnTo>
                  <a:lnTo>
                    <a:pt x="330" y="929"/>
                  </a:lnTo>
                  <a:lnTo>
                    <a:pt x="329" y="928"/>
                  </a:lnTo>
                  <a:lnTo>
                    <a:pt x="329" y="932"/>
                  </a:lnTo>
                  <a:lnTo>
                    <a:pt x="327" y="932"/>
                  </a:lnTo>
                  <a:lnTo>
                    <a:pt x="327" y="931"/>
                  </a:lnTo>
                  <a:lnTo>
                    <a:pt x="329" y="927"/>
                  </a:lnTo>
                  <a:lnTo>
                    <a:pt x="330" y="926"/>
                  </a:lnTo>
                  <a:close/>
                  <a:moveTo>
                    <a:pt x="329" y="926"/>
                  </a:moveTo>
                  <a:lnTo>
                    <a:pt x="329" y="927"/>
                  </a:lnTo>
                  <a:lnTo>
                    <a:pt x="327" y="929"/>
                  </a:lnTo>
                  <a:lnTo>
                    <a:pt x="327" y="931"/>
                  </a:lnTo>
                  <a:lnTo>
                    <a:pt x="325" y="931"/>
                  </a:lnTo>
                  <a:lnTo>
                    <a:pt x="325" y="929"/>
                  </a:lnTo>
                  <a:lnTo>
                    <a:pt x="329" y="926"/>
                  </a:lnTo>
                  <a:close/>
                  <a:moveTo>
                    <a:pt x="334" y="906"/>
                  </a:moveTo>
                  <a:lnTo>
                    <a:pt x="336" y="906"/>
                  </a:lnTo>
                  <a:lnTo>
                    <a:pt x="335" y="907"/>
                  </a:lnTo>
                  <a:lnTo>
                    <a:pt x="334" y="906"/>
                  </a:lnTo>
                  <a:close/>
                  <a:moveTo>
                    <a:pt x="321" y="878"/>
                  </a:moveTo>
                  <a:lnTo>
                    <a:pt x="322" y="879"/>
                  </a:lnTo>
                  <a:lnTo>
                    <a:pt x="323" y="879"/>
                  </a:lnTo>
                  <a:lnTo>
                    <a:pt x="323" y="880"/>
                  </a:lnTo>
                  <a:lnTo>
                    <a:pt x="324" y="882"/>
                  </a:lnTo>
                  <a:lnTo>
                    <a:pt x="324" y="883"/>
                  </a:lnTo>
                  <a:lnTo>
                    <a:pt x="323" y="884"/>
                  </a:lnTo>
                  <a:lnTo>
                    <a:pt x="321" y="884"/>
                  </a:lnTo>
                  <a:lnTo>
                    <a:pt x="321" y="878"/>
                  </a:lnTo>
                  <a:close/>
                  <a:moveTo>
                    <a:pt x="306" y="853"/>
                  </a:moveTo>
                  <a:lnTo>
                    <a:pt x="309" y="855"/>
                  </a:lnTo>
                  <a:lnTo>
                    <a:pt x="309" y="858"/>
                  </a:lnTo>
                  <a:lnTo>
                    <a:pt x="310" y="859"/>
                  </a:lnTo>
                  <a:lnTo>
                    <a:pt x="310" y="860"/>
                  </a:lnTo>
                  <a:lnTo>
                    <a:pt x="309" y="859"/>
                  </a:lnTo>
                  <a:lnTo>
                    <a:pt x="309" y="860"/>
                  </a:lnTo>
                  <a:lnTo>
                    <a:pt x="310" y="865"/>
                  </a:lnTo>
                  <a:lnTo>
                    <a:pt x="311" y="866"/>
                  </a:lnTo>
                  <a:lnTo>
                    <a:pt x="312" y="866"/>
                  </a:lnTo>
                  <a:lnTo>
                    <a:pt x="312" y="867"/>
                  </a:lnTo>
                  <a:lnTo>
                    <a:pt x="313" y="867"/>
                  </a:lnTo>
                  <a:lnTo>
                    <a:pt x="313" y="870"/>
                  </a:lnTo>
                  <a:lnTo>
                    <a:pt x="315" y="870"/>
                  </a:lnTo>
                  <a:lnTo>
                    <a:pt x="315" y="871"/>
                  </a:lnTo>
                  <a:lnTo>
                    <a:pt x="313" y="871"/>
                  </a:lnTo>
                  <a:lnTo>
                    <a:pt x="306" y="864"/>
                  </a:lnTo>
                  <a:lnTo>
                    <a:pt x="306" y="853"/>
                  </a:lnTo>
                  <a:close/>
                  <a:moveTo>
                    <a:pt x="256" y="772"/>
                  </a:moveTo>
                  <a:lnTo>
                    <a:pt x="257" y="772"/>
                  </a:lnTo>
                  <a:lnTo>
                    <a:pt x="257" y="773"/>
                  </a:lnTo>
                  <a:lnTo>
                    <a:pt x="256" y="773"/>
                  </a:lnTo>
                  <a:lnTo>
                    <a:pt x="256" y="772"/>
                  </a:lnTo>
                  <a:close/>
                  <a:moveTo>
                    <a:pt x="292" y="654"/>
                  </a:moveTo>
                  <a:lnTo>
                    <a:pt x="294" y="654"/>
                  </a:lnTo>
                  <a:lnTo>
                    <a:pt x="294" y="655"/>
                  </a:lnTo>
                  <a:lnTo>
                    <a:pt x="297" y="655"/>
                  </a:lnTo>
                  <a:lnTo>
                    <a:pt x="297" y="658"/>
                  </a:lnTo>
                  <a:lnTo>
                    <a:pt x="296" y="658"/>
                  </a:lnTo>
                  <a:lnTo>
                    <a:pt x="296" y="659"/>
                  </a:lnTo>
                  <a:lnTo>
                    <a:pt x="293" y="661"/>
                  </a:lnTo>
                  <a:lnTo>
                    <a:pt x="292" y="661"/>
                  </a:lnTo>
                  <a:lnTo>
                    <a:pt x="291" y="658"/>
                  </a:lnTo>
                  <a:lnTo>
                    <a:pt x="291" y="657"/>
                  </a:lnTo>
                  <a:lnTo>
                    <a:pt x="292" y="656"/>
                  </a:lnTo>
                  <a:lnTo>
                    <a:pt x="292" y="654"/>
                  </a:lnTo>
                  <a:close/>
                  <a:moveTo>
                    <a:pt x="411" y="568"/>
                  </a:moveTo>
                  <a:lnTo>
                    <a:pt x="411" y="570"/>
                  </a:lnTo>
                  <a:lnTo>
                    <a:pt x="410" y="571"/>
                  </a:lnTo>
                  <a:lnTo>
                    <a:pt x="410" y="570"/>
                  </a:lnTo>
                  <a:lnTo>
                    <a:pt x="411" y="568"/>
                  </a:lnTo>
                  <a:close/>
                  <a:moveTo>
                    <a:pt x="415" y="558"/>
                  </a:moveTo>
                  <a:lnTo>
                    <a:pt x="415" y="560"/>
                  </a:lnTo>
                  <a:lnTo>
                    <a:pt x="414" y="562"/>
                  </a:lnTo>
                  <a:lnTo>
                    <a:pt x="415" y="562"/>
                  </a:lnTo>
                  <a:lnTo>
                    <a:pt x="415" y="563"/>
                  </a:lnTo>
                  <a:lnTo>
                    <a:pt x="414" y="564"/>
                  </a:lnTo>
                  <a:lnTo>
                    <a:pt x="414" y="566"/>
                  </a:lnTo>
                  <a:lnTo>
                    <a:pt x="411" y="566"/>
                  </a:lnTo>
                  <a:lnTo>
                    <a:pt x="412" y="562"/>
                  </a:lnTo>
                  <a:lnTo>
                    <a:pt x="412" y="560"/>
                  </a:lnTo>
                  <a:lnTo>
                    <a:pt x="414" y="560"/>
                  </a:lnTo>
                  <a:lnTo>
                    <a:pt x="414" y="559"/>
                  </a:lnTo>
                  <a:lnTo>
                    <a:pt x="415" y="558"/>
                  </a:lnTo>
                  <a:close/>
                  <a:moveTo>
                    <a:pt x="398" y="557"/>
                  </a:moveTo>
                  <a:lnTo>
                    <a:pt x="398" y="558"/>
                  </a:lnTo>
                  <a:lnTo>
                    <a:pt x="397" y="558"/>
                  </a:lnTo>
                  <a:lnTo>
                    <a:pt x="398" y="557"/>
                  </a:lnTo>
                  <a:close/>
                  <a:moveTo>
                    <a:pt x="411" y="556"/>
                  </a:moveTo>
                  <a:lnTo>
                    <a:pt x="414" y="558"/>
                  </a:lnTo>
                  <a:lnTo>
                    <a:pt x="411" y="560"/>
                  </a:lnTo>
                  <a:lnTo>
                    <a:pt x="412" y="559"/>
                  </a:lnTo>
                  <a:lnTo>
                    <a:pt x="411" y="558"/>
                  </a:lnTo>
                  <a:lnTo>
                    <a:pt x="410" y="559"/>
                  </a:lnTo>
                  <a:lnTo>
                    <a:pt x="411" y="556"/>
                  </a:lnTo>
                  <a:close/>
                  <a:moveTo>
                    <a:pt x="429" y="471"/>
                  </a:moveTo>
                  <a:lnTo>
                    <a:pt x="430" y="471"/>
                  </a:lnTo>
                  <a:lnTo>
                    <a:pt x="430" y="472"/>
                  </a:lnTo>
                  <a:lnTo>
                    <a:pt x="429" y="471"/>
                  </a:lnTo>
                  <a:close/>
                  <a:moveTo>
                    <a:pt x="440" y="398"/>
                  </a:moveTo>
                  <a:lnTo>
                    <a:pt x="442" y="398"/>
                  </a:lnTo>
                  <a:lnTo>
                    <a:pt x="442" y="399"/>
                  </a:lnTo>
                  <a:lnTo>
                    <a:pt x="440" y="398"/>
                  </a:lnTo>
                  <a:close/>
                  <a:moveTo>
                    <a:pt x="474" y="392"/>
                  </a:moveTo>
                  <a:lnTo>
                    <a:pt x="476" y="392"/>
                  </a:lnTo>
                  <a:lnTo>
                    <a:pt x="477" y="393"/>
                  </a:lnTo>
                  <a:lnTo>
                    <a:pt x="477" y="394"/>
                  </a:lnTo>
                  <a:lnTo>
                    <a:pt x="476" y="394"/>
                  </a:lnTo>
                  <a:lnTo>
                    <a:pt x="476" y="396"/>
                  </a:lnTo>
                  <a:lnTo>
                    <a:pt x="471" y="396"/>
                  </a:lnTo>
                  <a:lnTo>
                    <a:pt x="471" y="394"/>
                  </a:lnTo>
                  <a:lnTo>
                    <a:pt x="472" y="393"/>
                  </a:lnTo>
                  <a:lnTo>
                    <a:pt x="473" y="393"/>
                  </a:lnTo>
                  <a:lnTo>
                    <a:pt x="473" y="394"/>
                  </a:lnTo>
                  <a:lnTo>
                    <a:pt x="474" y="393"/>
                  </a:lnTo>
                  <a:lnTo>
                    <a:pt x="474" y="392"/>
                  </a:lnTo>
                  <a:close/>
                  <a:moveTo>
                    <a:pt x="465" y="391"/>
                  </a:moveTo>
                  <a:lnTo>
                    <a:pt x="466" y="391"/>
                  </a:lnTo>
                  <a:lnTo>
                    <a:pt x="468" y="392"/>
                  </a:lnTo>
                  <a:lnTo>
                    <a:pt x="468" y="396"/>
                  </a:lnTo>
                  <a:lnTo>
                    <a:pt x="466" y="396"/>
                  </a:lnTo>
                  <a:lnTo>
                    <a:pt x="465" y="394"/>
                  </a:lnTo>
                  <a:lnTo>
                    <a:pt x="465" y="391"/>
                  </a:lnTo>
                  <a:close/>
                  <a:moveTo>
                    <a:pt x="483" y="384"/>
                  </a:moveTo>
                  <a:lnTo>
                    <a:pt x="485" y="386"/>
                  </a:lnTo>
                  <a:lnTo>
                    <a:pt x="485" y="387"/>
                  </a:lnTo>
                  <a:lnTo>
                    <a:pt x="484" y="387"/>
                  </a:lnTo>
                  <a:lnTo>
                    <a:pt x="483" y="386"/>
                  </a:lnTo>
                  <a:lnTo>
                    <a:pt x="483" y="384"/>
                  </a:lnTo>
                  <a:close/>
                  <a:moveTo>
                    <a:pt x="467" y="384"/>
                  </a:moveTo>
                  <a:lnTo>
                    <a:pt x="468" y="384"/>
                  </a:lnTo>
                  <a:lnTo>
                    <a:pt x="472" y="386"/>
                  </a:lnTo>
                  <a:lnTo>
                    <a:pt x="473" y="386"/>
                  </a:lnTo>
                  <a:lnTo>
                    <a:pt x="473" y="387"/>
                  </a:lnTo>
                  <a:lnTo>
                    <a:pt x="474" y="387"/>
                  </a:lnTo>
                  <a:lnTo>
                    <a:pt x="474" y="388"/>
                  </a:lnTo>
                  <a:lnTo>
                    <a:pt x="473" y="390"/>
                  </a:lnTo>
                  <a:lnTo>
                    <a:pt x="473" y="388"/>
                  </a:lnTo>
                  <a:lnTo>
                    <a:pt x="472" y="387"/>
                  </a:lnTo>
                  <a:lnTo>
                    <a:pt x="471" y="387"/>
                  </a:lnTo>
                  <a:lnTo>
                    <a:pt x="471" y="390"/>
                  </a:lnTo>
                  <a:lnTo>
                    <a:pt x="467" y="386"/>
                  </a:lnTo>
                  <a:lnTo>
                    <a:pt x="467" y="384"/>
                  </a:lnTo>
                  <a:close/>
                  <a:moveTo>
                    <a:pt x="485" y="379"/>
                  </a:moveTo>
                  <a:lnTo>
                    <a:pt x="486" y="379"/>
                  </a:lnTo>
                  <a:lnTo>
                    <a:pt x="486" y="380"/>
                  </a:lnTo>
                  <a:lnTo>
                    <a:pt x="485" y="380"/>
                  </a:lnTo>
                  <a:lnTo>
                    <a:pt x="485" y="382"/>
                  </a:lnTo>
                  <a:lnTo>
                    <a:pt x="483" y="382"/>
                  </a:lnTo>
                  <a:lnTo>
                    <a:pt x="481" y="381"/>
                  </a:lnTo>
                  <a:lnTo>
                    <a:pt x="481" y="380"/>
                  </a:lnTo>
                  <a:lnTo>
                    <a:pt x="484" y="380"/>
                  </a:lnTo>
                  <a:lnTo>
                    <a:pt x="485" y="379"/>
                  </a:lnTo>
                  <a:close/>
                  <a:moveTo>
                    <a:pt x="483" y="376"/>
                  </a:moveTo>
                  <a:lnTo>
                    <a:pt x="484" y="376"/>
                  </a:lnTo>
                  <a:lnTo>
                    <a:pt x="485" y="378"/>
                  </a:lnTo>
                  <a:lnTo>
                    <a:pt x="484" y="379"/>
                  </a:lnTo>
                  <a:lnTo>
                    <a:pt x="483" y="379"/>
                  </a:lnTo>
                  <a:lnTo>
                    <a:pt x="483" y="376"/>
                  </a:lnTo>
                  <a:close/>
                  <a:moveTo>
                    <a:pt x="497" y="363"/>
                  </a:moveTo>
                  <a:lnTo>
                    <a:pt x="498" y="363"/>
                  </a:lnTo>
                  <a:lnTo>
                    <a:pt x="499" y="364"/>
                  </a:lnTo>
                  <a:lnTo>
                    <a:pt x="499" y="366"/>
                  </a:lnTo>
                  <a:lnTo>
                    <a:pt x="501" y="367"/>
                  </a:lnTo>
                  <a:lnTo>
                    <a:pt x="501" y="368"/>
                  </a:lnTo>
                  <a:lnTo>
                    <a:pt x="499" y="368"/>
                  </a:lnTo>
                  <a:lnTo>
                    <a:pt x="499" y="369"/>
                  </a:lnTo>
                  <a:lnTo>
                    <a:pt x="501" y="370"/>
                  </a:lnTo>
                  <a:lnTo>
                    <a:pt x="499" y="370"/>
                  </a:lnTo>
                  <a:lnTo>
                    <a:pt x="498" y="369"/>
                  </a:lnTo>
                  <a:lnTo>
                    <a:pt x="497" y="367"/>
                  </a:lnTo>
                  <a:lnTo>
                    <a:pt x="496" y="366"/>
                  </a:lnTo>
                  <a:lnTo>
                    <a:pt x="497" y="363"/>
                  </a:lnTo>
                  <a:close/>
                  <a:moveTo>
                    <a:pt x="534" y="362"/>
                  </a:moveTo>
                  <a:lnTo>
                    <a:pt x="535" y="363"/>
                  </a:lnTo>
                  <a:lnTo>
                    <a:pt x="535" y="364"/>
                  </a:lnTo>
                  <a:lnTo>
                    <a:pt x="534" y="364"/>
                  </a:lnTo>
                  <a:lnTo>
                    <a:pt x="534" y="367"/>
                  </a:lnTo>
                  <a:lnTo>
                    <a:pt x="533" y="368"/>
                  </a:lnTo>
                  <a:lnTo>
                    <a:pt x="530" y="367"/>
                  </a:lnTo>
                  <a:lnTo>
                    <a:pt x="530" y="363"/>
                  </a:lnTo>
                  <a:lnTo>
                    <a:pt x="534" y="363"/>
                  </a:lnTo>
                  <a:lnTo>
                    <a:pt x="534" y="362"/>
                  </a:lnTo>
                  <a:close/>
                  <a:moveTo>
                    <a:pt x="490" y="361"/>
                  </a:moveTo>
                  <a:lnTo>
                    <a:pt x="491" y="361"/>
                  </a:lnTo>
                  <a:lnTo>
                    <a:pt x="492" y="362"/>
                  </a:lnTo>
                  <a:lnTo>
                    <a:pt x="493" y="364"/>
                  </a:lnTo>
                  <a:lnTo>
                    <a:pt x="493" y="367"/>
                  </a:lnTo>
                  <a:lnTo>
                    <a:pt x="491" y="367"/>
                  </a:lnTo>
                  <a:lnTo>
                    <a:pt x="490" y="366"/>
                  </a:lnTo>
                  <a:lnTo>
                    <a:pt x="490" y="361"/>
                  </a:lnTo>
                  <a:close/>
                  <a:moveTo>
                    <a:pt x="402" y="0"/>
                  </a:moveTo>
                  <a:lnTo>
                    <a:pt x="403" y="3"/>
                  </a:lnTo>
                  <a:lnTo>
                    <a:pt x="409" y="4"/>
                  </a:lnTo>
                  <a:lnTo>
                    <a:pt x="411" y="6"/>
                  </a:lnTo>
                  <a:lnTo>
                    <a:pt x="414" y="7"/>
                  </a:lnTo>
                  <a:lnTo>
                    <a:pt x="415" y="9"/>
                  </a:lnTo>
                  <a:lnTo>
                    <a:pt x="415" y="11"/>
                  </a:lnTo>
                  <a:lnTo>
                    <a:pt x="414" y="13"/>
                  </a:lnTo>
                  <a:lnTo>
                    <a:pt x="412" y="13"/>
                  </a:lnTo>
                  <a:lnTo>
                    <a:pt x="412" y="16"/>
                  </a:lnTo>
                  <a:lnTo>
                    <a:pt x="414" y="17"/>
                  </a:lnTo>
                  <a:lnTo>
                    <a:pt x="420" y="20"/>
                  </a:lnTo>
                  <a:lnTo>
                    <a:pt x="423" y="24"/>
                  </a:lnTo>
                  <a:lnTo>
                    <a:pt x="427" y="26"/>
                  </a:lnTo>
                  <a:lnTo>
                    <a:pt x="429" y="31"/>
                  </a:lnTo>
                  <a:lnTo>
                    <a:pt x="429" y="34"/>
                  </a:lnTo>
                  <a:lnTo>
                    <a:pt x="434" y="34"/>
                  </a:lnTo>
                  <a:lnTo>
                    <a:pt x="434" y="35"/>
                  </a:lnTo>
                  <a:lnTo>
                    <a:pt x="435" y="36"/>
                  </a:lnTo>
                  <a:lnTo>
                    <a:pt x="435" y="37"/>
                  </a:lnTo>
                  <a:lnTo>
                    <a:pt x="436" y="41"/>
                  </a:lnTo>
                  <a:lnTo>
                    <a:pt x="436" y="42"/>
                  </a:lnTo>
                  <a:lnTo>
                    <a:pt x="437" y="43"/>
                  </a:lnTo>
                  <a:lnTo>
                    <a:pt x="441" y="44"/>
                  </a:lnTo>
                  <a:lnTo>
                    <a:pt x="445" y="48"/>
                  </a:lnTo>
                  <a:lnTo>
                    <a:pt x="447" y="49"/>
                  </a:lnTo>
                  <a:lnTo>
                    <a:pt x="448" y="53"/>
                  </a:lnTo>
                  <a:lnTo>
                    <a:pt x="455" y="55"/>
                  </a:lnTo>
                  <a:lnTo>
                    <a:pt x="458" y="58"/>
                  </a:lnTo>
                  <a:lnTo>
                    <a:pt x="458" y="59"/>
                  </a:lnTo>
                  <a:lnTo>
                    <a:pt x="460" y="61"/>
                  </a:lnTo>
                  <a:lnTo>
                    <a:pt x="460" y="62"/>
                  </a:lnTo>
                  <a:lnTo>
                    <a:pt x="461" y="62"/>
                  </a:lnTo>
                  <a:lnTo>
                    <a:pt x="461" y="65"/>
                  </a:lnTo>
                  <a:lnTo>
                    <a:pt x="462" y="66"/>
                  </a:lnTo>
                  <a:lnTo>
                    <a:pt x="472" y="66"/>
                  </a:lnTo>
                  <a:lnTo>
                    <a:pt x="474" y="67"/>
                  </a:lnTo>
                  <a:lnTo>
                    <a:pt x="476" y="67"/>
                  </a:lnTo>
                  <a:lnTo>
                    <a:pt x="474" y="68"/>
                  </a:lnTo>
                  <a:lnTo>
                    <a:pt x="478" y="68"/>
                  </a:lnTo>
                  <a:lnTo>
                    <a:pt x="481" y="71"/>
                  </a:lnTo>
                  <a:lnTo>
                    <a:pt x="483" y="71"/>
                  </a:lnTo>
                  <a:lnTo>
                    <a:pt x="485" y="72"/>
                  </a:lnTo>
                  <a:lnTo>
                    <a:pt x="487" y="72"/>
                  </a:lnTo>
                  <a:lnTo>
                    <a:pt x="489" y="73"/>
                  </a:lnTo>
                  <a:lnTo>
                    <a:pt x="490" y="75"/>
                  </a:lnTo>
                  <a:lnTo>
                    <a:pt x="491" y="77"/>
                  </a:lnTo>
                  <a:lnTo>
                    <a:pt x="493" y="75"/>
                  </a:lnTo>
                  <a:lnTo>
                    <a:pt x="495" y="77"/>
                  </a:lnTo>
                  <a:lnTo>
                    <a:pt x="496" y="80"/>
                  </a:lnTo>
                  <a:lnTo>
                    <a:pt x="497" y="83"/>
                  </a:lnTo>
                  <a:lnTo>
                    <a:pt x="503" y="86"/>
                  </a:lnTo>
                  <a:lnTo>
                    <a:pt x="504" y="87"/>
                  </a:lnTo>
                  <a:lnTo>
                    <a:pt x="504" y="90"/>
                  </a:lnTo>
                  <a:lnTo>
                    <a:pt x="505" y="90"/>
                  </a:lnTo>
                  <a:lnTo>
                    <a:pt x="505" y="91"/>
                  </a:lnTo>
                  <a:lnTo>
                    <a:pt x="508" y="93"/>
                  </a:lnTo>
                  <a:lnTo>
                    <a:pt x="508" y="105"/>
                  </a:lnTo>
                  <a:lnTo>
                    <a:pt x="509" y="106"/>
                  </a:lnTo>
                  <a:lnTo>
                    <a:pt x="512" y="104"/>
                  </a:lnTo>
                  <a:lnTo>
                    <a:pt x="515" y="104"/>
                  </a:lnTo>
                  <a:lnTo>
                    <a:pt x="515" y="105"/>
                  </a:lnTo>
                  <a:lnTo>
                    <a:pt x="517" y="112"/>
                  </a:lnTo>
                  <a:lnTo>
                    <a:pt x="517" y="115"/>
                  </a:lnTo>
                  <a:lnTo>
                    <a:pt x="521" y="117"/>
                  </a:lnTo>
                  <a:lnTo>
                    <a:pt x="522" y="118"/>
                  </a:lnTo>
                  <a:lnTo>
                    <a:pt x="526" y="123"/>
                  </a:lnTo>
                  <a:lnTo>
                    <a:pt x="528" y="124"/>
                  </a:lnTo>
                  <a:lnTo>
                    <a:pt x="529" y="126"/>
                  </a:lnTo>
                  <a:lnTo>
                    <a:pt x="529" y="128"/>
                  </a:lnTo>
                  <a:lnTo>
                    <a:pt x="528" y="130"/>
                  </a:lnTo>
                  <a:lnTo>
                    <a:pt x="527" y="132"/>
                  </a:lnTo>
                  <a:lnTo>
                    <a:pt x="523" y="133"/>
                  </a:lnTo>
                  <a:lnTo>
                    <a:pt x="522" y="134"/>
                  </a:lnTo>
                  <a:lnTo>
                    <a:pt x="522" y="153"/>
                  </a:lnTo>
                  <a:lnTo>
                    <a:pt x="523" y="158"/>
                  </a:lnTo>
                  <a:lnTo>
                    <a:pt x="523" y="159"/>
                  </a:lnTo>
                  <a:lnTo>
                    <a:pt x="524" y="163"/>
                  </a:lnTo>
                  <a:lnTo>
                    <a:pt x="524" y="167"/>
                  </a:lnTo>
                  <a:lnTo>
                    <a:pt x="522" y="169"/>
                  </a:lnTo>
                  <a:lnTo>
                    <a:pt x="521" y="170"/>
                  </a:lnTo>
                  <a:lnTo>
                    <a:pt x="522" y="171"/>
                  </a:lnTo>
                  <a:lnTo>
                    <a:pt x="520" y="176"/>
                  </a:lnTo>
                  <a:lnTo>
                    <a:pt x="520" y="181"/>
                  </a:lnTo>
                  <a:lnTo>
                    <a:pt x="522" y="182"/>
                  </a:lnTo>
                  <a:lnTo>
                    <a:pt x="527" y="182"/>
                  </a:lnTo>
                  <a:lnTo>
                    <a:pt x="529" y="183"/>
                  </a:lnTo>
                  <a:lnTo>
                    <a:pt x="533" y="184"/>
                  </a:lnTo>
                  <a:lnTo>
                    <a:pt x="534" y="185"/>
                  </a:lnTo>
                  <a:lnTo>
                    <a:pt x="534" y="188"/>
                  </a:lnTo>
                  <a:lnTo>
                    <a:pt x="533" y="190"/>
                  </a:lnTo>
                  <a:lnTo>
                    <a:pt x="533" y="192"/>
                  </a:lnTo>
                  <a:lnTo>
                    <a:pt x="534" y="194"/>
                  </a:lnTo>
                  <a:lnTo>
                    <a:pt x="534" y="197"/>
                  </a:lnTo>
                  <a:lnTo>
                    <a:pt x="533" y="200"/>
                  </a:lnTo>
                  <a:lnTo>
                    <a:pt x="528" y="201"/>
                  </a:lnTo>
                  <a:lnTo>
                    <a:pt x="527" y="202"/>
                  </a:lnTo>
                  <a:lnTo>
                    <a:pt x="527" y="210"/>
                  </a:lnTo>
                  <a:lnTo>
                    <a:pt x="526" y="212"/>
                  </a:lnTo>
                  <a:lnTo>
                    <a:pt x="526" y="214"/>
                  </a:lnTo>
                  <a:lnTo>
                    <a:pt x="528" y="216"/>
                  </a:lnTo>
                  <a:lnTo>
                    <a:pt x="529" y="219"/>
                  </a:lnTo>
                  <a:lnTo>
                    <a:pt x="529" y="224"/>
                  </a:lnTo>
                  <a:lnTo>
                    <a:pt x="530" y="225"/>
                  </a:lnTo>
                  <a:lnTo>
                    <a:pt x="532" y="228"/>
                  </a:lnTo>
                  <a:lnTo>
                    <a:pt x="533" y="231"/>
                  </a:lnTo>
                  <a:lnTo>
                    <a:pt x="534" y="231"/>
                  </a:lnTo>
                  <a:lnTo>
                    <a:pt x="536" y="233"/>
                  </a:lnTo>
                  <a:lnTo>
                    <a:pt x="539" y="239"/>
                  </a:lnTo>
                  <a:lnTo>
                    <a:pt x="540" y="241"/>
                  </a:lnTo>
                  <a:lnTo>
                    <a:pt x="541" y="243"/>
                  </a:lnTo>
                  <a:lnTo>
                    <a:pt x="542" y="245"/>
                  </a:lnTo>
                  <a:lnTo>
                    <a:pt x="543" y="251"/>
                  </a:lnTo>
                  <a:lnTo>
                    <a:pt x="543" y="252"/>
                  </a:lnTo>
                  <a:lnTo>
                    <a:pt x="542" y="253"/>
                  </a:lnTo>
                  <a:lnTo>
                    <a:pt x="541" y="253"/>
                  </a:lnTo>
                  <a:lnTo>
                    <a:pt x="540" y="255"/>
                  </a:lnTo>
                  <a:lnTo>
                    <a:pt x="539" y="257"/>
                  </a:lnTo>
                  <a:lnTo>
                    <a:pt x="539" y="258"/>
                  </a:lnTo>
                  <a:lnTo>
                    <a:pt x="540" y="262"/>
                  </a:lnTo>
                  <a:lnTo>
                    <a:pt x="540" y="264"/>
                  </a:lnTo>
                  <a:lnTo>
                    <a:pt x="539" y="267"/>
                  </a:lnTo>
                  <a:lnTo>
                    <a:pt x="539" y="277"/>
                  </a:lnTo>
                  <a:lnTo>
                    <a:pt x="538" y="278"/>
                  </a:lnTo>
                  <a:lnTo>
                    <a:pt x="535" y="280"/>
                  </a:lnTo>
                  <a:lnTo>
                    <a:pt x="535" y="281"/>
                  </a:lnTo>
                  <a:lnTo>
                    <a:pt x="533" y="283"/>
                  </a:lnTo>
                  <a:lnTo>
                    <a:pt x="533" y="286"/>
                  </a:lnTo>
                  <a:lnTo>
                    <a:pt x="532" y="286"/>
                  </a:lnTo>
                  <a:lnTo>
                    <a:pt x="529" y="288"/>
                  </a:lnTo>
                  <a:lnTo>
                    <a:pt x="528" y="290"/>
                  </a:lnTo>
                  <a:lnTo>
                    <a:pt x="529" y="292"/>
                  </a:lnTo>
                  <a:lnTo>
                    <a:pt x="529" y="296"/>
                  </a:lnTo>
                  <a:lnTo>
                    <a:pt x="530" y="299"/>
                  </a:lnTo>
                  <a:lnTo>
                    <a:pt x="530" y="300"/>
                  </a:lnTo>
                  <a:lnTo>
                    <a:pt x="529" y="301"/>
                  </a:lnTo>
                  <a:lnTo>
                    <a:pt x="529" y="305"/>
                  </a:lnTo>
                  <a:lnTo>
                    <a:pt x="530" y="307"/>
                  </a:lnTo>
                  <a:lnTo>
                    <a:pt x="530" y="310"/>
                  </a:lnTo>
                  <a:lnTo>
                    <a:pt x="532" y="316"/>
                  </a:lnTo>
                  <a:lnTo>
                    <a:pt x="534" y="318"/>
                  </a:lnTo>
                  <a:lnTo>
                    <a:pt x="539" y="320"/>
                  </a:lnTo>
                  <a:lnTo>
                    <a:pt x="540" y="321"/>
                  </a:lnTo>
                  <a:lnTo>
                    <a:pt x="542" y="329"/>
                  </a:lnTo>
                  <a:lnTo>
                    <a:pt x="543" y="330"/>
                  </a:lnTo>
                  <a:lnTo>
                    <a:pt x="543" y="331"/>
                  </a:lnTo>
                  <a:lnTo>
                    <a:pt x="545" y="331"/>
                  </a:lnTo>
                  <a:lnTo>
                    <a:pt x="545" y="333"/>
                  </a:lnTo>
                  <a:lnTo>
                    <a:pt x="546" y="338"/>
                  </a:lnTo>
                  <a:lnTo>
                    <a:pt x="546" y="342"/>
                  </a:lnTo>
                  <a:lnTo>
                    <a:pt x="548" y="347"/>
                  </a:lnTo>
                  <a:lnTo>
                    <a:pt x="548" y="350"/>
                  </a:lnTo>
                  <a:lnTo>
                    <a:pt x="551" y="353"/>
                  </a:lnTo>
                  <a:lnTo>
                    <a:pt x="551" y="355"/>
                  </a:lnTo>
                  <a:lnTo>
                    <a:pt x="549" y="357"/>
                  </a:lnTo>
                  <a:lnTo>
                    <a:pt x="548" y="357"/>
                  </a:lnTo>
                  <a:lnTo>
                    <a:pt x="545" y="356"/>
                  </a:lnTo>
                  <a:lnTo>
                    <a:pt x="545" y="357"/>
                  </a:lnTo>
                  <a:lnTo>
                    <a:pt x="546" y="357"/>
                  </a:lnTo>
                  <a:lnTo>
                    <a:pt x="545" y="359"/>
                  </a:lnTo>
                  <a:lnTo>
                    <a:pt x="542" y="357"/>
                  </a:lnTo>
                  <a:lnTo>
                    <a:pt x="542" y="359"/>
                  </a:lnTo>
                  <a:lnTo>
                    <a:pt x="541" y="359"/>
                  </a:lnTo>
                  <a:lnTo>
                    <a:pt x="541" y="361"/>
                  </a:lnTo>
                  <a:lnTo>
                    <a:pt x="539" y="361"/>
                  </a:lnTo>
                  <a:lnTo>
                    <a:pt x="539" y="357"/>
                  </a:lnTo>
                  <a:lnTo>
                    <a:pt x="538" y="357"/>
                  </a:lnTo>
                  <a:lnTo>
                    <a:pt x="538" y="359"/>
                  </a:lnTo>
                  <a:lnTo>
                    <a:pt x="534" y="359"/>
                  </a:lnTo>
                  <a:lnTo>
                    <a:pt x="534" y="355"/>
                  </a:lnTo>
                  <a:lnTo>
                    <a:pt x="533" y="354"/>
                  </a:lnTo>
                  <a:lnTo>
                    <a:pt x="530" y="354"/>
                  </a:lnTo>
                  <a:lnTo>
                    <a:pt x="530" y="355"/>
                  </a:lnTo>
                  <a:lnTo>
                    <a:pt x="529" y="357"/>
                  </a:lnTo>
                  <a:lnTo>
                    <a:pt x="527" y="357"/>
                  </a:lnTo>
                  <a:lnTo>
                    <a:pt x="527" y="356"/>
                  </a:lnTo>
                  <a:lnTo>
                    <a:pt x="522" y="356"/>
                  </a:lnTo>
                  <a:lnTo>
                    <a:pt x="522" y="354"/>
                  </a:lnTo>
                  <a:lnTo>
                    <a:pt x="521" y="354"/>
                  </a:lnTo>
                  <a:lnTo>
                    <a:pt x="521" y="356"/>
                  </a:lnTo>
                  <a:lnTo>
                    <a:pt x="520" y="356"/>
                  </a:lnTo>
                  <a:lnTo>
                    <a:pt x="520" y="361"/>
                  </a:lnTo>
                  <a:lnTo>
                    <a:pt x="518" y="361"/>
                  </a:lnTo>
                  <a:lnTo>
                    <a:pt x="517" y="360"/>
                  </a:lnTo>
                  <a:lnTo>
                    <a:pt x="517" y="355"/>
                  </a:lnTo>
                  <a:lnTo>
                    <a:pt x="516" y="355"/>
                  </a:lnTo>
                  <a:lnTo>
                    <a:pt x="516" y="356"/>
                  </a:lnTo>
                  <a:lnTo>
                    <a:pt x="515" y="357"/>
                  </a:lnTo>
                  <a:lnTo>
                    <a:pt x="512" y="357"/>
                  </a:lnTo>
                  <a:lnTo>
                    <a:pt x="511" y="355"/>
                  </a:lnTo>
                  <a:lnTo>
                    <a:pt x="509" y="355"/>
                  </a:lnTo>
                  <a:lnTo>
                    <a:pt x="509" y="359"/>
                  </a:lnTo>
                  <a:lnTo>
                    <a:pt x="511" y="361"/>
                  </a:lnTo>
                  <a:lnTo>
                    <a:pt x="508" y="362"/>
                  </a:lnTo>
                  <a:lnTo>
                    <a:pt x="508" y="363"/>
                  </a:lnTo>
                  <a:lnTo>
                    <a:pt x="507" y="364"/>
                  </a:lnTo>
                  <a:lnTo>
                    <a:pt x="507" y="366"/>
                  </a:lnTo>
                  <a:lnTo>
                    <a:pt x="505" y="367"/>
                  </a:lnTo>
                  <a:lnTo>
                    <a:pt x="504" y="367"/>
                  </a:lnTo>
                  <a:lnTo>
                    <a:pt x="505" y="364"/>
                  </a:lnTo>
                  <a:lnTo>
                    <a:pt x="504" y="362"/>
                  </a:lnTo>
                  <a:lnTo>
                    <a:pt x="503" y="361"/>
                  </a:lnTo>
                  <a:lnTo>
                    <a:pt x="501" y="361"/>
                  </a:lnTo>
                  <a:lnTo>
                    <a:pt x="499" y="360"/>
                  </a:lnTo>
                  <a:lnTo>
                    <a:pt x="498" y="360"/>
                  </a:lnTo>
                  <a:lnTo>
                    <a:pt x="498" y="357"/>
                  </a:lnTo>
                  <a:lnTo>
                    <a:pt x="496" y="357"/>
                  </a:lnTo>
                  <a:lnTo>
                    <a:pt x="495" y="356"/>
                  </a:lnTo>
                  <a:lnTo>
                    <a:pt x="493" y="353"/>
                  </a:lnTo>
                  <a:lnTo>
                    <a:pt x="492" y="350"/>
                  </a:lnTo>
                  <a:lnTo>
                    <a:pt x="487" y="347"/>
                  </a:lnTo>
                  <a:lnTo>
                    <a:pt x="486" y="347"/>
                  </a:lnTo>
                  <a:lnTo>
                    <a:pt x="486" y="348"/>
                  </a:lnTo>
                  <a:lnTo>
                    <a:pt x="487" y="349"/>
                  </a:lnTo>
                  <a:lnTo>
                    <a:pt x="487" y="350"/>
                  </a:lnTo>
                  <a:lnTo>
                    <a:pt x="489" y="351"/>
                  </a:lnTo>
                  <a:lnTo>
                    <a:pt x="489" y="360"/>
                  </a:lnTo>
                  <a:lnTo>
                    <a:pt x="487" y="361"/>
                  </a:lnTo>
                  <a:lnTo>
                    <a:pt x="487" y="362"/>
                  </a:lnTo>
                  <a:lnTo>
                    <a:pt x="486" y="362"/>
                  </a:lnTo>
                  <a:lnTo>
                    <a:pt x="486" y="360"/>
                  </a:lnTo>
                  <a:lnTo>
                    <a:pt x="485" y="359"/>
                  </a:lnTo>
                  <a:lnTo>
                    <a:pt x="483" y="357"/>
                  </a:lnTo>
                  <a:lnTo>
                    <a:pt x="483" y="359"/>
                  </a:lnTo>
                  <a:lnTo>
                    <a:pt x="481" y="360"/>
                  </a:lnTo>
                  <a:lnTo>
                    <a:pt x="480" y="360"/>
                  </a:lnTo>
                  <a:lnTo>
                    <a:pt x="480" y="357"/>
                  </a:lnTo>
                  <a:lnTo>
                    <a:pt x="481" y="357"/>
                  </a:lnTo>
                  <a:lnTo>
                    <a:pt x="481" y="355"/>
                  </a:lnTo>
                  <a:lnTo>
                    <a:pt x="479" y="353"/>
                  </a:lnTo>
                  <a:lnTo>
                    <a:pt x="479" y="351"/>
                  </a:lnTo>
                  <a:lnTo>
                    <a:pt x="477" y="350"/>
                  </a:lnTo>
                  <a:lnTo>
                    <a:pt x="474" y="351"/>
                  </a:lnTo>
                  <a:lnTo>
                    <a:pt x="474" y="353"/>
                  </a:lnTo>
                  <a:lnTo>
                    <a:pt x="473" y="354"/>
                  </a:lnTo>
                  <a:lnTo>
                    <a:pt x="474" y="356"/>
                  </a:lnTo>
                  <a:lnTo>
                    <a:pt x="474" y="357"/>
                  </a:lnTo>
                  <a:lnTo>
                    <a:pt x="473" y="357"/>
                  </a:lnTo>
                  <a:lnTo>
                    <a:pt x="473" y="360"/>
                  </a:lnTo>
                  <a:lnTo>
                    <a:pt x="474" y="361"/>
                  </a:lnTo>
                  <a:lnTo>
                    <a:pt x="473" y="364"/>
                  </a:lnTo>
                  <a:lnTo>
                    <a:pt x="471" y="363"/>
                  </a:lnTo>
                  <a:lnTo>
                    <a:pt x="470" y="361"/>
                  </a:lnTo>
                  <a:lnTo>
                    <a:pt x="468" y="361"/>
                  </a:lnTo>
                  <a:lnTo>
                    <a:pt x="468" y="363"/>
                  </a:lnTo>
                  <a:lnTo>
                    <a:pt x="470" y="364"/>
                  </a:lnTo>
                  <a:lnTo>
                    <a:pt x="471" y="364"/>
                  </a:lnTo>
                  <a:lnTo>
                    <a:pt x="473" y="366"/>
                  </a:lnTo>
                  <a:lnTo>
                    <a:pt x="474" y="366"/>
                  </a:lnTo>
                  <a:lnTo>
                    <a:pt x="476" y="368"/>
                  </a:lnTo>
                  <a:lnTo>
                    <a:pt x="476" y="370"/>
                  </a:lnTo>
                  <a:lnTo>
                    <a:pt x="474" y="370"/>
                  </a:lnTo>
                  <a:lnTo>
                    <a:pt x="473" y="372"/>
                  </a:lnTo>
                  <a:lnTo>
                    <a:pt x="473" y="369"/>
                  </a:lnTo>
                  <a:lnTo>
                    <a:pt x="471" y="367"/>
                  </a:lnTo>
                  <a:lnTo>
                    <a:pt x="470" y="368"/>
                  </a:lnTo>
                  <a:lnTo>
                    <a:pt x="471" y="369"/>
                  </a:lnTo>
                  <a:lnTo>
                    <a:pt x="471" y="370"/>
                  </a:lnTo>
                  <a:lnTo>
                    <a:pt x="470" y="372"/>
                  </a:lnTo>
                  <a:lnTo>
                    <a:pt x="471" y="372"/>
                  </a:lnTo>
                  <a:lnTo>
                    <a:pt x="471" y="375"/>
                  </a:lnTo>
                  <a:lnTo>
                    <a:pt x="467" y="375"/>
                  </a:lnTo>
                  <a:lnTo>
                    <a:pt x="471" y="376"/>
                  </a:lnTo>
                  <a:lnTo>
                    <a:pt x="472" y="376"/>
                  </a:lnTo>
                  <a:lnTo>
                    <a:pt x="473" y="374"/>
                  </a:lnTo>
                  <a:lnTo>
                    <a:pt x="472" y="374"/>
                  </a:lnTo>
                  <a:lnTo>
                    <a:pt x="471" y="372"/>
                  </a:lnTo>
                  <a:lnTo>
                    <a:pt x="472" y="370"/>
                  </a:lnTo>
                  <a:lnTo>
                    <a:pt x="473" y="372"/>
                  </a:lnTo>
                  <a:lnTo>
                    <a:pt x="473" y="373"/>
                  </a:lnTo>
                  <a:lnTo>
                    <a:pt x="476" y="374"/>
                  </a:lnTo>
                  <a:lnTo>
                    <a:pt x="476" y="375"/>
                  </a:lnTo>
                  <a:lnTo>
                    <a:pt x="473" y="376"/>
                  </a:lnTo>
                  <a:lnTo>
                    <a:pt x="473" y="379"/>
                  </a:lnTo>
                  <a:lnTo>
                    <a:pt x="474" y="379"/>
                  </a:lnTo>
                  <a:lnTo>
                    <a:pt x="477" y="380"/>
                  </a:lnTo>
                  <a:lnTo>
                    <a:pt x="477" y="384"/>
                  </a:lnTo>
                  <a:lnTo>
                    <a:pt x="474" y="381"/>
                  </a:lnTo>
                  <a:lnTo>
                    <a:pt x="473" y="381"/>
                  </a:lnTo>
                  <a:lnTo>
                    <a:pt x="471" y="379"/>
                  </a:lnTo>
                  <a:lnTo>
                    <a:pt x="470" y="380"/>
                  </a:lnTo>
                  <a:lnTo>
                    <a:pt x="470" y="381"/>
                  </a:lnTo>
                  <a:lnTo>
                    <a:pt x="468" y="381"/>
                  </a:lnTo>
                  <a:lnTo>
                    <a:pt x="465" y="378"/>
                  </a:lnTo>
                  <a:lnTo>
                    <a:pt x="461" y="376"/>
                  </a:lnTo>
                  <a:lnTo>
                    <a:pt x="460" y="374"/>
                  </a:lnTo>
                  <a:lnTo>
                    <a:pt x="459" y="374"/>
                  </a:lnTo>
                  <a:lnTo>
                    <a:pt x="456" y="372"/>
                  </a:lnTo>
                  <a:lnTo>
                    <a:pt x="454" y="370"/>
                  </a:lnTo>
                  <a:lnTo>
                    <a:pt x="453" y="369"/>
                  </a:lnTo>
                  <a:lnTo>
                    <a:pt x="452" y="367"/>
                  </a:lnTo>
                  <a:lnTo>
                    <a:pt x="449" y="366"/>
                  </a:lnTo>
                  <a:lnTo>
                    <a:pt x="449" y="364"/>
                  </a:lnTo>
                  <a:lnTo>
                    <a:pt x="449" y="366"/>
                  </a:lnTo>
                  <a:lnTo>
                    <a:pt x="450" y="369"/>
                  </a:lnTo>
                  <a:lnTo>
                    <a:pt x="453" y="372"/>
                  </a:lnTo>
                  <a:lnTo>
                    <a:pt x="458" y="374"/>
                  </a:lnTo>
                  <a:lnTo>
                    <a:pt x="464" y="380"/>
                  </a:lnTo>
                  <a:lnTo>
                    <a:pt x="465" y="380"/>
                  </a:lnTo>
                  <a:lnTo>
                    <a:pt x="465" y="381"/>
                  </a:lnTo>
                  <a:lnTo>
                    <a:pt x="467" y="384"/>
                  </a:lnTo>
                  <a:lnTo>
                    <a:pt x="465" y="384"/>
                  </a:lnTo>
                  <a:lnTo>
                    <a:pt x="464" y="385"/>
                  </a:lnTo>
                  <a:lnTo>
                    <a:pt x="462" y="385"/>
                  </a:lnTo>
                  <a:lnTo>
                    <a:pt x="462" y="386"/>
                  </a:lnTo>
                  <a:lnTo>
                    <a:pt x="460" y="386"/>
                  </a:lnTo>
                  <a:lnTo>
                    <a:pt x="454" y="385"/>
                  </a:lnTo>
                  <a:lnTo>
                    <a:pt x="453" y="385"/>
                  </a:lnTo>
                  <a:lnTo>
                    <a:pt x="455" y="388"/>
                  </a:lnTo>
                  <a:lnTo>
                    <a:pt x="456" y="390"/>
                  </a:lnTo>
                  <a:lnTo>
                    <a:pt x="456" y="387"/>
                  </a:lnTo>
                  <a:lnTo>
                    <a:pt x="459" y="391"/>
                  </a:lnTo>
                  <a:lnTo>
                    <a:pt x="460" y="392"/>
                  </a:lnTo>
                  <a:lnTo>
                    <a:pt x="460" y="394"/>
                  </a:lnTo>
                  <a:lnTo>
                    <a:pt x="459" y="396"/>
                  </a:lnTo>
                  <a:lnTo>
                    <a:pt x="456" y="393"/>
                  </a:lnTo>
                  <a:lnTo>
                    <a:pt x="456" y="398"/>
                  </a:lnTo>
                  <a:lnTo>
                    <a:pt x="454" y="398"/>
                  </a:lnTo>
                  <a:lnTo>
                    <a:pt x="454" y="397"/>
                  </a:lnTo>
                  <a:lnTo>
                    <a:pt x="453" y="398"/>
                  </a:lnTo>
                  <a:lnTo>
                    <a:pt x="450" y="398"/>
                  </a:lnTo>
                  <a:lnTo>
                    <a:pt x="447" y="397"/>
                  </a:lnTo>
                  <a:lnTo>
                    <a:pt x="446" y="397"/>
                  </a:lnTo>
                  <a:lnTo>
                    <a:pt x="447" y="398"/>
                  </a:lnTo>
                  <a:lnTo>
                    <a:pt x="443" y="398"/>
                  </a:lnTo>
                  <a:lnTo>
                    <a:pt x="442" y="397"/>
                  </a:lnTo>
                  <a:lnTo>
                    <a:pt x="440" y="397"/>
                  </a:lnTo>
                  <a:lnTo>
                    <a:pt x="440" y="398"/>
                  </a:lnTo>
                  <a:lnTo>
                    <a:pt x="437" y="399"/>
                  </a:lnTo>
                  <a:lnTo>
                    <a:pt x="436" y="400"/>
                  </a:lnTo>
                  <a:lnTo>
                    <a:pt x="437" y="400"/>
                  </a:lnTo>
                  <a:lnTo>
                    <a:pt x="437" y="402"/>
                  </a:lnTo>
                  <a:lnTo>
                    <a:pt x="436" y="403"/>
                  </a:lnTo>
                  <a:lnTo>
                    <a:pt x="437" y="404"/>
                  </a:lnTo>
                  <a:lnTo>
                    <a:pt x="439" y="404"/>
                  </a:lnTo>
                  <a:lnTo>
                    <a:pt x="440" y="405"/>
                  </a:lnTo>
                  <a:lnTo>
                    <a:pt x="440" y="406"/>
                  </a:lnTo>
                  <a:lnTo>
                    <a:pt x="442" y="406"/>
                  </a:lnTo>
                  <a:lnTo>
                    <a:pt x="442" y="405"/>
                  </a:lnTo>
                  <a:lnTo>
                    <a:pt x="443" y="405"/>
                  </a:lnTo>
                  <a:lnTo>
                    <a:pt x="445" y="407"/>
                  </a:lnTo>
                  <a:lnTo>
                    <a:pt x="447" y="410"/>
                  </a:lnTo>
                  <a:lnTo>
                    <a:pt x="447" y="411"/>
                  </a:lnTo>
                  <a:lnTo>
                    <a:pt x="443" y="415"/>
                  </a:lnTo>
                  <a:lnTo>
                    <a:pt x="441" y="415"/>
                  </a:lnTo>
                  <a:lnTo>
                    <a:pt x="440" y="413"/>
                  </a:lnTo>
                  <a:lnTo>
                    <a:pt x="440" y="412"/>
                  </a:lnTo>
                  <a:lnTo>
                    <a:pt x="439" y="410"/>
                  </a:lnTo>
                  <a:lnTo>
                    <a:pt x="439" y="409"/>
                  </a:lnTo>
                  <a:lnTo>
                    <a:pt x="436" y="406"/>
                  </a:lnTo>
                  <a:lnTo>
                    <a:pt x="435" y="406"/>
                  </a:lnTo>
                  <a:lnTo>
                    <a:pt x="434" y="405"/>
                  </a:lnTo>
                  <a:lnTo>
                    <a:pt x="433" y="403"/>
                  </a:lnTo>
                  <a:lnTo>
                    <a:pt x="431" y="402"/>
                  </a:lnTo>
                  <a:lnTo>
                    <a:pt x="430" y="403"/>
                  </a:lnTo>
                  <a:lnTo>
                    <a:pt x="429" y="403"/>
                  </a:lnTo>
                  <a:lnTo>
                    <a:pt x="428" y="405"/>
                  </a:lnTo>
                  <a:lnTo>
                    <a:pt x="434" y="406"/>
                  </a:lnTo>
                  <a:lnTo>
                    <a:pt x="435" y="407"/>
                  </a:lnTo>
                  <a:lnTo>
                    <a:pt x="437" y="412"/>
                  </a:lnTo>
                  <a:lnTo>
                    <a:pt x="440" y="416"/>
                  </a:lnTo>
                  <a:lnTo>
                    <a:pt x="442" y="422"/>
                  </a:lnTo>
                  <a:lnTo>
                    <a:pt x="443" y="424"/>
                  </a:lnTo>
                  <a:lnTo>
                    <a:pt x="440" y="424"/>
                  </a:lnTo>
                  <a:lnTo>
                    <a:pt x="441" y="425"/>
                  </a:lnTo>
                  <a:lnTo>
                    <a:pt x="441" y="428"/>
                  </a:lnTo>
                  <a:lnTo>
                    <a:pt x="440" y="430"/>
                  </a:lnTo>
                  <a:lnTo>
                    <a:pt x="441" y="431"/>
                  </a:lnTo>
                  <a:lnTo>
                    <a:pt x="442" y="431"/>
                  </a:lnTo>
                  <a:lnTo>
                    <a:pt x="441" y="433"/>
                  </a:lnTo>
                  <a:lnTo>
                    <a:pt x="436" y="433"/>
                  </a:lnTo>
                  <a:lnTo>
                    <a:pt x="437" y="435"/>
                  </a:lnTo>
                  <a:lnTo>
                    <a:pt x="437" y="436"/>
                  </a:lnTo>
                  <a:lnTo>
                    <a:pt x="439" y="436"/>
                  </a:lnTo>
                  <a:lnTo>
                    <a:pt x="437" y="437"/>
                  </a:lnTo>
                  <a:lnTo>
                    <a:pt x="435" y="437"/>
                  </a:lnTo>
                  <a:lnTo>
                    <a:pt x="435" y="439"/>
                  </a:lnTo>
                  <a:lnTo>
                    <a:pt x="434" y="439"/>
                  </a:lnTo>
                  <a:lnTo>
                    <a:pt x="433" y="440"/>
                  </a:lnTo>
                  <a:lnTo>
                    <a:pt x="433" y="441"/>
                  </a:lnTo>
                  <a:lnTo>
                    <a:pt x="434" y="442"/>
                  </a:lnTo>
                  <a:lnTo>
                    <a:pt x="433" y="442"/>
                  </a:lnTo>
                  <a:lnTo>
                    <a:pt x="428" y="443"/>
                  </a:lnTo>
                  <a:lnTo>
                    <a:pt x="427" y="443"/>
                  </a:lnTo>
                  <a:lnTo>
                    <a:pt x="427" y="445"/>
                  </a:lnTo>
                  <a:lnTo>
                    <a:pt x="428" y="445"/>
                  </a:lnTo>
                  <a:lnTo>
                    <a:pt x="428" y="446"/>
                  </a:lnTo>
                  <a:lnTo>
                    <a:pt x="427" y="447"/>
                  </a:lnTo>
                  <a:lnTo>
                    <a:pt x="427" y="448"/>
                  </a:lnTo>
                  <a:lnTo>
                    <a:pt x="425" y="448"/>
                  </a:lnTo>
                  <a:lnTo>
                    <a:pt x="425" y="453"/>
                  </a:lnTo>
                  <a:lnTo>
                    <a:pt x="424" y="453"/>
                  </a:lnTo>
                  <a:lnTo>
                    <a:pt x="424" y="455"/>
                  </a:lnTo>
                  <a:lnTo>
                    <a:pt x="422" y="456"/>
                  </a:lnTo>
                  <a:lnTo>
                    <a:pt x="421" y="455"/>
                  </a:lnTo>
                  <a:lnTo>
                    <a:pt x="421" y="453"/>
                  </a:lnTo>
                  <a:lnTo>
                    <a:pt x="420" y="453"/>
                  </a:lnTo>
                  <a:lnTo>
                    <a:pt x="418" y="454"/>
                  </a:lnTo>
                  <a:lnTo>
                    <a:pt x="418" y="456"/>
                  </a:lnTo>
                  <a:lnTo>
                    <a:pt x="420" y="456"/>
                  </a:lnTo>
                  <a:lnTo>
                    <a:pt x="421" y="458"/>
                  </a:lnTo>
                  <a:lnTo>
                    <a:pt x="421" y="460"/>
                  </a:lnTo>
                  <a:lnTo>
                    <a:pt x="427" y="460"/>
                  </a:lnTo>
                  <a:lnTo>
                    <a:pt x="429" y="461"/>
                  </a:lnTo>
                  <a:lnTo>
                    <a:pt x="430" y="461"/>
                  </a:lnTo>
                  <a:lnTo>
                    <a:pt x="430" y="462"/>
                  </a:lnTo>
                  <a:lnTo>
                    <a:pt x="429" y="464"/>
                  </a:lnTo>
                  <a:lnTo>
                    <a:pt x="427" y="464"/>
                  </a:lnTo>
                  <a:lnTo>
                    <a:pt x="428" y="465"/>
                  </a:lnTo>
                  <a:lnTo>
                    <a:pt x="428" y="466"/>
                  </a:lnTo>
                  <a:lnTo>
                    <a:pt x="430" y="468"/>
                  </a:lnTo>
                  <a:lnTo>
                    <a:pt x="430" y="470"/>
                  </a:lnTo>
                  <a:lnTo>
                    <a:pt x="429" y="470"/>
                  </a:lnTo>
                  <a:lnTo>
                    <a:pt x="429" y="471"/>
                  </a:lnTo>
                  <a:lnTo>
                    <a:pt x="427" y="468"/>
                  </a:lnTo>
                  <a:lnTo>
                    <a:pt x="425" y="468"/>
                  </a:lnTo>
                  <a:lnTo>
                    <a:pt x="424" y="467"/>
                  </a:lnTo>
                  <a:lnTo>
                    <a:pt x="424" y="466"/>
                  </a:lnTo>
                  <a:lnTo>
                    <a:pt x="423" y="465"/>
                  </a:lnTo>
                  <a:lnTo>
                    <a:pt x="422" y="465"/>
                  </a:lnTo>
                  <a:lnTo>
                    <a:pt x="422" y="470"/>
                  </a:lnTo>
                  <a:lnTo>
                    <a:pt x="424" y="472"/>
                  </a:lnTo>
                  <a:lnTo>
                    <a:pt x="427" y="472"/>
                  </a:lnTo>
                  <a:lnTo>
                    <a:pt x="428" y="474"/>
                  </a:lnTo>
                  <a:lnTo>
                    <a:pt x="427" y="474"/>
                  </a:lnTo>
                  <a:lnTo>
                    <a:pt x="428" y="476"/>
                  </a:lnTo>
                  <a:lnTo>
                    <a:pt x="428" y="477"/>
                  </a:lnTo>
                  <a:lnTo>
                    <a:pt x="430" y="477"/>
                  </a:lnTo>
                  <a:lnTo>
                    <a:pt x="430" y="479"/>
                  </a:lnTo>
                  <a:lnTo>
                    <a:pt x="431" y="479"/>
                  </a:lnTo>
                  <a:lnTo>
                    <a:pt x="431" y="482"/>
                  </a:lnTo>
                  <a:lnTo>
                    <a:pt x="433" y="480"/>
                  </a:lnTo>
                  <a:lnTo>
                    <a:pt x="433" y="477"/>
                  </a:lnTo>
                  <a:lnTo>
                    <a:pt x="435" y="479"/>
                  </a:lnTo>
                  <a:lnTo>
                    <a:pt x="435" y="482"/>
                  </a:lnTo>
                  <a:lnTo>
                    <a:pt x="436" y="482"/>
                  </a:lnTo>
                  <a:lnTo>
                    <a:pt x="436" y="479"/>
                  </a:lnTo>
                  <a:lnTo>
                    <a:pt x="437" y="479"/>
                  </a:lnTo>
                  <a:lnTo>
                    <a:pt x="437" y="483"/>
                  </a:lnTo>
                  <a:lnTo>
                    <a:pt x="440" y="485"/>
                  </a:lnTo>
                  <a:lnTo>
                    <a:pt x="439" y="486"/>
                  </a:lnTo>
                  <a:lnTo>
                    <a:pt x="437" y="485"/>
                  </a:lnTo>
                  <a:lnTo>
                    <a:pt x="437" y="484"/>
                  </a:lnTo>
                  <a:lnTo>
                    <a:pt x="436" y="483"/>
                  </a:lnTo>
                  <a:lnTo>
                    <a:pt x="435" y="485"/>
                  </a:lnTo>
                  <a:lnTo>
                    <a:pt x="434" y="486"/>
                  </a:lnTo>
                  <a:lnTo>
                    <a:pt x="433" y="485"/>
                  </a:lnTo>
                  <a:lnTo>
                    <a:pt x="433" y="484"/>
                  </a:lnTo>
                  <a:lnTo>
                    <a:pt x="431" y="484"/>
                  </a:lnTo>
                  <a:lnTo>
                    <a:pt x="431" y="485"/>
                  </a:lnTo>
                  <a:lnTo>
                    <a:pt x="433" y="485"/>
                  </a:lnTo>
                  <a:lnTo>
                    <a:pt x="434" y="487"/>
                  </a:lnTo>
                  <a:lnTo>
                    <a:pt x="434" y="486"/>
                  </a:lnTo>
                  <a:lnTo>
                    <a:pt x="437" y="486"/>
                  </a:lnTo>
                  <a:lnTo>
                    <a:pt x="437" y="492"/>
                  </a:lnTo>
                  <a:lnTo>
                    <a:pt x="439" y="492"/>
                  </a:lnTo>
                  <a:lnTo>
                    <a:pt x="440" y="491"/>
                  </a:lnTo>
                  <a:lnTo>
                    <a:pt x="441" y="491"/>
                  </a:lnTo>
                  <a:lnTo>
                    <a:pt x="441" y="490"/>
                  </a:lnTo>
                  <a:lnTo>
                    <a:pt x="442" y="490"/>
                  </a:lnTo>
                  <a:lnTo>
                    <a:pt x="442" y="493"/>
                  </a:lnTo>
                  <a:lnTo>
                    <a:pt x="441" y="493"/>
                  </a:lnTo>
                  <a:lnTo>
                    <a:pt x="441" y="495"/>
                  </a:lnTo>
                  <a:lnTo>
                    <a:pt x="440" y="495"/>
                  </a:lnTo>
                  <a:lnTo>
                    <a:pt x="439" y="496"/>
                  </a:lnTo>
                  <a:lnTo>
                    <a:pt x="436" y="501"/>
                  </a:lnTo>
                  <a:lnTo>
                    <a:pt x="433" y="504"/>
                  </a:lnTo>
                  <a:lnTo>
                    <a:pt x="431" y="503"/>
                  </a:lnTo>
                  <a:lnTo>
                    <a:pt x="431" y="502"/>
                  </a:lnTo>
                  <a:lnTo>
                    <a:pt x="430" y="502"/>
                  </a:lnTo>
                  <a:lnTo>
                    <a:pt x="430" y="505"/>
                  </a:lnTo>
                  <a:lnTo>
                    <a:pt x="431" y="505"/>
                  </a:lnTo>
                  <a:lnTo>
                    <a:pt x="431" y="507"/>
                  </a:lnTo>
                  <a:lnTo>
                    <a:pt x="430" y="507"/>
                  </a:lnTo>
                  <a:lnTo>
                    <a:pt x="429" y="508"/>
                  </a:lnTo>
                  <a:lnTo>
                    <a:pt x="428" y="508"/>
                  </a:lnTo>
                  <a:lnTo>
                    <a:pt x="428" y="507"/>
                  </a:lnTo>
                  <a:lnTo>
                    <a:pt x="427" y="507"/>
                  </a:lnTo>
                  <a:lnTo>
                    <a:pt x="422" y="515"/>
                  </a:lnTo>
                  <a:lnTo>
                    <a:pt x="420" y="515"/>
                  </a:lnTo>
                  <a:lnTo>
                    <a:pt x="418" y="519"/>
                  </a:lnTo>
                  <a:lnTo>
                    <a:pt x="416" y="522"/>
                  </a:lnTo>
                  <a:lnTo>
                    <a:pt x="415" y="525"/>
                  </a:lnTo>
                  <a:lnTo>
                    <a:pt x="415" y="527"/>
                  </a:lnTo>
                  <a:lnTo>
                    <a:pt x="414" y="530"/>
                  </a:lnTo>
                  <a:lnTo>
                    <a:pt x="414" y="534"/>
                  </a:lnTo>
                  <a:lnTo>
                    <a:pt x="412" y="535"/>
                  </a:lnTo>
                  <a:lnTo>
                    <a:pt x="412" y="539"/>
                  </a:lnTo>
                  <a:lnTo>
                    <a:pt x="411" y="539"/>
                  </a:lnTo>
                  <a:lnTo>
                    <a:pt x="411" y="540"/>
                  </a:lnTo>
                  <a:lnTo>
                    <a:pt x="410" y="540"/>
                  </a:lnTo>
                  <a:lnTo>
                    <a:pt x="410" y="542"/>
                  </a:lnTo>
                  <a:lnTo>
                    <a:pt x="409" y="545"/>
                  </a:lnTo>
                  <a:lnTo>
                    <a:pt x="408" y="548"/>
                  </a:lnTo>
                  <a:lnTo>
                    <a:pt x="408" y="550"/>
                  </a:lnTo>
                  <a:lnTo>
                    <a:pt x="405" y="551"/>
                  </a:lnTo>
                  <a:lnTo>
                    <a:pt x="404" y="551"/>
                  </a:lnTo>
                  <a:lnTo>
                    <a:pt x="403" y="552"/>
                  </a:lnTo>
                  <a:lnTo>
                    <a:pt x="403" y="553"/>
                  </a:lnTo>
                  <a:lnTo>
                    <a:pt x="405" y="553"/>
                  </a:lnTo>
                  <a:lnTo>
                    <a:pt x="404" y="556"/>
                  </a:lnTo>
                  <a:lnTo>
                    <a:pt x="403" y="557"/>
                  </a:lnTo>
                  <a:lnTo>
                    <a:pt x="402" y="554"/>
                  </a:lnTo>
                  <a:lnTo>
                    <a:pt x="402" y="553"/>
                  </a:lnTo>
                  <a:lnTo>
                    <a:pt x="400" y="553"/>
                  </a:lnTo>
                  <a:lnTo>
                    <a:pt x="398" y="556"/>
                  </a:lnTo>
                  <a:lnTo>
                    <a:pt x="396" y="553"/>
                  </a:lnTo>
                  <a:lnTo>
                    <a:pt x="394" y="558"/>
                  </a:lnTo>
                  <a:lnTo>
                    <a:pt x="393" y="559"/>
                  </a:lnTo>
                  <a:lnTo>
                    <a:pt x="392" y="559"/>
                  </a:lnTo>
                  <a:lnTo>
                    <a:pt x="392" y="566"/>
                  </a:lnTo>
                  <a:lnTo>
                    <a:pt x="391" y="568"/>
                  </a:lnTo>
                  <a:lnTo>
                    <a:pt x="390" y="568"/>
                  </a:lnTo>
                  <a:lnTo>
                    <a:pt x="390" y="562"/>
                  </a:lnTo>
                  <a:lnTo>
                    <a:pt x="389" y="560"/>
                  </a:lnTo>
                  <a:lnTo>
                    <a:pt x="389" y="568"/>
                  </a:lnTo>
                  <a:lnTo>
                    <a:pt x="387" y="570"/>
                  </a:lnTo>
                  <a:lnTo>
                    <a:pt x="386" y="569"/>
                  </a:lnTo>
                  <a:lnTo>
                    <a:pt x="386" y="565"/>
                  </a:lnTo>
                  <a:lnTo>
                    <a:pt x="387" y="563"/>
                  </a:lnTo>
                  <a:lnTo>
                    <a:pt x="385" y="565"/>
                  </a:lnTo>
                  <a:lnTo>
                    <a:pt x="385" y="570"/>
                  </a:lnTo>
                  <a:lnTo>
                    <a:pt x="381" y="570"/>
                  </a:lnTo>
                  <a:lnTo>
                    <a:pt x="380" y="571"/>
                  </a:lnTo>
                  <a:lnTo>
                    <a:pt x="379" y="570"/>
                  </a:lnTo>
                  <a:lnTo>
                    <a:pt x="379" y="569"/>
                  </a:lnTo>
                  <a:lnTo>
                    <a:pt x="377" y="569"/>
                  </a:lnTo>
                  <a:lnTo>
                    <a:pt x="377" y="570"/>
                  </a:lnTo>
                  <a:lnTo>
                    <a:pt x="375" y="570"/>
                  </a:lnTo>
                  <a:lnTo>
                    <a:pt x="375" y="572"/>
                  </a:lnTo>
                  <a:lnTo>
                    <a:pt x="377" y="575"/>
                  </a:lnTo>
                  <a:lnTo>
                    <a:pt x="373" y="573"/>
                  </a:lnTo>
                  <a:lnTo>
                    <a:pt x="372" y="573"/>
                  </a:lnTo>
                  <a:lnTo>
                    <a:pt x="369" y="575"/>
                  </a:lnTo>
                  <a:lnTo>
                    <a:pt x="369" y="577"/>
                  </a:lnTo>
                  <a:lnTo>
                    <a:pt x="365" y="582"/>
                  </a:lnTo>
                  <a:lnTo>
                    <a:pt x="365" y="588"/>
                  </a:lnTo>
                  <a:lnTo>
                    <a:pt x="363" y="588"/>
                  </a:lnTo>
                  <a:lnTo>
                    <a:pt x="363" y="589"/>
                  </a:lnTo>
                  <a:lnTo>
                    <a:pt x="362" y="590"/>
                  </a:lnTo>
                  <a:lnTo>
                    <a:pt x="361" y="590"/>
                  </a:lnTo>
                  <a:lnTo>
                    <a:pt x="360" y="589"/>
                  </a:lnTo>
                  <a:lnTo>
                    <a:pt x="360" y="587"/>
                  </a:lnTo>
                  <a:lnTo>
                    <a:pt x="359" y="585"/>
                  </a:lnTo>
                  <a:lnTo>
                    <a:pt x="359" y="584"/>
                  </a:lnTo>
                  <a:lnTo>
                    <a:pt x="358" y="584"/>
                  </a:lnTo>
                  <a:lnTo>
                    <a:pt x="358" y="582"/>
                  </a:lnTo>
                  <a:lnTo>
                    <a:pt x="355" y="582"/>
                  </a:lnTo>
                  <a:lnTo>
                    <a:pt x="353" y="579"/>
                  </a:lnTo>
                  <a:lnTo>
                    <a:pt x="353" y="578"/>
                  </a:lnTo>
                  <a:lnTo>
                    <a:pt x="352" y="578"/>
                  </a:lnTo>
                  <a:lnTo>
                    <a:pt x="350" y="579"/>
                  </a:lnTo>
                  <a:lnTo>
                    <a:pt x="350" y="581"/>
                  </a:lnTo>
                  <a:lnTo>
                    <a:pt x="353" y="581"/>
                  </a:lnTo>
                  <a:lnTo>
                    <a:pt x="352" y="583"/>
                  </a:lnTo>
                  <a:lnTo>
                    <a:pt x="353" y="584"/>
                  </a:lnTo>
                  <a:lnTo>
                    <a:pt x="354" y="584"/>
                  </a:lnTo>
                  <a:lnTo>
                    <a:pt x="355" y="585"/>
                  </a:lnTo>
                  <a:lnTo>
                    <a:pt x="354" y="587"/>
                  </a:lnTo>
                  <a:lnTo>
                    <a:pt x="352" y="587"/>
                  </a:lnTo>
                  <a:lnTo>
                    <a:pt x="353" y="588"/>
                  </a:lnTo>
                  <a:lnTo>
                    <a:pt x="354" y="590"/>
                  </a:lnTo>
                  <a:lnTo>
                    <a:pt x="354" y="593"/>
                  </a:lnTo>
                  <a:lnTo>
                    <a:pt x="353" y="593"/>
                  </a:lnTo>
                  <a:lnTo>
                    <a:pt x="352" y="590"/>
                  </a:lnTo>
                  <a:lnTo>
                    <a:pt x="347" y="585"/>
                  </a:lnTo>
                  <a:lnTo>
                    <a:pt x="347" y="587"/>
                  </a:lnTo>
                  <a:lnTo>
                    <a:pt x="348" y="589"/>
                  </a:lnTo>
                  <a:lnTo>
                    <a:pt x="347" y="590"/>
                  </a:lnTo>
                  <a:lnTo>
                    <a:pt x="347" y="589"/>
                  </a:lnTo>
                  <a:lnTo>
                    <a:pt x="346" y="588"/>
                  </a:lnTo>
                  <a:lnTo>
                    <a:pt x="344" y="588"/>
                  </a:lnTo>
                  <a:lnTo>
                    <a:pt x="344" y="599"/>
                  </a:lnTo>
                  <a:lnTo>
                    <a:pt x="343" y="601"/>
                  </a:lnTo>
                  <a:lnTo>
                    <a:pt x="342" y="601"/>
                  </a:lnTo>
                  <a:lnTo>
                    <a:pt x="342" y="599"/>
                  </a:lnTo>
                  <a:lnTo>
                    <a:pt x="341" y="601"/>
                  </a:lnTo>
                  <a:lnTo>
                    <a:pt x="340" y="601"/>
                  </a:lnTo>
                  <a:lnTo>
                    <a:pt x="338" y="602"/>
                  </a:lnTo>
                  <a:lnTo>
                    <a:pt x="338" y="605"/>
                  </a:lnTo>
                  <a:lnTo>
                    <a:pt x="337" y="607"/>
                  </a:lnTo>
                  <a:lnTo>
                    <a:pt x="337" y="608"/>
                  </a:lnTo>
                  <a:lnTo>
                    <a:pt x="338" y="608"/>
                  </a:lnTo>
                  <a:lnTo>
                    <a:pt x="337" y="609"/>
                  </a:lnTo>
                  <a:lnTo>
                    <a:pt x="336" y="609"/>
                  </a:lnTo>
                  <a:lnTo>
                    <a:pt x="335" y="607"/>
                  </a:lnTo>
                  <a:lnTo>
                    <a:pt x="334" y="609"/>
                  </a:lnTo>
                  <a:lnTo>
                    <a:pt x="335" y="611"/>
                  </a:lnTo>
                  <a:lnTo>
                    <a:pt x="337" y="611"/>
                  </a:lnTo>
                  <a:lnTo>
                    <a:pt x="337" y="612"/>
                  </a:lnTo>
                  <a:lnTo>
                    <a:pt x="336" y="612"/>
                  </a:lnTo>
                  <a:lnTo>
                    <a:pt x="335" y="613"/>
                  </a:lnTo>
                  <a:lnTo>
                    <a:pt x="335" y="614"/>
                  </a:lnTo>
                  <a:lnTo>
                    <a:pt x="334" y="614"/>
                  </a:lnTo>
                  <a:lnTo>
                    <a:pt x="333" y="613"/>
                  </a:lnTo>
                  <a:lnTo>
                    <a:pt x="333" y="612"/>
                  </a:lnTo>
                  <a:lnTo>
                    <a:pt x="331" y="611"/>
                  </a:lnTo>
                  <a:lnTo>
                    <a:pt x="331" y="609"/>
                  </a:lnTo>
                  <a:lnTo>
                    <a:pt x="329" y="607"/>
                  </a:lnTo>
                  <a:lnTo>
                    <a:pt x="329" y="606"/>
                  </a:lnTo>
                  <a:lnTo>
                    <a:pt x="328" y="606"/>
                  </a:lnTo>
                  <a:lnTo>
                    <a:pt x="328" y="608"/>
                  </a:lnTo>
                  <a:lnTo>
                    <a:pt x="327" y="608"/>
                  </a:lnTo>
                  <a:lnTo>
                    <a:pt x="324" y="607"/>
                  </a:lnTo>
                  <a:lnTo>
                    <a:pt x="322" y="607"/>
                  </a:lnTo>
                  <a:lnTo>
                    <a:pt x="322" y="608"/>
                  </a:lnTo>
                  <a:lnTo>
                    <a:pt x="329" y="612"/>
                  </a:lnTo>
                  <a:lnTo>
                    <a:pt x="328" y="613"/>
                  </a:lnTo>
                  <a:lnTo>
                    <a:pt x="324" y="613"/>
                  </a:lnTo>
                  <a:lnTo>
                    <a:pt x="324" y="615"/>
                  </a:lnTo>
                  <a:lnTo>
                    <a:pt x="323" y="615"/>
                  </a:lnTo>
                  <a:lnTo>
                    <a:pt x="323" y="614"/>
                  </a:lnTo>
                  <a:lnTo>
                    <a:pt x="322" y="613"/>
                  </a:lnTo>
                  <a:lnTo>
                    <a:pt x="322" y="612"/>
                  </a:lnTo>
                  <a:lnTo>
                    <a:pt x="325" y="612"/>
                  </a:lnTo>
                  <a:lnTo>
                    <a:pt x="325" y="611"/>
                  </a:lnTo>
                  <a:lnTo>
                    <a:pt x="321" y="609"/>
                  </a:lnTo>
                  <a:lnTo>
                    <a:pt x="319" y="611"/>
                  </a:lnTo>
                  <a:lnTo>
                    <a:pt x="321" y="611"/>
                  </a:lnTo>
                  <a:lnTo>
                    <a:pt x="321" y="613"/>
                  </a:lnTo>
                  <a:lnTo>
                    <a:pt x="322" y="615"/>
                  </a:lnTo>
                  <a:lnTo>
                    <a:pt x="322" y="616"/>
                  </a:lnTo>
                  <a:lnTo>
                    <a:pt x="316" y="614"/>
                  </a:lnTo>
                  <a:lnTo>
                    <a:pt x="315" y="614"/>
                  </a:lnTo>
                  <a:lnTo>
                    <a:pt x="315" y="615"/>
                  </a:lnTo>
                  <a:lnTo>
                    <a:pt x="316" y="615"/>
                  </a:lnTo>
                  <a:lnTo>
                    <a:pt x="317" y="616"/>
                  </a:lnTo>
                  <a:lnTo>
                    <a:pt x="317" y="618"/>
                  </a:lnTo>
                  <a:lnTo>
                    <a:pt x="318" y="619"/>
                  </a:lnTo>
                  <a:lnTo>
                    <a:pt x="318" y="620"/>
                  </a:lnTo>
                  <a:lnTo>
                    <a:pt x="317" y="621"/>
                  </a:lnTo>
                  <a:lnTo>
                    <a:pt x="317" y="620"/>
                  </a:lnTo>
                  <a:lnTo>
                    <a:pt x="313" y="620"/>
                  </a:lnTo>
                  <a:lnTo>
                    <a:pt x="313" y="624"/>
                  </a:lnTo>
                  <a:lnTo>
                    <a:pt x="312" y="626"/>
                  </a:lnTo>
                  <a:lnTo>
                    <a:pt x="311" y="626"/>
                  </a:lnTo>
                  <a:lnTo>
                    <a:pt x="311" y="630"/>
                  </a:lnTo>
                  <a:lnTo>
                    <a:pt x="307" y="626"/>
                  </a:lnTo>
                  <a:lnTo>
                    <a:pt x="306" y="626"/>
                  </a:lnTo>
                  <a:lnTo>
                    <a:pt x="306" y="627"/>
                  </a:lnTo>
                  <a:lnTo>
                    <a:pt x="307" y="628"/>
                  </a:lnTo>
                  <a:lnTo>
                    <a:pt x="309" y="628"/>
                  </a:lnTo>
                  <a:lnTo>
                    <a:pt x="309" y="630"/>
                  </a:lnTo>
                  <a:lnTo>
                    <a:pt x="306" y="630"/>
                  </a:lnTo>
                  <a:lnTo>
                    <a:pt x="305" y="628"/>
                  </a:lnTo>
                  <a:lnTo>
                    <a:pt x="303" y="631"/>
                  </a:lnTo>
                  <a:lnTo>
                    <a:pt x="300" y="631"/>
                  </a:lnTo>
                  <a:lnTo>
                    <a:pt x="302" y="632"/>
                  </a:lnTo>
                  <a:lnTo>
                    <a:pt x="313" y="632"/>
                  </a:lnTo>
                  <a:lnTo>
                    <a:pt x="315" y="633"/>
                  </a:lnTo>
                  <a:lnTo>
                    <a:pt x="315" y="636"/>
                  </a:lnTo>
                  <a:lnTo>
                    <a:pt x="313" y="636"/>
                  </a:lnTo>
                  <a:lnTo>
                    <a:pt x="313" y="633"/>
                  </a:lnTo>
                  <a:lnTo>
                    <a:pt x="312" y="636"/>
                  </a:lnTo>
                  <a:lnTo>
                    <a:pt x="311" y="636"/>
                  </a:lnTo>
                  <a:lnTo>
                    <a:pt x="307" y="634"/>
                  </a:lnTo>
                  <a:lnTo>
                    <a:pt x="307" y="637"/>
                  </a:lnTo>
                  <a:lnTo>
                    <a:pt x="309" y="638"/>
                  </a:lnTo>
                  <a:lnTo>
                    <a:pt x="312" y="638"/>
                  </a:lnTo>
                  <a:lnTo>
                    <a:pt x="312" y="640"/>
                  </a:lnTo>
                  <a:lnTo>
                    <a:pt x="310" y="640"/>
                  </a:lnTo>
                  <a:lnTo>
                    <a:pt x="307" y="639"/>
                  </a:lnTo>
                  <a:lnTo>
                    <a:pt x="307" y="640"/>
                  </a:lnTo>
                  <a:lnTo>
                    <a:pt x="310" y="642"/>
                  </a:lnTo>
                  <a:lnTo>
                    <a:pt x="310" y="644"/>
                  </a:lnTo>
                  <a:lnTo>
                    <a:pt x="309" y="645"/>
                  </a:lnTo>
                  <a:lnTo>
                    <a:pt x="307" y="645"/>
                  </a:lnTo>
                  <a:lnTo>
                    <a:pt x="307" y="646"/>
                  </a:lnTo>
                  <a:lnTo>
                    <a:pt x="304" y="646"/>
                  </a:lnTo>
                  <a:lnTo>
                    <a:pt x="304" y="645"/>
                  </a:lnTo>
                  <a:lnTo>
                    <a:pt x="303" y="643"/>
                  </a:lnTo>
                  <a:lnTo>
                    <a:pt x="302" y="642"/>
                  </a:lnTo>
                  <a:lnTo>
                    <a:pt x="300" y="642"/>
                  </a:lnTo>
                  <a:lnTo>
                    <a:pt x="302" y="643"/>
                  </a:lnTo>
                  <a:lnTo>
                    <a:pt x="299" y="643"/>
                  </a:lnTo>
                  <a:lnTo>
                    <a:pt x="299" y="646"/>
                  </a:lnTo>
                  <a:lnTo>
                    <a:pt x="300" y="648"/>
                  </a:lnTo>
                  <a:lnTo>
                    <a:pt x="302" y="645"/>
                  </a:lnTo>
                  <a:lnTo>
                    <a:pt x="303" y="646"/>
                  </a:lnTo>
                  <a:lnTo>
                    <a:pt x="302" y="649"/>
                  </a:lnTo>
                  <a:lnTo>
                    <a:pt x="299" y="651"/>
                  </a:lnTo>
                  <a:lnTo>
                    <a:pt x="299" y="652"/>
                  </a:lnTo>
                  <a:lnTo>
                    <a:pt x="298" y="651"/>
                  </a:lnTo>
                  <a:lnTo>
                    <a:pt x="298" y="650"/>
                  </a:lnTo>
                  <a:lnTo>
                    <a:pt x="299" y="649"/>
                  </a:lnTo>
                  <a:lnTo>
                    <a:pt x="298" y="649"/>
                  </a:lnTo>
                  <a:lnTo>
                    <a:pt x="298" y="650"/>
                  </a:lnTo>
                  <a:lnTo>
                    <a:pt x="297" y="651"/>
                  </a:lnTo>
                  <a:lnTo>
                    <a:pt x="297" y="652"/>
                  </a:lnTo>
                  <a:lnTo>
                    <a:pt x="293" y="652"/>
                  </a:lnTo>
                  <a:lnTo>
                    <a:pt x="294" y="651"/>
                  </a:lnTo>
                  <a:lnTo>
                    <a:pt x="293" y="650"/>
                  </a:lnTo>
                  <a:lnTo>
                    <a:pt x="291" y="650"/>
                  </a:lnTo>
                  <a:lnTo>
                    <a:pt x="292" y="649"/>
                  </a:lnTo>
                  <a:lnTo>
                    <a:pt x="296" y="649"/>
                  </a:lnTo>
                  <a:lnTo>
                    <a:pt x="297" y="648"/>
                  </a:lnTo>
                  <a:lnTo>
                    <a:pt x="294" y="646"/>
                  </a:lnTo>
                  <a:lnTo>
                    <a:pt x="293" y="645"/>
                  </a:lnTo>
                  <a:lnTo>
                    <a:pt x="291" y="646"/>
                  </a:lnTo>
                  <a:lnTo>
                    <a:pt x="290" y="648"/>
                  </a:lnTo>
                  <a:lnTo>
                    <a:pt x="290" y="649"/>
                  </a:lnTo>
                  <a:lnTo>
                    <a:pt x="287" y="649"/>
                  </a:lnTo>
                  <a:lnTo>
                    <a:pt x="287" y="639"/>
                  </a:lnTo>
                  <a:lnTo>
                    <a:pt x="285" y="639"/>
                  </a:lnTo>
                  <a:lnTo>
                    <a:pt x="284" y="636"/>
                  </a:lnTo>
                  <a:lnTo>
                    <a:pt x="284" y="634"/>
                  </a:lnTo>
                  <a:lnTo>
                    <a:pt x="282" y="633"/>
                  </a:lnTo>
                  <a:lnTo>
                    <a:pt x="284" y="631"/>
                  </a:lnTo>
                  <a:lnTo>
                    <a:pt x="282" y="631"/>
                  </a:lnTo>
                  <a:lnTo>
                    <a:pt x="281" y="633"/>
                  </a:lnTo>
                  <a:lnTo>
                    <a:pt x="280" y="633"/>
                  </a:lnTo>
                  <a:lnTo>
                    <a:pt x="278" y="631"/>
                  </a:lnTo>
                  <a:lnTo>
                    <a:pt x="278" y="632"/>
                  </a:lnTo>
                  <a:lnTo>
                    <a:pt x="284" y="638"/>
                  </a:lnTo>
                  <a:lnTo>
                    <a:pt x="286" y="643"/>
                  </a:lnTo>
                  <a:lnTo>
                    <a:pt x="286" y="649"/>
                  </a:lnTo>
                  <a:lnTo>
                    <a:pt x="287" y="650"/>
                  </a:lnTo>
                  <a:lnTo>
                    <a:pt x="288" y="650"/>
                  </a:lnTo>
                  <a:lnTo>
                    <a:pt x="288" y="655"/>
                  </a:lnTo>
                  <a:lnTo>
                    <a:pt x="290" y="656"/>
                  </a:lnTo>
                  <a:lnTo>
                    <a:pt x="291" y="658"/>
                  </a:lnTo>
                  <a:lnTo>
                    <a:pt x="291" y="659"/>
                  </a:lnTo>
                  <a:lnTo>
                    <a:pt x="290" y="661"/>
                  </a:lnTo>
                  <a:lnTo>
                    <a:pt x="290" y="662"/>
                  </a:lnTo>
                  <a:lnTo>
                    <a:pt x="291" y="662"/>
                  </a:lnTo>
                  <a:lnTo>
                    <a:pt x="290" y="663"/>
                  </a:lnTo>
                  <a:lnTo>
                    <a:pt x="288" y="662"/>
                  </a:lnTo>
                  <a:lnTo>
                    <a:pt x="285" y="662"/>
                  </a:lnTo>
                  <a:lnTo>
                    <a:pt x="286" y="663"/>
                  </a:lnTo>
                  <a:lnTo>
                    <a:pt x="292" y="665"/>
                  </a:lnTo>
                  <a:lnTo>
                    <a:pt x="292" y="668"/>
                  </a:lnTo>
                  <a:lnTo>
                    <a:pt x="293" y="668"/>
                  </a:lnTo>
                  <a:lnTo>
                    <a:pt x="293" y="669"/>
                  </a:lnTo>
                  <a:lnTo>
                    <a:pt x="292" y="669"/>
                  </a:lnTo>
                  <a:lnTo>
                    <a:pt x="290" y="671"/>
                  </a:lnTo>
                  <a:lnTo>
                    <a:pt x="288" y="671"/>
                  </a:lnTo>
                  <a:lnTo>
                    <a:pt x="288" y="667"/>
                  </a:lnTo>
                  <a:lnTo>
                    <a:pt x="287" y="667"/>
                  </a:lnTo>
                  <a:lnTo>
                    <a:pt x="287" y="673"/>
                  </a:lnTo>
                  <a:lnTo>
                    <a:pt x="286" y="673"/>
                  </a:lnTo>
                  <a:lnTo>
                    <a:pt x="285" y="674"/>
                  </a:lnTo>
                  <a:lnTo>
                    <a:pt x="286" y="675"/>
                  </a:lnTo>
                  <a:lnTo>
                    <a:pt x="285" y="677"/>
                  </a:lnTo>
                  <a:lnTo>
                    <a:pt x="284" y="679"/>
                  </a:lnTo>
                  <a:lnTo>
                    <a:pt x="282" y="679"/>
                  </a:lnTo>
                  <a:lnTo>
                    <a:pt x="281" y="677"/>
                  </a:lnTo>
                  <a:lnTo>
                    <a:pt x="281" y="676"/>
                  </a:lnTo>
                  <a:lnTo>
                    <a:pt x="279" y="676"/>
                  </a:lnTo>
                  <a:lnTo>
                    <a:pt x="276" y="679"/>
                  </a:lnTo>
                  <a:lnTo>
                    <a:pt x="276" y="681"/>
                  </a:lnTo>
                  <a:lnTo>
                    <a:pt x="278" y="682"/>
                  </a:lnTo>
                  <a:lnTo>
                    <a:pt x="278" y="683"/>
                  </a:lnTo>
                  <a:lnTo>
                    <a:pt x="273" y="682"/>
                  </a:lnTo>
                  <a:lnTo>
                    <a:pt x="272" y="682"/>
                  </a:lnTo>
                  <a:lnTo>
                    <a:pt x="271" y="681"/>
                  </a:lnTo>
                  <a:lnTo>
                    <a:pt x="267" y="674"/>
                  </a:lnTo>
                  <a:lnTo>
                    <a:pt x="266" y="674"/>
                  </a:lnTo>
                  <a:lnTo>
                    <a:pt x="265" y="676"/>
                  </a:lnTo>
                  <a:lnTo>
                    <a:pt x="263" y="677"/>
                  </a:lnTo>
                  <a:lnTo>
                    <a:pt x="262" y="677"/>
                  </a:lnTo>
                  <a:lnTo>
                    <a:pt x="262" y="680"/>
                  </a:lnTo>
                  <a:lnTo>
                    <a:pt x="265" y="683"/>
                  </a:lnTo>
                  <a:lnTo>
                    <a:pt x="265" y="686"/>
                  </a:lnTo>
                  <a:lnTo>
                    <a:pt x="262" y="686"/>
                  </a:lnTo>
                  <a:lnTo>
                    <a:pt x="263" y="687"/>
                  </a:lnTo>
                  <a:lnTo>
                    <a:pt x="263" y="692"/>
                  </a:lnTo>
                  <a:lnTo>
                    <a:pt x="265" y="693"/>
                  </a:lnTo>
                  <a:lnTo>
                    <a:pt x="267" y="693"/>
                  </a:lnTo>
                  <a:lnTo>
                    <a:pt x="267" y="694"/>
                  </a:lnTo>
                  <a:lnTo>
                    <a:pt x="268" y="694"/>
                  </a:lnTo>
                  <a:lnTo>
                    <a:pt x="268" y="697"/>
                  </a:lnTo>
                  <a:lnTo>
                    <a:pt x="269" y="697"/>
                  </a:lnTo>
                  <a:lnTo>
                    <a:pt x="269" y="698"/>
                  </a:lnTo>
                  <a:lnTo>
                    <a:pt x="268" y="698"/>
                  </a:lnTo>
                  <a:lnTo>
                    <a:pt x="272" y="700"/>
                  </a:lnTo>
                  <a:lnTo>
                    <a:pt x="273" y="700"/>
                  </a:lnTo>
                  <a:lnTo>
                    <a:pt x="275" y="701"/>
                  </a:lnTo>
                  <a:lnTo>
                    <a:pt x="272" y="704"/>
                  </a:lnTo>
                  <a:lnTo>
                    <a:pt x="272" y="705"/>
                  </a:lnTo>
                  <a:lnTo>
                    <a:pt x="271" y="704"/>
                  </a:lnTo>
                  <a:lnTo>
                    <a:pt x="272" y="701"/>
                  </a:lnTo>
                  <a:lnTo>
                    <a:pt x="271" y="701"/>
                  </a:lnTo>
                  <a:lnTo>
                    <a:pt x="271" y="702"/>
                  </a:lnTo>
                  <a:lnTo>
                    <a:pt x="269" y="702"/>
                  </a:lnTo>
                  <a:lnTo>
                    <a:pt x="269" y="710"/>
                  </a:lnTo>
                  <a:lnTo>
                    <a:pt x="268" y="711"/>
                  </a:lnTo>
                  <a:lnTo>
                    <a:pt x="268" y="716"/>
                  </a:lnTo>
                  <a:lnTo>
                    <a:pt x="267" y="717"/>
                  </a:lnTo>
                  <a:lnTo>
                    <a:pt x="268" y="717"/>
                  </a:lnTo>
                  <a:lnTo>
                    <a:pt x="268" y="718"/>
                  </a:lnTo>
                  <a:lnTo>
                    <a:pt x="266" y="720"/>
                  </a:lnTo>
                  <a:lnTo>
                    <a:pt x="267" y="720"/>
                  </a:lnTo>
                  <a:lnTo>
                    <a:pt x="267" y="722"/>
                  </a:lnTo>
                  <a:lnTo>
                    <a:pt x="268" y="723"/>
                  </a:lnTo>
                  <a:lnTo>
                    <a:pt x="265" y="723"/>
                  </a:lnTo>
                  <a:lnTo>
                    <a:pt x="265" y="726"/>
                  </a:lnTo>
                  <a:lnTo>
                    <a:pt x="263" y="726"/>
                  </a:lnTo>
                  <a:lnTo>
                    <a:pt x="263" y="728"/>
                  </a:lnTo>
                  <a:lnTo>
                    <a:pt x="262" y="729"/>
                  </a:lnTo>
                  <a:lnTo>
                    <a:pt x="262" y="730"/>
                  </a:lnTo>
                  <a:lnTo>
                    <a:pt x="263" y="731"/>
                  </a:lnTo>
                  <a:lnTo>
                    <a:pt x="263" y="734"/>
                  </a:lnTo>
                  <a:lnTo>
                    <a:pt x="262" y="735"/>
                  </a:lnTo>
                  <a:lnTo>
                    <a:pt x="262" y="736"/>
                  </a:lnTo>
                  <a:lnTo>
                    <a:pt x="263" y="736"/>
                  </a:lnTo>
                  <a:lnTo>
                    <a:pt x="263" y="737"/>
                  </a:lnTo>
                  <a:lnTo>
                    <a:pt x="262" y="737"/>
                  </a:lnTo>
                  <a:lnTo>
                    <a:pt x="262" y="740"/>
                  </a:lnTo>
                  <a:lnTo>
                    <a:pt x="263" y="740"/>
                  </a:lnTo>
                  <a:lnTo>
                    <a:pt x="266" y="738"/>
                  </a:lnTo>
                  <a:lnTo>
                    <a:pt x="265" y="740"/>
                  </a:lnTo>
                  <a:lnTo>
                    <a:pt x="265" y="741"/>
                  </a:lnTo>
                  <a:lnTo>
                    <a:pt x="263" y="741"/>
                  </a:lnTo>
                  <a:lnTo>
                    <a:pt x="265" y="742"/>
                  </a:lnTo>
                  <a:lnTo>
                    <a:pt x="265" y="748"/>
                  </a:lnTo>
                  <a:lnTo>
                    <a:pt x="267" y="747"/>
                  </a:lnTo>
                  <a:lnTo>
                    <a:pt x="269" y="747"/>
                  </a:lnTo>
                  <a:lnTo>
                    <a:pt x="269" y="748"/>
                  </a:lnTo>
                  <a:lnTo>
                    <a:pt x="271" y="749"/>
                  </a:lnTo>
                  <a:lnTo>
                    <a:pt x="271" y="750"/>
                  </a:lnTo>
                  <a:lnTo>
                    <a:pt x="269" y="751"/>
                  </a:lnTo>
                  <a:lnTo>
                    <a:pt x="269" y="755"/>
                  </a:lnTo>
                  <a:lnTo>
                    <a:pt x="268" y="756"/>
                  </a:lnTo>
                  <a:lnTo>
                    <a:pt x="266" y="754"/>
                  </a:lnTo>
                  <a:lnTo>
                    <a:pt x="265" y="750"/>
                  </a:lnTo>
                  <a:lnTo>
                    <a:pt x="262" y="748"/>
                  </a:lnTo>
                  <a:lnTo>
                    <a:pt x="262" y="750"/>
                  </a:lnTo>
                  <a:lnTo>
                    <a:pt x="263" y="751"/>
                  </a:lnTo>
                  <a:lnTo>
                    <a:pt x="261" y="751"/>
                  </a:lnTo>
                  <a:lnTo>
                    <a:pt x="261" y="749"/>
                  </a:lnTo>
                  <a:lnTo>
                    <a:pt x="260" y="748"/>
                  </a:lnTo>
                  <a:lnTo>
                    <a:pt x="257" y="747"/>
                  </a:lnTo>
                  <a:lnTo>
                    <a:pt x="254" y="747"/>
                  </a:lnTo>
                  <a:lnTo>
                    <a:pt x="255" y="748"/>
                  </a:lnTo>
                  <a:lnTo>
                    <a:pt x="255" y="749"/>
                  </a:lnTo>
                  <a:lnTo>
                    <a:pt x="256" y="749"/>
                  </a:lnTo>
                  <a:lnTo>
                    <a:pt x="260" y="750"/>
                  </a:lnTo>
                  <a:lnTo>
                    <a:pt x="256" y="754"/>
                  </a:lnTo>
                  <a:lnTo>
                    <a:pt x="255" y="754"/>
                  </a:lnTo>
                  <a:lnTo>
                    <a:pt x="256" y="755"/>
                  </a:lnTo>
                  <a:lnTo>
                    <a:pt x="255" y="755"/>
                  </a:lnTo>
                  <a:lnTo>
                    <a:pt x="253" y="754"/>
                  </a:lnTo>
                  <a:lnTo>
                    <a:pt x="253" y="755"/>
                  </a:lnTo>
                  <a:lnTo>
                    <a:pt x="257" y="756"/>
                  </a:lnTo>
                  <a:lnTo>
                    <a:pt x="259" y="757"/>
                  </a:lnTo>
                  <a:lnTo>
                    <a:pt x="257" y="759"/>
                  </a:lnTo>
                  <a:lnTo>
                    <a:pt x="257" y="757"/>
                  </a:lnTo>
                  <a:lnTo>
                    <a:pt x="255" y="757"/>
                  </a:lnTo>
                  <a:lnTo>
                    <a:pt x="255" y="756"/>
                  </a:lnTo>
                  <a:lnTo>
                    <a:pt x="251" y="757"/>
                  </a:lnTo>
                  <a:lnTo>
                    <a:pt x="254" y="757"/>
                  </a:lnTo>
                  <a:lnTo>
                    <a:pt x="254" y="759"/>
                  </a:lnTo>
                  <a:lnTo>
                    <a:pt x="253" y="760"/>
                  </a:lnTo>
                  <a:lnTo>
                    <a:pt x="250" y="760"/>
                  </a:lnTo>
                  <a:lnTo>
                    <a:pt x="251" y="761"/>
                  </a:lnTo>
                  <a:lnTo>
                    <a:pt x="256" y="762"/>
                  </a:lnTo>
                  <a:lnTo>
                    <a:pt x="251" y="762"/>
                  </a:lnTo>
                  <a:lnTo>
                    <a:pt x="251" y="763"/>
                  </a:lnTo>
                  <a:lnTo>
                    <a:pt x="253" y="763"/>
                  </a:lnTo>
                  <a:lnTo>
                    <a:pt x="254" y="765"/>
                  </a:lnTo>
                  <a:lnTo>
                    <a:pt x="255" y="765"/>
                  </a:lnTo>
                  <a:lnTo>
                    <a:pt x="255" y="766"/>
                  </a:lnTo>
                  <a:lnTo>
                    <a:pt x="254" y="766"/>
                  </a:lnTo>
                  <a:lnTo>
                    <a:pt x="256" y="768"/>
                  </a:lnTo>
                  <a:lnTo>
                    <a:pt x="255" y="769"/>
                  </a:lnTo>
                  <a:lnTo>
                    <a:pt x="255" y="773"/>
                  </a:lnTo>
                  <a:lnTo>
                    <a:pt x="256" y="773"/>
                  </a:lnTo>
                  <a:lnTo>
                    <a:pt x="256" y="774"/>
                  </a:lnTo>
                  <a:lnTo>
                    <a:pt x="255" y="774"/>
                  </a:lnTo>
                  <a:lnTo>
                    <a:pt x="254" y="773"/>
                  </a:lnTo>
                  <a:lnTo>
                    <a:pt x="254" y="774"/>
                  </a:lnTo>
                  <a:lnTo>
                    <a:pt x="253" y="775"/>
                  </a:lnTo>
                  <a:lnTo>
                    <a:pt x="253" y="777"/>
                  </a:lnTo>
                  <a:lnTo>
                    <a:pt x="254" y="779"/>
                  </a:lnTo>
                  <a:lnTo>
                    <a:pt x="255" y="780"/>
                  </a:lnTo>
                  <a:lnTo>
                    <a:pt x="256" y="780"/>
                  </a:lnTo>
                  <a:lnTo>
                    <a:pt x="256" y="781"/>
                  </a:lnTo>
                  <a:lnTo>
                    <a:pt x="260" y="784"/>
                  </a:lnTo>
                  <a:lnTo>
                    <a:pt x="257" y="784"/>
                  </a:lnTo>
                  <a:lnTo>
                    <a:pt x="255" y="783"/>
                  </a:lnTo>
                  <a:lnTo>
                    <a:pt x="255" y="784"/>
                  </a:lnTo>
                  <a:lnTo>
                    <a:pt x="256" y="785"/>
                  </a:lnTo>
                  <a:lnTo>
                    <a:pt x="257" y="785"/>
                  </a:lnTo>
                  <a:lnTo>
                    <a:pt x="259" y="786"/>
                  </a:lnTo>
                  <a:lnTo>
                    <a:pt x="256" y="786"/>
                  </a:lnTo>
                  <a:lnTo>
                    <a:pt x="255" y="785"/>
                  </a:lnTo>
                  <a:lnTo>
                    <a:pt x="256" y="787"/>
                  </a:lnTo>
                  <a:lnTo>
                    <a:pt x="256" y="788"/>
                  </a:lnTo>
                  <a:lnTo>
                    <a:pt x="257" y="791"/>
                  </a:lnTo>
                  <a:lnTo>
                    <a:pt x="256" y="791"/>
                  </a:lnTo>
                  <a:lnTo>
                    <a:pt x="255" y="792"/>
                  </a:lnTo>
                  <a:lnTo>
                    <a:pt x="255" y="793"/>
                  </a:lnTo>
                  <a:lnTo>
                    <a:pt x="256" y="794"/>
                  </a:lnTo>
                  <a:lnTo>
                    <a:pt x="256" y="797"/>
                  </a:lnTo>
                  <a:lnTo>
                    <a:pt x="255" y="797"/>
                  </a:lnTo>
                  <a:lnTo>
                    <a:pt x="255" y="798"/>
                  </a:lnTo>
                  <a:lnTo>
                    <a:pt x="256" y="799"/>
                  </a:lnTo>
                  <a:lnTo>
                    <a:pt x="256" y="800"/>
                  </a:lnTo>
                  <a:lnTo>
                    <a:pt x="255" y="802"/>
                  </a:lnTo>
                  <a:lnTo>
                    <a:pt x="256" y="802"/>
                  </a:lnTo>
                  <a:lnTo>
                    <a:pt x="256" y="804"/>
                  </a:lnTo>
                  <a:lnTo>
                    <a:pt x="255" y="805"/>
                  </a:lnTo>
                  <a:lnTo>
                    <a:pt x="255" y="808"/>
                  </a:lnTo>
                  <a:lnTo>
                    <a:pt x="256" y="808"/>
                  </a:lnTo>
                  <a:lnTo>
                    <a:pt x="256" y="809"/>
                  </a:lnTo>
                  <a:lnTo>
                    <a:pt x="255" y="809"/>
                  </a:lnTo>
                  <a:lnTo>
                    <a:pt x="255" y="810"/>
                  </a:lnTo>
                  <a:lnTo>
                    <a:pt x="257" y="809"/>
                  </a:lnTo>
                  <a:lnTo>
                    <a:pt x="259" y="809"/>
                  </a:lnTo>
                  <a:lnTo>
                    <a:pt x="259" y="810"/>
                  </a:lnTo>
                  <a:lnTo>
                    <a:pt x="256" y="811"/>
                  </a:lnTo>
                  <a:lnTo>
                    <a:pt x="255" y="812"/>
                  </a:lnTo>
                  <a:lnTo>
                    <a:pt x="255" y="816"/>
                  </a:lnTo>
                  <a:lnTo>
                    <a:pt x="256" y="817"/>
                  </a:lnTo>
                  <a:lnTo>
                    <a:pt x="257" y="817"/>
                  </a:lnTo>
                  <a:lnTo>
                    <a:pt x="256" y="818"/>
                  </a:lnTo>
                  <a:lnTo>
                    <a:pt x="257" y="818"/>
                  </a:lnTo>
                  <a:lnTo>
                    <a:pt x="257" y="820"/>
                  </a:lnTo>
                  <a:lnTo>
                    <a:pt x="259" y="820"/>
                  </a:lnTo>
                  <a:lnTo>
                    <a:pt x="260" y="826"/>
                  </a:lnTo>
                  <a:lnTo>
                    <a:pt x="259" y="826"/>
                  </a:lnTo>
                  <a:lnTo>
                    <a:pt x="259" y="827"/>
                  </a:lnTo>
                  <a:lnTo>
                    <a:pt x="260" y="827"/>
                  </a:lnTo>
                  <a:lnTo>
                    <a:pt x="260" y="830"/>
                  </a:lnTo>
                  <a:lnTo>
                    <a:pt x="261" y="830"/>
                  </a:lnTo>
                  <a:lnTo>
                    <a:pt x="261" y="831"/>
                  </a:lnTo>
                  <a:lnTo>
                    <a:pt x="262" y="831"/>
                  </a:lnTo>
                  <a:lnTo>
                    <a:pt x="262" y="833"/>
                  </a:lnTo>
                  <a:lnTo>
                    <a:pt x="261" y="833"/>
                  </a:lnTo>
                  <a:lnTo>
                    <a:pt x="256" y="837"/>
                  </a:lnTo>
                  <a:lnTo>
                    <a:pt x="259" y="837"/>
                  </a:lnTo>
                  <a:lnTo>
                    <a:pt x="261" y="840"/>
                  </a:lnTo>
                  <a:lnTo>
                    <a:pt x="263" y="841"/>
                  </a:lnTo>
                  <a:lnTo>
                    <a:pt x="262" y="842"/>
                  </a:lnTo>
                  <a:lnTo>
                    <a:pt x="262" y="843"/>
                  </a:lnTo>
                  <a:lnTo>
                    <a:pt x="265" y="843"/>
                  </a:lnTo>
                  <a:lnTo>
                    <a:pt x="266" y="842"/>
                  </a:lnTo>
                  <a:lnTo>
                    <a:pt x="272" y="841"/>
                  </a:lnTo>
                  <a:lnTo>
                    <a:pt x="273" y="841"/>
                  </a:lnTo>
                  <a:lnTo>
                    <a:pt x="273" y="842"/>
                  </a:lnTo>
                  <a:lnTo>
                    <a:pt x="275" y="845"/>
                  </a:lnTo>
                  <a:lnTo>
                    <a:pt x="276" y="845"/>
                  </a:lnTo>
                  <a:lnTo>
                    <a:pt x="274" y="847"/>
                  </a:lnTo>
                  <a:lnTo>
                    <a:pt x="274" y="852"/>
                  </a:lnTo>
                  <a:lnTo>
                    <a:pt x="276" y="854"/>
                  </a:lnTo>
                  <a:lnTo>
                    <a:pt x="279" y="854"/>
                  </a:lnTo>
                  <a:lnTo>
                    <a:pt x="279" y="852"/>
                  </a:lnTo>
                  <a:lnTo>
                    <a:pt x="280" y="849"/>
                  </a:lnTo>
                  <a:lnTo>
                    <a:pt x="282" y="847"/>
                  </a:lnTo>
                  <a:lnTo>
                    <a:pt x="287" y="846"/>
                  </a:lnTo>
                  <a:lnTo>
                    <a:pt x="288" y="846"/>
                  </a:lnTo>
                  <a:lnTo>
                    <a:pt x="290" y="847"/>
                  </a:lnTo>
                  <a:lnTo>
                    <a:pt x="290" y="852"/>
                  </a:lnTo>
                  <a:lnTo>
                    <a:pt x="288" y="853"/>
                  </a:lnTo>
                  <a:lnTo>
                    <a:pt x="290" y="853"/>
                  </a:lnTo>
                  <a:lnTo>
                    <a:pt x="294" y="858"/>
                  </a:lnTo>
                  <a:lnTo>
                    <a:pt x="294" y="859"/>
                  </a:lnTo>
                  <a:lnTo>
                    <a:pt x="298" y="863"/>
                  </a:lnTo>
                  <a:lnTo>
                    <a:pt x="302" y="865"/>
                  </a:lnTo>
                  <a:lnTo>
                    <a:pt x="300" y="865"/>
                  </a:lnTo>
                  <a:lnTo>
                    <a:pt x="299" y="866"/>
                  </a:lnTo>
                  <a:lnTo>
                    <a:pt x="299" y="869"/>
                  </a:lnTo>
                  <a:lnTo>
                    <a:pt x="302" y="869"/>
                  </a:lnTo>
                  <a:lnTo>
                    <a:pt x="302" y="867"/>
                  </a:lnTo>
                  <a:lnTo>
                    <a:pt x="303" y="866"/>
                  </a:lnTo>
                  <a:lnTo>
                    <a:pt x="304" y="866"/>
                  </a:lnTo>
                  <a:lnTo>
                    <a:pt x="305" y="867"/>
                  </a:lnTo>
                  <a:lnTo>
                    <a:pt x="309" y="867"/>
                  </a:lnTo>
                  <a:lnTo>
                    <a:pt x="309" y="870"/>
                  </a:lnTo>
                  <a:lnTo>
                    <a:pt x="310" y="871"/>
                  </a:lnTo>
                  <a:lnTo>
                    <a:pt x="310" y="872"/>
                  </a:lnTo>
                  <a:lnTo>
                    <a:pt x="309" y="872"/>
                  </a:lnTo>
                  <a:lnTo>
                    <a:pt x="315" y="874"/>
                  </a:lnTo>
                  <a:lnTo>
                    <a:pt x="316" y="877"/>
                  </a:lnTo>
                  <a:lnTo>
                    <a:pt x="315" y="878"/>
                  </a:lnTo>
                  <a:lnTo>
                    <a:pt x="307" y="874"/>
                  </a:lnTo>
                  <a:lnTo>
                    <a:pt x="306" y="873"/>
                  </a:lnTo>
                  <a:lnTo>
                    <a:pt x="304" y="870"/>
                  </a:lnTo>
                  <a:lnTo>
                    <a:pt x="304" y="872"/>
                  </a:lnTo>
                  <a:lnTo>
                    <a:pt x="306" y="874"/>
                  </a:lnTo>
                  <a:lnTo>
                    <a:pt x="309" y="879"/>
                  </a:lnTo>
                  <a:lnTo>
                    <a:pt x="307" y="878"/>
                  </a:lnTo>
                  <a:lnTo>
                    <a:pt x="307" y="879"/>
                  </a:lnTo>
                  <a:lnTo>
                    <a:pt x="312" y="884"/>
                  </a:lnTo>
                  <a:lnTo>
                    <a:pt x="313" y="883"/>
                  </a:lnTo>
                  <a:lnTo>
                    <a:pt x="313" y="886"/>
                  </a:lnTo>
                  <a:lnTo>
                    <a:pt x="315" y="889"/>
                  </a:lnTo>
                  <a:lnTo>
                    <a:pt x="315" y="890"/>
                  </a:lnTo>
                  <a:lnTo>
                    <a:pt x="316" y="889"/>
                  </a:lnTo>
                  <a:lnTo>
                    <a:pt x="316" y="888"/>
                  </a:lnTo>
                  <a:lnTo>
                    <a:pt x="315" y="886"/>
                  </a:lnTo>
                  <a:lnTo>
                    <a:pt x="315" y="885"/>
                  </a:lnTo>
                  <a:lnTo>
                    <a:pt x="316" y="884"/>
                  </a:lnTo>
                  <a:lnTo>
                    <a:pt x="318" y="884"/>
                  </a:lnTo>
                  <a:lnTo>
                    <a:pt x="322" y="888"/>
                  </a:lnTo>
                  <a:lnTo>
                    <a:pt x="322" y="892"/>
                  </a:lnTo>
                  <a:lnTo>
                    <a:pt x="323" y="894"/>
                  </a:lnTo>
                  <a:lnTo>
                    <a:pt x="323" y="895"/>
                  </a:lnTo>
                  <a:lnTo>
                    <a:pt x="324" y="896"/>
                  </a:lnTo>
                  <a:lnTo>
                    <a:pt x="324" y="895"/>
                  </a:lnTo>
                  <a:lnTo>
                    <a:pt x="323" y="894"/>
                  </a:lnTo>
                  <a:lnTo>
                    <a:pt x="323" y="892"/>
                  </a:lnTo>
                  <a:lnTo>
                    <a:pt x="322" y="890"/>
                  </a:lnTo>
                  <a:lnTo>
                    <a:pt x="323" y="888"/>
                  </a:lnTo>
                  <a:lnTo>
                    <a:pt x="324" y="886"/>
                  </a:lnTo>
                  <a:lnTo>
                    <a:pt x="325" y="886"/>
                  </a:lnTo>
                  <a:lnTo>
                    <a:pt x="325" y="891"/>
                  </a:lnTo>
                  <a:lnTo>
                    <a:pt x="327" y="897"/>
                  </a:lnTo>
                  <a:lnTo>
                    <a:pt x="329" y="901"/>
                  </a:lnTo>
                  <a:lnTo>
                    <a:pt x="329" y="902"/>
                  </a:lnTo>
                  <a:lnTo>
                    <a:pt x="331" y="903"/>
                  </a:lnTo>
                  <a:lnTo>
                    <a:pt x="333" y="903"/>
                  </a:lnTo>
                  <a:lnTo>
                    <a:pt x="333" y="906"/>
                  </a:lnTo>
                  <a:lnTo>
                    <a:pt x="334" y="907"/>
                  </a:lnTo>
                  <a:lnTo>
                    <a:pt x="335" y="907"/>
                  </a:lnTo>
                  <a:lnTo>
                    <a:pt x="335" y="910"/>
                  </a:lnTo>
                  <a:lnTo>
                    <a:pt x="334" y="910"/>
                  </a:lnTo>
                  <a:lnTo>
                    <a:pt x="330" y="906"/>
                  </a:lnTo>
                  <a:lnTo>
                    <a:pt x="329" y="903"/>
                  </a:lnTo>
                  <a:lnTo>
                    <a:pt x="328" y="903"/>
                  </a:lnTo>
                  <a:lnTo>
                    <a:pt x="328" y="904"/>
                  </a:lnTo>
                  <a:lnTo>
                    <a:pt x="330" y="907"/>
                  </a:lnTo>
                  <a:lnTo>
                    <a:pt x="330" y="908"/>
                  </a:lnTo>
                  <a:lnTo>
                    <a:pt x="329" y="909"/>
                  </a:lnTo>
                  <a:lnTo>
                    <a:pt x="327" y="914"/>
                  </a:lnTo>
                  <a:lnTo>
                    <a:pt x="322" y="914"/>
                  </a:lnTo>
                  <a:lnTo>
                    <a:pt x="322" y="916"/>
                  </a:lnTo>
                  <a:lnTo>
                    <a:pt x="324" y="915"/>
                  </a:lnTo>
                  <a:lnTo>
                    <a:pt x="328" y="915"/>
                  </a:lnTo>
                  <a:lnTo>
                    <a:pt x="328" y="913"/>
                  </a:lnTo>
                  <a:lnTo>
                    <a:pt x="330" y="909"/>
                  </a:lnTo>
                  <a:lnTo>
                    <a:pt x="331" y="908"/>
                  </a:lnTo>
                  <a:lnTo>
                    <a:pt x="331" y="909"/>
                  </a:lnTo>
                  <a:lnTo>
                    <a:pt x="333" y="909"/>
                  </a:lnTo>
                  <a:lnTo>
                    <a:pt x="333" y="915"/>
                  </a:lnTo>
                  <a:lnTo>
                    <a:pt x="335" y="915"/>
                  </a:lnTo>
                  <a:lnTo>
                    <a:pt x="336" y="916"/>
                  </a:lnTo>
                  <a:lnTo>
                    <a:pt x="336" y="917"/>
                  </a:lnTo>
                  <a:lnTo>
                    <a:pt x="334" y="920"/>
                  </a:lnTo>
                  <a:lnTo>
                    <a:pt x="331" y="921"/>
                  </a:lnTo>
                  <a:lnTo>
                    <a:pt x="331" y="920"/>
                  </a:lnTo>
                  <a:lnTo>
                    <a:pt x="330" y="920"/>
                  </a:lnTo>
                  <a:lnTo>
                    <a:pt x="329" y="919"/>
                  </a:lnTo>
                  <a:lnTo>
                    <a:pt x="327" y="921"/>
                  </a:lnTo>
                  <a:lnTo>
                    <a:pt x="323" y="922"/>
                  </a:lnTo>
                  <a:lnTo>
                    <a:pt x="322" y="922"/>
                  </a:lnTo>
                  <a:lnTo>
                    <a:pt x="322" y="923"/>
                  </a:lnTo>
                  <a:lnTo>
                    <a:pt x="321" y="925"/>
                  </a:lnTo>
                  <a:lnTo>
                    <a:pt x="321" y="926"/>
                  </a:lnTo>
                  <a:lnTo>
                    <a:pt x="322" y="926"/>
                  </a:lnTo>
                  <a:lnTo>
                    <a:pt x="322" y="927"/>
                  </a:lnTo>
                  <a:lnTo>
                    <a:pt x="321" y="928"/>
                  </a:lnTo>
                  <a:lnTo>
                    <a:pt x="319" y="928"/>
                  </a:lnTo>
                  <a:lnTo>
                    <a:pt x="318" y="927"/>
                  </a:lnTo>
                  <a:lnTo>
                    <a:pt x="319" y="929"/>
                  </a:lnTo>
                  <a:lnTo>
                    <a:pt x="319" y="931"/>
                  </a:lnTo>
                  <a:lnTo>
                    <a:pt x="318" y="931"/>
                  </a:lnTo>
                  <a:lnTo>
                    <a:pt x="313" y="935"/>
                  </a:lnTo>
                  <a:lnTo>
                    <a:pt x="311" y="935"/>
                  </a:lnTo>
                  <a:lnTo>
                    <a:pt x="305" y="941"/>
                  </a:lnTo>
                  <a:lnTo>
                    <a:pt x="302" y="940"/>
                  </a:lnTo>
                  <a:lnTo>
                    <a:pt x="302" y="941"/>
                  </a:lnTo>
                  <a:lnTo>
                    <a:pt x="303" y="943"/>
                  </a:lnTo>
                  <a:lnTo>
                    <a:pt x="300" y="943"/>
                  </a:lnTo>
                  <a:lnTo>
                    <a:pt x="302" y="944"/>
                  </a:lnTo>
                  <a:lnTo>
                    <a:pt x="303" y="944"/>
                  </a:lnTo>
                  <a:lnTo>
                    <a:pt x="302" y="945"/>
                  </a:lnTo>
                  <a:lnTo>
                    <a:pt x="303" y="946"/>
                  </a:lnTo>
                  <a:lnTo>
                    <a:pt x="305" y="946"/>
                  </a:lnTo>
                  <a:lnTo>
                    <a:pt x="304" y="947"/>
                  </a:lnTo>
                  <a:lnTo>
                    <a:pt x="300" y="947"/>
                  </a:lnTo>
                  <a:lnTo>
                    <a:pt x="298" y="946"/>
                  </a:lnTo>
                  <a:lnTo>
                    <a:pt x="297" y="945"/>
                  </a:lnTo>
                  <a:lnTo>
                    <a:pt x="299" y="945"/>
                  </a:lnTo>
                  <a:lnTo>
                    <a:pt x="299" y="943"/>
                  </a:lnTo>
                  <a:lnTo>
                    <a:pt x="297" y="943"/>
                  </a:lnTo>
                  <a:lnTo>
                    <a:pt x="297" y="944"/>
                  </a:lnTo>
                  <a:lnTo>
                    <a:pt x="296" y="943"/>
                  </a:lnTo>
                  <a:lnTo>
                    <a:pt x="294" y="944"/>
                  </a:lnTo>
                  <a:lnTo>
                    <a:pt x="294" y="946"/>
                  </a:lnTo>
                  <a:lnTo>
                    <a:pt x="293" y="947"/>
                  </a:lnTo>
                  <a:lnTo>
                    <a:pt x="292" y="947"/>
                  </a:lnTo>
                  <a:lnTo>
                    <a:pt x="291" y="946"/>
                  </a:lnTo>
                  <a:lnTo>
                    <a:pt x="297" y="952"/>
                  </a:lnTo>
                  <a:lnTo>
                    <a:pt x="294" y="952"/>
                  </a:lnTo>
                  <a:lnTo>
                    <a:pt x="294" y="953"/>
                  </a:lnTo>
                  <a:lnTo>
                    <a:pt x="298" y="953"/>
                  </a:lnTo>
                  <a:lnTo>
                    <a:pt x="299" y="952"/>
                  </a:lnTo>
                  <a:lnTo>
                    <a:pt x="299" y="953"/>
                  </a:lnTo>
                  <a:lnTo>
                    <a:pt x="302" y="950"/>
                  </a:lnTo>
                  <a:lnTo>
                    <a:pt x="304" y="949"/>
                  </a:lnTo>
                  <a:lnTo>
                    <a:pt x="309" y="951"/>
                  </a:lnTo>
                  <a:lnTo>
                    <a:pt x="309" y="952"/>
                  </a:lnTo>
                  <a:lnTo>
                    <a:pt x="310" y="952"/>
                  </a:lnTo>
                  <a:lnTo>
                    <a:pt x="311" y="951"/>
                  </a:lnTo>
                  <a:lnTo>
                    <a:pt x="310" y="949"/>
                  </a:lnTo>
                  <a:lnTo>
                    <a:pt x="309" y="947"/>
                  </a:lnTo>
                  <a:lnTo>
                    <a:pt x="311" y="947"/>
                  </a:lnTo>
                  <a:lnTo>
                    <a:pt x="309" y="945"/>
                  </a:lnTo>
                  <a:lnTo>
                    <a:pt x="309" y="944"/>
                  </a:lnTo>
                  <a:lnTo>
                    <a:pt x="311" y="944"/>
                  </a:lnTo>
                  <a:lnTo>
                    <a:pt x="313" y="946"/>
                  </a:lnTo>
                  <a:lnTo>
                    <a:pt x="313" y="947"/>
                  </a:lnTo>
                  <a:lnTo>
                    <a:pt x="316" y="949"/>
                  </a:lnTo>
                  <a:lnTo>
                    <a:pt x="316" y="950"/>
                  </a:lnTo>
                  <a:lnTo>
                    <a:pt x="315" y="950"/>
                  </a:lnTo>
                  <a:lnTo>
                    <a:pt x="316" y="951"/>
                  </a:lnTo>
                  <a:lnTo>
                    <a:pt x="317" y="951"/>
                  </a:lnTo>
                  <a:lnTo>
                    <a:pt x="318" y="953"/>
                  </a:lnTo>
                  <a:lnTo>
                    <a:pt x="317" y="954"/>
                  </a:lnTo>
                  <a:lnTo>
                    <a:pt x="313" y="954"/>
                  </a:lnTo>
                  <a:lnTo>
                    <a:pt x="313" y="956"/>
                  </a:lnTo>
                  <a:lnTo>
                    <a:pt x="312" y="956"/>
                  </a:lnTo>
                  <a:lnTo>
                    <a:pt x="311" y="954"/>
                  </a:lnTo>
                  <a:lnTo>
                    <a:pt x="305" y="954"/>
                  </a:lnTo>
                  <a:lnTo>
                    <a:pt x="305" y="952"/>
                  </a:lnTo>
                  <a:lnTo>
                    <a:pt x="304" y="952"/>
                  </a:lnTo>
                  <a:lnTo>
                    <a:pt x="304" y="953"/>
                  </a:lnTo>
                  <a:lnTo>
                    <a:pt x="303" y="953"/>
                  </a:lnTo>
                  <a:lnTo>
                    <a:pt x="302" y="954"/>
                  </a:lnTo>
                  <a:lnTo>
                    <a:pt x="303" y="954"/>
                  </a:lnTo>
                  <a:lnTo>
                    <a:pt x="303" y="956"/>
                  </a:lnTo>
                  <a:lnTo>
                    <a:pt x="304" y="956"/>
                  </a:lnTo>
                  <a:lnTo>
                    <a:pt x="304" y="957"/>
                  </a:lnTo>
                  <a:lnTo>
                    <a:pt x="302" y="957"/>
                  </a:lnTo>
                  <a:lnTo>
                    <a:pt x="305" y="960"/>
                  </a:lnTo>
                  <a:lnTo>
                    <a:pt x="304" y="960"/>
                  </a:lnTo>
                  <a:lnTo>
                    <a:pt x="304" y="963"/>
                  </a:lnTo>
                  <a:lnTo>
                    <a:pt x="306" y="963"/>
                  </a:lnTo>
                  <a:lnTo>
                    <a:pt x="306" y="965"/>
                  </a:lnTo>
                  <a:lnTo>
                    <a:pt x="307" y="964"/>
                  </a:lnTo>
                  <a:lnTo>
                    <a:pt x="307" y="965"/>
                  </a:lnTo>
                  <a:lnTo>
                    <a:pt x="309" y="965"/>
                  </a:lnTo>
                  <a:lnTo>
                    <a:pt x="309" y="968"/>
                  </a:lnTo>
                  <a:lnTo>
                    <a:pt x="307" y="969"/>
                  </a:lnTo>
                  <a:lnTo>
                    <a:pt x="307" y="968"/>
                  </a:lnTo>
                  <a:lnTo>
                    <a:pt x="306" y="968"/>
                  </a:lnTo>
                  <a:lnTo>
                    <a:pt x="305" y="969"/>
                  </a:lnTo>
                  <a:lnTo>
                    <a:pt x="304" y="969"/>
                  </a:lnTo>
                  <a:lnTo>
                    <a:pt x="303" y="970"/>
                  </a:lnTo>
                  <a:lnTo>
                    <a:pt x="304" y="970"/>
                  </a:lnTo>
                  <a:lnTo>
                    <a:pt x="304" y="971"/>
                  </a:lnTo>
                  <a:lnTo>
                    <a:pt x="300" y="974"/>
                  </a:lnTo>
                  <a:lnTo>
                    <a:pt x="299" y="974"/>
                  </a:lnTo>
                  <a:lnTo>
                    <a:pt x="299" y="972"/>
                  </a:lnTo>
                  <a:lnTo>
                    <a:pt x="300" y="972"/>
                  </a:lnTo>
                  <a:lnTo>
                    <a:pt x="302" y="971"/>
                  </a:lnTo>
                  <a:lnTo>
                    <a:pt x="302" y="970"/>
                  </a:lnTo>
                  <a:lnTo>
                    <a:pt x="300" y="970"/>
                  </a:lnTo>
                  <a:lnTo>
                    <a:pt x="298" y="972"/>
                  </a:lnTo>
                  <a:lnTo>
                    <a:pt x="296" y="972"/>
                  </a:lnTo>
                  <a:lnTo>
                    <a:pt x="294" y="975"/>
                  </a:lnTo>
                  <a:lnTo>
                    <a:pt x="292" y="975"/>
                  </a:lnTo>
                  <a:lnTo>
                    <a:pt x="292" y="976"/>
                  </a:lnTo>
                  <a:lnTo>
                    <a:pt x="291" y="976"/>
                  </a:lnTo>
                  <a:lnTo>
                    <a:pt x="291" y="980"/>
                  </a:lnTo>
                  <a:lnTo>
                    <a:pt x="290" y="981"/>
                  </a:lnTo>
                  <a:lnTo>
                    <a:pt x="288" y="983"/>
                  </a:lnTo>
                  <a:lnTo>
                    <a:pt x="288" y="984"/>
                  </a:lnTo>
                  <a:lnTo>
                    <a:pt x="290" y="984"/>
                  </a:lnTo>
                  <a:lnTo>
                    <a:pt x="290" y="986"/>
                  </a:lnTo>
                  <a:lnTo>
                    <a:pt x="287" y="988"/>
                  </a:lnTo>
                  <a:lnTo>
                    <a:pt x="286" y="987"/>
                  </a:lnTo>
                  <a:lnTo>
                    <a:pt x="286" y="992"/>
                  </a:lnTo>
                  <a:lnTo>
                    <a:pt x="285" y="990"/>
                  </a:lnTo>
                  <a:lnTo>
                    <a:pt x="285" y="987"/>
                  </a:lnTo>
                  <a:lnTo>
                    <a:pt x="284" y="987"/>
                  </a:lnTo>
                  <a:lnTo>
                    <a:pt x="281" y="984"/>
                  </a:lnTo>
                  <a:lnTo>
                    <a:pt x="281" y="986"/>
                  </a:lnTo>
                  <a:lnTo>
                    <a:pt x="282" y="988"/>
                  </a:lnTo>
                  <a:lnTo>
                    <a:pt x="281" y="989"/>
                  </a:lnTo>
                  <a:lnTo>
                    <a:pt x="281" y="987"/>
                  </a:lnTo>
                  <a:lnTo>
                    <a:pt x="280" y="987"/>
                  </a:lnTo>
                  <a:lnTo>
                    <a:pt x="280" y="983"/>
                  </a:lnTo>
                  <a:lnTo>
                    <a:pt x="279" y="981"/>
                  </a:lnTo>
                  <a:lnTo>
                    <a:pt x="280" y="980"/>
                  </a:lnTo>
                  <a:lnTo>
                    <a:pt x="280" y="970"/>
                  </a:lnTo>
                  <a:lnTo>
                    <a:pt x="279" y="970"/>
                  </a:lnTo>
                  <a:lnTo>
                    <a:pt x="279" y="975"/>
                  </a:lnTo>
                  <a:lnTo>
                    <a:pt x="278" y="976"/>
                  </a:lnTo>
                  <a:lnTo>
                    <a:pt x="278" y="975"/>
                  </a:lnTo>
                  <a:lnTo>
                    <a:pt x="276" y="974"/>
                  </a:lnTo>
                  <a:lnTo>
                    <a:pt x="276" y="972"/>
                  </a:lnTo>
                  <a:lnTo>
                    <a:pt x="278" y="970"/>
                  </a:lnTo>
                  <a:lnTo>
                    <a:pt x="278" y="969"/>
                  </a:lnTo>
                  <a:lnTo>
                    <a:pt x="276" y="968"/>
                  </a:lnTo>
                  <a:lnTo>
                    <a:pt x="276" y="970"/>
                  </a:lnTo>
                  <a:lnTo>
                    <a:pt x="275" y="971"/>
                  </a:lnTo>
                  <a:lnTo>
                    <a:pt x="275" y="972"/>
                  </a:lnTo>
                  <a:lnTo>
                    <a:pt x="274" y="972"/>
                  </a:lnTo>
                  <a:lnTo>
                    <a:pt x="274" y="977"/>
                  </a:lnTo>
                  <a:lnTo>
                    <a:pt x="275" y="978"/>
                  </a:lnTo>
                  <a:lnTo>
                    <a:pt x="274" y="980"/>
                  </a:lnTo>
                  <a:lnTo>
                    <a:pt x="274" y="982"/>
                  </a:lnTo>
                  <a:lnTo>
                    <a:pt x="275" y="981"/>
                  </a:lnTo>
                  <a:lnTo>
                    <a:pt x="275" y="974"/>
                  </a:lnTo>
                  <a:lnTo>
                    <a:pt x="276" y="974"/>
                  </a:lnTo>
                  <a:lnTo>
                    <a:pt x="276" y="975"/>
                  </a:lnTo>
                  <a:lnTo>
                    <a:pt x="278" y="976"/>
                  </a:lnTo>
                  <a:lnTo>
                    <a:pt x="278" y="987"/>
                  </a:lnTo>
                  <a:lnTo>
                    <a:pt x="275" y="987"/>
                  </a:lnTo>
                  <a:lnTo>
                    <a:pt x="275" y="983"/>
                  </a:lnTo>
                  <a:lnTo>
                    <a:pt x="274" y="983"/>
                  </a:lnTo>
                  <a:lnTo>
                    <a:pt x="273" y="982"/>
                  </a:lnTo>
                  <a:lnTo>
                    <a:pt x="273" y="984"/>
                  </a:lnTo>
                  <a:lnTo>
                    <a:pt x="274" y="984"/>
                  </a:lnTo>
                  <a:lnTo>
                    <a:pt x="274" y="988"/>
                  </a:lnTo>
                  <a:lnTo>
                    <a:pt x="273" y="989"/>
                  </a:lnTo>
                  <a:lnTo>
                    <a:pt x="272" y="988"/>
                  </a:lnTo>
                  <a:lnTo>
                    <a:pt x="271" y="988"/>
                  </a:lnTo>
                  <a:lnTo>
                    <a:pt x="272" y="989"/>
                  </a:lnTo>
                  <a:lnTo>
                    <a:pt x="272" y="990"/>
                  </a:lnTo>
                  <a:lnTo>
                    <a:pt x="273" y="990"/>
                  </a:lnTo>
                  <a:lnTo>
                    <a:pt x="273" y="992"/>
                  </a:lnTo>
                  <a:lnTo>
                    <a:pt x="272" y="992"/>
                  </a:lnTo>
                  <a:lnTo>
                    <a:pt x="268" y="989"/>
                  </a:lnTo>
                  <a:lnTo>
                    <a:pt x="268" y="993"/>
                  </a:lnTo>
                  <a:lnTo>
                    <a:pt x="267" y="994"/>
                  </a:lnTo>
                  <a:lnTo>
                    <a:pt x="267" y="995"/>
                  </a:lnTo>
                  <a:lnTo>
                    <a:pt x="268" y="995"/>
                  </a:lnTo>
                  <a:lnTo>
                    <a:pt x="269" y="996"/>
                  </a:lnTo>
                  <a:lnTo>
                    <a:pt x="268" y="997"/>
                  </a:lnTo>
                  <a:lnTo>
                    <a:pt x="262" y="996"/>
                  </a:lnTo>
                  <a:lnTo>
                    <a:pt x="265" y="999"/>
                  </a:lnTo>
                  <a:lnTo>
                    <a:pt x="263" y="1000"/>
                  </a:lnTo>
                  <a:lnTo>
                    <a:pt x="261" y="1000"/>
                  </a:lnTo>
                  <a:lnTo>
                    <a:pt x="260" y="1001"/>
                  </a:lnTo>
                  <a:lnTo>
                    <a:pt x="260" y="1002"/>
                  </a:lnTo>
                  <a:lnTo>
                    <a:pt x="255" y="1002"/>
                  </a:lnTo>
                  <a:lnTo>
                    <a:pt x="251" y="999"/>
                  </a:lnTo>
                  <a:lnTo>
                    <a:pt x="251" y="1000"/>
                  </a:lnTo>
                  <a:lnTo>
                    <a:pt x="249" y="1000"/>
                  </a:lnTo>
                  <a:lnTo>
                    <a:pt x="250" y="1001"/>
                  </a:lnTo>
                  <a:lnTo>
                    <a:pt x="251" y="1001"/>
                  </a:lnTo>
                  <a:lnTo>
                    <a:pt x="251" y="1003"/>
                  </a:lnTo>
                  <a:lnTo>
                    <a:pt x="250" y="1003"/>
                  </a:lnTo>
                  <a:lnTo>
                    <a:pt x="251" y="1005"/>
                  </a:lnTo>
                  <a:lnTo>
                    <a:pt x="254" y="1003"/>
                  </a:lnTo>
                  <a:lnTo>
                    <a:pt x="254" y="1006"/>
                  </a:lnTo>
                  <a:lnTo>
                    <a:pt x="253" y="1007"/>
                  </a:lnTo>
                  <a:lnTo>
                    <a:pt x="253" y="1008"/>
                  </a:lnTo>
                  <a:lnTo>
                    <a:pt x="251" y="1007"/>
                  </a:lnTo>
                  <a:lnTo>
                    <a:pt x="249" y="1006"/>
                  </a:lnTo>
                  <a:lnTo>
                    <a:pt x="247" y="1006"/>
                  </a:lnTo>
                  <a:lnTo>
                    <a:pt x="247" y="1007"/>
                  </a:lnTo>
                  <a:lnTo>
                    <a:pt x="248" y="1007"/>
                  </a:lnTo>
                  <a:lnTo>
                    <a:pt x="250" y="1009"/>
                  </a:lnTo>
                  <a:lnTo>
                    <a:pt x="249" y="1009"/>
                  </a:lnTo>
                  <a:lnTo>
                    <a:pt x="245" y="1011"/>
                  </a:lnTo>
                  <a:lnTo>
                    <a:pt x="230" y="1008"/>
                  </a:lnTo>
                  <a:lnTo>
                    <a:pt x="216" y="1007"/>
                  </a:lnTo>
                  <a:lnTo>
                    <a:pt x="217" y="1008"/>
                  </a:lnTo>
                  <a:lnTo>
                    <a:pt x="217" y="1009"/>
                  </a:lnTo>
                  <a:lnTo>
                    <a:pt x="213" y="1009"/>
                  </a:lnTo>
                  <a:lnTo>
                    <a:pt x="213" y="1011"/>
                  </a:lnTo>
                  <a:lnTo>
                    <a:pt x="215" y="1009"/>
                  </a:lnTo>
                  <a:lnTo>
                    <a:pt x="215" y="1011"/>
                  </a:lnTo>
                  <a:lnTo>
                    <a:pt x="216" y="1011"/>
                  </a:lnTo>
                  <a:lnTo>
                    <a:pt x="218" y="1012"/>
                  </a:lnTo>
                  <a:lnTo>
                    <a:pt x="219" y="1011"/>
                  </a:lnTo>
                  <a:lnTo>
                    <a:pt x="219" y="1009"/>
                  </a:lnTo>
                  <a:lnTo>
                    <a:pt x="220" y="1009"/>
                  </a:lnTo>
                  <a:lnTo>
                    <a:pt x="222" y="1011"/>
                  </a:lnTo>
                  <a:lnTo>
                    <a:pt x="222" y="1013"/>
                  </a:lnTo>
                  <a:lnTo>
                    <a:pt x="223" y="1013"/>
                  </a:lnTo>
                  <a:lnTo>
                    <a:pt x="224" y="1012"/>
                  </a:lnTo>
                  <a:lnTo>
                    <a:pt x="224" y="1008"/>
                  </a:lnTo>
                  <a:lnTo>
                    <a:pt x="225" y="1009"/>
                  </a:lnTo>
                  <a:lnTo>
                    <a:pt x="228" y="1011"/>
                  </a:lnTo>
                  <a:lnTo>
                    <a:pt x="234" y="1011"/>
                  </a:lnTo>
                  <a:lnTo>
                    <a:pt x="235" y="1012"/>
                  </a:lnTo>
                  <a:lnTo>
                    <a:pt x="240" y="1012"/>
                  </a:lnTo>
                  <a:lnTo>
                    <a:pt x="238" y="1013"/>
                  </a:lnTo>
                  <a:lnTo>
                    <a:pt x="240" y="1014"/>
                  </a:lnTo>
                  <a:lnTo>
                    <a:pt x="240" y="1015"/>
                  </a:lnTo>
                  <a:lnTo>
                    <a:pt x="241" y="1015"/>
                  </a:lnTo>
                  <a:lnTo>
                    <a:pt x="241" y="1017"/>
                  </a:lnTo>
                  <a:lnTo>
                    <a:pt x="242" y="1017"/>
                  </a:lnTo>
                  <a:lnTo>
                    <a:pt x="242" y="1018"/>
                  </a:lnTo>
                  <a:lnTo>
                    <a:pt x="241" y="1018"/>
                  </a:lnTo>
                  <a:lnTo>
                    <a:pt x="242" y="1019"/>
                  </a:lnTo>
                  <a:lnTo>
                    <a:pt x="243" y="1019"/>
                  </a:lnTo>
                  <a:lnTo>
                    <a:pt x="245" y="1021"/>
                  </a:lnTo>
                  <a:lnTo>
                    <a:pt x="244" y="1023"/>
                  </a:lnTo>
                  <a:lnTo>
                    <a:pt x="242" y="1023"/>
                  </a:lnTo>
                  <a:lnTo>
                    <a:pt x="242" y="1024"/>
                  </a:lnTo>
                  <a:lnTo>
                    <a:pt x="241" y="1025"/>
                  </a:lnTo>
                  <a:lnTo>
                    <a:pt x="238" y="1025"/>
                  </a:lnTo>
                  <a:lnTo>
                    <a:pt x="238" y="1026"/>
                  </a:lnTo>
                  <a:lnTo>
                    <a:pt x="236" y="1026"/>
                  </a:lnTo>
                  <a:lnTo>
                    <a:pt x="231" y="1025"/>
                  </a:lnTo>
                  <a:lnTo>
                    <a:pt x="224" y="1021"/>
                  </a:lnTo>
                  <a:lnTo>
                    <a:pt x="223" y="1023"/>
                  </a:lnTo>
                  <a:lnTo>
                    <a:pt x="225" y="1023"/>
                  </a:lnTo>
                  <a:lnTo>
                    <a:pt x="234" y="1027"/>
                  </a:lnTo>
                  <a:lnTo>
                    <a:pt x="235" y="1027"/>
                  </a:lnTo>
                  <a:lnTo>
                    <a:pt x="236" y="1029"/>
                  </a:lnTo>
                  <a:lnTo>
                    <a:pt x="236" y="1032"/>
                  </a:lnTo>
                  <a:lnTo>
                    <a:pt x="237" y="1032"/>
                  </a:lnTo>
                  <a:lnTo>
                    <a:pt x="237" y="1031"/>
                  </a:lnTo>
                  <a:lnTo>
                    <a:pt x="238" y="1031"/>
                  </a:lnTo>
                  <a:lnTo>
                    <a:pt x="238" y="1033"/>
                  </a:lnTo>
                  <a:lnTo>
                    <a:pt x="232" y="1032"/>
                  </a:lnTo>
                  <a:lnTo>
                    <a:pt x="236" y="1036"/>
                  </a:lnTo>
                  <a:lnTo>
                    <a:pt x="235" y="1036"/>
                  </a:lnTo>
                  <a:lnTo>
                    <a:pt x="236" y="1037"/>
                  </a:lnTo>
                  <a:lnTo>
                    <a:pt x="237" y="1037"/>
                  </a:lnTo>
                  <a:lnTo>
                    <a:pt x="237" y="1036"/>
                  </a:lnTo>
                  <a:lnTo>
                    <a:pt x="236" y="1036"/>
                  </a:lnTo>
                  <a:lnTo>
                    <a:pt x="238" y="1035"/>
                  </a:lnTo>
                  <a:lnTo>
                    <a:pt x="240" y="1035"/>
                  </a:lnTo>
                  <a:lnTo>
                    <a:pt x="240" y="1037"/>
                  </a:lnTo>
                  <a:lnTo>
                    <a:pt x="238" y="1037"/>
                  </a:lnTo>
                  <a:lnTo>
                    <a:pt x="238" y="1038"/>
                  </a:lnTo>
                  <a:lnTo>
                    <a:pt x="236" y="1038"/>
                  </a:lnTo>
                  <a:lnTo>
                    <a:pt x="236" y="1039"/>
                  </a:lnTo>
                  <a:lnTo>
                    <a:pt x="237" y="1039"/>
                  </a:lnTo>
                  <a:lnTo>
                    <a:pt x="240" y="1042"/>
                  </a:lnTo>
                  <a:lnTo>
                    <a:pt x="240" y="1043"/>
                  </a:lnTo>
                  <a:lnTo>
                    <a:pt x="241" y="1043"/>
                  </a:lnTo>
                  <a:lnTo>
                    <a:pt x="241" y="1046"/>
                  </a:lnTo>
                  <a:lnTo>
                    <a:pt x="240" y="1046"/>
                  </a:lnTo>
                  <a:lnTo>
                    <a:pt x="240" y="1048"/>
                  </a:lnTo>
                  <a:lnTo>
                    <a:pt x="241" y="1048"/>
                  </a:lnTo>
                  <a:lnTo>
                    <a:pt x="238" y="1050"/>
                  </a:lnTo>
                  <a:lnTo>
                    <a:pt x="236" y="1049"/>
                  </a:lnTo>
                  <a:lnTo>
                    <a:pt x="234" y="1046"/>
                  </a:lnTo>
                  <a:lnTo>
                    <a:pt x="232" y="1044"/>
                  </a:lnTo>
                  <a:lnTo>
                    <a:pt x="232" y="1046"/>
                  </a:lnTo>
                  <a:lnTo>
                    <a:pt x="235" y="1048"/>
                  </a:lnTo>
                  <a:lnTo>
                    <a:pt x="235" y="1049"/>
                  </a:lnTo>
                  <a:lnTo>
                    <a:pt x="234" y="1049"/>
                  </a:lnTo>
                  <a:lnTo>
                    <a:pt x="235" y="1050"/>
                  </a:lnTo>
                  <a:lnTo>
                    <a:pt x="236" y="1052"/>
                  </a:lnTo>
                  <a:lnTo>
                    <a:pt x="237" y="1054"/>
                  </a:lnTo>
                  <a:lnTo>
                    <a:pt x="236" y="1055"/>
                  </a:lnTo>
                  <a:lnTo>
                    <a:pt x="236" y="1056"/>
                  </a:lnTo>
                  <a:lnTo>
                    <a:pt x="235" y="1056"/>
                  </a:lnTo>
                  <a:lnTo>
                    <a:pt x="236" y="1057"/>
                  </a:lnTo>
                  <a:lnTo>
                    <a:pt x="237" y="1057"/>
                  </a:lnTo>
                  <a:lnTo>
                    <a:pt x="238" y="1058"/>
                  </a:lnTo>
                  <a:lnTo>
                    <a:pt x="237" y="1060"/>
                  </a:lnTo>
                  <a:lnTo>
                    <a:pt x="236" y="1058"/>
                  </a:lnTo>
                  <a:lnTo>
                    <a:pt x="235" y="1060"/>
                  </a:lnTo>
                  <a:lnTo>
                    <a:pt x="236" y="1061"/>
                  </a:lnTo>
                  <a:lnTo>
                    <a:pt x="235" y="1061"/>
                  </a:lnTo>
                  <a:lnTo>
                    <a:pt x="234" y="1058"/>
                  </a:lnTo>
                  <a:lnTo>
                    <a:pt x="234" y="1057"/>
                  </a:lnTo>
                  <a:lnTo>
                    <a:pt x="232" y="1058"/>
                  </a:lnTo>
                  <a:lnTo>
                    <a:pt x="232" y="1060"/>
                  </a:lnTo>
                  <a:lnTo>
                    <a:pt x="234" y="1062"/>
                  </a:lnTo>
                  <a:lnTo>
                    <a:pt x="235" y="1062"/>
                  </a:lnTo>
                  <a:lnTo>
                    <a:pt x="236" y="1063"/>
                  </a:lnTo>
                  <a:lnTo>
                    <a:pt x="237" y="1063"/>
                  </a:lnTo>
                  <a:lnTo>
                    <a:pt x="237" y="1066"/>
                  </a:lnTo>
                  <a:lnTo>
                    <a:pt x="240" y="1068"/>
                  </a:lnTo>
                  <a:lnTo>
                    <a:pt x="238" y="1068"/>
                  </a:lnTo>
                  <a:lnTo>
                    <a:pt x="237" y="1067"/>
                  </a:lnTo>
                  <a:lnTo>
                    <a:pt x="237" y="1068"/>
                  </a:lnTo>
                  <a:lnTo>
                    <a:pt x="238" y="1069"/>
                  </a:lnTo>
                  <a:lnTo>
                    <a:pt x="238" y="1070"/>
                  </a:lnTo>
                  <a:lnTo>
                    <a:pt x="236" y="1070"/>
                  </a:lnTo>
                  <a:lnTo>
                    <a:pt x="236" y="1069"/>
                  </a:lnTo>
                  <a:lnTo>
                    <a:pt x="235" y="1068"/>
                  </a:lnTo>
                  <a:lnTo>
                    <a:pt x="235" y="1069"/>
                  </a:lnTo>
                  <a:lnTo>
                    <a:pt x="231" y="1069"/>
                  </a:lnTo>
                  <a:lnTo>
                    <a:pt x="232" y="1068"/>
                  </a:lnTo>
                  <a:lnTo>
                    <a:pt x="231" y="1067"/>
                  </a:lnTo>
                  <a:lnTo>
                    <a:pt x="234" y="1067"/>
                  </a:lnTo>
                  <a:lnTo>
                    <a:pt x="228" y="1061"/>
                  </a:lnTo>
                  <a:lnTo>
                    <a:pt x="226" y="1061"/>
                  </a:lnTo>
                  <a:lnTo>
                    <a:pt x="226" y="1063"/>
                  </a:lnTo>
                  <a:lnTo>
                    <a:pt x="228" y="1063"/>
                  </a:lnTo>
                  <a:lnTo>
                    <a:pt x="229" y="1064"/>
                  </a:lnTo>
                  <a:lnTo>
                    <a:pt x="231" y="1066"/>
                  </a:lnTo>
                  <a:lnTo>
                    <a:pt x="230" y="1067"/>
                  </a:lnTo>
                  <a:lnTo>
                    <a:pt x="230" y="1069"/>
                  </a:lnTo>
                  <a:lnTo>
                    <a:pt x="229" y="1069"/>
                  </a:lnTo>
                  <a:lnTo>
                    <a:pt x="228" y="1068"/>
                  </a:lnTo>
                  <a:lnTo>
                    <a:pt x="226" y="1068"/>
                  </a:lnTo>
                  <a:lnTo>
                    <a:pt x="226" y="1069"/>
                  </a:lnTo>
                  <a:lnTo>
                    <a:pt x="225" y="1069"/>
                  </a:lnTo>
                  <a:lnTo>
                    <a:pt x="235" y="1080"/>
                  </a:lnTo>
                  <a:lnTo>
                    <a:pt x="236" y="1081"/>
                  </a:lnTo>
                  <a:lnTo>
                    <a:pt x="235" y="1081"/>
                  </a:lnTo>
                  <a:lnTo>
                    <a:pt x="232" y="1080"/>
                  </a:lnTo>
                  <a:lnTo>
                    <a:pt x="232" y="1079"/>
                  </a:lnTo>
                  <a:lnTo>
                    <a:pt x="229" y="1074"/>
                  </a:lnTo>
                  <a:lnTo>
                    <a:pt x="224" y="1069"/>
                  </a:lnTo>
                  <a:lnTo>
                    <a:pt x="224" y="1072"/>
                  </a:lnTo>
                  <a:lnTo>
                    <a:pt x="226" y="1073"/>
                  </a:lnTo>
                  <a:lnTo>
                    <a:pt x="229" y="1075"/>
                  </a:lnTo>
                  <a:lnTo>
                    <a:pt x="230" y="1078"/>
                  </a:lnTo>
                  <a:lnTo>
                    <a:pt x="234" y="1081"/>
                  </a:lnTo>
                  <a:lnTo>
                    <a:pt x="234" y="1082"/>
                  </a:lnTo>
                  <a:lnTo>
                    <a:pt x="235" y="1082"/>
                  </a:lnTo>
                  <a:lnTo>
                    <a:pt x="236" y="1083"/>
                  </a:lnTo>
                  <a:lnTo>
                    <a:pt x="236" y="1086"/>
                  </a:lnTo>
                  <a:lnTo>
                    <a:pt x="232" y="1085"/>
                  </a:lnTo>
                  <a:lnTo>
                    <a:pt x="231" y="1085"/>
                  </a:lnTo>
                  <a:lnTo>
                    <a:pt x="231" y="1086"/>
                  </a:lnTo>
                  <a:lnTo>
                    <a:pt x="232" y="1087"/>
                  </a:lnTo>
                  <a:lnTo>
                    <a:pt x="232" y="1091"/>
                  </a:lnTo>
                  <a:lnTo>
                    <a:pt x="231" y="1091"/>
                  </a:lnTo>
                  <a:lnTo>
                    <a:pt x="231" y="1092"/>
                  </a:lnTo>
                  <a:lnTo>
                    <a:pt x="230" y="1093"/>
                  </a:lnTo>
                  <a:lnTo>
                    <a:pt x="229" y="1092"/>
                  </a:lnTo>
                  <a:lnTo>
                    <a:pt x="229" y="1093"/>
                  </a:lnTo>
                  <a:lnTo>
                    <a:pt x="228" y="1093"/>
                  </a:lnTo>
                  <a:lnTo>
                    <a:pt x="229" y="1094"/>
                  </a:lnTo>
                  <a:lnTo>
                    <a:pt x="228" y="1094"/>
                  </a:lnTo>
                  <a:lnTo>
                    <a:pt x="228" y="1095"/>
                  </a:lnTo>
                  <a:lnTo>
                    <a:pt x="232" y="1095"/>
                  </a:lnTo>
                  <a:lnTo>
                    <a:pt x="234" y="1099"/>
                  </a:lnTo>
                  <a:lnTo>
                    <a:pt x="235" y="1101"/>
                  </a:lnTo>
                  <a:lnTo>
                    <a:pt x="235" y="1103"/>
                  </a:lnTo>
                  <a:lnTo>
                    <a:pt x="234" y="1103"/>
                  </a:lnTo>
                  <a:lnTo>
                    <a:pt x="235" y="1104"/>
                  </a:lnTo>
                  <a:lnTo>
                    <a:pt x="232" y="1104"/>
                  </a:lnTo>
                  <a:lnTo>
                    <a:pt x="232" y="1106"/>
                  </a:lnTo>
                  <a:lnTo>
                    <a:pt x="234" y="1106"/>
                  </a:lnTo>
                  <a:lnTo>
                    <a:pt x="235" y="1107"/>
                  </a:lnTo>
                  <a:lnTo>
                    <a:pt x="232" y="1107"/>
                  </a:lnTo>
                  <a:lnTo>
                    <a:pt x="232" y="1110"/>
                  </a:lnTo>
                  <a:lnTo>
                    <a:pt x="230" y="1109"/>
                  </a:lnTo>
                  <a:lnTo>
                    <a:pt x="229" y="1110"/>
                  </a:lnTo>
                  <a:lnTo>
                    <a:pt x="229" y="1111"/>
                  </a:lnTo>
                  <a:lnTo>
                    <a:pt x="230" y="1112"/>
                  </a:lnTo>
                  <a:lnTo>
                    <a:pt x="230" y="1113"/>
                  </a:lnTo>
                  <a:lnTo>
                    <a:pt x="229" y="1113"/>
                  </a:lnTo>
                  <a:lnTo>
                    <a:pt x="230" y="1115"/>
                  </a:lnTo>
                  <a:lnTo>
                    <a:pt x="226" y="1117"/>
                  </a:lnTo>
                  <a:lnTo>
                    <a:pt x="225" y="1118"/>
                  </a:lnTo>
                  <a:lnTo>
                    <a:pt x="226" y="1121"/>
                  </a:lnTo>
                  <a:lnTo>
                    <a:pt x="225" y="1122"/>
                  </a:lnTo>
                  <a:lnTo>
                    <a:pt x="225" y="1125"/>
                  </a:lnTo>
                  <a:lnTo>
                    <a:pt x="226" y="1128"/>
                  </a:lnTo>
                  <a:lnTo>
                    <a:pt x="228" y="1129"/>
                  </a:lnTo>
                  <a:lnTo>
                    <a:pt x="228" y="1130"/>
                  </a:lnTo>
                  <a:lnTo>
                    <a:pt x="229" y="1130"/>
                  </a:lnTo>
                  <a:lnTo>
                    <a:pt x="229" y="1131"/>
                  </a:lnTo>
                  <a:lnTo>
                    <a:pt x="230" y="1132"/>
                  </a:lnTo>
                  <a:lnTo>
                    <a:pt x="229" y="1134"/>
                  </a:lnTo>
                  <a:lnTo>
                    <a:pt x="230" y="1134"/>
                  </a:lnTo>
                  <a:lnTo>
                    <a:pt x="230" y="1136"/>
                  </a:lnTo>
                  <a:lnTo>
                    <a:pt x="229" y="1135"/>
                  </a:lnTo>
                  <a:lnTo>
                    <a:pt x="228" y="1135"/>
                  </a:lnTo>
                  <a:lnTo>
                    <a:pt x="228" y="1136"/>
                  </a:lnTo>
                  <a:lnTo>
                    <a:pt x="226" y="1136"/>
                  </a:lnTo>
                  <a:lnTo>
                    <a:pt x="225" y="1135"/>
                  </a:lnTo>
                  <a:lnTo>
                    <a:pt x="224" y="1135"/>
                  </a:lnTo>
                  <a:lnTo>
                    <a:pt x="225" y="1136"/>
                  </a:lnTo>
                  <a:lnTo>
                    <a:pt x="225" y="1137"/>
                  </a:lnTo>
                  <a:lnTo>
                    <a:pt x="224" y="1138"/>
                  </a:lnTo>
                  <a:lnTo>
                    <a:pt x="224" y="1141"/>
                  </a:lnTo>
                  <a:lnTo>
                    <a:pt x="225" y="1142"/>
                  </a:lnTo>
                  <a:lnTo>
                    <a:pt x="225" y="1144"/>
                  </a:lnTo>
                  <a:lnTo>
                    <a:pt x="224" y="1147"/>
                  </a:lnTo>
                  <a:lnTo>
                    <a:pt x="224" y="1150"/>
                  </a:lnTo>
                  <a:lnTo>
                    <a:pt x="223" y="1154"/>
                  </a:lnTo>
                  <a:lnTo>
                    <a:pt x="223" y="1155"/>
                  </a:lnTo>
                  <a:lnTo>
                    <a:pt x="224" y="1155"/>
                  </a:lnTo>
                  <a:lnTo>
                    <a:pt x="224" y="1156"/>
                  </a:lnTo>
                  <a:lnTo>
                    <a:pt x="223" y="1156"/>
                  </a:lnTo>
                  <a:lnTo>
                    <a:pt x="222" y="1158"/>
                  </a:lnTo>
                  <a:lnTo>
                    <a:pt x="220" y="1158"/>
                  </a:lnTo>
                  <a:lnTo>
                    <a:pt x="222" y="1159"/>
                  </a:lnTo>
                  <a:lnTo>
                    <a:pt x="222" y="1166"/>
                  </a:lnTo>
                  <a:lnTo>
                    <a:pt x="219" y="1166"/>
                  </a:lnTo>
                  <a:lnTo>
                    <a:pt x="219" y="1165"/>
                  </a:lnTo>
                  <a:lnTo>
                    <a:pt x="218" y="1166"/>
                  </a:lnTo>
                  <a:lnTo>
                    <a:pt x="217" y="1166"/>
                  </a:lnTo>
                  <a:lnTo>
                    <a:pt x="217" y="1167"/>
                  </a:lnTo>
                  <a:lnTo>
                    <a:pt x="216" y="1169"/>
                  </a:lnTo>
                  <a:lnTo>
                    <a:pt x="216" y="1171"/>
                  </a:lnTo>
                  <a:lnTo>
                    <a:pt x="215" y="1172"/>
                  </a:lnTo>
                  <a:lnTo>
                    <a:pt x="215" y="1175"/>
                  </a:lnTo>
                  <a:lnTo>
                    <a:pt x="213" y="1175"/>
                  </a:lnTo>
                  <a:lnTo>
                    <a:pt x="213" y="1177"/>
                  </a:lnTo>
                  <a:lnTo>
                    <a:pt x="210" y="1184"/>
                  </a:lnTo>
                  <a:lnTo>
                    <a:pt x="209" y="1190"/>
                  </a:lnTo>
                  <a:lnTo>
                    <a:pt x="207" y="1197"/>
                  </a:lnTo>
                  <a:lnTo>
                    <a:pt x="206" y="1198"/>
                  </a:lnTo>
                  <a:lnTo>
                    <a:pt x="206" y="1199"/>
                  </a:lnTo>
                  <a:lnTo>
                    <a:pt x="203" y="1203"/>
                  </a:lnTo>
                  <a:lnTo>
                    <a:pt x="200" y="1208"/>
                  </a:lnTo>
                  <a:lnTo>
                    <a:pt x="200" y="1209"/>
                  </a:lnTo>
                  <a:lnTo>
                    <a:pt x="198" y="1209"/>
                  </a:lnTo>
                  <a:lnTo>
                    <a:pt x="197" y="1208"/>
                  </a:lnTo>
                  <a:lnTo>
                    <a:pt x="198" y="1205"/>
                  </a:lnTo>
                  <a:lnTo>
                    <a:pt x="199" y="1204"/>
                  </a:lnTo>
                  <a:lnTo>
                    <a:pt x="198" y="1203"/>
                  </a:lnTo>
                  <a:lnTo>
                    <a:pt x="195" y="1204"/>
                  </a:lnTo>
                  <a:lnTo>
                    <a:pt x="194" y="1204"/>
                  </a:lnTo>
                  <a:lnTo>
                    <a:pt x="194" y="1203"/>
                  </a:lnTo>
                  <a:lnTo>
                    <a:pt x="193" y="1203"/>
                  </a:lnTo>
                  <a:lnTo>
                    <a:pt x="193" y="1202"/>
                  </a:lnTo>
                  <a:lnTo>
                    <a:pt x="192" y="1202"/>
                  </a:lnTo>
                  <a:lnTo>
                    <a:pt x="191" y="1201"/>
                  </a:lnTo>
                  <a:lnTo>
                    <a:pt x="191" y="1202"/>
                  </a:lnTo>
                  <a:lnTo>
                    <a:pt x="188" y="1204"/>
                  </a:lnTo>
                  <a:lnTo>
                    <a:pt x="188" y="1202"/>
                  </a:lnTo>
                  <a:lnTo>
                    <a:pt x="189" y="1201"/>
                  </a:lnTo>
                  <a:lnTo>
                    <a:pt x="188" y="1201"/>
                  </a:lnTo>
                  <a:lnTo>
                    <a:pt x="186" y="1202"/>
                  </a:lnTo>
                  <a:lnTo>
                    <a:pt x="185" y="1203"/>
                  </a:lnTo>
                  <a:lnTo>
                    <a:pt x="185" y="1204"/>
                  </a:lnTo>
                  <a:lnTo>
                    <a:pt x="184" y="1204"/>
                  </a:lnTo>
                  <a:lnTo>
                    <a:pt x="182" y="1203"/>
                  </a:lnTo>
                  <a:lnTo>
                    <a:pt x="182" y="1202"/>
                  </a:lnTo>
                  <a:lnTo>
                    <a:pt x="181" y="1202"/>
                  </a:lnTo>
                  <a:lnTo>
                    <a:pt x="180" y="1203"/>
                  </a:lnTo>
                  <a:lnTo>
                    <a:pt x="180" y="1205"/>
                  </a:lnTo>
                  <a:lnTo>
                    <a:pt x="176" y="1205"/>
                  </a:lnTo>
                  <a:lnTo>
                    <a:pt x="176" y="1202"/>
                  </a:lnTo>
                  <a:lnTo>
                    <a:pt x="174" y="1204"/>
                  </a:lnTo>
                  <a:lnTo>
                    <a:pt x="172" y="1204"/>
                  </a:lnTo>
                  <a:lnTo>
                    <a:pt x="170" y="1203"/>
                  </a:lnTo>
                  <a:lnTo>
                    <a:pt x="169" y="1203"/>
                  </a:lnTo>
                  <a:lnTo>
                    <a:pt x="169" y="1204"/>
                  </a:lnTo>
                  <a:lnTo>
                    <a:pt x="168" y="1204"/>
                  </a:lnTo>
                  <a:lnTo>
                    <a:pt x="167" y="1203"/>
                  </a:lnTo>
                  <a:lnTo>
                    <a:pt x="167" y="1202"/>
                  </a:lnTo>
                  <a:lnTo>
                    <a:pt x="166" y="1202"/>
                  </a:lnTo>
                  <a:lnTo>
                    <a:pt x="166" y="1204"/>
                  </a:lnTo>
                  <a:lnTo>
                    <a:pt x="163" y="1203"/>
                  </a:lnTo>
                  <a:lnTo>
                    <a:pt x="161" y="1203"/>
                  </a:lnTo>
                  <a:lnTo>
                    <a:pt x="160" y="1204"/>
                  </a:lnTo>
                  <a:lnTo>
                    <a:pt x="158" y="1203"/>
                  </a:lnTo>
                  <a:lnTo>
                    <a:pt x="157" y="1203"/>
                  </a:lnTo>
                  <a:lnTo>
                    <a:pt x="157" y="1204"/>
                  </a:lnTo>
                  <a:lnTo>
                    <a:pt x="156" y="1205"/>
                  </a:lnTo>
                  <a:lnTo>
                    <a:pt x="156" y="1204"/>
                  </a:lnTo>
                  <a:lnTo>
                    <a:pt x="155" y="1204"/>
                  </a:lnTo>
                  <a:lnTo>
                    <a:pt x="154" y="1203"/>
                  </a:lnTo>
                  <a:lnTo>
                    <a:pt x="153" y="1203"/>
                  </a:lnTo>
                  <a:lnTo>
                    <a:pt x="151" y="1204"/>
                  </a:lnTo>
                  <a:lnTo>
                    <a:pt x="150" y="1204"/>
                  </a:lnTo>
                  <a:lnTo>
                    <a:pt x="150" y="1208"/>
                  </a:lnTo>
                  <a:lnTo>
                    <a:pt x="151" y="1208"/>
                  </a:lnTo>
                  <a:lnTo>
                    <a:pt x="151" y="1209"/>
                  </a:lnTo>
                  <a:lnTo>
                    <a:pt x="153" y="1209"/>
                  </a:lnTo>
                  <a:lnTo>
                    <a:pt x="154" y="1211"/>
                  </a:lnTo>
                  <a:lnTo>
                    <a:pt x="154" y="1214"/>
                  </a:lnTo>
                  <a:lnTo>
                    <a:pt x="153" y="1214"/>
                  </a:lnTo>
                  <a:lnTo>
                    <a:pt x="153" y="1215"/>
                  </a:lnTo>
                  <a:lnTo>
                    <a:pt x="151" y="1216"/>
                  </a:lnTo>
                  <a:lnTo>
                    <a:pt x="151" y="1215"/>
                  </a:lnTo>
                  <a:lnTo>
                    <a:pt x="148" y="1215"/>
                  </a:lnTo>
                  <a:lnTo>
                    <a:pt x="148" y="1212"/>
                  </a:lnTo>
                  <a:lnTo>
                    <a:pt x="145" y="1212"/>
                  </a:lnTo>
                  <a:lnTo>
                    <a:pt x="145" y="1211"/>
                  </a:lnTo>
                  <a:lnTo>
                    <a:pt x="144" y="1212"/>
                  </a:lnTo>
                  <a:lnTo>
                    <a:pt x="143" y="1212"/>
                  </a:lnTo>
                  <a:lnTo>
                    <a:pt x="142" y="1214"/>
                  </a:lnTo>
                  <a:lnTo>
                    <a:pt x="141" y="1216"/>
                  </a:lnTo>
                  <a:lnTo>
                    <a:pt x="138" y="1217"/>
                  </a:lnTo>
                  <a:lnTo>
                    <a:pt x="138" y="1218"/>
                  </a:lnTo>
                  <a:lnTo>
                    <a:pt x="137" y="1218"/>
                  </a:lnTo>
                  <a:lnTo>
                    <a:pt x="136" y="1220"/>
                  </a:lnTo>
                  <a:lnTo>
                    <a:pt x="136" y="1221"/>
                  </a:lnTo>
                  <a:lnTo>
                    <a:pt x="135" y="1222"/>
                  </a:lnTo>
                  <a:lnTo>
                    <a:pt x="135" y="1223"/>
                  </a:lnTo>
                  <a:lnTo>
                    <a:pt x="133" y="1223"/>
                  </a:lnTo>
                  <a:lnTo>
                    <a:pt x="131" y="1226"/>
                  </a:lnTo>
                  <a:lnTo>
                    <a:pt x="130" y="1229"/>
                  </a:lnTo>
                  <a:lnTo>
                    <a:pt x="130" y="1238"/>
                  </a:lnTo>
                  <a:lnTo>
                    <a:pt x="133" y="1241"/>
                  </a:lnTo>
                  <a:lnTo>
                    <a:pt x="133" y="1245"/>
                  </a:lnTo>
                  <a:lnTo>
                    <a:pt x="137" y="1248"/>
                  </a:lnTo>
                  <a:lnTo>
                    <a:pt x="137" y="1252"/>
                  </a:lnTo>
                  <a:lnTo>
                    <a:pt x="136" y="1252"/>
                  </a:lnTo>
                  <a:lnTo>
                    <a:pt x="133" y="1255"/>
                  </a:lnTo>
                  <a:lnTo>
                    <a:pt x="132" y="1257"/>
                  </a:lnTo>
                  <a:lnTo>
                    <a:pt x="131" y="1260"/>
                  </a:lnTo>
                  <a:lnTo>
                    <a:pt x="130" y="1260"/>
                  </a:lnTo>
                  <a:lnTo>
                    <a:pt x="129" y="1261"/>
                  </a:lnTo>
                  <a:lnTo>
                    <a:pt x="123" y="1261"/>
                  </a:lnTo>
                  <a:lnTo>
                    <a:pt x="120" y="1258"/>
                  </a:lnTo>
                  <a:lnTo>
                    <a:pt x="116" y="1258"/>
                  </a:lnTo>
                  <a:lnTo>
                    <a:pt x="114" y="1259"/>
                  </a:lnTo>
                  <a:lnTo>
                    <a:pt x="112" y="1258"/>
                  </a:lnTo>
                  <a:lnTo>
                    <a:pt x="107" y="1259"/>
                  </a:lnTo>
                  <a:lnTo>
                    <a:pt x="106" y="1259"/>
                  </a:lnTo>
                  <a:lnTo>
                    <a:pt x="106" y="1260"/>
                  </a:lnTo>
                  <a:lnTo>
                    <a:pt x="105" y="1260"/>
                  </a:lnTo>
                  <a:lnTo>
                    <a:pt x="105" y="1261"/>
                  </a:lnTo>
                  <a:lnTo>
                    <a:pt x="100" y="1261"/>
                  </a:lnTo>
                  <a:lnTo>
                    <a:pt x="97" y="1264"/>
                  </a:lnTo>
                  <a:lnTo>
                    <a:pt x="95" y="1265"/>
                  </a:lnTo>
                  <a:lnTo>
                    <a:pt x="92" y="1265"/>
                  </a:lnTo>
                  <a:lnTo>
                    <a:pt x="85" y="1263"/>
                  </a:lnTo>
                  <a:lnTo>
                    <a:pt x="82" y="1263"/>
                  </a:lnTo>
                  <a:lnTo>
                    <a:pt x="81" y="1261"/>
                  </a:lnTo>
                  <a:lnTo>
                    <a:pt x="80" y="1261"/>
                  </a:lnTo>
                  <a:lnTo>
                    <a:pt x="80" y="1260"/>
                  </a:lnTo>
                  <a:lnTo>
                    <a:pt x="77" y="1260"/>
                  </a:lnTo>
                  <a:lnTo>
                    <a:pt x="77" y="1261"/>
                  </a:lnTo>
                  <a:lnTo>
                    <a:pt x="73" y="1261"/>
                  </a:lnTo>
                  <a:lnTo>
                    <a:pt x="73" y="1260"/>
                  </a:lnTo>
                  <a:lnTo>
                    <a:pt x="74" y="1258"/>
                  </a:lnTo>
                  <a:lnTo>
                    <a:pt x="75" y="1258"/>
                  </a:lnTo>
                  <a:lnTo>
                    <a:pt x="75" y="1259"/>
                  </a:lnTo>
                  <a:lnTo>
                    <a:pt x="76" y="1259"/>
                  </a:lnTo>
                  <a:lnTo>
                    <a:pt x="77" y="1258"/>
                  </a:lnTo>
                  <a:lnTo>
                    <a:pt x="77" y="1257"/>
                  </a:lnTo>
                  <a:lnTo>
                    <a:pt x="79" y="1257"/>
                  </a:lnTo>
                  <a:lnTo>
                    <a:pt x="79" y="1255"/>
                  </a:lnTo>
                  <a:lnTo>
                    <a:pt x="76" y="1252"/>
                  </a:lnTo>
                  <a:lnTo>
                    <a:pt x="76" y="1247"/>
                  </a:lnTo>
                  <a:lnTo>
                    <a:pt x="77" y="1246"/>
                  </a:lnTo>
                  <a:lnTo>
                    <a:pt x="81" y="1244"/>
                  </a:lnTo>
                  <a:lnTo>
                    <a:pt x="81" y="1242"/>
                  </a:lnTo>
                  <a:lnTo>
                    <a:pt x="82" y="1241"/>
                  </a:lnTo>
                  <a:lnTo>
                    <a:pt x="82" y="1239"/>
                  </a:lnTo>
                  <a:lnTo>
                    <a:pt x="80" y="1236"/>
                  </a:lnTo>
                  <a:lnTo>
                    <a:pt x="79" y="1236"/>
                  </a:lnTo>
                  <a:lnTo>
                    <a:pt x="77" y="1235"/>
                  </a:lnTo>
                  <a:lnTo>
                    <a:pt x="76" y="1235"/>
                  </a:lnTo>
                  <a:lnTo>
                    <a:pt x="76" y="1228"/>
                  </a:lnTo>
                  <a:lnTo>
                    <a:pt x="75" y="1227"/>
                  </a:lnTo>
                  <a:lnTo>
                    <a:pt x="73" y="1226"/>
                  </a:lnTo>
                  <a:lnTo>
                    <a:pt x="71" y="1224"/>
                  </a:lnTo>
                  <a:lnTo>
                    <a:pt x="71" y="1221"/>
                  </a:lnTo>
                  <a:lnTo>
                    <a:pt x="70" y="1221"/>
                  </a:lnTo>
                  <a:lnTo>
                    <a:pt x="70" y="1220"/>
                  </a:lnTo>
                  <a:lnTo>
                    <a:pt x="69" y="1218"/>
                  </a:lnTo>
                  <a:lnTo>
                    <a:pt x="69" y="1216"/>
                  </a:lnTo>
                  <a:lnTo>
                    <a:pt x="67" y="1214"/>
                  </a:lnTo>
                  <a:lnTo>
                    <a:pt x="67" y="1212"/>
                  </a:lnTo>
                  <a:lnTo>
                    <a:pt x="63" y="1207"/>
                  </a:lnTo>
                  <a:lnTo>
                    <a:pt x="61" y="1203"/>
                  </a:lnTo>
                  <a:lnTo>
                    <a:pt x="61" y="1199"/>
                  </a:lnTo>
                  <a:lnTo>
                    <a:pt x="60" y="1199"/>
                  </a:lnTo>
                  <a:lnTo>
                    <a:pt x="60" y="1197"/>
                  </a:lnTo>
                  <a:lnTo>
                    <a:pt x="58" y="1195"/>
                  </a:lnTo>
                  <a:lnTo>
                    <a:pt x="56" y="1192"/>
                  </a:lnTo>
                  <a:lnTo>
                    <a:pt x="64" y="1196"/>
                  </a:lnTo>
                  <a:lnTo>
                    <a:pt x="64" y="1197"/>
                  </a:lnTo>
                  <a:lnTo>
                    <a:pt x="67" y="1199"/>
                  </a:lnTo>
                  <a:lnTo>
                    <a:pt x="68" y="1199"/>
                  </a:lnTo>
                  <a:lnTo>
                    <a:pt x="68" y="1198"/>
                  </a:lnTo>
                  <a:lnTo>
                    <a:pt x="71" y="1198"/>
                  </a:lnTo>
                  <a:lnTo>
                    <a:pt x="73" y="1197"/>
                  </a:lnTo>
                  <a:lnTo>
                    <a:pt x="73" y="1195"/>
                  </a:lnTo>
                  <a:lnTo>
                    <a:pt x="70" y="1193"/>
                  </a:lnTo>
                  <a:lnTo>
                    <a:pt x="69" y="1192"/>
                  </a:lnTo>
                  <a:lnTo>
                    <a:pt x="68" y="1189"/>
                  </a:lnTo>
                  <a:lnTo>
                    <a:pt x="64" y="1186"/>
                  </a:lnTo>
                  <a:lnTo>
                    <a:pt x="63" y="1184"/>
                  </a:lnTo>
                  <a:lnTo>
                    <a:pt x="66" y="1181"/>
                  </a:lnTo>
                  <a:lnTo>
                    <a:pt x="68" y="1180"/>
                  </a:lnTo>
                  <a:lnTo>
                    <a:pt x="73" y="1183"/>
                  </a:lnTo>
                  <a:lnTo>
                    <a:pt x="75" y="1181"/>
                  </a:lnTo>
                  <a:lnTo>
                    <a:pt x="75" y="1180"/>
                  </a:lnTo>
                  <a:lnTo>
                    <a:pt x="76" y="1179"/>
                  </a:lnTo>
                  <a:lnTo>
                    <a:pt x="76" y="1174"/>
                  </a:lnTo>
                  <a:lnTo>
                    <a:pt x="75" y="1171"/>
                  </a:lnTo>
                  <a:lnTo>
                    <a:pt x="75" y="1167"/>
                  </a:lnTo>
                  <a:lnTo>
                    <a:pt x="74" y="1166"/>
                  </a:lnTo>
                  <a:lnTo>
                    <a:pt x="71" y="1166"/>
                  </a:lnTo>
                  <a:lnTo>
                    <a:pt x="70" y="1167"/>
                  </a:lnTo>
                  <a:lnTo>
                    <a:pt x="68" y="1167"/>
                  </a:lnTo>
                  <a:lnTo>
                    <a:pt x="66" y="1164"/>
                  </a:lnTo>
                  <a:lnTo>
                    <a:pt x="66" y="1161"/>
                  </a:lnTo>
                  <a:lnTo>
                    <a:pt x="64" y="1161"/>
                  </a:lnTo>
                  <a:lnTo>
                    <a:pt x="64" y="1160"/>
                  </a:lnTo>
                  <a:lnTo>
                    <a:pt x="63" y="1159"/>
                  </a:lnTo>
                  <a:lnTo>
                    <a:pt x="62" y="1155"/>
                  </a:lnTo>
                  <a:lnTo>
                    <a:pt x="63" y="1154"/>
                  </a:lnTo>
                  <a:lnTo>
                    <a:pt x="62" y="1153"/>
                  </a:lnTo>
                  <a:lnTo>
                    <a:pt x="60" y="1152"/>
                  </a:lnTo>
                  <a:lnTo>
                    <a:pt x="60" y="1150"/>
                  </a:lnTo>
                  <a:lnTo>
                    <a:pt x="58" y="1150"/>
                  </a:lnTo>
                  <a:lnTo>
                    <a:pt x="58" y="1149"/>
                  </a:lnTo>
                  <a:lnTo>
                    <a:pt x="56" y="1147"/>
                  </a:lnTo>
                  <a:lnTo>
                    <a:pt x="55" y="1147"/>
                  </a:lnTo>
                  <a:lnTo>
                    <a:pt x="54" y="1146"/>
                  </a:lnTo>
                  <a:lnTo>
                    <a:pt x="52" y="1146"/>
                  </a:lnTo>
                  <a:lnTo>
                    <a:pt x="51" y="1144"/>
                  </a:lnTo>
                  <a:lnTo>
                    <a:pt x="51" y="1142"/>
                  </a:lnTo>
                  <a:lnTo>
                    <a:pt x="52" y="1141"/>
                  </a:lnTo>
                  <a:lnTo>
                    <a:pt x="52" y="1138"/>
                  </a:lnTo>
                  <a:lnTo>
                    <a:pt x="51" y="1138"/>
                  </a:lnTo>
                  <a:lnTo>
                    <a:pt x="51" y="1137"/>
                  </a:lnTo>
                  <a:lnTo>
                    <a:pt x="50" y="1137"/>
                  </a:lnTo>
                  <a:lnTo>
                    <a:pt x="48" y="1135"/>
                  </a:lnTo>
                  <a:lnTo>
                    <a:pt x="48" y="1132"/>
                  </a:lnTo>
                  <a:lnTo>
                    <a:pt x="46" y="1132"/>
                  </a:lnTo>
                  <a:lnTo>
                    <a:pt x="48" y="1131"/>
                  </a:lnTo>
                  <a:lnTo>
                    <a:pt x="48" y="1130"/>
                  </a:lnTo>
                  <a:lnTo>
                    <a:pt x="45" y="1128"/>
                  </a:lnTo>
                  <a:lnTo>
                    <a:pt x="45" y="1125"/>
                  </a:lnTo>
                  <a:lnTo>
                    <a:pt x="44" y="1125"/>
                  </a:lnTo>
                  <a:lnTo>
                    <a:pt x="45" y="1123"/>
                  </a:lnTo>
                  <a:lnTo>
                    <a:pt x="44" y="1123"/>
                  </a:lnTo>
                  <a:lnTo>
                    <a:pt x="42" y="1121"/>
                  </a:lnTo>
                  <a:lnTo>
                    <a:pt x="43" y="1121"/>
                  </a:lnTo>
                  <a:lnTo>
                    <a:pt x="43" y="1119"/>
                  </a:lnTo>
                  <a:lnTo>
                    <a:pt x="42" y="1119"/>
                  </a:lnTo>
                  <a:lnTo>
                    <a:pt x="42" y="1118"/>
                  </a:lnTo>
                  <a:lnTo>
                    <a:pt x="43" y="1118"/>
                  </a:lnTo>
                  <a:lnTo>
                    <a:pt x="43" y="1113"/>
                  </a:lnTo>
                  <a:lnTo>
                    <a:pt x="42" y="1113"/>
                  </a:lnTo>
                  <a:lnTo>
                    <a:pt x="42" y="1112"/>
                  </a:lnTo>
                  <a:lnTo>
                    <a:pt x="40" y="1112"/>
                  </a:lnTo>
                  <a:lnTo>
                    <a:pt x="40" y="1113"/>
                  </a:lnTo>
                  <a:lnTo>
                    <a:pt x="39" y="1112"/>
                  </a:lnTo>
                  <a:lnTo>
                    <a:pt x="40" y="1111"/>
                  </a:lnTo>
                  <a:lnTo>
                    <a:pt x="40" y="1110"/>
                  </a:lnTo>
                  <a:lnTo>
                    <a:pt x="42" y="1109"/>
                  </a:lnTo>
                  <a:lnTo>
                    <a:pt x="40" y="1109"/>
                  </a:lnTo>
                  <a:lnTo>
                    <a:pt x="42" y="1107"/>
                  </a:lnTo>
                  <a:lnTo>
                    <a:pt x="40" y="1106"/>
                  </a:lnTo>
                  <a:lnTo>
                    <a:pt x="39" y="1104"/>
                  </a:lnTo>
                  <a:lnTo>
                    <a:pt x="38" y="1104"/>
                  </a:lnTo>
                  <a:lnTo>
                    <a:pt x="37" y="1105"/>
                  </a:lnTo>
                  <a:lnTo>
                    <a:pt x="37" y="1112"/>
                  </a:lnTo>
                  <a:lnTo>
                    <a:pt x="36" y="1111"/>
                  </a:lnTo>
                  <a:lnTo>
                    <a:pt x="35" y="1111"/>
                  </a:lnTo>
                  <a:lnTo>
                    <a:pt x="35" y="1109"/>
                  </a:lnTo>
                  <a:lnTo>
                    <a:pt x="33" y="1109"/>
                  </a:lnTo>
                  <a:lnTo>
                    <a:pt x="33" y="1103"/>
                  </a:lnTo>
                  <a:lnTo>
                    <a:pt x="35" y="1101"/>
                  </a:lnTo>
                  <a:lnTo>
                    <a:pt x="35" y="1100"/>
                  </a:lnTo>
                  <a:lnTo>
                    <a:pt x="33" y="1100"/>
                  </a:lnTo>
                  <a:lnTo>
                    <a:pt x="35" y="1099"/>
                  </a:lnTo>
                  <a:lnTo>
                    <a:pt x="33" y="1099"/>
                  </a:lnTo>
                  <a:lnTo>
                    <a:pt x="33" y="1091"/>
                  </a:lnTo>
                  <a:lnTo>
                    <a:pt x="32" y="1092"/>
                  </a:lnTo>
                  <a:lnTo>
                    <a:pt x="31" y="1091"/>
                  </a:lnTo>
                  <a:lnTo>
                    <a:pt x="31" y="1088"/>
                  </a:lnTo>
                  <a:lnTo>
                    <a:pt x="30" y="1087"/>
                  </a:lnTo>
                  <a:lnTo>
                    <a:pt x="31" y="1086"/>
                  </a:lnTo>
                  <a:lnTo>
                    <a:pt x="33" y="1086"/>
                  </a:lnTo>
                  <a:lnTo>
                    <a:pt x="35" y="1085"/>
                  </a:lnTo>
                  <a:lnTo>
                    <a:pt x="30" y="1085"/>
                  </a:lnTo>
                  <a:lnTo>
                    <a:pt x="27" y="1083"/>
                  </a:lnTo>
                  <a:lnTo>
                    <a:pt x="26" y="1083"/>
                  </a:lnTo>
                  <a:lnTo>
                    <a:pt x="26" y="1085"/>
                  </a:lnTo>
                  <a:lnTo>
                    <a:pt x="25" y="1085"/>
                  </a:lnTo>
                  <a:lnTo>
                    <a:pt x="25" y="1082"/>
                  </a:lnTo>
                  <a:lnTo>
                    <a:pt x="29" y="1079"/>
                  </a:lnTo>
                  <a:lnTo>
                    <a:pt x="30" y="1079"/>
                  </a:lnTo>
                  <a:lnTo>
                    <a:pt x="29" y="1078"/>
                  </a:lnTo>
                  <a:lnTo>
                    <a:pt x="26" y="1078"/>
                  </a:lnTo>
                  <a:lnTo>
                    <a:pt x="26" y="1076"/>
                  </a:lnTo>
                  <a:lnTo>
                    <a:pt x="24" y="1074"/>
                  </a:lnTo>
                  <a:lnTo>
                    <a:pt x="23" y="1074"/>
                  </a:lnTo>
                  <a:lnTo>
                    <a:pt x="24" y="1073"/>
                  </a:lnTo>
                  <a:lnTo>
                    <a:pt x="24" y="1072"/>
                  </a:lnTo>
                  <a:lnTo>
                    <a:pt x="25" y="1072"/>
                  </a:lnTo>
                  <a:lnTo>
                    <a:pt x="24" y="1070"/>
                  </a:lnTo>
                  <a:lnTo>
                    <a:pt x="25" y="1069"/>
                  </a:lnTo>
                  <a:lnTo>
                    <a:pt x="27" y="1069"/>
                  </a:lnTo>
                  <a:lnTo>
                    <a:pt x="27" y="1067"/>
                  </a:lnTo>
                  <a:lnTo>
                    <a:pt x="26" y="1066"/>
                  </a:lnTo>
                  <a:lnTo>
                    <a:pt x="26" y="1064"/>
                  </a:lnTo>
                  <a:lnTo>
                    <a:pt x="29" y="1061"/>
                  </a:lnTo>
                  <a:lnTo>
                    <a:pt x="29" y="1052"/>
                  </a:lnTo>
                  <a:lnTo>
                    <a:pt x="30" y="1052"/>
                  </a:lnTo>
                  <a:lnTo>
                    <a:pt x="30" y="1049"/>
                  </a:lnTo>
                  <a:lnTo>
                    <a:pt x="29" y="1051"/>
                  </a:lnTo>
                  <a:lnTo>
                    <a:pt x="27" y="1051"/>
                  </a:lnTo>
                  <a:lnTo>
                    <a:pt x="25" y="1052"/>
                  </a:lnTo>
                  <a:lnTo>
                    <a:pt x="21" y="1052"/>
                  </a:lnTo>
                  <a:lnTo>
                    <a:pt x="21" y="1051"/>
                  </a:lnTo>
                  <a:lnTo>
                    <a:pt x="19" y="1051"/>
                  </a:lnTo>
                  <a:lnTo>
                    <a:pt x="17" y="1054"/>
                  </a:lnTo>
                  <a:lnTo>
                    <a:pt x="15" y="1054"/>
                  </a:lnTo>
                  <a:lnTo>
                    <a:pt x="12" y="1050"/>
                  </a:lnTo>
                  <a:lnTo>
                    <a:pt x="12" y="1049"/>
                  </a:lnTo>
                  <a:lnTo>
                    <a:pt x="13" y="1048"/>
                  </a:lnTo>
                  <a:lnTo>
                    <a:pt x="18" y="1044"/>
                  </a:lnTo>
                  <a:lnTo>
                    <a:pt x="20" y="1042"/>
                  </a:lnTo>
                  <a:lnTo>
                    <a:pt x="23" y="1042"/>
                  </a:lnTo>
                  <a:lnTo>
                    <a:pt x="23" y="1039"/>
                  </a:lnTo>
                  <a:lnTo>
                    <a:pt x="24" y="1039"/>
                  </a:lnTo>
                  <a:lnTo>
                    <a:pt x="24" y="1038"/>
                  </a:lnTo>
                  <a:lnTo>
                    <a:pt x="25" y="1037"/>
                  </a:lnTo>
                  <a:lnTo>
                    <a:pt x="26" y="1038"/>
                  </a:lnTo>
                  <a:lnTo>
                    <a:pt x="26" y="1039"/>
                  </a:lnTo>
                  <a:lnTo>
                    <a:pt x="29" y="1042"/>
                  </a:lnTo>
                  <a:lnTo>
                    <a:pt x="29" y="1043"/>
                  </a:lnTo>
                  <a:lnTo>
                    <a:pt x="30" y="1044"/>
                  </a:lnTo>
                  <a:lnTo>
                    <a:pt x="30" y="1045"/>
                  </a:lnTo>
                  <a:lnTo>
                    <a:pt x="32" y="1045"/>
                  </a:lnTo>
                  <a:lnTo>
                    <a:pt x="32" y="1044"/>
                  </a:lnTo>
                  <a:lnTo>
                    <a:pt x="31" y="1043"/>
                  </a:lnTo>
                  <a:lnTo>
                    <a:pt x="31" y="1040"/>
                  </a:lnTo>
                  <a:lnTo>
                    <a:pt x="30" y="1039"/>
                  </a:lnTo>
                  <a:lnTo>
                    <a:pt x="30" y="1038"/>
                  </a:lnTo>
                  <a:lnTo>
                    <a:pt x="29" y="1037"/>
                  </a:lnTo>
                  <a:lnTo>
                    <a:pt x="30" y="1036"/>
                  </a:lnTo>
                  <a:lnTo>
                    <a:pt x="32" y="1035"/>
                  </a:lnTo>
                  <a:lnTo>
                    <a:pt x="32" y="1033"/>
                  </a:lnTo>
                  <a:lnTo>
                    <a:pt x="31" y="1033"/>
                  </a:lnTo>
                  <a:lnTo>
                    <a:pt x="29" y="1035"/>
                  </a:lnTo>
                  <a:lnTo>
                    <a:pt x="26" y="1035"/>
                  </a:lnTo>
                  <a:lnTo>
                    <a:pt x="26" y="1036"/>
                  </a:lnTo>
                  <a:lnTo>
                    <a:pt x="24" y="1036"/>
                  </a:lnTo>
                  <a:lnTo>
                    <a:pt x="21" y="1038"/>
                  </a:lnTo>
                  <a:lnTo>
                    <a:pt x="21" y="1039"/>
                  </a:lnTo>
                  <a:lnTo>
                    <a:pt x="20" y="1040"/>
                  </a:lnTo>
                  <a:lnTo>
                    <a:pt x="18" y="1040"/>
                  </a:lnTo>
                  <a:lnTo>
                    <a:pt x="18" y="1042"/>
                  </a:lnTo>
                  <a:lnTo>
                    <a:pt x="17" y="1042"/>
                  </a:lnTo>
                  <a:lnTo>
                    <a:pt x="15" y="1040"/>
                  </a:lnTo>
                  <a:lnTo>
                    <a:pt x="17" y="1038"/>
                  </a:lnTo>
                  <a:lnTo>
                    <a:pt x="17" y="1037"/>
                  </a:lnTo>
                  <a:lnTo>
                    <a:pt x="19" y="1032"/>
                  </a:lnTo>
                  <a:lnTo>
                    <a:pt x="21" y="1030"/>
                  </a:lnTo>
                  <a:lnTo>
                    <a:pt x="20" y="1030"/>
                  </a:lnTo>
                  <a:lnTo>
                    <a:pt x="21" y="1029"/>
                  </a:lnTo>
                  <a:lnTo>
                    <a:pt x="21" y="1027"/>
                  </a:lnTo>
                  <a:lnTo>
                    <a:pt x="24" y="1027"/>
                  </a:lnTo>
                  <a:lnTo>
                    <a:pt x="23" y="1026"/>
                  </a:lnTo>
                  <a:lnTo>
                    <a:pt x="21" y="1026"/>
                  </a:lnTo>
                  <a:lnTo>
                    <a:pt x="20" y="1027"/>
                  </a:lnTo>
                  <a:lnTo>
                    <a:pt x="20" y="1029"/>
                  </a:lnTo>
                  <a:lnTo>
                    <a:pt x="19" y="1027"/>
                  </a:lnTo>
                  <a:lnTo>
                    <a:pt x="19" y="1025"/>
                  </a:lnTo>
                  <a:lnTo>
                    <a:pt x="18" y="1024"/>
                  </a:lnTo>
                  <a:lnTo>
                    <a:pt x="18" y="1032"/>
                  </a:lnTo>
                  <a:lnTo>
                    <a:pt x="17" y="1033"/>
                  </a:lnTo>
                  <a:lnTo>
                    <a:pt x="15" y="1036"/>
                  </a:lnTo>
                  <a:lnTo>
                    <a:pt x="14" y="1037"/>
                  </a:lnTo>
                  <a:lnTo>
                    <a:pt x="14" y="1036"/>
                  </a:lnTo>
                  <a:lnTo>
                    <a:pt x="13" y="1036"/>
                  </a:lnTo>
                  <a:lnTo>
                    <a:pt x="12" y="1037"/>
                  </a:lnTo>
                  <a:lnTo>
                    <a:pt x="11" y="1036"/>
                  </a:lnTo>
                  <a:lnTo>
                    <a:pt x="12" y="1035"/>
                  </a:lnTo>
                  <a:lnTo>
                    <a:pt x="12" y="1033"/>
                  </a:lnTo>
                  <a:lnTo>
                    <a:pt x="13" y="1033"/>
                  </a:lnTo>
                  <a:lnTo>
                    <a:pt x="13" y="1030"/>
                  </a:lnTo>
                  <a:lnTo>
                    <a:pt x="12" y="1030"/>
                  </a:lnTo>
                  <a:lnTo>
                    <a:pt x="12" y="1031"/>
                  </a:lnTo>
                  <a:lnTo>
                    <a:pt x="11" y="1032"/>
                  </a:lnTo>
                  <a:lnTo>
                    <a:pt x="11" y="1033"/>
                  </a:lnTo>
                  <a:lnTo>
                    <a:pt x="10" y="1033"/>
                  </a:lnTo>
                  <a:lnTo>
                    <a:pt x="10" y="1032"/>
                  </a:lnTo>
                  <a:lnTo>
                    <a:pt x="12" y="1029"/>
                  </a:lnTo>
                  <a:lnTo>
                    <a:pt x="12" y="1027"/>
                  </a:lnTo>
                  <a:lnTo>
                    <a:pt x="10" y="1030"/>
                  </a:lnTo>
                  <a:lnTo>
                    <a:pt x="10" y="1031"/>
                  </a:lnTo>
                  <a:lnTo>
                    <a:pt x="8" y="1032"/>
                  </a:lnTo>
                  <a:lnTo>
                    <a:pt x="7" y="1031"/>
                  </a:lnTo>
                  <a:lnTo>
                    <a:pt x="6" y="1031"/>
                  </a:lnTo>
                  <a:lnTo>
                    <a:pt x="5" y="1033"/>
                  </a:lnTo>
                  <a:lnTo>
                    <a:pt x="5" y="1031"/>
                  </a:lnTo>
                  <a:lnTo>
                    <a:pt x="4" y="1029"/>
                  </a:lnTo>
                  <a:lnTo>
                    <a:pt x="4" y="1027"/>
                  </a:lnTo>
                  <a:lnTo>
                    <a:pt x="5" y="1026"/>
                  </a:lnTo>
                  <a:lnTo>
                    <a:pt x="6" y="1027"/>
                  </a:lnTo>
                  <a:lnTo>
                    <a:pt x="6" y="1025"/>
                  </a:lnTo>
                  <a:lnTo>
                    <a:pt x="7" y="1024"/>
                  </a:lnTo>
                  <a:lnTo>
                    <a:pt x="7" y="1023"/>
                  </a:lnTo>
                  <a:lnTo>
                    <a:pt x="6" y="1023"/>
                  </a:lnTo>
                  <a:lnTo>
                    <a:pt x="6" y="1021"/>
                  </a:lnTo>
                  <a:lnTo>
                    <a:pt x="5" y="1020"/>
                  </a:lnTo>
                  <a:lnTo>
                    <a:pt x="6" y="1019"/>
                  </a:lnTo>
                  <a:lnTo>
                    <a:pt x="6" y="1015"/>
                  </a:lnTo>
                  <a:lnTo>
                    <a:pt x="7" y="1015"/>
                  </a:lnTo>
                  <a:lnTo>
                    <a:pt x="7" y="1014"/>
                  </a:lnTo>
                  <a:lnTo>
                    <a:pt x="6" y="1014"/>
                  </a:lnTo>
                  <a:lnTo>
                    <a:pt x="6" y="1008"/>
                  </a:lnTo>
                  <a:lnTo>
                    <a:pt x="4" y="1006"/>
                  </a:lnTo>
                  <a:lnTo>
                    <a:pt x="4" y="1005"/>
                  </a:lnTo>
                  <a:lnTo>
                    <a:pt x="5" y="1003"/>
                  </a:lnTo>
                  <a:lnTo>
                    <a:pt x="2" y="1003"/>
                  </a:lnTo>
                  <a:lnTo>
                    <a:pt x="2" y="1001"/>
                  </a:lnTo>
                  <a:lnTo>
                    <a:pt x="4" y="1000"/>
                  </a:lnTo>
                  <a:lnTo>
                    <a:pt x="4" y="997"/>
                  </a:lnTo>
                  <a:lnTo>
                    <a:pt x="5" y="997"/>
                  </a:lnTo>
                  <a:lnTo>
                    <a:pt x="5" y="993"/>
                  </a:lnTo>
                  <a:lnTo>
                    <a:pt x="4" y="993"/>
                  </a:lnTo>
                  <a:lnTo>
                    <a:pt x="4" y="987"/>
                  </a:lnTo>
                  <a:lnTo>
                    <a:pt x="1" y="986"/>
                  </a:lnTo>
                  <a:lnTo>
                    <a:pt x="0" y="984"/>
                  </a:lnTo>
                  <a:lnTo>
                    <a:pt x="0" y="982"/>
                  </a:lnTo>
                  <a:lnTo>
                    <a:pt x="1" y="982"/>
                  </a:lnTo>
                  <a:lnTo>
                    <a:pt x="2" y="981"/>
                  </a:lnTo>
                  <a:lnTo>
                    <a:pt x="0" y="981"/>
                  </a:lnTo>
                  <a:lnTo>
                    <a:pt x="0" y="977"/>
                  </a:lnTo>
                  <a:lnTo>
                    <a:pt x="5" y="972"/>
                  </a:lnTo>
                  <a:lnTo>
                    <a:pt x="10" y="972"/>
                  </a:lnTo>
                  <a:lnTo>
                    <a:pt x="11" y="975"/>
                  </a:lnTo>
                  <a:lnTo>
                    <a:pt x="11" y="976"/>
                  </a:lnTo>
                  <a:lnTo>
                    <a:pt x="12" y="978"/>
                  </a:lnTo>
                  <a:lnTo>
                    <a:pt x="13" y="980"/>
                  </a:lnTo>
                  <a:lnTo>
                    <a:pt x="13" y="981"/>
                  </a:lnTo>
                  <a:lnTo>
                    <a:pt x="14" y="983"/>
                  </a:lnTo>
                  <a:lnTo>
                    <a:pt x="14" y="988"/>
                  </a:lnTo>
                  <a:lnTo>
                    <a:pt x="15" y="989"/>
                  </a:lnTo>
                  <a:lnTo>
                    <a:pt x="21" y="989"/>
                  </a:lnTo>
                  <a:lnTo>
                    <a:pt x="23" y="987"/>
                  </a:lnTo>
                  <a:lnTo>
                    <a:pt x="24" y="982"/>
                  </a:lnTo>
                  <a:lnTo>
                    <a:pt x="25" y="980"/>
                  </a:lnTo>
                  <a:lnTo>
                    <a:pt x="25" y="978"/>
                  </a:lnTo>
                  <a:lnTo>
                    <a:pt x="26" y="975"/>
                  </a:lnTo>
                  <a:lnTo>
                    <a:pt x="26" y="969"/>
                  </a:lnTo>
                  <a:lnTo>
                    <a:pt x="27" y="963"/>
                  </a:lnTo>
                  <a:lnTo>
                    <a:pt x="29" y="962"/>
                  </a:lnTo>
                  <a:lnTo>
                    <a:pt x="29" y="960"/>
                  </a:lnTo>
                  <a:lnTo>
                    <a:pt x="30" y="959"/>
                  </a:lnTo>
                  <a:lnTo>
                    <a:pt x="30" y="958"/>
                  </a:lnTo>
                  <a:lnTo>
                    <a:pt x="29" y="956"/>
                  </a:lnTo>
                  <a:lnTo>
                    <a:pt x="29" y="950"/>
                  </a:lnTo>
                  <a:lnTo>
                    <a:pt x="24" y="934"/>
                  </a:lnTo>
                  <a:lnTo>
                    <a:pt x="24" y="928"/>
                  </a:lnTo>
                  <a:lnTo>
                    <a:pt x="30" y="926"/>
                  </a:lnTo>
                  <a:lnTo>
                    <a:pt x="31" y="925"/>
                  </a:lnTo>
                  <a:lnTo>
                    <a:pt x="32" y="921"/>
                  </a:lnTo>
                  <a:lnTo>
                    <a:pt x="33" y="921"/>
                  </a:lnTo>
                  <a:lnTo>
                    <a:pt x="33" y="915"/>
                  </a:lnTo>
                  <a:lnTo>
                    <a:pt x="32" y="914"/>
                  </a:lnTo>
                  <a:lnTo>
                    <a:pt x="32" y="913"/>
                  </a:lnTo>
                  <a:lnTo>
                    <a:pt x="31" y="911"/>
                  </a:lnTo>
                  <a:lnTo>
                    <a:pt x="31" y="908"/>
                  </a:lnTo>
                  <a:lnTo>
                    <a:pt x="32" y="907"/>
                  </a:lnTo>
                  <a:lnTo>
                    <a:pt x="32" y="906"/>
                  </a:lnTo>
                  <a:lnTo>
                    <a:pt x="43" y="906"/>
                  </a:lnTo>
                  <a:lnTo>
                    <a:pt x="50" y="901"/>
                  </a:lnTo>
                  <a:lnTo>
                    <a:pt x="56" y="892"/>
                  </a:lnTo>
                  <a:lnTo>
                    <a:pt x="57" y="890"/>
                  </a:lnTo>
                  <a:lnTo>
                    <a:pt x="60" y="883"/>
                  </a:lnTo>
                  <a:lnTo>
                    <a:pt x="60" y="880"/>
                  </a:lnTo>
                  <a:lnTo>
                    <a:pt x="58" y="874"/>
                  </a:lnTo>
                  <a:lnTo>
                    <a:pt x="58" y="870"/>
                  </a:lnTo>
                  <a:lnTo>
                    <a:pt x="61" y="866"/>
                  </a:lnTo>
                  <a:lnTo>
                    <a:pt x="62" y="865"/>
                  </a:lnTo>
                  <a:lnTo>
                    <a:pt x="62" y="864"/>
                  </a:lnTo>
                  <a:lnTo>
                    <a:pt x="63" y="861"/>
                  </a:lnTo>
                  <a:lnTo>
                    <a:pt x="63" y="855"/>
                  </a:lnTo>
                  <a:lnTo>
                    <a:pt x="62" y="853"/>
                  </a:lnTo>
                  <a:lnTo>
                    <a:pt x="57" y="841"/>
                  </a:lnTo>
                  <a:lnTo>
                    <a:pt x="54" y="833"/>
                  </a:lnTo>
                  <a:lnTo>
                    <a:pt x="51" y="826"/>
                  </a:lnTo>
                  <a:lnTo>
                    <a:pt x="50" y="820"/>
                  </a:lnTo>
                  <a:lnTo>
                    <a:pt x="50" y="817"/>
                  </a:lnTo>
                  <a:lnTo>
                    <a:pt x="48" y="812"/>
                  </a:lnTo>
                  <a:lnTo>
                    <a:pt x="48" y="811"/>
                  </a:lnTo>
                  <a:lnTo>
                    <a:pt x="49" y="810"/>
                  </a:lnTo>
                  <a:lnTo>
                    <a:pt x="58" y="806"/>
                  </a:lnTo>
                  <a:lnTo>
                    <a:pt x="61" y="806"/>
                  </a:lnTo>
                  <a:lnTo>
                    <a:pt x="66" y="808"/>
                  </a:lnTo>
                  <a:lnTo>
                    <a:pt x="67" y="808"/>
                  </a:lnTo>
                  <a:lnTo>
                    <a:pt x="67" y="806"/>
                  </a:lnTo>
                  <a:lnTo>
                    <a:pt x="68" y="805"/>
                  </a:lnTo>
                  <a:lnTo>
                    <a:pt x="68" y="799"/>
                  </a:lnTo>
                  <a:lnTo>
                    <a:pt x="69" y="798"/>
                  </a:lnTo>
                  <a:lnTo>
                    <a:pt x="74" y="788"/>
                  </a:lnTo>
                  <a:lnTo>
                    <a:pt x="75" y="780"/>
                  </a:lnTo>
                  <a:lnTo>
                    <a:pt x="75" y="779"/>
                  </a:lnTo>
                  <a:lnTo>
                    <a:pt x="74" y="779"/>
                  </a:lnTo>
                  <a:lnTo>
                    <a:pt x="63" y="763"/>
                  </a:lnTo>
                  <a:lnTo>
                    <a:pt x="61" y="761"/>
                  </a:lnTo>
                  <a:lnTo>
                    <a:pt x="56" y="761"/>
                  </a:lnTo>
                  <a:lnTo>
                    <a:pt x="55" y="760"/>
                  </a:lnTo>
                  <a:lnTo>
                    <a:pt x="51" y="755"/>
                  </a:lnTo>
                  <a:lnTo>
                    <a:pt x="44" y="748"/>
                  </a:lnTo>
                  <a:lnTo>
                    <a:pt x="44" y="747"/>
                  </a:lnTo>
                  <a:lnTo>
                    <a:pt x="48" y="724"/>
                  </a:lnTo>
                  <a:lnTo>
                    <a:pt x="50" y="701"/>
                  </a:lnTo>
                  <a:lnTo>
                    <a:pt x="50" y="697"/>
                  </a:lnTo>
                  <a:lnTo>
                    <a:pt x="49" y="692"/>
                  </a:lnTo>
                  <a:lnTo>
                    <a:pt x="40" y="669"/>
                  </a:lnTo>
                  <a:lnTo>
                    <a:pt x="40" y="668"/>
                  </a:lnTo>
                  <a:lnTo>
                    <a:pt x="42" y="665"/>
                  </a:lnTo>
                  <a:lnTo>
                    <a:pt x="43" y="661"/>
                  </a:lnTo>
                  <a:lnTo>
                    <a:pt x="44" y="658"/>
                  </a:lnTo>
                  <a:lnTo>
                    <a:pt x="44" y="656"/>
                  </a:lnTo>
                  <a:lnTo>
                    <a:pt x="42" y="642"/>
                  </a:lnTo>
                  <a:lnTo>
                    <a:pt x="42" y="638"/>
                  </a:lnTo>
                  <a:lnTo>
                    <a:pt x="46" y="631"/>
                  </a:lnTo>
                  <a:lnTo>
                    <a:pt x="39" y="612"/>
                  </a:lnTo>
                  <a:lnTo>
                    <a:pt x="37" y="605"/>
                  </a:lnTo>
                  <a:lnTo>
                    <a:pt x="46" y="589"/>
                  </a:lnTo>
                  <a:lnTo>
                    <a:pt x="46" y="584"/>
                  </a:lnTo>
                  <a:lnTo>
                    <a:pt x="44" y="575"/>
                  </a:lnTo>
                  <a:lnTo>
                    <a:pt x="50" y="570"/>
                  </a:lnTo>
                  <a:lnTo>
                    <a:pt x="57" y="554"/>
                  </a:lnTo>
                  <a:lnTo>
                    <a:pt x="66" y="541"/>
                  </a:lnTo>
                  <a:lnTo>
                    <a:pt x="69" y="538"/>
                  </a:lnTo>
                  <a:lnTo>
                    <a:pt x="79" y="530"/>
                  </a:lnTo>
                  <a:lnTo>
                    <a:pt x="89" y="528"/>
                  </a:lnTo>
                  <a:lnTo>
                    <a:pt x="104" y="532"/>
                  </a:lnTo>
                  <a:lnTo>
                    <a:pt x="119" y="535"/>
                  </a:lnTo>
                  <a:lnTo>
                    <a:pt x="120" y="535"/>
                  </a:lnTo>
                  <a:lnTo>
                    <a:pt x="120" y="534"/>
                  </a:lnTo>
                  <a:lnTo>
                    <a:pt x="128" y="520"/>
                  </a:lnTo>
                  <a:lnTo>
                    <a:pt x="129" y="519"/>
                  </a:lnTo>
                  <a:lnTo>
                    <a:pt x="129" y="516"/>
                  </a:lnTo>
                  <a:lnTo>
                    <a:pt x="126" y="493"/>
                  </a:lnTo>
                  <a:lnTo>
                    <a:pt x="125" y="491"/>
                  </a:lnTo>
                  <a:lnTo>
                    <a:pt x="124" y="490"/>
                  </a:lnTo>
                  <a:lnTo>
                    <a:pt x="120" y="490"/>
                  </a:lnTo>
                  <a:lnTo>
                    <a:pt x="119" y="489"/>
                  </a:lnTo>
                  <a:lnTo>
                    <a:pt x="106" y="479"/>
                  </a:lnTo>
                  <a:lnTo>
                    <a:pt x="118" y="460"/>
                  </a:lnTo>
                  <a:lnTo>
                    <a:pt x="129" y="440"/>
                  </a:lnTo>
                  <a:lnTo>
                    <a:pt x="135" y="430"/>
                  </a:lnTo>
                  <a:lnTo>
                    <a:pt x="136" y="427"/>
                  </a:lnTo>
                  <a:lnTo>
                    <a:pt x="137" y="417"/>
                  </a:lnTo>
                  <a:lnTo>
                    <a:pt x="138" y="415"/>
                  </a:lnTo>
                  <a:lnTo>
                    <a:pt x="138" y="412"/>
                  </a:lnTo>
                  <a:lnTo>
                    <a:pt x="142" y="410"/>
                  </a:lnTo>
                  <a:lnTo>
                    <a:pt x="143" y="406"/>
                  </a:lnTo>
                  <a:lnTo>
                    <a:pt x="143" y="392"/>
                  </a:lnTo>
                  <a:lnTo>
                    <a:pt x="145" y="368"/>
                  </a:lnTo>
                  <a:lnTo>
                    <a:pt x="145" y="366"/>
                  </a:lnTo>
                  <a:lnTo>
                    <a:pt x="149" y="360"/>
                  </a:lnTo>
                  <a:lnTo>
                    <a:pt x="149" y="353"/>
                  </a:lnTo>
                  <a:lnTo>
                    <a:pt x="144" y="324"/>
                  </a:lnTo>
                  <a:lnTo>
                    <a:pt x="155" y="323"/>
                  </a:lnTo>
                  <a:lnTo>
                    <a:pt x="166" y="320"/>
                  </a:lnTo>
                  <a:lnTo>
                    <a:pt x="185" y="308"/>
                  </a:lnTo>
                  <a:lnTo>
                    <a:pt x="185" y="301"/>
                  </a:lnTo>
                  <a:lnTo>
                    <a:pt x="184" y="300"/>
                  </a:lnTo>
                  <a:lnTo>
                    <a:pt x="182" y="288"/>
                  </a:lnTo>
                  <a:lnTo>
                    <a:pt x="182" y="286"/>
                  </a:lnTo>
                  <a:lnTo>
                    <a:pt x="192" y="274"/>
                  </a:lnTo>
                  <a:lnTo>
                    <a:pt x="207" y="243"/>
                  </a:lnTo>
                  <a:lnTo>
                    <a:pt x="211" y="238"/>
                  </a:lnTo>
                  <a:lnTo>
                    <a:pt x="219" y="230"/>
                  </a:lnTo>
                  <a:lnTo>
                    <a:pt x="222" y="228"/>
                  </a:lnTo>
                  <a:lnTo>
                    <a:pt x="223" y="227"/>
                  </a:lnTo>
                  <a:lnTo>
                    <a:pt x="224" y="225"/>
                  </a:lnTo>
                  <a:lnTo>
                    <a:pt x="225" y="210"/>
                  </a:lnTo>
                  <a:lnTo>
                    <a:pt x="224" y="209"/>
                  </a:lnTo>
                  <a:lnTo>
                    <a:pt x="211" y="184"/>
                  </a:lnTo>
                  <a:lnTo>
                    <a:pt x="213" y="177"/>
                  </a:lnTo>
                  <a:lnTo>
                    <a:pt x="215" y="175"/>
                  </a:lnTo>
                  <a:lnTo>
                    <a:pt x="222" y="173"/>
                  </a:lnTo>
                  <a:lnTo>
                    <a:pt x="224" y="172"/>
                  </a:lnTo>
                  <a:lnTo>
                    <a:pt x="226" y="170"/>
                  </a:lnTo>
                  <a:lnTo>
                    <a:pt x="231" y="163"/>
                  </a:lnTo>
                  <a:lnTo>
                    <a:pt x="231" y="160"/>
                  </a:lnTo>
                  <a:lnTo>
                    <a:pt x="238" y="134"/>
                  </a:lnTo>
                  <a:lnTo>
                    <a:pt x="240" y="132"/>
                  </a:lnTo>
                  <a:lnTo>
                    <a:pt x="240" y="130"/>
                  </a:lnTo>
                  <a:lnTo>
                    <a:pt x="257" y="116"/>
                  </a:lnTo>
                  <a:lnTo>
                    <a:pt x="261" y="109"/>
                  </a:lnTo>
                  <a:lnTo>
                    <a:pt x="262" y="109"/>
                  </a:lnTo>
                  <a:lnTo>
                    <a:pt x="286" y="123"/>
                  </a:lnTo>
                  <a:lnTo>
                    <a:pt x="287" y="123"/>
                  </a:lnTo>
                  <a:lnTo>
                    <a:pt x="290" y="118"/>
                  </a:lnTo>
                  <a:lnTo>
                    <a:pt x="298" y="103"/>
                  </a:lnTo>
                  <a:lnTo>
                    <a:pt x="298" y="98"/>
                  </a:lnTo>
                  <a:lnTo>
                    <a:pt x="296" y="75"/>
                  </a:lnTo>
                  <a:lnTo>
                    <a:pt x="296" y="72"/>
                  </a:lnTo>
                  <a:lnTo>
                    <a:pt x="297" y="61"/>
                  </a:lnTo>
                  <a:lnTo>
                    <a:pt x="297" y="60"/>
                  </a:lnTo>
                  <a:lnTo>
                    <a:pt x="298" y="59"/>
                  </a:lnTo>
                  <a:lnTo>
                    <a:pt x="309" y="55"/>
                  </a:lnTo>
                  <a:lnTo>
                    <a:pt x="311" y="56"/>
                  </a:lnTo>
                  <a:lnTo>
                    <a:pt x="317" y="63"/>
                  </a:lnTo>
                  <a:lnTo>
                    <a:pt x="319" y="63"/>
                  </a:lnTo>
                  <a:lnTo>
                    <a:pt x="334" y="62"/>
                  </a:lnTo>
                  <a:lnTo>
                    <a:pt x="353" y="72"/>
                  </a:lnTo>
                  <a:lnTo>
                    <a:pt x="372" y="80"/>
                  </a:lnTo>
                  <a:lnTo>
                    <a:pt x="373" y="80"/>
                  </a:lnTo>
                  <a:lnTo>
                    <a:pt x="375" y="79"/>
                  </a:lnTo>
                  <a:lnTo>
                    <a:pt x="385" y="66"/>
                  </a:lnTo>
                  <a:lnTo>
                    <a:pt x="373" y="59"/>
                  </a:lnTo>
                  <a:lnTo>
                    <a:pt x="381" y="50"/>
                  </a:lnTo>
                  <a:lnTo>
                    <a:pt x="385" y="44"/>
                  </a:lnTo>
                  <a:lnTo>
                    <a:pt x="389" y="32"/>
                  </a:lnTo>
                  <a:lnTo>
                    <a:pt x="390" y="30"/>
                  </a:lnTo>
                  <a:lnTo>
                    <a:pt x="390" y="16"/>
                  </a:lnTo>
                  <a:lnTo>
                    <a:pt x="379" y="3"/>
                  </a:lnTo>
                  <a:lnTo>
                    <a:pt x="390" y="1"/>
                  </a:lnTo>
                  <a:lnTo>
                    <a:pt x="402" y="0"/>
                  </a:lnTo>
                  <a:close/>
                </a:path>
              </a:pathLst>
            </a:custGeom>
            <a:solidFill>
              <a:schemeClr val="accent5">
                <a:lumMod val="95000"/>
              </a:schemeClr>
            </a:solidFill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14">
              <a:extLst>
                <a:ext uri="{FF2B5EF4-FFF2-40B4-BE49-F238E27FC236}">
                  <a16:creationId xmlns:a16="http://schemas.microsoft.com/office/drawing/2014/main" id="{F0466D18-CC5F-46EE-9321-385B0CE3C39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6863" y="5045075"/>
              <a:ext cx="6350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4" y="1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6"/>
                </a:cxn>
                <a:cxn ang="0">
                  <a:pos x="1" y="6"/>
                </a:cxn>
                <a:cxn ang="0">
                  <a:pos x="0" y="5"/>
                </a:cxn>
                <a:cxn ang="0">
                  <a:pos x="0" y="3"/>
                </a:cxn>
                <a:cxn ang="0">
                  <a:pos x="1" y="1"/>
                </a:cxn>
                <a:cxn ang="0">
                  <a:pos x="2" y="1"/>
                </a:cxn>
                <a:cxn ang="0">
                  <a:pos x="3" y="0"/>
                </a:cxn>
              </a:cxnLst>
              <a:rect l="0" t="0" r="r" b="b"/>
              <a:pathLst>
                <a:path w="4" h="6">
                  <a:moveTo>
                    <a:pt x="3" y="0"/>
                  </a:moveTo>
                  <a:lnTo>
                    <a:pt x="4" y="1"/>
                  </a:lnTo>
                  <a:lnTo>
                    <a:pt x="4" y="3"/>
                  </a:lnTo>
                  <a:lnTo>
                    <a:pt x="3" y="4"/>
                  </a:lnTo>
                  <a:lnTo>
                    <a:pt x="3" y="6"/>
                  </a:lnTo>
                  <a:lnTo>
                    <a:pt x="1" y="6"/>
                  </a:lnTo>
                  <a:lnTo>
                    <a:pt x="0" y="5"/>
                  </a:lnTo>
                  <a:lnTo>
                    <a:pt x="0" y="3"/>
                  </a:lnTo>
                  <a:lnTo>
                    <a:pt x="1" y="1"/>
                  </a:lnTo>
                  <a:lnTo>
                    <a:pt x="2" y="1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15">
              <a:extLst>
                <a:ext uri="{FF2B5EF4-FFF2-40B4-BE49-F238E27FC236}">
                  <a16:creationId xmlns:a16="http://schemas.microsoft.com/office/drawing/2014/main" id="{FEBE9562-62BF-482C-A012-D81E565727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1950" y="4770438"/>
              <a:ext cx="211138" cy="139700"/>
            </a:xfrm>
            <a:custGeom>
              <a:avLst/>
              <a:gdLst/>
              <a:ahLst/>
              <a:cxnLst>
                <a:cxn ang="0">
                  <a:pos x="123" y="6"/>
                </a:cxn>
                <a:cxn ang="0">
                  <a:pos x="128" y="13"/>
                </a:cxn>
                <a:cxn ang="0">
                  <a:pos x="129" y="17"/>
                </a:cxn>
                <a:cxn ang="0">
                  <a:pos x="131" y="21"/>
                </a:cxn>
                <a:cxn ang="0">
                  <a:pos x="124" y="21"/>
                </a:cxn>
                <a:cxn ang="0">
                  <a:pos x="122" y="26"/>
                </a:cxn>
                <a:cxn ang="0">
                  <a:pos x="118" y="31"/>
                </a:cxn>
                <a:cxn ang="0">
                  <a:pos x="115" y="31"/>
                </a:cxn>
                <a:cxn ang="0">
                  <a:pos x="111" y="36"/>
                </a:cxn>
                <a:cxn ang="0">
                  <a:pos x="104" y="38"/>
                </a:cxn>
                <a:cxn ang="0">
                  <a:pos x="96" y="42"/>
                </a:cxn>
                <a:cxn ang="0">
                  <a:pos x="97" y="50"/>
                </a:cxn>
                <a:cxn ang="0">
                  <a:pos x="97" y="63"/>
                </a:cxn>
                <a:cxn ang="0">
                  <a:pos x="91" y="64"/>
                </a:cxn>
                <a:cxn ang="0">
                  <a:pos x="81" y="69"/>
                </a:cxn>
                <a:cxn ang="0">
                  <a:pos x="80" y="73"/>
                </a:cxn>
                <a:cxn ang="0">
                  <a:pos x="81" y="75"/>
                </a:cxn>
                <a:cxn ang="0">
                  <a:pos x="81" y="84"/>
                </a:cxn>
                <a:cxn ang="0">
                  <a:pos x="78" y="87"/>
                </a:cxn>
                <a:cxn ang="0">
                  <a:pos x="68" y="85"/>
                </a:cxn>
                <a:cxn ang="0">
                  <a:pos x="65" y="82"/>
                </a:cxn>
                <a:cxn ang="0">
                  <a:pos x="60" y="84"/>
                </a:cxn>
                <a:cxn ang="0">
                  <a:pos x="53" y="78"/>
                </a:cxn>
                <a:cxn ang="0">
                  <a:pos x="49" y="75"/>
                </a:cxn>
                <a:cxn ang="0">
                  <a:pos x="42" y="85"/>
                </a:cxn>
                <a:cxn ang="0">
                  <a:pos x="33" y="85"/>
                </a:cxn>
                <a:cxn ang="0">
                  <a:pos x="27" y="82"/>
                </a:cxn>
                <a:cxn ang="0">
                  <a:pos x="22" y="88"/>
                </a:cxn>
                <a:cxn ang="0">
                  <a:pos x="17" y="86"/>
                </a:cxn>
                <a:cxn ang="0">
                  <a:pos x="9" y="82"/>
                </a:cxn>
                <a:cxn ang="0">
                  <a:pos x="16" y="79"/>
                </a:cxn>
                <a:cxn ang="0">
                  <a:pos x="18" y="79"/>
                </a:cxn>
                <a:cxn ang="0">
                  <a:pos x="22" y="75"/>
                </a:cxn>
                <a:cxn ang="0">
                  <a:pos x="15" y="68"/>
                </a:cxn>
                <a:cxn ang="0">
                  <a:pos x="9" y="62"/>
                </a:cxn>
                <a:cxn ang="0">
                  <a:pos x="10" y="54"/>
                </a:cxn>
                <a:cxn ang="0">
                  <a:pos x="4" y="54"/>
                </a:cxn>
                <a:cxn ang="0">
                  <a:pos x="10" y="45"/>
                </a:cxn>
                <a:cxn ang="0">
                  <a:pos x="6" y="41"/>
                </a:cxn>
                <a:cxn ang="0">
                  <a:pos x="3" y="41"/>
                </a:cxn>
                <a:cxn ang="0">
                  <a:pos x="0" y="36"/>
                </a:cxn>
                <a:cxn ang="0">
                  <a:pos x="5" y="31"/>
                </a:cxn>
                <a:cxn ang="0">
                  <a:pos x="15" y="21"/>
                </a:cxn>
                <a:cxn ang="0">
                  <a:pos x="22" y="23"/>
                </a:cxn>
                <a:cxn ang="0">
                  <a:pos x="43" y="26"/>
                </a:cxn>
                <a:cxn ang="0">
                  <a:pos x="47" y="29"/>
                </a:cxn>
                <a:cxn ang="0">
                  <a:pos x="50" y="30"/>
                </a:cxn>
                <a:cxn ang="0">
                  <a:pos x="54" y="26"/>
                </a:cxn>
                <a:cxn ang="0">
                  <a:pos x="58" y="24"/>
                </a:cxn>
                <a:cxn ang="0">
                  <a:pos x="61" y="20"/>
                </a:cxn>
                <a:cxn ang="0">
                  <a:pos x="65" y="17"/>
                </a:cxn>
                <a:cxn ang="0">
                  <a:pos x="69" y="14"/>
                </a:cxn>
                <a:cxn ang="0">
                  <a:pos x="87" y="15"/>
                </a:cxn>
                <a:cxn ang="0">
                  <a:pos x="96" y="12"/>
                </a:cxn>
                <a:cxn ang="0">
                  <a:pos x="100" y="11"/>
                </a:cxn>
                <a:cxn ang="0">
                  <a:pos x="110" y="11"/>
                </a:cxn>
                <a:cxn ang="0">
                  <a:pos x="110" y="2"/>
                </a:cxn>
                <a:cxn ang="0">
                  <a:pos x="122" y="0"/>
                </a:cxn>
              </a:cxnLst>
              <a:rect l="0" t="0" r="r" b="b"/>
              <a:pathLst>
                <a:path w="133" h="88">
                  <a:moveTo>
                    <a:pt x="122" y="0"/>
                  </a:moveTo>
                  <a:lnTo>
                    <a:pt x="124" y="2"/>
                  </a:lnTo>
                  <a:lnTo>
                    <a:pt x="124" y="5"/>
                  </a:lnTo>
                  <a:lnTo>
                    <a:pt x="123" y="6"/>
                  </a:lnTo>
                  <a:lnTo>
                    <a:pt x="124" y="8"/>
                  </a:lnTo>
                  <a:lnTo>
                    <a:pt x="127" y="11"/>
                  </a:lnTo>
                  <a:lnTo>
                    <a:pt x="128" y="11"/>
                  </a:lnTo>
                  <a:lnTo>
                    <a:pt x="128" y="13"/>
                  </a:lnTo>
                  <a:lnTo>
                    <a:pt x="127" y="13"/>
                  </a:lnTo>
                  <a:lnTo>
                    <a:pt x="127" y="15"/>
                  </a:lnTo>
                  <a:lnTo>
                    <a:pt x="128" y="15"/>
                  </a:lnTo>
                  <a:lnTo>
                    <a:pt x="129" y="17"/>
                  </a:lnTo>
                  <a:lnTo>
                    <a:pt x="130" y="19"/>
                  </a:lnTo>
                  <a:lnTo>
                    <a:pt x="133" y="20"/>
                  </a:lnTo>
                  <a:lnTo>
                    <a:pt x="133" y="23"/>
                  </a:lnTo>
                  <a:lnTo>
                    <a:pt x="131" y="21"/>
                  </a:lnTo>
                  <a:lnTo>
                    <a:pt x="129" y="21"/>
                  </a:lnTo>
                  <a:lnTo>
                    <a:pt x="129" y="20"/>
                  </a:lnTo>
                  <a:lnTo>
                    <a:pt x="125" y="20"/>
                  </a:lnTo>
                  <a:lnTo>
                    <a:pt x="124" y="21"/>
                  </a:lnTo>
                  <a:lnTo>
                    <a:pt x="122" y="21"/>
                  </a:lnTo>
                  <a:lnTo>
                    <a:pt x="121" y="24"/>
                  </a:lnTo>
                  <a:lnTo>
                    <a:pt x="121" y="25"/>
                  </a:lnTo>
                  <a:lnTo>
                    <a:pt x="122" y="26"/>
                  </a:lnTo>
                  <a:lnTo>
                    <a:pt x="122" y="29"/>
                  </a:lnTo>
                  <a:lnTo>
                    <a:pt x="123" y="30"/>
                  </a:lnTo>
                  <a:lnTo>
                    <a:pt x="123" y="31"/>
                  </a:lnTo>
                  <a:lnTo>
                    <a:pt x="118" y="31"/>
                  </a:lnTo>
                  <a:lnTo>
                    <a:pt x="117" y="30"/>
                  </a:lnTo>
                  <a:lnTo>
                    <a:pt x="116" y="30"/>
                  </a:lnTo>
                  <a:lnTo>
                    <a:pt x="116" y="31"/>
                  </a:lnTo>
                  <a:lnTo>
                    <a:pt x="115" y="31"/>
                  </a:lnTo>
                  <a:lnTo>
                    <a:pt x="114" y="30"/>
                  </a:lnTo>
                  <a:lnTo>
                    <a:pt x="114" y="35"/>
                  </a:lnTo>
                  <a:lnTo>
                    <a:pt x="112" y="35"/>
                  </a:lnTo>
                  <a:lnTo>
                    <a:pt x="111" y="36"/>
                  </a:lnTo>
                  <a:lnTo>
                    <a:pt x="109" y="36"/>
                  </a:lnTo>
                  <a:lnTo>
                    <a:pt x="108" y="37"/>
                  </a:lnTo>
                  <a:lnTo>
                    <a:pt x="106" y="37"/>
                  </a:lnTo>
                  <a:lnTo>
                    <a:pt x="104" y="38"/>
                  </a:lnTo>
                  <a:lnTo>
                    <a:pt x="102" y="38"/>
                  </a:lnTo>
                  <a:lnTo>
                    <a:pt x="102" y="41"/>
                  </a:lnTo>
                  <a:lnTo>
                    <a:pt x="96" y="41"/>
                  </a:lnTo>
                  <a:lnTo>
                    <a:pt x="96" y="42"/>
                  </a:lnTo>
                  <a:lnTo>
                    <a:pt x="94" y="43"/>
                  </a:lnTo>
                  <a:lnTo>
                    <a:pt x="93" y="45"/>
                  </a:lnTo>
                  <a:lnTo>
                    <a:pt x="93" y="47"/>
                  </a:lnTo>
                  <a:lnTo>
                    <a:pt x="97" y="50"/>
                  </a:lnTo>
                  <a:lnTo>
                    <a:pt x="98" y="50"/>
                  </a:lnTo>
                  <a:lnTo>
                    <a:pt x="98" y="52"/>
                  </a:lnTo>
                  <a:lnTo>
                    <a:pt x="97" y="54"/>
                  </a:lnTo>
                  <a:lnTo>
                    <a:pt x="97" y="63"/>
                  </a:lnTo>
                  <a:lnTo>
                    <a:pt x="96" y="64"/>
                  </a:lnTo>
                  <a:lnTo>
                    <a:pt x="92" y="64"/>
                  </a:lnTo>
                  <a:lnTo>
                    <a:pt x="91" y="63"/>
                  </a:lnTo>
                  <a:lnTo>
                    <a:pt x="91" y="64"/>
                  </a:lnTo>
                  <a:lnTo>
                    <a:pt x="87" y="64"/>
                  </a:lnTo>
                  <a:lnTo>
                    <a:pt x="87" y="67"/>
                  </a:lnTo>
                  <a:lnTo>
                    <a:pt x="81" y="68"/>
                  </a:lnTo>
                  <a:lnTo>
                    <a:pt x="81" y="69"/>
                  </a:lnTo>
                  <a:lnTo>
                    <a:pt x="80" y="69"/>
                  </a:lnTo>
                  <a:lnTo>
                    <a:pt x="79" y="70"/>
                  </a:lnTo>
                  <a:lnTo>
                    <a:pt x="80" y="72"/>
                  </a:lnTo>
                  <a:lnTo>
                    <a:pt x="80" y="73"/>
                  </a:lnTo>
                  <a:lnTo>
                    <a:pt x="84" y="73"/>
                  </a:lnTo>
                  <a:lnTo>
                    <a:pt x="84" y="74"/>
                  </a:lnTo>
                  <a:lnTo>
                    <a:pt x="85" y="75"/>
                  </a:lnTo>
                  <a:lnTo>
                    <a:pt x="81" y="75"/>
                  </a:lnTo>
                  <a:lnTo>
                    <a:pt x="80" y="78"/>
                  </a:lnTo>
                  <a:lnTo>
                    <a:pt x="80" y="79"/>
                  </a:lnTo>
                  <a:lnTo>
                    <a:pt x="81" y="81"/>
                  </a:lnTo>
                  <a:lnTo>
                    <a:pt x="81" y="84"/>
                  </a:lnTo>
                  <a:lnTo>
                    <a:pt x="84" y="85"/>
                  </a:lnTo>
                  <a:lnTo>
                    <a:pt x="81" y="86"/>
                  </a:lnTo>
                  <a:lnTo>
                    <a:pt x="80" y="86"/>
                  </a:lnTo>
                  <a:lnTo>
                    <a:pt x="78" y="87"/>
                  </a:lnTo>
                  <a:lnTo>
                    <a:pt x="77" y="88"/>
                  </a:lnTo>
                  <a:lnTo>
                    <a:pt x="74" y="87"/>
                  </a:lnTo>
                  <a:lnTo>
                    <a:pt x="72" y="85"/>
                  </a:lnTo>
                  <a:lnTo>
                    <a:pt x="68" y="85"/>
                  </a:lnTo>
                  <a:lnTo>
                    <a:pt x="68" y="84"/>
                  </a:lnTo>
                  <a:lnTo>
                    <a:pt x="67" y="84"/>
                  </a:lnTo>
                  <a:lnTo>
                    <a:pt x="66" y="82"/>
                  </a:lnTo>
                  <a:lnTo>
                    <a:pt x="65" y="82"/>
                  </a:lnTo>
                  <a:lnTo>
                    <a:pt x="65" y="84"/>
                  </a:lnTo>
                  <a:lnTo>
                    <a:pt x="62" y="86"/>
                  </a:lnTo>
                  <a:lnTo>
                    <a:pt x="60" y="86"/>
                  </a:lnTo>
                  <a:lnTo>
                    <a:pt x="60" y="84"/>
                  </a:lnTo>
                  <a:lnTo>
                    <a:pt x="55" y="82"/>
                  </a:lnTo>
                  <a:lnTo>
                    <a:pt x="55" y="79"/>
                  </a:lnTo>
                  <a:lnTo>
                    <a:pt x="54" y="79"/>
                  </a:lnTo>
                  <a:lnTo>
                    <a:pt x="53" y="78"/>
                  </a:lnTo>
                  <a:lnTo>
                    <a:pt x="52" y="78"/>
                  </a:lnTo>
                  <a:lnTo>
                    <a:pt x="52" y="74"/>
                  </a:lnTo>
                  <a:lnTo>
                    <a:pt x="50" y="74"/>
                  </a:lnTo>
                  <a:lnTo>
                    <a:pt x="49" y="75"/>
                  </a:lnTo>
                  <a:lnTo>
                    <a:pt x="49" y="76"/>
                  </a:lnTo>
                  <a:lnTo>
                    <a:pt x="47" y="79"/>
                  </a:lnTo>
                  <a:lnTo>
                    <a:pt x="47" y="82"/>
                  </a:lnTo>
                  <a:lnTo>
                    <a:pt x="42" y="85"/>
                  </a:lnTo>
                  <a:lnTo>
                    <a:pt x="38" y="85"/>
                  </a:lnTo>
                  <a:lnTo>
                    <a:pt x="37" y="84"/>
                  </a:lnTo>
                  <a:lnTo>
                    <a:pt x="35" y="84"/>
                  </a:lnTo>
                  <a:lnTo>
                    <a:pt x="33" y="85"/>
                  </a:lnTo>
                  <a:lnTo>
                    <a:pt x="29" y="85"/>
                  </a:lnTo>
                  <a:lnTo>
                    <a:pt x="29" y="84"/>
                  </a:lnTo>
                  <a:lnTo>
                    <a:pt x="28" y="84"/>
                  </a:lnTo>
                  <a:lnTo>
                    <a:pt x="27" y="82"/>
                  </a:lnTo>
                  <a:lnTo>
                    <a:pt x="25" y="82"/>
                  </a:lnTo>
                  <a:lnTo>
                    <a:pt x="25" y="86"/>
                  </a:lnTo>
                  <a:lnTo>
                    <a:pt x="23" y="87"/>
                  </a:lnTo>
                  <a:lnTo>
                    <a:pt x="22" y="88"/>
                  </a:lnTo>
                  <a:lnTo>
                    <a:pt x="19" y="88"/>
                  </a:lnTo>
                  <a:lnTo>
                    <a:pt x="19" y="87"/>
                  </a:lnTo>
                  <a:lnTo>
                    <a:pt x="18" y="87"/>
                  </a:lnTo>
                  <a:lnTo>
                    <a:pt x="17" y="86"/>
                  </a:lnTo>
                  <a:lnTo>
                    <a:pt x="11" y="86"/>
                  </a:lnTo>
                  <a:lnTo>
                    <a:pt x="10" y="85"/>
                  </a:lnTo>
                  <a:lnTo>
                    <a:pt x="10" y="82"/>
                  </a:lnTo>
                  <a:lnTo>
                    <a:pt x="9" y="82"/>
                  </a:lnTo>
                  <a:lnTo>
                    <a:pt x="9" y="81"/>
                  </a:lnTo>
                  <a:lnTo>
                    <a:pt x="13" y="81"/>
                  </a:lnTo>
                  <a:lnTo>
                    <a:pt x="16" y="80"/>
                  </a:lnTo>
                  <a:lnTo>
                    <a:pt x="16" y="79"/>
                  </a:lnTo>
                  <a:lnTo>
                    <a:pt x="15" y="79"/>
                  </a:lnTo>
                  <a:lnTo>
                    <a:pt x="15" y="78"/>
                  </a:lnTo>
                  <a:lnTo>
                    <a:pt x="17" y="78"/>
                  </a:lnTo>
                  <a:lnTo>
                    <a:pt x="18" y="79"/>
                  </a:lnTo>
                  <a:lnTo>
                    <a:pt x="21" y="79"/>
                  </a:lnTo>
                  <a:lnTo>
                    <a:pt x="21" y="78"/>
                  </a:lnTo>
                  <a:lnTo>
                    <a:pt x="22" y="76"/>
                  </a:lnTo>
                  <a:lnTo>
                    <a:pt x="22" y="75"/>
                  </a:lnTo>
                  <a:lnTo>
                    <a:pt x="21" y="75"/>
                  </a:lnTo>
                  <a:lnTo>
                    <a:pt x="21" y="74"/>
                  </a:lnTo>
                  <a:lnTo>
                    <a:pt x="17" y="69"/>
                  </a:lnTo>
                  <a:lnTo>
                    <a:pt x="15" y="68"/>
                  </a:lnTo>
                  <a:lnTo>
                    <a:pt x="12" y="66"/>
                  </a:lnTo>
                  <a:lnTo>
                    <a:pt x="10" y="66"/>
                  </a:lnTo>
                  <a:lnTo>
                    <a:pt x="9" y="64"/>
                  </a:lnTo>
                  <a:lnTo>
                    <a:pt x="9" y="62"/>
                  </a:lnTo>
                  <a:lnTo>
                    <a:pt x="10" y="58"/>
                  </a:lnTo>
                  <a:lnTo>
                    <a:pt x="10" y="56"/>
                  </a:lnTo>
                  <a:lnTo>
                    <a:pt x="11" y="55"/>
                  </a:lnTo>
                  <a:lnTo>
                    <a:pt x="10" y="54"/>
                  </a:lnTo>
                  <a:lnTo>
                    <a:pt x="9" y="55"/>
                  </a:lnTo>
                  <a:lnTo>
                    <a:pt x="6" y="55"/>
                  </a:lnTo>
                  <a:lnTo>
                    <a:pt x="5" y="54"/>
                  </a:lnTo>
                  <a:lnTo>
                    <a:pt x="4" y="54"/>
                  </a:lnTo>
                  <a:lnTo>
                    <a:pt x="4" y="52"/>
                  </a:lnTo>
                  <a:lnTo>
                    <a:pt x="5" y="52"/>
                  </a:lnTo>
                  <a:lnTo>
                    <a:pt x="5" y="50"/>
                  </a:lnTo>
                  <a:lnTo>
                    <a:pt x="10" y="45"/>
                  </a:lnTo>
                  <a:lnTo>
                    <a:pt x="11" y="43"/>
                  </a:lnTo>
                  <a:lnTo>
                    <a:pt x="11" y="42"/>
                  </a:lnTo>
                  <a:lnTo>
                    <a:pt x="7" y="42"/>
                  </a:lnTo>
                  <a:lnTo>
                    <a:pt x="6" y="41"/>
                  </a:lnTo>
                  <a:lnTo>
                    <a:pt x="5" y="41"/>
                  </a:lnTo>
                  <a:lnTo>
                    <a:pt x="4" y="39"/>
                  </a:lnTo>
                  <a:lnTo>
                    <a:pt x="3" y="39"/>
                  </a:lnTo>
                  <a:lnTo>
                    <a:pt x="3" y="41"/>
                  </a:lnTo>
                  <a:lnTo>
                    <a:pt x="2" y="41"/>
                  </a:lnTo>
                  <a:lnTo>
                    <a:pt x="2" y="39"/>
                  </a:lnTo>
                  <a:lnTo>
                    <a:pt x="0" y="38"/>
                  </a:lnTo>
                  <a:lnTo>
                    <a:pt x="0" y="36"/>
                  </a:lnTo>
                  <a:lnTo>
                    <a:pt x="2" y="35"/>
                  </a:lnTo>
                  <a:lnTo>
                    <a:pt x="2" y="33"/>
                  </a:lnTo>
                  <a:lnTo>
                    <a:pt x="4" y="31"/>
                  </a:lnTo>
                  <a:lnTo>
                    <a:pt x="5" y="31"/>
                  </a:lnTo>
                  <a:lnTo>
                    <a:pt x="10" y="26"/>
                  </a:lnTo>
                  <a:lnTo>
                    <a:pt x="13" y="26"/>
                  </a:lnTo>
                  <a:lnTo>
                    <a:pt x="13" y="21"/>
                  </a:lnTo>
                  <a:lnTo>
                    <a:pt x="15" y="21"/>
                  </a:lnTo>
                  <a:lnTo>
                    <a:pt x="17" y="23"/>
                  </a:lnTo>
                  <a:lnTo>
                    <a:pt x="18" y="23"/>
                  </a:lnTo>
                  <a:lnTo>
                    <a:pt x="21" y="21"/>
                  </a:lnTo>
                  <a:lnTo>
                    <a:pt x="22" y="23"/>
                  </a:lnTo>
                  <a:lnTo>
                    <a:pt x="25" y="24"/>
                  </a:lnTo>
                  <a:lnTo>
                    <a:pt x="30" y="24"/>
                  </a:lnTo>
                  <a:lnTo>
                    <a:pt x="33" y="26"/>
                  </a:lnTo>
                  <a:lnTo>
                    <a:pt x="43" y="26"/>
                  </a:lnTo>
                  <a:lnTo>
                    <a:pt x="44" y="27"/>
                  </a:lnTo>
                  <a:lnTo>
                    <a:pt x="46" y="27"/>
                  </a:lnTo>
                  <a:lnTo>
                    <a:pt x="46" y="29"/>
                  </a:lnTo>
                  <a:lnTo>
                    <a:pt x="47" y="29"/>
                  </a:lnTo>
                  <a:lnTo>
                    <a:pt x="48" y="27"/>
                  </a:lnTo>
                  <a:lnTo>
                    <a:pt x="48" y="29"/>
                  </a:lnTo>
                  <a:lnTo>
                    <a:pt x="49" y="30"/>
                  </a:lnTo>
                  <a:lnTo>
                    <a:pt x="50" y="30"/>
                  </a:lnTo>
                  <a:lnTo>
                    <a:pt x="50" y="27"/>
                  </a:lnTo>
                  <a:lnTo>
                    <a:pt x="52" y="27"/>
                  </a:lnTo>
                  <a:lnTo>
                    <a:pt x="52" y="26"/>
                  </a:lnTo>
                  <a:lnTo>
                    <a:pt x="54" y="26"/>
                  </a:lnTo>
                  <a:lnTo>
                    <a:pt x="54" y="25"/>
                  </a:lnTo>
                  <a:lnTo>
                    <a:pt x="55" y="25"/>
                  </a:lnTo>
                  <a:lnTo>
                    <a:pt x="58" y="23"/>
                  </a:lnTo>
                  <a:lnTo>
                    <a:pt x="58" y="24"/>
                  </a:lnTo>
                  <a:lnTo>
                    <a:pt x="59" y="23"/>
                  </a:lnTo>
                  <a:lnTo>
                    <a:pt x="60" y="23"/>
                  </a:lnTo>
                  <a:lnTo>
                    <a:pt x="60" y="21"/>
                  </a:lnTo>
                  <a:lnTo>
                    <a:pt x="61" y="20"/>
                  </a:lnTo>
                  <a:lnTo>
                    <a:pt x="61" y="19"/>
                  </a:lnTo>
                  <a:lnTo>
                    <a:pt x="62" y="18"/>
                  </a:lnTo>
                  <a:lnTo>
                    <a:pt x="62" y="17"/>
                  </a:lnTo>
                  <a:lnTo>
                    <a:pt x="65" y="17"/>
                  </a:lnTo>
                  <a:lnTo>
                    <a:pt x="66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4"/>
                  </a:lnTo>
                  <a:lnTo>
                    <a:pt x="72" y="13"/>
                  </a:lnTo>
                  <a:lnTo>
                    <a:pt x="72" y="14"/>
                  </a:lnTo>
                  <a:lnTo>
                    <a:pt x="86" y="14"/>
                  </a:lnTo>
                  <a:lnTo>
                    <a:pt x="87" y="15"/>
                  </a:lnTo>
                  <a:lnTo>
                    <a:pt x="91" y="15"/>
                  </a:lnTo>
                  <a:lnTo>
                    <a:pt x="91" y="13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96" y="9"/>
                  </a:lnTo>
                  <a:lnTo>
                    <a:pt x="97" y="9"/>
                  </a:lnTo>
                  <a:lnTo>
                    <a:pt x="99" y="11"/>
                  </a:lnTo>
                  <a:lnTo>
                    <a:pt x="100" y="11"/>
                  </a:lnTo>
                  <a:lnTo>
                    <a:pt x="102" y="9"/>
                  </a:lnTo>
                  <a:lnTo>
                    <a:pt x="106" y="9"/>
                  </a:lnTo>
                  <a:lnTo>
                    <a:pt x="109" y="11"/>
                  </a:lnTo>
                  <a:lnTo>
                    <a:pt x="110" y="11"/>
                  </a:lnTo>
                  <a:lnTo>
                    <a:pt x="111" y="12"/>
                  </a:lnTo>
                  <a:lnTo>
                    <a:pt x="111" y="9"/>
                  </a:lnTo>
                  <a:lnTo>
                    <a:pt x="110" y="9"/>
                  </a:lnTo>
                  <a:lnTo>
                    <a:pt x="110" y="2"/>
                  </a:lnTo>
                  <a:lnTo>
                    <a:pt x="112" y="2"/>
                  </a:lnTo>
                  <a:lnTo>
                    <a:pt x="114" y="1"/>
                  </a:lnTo>
                  <a:lnTo>
                    <a:pt x="118" y="1"/>
                  </a:lnTo>
                  <a:lnTo>
                    <a:pt x="122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16">
              <a:extLst>
                <a:ext uri="{FF2B5EF4-FFF2-40B4-BE49-F238E27FC236}">
                  <a16:creationId xmlns:a16="http://schemas.microsoft.com/office/drawing/2014/main" id="{CAF67BD8-C08E-4247-AFAB-BC7E31F6996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5313" y="4495800"/>
              <a:ext cx="379413" cy="187325"/>
            </a:xfrm>
            <a:custGeom>
              <a:avLst/>
              <a:gdLst/>
              <a:ahLst/>
              <a:cxnLst>
                <a:cxn ang="0">
                  <a:pos x="112" y="5"/>
                </a:cxn>
                <a:cxn ang="0">
                  <a:pos x="119" y="14"/>
                </a:cxn>
                <a:cxn ang="0">
                  <a:pos x="124" y="21"/>
                </a:cxn>
                <a:cxn ang="0">
                  <a:pos x="123" y="26"/>
                </a:cxn>
                <a:cxn ang="0">
                  <a:pos x="131" y="25"/>
                </a:cxn>
                <a:cxn ang="0">
                  <a:pos x="137" y="21"/>
                </a:cxn>
                <a:cxn ang="0">
                  <a:pos x="145" y="18"/>
                </a:cxn>
                <a:cxn ang="0">
                  <a:pos x="155" y="15"/>
                </a:cxn>
                <a:cxn ang="0">
                  <a:pos x="162" y="13"/>
                </a:cxn>
                <a:cxn ang="0">
                  <a:pos x="170" y="20"/>
                </a:cxn>
                <a:cxn ang="0">
                  <a:pos x="179" y="15"/>
                </a:cxn>
                <a:cxn ang="0">
                  <a:pos x="178" y="12"/>
                </a:cxn>
                <a:cxn ang="0">
                  <a:pos x="187" y="11"/>
                </a:cxn>
                <a:cxn ang="0">
                  <a:pos x="195" y="13"/>
                </a:cxn>
                <a:cxn ang="0">
                  <a:pos x="205" y="14"/>
                </a:cxn>
                <a:cxn ang="0">
                  <a:pos x="212" y="16"/>
                </a:cxn>
                <a:cxn ang="0">
                  <a:pos x="218" y="26"/>
                </a:cxn>
                <a:cxn ang="0">
                  <a:pos x="226" y="28"/>
                </a:cxn>
                <a:cxn ang="0">
                  <a:pos x="238" y="33"/>
                </a:cxn>
                <a:cxn ang="0">
                  <a:pos x="235" y="44"/>
                </a:cxn>
                <a:cxn ang="0">
                  <a:pos x="232" y="54"/>
                </a:cxn>
                <a:cxn ang="0">
                  <a:pos x="228" y="61"/>
                </a:cxn>
                <a:cxn ang="0">
                  <a:pos x="214" y="79"/>
                </a:cxn>
                <a:cxn ang="0">
                  <a:pos x="204" y="79"/>
                </a:cxn>
                <a:cxn ang="0">
                  <a:pos x="197" y="69"/>
                </a:cxn>
                <a:cxn ang="0">
                  <a:pos x="191" y="68"/>
                </a:cxn>
                <a:cxn ang="0">
                  <a:pos x="186" y="71"/>
                </a:cxn>
                <a:cxn ang="0">
                  <a:pos x="178" y="70"/>
                </a:cxn>
                <a:cxn ang="0">
                  <a:pos x="166" y="67"/>
                </a:cxn>
                <a:cxn ang="0">
                  <a:pos x="154" y="73"/>
                </a:cxn>
                <a:cxn ang="0">
                  <a:pos x="148" y="83"/>
                </a:cxn>
                <a:cxn ang="0">
                  <a:pos x="138" y="87"/>
                </a:cxn>
                <a:cxn ang="0">
                  <a:pos x="135" y="92"/>
                </a:cxn>
                <a:cxn ang="0">
                  <a:pos x="126" y="93"/>
                </a:cxn>
                <a:cxn ang="0">
                  <a:pos x="118" y="89"/>
                </a:cxn>
                <a:cxn ang="0">
                  <a:pos x="112" y="93"/>
                </a:cxn>
                <a:cxn ang="0">
                  <a:pos x="100" y="99"/>
                </a:cxn>
                <a:cxn ang="0">
                  <a:pos x="83" y="101"/>
                </a:cxn>
                <a:cxn ang="0">
                  <a:pos x="83" y="113"/>
                </a:cxn>
                <a:cxn ang="0">
                  <a:pos x="75" y="117"/>
                </a:cxn>
                <a:cxn ang="0">
                  <a:pos x="38" y="118"/>
                </a:cxn>
                <a:cxn ang="0">
                  <a:pos x="32" y="113"/>
                </a:cxn>
                <a:cxn ang="0">
                  <a:pos x="21" y="104"/>
                </a:cxn>
                <a:cxn ang="0">
                  <a:pos x="12" y="102"/>
                </a:cxn>
                <a:cxn ang="0">
                  <a:pos x="8" y="99"/>
                </a:cxn>
                <a:cxn ang="0">
                  <a:pos x="7" y="94"/>
                </a:cxn>
                <a:cxn ang="0">
                  <a:pos x="2" y="85"/>
                </a:cxn>
                <a:cxn ang="0">
                  <a:pos x="0" y="74"/>
                </a:cxn>
                <a:cxn ang="0">
                  <a:pos x="5" y="68"/>
                </a:cxn>
                <a:cxn ang="0">
                  <a:pos x="8" y="54"/>
                </a:cxn>
                <a:cxn ang="0">
                  <a:pos x="17" y="49"/>
                </a:cxn>
                <a:cxn ang="0">
                  <a:pos x="27" y="51"/>
                </a:cxn>
                <a:cxn ang="0">
                  <a:pos x="39" y="44"/>
                </a:cxn>
                <a:cxn ang="0">
                  <a:pos x="45" y="38"/>
                </a:cxn>
                <a:cxn ang="0">
                  <a:pos x="54" y="24"/>
                </a:cxn>
                <a:cxn ang="0">
                  <a:pos x="67" y="14"/>
                </a:cxn>
                <a:cxn ang="0">
                  <a:pos x="74" y="8"/>
                </a:cxn>
                <a:cxn ang="0">
                  <a:pos x="83" y="6"/>
                </a:cxn>
                <a:cxn ang="0">
                  <a:pos x="89" y="11"/>
                </a:cxn>
                <a:cxn ang="0">
                  <a:pos x="94" y="14"/>
                </a:cxn>
                <a:cxn ang="0">
                  <a:pos x="99" y="9"/>
                </a:cxn>
                <a:cxn ang="0">
                  <a:pos x="110" y="0"/>
                </a:cxn>
              </a:cxnLst>
              <a:rect l="0" t="0" r="r" b="b"/>
              <a:pathLst>
                <a:path w="239" h="118">
                  <a:moveTo>
                    <a:pt x="110" y="0"/>
                  </a:moveTo>
                  <a:lnTo>
                    <a:pt x="110" y="1"/>
                  </a:lnTo>
                  <a:lnTo>
                    <a:pt x="111" y="2"/>
                  </a:lnTo>
                  <a:lnTo>
                    <a:pt x="112" y="2"/>
                  </a:lnTo>
                  <a:lnTo>
                    <a:pt x="112" y="5"/>
                  </a:lnTo>
                  <a:lnTo>
                    <a:pt x="114" y="9"/>
                  </a:lnTo>
                  <a:lnTo>
                    <a:pt x="114" y="11"/>
                  </a:lnTo>
                  <a:lnTo>
                    <a:pt x="117" y="11"/>
                  </a:lnTo>
                  <a:lnTo>
                    <a:pt x="117" y="13"/>
                  </a:lnTo>
                  <a:lnTo>
                    <a:pt x="119" y="14"/>
                  </a:lnTo>
                  <a:lnTo>
                    <a:pt x="121" y="14"/>
                  </a:lnTo>
                  <a:lnTo>
                    <a:pt x="123" y="13"/>
                  </a:lnTo>
                  <a:lnTo>
                    <a:pt x="123" y="14"/>
                  </a:lnTo>
                  <a:lnTo>
                    <a:pt x="124" y="15"/>
                  </a:lnTo>
                  <a:lnTo>
                    <a:pt x="124" y="21"/>
                  </a:lnTo>
                  <a:lnTo>
                    <a:pt x="125" y="21"/>
                  </a:lnTo>
                  <a:lnTo>
                    <a:pt x="125" y="22"/>
                  </a:lnTo>
                  <a:lnTo>
                    <a:pt x="124" y="22"/>
                  </a:lnTo>
                  <a:lnTo>
                    <a:pt x="123" y="25"/>
                  </a:lnTo>
                  <a:lnTo>
                    <a:pt x="123" y="26"/>
                  </a:lnTo>
                  <a:lnTo>
                    <a:pt x="124" y="27"/>
                  </a:lnTo>
                  <a:lnTo>
                    <a:pt x="126" y="27"/>
                  </a:lnTo>
                  <a:lnTo>
                    <a:pt x="127" y="26"/>
                  </a:lnTo>
                  <a:lnTo>
                    <a:pt x="127" y="25"/>
                  </a:lnTo>
                  <a:lnTo>
                    <a:pt x="131" y="25"/>
                  </a:lnTo>
                  <a:lnTo>
                    <a:pt x="135" y="28"/>
                  </a:lnTo>
                  <a:lnTo>
                    <a:pt x="136" y="27"/>
                  </a:lnTo>
                  <a:lnTo>
                    <a:pt x="136" y="24"/>
                  </a:lnTo>
                  <a:lnTo>
                    <a:pt x="137" y="22"/>
                  </a:lnTo>
                  <a:lnTo>
                    <a:pt x="137" y="21"/>
                  </a:lnTo>
                  <a:lnTo>
                    <a:pt x="138" y="20"/>
                  </a:lnTo>
                  <a:lnTo>
                    <a:pt x="138" y="19"/>
                  </a:lnTo>
                  <a:lnTo>
                    <a:pt x="139" y="19"/>
                  </a:lnTo>
                  <a:lnTo>
                    <a:pt x="141" y="18"/>
                  </a:lnTo>
                  <a:lnTo>
                    <a:pt x="145" y="18"/>
                  </a:lnTo>
                  <a:lnTo>
                    <a:pt x="145" y="14"/>
                  </a:lnTo>
                  <a:lnTo>
                    <a:pt x="150" y="14"/>
                  </a:lnTo>
                  <a:lnTo>
                    <a:pt x="150" y="13"/>
                  </a:lnTo>
                  <a:lnTo>
                    <a:pt x="151" y="13"/>
                  </a:lnTo>
                  <a:lnTo>
                    <a:pt x="155" y="15"/>
                  </a:lnTo>
                  <a:lnTo>
                    <a:pt x="157" y="15"/>
                  </a:lnTo>
                  <a:lnTo>
                    <a:pt x="157" y="14"/>
                  </a:lnTo>
                  <a:lnTo>
                    <a:pt x="158" y="14"/>
                  </a:lnTo>
                  <a:lnTo>
                    <a:pt x="158" y="13"/>
                  </a:lnTo>
                  <a:lnTo>
                    <a:pt x="162" y="13"/>
                  </a:lnTo>
                  <a:lnTo>
                    <a:pt x="166" y="18"/>
                  </a:lnTo>
                  <a:lnTo>
                    <a:pt x="167" y="18"/>
                  </a:lnTo>
                  <a:lnTo>
                    <a:pt x="167" y="19"/>
                  </a:lnTo>
                  <a:lnTo>
                    <a:pt x="169" y="19"/>
                  </a:lnTo>
                  <a:lnTo>
                    <a:pt x="170" y="20"/>
                  </a:lnTo>
                  <a:lnTo>
                    <a:pt x="173" y="20"/>
                  </a:lnTo>
                  <a:lnTo>
                    <a:pt x="175" y="18"/>
                  </a:lnTo>
                  <a:lnTo>
                    <a:pt x="175" y="16"/>
                  </a:lnTo>
                  <a:lnTo>
                    <a:pt x="178" y="16"/>
                  </a:lnTo>
                  <a:lnTo>
                    <a:pt x="179" y="15"/>
                  </a:lnTo>
                  <a:lnTo>
                    <a:pt x="178" y="14"/>
                  </a:lnTo>
                  <a:lnTo>
                    <a:pt x="176" y="14"/>
                  </a:lnTo>
                  <a:lnTo>
                    <a:pt x="176" y="13"/>
                  </a:lnTo>
                  <a:lnTo>
                    <a:pt x="178" y="13"/>
                  </a:lnTo>
                  <a:lnTo>
                    <a:pt x="178" y="12"/>
                  </a:lnTo>
                  <a:lnTo>
                    <a:pt x="181" y="12"/>
                  </a:lnTo>
                  <a:lnTo>
                    <a:pt x="181" y="13"/>
                  </a:lnTo>
                  <a:lnTo>
                    <a:pt x="183" y="13"/>
                  </a:lnTo>
                  <a:lnTo>
                    <a:pt x="185" y="11"/>
                  </a:lnTo>
                  <a:lnTo>
                    <a:pt x="187" y="11"/>
                  </a:lnTo>
                  <a:lnTo>
                    <a:pt x="189" y="12"/>
                  </a:lnTo>
                  <a:lnTo>
                    <a:pt x="193" y="13"/>
                  </a:lnTo>
                  <a:lnTo>
                    <a:pt x="194" y="13"/>
                  </a:lnTo>
                  <a:lnTo>
                    <a:pt x="195" y="12"/>
                  </a:lnTo>
                  <a:lnTo>
                    <a:pt x="195" y="13"/>
                  </a:lnTo>
                  <a:lnTo>
                    <a:pt x="197" y="12"/>
                  </a:lnTo>
                  <a:lnTo>
                    <a:pt x="201" y="12"/>
                  </a:lnTo>
                  <a:lnTo>
                    <a:pt x="203" y="13"/>
                  </a:lnTo>
                  <a:lnTo>
                    <a:pt x="204" y="13"/>
                  </a:lnTo>
                  <a:lnTo>
                    <a:pt x="205" y="14"/>
                  </a:lnTo>
                  <a:lnTo>
                    <a:pt x="206" y="16"/>
                  </a:lnTo>
                  <a:lnTo>
                    <a:pt x="207" y="16"/>
                  </a:lnTo>
                  <a:lnTo>
                    <a:pt x="208" y="15"/>
                  </a:lnTo>
                  <a:lnTo>
                    <a:pt x="211" y="15"/>
                  </a:lnTo>
                  <a:lnTo>
                    <a:pt x="212" y="16"/>
                  </a:lnTo>
                  <a:lnTo>
                    <a:pt x="214" y="18"/>
                  </a:lnTo>
                  <a:lnTo>
                    <a:pt x="216" y="19"/>
                  </a:lnTo>
                  <a:lnTo>
                    <a:pt x="217" y="21"/>
                  </a:lnTo>
                  <a:lnTo>
                    <a:pt x="217" y="24"/>
                  </a:lnTo>
                  <a:lnTo>
                    <a:pt x="218" y="26"/>
                  </a:lnTo>
                  <a:lnTo>
                    <a:pt x="219" y="26"/>
                  </a:lnTo>
                  <a:lnTo>
                    <a:pt x="222" y="27"/>
                  </a:lnTo>
                  <a:lnTo>
                    <a:pt x="223" y="27"/>
                  </a:lnTo>
                  <a:lnTo>
                    <a:pt x="224" y="28"/>
                  </a:lnTo>
                  <a:lnTo>
                    <a:pt x="226" y="28"/>
                  </a:lnTo>
                  <a:lnTo>
                    <a:pt x="226" y="30"/>
                  </a:lnTo>
                  <a:lnTo>
                    <a:pt x="229" y="31"/>
                  </a:lnTo>
                  <a:lnTo>
                    <a:pt x="231" y="31"/>
                  </a:lnTo>
                  <a:lnTo>
                    <a:pt x="234" y="33"/>
                  </a:lnTo>
                  <a:lnTo>
                    <a:pt x="238" y="33"/>
                  </a:lnTo>
                  <a:lnTo>
                    <a:pt x="239" y="34"/>
                  </a:lnTo>
                  <a:lnTo>
                    <a:pt x="239" y="39"/>
                  </a:lnTo>
                  <a:lnTo>
                    <a:pt x="238" y="40"/>
                  </a:lnTo>
                  <a:lnTo>
                    <a:pt x="236" y="40"/>
                  </a:lnTo>
                  <a:lnTo>
                    <a:pt x="235" y="44"/>
                  </a:lnTo>
                  <a:lnTo>
                    <a:pt x="235" y="46"/>
                  </a:lnTo>
                  <a:lnTo>
                    <a:pt x="234" y="46"/>
                  </a:lnTo>
                  <a:lnTo>
                    <a:pt x="234" y="48"/>
                  </a:lnTo>
                  <a:lnTo>
                    <a:pt x="232" y="49"/>
                  </a:lnTo>
                  <a:lnTo>
                    <a:pt x="232" y="54"/>
                  </a:lnTo>
                  <a:lnTo>
                    <a:pt x="231" y="55"/>
                  </a:lnTo>
                  <a:lnTo>
                    <a:pt x="231" y="58"/>
                  </a:lnTo>
                  <a:lnTo>
                    <a:pt x="230" y="59"/>
                  </a:lnTo>
                  <a:lnTo>
                    <a:pt x="230" y="61"/>
                  </a:lnTo>
                  <a:lnTo>
                    <a:pt x="228" y="61"/>
                  </a:lnTo>
                  <a:lnTo>
                    <a:pt x="228" y="62"/>
                  </a:lnTo>
                  <a:lnTo>
                    <a:pt x="223" y="67"/>
                  </a:lnTo>
                  <a:lnTo>
                    <a:pt x="223" y="77"/>
                  </a:lnTo>
                  <a:lnTo>
                    <a:pt x="222" y="79"/>
                  </a:lnTo>
                  <a:lnTo>
                    <a:pt x="214" y="79"/>
                  </a:lnTo>
                  <a:lnTo>
                    <a:pt x="213" y="80"/>
                  </a:lnTo>
                  <a:lnTo>
                    <a:pt x="211" y="80"/>
                  </a:lnTo>
                  <a:lnTo>
                    <a:pt x="208" y="81"/>
                  </a:lnTo>
                  <a:lnTo>
                    <a:pt x="207" y="82"/>
                  </a:lnTo>
                  <a:lnTo>
                    <a:pt x="204" y="79"/>
                  </a:lnTo>
                  <a:lnTo>
                    <a:pt x="201" y="75"/>
                  </a:lnTo>
                  <a:lnTo>
                    <a:pt x="200" y="73"/>
                  </a:lnTo>
                  <a:lnTo>
                    <a:pt x="200" y="71"/>
                  </a:lnTo>
                  <a:lnTo>
                    <a:pt x="197" y="71"/>
                  </a:lnTo>
                  <a:lnTo>
                    <a:pt x="197" y="69"/>
                  </a:lnTo>
                  <a:lnTo>
                    <a:pt x="195" y="69"/>
                  </a:lnTo>
                  <a:lnTo>
                    <a:pt x="195" y="68"/>
                  </a:lnTo>
                  <a:lnTo>
                    <a:pt x="193" y="68"/>
                  </a:lnTo>
                  <a:lnTo>
                    <a:pt x="193" y="67"/>
                  </a:lnTo>
                  <a:lnTo>
                    <a:pt x="191" y="68"/>
                  </a:lnTo>
                  <a:lnTo>
                    <a:pt x="188" y="68"/>
                  </a:lnTo>
                  <a:lnTo>
                    <a:pt x="188" y="69"/>
                  </a:lnTo>
                  <a:lnTo>
                    <a:pt x="187" y="69"/>
                  </a:lnTo>
                  <a:lnTo>
                    <a:pt x="187" y="70"/>
                  </a:lnTo>
                  <a:lnTo>
                    <a:pt x="186" y="71"/>
                  </a:lnTo>
                  <a:lnTo>
                    <a:pt x="186" y="70"/>
                  </a:lnTo>
                  <a:lnTo>
                    <a:pt x="182" y="70"/>
                  </a:lnTo>
                  <a:lnTo>
                    <a:pt x="180" y="71"/>
                  </a:lnTo>
                  <a:lnTo>
                    <a:pt x="179" y="71"/>
                  </a:lnTo>
                  <a:lnTo>
                    <a:pt x="178" y="70"/>
                  </a:lnTo>
                  <a:lnTo>
                    <a:pt x="173" y="70"/>
                  </a:lnTo>
                  <a:lnTo>
                    <a:pt x="170" y="68"/>
                  </a:lnTo>
                  <a:lnTo>
                    <a:pt x="168" y="68"/>
                  </a:lnTo>
                  <a:lnTo>
                    <a:pt x="167" y="67"/>
                  </a:lnTo>
                  <a:lnTo>
                    <a:pt x="166" y="67"/>
                  </a:lnTo>
                  <a:lnTo>
                    <a:pt x="157" y="69"/>
                  </a:lnTo>
                  <a:lnTo>
                    <a:pt x="154" y="69"/>
                  </a:lnTo>
                  <a:lnTo>
                    <a:pt x="152" y="70"/>
                  </a:lnTo>
                  <a:lnTo>
                    <a:pt x="154" y="71"/>
                  </a:lnTo>
                  <a:lnTo>
                    <a:pt x="154" y="73"/>
                  </a:lnTo>
                  <a:lnTo>
                    <a:pt x="151" y="75"/>
                  </a:lnTo>
                  <a:lnTo>
                    <a:pt x="150" y="75"/>
                  </a:lnTo>
                  <a:lnTo>
                    <a:pt x="150" y="76"/>
                  </a:lnTo>
                  <a:lnTo>
                    <a:pt x="149" y="81"/>
                  </a:lnTo>
                  <a:lnTo>
                    <a:pt x="148" y="83"/>
                  </a:lnTo>
                  <a:lnTo>
                    <a:pt x="144" y="87"/>
                  </a:lnTo>
                  <a:lnTo>
                    <a:pt x="143" y="86"/>
                  </a:lnTo>
                  <a:lnTo>
                    <a:pt x="142" y="86"/>
                  </a:lnTo>
                  <a:lnTo>
                    <a:pt x="141" y="87"/>
                  </a:lnTo>
                  <a:lnTo>
                    <a:pt x="138" y="87"/>
                  </a:lnTo>
                  <a:lnTo>
                    <a:pt x="138" y="88"/>
                  </a:lnTo>
                  <a:lnTo>
                    <a:pt x="137" y="89"/>
                  </a:lnTo>
                  <a:lnTo>
                    <a:pt x="137" y="91"/>
                  </a:lnTo>
                  <a:lnTo>
                    <a:pt x="136" y="91"/>
                  </a:lnTo>
                  <a:lnTo>
                    <a:pt x="135" y="92"/>
                  </a:lnTo>
                  <a:lnTo>
                    <a:pt x="132" y="92"/>
                  </a:lnTo>
                  <a:lnTo>
                    <a:pt x="132" y="93"/>
                  </a:lnTo>
                  <a:lnTo>
                    <a:pt x="130" y="94"/>
                  </a:lnTo>
                  <a:lnTo>
                    <a:pt x="129" y="95"/>
                  </a:lnTo>
                  <a:lnTo>
                    <a:pt x="126" y="93"/>
                  </a:lnTo>
                  <a:lnTo>
                    <a:pt x="123" y="93"/>
                  </a:lnTo>
                  <a:lnTo>
                    <a:pt x="123" y="91"/>
                  </a:lnTo>
                  <a:lnTo>
                    <a:pt x="121" y="89"/>
                  </a:lnTo>
                  <a:lnTo>
                    <a:pt x="119" y="91"/>
                  </a:lnTo>
                  <a:lnTo>
                    <a:pt x="118" y="89"/>
                  </a:lnTo>
                  <a:lnTo>
                    <a:pt x="118" y="88"/>
                  </a:lnTo>
                  <a:lnTo>
                    <a:pt x="117" y="88"/>
                  </a:lnTo>
                  <a:lnTo>
                    <a:pt x="113" y="89"/>
                  </a:lnTo>
                  <a:lnTo>
                    <a:pt x="112" y="89"/>
                  </a:lnTo>
                  <a:lnTo>
                    <a:pt x="112" y="93"/>
                  </a:lnTo>
                  <a:lnTo>
                    <a:pt x="111" y="94"/>
                  </a:lnTo>
                  <a:lnTo>
                    <a:pt x="111" y="95"/>
                  </a:lnTo>
                  <a:lnTo>
                    <a:pt x="108" y="98"/>
                  </a:lnTo>
                  <a:lnTo>
                    <a:pt x="102" y="98"/>
                  </a:lnTo>
                  <a:lnTo>
                    <a:pt x="100" y="99"/>
                  </a:lnTo>
                  <a:lnTo>
                    <a:pt x="95" y="98"/>
                  </a:lnTo>
                  <a:lnTo>
                    <a:pt x="92" y="99"/>
                  </a:lnTo>
                  <a:lnTo>
                    <a:pt x="88" y="99"/>
                  </a:lnTo>
                  <a:lnTo>
                    <a:pt x="83" y="100"/>
                  </a:lnTo>
                  <a:lnTo>
                    <a:pt x="83" y="101"/>
                  </a:lnTo>
                  <a:lnTo>
                    <a:pt x="82" y="104"/>
                  </a:lnTo>
                  <a:lnTo>
                    <a:pt x="80" y="104"/>
                  </a:lnTo>
                  <a:lnTo>
                    <a:pt x="80" y="111"/>
                  </a:lnTo>
                  <a:lnTo>
                    <a:pt x="81" y="112"/>
                  </a:lnTo>
                  <a:lnTo>
                    <a:pt x="83" y="113"/>
                  </a:lnTo>
                  <a:lnTo>
                    <a:pt x="82" y="113"/>
                  </a:lnTo>
                  <a:lnTo>
                    <a:pt x="81" y="114"/>
                  </a:lnTo>
                  <a:lnTo>
                    <a:pt x="80" y="114"/>
                  </a:lnTo>
                  <a:lnTo>
                    <a:pt x="77" y="117"/>
                  </a:lnTo>
                  <a:lnTo>
                    <a:pt x="75" y="117"/>
                  </a:lnTo>
                  <a:lnTo>
                    <a:pt x="74" y="116"/>
                  </a:lnTo>
                  <a:lnTo>
                    <a:pt x="71" y="116"/>
                  </a:lnTo>
                  <a:lnTo>
                    <a:pt x="63" y="117"/>
                  </a:lnTo>
                  <a:lnTo>
                    <a:pt x="60" y="118"/>
                  </a:lnTo>
                  <a:lnTo>
                    <a:pt x="38" y="118"/>
                  </a:lnTo>
                  <a:lnTo>
                    <a:pt x="37" y="117"/>
                  </a:lnTo>
                  <a:lnTo>
                    <a:pt x="34" y="116"/>
                  </a:lnTo>
                  <a:lnTo>
                    <a:pt x="34" y="114"/>
                  </a:lnTo>
                  <a:lnTo>
                    <a:pt x="33" y="114"/>
                  </a:lnTo>
                  <a:lnTo>
                    <a:pt x="32" y="113"/>
                  </a:lnTo>
                  <a:lnTo>
                    <a:pt x="30" y="113"/>
                  </a:lnTo>
                  <a:lnTo>
                    <a:pt x="29" y="111"/>
                  </a:lnTo>
                  <a:lnTo>
                    <a:pt x="27" y="111"/>
                  </a:lnTo>
                  <a:lnTo>
                    <a:pt x="26" y="110"/>
                  </a:lnTo>
                  <a:lnTo>
                    <a:pt x="21" y="104"/>
                  </a:lnTo>
                  <a:lnTo>
                    <a:pt x="20" y="102"/>
                  </a:lnTo>
                  <a:lnTo>
                    <a:pt x="18" y="102"/>
                  </a:lnTo>
                  <a:lnTo>
                    <a:pt x="15" y="101"/>
                  </a:lnTo>
                  <a:lnTo>
                    <a:pt x="14" y="101"/>
                  </a:lnTo>
                  <a:lnTo>
                    <a:pt x="12" y="102"/>
                  </a:lnTo>
                  <a:lnTo>
                    <a:pt x="12" y="101"/>
                  </a:lnTo>
                  <a:lnTo>
                    <a:pt x="11" y="101"/>
                  </a:lnTo>
                  <a:lnTo>
                    <a:pt x="9" y="100"/>
                  </a:lnTo>
                  <a:lnTo>
                    <a:pt x="9" y="99"/>
                  </a:lnTo>
                  <a:lnTo>
                    <a:pt x="8" y="99"/>
                  </a:lnTo>
                  <a:lnTo>
                    <a:pt x="9" y="98"/>
                  </a:lnTo>
                  <a:lnTo>
                    <a:pt x="9" y="97"/>
                  </a:lnTo>
                  <a:lnTo>
                    <a:pt x="8" y="95"/>
                  </a:lnTo>
                  <a:lnTo>
                    <a:pt x="8" y="94"/>
                  </a:lnTo>
                  <a:lnTo>
                    <a:pt x="7" y="94"/>
                  </a:lnTo>
                  <a:lnTo>
                    <a:pt x="5" y="92"/>
                  </a:lnTo>
                  <a:lnTo>
                    <a:pt x="5" y="86"/>
                  </a:lnTo>
                  <a:lnTo>
                    <a:pt x="3" y="86"/>
                  </a:lnTo>
                  <a:lnTo>
                    <a:pt x="3" y="85"/>
                  </a:lnTo>
                  <a:lnTo>
                    <a:pt x="2" y="85"/>
                  </a:lnTo>
                  <a:lnTo>
                    <a:pt x="2" y="81"/>
                  </a:lnTo>
                  <a:lnTo>
                    <a:pt x="1" y="81"/>
                  </a:lnTo>
                  <a:lnTo>
                    <a:pt x="1" y="80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2" y="71"/>
                  </a:lnTo>
                  <a:lnTo>
                    <a:pt x="2" y="70"/>
                  </a:lnTo>
                  <a:lnTo>
                    <a:pt x="3" y="69"/>
                  </a:lnTo>
                  <a:lnTo>
                    <a:pt x="3" y="68"/>
                  </a:lnTo>
                  <a:lnTo>
                    <a:pt x="5" y="68"/>
                  </a:lnTo>
                  <a:lnTo>
                    <a:pt x="3" y="64"/>
                  </a:lnTo>
                  <a:lnTo>
                    <a:pt x="3" y="63"/>
                  </a:lnTo>
                  <a:lnTo>
                    <a:pt x="5" y="62"/>
                  </a:lnTo>
                  <a:lnTo>
                    <a:pt x="7" y="56"/>
                  </a:lnTo>
                  <a:lnTo>
                    <a:pt x="8" y="54"/>
                  </a:lnTo>
                  <a:lnTo>
                    <a:pt x="11" y="51"/>
                  </a:lnTo>
                  <a:lnTo>
                    <a:pt x="11" y="50"/>
                  </a:lnTo>
                  <a:lnTo>
                    <a:pt x="13" y="48"/>
                  </a:lnTo>
                  <a:lnTo>
                    <a:pt x="15" y="48"/>
                  </a:lnTo>
                  <a:lnTo>
                    <a:pt x="17" y="49"/>
                  </a:lnTo>
                  <a:lnTo>
                    <a:pt x="21" y="51"/>
                  </a:lnTo>
                  <a:lnTo>
                    <a:pt x="23" y="50"/>
                  </a:lnTo>
                  <a:lnTo>
                    <a:pt x="24" y="50"/>
                  </a:lnTo>
                  <a:lnTo>
                    <a:pt x="25" y="49"/>
                  </a:lnTo>
                  <a:lnTo>
                    <a:pt x="27" y="51"/>
                  </a:lnTo>
                  <a:lnTo>
                    <a:pt x="29" y="51"/>
                  </a:lnTo>
                  <a:lnTo>
                    <a:pt x="37" y="48"/>
                  </a:lnTo>
                  <a:lnTo>
                    <a:pt x="38" y="48"/>
                  </a:lnTo>
                  <a:lnTo>
                    <a:pt x="39" y="45"/>
                  </a:lnTo>
                  <a:lnTo>
                    <a:pt x="39" y="44"/>
                  </a:lnTo>
                  <a:lnTo>
                    <a:pt x="43" y="44"/>
                  </a:lnTo>
                  <a:lnTo>
                    <a:pt x="43" y="43"/>
                  </a:lnTo>
                  <a:lnTo>
                    <a:pt x="44" y="43"/>
                  </a:lnTo>
                  <a:lnTo>
                    <a:pt x="44" y="39"/>
                  </a:lnTo>
                  <a:lnTo>
                    <a:pt x="45" y="38"/>
                  </a:lnTo>
                  <a:lnTo>
                    <a:pt x="49" y="38"/>
                  </a:lnTo>
                  <a:lnTo>
                    <a:pt x="52" y="34"/>
                  </a:lnTo>
                  <a:lnTo>
                    <a:pt x="52" y="28"/>
                  </a:lnTo>
                  <a:lnTo>
                    <a:pt x="54" y="26"/>
                  </a:lnTo>
                  <a:lnTo>
                    <a:pt x="54" y="24"/>
                  </a:lnTo>
                  <a:lnTo>
                    <a:pt x="56" y="21"/>
                  </a:lnTo>
                  <a:lnTo>
                    <a:pt x="62" y="19"/>
                  </a:lnTo>
                  <a:lnTo>
                    <a:pt x="64" y="16"/>
                  </a:lnTo>
                  <a:lnTo>
                    <a:pt x="64" y="14"/>
                  </a:lnTo>
                  <a:lnTo>
                    <a:pt x="67" y="14"/>
                  </a:lnTo>
                  <a:lnTo>
                    <a:pt x="70" y="11"/>
                  </a:lnTo>
                  <a:lnTo>
                    <a:pt x="70" y="8"/>
                  </a:lnTo>
                  <a:lnTo>
                    <a:pt x="71" y="8"/>
                  </a:lnTo>
                  <a:lnTo>
                    <a:pt x="71" y="7"/>
                  </a:lnTo>
                  <a:lnTo>
                    <a:pt x="74" y="8"/>
                  </a:lnTo>
                  <a:lnTo>
                    <a:pt x="75" y="7"/>
                  </a:lnTo>
                  <a:lnTo>
                    <a:pt x="77" y="8"/>
                  </a:lnTo>
                  <a:lnTo>
                    <a:pt x="80" y="8"/>
                  </a:lnTo>
                  <a:lnTo>
                    <a:pt x="82" y="6"/>
                  </a:lnTo>
                  <a:lnTo>
                    <a:pt x="83" y="6"/>
                  </a:lnTo>
                  <a:lnTo>
                    <a:pt x="88" y="7"/>
                  </a:lnTo>
                  <a:lnTo>
                    <a:pt x="89" y="7"/>
                  </a:lnTo>
                  <a:lnTo>
                    <a:pt x="88" y="8"/>
                  </a:lnTo>
                  <a:lnTo>
                    <a:pt x="88" y="9"/>
                  </a:lnTo>
                  <a:lnTo>
                    <a:pt x="89" y="11"/>
                  </a:lnTo>
                  <a:lnTo>
                    <a:pt x="89" y="14"/>
                  </a:lnTo>
                  <a:lnTo>
                    <a:pt x="91" y="14"/>
                  </a:lnTo>
                  <a:lnTo>
                    <a:pt x="93" y="13"/>
                  </a:lnTo>
                  <a:lnTo>
                    <a:pt x="94" y="13"/>
                  </a:lnTo>
                  <a:lnTo>
                    <a:pt x="94" y="14"/>
                  </a:lnTo>
                  <a:lnTo>
                    <a:pt x="96" y="14"/>
                  </a:lnTo>
                  <a:lnTo>
                    <a:pt x="99" y="12"/>
                  </a:lnTo>
                  <a:lnTo>
                    <a:pt x="99" y="11"/>
                  </a:lnTo>
                  <a:lnTo>
                    <a:pt x="100" y="11"/>
                  </a:lnTo>
                  <a:lnTo>
                    <a:pt x="99" y="9"/>
                  </a:lnTo>
                  <a:lnTo>
                    <a:pt x="100" y="7"/>
                  </a:lnTo>
                  <a:lnTo>
                    <a:pt x="100" y="6"/>
                  </a:lnTo>
                  <a:lnTo>
                    <a:pt x="105" y="6"/>
                  </a:lnTo>
                  <a:lnTo>
                    <a:pt x="105" y="5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17">
              <a:extLst>
                <a:ext uri="{FF2B5EF4-FFF2-40B4-BE49-F238E27FC236}">
                  <a16:creationId xmlns:a16="http://schemas.microsoft.com/office/drawing/2014/main" id="{A1D5DB91-47F6-4EBE-97CA-C8EE6C612A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10250" y="4838700"/>
              <a:ext cx="276225" cy="401638"/>
            </a:xfrm>
            <a:custGeom>
              <a:avLst/>
              <a:gdLst/>
              <a:ahLst/>
              <a:cxnLst>
                <a:cxn ang="0">
                  <a:pos x="45" y="0"/>
                </a:cxn>
                <a:cxn ang="0">
                  <a:pos x="60" y="7"/>
                </a:cxn>
                <a:cxn ang="0">
                  <a:pos x="72" y="17"/>
                </a:cxn>
                <a:cxn ang="0">
                  <a:pos x="79" y="26"/>
                </a:cxn>
                <a:cxn ang="0">
                  <a:pos x="82" y="39"/>
                </a:cxn>
                <a:cxn ang="0">
                  <a:pos x="94" y="52"/>
                </a:cxn>
                <a:cxn ang="0">
                  <a:pos x="102" y="57"/>
                </a:cxn>
                <a:cxn ang="0">
                  <a:pos x="108" y="67"/>
                </a:cxn>
                <a:cxn ang="0">
                  <a:pos x="109" y="73"/>
                </a:cxn>
                <a:cxn ang="0">
                  <a:pos x="106" y="79"/>
                </a:cxn>
                <a:cxn ang="0">
                  <a:pos x="116" y="87"/>
                </a:cxn>
                <a:cxn ang="0">
                  <a:pos x="134" y="94"/>
                </a:cxn>
                <a:cxn ang="0">
                  <a:pos x="145" y="91"/>
                </a:cxn>
                <a:cxn ang="0">
                  <a:pos x="152" y="87"/>
                </a:cxn>
                <a:cxn ang="0">
                  <a:pos x="160" y="98"/>
                </a:cxn>
                <a:cxn ang="0">
                  <a:pos x="152" y="100"/>
                </a:cxn>
                <a:cxn ang="0">
                  <a:pos x="159" y="117"/>
                </a:cxn>
                <a:cxn ang="0">
                  <a:pos x="153" y="128"/>
                </a:cxn>
                <a:cxn ang="0">
                  <a:pos x="149" y="147"/>
                </a:cxn>
                <a:cxn ang="0">
                  <a:pos x="154" y="160"/>
                </a:cxn>
                <a:cxn ang="0">
                  <a:pos x="166" y="168"/>
                </a:cxn>
                <a:cxn ang="0">
                  <a:pos x="170" y="183"/>
                </a:cxn>
                <a:cxn ang="0">
                  <a:pos x="153" y="195"/>
                </a:cxn>
                <a:cxn ang="0">
                  <a:pos x="152" y="204"/>
                </a:cxn>
                <a:cxn ang="0">
                  <a:pos x="153" y="222"/>
                </a:cxn>
                <a:cxn ang="0">
                  <a:pos x="144" y="226"/>
                </a:cxn>
                <a:cxn ang="0">
                  <a:pos x="129" y="226"/>
                </a:cxn>
                <a:cxn ang="0">
                  <a:pos x="116" y="230"/>
                </a:cxn>
                <a:cxn ang="0">
                  <a:pos x="108" y="233"/>
                </a:cxn>
                <a:cxn ang="0">
                  <a:pos x="101" y="239"/>
                </a:cxn>
                <a:cxn ang="0">
                  <a:pos x="91" y="236"/>
                </a:cxn>
                <a:cxn ang="0">
                  <a:pos x="79" y="251"/>
                </a:cxn>
                <a:cxn ang="0">
                  <a:pos x="72" y="252"/>
                </a:cxn>
                <a:cxn ang="0">
                  <a:pos x="71" y="236"/>
                </a:cxn>
                <a:cxn ang="0">
                  <a:pos x="57" y="226"/>
                </a:cxn>
                <a:cxn ang="0">
                  <a:pos x="51" y="215"/>
                </a:cxn>
                <a:cxn ang="0">
                  <a:pos x="52" y="201"/>
                </a:cxn>
                <a:cxn ang="0">
                  <a:pos x="62" y="193"/>
                </a:cxn>
                <a:cxn ang="0">
                  <a:pos x="45" y="181"/>
                </a:cxn>
                <a:cxn ang="0">
                  <a:pos x="36" y="180"/>
                </a:cxn>
                <a:cxn ang="0">
                  <a:pos x="27" y="173"/>
                </a:cxn>
                <a:cxn ang="0">
                  <a:pos x="14" y="156"/>
                </a:cxn>
                <a:cxn ang="0">
                  <a:pos x="21" y="153"/>
                </a:cxn>
                <a:cxn ang="0">
                  <a:pos x="27" y="150"/>
                </a:cxn>
                <a:cxn ang="0">
                  <a:pos x="15" y="130"/>
                </a:cxn>
                <a:cxn ang="0">
                  <a:pos x="31" y="129"/>
                </a:cxn>
                <a:cxn ang="0">
                  <a:pos x="27" y="124"/>
                </a:cxn>
                <a:cxn ang="0">
                  <a:pos x="15" y="113"/>
                </a:cxn>
                <a:cxn ang="0">
                  <a:pos x="14" y="98"/>
                </a:cxn>
                <a:cxn ang="0">
                  <a:pos x="21" y="79"/>
                </a:cxn>
                <a:cxn ang="0">
                  <a:pos x="14" y="76"/>
                </a:cxn>
                <a:cxn ang="0">
                  <a:pos x="7" y="75"/>
                </a:cxn>
                <a:cxn ang="0">
                  <a:pos x="8" y="62"/>
                </a:cxn>
                <a:cxn ang="0">
                  <a:pos x="17" y="60"/>
                </a:cxn>
                <a:cxn ang="0">
                  <a:pos x="10" y="51"/>
                </a:cxn>
                <a:cxn ang="0">
                  <a:pos x="6" y="44"/>
                </a:cxn>
                <a:cxn ang="0">
                  <a:pos x="4" y="37"/>
                </a:cxn>
                <a:cxn ang="0">
                  <a:pos x="2" y="29"/>
                </a:cxn>
                <a:cxn ang="0">
                  <a:pos x="2" y="15"/>
                </a:cxn>
                <a:cxn ang="0">
                  <a:pos x="8" y="13"/>
                </a:cxn>
                <a:cxn ang="0">
                  <a:pos x="17" y="9"/>
                </a:cxn>
                <a:cxn ang="0">
                  <a:pos x="26" y="5"/>
                </a:cxn>
              </a:cxnLst>
              <a:rect l="0" t="0" r="r" b="b"/>
              <a:pathLst>
                <a:path w="174" h="253">
                  <a:moveTo>
                    <a:pt x="29" y="0"/>
                  </a:moveTo>
                  <a:lnTo>
                    <a:pt x="34" y="0"/>
                  </a:lnTo>
                  <a:lnTo>
                    <a:pt x="35" y="1"/>
                  </a:lnTo>
                  <a:lnTo>
                    <a:pt x="38" y="2"/>
                  </a:lnTo>
                  <a:lnTo>
                    <a:pt x="39" y="2"/>
                  </a:lnTo>
                  <a:lnTo>
                    <a:pt x="42" y="1"/>
                  </a:lnTo>
                  <a:lnTo>
                    <a:pt x="44" y="1"/>
                  </a:lnTo>
                  <a:lnTo>
                    <a:pt x="45" y="0"/>
                  </a:lnTo>
                  <a:lnTo>
                    <a:pt x="47" y="1"/>
                  </a:lnTo>
                  <a:lnTo>
                    <a:pt x="53" y="1"/>
                  </a:lnTo>
                  <a:lnTo>
                    <a:pt x="53" y="2"/>
                  </a:lnTo>
                  <a:lnTo>
                    <a:pt x="54" y="2"/>
                  </a:lnTo>
                  <a:lnTo>
                    <a:pt x="54" y="1"/>
                  </a:lnTo>
                  <a:lnTo>
                    <a:pt x="56" y="2"/>
                  </a:lnTo>
                  <a:lnTo>
                    <a:pt x="58" y="4"/>
                  </a:lnTo>
                  <a:lnTo>
                    <a:pt x="60" y="7"/>
                  </a:lnTo>
                  <a:lnTo>
                    <a:pt x="62" y="8"/>
                  </a:lnTo>
                  <a:lnTo>
                    <a:pt x="62" y="11"/>
                  </a:lnTo>
                  <a:lnTo>
                    <a:pt x="63" y="12"/>
                  </a:lnTo>
                  <a:lnTo>
                    <a:pt x="64" y="12"/>
                  </a:lnTo>
                  <a:lnTo>
                    <a:pt x="65" y="13"/>
                  </a:lnTo>
                  <a:lnTo>
                    <a:pt x="66" y="13"/>
                  </a:lnTo>
                  <a:lnTo>
                    <a:pt x="70" y="17"/>
                  </a:lnTo>
                  <a:lnTo>
                    <a:pt x="72" y="17"/>
                  </a:lnTo>
                  <a:lnTo>
                    <a:pt x="73" y="19"/>
                  </a:lnTo>
                  <a:lnTo>
                    <a:pt x="73" y="20"/>
                  </a:lnTo>
                  <a:lnTo>
                    <a:pt x="75" y="20"/>
                  </a:lnTo>
                  <a:lnTo>
                    <a:pt x="75" y="23"/>
                  </a:lnTo>
                  <a:lnTo>
                    <a:pt x="76" y="24"/>
                  </a:lnTo>
                  <a:lnTo>
                    <a:pt x="76" y="25"/>
                  </a:lnTo>
                  <a:lnTo>
                    <a:pt x="77" y="26"/>
                  </a:lnTo>
                  <a:lnTo>
                    <a:pt x="79" y="26"/>
                  </a:lnTo>
                  <a:lnTo>
                    <a:pt x="79" y="25"/>
                  </a:lnTo>
                  <a:lnTo>
                    <a:pt x="81" y="25"/>
                  </a:lnTo>
                  <a:lnTo>
                    <a:pt x="81" y="31"/>
                  </a:lnTo>
                  <a:lnTo>
                    <a:pt x="79" y="32"/>
                  </a:lnTo>
                  <a:lnTo>
                    <a:pt x="79" y="35"/>
                  </a:lnTo>
                  <a:lnTo>
                    <a:pt x="81" y="37"/>
                  </a:lnTo>
                  <a:lnTo>
                    <a:pt x="82" y="38"/>
                  </a:lnTo>
                  <a:lnTo>
                    <a:pt x="82" y="39"/>
                  </a:lnTo>
                  <a:lnTo>
                    <a:pt x="81" y="41"/>
                  </a:lnTo>
                  <a:lnTo>
                    <a:pt x="79" y="41"/>
                  </a:lnTo>
                  <a:lnTo>
                    <a:pt x="82" y="43"/>
                  </a:lnTo>
                  <a:lnTo>
                    <a:pt x="83" y="43"/>
                  </a:lnTo>
                  <a:lnTo>
                    <a:pt x="84" y="45"/>
                  </a:lnTo>
                  <a:lnTo>
                    <a:pt x="90" y="51"/>
                  </a:lnTo>
                  <a:lnTo>
                    <a:pt x="93" y="52"/>
                  </a:lnTo>
                  <a:lnTo>
                    <a:pt x="94" y="52"/>
                  </a:lnTo>
                  <a:lnTo>
                    <a:pt x="94" y="54"/>
                  </a:lnTo>
                  <a:lnTo>
                    <a:pt x="95" y="54"/>
                  </a:lnTo>
                  <a:lnTo>
                    <a:pt x="95" y="52"/>
                  </a:lnTo>
                  <a:lnTo>
                    <a:pt x="96" y="52"/>
                  </a:lnTo>
                  <a:lnTo>
                    <a:pt x="98" y="55"/>
                  </a:lnTo>
                  <a:lnTo>
                    <a:pt x="98" y="56"/>
                  </a:lnTo>
                  <a:lnTo>
                    <a:pt x="100" y="57"/>
                  </a:lnTo>
                  <a:lnTo>
                    <a:pt x="102" y="57"/>
                  </a:lnTo>
                  <a:lnTo>
                    <a:pt x="107" y="58"/>
                  </a:lnTo>
                  <a:lnTo>
                    <a:pt x="108" y="60"/>
                  </a:lnTo>
                  <a:lnTo>
                    <a:pt x="109" y="60"/>
                  </a:lnTo>
                  <a:lnTo>
                    <a:pt x="110" y="61"/>
                  </a:lnTo>
                  <a:lnTo>
                    <a:pt x="110" y="63"/>
                  </a:lnTo>
                  <a:lnTo>
                    <a:pt x="109" y="63"/>
                  </a:lnTo>
                  <a:lnTo>
                    <a:pt x="109" y="66"/>
                  </a:lnTo>
                  <a:lnTo>
                    <a:pt x="108" y="67"/>
                  </a:lnTo>
                  <a:lnTo>
                    <a:pt x="108" y="68"/>
                  </a:lnTo>
                  <a:lnTo>
                    <a:pt x="107" y="69"/>
                  </a:lnTo>
                  <a:lnTo>
                    <a:pt x="106" y="69"/>
                  </a:lnTo>
                  <a:lnTo>
                    <a:pt x="104" y="70"/>
                  </a:lnTo>
                  <a:lnTo>
                    <a:pt x="104" y="72"/>
                  </a:lnTo>
                  <a:lnTo>
                    <a:pt x="106" y="72"/>
                  </a:lnTo>
                  <a:lnTo>
                    <a:pt x="106" y="73"/>
                  </a:lnTo>
                  <a:lnTo>
                    <a:pt x="109" y="73"/>
                  </a:lnTo>
                  <a:lnTo>
                    <a:pt x="110" y="74"/>
                  </a:lnTo>
                  <a:lnTo>
                    <a:pt x="112" y="74"/>
                  </a:lnTo>
                  <a:lnTo>
                    <a:pt x="113" y="75"/>
                  </a:lnTo>
                  <a:lnTo>
                    <a:pt x="113" y="78"/>
                  </a:lnTo>
                  <a:lnTo>
                    <a:pt x="110" y="78"/>
                  </a:lnTo>
                  <a:lnTo>
                    <a:pt x="109" y="79"/>
                  </a:lnTo>
                  <a:lnTo>
                    <a:pt x="107" y="78"/>
                  </a:lnTo>
                  <a:lnTo>
                    <a:pt x="106" y="79"/>
                  </a:lnTo>
                  <a:lnTo>
                    <a:pt x="104" y="79"/>
                  </a:lnTo>
                  <a:lnTo>
                    <a:pt x="104" y="80"/>
                  </a:lnTo>
                  <a:lnTo>
                    <a:pt x="107" y="82"/>
                  </a:lnTo>
                  <a:lnTo>
                    <a:pt x="107" y="84"/>
                  </a:lnTo>
                  <a:lnTo>
                    <a:pt x="114" y="84"/>
                  </a:lnTo>
                  <a:lnTo>
                    <a:pt x="115" y="85"/>
                  </a:lnTo>
                  <a:lnTo>
                    <a:pt x="115" y="86"/>
                  </a:lnTo>
                  <a:lnTo>
                    <a:pt x="116" y="87"/>
                  </a:lnTo>
                  <a:lnTo>
                    <a:pt x="118" y="90"/>
                  </a:lnTo>
                  <a:lnTo>
                    <a:pt x="123" y="90"/>
                  </a:lnTo>
                  <a:lnTo>
                    <a:pt x="126" y="88"/>
                  </a:lnTo>
                  <a:lnTo>
                    <a:pt x="127" y="88"/>
                  </a:lnTo>
                  <a:lnTo>
                    <a:pt x="131" y="91"/>
                  </a:lnTo>
                  <a:lnTo>
                    <a:pt x="132" y="91"/>
                  </a:lnTo>
                  <a:lnTo>
                    <a:pt x="133" y="94"/>
                  </a:lnTo>
                  <a:lnTo>
                    <a:pt x="134" y="94"/>
                  </a:lnTo>
                  <a:lnTo>
                    <a:pt x="134" y="97"/>
                  </a:lnTo>
                  <a:lnTo>
                    <a:pt x="135" y="97"/>
                  </a:lnTo>
                  <a:lnTo>
                    <a:pt x="135" y="99"/>
                  </a:lnTo>
                  <a:lnTo>
                    <a:pt x="137" y="99"/>
                  </a:lnTo>
                  <a:lnTo>
                    <a:pt x="138" y="100"/>
                  </a:lnTo>
                  <a:lnTo>
                    <a:pt x="139" y="100"/>
                  </a:lnTo>
                  <a:lnTo>
                    <a:pt x="140" y="99"/>
                  </a:lnTo>
                  <a:lnTo>
                    <a:pt x="145" y="91"/>
                  </a:lnTo>
                  <a:lnTo>
                    <a:pt x="145" y="90"/>
                  </a:lnTo>
                  <a:lnTo>
                    <a:pt x="146" y="90"/>
                  </a:lnTo>
                  <a:lnTo>
                    <a:pt x="147" y="88"/>
                  </a:lnTo>
                  <a:lnTo>
                    <a:pt x="149" y="88"/>
                  </a:lnTo>
                  <a:lnTo>
                    <a:pt x="150" y="87"/>
                  </a:lnTo>
                  <a:lnTo>
                    <a:pt x="150" y="86"/>
                  </a:lnTo>
                  <a:lnTo>
                    <a:pt x="152" y="86"/>
                  </a:lnTo>
                  <a:lnTo>
                    <a:pt x="152" y="87"/>
                  </a:lnTo>
                  <a:lnTo>
                    <a:pt x="156" y="90"/>
                  </a:lnTo>
                  <a:lnTo>
                    <a:pt x="158" y="92"/>
                  </a:lnTo>
                  <a:lnTo>
                    <a:pt x="162" y="92"/>
                  </a:lnTo>
                  <a:lnTo>
                    <a:pt x="163" y="93"/>
                  </a:lnTo>
                  <a:lnTo>
                    <a:pt x="164" y="95"/>
                  </a:lnTo>
                  <a:lnTo>
                    <a:pt x="164" y="97"/>
                  </a:lnTo>
                  <a:lnTo>
                    <a:pt x="163" y="98"/>
                  </a:lnTo>
                  <a:lnTo>
                    <a:pt x="160" y="98"/>
                  </a:lnTo>
                  <a:lnTo>
                    <a:pt x="158" y="95"/>
                  </a:lnTo>
                  <a:lnTo>
                    <a:pt x="157" y="95"/>
                  </a:lnTo>
                  <a:lnTo>
                    <a:pt x="157" y="97"/>
                  </a:lnTo>
                  <a:lnTo>
                    <a:pt x="156" y="97"/>
                  </a:lnTo>
                  <a:lnTo>
                    <a:pt x="156" y="99"/>
                  </a:lnTo>
                  <a:lnTo>
                    <a:pt x="154" y="99"/>
                  </a:lnTo>
                  <a:lnTo>
                    <a:pt x="153" y="100"/>
                  </a:lnTo>
                  <a:lnTo>
                    <a:pt x="152" y="100"/>
                  </a:lnTo>
                  <a:lnTo>
                    <a:pt x="152" y="103"/>
                  </a:lnTo>
                  <a:lnTo>
                    <a:pt x="153" y="104"/>
                  </a:lnTo>
                  <a:lnTo>
                    <a:pt x="153" y="106"/>
                  </a:lnTo>
                  <a:lnTo>
                    <a:pt x="158" y="111"/>
                  </a:lnTo>
                  <a:lnTo>
                    <a:pt x="160" y="111"/>
                  </a:lnTo>
                  <a:lnTo>
                    <a:pt x="162" y="112"/>
                  </a:lnTo>
                  <a:lnTo>
                    <a:pt x="162" y="116"/>
                  </a:lnTo>
                  <a:lnTo>
                    <a:pt x="159" y="117"/>
                  </a:lnTo>
                  <a:lnTo>
                    <a:pt x="158" y="118"/>
                  </a:lnTo>
                  <a:lnTo>
                    <a:pt x="158" y="121"/>
                  </a:lnTo>
                  <a:lnTo>
                    <a:pt x="157" y="122"/>
                  </a:lnTo>
                  <a:lnTo>
                    <a:pt x="157" y="123"/>
                  </a:lnTo>
                  <a:lnTo>
                    <a:pt x="158" y="124"/>
                  </a:lnTo>
                  <a:lnTo>
                    <a:pt x="158" y="125"/>
                  </a:lnTo>
                  <a:lnTo>
                    <a:pt x="156" y="125"/>
                  </a:lnTo>
                  <a:lnTo>
                    <a:pt x="153" y="128"/>
                  </a:lnTo>
                  <a:lnTo>
                    <a:pt x="153" y="129"/>
                  </a:lnTo>
                  <a:lnTo>
                    <a:pt x="150" y="129"/>
                  </a:lnTo>
                  <a:lnTo>
                    <a:pt x="149" y="130"/>
                  </a:lnTo>
                  <a:lnTo>
                    <a:pt x="149" y="136"/>
                  </a:lnTo>
                  <a:lnTo>
                    <a:pt x="147" y="138"/>
                  </a:lnTo>
                  <a:lnTo>
                    <a:pt x="147" y="142"/>
                  </a:lnTo>
                  <a:lnTo>
                    <a:pt x="149" y="143"/>
                  </a:lnTo>
                  <a:lnTo>
                    <a:pt x="149" y="147"/>
                  </a:lnTo>
                  <a:lnTo>
                    <a:pt x="150" y="148"/>
                  </a:lnTo>
                  <a:lnTo>
                    <a:pt x="150" y="149"/>
                  </a:lnTo>
                  <a:lnTo>
                    <a:pt x="151" y="149"/>
                  </a:lnTo>
                  <a:lnTo>
                    <a:pt x="152" y="150"/>
                  </a:lnTo>
                  <a:lnTo>
                    <a:pt x="152" y="155"/>
                  </a:lnTo>
                  <a:lnTo>
                    <a:pt x="153" y="156"/>
                  </a:lnTo>
                  <a:lnTo>
                    <a:pt x="153" y="159"/>
                  </a:lnTo>
                  <a:lnTo>
                    <a:pt x="154" y="160"/>
                  </a:lnTo>
                  <a:lnTo>
                    <a:pt x="154" y="161"/>
                  </a:lnTo>
                  <a:lnTo>
                    <a:pt x="157" y="161"/>
                  </a:lnTo>
                  <a:lnTo>
                    <a:pt x="157" y="162"/>
                  </a:lnTo>
                  <a:lnTo>
                    <a:pt x="159" y="162"/>
                  </a:lnTo>
                  <a:lnTo>
                    <a:pt x="159" y="165"/>
                  </a:lnTo>
                  <a:lnTo>
                    <a:pt x="163" y="165"/>
                  </a:lnTo>
                  <a:lnTo>
                    <a:pt x="163" y="166"/>
                  </a:lnTo>
                  <a:lnTo>
                    <a:pt x="166" y="168"/>
                  </a:lnTo>
                  <a:lnTo>
                    <a:pt x="166" y="171"/>
                  </a:lnTo>
                  <a:lnTo>
                    <a:pt x="171" y="176"/>
                  </a:lnTo>
                  <a:lnTo>
                    <a:pt x="172" y="176"/>
                  </a:lnTo>
                  <a:lnTo>
                    <a:pt x="174" y="177"/>
                  </a:lnTo>
                  <a:lnTo>
                    <a:pt x="174" y="179"/>
                  </a:lnTo>
                  <a:lnTo>
                    <a:pt x="172" y="181"/>
                  </a:lnTo>
                  <a:lnTo>
                    <a:pt x="171" y="183"/>
                  </a:lnTo>
                  <a:lnTo>
                    <a:pt x="170" y="183"/>
                  </a:lnTo>
                  <a:lnTo>
                    <a:pt x="170" y="185"/>
                  </a:lnTo>
                  <a:lnTo>
                    <a:pt x="166" y="189"/>
                  </a:lnTo>
                  <a:lnTo>
                    <a:pt x="165" y="189"/>
                  </a:lnTo>
                  <a:lnTo>
                    <a:pt x="164" y="190"/>
                  </a:lnTo>
                  <a:lnTo>
                    <a:pt x="164" y="192"/>
                  </a:lnTo>
                  <a:lnTo>
                    <a:pt x="163" y="193"/>
                  </a:lnTo>
                  <a:lnTo>
                    <a:pt x="163" y="195"/>
                  </a:lnTo>
                  <a:lnTo>
                    <a:pt x="153" y="195"/>
                  </a:lnTo>
                  <a:lnTo>
                    <a:pt x="153" y="196"/>
                  </a:lnTo>
                  <a:lnTo>
                    <a:pt x="152" y="197"/>
                  </a:lnTo>
                  <a:lnTo>
                    <a:pt x="151" y="197"/>
                  </a:lnTo>
                  <a:lnTo>
                    <a:pt x="151" y="198"/>
                  </a:lnTo>
                  <a:lnTo>
                    <a:pt x="150" y="198"/>
                  </a:lnTo>
                  <a:lnTo>
                    <a:pt x="151" y="201"/>
                  </a:lnTo>
                  <a:lnTo>
                    <a:pt x="152" y="202"/>
                  </a:lnTo>
                  <a:lnTo>
                    <a:pt x="152" y="204"/>
                  </a:lnTo>
                  <a:lnTo>
                    <a:pt x="151" y="205"/>
                  </a:lnTo>
                  <a:lnTo>
                    <a:pt x="151" y="209"/>
                  </a:lnTo>
                  <a:lnTo>
                    <a:pt x="150" y="211"/>
                  </a:lnTo>
                  <a:lnTo>
                    <a:pt x="150" y="213"/>
                  </a:lnTo>
                  <a:lnTo>
                    <a:pt x="152" y="214"/>
                  </a:lnTo>
                  <a:lnTo>
                    <a:pt x="154" y="216"/>
                  </a:lnTo>
                  <a:lnTo>
                    <a:pt x="154" y="221"/>
                  </a:lnTo>
                  <a:lnTo>
                    <a:pt x="153" y="222"/>
                  </a:lnTo>
                  <a:lnTo>
                    <a:pt x="152" y="222"/>
                  </a:lnTo>
                  <a:lnTo>
                    <a:pt x="151" y="223"/>
                  </a:lnTo>
                  <a:lnTo>
                    <a:pt x="151" y="226"/>
                  </a:lnTo>
                  <a:lnTo>
                    <a:pt x="150" y="226"/>
                  </a:lnTo>
                  <a:lnTo>
                    <a:pt x="150" y="227"/>
                  </a:lnTo>
                  <a:lnTo>
                    <a:pt x="145" y="227"/>
                  </a:lnTo>
                  <a:lnTo>
                    <a:pt x="145" y="226"/>
                  </a:lnTo>
                  <a:lnTo>
                    <a:pt x="144" y="226"/>
                  </a:lnTo>
                  <a:lnTo>
                    <a:pt x="144" y="223"/>
                  </a:lnTo>
                  <a:lnTo>
                    <a:pt x="143" y="223"/>
                  </a:lnTo>
                  <a:lnTo>
                    <a:pt x="143" y="224"/>
                  </a:lnTo>
                  <a:lnTo>
                    <a:pt x="137" y="227"/>
                  </a:lnTo>
                  <a:lnTo>
                    <a:pt x="134" y="228"/>
                  </a:lnTo>
                  <a:lnTo>
                    <a:pt x="133" y="228"/>
                  </a:lnTo>
                  <a:lnTo>
                    <a:pt x="132" y="227"/>
                  </a:lnTo>
                  <a:lnTo>
                    <a:pt x="129" y="226"/>
                  </a:lnTo>
                  <a:lnTo>
                    <a:pt x="128" y="226"/>
                  </a:lnTo>
                  <a:lnTo>
                    <a:pt x="127" y="227"/>
                  </a:lnTo>
                  <a:lnTo>
                    <a:pt x="125" y="227"/>
                  </a:lnTo>
                  <a:lnTo>
                    <a:pt x="120" y="230"/>
                  </a:lnTo>
                  <a:lnTo>
                    <a:pt x="119" y="230"/>
                  </a:lnTo>
                  <a:lnTo>
                    <a:pt x="119" y="232"/>
                  </a:lnTo>
                  <a:lnTo>
                    <a:pt x="118" y="232"/>
                  </a:lnTo>
                  <a:lnTo>
                    <a:pt x="116" y="230"/>
                  </a:lnTo>
                  <a:lnTo>
                    <a:pt x="114" y="230"/>
                  </a:lnTo>
                  <a:lnTo>
                    <a:pt x="112" y="232"/>
                  </a:lnTo>
                  <a:lnTo>
                    <a:pt x="110" y="230"/>
                  </a:lnTo>
                  <a:lnTo>
                    <a:pt x="110" y="232"/>
                  </a:lnTo>
                  <a:lnTo>
                    <a:pt x="109" y="232"/>
                  </a:lnTo>
                  <a:lnTo>
                    <a:pt x="109" y="230"/>
                  </a:lnTo>
                  <a:lnTo>
                    <a:pt x="108" y="230"/>
                  </a:lnTo>
                  <a:lnTo>
                    <a:pt x="108" y="233"/>
                  </a:lnTo>
                  <a:lnTo>
                    <a:pt x="106" y="232"/>
                  </a:lnTo>
                  <a:lnTo>
                    <a:pt x="104" y="233"/>
                  </a:lnTo>
                  <a:lnTo>
                    <a:pt x="102" y="236"/>
                  </a:lnTo>
                  <a:lnTo>
                    <a:pt x="102" y="238"/>
                  </a:lnTo>
                  <a:lnTo>
                    <a:pt x="103" y="239"/>
                  </a:lnTo>
                  <a:lnTo>
                    <a:pt x="102" y="239"/>
                  </a:lnTo>
                  <a:lnTo>
                    <a:pt x="102" y="240"/>
                  </a:lnTo>
                  <a:lnTo>
                    <a:pt x="101" y="239"/>
                  </a:lnTo>
                  <a:lnTo>
                    <a:pt x="100" y="239"/>
                  </a:lnTo>
                  <a:lnTo>
                    <a:pt x="98" y="238"/>
                  </a:lnTo>
                  <a:lnTo>
                    <a:pt x="98" y="236"/>
                  </a:lnTo>
                  <a:lnTo>
                    <a:pt x="97" y="235"/>
                  </a:lnTo>
                  <a:lnTo>
                    <a:pt x="95" y="234"/>
                  </a:lnTo>
                  <a:lnTo>
                    <a:pt x="93" y="234"/>
                  </a:lnTo>
                  <a:lnTo>
                    <a:pt x="91" y="235"/>
                  </a:lnTo>
                  <a:lnTo>
                    <a:pt x="91" y="236"/>
                  </a:lnTo>
                  <a:lnTo>
                    <a:pt x="90" y="236"/>
                  </a:lnTo>
                  <a:lnTo>
                    <a:pt x="89" y="238"/>
                  </a:lnTo>
                  <a:lnTo>
                    <a:pt x="85" y="238"/>
                  </a:lnTo>
                  <a:lnTo>
                    <a:pt x="82" y="240"/>
                  </a:lnTo>
                  <a:lnTo>
                    <a:pt x="81" y="240"/>
                  </a:lnTo>
                  <a:lnTo>
                    <a:pt x="81" y="241"/>
                  </a:lnTo>
                  <a:lnTo>
                    <a:pt x="79" y="242"/>
                  </a:lnTo>
                  <a:lnTo>
                    <a:pt x="79" y="251"/>
                  </a:lnTo>
                  <a:lnTo>
                    <a:pt x="78" y="252"/>
                  </a:lnTo>
                  <a:lnTo>
                    <a:pt x="78" y="253"/>
                  </a:lnTo>
                  <a:lnTo>
                    <a:pt x="76" y="253"/>
                  </a:lnTo>
                  <a:lnTo>
                    <a:pt x="76" y="252"/>
                  </a:lnTo>
                  <a:lnTo>
                    <a:pt x="75" y="252"/>
                  </a:lnTo>
                  <a:lnTo>
                    <a:pt x="75" y="253"/>
                  </a:lnTo>
                  <a:lnTo>
                    <a:pt x="72" y="253"/>
                  </a:lnTo>
                  <a:lnTo>
                    <a:pt x="72" y="252"/>
                  </a:lnTo>
                  <a:lnTo>
                    <a:pt x="71" y="251"/>
                  </a:lnTo>
                  <a:lnTo>
                    <a:pt x="72" y="250"/>
                  </a:lnTo>
                  <a:lnTo>
                    <a:pt x="72" y="248"/>
                  </a:lnTo>
                  <a:lnTo>
                    <a:pt x="73" y="247"/>
                  </a:lnTo>
                  <a:lnTo>
                    <a:pt x="72" y="246"/>
                  </a:lnTo>
                  <a:lnTo>
                    <a:pt x="72" y="245"/>
                  </a:lnTo>
                  <a:lnTo>
                    <a:pt x="71" y="241"/>
                  </a:lnTo>
                  <a:lnTo>
                    <a:pt x="71" y="236"/>
                  </a:lnTo>
                  <a:lnTo>
                    <a:pt x="69" y="233"/>
                  </a:lnTo>
                  <a:lnTo>
                    <a:pt x="69" y="232"/>
                  </a:lnTo>
                  <a:lnTo>
                    <a:pt x="67" y="232"/>
                  </a:lnTo>
                  <a:lnTo>
                    <a:pt x="67" y="230"/>
                  </a:lnTo>
                  <a:lnTo>
                    <a:pt x="62" y="227"/>
                  </a:lnTo>
                  <a:lnTo>
                    <a:pt x="58" y="227"/>
                  </a:lnTo>
                  <a:lnTo>
                    <a:pt x="58" y="226"/>
                  </a:lnTo>
                  <a:lnTo>
                    <a:pt x="57" y="226"/>
                  </a:lnTo>
                  <a:lnTo>
                    <a:pt x="57" y="223"/>
                  </a:lnTo>
                  <a:lnTo>
                    <a:pt x="56" y="223"/>
                  </a:lnTo>
                  <a:lnTo>
                    <a:pt x="56" y="222"/>
                  </a:lnTo>
                  <a:lnTo>
                    <a:pt x="57" y="221"/>
                  </a:lnTo>
                  <a:lnTo>
                    <a:pt x="56" y="220"/>
                  </a:lnTo>
                  <a:lnTo>
                    <a:pt x="54" y="216"/>
                  </a:lnTo>
                  <a:lnTo>
                    <a:pt x="53" y="216"/>
                  </a:lnTo>
                  <a:lnTo>
                    <a:pt x="51" y="215"/>
                  </a:lnTo>
                  <a:lnTo>
                    <a:pt x="51" y="210"/>
                  </a:lnTo>
                  <a:lnTo>
                    <a:pt x="52" y="209"/>
                  </a:lnTo>
                  <a:lnTo>
                    <a:pt x="52" y="207"/>
                  </a:lnTo>
                  <a:lnTo>
                    <a:pt x="48" y="203"/>
                  </a:lnTo>
                  <a:lnTo>
                    <a:pt x="48" y="202"/>
                  </a:lnTo>
                  <a:lnTo>
                    <a:pt x="50" y="202"/>
                  </a:lnTo>
                  <a:lnTo>
                    <a:pt x="50" y="201"/>
                  </a:lnTo>
                  <a:lnTo>
                    <a:pt x="52" y="201"/>
                  </a:lnTo>
                  <a:lnTo>
                    <a:pt x="54" y="202"/>
                  </a:lnTo>
                  <a:lnTo>
                    <a:pt x="56" y="203"/>
                  </a:lnTo>
                  <a:lnTo>
                    <a:pt x="57" y="202"/>
                  </a:lnTo>
                  <a:lnTo>
                    <a:pt x="57" y="198"/>
                  </a:lnTo>
                  <a:lnTo>
                    <a:pt x="59" y="198"/>
                  </a:lnTo>
                  <a:lnTo>
                    <a:pt x="63" y="197"/>
                  </a:lnTo>
                  <a:lnTo>
                    <a:pt x="63" y="193"/>
                  </a:lnTo>
                  <a:lnTo>
                    <a:pt x="62" y="193"/>
                  </a:lnTo>
                  <a:lnTo>
                    <a:pt x="59" y="192"/>
                  </a:lnTo>
                  <a:lnTo>
                    <a:pt x="57" y="190"/>
                  </a:lnTo>
                  <a:lnTo>
                    <a:pt x="53" y="190"/>
                  </a:lnTo>
                  <a:lnTo>
                    <a:pt x="53" y="189"/>
                  </a:lnTo>
                  <a:lnTo>
                    <a:pt x="50" y="186"/>
                  </a:lnTo>
                  <a:lnTo>
                    <a:pt x="46" y="183"/>
                  </a:lnTo>
                  <a:lnTo>
                    <a:pt x="45" y="183"/>
                  </a:lnTo>
                  <a:lnTo>
                    <a:pt x="45" y="181"/>
                  </a:lnTo>
                  <a:lnTo>
                    <a:pt x="44" y="180"/>
                  </a:lnTo>
                  <a:lnTo>
                    <a:pt x="44" y="181"/>
                  </a:lnTo>
                  <a:lnTo>
                    <a:pt x="42" y="181"/>
                  </a:lnTo>
                  <a:lnTo>
                    <a:pt x="42" y="183"/>
                  </a:lnTo>
                  <a:lnTo>
                    <a:pt x="40" y="183"/>
                  </a:lnTo>
                  <a:lnTo>
                    <a:pt x="39" y="181"/>
                  </a:lnTo>
                  <a:lnTo>
                    <a:pt x="38" y="181"/>
                  </a:lnTo>
                  <a:lnTo>
                    <a:pt x="36" y="180"/>
                  </a:lnTo>
                  <a:lnTo>
                    <a:pt x="35" y="178"/>
                  </a:lnTo>
                  <a:lnTo>
                    <a:pt x="34" y="179"/>
                  </a:lnTo>
                  <a:lnTo>
                    <a:pt x="34" y="178"/>
                  </a:lnTo>
                  <a:lnTo>
                    <a:pt x="31" y="178"/>
                  </a:lnTo>
                  <a:lnTo>
                    <a:pt x="31" y="177"/>
                  </a:lnTo>
                  <a:lnTo>
                    <a:pt x="29" y="176"/>
                  </a:lnTo>
                  <a:lnTo>
                    <a:pt x="28" y="176"/>
                  </a:lnTo>
                  <a:lnTo>
                    <a:pt x="27" y="173"/>
                  </a:lnTo>
                  <a:lnTo>
                    <a:pt x="26" y="172"/>
                  </a:lnTo>
                  <a:lnTo>
                    <a:pt x="26" y="171"/>
                  </a:lnTo>
                  <a:lnTo>
                    <a:pt x="21" y="166"/>
                  </a:lnTo>
                  <a:lnTo>
                    <a:pt x="21" y="165"/>
                  </a:lnTo>
                  <a:lnTo>
                    <a:pt x="15" y="162"/>
                  </a:lnTo>
                  <a:lnTo>
                    <a:pt x="13" y="160"/>
                  </a:lnTo>
                  <a:lnTo>
                    <a:pt x="13" y="158"/>
                  </a:lnTo>
                  <a:lnTo>
                    <a:pt x="14" y="156"/>
                  </a:lnTo>
                  <a:lnTo>
                    <a:pt x="15" y="156"/>
                  </a:lnTo>
                  <a:lnTo>
                    <a:pt x="15" y="155"/>
                  </a:lnTo>
                  <a:lnTo>
                    <a:pt x="16" y="154"/>
                  </a:lnTo>
                  <a:lnTo>
                    <a:pt x="16" y="153"/>
                  </a:lnTo>
                  <a:lnTo>
                    <a:pt x="17" y="154"/>
                  </a:lnTo>
                  <a:lnTo>
                    <a:pt x="19" y="154"/>
                  </a:lnTo>
                  <a:lnTo>
                    <a:pt x="19" y="153"/>
                  </a:lnTo>
                  <a:lnTo>
                    <a:pt x="21" y="153"/>
                  </a:lnTo>
                  <a:lnTo>
                    <a:pt x="22" y="154"/>
                  </a:lnTo>
                  <a:lnTo>
                    <a:pt x="22" y="155"/>
                  </a:lnTo>
                  <a:lnTo>
                    <a:pt x="23" y="156"/>
                  </a:lnTo>
                  <a:lnTo>
                    <a:pt x="23" y="154"/>
                  </a:lnTo>
                  <a:lnTo>
                    <a:pt x="25" y="154"/>
                  </a:lnTo>
                  <a:lnTo>
                    <a:pt x="26" y="155"/>
                  </a:lnTo>
                  <a:lnTo>
                    <a:pt x="26" y="152"/>
                  </a:lnTo>
                  <a:lnTo>
                    <a:pt x="27" y="150"/>
                  </a:lnTo>
                  <a:lnTo>
                    <a:pt x="27" y="148"/>
                  </a:lnTo>
                  <a:lnTo>
                    <a:pt x="25" y="143"/>
                  </a:lnTo>
                  <a:lnTo>
                    <a:pt x="21" y="138"/>
                  </a:lnTo>
                  <a:lnTo>
                    <a:pt x="19" y="135"/>
                  </a:lnTo>
                  <a:lnTo>
                    <a:pt x="16" y="133"/>
                  </a:lnTo>
                  <a:lnTo>
                    <a:pt x="15" y="133"/>
                  </a:lnTo>
                  <a:lnTo>
                    <a:pt x="16" y="131"/>
                  </a:lnTo>
                  <a:lnTo>
                    <a:pt x="15" y="130"/>
                  </a:lnTo>
                  <a:lnTo>
                    <a:pt x="16" y="129"/>
                  </a:lnTo>
                  <a:lnTo>
                    <a:pt x="19" y="129"/>
                  </a:lnTo>
                  <a:lnTo>
                    <a:pt x="21" y="131"/>
                  </a:lnTo>
                  <a:lnTo>
                    <a:pt x="22" y="131"/>
                  </a:lnTo>
                  <a:lnTo>
                    <a:pt x="25" y="130"/>
                  </a:lnTo>
                  <a:lnTo>
                    <a:pt x="27" y="131"/>
                  </a:lnTo>
                  <a:lnTo>
                    <a:pt x="28" y="131"/>
                  </a:lnTo>
                  <a:lnTo>
                    <a:pt x="31" y="129"/>
                  </a:lnTo>
                  <a:lnTo>
                    <a:pt x="32" y="129"/>
                  </a:lnTo>
                  <a:lnTo>
                    <a:pt x="32" y="127"/>
                  </a:lnTo>
                  <a:lnTo>
                    <a:pt x="31" y="125"/>
                  </a:lnTo>
                  <a:lnTo>
                    <a:pt x="31" y="127"/>
                  </a:lnTo>
                  <a:lnTo>
                    <a:pt x="29" y="127"/>
                  </a:lnTo>
                  <a:lnTo>
                    <a:pt x="29" y="125"/>
                  </a:lnTo>
                  <a:lnTo>
                    <a:pt x="28" y="124"/>
                  </a:lnTo>
                  <a:lnTo>
                    <a:pt x="27" y="124"/>
                  </a:lnTo>
                  <a:lnTo>
                    <a:pt x="27" y="123"/>
                  </a:lnTo>
                  <a:lnTo>
                    <a:pt x="26" y="123"/>
                  </a:lnTo>
                  <a:lnTo>
                    <a:pt x="26" y="121"/>
                  </a:lnTo>
                  <a:lnTo>
                    <a:pt x="23" y="121"/>
                  </a:lnTo>
                  <a:lnTo>
                    <a:pt x="21" y="118"/>
                  </a:lnTo>
                  <a:lnTo>
                    <a:pt x="21" y="116"/>
                  </a:lnTo>
                  <a:lnTo>
                    <a:pt x="19" y="113"/>
                  </a:lnTo>
                  <a:lnTo>
                    <a:pt x="15" y="113"/>
                  </a:lnTo>
                  <a:lnTo>
                    <a:pt x="13" y="112"/>
                  </a:lnTo>
                  <a:lnTo>
                    <a:pt x="10" y="110"/>
                  </a:lnTo>
                  <a:lnTo>
                    <a:pt x="10" y="106"/>
                  </a:lnTo>
                  <a:lnTo>
                    <a:pt x="11" y="105"/>
                  </a:lnTo>
                  <a:lnTo>
                    <a:pt x="11" y="99"/>
                  </a:lnTo>
                  <a:lnTo>
                    <a:pt x="13" y="99"/>
                  </a:lnTo>
                  <a:lnTo>
                    <a:pt x="13" y="98"/>
                  </a:lnTo>
                  <a:lnTo>
                    <a:pt x="14" y="98"/>
                  </a:lnTo>
                  <a:lnTo>
                    <a:pt x="14" y="94"/>
                  </a:lnTo>
                  <a:lnTo>
                    <a:pt x="16" y="92"/>
                  </a:lnTo>
                  <a:lnTo>
                    <a:pt x="17" y="90"/>
                  </a:lnTo>
                  <a:lnTo>
                    <a:pt x="17" y="88"/>
                  </a:lnTo>
                  <a:lnTo>
                    <a:pt x="19" y="88"/>
                  </a:lnTo>
                  <a:lnTo>
                    <a:pt x="19" y="87"/>
                  </a:lnTo>
                  <a:lnTo>
                    <a:pt x="20" y="86"/>
                  </a:lnTo>
                  <a:lnTo>
                    <a:pt x="21" y="79"/>
                  </a:lnTo>
                  <a:lnTo>
                    <a:pt x="21" y="76"/>
                  </a:lnTo>
                  <a:lnTo>
                    <a:pt x="20" y="76"/>
                  </a:lnTo>
                  <a:lnTo>
                    <a:pt x="19" y="75"/>
                  </a:lnTo>
                  <a:lnTo>
                    <a:pt x="17" y="76"/>
                  </a:lnTo>
                  <a:lnTo>
                    <a:pt x="16" y="75"/>
                  </a:lnTo>
                  <a:lnTo>
                    <a:pt x="15" y="75"/>
                  </a:lnTo>
                  <a:lnTo>
                    <a:pt x="15" y="76"/>
                  </a:lnTo>
                  <a:lnTo>
                    <a:pt x="14" y="76"/>
                  </a:lnTo>
                  <a:lnTo>
                    <a:pt x="14" y="75"/>
                  </a:lnTo>
                  <a:lnTo>
                    <a:pt x="13" y="75"/>
                  </a:lnTo>
                  <a:lnTo>
                    <a:pt x="9" y="78"/>
                  </a:lnTo>
                  <a:lnTo>
                    <a:pt x="8" y="78"/>
                  </a:lnTo>
                  <a:lnTo>
                    <a:pt x="7" y="79"/>
                  </a:lnTo>
                  <a:lnTo>
                    <a:pt x="6" y="76"/>
                  </a:lnTo>
                  <a:lnTo>
                    <a:pt x="6" y="75"/>
                  </a:lnTo>
                  <a:lnTo>
                    <a:pt x="7" y="75"/>
                  </a:lnTo>
                  <a:lnTo>
                    <a:pt x="8" y="76"/>
                  </a:lnTo>
                  <a:lnTo>
                    <a:pt x="11" y="73"/>
                  </a:lnTo>
                  <a:lnTo>
                    <a:pt x="10" y="72"/>
                  </a:lnTo>
                  <a:lnTo>
                    <a:pt x="10" y="73"/>
                  </a:lnTo>
                  <a:lnTo>
                    <a:pt x="9" y="72"/>
                  </a:lnTo>
                  <a:lnTo>
                    <a:pt x="9" y="64"/>
                  </a:lnTo>
                  <a:lnTo>
                    <a:pt x="8" y="63"/>
                  </a:lnTo>
                  <a:lnTo>
                    <a:pt x="8" y="62"/>
                  </a:lnTo>
                  <a:lnTo>
                    <a:pt x="11" y="62"/>
                  </a:lnTo>
                  <a:lnTo>
                    <a:pt x="11" y="60"/>
                  </a:lnTo>
                  <a:lnTo>
                    <a:pt x="10" y="58"/>
                  </a:lnTo>
                  <a:lnTo>
                    <a:pt x="13" y="58"/>
                  </a:lnTo>
                  <a:lnTo>
                    <a:pt x="13" y="60"/>
                  </a:lnTo>
                  <a:lnTo>
                    <a:pt x="14" y="61"/>
                  </a:lnTo>
                  <a:lnTo>
                    <a:pt x="17" y="61"/>
                  </a:lnTo>
                  <a:lnTo>
                    <a:pt x="17" y="60"/>
                  </a:lnTo>
                  <a:lnTo>
                    <a:pt x="19" y="61"/>
                  </a:lnTo>
                  <a:lnTo>
                    <a:pt x="22" y="61"/>
                  </a:lnTo>
                  <a:lnTo>
                    <a:pt x="22" y="57"/>
                  </a:lnTo>
                  <a:lnTo>
                    <a:pt x="21" y="57"/>
                  </a:lnTo>
                  <a:lnTo>
                    <a:pt x="21" y="56"/>
                  </a:lnTo>
                  <a:lnTo>
                    <a:pt x="13" y="54"/>
                  </a:lnTo>
                  <a:lnTo>
                    <a:pt x="10" y="52"/>
                  </a:lnTo>
                  <a:lnTo>
                    <a:pt x="10" y="51"/>
                  </a:lnTo>
                  <a:lnTo>
                    <a:pt x="9" y="51"/>
                  </a:lnTo>
                  <a:lnTo>
                    <a:pt x="9" y="49"/>
                  </a:lnTo>
                  <a:lnTo>
                    <a:pt x="6" y="49"/>
                  </a:lnTo>
                  <a:lnTo>
                    <a:pt x="6" y="48"/>
                  </a:lnTo>
                  <a:lnTo>
                    <a:pt x="4" y="47"/>
                  </a:lnTo>
                  <a:lnTo>
                    <a:pt x="7" y="45"/>
                  </a:lnTo>
                  <a:lnTo>
                    <a:pt x="7" y="44"/>
                  </a:lnTo>
                  <a:lnTo>
                    <a:pt x="6" y="44"/>
                  </a:lnTo>
                  <a:lnTo>
                    <a:pt x="6" y="41"/>
                  </a:lnTo>
                  <a:lnTo>
                    <a:pt x="9" y="41"/>
                  </a:lnTo>
                  <a:lnTo>
                    <a:pt x="10" y="39"/>
                  </a:lnTo>
                  <a:lnTo>
                    <a:pt x="9" y="39"/>
                  </a:lnTo>
                  <a:lnTo>
                    <a:pt x="9" y="38"/>
                  </a:lnTo>
                  <a:lnTo>
                    <a:pt x="7" y="38"/>
                  </a:lnTo>
                  <a:lnTo>
                    <a:pt x="7" y="37"/>
                  </a:lnTo>
                  <a:lnTo>
                    <a:pt x="4" y="37"/>
                  </a:lnTo>
                  <a:lnTo>
                    <a:pt x="4" y="38"/>
                  </a:lnTo>
                  <a:lnTo>
                    <a:pt x="3" y="38"/>
                  </a:lnTo>
                  <a:lnTo>
                    <a:pt x="2" y="37"/>
                  </a:lnTo>
                  <a:lnTo>
                    <a:pt x="2" y="33"/>
                  </a:lnTo>
                  <a:lnTo>
                    <a:pt x="4" y="31"/>
                  </a:lnTo>
                  <a:lnTo>
                    <a:pt x="4" y="30"/>
                  </a:lnTo>
                  <a:lnTo>
                    <a:pt x="3" y="29"/>
                  </a:lnTo>
                  <a:lnTo>
                    <a:pt x="2" y="29"/>
                  </a:lnTo>
                  <a:lnTo>
                    <a:pt x="2" y="25"/>
                  </a:lnTo>
                  <a:lnTo>
                    <a:pt x="0" y="23"/>
                  </a:lnTo>
                  <a:lnTo>
                    <a:pt x="0" y="19"/>
                  </a:lnTo>
                  <a:lnTo>
                    <a:pt x="1" y="19"/>
                  </a:lnTo>
                  <a:lnTo>
                    <a:pt x="2" y="18"/>
                  </a:lnTo>
                  <a:lnTo>
                    <a:pt x="1" y="18"/>
                  </a:lnTo>
                  <a:lnTo>
                    <a:pt x="1" y="15"/>
                  </a:lnTo>
                  <a:lnTo>
                    <a:pt x="2" y="15"/>
                  </a:lnTo>
                  <a:lnTo>
                    <a:pt x="2" y="14"/>
                  </a:lnTo>
                  <a:lnTo>
                    <a:pt x="4" y="14"/>
                  </a:lnTo>
                  <a:lnTo>
                    <a:pt x="4" y="15"/>
                  </a:lnTo>
                  <a:lnTo>
                    <a:pt x="6" y="15"/>
                  </a:lnTo>
                  <a:lnTo>
                    <a:pt x="6" y="14"/>
                  </a:lnTo>
                  <a:lnTo>
                    <a:pt x="4" y="14"/>
                  </a:lnTo>
                  <a:lnTo>
                    <a:pt x="4" y="13"/>
                  </a:lnTo>
                  <a:lnTo>
                    <a:pt x="8" y="13"/>
                  </a:lnTo>
                  <a:lnTo>
                    <a:pt x="8" y="9"/>
                  </a:lnTo>
                  <a:lnTo>
                    <a:pt x="10" y="9"/>
                  </a:lnTo>
                  <a:lnTo>
                    <a:pt x="10" y="11"/>
                  </a:lnTo>
                  <a:lnTo>
                    <a:pt x="11" y="11"/>
                  </a:lnTo>
                  <a:lnTo>
                    <a:pt x="15" y="12"/>
                  </a:lnTo>
                  <a:lnTo>
                    <a:pt x="16" y="12"/>
                  </a:lnTo>
                  <a:lnTo>
                    <a:pt x="17" y="11"/>
                  </a:lnTo>
                  <a:lnTo>
                    <a:pt x="17" y="9"/>
                  </a:lnTo>
                  <a:lnTo>
                    <a:pt x="19" y="9"/>
                  </a:lnTo>
                  <a:lnTo>
                    <a:pt x="19" y="8"/>
                  </a:lnTo>
                  <a:lnTo>
                    <a:pt x="22" y="8"/>
                  </a:lnTo>
                  <a:lnTo>
                    <a:pt x="22" y="7"/>
                  </a:lnTo>
                  <a:lnTo>
                    <a:pt x="23" y="6"/>
                  </a:lnTo>
                  <a:lnTo>
                    <a:pt x="25" y="6"/>
                  </a:lnTo>
                  <a:lnTo>
                    <a:pt x="25" y="5"/>
                  </a:lnTo>
                  <a:lnTo>
                    <a:pt x="26" y="5"/>
                  </a:lnTo>
                  <a:lnTo>
                    <a:pt x="27" y="4"/>
                  </a:lnTo>
                  <a:lnTo>
                    <a:pt x="26" y="2"/>
                  </a:lnTo>
                  <a:lnTo>
                    <a:pt x="27" y="1"/>
                  </a:lnTo>
                  <a:lnTo>
                    <a:pt x="28" y="1"/>
                  </a:lnTo>
                  <a:lnTo>
                    <a:pt x="29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18">
              <a:extLst>
                <a:ext uri="{FF2B5EF4-FFF2-40B4-BE49-F238E27FC236}">
                  <a16:creationId xmlns:a16="http://schemas.microsoft.com/office/drawing/2014/main" id="{B0E58545-7F42-4ED7-BC8D-12DC199EDF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61050" y="1677988"/>
              <a:ext cx="2832100" cy="3621088"/>
            </a:xfrm>
            <a:custGeom>
              <a:avLst/>
              <a:gdLst/>
              <a:ahLst/>
              <a:cxnLst>
                <a:cxn ang="0">
                  <a:pos x="130" y="1431"/>
                </a:cxn>
                <a:cxn ang="0">
                  <a:pos x="423" y="1007"/>
                </a:cxn>
                <a:cxn ang="0">
                  <a:pos x="861" y="574"/>
                </a:cxn>
                <a:cxn ang="0">
                  <a:pos x="1465" y="195"/>
                </a:cxn>
                <a:cxn ang="0">
                  <a:pos x="1501" y="128"/>
                </a:cxn>
                <a:cxn ang="0">
                  <a:pos x="1264" y="132"/>
                </a:cxn>
                <a:cxn ang="0">
                  <a:pos x="566" y="43"/>
                </a:cxn>
                <a:cxn ang="0">
                  <a:pos x="578" y="63"/>
                </a:cxn>
                <a:cxn ang="0">
                  <a:pos x="655" y="92"/>
                </a:cxn>
                <a:cxn ang="0">
                  <a:pos x="797" y="190"/>
                </a:cxn>
                <a:cxn ang="0">
                  <a:pos x="914" y="318"/>
                </a:cxn>
                <a:cxn ang="0">
                  <a:pos x="643" y="386"/>
                </a:cxn>
                <a:cxn ang="0">
                  <a:pos x="555" y="333"/>
                </a:cxn>
                <a:cxn ang="0">
                  <a:pos x="584" y="388"/>
                </a:cxn>
                <a:cxn ang="0">
                  <a:pos x="635" y="455"/>
                </a:cxn>
                <a:cxn ang="0">
                  <a:pos x="637" y="543"/>
                </a:cxn>
                <a:cxn ang="0">
                  <a:pos x="690" y="628"/>
                </a:cxn>
                <a:cxn ang="0">
                  <a:pos x="722" y="582"/>
                </a:cxn>
                <a:cxn ang="0">
                  <a:pos x="796" y="573"/>
                </a:cxn>
                <a:cxn ang="0">
                  <a:pos x="877" y="574"/>
                </a:cxn>
                <a:cxn ang="0">
                  <a:pos x="1002" y="437"/>
                </a:cxn>
                <a:cxn ang="0">
                  <a:pos x="1044" y="331"/>
                </a:cxn>
                <a:cxn ang="0">
                  <a:pos x="1038" y="171"/>
                </a:cxn>
                <a:cxn ang="0">
                  <a:pos x="1125" y="359"/>
                </a:cxn>
                <a:cxn ang="0">
                  <a:pos x="1238" y="266"/>
                </a:cxn>
                <a:cxn ang="0">
                  <a:pos x="1373" y="190"/>
                </a:cxn>
                <a:cxn ang="0">
                  <a:pos x="1447" y="174"/>
                </a:cxn>
                <a:cxn ang="0">
                  <a:pos x="1532" y="158"/>
                </a:cxn>
                <a:cxn ang="0">
                  <a:pos x="1666" y="173"/>
                </a:cxn>
                <a:cxn ang="0">
                  <a:pos x="1747" y="15"/>
                </a:cxn>
                <a:cxn ang="0">
                  <a:pos x="1758" y="1511"/>
                </a:cxn>
                <a:cxn ang="0">
                  <a:pos x="1718" y="1637"/>
                </a:cxn>
                <a:cxn ang="0">
                  <a:pos x="1652" y="1700"/>
                </a:cxn>
                <a:cxn ang="0">
                  <a:pos x="1549" y="1690"/>
                </a:cxn>
                <a:cxn ang="0">
                  <a:pos x="1450" y="1672"/>
                </a:cxn>
                <a:cxn ang="0">
                  <a:pos x="1333" y="1646"/>
                </a:cxn>
                <a:cxn ang="0">
                  <a:pos x="1234" y="1745"/>
                </a:cxn>
                <a:cxn ang="0">
                  <a:pos x="1157" y="1877"/>
                </a:cxn>
                <a:cxn ang="0">
                  <a:pos x="1233" y="1996"/>
                </a:cxn>
                <a:cxn ang="0">
                  <a:pos x="1180" y="2015"/>
                </a:cxn>
                <a:cxn ang="0">
                  <a:pos x="1150" y="2077"/>
                </a:cxn>
                <a:cxn ang="0">
                  <a:pos x="1178" y="2164"/>
                </a:cxn>
                <a:cxn ang="0">
                  <a:pos x="1153" y="2256"/>
                </a:cxn>
                <a:cxn ang="0">
                  <a:pos x="1026" y="2205"/>
                </a:cxn>
                <a:cxn ang="0">
                  <a:pos x="844" y="2141"/>
                </a:cxn>
                <a:cxn ang="0">
                  <a:pos x="724" y="2039"/>
                </a:cxn>
                <a:cxn ang="0">
                  <a:pos x="765" y="2018"/>
                </a:cxn>
                <a:cxn ang="0">
                  <a:pos x="799" y="1961"/>
                </a:cxn>
                <a:cxn ang="0">
                  <a:pos x="784" y="1928"/>
                </a:cxn>
                <a:cxn ang="0">
                  <a:pos x="858" y="1823"/>
                </a:cxn>
                <a:cxn ang="0">
                  <a:pos x="780" y="1754"/>
                </a:cxn>
                <a:cxn ang="0">
                  <a:pos x="664" y="1680"/>
                </a:cxn>
                <a:cxn ang="0">
                  <a:pos x="583" y="1592"/>
                </a:cxn>
                <a:cxn ang="0">
                  <a:pos x="498" y="1532"/>
                </a:cxn>
                <a:cxn ang="0">
                  <a:pos x="493" y="1458"/>
                </a:cxn>
                <a:cxn ang="0">
                  <a:pos x="432" y="1340"/>
                </a:cxn>
                <a:cxn ang="0">
                  <a:pos x="343" y="1246"/>
                </a:cxn>
                <a:cxn ang="0">
                  <a:pos x="358" y="1026"/>
                </a:cxn>
                <a:cxn ang="0">
                  <a:pos x="373" y="960"/>
                </a:cxn>
                <a:cxn ang="0">
                  <a:pos x="417" y="883"/>
                </a:cxn>
                <a:cxn ang="0">
                  <a:pos x="442" y="614"/>
                </a:cxn>
                <a:cxn ang="0">
                  <a:pos x="399" y="361"/>
                </a:cxn>
                <a:cxn ang="0">
                  <a:pos x="460" y="52"/>
                </a:cxn>
              </a:cxnLst>
              <a:rect l="0" t="0" r="r" b="b"/>
              <a:pathLst>
                <a:path w="1784" h="2281">
                  <a:moveTo>
                    <a:pt x="1190" y="2120"/>
                  </a:moveTo>
                  <a:lnTo>
                    <a:pt x="1190" y="2121"/>
                  </a:lnTo>
                  <a:lnTo>
                    <a:pt x="1192" y="2121"/>
                  </a:lnTo>
                  <a:lnTo>
                    <a:pt x="1187" y="2125"/>
                  </a:lnTo>
                  <a:lnTo>
                    <a:pt x="1184" y="2125"/>
                  </a:lnTo>
                  <a:lnTo>
                    <a:pt x="1183" y="2124"/>
                  </a:lnTo>
                  <a:lnTo>
                    <a:pt x="1182" y="2124"/>
                  </a:lnTo>
                  <a:lnTo>
                    <a:pt x="1181" y="2122"/>
                  </a:lnTo>
                  <a:lnTo>
                    <a:pt x="1182" y="2121"/>
                  </a:lnTo>
                  <a:lnTo>
                    <a:pt x="1189" y="2121"/>
                  </a:lnTo>
                  <a:lnTo>
                    <a:pt x="1190" y="2120"/>
                  </a:lnTo>
                  <a:close/>
                  <a:moveTo>
                    <a:pt x="757" y="2043"/>
                  </a:moveTo>
                  <a:lnTo>
                    <a:pt x="758" y="2045"/>
                  </a:lnTo>
                  <a:lnTo>
                    <a:pt x="759" y="2043"/>
                  </a:lnTo>
                  <a:lnTo>
                    <a:pt x="757" y="2043"/>
                  </a:lnTo>
                  <a:close/>
                  <a:moveTo>
                    <a:pt x="1194" y="2023"/>
                  </a:moveTo>
                  <a:lnTo>
                    <a:pt x="1195" y="2023"/>
                  </a:lnTo>
                  <a:lnTo>
                    <a:pt x="1195" y="2026"/>
                  </a:lnTo>
                  <a:lnTo>
                    <a:pt x="1196" y="2027"/>
                  </a:lnTo>
                  <a:lnTo>
                    <a:pt x="1196" y="2029"/>
                  </a:lnTo>
                  <a:lnTo>
                    <a:pt x="1198" y="2030"/>
                  </a:lnTo>
                  <a:lnTo>
                    <a:pt x="1198" y="2035"/>
                  </a:lnTo>
                  <a:lnTo>
                    <a:pt x="1196" y="2035"/>
                  </a:lnTo>
                  <a:lnTo>
                    <a:pt x="1196" y="2034"/>
                  </a:lnTo>
                  <a:lnTo>
                    <a:pt x="1195" y="2033"/>
                  </a:lnTo>
                  <a:lnTo>
                    <a:pt x="1195" y="2032"/>
                  </a:lnTo>
                  <a:lnTo>
                    <a:pt x="1194" y="2029"/>
                  </a:lnTo>
                  <a:lnTo>
                    <a:pt x="1194" y="2023"/>
                  </a:lnTo>
                  <a:close/>
                  <a:moveTo>
                    <a:pt x="1231" y="1993"/>
                  </a:moveTo>
                  <a:lnTo>
                    <a:pt x="1232" y="1995"/>
                  </a:lnTo>
                  <a:lnTo>
                    <a:pt x="1232" y="1993"/>
                  </a:lnTo>
                  <a:lnTo>
                    <a:pt x="1231" y="1993"/>
                  </a:lnTo>
                  <a:close/>
                  <a:moveTo>
                    <a:pt x="72" y="1381"/>
                  </a:moveTo>
                  <a:lnTo>
                    <a:pt x="74" y="1381"/>
                  </a:lnTo>
                  <a:lnTo>
                    <a:pt x="75" y="1382"/>
                  </a:lnTo>
                  <a:lnTo>
                    <a:pt x="77" y="1387"/>
                  </a:lnTo>
                  <a:lnTo>
                    <a:pt x="80" y="1388"/>
                  </a:lnTo>
                  <a:lnTo>
                    <a:pt x="83" y="1388"/>
                  </a:lnTo>
                  <a:lnTo>
                    <a:pt x="86" y="1389"/>
                  </a:lnTo>
                  <a:lnTo>
                    <a:pt x="89" y="1393"/>
                  </a:lnTo>
                  <a:lnTo>
                    <a:pt x="93" y="1394"/>
                  </a:lnTo>
                  <a:lnTo>
                    <a:pt x="94" y="1395"/>
                  </a:lnTo>
                  <a:lnTo>
                    <a:pt x="95" y="1395"/>
                  </a:lnTo>
                  <a:lnTo>
                    <a:pt x="96" y="1396"/>
                  </a:lnTo>
                  <a:lnTo>
                    <a:pt x="99" y="1396"/>
                  </a:lnTo>
                  <a:lnTo>
                    <a:pt x="99" y="1395"/>
                  </a:lnTo>
                  <a:lnTo>
                    <a:pt x="100" y="1395"/>
                  </a:lnTo>
                  <a:lnTo>
                    <a:pt x="101" y="1396"/>
                  </a:lnTo>
                  <a:lnTo>
                    <a:pt x="101" y="1399"/>
                  </a:lnTo>
                  <a:lnTo>
                    <a:pt x="102" y="1400"/>
                  </a:lnTo>
                  <a:lnTo>
                    <a:pt x="105" y="1400"/>
                  </a:lnTo>
                  <a:lnTo>
                    <a:pt x="106" y="1399"/>
                  </a:lnTo>
                  <a:lnTo>
                    <a:pt x="111" y="1397"/>
                  </a:lnTo>
                  <a:lnTo>
                    <a:pt x="112" y="1397"/>
                  </a:lnTo>
                  <a:lnTo>
                    <a:pt x="119" y="1399"/>
                  </a:lnTo>
                  <a:lnTo>
                    <a:pt x="122" y="1396"/>
                  </a:lnTo>
                  <a:lnTo>
                    <a:pt x="125" y="1399"/>
                  </a:lnTo>
                  <a:lnTo>
                    <a:pt x="125" y="1400"/>
                  </a:lnTo>
                  <a:lnTo>
                    <a:pt x="126" y="1403"/>
                  </a:lnTo>
                  <a:lnTo>
                    <a:pt x="126" y="1405"/>
                  </a:lnTo>
                  <a:lnTo>
                    <a:pt x="127" y="1406"/>
                  </a:lnTo>
                  <a:lnTo>
                    <a:pt x="131" y="1406"/>
                  </a:lnTo>
                  <a:lnTo>
                    <a:pt x="131" y="1407"/>
                  </a:lnTo>
                  <a:lnTo>
                    <a:pt x="132" y="1407"/>
                  </a:lnTo>
                  <a:lnTo>
                    <a:pt x="131" y="1408"/>
                  </a:lnTo>
                  <a:lnTo>
                    <a:pt x="132" y="1409"/>
                  </a:lnTo>
                  <a:lnTo>
                    <a:pt x="134" y="1410"/>
                  </a:lnTo>
                  <a:lnTo>
                    <a:pt x="136" y="1412"/>
                  </a:lnTo>
                  <a:lnTo>
                    <a:pt x="136" y="1419"/>
                  </a:lnTo>
                  <a:lnTo>
                    <a:pt x="134" y="1419"/>
                  </a:lnTo>
                  <a:lnTo>
                    <a:pt x="133" y="1420"/>
                  </a:lnTo>
                  <a:lnTo>
                    <a:pt x="133" y="1421"/>
                  </a:lnTo>
                  <a:lnTo>
                    <a:pt x="132" y="1421"/>
                  </a:lnTo>
                  <a:lnTo>
                    <a:pt x="132" y="1422"/>
                  </a:lnTo>
                  <a:lnTo>
                    <a:pt x="131" y="1422"/>
                  </a:lnTo>
                  <a:lnTo>
                    <a:pt x="131" y="1424"/>
                  </a:lnTo>
                  <a:lnTo>
                    <a:pt x="130" y="1425"/>
                  </a:lnTo>
                  <a:lnTo>
                    <a:pt x="130" y="1431"/>
                  </a:lnTo>
                  <a:lnTo>
                    <a:pt x="128" y="1433"/>
                  </a:lnTo>
                  <a:lnTo>
                    <a:pt x="128" y="1443"/>
                  </a:lnTo>
                  <a:lnTo>
                    <a:pt x="130" y="1445"/>
                  </a:lnTo>
                  <a:lnTo>
                    <a:pt x="132" y="1449"/>
                  </a:lnTo>
                  <a:lnTo>
                    <a:pt x="130" y="1450"/>
                  </a:lnTo>
                  <a:lnTo>
                    <a:pt x="121" y="1450"/>
                  </a:lnTo>
                  <a:lnTo>
                    <a:pt x="112" y="1449"/>
                  </a:lnTo>
                  <a:lnTo>
                    <a:pt x="88" y="1448"/>
                  </a:lnTo>
                  <a:lnTo>
                    <a:pt x="70" y="1448"/>
                  </a:lnTo>
                  <a:lnTo>
                    <a:pt x="55" y="1446"/>
                  </a:lnTo>
                  <a:lnTo>
                    <a:pt x="31" y="1445"/>
                  </a:lnTo>
                  <a:lnTo>
                    <a:pt x="14" y="1444"/>
                  </a:lnTo>
                  <a:lnTo>
                    <a:pt x="2" y="1444"/>
                  </a:lnTo>
                  <a:lnTo>
                    <a:pt x="0" y="1443"/>
                  </a:lnTo>
                  <a:lnTo>
                    <a:pt x="0" y="1442"/>
                  </a:lnTo>
                  <a:lnTo>
                    <a:pt x="4" y="1437"/>
                  </a:lnTo>
                  <a:lnTo>
                    <a:pt x="8" y="1432"/>
                  </a:lnTo>
                  <a:lnTo>
                    <a:pt x="10" y="1427"/>
                  </a:lnTo>
                  <a:lnTo>
                    <a:pt x="12" y="1427"/>
                  </a:lnTo>
                  <a:lnTo>
                    <a:pt x="12" y="1424"/>
                  </a:lnTo>
                  <a:lnTo>
                    <a:pt x="13" y="1422"/>
                  </a:lnTo>
                  <a:lnTo>
                    <a:pt x="14" y="1420"/>
                  </a:lnTo>
                  <a:lnTo>
                    <a:pt x="14" y="1415"/>
                  </a:lnTo>
                  <a:lnTo>
                    <a:pt x="13" y="1412"/>
                  </a:lnTo>
                  <a:lnTo>
                    <a:pt x="13" y="1407"/>
                  </a:lnTo>
                  <a:lnTo>
                    <a:pt x="15" y="1405"/>
                  </a:lnTo>
                  <a:lnTo>
                    <a:pt x="16" y="1406"/>
                  </a:lnTo>
                  <a:lnTo>
                    <a:pt x="33" y="1406"/>
                  </a:lnTo>
                  <a:lnTo>
                    <a:pt x="37" y="1405"/>
                  </a:lnTo>
                  <a:lnTo>
                    <a:pt x="43" y="1399"/>
                  </a:lnTo>
                  <a:lnTo>
                    <a:pt x="50" y="1389"/>
                  </a:lnTo>
                  <a:lnTo>
                    <a:pt x="51" y="1389"/>
                  </a:lnTo>
                  <a:lnTo>
                    <a:pt x="55" y="1382"/>
                  </a:lnTo>
                  <a:lnTo>
                    <a:pt x="57" y="1382"/>
                  </a:lnTo>
                  <a:lnTo>
                    <a:pt x="56" y="1383"/>
                  </a:lnTo>
                  <a:lnTo>
                    <a:pt x="56" y="1384"/>
                  </a:lnTo>
                  <a:lnTo>
                    <a:pt x="55" y="1385"/>
                  </a:lnTo>
                  <a:lnTo>
                    <a:pt x="53" y="1385"/>
                  </a:lnTo>
                  <a:lnTo>
                    <a:pt x="53" y="1388"/>
                  </a:lnTo>
                  <a:lnTo>
                    <a:pt x="52" y="1388"/>
                  </a:lnTo>
                  <a:lnTo>
                    <a:pt x="52" y="1389"/>
                  </a:lnTo>
                  <a:lnTo>
                    <a:pt x="51" y="1391"/>
                  </a:lnTo>
                  <a:lnTo>
                    <a:pt x="49" y="1394"/>
                  </a:lnTo>
                  <a:lnTo>
                    <a:pt x="45" y="1399"/>
                  </a:lnTo>
                  <a:lnTo>
                    <a:pt x="39" y="1403"/>
                  </a:lnTo>
                  <a:lnTo>
                    <a:pt x="39" y="1405"/>
                  </a:lnTo>
                  <a:lnTo>
                    <a:pt x="38" y="1405"/>
                  </a:lnTo>
                  <a:lnTo>
                    <a:pt x="38" y="1406"/>
                  </a:lnTo>
                  <a:lnTo>
                    <a:pt x="39" y="1406"/>
                  </a:lnTo>
                  <a:lnTo>
                    <a:pt x="39" y="1407"/>
                  </a:lnTo>
                  <a:lnTo>
                    <a:pt x="40" y="1407"/>
                  </a:lnTo>
                  <a:lnTo>
                    <a:pt x="47" y="1406"/>
                  </a:lnTo>
                  <a:lnTo>
                    <a:pt x="50" y="1407"/>
                  </a:lnTo>
                  <a:lnTo>
                    <a:pt x="52" y="1409"/>
                  </a:lnTo>
                  <a:lnTo>
                    <a:pt x="62" y="1409"/>
                  </a:lnTo>
                  <a:lnTo>
                    <a:pt x="63" y="1408"/>
                  </a:lnTo>
                  <a:lnTo>
                    <a:pt x="66" y="1408"/>
                  </a:lnTo>
                  <a:lnTo>
                    <a:pt x="68" y="1407"/>
                  </a:lnTo>
                  <a:lnTo>
                    <a:pt x="68" y="1401"/>
                  </a:lnTo>
                  <a:lnTo>
                    <a:pt x="66" y="1393"/>
                  </a:lnTo>
                  <a:lnTo>
                    <a:pt x="66" y="1391"/>
                  </a:lnTo>
                  <a:lnTo>
                    <a:pt x="65" y="1390"/>
                  </a:lnTo>
                  <a:lnTo>
                    <a:pt x="65" y="1388"/>
                  </a:lnTo>
                  <a:lnTo>
                    <a:pt x="66" y="1387"/>
                  </a:lnTo>
                  <a:lnTo>
                    <a:pt x="68" y="1387"/>
                  </a:lnTo>
                  <a:lnTo>
                    <a:pt x="68" y="1388"/>
                  </a:lnTo>
                  <a:lnTo>
                    <a:pt x="69" y="1388"/>
                  </a:lnTo>
                  <a:lnTo>
                    <a:pt x="69" y="1387"/>
                  </a:lnTo>
                  <a:lnTo>
                    <a:pt x="70" y="1385"/>
                  </a:lnTo>
                  <a:lnTo>
                    <a:pt x="69" y="1384"/>
                  </a:lnTo>
                  <a:lnTo>
                    <a:pt x="72" y="1381"/>
                  </a:lnTo>
                  <a:close/>
                  <a:moveTo>
                    <a:pt x="423" y="1007"/>
                  </a:moveTo>
                  <a:lnTo>
                    <a:pt x="425" y="1007"/>
                  </a:lnTo>
                  <a:lnTo>
                    <a:pt x="429" y="1009"/>
                  </a:lnTo>
                  <a:lnTo>
                    <a:pt x="429" y="1010"/>
                  </a:lnTo>
                  <a:lnTo>
                    <a:pt x="426" y="1009"/>
                  </a:lnTo>
                  <a:lnTo>
                    <a:pt x="425" y="1008"/>
                  </a:lnTo>
                  <a:lnTo>
                    <a:pt x="423" y="1007"/>
                  </a:lnTo>
                  <a:close/>
                  <a:moveTo>
                    <a:pt x="345" y="1007"/>
                  </a:moveTo>
                  <a:lnTo>
                    <a:pt x="347" y="1007"/>
                  </a:lnTo>
                  <a:lnTo>
                    <a:pt x="348" y="1008"/>
                  </a:lnTo>
                  <a:lnTo>
                    <a:pt x="349" y="1008"/>
                  </a:lnTo>
                  <a:lnTo>
                    <a:pt x="349" y="1009"/>
                  </a:lnTo>
                  <a:lnTo>
                    <a:pt x="348" y="1009"/>
                  </a:lnTo>
                  <a:lnTo>
                    <a:pt x="345" y="1010"/>
                  </a:lnTo>
                  <a:lnTo>
                    <a:pt x="345" y="1007"/>
                  </a:lnTo>
                  <a:close/>
                  <a:moveTo>
                    <a:pt x="308" y="1001"/>
                  </a:moveTo>
                  <a:lnTo>
                    <a:pt x="310" y="1001"/>
                  </a:lnTo>
                  <a:lnTo>
                    <a:pt x="311" y="1002"/>
                  </a:lnTo>
                  <a:lnTo>
                    <a:pt x="311" y="1003"/>
                  </a:lnTo>
                  <a:lnTo>
                    <a:pt x="312" y="1004"/>
                  </a:lnTo>
                  <a:lnTo>
                    <a:pt x="312" y="1008"/>
                  </a:lnTo>
                  <a:lnTo>
                    <a:pt x="311" y="1008"/>
                  </a:lnTo>
                  <a:lnTo>
                    <a:pt x="311" y="1007"/>
                  </a:lnTo>
                  <a:lnTo>
                    <a:pt x="310" y="1007"/>
                  </a:lnTo>
                  <a:lnTo>
                    <a:pt x="310" y="1004"/>
                  </a:lnTo>
                  <a:lnTo>
                    <a:pt x="308" y="1001"/>
                  </a:lnTo>
                  <a:close/>
                  <a:moveTo>
                    <a:pt x="376" y="979"/>
                  </a:moveTo>
                  <a:lnTo>
                    <a:pt x="378" y="979"/>
                  </a:lnTo>
                  <a:lnTo>
                    <a:pt x="378" y="981"/>
                  </a:lnTo>
                  <a:lnTo>
                    <a:pt x="380" y="981"/>
                  </a:lnTo>
                  <a:lnTo>
                    <a:pt x="384" y="984"/>
                  </a:lnTo>
                  <a:lnTo>
                    <a:pt x="384" y="985"/>
                  </a:lnTo>
                  <a:lnTo>
                    <a:pt x="382" y="985"/>
                  </a:lnTo>
                  <a:lnTo>
                    <a:pt x="382" y="986"/>
                  </a:lnTo>
                  <a:lnTo>
                    <a:pt x="380" y="986"/>
                  </a:lnTo>
                  <a:lnTo>
                    <a:pt x="376" y="983"/>
                  </a:lnTo>
                  <a:lnTo>
                    <a:pt x="376" y="979"/>
                  </a:lnTo>
                  <a:close/>
                  <a:moveTo>
                    <a:pt x="372" y="978"/>
                  </a:moveTo>
                  <a:lnTo>
                    <a:pt x="374" y="978"/>
                  </a:lnTo>
                  <a:lnTo>
                    <a:pt x="374" y="979"/>
                  </a:lnTo>
                  <a:lnTo>
                    <a:pt x="375" y="979"/>
                  </a:lnTo>
                  <a:lnTo>
                    <a:pt x="375" y="983"/>
                  </a:lnTo>
                  <a:lnTo>
                    <a:pt x="374" y="983"/>
                  </a:lnTo>
                  <a:lnTo>
                    <a:pt x="374" y="982"/>
                  </a:lnTo>
                  <a:lnTo>
                    <a:pt x="372" y="979"/>
                  </a:lnTo>
                  <a:lnTo>
                    <a:pt x="372" y="978"/>
                  </a:lnTo>
                  <a:close/>
                  <a:moveTo>
                    <a:pt x="378" y="954"/>
                  </a:moveTo>
                  <a:lnTo>
                    <a:pt x="380" y="954"/>
                  </a:lnTo>
                  <a:lnTo>
                    <a:pt x="380" y="958"/>
                  </a:lnTo>
                  <a:lnTo>
                    <a:pt x="379" y="960"/>
                  </a:lnTo>
                  <a:lnTo>
                    <a:pt x="378" y="959"/>
                  </a:lnTo>
                  <a:lnTo>
                    <a:pt x="378" y="958"/>
                  </a:lnTo>
                  <a:lnTo>
                    <a:pt x="376" y="957"/>
                  </a:lnTo>
                  <a:lnTo>
                    <a:pt x="378" y="955"/>
                  </a:lnTo>
                  <a:lnTo>
                    <a:pt x="378" y="954"/>
                  </a:lnTo>
                  <a:close/>
                  <a:moveTo>
                    <a:pt x="687" y="608"/>
                  </a:moveTo>
                  <a:lnTo>
                    <a:pt x="692" y="613"/>
                  </a:lnTo>
                  <a:lnTo>
                    <a:pt x="692" y="615"/>
                  </a:lnTo>
                  <a:lnTo>
                    <a:pt x="691" y="616"/>
                  </a:lnTo>
                  <a:lnTo>
                    <a:pt x="690" y="616"/>
                  </a:lnTo>
                  <a:lnTo>
                    <a:pt x="685" y="611"/>
                  </a:lnTo>
                  <a:lnTo>
                    <a:pt x="685" y="609"/>
                  </a:lnTo>
                  <a:lnTo>
                    <a:pt x="686" y="609"/>
                  </a:lnTo>
                  <a:lnTo>
                    <a:pt x="687" y="608"/>
                  </a:lnTo>
                  <a:close/>
                  <a:moveTo>
                    <a:pt x="858" y="576"/>
                  </a:moveTo>
                  <a:lnTo>
                    <a:pt x="859" y="576"/>
                  </a:lnTo>
                  <a:lnTo>
                    <a:pt x="859" y="577"/>
                  </a:lnTo>
                  <a:lnTo>
                    <a:pt x="857" y="578"/>
                  </a:lnTo>
                  <a:lnTo>
                    <a:pt x="858" y="576"/>
                  </a:lnTo>
                  <a:close/>
                  <a:moveTo>
                    <a:pt x="864" y="572"/>
                  </a:moveTo>
                  <a:lnTo>
                    <a:pt x="869" y="572"/>
                  </a:lnTo>
                  <a:lnTo>
                    <a:pt x="873" y="573"/>
                  </a:lnTo>
                  <a:lnTo>
                    <a:pt x="875" y="574"/>
                  </a:lnTo>
                  <a:lnTo>
                    <a:pt x="877" y="579"/>
                  </a:lnTo>
                  <a:lnTo>
                    <a:pt x="877" y="586"/>
                  </a:lnTo>
                  <a:lnTo>
                    <a:pt x="876" y="588"/>
                  </a:lnTo>
                  <a:lnTo>
                    <a:pt x="873" y="586"/>
                  </a:lnTo>
                  <a:lnTo>
                    <a:pt x="872" y="585"/>
                  </a:lnTo>
                  <a:lnTo>
                    <a:pt x="872" y="583"/>
                  </a:lnTo>
                  <a:lnTo>
                    <a:pt x="870" y="580"/>
                  </a:lnTo>
                  <a:lnTo>
                    <a:pt x="869" y="578"/>
                  </a:lnTo>
                  <a:lnTo>
                    <a:pt x="867" y="578"/>
                  </a:lnTo>
                  <a:lnTo>
                    <a:pt x="866" y="577"/>
                  </a:lnTo>
                  <a:lnTo>
                    <a:pt x="863" y="574"/>
                  </a:lnTo>
                  <a:lnTo>
                    <a:pt x="861" y="574"/>
                  </a:lnTo>
                  <a:lnTo>
                    <a:pt x="861" y="573"/>
                  </a:lnTo>
                  <a:lnTo>
                    <a:pt x="864" y="572"/>
                  </a:lnTo>
                  <a:close/>
                  <a:moveTo>
                    <a:pt x="687" y="545"/>
                  </a:moveTo>
                  <a:lnTo>
                    <a:pt x="691" y="545"/>
                  </a:lnTo>
                  <a:lnTo>
                    <a:pt x="691" y="546"/>
                  </a:lnTo>
                  <a:lnTo>
                    <a:pt x="692" y="546"/>
                  </a:lnTo>
                  <a:lnTo>
                    <a:pt x="692" y="547"/>
                  </a:lnTo>
                  <a:lnTo>
                    <a:pt x="691" y="548"/>
                  </a:lnTo>
                  <a:lnTo>
                    <a:pt x="686" y="548"/>
                  </a:lnTo>
                  <a:lnTo>
                    <a:pt x="686" y="546"/>
                  </a:lnTo>
                  <a:lnTo>
                    <a:pt x="687" y="545"/>
                  </a:lnTo>
                  <a:close/>
                  <a:moveTo>
                    <a:pt x="679" y="533"/>
                  </a:moveTo>
                  <a:lnTo>
                    <a:pt x="681" y="534"/>
                  </a:lnTo>
                  <a:lnTo>
                    <a:pt x="683" y="535"/>
                  </a:lnTo>
                  <a:lnTo>
                    <a:pt x="685" y="542"/>
                  </a:lnTo>
                  <a:lnTo>
                    <a:pt x="685" y="545"/>
                  </a:lnTo>
                  <a:lnTo>
                    <a:pt x="684" y="543"/>
                  </a:lnTo>
                  <a:lnTo>
                    <a:pt x="683" y="541"/>
                  </a:lnTo>
                  <a:lnTo>
                    <a:pt x="683" y="539"/>
                  </a:lnTo>
                  <a:lnTo>
                    <a:pt x="681" y="541"/>
                  </a:lnTo>
                  <a:lnTo>
                    <a:pt x="681" y="543"/>
                  </a:lnTo>
                  <a:lnTo>
                    <a:pt x="684" y="546"/>
                  </a:lnTo>
                  <a:lnTo>
                    <a:pt x="685" y="546"/>
                  </a:lnTo>
                  <a:lnTo>
                    <a:pt x="685" y="551"/>
                  </a:lnTo>
                  <a:lnTo>
                    <a:pt x="684" y="551"/>
                  </a:lnTo>
                  <a:lnTo>
                    <a:pt x="684" y="552"/>
                  </a:lnTo>
                  <a:lnTo>
                    <a:pt x="683" y="553"/>
                  </a:lnTo>
                  <a:lnTo>
                    <a:pt x="680" y="554"/>
                  </a:lnTo>
                  <a:lnTo>
                    <a:pt x="679" y="553"/>
                  </a:lnTo>
                  <a:lnTo>
                    <a:pt x="679" y="548"/>
                  </a:lnTo>
                  <a:lnTo>
                    <a:pt x="678" y="547"/>
                  </a:lnTo>
                  <a:lnTo>
                    <a:pt x="674" y="547"/>
                  </a:lnTo>
                  <a:lnTo>
                    <a:pt x="672" y="546"/>
                  </a:lnTo>
                  <a:lnTo>
                    <a:pt x="670" y="541"/>
                  </a:lnTo>
                  <a:lnTo>
                    <a:pt x="670" y="539"/>
                  </a:lnTo>
                  <a:lnTo>
                    <a:pt x="671" y="536"/>
                  </a:lnTo>
                  <a:lnTo>
                    <a:pt x="672" y="535"/>
                  </a:lnTo>
                  <a:lnTo>
                    <a:pt x="676" y="535"/>
                  </a:lnTo>
                  <a:lnTo>
                    <a:pt x="677" y="534"/>
                  </a:lnTo>
                  <a:lnTo>
                    <a:pt x="678" y="534"/>
                  </a:lnTo>
                  <a:lnTo>
                    <a:pt x="679" y="533"/>
                  </a:lnTo>
                  <a:close/>
                  <a:moveTo>
                    <a:pt x="690" y="531"/>
                  </a:moveTo>
                  <a:lnTo>
                    <a:pt x="691" y="531"/>
                  </a:lnTo>
                  <a:lnTo>
                    <a:pt x="691" y="533"/>
                  </a:lnTo>
                  <a:lnTo>
                    <a:pt x="692" y="533"/>
                  </a:lnTo>
                  <a:lnTo>
                    <a:pt x="692" y="534"/>
                  </a:lnTo>
                  <a:lnTo>
                    <a:pt x="693" y="534"/>
                  </a:lnTo>
                  <a:lnTo>
                    <a:pt x="693" y="535"/>
                  </a:lnTo>
                  <a:lnTo>
                    <a:pt x="702" y="535"/>
                  </a:lnTo>
                  <a:lnTo>
                    <a:pt x="701" y="536"/>
                  </a:lnTo>
                  <a:lnTo>
                    <a:pt x="697" y="536"/>
                  </a:lnTo>
                  <a:lnTo>
                    <a:pt x="695" y="537"/>
                  </a:lnTo>
                  <a:lnTo>
                    <a:pt x="692" y="537"/>
                  </a:lnTo>
                  <a:lnTo>
                    <a:pt x="689" y="536"/>
                  </a:lnTo>
                  <a:lnTo>
                    <a:pt x="689" y="533"/>
                  </a:lnTo>
                  <a:lnTo>
                    <a:pt x="690" y="531"/>
                  </a:lnTo>
                  <a:close/>
                  <a:moveTo>
                    <a:pt x="963" y="367"/>
                  </a:moveTo>
                  <a:lnTo>
                    <a:pt x="966" y="367"/>
                  </a:lnTo>
                  <a:lnTo>
                    <a:pt x="971" y="369"/>
                  </a:lnTo>
                  <a:lnTo>
                    <a:pt x="971" y="370"/>
                  </a:lnTo>
                  <a:lnTo>
                    <a:pt x="972" y="373"/>
                  </a:lnTo>
                  <a:lnTo>
                    <a:pt x="972" y="379"/>
                  </a:lnTo>
                  <a:lnTo>
                    <a:pt x="971" y="379"/>
                  </a:lnTo>
                  <a:lnTo>
                    <a:pt x="969" y="377"/>
                  </a:lnTo>
                  <a:lnTo>
                    <a:pt x="964" y="374"/>
                  </a:lnTo>
                  <a:lnTo>
                    <a:pt x="962" y="369"/>
                  </a:lnTo>
                  <a:lnTo>
                    <a:pt x="963" y="367"/>
                  </a:lnTo>
                  <a:close/>
                  <a:moveTo>
                    <a:pt x="537" y="327"/>
                  </a:moveTo>
                  <a:lnTo>
                    <a:pt x="537" y="328"/>
                  </a:lnTo>
                  <a:lnTo>
                    <a:pt x="538" y="328"/>
                  </a:lnTo>
                  <a:lnTo>
                    <a:pt x="540" y="330"/>
                  </a:lnTo>
                  <a:lnTo>
                    <a:pt x="540" y="331"/>
                  </a:lnTo>
                  <a:lnTo>
                    <a:pt x="538" y="332"/>
                  </a:lnTo>
                  <a:lnTo>
                    <a:pt x="536" y="330"/>
                  </a:lnTo>
                  <a:lnTo>
                    <a:pt x="536" y="328"/>
                  </a:lnTo>
                  <a:lnTo>
                    <a:pt x="537" y="327"/>
                  </a:lnTo>
                  <a:close/>
                  <a:moveTo>
                    <a:pt x="1463" y="195"/>
                  </a:moveTo>
                  <a:lnTo>
                    <a:pt x="1465" y="195"/>
                  </a:lnTo>
                  <a:lnTo>
                    <a:pt x="1465" y="196"/>
                  </a:lnTo>
                  <a:lnTo>
                    <a:pt x="1463" y="196"/>
                  </a:lnTo>
                  <a:lnTo>
                    <a:pt x="1463" y="197"/>
                  </a:lnTo>
                  <a:lnTo>
                    <a:pt x="1465" y="197"/>
                  </a:lnTo>
                  <a:lnTo>
                    <a:pt x="1465" y="203"/>
                  </a:lnTo>
                  <a:lnTo>
                    <a:pt x="1463" y="203"/>
                  </a:lnTo>
                  <a:lnTo>
                    <a:pt x="1460" y="204"/>
                  </a:lnTo>
                  <a:lnTo>
                    <a:pt x="1459" y="204"/>
                  </a:lnTo>
                  <a:lnTo>
                    <a:pt x="1459" y="201"/>
                  </a:lnTo>
                  <a:lnTo>
                    <a:pt x="1460" y="199"/>
                  </a:lnTo>
                  <a:lnTo>
                    <a:pt x="1460" y="198"/>
                  </a:lnTo>
                  <a:lnTo>
                    <a:pt x="1463" y="195"/>
                  </a:lnTo>
                  <a:close/>
                  <a:moveTo>
                    <a:pt x="1447" y="191"/>
                  </a:moveTo>
                  <a:lnTo>
                    <a:pt x="1449" y="191"/>
                  </a:lnTo>
                  <a:lnTo>
                    <a:pt x="1450" y="193"/>
                  </a:lnTo>
                  <a:lnTo>
                    <a:pt x="1449" y="196"/>
                  </a:lnTo>
                  <a:lnTo>
                    <a:pt x="1449" y="199"/>
                  </a:lnTo>
                  <a:lnTo>
                    <a:pt x="1447" y="199"/>
                  </a:lnTo>
                  <a:lnTo>
                    <a:pt x="1444" y="197"/>
                  </a:lnTo>
                  <a:lnTo>
                    <a:pt x="1444" y="193"/>
                  </a:lnTo>
                  <a:lnTo>
                    <a:pt x="1447" y="191"/>
                  </a:lnTo>
                  <a:close/>
                  <a:moveTo>
                    <a:pt x="1331" y="175"/>
                  </a:moveTo>
                  <a:lnTo>
                    <a:pt x="1336" y="175"/>
                  </a:lnTo>
                  <a:lnTo>
                    <a:pt x="1344" y="177"/>
                  </a:lnTo>
                  <a:lnTo>
                    <a:pt x="1343" y="178"/>
                  </a:lnTo>
                  <a:lnTo>
                    <a:pt x="1331" y="180"/>
                  </a:lnTo>
                  <a:lnTo>
                    <a:pt x="1327" y="184"/>
                  </a:lnTo>
                  <a:lnTo>
                    <a:pt x="1324" y="184"/>
                  </a:lnTo>
                  <a:lnTo>
                    <a:pt x="1322" y="187"/>
                  </a:lnTo>
                  <a:lnTo>
                    <a:pt x="1318" y="187"/>
                  </a:lnTo>
                  <a:lnTo>
                    <a:pt x="1318" y="189"/>
                  </a:lnTo>
                  <a:lnTo>
                    <a:pt x="1314" y="189"/>
                  </a:lnTo>
                  <a:lnTo>
                    <a:pt x="1317" y="186"/>
                  </a:lnTo>
                  <a:lnTo>
                    <a:pt x="1318" y="184"/>
                  </a:lnTo>
                  <a:lnTo>
                    <a:pt x="1331" y="175"/>
                  </a:lnTo>
                  <a:close/>
                  <a:moveTo>
                    <a:pt x="1230" y="153"/>
                  </a:moveTo>
                  <a:lnTo>
                    <a:pt x="1231" y="153"/>
                  </a:lnTo>
                  <a:lnTo>
                    <a:pt x="1242" y="155"/>
                  </a:lnTo>
                  <a:lnTo>
                    <a:pt x="1243" y="155"/>
                  </a:lnTo>
                  <a:lnTo>
                    <a:pt x="1244" y="156"/>
                  </a:lnTo>
                  <a:lnTo>
                    <a:pt x="1230" y="153"/>
                  </a:lnTo>
                  <a:close/>
                  <a:moveTo>
                    <a:pt x="1459" y="138"/>
                  </a:moveTo>
                  <a:lnTo>
                    <a:pt x="1461" y="138"/>
                  </a:lnTo>
                  <a:lnTo>
                    <a:pt x="1466" y="142"/>
                  </a:lnTo>
                  <a:lnTo>
                    <a:pt x="1467" y="142"/>
                  </a:lnTo>
                  <a:lnTo>
                    <a:pt x="1467" y="143"/>
                  </a:lnTo>
                  <a:lnTo>
                    <a:pt x="1460" y="141"/>
                  </a:lnTo>
                  <a:lnTo>
                    <a:pt x="1459" y="141"/>
                  </a:lnTo>
                  <a:lnTo>
                    <a:pt x="1459" y="138"/>
                  </a:lnTo>
                  <a:close/>
                  <a:moveTo>
                    <a:pt x="1263" y="138"/>
                  </a:moveTo>
                  <a:lnTo>
                    <a:pt x="1264" y="138"/>
                  </a:lnTo>
                  <a:lnTo>
                    <a:pt x="1264" y="140"/>
                  </a:lnTo>
                  <a:lnTo>
                    <a:pt x="1263" y="141"/>
                  </a:lnTo>
                  <a:lnTo>
                    <a:pt x="1261" y="142"/>
                  </a:lnTo>
                  <a:lnTo>
                    <a:pt x="1260" y="141"/>
                  </a:lnTo>
                  <a:lnTo>
                    <a:pt x="1263" y="140"/>
                  </a:lnTo>
                  <a:lnTo>
                    <a:pt x="1263" y="138"/>
                  </a:lnTo>
                  <a:close/>
                  <a:moveTo>
                    <a:pt x="1275" y="128"/>
                  </a:moveTo>
                  <a:lnTo>
                    <a:pt x="1275" y="129"/>
                  </a:lnTo>
                  <a:lnTo>
                    <a:pt x="1273" y="131"/>
                  </a:lnTo>
                  <a:lnTo>
                    <a:pt x="1271" y="131"/>
                  </a:lnTo>
                  <a:lnTo>
                    <a:pt x="1275" y="128"/>
                  </a:lnTo>
                  <a:close/>
                  <a:moveTo>
                    <a:pt x="1488" y="124"/>
                  </a:moveTo>
                  <a:lnTo>
                    <a:pt x="1493" y="124"/>
                  </a:lnTo>
                  <a:lnTo>
                    <a:pt x="1493" y="127"/>
                  </a:lnTo>
                  <a:lnTo>
                    <a:pt x="1492" y="128"/>
                  </a:lnTo>
                  <a:lnTo>
                    <a:pt x="1491" y="127"/>
                  </a:lnTo>
                  <a:lnTo>
                    <a:pt x="1490" y="127"/>
                  </a:lnTo>
                  <a:lnTo>
                    <a:pt x="1488" y="125"/>
                  </a:lnTo>
                  <a:lnTo>
                    <a:pt x="1488" y="124"/>
                  </a:lnTo>
                  <a:close/>
                  <a:moveTo>
                    <a:pt x="1506" y="123"/>
                  </a:moveTo>
                  <a:lnTo>
                    <a:pt x="1507" y="123"/>
                  </a:lnTo>
                  <a:lnTo>
                    <a:pt x="1511" y="124"/>
                  </a:lnTo>
                  <a:lnTo>
                    <a:pt x="1512" y="125"/>
                  </a:lnTo>
                  <a:lnTo>
                    <a:pt x="1513" y="128"/>
                  </a:lnTo>
                  <a:lnTo>
                    <a:pt x="1507" y="125"/>
                  </a:lnTo>
                  <a:lnTo>
                    <a:pt x="1504" y="128"/>
                  </a:lnTo>
                  <a:lnTo>
                    <a:pt x="1501" y="128"/>
                  </a:lnTo>
                  <a:lnTo>
                    <a:pt x="1503" y="125"/>
                  </a:lnTo>
                  <a:lnTo>
                    <a:pt x="1506" y="123"/>
                  </a:lnTo>
                  <a:close/>
                  <a:moveTo>
                    <a:pt x="1285" y="122"/>
                  </a:moveTo>
                  <a:lnTo>
                    <a:pt x="1286" y="122"/>
                  </a:lnTo>
                  <a:lnTo>
                    <a:pt x="1286" y="123"/>
                  </a:lnTo>
                  <a:lnTo>
                    <a:pt x="1285" y="124"/>
                  </a:lnTo>
                  <a:lnTo>
                    <a:pt x="1282" y="125"/>
                  </a:lnTo>
                  <a:lnTo>
                    <a:pt x="1281" y="125"/>
                  </a:lnTo>
                  <a:lnTo>
                    <a:pt x="1285" y="122"/>
                  </a:lnTo>
                  <a:close/>
                  <a:moveTo>
                    <a:pt x="1476" y="116"/>
                  </a:moveTo>
                  <a:lnTo>
                    <a:pt x="1479" y="116"/>
                  </a:lnTo>
                  <a:lnTo>
                    <a:pt x="1480" y="117"/>
                  </a:lnTo>
                  <a:lnTo>
                    <a:pt x="1480" y="119"/>
                  </a:lnTo>
                  <a:lnTo>
                    <a:pt x="1479" y="121"/>
                  </a:lnTo>
                  <a:lnTo>
                    <a:pt x="1479" y="122"/>
                  </a:lnTo>
                  <a:lnTo>
                    <a:pt x="1478" y="122"/>
                  </a:lnTo>
                  <a:lnTo>
                    <a:pt x="1475" y="123"/>
                  </a:lnTo>
                  <a:lnTo>
                    <a:pt x="1475" y="122"/>
                  </a:lnTo>
                  <a:lnTo>
                    <a:pt x="1474" y="122"/>
                  </a:lnTo>
                  <a:lnTo>
                    <a:pt x="1476" y="117"/>
                  </a:lnTo>
                  <a:lnTo>
                    <a:pt x="1476" y="116"/>
                  </a:lnTo>
                  <a:close/>
                  <a:moveTo>
                    <a:pt x="1652" y="76"/>
                  </a:moveTo>
                  <a:lnTo>
                    <a:pt x="1653" y="76"/>
                  </a:lnTo>
                  <a:lnTo>
                    <a:pt x="1667" y="87"/>
                  </a:lnTo>
                  <a:lnTo>
                    <a:pt x="1670" y="90"/>
                  </a:lnTo>
                  <a:lnTo>
                    <a:pt x="1670" y="91"/>
                  </a:lnTo>
                  <a:lnTo>
                    <a:pt x="1668" y="92"/>
                  </a:lnTo>
                  <a:lnTo>
                    <a:pt x="1672" y="95"/>
                  </a:lnTo>
                  <a:lnTo>
                    <a:pt x="1672" y="100"/>
                  </a:lnTo>
                  <a:lnTo>
                    <a:pt x="1671" y="99"/>
                  </a:lnTo>
                  <a:lnTo>
                    <a:pt x="1671" y="98"/>
                  </a:lnTo>
                  <a:lnTo>
                    <a:pt x="1670" y="98"/>
                  </a:lnTo>
                  <a:lnTo>
                    <a:pt x="1668" y="97"/>
                  </a:lnTo>
                  <a:lnTo>
                    <a:pt x="1667" y="94"/>
                  </a:lnTo>
                  <a:lnTo>
                    <a:pt x="1666" y="94"/>
                  </a:lnTo>
                  <a:lnTo>
                    <a:pt x="1665" y="90"/>
                  </a:lnTo>
                  <a:lnTo>
                    <a:pt x="1664" y="88"/>
                  </a:lnTo>
                  <a:lnTo>
                    <a:pt x="1652" y="79"/>
                  </a:lnTo>
                  <a:lnTo>
                    <a:pt x="1652" y="76"/>
                  </a:lnTo>
                  <a:close/>
                  <a:moveTo>
                    <a:pt x="616" y="68"/>
                  </a:moveTo>
                  <a:lnTo>
                    <a:pt x="623" y="75"/>
                  </a:lnTo>
                  <a:lnTo>
                    <a:pt x="623" y="76"/>
                  </a:lnTo>
                  <a:lnTo>
                    <a:pt x="608" y="75"/>
                  </a:lnTo>
                  <a:lnTo>
                    <a:pt x="605" y="74"/>
                  </a:lnTo>
                  <a:lnTo>
                    <a:pt x="605" y="72"/>
                  </a:lnTo>
                  <a:lnTo>
                    <a:pt x="606" y="70"/>
                  </a:lnTo>
                  <a:lnTo>
                    <a:pt x="608" y="70"/>
                  </a:lnTo>
                  <a:lnTo>
                    <a:pt x="611" y="69"/>
                  </a:lnTo>
                  <a:lnTo>
                    <a:pt x="616" y="68"/>
                  </a:lnTo>
                  <a:close/>
                  <a:moveTo>
                    <a:pt x="1243" y="55"/>
                  </a:moveTo>
                  <a:lnTo>
                    <a:pt x="1251" y="56"/>
                  </a:lnTo>
                  <a:lnTo>
                    <a:pt x="1269" y="69"/>
                  </a:lnTo>
                  <a:lnTo>
                    <a:pt x="1282" y="81"/>
                  </a:lnTo>
                  <a:lnTo>
                    <a:pt x="1288" y="86"/>
                  </a:lnTo>
                  <a:lnTo>
                    <a:pt x="1291" y="90"/>
                  </a:lnTo>
                  <a:lnTo>
                    <a:pt x="1295" y="99"/>
                  </a:lnTo>
                  <a:lnTo>
                    <a:pt x="1294" y="104"/>
                  </a:lnTo>
                  <a:lnTo>
                    <a:pt x="1292" y="110"/>
                  </a:lnTo>
                  <a:lnTo>
                    <a:pt x="1288" y="116"/>
                  </a:lnTo>
                  <a:lnTo>
                    <a:pt x="1286" y="117"/>
                  </a:lnTo>
                  <a:lnTo>
                    <a:pt x="1287" y="116"/>
                  </a:lnTo>
                  <a:lnTo>
                    <a:pt x="1287" y="110"/>
                  </a:lnTo>
                  <a:lnTo>
                    <a:pt x="1289" y="105"/>
                  </a:lnTo>
                  <a:lnTo>
                    <a:pt x="1291" y="100"/>
                  </a:lnTo>
                  <a:lnTo>
                    <a:pt x="1291" y="98"/>
                  </a:lnTo>
                  <a:lnTo>
                    <a:pt x="1289" y="99"/>
                  </a:lnTo>
                  <a:lnTo>
                    <a:pt x="1287" y="100"/>
                  </a:lnTo>
                  <a:lnTo>
                    <a:pt x="1282" y="106"/>
                  </a:lnTo>
                  <a:lnTo>
                    <a:pt x="1280" y="109"/>
                  </a:lnTo>
                  <a:lnTo>
                    <a:pt x="1276" y="115"/>
                  </a:lnTo>
                  <a:lnTo>
                    <a:pt x="1275" y="116"/>
                  </a:lnTo>
                  <a:lnTo>
                    <a:pt x="1277" y="116"/>
                  </a:lnTo>
                  <a:lnTo>
                    <a:pt x="1277" y="119"/>
                  </a:lnTo>
                  <a:lnTo>
                    <a:pt x="1274" y="121"/>
                  </a:lnTo>
                  <a:lnTo>
                    <a:pt x="1270" y="130"/>
                  </a:lnTo>
                  <a:lnTo>
                    <a:pt x="1268" y="131"/>
                  </a:lnTo>
                  <a:lnTo>
                    <a:pt x="1267" y="131"/>
                  </a:lnTo>
                  <a:lnTo>
                    <a:pt x="1264" y="132"/>
                  </a:lnTo>
                  <a:lnTo>
                    <a:pt x="1262" y="136"/>
                  </a:lnTo>
                  <a:lnTo>
                    <a:pt x="1257" y="140"/>
                  </a:lnTo>
                  <a:lnTo>
                    <a:pt x="1254" y="138"/>
                  </a:lnTo>
                  <a:lnTo>
                    <a:pt x="1252" y="140"/>
                  </a:lnTo>
                  <a:lnTo>
                    <a:pt x="1250" y="143"/>
                  </a:lnTo>
                  <a:lnTo>
                    <a:pt x="1231" y="149"/>
                  </a:lnTo>
                  <a:lnTo>
                    <a:pt x="1230" y="148"/>
                  </a:lnTo>
                  <a:lnTo>
                    <a:pt x="1230" y="147"/>
                  </a:lnTo>
                  <a:lnTo>
                    <a:pt x="1229" y="147"/>
                  </a:lnTo>
                  <a:lnTo>
                    <a:pt x="1229" y="146"/>
                  </a:lnTo>
                  <a:lnTo>
                    <a:pt x="1227" y="146"/>
                  </a:lnTo>
                  <a:lnTo>
                    <a:pt x="1226" y="147"/>
                  </a:lnTo>
                  <a:lnTo>
                    <a:pt x="1226" y="148"/>
                  </a:lnTo>
                  <a:lnTo>
                    <a:pt x="1223" y="148"/>
                  </a:lnTo>
                  <a:lnTo>
                    <a:pt x="1221" y="147"/>
                  </a:lnTo>
                  <a:lnTo>
                    <a:pt x="1219" y="143"/>
                  </a:lnTo>
                  <a:lnTo>
                    <a:pt x="1214" y="138"/>
                  </a:lnTo>
                  <a:lnTo>
                    <a:pt x="1213" y="138"/>
                  </a:lnTo>
                  <a:lnTo>
                    <a:pt x="1212" y="136"/>
                  </a:lnTo>
                  <a:lnTo>
                    <a:pt x="1212" y="135"/>
                  </a:lnTo>
                  <a:lnTo>
                    <a:pt x="1211" y="135"/>
                  </a:lnTo>
                  <a:lnTo>
                    <a:pt x="1209" y="132"/>
                  </a:lnTo>
                  <a:lnTo>
                    <a:pt x="1211" y="131"/>
                  </a:lnTo>
                  <a:lnTo>
                    <a:pt x="1211" y="130"/>
                  </a:lnTo>
                  <a:lnTo>
                    <a:pt x="1209" y="129"/>
                  </a:lnTo>
                  <a:lnTo>
                    <a:pt x="1208" y="129"/>
                  </a:lnTo>
                  <a:lnTo>
                    <a:pt x="1207" y="131"/>
                  </a:lnTo>
                  <a:lnTo>
                    <a:pt x="1206" y="129"/>
                  </a:lnTo>
                  <a:lnTo>
                    <a:pt x="1206" y="128"/>
                  </a:lnTo>
                  <a:lnTo>
                    <a:pt x="1207" y="125"/>
                  </a:lnTo>
                  <a:lnTo>
                    <a:pt x="1207" y="122"/>
                  </a:lnTo>
                  <a:lnTo>
                    <a:pt x="1208" y="121"/>
                  </a:lnTo>
                  <a:lnTo>
                    <a:pt x="1208" y="119"/>
                  </a:lnTo>
                  <a:lnTo>
                    <a:pt x="1207" y="117"/>
                  </a:lnTo>
                  <a:lnTo>
                    <a:pt x="1207" y="118"/>
                  </a:lnTo>
                  <a:lnTo>
                    <a:pt x="1206" y="117"/>
                  </a:lnTo>
                  <a:lnTo>
                    <a:pt x="1206" y="115"/>
                  </a:lnTo>
                  <a:lnTo>
                    <a:pt x="1208" y="112"/>
                  </a:lnTo>
                  <a:lnTo>
                    <a:pt x="1206" y="111"/>
                  </a:lnTo>
                  <a:lnTo>
                    <a:pt x="1206" y="109"/>
                  </a:lnTo>
                  <a:lnTo>
                    <a:pt x="1207" y="105"/>
                  </a:lnTo>
                  <a:lnTo>
                    <a:pt x="1208" y="103"/>
                  </a:lnTo>
                  <a:lnTo>
                    <a:pt x="1208" y="91"/>
                  </a:lnTo>
                  <a:lnTo>
                    <a:pt x="1209" y="87"/>
                  </a:lnTo>
                  <a:lnTo>
                    <a:pt x="1209" y="85"/>
                  </a:lnTo>
                  <a:lnTo>
                    <a:pt x="1211" y="81"/>
                  </a:lnTo>
                  <a:lnTo>
                    <a:pt x="1214" y="76"/>
                  </a:lnTo>
                  <a:lnTo>
                    <a:pt x="1215" y="74"/>
                  </a:lnTo>
                  <a:lnTo>
                    <a:pt x="1215" y="73"/>
                  </a:lnTo>
                  <a:lnTo>
                    <a:pt x="1219" y="70"/>
                  </a:lnTo>
                  <a:lnTo>
                    <a:pt x="1221" y="67"/>
                  </a:lnTo>
                  <a:lnTo>
                    <a:pt x="1231" y="58"/>
                  </a:lnTo>
                  <a:lnTo>
                    <a:pt x="1236" y="56"/>
                  </a:lnTo>
                  <a:lnTo>
                    <a:pt x="1243" y="55"/>
                  </a:lnTo>
                  <a:close/>
                  <a:moveTo>
                    <a:pt x="521" y="0"/>
                  </a:moveTo>
                  <a:lnTo>
                    <a:pt x="522" y="0"/>
                  </a:lnTo>
                  <a:lnTo>
                    <a:pt x="524" y="1"/>
                  </a:lnTo>
                  <a:lnTo>
                    <a:pt x="532" y="11"/>
                  </a:lnTo>
                  <a:lnTo>
                    <a:pt x="534" y="12"/>
                  </a:lnTo>
                  <a:lnTo>
                    <a:pt x="537" y="11"/>
                  </a:lnTo>
                  <a:lnTo>
                    <a:pt x="538" y="12"/>
                  </a:lnTo>
                  <a:lnTo>
                    <a:pt x="543" y="14"/>
                  </a:lnTo>
                  <a:lnTo>
                    <a:pt x="544" y="17"/>
                  </a:lnTo>
                  <a:lnTo>
                    <a:pt x="543" y="18"/>
                  </a:lnTo>
                  <a:lnTo>
                    <a:pt x="543" y="19"/>
                  </a:lnTo>
                  <a:lnTo>
                    <a:pt x="544" y="20"/>
                  </a:lnTo>
                  <a:lnTo>
                    <a:pt x="548" y="23"/>
                  </a:lnTo>
                  <a:lnTo>
                    <a:pt x="553" y="21"/>
                  </a:lnTo>
                  <a:lnTo>
                    <a:pt x="561" y="24"/>
                  </a:lnTo>
                  <a:lnTo>
                    <a:pt x="565" y="26"/>
                  </a:lnTo>
                  <a:lnTo>
                    <a:pt x="566" y="29"/>
                  </a:lnTo>
                  <a:lnTo>
                    <a:pt x="567" y="29"/>
                  </a:lnTo>
                  <a:lnTo>
                    <a:pt x="568" y="27"/>
                  </a:lnTo>
                  <a:lnTo>
                    <a:pt x="569" y="27"/>
                  </a:lnTo>
                  <a:lnTo>
                    <a:pt x="569" y="38"/>
                  </a:lnTo>
                  <a:lnTo>
                    <a:pt x="568" y="39"/>
                  </a:lnTo>
                  <a:lnTo>
                    <a:pt x="567" y="42"/>
                  </a:lnTo>
                  <a:lnTo>
                    <a:pt x="566" y="43"/>
                  </a:lnTo>
                  <a:lnTo>
                    <a:pt x="559" y="48"/>
                  </a:lnTo>
                  <a:lnTo>
                    <a:pt x="543" y="42"/>
                  </a:lnTo>
                  <a:lnTo>
                    <a:pt x="541" y="39"/>
                  </a:lnTo>
                  <a:lnTo>
                    <a:pt x="540" y="39"/>
                  </a:lnTo>
                  <a:lnTo>
                    <a:pt x="537" y="41"/>
                  </a:lnTo>
                  <a:lnTo>
                    <a:pt x="531" y="38"/>
                  </a:lnTo>
                  <a:lnTo>
                    <a:pt x="530" y="39"/>
                  </a:lnTo>
                  <a:lnTo>
                    <a:pt x="529" y="38"/>
                  </a:lnTo>
                  <a:lnTo>
                    <a:pt x="529" y="33"/>
                  </a:lnTo>
                  <a:lnTo>
                    <a:pt x="530" y="32"/>
                  </a:lnTo>
                  <a:lnTo>
                    <a:pt x="530" y="31"/>
                  </a:lnTo>
                  <a:lnTo>
                    <a:pt x="529" y="30"/>
                  </a:lnTo>
                  <a:lnTo>
                    <a:pt x="529" y="29"/>
                  </a:lnTo>
                  <a:lnTo>
                    <a:pt x="528" y="27"/>
                  </a:lnTo>
                  <a:lnTo>
                    <a:pt x="528" y="26"/>
                  </a:lnTo>
                  <a:lnTo>
                    <a:pt x="527" y="26"/>
                  </a:lnTo>
                  <a:lnTo>
                    <a:pt x="527" y="36"/>
                  </a:lnTo>
                  <a:lnTo>
                    <a:pt x="524" y="38"/>
                  </a:lnTo>
                  <a:lnTo>
                    <a:pt x="521" y="38"/>
                  </a:lnTo>
                  <a:lnTo>
                    <a:pt x="523" y="41"/>
                  </a:lnTo>
                  <a:lnTo>
                    <a:pt x="524" y="41"/>
                  </a:lnTo>
                  <a:lnTo>
                    <a:pt x="524" y="45"/>
                  </a:lnTo>
                  <a:lnTo>
                    <a:pt x="523" y="47"/>
                  </a:lnTo>
                  <a:lnTo>
                    <a:pt x="523" y="50"/>
                  </a:lnTo>
                  <a:lnTo>
                    <a:pt x="525" y="47"/>
                  </a:lnTo>
                  <a:lnTo>
                    <a:pt x="528" y="45"/>
                  </a:lnTo>
                  <a:lnTo>
                    <a:pt x="532" y="48"/>
                  </a:lnTo>
                  <a:lnTo>
                    <a:pt x="534" y="49"/>
                  </a:lnTo>
                  <a:lnTo>
                    <a:pt x="538" y="47"/>
                  </a:lnTo>
                  <a:lnTo>
                    <a:pt x="538" y="48"/>
                  </a:lnTo>
                  <a:lnTo>
                    <a:pt x="540" y="48"/>
                  </a:lnTo>
                  <a:lnTo>
                    <a:pt x="540" y="49"/>
                  </a:lnTo>
                  <a:lnTo>
                    <a:pt x="541" y="50"/>
                  </a:lnTo>
                  <a:lnTo>
                    <a:pt x="540" y="50"/>
                  </a:lnTo>
                  <a:lnTo>
                    <a:pt x="538" y="52"/>
                  </a:lnTo>
                  <a:lnTo>
                    <a:pt x="540" y="52"/>
                  </a:lnTo>
                  <a:lnTo>
                    <a:pt x="543" y="55"/>
                  </a:lnTo>
                  <a:lnTo>
                    <a:pt x="542" y="57"/>
                  </a:lnTo>
                  <a:lnTo>
                    <a:pt x="540" y="57"/>
                  </a:lnTo>
                  <a:lnTo>
                    <a:pt x="540" y="58"/>
                  </a:lnTo>
                  <a:lnTo>
                    <a:pt x="538" y="61"/>
                  </a:lnTo>
                  <a:lnTo>
                    <a:pt x="537" y="61"/>
                  </a:lnTo>
                  <a:lnTo>
                    <a:pt x="536" y="62"/>
                  </a:lnTo>
                  <a:lnTo>
                    <a:pt x="532" y="64"/>
                  </a:lnTo>
                  <a:lnTo>
                    <a:pt x="530" y="66"/>
                  </a:lnTo>
                  <a:lnTo>
                    <a:pt x="532" y="67"/>
                  </a:lnTo>
                  <a:lnTo>
                    <a:pt x="534" y="66"/>
                  </a:lnTo>
                  <a:lnTo>
                    <a:pt x="538" y="62"/>
                  </a:lnTo>
                  <a:lnTo>
                    <a:pt x="540" y="62"/>
                  </a:lnTo>
                  <a:lnTo>
                    <a:pt x="540" y="61"/>
                  </a:lnTo>
                  <a:lnTo>
                    <a:pt x="541" y="58"/>
                  </a:lnTo>
                  <a:lnTo>
                    <a:pt x="544" y="58"/>
                  </a:lnTo>
                  <a:lnTo>
                    <a:pt x="544" y="56"/>
                  </a:lnTo>
                  <a:lnTo>
                    <a:pt x="546" y="56"/>
                  </a:lnTo>
                  <a:lnTo>
                    <a:pt x="547" y="60"/>
                  </a:lnTo>
                  <a:lnTo>
                    <a:pt x="548" y="60"/>
                  </a:lnTo>
                  <a:lnTo>
                    <a:pt x="549" y="57"/>
                  </a:lnTo>
                  <a:lnTo>
                    <a:pt x="552" y="57"/>
                  </a:lnTo>
                  <a:lnTo>
                    <a:pt x="555" y="58"/>
                  </a:lnTo>
                  <a:lnTo>
                    <a:pt x="559" y="58"/>
                  </a:lnTo>
                  <a:lnTo>
                    <a:pt x="560" y="60"/>
                  </a:lnTo>
                  <a:lnTo>
                    <a:pt x="555" y="64"/>
                  </a:lnTo>
                  <a:lnTo>
                    <a:pt x="554" y="68"/>
                  </a:lnTo>
                  <a:lnTo>
                    <a:pt x="560" y="62"/>
                  </a:lnTo>
                  <a:lnTo>
                    <a:pt x="563" y="61"/>
                  </a:lnTo>
                  <a:lnTo>
                    <a:pt x="568" y="61"/>
                  </a:lnTo>
                  <a:lnTo>
                    <a:pt x="559" y="74"/>
                  </a:lnTo>
                  <a:lnTo>
                    <a:pt x="558" y="78"/>
                  </a:lnTo>
                  <a:lnTo>
                    <a:pt x="556" y="79"/>
                  </a:lnTo>
                  <a:lnTo>
                    <a:pt x="556" y="81"/>
                  </a:lnTo>
                  <a:lnTo>
                    <a:pt x="558" y="81"/>
                  </a:lnTo>
                  <a:lnTo>
                    <a:pt x="558" y="80"/>
                  </a:lnTo>
                  <a:lnTo>
                    <a:pt x="560" y="80"/>
                  </a:lnTo>
                  <a:lnTo>
                    <a:pt x="560" y="79"/>
                  </a:lnTo>
                  <a:lnTo>
                    <a:pt x="562" y="72"/>
                  </a:lnTo>
                  <a:lnTo>
                    <a:pt x="563" y="70"/>
                  </a:lnTo>
                  <a:lnTo>
                    <a:pt x="577" y="64"/>
                  </a:lnTo>
                  <a:lnTo>
                    <a:pt x="578" y="63"/>
                  </a:lnTo>
                  <a:lnTo>
                    <a:pt x="579" y="64"/>
                  </a:lnTo>
                  <a:lnTo>
                    <a:pt x="579" y="66"/>
                  </a:lnTo>
                  <a:lnTo>
                    <a:pt x="580" y="66"/>
                  </a:lnTo>
                  <a:lnTo>
                    <a:pt x="583" y="63"/>
                  </a:lnTo>
                  <a:lnTo>
                    <a:pt x="585" y="66"/>
                  </a:lnTo>
                  <a:lnTo>
                    <a:pt x="586" y="66"/>
                  </a:lnTo>
                  <a:lnTo>
                    <a:pt x="586" y="69"/>
                  </a:lnTo>
                  <a:lnTo>
                    <a:pt x="584" y="70"/>
                  </a:lnTo>
                  <a:lnTo>
                    <a:pt x="583" y="70"/>
                  </a:lnTo>
                  <a:lnTo>
                    <a:pt x="581" y="73"/>
                  </a:lnTo>
                  <a:lnTo>
                    <a:pt x="583" y="73"/>
                  </a:lnTo>
                  <a:lnTo>
                    <a:pt x="585" y="72"/>
                  </a:lnTo>
                  <a:lnTo>
                    <a:pt x="584" y="74"/>
                  </a:lnTo>
                  <a:lnTo>
                    <a:pt x="581" y="78"/>
                  </a:lnTo>
                  <a:lnTo>
                    <a:pt x="579" y="82"/>
                  </a:lnTo>
                  <a:lnTo>
                    <a:pt x="575" y="82"/>
                  </a:lnTo>
                  <a:lnTo>
                    <a:pt x="574" y="85"/>
                  </a:lnTo>
                  <a:lnTo>
                    <a:pt x="577" y="85"/>
                  </a:lnTo>
                  <a:lnTo>
                    <a:pt x="577" y="84"/>
                  </a:lnTo>
                  <a:lnTo>
                    <a:pt x="581" y="82"/>
                  </a:lnTo>
                  <a:lnTo>
                    <a:pt x="583" y="82"/>
                  </a:lnTo>
                  <a:lnTo>
                    <a:pt x="584" y="85"/>
                  </a:lnTo>
                  <a:lnTo>
                    <a:pt x="580" y="87"/>
                  </a:lnTo>
                  <a:lnTo>
                    <a:pt x="579" y="88"/>
                  </a:lnTo>
                  <a:lnTo>
                    <a:pt x="578" y="88"/>
                  </a:lnTo>
                  <a:lnTo>
                    <a:pt x="577" y="90"/>
                  </a:lnTo>
                  <a:lnTo>
                    <a:pt x="581" y="90"/>
                  </a:lnTo>
                  <a:lnTo>
                    <a:pt x="581" y="92"/>
                  </a:lnTo>
                  <a:lnTo>
                    <a:pt x="583" y="92"/>
                  </a:lnTo>
                  <a:lnTo>
                    <a:pt x="584" y="91"/>
                  </a:lnTo>
                  <a:lnTo>
                    <a:pt x="586" y="91"/>
                  </a:lnTo>
                  <a:lnTo>
                    <a:pt x="587" y="92"/>
                  </a:lnTo>
                  <a:lnTo>
                    <a:pt x="586" y="95"/>
                  </a:lnTo>
                  <a:lnTo>
                    <a:pt x="581" y="99"/>
                  </a:lnTo>
                  <a:lnTo>
                    <a:pt x="577" y="104"/>
                  </a:lnTo>
                  <a:lnTo>
                    <a:pt x="574" y="104"/>
                  </a:lnTo>
                  <a:lnTo>
                    <a:pt x="571" y="106"/>
                  </a:lnTo>
                  <a:lnTo>
                    <a:pt x="568" y="106"/>
                  </a:lnTo>
                  <a:lnTo>
                    <a:pt x="565" y="110"/>
                  </a:lnTo>
                  <a:lnTo>
                    <a:pt x="565" y="122"/>
                  </a:lnTo>
                  <a:lnTo>
                    <a:pt x="566" y="119"/>
                  </a:lnTo>
                  <a:lnTo>
                    <a:pt x="566" y="113"/>
                  </a:lnTo>
                  <a:lnTo>
                    <a:pt x="567" y="110"/>
                  </a:lnTo>
                  <a:lnTo>
                    <a:pt x="569" y="109"/>
                  </a:lnTo>
                  <a:lnTo>
                    <a:pt x="574" y="109"/>
                  </a:lnTo>
                  <a:lnTo>
                    <a:pt x="578" y="105"/>
                  </a:lnTo>
                  <a:lnTo>
                    <a:pt x="583" y="105"/>
                  </a:lnTo>
                  <a:lnTo>
                    <a:pt x="583" y="101"/>
                  </a:lnTo>
                  <a:lnTo>
                    <a:pt x="584" y="100"/>
                  </a:lnTo>
                  <a:lnTo>
                    <a:pt x="584" y="99"/>
                  </a:lnTo>
                  <a:lnTo>
                    <a:pt x="589" y="95"/>
                  </a:lnTo>
                  <a:lnTo>
                    <a:pt x="589" y="81"/>
                  </a:lnTo>
                  <a:lnTo>
                    <a:pt x="590" y="79"/>
                  </a:lnTo>
                  <a:lnTo>
                    <a:pt x="591" y="78"/>
                  </a:lnTo>
                  <a:lnTo>
                    <a:pt x="596" y="78"/>
                  </a:lnTo>
                  <a:lnTo>
                    <a:pt x="596" y="80"/>
                  </a:lnTo>
                  <a:lnTo>
                    <a:pt x="594" y="81"/>
                  </a:lnTo>
                  <a:lnTo>
                    <a:pt x="596" y="81"/>
                  </a:lnTo>
                  <a:lnTo>
                    <a:pt x="597" y="79"/>
                  </a:lnTo>
                  <a:lnTo>
                    <a:pt x="598" y="80"/>
                  </a:lnTo>
                  <a:lnTo>
                    <a:pt x="602" y="80"/>
                  </a:lnTo>
                  <a:lnTo>
                    <a:pt x="600" y="79"/>
                  </a:lnTo>
                  <a:lnTo>
                    <a:pt x="600" y="76"/>
                  </a:lnTo>
                  <a:lnTo>
                    <a:pt x="612" y="79"/>
                  </a:lnTo>
                  <a:lnTo>
                    <a:pt x="624" y="80"/>
                  </a:lnTo>
                  <a:lnTo>
                    <a:pt x="624" y="82"/>
                  </a:lnTo>
                  <a:lnTo>
                    <a:pt x="625" y="84"/>
                  </a:lnTo>
                  <a:lnTo>
                    <a:pt x="629" y="85"/>
                  </a:lnTo>
                  <a:lnTo>
                    <a:pt x="631" y="85"/>
                  </a:lnTo>
                  <a:lnTo>
                    <a:pt x="634" y="87"/>
                  </a:lnTo>
                  <a:lnTo>
                    <a:pt x="648" y="90"/>
                  </a:lnTo>
                  <a:lnTo>
                    <a:pt x="648" y="91"/>
                  </a:lnTo>
                  <a:lnTo>
                    <a:pt x="647" y="93"/>
                  </a:lnTo>
                  <a:lnTo>
                    <a:pt x="647" y="94"/>
                  </a:lnTo>
                  <a:lnTo>
                    <a:pt x="650" y="91"/>
                  </a:lnTo>
                  <a:lnTo>
                    <a:pt x="654" y="91"/>
                  </a:lnTo>
                  <a:lnTo>
                    <a:pt x="654" y="92"/>
                  </a:lnTo>
                  <a:lnTo>
                    <a:pt x="655" y="92"/>
                  </a:lnTo>
                  <a:lnTo>
                    <a:pt x="655" y="93"/>
                  </a:lnTo>
                  <a:lnTo>
                    <a:pt x="654" y="94"/>
                  </a:lnTo>
                  <a:lnTo>
                    <a:pt x="655" y="94"/>
                  </a:lnTo>
                  <a:lnTo>
                    <a:pt x="655" y="95"/>
                  </a:lnTo>
                  <a:lnTo>
                    <a:pt x="656" y="95"/>
                  </a:lnTo>
                  <a:lnTo>
                    <a:pt x="656" y="94"/>
                  </a:lnTo>
                  <a:lnTo>
                    <a:pt x="658" y="94"/>
                  </a:lnTo>
                  <a:lnTo>
                    <a:pt x="658" y="93"/>
                  </a:lnTo>
                  <a:lnTo>
                    <a:pt x="659" y="92"/>
                  </a:lnTo>
                  <a:lnTo>
                    <a:pt x="660" y="92"/>
                  </a:lnTo>
                  <a:lnTo>
                    <a:pt x="659" y="90"/>
                  </a:lnTo>
                  <a:lnTo>
                    <a:pt x="656" y="86"/>
                  </a:lnTo>
                  <a:lnTo>
                    <a:pt x="655" y="85"/>
                  </a:lnTo>
                  <a:lnTo>
                    <a:pt x="656" y="84"/>
                  </a:lnTo>
                  <a:lnTo>
                    <a:pt x="660" y="85"/>
                  </a:lnTo>
                  <a:lnTo>
                    <a:pt x="662" y="85"/>
                  </a:lnTo>
                  <a:lnTo>
                    <a:pt x="683" y="94"/>
                  </a:lnTo>
                  <a:lnTo>
                    <a:pt x="685" y="94"/>
                  </a:lnTo>
                  <a:lnTo>
                    <a:pt x="690" y="97"/>
                  </a:lnTo>
                  <a:lnTo>
                    <a:pt x="692" y="99"/>
                  </a:lnTo>
                  <a:lnTo>
                    <a:pt x="692" y="101"/>
                  </a:lnTo>
                  <a:lnTo>
                    <a:pt x="695" y="101"/>
                  </a:lnTo>
                  <a:lnTo>
                    <a:pt x="702" y="104"/>
                  </a:lnTo>
                  <a:lnTo>
                    <a:pt x="703" y="105"/>
                  </a:lnTo>
                  <a:lnTo>
                    <a:pt x="702" y="107"/>
                  </a:lnTo>
                  <a:lnTo>
                    <a:pt x="704" y="110"/>
                  </a:lnTo>
                  <a:lnTo>
                    <a:pt x="712" y="113"/>
                  </a:lnTo>
                  <a:lnTo>
                    <a:pt x="720" y="119"/>
                  </a:lnTo>
                  <a:lnTo>
                    <a:pt x="722" y="119"/>
                  </a:lnTo>
                  <a:lnTo>
                    <a:pt x="722" y="122"/>
                  </a:lnTo>
                  <a:lnTo>
                    <a:pt x="723" y="122"/>
                  </a:lnTo>
                  <a:lnTo>
                    <a:pt x="724" y="123"/>
                  </a:lnTo>
                  <a:lnTo>
                    <a:pt x="727" y="123"/>
                  </a:lnTo>
                  <a:lnTo>
                    <a:pt x="734" y="129"/>
                  </a:lnTo>
                  <a:lnTo>
                    <a:pt x="734" y="131"/>
                  </a:lnTo>
                  <a:lnTo>
                    <a:pt x="735" y="131"/>
                  </a:lnTo>
                  <a:lnTo>
                    <a:pt x="737" y="134"/>
                  </a:lnTo>
                  <a:lnTo>
                    <a:pt x="741" y="135"/>
                  </a:lnTo>
                  <a:lnTo>
                    <a:pt x="742" y="135"/>
                  </a:lnTo>
                  <a:lnTo>
                    <a:pt x="742" y="138"/>
                  </a:lnTo>
                  <a:lnTo>
                    <a:pt x="743" y="140"/>
                  </a:lnTo>
                  <a:lnTo>
                    <a:pt x="748" y="142"/>
                  </a:lnTo>
                  <a:lnTo>
                    <a:pt x="751" y="146"/>
                  </a:lnTo>
                  <a:lnTo>
                    <a:pt x="752" y="146"/>
                  </a:lnTo>
                  <a:lnTo>
                    <a:pt x="752" y="147"/>
                  </a:lnTo>
                  <a:lnTo>
                    <a:pt x="754" y="147"/>
                  </a:lnTo>
                  <a:lnTo>
                    <a:pt x="755" y="148"/>
                  </a:lnTo>
                  <a:lnTo>
                    <a:pt x="758" y="148"/>
                  </a:lnTo>
                  <a:lnTo>
                    <a:pt x="758" y="149"/>
                  </a:lnTo>
                  <a:lnTo>
                    <a:pt x="761" y="150"/>
                  </a:lnTo>
                  <a:lnTo>
                    <a:pt x="763" y="152"/>
                  </a:lnTo>
                  <a:lnTo>
                    <a:pt x="764" y="154"/>
                  </a:lnTo>
                  <a:lnTo>
                    <a:pt x="767" y="156"/>
                  </a:lnTo>
                  <a:lnTo>
                    <a:pt x="773" y="164"/>
                  </a:lnTo>
                  <a:lnTo>
                    <a:pt x="774" y="167"/>
                  </a:lnTo>
                  <a:lnTo>
                    <a:pt x="776" y="170"/>
                  </a:lnTo>
                  <a:lnTo>
                    <a:pt x="777" y="171"/>
                  </a:lnTo>
                  <a:lnTo>
                    <a:pt x="778" y="173"/>
                  </a:lnTo>
                  <a:lnTo>
                    <a:pt x="778" y="174"/>
                  </a:lnTo>
                  <a:lnTo>
                    <a:pt x="779" y="175"/>
                  </a:lnTo>
                  <a:lnTo>
                    <a:pt x="783" y="175"/>
                  </a:lnTo>
                  <a:lnTo>
                    <a:pt x="784" y="177"/>
                  </a:lnTo>
                  <a:lnTo>
                    <a:pt x="784" y="180"/>
                  </a:lnTo>
                  <a:lnTo>
                    <a:pt x="789" y="181"/>
                  </a:lnTo>
                  <a:lnTo>
                    <a:pt x="790" y="185"/>
                  </a:lnTo>
                  <a:lnTo>
                    <a:pt x="791" y="186"/>
                  </a:lnTo>
                  <a:lnTo>
                    <a:pt x="791" y="193"/>
                  </a:lnTo>
                  <a:lnTo>
                    <a:pt x="794" y="193"/>
                  </a:lnTo>
                  <a:lnTo>
                    <a:pt x="794" y="191"/>
                  </a:lnTo>
                  <a:lnTo>
                    <a:pt x="795" y="192"/>
                  </a:lnTo>
                  <a:lnTo>
                    <a:pt x="795" y="193"/>
                  </a:lnTo>
                  <a:lnTo>
                    <a:pt x="796" y="193"/>
                  </a:lnTo>
                  <a:lnTo>
                    <a:pt x="805" y="199"/>
                  </a:lnTo>
                  <a:lnTo>
                    <a:pt x="808" y="199"/>
                  </a:lnTo>
                  <a:lnTo>
                    <a:pt x="805" y="197"/>
                  </a:lnTo>
                  <a:lnTo>
                    <a:pt x="801" y="195"/>
                  </a:lnTo>
                  <a:lnTo>
                    <a:pt x="797" y="192"/>
                  </a:lnTo>
                  <a:lnTo>
                    <a:pt x="797" y="190"/>
                  </a:lnTo>
                  <a:lnTo>
                    <a:pt x="798" y="190"/>
                  </a:lnTo>
                  <a:lnTo>
                    <a:pt x="799" y="191"/>
                  </a:lnTo>
                  <a:lnTo>
                    <a:pt x="801" y="191"/>
                  </a:lnTo>
                  <a:lnTo>
                    <a:pt x="801" y="189"/>
                  </a:lnTo>
                  <a:lnTo>
                    <a:pt x="803" y="189"/>
                  </a:lnTo>
                  <a:lnTo>
                    <a:pt x="809" y="195"/>
                  </a:lnTo>
                  <a:lnTo>
                    <a:pt x="814" y="196"/>
                  </a:lnTo>
                  <a:lnTo>
                    <a:pt x="814" y="197"/>
                  </a:lnTo>
                  <a:lnTo>
                    <a:pt x="815" y="198"/>
                  </a:lnTo>
                  <a:lnTo>
                    <a:pt x="815" y="202"/>
                  </a:lnTo>
                  <a:lnTo>
                    <a:pt x="819" y="204"/>
                  </a:lnTo>
                  <a:lnTo>
                    <a:pt x="828" y="213"/>
                  </a:lnTo>
                  <a:lnTo>
                    <a:pt x="833" y="215"/>
                  </a:lnTo>
                  <a:lnTo>
                    <a:pt x="839" y="223"/>
                  </a:lnTo>
                  <a:lnTo>
                    <a:pt x="844" y="226"/>
                  </a:lnTo>
                  <a:lnTo>
                    <a:pt x="846" y="226"/>
                  </a:lnTo>
                  <a:lnTo>
                    <a:pt x="848" y="227"/>
                  </a:lnTo>
                  <a:lnTo>
                    <a:pt x="853" y="227"/>
                  </a:lnTo>
                  <a:lnTo>
                    <a:pt x="854" y="226"/>
                  </a:lnTo>
                  <a:lnTo>
                    <a:pt x="853" y="226"/>
                  </a:lnTo>
                  <a:lnTo>
                    <a:pt x="853" y="224"/>
                  </a:lnTo>
                  <a:lnTo>
                    <a:pt x="851" y="218"/>
                  </a:lnTo>
                  <a:lnTo>
                    <a:pt x="851" y="217"/>
                  </a:lnTo>
                  <a:lnTo>
                    <a:pt x="847" y="214"/>
                  </a:lnTo>
                  <a:lnTo>
                    <a:pt x="848" y="213"/>
                  </a:lnTo>
                  <a:lnTo>
                    <a:pt x="850" y="213"/>
                  </a:lnTo>
                  <a:lnTo>
                    <a:pt x="857" y="220"/>
                  </a:lnTo>
                  <a:lnTo>
                    <a:pt x="857" y="224"/>
                  </a:lnTo>
                  <a:lnTo>
                    <a:pt x="859" y="229"/>
                  </a:lnTo>
                  <a:lnTo>
                    <a:pt x="860" y="230"/>
                  </a:lnTo>
                  <a:lnTo>
                    <a:pt x="861" y="230"/>
                  </a:lnTo>
                  <a:lnTo>
                    <a:pt x="861" y="232"/>
                  </a:lnTo>
                  <a:lnTo>
                    <a:pt x="863" y="232"/>
                  </a:lnTo>
                  <a:lnTo>
                    <a:pt x="865" y="235"/>
                  </a:lnTo>
                  <a:lnTo>
                    <a:pt x="866" y="238"/>
                  </a:lnTo>
                  <a:lnTo>
                    <a:pt x="872" y="242"/>
                  </a:lnTo>
                  <a:lnTo>
                    <a:pt x="872" y="244"/>
                  </a:lnTo>
                  <a:lnTo>
                    <a:pt x="873" y="242"/>
                  </a:lnTo>
                  <a:lnTo>
                    <a:pt x="875" y="242"/>
                  </a:lnTo>
                  <a:lnTo>
                    <a:pt x="875" y="244"/>
                  </a:lnTo>
                  <a:lnTo>
                    <a:pt x="877" y="246"/>
                  </a:lnTo>
                  <a:lnTo>
                    <a:pt x="877" y="248"/>
                  </a:lnTo>
                  <a:lnTo>
                    <a:pt x="876" y="250"/>
                  </a:lnTo>
                  <a:lnTo>
                    <a:pt x="873" y="250"/>
                  </a:lnTo>
                  <a:lnTo>
                    <a:pt x="876" y="254"/>
                  </a:lnTo>
                  <a:lnTo>
                    <a:pt x="879" y="259"/>
                  </a:lnTo>
                  <a:lnTo>
                    <a:pt x="881" y="260"/>
                  </a:lnTo>
                  <a:lnTo>
                    <a:pt x="882" y="260"/>
                  </a:lnTo>
                  <a:lnTo>
                    <a:pt x="884" y="257"/>
                  </a:lnTo>
                  <a:lnTo>
                    <a:pt x="884" y="256"/>
                  </a:lnTo>
                  <a:lnTo>
                    <a:pt x="883" y="256"/>
                  </a:lnTo>
                  <a:lnTo>
                    <a:pt x="883" y="254"/>
                  </a:lnTo>
                  <a:lnTo>
                    <a:pt x="884" y="253"/>
                  </a:lnTo>
                  <a:lnTo>
                    <a:pt x="888" y="253"/>
                  </a:lnTo>
                  <a:lnTo>
                    <a:pt x="888" y="256"/>
                  </a:lnTo>
                  <a:lnTo>
                    <a:pt x="889" y="257"/>
                  </a:lnTo>
                  <a:lnTo>
                    <a:pt x="889" y="258"/>
                  </a:lnTo>
                  <a:lnTo>
                    <a:pt x="894" y="263"/>
                  </a:lnTo>
                  <a:lnTo>
                    <a:pt x="895" y="263"/>
                  </a:lnTo>
                  <a:lnTo>
                    <a:pt x="898" y="261"/>
                  </a:lnTo>
                  <a:lnTo>
                    <a:pt x="901" y="263"/>
                  </a:lnTo>
                  <a:lnTo>
                    <a:pt x="902" y="266"/>
                  </a:lnTo>
                  <a:lnTo>
                    <a:pt x="904" y="271"/>
                  </a:lnTo>
                  <a:lnTo>
                    <a:pt x="904" y="275"/>
                  </a:lnTo>
                  <a:lnTo>
                    <a:pt x="902" y="279"/>
                  </a:lnTo>
                  <a:lnTo>
                    <a:pt x="901" y="281"/>
                  </a:lnTo>
                  <a:lnTo>
                    <a:pt x="901" y="282"/>
                  </a:lnTo>
                  <a:lnTo>
                    <a:pt x="902" y="283"/>
                  </a:lnTo>
                  <a:lnTo>
                    <a:pt x="902" y="291"/>
                  </a:lnTo>
                  <a:lnTo>
                    <a:pt x="904" y="291"/>
                  </a:lnTo>
                  <a:lnTo>
                    <a:pt x="907" y="294"/>
                  </a:lnTo>
                  <a:lnTo>
                    <a:pt x="908" y="296"/>
                  </a:lnTo>
                  <a:lnTo>
                    <a:pt x="908" y="309"/>
                  </a:lnTo>
                  <a:lnTo>
                    <a:pt x="907" y="312"/>
                  </a:lnTo>
                  <a:lnTo>
                    <a:pt x="907" y="315"/>
                  </a:lnTo>
                  <a:lnTo>
                    <a:pt x="908" y="318"/>
                  </a:lnTo>
                  <a:lnTo>
                    <a:pt x="912" y="320"/>
                  </a:lnTo>
                  <a:lnTo>
                    <a:pt x="914" y="318"/>
                  </a:lnTo>
                  <a:lnTo>
                    <a:pt x="915" y="318"/>
                  </a:lnTo>
                  <a:lnTo>
                    <a:pt x="916" y="319"/>
                  </a:lnTo>
                  <a:lnTo>
                    <a:pt x="916" y="320"/>
                  </a:lnTo>
                  <a:lnTo>
                    <a:pt x="917" y="320"/>
                  </a:lnTo>
                  <a:lnTo>
                    <a:pt x="917" y="322"/>
                  </a:lnTo>
                  <a:lnTo>
                    <a:pt x="916" y="324"/>
                  </a:lnTo>
                  <a:lnTo>
                    <a:pt x="916" y="326"/>
                  </a:lnTo>
                  <a:lnTo>
                    <a:pt x="917" y="327"/>
                  </a:lnTo>
                  <a:lnTo>
                    <a:pt x="919" y="330"/>
                  </a:lnTo>
                  <a:lnTo>
                    <a:pt x="917" y="331"/>
                  </a:lnTo>
                  <a:lnTo>
                    <a:pt x="917" y="332"/>
                  </a:lnTo>
                  <a:lnTo>
                    <a:pt x="916" y="332"/>
                  </a:lnTo>
                  <a:lnTo>
                    <a:pt x="916" y="340"/>
                  </a:lnTo>
                  <a:lnTo>
                    <a:pt x="917" y="342"/>
                  </a:lnTo>
                  <a:lnTo>
                    <a:pt x="916" y="343"/>
                  </a:lnTo>
                  <a:lnTo>
                    <a:pt x="914" y="343"/>
                  </a:lnTo>
                  <a:lnTo>
                    <a:pt x="913" y="344"/>
                  </a:lnTo>
                  <a:lnTo>
                    <a:pt x="915" y="346"/>
                  </a:lnTo>
                  <a:lnTo>
                    <a:pt x="915" y="347"/>
                  </a:lnTo>
                  <a:lnTo>
                    <a:pt x="913" y="353"/>
                  </a:lnTo>
                  <a:lnTo>
                    <a:pt x="909" y="363"/>
                  </a:lnTo>
                  <a:lnTo>
                    <a:pt x="908" y="365"/>
                  </a:lnTo>
                  <a:lnTo>
                    <a:pt x="903" y="370"/>
                  </a:lnTo>
                  <a:lnTo>
                    <a:pt x="898" y="377"/>
                  </a:lnTo>
                  <a:lnTo>
                    <a:pt x="896" y="380"/>
                  </a:lnTo>
                  <a:lnTo>
                    <a:pt x="895" y="382"/>
                  </a:lnTo>
                  <a:lnTo>
                    <a:pt x="894" y="383"/>
                  </a:lnTo>
                  <a:lnTo>
                    <a:pt x="894" y="385"/>
                  </a:lnTo>
                  <a:lnTo>
                    <a:pt x="891" y="385"/>
                  </a:lnTo>
                  <a:lnTo>
                    <a:pt x="891" y="386"/>
                  </a:lnTo>
                  <a:lnTo>
                    <a:pt x="890" y="387"/>
                  </a:lnTo>
                  <a:lnTo>
                    <a:pt x="890" y="392"/>
                  </a:lnTo>
                  <a:lnTo>
                    <a:pt x="889" y="393"/>
                  </a:lnTo>
                  <a:lnTo>
                    <a:pt x="888" y="395"/>
                  </a:lnTo>
                  <a:lnTo>
                    <a:pt x="886" y="395"/>
                  </a:lnTo>
                  <a:lnTo>
                    <a:pt x="885" y="396"/>
                  </a:lnTo>
                  <a:lnTo>
                    <a:pt x="884" y="400"/>
                  </a:lnTo>
                  <a:lnTo>
                    <a:pt x="883" y="401"/>
                  </a:lnTo>
                  <a:lnTo>
                    <a:pt x="881" y="402"/>
                  </a:lnTo>
                  <a:lnTo>
                    <a:pt x="878" y="406"/>
                  </a:lnTo>
                  <a:lnTo>
                    <a:pt x="877" y="407"/>
                  </a:lnTo>
                  <a:lnTo>
                    <a:pt x="872" y="408"/>
                  </a:lnTo>
                  <a:lnTo>
                    <a:pt x="863" y="418"/>
                  </a:lnTo>
                  <a:lnTo>
                    <a:pt x="853" y="423"/>
                  </a:lnTo>
                  <a:lnTo>
                    <a:pt x="852" y="425"/>
                  </a:lnTo>
                  <a:lnTo>
                    <a:pt x="850" y="425"/>
                  </a:lnTo>
                  <a:lnTo>
                    <a:pt x="847" y="428"/>
                  </a:lnTo>
                  <a:lnTo>
                    <a:pt x="836" y="430"/>
                  </a:lnTo>
                  <a:lnTo>
                    <a:pt x="834" y="433"/>
                  </a:lnTo>
                  <a:lnTo>
                    <a:pt x="832" y="435"/>
                  </a:lnTo>
                  <a:lnTo>
                    <a:pt x="820" y="438"/>
                  </a:lnTo>
                  <a:lnTo>
                    <a:pt x="816" y="437"/>
                  </a:lnTo>
                  <a:lnTo>
                    <a:pt x="815" y="437"/>
                  </a:lnTo>
                  <a:lnTo>
                    <a:pt x="815" y="438"/>
                  </a:lnTo>
                  <a:lnTo>
                    <a:pt x="798" y="443"/>
                  </a:lnTo>
                  <a:lnTo>
                    <a:pt x="785" y="441"/>
                  </a:lnTo>
                  <a:lnTo>
                    <a:pt x="772" y="439"/>
                  </a:lnTo>
                  <a:lnTo>
                    <a:pt x="767" y="437"/>
                  </a:lnTo>
                  <a:lnTo>
                    <a:pt x="760" y="436"/>
                  </a:lnTo>
                  <a:lnTo>
                    <a:pt x="757" y="433"/>
                  </a:lnTo>
                  <a:lnTo>
                    <a:pt x="752" y="429"/>
                  </a:lnTo>
                  <a:lnTo>
                    <a:pt x="748" y="428"/>
                  </a:lnTo>
                  <a:lnTo>
                    <a:pt x="745" y="425"/>
                  </a:lnTo>
                  <a:lnTo>
                    <a:pt x="728" y="419"/>
                  </a:lnTo>
                  <a:lnTo>
                    <a:pt x="726" y="419"/>
                  </a:lnTo>
                  <a:lnTo>
                    <a:pt x="722" y="418"/>
                  </a:lnTo>
                  <a:lnTo>
                    <a:pt x="717" y="419"/>
                  </a:lnTo>
                  <a:lnTo>
                    <a:pt x="712" y="417"/>
                  </a:lnTo>
                  <a:lnTo>
                    <a:pt x="708" y="418"/>
                  </a:lnTo>
                  <a:lnTo>
                    <a:pt x="703" y="416"/>
                  </a:lnTo>
                  <a:lnTo>
                    <a:pt x="681" y="411"/>
                  </a:lnTo>
                  <a:lnTo>
                    <a:pt x="677" y="408"/>
                  </a:lnTo>
                  <a:lnTo>
                    <a:pt x="672" y="408"/>
                  </a:lnTo>
                  <a:lnTo>
                    <a:pt x="665" y="405"/>
                  </a:lnTo>
                  <a:lnTo>
                    <a:pt x="662" y="401"/>
                  </a:lnTo>
                  <a:lnTo>
                    <a:pt x="658" y="400"/>
                  </a:lnTo>
                  <a:lnTo>
                    <a:pt x="656" y="398"/>
                  </a:lnTo>
                  <a:lnTo>
                    <a:pt x="643" y="386"/>
                  </a:lnTo>
                  <a:lnTo>
                    <a:pt x="640" y="385"/>
                  </a:lnTo>
                  <a:lnTo>
                    <a:pt x="637" y="386"/>
                  </a:lnTo>
                  <a:lnTo>
                    <a:pt x="634" y="389"/>
                  </a:lnTo>
                  <a:lnTo>
                    <a:pt x="630" y="392"/>
                  </a:lnTo>
                  <a:lnTo>
                    <a:pt x="624" y="392"/>
                  </a:lnTo>
                  <a:lnTo>
                    <a:pt x="623" y="387"/>
                  </a:lnTo>
                  <a:lnTo>
                    <a:pt x="622" y="385"/>
                  </a:lnTo>
                  <a:lnTo>
                    <a:pt x="622" y="382"/>
                  </a:lnTo>
                  <a:lnTo>
                    <a:pt x="623" y="381"/>
                  </a:lnTo>
                  <a:lnTo>
                    <a:pt x="624" y="381"/>
                  </a:lnTo>
                  <a:lnTo>
                    <a:pt x="627" y="382"/>
                  </a:lnTo>
                  <a:lnTo>
                    <a:pt x="628" y="381"/>
                  </a:lnTo>
                  <a:lnTo>
                    <a:pt x="629" y="381"/>
                  </a:lnTo>
                  <a:lnTo>
                    <a:pt x="629" y="380"/>
                  </a:lnTo>
                  <a:lnTo>
                    <a:pt x="628" y="379"/>
                  </a:lnTo>
                  <a:lnTo>
                    <a:pt x="627" y="380"/>
                  </a:lnTo>
                  <a:lnTo>
                    <a:pt x="628" y="380"/>
                  </a:lnTo>
                  <a:lnTo>
                    <a:pt x="627" y="381"/>
                  </a:lnTo>
                  <a:lnTo>
                    <a:pt x="618" y="377"/>
                  </a:lnTo>
                  <a:lnTo>
                    <a:pt x="615" y="377"/>
                  </a:lnTo>
                  <a:lnTo>
                    <a:pt x="615" y="376"/>
                  </a:lnTo>
                  <a:lnTo>
                    <a:pt x="614" y="376"/>
                  </a:lnTo>
                  <a:lnTo>
                    <a:pt x="612" y="379"/>
                  </a:lnTo>
                  <a:lnTo>
                    <a:pt x="611" y="379"/>
                  </a:lnTo>
                  <a:lnTo>
                    <a:pt x="610" y="377"/>
                  </a:lnTo>
                  <a:lnTo>
                    <a:pt x="612" y="375"/>
                  </a:lnTo>
                  <a:lnTo>
                    <a:pt x="612" y="374"/>
                  </a:lnTo>
                  <a:lnTo>
                    <a:pt x="614" y="371"/>
                  </a:lnTo>
                  <a:lnTo>
                    <a:pt x="614" y="368"/>
                  </a:lnTo>
                  <a:lnTo>
                    <a:pt x="612" y="368"/>
                  </a:lnTo>
                  <a:lnTo>
                    <a:pt x="612" y="370"/>
                  </a:lnTo>
                  <a:lnTo>
                    <a:pt x="611" y="371"/>
                  </a:lnTo>
                  <a:lnTo>
                    <a:pt x="610" y="374"/>
                  </a:lnTo>
                  <a:lnTo>
                    <a:pt x="609" y="375"/>
                  </a:lnTo>
                  <a:lnTo>
                    <a:pt x="609" y="376"/>
                  </a:lnTo>
                  <a:lnTo>
                    <a:pt x="604" y="376"/>
                  </a:lnTo>
                  <a:lnTo>
                    <a:pt x="602" y="374"/>
                  </a:lnTo>
                  <a:lnTo>
                    <a:pt x="600" y="374"/>
                  </a:lnTo>
                  <a:lnTo>
                    <a:pt x="600" y="376"/>
                  </a:lnTo>
                  <a:lnTo>
                    <a:pt x="598" y="374"/>
                  </a:lnTo>
                  <a:lnTo>
                    <a:pt x="597" y="369"/>
                  </a:lnTo>
                  <a:lnTo>
                    <a:pt x="597" y="368"/>
                  </a:lnTo>
                  <a:lnTo>
                    <a:pt x="593" y="364"/>
                  </a:lnTo>
                  <a:lnTo>
                    <a:pt x="591" y="364"/>
                  </a:lnTo>
                  <a:lnTo>
                    <a:pt x="591" y="363"/>
                  </a:lnTo>
                  <a:lnTo>
                    <a:pt x="590" y="361"/>
                  </a:lnTo>
                  <a:lnTo>
                    <a:pt x="589" y="362"/>
                  </a:lnTo>
                  <a:lnTo>
                    <a:pt x="590" y="363"/>
                  </a:lnTo>
                  <a:lnTo>
                    <a:pt x="590" y="365"/>
                  </a:lnTo>
                  <a:lnTo>
                    <a:pt x="587" y="363"/>
                  </a:lnTo>
                  <a:lnTo>
                    <a:pt x="586" y="361"/>
                  </a:lnTo>
                  <a:lnTo>
                    <a:pt x="586" y="364"/>
                  </a:lnTo>
                  <a:lnTo>
                    <a:pt x="587" y="367"/>
                  </a:lnTo>
                  <a:lnTo>
                    <a:pt x="586" y="367"/>
                  </a:lnTo>
                  <a:lnTo>
                    <a:pt x="587" y="368"/>
                  </a:lnTo>
                  <a:lnTo>
                    <a:pt x="587" y="369"/>
                  </a:lnTo>
                  <a:lnTo>
                    <a:pt x="589" y="370"/>
                  </a:lnTo>
                  <a:lnTo>
                    <a:pt x="587" y="370"/>
                  </a:lnTo>
                  <a:lnTo>
                    <a:pt x="586" y="368"/>
                  </a:lnTo>
                  <a:lnTo>
                    <a:pt x="585" y="368"/>
                  </a:lnTo>
                  <a:lnTo>
                    <a:pt x="585" y="369"/>
                  </a:lnTo>
                  <a:lnTo>
                    <a:pt x="587" y="370"/>
                  </a:lnTo>
                  <a:lnTo>
                    <a:pt x="587" y="371"/>
                  </a:lnTo>
                  <a:lnTo>
                    <a:pt x="586" y="373"/>
                  </a:lnTo>
                  <a:lnTo>
                    <a:pt x="585" y="371"/>
                  </a:lnTo>
                  <a:lnTo>
                    <a:pt x="568" y="358"/>
                  </a:lnTo>
                  <a:lnTo>
                    <a:pt x="558" y="345"/>
                  </a:lnTo>
                  <a:lnTo>
                    <a:pt x="556" y="344"/>
                  </a:lnTo>
                  <a:lnTo>
                    <a:pt x="556" y="342"/>
                  </a:lnTo>
                  <a:lnTo>
                    <a:pt x="555" y="339"/>
                  </a:lnTo>
                  <a:lnTo>
                    <a:pt x="556" y="338"/>
                  </a:lnTo>
                  <a:lnTo>
                    <a:pt x="556" y="336"/>
                  </a:lnTo>
                  <a:lnTo>
                    <a:pt x="558" y="334"/>
                  </a:lnTo>
                  <a:lnTo>
                    <a:pt x="561" y="334"/>
                  </a:lnTo>
                  <a:lnTo>
                    <a:pt x="563" y="333"/>
                  </a:lnTo>
                  <a:lnTo>
                    <a:pt x="561" y="332"/>
                  </a:lnTo>
                  <a:lnTo>
                    <a:pt x="556" y="333"/>
                  </a:lnTo>
                  <a:lnTo>
                    <a:pt x="555" y="333"/>
                  </a:lnTo>
                  <a:lnTo>
                    <a:pt x="553" y="332"/>
                  </a:lnTo>
                  <a:lnTo>
                    <a:pt x="549" y="328"/>
                  </a:lnTo>
                  <a:lnTo>
                    <a:pt x="541" y="328"/>
                  </a:lnTo>
                  <a:lnTo>
                    <a:pt x="541" y="327"/>
                  </a:lnTo>
                  <a:lnTo>
                    <a:pt x="538" y="326"/>
                  </a:lnTo>
                  <a:lnTo>
                    <a:pt x="538" y="325"/>
                  </a:lnTo>
                  <a:lnTo>
                    <a:pt x="536" y="326"/>
                  </a:lnTo>
                  <a:lnTo>
                    <a:pt x="535" y="326"/>
                  </a:lnTo>
                  <a:lnTo>
                    <a:pt x="534" y="327"/>
                  </a:lnTo>
                  <a:lnTo>
                    <a:pt x="532" y="327"/>
                  </a:lnTo>
                  <a:lnTo>
                    <a:pt x="530" y="326"/>
                  </a:lnTo>
                  <a:lnTo>
                    <a:pt x="525" y="327"/>
                  </a:lnTo>
                  <a:lnTo>
                    <a:pt x="524" y="327"/>
                  </a:lnTo>
                  <a:lnTo>
                    <a:pt x="519" y="325"/>
                  </a:lnTo>
                  <a:lnTo>
                    <a:pt x="517" y="325"/>
                  </a:lnTo>
                  <a:lnTo>
                    <a:pt x="516" y="326"/>
                  </a:lnTo>
                  <a:lnTo>
                    <a:pt x="519" y="326"/>
                  </a:lnTo>
                  <a:lnTo>
                    <a:pt x="518" y="327"/>
                  </a:lnTo>
                  <a:lnTo>
                    <a:pt x="518" y="330"/>
                  </a:lnTo>
                  <a:lnTo>
                    <a:pt x="527" y="330"/>
                  </a:lnTo>
                  <a:lnTo>
                    <a:pt x="530" y="328"/>
                  </a:lnTo>
                  <a:lnTo>
                    <a:pt x="532" y="328"/>
                  </a:lnTo>
                  <a:lnTo>
                    <a:pt x="534" y="330"/>
                  </a:lnTo>
                  <a:lnTo>
                    <a:pt x="535" y="332"/>
                  </a:lnTo>
                  <a:lnTo>
                    <a:pt x="536" y="333"/>
                  </a:lnTo>
                  <a:lnTo>
                    <a:pt x="537" y="336"/>
                  </a:lnTo>
                  <a:lnTo>
                    <a:pt x="536" y="334"/>
                  </a:lnTo>
                  <a:lnTo>
                    <a:pt x="534" y="334"/>
                  </a:lnTo>
                  <a:lnTo>
                    <a:pt x="535" y="337"/>
                  </a:lnTo>
                  <a:lnTo>
                    <a:pt x="540" y="337"/>
                  </a:lnTo>
                  <a:lnTo>
                    <a:pt x="543" y="339"/>
                  </a:lnTo>
                  <a:lnTo>
                    <a:pt x="544" y="342"/>
                  </a:lnTo>
                  <a:lnTo>
                    <a:pt x="546" y="343"/>
                  </a:lnTo>
                  <a:lnTo>
                    <a:pt x="546" y="345"/>
                  </a:lnTo>
                  <a:lnTo>
                    <a:pt x="544" y="347"/>
                  </a:lnTo>
                  <a:lnTo>
                    <a:pt x="543" y="349"/>
                  </a:lnTo>
                  <a:lnTo>
                    <a:pt x="540" y="347"/>
                  </a:lnTo>
                  <a:lnTo>
                    <a:pt x="538" y="347"/>
                  </a:lnTo>
                  <a:lnTo>
                    <a:pt x="540" y="349"/>
                  </a:lnTo>
                  <a:lnTo>
                    <a:pt x="542" y="349"/>
                  </a:lnTo>
                  <a:lnTo>
                    <a:pt x="543" y="350"/>
                  </a:lnTo>
                  <a:lnTo>
                    <a:pt x="542" y="350"/>
                  </a:lnTo>
                  <a:lnTo>
                    <a:pt x="542" y="353"/>
                  </a:lnTo>
                  <a:lnTo>
                    <a:pt x="540" y="355"/>
                  </a:lnTo>
                  <a:lnTo>
                    <a:pt x="544" y="355"/>
                  </a:lnTo>
                  <a:lnTo>
                    <a:pt x="546" y="356"/>
                  </a:lnTo>
                  <a:lnTo>
                    <a:pt x="547" y="358"/>
                  </a:lnTo>
                  <a:lnTo>
                    <a:pt x="549" y="359"/>
                  </a:lnTo>
                  <a:lnTo>
                    <a:pt x="550" y="361"/>
                  </a:lnTo>
                  <a:lnTo>
                    <a:pt x="550" y="363"/>
                  </a:lnTo>
                  <a:lnTo>
                    <a:pt x="552" y="364"/>
                  </a:lnTo>
                  <a:lnTo>
                    <a:pt x="560" y="367"/>
                  </a:lnTo>
                  <a:lnTo>
                    <a:pt x="561" y="368"/>
                  </a:lnTo>
                  <a:lnTo>
                    <a:pt x="561" y="371"/>
                  </a:lnTo>
                  <a:lnTo>
                    <a:pt x="556" y="371"/>
                  </a:lnTo>
                  <a:lnTo>
                    <a:pt x="554" y="370"/>
                  </a:lnTo>
                  <a:lnTo>
                    <a:pt x="563" y="376"/>
                  </a:lnTo>
                  <a:lnTo>
                    <a:pt x="572" y="376"/>
                  </a:lnTo>
                  <a:lnTo>
                    <a:pt x="578" y="380"/>
                  </a:lnTo>
                  <a:lnTo>
                    <a:pt x="578" y="382"/>
                  </a:lnTo>
                  <a:lnTo>
                    <a:pt x="577" y="382"/>
                  </a:lnTo>
                  <a:lnTo>
                    <a:pt x="574" y="381"/>
                  </a:lnTo>
                  <a:lnTo>
                    <a:pt x="571" y="380"/>
                  </a:lnTo>
                  <a:lnTo>
                    <a:pt x="569" y="380"/>
                  </a:lnTo>
                  <a:lnTo>
                    <a:pt x="568" y="382"/>
                  </a:lnTo>
                  <a:lnTo>
                    <a:pt x="568" y="385"/>
                  </a:lnTo>
                  <a:lnTo>
                    <a:pt x="566" y="387"/>
                  </a:lnTo>
                  <a:lnTo>
                    <a:pt x="565" y="387"/>
                  </a:lnTo>
                  <a:lnTo>
                    <a:pt x="563" y="386"/>
                  </a:lnTo>
                  <a:lnTo>
                    <a:pt x="559" y="386"/>
                  </a:lnTo>
                  <a:lnTo>
                    <a:pt x="560" y="388"/>
                  </a:lnTo>
                  <a:lnTo>
                    <a:pt x="568" y="388"/>
                  </a:lnTo>
                  <a:lnTo>
                    <a:pt x="568" y="386"/>
                  </a:lnTo>
                  <a:lnTo>
                    <a:pt x="573" y="386"/>
                  </a:lnTo>
                  <a:lnTo>
                    <a:pt x="573" y="383"/>
                  </a:lnTo>
                  <a:lnTo>
                    <a:pt x="575" y="383"/>
                  </a:lnTo>
                  <a:lnTo>
                    <a:pt x="583" y="387"/>
                  </a:lnTo>
                  <a:lnTo>
                    <a:pt x="584" y="388"/>
                  </a:lnTo>
                  <a:lnTo>
                    <a:pt x="584" y="390"/>
                  </a:lnTo>
                  <a:lnTo>
                    <a:pt x="585" y="390"/>
                  </a:lnTo>
                  <a:lnTo>
                    <a:pt x="587" y="393"/>
                  </a:lnTo>
                  <a:lnTo>
                    <a:pt x="585" y="394"/>
                  </a:lnTo>
                  <a:lnTo>
                    <a:pt x="572" y="388"/>
                  </a:lnTo>
                  <a:lnTo>
                    <a:pt x="571" y="389"/>
                  </a:lnTo>
                  <a:lnTo>
                    <a:pt x="572" y="389"/>
                  </a:lnTo>
                  <a:lnTo>
                    <a:pt x="572" y="390"/>
                  </a:lnTo>
                  <a:lnTo>
                    <a:pt x="567" y="390"/>
                  </a:lnTo>
                  <a:lnTo>
                    <a:pt x="566" y="392"/>
                  </a:lnTo>
                  <a:lnTo>
                    <a:pt x="563" y="392"/>
                  </a:lnTo>
                  <a:lnTo>
                    <a:pt x="562" y="393"/>
                  </a:lnTo>
                  <a:lnTo>
                    <a:pt x="563" y="395"/>
                  </a:lnTo>
                  <a:lnTo>
                    <a:pt x="568" y="395"/>
                  </a:lnTo>
                  <a:lnTo>
                    <a:pt x="572" y="393"/>
                  </a:lnTo>
                  <a:lnTo>
                    <a:pt x="574" y="393"/>
                  </a:lnTo>
                  <a:lnTo>
                    <a:pt x="577" y="394"/>
                  </a:lnTo>
                  <a:lnTo>
                    <a:pt x="577" y="395"/>
                  </a:lnTo>
                  <a:lnTo>
                    <a:pt x="578" y="396"/>
                  </a:lnTo>
                  <a:lnTo>
                    <a:pt x="578" y="398"/>
                  </a:lnTo>
                  <a:lnTo>
                    <a:pt x="579" y="399"/>
                  </a:lnTo>
                  <a:lnTo>
                    <a:pt x="586" y="400"/>
                  </a:lnTo>
                  <a:lnTo>
                    <a:pt x="587" y="399"/>
                  </a:lnTo>
                  <a:lnTo>
                    <a:pt x="589" y="396"/>
                  </a:lnTo>
                  <a:lnTo>
                    <a:pt x="590" y="396"/>
                  </a:lnTo>
                  <a:lnTo>
                    <a:pt x="591" y="398"/>
                  </a:lnTo>
                  <a:lnTo>
                    <a:pt x="591" y="400"/>
                  </a:lnTo>
                  <a:lnTo>
                    <a:pt x="589" y="400"/>
                  </a:lnTo>
                  <a:lnTo>
                    <a:pt x="591" y="401"/>
                  </a:lnTo>
                  <a:lnTo>
                    <a:pt x="594" y="402"/>
                  </a:lnTo>
                  <a:lnTo>
                    <a:pt x="596" y="404"/>
                  </a:lnTo>
                  <a:lnTo>
                    <a:pt x="593" y="405"/>
                  </a:lnTo>
                  <a:lnTo>
                    <a:pt x="589" y="405"/>
                  </a:lnTo>
                  <a:lnTo>
                    <a:pt x="586" y="406"/>
                  </a:lnTo>
                  <a:lnTo>
                    <a:pt x="587" y="407"/>
                  </a:lnTo>
                  <a:lnTo>
                    <a:pt x="591" y="410"/>
                  </a:lnTo>
                  <a:lnTo>
                    <a:pt x="593" y="411"/>
                  </a:lnTo>
                  <a:lnTo>
                    <a:pt x="591" y="413"/>
                  </a:lnTo>
                  <a:lnTo>
                    <a:pt x="584" y="412"/>
                  </a:lnTo>
                  <a:lnTo>
                    <a:pt x="580" y="413"/>
                  </a:lnTo>
                  <a:lnTo>
                    <a:pt x="579" y="413"/>
                  </a:lnTo>
                  <a:lnTo>
                    <a:pt x="578" y="416"/>
                  </a:lnTo>
                  <a:lnTo>
                    <a:pt x="585" y="416"/>
                  </a:lnTo>
                  <a:lnTo>
                    <a:pt x="590" y="414"/>
                  </a:lnTo>
                  <a:lnTo>
                    <a:pt x="591" y="416"/>
                  </a:lnTo>
                  <a:lnTo>
                    <a:pt x="591" y="417"/>
                  </a:lnTo>
                  <a:lnTo>
                    <a:pt x="600" y="420"/>
                  </a:lnTo>
                  <a:lnTo>
                    <a:pt x="602" y="422"/>
                  </a:lnTo>
                  <a:lnTo>
                    <a:pt x="602" y="425"/>
                  </a:lnTo>
                  <a:lnTo>
                    <a:pt x="603" y="424"/>
                  </a:lnTo>
                  <a:lnTo>
                    <a:pt x="604" y="424"/>
                  </a:lnTo>
                  <a:lnTo>
                    <a:pt x="604" y="423"/>
                  </a:lnTo>
                  <a:lnTo>
                    <a:pt x="611" y="423"/>
                  </a:lnTo>
                  <a:lnTo>
                    <a:pt x="611" y="424"/>
                  </a:lnTo>
                  <a:lnTo>
                    <a:pt x="612" y="425"/>
                  </a:lnTo>
                  <a:lnTo>
                    <a:pt x="614" y="425"/>
                  </a:lnTo>
                  <a:lnTo>
                    <a:pt x="614" y="426"/>
                  </a:lnTo>
                  <a:lnTo>
                    <a:pt x="612" y="428"/>
                  </a:lnTo>
                  <a:lnTo>
                    <a:pt x="612" y="429"/>
                  </a:lnTo>
                  <a:lnTo>
                    <a:pt x="614" y="429"/>
                  </a:lnTo>
                  <a:lnTo>
                    <a:pt x="616" y="430"/>
                  </a:lnTo>
                  <a:lnTo>
                    <a:pt x="617" y="431"/>
                  </a:lnTo>
                  <a:lnTo>
                    <a:pt x="621" y="431"/>
                  </a:lnTo>
                  <a:lnTo>
                    <a:pt x="628" y="437"/>
                  </a:lnTo>
                  <a:lnTo>
                    <a:pt x="629" y="439"/>
                  </a:lnTo>
                  <a:lnTo>
                    <a:pt x="629" y="438"/>
                  </a:lnTo>
                  <a:lnTo>
                    <a:pt x="630" y="439"/>
                  </a:lnTo>
                  <a:lnTo>
                    <a:pt x="630" y="442"/>
                  </a:lnTo>
                  <a:lnTo>
                    <a:pt x="633" y="443"/>
                  </a:lnTo>
                  <a:lnTo>
                    <a:pt x="634" y="445"/>
                  </a:lnTo>
                  <a:lnTo>
                    <a:pt x="635" y="447"/>
                  </a:lnTo>
                  <a:lnTo>
                    <a:pt x="636" y="449"/>
                  </a:lnTo>
                  <a:lnTo>
                    <a:pt x="637" y="450"/>
                  </a:lnTo>
                  <a:lnTo>
                    <a:pt x="636" y="451"/>
                  </a:lnTo>
                  <a:lnTo>
                    <a:pt x="636" y="453"/>
                  </a:lnTo>
                  <a:lnTo>
                    <a:pt x="634" y="454"/>
                  </a:lnTo>
                  <a:lnTo>
                    <a:pt x="635" y="454"/>
                  </a:lnTo>
                  <a:lnTo>
                    <a:pt x="635" y="455"/>
                  </a:lnTo>
                  <a:lnTo>
                    <a:pt x="636" y="456"/>
                  </a:lnTo>
                  <a:lnTo>
                    <a:pt x="636" y="459"/>
                  </a:lnTo>
                  <a:lnTo>
                    <a:pt x="637" y="459"/>
                  </a:lnTo>
                  <a:lnTo>
                    <a:pt x="639" y="457"/>
                  </a:lnTo>
                  <a:lnTo>
                    <a:pt x="640" y="457"/>
                  </a:lnTo>
                  <a:lnTo>
                    <a:pt x="640" y="459"/>
                  </a:lnTo>
                  <a:lnTo>
                    <a:pt x="642" y="459"/>
                  </a:lnTo>
                  <a:lnTo>
                    <a:pt x="642" y="460"/>
                  </a:lnTo>
                  <a:lnTo>
                    <a:pt x="643" y="461"/>
                  </a:lnTo>
                  <a:lnTo>
                    <a:pt x="642" y="462"/>
                  </a:lnTo>
                  <a:lnTo>
                    <a:pt x="641" y="465"/>
                  </a:lnTo>
                  <a:lnTo>
                    <a:pt x="642" y="467"/>
                  </a:lnTo>
                  <a:lnTo>
                    <a:pt x="645" y="466"/>
                  </a:lnTo>
                  <a:lnTo>
                    <a:pt x="645" y="469"/>
                  </a:lnTo>
                  <a:lnTo>
                    <a:pt x="643" y="471"/>
                  </a:lnTo>
                  <a:lnTo>
                    <a:pt x="643" y="473"/>
                  </a:lnTo>
                  <a:lnTo>
                    <a:pt x="647" y="476"/>
                  </a:lnTo>
                  <a:lnTo>
                    <a:pt x="647" y="478"/>
                  </a:lnTo>
                  <a:lnTo>
                    <a:pt x="646" y="479"/>
                  </a:lnTo>
                  <a:lnTo>
                    <a:pt x="645" y="479"/>
                  </a:lnTo>
                  <a:lnTo>
                    <a:pt x="639" y="472"/>
                  </a:lnTo>
                  <a:lnTo>
                    <a:pt x="635" y="468"/>
                  </a:lnTo>
                  <a:lnTo>
                    <a:pt x="635" y="473"/>
                  </a:lnTo>
                  <a:lnTo>
                    <a:pt x="636" y="476"/>
                  </a:lnTo>
                  <a:lnTo>
                    <a:pt x="635" y="476"/>
                  </a:lnTo>
                  <a:lnTo>
                    <a:pt x="636" y="478"/>
                  </a:lnTo>
                  <a:lnTo>
                    <a:pt x="639" y="478"/>
                  </a:lnTo>
                  <a:lnTo>
                    <a:pt x="639" y="479"/>
                  </a:lnTo>
                  <a:lnTo>
                    <a:pt x="636" y="481"/>
                  </a:lnTo>
                  <a:lnTo>
                    <a:pt x="636" y="482"/>
                  </a:lnTo>
                  <a:lnTo>
                    <a:pt x="637" y="482"/>
                  </a:lnTo>
                  <a:lnTo>
                    <a:pt x="637" y="484"/>
                  </a:lnTo>
                  <a:lnTo>
                    <a:pt x="639" y="486"/>
                  </a:lnTo>
                  <a:lnTo>
                    <a:pt x="639" y="488"/>
                  </a:lnTo>
                  <a:lnTo>
                    <a:pt x="640" y="490"/>
                  </a:lnTo>
                  <a:lnTo>
                    <a:pt x="637" y="492"/>
                  </a:lnTo>
                  <a:lnTo>
                    <a:pt x="637" y="496"/>
                  </a:lnTo>
                  <a:lnTo>
                    <a:pt x="636" y="498"/>
                  </a:lnTo>
                  <a:lnTo>
                    <a:pt x="634" y="499"/>
                  </a:lnTo>
                  <a:lnTo>
                    <a:pt x="633" y="502"/>
                  </a:lnTo>
                  <a:lnTo>
                    <a:pt x="635" y="502"/>
                  </a:lnTo>
                  <a:lnTo>
                    <a:pt x="635" y="505"/>
                  </a:lnTo>
                  <a:lnTo>
                    <a:pt x="634" y="505"/>
                  </a:lnTo>
                  <a:lnTo>
                    <a:pt x="629" y="504"/>
                  </a:lnTo>
                  <a:lnTo>
                    <a:pt x="627" y="506"/>
                  </a:lnTo>
                  <a:lnTo>
                    <a:pt x="628" y="509"/>
                  </a:lnTo>
                  <a:lnTo>
                    <a:pt x="627" y="510"/>
                  </a:lnTo>
                  <a:lnTo>
                    <a:pt x="627" y="509"/>
                  </a:lnTo>
                  <a:lnTo>
                    <a:pt x="625" y="509"/>
                  </a:lnTo>
                  <a:lnTo>
                    <a:pt x="624" y="508"/>
                  </a:lnTo>
                  <a:lnTo>
                    <a:pt x="623" y="509"/>
                  </a:lnTo>
                  <a:lnTo>
                    <a:pt x="622" y="509"/>
                  </a:lnTo>
                  <a:lnTo>
                    <a:pt x="622" y="510"/>
                  </a:lnTo>
                  <a:lnTo>
                    <a:pt x="623" y="510"/>
                  </a:lnTo>
                  <a:lnTo>
                    <a:pt x="622" y="511"/>
                  </a:lnTo>
                  <a:lnTo>
                    <a:pt x="619" y="510"/>
                  </a:lnTo>
                  <a:lnTo>
                    <a:pt x="619" y="511"/>
                  </a:lnTo>
                  <a:lnTo>
                    <a:pt x="625" y="514"/>
                  </a:lnTo>
                  <a:lnTo>
                    <a:pt x="627" y="516"/>
                  </a:lnTo>
                  <a:lnTo>
                    <a:pt x="627" y="517"/>
                  </a:lnTo>
                  <a:lnTo>
                    <a:pt x="625" y="518"/>
                  </a:lnTo>
                  <a:lnTo>
                    <a:pt x="627" y="522"/>
                  </a:lnTo>
                  <a:lnTo>
                    <a:pt x="628" y="523"/>
                  </a:lnTo>
                  <a:lnTo>
                    <a:pt x="629" y="523"/>
                  </a:lnTo>
                  <a:lnTo>
                    <a:pt x="629" y="524"/>
                  </a:lnTo>
                  <a:lnTo>
                    <a:pt x="630" y="525"/>
                  </a:lnTo>
                  <a:lnTo>
                    <a:pt x="633" y="525"/>
                  </a:lnTo>
                  <a:lnTo>
                    <a:pt x="634" y="527"/>
                  </a:lnTo>
                  <a:lnTo>
                    <a:pt x="631" y="528"/>
                  </a:lnTo>
                  <a:lnTo>
                    <a:pt x="634" y="528"/>
                  </a:lnTo>
                  <a:lnTo>
                    <a:pt x="635" y="530"/>
                  </a:lnTo>
                  <a:lnTo>
                    <a:pt x="635" y="533"/>
                  </a:lnTo>
                  <a:lnTo>
                    <a:pt x="633" y="533"/>
                  </a:lnTo>
                  <a:lnTo>
                    <a:pt x="635" y="535"/>
                  </a:lnTo>
                  <a:lnTo>
                    <a:pt x="635" y="539"/>
                  </a:lnTo>
                  <a:lnTo>
                    <a:pt x="639" y="540"/>
                  </a:lnTo>
                  <a:lnTo>
                    <a:pt x="639" y="542"/>
                  </a:lnTo>
                  <a:lnTo>
                    <a:pt x="637" y="543"/>
                  </a:lnTo>
                  <a:lnTo>
                    <a:pt x="640" y="546"/>
                  </a:lnTo>
                  <a:lnTo>
                    <a:pt x="641" y="546"/>
                  </a:lnTo>
                  <a:lnTo>
                    <a:pt x="640" y="548"/>
                  </a:lnTo>
                  <a:lnTo>
                    <a:pt x="639" y="549"/>
                  </a:lnTo>
                  <a:lnTo>
                    <a:pt x="637" y="549"/>
                  </a:lnTo>
                  <a:lnTo>
                    <a:pt x="636" y="551"/>
                  </a:lnTo>
                  <a:lnTo>
                    <a:pt x="636" y="553"/>
                  </a:lnTo>
                  <a:lnTo>
                    <a:pt x="637" y="553"/>
                  </a:lnTo>
                  <a:lnTo>
                    <a:pt x="640" y="554"/>
                  </a:lnTo>
                  <a:lnTo>
                    <a:pt x="641" y="555"/>
                  </a:lnTo>
                  <a:lnTo>
                    <a:pt x="642" y="558"/>
                  </a:lnTo>
                  <a:lnTo>
                    <a:pt x="642" y="559"/>
                  </a:lnTo>
                  <a:lnTo>
                    <a:pt x="643" y="559"/>
                  </a:lnTo>
                  <a:lnTo>
                    <a:pt x="643" y="562"/>
                  </a:lnTo>
                  <a:lnTo>
                    <a:pt x="645" y="562"/>
                  </a:lnTo>
                  <a:lnTo>
                    <a:pt x="645" y="564"/>
                  </a:lnTo>
                  <a:lnTo>
                    <a:pt x="646" y="565"/>
                  </a:lnTo>
                  <a:lnTo>
                    <a:pt x="646" y="566"/>
                  </a:lnTo>
                  <a:lnTo>
                    <a:pt x="645" y="567"/>
                  </a:lnTo>
                  <a:lnTo>
                    <a:pt x="643" y="570"/>
                  </a:lnTo>
                  <a:lnTo>
                    <a:pt x="642" y="571"/>
                  </a:lnTo>
                  <a:lnTo>
                    <a:pt x="640" y="572"/>
                  </a:lnTo>
                  <a:lnTo>
                    <a:pt x="639" y="573"/>
                  </a:lnTo>
                  <a:lnTo>
                    <a:pt x="640" y="574"/>
                  </a:lnTo>
                  <a:lnTo>
                    <a:pt x="643" y="574"/>
                  </a:lnTo>
                  <a:lnTo>
                    <a:pt x="646" y="573"/>
                  </a:lnTo>
                  <a:lnTo>
                    <a:pt x="648" y="573"/>
                  </a:lnTo>
                  <a:lnTo>
                    <a:pt x="649" y="576"/>
                  </a:lnTo>
                  <a:lnTo>
                    <a:pt x="647" y="578"/>
                  </a:lnTo>
                  <a:lnTo>
                    <a:pt x="643" y="578"/>
                  </a:lnTo>
                  <a:lnTo>
                    <a:pt x="642" y="579"/>
                  </a:lnTo>
                  <a:lnTo>
                    <a:pt x="642" y="580"/>
                  </a:lnTo>
                  <a:lnTo>
                    <a:pt x="641" y="580"/>
                  </a:lnTo>
                  <a:lnTo>
                    <a:pt x="645" y="584"/>
                  </a:lnTo>
                  <a:lnTo>
                    <a:pt x="646" y="586"/>
                  </a:lnTo>
                  <a:lnTo>
                    <a:pt x="648" y="589"/>
                  </a:lnTo>
                  <a:lnTo>
                    <a:pt x="646" y="591"/>
                  </a:lnTo>
                  <a:lnTo>
                    <a:pt x="643" y="592"/>
                  </a:lnTo>
                  <a:lnTo>
                    <a:pt x="641" y="595"/>
                  </a:lnTo>
                  <a:lnTo>
                    <a:pt x="639" y="594"/>
                  </a:lnTo>
                  <a:lnTo>
                    <a:pt x="637" y="595"/>
                  </a:lnTo>
                  <a:lnTo>
                    <a:pt x="640" y="595"/>
                  </a:lnTo>
                  <a:lnTo>
                    <a:pt x="640" y="596"/>
                  </a:lnTo>
                  <a:lnTo>
                    <a:pt x="642" y="597"/>
                  </a:lnTo>
                  <a:lnTo>
                    <a:pt x="646" y="597"/>
                  </a:lnTo>
                  <a:lnTo>
                    <a:pt x="647" y="599"/>
                  </a:lnTo>
                  <a:lnTo>
                    <a:pt x="649" y="601"/>
                  </a:lnTo>
                  <a:lnTo>
                    <a:pt x="648" y="603"/>
                  </a:lnTo>
                  <a:lnTo>
                    <a:pt x="647" y="604"/>
                  </a:lnTo>
                  <a:lnTo>
                    <a:pt x="649" y="608"/>
                  </a:lnTo>
                  <a:lnTo>
                    <a:pt x="650" y="608"/>
                  </a:lnTo>
                  <a:lnTo>
                    <a:pt x="654" y="609"/>
                  </a:lnTo>
                  <a:lnTo>
                    <a:pt x="654" y="610"/>
                  </a:lnTo>
                  <a:lnTo>
                    <a:pt x="655" y="611"/>
                  </a:lnTo>
                  <a:lnTo>
                    <a:pt x="660" y="611"/>
                  </a:lnTo>
                  <a:lnTo>
                    <a:pt x="662" y="614"/>
                  </a:lnTo>
                  <a:lnTo>
                    <a:pt x="661" y="615"/>
                  </a:lnTo>
                  <a:lnTo>
                    <a:pt x="662" y="616"/>
                  </a:lnTo>
                  <a:lnTo>
                    <a:pt x="662" y="619"/>
                  </a:lnTo>
                  <a:lnTo>
                    <a:pt x="664" y="620"/>
                  </a:lnTo>
                  <a:lnTo>
                    <a:pt x="666" y="621"/>
                  </a:lnTo>
                  <a:lnTo>
                    <a:pt x="668" y="619"/>
                  </a:lnTo>
                  <a:lnTo>
                    <a:pt x="671" y="617"/>
                  </a:lnTo>
                  <a:lnTo>
                    <a:pt x="673" y="617"/>
                  </a:lnTo>
                  <a:lnTo>
                    <a:pt x="674" y="615"/>
                  </a:lnTo>
                  <a:lnTo>
                    <a:pt x="674" y="613"/>
                  </a:lnTo>
                  <a:lnTo>
                    <a:pt x="673" y="611"/>
                  </a:lnTo>
                  <a:lnTo>
                    <a:pt x="673" y="610"/>
                  </a:lnTo>
                  <a:lnTo>
                    <a:pt x="672" y="609"/>
                  </a:lnTo>
                  <a:lnTo>
                    <a:pt x="673" y="609"/>
                  </a:lnTo>
                  <a:lnTo>
                    <a:pt x="676" y="611"/>
                  </a:lnTo>
                  <a:lnTo>
                    <a:pt x="679" y="614"/>
                  </a:lnTo>
                  <a:lnTo>
                    <a:pt x="683" y="615"/>
                  </a:lnTo>
                  <a:lnTo>
                    <a:pt x="685" y="617"/>
                  </a:lnTo>
                  <a:lnTo>
                    <a:pt x="686" y="620"/>
                  </a:lnTo>
                  <a:lnTo>
                    <a:pt x="686" y="623"/>
                  </a:lnTo>
                  <a:lnTo>
                    <a:pt x="689" y="626"/>
                  </a:lnTo>
                  <a:lnTo>
                    <a:pt x="690" y="628"/>
                  </a:lnTo>
                  <a:lnTo>
                    <a:pt x="690" y="629"/>
                  </a:lnTo>
                  <a:lnTo>
                    <a:pt x="691" y="629"/>
                  </a:lnTo>
                  <a:lnTo>
                    <a:pt x="693" y="627"/>
                  </a:lnTo>
                  <a:lnTo>
                    <a:pt x="698" y="632"/>
                  </a:lnTo>
                  <a:lnTo>
                    <a:pt x="698" y="634"/>
                  </a:lnTo>
                  <a:lnTo>
                    <a:pt x="701" y="635"/>
                  </a:lnTo>
                  <a:lnTo>
                    <a:pt x="701" y="638"/>
                  </a:lnTo>
                  <a:lnTo>
                    <a:pt x="699" y="639"/>
                  </a:lnTo>
                  <a:lnTo>
                    <a:pt x="701" y="641"/>
                  </a:lnTo>
                  <a:lnTo>
                    <a:pt x="703" y="644"/>
                  </a:lnTo>
                  <a:lnTo>
                    <a:pt x="702" y="645"/>
                  </a:lnTo>
                  <a:lnTo>
                    <a:pt x="702" y="646"/>
                  </a:lnTo>
                  <a:lnTo>
                    <a:pt x="703" y="647"/>
                  </a:lnTo>
                  <a:lnTo>
                    <a:pt x="707" y="648"/>
                  </a:lnTo>
                  <a:lnTo>
                    <a:pt x="709" y="648"/>
                  </a:lnTo>
                  <a:lnTo>
                    <a:pt x="711" y="651"/>
                  </a:lnTo>
                  <a:lnTo>
                    <a:pt x="715" y="651"/>
                  </a:lnTo>
                  <a:lnTo>
                    <a:pt x="715" y="652"/>
                  </a:lnTo>
                  <a:lnTo>
                    <a:pt x="717" y="653"/>
                  </a:lnTo>
                  <a:lnTo>
                    <a:pt x="718" y="653"/>
                  </a:lnTo>
                  <a:lnTo>
                    <a:pt x="720" y="656"/>
                  </a:lnTo>
                  <a:lnTo>
                    <a:pt x="721" y="656"/>
                  </a:lnTo>
                  <a:lnTo>
                    <a:pt x="723" y="654"/>
                  </a:lnTo>
                  <a:lnTo>
                    <a:pt x="724" y="654"/>
                  </a:lnTo>
                  <a:lnTo>
                    <a:pt x="724" y="656"/>
                  </a:lnTo>
                  <a:lnTo>
                    <a:pt x="726" y="657"/>
                  </a:lnTo>
                  <a:lnTo>
                    <a:pt x="728" y="657"/>
                  </a:lnTo>
                  <a:lnTo>
                    <a:pt x="729" y="656"/>
                  </a:lnTo>
                  <a:lnTo>
                    <a:pt x="732" y="656"/>
                  </a:lnTo>
                  <a:lnTo>
                    <a:pt x="733" y="658"/>
                  </a:lnTo>
                  <a:lnTo>
                    <a:pt x="734" y="658"/>
                  </a:lnTo>
                  <a:lnTo>
                    <a:pt x="740" y="659"/>
                  </a:lnTo>
                  <a:lnTo>
                    <a:pt x="741" y="659"/>
                  </a:lnTo>
                  <a:lnTo>
                    <a:pt x="742" y="660"/>
                  </a:lnTo>
                  <a:lnTo>
                    <a:pt x="743" y="663"/>
                  </a:lnTo>
                  <a:lnTo>
                    <a:pt x="743" y="664"/>
                  </a:lnTo>
                  <a:lnTo>
                    <a:pt x="746" y="666"/>
                  </a:lnTo>
                  <a:lnTo>
                    <a:pt x="752" y="669"/>
                  </a:lnTo>
                  <a:lnTo>
                    <a:pt x="759" y="666"/>
                  </a:lnTo>
                  <a:lnTo>
                    <a:pt x="759" y="660"/>
                  </a:lnTo>
                  <a:lnTo>
                    <a:pt x="761" y="658"/>
                  </a:lnTo>
                  <a:lnTo>
                    <a:pt x="768" y="658"/>
                  </a:lnTo>
                  <a:lnTo>
                    <a:pt x="770" y="657"/>
                  </a:lnTo>
                  <a:lnTo>
                    <a:pt x="773" y="654"/>
                  </a:lnTo>
                  <a:lnTo>
                    <a:pt x="774" y="653"/>
                  </a:lnTo>
                  <a:lnTo>
                    <a:pt x="776" y="653"/>
                  </a:lnTo>
                  <a:lnTo>
                    <a:pt x="778" y="647"/>
                  </a:lnTo>
                  <a:lnTo>
                    <a:pt x="779" y="645"/>
                  </a:lnTo>
                  <a:lnTo>
                    <a:pt x="779" y="642"/>
                  </a:lnTo>
                  <a:lnTo>
                    <a:pt x="777" y="634"/>
                  </a:lnTo>
                  <a:lnTo>
                    <a:pt x="777" y="633"/>
                  </a:lnTo>
                  <a:lnTo>
                    <a:pt x="773" y="629"/>
                  </a:lnTo>
                  <a:lnTo>
                    <a:pt x="772" y="627"/>
                  </a:lnTo>
                  <a:lnTo>
                    <a:pt x="771" y="626"/>
                  </a:lnTo>
                  <a:lnTo>
                    <a:pt x="772" y="623"/>
                  </a:lnTo>
                  <a:lnTo>
                    <a:pt x="776" y="622"/>
                  </a:lnTo>
                  <a:lnTo>
                    <a:pt x="777" y="620"/>
                  </a:lnTo>
                  <a:lnTo>
                    <a:pt x="776" y="619"/>
                  </a:lnTo>
                  <a:lnTo>
                    <a:pt x="776" y="617"/>
                  </a:lnTo>
                  <a:lnTo>
                    <a:pt x="773" y="617"/>
                  </a:lnTo>
                  <a:lnTo>
                    <a:pt x="771" y="615"/>
                  </a:lnTo>
                  <a:lnTo>
                    <a:pt x="772" y="614"/>
                  </a:lnTo>
                  <a:lnTo>
                    <a:pt x="768" y="614"/>
                  </a:lnTo>
                  <a:lnTo>
                    <a:pt x="766" y="611"/>
                  </a:lnTo>
                  <a:lnTo>
                    <a:pt x="767" y="608"/>
                  </a:lnTo>
                  <a:lnTo>
                    <a:pt x="765" y="605"/>
                  </a:lnTo>
                  <a:lnTo>
                    <a:pt x="763" y="607"/>
                  </a:lnTo>
                  <a:lnTo>
                    <a:pt x="760" y="609"/>
                  </a:lnTo>
                  <a:lnTo>
                    <a:pt x="760" y="611"/>
                  </a:lnTo>
                  <a:lnTo>
                    <a:pt x="753" y="611"/>
                  </a:lnTo>
                  <a:lnTo>
                    <a:pt x="749" y="614"/>
                  </a:lnTo>
                  <a:lnTo>
                    <a:pt x="747" y="615"/>
                  </a:lnTo>
                  <a:lnTo>
                    <a:pt x="745" y="614"/>
                  </a:lnTo>
                  <a:lnTo>
                    <a:pt x="739" y="610"/>
                  </a:lnTo>
                  <a:lnTo>
                    <a:pt x="735" y="605"/>
                  </a:lnTo>
                  <a:lnTo>
                    <a:pt x="726" y="591"/>
                  </a:lnTo>
                  <a:lnTo>
                    <a:pt x="724" y="586"/>
                  </a:lnTo>
                  <a:lnTo>
                    <a:pt x="722" y="582"/>
                  </a:lnTo>
                  <a:lnTo>
                    <a:pt x="718" y="578"/>
                  </a:lnTo>
                  <a:lnTo>
                    <a:pt x="715" y="578"/>
                  </a:lnTo>
                  <a:lnTo>
                    <a:pt x="712" y="573"/>
                  </a:lnTo>
                  <a:lnTo>
                    <a:pt x="714" y="571"/>
                  </a:lnTo>
                  <a:lnTo>
                    <a:pt x="712" y="570"/>
                  </a:lnTo>
                  <a:lnTo>
                    <a:pt x="712" y="567"/>
                  </a:lnTo>
                  <a:lnTo>
                    <a:pt x="714" y="568"/>
                  </a:lnTo>
                  <a:lnTo>
                    <a:pt x="715" y="567"/>
                  </a:lnTo>
                  <a:lnTo>
                    <a:pt x="711" y="565"/>
                  </a:lnTo>
                  <a:lnTo>
                    <a:pt x="711" y="564"/>
                  </a:lnTo>
                  <a:lnTo>
                    <a:pt x="709" y="559"/>
                  </a:lnTo>
                  <a:lnTo>
                    <a:pt x="710" y="557"/>
                  </a:lnTo>
                  <a:lnTo>
                    <a:pt x="714" y="558"/>
                  </a:lnTo>
                  <a:lnTo>
                    <a:pt x="715" y="560"/>
                  </a:lnTo>
                  <a:lnTo>
                    <a:pt x="717" y="560"/>
                  </a:lnTo>
                  <a:lnTo>
                    <a:pt x="718" y="558"/>
                  </a:lnTo>
                  <a:lnTo>
                    <a:pt x="720" y="557"/>
                  </a:lnTo>
                  <a:lnTo>
                    <a:pt x="723" y="555"/>
                  </a:lnTo>
                  <a:lnTo>
                    <a:pt x="726" y="553"/>
                  </a:lnTo>
                  <a:lnTo>
                    <a:pt x="724" y="551"/>
                  </a:lnTo>
                  <a:lnTo>
                    <a:pt x="726" y="548"/>
                  </a:lnTo>
                  <a:lnTo>
                    <a:pt x="726" y="547"/>
                  </a:lnTo>
                  <a:lnTo>
                    <a:pt x="727" y="545"/>
                  </a:lnTo>
                  <a:lnTo>
                    <a:pt x="728" y="543"/>
                  </a:lnTo>
                  <a:lnTo>
                    <a:pt x="727" y="539"/>
                  </a:lnTo>
                  <a:lnTo>
                    <a:pt x="726" y="537"/>
                  </a:lnTo>
                  <a:lnTo>
                    <a:pt x="726" y="536"/>
                  </a:lnTo>
                  <a:lnTo>
                    <a:pt x="729" y="535"/>
                  </a:lnTo>
                  <a:lnTo>
                    <a:pt x="730" y="535"/>
                  </a:lnTo>
                  <a:lnTo>
                    <a:pt x="732" y="534"/>
                  </a:lnTo>
                  <a:lnTo>
                    <a:pt x="734" y="533"/>
                  </a:lnTo>
                  <a:lnTo>
                    <a:pt x="735" y="534"/>
                  </a:lnTo>
                  <a:lnTo>
                    <a:pt x="742" y="536"/>
                  </a:lnTo>
                  <a:lnTo>
                    <a:pt x="749" y="540"/>
                  </a:lnTo>
                  <a:lnTo>
                    <a:pt x="754" y="543"/>
                  </a:lnTo>
                  <a:lnTo>
                    <a:pt x="757" y="546"/>
                  </a:lnTo>
                  <a:lnTo>
                    <a:pt x="759" y="546"/>
                  </a:lnTo>
                  <a:lnTo>
                    <a:pt x="761" y="547"/>
                  </a:lnTo>
                  <a:lnTo>
                    <a:pt x="763" y="548"/>
                  </a:lnTo>
                  <a:lnTo>
                    <a:pt x="764" y="551"/>
                  </a:lnTo>
                  <a:lnTo>
                    <a:pt x="763" y="553"/>
                  </a:lnTo>
                  <a:lnTo>
                    <a:pt x="764" y="554"/>
                  </a:lnTo>
                  <a:lnTo>
                    <a:pt x="766" y="559"/>
                  </a:lnTo>
                  <a:lnTo>
                    <a:pt x="777" y="565"/>
                  </a:lnTo>
                  <a:lnTo>
                    <a:pt x="782" y="566"/>
                  </a:lnTo>
                  <a:lnTo>
                    <a:pt x="786" y="566"/>
                  </a:lnTo>
                  <a:lnTo>
                    <a:pt x="790" y="565"/>
                  </a:lnTo>
                  <a:lnTo>
                    <a:pt x="791" y="566"/>
                  </a:lnTo>
                  <a:lnTo>
                    <a:pt x="791" y="571"/>
                  </a:lnTo>
                  <a:lnTo>
                    <a:pt x="792" y="572"/>
                  </a:lnTo>
                  <a:lnTo>
                    <a:pt x="792" y="573"/>
                  </a:lnTo>
                  <a:lnTo>
                    <a:pt x="791" y="572"/>
                  </a:lnTo>
                  <a:lnTo>
                    <a:pt x="789" y="571"/>
                  </a:lnTo>
                  <a:lnTo>
                    <a:pt x="788" y="570"/>
                  </a:lnTo>
                  <a:lnTo>
                    <a:pt x="786" y="572"/>
                  </a:lnTo>
                  <a:lnTo>
                    <a:pt x="778" y="572"/>
                  </a:lnTo>
                  <a:lnTo>
                    <a:pt x="777" y="574"/>
                  </a:lnTo>
                  <a:lnTo>
                    <a:pt x="777" y="576"/>
                  </a:lnTo>
                  <a:lnTo>
                    <a:pt x="780" y="580"/>
                  </a:lnTo>
                  <a:lnTo>
                    <a:pt x="780" y="582"/>
                  </a:lnTo>
                  <a:lnTo>
                    <a:pt x="779" y="583"/>
                  </a:lnTo>
                  <a:lnTo>
                    <a:pt x="777" y="584"/>
                  </a:lnTo>
                  <a:lnTo>
                    <a:pt x="777" y="585"/>
                  </a:lnTo>
                  <a:lnTo>
                    <a:pt x="778" y="586"/>
                  </a:lnTo>
                  <a:lnTo>
                    <a:pt x="778" y="585"/>
                  </a:lnTo>
                  <a:lnTo>
                    <a:pt x="779" y="585"/>
                  </a:lnTo>
                  <a:lnTo>
                    <a:pt x="780" y="584"/>
                  </a:lnTo>
                  <a:lnTo>
                    <a:pt x="782" y="584"/>
                  </a:lnTo>
                  <a:lnTo>
                    <a:pt x="782" y="583"/>
                  </a:lnTo>
                  <a:lnTo>
                    <a:pt x="783" y="582"/>
                  </a:lnTo>
                  <a:lnTo>
                    <a:pt x="783" y="578"/>
                  </a:lnTo>
                  <a:lnTo>
                    <a:pt x="785" y="578"/>
                  </a:lnTo>
                  <a:lnTo>
                    <a:pt x="786" y="577"/>
                  </a:lnTo>
                  <a:lnTo>
                    <a:pt x="790" y="574"/>
                  </a:lnTo>
                  <a:lnTo>
                    <a:pt x="791" y="574"/>
                  </a:lnTo>
                  <a:lnTo>
                    <a:pt x="794" y="576"/>
                  </a:lnTo>
                  <a:lnTo>
                    <a:pt x="795" y="576"/>
                  </a:lnTo>
                  <a:lnTo>
                    <a:pt x="796" y="573"/>
                  </a:lnTo>
                  <a:lnTo>
                    <a:pt x="792" y="570"/>
                  </a:lnTo>
                  <a:lnTo>
                    <a:pt x="792" y="568"/>
                  </a:lnTo>
                  <a:lnTo>
                    <a:pt x="794" y="568"/>
                  </a:lnTo>
                  <a:lnTo>
                    <a:pt x="797" y="572"/>
                  </a:lnTo>
                  <a:lnTo>
                    <a:pt x="802" y="573"/>
                  </a:lnTo>
                  <a:lnTo>
                    <a:pt x="807" y="576"/>
                  </a:lnTo>
                  <a:lnTo>
                    <a:pt x="813" y="576"/>
                  </a:lnTo>
                  <a:lnTo>
                    <a:pt x="814" y="577"/>
                  </a:lnTo>
                  <a:lnTo>
                    <a:pt x="820" y="580"/>
                  </a:lnTo>
                  <a:lnTo>
                    <a:pt x="823" y="584"/>
                  </a:lnTo>
                  <a:lnTo>
                    <a:pt x="828" y="585"/>
                  </a:lnTo>
                  <a:lnTo>
                    <a:pt x="830" y="585"/>
                  </a:lnTo>
                  <a:lnTo>
                    <a:pt x="832" y="586"/>
                  </a:lnTo>
                  <a:lnTo>
                    <a:pt x="832" y="588"/>
                  </a:lnTo>
                  <a:lnTo>
                    <a:pt x="836" y="592"/>
                  </a:lnTo>
                  <a:lnTo>
                    <a:pt x="841" y="596"/>
                  </a:lnTo>
                  <a:lnTo>
                    <a:pt x="848" y="595"/>
                  </a:lnTo>
                  <a:lnTo>
                    <a:pt x="850" y="594"/>
                  </a:lnTo>
                  <a:lnTo>
                    <a:pt x="848" y="592"/>
                  </a:lnTo>
                  <a:lnTo>
                    <a:pt x="850" y="592"/>
                  </a:lnTo>
                  <a:lnTo>
                    <a:pt x="852" y="591"/>
                  </a:lnTo>
                  <a:lnTo>
                    <a:pt x="853" y="591"/>
                  </a:lnTo>
                  <a:lnTo>
                    <a:pt x="855" y="590"/>
                  </a:lnTo>
                  <a:lnTo>
                    <a:pt x="857" y="590"/>
                  </a:lnTo>
                  <a:lnTo>
                    <a:pt x="855" y="588"/>
                  </a:lnTo>
                  <a:lnTo>
                    <a:pt x="854" y="589"/>
                  </a:lnTo>
                  <a:lnTo>
                    <a:pt x="852" y="590"/>
                  </a:lnTo>
                  <a:lnTo>
                    <a:pt x="851" y="590"/>
                  </a:lnTo>
                  <a:lnTo>
                    <a:pt x="851" y="589"/>
                  </a:lnTo>
                  <a:lnTo>
                    <a:pt x="852" y="584"/>
                  </a:lnTo>
                  <a:lnTo>
                    <a:pt x="852" y="583"/>
                  </a:lnTo>
                  <a:lnTo>
                    <a:pt x="855" y="583"/>
                  </a:lnTo>
                  <a:lnTo>
                    <a:pt x="854" y="582"/>
                  </a:lnTo>
                  <a:lnTo>
                    <a:pt x="853" y="582"/>
                  </a:lnTo>
                  <a:lnTo>
                    <a:pt x="853" y="580"/>
                  </a:lnTo>
                  <a:lnTo>
                    <a:pt x="855" y="579"/>
                  </a:lnTo>
                  <a:lnTo>
                    <a:pt x="859" y="578"/>
                  </a:lnTo>
                  <a:lnTo>
                    <a:pt x="861" y="580"/>
                  </a:lnTo>
                  <a:lnTo>
                    <a:pt x="863" y="580"/>
                  </a:lnTo>
                  <a:lnTo>
                    <a:pt x="866" y="579"/>
                  </a:lnTo>
                  <a:lnTo>
                    <a:pt x="867" y="579"/>
                  </a:lnTo>
                  <a:lnTo>
                    <a:pt x="870" y="580"/>
                  </a:lnTo>
                  <a:lnTo>
                    <a:pt x="870" y="582"/>
                  </a:lnTo>
                  <a:lnTo>
                    <a:pt x="871" y="583"/>
                  </a:lnTo>
                  <a:lnTo>
                    <a:pt x="871" y="585"/>
                  </a:lnTo>
                  <a:lnTo>
                    <a:pt x="872" y="586"/>
                  </a:lnTo>
                  <a:lnTo>
                    <a:pt x="875" y="588"/>
                  </a:lnTo>
                  <a:lnTo>
                    <a:pt x="876" y="589"/>
                  </a:lnTo>
                  <a:lnTo>
                    <a:pt x="878" y="589"/>
                  </a:lnTo>
                  <a:lnTo>
                    <a:pt x="878" y="591"/>
                  </a:lnTo>
                  <a:lnTo>
                    <a:pt x="879" y="592"/>
                  </a:lnTo>
                  <a:lnTo>
                    <a:pt x="879" y="594"/>
                  </a:lnTo>
                  <a:lnTo>
                    <a:pt x="878" y="594"/>
                  </a:lnTo>
                  <a:lnTo>
                    <a:pt x="873" y="592"/>
                  </a:lnTo>
                  <a:lnTo>
                    <a:pt x="867" y="592"/>
                  </a:lnTo>
                  <a:lnTo>
                    <a:pt x="866" y="591"/>
                  </a:lnTo>
                  <a:lnTo>
                    <a:pt x="865" y="589"/>
                  </a:lnTo>
                  <a:lnTo>
                    <a:pt x="864" y="588"/>
                  </a:lnTo>
                  <a:lnTo>
                    <a:pt x="863" y="585"/>
                  </a:lnTo>
                  <a:lnTo>
                    <a:pt x="861" y="585"/>
                  </a:lnTo>
                  <a:lnTo>
                    <a:pt x="860" y="584"/>
                  </a:lnTo>
                  <a:lnTo>
                    <a:pt x="858" y="584"/>
                  </a:lnTo>
                  <a:lnTo>
                    <a:pt x="863" y="588"/>
                  </a:lnTo>
                  <a:lnTo>
                    <a:pt x="864" y="590"/>
                  </a:lnTo>
                  <a:lnTo>
                    <a:pt x="866" y="592"/>
                  </a:lnTo>
                  <a:lnTo>
                    <a:pt x="867" y="595"/>
                  </a:lnTo>
                  <a:lnTo>
                    <a:pt x="869" y="595"/>
                  </a:lnTo>
                  <a:lnTo>
                    <a:pt x="875" y="594"/>
                  </a:lnTo>
                  <a:lnTo>
                    <a:pt x="876" y="594"/>
                  </a:lnTo>
                  <a:lnTo>
                    <a:pt x="877" y="595"/>
                  </a:lnTo>
                  <a:lnTo>
                    <a:pt x="879" y="596"/>
                  </a:lnTo>
                  <a:lnTo>
                    <a:pt x="882" y="596"/>
                  </a:lnTo>
                  <a:lnTo>
                    <a:pt x="882" y="591"/>
                  </a:lnTo>
                  <a:lnTo>
                    <a:pt x="879" y="586"/>
                  </a:lnTo>
                  <a:lnTo>
                    <a:pt x="878" y="580"/>
                  </a:lnTo>
                  <a:lnTo>
                    <a:pt x="878" y="579"/>
                  </a:lnTo>
                  <a:lnTo>
                    <a:pt x="877" y="579"/>
                  </a:lnTo>
                  <a:lnTo>
                    <a:pt x="877" y="574"/>
                  </a:lnTo>
                  <a:lnTo>
                    <a:pt x="878" y="573"/>
                  </a:lnTo>
                  <a:lnTo>
                    <a:pt x="879" y="573"/>
                  </a:lnTo>
                  <a:lnTo>
                    <a:pt x="881" y="574"/>
                  </a:lnTo>
                  <a:lnTo>
                    <a:pt x="882" y="574"/>
                  </a:lnTo>
                  <a:lnTo>
                    <a:pt x="882" y="573"/>
                  </a:lnTo>
                  <a:lnTo>
                    <a:pt x="878" y="570"/>
                  </a:lnTo>
                  <a:lnTo>
                    <a:pt x="877" y="567"/>
                  </a:lnTo>
                  <a:lnTo>
                    <a:pt x="876" y="558"/>
                  </a:lnTo>
                  <a:lnTo>
                    <a:pt x="875" y="557"/>
                  </a:lnTo>
                  <a:lnTo>
                    <a:pt x="875" y="555"/>
                  </a:lnTo>
                  <a:lnTo>
                    <a:pt x="872" y="553"/>
                  </a:lnTo>
                  <a:lnTo>
                    <a:pt x="872" y="552"/>
                  </a:lnTo>
                  <a:lnTo>
                    <a:pt x="871" y="549"/>
                  </a:lnTo>
                  <a:lnTo>
                    <a:pt x="871" y="548"/>
                  </a:lnTo>
                  <a:lnTo>
                    <a:pt x="870" y="547"/>
                  </a:lnTo>
                  <a:lnTo>
                    <a:pt x="865" y="545"/>
                  </a:lnTo>
                  <a:lnTo>
                    <a:pt x="864" y="543"/>
                  </a:lnTo>
                  <a:lnTo>
                    <a:pt x="854" y="523"/>
                  </a:lnTo>
                  <a:lnTo>
                    <a:pt x="851" y="518"/>
                  </a:lnTo>
                  <a:lnTo>
                    <a:pt x="848" y="515"/>
                  </a:lnTo>
                  <a:lnTo>
                    <a:pt x="848" y="512"/>
                  </a:lnTo>
                  <a:lnTo>
                    <a:pt x="847" y="510"/>
                  </a:lnTo>
                  <a:lnTo>
                    <a:pt x="847" y="500"/>
                  </a:lnTo>
                  <a:lnTo>
                    <a:pt x="848" y="498"/>
                  </a:lnTo>
                  <a:lnTo>
                    <a:pt x="848" y="496"/>
                  </a:lnTo>
                  <a:lnTo>
                    <a:pt x="850" y="494"/>
                  </a:lnTo>
                  <a:lnTo>
                    <a:pt x="852" y="490"/>
                  </a:lnTo>
                  <a:lnTo>
                    <a:pt x="859" y="484"/>
                  </a:lnTo>
                  <a:lnTo>
                    <a:pt x="863" y="482"/>
                  </a:lnTo>
                  <a:lnTo>
                    <a:pt x="871" y="476"/>
                  </a:lnTo>
                  <a:lnTo>
                    <a:pt x="879" y="468"/>
                  </a:lnTo>
                  <a:lnTo>
                    <a:pt x="886" y="456"/>
                  </a:lnTo>
                  <a:lnTo>
                    <a:pt x="890" y="451"/>
                  </a:lnTo>
                  <a:lnTo>
                    <a:pt x="894" y="449"/>
                  </a:lnTo>
                  <a:lnTo>
                    <a:pt x="902" y="448"/>
                  </a:lnTo>
                  <a:lnTo>
                    <a:pt x="907" y="445"/>
                  </a:lnTo>
                  <a:lnTo>
                    <a:pt x="916" y="442"/>
                  </a:lnTo>
                  <a:lnTo>
                    <a:pt x="919" y="439"/>
                  </a:lnTo>
                  <a:lnTo>
                    <a:pt x="920" y="439"/>
                  </a:lnTo>
                  <a:lnTo>
                    <a:pt x="920" y="438"/>
                  </a:lnTo>
                  <a:lnTo>
                    <a:pt x="921" y="436"/>
                  </a:lnTo>
                  <a:lnTo>
                    <a:pt x="922" y="436"/>
                  </a:lnTo>
                  <a:lnTo>
                    <a:pt x="925" y="432"/>
                  </a:lnTo>
                  <a:lnTo>
                    <a:pt x="928" y="431"/>
                  </a:lnTo>
                  <a:lnTo>
                    <a:pt x="929" y="431"/>
                  </a:lnTo>
                  <a:lnTo>
                    <a:pt x="928" y="430"/>
                  </a:lnTo>
                  <a:lnTo>
                    <a:pt x="929" y="429"/>
                  </a:lnTo>
                  <a:lnTo>
                    <a:pt x="938" y="418"/>
                  </a:lnTo>
                  <a:lnTo>
                    <a:pt x="945" y="406"/>
                  </a:lnTo>
                  <a:lnTo>
                    <a:pt x="948" y="395"/>
                  </a:lnTo>
                  <a:lnTo>
                    <a:pt x="951" y="393"/>
                  </a:lnTo>
                  <a:lnTo>
                    <a:pt x="952" y="393"/>
                  </a:lnTo>
                  <a:lnTo>
                    <a:pt x="959" y="395"/>
                  </a:lnTo>
                  <a:lnTo>
                    <a:pt x="971" y="401"/>
                  </a:lnTo>
                  <a:lnTo>
                    <a:pt x="972" y="402"/>
                  </a:lnTo>
                  <a:lnTo>
                    <a:pt x="972" y="404"/>
                  </a:lnTo>
                  <a:lnTo>
                    <a:pt x="969" y="406"/>
                  </a:lnTo>
                  <a:lnTo>
                    <a:pt x="968" y="408"/>
                  </a:lnTo>
                  <a:lnTo>
                    <a:pt x="976" y="407"/>
                  </a:lnTo>
                  <a:lnTo>
                    <a:pt x="984" y="405"/>
                  </a:lnTo>
                  <a:lnTo>
                    <a:pt x="991" y="405"/>
                  </a:lnTo>
                  <a:lnTo>
                    <a:pt x="997" y="402"/>
                  </a:lnTo>
                  <a:lnTo>
                    <a:pt x="999" y="404"/>
                  </a:lnTo>
                  <a:lnTo>
                    <a:pt x="1000" y="406"/>
                  </a:lnTo>
                  <a:lnTo>
                    <a:pt x="1001" y="411"/>
                  </a:lnTo>
                  <a:lnTo>
                    <a:pt x="1002" y="412"/>
                  </a:lnTo>
                  <a:lnTo>
                    <a:pt x="1003" y="414"/>
                  </a:lnTo>
                  <a:lnTo>
                    <a:pt x="1009" y="414"/>
                  </a:lnTo>
                  <a:lnTo>
                    <a:pt x="1015" y="420"/>
                  </a:lnTo>
                  <a:lnTo>
                    <a:pt x="1015" y="424"/>
                  </a:lnTo>
                  <a:lnTo>
                    <a:pt x="1014" y="426"/>
                  </a:lnTo>
                  <a:lnTo>
                    <a:pt x="1008" y="430"/>
                  </a:lnTo>
                  <a:lnTo>
                    <a:pt x="1006" y="431"/>
                  </a:lnTo>
                  <a:lnTo>
                    <a:pt x="1004" y="433"/>
                  </a:lnTo>
                  <a:lnTo>
                    <a:pt x="1004" y="435"/>
                  </a:lnTo>
                  <a:lnTo>
                    <a:pt x="1003" y="436"/>
                  </a:lnTo>
                  <a:lnTo>
                    <a:pt x="1002" y="436"/>
                  </a:lnTo>
                  <a:lnTo>
                    <a:pt x="1002" y="437"/>
                  </a:lnTo>
                  <a:lnTo>
                    <a:pt x="1000" y="437"/>
                  </a:lnTo>
                  <a:lnTo>
                    <a:pt x="999" y="438"/>
                  </a:lnTo>
                  <a:lnTo>
                    <a:pt x="999" y="439"/>
                  </a:lnTo>
                  <a:lnTo>
                    <a:pt x="1001" y="442"/>
                  </a:lnTo>
                  <a:lnTo>
                    <a:pt x="1001" y="444"/>
                  </a:lnTo>
                  <a:lnTo>
                    <a:pt x="1006" y="444"/>
                  </a:lnTo>
                  <a:lnTo>
                    <a:pt x="1006" y="447"/>
                  </a:lnTo>
                  <a:lnTo>
                    <a:pt x="1008" y="451"/>
                  </a:lnTo>
                  <a:lnTo>
                    <a:pt x="1008" y="445"/>
                  </a:lnTo>
                  <a:lnTo>
                    <a:pt x="1007" y="443"/>
                  </a:lnTo>
                  <a:lnTo>
                    <a:pt x="1003" y="442"/>
                  </a:lnTo>
                  <a:lnTo>
                    <a:pt x="1002" y="441"/>
                  </a:lnTo>
                  <a:lnTo>
                    <a:pt x="1003" y="438"/>
                  </a:lnTo>
                  <a:lnTo>
                    <a:pt x="1007" y="435"/>
                  </a:lnTo>
                  <a:lnTo>
                    <a:pt x="1008" y="435"/>
                  </a:lnTo>
                  <a:lnTo>
                    <a:pt x="1009" y="433"/>
                  </a:lnTo>
                  <a:lnTo>
                    <a:pt x="1010" y="433"/>
                  </a:lnTo>
                  <a:lnTo>
                    <a:pt x="1013" y="432"/>
                  </a:lnTo>
                  <a:lnTo>
                    <a:pt x="1014" y="432"/>
                  </a:lnTo>
                  <a:lnTo>
                    <a:pt x="1014" y="430"/>
                  </a:lnTo>
                  <a:lnTo>
                    <a:pt x="1015" y="430"/>
                  </a:lnTo>
                  <a:lnTo>
                    <a:pt x="1016" y="429"/>
                  </a:lnTo>
                  <a:lnTo>
                    <a:pt x="1019" y="430"/>
                  </a:lnTo>
                  <a:lnTo>
                    <a:pt x="1021" y="429"/>
                  </a:lnTo>
                  <a:lnTo>
                    <a:pt x="1022" y="430"/>
                  </a:lnTo>
                  <a:lnTo>
                    <a:pt x="1024" y="432"/>
                  </a:lnTo>
                  <a:lnTo>
                    <a:pt x="1026" y="433"/>
                  </a:lnTo>
                  <a:lnTo>
                    <a:pt x="1031" y="441"/>
                  </a:lnTo>
                  <a:lnTo>
                    <a:pt x="1031" y="443"/>
                  </a:lnTo>
                  <a:lnTo>
                    <a:pt x="1029" y="444"/>
                  </a:lnTo>
                  <a:lnTo>
                    <a:pt x="1029" y="449"/>
                  </a:lnTo>
                  <a:lnTo>
                    <a:pt x="1032" y="453"/>
                  </a:lnTo>
                  <a:lnTo>
                    <a:pt x="1035" y="461"/>
                  </a:lnTo>
                  <a:lnTo>
                    <a:pt x="1035" y="462"/>
                  </a:lnTo>
                  <a:lnTo>
                    <a:pt x="1037" y="459"/>
                  </a:lnTo>
                  <a:lnTo>
                    <a:pt x="1035" y="455"/>
                  </a:lnTo>
                  <a:lnTo>
                    <a:pt x="1033" y="450"/>
                  </a:lnTo>
                  <a:lnTo>
                    <a:pt x="1033" y="448"/>
                  </a:lnTo>
                  <a:lnTo>
                    <a:pt x="1034" y="443"/>
                  </a:lnTo>
                  <a:lnTo>
                    <a:pt x="1035" y="439"/>
                  </a:lnTo>
                  <a:lnTo>
                    <a:pt x="1034" y="438"/>
                  </a:lnTo>
                  <a:lnTo>
                    <a:pt x="1033" y="433"/>
                  </a:lnTo>
                  <a:lnTo>
                    <a:pt x="1032" y="432"/>
                  </a:lnTo>
                  <a:lnTo>
                    <a:pt x="1032" y="422"/>
                  </a:lnTo>
                  <a:lnTo>
                    <a:pt x="1033" y="416"/>
                  </a:lnTo>
                  <a:lnTo>
                    <a:pt x="1034" y="411"/>
                  </a:lnTo>
                  <a:lnTo>
                    <a:pt x="1035" y="410"/>
                  </a:lnTo>
                  <a:lnTo>
                    <a:pt x="1037" y="406"/>
                  </a:lnTo>
                  <a:lnTo>
                    <a:pt x="1038" y="405"/>
                  </a:lnTo>
                  <a:lnTo>
                    <a:pt x="1038" y="401"/>
                  </a:lnTo>
                  <a:lnTo>
                    <a:pt x="1039" y="401"/>
                  </a:lnTo>
                  <a:lnTo>
                    <a:pt x="1043" y="396"/>
                  </a:lnTo>
                  <a:lnTo>
                    <a:pt x="1044" y="395"/>
                  </a:lnTo>
                  <a:lnTo>
                    <a:pt x="1044" y="392"/>
                  </a:lnTo>
                  <a:lnTo>
                    <a:pt x="1045" y="386"/>
                  </a:lnTo>
                  <a:lnTo>
                    <a:pt x="1045" y="383"/>
                  </a:lnTo>
                  <a:lnTo>
                    <a:pt x="1046" y="381"/>
                  </a:lnTo>
                  <a:lnTo>
                    <a:pt x="1049" y="380"/>
                  </a:lnTo>
                  <a:lnTo>
                    <a:pt x="1052" y="379"/>
                  </a:lnTo>
                  <a:lnTo>
                    <a:pt x="1052" y="377"/>
                  </a:lnTo>
                  <a:lnTo>
                    <a:pt x="1049" y="377"/>
                  </a:lnTo>
                  <a:lnTo>
                    <a:pt x="1047" y="376"/>
                  </a:lnTo>
                  <a:lnTo>
                    <a:pt x="1047" y="375"/>
                  </a:lnTo>
                  <a:lnTo>
                    <a:pt x="1045" y="368"/>
                  </a:lnTo>
                  <a:lnTo>
                    <a:pt x="1044" y="367"/>
                  </a:lnTo>
                  <a:lnTo>
                    <a:pt x="1044" y="364"/>
                  </a:lnTo>
                  <a:lnTo>
                    <a:pt x="1049" y="362"/>
                  </a:lnTo>
                  <a:lnTo>
                    <a:pt x="1049" y="353"/>
                  </a:lnTo>
                  <a:lnTo>
                    <a:pt x="1050" y="351"/>
                  </a:lnTo>
                  <a:lnTo>
                    <a:pt x="1049" y="350"/>
                  </a:lnTo>
                  <a:lnTo>
                    <a:pt x="1049" y="347"/>
                  </a:lnTo>
                  <a:lnTo>
                    <a:pt x="1046" y="345"/>
                  </a:lnTo>
                  <a:lnTo>
                    <a:pt x="1046" y="342"/>
                  </a:lnTo>
                  <a:lnTo>
                    <a:pt x="1041" y="337"/>
                  </a:lnTo>
                  <a:lnTo>
                    <a:pt x="1041" y="334"/>
                  </a:lnTo>
                  <a:lnTo>
                    <a:pt x="1043" y="333"/>
                  </a:lnTo>
                  <a:lnTo>
                    <a:pt x="1044" y="333"/>
                  </a:lnTo>
                  <a:lnTo>
                    <a:pt x="1044" y="331"/>
                  </a:lnTo>
                  <a:lnTo>
                    <a:pt x="1040" y="333"/>
                  </a:lnTo>
                  <a:lnTo>
                    <a:pt x="1039" y="332"/>
                  </a:lnTo>
                  <a:lnTo>
                    <a:pt x="1039" y="331"/>
                  </a:lnTo>
                  <a:lnTo>
                    <a:pt x="1037" y="330"/>
                  </a:lnTo>
                  <a:lnTo>
                    <a:pt x="1034" y="327"/>
                  </a:lnTo>
                  <a:lnTo>
                    <a:pt x="1029" y="325"/>
                  </a:lnTo>
                  <a:lnTo>
                    <a:pt x="1025" y="325"/>
                  </a:lnTo>
                  <a:lnTo>
                    <a:pt x="1022" y="324"/>
                  </a:lnTo>
                  <a:lnTo>
                    <a:pt x="1020" y="324"/>
                  </a:lnTo>
                  <a:lnTo>
                    <a:pt x="1019" y="320"/>
                  </a:lnTo>
                  <a:lnTo>
                    <a:pt x="1019" y="313"/>
                  </a:lnTo>
                  <a:lnTo>
                    <a:pt x="1020" y="306"/>
                  </a:lnTo>
                  <a:lnTo>
                    <a:pt x="1022" y="296"/>
                  </a:lnTo>
                  <a:lnTo>
                    <a:pt x="1028" y="279"/>
                  </a:lnTo>
                  <a:lnTo>
                    <a:pt x="1029" y="275"/>
                  </a:lnTo>
                  <a:lnTo>
                    <a:pt x="1029" y="269"/>
                  </a:lnTo>
                  <a:lnTo>
                    <a:pt x="1031" y="269"/>
                  </a:lnTo>
                  <a:lnTo>
                    <a:pt x="1031" y="267"/>
                  </a:lnTo>
                  <a:lnTo>
                    <a:pt x="1032" y="267"/>
                  </a:lnTo>
                  <a:lnTo>
                    <a:pt x="1032" y="270"/>
                  </a:lnTo>
                  <a:lnTo>
                    <a:pt x="1033" y="270"/>
                  </a:lnTo>
                  <a:lnTo>
                    <a:pt x="1034" y="269"/>
                  </a:lnTo>
                  <a:lnTo>
                    <a:pt x="1034" y="265"/>
                  </a:lnTo>
                  <a:lnTo>
                    <a:pt x="1032" y="265"/>
                  </a:lnTo>
                  <a:lnTo>
                    <a:pt x="1031" y="264"/>
                  </a:lnTo>
                  <a:lnTo>
                    <a:pt x="1032" y="263"/>
                  </a:lnTo>
                  <a:lnTo>
                    <a:pt x="1033" y="260"/>
                  </a:lnTo>
                  <a:lnTo>
                    <a:pt x="1033" y="257"/>
                  </a:lnTo>
                  <a:lnTo>
                    <a:pt x="1034" y="256"/>
                  </a:lnTo>
                  <a:lnTo>
                    <a:pt x="1034" y="254"/>
                  </a:lnTo>
                  <a:lnTo>
                    <a:pt x="1033" y="253"/>
                  </a:lnTo>
                  <a:lnTo>
                    <a:pt x="1033" y="251"/>
                  </a:lnTo>
                  <a:lnTo>
                    <a:pt x="1032" y="250"/>
                  </a:lnTo>
                  <a:lnTo>
                    <a:pt x="1032" y="245"/>
                  </a:lnTo>
                  <a:lnTo>
                    <a:pt x="1037" y="245"/>
                  </a:lnTo>
                  <a:lnTo>
                    <a:pt x="1038" y="244"/>
                  </a:lnTo>
                  <a:lnTo>
                    <a:pt x="1039" y="241"/>
                  </a:lnTo>
                  <a:lnTo>
                    <a:pt x="1040" y="240"/>
                  </a:lnTo>
                  <a:lnTo>
                    <a:pt x="1038" y="239"/>
                  </a:lnTo>
                  <a:lnTo>
                    <a:pt x="1034" y="241"/>
                  </a:lnTo>
                  <a:lnTo>
                    <a:pt x="1033" y="240"/>
                  </a:lnTo>
                  <a:lnTo>
                    <a:pt x="1034" y="235"/>
                  </a:lnTo>
                  <a:lnTo>
                    <a:pt x="1035" y="234"/>
                  </a:lnTo>
                  <a:lnTo>
                    <a:pt x="1038" y="234"/>
                  </a:lnTo>
                  <a:lnTo>
                    <a:pt x="1037" y="233"/>
                  </a:lnTo>
                  <a:lnTo>
                    <a:pt x="1034" y="233"/>
                  </a:lnTo>
                  <a:lnTo>
                    <a:pt x="1035" y="230"/>
                  </a:lnTo>
                  <a:lnTo>
                    <a:pt x="1043" y="226"/>
                  </a:lnTo>
                  <a:lnTo>
                    <a:pt x="1046" y="226"/>
                  </a:lnTo>
                  <a:lnTo>
                    <a:pt x="1045" y="224"/>
                  </a:lnTo>
                  <a:lnTo>
                    <a:pt x="1041" y="224"/>
                  </a:lnTo>
                  <a:lnTo>
                    <a:pt x="1039" y="226"/>
                  </a:lnTo>
                  <a:lnTo>
                    <a:pt x="1038" y="228"/>
                  </a:lnTo>
                  <a:lnTo>
                    <a:pt x="1035" y="228"/>
                  </a:lnTo>
                  <a:lnTo>
                    <a:pt x="1035" y="222"/>
                  </a:lnTo>
                  <a:lnTo>
                    <a:pt x="1037" y="220"/>
                  </a:lnTo>
                  <a:lnTo>
                    <a:pt x="1037" y="213"/>
                  </a:lnTo>
                  <a:lnTo>
                    <a:pt x="1038" y="207"/>
                  </a:lnTo>
                  <a:lnTo>
                    <a:pt x="1039" y="203"/>
                  </a:lnTo>
                  <a:lnTo>
                    <a:pt x="1039" y="201"/>
                  </a:lnTo>
                  <a:lnTo>
                    <a:pt x="1038" y="198"/>
                  </a:lnTo>
                  <a:lnTo>
                    <a:pt x="1035" y="195"/>
                  </a:lnTo>
                  <a:lnTo>
                    <a:pt x="1018" y="178"/>
                  </a:lnTo>
                  <a:lnTo>
                    <a:pt x="1000" y="162"/>
                  </a:lnTo>
                  <a:lnTo>
                    <a:pt x="997" y="158"/>
                  </a:lnTo>
                  <a:lnTo>
                    <a:pt x="1000" y="156"/>
                  </a:lnTo>
                  <a:lnTo>
                    <a:pt x="1002" y="156"/>
                  </a:lnTo>
                  <a:lnTo>
                    <a:pt x="1007" y="155"/>
                  </a:lnTo>
                  <a:lnTo>
                    <a:pt x="1012" y="159"/>
                  </a:lnTo>
                  <a:lnTo>
                    <a:pt x="1013" y="159"/>
                  </a:lnTo>
                  <a:lnTo>
                    <a:pt x="1015" y="161"/>
                  </a:lnTo>
                  <a:lnTo>
                    <a:pt x="1018" y="162"/>
                  </a:lnTo>
                  <a:lnTo>
                    <a:pt x="1019" y="164"/>
                  </a:lnTo>
                  <a:lnTo>
                    <a:pt x="1020" y="164"/>
                  </a:lnTo>
                  <a:lnTo>
                    <a:pt x="1021" y="165"/>
                  </a:lnTo>
                  <a:lnTo>
                    <a:pt x="1022" y="165"/>
                  </a:lnTo>
                  <a:lnTo>
                    <a:pt x="1027" y="170"/>
                  </a:lnTo>
                  <a:lnTo>
                    <a:pt x="1038" y="171"/>
                  </a:lnTo>
                  <a:lnTo>
                    <a:pt x="1050" y="170"/>
                  </a:lnTo>
                  <a:lnTo>
                    <a:pt x="1083" y="170"/>
                  </a:lnTo>
                  <a:lnTo>
                    <a:pt x="1095" y="173"/>
                  </a:lnTo>
                  <a:lnTo>
                    <a:pt x="1108" y="180"/>
                  </a:lnTo>
                  <a:lnTo>
                    <a:pt x="1111" y="181"/>
                  </a:lnTo>
                  <a:lnTo>
                    <a:pt x="1111" y="185"/>
                  </a:lnTo>
                  <a:lnTo>
                    <a:pt x="1112" y="187"/>
                  </a:lnTo>
                  <a:lnTo>
                    <a:pt x="1112" y="189"/>
                  </a:lnTo>
                  <a:lnTo>
                    <a:pt x="1113" y="190"/>
                  </a:lnTo>
                  <a:lnTo>
                    <a:pt x="1113" y="191"/>
                  </a:lnTo>
                  <a:lnTo>
                    <a:pt x="1114" y="192"/>
                  </a:lnTo>
                  <a:lnTo>
                    <a:pt x="1114" y="196"/>
                  </a:lnTo>
                  <a:lnTo>
                    <a:pt x="1117" y="197"/>
                  </a:lnTo>
                  <a:lnTo>
                    <a:pt x="1120" y="202"/>
                  </a:lnTo>
                  <a:lnTo>
                    <a:pt x="1122" y="205"/>
                  </a:lnTo>
                  <a:lnTo>
                    <a:pt x="1125" y="208"/>
                  </a:lnTo>
                  <a:lnTo>
                    <a:pt x="1125" y="209"/>
                  </a:lnTo>
                  <a:lnTo>
                    <a:pt x="1127" y="208"/>
                  </a:lnTo>
                  <a:lnTo>
                    <a:pt x="1130" y="210"/>
                  </a:lnTo>
                  <a:lnTo>
                    <a:pt x="1131" y="210"/>
                  </a:lnTo>
                  <a:lnTo>
                    <a:pt x="1132" y="213"/>
                  </a:lnTo>
                  <a:lnTo>
                    <a:pt x="1136" y="217"/>
                  </a:lnTo>
                  <a:lnTo>
                    <a:pt x="1133" y="220"/>
                  </a:lnTo>
                  <a:lnTo>
                    <a:pt x="1136" y="220"/>
                  </a:lnTo>
                  <a:lnTo>
                    <a:pt x="1136" y="229"/>
                  </a:lnTo>
                  <a:lnTo>
                    <a:pt x="1137" y="230"/>
                  </a:lnTo>
                  <a:lnTo>
                    <a:pt x="1137" y="233"/>
                  </a:lnTo>
                  <a:lnTo>
                    <a:pt x="1138" y="234"/>
                  </a:lnTo>
                  <a:lnTo>
                    <a:pt x="1139" y="234"/>
                  </a:lnTo>
                  <a:lnTo>
                    <a:pt x="1139" y="236"/>
                  </a:lnTo>
                  <a:lnTo>
                    <a:pt x="1140" y="236"/>
                  </a:lnTo>
                  <a:lnTo>
                    <a:pt x="1140" y="239"/>
                  </a:lnTo>
                  <a:lnTo>
                    <a:pt x="1142" y="242"/>
                  </a:lnTo>
                  <a:lnTo>
                    <a:pt x="1143" y="245"/>
                  </a:lnTo>
                  <a:lnTo>
                    <a:pt x="1143" y="253"/>
                  </a:lnTo>
                  <a:lnTo>
                    <a:pt x="1140" y="254"/>
                  </a:lnTo>
                  <a:lnTo>
                    <a:pt x="1137" y="253"/>
                  </a:lnTo>
                  <a:lnTo>
                    <a:pt x="1128" y="253"/>
                  </a:lnTo>
                  <a:lnTo>
                    <a:pt x="1121" y="254"/>
                  </a:lnTo>
                  <a:lnTo>
                    <a:pt x="1113" y="258"/>
                  </a:lnTo>
                  <a:lnTo>
                    <a:pt x="1096" y="260"/>
                  </a:lnTo>
                  <a:lnTo>
                    <a:pt x="1089" y="263"/>
                  </a:lnTo>
                  <a:lnTo>
                    <a:pt x="1086" y="263"/>
                  </a:lnTo>
                  <a:lnTo>
                    <a:pt x="1083" y="264"/>
                  </a:lnTo>
                  <a:lnTo>
                    <a:pt x="1083" y="266"/>
                  </a:lnTo>
                  <a:lnTo>
                    <a:pt x="1084" y="267"/>
                  </a:lnTo>
                  <a:lnTo>
                    <a:pt x="1086" y="267"/>
                  </a:lnTo>
                  <a:lnTo>
                    <a:pt x="1086" y="271"/>
                  </a:lnTo>
                  <a:lnTo>
                    <a:pt x="1084" y="275"/>
                  </a:lnTo>
                  <a:lnTo>
                    <a:pt x="1084" y="278"/>
                  </a:lnTo>
                  <a:lnTo>
                    <a:pt x="1077" y="278"/>
                  </a:lnTo>
                  <a:lnTo>
                    <a:pt x="1071" y="284"/>
                  </a:lnTo>
                  <a:lnTo>
                    <a:pt x="1069" y="289"/>
                  </a:lnTo>
                  <a:lnTo>
                    <a:pt x="1068" y="295"/>
                  </a:lnTo>
                  <a:lnTo>
                    <a:pt x="1068" y="299"/>
                  </a:lnTo>
                  <a:lnTo>
                    <a:pt x="1066" y="300"/>
                  </a:lnTo>
                  <a:lnTo>
                    <a:pt x="1066" y="302"/>
                  </a:lnTo>
                  <a:lnTo>
                    <a:pt x="1068" y="304"/>
                  </a:lnTo>
                  <a:lnTo>
                    <a:pt x="1069" y="308"/>
                  </a:lnTo>
                  <a:lnTo>
                    <a:pt x="1072" y="312"/>
                  </a:lnTo>
                  <a:lnTo>
                    <a:pt x="1077" y="315"/>
                  </a:lnTo>
                  <a:lnTo>
                    <a:pt x="1080" y="318"/>
                  </a:lnTo>
                  <a:lnTo>
                    <a:pt x="1083" y="320"/>
                  </a:lnTo>
                  <a:lnTo>
                    <a:pt x="1088" y="321"/>
                  </a:lnTo>
                  <a:lnTo>
                    <a:pt x="1091" y="322"/>
                  </a:lnTo>
                  <a:lnTo>
                    <a:pt x="1095" y="326"/>
                  </a:lnTo>
                  <a:lnTo>
                    <a:pt x="1097" y="331"/>
                  </a:lnTo>
                  <a:lnTo>
                    <a:pt x="1097" y="333"/>
                  </a:lnTo>
                  <a:lnTo>
                    <a:pt x="1099" y="336"/>
                  </a:lnTo>
                  <a:lnTo>
                    <a:pt x="1103" y="346"/>
                  </a:lnTo>
                  <a:lnTo>
                    <a:pt x="1105" y="347"/>
                  </a:lnTo>
                  <a:lnTo>
                    <a:pt x="1105" y="351"/>
                  </a:lnTo>
                  <a:lnTo>
                    <a:pt x="1106" y="353"/>
                  </a:lnTo>
                  <a:lnTo>
                    <a:pt x="1107" y="355"/>
                  </a:lnTo>
                  <a:lnTo>
                    <a:pt x="1112" y="357"/>
                  </a:lnTo>
                  <a:lnTo>
                    <a:pt x="1112" y="358"/>
                  </a:lnTo>
                  <a:lnTo>
                    <a:pt x="1114" y="361"/>
                  </a:lnTo>
                  <a:lnTo>
                    <a:pt x="1125" y="359"/>
                  </a:lnTo>
                  <a:lnTo>
                    <a:pt x="1133" y="356"/>
                  </a:lnTo>
                  <a:lnTo>
                    <a:pt x="1137" y="356"/>
                  </a:lnTo>
                  <a:lnTo>
                    <a:pt x="1138" y="358"/>
                  </a:lnTo>
                  <a:lnTo>
                    <a:pt x="1138" y="361"/>
                  </a:lnTo>
                  <a:lnTo>
                    <a:pt x="1136" y="361"/>
                  </a:lnTo>
                  <a:lnTo>
                    <a:pt x="1136" y="362"/>
                  </a:lnTo>
                  <a:lnTo>
                    <a:pt x="1134" y="364"/>
                  </a:lnTo>
                  <a:lnTo>
                    <a:pt x="1128" y="370"/>
                  </a:lnTo>
                  <a:lnTo>
                    <a:pt x="1130" y="370"/>
                  </a:lnTo>
                  <a:lnTo>
                    <a:pt x="1132" y="369"/>
                  </a:lnTo>
                  <a:lnTo>
                    <a:pt x="1133" y="368"/>
                  </a:lnTo>
                  <a:lnTo>
                    <a:pt x="1136" y="364"/>
                  </a:lnTo>
                  <a:lnTo>
                    <a:pt x="1137" y="363"/>
                  </a:lnTo>
                  <a:lnTo>
                    <a:pt x="1147" y="359"/>
                  </a:lnTo>
                  <a:lnTo>
                    <a:pt x="1152" y="359"/>
                  </a:lnTo>
                  <a:lnTo>
                    <a:pt x="1155" y="357"/>
                  </a:lnTo>
                  <a:lnTo>
                    <a:pt x="1156" y="358"/>
                  </a:lnTo>
                  <a:lnTo>
                    <a:pt x="1173" y="350"/>
                  </a:lnTo>
                  <a:lnTo>
                    <a:pt x="1174" y="351"/>
                  </a:lnTo>
                  <a:lnTo>
                    <a:pt x="1178" y="353"/>
                  </a:lnTo>
                  <a:lnTo>
                    <a:pt x="1180" y="355"/>
                  </a:lnTo>
                  <a:lnTo>
                    <a:pt x="1178" y="357"/>
                  </a:lnTo>
                  <a:lnTo>
                    <a:pt x="1180" y="357"/>
                  </a:lnTo>
                  <a:lnTo>
                    <a:pt x="1180" y="356"/>
                  </a:lnTo>
                  <a:lnTo>
                    <a:pt x="1181" y="355"/>
                  </a:lnTo>
                  <a:lnTo>
                    <a:pt x="1180" y="352"/>
                  </a:lnTo>
                  <a:lnTo>
                    <a:pt x="1180" y="350"/>
                  </a:lnTo>
                  <a:lnTo>
                    <a:pt x="1181" y="349"/>
                  </a:lnTo>
                  <a:lnTo>
                    <a:pt x="1181" y="347"/>
                  </a:lnTo>
                  <a:lnTo>
                    <a:pt x="1183" y="344"/>
                  </a:lnTo>
                  <a:lnTo>
                    <a:pt x="1184" y="344"/>
                  </a:lnTo>
                  <a:lnTo>
                    <a:pt x="1186" y="343"/>
                  </a:lnTo>
                  <a:lnTo>
                    <a:pt x="1186" y="339"/>
                  </a:lnTo>
                  <a:lnTo>
                    <a:pt x="1187" y="336"/>
                  </a:lnTo>
                  <a:lnTo>
                    <a:pt x="1187" y="328"/>
                  </a:lnTo>
                  <a:lnTo>
                    <a:pt x="1186" y="327"/>
                  </a:lnTo>
                  <a:lnTo>
                    <a:pt x="1184" y="324"/>
                  </a:lnTo>
                  <a:lnTo>
                    <a:pt x="1184" y="320"/>
                  </a:lnTo>
                  <a:lnTo>
                    <a:pt x="1188" y="316"/>
                  </a:lnTo>
                  <a:lnTo>
                    <a:pt x="1188" y="306"/>
                  </a:lnTo>
                  <a:lnTo>
                    <a:pt x="1187" y="306"/>
                  </a:lnTo>
                  <a:lnTo>
                    <a:pt x="1188" y="303"/>
                  </a:lnTo>
                  <a:lnTo>
                    <a:pt x="1193" y="299"/>
                  </a:lnTo>
                  <a:lnTo>
                    <a:pt x="1195" y="294"/>
                  </a:lnTo>
                  <a:lnTo>
                    <a:pt x="1195" y="291"/>
                  </a:lnTo>
                  <a:lnTo>
                    <a:pt x="1194" y="289"/>
                  </a:lnTo>
                  <a:lnTo>
                    <a:pt x="1189" y="282"/>
                  </a:lnTo>
                  <a:lnTo>
                    <a:pt x="1189" y="279"/>
                  </a:lnTo>
                  <a:lnTo>
                    <a:pt x="1190" y="277"/>
                  </a:lnTo>
                  <a:lnTo>
                    <a:pt x="1198" y="271"/>
                  </a:lnTo>
                  <a:lnTo>
                    <a:pt x="1199" y="271"/>
                  </a:lnTo>
                  <a:lnTo>
                    <a:pt x="1201" y="272"/>
                  </a:lnTo>
                  <a:lnTo>
                    <a:pt x="1201" y="273"/>
                  </a:lnTo>
                  <a:lnTo>
                    <a:pt x="1200" y="275"/>
                  </a:lnTo>
                  <a:lnTo>
                    <a:pt x="1200" y="278"/>
                  </a:lnTo>
                  <a:lnTo>
                    <a:pt x="1201" y="278"/>
                  </a:lnTo>
                  <a:lnTo>
                    <a:pt x="1202" y="277"/>
                  </a:lnTo>
                  <a:lnTo>
                    <a:pt x="1204" y="273"/>
                  </a:lnTo>
                  <a:lnTo>
                    <a:pt x="1206" y="271"/>
                  </a:lnTo>
                  <a:lnTo>
                    <a:pt x="1206" y="270"/>
                  </a:lnTo>
                  <a:lnTo>
                    <a:pt x="1208" y="267"/>
                  </a:lnTo>
                  <a:lnTo>
                    <a:pt x="1212" y="267"/>
                  </a:lnTo>
                  <a:lnTo>
                    <a:pt x="1215" y="270"/>
                  </a:lnTo>
                  <a:lnTo>
                    <a:pt x="1219" y="270"/>
                  </a:lnTo>
                  <a:lnTo>
                    <a:pt x="1225" y="265"/>
                  </a:lnTo>
                  <a:lnTo>
                    <a:pt x="1226" y="264"/>
                  </a:lnTo>
                  <a:lnTo>
                    <a:pt x="1229" y="266"/>
                  </a:lnTo>
                  <a:lnTo>
                    <a:pt x="1226" y="266"/>
                  </a:lnTo>
                  <a:lnTo>
                    <a:pt x="1236" y="267"/>
                  </a:lnTo>
                  <a:lnTo>
                    <a:pt x="1239" y="270"/>
                  </a:lnTo>
                  <a:lnTo>
                    <a:pt x="1238" y="271"/>
                  </a:lnTo>
                  <a:lnTo>
                    <a:pt x="1240" y="273"/>
                  </a:lnTo>
                  <a:lnTo>
                    <a:pt x="1243" y="273"/>
                  </a:lnTo>
                  <a:lnTo>
                    <a:pt x="1244" y="272"/>
                  </a:lnTo>
                  <a:lnTo>
                    <a:pt x="1243" y="271"/>
                  </a:lnTo>
                  <a:lnTo>
                    <a:pt x="1242" y="271"/>
                  </a:lnTo>
                  <a:lnTo>
                    <a:pt x="1242" y="269"/>
                  </a:lnTo>
                  <a:lnTo>
                    <a:pt x="1238" y="266"/>
                  </a:lnTo>
                  <a:lnTo>
                    <a:pt x="1237" y="266"/>
                  </a:lnTo>
                  <a:lnTo>
                    <a:pt x="1236" y="265"/>
                  </a:lnTo>
                  <a:lnTo>
                    <a:pt x="1234" y="263"/>
                  </a:lnTo>
                  <a:lnTo>
                    <a:pt x="1233" y="261"/>
                  </a:lnTo>
                  <a:lnTo>
                    <a:pt x="1231" y="263"/>
                  </a:lnTo>
                  <a:lnTo>
                    <a:pt x="1230" y="263"/>
                  </a:lnTo>
                  <a:lnTo>
                    <a:pt x="1230" y="260"/>
                  </a:lnTo>
                  <a:lnTo>
                    <a:pt x="1231" y="259"/>
                  </a:lnTo>
                  <a:lnTo>
                    <a:pt x="1231" y="251"/>
                  </a:lnTo>
                  <a:lnTo>
                    <a:pt x="1221" y="240"/>
                  </a:lnTo>
                  <a:lnTo>
                    <a:pt x="1224" y="239"/>
                  </a:lnTo>
                  <a:lnTo>
                    <a:pt x="1232" y="247"/>
                  </a:lnTo>
                  <a:lnTo>
                    <a:pt x="1238" y="250"/>
                  </a:lnTo>
                  <a:lnTo>
                    <a:pt x="1245" y="247"/>
                  </a:lnTo>
                  <a:lnTo>
                    <a:pt x="1246" y="246"/>
                  </a:lnTo>
                  <a:lnTo>
                    <a:pt x="1252" y="244"/>
                  </a:lnTo>
                  <a:lnTo>
                    <a:pt x="1261" y="238"/>
                  </a:lnTo>
                  <a:lnTo>
                    <a:pt x="1267" y="234"/>
                  </a:lnTo>
                  <a:lnTo>
                    <a:pt x="1273" y="228"/>
                  </a:lnTo>
                  <a:lnTo>
                    <a:pt x="1280" y="222"/>
                  </a:lnTo>
                  <a:lnTo>
                    <a:pt x="1282" y="222"/>
                  </a:lnTo>
                  <a:lnTo>
                    <a:pt x="1281" y="226"/>
                  </a:lnTo>
                  <a:lnTo>
                    <a:pt x="1276" y="228"/>
                  </a:lnTo>
                  <a:lnTo>
                    <a:pt x="1275" y="230"/>
                  </a:lnTo>
                  <a:lnTo>
                    <a:pt x="1281" y="226"/>
                  </a:lnTo>
                  <a:lnTo>
                    <a:pt x="1283" y="222"/>
                  </a:lnTo>
                  <a:lnTo>
                    <a:pt x="1285" y="221"/>
                  </a:lnTo>
                  <a:lnTo>
                    <a:pt x="1286" y="218"/>
                  </a:lnTo>
                  <a:lnTo>
                    <a:pt x="1291" y="214"/>
                  </a:lnTo>
                  <a:lnTo>
                    <a:pt x="1293" y="213"/>
                  </a:lnTo>
                  <a:lnTo>
                    <a:pt x="1296" y="209"/>
                  </a:lnTo>
                  <a:lnTo>
                    <a:pt x="1300" y="208"/>
                  </a:lnTo>
                  <a:lnTo>
                    <a:pt x="1308" y="198"/>
                  </a:lnTo>
                  <a:lnTo>
                    <a:pt x="1311" y="195"/>
                  </a:lnTo>
                  <a:lnTo>
                    <a:pt x="1312" y="193"/>
                  </a:lnTo>
                  <a:lnTo>
                    <a:pt x="1313" y="190"/>
                  </a:lnTo>
                  <a:lnTo>
                    <a:pt x="1314" y="189"/>
                  </a:lnTo>
                  <a:lnTo>
                    <a:pt x="1316" y="190"/>
                  </a:lnTo>
                  <a:lnTo>
                    <a:pt x="1317" y="192"/>
                  </a:lnTo>
                  <a:lnTo>
                    <a:pt x="1319" y="193"/>
                  </a:lnTo>
                  <a:lnTo>
                    <a:pt x="1322" y="193"/>
                  </a:lnTo>
                  <a:lnTo>
                    <a:pt x="1326" y="192"/>
                  </a:lnTo>
                  <a:lnTo>
                    <a:pt x="1327" y="192"/>
                  </a:lnTo>
                  <a:lnTo>
                    <a:pt x="1329" y="190"/>
                  </a:lnTo>
                  <a:lnTo>
                    <a:pt x="1330" y="189"/>
                  </a:lnTo>
                  <a:lnTo>
                    <a:pt x="1332" y="189"/>
                  </a:lnTo>
                  <a:lnTo>
                    <a:pt x="1338" y="186"/>
                  </a:lnTo>
                  <a:lnTo>
                    <a:pt x="1342" y="183"/>
                  </a:lnTo>
                  <a:lnTo>
                    <a:pt x="1343" y="183"/>
                  </a:lnTo>
                  <a:lnTo>
                    <a:pt x="1344" y="184"/>
                  </a:lnTo>
                  <a:lnTo>
                    <a:pt x="1345" y="184"/>
                  </a:lnTo>
                  <a:lnTo>
                    <a:pt x="1348" y="183"/>
                  </a:lnTo>
                  <a:lnTo>
                    <a:pt x="1349" y="181"/>
                  </a:lnTo>
                  <a:lnTo>
                    <a:pt x="1348" y="181"/>
                  </a:lnTo>
                  <a:lnTo>
                    <a:pt x="1347" y="180"/>
                  </a:lnTo>
                  <a:lnTo>
                    <a:pt x="1348" y="177"/>
                  </a:lnTo>
                  <a:lnTo>
                    <a:pt x="1354" y="177"/>
                  </a:lnTo>
                  <a:lnTo>
                    <a:pt x="1368" y="171"/>
                  </a:lnTo>
                  <a:lnTo>
                    <a:pt x="1373" y="166"/>
                  </a:lnTo>
                  <a:lnTo>
                    <a:pt x="1375" y="166"/>
                  </a:lnTo>
                  <a:lnTo>
                    <a:pt x="1374" y="168"/>
                  </a:lnTo>
                  <a:lnTo>
                    <a:pt x="1374" y="171"/>
                  </a:lnTo>
                  <a:lnTo>
                    <a:pt x="1372" y="173"/>
                  </a:lnTo>
                  <a:lnTo>
                    <a:pt x="1368" y="173"/>
                  </a:lnTo>
                  <a:lnTo>
                    <a:pt x="1368" y="177"/>
                  </a:lnTo>
                  <a:lnTo>
                    <a:pt x="1369" y="178"/>
                  </a:lnTo>
                  <a:lnTo>
                    <a:pt x="1373" y="174"/>
                  </a:lnTo>
                  <a:lnTo>
                    <a:pt x="1379" y="175"/>
                  </a:lnTo>
                  <a:lnTo>
                    <a:pt x="1380" y="175"/>
                  </a:lnTo>
                  <a:lnTo>
                    <a:pt x="1381" y="178"/>
                  </a:lnTo>
                  <a:lnTo>
                    <a:pt x="1379" y="178"/>
                  </a:lnTo>
                  <a:lnTo>
                    <a:pt x="1378" y="180"/>
                  </a:lnTo>
                  <a:lnTo>
                    <a:pt x="1379" y="181"/>
                  </a:lnTo>
                  <a:lnTo>
                    <a:pt x="1379" y="184"/>
                  </a:lnTo>
                  <a:lnTo>
                    <a:pt x="1376" y="186"/>
                  </a:lnTo>
                  <a:lnTo>
                    <a:pt x="1373" y="187"/>
                  </a:lnTo>
                  <a:lnTo>
                    <a:pt x="1372" y="189"/>
                  </a:lnTo>
                  <a:lnTo>
                    <a:pt x="1373" y="190"/>
                  </a:lnTo>
                  <a:lnTo>
                    <a:pt x="1376" y="196"/>
                  </a:lnTo>
                  <a:lnTo>
                    <a:pt x="1378" y="197"/>
                  </a:lnTo>
                  <a:lnTo>
                    <a:pt x="1380" y="195"/>
                  </a:lnTo>
                  <a:lnTo>
                    <a:pt x="1382" y="193"/>
                  </a:lnTo>
                  <a:lnTo>
                    <a:pt x="1383" y="193"/>
                  </a:lnTo>
                  <a:lnTo>
                    <a:pt x="1392" y="185"/>
                  </a:lnTo>
                  <a:lnTo>
                    <a:pt x="1394" y="184"/>
                  </a:lnTo>
                  <a:lnTo>
                    <a:pt x="1395" y="183"/>
                  </a:lnTo>
                  <a:lnTo>
                    <a:pt x="1397" y="180"/>
                  </a:lnTo>
                  <a:lnTo>
                    <a:pt x="1397" y="177"/>
                  </a:lnTo>
                  <a:lnTo>
                    <a:pt x="1394" y="174"/>
                  </a:lnTo>
                  <a:lnTo>
                    <a:pt x="1391" y="173"/>
                  </a:lnTo>
                  <a:lnTo>
                    <a:pt x="1389" y="171"/>
                  </a:lnTo>
                  <a:lnTo>
                    <a:pt x="1389" y="170"/>
                  </a:lnTo>
                  <a:lnTo>
                    <a:pt x="1388" y="168"/>
                  </a:lnTo>
                  <a:lnTo>
                    <a:pt x="1388" y="166"/>
                  </a:lnTo>
                  <a:lnTo>
                    <a:pt x="1387" y="165"/>
                  </a:lnTo>
                  <a:lnTo>
                    <a:pt x="1387" y="161"/>
                  </a:lnTo>
                  <a:lnTo>
                    <a:pt x="1392" y="161"/>
                  </a:lnTo>
                  <a:lnTo>
                    <a:pt x="1392" y="160"/>
                  </a:lnTo>
                  <a:lnTo>
                    <a:pt x="1393" y="160"/>
                  </a:lnTo>
                  <a:lnTo>
                    <a:pt x="1393" y="156"/>
                  </a:lnTo>
                  <a:lnTo>
                    <a:pt x="1392" y="156"/>
                  </a:lnTo>
                  <a:lnTo>
                    <a:pt x="1387" y="159"/>
                  </a:lnTo>
                  <a:lnTo>
                    <a:pt x="1386" y="160"/>
                  </a:lnTo>
                  <a:lnTo>
                    <a:pt x="1385" y="164"/>
                  </a:lnTo>
                  <a:lnTo>
                    <a:pt x="1383" y="165"/>
                  </a:lnTo>
                  <a:lnTo>
                    <a:pt x="1379" y="165"/>
                  </a:lnTo>
                  <a:lnTo>
                    <a:pt x="1378" y="164"/>
                  </a:lnTo>
                  <a:lnTo>
                    <a:pt x="1378" y="162"/>
                  </a:lnTo>
                  <a:lnTo>
                    <a:pt x="1380" y="160"/>
                  </a:lnTo>
                  <a:lnTo>
                    <a:pt x="1385" y="158"/>
                  </a:lnTo>
                  <a:lnTo>
                    <a:pt x="1400" y="144"/>
                  </a:lnTo>
                  <a:lnTo>
                    <a:pt x="1406" y="142"/>
                  </a:lnTo>
                  <a:lnTo>
                    <a:pt x="1411" y="137"/>
                  </a:lnTo>
                  <a:lnTo>
                    <a:pt x="1414" y="135"/>
                  </a:lnTo>
                  <a:lnTo>
                    <a:pt x="1418" y="131"/>
                  </a:lnTo>
                  <a:lnTo>
                    <a:pt x="1423" y="130"/>
                  </a:lnTo>
                  <a:lnTo>
                    <a:pt x="1426" y="127"/>
                  </a:lnTo>
                  <a:lnTo>
                    <a:pt x="1445" y="121"/>
                  </a:lnTo>
                  <a:lnTo>
                    <a:pt x="1455" y="117"/>
                  </a:lnTo>
                  <a:lnTo>
                    <a:pt x="1463" y="117"/>
                  </a:lnTo>
                  <a:lnTo>
                    <a:pt x="1465" y="116"/>
                  </a:lnTo>
                  <a:lnTo>
                    <a:pt x="1473" y="116"/>
                  </a:lnTo>
                  <a:lnTo>
                    <a:pt x="1474" y="117"/>
                  </a:lnTo>
                  <a:lnTo>
                    <a:pt x="1474" y="118"/>
                  </a:lnTo>
                  <a:lnTo>
                    <a:pt x="1473" y="118"/>
                  </a:lnTo>
                  <a:lnTo>
                    <a:pt x="1473" y="119"/>
                  </a:lnTo>
                  <a:lnTo>
                    <a:pt x="1468" y="119"/>
                  </a:lnTo>
                  <a:lnTo>
                    <a:pt x="1466" y="122"/>
                  </a:lnTo>
                  <a:lnTo>
                    <a:pt x="1449" y="124"/>
                  </a:lnTo>
                  <a:lnTo>
                    <a:pt x="1434" y="128"/>
                  </a:lnTo>
                  <a:lnTo>
                    <a:pt x="1434" y="129"/>
                  </a:lnTo>
                  <a:lnTo>
                    <a:pt x="1435" y="130"/>
                  </a:lnTo>
                  <a:lnTo>
                    <a:pt x="1435" y="131"/>
                  </a:lnTo>
                  <a:lnTo>
                    <a:pt x="1436" y="132"/>
                  </a:lnTo>
                  <a:lnTo>
                    <a:pt x="1438" y="134"/>
                  </a:lnTo>
                  <a:lnTo>
                    <a:pt x="1439" y="132"/>
                  </a:lnTo>
                  <a:lnTo>
                    <a:pt x="1438" y="132"/>
                  </a:lnTo>
                  <a:lnTo>
                    <a:pt x="1438" y="131"/>
                  </a:lnTo>
                  <a:lnTo>
                    <a:pt x="1437" y="131"/>
                  </a:lnTo>
                  <a:lnTo>
                    <a:pt x="1437" y="130"/>
                  </a:lnTo>
                  <a:lnTo>
                    <a:pt x="1438" y="129"/>
                  </a:lnTo>
                  <a:lnTo>
                    <a:pt x="1449" y="131"/>
                  </a:lnTo>
                  <a:lnTo>
                    <a:pt x="1450" y="132"/>
                  </a:lnTo>
                  <a:lnTo>
                    <a:pt x="1451" y="135"/>
                  </a:lnTo>
                  <a:lnTo>
                    <a:pt x="1447" y="140"/>
                  </a:lnTo>
                  <a:lnTo>
                    <a:pt x="1445" y="140"/>
                  </a:lnTo>
                  <a:lnTo>
                    <a:pt x="1444" y="141"/>
                  </a:lnTo>
                  <a:lnTo>
                    <a:pt x="1443" y="144"/>
                  </a:lnTo>
                  <a:lnTo>
                    <a:pt x="1443" y="153"/>
                  </a:lnTo>
                  <a:lnTo>
                    <a:pt x="1438" y="158"/>
                  </a:lnTo>
                  <a:lnTo>
                    <a:pt x="1438" y="160"/>
                  </a:lnTo>
                  <a:lnTo>
                    <a:pt x="1439" y="162"/>
                  </a:lnTo>
                  <a:lnTo>
                    <a:pt x="1442" y="165"/>
                  </a:lnTo>
                  <a:lnTo>
                    <a:pt x="1445" y="172"/>
                  </a:lnTo>
                  <a:lnTo>
                    <a:pt x="1445" y="173"/>
                  </a:lnTo>
                  <a:lnTo>
                    <a:pt x="1447" y="174"/>
                  </a:lnTo>
                  <a:lnTo>
                    <a:pt x="1447" y="183"/>
                  </a:lnTo>
                  <a:lnTo>
                    <a:pt x="1448" y="185"/>
                  </a:lnTo>
                  <a:lnTo>
                    <a:pt x="1448" y="187"/>
                  </a:lnTo>
                  <a:lnTo>
                    <a:pt x="1447" y="189"/>
                  </a:lnTo>
                  <a:lnTo>
                    <a:pt x="1444" y="189"/>
                  </a:lnTo>
                  <a:lnTo>
                    <a:pt x="1444" y="190"/>
                  </a:lnTo>
                  <a:lnTo>
                    <a:pt x="1443" y="192"/>
                  </a:lnTo>
                  <a:lnTo>
                    <a:pt x="1442" y="193"/>
                  </a:lnTo>
                  <a:lnTo>
                    <a:pt x="1442" y="192"/>
                  </a:lnTo>
                  <a:lnTo>
                    <a:pt x="1436" y="186"/>
                  </a:lnTo>
                  <a:lnTo>
                    <a:pt x="1434" y="185"/>
                  </a:lnTo>
                  <a:lnTo>
                    <a:pt x="1432" y="186"/>
                  </a:lnTo>
                  <a:lnTo>
                    <a:pt x="1436" y="190"/>
                  </a:lnTo>
                  <a:lnTo>
                    <a:pt x="1436" y="191"/>
                  </a:lnTo>
                  <a:lnTo>
                    <a:pt x="1437" y="193"/>
                  </a:lnTo>
                  <a:lnTo>
                    <a:pt x="1436" y="195"/>
                  </a:lnTo>
                  <a:lnTo>
                    <a:pt x="1435" y="195"/>
                  </a:lnTo>
                  <a:lnTo>
                    <a:pt x="1431" y="191"/>
                  </a:lnTo>
                  <a:lnTo>
                    <a:pt x="1426" y="190"/>
                  </a:lnTo>
                  <a:lnTo>
                    <a:pt x="1425" y="191"/>
                  </a:lnTo>
                  <a:lnTo>
                    <a:pt x="1424" y="193"/>
                  </a:lnTo>
                  <a:lnTo>
                    <a:pt x="1423" y="193"/>
                  </a:lnTo>
                  <a:lnTo>
                    <a:pt x="1423" y="192"/>
                  </a:lnTo>
                  <a:lnTo>
                    <a:pt x="1422" y="192"/>
                  </a:lnTo>
                  <a:lnTo>
                    <a:pt x="1420" y="195"/>
                  </a:lnTo>
                  <a:lnTo>
                    <a:pt x="1418" y="198"/>
                  </a:lnTo>
                  <a:lnTo>
                    <a:pt x="1417" y="202"/>
                  </a:lnTo>
                  <a:lnTo>
                    <a:pt x="1418" y="203"/>
                  </a:lnTo>
                  <a:lnTo>
                    <a:pt x="1422" y="205"/>
                  </a:lnTo>
                  <a:lnTo>
                    <a:pt x="1424" y="204"/>
                  </a:lnTo>
                  <a:lnTo>
                    <a:pt x="1428" y="203"/>
                  </a:lnTo>
                  <a:lnTo>
                    <a:pt x="1442" y="204"/>
                  </a:lnTo>
                  <a:lnTo>
                    <a:pt x="1443" y="204"/>
                  </a:lnTo>
                  <a:lnTo>
                    <a:pt x="1445" y="207"/>
                  </a:lnTo>
                  <a:lnTo>
                    <a:pt x="1445" y="208"/>
                  </a:lnTo>
                  <a:lnTo>
                    <a:pt x="1450" y="208"/>
                  </a:lnTo>
                  <a:lnTo>
                    <a:pt x="1454" y="204"/>
                  </a:lnTo>
                  <a:lnTo>
                    <a:pt x="1456" y="198"/>
                  </a:lnTo>
                  <a:lnTo>
                    <a:pt x="1459" y="196"/>
                  </a:lnTo>
                  <a:lnTo>
                    <a:pt x="1460" y="196"/>
                  </a:lnTo>
                  <a:lnTo>
                    <a:pt x="1457" y="201"/>
                  </a:lnTo>
                  <a:lnTo>
                    <a:pt x="1457" y="205"/>
                  </a:lnTo>
                  <a:lnTo>
                    <a:pt x="1459" y="209"/>
                  </a:lnTo>
                  <a:lnTo>
                    <a:pt x="1461" y="208"/>
                  </a:lnTo>
                  <a:lnTo>
                    <a:pt x="1469" y="198"/>
                  </a:lnTo>
                  <a:lnTo>
                    <a:pt x="1472" y="197"/>
                  </a:lnTo>
                  <a:lnTo>
                    <a:pt x="1473" y="197"/>
                  </a:lnTo>
                  <a:lnTo>
                    <a:pt x="1474" y="199"/>
                  </a:lnTo>
                  <a:lnTo>
                    <a:pt x="1478" y="210"/>
                  </a:lnTo>
                  <a:lnTo>
                    <a:pt x="1479" y="213"/>
                  </a:lnTo>
                  <a:lnTo>
                    <a:pt x="1486" y="213"/>
                  </a:lnTo>
                  <a:lnTo>
                    <a:pt x="1487" y="211"/>
                  </a:lnTo>
                  <a:lnTo>
                    <a:pt x="1487" y="209"/>
                  </a:lnTo>
                  <a:lnTo>
                    <a:pt x="1488" y="207"/>
                  </a:lnTo>
                  <a:lnTo>
                    <a:pt x="1490" y="205"/>
                  </a:lnTo>
                  <a:lnTo>
                    <a:pt x="1490" y="204"/>
                  </a:lnTo>
                  <a:lnTo>
                    <a:pt x="1488" y="201"/>
                  </a:lnTo>
                  <a:lnTo>
                    <a:pt x="1488" y="198"/>
                  </a:lnTo>
                  <a:lnTo>
                    <a:pt x="1487" y="198"/>
                  </a:lnTo>
                  <a:lnTo>
                    <a:pt x="1486" y="196"/>
                  </a:lnTo>
                  <a:lnTo>
                    <a:pt x="1488" y="196"/>
                  </a:lnTo>
                  <a:lnTo>
                    <a:pt x="1488" y="193"/>
                  </a:lnTo>
                  <a:lnTo>
                    <a:pt x="1490" y="190"/>
                  </a:lnTo>
                  <a:lnTo>
                    <a:pt x="1490" y="187"/>
                  </a:lnTo>
                  <a:lnTo>
                    <a:pt x="1492" y="183"/>
                  </a:lnTo>
                  <a:lnTo>
                    <a:pt x="1493" y="181"/>
                  </a:lnTo>
                  <a:lnTo>
                    <a:pt x="1494" y="183"/>
                  </a:lnTo>
                  <a:lnTo>
                    <a:pt x="1496" y="181"/>
                  </a:lnTo>
                  <a:lnTo>
                    <a:pt x="1497" y="178"/>
                  </a:lnTo>
                  <a:lnTo>
                    <a:pt x="1500" y="177"/>
                  </a:lnTo>
                  <a:lnTo>
                    <a:pt x="1501" y="175"/>
                  </a:lnTo>
                  <a:lnTo>
                    <a:pt x="1501" y="173"/>
                  </a:lnTo>
                  <a:lnTo>
                    <a:pt x="1503" y="172"/>
                  </a:lnTo>
                  <a:lnTo>
                    <a:pt x="1509" y="168"/>
                  </a:lnTo>
                  <a:lnTo>
                    <a:pt x="1513" y="167"/>
                  </a:lnTo>
                  <a:lnTo>
                    <a:pt x="1518" y="167"/>
                  </a:lnTo>
                  <a:lnTo>
                    <a:pt x="1525" y="165"/>
                  </a:lnTo>
                  <a:lnTo>
                    <a:pt x="1532" y="158"/>
                  </a:lnTo>
                  <a:lnTo>
                    <a:pt x="1535" y="156"/>
                  </a:lnTo>
                  <a:lnTo>
                    <a:pt x="1537" y="158"/>
                  </a:lnTo>
                  <a:lnTo>
                    <a:pt x="1541" y="161"/>
                  </a:lnTo>
                  <a:lnTo>
                    <a:pt x="1543" y="161"/>
                  </a:lnTo>
                  <a:lnTo>
                    <a:pt x="1556" y="160"/>
                  </a:lnTo>
                  <a:lnTo>
                    <a:pt x="1556" y="161"/>
                  </a:lnTo>
                  <a:lnTo>
                    <a:pt x="1555" y="166"/>
                  </a:lnTo>
                  <a:lnTo>
                    <a:pt x="1556" y="165"/>
                  </a:lnTo>
                  <a:lnTo>
                    <a:pt x="1559" y="160"/>
                  </a:lnTo>
                  <a:lnTo>
                    <a:pt x="1560" y="159"/>
                  </a:lnTo>
                  <a:lnTo>
                    <a:pt x="1562" y="159"/>
                  </a:lnTo>
                  <a:lnTo>
                    <a:pt x="1571" y="167"/>
                  </a:lnTo>
                  <a:lnTo>
                    <a:pt x="1580" y="170"/>
                  </a:lnTo>
                  <a:lnTo>
                    <a:pt x="1591" y="168"/>
                  </a:lnTo>
                  <a:lnTo>
                    <a:pt x="1593" y="166"/>
                  </a:lnTo>
                  <a:lnTo>
                    <a:pt x="1594" y="164"/>
                  </a:lnTo>
                  <a:lnTo>
                    <a:pt x="1596" y="159"/>
                  </a:lnTo>
                  <a:lnTo>
                    <a:pt x="1597" y="156"/>
                  </a:lnTo>
                  <a:lnTo>
                    <a:pt x="1599" y="154"/>
                  </a:lnTo>
                  <a:lnTo>
                    <a:pt x="1600" y="152"/>
                  </a:lnTo>
                  <a:lnTo>
                    <a:pt x="1602" y="148"/>
                  </a:lnTo>
                  <a:lnTo>
                    <a:pt x="1603" y="147"/>
                  </a:lnTo>
                  <a:lnTo>
                    <a:pt x="1616" y="146"/>
                  </a:lnTo>
                  <a:lnTo>
                    <a:pt x="1618" y="141"/>
                  </a:lnTo>
                  <a:lnTo>
                    <a:pt x="1617" y="140"/>
                  </a:lnTo>
                  <a:lnTo>
                    <a:pt x="1617" y="135"/>
                  </a:lnTo>
                  <a:lnTo>
                    <a:pt x="1618" y="134"/>
                  </a:lnTo>
                  <a:lnTo>
                    <a:pt x="1627" y="130"/>
                  </a:lnTo>
                  <a:lnTo>
                    <a:pt x="1629" y="130"/>
                  </a:lnTo>
                  <a:lnTo>
                    <a:pt x="1629" y="131"/>
                  </a:lnTo>
                  <a:lnTo>
                    <a:pt x="1628" y="135"/>
                  </a:lnTo>
                  <a:lnTo>
                    <a:pt x="1628" y="137"/>
                  </a:lnTo>
                  <a:lnTo>
                    <a:pt x="1629" y="138"/>
                  </a:lnTo>
                  <a:lnTo>
                    <a:pt x="1630" y="141"/>
                  </a:lnTo>
                  <a:lnTo>
                    <a:pt x="1630" y="143"/>
                  </a:lnTo>
                  <a:lnTo>
                    <a:pt x="1635" y="146"/>
                  </a:lnTo>
                  <a:lnTo>
                    <a:pt x="1634" y="148"/>
                  </a:lnTo>
                  <a:lnTo>
                    <a:pt x="1636" y="148"/>
                  </a:lnTo>
                  <a:lnTo>
                    <a:pt x="1637" y="147"/>
                  </a:lnTo>
                  <a:lnTo>
                    <a:pt x="1637" y="144"/>
                  </a:lnTo>
                  <a:lnTo>
                    <a:pt x="1636" y="144"/>
                  </a:lnTo>
                  <a:lnTo>
                    <a:pt x="1635" y="143"/>
                  </a:lnTo>
                  <a:lnTo>
                    <a:pt x="1635" y="142"/>
                  </a:lnTo>
                  <a:lnTo>
                    <a:pt x="1631" y="142"/>
                  </a:lnTo>
                  <a:lnTo>
                    <a:pt x="1631" y="137"/>
                  </a:lnTo>
                  <a:lnTo>
                    <a:pt x="1630" y="137"/>
                  </a:lnTo>
                  <a:lnTo>
                    <a:pt x="1630" y="129"/>
                  </a:lnTo>
                  <a:lnTo>
                    <a:pt x="1631" y="129"/>
                  </a:lnTo>
                  <a:lnTo>
                    <a:pt x="1631" y="128"/>
                  </a:lnTo>
                  <a:lnTo>
                    <a:pt x="1643" y="122"/>
                  </a:lnTo>
                  <a:lnTo>
                    <a:pt x="1656" y="117"/>
                  </a:lnTo>
                  <a:lnTo>
                    <a:pt x="1671" y="117"/>
                  </a:lnTo>
                  <a:lnTo>
                    <a:pt x="1672" y="118"/>
                  </a:lnTo>
                  <a:lnTo>
                    <a:pt x="1671" y="119"/>
                  </a:lnTo>
                  <a:lnTo>
                    <a:pt x="1668" y="118"/>
                  </a:lnTo>
                  <a:lnTo>
                    <a:pt x="1667" y="118"/>
                  </a:lnTo>
                  <a:lnTo>
                    <a:pt x="1666" y="119"/>
                  </a:lnTo>
                  <a:lnTo>
                    <a:pt x="1660" y="121"/>
                  </a:lnTo>
                  <a:lnTo>
                    <a:pt x="1658" y="123"/>
                  </a:lnTo>
                  <a:lnTo>
                    <a:pt x="1656" y="125"/>
                  </a:lnTo>
                  <a:lnTo>
                    <a:pt x="1660" y="125"/>
                  </a:lnTo>
                  <a:lnTo>
                    <a:pt x="1666" y="129"/>
                  </a:lnTo>
                  <a:lnTo>
                    <a:pt x="1679" y="144"/>
                  </a:lnTo>
                  <a:lnTo>
                    <a:pt x="1679" y="150"/>
                  </a:lnTo>
                  <a:lnTo>
                    <a:pt x="1678" y="152"/>
                  </a:lnTo>
                  <a:lnTo>
                    <a:pt x="1675" y="152"/>
                  </a:lnTo>
                  <a:lnTo>
                    <a:pt x="1673" y="150"/>
                  </a:lnTo>
                  <a:lnTo>
                    <a:pt x="1671" y="150"/>
                  </a:lnTo>
                  <a:lnTo>
                    <a:pt x="1668" y="153"/>
                  </a:lnTo>
                  <a:lnTo>
                    <a:pt x="1667" y="155"/>
                  </a:lnTo>
                  <a:lnTo>
                    <a:pt x="1667" y="158"/>
                  </a:lnTo>
                  <a:lnTo>
                    <a:pt x="1666" y="159"/>
                  </a:lnTo>
                  <a:lnTo>
                    <a:pt x="1666" y="160"/>
                  </a:lnTo>
                  <a:lnTo>
                    <a:pt x="1665" y="160"/>
                  </a:lnTo>
                  <a:lnTo>
                    <a:pt x="1664" y="161"/>
                  </a:lnTo>
                  <a:lnTo>
                    <a:pt x="1664" y="167"/>
                  </a:lnTo>
                  <a:lnTo>
                    <a:pt x="1666" y="170"/>
                  </a:lnTo>
                  <a:lnTo>
                    <a:pt x="1666" y="173"/>
                  </a:lnTo>
                  <a:lnTo>
                    <a:pt x="1665" y="175"/>
                  </a:lnTo>
                  <a:lnTo>
                    <a:pt x="1665" y="185"/>
                  </a:lnTo>
                  <a:lnTo>
                    <a:pt x="1666" y="186"/>
                  </a:lnTo>
                  <a:lnTo>
                    <a:pt x="1678" y="190"/>
                  </a:lnTo>
                  <a:lnTo>
                    <a:pt x="1690" y="195"/>
                  </a:lnTo>
                  <a:lnTo>
                    <a:pt x="1697" y="189"/>
                  </a:lnTo>
                  <a:lnTo>
                    <a:pt x="1699" y="186"/>
                  </a:lnTo>
                  <a:lnTo>
                    <a:pt x="1702" y="179"/>
                  </a:lnTo>
                  <a:lnTo>
                    <a:pt x="1702" y="173"/>
                  </a:lnTo>
                  <a:lnTo>
                    <a:pt x="1698" y="166"/>
                  </a:lnTo>
                  <a:lnTo>
                    <a:pt x="1696" y="162"/>
                  </a:lnTo>
                  <a:lnTo>
                    <a:pt x="1695" y="161"/>
                  </a:lnTo>
                  <a:lnTo>
                    <a:pt x="1693" y="161"/>
                  </a:lnTo>
                  <a:lnTo>
                    <a:pt x="1693" y="156"/>
                  </a:lnTo>
                  <a:lnTo>
                    <a:pt x="1696" y="154"/>
                  </a:lnTo>
                  <a:lnTo>
                    <a:pt x="1699" y="149"/>
                  </a:lnTo>
                  <a:lnTo>
                    <a:pt x="1701" y="149"/>
                  </a:lnTo>
                  <a:lnTo>
                    <a:pt x="1705" y="153"/>
                  </a:lnTo>
                  <a:lnTo>
                    <a:pt x="1706" y="154"/>
                  </a:lnTo>
                  <a:lnTo>
                    <a:pt x="1723" y="149"/>
                  </a:lnTo>
                  <a:lnTo>
                    <a:pt x="1727" y="147"/>
                  </a:lnTo>
                  <a:lnTo>
                    <a:pt x="1733" y="138"/>
                  </a:lnTo>
                  <a:lnTo>
                    <a:pt x="1734" y="137"/>
                  </a:lnTo>
                  <a:lnTo>
                    <a:pt x="1735" y="132"/>
                  </a:lnTo>
                  <a:lnTo>
                    <a:pt x="1736" y="131"/>
                  </a:lnTo>
                  <a:lnTo>
                    <a:pt x="1737" y="129"/>
                  </a:lnTo>
                  <a:lnTo>
                    <a:pt x="1740" y="129"/>
                  </a:lnTo>
                  <a:lnTo>
                    <a:pt x="1745" y="128"/>
                  </a:lnTo>
                  <a:lnTo>
                    <a:pt x="1743" y="128"/>
                  </a:lnTo>
                  <a:lnTo>
                    <a:pt x="1742" y="127"/>
                  </a:lnTo>
                  <a:lnTo>
                    <a:pt x="1742" y="124"/>
                  </a:lnTo>
                  <a:lnTo>
                    <a:pt x="1743" y="122"/>
                  </a:lnTo>
                  <a:lnTo>
                    <a:pt x="1743" y="113"/>
                  </a:lnTo>
                  <a:lnTo>
                    <a:pt x="1742" y="112"/>
                  </a:lnTo>
                  <a:lnTo>
                    <a:pt x="1743" y="109"/>
                  </a:lnTo>
                  <a:lnTo>
                    <a:pt x="1742" y="107"/>
                  </a:lnTo>
                  <a:lnTo>
                    <a:pt x="1741" y="103"/>
                  </a:lnTo>
                  <a:lnTo>
                    <a:pt x="1739" y="98"/>
                  </a:lnTo>
                  <a:lnTo>
                    <a:pt x="1736" y="95"/>
                  </a:lnTo>
                  <a:lnTo>
                    <a:pt x="1734" y="97"/>
                  </a:lnTo>
                  <a:lnTo>
                    <a:pt x="1734" y="103"/>
                  </a:lnTo>
                  <a:lnTo>
                    <a:pt x="1735" y="103"/>
                  </a:lnTo>
                  <a:lnTo>
                    <a:pt x="1734" y="105"/>
                  </a:lnTo>
                  <a:lnTo>
                    <a:pt x="1732" y="104"/>
                  </a:lnTo>
                  <a:lnTo>
                    <a:pt x="1729" y="104"/>
                  </a:lnTo>
                  <a:lnTo>
                    <a:pt x="1728" y="101"/>
                  </a:lnTo>
                  <a:lnTo>
                    <a:pt x="1728" y="85"/>
                  </a:lnTo>
                  <a:lnTo>
                    <a:pt x="1727" y="82"/>
                  </a:lnTo>
                  <a:lnTo>
                    <a:pt x="1727" y="80"/>
                  </a:lnTo>
                  <a:lnTo>
                    <a:pt x="1726" y="78"/>
                  </a:lnTo>
                  <a:lnTo>
                    <a:pt x="1722" y="74"/>
                  </a:lnTo>
                  <a:lnTo>
                    <a:pt x="1722" y="69"/>
                  </a:lnTo>
                  <a:lnTo>
                    <a:pt x="1721" y="68"/>
                  </a:lnTo>
                  <a:lnTo>
                    <a:pt x="1717" y="63"/>
                  </a:lnTo>
                  <a:lnTo>
                    <a:pt x="1716" y="63"/>
                  </a:lnTo>
                  <a:lnTo>
                    <a:pt x="1715" y="57"/>
                  </a:lnTo>
                  <a:lnTo>
                    <a:pt x="1712" y="55"/>
                  </a:lnTo>
                  <a:lnTo>
                    <a:pt x="1712" y="51"/>
                  </a:lnTo>
                  <a:lnTo>
                    <a:pt x="1709" y="48"/>
                  </a:lnTo>
                  <a:lnTo>
                    <a:pt x="1710" y="45"/>
                  </a:lnTo>
                  <a:lnTo>
                    <a:pt x="1710" y="42"/>
                  </a:lnTo>
                  <a:lnTo>
                    <a:pt x="1711" y="39"/>
                  </a:lnTo>
                  <a:lnTo>
                    <a:pt x="1714" y="37"/>
                  </a:lnTo>
                  <a:lnTo>
                    <a:pt x="1732" y="37"/>
                  </a:lnTo>
                  <a:lnTo>
                    <a:pt x="1732" y="32"/>
                  </a:lnTo>
                  <a:lnTo>
                    <a:pt x="1730" y="31"/>
                  </a:lnTo>
                  <a:lnTo>
                    <a:pt x="1730" y="29"/>
                  </a:lnTo>
                  <a:lnTo>
                    <a:pt x="1732" y="29"/>
                  </a:lnTo>
                  <a:lnTo>
                    <a:pt x="1733" y="30"/>
                  </a:lnTo>
                  <a:lnTo>
                    <a:pt x="1734" y="30"/>
                  </a:lnTo>
                  <a:lnTo>
                    <a:pt x="1734" y="27"/>
                  </a:lnTo>
                  <a:lnTo>
                    <a:pt x="1733" y="27"/>
                  </a:lnTo>
                  <a:lnTo>
                    <a:pt x="1733" y="18"/>
                  </a:lnTo>
                  <a:lnTo>
                    <a:pt x="1734" y="17"/>
                  </a:lnTo>
                  <a:lnTo>
                    <a:pt x="1736" y="15"/>
                  </a:lnTo>
                  <a:lnTo>
                    <a:pt x="1742" y="13"/>
                  </a:lnTo>
                  <a:lnTo>
                    <a:pt x="1745" y="13"/>
                  </a:lnTo>
                  <a:lnTo>
                    <a:pt x="1747" y="15"/>
                  </a:lnTo>
                  <a:lnTo>
                    <a:pt x="1748" y="15"/>
                  </a:lnTo>
                  <a:lnTo>
                    <a:pt x="1749" y="13"/>
                  </a:lnTo>
                  <a:lnTo>
                    <a:pt x="1751" y="13"/>
                  </a:lnTo>
                  <a:lnTo>
                    <a:pt x="1751" y="15"/>
                  </a:lnTo>
                  <a:lnTo>
                    <a:pt x="1752" y="17"/>
                  </a:lnTo>
                  <a:lnTo>
                    <a:pt x="1759" y="18"/>
                  </a:lnTo>
                  <a:lnTo>
                    <a:pt x="1762" y="21"/>
                  </a:lnTo>
                  <a:lnTo>
                    <a:pt x="1778" y="25"/>
                  </a:lnTo>
                  <a:lnTo>
                    <a:pt x="1784" y="26"/>
                  </a:lnTo>
                  <a:lnTo>
                    <a:pt x="1784" y="1480"/>
                  </a:lnTo>
                  <a:lnTo>
                    <a:pt x="1783" y="1480"/>
                  </a:lnTo>
                  <a:lnTo>
                    <a:pt x="1782" y="1479"/>
                  </a:lnTo>
                  <a:lnTo>
                    <a:pt x="1780" y="1479"/>
                  </a:lnTo>
                  <a:lnTo>
                    <a:pt x="1780" y="1475"/>
                  </a:lnTo>
                  <a:lnTo>
                    <a:pt x="1778" y="1475"/>
                  </a:lnTo>
                  <a:lnTo>
                    <a:pt x="1778" y="1476"/>
                  </a:lnTo>
                  <a:lnTo>
                    <a:pt x="1777" y="1476"/>
                  </a:lnTo>
                  <a:lnTo>
                    <a:pt x="1776" y="1475"/>
                  </a:lnTo>
                  <a:lnTo>
                    <a:pt x="1772" y="1475"/>
                  </a:lnTo>
                  <a:lnTo>
                    <a:pt x="1772" y="1477"/>
                  </a:lnTo>
                  <a:lnTo>
                    <a:pt x="1771" y="1477"/>
                  </a:lnTo>
                  <a:lnTo>
                    <a:pt x="1771" y="1479"/>
                  </a:lnTo>
                  <a:lnTo>
                    <a:pt x="1770" y="1479"/>
                  </a:lnTo>
                  <a:lnTo>
                    <a:pt x="1768" y="1477"/>
                  </a:lnTo>
                  <a:lnTo>
                    <a:pt x="1768" y="1475"/>
                  </a:lnTo>
                  <a:lnTo>
                    <a:pt x="1766" y="1475"/>
                  </a:lnTo>
                  <a:lnTo>
                    <a:pt x="1765" y="1474"/>
                  </a:lnTo>
                  <a:lnTo>
                    <a:pt x="1764" y="1471"/>
                  </a:lnTo>
                  <a:lnTo>
                    <a:pt x="1760" y="1470"/>
                  </a:lnTo>
                  <a:lnTo>
                    <a:pt x="1759" y="1470"/>
                  </a:lnTo>
                  <a:lnTo>
                    <a:pt x="1758" y="1471"/>
                  </a:lnTo>
                  <a:lnTo>
                    <a:pt x="1758" y="1473"/>
                  </a:lnTo>
                  <a:lnTo>
                    <a:pt x="1757" y="1474"/>
                  </a:lnTo>
                  <a:lnTo>
                    <a:pt x="1754" y="1474"/>
                  </a:lnTo>
                  <a:lnTo>
                    <a:pt x="1754" y="1475"/>
                  </a:lnTo>
                  <a:lnTo>
                    <a:pt x="1755" y="1477"/>
                  </a:lnTo>
                  <a:lnTo>
                    <a:pt x="1755" y="1480"/>
                  </a:lnTo>
                  <a:lnTo>
                    <a:pt x="1754" y="1481"/>
                  </a:lnTo>
                  <a:lnTo>
                    <a:pt x="1754" y="1482"/>
                  </a:lnTo>
                  <a:lnTo>
                    <a:pt x="1753" y="1481"/>
                  </a:lnTo>
                  <a:lnTo>
                    <a:pt x="1753" y="1480"/>
                  </a:lnTo>
                  <a:lnTo>
                    <a:pt x="1752" y="1480"/>
                  </a:lnTo>
                  <a:lnTo>
                    <a:pt x="1752" y="1479"/>
                  </a:lnTo>
                  <a:lnTo>
                    <a:pt x="1746" y="1479"/>
                  </a:lnTo>
                  <a:lnTo>
                    <a:pt x="1745" y="1480"/>
                  </a:lnTo>
                  <a:lnTo>
                    <a:pt x="1745" y="1483"/>
                  </a:lnTo>
                  <a:lnTo>
                    <a:pt x="1749" y="1483"/>
                  </a:lnTo>
                  <a:lnTo>
                    <a:pt x="1749" y="1485"/>
                  </a:lnTo>
                  <a:lnTo>
                    <a:pt x="1751" y="1486"/>
                  </a:lnTo>
                  <a:lnTo>
                    <a:pt x="1752" y="1486"/>
                  </a:lnTo>
                  <a:lnTo>
                    <a:pt x="1754" y="1488"/>
                  </a:lnTo>
                  <a:lnTo>
                    <a:pt x="1754" y="1489"/>
                  </a:lnTo>
                  <a:lnTo>
                    <a:pt x="1751" y="1493"/>
                  </a:lnTo>
                  <a:lnTo>
                    <a:pt x="1751" y="1495"/>
                  </a:lnTo>
                  <a:lnTo>
                    <a:pt x="1748" y="1495"/>
                  </a:lnTo>
                  <a:lnTo>
                    <a:pt x="1748" y="1496"/>
                  </a:lnTo>
                  <a:lnTo>
                    <a:pt x="1747" y="1496"/>
                  </a:lnTo>
                  <a:lnTo>
                    <a:pt x="1747" y="1500"/>
                  </a:lnTo>
                  <a:lnTo>
                    <a:pt x="1746" y="1501"/>
                  </a:lnTo>
                  <a:lnTo>
                    <a:pt x="1741" y="1499"/>
                  </a:lnTo>
                  <a:lnTo>
                    <a:pt x="1741" y="1501"/>
                  </a:lnTo>
                  <a:lnTo>
                    <a:pt x="1742" y="1502"/>
                  </a:lnTo>
                  <a:lnTo>
                    <a:pt x="1747" y="1502"/>
                  </a:lnTo>
                  <a:lnTo>
                    <a:pt x="1749" y="1504"/>
                  </a:lnTo>
                  <a:lnTo>
                    <a:pt x="1751" y="1505"/>
                  </a:lnTo>
                  <a:lnTo>
                    <a:pt x="1751" y="1506"/>
                  </a:lnTo>
                  <a:lnTo>
                    <a:pt x="1752" y="1506"/>
                  </a:lnTo>
                  <a:lnTo>
                    <a:pt x="1758" y="1507"/>
                  </a:lnTo>
                  <a:lnTo>
                    <a:pt x="1759" y="1507"/>
                  </a:lnTo>
                  <a:lnTo>
                    <a:pt x="1761" y="1505"/>
                  </a:lnTo>
                  <a:lnTo>
                    <a:pt x="1767" y="1505"/>
                  </a:lnTo>
                  <a:lnTo>
                    <a:pt x="1768" y="1506"/>
                  </a:lnTo>
                  <a:lnTo>
                    <a:pt x="1768" y="1510"/>
                  </a:lnTo>
                  <a:lnTo>
                    <a:pt x="1762" y="1516"/>
                  </a:lnTo>
                  <a:lnTo>
                    <a:pt x="1761" y="1516"/>
                  </a:lnTo>
                  <a:lnTo>
                    <a:pt x="1759" y="1513"/>
                  </a:lnTo>
                  <a:lnTo>
                    <a:pt x="1759" y="1511"/>
                  </a:lnTo>
                  <a:lnTo>
                    <a:pt x="1758" y="1511"/>
                  </a:lnTo>
                  <a:lnTo>
                    <a:pt x="1757" y="1510"/>
                  </a:lnTo>
                  <a:lnTo>
                    <a:pt x="1755" y="1511"/>
                  </a:lnTo>
                  <a:lnTo>
                    <a:pt x="1754" y="1513"/>
                  </a:lnTo>
                  <a:lnTo>
                    <a:pt x="1754" y="1516"/>
                  </a:lnTo>
                  <a:lnTo>
                    <a:pt x="1752" y="1518"/>
                  </a:lnTo>
                  <a:lnTo>
                    <a:pt x="1752" y="1523"/>
                  </a:lnTo>
                  <a:lnTo>
                    <a:pt x="1753" y="1525"/>
                  </a:lnTo>
                  <a:lnTo>
                    <a:pt x="1754" y="1526"/>
                  </a:lnTo>
                  <a:lnTo>
                    <a:pt x="1760" y="1526"/>
                  </a:lnTo>
                  <a:lnTo>
                    <a:pt x="1761" y="1528"/>
                  </a:lnTo>
                  <a:lnTo>
                    <a:pt x="1766" y="1531"/>
                  </a:lnTo>
                  <a:lnTo>
                    <a:pt x="1768" y="1531"/>
                  </a:lnTo>
                  <a:lnTo>
                    <a:pt x="1773" y="1529"/>
                  </a:lnTo>
                  <a:lnTo>
                    <a:pt x="1778" y="1533"/>
                  </a:lnTo>
                  <a:lnTo>
                    <a:pt x="1780" y="1535"/>
                  </a:lnTo>
                  <a:lnTo>
                    <a:pt x="1784" y="1536"/>
                  </a:lnTo>
                  <a:lnTo>
                    <a:pt x="1784" y="1550"/>
                  </a:lnTo>
                  <a:lnTo>
                    <a:pt x="1782" y="1548"/>
                  </a:lnTo>
                  <a:lnTo>
                    <a:pt x="1773" y="1548"/>
                  </a:lnTo>
                  <a:lnTo>
                    <a:pt x="1772" y="1549"/>
                  </a:lnTo>
                  <a:lnTo>
                    <a:pt x="1770" y="1549"/>
                  </a:lnTo>
                  <a:lnTo>
                    <a:pt x="1765" y="1544"/>
                  </a:lnTo>
                  <a:lnTo>
                    <a:pt x="1764" y="1544"/>
                  </a:lnTo>
                  <a:lnTo>
                    <a:pt x="1761" y="1547"/>
                  </a:lnTo>
                  <a:lnTo>
                    <a:pt x="1757" y="1547"/>
                  </a:lnTo>
                  <a:lnTo>
                    <a:pt x="1755" y="1545"/>
                  </a:lnTo>
                  <a:lnTo>
                    <a:pt x="1752" y="1545"/>
                  </a:lnTo>
                  <a:lnTo>
                    <a:pt x="1749" y="1548"/>
                  </a:lnTo>
                  <a:lnTo>
                    <a:pt x="1745" y="1548"/>
                  </a:lnTo>
                  <a:lnTo>
                    <a:pt x="1748" y="1551"/>
                  </a:lnTo>
                  <a:lnTo>
                    <a:pt x="1741" y="1559"/>
                  </a:lnTo>
                  <a:lnTo>
                    <a:pt x="1740" y="1559"/>
                  </a:lnTo>
                  <a:lnTo>
                    <a:pt x="1739" y="1561"/>
                  </a:lnTo>
                  <a:lnTo>
                    <a:pt x="1739" y="1562"/>
                  </a:lnTo>
                  <a:lnTo>
                    <a:pt x="1736" y="1562"/>
                  </a:lnTo>
                  <a:lnTo>
                    <a:pt x="1735" y="1563"/>
                  </a:lnTo>
                  <a:lnTo>
                    <a:pt x="1733" y="1565"/>
                  </a:lnTo>
                  <a:lnTo>
                    <a:pt x="1732" y="1567"/>
                  </a:lnTo>
                  <a:lnTo>
                    <a:pt x="1732" y="1569"/>
                  </a:lnTo>
                  <a:lnTo>
                    <a:pt x="1733" y="1569"/>
                  </a:lnTo>
                  <a:lnTo>
                    <a:pt x="1733" y="1571"/>
                  </a:lnTo>
                  <a:lnTo>
                    <a:pt x="1734" y="1572"/>
                  </a:lnTo>
                  <a:lnTo>
                    <a:pt x="1737" y="1572"/>
                  </a:lnTo>
                  <a:lnTo>
                    <a:pt x="1737" y="1579"/>
                  </a:lnTo>
                  <a:lnTo>
                    <a:pt x="1739" y="1580"/>
                  </a:lnTo>
                  <a:lnTo>
                    <a:pt x="1742" y="1581"/>
                  </a:lnTo>
                  <a:lnTo>
                    <a:pt x="1743" y="1581"/>
                  </a:lnTo>
                  <a:lnTo>
                    <a:pt x="1743" y="1587"/>
                  </a:lnTo>
                  <a:lnTo>
                    <a:pt x="1745" y="1588"/>
                  </a:lnTo>
                  <a:lnTo>
                    <a:pt x="1747" y="1592"/>
                  </a:lnTo>
                  <a:lnTo>
                    <a:pt x="1741" y="1598"/>
                  </a:lnTo>
                  <a:lnTo>
                    <a:pt x="1740" y="1598"/>
                  </a:lnTo>
                  <a:lnTo>
                    <a:pt x="1736" y="1600"/>
                  </a:lnTo>
                  <a:lnTo>
                    <a:pt x="1735" y="1600"/>
                  </a:lnTo>
                  <a:lnTo>
                    <a:pt x="1734" y="1604"/>
                  </a:lnTo>
                  <a:lnTo>
                    <a:pt x="1732" y="1605"/>
                  </a:lnTo>
                  <a:lnTo>
                    <a:pt x="1724" y="1605"/>
                  </a:lnTo>
                  <a:lnTo>
                    <a:pt x="1721" y="1606"/>
                  </a:lnTo>
                  <a:lnTo>
                    <a:pt x="1718" y="1609"/>
                  </a:lnTo>
                  <a:lnTo>
                    <a:pt x="1712" y="1616"/>
                  </a:lnTo>
                  <a:lnTo>
                    <a:pt x="1704" y="1616"/>
                  </a:lnTo>
                  <a:lnTo>
                    <a:pt x="1703" y="1617"/>
                  </a:lnTo>
                  <a:lnTo>
                    <a:pt x="1703" y="1619"/>
                  </a:lnTo>
                  <a:lnTo>
                    <a:pt x="1705" y="1624"/>
                  </a:lnTo>
                  <a:lnTo>
                    <a:pt x="1706" y="1624"/>
                  </a:lnTo>
                  <a:lnTo>
                    <a:pt x="1708" y="1625"/>
                  </a:lnTo>
                  <a:lnTo>
                    <a:pt x="1709" y="1624"/>
                  </a:lnTo>
                  <a:lnTo>
                    <a:pt x="1709" y="1623"/>
                  </a:lnTo>
                  <a:lnTo>
                    <a:pt x="1711" y="1623"/>
                  </a:lnTo>
                  <a:lnTo>
                    <a:pt x="1715" y="1627"/>
                  </a:lnTo>
                  <a:lnTo>
                    <a:pt x="1722" y="1628"/>
                  </a:lnTo>
                  <a:lnTo>
                    <a:pt x="1723" y="1630"/>
                  </a:lnTo>
                  <a:lnTo>
                    <a:pt x="1723" y="1631"/>
                  </a:lnTo>
                  <a:lnTo>
                    <a:pt x="1722" y="1631"/>
                  </a:lnTo>
                  <a:lnTo>
                    <a:pt x="1722" y="1634"/>
                  </a:lnTo>
                  <a:lnTo>
                    <a:pt x="1721" y="1634"/>
                  </a:lnTo>
                  <a:lnTo>
                    <a:pt x="1718" y="1636"/>
                  </a:lnTo>
                  <a:lnTo>
                    <a:pt x="1718" y="1637"/>
                  </a:lnTo>
                  <a:lnTo>
                    <a:pt x="1720" y="1639"/>
                  </a:lnTo>
                  <a:lnTo>
                    <a:pt x="1724" y="1639"/>
                  </a:lnTo>
                  <a:lnTo>
                    <a:pt x="1724" y="1641"/>
                  </a:lnTo>
                  <a:lnTo>
                    <a:pt x="1726" y="1641"/>
                  </a:lnTo>
                  <a:lnTo>
                    <a:pt x="1742" y="1642"/>
                  </a:lnTo>
                  <a:lnTo>
                    <a:pt x="1742" y="1645"/>
                  </a:lnTo>
                  <a:lnTo>
                    <a:pt x="1743" y="1646"/>
                  </a:lnTo>
                  <a:lnTo>
                    <a:pt x="1743" y="1647"/>
                  </a:lnTo>
                  <a:lnTo>
                    <a:pt x="1747" y="1651"/>
                  </a:lnTo>
                  <a:lnTo>
                    <a:pt x="1749" y="1651"/>
                  </a:lnTo>
                  <a:lnTo>
                    <a:pt x="1752" y="1652"/>
                  </a:lnTo>
                  <a:lnTo>
                    <a:pt x="1758" y="1652"/>
                  </a:lnTo>
                  <a:lnTo>
                    <a:pt x="1759" y="1653"/>
                  </a:lnTo>
                  <a:lnTo>
                    <a:pt x="1759" y="1652"/>
                  </a:lnTo>
                  <a:lnTo>
                    <a:pt x="1760" y="1652"/>
                  </a:lnTo>
                  <a:lnTo>
                    <a:pt x="1762" y="1653"/>
                  </a:lnTo>
                  <a:lnTo>
                    <a:pt x="1764" y="1654"/>
                  </a:lnTo>
                  <a:lnTo>
                    <a:pt x="1766" y="1654"/>
                  </a:lnTo>
                  <a:lnTo>
                    <a:pt x="1766" y="1655"/>
                  </a:lnTo>
                  <a:lnTo>
                    <a:pt x="1768" y="1661"/>
                  </a:lnTo>
                  <a:lnTo>
                    <a:pt x="1771" y="1664"/>
                  </a:lnTo>
                  <a:lnTo>
                    <a:pt x="1773" y="1665"/>
                  </a:lnTo>
                  <a:lnTo>
                    <a:pt x="1773" y="1666"/>
                  </a:lnTo>
                  <a:lnTo>
                    <a:pt x="1771" y="1666"/>
                  </a:lnTo>
                  <a:lnTo>
                    <a:pt x="1768" y="1668"/>
                  </a:lnTo>
                  <a:lnTo>
                    <a:pt x="1767" y="1672"/>
                  </a:lnTo>
                  <a:lnTo>
                    <a:pt x="1765" y="1683"/>
                  </a:lnTo>
                  <a:lnTo>
                    <a:pt x="1765" y="1685"/>
                  </a:lnTo>
                  <a:lnTo>
                    <a:pt x="1764" y="1691"/>
                  </a:lnTo>
                  <a:lnTo>
                    <a:pt x="1764" y="1694"/>
                  </a:lnTo>
                  <a:lnTo>
                    <a:pt x="1762" y="1696"/>
                  </a:lnTo>
                  <a:lnTo>
                    <a:pt x="1761" y="1697"/>
                  </a:lnTo>
                  <a:lnTo>
                    <a:pt x="1749" y="1702"/>
                  </a:lnTo>
                  <a:lnTo>
                    <a:pt x="1737" y="1705"/>
                  </a:lnTo>
                  <a:lnTo>
                    <a:pt x="1734" y="1705"/>
                  </a:lnTo>
                  <a:lnTo>
                    <a:pt x="1716" y="1704"/>
                  </a:lnTo>
                  <a:lnTo>
                    <a:pt x="1714" y="1703"/>
                  </a:lnTo>
                  <a:lnTo>
                    <a:pt x="1712" y="1702"/>
                  </a:lnTo>
                  <a:lnTo>
                    <a:pt x="1711" y="1700"/>
                  </a:lnTo>
                  <a:lnTo>
                    <a:pt x="1710" y="1698"/>
                  </a:lnTo>
                  <a:lnTo>
                    <a:pt x="1710" y="1696"/>
                  </a:lnTo>
                  <a:lnTo>
                    <a:pt x="1709" y="1694"/>
                  </a:lnTo>
                  <a:lnTo>
                    <a:pt x="1706" y="1692"/>
                  </a:lnTo>
                  <a:lnTo>
                    <a:pt x="1704" y="1692"/>
                  </a:lnTo>
                  <a:lnTo>
                    <a:pt x="1703" y="1694"/>
                  </a:lnTo>
                  <a:lnTo>
                    <a:pt x="1702" y="1694"/>
                  </a:lnTo>
                  <a:lnTo>
                    <a:pt x="1702" y="1695"/>
                  </a:lnTo>
                  <a:lnTo>
                    <a:pt x="1701" y="1698"/>
                  </a:lnTo>
                  <a:lnTo>
                    <a:pt x="1699" y="1700"/>
                  </a:lnTo>
                  <a:lnTo>
                    <a:pt x="1699" y="1701"/>
                  </a:lnTo>
                  <a:lnTo>
                    <a:pt x="1701" y="1703"/>
                  </a:lnTo>
                  <a:lnTo>
                    <a:pt x="1699" y="1704"/>
                  </a:lnTo>
                  <a:lnTo>
                    <a:pt x="1699" y="1705"/>
                  </a:lnTo>
                  <a:lnTo>
                    <a:pt x="1697" y="1708"/>
                  </a:lnTo>
                  <a:lnTo>
                    <a:pt x="1696" y="1711"/>
                  </a:lnTo>
                  <a:lnTo>
                    <a:pt x="1693" y="1714"/>
                  </a:lnTo>
                  <a:lnTo>
                    <a:pt x="1690" y="1714"/>
                  </a:lnTo>
                  <a:lnTo>
                    <a:pt x="1687" y="1715"/>
                  </a:lnTo>
                  <a:lnTo>
                    <a:pt x="1685" y="1717"/>
                  </a:lnTo>
                  <a:lnTo>
                    <a:pt x="1684" y="1717"/>
                  </a:lnTo>
                  <a:lnTo>
                    <a:pt x="1681" y="1716"/>
                  </a:lnTo>
                  <a:lnTo>
                    <a:pt x="1680" y="1715"/>
                  </a:lnTo>
                  <a:lnTo>
                    <a:pt x="1680" y="1714"/>
                  </a:lnTo>
                  <a:lnTo>
                    <a:pt x="1681" y="1713"/>
                  </a:lnTo>
                  <a:lnTo>
                    <a:pt x="1685" y="1713"/>
                  </a:lnTo>
                  <a:lnTo>
                    <a:pt x="1685" y="1710"/>
                  </a:lnTo>
                  <a:lnTo>
                    <a:pt x="1683" y="1709"/>
                  </a:lnTo>
                  <a:lnTo>
                    <a:pt x="1681" y="1709"/>
                  </a:lnTo>
                  <a:lnTo>
                    <a:pt x="1680" y="1708"/>
                  </a:lnTo>
                  <a:lnTo>
                    <a:pt x="1678" y="1708"/>
                  </a:lnTo>
                  <a:lnTo>
                    <a:pt x="1673" y="1709"/>
                  </a:lnTo>
                  <a:lnTo>
                    <a:pt x="1671" y="1707"/>
                  </a:lnTo>
                  <a:lnTo>
                    <a:pt x="1671" y="1705"/>
                  </a:lnTo>
                  <a:lnTo>
                    <a:pt x="1670" y="1705"/>
                  </a:lnTo>
                  <a:lnTo>
                    <a:pt x="1658" y="1704"/>
                  </a:lnTo>
                  <a:lnTo>
                    <a:pt x="1656" y="1703"/>
                  </a:lnTo>
                  <a:lnTo>
                    <a:pt x="1653" y="1701"/>
                  </a:lnTo>
                  <a:lnTo>
                    <a:pt x="1652" y="1700"/>
                  </a:lnTo>
                  <a:lnTo>
                    <a:pt x="1652" y="1697"/>
                  </a:lnTo>
                  <a:lnTo>
                    <a:pt x="1647" y="1697"/>
                  </a:lnTo>
                  <a:lnTo>
                    <a:pt x="1647" y="1696"/>
                  </a:lnTo>
                  <a:lnTo>
                    <a:pt x="1646" y="1695"/>
                  </a:lnTo>
                  <a:lnTo>
                    <a:pt x="1647" y="1692"/>
                  </a:lnTo>
                  <a:lnTo>
                    <a:pt x="1643" y="1692"/>
                  </a:lnTo>
                  <a:lnTo>
                    <a:pt x="1642" y="1691"/>
                  </a:lnTo>
                  <a:lnTo>
                    <a:pt x="1642" y="1688"/>
                  </a:lnTo>
                  <a:lnTo>
                    <a:pt x="1643" y="1688"/>
                  </a:lnTo>
                  <a:lnTo>
                    <a:pt x="1643" y="1686"/>
                  </a:lnTo>
                  <a:lnTo>
                    <a:pt x="1644" y="1685"/>
                  </a:lnTo>
                  <a:lnTo>
                    <a:pt x="1644" y="1682"/>
                  </a:lnTo>
                  <a:lnTo>
                    <a:pt x="1643" y="1679"/>
                  </a:lnTo>
                  <a:lnTo>
                    <a:pt x="1641" y="1679"/>
                  </a:lnTo>
                  <a:lnTo>
                    <a:pt x="1636" y="1678"/>
                  </a:lnTo>
                  <a:lnTo>
                    <a:pt x="1635" y="1678"/>
                  </a:lnTo>
                  <a:lnTo>
                    <a:pt x="1635" y="1676"/>
                  </a:lnTo>
                  <a:lnTo>
                    <a:pt x="1633" y="1673"/>
                  </a:lnTo>
                  <a:lnTo>
                    <a:pt x="1630" y="1673"/>
                  </a:lnTo>
                  <a:lnTo>
                    <a:pt x="1628" y="1676"/>
                  </a:lnTo>
                  <a:lnTo>
                    <a:pt x="1628" y="1677"/>
                  </a:lnTo>
                  <a:lnTo>
                    <a:pt x="1627" y="1678"/>
                  </a:lnTo>
                  <a:lnTo>
                    <a:pt x="1627" y="1679"/>
                  </a:lnTo>
                  <a:lnTo>
                    <a:pt x="1625" y="1679"/>
                  </a:lnTo>
                  <a:lnTo>
                    <a:pt x="1624" y="1678"/>
                  </a:lnTo>
                  <a:lnTo>
                    <a:pt x="1623" y="1678"/>
                  </a:lnTo>
                  <a:lnTo>
                    <a:pt x="1623" y="1677"/>
                  </a:lnTo>
                  <a:lnTo>
                    <a:pt x="1618" y="1677"/>
                  </a:lnTo>
                  <a:lnTo>
                    <a:pt x="1617" y="1678"/>
                  </a:lnTo>
                  <a:lnTo>
                    <a:pt x="1616" y="1677"/>
                  </a:lnTo>
                  <a:lnTo>
                    <a:pt x="1616" y="1676"/>
                  </a:lnTo>
                  <a:lnTo>
                    <a:pt x="1612" y="1676"/>
                  </a:lnTo>
                  <a:lnTo>
                    <a:pt x="1610" y="1674"/>
                  </a:lnTo>
                  <a:lnTo>
                    <a:pt x="1609" y="1674"/>
                  </a:lnTo>
                  <a:lnTo>
                    <a:pt x="1609" y="1677"/>
                  </a:lnTo>
                  <a:lnTo>
                    <a:pt x="1608" y="1678"/>
                  </a:lnTo>
                  <a:lnTo>
                    <a:pt x="1608" y="1689"/>
                  </a:lnTo>
                  <a:lnTo>
                    <a:pt x="1606" y="1690"/>
                  </a:lnTo>
                  <a:lnTo>
                    <a:pt x="1602" y="1689"/>
                  </a:lnTo>
                  <a:lnTo>
                    <a:pt x="1599" y="1689"/>
                  </a:lnTo>
                  <a:lnTo>
                    <a:pt x="1599" y="1690"/>
                  </a:lnTo>
                  <a:lnTo>
                    <a:pt x="1598" y="1691"/>
                  </a:lnTo>
                  <a:lnTo>
                    <a:pt x="1598" y="1692"/>
                  </a:lnTo>
                  <a:lnTo>
                    <a:pt x="1594" y="1692"/>
                  </a:lnTo>
                  <a:lnTo>
                    <a:pt x="1592" y="1690"/>
                  </a:lnTo>
                  <a:lnTo>
                    <a:pt x="1591" y="1690"/>
                  </a:lnTo>
                  <a:lnTo>
                    <a:pt x="1591" y="1689"/>
                  </a:lnTo>
                  <a:lnTo>
                    <a:pt x="1590" y="1688"/>
                  </a:lnTo>
                  <a:lnTo>
                    <a:pt x="1590" y="1685"/>
                  </a:lnTo>
                  <a:lnTo>
                    <a:pt x="1588" y="1684"/>
                  </a:lnTo>
                  <a:lnTo>
                    <a:pt x="1588" y="1683"/>
                  </a:lnTo>
                  <a:lnTo>
                    <a:pt x="1587" y="1683"/>
                  </a:lnTo>
                  <a:lnTo>
                    <a:pt x="1586" y="1682"/>
                  </a:lnTo>
                  <a:lnTo>
                    <a:pt x="1585" y="1682"/>
                  </a:lnTo>
                  <a:lnTo>
                    <a:pt x="1585" y="1678"/>
                  </a:lnTo>
                  <a:lnTo>
                    <a:pt x="1584" y="1677"/>
                  </a:lnTo>
                  <a:lnTo>
                    <a:pt x="1584" y="1676"/>
                  </a:lnTo>
                  <a:lnTo>
                    <a:pt x="1583" y="1677"/>
                  </a:lnTo>
                  <a:lnTo>
                    <a:pt x="1578" y="1679"/>
                  </a:lnTo>
                  <a:lnTo>
                    <a:pt x="1574" y="1678"/>
                  </a:lnTo>
                  <a:lnTo>
                    <a:pt x="1573" y="1678"/>
                  </a:lnTo>
                  <a:lnTo>
                    <a:pt x="1572" y="1679"/>
                  </a:lnTo>
                  <a:lnTo>
                    <a:pt x="1569" y="1679"/>
                  </a:lnTo>
                  <a:lnTo>
                    <a:pt x="1567" y="1678"/>
                  </a:lnTo>
                  <a:lnTo>
                    <a:pt x="1563" y="1678"/>
                  </a:lnTo>
                  <a:lnTo>
                    <a:pt x="1563" y="1680"/>
                  </a:lnTo>
                  <a:lnTo>
                    <a:pt x="1565" y="1683"/>
                  </a:lnTo>
                  <a:lnTo>
                    <a:pt x="1565" y="1685"/>
                  </a:lnTo>
                  <a:lnTo>
                    <a:pt x="1563" y="1685"/>
                  </a:lnTo>
                  <a:lnTo>
                    <a:pt x="1561" y="1684"/>
                  </a:lnTo>
                  <a:lnTo>
                    <a:pt x="1560" y="1684"/>
                  </a:lnTo>
                  <a:lnTo>
                    <a:pt x="1556" y="1678"/>
                  </a:lnTo>
                  <a:lnTo>
                    <a:pt x="1555" y="1678"/>
                  </a:lnTo>
                  <a:lnTo>
                    <a:pt x="1553" y="1680"/>
                  </a:lnTo>
                  <a:lnTo>
                    <a:pt x="1553" y="1685"/>
                  </a:lnTo>
                  <a:lnTo>
                    <a:pt x="1550" y="1685"/>
                  </a:lnTo>
                  <a:lnTo>
                    <a:pt x="1549" y="1686"/>
                  </a:lnTo>
                  <a:lnTo>
                    <a:pt x="1549" y="1690"/>
                  </a:lnTo>
                  <a:lnTo>
                    <a:pt x="1548" y="1691"/>
                  </a:lnTo>
                  <a:lnTo>
                    <a:pt x="1546" y="1691"/>
                  </a:lnTo>
                  <a:lnTo>
                    <a:pt x="1542" y="1689"/>
                  </a:lnTo>
                  <a:lnTo>
                    <a:pt x="1541" y="1689"/>
                  </a:lnTo>
                  <a:lnTo>
                    <a:pt x="1541" y="1691"/>
                  </a:lnTo>
                  <a:lnTo>
                    <a:pt x="1538" y="1700"/>
                  </a:lnTo>
                  <a:lnTo>
                    <a:pt x="1538" y="1701"/>
                  </a:lnTo>
                  <a:lnTo>
                    <a:pt x="1531" y="1707"/>
                  </a:lnTo>
                  <a:lnTo>
                    <a:pt x="1525" y="1710"/>
                  </a:lnTo>
                  <a:lnTo>
                    <a:pt x="1522" y="1714"/>
                  </a:lnTo>
                  <a:lnTo>
                    <a:pt x="1521" y="1714"/>
                  </a:lnTo>
                  <a:lnTo>
                    <a:pt x="1518" y="1713"/>
                  </a:lnTo>
                  <a:lnTo>
                    <a:pt x="1517" y="1711"/>
                  </a:lnTo>
                  <a:lnTo>
                    <a:pt x="1517" y="1710"/>
                  </a:lnTo>
                  <a:lnTo>
                    <a:pt x="1515" y="1709"/>
                  </a:lnTo>
                  <a:lnTo>
                    <a:pt x="1513" y="1708"/>
                  </a:lnTo>
                  <a:lnTo>
                    <a:pt x="1513" y="1707"/>
                  </a:lnTo>
                  <a:lnTo>
                    <a:pt x="1512" y="1705"/>
                  </a:lnTo>
                  <a:lnTo>
                    <a:pt x="1507" y="1705"/>
                  </a:lnTo>
                  <a:lnTo>
                    <a:pt x="1507" y="1707"/>
                  </a:lnTo>
                  <a:lnTo>
                    <a:pt x="1506" y="1705"/>
                  </a:lnTo>
                  <a:lnTo>
                    <a:pt x="1505" y="1705"/>
                  </a:lnTo>
                  <a:lnTo>
                    <a:pt x="1496" y="1696"/>
                  </a:lnTo>
                  <a:lnTo>
                    <a:pt x="1496" y="1692"/>
                  </a:lnTo>
                  <a:lnTo>
                    <a:pt x="1494" y="1691"/>
                  </a:lnTo>
                  <a:lnTo>
                    <a:pt x="1488" y="1689"/>
                  </a:lnTo>
                  <a:lnTo>
                    <a:pt x="1485" y="1685"/>
                  </a:lnTo>
                  <a:lnTo>
                    <a:pt x="1481" y="1683"/>
                  </a:lnTo>
                  <a:lnTo>
                    <a:pt x="1480" y="1682"/>
                  </a:lnTo>
                  <a:lnTo>
                    <a:pt x="1479" y="1682"/>
                  </a:lnTo>
                  <a:lnTo>
                    <a:pt x="1478" y="1680"/>
                  </a:lnTo>
                  <a:lnTo>
                    <a:pt x="1478" y="1682"/>
                  </a:lnTo>
                  <a:lnTo>
                    <a:pt x="1474" y="1682"/>
                  </a:lnTo>
                  <a:lnTo>
                    <a:pt x="1473" y="1683"/>
                  </a:lnTo>
                  <a:lnTo>
                    <a:pt x="1473" y="1686"/>
                  </a:lnTo>
                  <a:lnTo>
                    <a:pt x="1472" y="1688"/>
                  </a:lnTo>
                  <a:lnTo>
                    <a:pt x="1473" y="1689"/>
                  </a:lnTo>
                  <a:lnTo>
                    <a:pt x="1475" y="1689"/>
                  </a:lnTo>
                  <a:lnTo>
                    <a:pt x="1478" y="1690"/>
                  </a:lnTo>
                  <a:lnTo>
                    <a:pt x="1478" y="1694"/>
                  </a:lnTo>
                  <a:lnTo>
                    <a:pt x="1476" y="1695"/>
                  </a:lnTo>
                  <a:lnTo>
                    <a:pt x="1476" y="1696"/>
                  </a:lnTo>
                  <a:lnTo>
                    <a:pt x="1478" y="1697"/>
                  </a:lnTo>
                  <a:lnTo>
                    <a:pt x="1478" y="1702"/>
                  </a:lnTo>
                  <a:lnTo>
                    <a:pt x="1479" y="1707"/>
                  </a:lnTo>
                  <a:lnTo>
                    <a:pt x="1479" y="1709"/>
                  </a:lnTo>
                  <a:lnTo>
                    <a:pt x="1478" y="1711"/>
                  </a:lnTo>
                  <a:lnTo>
                    <a:pt x="1475" y="1714"/>
                  </a:lnTo>
                  <a:lnTo>
                    <a:pt x="1473" y="1714"/>
                  </a:lnTo>
                  <a:lnTo>
                    <a:pt x="1472" y="1715"/>
                  </a:lnTo>
                  <a:lnTo>
                    <a:pt x="1470" y="1715"/>
                  </a:lnTo>
                  <a:lnTo>
                    <a:pt x="1467" y="1711"/>
                  </a:lnTo>
                  <a:lnTo>
                    <a:pt x="1467" y="1709"/>
                  </a:lnTo>
                  <a:lnTo>
                    <a:pt x="1466" y="1708"/>
                  </a:lnTo>
                  <a:lnTo>
                    <a:pt x="1467" y="1707"/>
                  </a:lnTo>
                  <a:lnTo>
                    <a:pt x="1467" y="1704"/>
                  </a:lnTo>
                  <a:lnTo>
                    <a:pt x="1468" y="1703"/>
                  </a:lnTo>
                  <a:lnTo>
                    <a:pt x="1468" y="1698"/>
                  </a:lnTo>
                  <a:lnTo>
                    <a:pt x="1470" y="1695"/>
                  </a:lnTo>
                  <a:lnTo>
                    <a:pt x="1470" y="1692"/>
                  </a:lnTo>
                  <a:lnTo>
                    <a:pt x="1468" y="1692"/>
                  </a:lnTo>
                  <a:lnTo>
                    <a:pt x="1468" y="1691"/>
                  </a:lnTo>
                  <a:lnTo>
                    <a:pt x="1467" y="1691"/>
                  </a:lnTo>
                  <a:lnTo>
                    <a:pt x="1467" y="1690"/>
                  </a:lnTo>
                  <a:lnTo>
                    <a:pt x="1463" y="1690"/>
                  </a:lnTo>
                  <a:lnTo>
                    <a:pt x="1462" y="1689"/>
                  </a:lnTo>
                  <a:lnTo>
                    <a:pt x="1461" y="1689"/>
                  </a:lnTo>
                  <a:lnTo>
                    <a:pt x="1461" y="1688"/>
                  </a:lnTo>
                  <a:lnTo>
                    <a:pt x="1459" y="1685"/>
                  </a:lnTo>
                  <a:lnTo>
                    <a:pt x="1457" y="1685"/>
                  </a:lnTo>
                  <a:lnTo>
                    <a:pt x="1456" y="1683"/>
                  </a:lnTo>
                  <a:lnTo>
                    <a:pt x="1456" y="1680"/>
                  </a:lnTo>
                  <a:lnTo>
                    <a:pt x="1455" y="1678"/>
                  </a:lnTo>
                  <a:lnTo>
                    <a:pt x="1455" y="1677"/>
                  </a:lnTo>
                  <a:lnTo>
                    <a:pt x="1454" y="1676"/>
                  </a:lnTo>
                  <a:lnTo>
                    <a:pt x="1451" y="1676"/>
                  </a:lnTo>
                  <a:lnTo>
                    <a:pt x="1451" y="1674"/>
                  </a:lnTo>
                  <a:lnTo>
                    <a:pt x="1450" y="1672"/>
                  </a:lnTo>
                  <a:lnTo>
                    <a:pt x="1449" y="1672"/>
                  </a:lnTo>
                  <a:lnTo>
                    <a:pt x="1447" y="1670"/>
                  </a:lnTo>
                  <a:lnTo>
                    <a:pt x="1444" y="1671"/>
                  </a:lnTo>
                  <a:lnTo>
                    <a:pt x="1436" y="1668"/>
                  </a:lnTo>
                  <a:lnTo>
                    <a:pt x="1436" y="1667"/>
                  </a:lnTo>
                  <a:lnTo>
                    <a:pt x="1435" y="1666"/>
                  </a:lnTo>
                  <a:lnTo>
                    <a:pt x="1435" y="1665"/>
                  </a:lnTo>
                  <a:lnTo>
                    <a:pt x="1432" y="1662"/>
                  </a:lnTo>
                  <a:lnTo>
                    <a:pt x="1434" y="1661"/>
                  </a:lnTo>
                  <a:lnTo>
                    <a:pt x="1434" y="1660"/>
                  </a:lnTo>
                  <a:lnTo>
                    <a:pt x="1432" y="1659"/>
                  </a:lnTo>
                  <a:lnTo>
                    <a:pt x="1434" y="1659"/>
                  </a:lnTo>
                  <a:lnTo>
                    <a:pt x="1434" y="1657"/>
                  </a:lnTo>
                  <a:lnTo>
                    <a:pt x="1431" y="1655"/>
                  </a:lnTo>
                  <a:lnTo>
                    <a:pt x="1428" y="1653"/>
                  </a:lnTo>
                  <a:lnTo>
                    <a:pt x="1426" y="1653"/>
                  </a:lnTo>
                  <a:lnTo>
                    <a:pt x="1425" y="1651"/>
                  </a:lnTo>
                  <a:lnTo>
                    <a:pt x="1424" y="1649"/>
                  </a:lnTo>
                  <a:lnTo>
                    <a:pt x="1417" y="1649"/>
                  </a:lnTo>
                  <a:lnTo>
                    <a:pt x="1417" y="1648"/>
                  </a:lnTo>
                  <a:lnTo>
                    <a:pt x="1414" y="1648"/>
                  </a:lnTo>
                  <a:lnTo>
                    <a:pt x="1414" y="1651"/>
                  </a:lnTo>
                  <a:lnTo>
                    <a:pt x="1410" y="1649"/>
                  </a:lnTo>
                  <a:lnTo>
                    <a:pt x="1409" y="1651"/>
                  </a:lnTo>
                  <a:lnTo>
                    <a:pt x="1407" y="1651"/>
                  </a:lnTo>
                  <a:lnTo>
                    <a:pt x="1407" y="1652"/>
                  </a:lnTo>
                  <a:lnTo>
                    <a:pt x="1406" y="1652"/>
                  </a:lnTo>
                  <a:lnTo>
                    <a:pt x="1406" y="1653"/>
                  </a:lnTo>
                  <a:lnTo>
                    <a:pt x="1405" y="1652"/>
                  </a:lnTo>
                  <a:lnTo>
                    <a:pt x="1403" y="1652"/>
                  </a:lnTo>
                  <a:lnTo>
                    <a:pt x="1404" y="1651"/>
                  </a:lnTo>
                  <a:lnTo>
                    <a:pt x="1403" y="1649"/>
                  </a:lnTo>
                  <a:lnTo>
                    <a:pt x="1400" y="1651"/>
                  </a:lnTo>
                  <a:lnTo>
                    <a:pt x="1400" y="1649"/>
                  </a:lnTo>
                  <a:lnTo>
                    <a:pt x="1399" y="1649"/>
                  </a:lnTo>
                  <a:lnTo>
                    <a:pt x="1399" y="1648"/>
                  </a:lnTo>
                  <a:lnTo>
                    <a:pt x="1398" y="1649"/>
                  </a:lnTo>
                  <a:lnTo>
                    <a:pt x="1398" y="1651"/>
                  </a:lnTo>
                  <a:lnTo>
                    <a:pt x="1395" y="1651"/>
                  </a:lnTo>
                  <a:lnTo>
                    <a:pt x="1395" y="1652"/>
                  </a:lnTo>
                  <a:lnTo>
                    <a:pt x="1388" y="1652"/>
                  </a:lnTo>
                  <a:lnTo>
                    <a:pt x="1387" y="1651"/>
                  </a:lnTo>
                  <a:lnTo>
                    <a:pt x="1387" y="1649"/>
                  </a:lnTo>
                  <a:lnTo>
                    <a:pt x="1386" y="1649"/>
                  </a:lnTo>
                  <a:lnTo>
                    <a:pt x="1386" y="1648"/>
                  </a:lnTo>
                  <a:lnTo>
                    <a:pt x="1385" y="1643"/>
                  </a:lnTo>
                  <a:lnTo>
                    <a:pt x="1381" y="1636"/>
                  </a:lnTo>
                  <a:lnTo>
                    <a:pt x="1381" y="1634"/>
                  </a:lnTo>
                  <a:lnTo>
                    <a:pt x="1380" y="1631"/>
                  </a:lnTo>
                  <a:lnTo>
                    <a:pt x="1379" y="1630"/>
                  </a:lnTo>
                  <a:lnTo>
                    <a:pt x="1379" y="1631"/>
                  </a:lnTo>
                  <a:lnTo>
                    <a:pt x="1376" y="1634"/>
                  </a:lnTo>
                  <a:lnTo>
                    <a:pt x="1373" y="1634"/>
                  </a:lnTo>
                  <a:lnTo>
                    <a:pt x="1372" y="1635"/>
                  </a:lnTo>
                  <a:lnTo>
                    <a:pt x="1370" y="1637"/>
                  </a:lnTo>
                  <a:lnTo>
                    <a:pt x="1369" y="1639"/>
                  </a:lnTo>
                  <a:lnTo>
                    <a:pt x="1364" y="1639"/>
                  </a:lnTo>
                  <a:lnTo>
                    <a:pt x="1364" y="1637"/>
                  </a:lnTo>
                  <a:lnTo>
                    <a:pt x="1361" y="1637"/>
                  </a:lnTo>
                  <a:lnTo>
                    <a:pt x="1358" y="1640"/>
                  </a:lnTo>
                  <a:lnTo>
                    <a:pt x="1356" y="1643"/>
                  </a:lnTo>
                  <a:lnTo>
                    <a:pt x="1356" y="1645"/>
                  </a:lnTo>
                  <a:lnTo>
                    <a:pt x="1357" y="1647"/>
                  </a:lnTo>
                  <a:lnTo>
                    <a:pt x="1357" y="1649"/>
                  </a:lnTo>
                  <a:lnTo>
                    <a:pt x="1352" y="1652"/>
                  </a:lnTo>
                  <a:lnTo>
                    <a:pt x="1351" y="1653"/>
                  </a:lnTo>
                  <a:lnTo>
                    <a:pt x="1350" y="1651"/>
                  </a:lnTo>
                  <a:lnTo>
                    <a:pt x="1350" y="1648"/>
                  </a:lnTo>
                  <a:lnTo>
                    <a:pt x="1349" y="1647"/>
                  </a:lnTo>
                  <a:lnTo>
                    <a:pt x="1347" y="1647"/>
                  </a:lnTo>
                  <a:lnTo>
                    <a:pt x="1347" y="1648"/>
                  </a:lnTo>
                  <a:lnTo>
                    <a:pt x="1345" y="1649"/>
                  </a:lnTo>
                  <a:lnTo>
                    <a:pt x="1343" y="1651"/>
                  </a:lnTo>
                  <a:lnTo>
                    <a:pt x="1339" y="1652"/>
                  </a:lnTo>
                  <a:lnTo>
                    <a:pt x="1335" y="1649"/>
                  </a:lnTo>
                  <a:lnTo>
                    <a:pt x="1335" y="1648"/>
                  </a:lnTo>
                  <a:lnTo>
                    <a:pt x="1333" y="1647"/>
                  </a:lnTo>
                  <a:lnTo>
                    <a:pt x="1333" y="1646"/>
                  </a:lnTo>
                  <a:lnTo>
                    <a:pt x="1338" y="1646"/>
                  </a:lnTo>
                  <a:lnTo>
                    <a:pt x="1339" y="1645"/>
                  </a:lnTo>
                  <a:lnTo>
                    <a:pt x="1339" y="1640"/>
                  </a:lnTo>
                  <a:lnTo>
                    <a:pt x="1336" y="1640"/>
                  </a:lnTo>
                  <a:lnTo>
                    <a:pt x="1336" y="1639"/>
                  </a:lnTo>
                  <a:lnTo>
                    <a:pt x="1333" y="1636"/>
                  </a:lnTo>
                  <a:lnTo>
                    <a:pt x="1332" y="1637"/>
                  </a:lnTo>
                  <a:lnTo>
                    <a:pt x="1320" y="1637"/>
                  </a:lnTo>
                  <a:lnTo>
                    <a:pt x="1319" y="1636"/>
                  </a:lnTo>
                  <a:lnTo>
                    <a:pt x="1319" y="1635"/>
                  </a:lnTo>
                  <a:lnTo>
                    <a:pt x="1318" y="1634"/>
                  </a:lnTo>
                  <a:lnTo>
                    <a:pt x="1318" y="1633"/>
                  </a:lnTo>
                  <a:lnTo>
                    <a:pt x="1317" y="1633"/>
                  </a:lnTo>
                  <a:lnTo>
                    <a:pt x="1316" y="1631"/>
                  </a:lnTo>
                  <a:lnTo>
                    <a:pt x="1314" y="1631"/>
                  </a:lnTo>
                  <a:lnTo>
                    <a:pt x="1313" y="1633"/>
                  </a:lnTo>
                  <a:lnTo>
                    <a:pt x="1313" y="1635"/>
                  </a:lnTo>
                  <a:lnTo>
                    <a:pt x="1316" y="1641"/>
                  </a:lnTo>
                  <a:lnTo>
                    <a:pt x="1312" y="1645"/>
                  </a:lnTo>
                  <a:lnTo>
                    <a:pt x="1310" y="1645"/>
                  </a:lnTo>
                  <a:lnTo>
                    <a:pt x="1310" y="1642"/>
                  </a:lnTo>
                  <a:lnTo>
                    <a:pt x="1311" y="1642"/>
                  </a:lnTo>
                  <a:lnTo>
                    <a:pt x="1311" y="1641"/>
                  </a:lnTo>
                  <a:lnTo>
                    <a:pt x="1308" y="1641"/>
                  </a:lnTo>
                  <a:lnTo>
                    <a:pt x="1307" y="1640"/>
                  </a:lnTo>
                  <a:lnTo>
                    <a:pt x="1306" y="1640"/>
                  </a:lnTo>
                  <a:lnTo>
                    <a:pt x="1306" y="1643"/>
                  </a:lnTo>
                  <a:lnTo>
                    <a:pt x="1305" y="1643"/>
                  </a:lnTo>
                  <a:lnTo>
                    <a:pt x="1304" y="1645"/>
                  </a:lnTo>
                  <a:lnTo>
                    <a:pt x="1304" y="1652"/>
                  </a:lnTo>
                  <a:lnTo>
                    <a:pt x="1301" y="1652"/>
                  </a:lnTo>
                  <a:lnTo>
                    <a:pt x="1301" y="1654"/>
                  </a:lnTo>
                  <a:lnTo>
                    <a:pt x="1296" y="1654"/>
                  </a:lnTo>
                  <a:lnTo>
                    <a:pt x="1296" y="1655"/>
                  </a:lnTo>
                  <a:lnTo>
                    <a:pt x="1298" y="1655"/>
                  </a:lnTo>
                  <a:lnTo>
                    <a:pt x="1298" y="1657"/>
                  </a:lnTo>
                  <a:lnTo>
                    <a:pt x="1296" y="1657"/>
                  </a:lnTo>
                  <a:lnTo>
                    <a:pt x="1296" y="1658"/>
                  </a:lnTo>
                  <a:lnTo>
                    <a:pt x="1295" y="1658"/>
                  </a:lnTo>
                  <a:lnTo>
                    <a:pt x="1295" y="1659"/>
                  </a:lnTo>
                  <a:lnTo>
                    <a:pt x="1296" y="1660"/>
                  </a:lnTo>
                  <a:lnTo>
                    <a:pt x="1296" y="1661"/>
                  </a:lnTo>
                  <a:lnTo>
                    <a:pt x="1295" y="1662"/>
                  </a:lnTo>
                  <a:lnTo>
                    <a:pt x="1291" y="1665"/>
                  </a:lnTo>
                  <a:lnTo>
                    <a:pt x="1282" y="1666"/>
                  </a:lnTo>
                  <a:lnTo>
                    <a:pt x="1273" y="1676"/>
                  </a:lnTo>
                  <a:lnTo>
                    <a:pt x="1257" y="1676"/>
                  </a:lnTo>
                  <a:lnTo>
                    <a:pt x="1257" y="1677"/>
                  </a:lnTo>
                  <a:lnTo>
                    <a:pt x="1256" y="1678"/>
                  </a:lnTo>
                  <a:lnTo>
                    <a:pt x="1256" y="1682"/>
                  </a:lnTo>
                  <a:lnTo>
                    <a:pt x="1255" y="1683"/>
                  </a:lnTo>
                  <a:lnTo>
                    <a:pt x="1254" y="1685"/>
                  </a:lnTo>
                  <a:lnTo>
                    <a:pt x="1255" y="1686"/>
                  </a:lnTo>
                  <a:lnTo>
                    <a:pt x="1257" y="1691"/>
                  </a:lnTo>
                  <a:lnTo>
                    <a:pt x="1256" y="1694"/>
                  </a:lnTo>
                  <a:lnTo>
                    <a:pt x="1255" y="1695"/>
                  </a:lnTo>
                  <a:lnTo>
                    <a:pt x="1251" y="1696"/>
                  </a:lnTo>
                  <a:lnTo>
                    <a:pt x="1245" y="1697"/>
                  </a:lnTo>
                  <a:lnTo>
                    <a:pt x="1244" y="1700"/>
                  </a:lnTo>
                  <a:lnTo>
                    <a:pt x="1239" y="1704"/>
                  </a:lnTo>
                  <a:lnTo>
                    <a:pt x="1232" y="1710"/>
                  </a:lnTo>
                  <a:lnTo>
                    <a:pt x="1229" y="1710"/>
                  </a:lnTo>
                  <a:lnTo>
                    <a:pt x="1223" y="1707"/>
                  </a:lnTo>
                  <a:lnTo>
                    <a:pt x="1221" y="1707"/>
                  </a:lnTo>
                  <a:lnTo>
                    <a:pt x="1221" y="1708"/>
                  </a:lnTo>
                  <a:lnTo>
                    <a:pt x="1223" y="1709"/>
                  </a:lnTo>
                  <a:lnTo>
                    <a:pt x="1225" y="1709"/>
                  </a:lnTo>
                  <a:lnTo>
                    <a:pt x="1225" y="1711"/>
                  </a:lnTo>
                  <a:lnTo>
                    <a:pt x="1226" y="1713"/>
                  </a:lnTo>
                  <a:lnTo>
                    <a:pt x="1226" y="1727"/>
                  </a:lnTo>
                  <a:lnTo>
                    <a:pt x="1227" y="1732"/>
                  </a:lnTo>
                  <a:lnTo>
                    <a:pt x="1230" y="1735"/>
                  </a:lnTo>
                  <a:lnTo>
                    <a:pt x="1231" y="1738"/>
                  </a:lnTo>
                  <a:lnTo>
                    <a:pt x="1230" y="1740"/>
                  </a:lnTo>
                  <a:lnTo>
                    <a:pt x="1230" y="1741"/>
                  </a:lnTo>
                  <a:lnTo>
                    <a:pt x="1233" y="1743"/>
                  </a:lnTo>
                  <a:lnTo>
                    <a:pt x="1233" y="1744"/>
                  </a:lnTo>
                  <a:lnTo>
                    <a:pt x="1234" y="1745"/>
                  </a:lnTo>
                  <a:lnTo>
                    <a:pt x="1234" y="1748"/>
                  </a:lnTo>
                  <a:lnTo>
                    <a:pt x="1230" y="1753"/>
                  </a:lnTo>
                  <a:lnTo>
                    <a:pt x="1226" y="1756"/>
                  </a:lnTo>
                  <a:lnTo>
                    <a:pt x="1218" y="1759"/>
                  </a:lnTo>
                  <a:lnTo>
                    <a:pt x="1215" y="1762"/>
                  </a:lnTo>
                  <a:lnTo>
                    <a:pt x="1214" y="1762"/>
                  </a:lnTo>
                  <a:lnTo>
                    <a:pt x="1212" y="1760"/>
                  </a:lnTo>
                  <a:lnTo>
                    <a:pt x="1211" y="1758"/>
                  </a:lnTo>
                  <a:lnTo>
                    <a:pt x="1207" y="1758"/>
                  </a:lnTo>
                  <a:lnTo>
                    <a:pt x="1207" y="1757"/>
                  </a:lnTo>
                  <a:lnTo>
                    <a:pt x="1206" y="1756"/>
                  </a:lnTo>
                  <a:lnTo>
                    <a:pt x="1206" y="1754"/>
                  </a:lnTo>
                  <a:lnTo>
                    <a:pt x="1204" y="1752"/>
                  </a:lnTo>
                  <a:lnTo>
                    <a:pt x="1202" y="1750"/>
                  </a:lnTo>
                  <a:lnTo>
                    <a:pt x="1202" y="1747"/>
                  </a:lnTo>
                  <a:lnTo>
                    <a:pt x="1201" y="1746"/>
                  </a:lnTo>
                  <a:lnTo>
                    <a:pt x="1201" y="1744"/>
                  </a:lnTo>
                  <a:lnTo>
                    <a:pt x="1200" y="1743"/>
                  </a:lnTo>
                  <a:lnTo>
                    <a:pt x="1199" y="1740"/>
                  </a:lnTo>
                  <a:lnTo>
                    <a:pt x="1198" y="1740"/>
                  </a:lnTo>
                  <a:lnTo>
                    <a:pt x="1198" y="1738"/>
                  </a:lnTo>
                  <a:lnTo>
                    <a:pt x="1196" y="1738"/>
                  </a:lnTo>
                  <a:lnTo>
                    <a:pt x="1194" y="1733"/>
                  </a:lnTo>
                  <a:lnTo>
                    <a:pt x="1192" y="1732"/>
                  </a:lnTo>
                  <a:lnTo>
                    <a:pt x="1190" y="1731"/>
                  </a:lnTo>
                  <a:lnTo>
                    <a:pt x="1189" y="1728"/>
                  </a:lnTo>
                  <a:lnTo>
                    <a:pt x="1188" y="1728"/>
                  </a:lnTo>
                  <a:lnTo>
                    <a:pt x="1188" y="1727"/>
                  </a:lnTo>
                  <a:lnTo>
                    <a:pt x="1187" y="1727"/>
                  </a:lnTo>
                  <a:lnTo>
                    <a:pt x="1187" y="1726"/>
                  </a:lnTo>
                  <a:lnTo>
                    <a:pt x="1181" y="1720"/>
                  </a:lnTo>
                  <a:lnTo>
                    <a:pt x="1176" y="1720"/>
                  </a:lnTo>
                  <a:lnTo>
                    <a:pt x="1175" y="1722"/>
                  </a:lnTo>
                  <a:lnTo>
                    <a:pt x="1174" y="1723"/>
                  </a:lnTo>
                  <a:lnTo>
                    <a:pt x="1174" y="1725"/>
                  </a:lnTo>
                  <a:lnTo>
                    <a:pt x="1173" y="1727"/>
                  </a:lnTo>
                  <a:lnTo>
                    <a:pt x="1171" y="1728"/>
                  </a:lnTo>
                  <a:lnTo>
                    <a:pt x="1169" y="1729"/>
                  </a:lnTo>
                  <a:lnTo>
                    <a:pt x="1168" y="1729"/>
                  </a:lnTo>
                  <a:lnTo>
                    <a:pt x="1168" y="1733"/>
                  </a:lnTo>
                  <a:lnTo>
                    <a:pt x="1169" y="1733"/>
                  </a:lnTo>
                  <a:lnTo>
                    <a:pt x="1168" y="1734"/>
                  </a:lnTo>
                  <a:lnTo>
                    <a:pt x="1167" y="1737"/>
                  </a:lnTo>
                  <a:lnTo>
                    <a:pt x="1167" y="1739"/>
                  </a:lnTo>
                  <a:lnTo>
                    <a:pt x="1169" y="1743"/>
                  </a:lnTo>
                  <a:lnTo>
                    <a:pt x="1169" y="1745"/>
                  </a:lnTo>
                  <a:lnTo>
                    <a:pt x="1168" y="1746"/>
                  </a:lnTo>
                  <a:lnTo>
                    <a:pt x="1165" y="1750"/>
                  </a:lnTo>
                  <a:lnTo>
                    <a:pt x="1163" y="1752"/>
                  </a:lnTo>
                  <a:lnTo>
                    <a:pt x="1151" y="1758"/>
                  </a:lnTo>
                  <a:lnTo>
                    <a:pt x="1151" y="1760"/>
                  </a:lnTo>
                  <a:lnTo>
                    <a:pt x="1147" y="1777"/>
                  </a:lnTo>
                  <a:lnTo>
                    <a:pt x="1145" y="1793"/>
                  </a:lnTo>
                  <a:lnTo>
                    <a:pt x="1147" y="1794"/>
                  </a:lnTo>
                  <a:lnTo>
                    <a:pt x="1153" y="1799"/>
                  </a:lnTo>
                  <a:lnTo>
                    <a:pt x="1156" y="1801"/>
                  </a:lnTo>
                  <a:lnTo>
                    <a:pt x="1157" y="1805"/>
                  </a:lnTo>
                  <a:lnTo>
                    <a:pt x="1156" y="1808"/>
                  </a:lnTo>
                  <a:lnTo>
                    <a:pt x="1153" y="1811"/>
                  </a:lnTo>
                  <a:lnTo>
                    <a:pt x="1152" y="1814"/>
                  </a:lnTo>
                  <a:lnTo>
                    <a:pt x="1151" y="1814"/>
                  </a:lnTo>
                  <a:lnTo>
                    <a:pt x="1150" y="1815"/>
                  </a:lnTo>
                  <a:lnTo>
                    <a:pt x="1145" y="1818"/>
                  </a:lnTo>
                  <a:lnTo>
                    <a:pt x="1145" y="1820"/>
                  </a:lnTo>
                  <a:lnTo>
                    <a:pt x="1133" y="1851"/>
                  </a:lnTo>
                  <a:lnTo>
                    <a:pt x="1144" y="1856"/>
                  </a:lnTo>
                  <a:lnTo>
                    <a:pt x="1153" y="1860"/>
                  </a:lnTo>
                  <a:lnTo>
                    <a:pt x="1158" y="1861"/>
                  </a:lnTo>
                  <a:lnTo>
                    <a:pt x="1159" y="1861"/>
                  </a:lnTo>
                  <a:lnTo>
                    <a:pt x="1159" y="1863"/>
                  </a:lnTo>
                  <a:lnTo>
                    <a:pt x="1158" y="1864"/>
                  </a:lnTo>
                  <a:lnTo>
                    <a:pt x="1158" y="1866"/>
                  </a:lnTo>
                  <a:lnTo>
                    <a:pt x="1159" y="1867"/>
                  </a:lnTo>
                  <a:lnTo>
                    <a:pt x="1159" y="1873"/>
                  </a:lnTo>
                  <a:lnTo>
                    <a:pt x="1163" y="1873"/>
                  </a:lnTo>
                  <a:lnTo>
                    <a:pt x="1163" y="1874"/>
                  </a:lnTo>
                  <a:lnTo>
                    <a:pt x="1161" y="1876"/>
                  </a:lnTo>
                  <a:lnTo>
                    <a:pt x="1157" y="1877"/>
                  </a:lnTo>
                  <a:lnTo>
                    <a:pt x="1157" y="1880"/>
                  </a:lnTo>
                  <a:lnTo>
                    <a:pt x="1161" y="1883"/>
                  </a:lnTo>
                  <a:lnTo>
                    <a:pt x="1162" y="1886"/>
                  </a:lnTo>
                  <a:lnTo>
                    <a:pt x="1162" y="1887"/>
                  </a:lnTo>
                  <a:lnTo>
                    <a:pt x="1161" y="1887"/>
                  </a:lnTo>
                  <a:lnTo>
                    <a:pt x="1161" y="1888"/>
                  </a:lnTo>
                  <a:lnTo>
                    <a:pt x="1159" y="1889"/>
                  </a:lnTo>
                  <a:lnTo>
                    <a:pt x="1161" y="1889"/>
                  </a:lnTo>
                  <a:lnTo>
                    <a:pt x="1161" y="1891"/>
                  </a:lnTo>
                  <a:lnTo>
                    <a:pt x="1162" y="1892"/>
                  </a:lnTo>
                  <a:lnTo>
                    <a:pt x="1170" y="1898"/>
                  </a:lnTo>
                  <a:lnTo>
                    <a:pt x="1171" y="1897"/>
                  </a:lnTo>
                  <a:lnTo>
                    <a:pt x="1171" y="1888"/>
                  </a:lnTo>
                  <a:lnTo>
                    <a:pt x="1174" y="1888"/>
                  </a:lnTo>
                  <a:lnTo>
                    <a:pt x="1182" y="1893"/>
                  </a:lnTo>
                  <a:lnTo>
                    <a:pt x="1199" y="1892"/>
                  </a:lnTo>
                  <a:lnTo>
                    <a:pt x="1202" y="1893"/>
                  </a:lnTo>
                  <a:lnTo>
                    <a:pt x="1205" y="1895"/>
                  </a:lnTo>
                  <a:lnTo>
                    <a:pt x="1212" y="1910"/>
                  </a:lnTo>
                  <a:lnTo>
                    <a:pt x="1217" y="1915"/>
                  </a:lnTo>
                  <a:lnTo>
                    <a:pt x="1219" y="1915"/>
                  </a:lnTo>
                  <a:lnTo>
                    <a:pt x="1220" y="1916"/>
                  </a:lnTo>
                  <a:lnTo>
                    <a:pt x="1220" y="1917"/>
                  </a:lnTo>
                  <a:lnTo>
                    <a:pt x="1226" y="1934"/>
                  </a:lnTo>
                  <a:lnTo>
                    <a:pt x="1239" y="1954"/>
                  </a:lnTo>
                  <a:lnTo>
                    <a:pt x="1237" y="1957"/>
                  </a:lnTo>
                  <a:lnTo>
                    <a:pt x="1236" y="1959"/>
                  </a:lnTo>
                  <a:lnTo>
                    <a:pt x="1230" y="1960"/>
                  </a:lnTo>
                  <a:lnTo>
                    <a:pt x="1229" y="1959"/>
                  </a:lnTo>
                  <a:lnTo>
                    <a:pt x="1227" y="1956"/>
                  </a:lnTo>
                  <a:lnTo>
                    <a:pt x="1226" y="1956"/>
                  </a:lnTo>
                  <a:lnTo>
                    <a:pt x="1226" y="1955"/>
                  </a:lnTo>
                  <a:lnTo>
                    <a:pt x="1224" y="1954"/>
                  </a:lnTo>
                  <a:lnTo>
                    <a:pt x="1220" y="1955"/>
                  </a:lnTo>
                  <a:lnTo>
                    <a:pt x="1219" y="1956"/>
                  </a:lnTo>
                  <a:lnTo>
                    <a:pt x="1218" y="1960"/>
                  </a:lnTo>
                  <a:lnTo>
                    <a:pt x="1217" y="1961"/>
                  </a:lnTo>
                  <a:lnTo>
                    <a:pt x="1218" y="1961"/>
                  </a:lnTo>
                  <a:lnTo>
                    <a:pt x="1220" y="1963"/>
                  </a:lnTo>
                  <a:lnTo>
                    <a:pt x="1220" y="1965"/>
                  </a:lnTo>
                  <a:lnTo>
                    <a:pt x="1221" y="1965"/>
                  </a:lnTo>
                  <a:lnTo>
                    <a:pt x="1220" y="1967"/>
                  </a:lnTo>
                  <a:lnTo>
                    <a:pt x="1225" y="1967"/>
                  </a:lnTo>
                  <a:lnTo>
                    <a:pt x="1227" y="1968"/>
                  </a:lnTo>
                  <a:lnTo>
                    <a:pt x="1229" y="1968"/>
                  </a:lnTo>
                  <a:lnTo>
                    <a:pt x="1229" y="1969"/>
                  </a:lnTo>
                  <a:lnTo>
                    <a:pt x="1232" y="1972"/>
                  </a:lnTo>
                  <a:lnTo>
                    <a:pt x="1236" y="1972"/>
                  </a:lnTo>
                  <a:lnTo>
                    <a:pt x="1240" y="1977"/>
                  </a:lnTo>
                  <a:lnTo>
                    <a:pt x="1249" y="1981"/>
                  </a:lnTo>
                  <a:lnTo>
                    <a:pt x="1250" y="1984"/>
                  </a:lnTo>
                  <a:lnTo>
                    <a:pt x="1251" y="1985"/>
                  </a:lnTo>
                  <a:lnTo>
                    <a:pt x="1252" y="1985"/>
                  </a:lnTo>
                  <a:lnTo>
                    <a:pt x="1252" y="1986"/>
                  </a:lnTo>
                  <a:lnTo>
                    <a:pt x="1250" y="1986"/>
                  </a:lnTo>
                  <a:lnTo>
                    <a:pt x="1250" y="1985"/>
                  </a:lnTo>
                  <a:lnTo>
                    <a:pt x="1248" y="1985"/>
                  </a:lnTo>
                  <a:lnTo>
                    <a:pt x="1245" y="1983"/>
                  </a:lnTo>
                  <a:lnTo>
                    <a:pt x="1246" y="1981"/>
                  </a:lnTo>
                  <a:lnTo>
                    <a:pt x="1245" y="1981"/>
                  </a:lnTo>
                  <a:lnTo>
                    <a:pt x="1243" y="1984"/>
                  </a:lnTo>
                  <a:lnTo>
                    <a:pt x="1243" y="1985"/>
                  </a:lnTo>
                  <a:lnTo>
                    <a:pt x="1242" y="1985"/>
                  </a:lnTo>
                  <a:lnTo>
                    <a:pt x="1242" y="1986"/>
                  </a:lnTo>
                  <a:lnTo>
                    <a:pt x="1244" y="1986"/>
                  </a:lnTo>
                  <a:lnTo>
                    <a:pt x="1244" y="1992"/>
                  </a:lnTo>
                  <a:lnTo>
                    <a:pt x="1242" y="1990"/>
                  </a:lnTo>
                  <a:lnTo>
                    <a:pt x="1240" y="1990"/>
                  </a:lnTo>
                  <a:lnTo>
                    <a:pt x="1240" y="1991"/>
                  </a:lnTo>
                  <a:lnTo>
                    <a:pt x="1239" y="1991"/>
                  </a:lnTo>
                  <a:lnTo>
                    <a:pt x="1237" y="1992"/>
                  </a:lnTo>
                  <a:lnTo>
                    <a:pt x="1237" y="1996"/>
                  </a:lnTo>
                  <a:lnTo>
                    <a:pt x="1236" y="1996"/>
                  </a:lnTo>
                  <a:lnTo>
                    <a:pt x="1236" y="1993"/>
                  </a:lnTo>
                  <a:lnTo>
                    <a:pt x="1234" y="1992"/>
                  </a:lnTo>
                  <a:lnTo>
                    <a:pt x="1234" y="1995"/>
                  </a:lnTo>
                  <a:lnTo>
                    <a:pt x="1233" y="1993"/>
                  </a:lnTo>
                  <a:lnTo>
                    <a:pt x="1233" y="1996"/>
                  </a:lnTo>
                  <a:lnTo>
                    <a:pt x="1234" y="1997"/>
                  </a:lnTo>
                  <a:lnTo>
                    <a:pt x="1233" y="1997"/>
                  </a:lnTo>
                  <a:lnTo>
                    <a:pt x="1232" y="1996"/>
                  </a:lnTo>
                  <a:lnTo>
                    <a:pt x="1232" y="1998"/>
                  </a:lnTo>
                  <a:lnTo>
                    <a:pt x="1231" y="1998"/>
                  </a:lnTo>
                  <a:lnTo>
                    <a:pt x="1231" y="1997"/>
                  </a:lnTo>
                  <a:lnTo>
                    <a:pt x="1227" y="1993"/>
                  </a:lnTo>
                  <a:lnTo>
                    <a:pt x="1226" y="1995"/>
                  </a:lnTo>
                  <a:lnTo>
                    <a:pt x="1225" y="1995"/>
                  </a:lnTo>
                  <a:lnTo>
                    <a:pt x="1225" y="1996"/>
                  </a:lnTo>
                  <a:lnTo>
                    <a:pt x="1224" y="1996"/>
                  </a:lnTo>
                  <a:lnTo>
                    <a:pt x="1224" y="1997"/>
                  </a:lnTo>
                  <a:lnTo>
                    <a:pt x="1226" y="1997"/>
                  </a:lnTo>
                  <a:lnTo>
                    <a:pt x="1227" y="1999"/>
                  </a:lnTo>
                  <a:lnTo>
                    <a:pt x="1227" y="2002"/>
                  </a:lnTo>
                  <a:lnTo>
                    <a:pt x="1225" y="2002"/>
                  </a:lnTo>
                  <a:lnTo>
                    <a:pt x="1225" y="2004"/>
                  </a:lnTo>
                  <a:lnTo>
                    <a:pt x="1226" y="2003"/>
                  </a:lnTo>
                  <a:lnTo>
                    <a:pt x="1229" y="2003"/>
                  </a:lnTo>
                  <a:lnTo>
                    <a:pt x="1229" y="2008"/>
                  </a:lnTo>
                  <a:lnTo>
                    <a:pt x="1230" y="2010"/>
                  </a:lnTo>
                  <a:lnTo>
                    <a:pt x="1229" y="2011"/>
                  </a:lnTo>
                  <a:lnTo>
                    <a:pt x="1227" y="2011"/>
                  </a:lnTo>
                  <a:lnTo>
                    <a:pt x="1227" y="2012"/>
                  </a:lnTo>
                  <a:lnTo>
                    <a:pt x="1226" y="2011"/>
                  </a:lnTo>
                  <a:lnTo>
                    <a:pt x="1226" y="2009"/>
                  </a:lnTo>
                  <a:lnTo>
                    <a:pt x="1224" y="2006"/>
                  </a:lnTo>
                  <a:lnTo>
                    <a:pt x="1224" y="2005"/>
                  </a:lnTo>
                  <a:lnTo>
                    <a:pt x="1221" y="2003"/>
                  </a:lnTo>
                  <a:lnTo>
                    <a:pt x="1220" y="2003"/>
                  </a:lnTo>
                  <a:lnTo>
                    <a:pt x="1219" y="2004"/>
                  </a:lnTo>
                  <a:lnTo>
                    <a:pt x="1219" y="2005"/>
                  </a:lnTo>
                  <a:lnTo>
                    <a:pt x="1217" y="2005"/>
                  </a:lnTo>
                  <a:lnTo>
                    <a:pt x="1215" y="2006"/>
                  </a:lnTo>
                  <a:lnTo>
                    <a:pt x="1214" y="2009"/>
                  </a:lnTo>
                  <a:lnTo>
                    <a:pt x="1212" y="2009"/>
                  </a:lnTo>
                  <a:lnTo>
                    <a:pt x="1212" y="2010"/>
                  </a:lnTo>
                  <a:lnTo>
                    <a:pt x="1214" y="2010"/>
                  </a:lnTo>
                  <a:lnTo>
                    <a:pt x="1214" y="2011"/>
                  </a:lnTo>
                  <a:lnTo>
                    <a:pt x="1209" y="2011"/>
                  </a:lnTo>
                  <a:lnTo>
                    <a:pt x="1209" y="2014"/>
                  </a:lnTo>
                  <a:lnTo>
                    <a:pt x="1208" y="2015"/>
                  </a:lnTo>
                  <a:lnTo>
                    <a:pt x="1207" y="2015"/>
                  </a:lnTo>
                  <a:lnTo>
                    <a:pt x="1206" y="2016"/>
                  </a:lnTo>
                  <a:lnTo>
                    <a:pt x="1207" y="2016"/>
                  </a:lnTo>
                  <a:lnTo>
                    <a:pt x="1207" y="2018"/>
                  </a:lnTo>
                  <a:lnTo>
                    <a:pt x="1206" y="2018"/>
                  </a:lnTo>
                  <a:lnTo>
                    <a:pt x="1205" y="2017"/>
                  </a:lnTo>
                  <a:lnTo>
                    <a:pt x="1204" y="2017"/>
                  </a:lnTo>
                  <a:lnTo>
                    <a:pt x="1202" y="2018"/>
                  </a:lnTo>
                  <a:lnTo>
                    <a:pt x="1201" y="2016"/>
                  </a:lnTo>
                  <a:lnTo>
                    <a:pt x="1200" y="2016"/>
                  </a:lnTo>
                  <a:lnTo>
                    <a:pt x="1200" y="2017"/>
                  </a:lnTo>
                  <a:lnTo>
                    <a:pt x="1199" y="2017"/>
                  </a:lnTo>
                  <a:lnTo>
                    <a:pt x="1199" y="2018"/>
                  </a:lnTo>
                  <a:lnTo>
                    <a:pt x="1198" y="2018"/>
                  </a:lnTo>
                  <a:lnTo>
                    <a:pt x="1198" y="2020"/>
                  </a:lnTo>
                  <a:lnTo>
                    <a:pt x="1196" y="2018"/>
                  </a:lnTo>
                  <a:lnTo>
                    <a:pt x="1196" y="2017"/>
                  </a:lnTo>
                  <a:lnTo>
                    <a:pt x="1195" y="2017"/>
                  </a:lnTo>
                  <a:lnTo>
                    <a:pt x="1195" y="2018"/>
                  </a:lnTo>
                  <a:lnTo>
                    <a:pt x="1194" y="2018"/>
                  </a:lnTo>
                  <a:lnTo>
                    <a:pt x="1193" y="2020"/>
                  </a:lnTo>
                  <a:lnTo>
                    <a:pt x="1193" y="2018"/>
                  </a:lnTo>
                  <a:lnTo>
                    <a:pt x="1190" y="2018"/>
                  </a:lnTo>
                  <a:lnTo>
                    <a:pt x="1190" y="2024"/>
                  </a:lnTo>
                  <a:lnTo>
                    <a:pt x="1189" y="2026"/>
                  </a:lnTo>
                  <a:lnTo>
                    <a:pt x="1188" y="2022"/>
                  </a:lnTo>
                  <a:lnTo>
                    <a:pt x="1187" y="2022"/>
                  </a:lnTo>
                  <a:lnTo>
                    <a:pt x="1187" y="2020"/>
                  </a:lnTo>
                  <a:lnTo>
                    <a:pt x="1186" y="2020"/>
                  </a:lnTo>
                  <a:lnTo>
                    <a:pt x="1184" y="2018"/>
                  </a:lnTo>
                  <a:lnTo>
                    <a:pt x="1184" y="2020"/>
                  </a:lnTo>
                  <a:lnTo>
                    <a:pt x="1183" y="2020"/>
                  </a:lnTo>
                  <a:lnTo>
                    <a:pt x="1182" y="2018"/>
                  </a:lnTo>
                  <a:lnTo>
                    <a:pt x="1182" y="2016"/>
                  </a:lnTo>
                  <a:lnTo>
                    <a:pt x="1181" y="2016"/>
                  </a:lnTo>
                  <a:lnTo>
                    <a:pt x="1180" y="2015"/>
                  </a:lnTo>
                  <a:lnTo>
                    <a:pt x="1178" y="2015"/>
                  </a:lnTo>
                  <a:lnTo>
                    <a:pt x="1178" y="2017"/>
                  </a:lnTo>
                  <a:lnTo>
                    <a:pt x="1180" y="2017"/>
                  </a:lnTo>
                  <a:lnTo>
                    <a:pt x="1181" y="2018"/>
                  </a:lnTo>
                  <a:lnTo>
                    <a:pt x="1181" y="2023"/>
                  </a:lnTo>
                  <a:lnTo>
                    <a:pt x="1183" y="2024"/>
                  </a:lnTo>
                  <a:lnTo>
                    <a:pt x="1182" y="2026"/>
                  </a:lnTo>
                  <a:lnTo>
                    <a:pt x="1182" y="2028"/>
                  </a:lnTo>
                  <a:lnTo>
                    <a:pt x="1181" y="2028"/>
                  </a:lnTo>
                  <a:lnTo>
                    <a:pt x="1181" y="2027"/>
                  </a:lnTo>
                  <a:lnTo>
                    <a:pt x="1180" y="2026"/>
                  </a:lnTo>
                  <a:lnTo>
                    <a:pt x="1180" y="2024"/>
                  </a:lnTo>
                  <a:lnTo>
                    <a:pt x="1177" y="2022"/>
                  </a:lnTo>
                  <a:lnTo>
                    <a:pt x="1177" y="2021"/>
                  </a:lnTo>
                  <a:lnTo>
                    <a:pt x="1174" y="2021"/>
                  </a:lnTo>
                  <a:lnTo>
                    <a:pt x="1174" y="2018"/>
                  </a:lnTo>
                  <a:lnTo>
                    <a:pt x="1176" y="2018"/>
                  </a:lnTo>
                  <a:lnTo>
                    <a:pt x="1175" y="2017"/>
                  </a:lnTo>
                  <a:lnTo>
                    <a:pt x="1173" y="2017"/>
                  </a:lnTo>
                  <a:lnTo>
                    <a:pt x="1173" y="2016"/>
                  </a:lnTo>
                  <a:lnTo>
                    <a:pt x="1171" y="2016"/>
                  </a:lnTo>
                  <a:lnTo>
                    <a:pt x="1171" y="2017"/>
                  </a:lnTo>
                  <a:lnTo>
                    <a:pt x="1173" y="2018"/>
                  </a:lnTo>
                  <a:lnTo>
                    <a:pt x="1173" y="2021"/>
                  </a:lnTo>
                  <a:lnTo>
                    <a:pt x="1174" y="2021"/>
                  </a:lnTo>
                  <a:lnTo>
                    <a:pt x="1175" y="2022"/>
                  </a:lnTo>
                  <a:lnTo>
                    <a:pt x="1176" y="2022"/>
                  </a:lnTo>
                  <a:lnTo>
                    <a:pt x="1178" y="2024"/>
                  </a:lnTo>
                  <a:lnTo>
                    <a:pt x="1178" y="2029"/>
                  </a:lnTo>
                  <a:lnTo>
                    <a:pt x="1177" y="2029"/>
                  </a:lnTo>
                  <a:lnTo>
                    <a:pt x="1177" y="2028"/>
                  </a:lnTo>
                  <a:lnTo>
                    <a:pt x="1176" y="2027"/>
                  </a:lnTo>
                  <a:lnTo>
                    <a:pt x="1176" y="2028"/>
                  </a:lnTo>
                  <a:lnTo>
                    <a:pt x="1177" y="2030"/>
                  </a:lnTo>
                  <a:lnTo>
                    <a:pt x="1177" y="2032"/>
                  </a:lnTo>
                  <a:lnTo>
                    <a:pt x="1176" y="2033"/>
                  </a:lnTo>
                  <a:lnTo>
                    <a:pt x="1176" y="2035"/>
                  </a:lnTo>
                  <a:lnTo>
                    <a:pt x="1175" y="2036"/>
                  </a:lnTo>
                  <a:lnTo>
                    <a:pt x="1171" y="2036"/>
                  </a:lnTo>
                  <a:lnTo>
                    <a:pt x="1171" y="2038"/>
                  </a:lnTo>
                  <a:lnTo>
                    <a:pt x="1175" y="2038"/>
                  </a:lnTo>
                  <a:lnTo>
                    <a:pt x="1174" y="2039"/>
                  </a:lnTo>
                  <a:lnTo>
                    <a:pt x="1174" y="2040"/>
                  </a:lnTo>
                  <a:lnTo>
                    <a:pt x="1173" y="2040"/>
                  </a:lnTo>
                  <a:lnTo>
                    <a:pt x="1171" y="2042"/>
                  </a:lnTo>
                  <a:lnTo>
                    <a:pt x="1171" y="2049"/>
                  </a:lnTo>
                  <a:lnTo>
                    <a:pt x="1170" y="2051"/>
                  </a:lnTo>
                  <a:lnTo>
                    <a:pt x="1169" y="2049"/>
                  </a:lnTo>
                  <a:lnTo>
                    <a:pt x="1168" y="2049"/>
                  </a:lnTo>
                  <a:lnTo>
                    <a:pt x="1168" y="2051"/>
                  </a:lnTo>
                  <a:lnTo>
                    <a:pt x="1167" y="2052"/>
                  </a:lnTo>
                  <a:lnTo>
                    <a:pt x="1167" y="2054"/>
                  </a:lnTo>
                  <a:lnTo>
                    <a:pt x="1165" y="2057"/>
                  </a:lnTo>
                  <a:lnTo>
                    <a:pt x="1165" y="2058"/>
                  </a:lnTo>
                  <a:lnTo>
                    <a:pt x="1164" y="2059"/>
                  </a:lnTo>
                  <a:lnTo>
                    <a:pt x="1164" y="2063"/>
                  </a:lnTo>
                  <a:lnTo>
                    <a:pt x="1163" y="2064"/>
                  </a:lnTo>
                  <a:lnTo>
                    <a:pt x="1163" y="2063"/>
                  </a:lnTo>
                  <a:lnTo>
                    <a:pt x="1162" y="2064"/>
                  </a:lnTo>
                  <a:lnTo>
                    <a:pt x="1162" y="2065"/>
                  </a:lnTo>
                  <a:lnTo>
                    <a:pt x="1161" y="2066"/>
                  </a:lnTo>
                  <a:lnTo>
                    <a:pt x="1161" y="2065"/>
                  </a:lnTo>
                  <a:lnTo>
                    <a:pt x="1159" y="2064"/>
                  </a:lnTo>
                  <a:lnTo>
                    <a:pt x="1159" y="2070"/>
                  </a:lnTo>
                  <a:lnTo>
                    <a:pt x="1158" y="2072"/>
                  </a:lnTo>
                  <a:lnTo>
                    <a:pt x="1158" y="2075"/>
                  </a:lnTo>
                  <a:lnTo>
                    <a:pt x="1157" y="2073"/>
                  </a:lnTo>
                  <a:lnTo>
                    <a:pt x="1156" y="2071"/>
                  </a:lnTo>
                  <a:lnTo>
                    <a:pt x="1156" y="2067"/>
                  </a:lnTo>
                  <a:lnTo>
                    <a:pt x="1155" y="2066"/>
                  </a:lnTo>
                  <a:lnTo>
                    <a:pt x="1155" y="2071"/>
                  </a:lnTo>
                  <a:lnTo>
                    <a:pt x="1156" y="2071"/>
                  </a:lnTo>
                  <a:lnTo>
                    <a:pt x="1155" y="2072"/>
                  </a:lnTo>
                  <a:lnTo>
                    <a:pt x="1153" y="2075"/>
                  </a:lnTo>
                  <a:lnTo>
                    <a:pt x="1153" y="2076"/>
                  </a:lnTo>
                  <a:lnTo>
                    <a:pt x="1152" y="2075"/>
                  </a:lnTo>
                  <a:lnTo>
                    <a:pt x="1150" y="2076"/>
                  </a:lnTo>
                  <a:lnTo>
                    <a:pt x="1150" y="2077"/>
                  </a:lnTo>
                  <a:lnTo>
                    <a:pt x="1147" y="2079"/>
                  </a:lnTo>
                  <a:lnTo>
                    <a:pt x="1146" y="2079"/>
                  </a:lnTo>
                  <a:lnTo>
                    <a:pt x="1144" y="2082"/>
                  </a:lnTo>
                  <a:lnTo>
                    <a:pt x="1143" y="2082"/>
                  </a:lnTo>
                  <a:lnTo>
                    <a:pt x="1143" y="2089"/>
                  </a:lnTo>
                  <a:lnTo>
                    <a:pt x="1142" y="2089"/>
                  </a:lnTo>
                  <a:lnTo>
                    <a:pt x="1142" y="2091"/>
                  </a:lnTo>
                  <a:lnTo>
                    <a:pt x="1143" y="2094"/>
                  </a:lnTo>
                  <a:lnTo>
                    <a:pt x="1143" y="2095"/>
                  </a:lnTo>
                  <a:lnTo>
                    <a:pt x="1145" y="2097"/>
                  </a:lnTo>
                  <a:lnTo>
                    <a:pt x="1149" y="2097"/>
                  </a:lnTo>
                  <a:lnTo>
                    <a:pt x="1155" y="2098"/>
                  </a:lnTo>
                  <a:lnTo>
                    <a:pt x="1156" y="2100"/>
                  </a:lnTo>
                  <a:lnTo>
                    <a:pt x="1157" y="2100"/>
                  </a:lnTo>
                  <a:lnTo>
                    <a:pt x="1157" y="2101"/>
                  </a:lnTo>
                  <a:lnTo>
                    <a:pt x="1158" y="2104"/>
                  </a:lnTo>
                  <a:lnTo>
                    <a:pt x="1158" y="2106"/>
                  </a:lnTo>
                  <a:lnTo>
                    <a:pt x="1162" y="2109"/>
                  </a:lnTo>
                  <a:lnTo>
                    <a:pt x="1163" y="2109"/>
                  </a:lnTo>
                  <a:lnTo>
                    <a:pt x="1163" y="2108"/>
                  </a:lnTo>
                  <a:lnTo>
                    <a:pt x="1164" y="2107"/>
                  </a:lnTo>
                  <a:lnTo>
                    <a:pt x="1165" y="2108"/>
                  </a:lnTo>
                  <a:lnTo>
                    <a:pt x="1167" y="2110"/>
                  </a:lnTo>
                  <a:lnTo>
                    <a:pt x="1167" y="2115"/>
                  </a:lnTo>
                  <a:lnTo>
                    <a:pt x="1168" y="2118"/>
                  </a:lnTo>
                  <a:lnTo>
                    <a:pt x="1169" y="2119"/>
                  </a:lnTo>
                  <a:lnTo>
                    <a:pt x="1170" y="2119"/>
                  </a:lnTo>
                  <a:lnTo>
                    <a:pt x="1171" y="2124"/>
                  </a:lnTo>
                  <a:lnTo>
                    <a:pt x="1173" y="2125"/>
                  </a:lnTo>
                  <a:lnTo>
                    <a:pt x="1173" y="2127"/>
                  </a:lnTo>
                  <a:lnTo>
                    <a:pt x="1174" y="2128"/>
                  </a:lnTo>
                  <a:lnTo>
                    <a:pt x="1175" y="2128"/>
                  </a:lnTo>
                  <a:lnTo>
                    <a:pt x="1174" y="2129"/>
                  </a:lnTo>
                  <a:lnTo>
                    <a:pt x="1174" y="2131"/>
                  </a:lnTo>
                  <a:lnTo>
                    <a:pt x="1175" y="2131"/>
                  </a:lnTo>
                  <a:lnTo>
                    <a:pt x="1176" y="2132"/>
                  </a:lnTo>
                  <a:lnTo>
                    <a:pt x="1176" y="2134"/>
                  </a:lnTo>
                  <a:lnTo>
                    <a:pt x="1175" y="2134"/>
                  </a:lnTo>
                  <a:lnTo>
                    <a:pt x="1174" y="2135"/>
                  </a:lnTo>
                  <a:lnTo>
                    <a:pt x="1174" y="2139"/>
                  </a:lnTo>
                  <a:lnTo>
                    <a:pt x="1173" y="2140"/>
                  </a:lnTo>
                  <a:lnTo>
                    <a:pt x="1173" y="2141"/>
                  </a:lnTo>
                  <a:lnTo>
                    <a:pt x="1171" y="2144"/>
                  </a:lnTo>
                  <a:lnTo>
                    <a:pt x="1171" y="2143"/>
                  </a:lnTo>
                  <a:lnTo>
                    <a:pt x="1170" y="2143"/>
                  </a:lnTo>
                  <a:lnTo>
                    <a:pt x="1170" y="2145"/>
                  </a:lnTo>
                  <a:lnTo>
                    <a:pt x="1173" y="2147"/>
                  </a:lnTo>
                  <a:lnTo>
                    <a:pt x="1173" y="2150"/>
                  </a:lnTo>
                  <a:lnTo>
                    <a:pt x="1174" y="2149"/>
                  </a:lnTo>
                  <a:lnTo>
                    <a:pt x="1175" y="2146"/>
                  </a:lnTo>
                  <a:lnTo>
                    <a:pt x="1175" y="2140"/>
                  </a:lnTo>
                  <a:lnTo>
                    <a:pt x="1176" y="2140"/>
                  </a:lnTo>
                  <a:lnTo>
                    <a:pt x="1176" y="2137"/>
                  </a:lnTo>
                  <a:lnTo>
                    <a:pt x="1177" y="2135"/>
                  </a:lnTo>
                  <a:lnTo>
                    <a:pt x="1177" y="2129"/>
                  </a:lnTo>
                  <a:lnTo>
                    <a:pt x="1178" y="2128"/>
                  </a:lnTo>
                  <a:lnTo>
                    <a:pt x="1178" y="2127"/>
                  </a:lnTo>
                  <a:lnTo>
                    <a:pt x="1180" y="2126"/>
                  </a:lnTo>
                  <a:lnTo>
                    <a:pt x="1181" y="2126"/>
                  </a:lnTo>
                  <a:lnTo>
                    <a:pt x="1182" y="2127"/>
                  </a:lnTo>
                  <a:lnTo>
                    <a:pt x="1183" y="2127"/>
                  </a:lnTo>
                  <a:lnTo>
                    <a:pt x="1184" y="2128"/>
                  </a:lnTo>
                  <a:lnTo>
                    <a:pt x="1182" y="2131"/>
                  </a:lnTo>
                  <a:lnTo>
                    <a:pt x="1181" y="2134"/>
                  </a:lnTo>
                  <a:lnTo>
                    <a:pt x="1177" y="2143"/>
                  </a:lnTo>
                  <a:lnTo>
                    <a:pt x="1177" y="2149"/>
                  </a:lnTo>
                  <a:lnTo>
                    <a:pt x="1176" y="2152"/>
                  </a:lnTo>
                  <a:lnTo>
                    <a:pt x="1175" y="2155"/>
                  </a:lnTo>
                  <a:lnTo>
                    <a:pt x="1175" y="2157"/>
                  </a:lnTo>
                  <a:lnTo>
                    <a:pt x="1176" y="2158"/>
                  </a:lnTo>
                  <a:lnTo>
                    <a:pt x="1176" y="2159"/>
                  </a:lnTo>
                  <a:lnTo>
                    <a:pt x="1175" y="2161"/>
                  </a:lnTo>
                  <a:lnTo>
                    <a:pt x="1176" y="2162"/>
                  </a:lnTo>
                  <a:lnTo>
                    <a:pt x="1178" y="2159"/>
                  </a:lnTo>
                  <a:lnTo>
                    <a:pt x="1180" y="2159"/>
                  </a:lnTo>
                  <a:lnTo>
                    <a:pt x="1180" y="2162"/>
                  </a:lnTo>
                  <a:lnTo>
                    <a:pt x="1178" y="2163"/>
                  </a:lnTo>
                  <a:lnTo>
                    <a:pt x="1178" y="2164"/>
                  </a:lnTo>
                  <a:lnTo>
                    <a:pt x="1177" y="2164"/>
                  </a:lnTo>
                  <a:lnTo>
                    <a:pt x="1175" y="2167"/>
                  </a:lnTo>
                  <a:lnTo>
                    <a:pt x="1176" y="2168"/>
                  </a:lnTo>
                  <a:lnTo>
                    <a:pt x="1175" y="2169"/>
                  </a:lnTo>
                  <a:lnTo>
                    <a:pt x="1175" y="2171"/>
                  </a:lnTo>
                  <a:lnTo>
                    <a:pt x="1174" y="2172"/>
                  </a:lnTo>
                  <a:lnTo>
                    <a:pt x="1174" y="2174"/>
                  </a:lnTo>
                  <a:lnTo>
                    <a:pt x="1175" y="2177"/>
                  </a:lnTo>
                  <a:lnTo>
                    <a:pt x="1177" y="2181"/>
                  </a:lnTo>
                  <a:lnTo>
                    <a:pt x="1180" y="2182"/>
                  </a:lnTo>
                  <a:lnTo>
                    <a:pt x="1181" y="2183"/>
                  </a:lnTo>
                  <a:lnTo>
                    <a:pt x="1181" y="2184"/>
                  </a:lnTo>
                  <a:lnTo>
                    <a:pt x="1184" y="2187"/>
                  </a:lnTo>
                  <a:lnTo>
                    <a:pt x="1184" y="2189"/>
                  </a:lnTo>
                  <a:lnTo>
                    <a:pt x="1186" y="2192"/>
                  </a:lnTo>
                  <a:lnTo>
                    <a:pt x="1186" y="2198"/>
                  </a:lnTo>
                  <a:lnTo>
                    <a:pt x="1187" y="2200"/>
                  </a:lnTo>
                  <a:lnTo>
                    <a:pt x="1190" y="2201"/>
                  </a:lnTo>
                  <a:lnTo>
                    <a:pt x="1192" y="2202"/>
                  </a:lnTo>
                  <a:lnTo>
                    <a:pt x="1194" y="2208"/>
                  </a:lnTo>
                  <a:lnTo>
                    <a:pt x="1196" y="2212"/>
                  </a:lnTo>
                  <a:lnTo>
                    <a:pt x="1200" y="2215"/>
                  </a:lnTo>
                  <a:lnTo>
                    <a:pt x="1201" y="2215"/>
                  </a:lnTo>
                  <a:lnTo>
                    <a:pt x="1206" y="2226"/>
                  </a:lnTo>
                  <a:lnTo>
                    <a:pt x="1207" y="2227"/>
                  </a:lnTo>
                  <a:lnTo>
                    <a:pt x="1209" y="2229"/>
                  </a:lnTo>
                  <a:lnTo>
                    <a:pt x="1209" y="2230"/>
                  </a:lnTo>
                  <a:lnTo>
                    <a:pt x="1211" y="2231"/>
                  </a:lnTo>
                  <a:lnTo>
                    <a:pt x="1211" y="2233"/>
                  </a:lnTo>
                  <a:lnTo>
                    <a:pt x="1213" y="2239"/>
                  </a:lnTo>
                  <a:lnTo>
                    <a:pt x="1214" y="2241"/>
                  </a:lnTo>
                  <a:lnTo>
                    <a:pt x="1217" y="2242"/>
                  </a:lnTo>
                  <a:lnTo>
                    <a:pt x="1219" y="2242"/>
                  </a:lnTo>
                  <a:lnTo>
                    <a:pt x="1221" y="2244"/>
                  </a:lnTo>
                  <a:lnTo>
                    <a:pt x="1217" y="2251"/>
                  </a:lnTo>
                  <a:lnTo>
                    <a:pt x="1214" y="2257"/>
                  </a:lnTo>
                  <a:lnTo>
                    <a:pt x="1214" y="2258"/>
                  </a:lnTo>
                  <a:lnTo>
                    <a:pt x="1213" y="2260"/>
                  </a:lnTo>
                  <a:lnTo>
                    <a:pt x="1209" y="2262"/>
                  </a:lnTo>
                  <a:lnTo>
                    <a:pt x="1207" y="2263"/>
                  </a:lnTo>
                  <a:lnTo>
                    <a:pt x="1206" y="2264"/>
                  </a:lnTo>
                  <a:lnTo>
                    <a:pt x="1201" y="2266"/>
                  </a:lnTo>
                  <a:lnTo>
                    <a:pt x="1200" y="2266"/>
                  </a:lnTo>
                  <a:lnTo>
                    <a:pt x="1199" y="2268"/>
                  </a:lnTo>
                  <a:lnTo>
                    <a:pt x="1198" y="2272"/>
                  </a:lnTo>
                  <a:lnTo>
                    <a:pt x="1196" y="2273"/>
                  </a:lnTo>
                  <a:lnTo>
                    <a:pt x="1195" y="2272"/>
                  </a:lnTo>
                  <a:lnTo>
                    <a:pt x="1195" y="2273"/>
                  </a:lnTo>
                  <a:lnTo>
                    <a:pt x="1194" y="2274"/>
                  </a:lnTo>
                  <a:lnTo>
                    <a:pt x="1194" y="2275"/>
                  </a:lnTo>
                  <a:lnTo>
                    <a:pt x="1193" y="2275"/>
                  </a:lnTo>
                  <a:lnTo>
                    <a:pt x="1193" y="2280"/>
                  </a:lnTo>
                  <a:lnTo>
                    <a:pt x="1192" y="2280"/>
                  </a:lnTo>
                  <a:lnTo>
                    <a:pt x="1190" y="2281"/>
                  </a:lnTo>
                  <a:lnTo>
                    <a:pt x="1186" y="2281"/>
                  </a:lnTo>
                  <a:lnTo>
                    <a:pt x="1184" y="2280"/>
                  </a:lnTo>
                  <a:lnTo>
                    <a:pt x="1182" y="2279"/>
                  </a:lnTo>
                  <a:lnTo>
                    <a:pt x="1181" y="2279"/>
                  </a:lnTo>
                  <a:lnTo>
                    <a:pt x="1181" y="2280"/>
                  </a:lnTo>
                  <a:lnTo>
                    <a:pt x="1177" y="2280"/>
                  </a:lnTo>
                  <a:lnTo>
                    <a:pt x="1175" y="2278"/>
                  </a:lnTo>
                  <a:lnTo>
                    <a:pt x="1170" y="2278"/>
                  </a:lnTo>
                  <a:lnTo>
                    <a:pt x="1169" y="2276"/>
                  </a:lnTo>
                  <a:lnTo>
                    <a:pt x="1167" y="2275"/>
                  </a:lnTo>
                  <a:lnTo>
                    <a:pt x="1165" y="2274"/>
                  </a:lnTo>
                  <a:lnTo>
                    <a:pt x="1165" y="2269"/>
                  </a:lnTo>
                  <a:lnTo>
                    <a:pt x="1163" y="2267"/>
                  </a:lnTo>
                  <a:lnTo>
                    <a:pt x="1163" y="2264"/>
                  </a:lnTo>
                  <a:lnTo>
                    <a:pt x="1162" y="2264"/>
                  </a:lnTo>
                  <a:lnTo>
                    <a:pt x="1162" y="2263"/>
                  </a:lnTo>
                  <a:lnTo>
                    <a:pt x="1161" y="2262"/>
                  </a:lnTo>
                  <a:lnTo>
                    <a:pt x="1161" y="2260"/>
                  </a:lnTo>
                  <a:lnTo>
                    <a:pt x="1158" y="2260"/>
                  </a:lnTo>
                  <a:lnTo>
                    <a:pt x="1158" y="2261"/>
                  </a:lnTo>
                  <a:lnTo>
                    <a:pt x="1156" y="2261"/>
                  </a:lnTo>
                  <a:lnTo>
                    <a:pt x="1156" y="2260"/>
                  </a:lnTo>
                  <a:lnTo>
                    <a:pt x="1155" y="2258"/>
                  </a:lnTo>
                  <a:lnTo>
                    <a:pt x="1153" y="2256"/>
                  </a:lnTo>
                  <a:lnTo>
                    <a:pt x="1151" y="2254"/>
                  </a:lnTo>
                  <a:lnTo>
                    <a:pt x="1151" y="2253"/>
                  </a:lnTo>
                  <a:lnTo>
                    <a:pt x="1150" y="2251"/>
                  </a:lnTo>
                  <a:lnTo>
                    <a:pt x="1147" y="2251"/>
                  </a:lnTo>
                  <a:lnTo>
                    <a:pt x="1145" y="2249"/>
                  </a:lnTo>
                  <a:lnTo>
                    <a:pt x="1145" y="2247"/>
                  </a:lnTo>
                  <a:lnTo>
                    <a:pt x="1144" y="2245"/>
                  </a:lnTo>
                  <a:lnTo>
                    <a:pt x="1144" y="2244"/>
                  </a:lnTo>
                  <a:lnTo>
                    <a:pt x="1143" y="2245"/>
                  </a:lnTo>
                  <a:lnTo>
                    <a:pt x="1140" y="2245"/>
                  </a:lnTo>
                  <a:lnTo>
                    <a:pt x="1138" y="2248"/>
                  </a:lnTo>
                  <a:lnTo>
                    <a:pt x="1136" y="2248"/>
                  </a:lnTo>
                  <a:lnTo>
                    <a:pt x="1136" y="2243"/>
                  </a:lnTo>
                  <a:lnTo>
                    <a:pt x="1134" y="2243"/>
                  </a:lnTo>
                  <a:lnTo>
                    <a:pt x="1133" y="2242"/>
                  </a:lnTo>
                  <a:lnTo>
                    <a:pt x="1131" y="2242"/>
                  </a:lnTo>
                  <a:lnTo>
                    <a:pt x="1130" y="2241"/>
                  </a:lnTo>
                  <a:lnTo>
                    <a:pt x="1128" y="2241"/>
                  </a:lnTo>
                  <a:lnTo>
                    <a:pt x="1126" y="2239"/>
                  </a:lnTo>
                  <a:lnTo>
                    <a:pt x="1125" y="2239"/>
                  </a:lnTo>
                  <a:lnTo>
                    <a:pt x="1124" y="2237"/>
                  </a:lnTo>
                  <a:lnTo>
                    <a:pt x="1122" y="2236"/>
                  </a:lnTo>
                  <a:lnTo>
                    <a:pt x="1120" y="2236"/>
                  </a:lnTo>
                  <a:lnTo>
                    <a:pt x="1118" y="2237"/>
                  </a:lnTo>
                  <a:lnTo>
                    <a:pt x="1117" y="2237"/>
                  </a:lnTo>
                  <a:lnTo>
                    <a:pt x="1115" y="2236"/>
                  </a:lnTo>
                  <a:lnTo>
                    <a:pt x="1115" y="2235"/>
                  </a:lnTo>
                  <a:lnTo>
                    <a:pt x="1113" y="2235"/>
                  </a:lnTo>
                  <a:lnTo>
                    <a:pt x="1113" y="2233"/>
                  </a:lnTo>
                  <a:lnTo>
                    <a:pt x="1112" y="2233"/>
                  </a:lnTo>
                  <a:lnTo>
                    <a:pt x="1112" y="2235"/>
                  </a:lnTo>
                  <a:lnTo>
                    <a:pt x="1109" y="2235"/>
                  </a:lnTo>
                  <a:lnTo>
                    <a:pt x="1109" y="2233"/>
                  </a:lnTo>
                  <a:lnTo>
                    <a:pt x="1108" y="2231"/>
                  </a:lnTo>
                  <a:lnTo>
                    <a:pt x="1108" y="2230"/>
                  </a:lnTo>
                  <a:lnTo>
                    <a:pt x="1105" y="2229"/>
                  </a:lnTo>
                  <a:lnTo>
                    <a:pt x="1100" y="2226"/>
                  </a:lnTo>
                  <a:lnTo>
                    <a:pt x="1096" y="2223"/>
                  </a:lnTo>
                  <a:lnTo>
                    <a:pt x="1101" y="2211"/>
                  </a:lnTo>
                  <a:lnTo>
                    <a:pt x="1102" y="2210"/>
                  </a:lnTo>
                  <a:lnTo>
                    <a:pt x="1100" y="2207"/>
                  </a:lnTo>
                  <a:lnTo>
                    <a:pt x="1093" y="2205"/>
                  </a:lnTo>
                  <a:lnTo>
                    <a:pt x="1090" y="2205"/>
                  </a:lnTo>
                  <a:lnTo>
                    <a:pt x="1088" y="2206"/>
                  </a:lnTo>
                  <a:lnTo>
                    <a:pt x="1084" y="2206"/>
                  </a:lnTo>
                  <a:lnTo>
                    <a:pt x="1083" y="2205"/>
                  </a:lnTo>
                  <a:lnTo>
                    <a:pt x="1083" y="2204"/>
                  </a:lnTo>
                  <a:lnTo>
                    <a:pt x="1082" y="2202"/>
                  </a:lnTo>
                  <a:lnTo>
                    <a:pt x="1078" y="2198"/>
                  </a:lnTo>
                  <a:lnTo>
                    <a:pt x="1076" y="2195"/>
                  </a:lnTo>
                  <a:lnTo>
                    <a:pt x="1075" y="2196"/>
                  </a:lnTo>
                  <a:lnTo>
                    <a:pt x="1071" y="2196"/>
                  </a:lnTo>
                  <a:lnTo>
                    <a:pt x="1066" y="2193"/>
                  </a:lnTo>
                  <a:lnTo>
                    <a:pt x="1064" y="2193"/>
                  </a:lnTo>
                  <a:lnTo>
                    <a:pt x="1064" y="2194"/>
                  </a:lnTo>
                  <a:lnTo>
                    <a:pt x="1063" y="2195"/>
                  </a:lnTo>
                  <a:lnTo>
                    <a:pt x="1062" y="2198"/>
                  </a:lnTo>
                  <a:lnTo>
                    <a:pt x="1062" y="2201"/>
                  </a:lnTo>
                  <a:lnTo>
                    <a:pt x="1060" y="2201"/>
                  </a:lnTo>
                  <a:lnTo>
                    <a:pt x="1060" y="2200"/>
                  </a:lnTo>
                  <a:lnTo>
                    <a:pt x="1059" y="2198"/>
                  </a:lnTo>
                  <a:lnTo>
                    <a:pt x="1059" y="2196"/>
                  </a:lnTo>
                  <a:lnTo>
                    <a:pt x="1057" y="2194"/>
                  </a:lnTo>
                  <a:lnTo>
                    <a:pt x="1056" y="2194"/>
                  </a:lnTo>
                  <a:lnTo>
                    <a:pt x="1053" y="2193"/>
                  </a:lnTo>
                  <a:lnTo>
                    <a:pt x="1049" y="2193"/>
                  </a:lnTo>
                  <a:lnTo>
                    <a:pt x="1045" y="2195"/>
                  </a:lnTo>
                  <a:lnTo>
                    <a:pt x="1040" y="2195"/>
                  </a:lnTo>
                  <a:lnTo>
                    <a:pt x="1039" y="2196"/>
                  </a:lnTo>
                  <a:lnTo>
                    <a:pt x="1038" y="2199"/>
                  </a:lnTo>
                  <a:lnTo>
                    <a:pt x="1037" y="2200"/>
                  </a:lnTo>
                  <a:lnTo>
                    <a:pt x="1034" y="2200"/>
                  </a:lnTo>
                  <a:lnTo>
                    <a:pt x="1031" y="2201"/>
                  </a:lnTo>
                  <a:lnTo>
                    <a:pt x="1028" y="2201"/>
                  </a:lnTo>
                  <a:lnTo>
                    <a:pt x="1028" y="2202"/>
                  </a:lnTo>
                  <a:lnTo>
                    <a:pt x="1027" y="2204"/>
                  </a:lnTo>
                  <a:lnTo>
                    <a:pt x="1027" y="2205"/>
                  </a:lnTo>
                  <a:lnTo>
                    <a:pt x="1026" y="2205"/>
                  </a:lnTo>
                  <a:lnTo>
                    <a:pt x="1024" y="2202"/>
                  </a:lnTo>
                  <a:lnTo>
                    <a:pt x="1020" y="2202"/>
                  </a:lnTo>
                  <a:lnTo>
                    <a:pt x="1018" y="2201"/>
                  </a:lnTo>
                  <a:lnTo>
                    <a:pt x="1016" y="2200"/>
                  </a:lnTo>
                  <a:lnTo>
                    <a:pt x="1016" y="2199"/>
                  </a:lnTo>
                  <a:lnTo>
                    <a:pt x="1018" y="2198"/>
                  </a:lnTo>
                  <a:lnTo>
                    <a:pt x="1020" y="2196"/>
                  </a:lnTo>
                  <a:lnTo>
                    <a:pt x="1020" y="2193"/>
                  </a:lnTo>
                  <a:lnTo>
                    <a:pt x="1018" y="2193"/>
                  </a:lnTo>
                  <a:lnTo>
                    <a:pt x="1014" y="2192"/>
                  </a:lnTo>
                  <a:lnTo>
                    <a:pt x="1010" y="2188"/>
                  </a:lnTo>
                  <a:lnTo>
                    <a:pt x="1008" y="2187"/>
                  </a:lnTo>
                  <a:lnTo>
                    <a:pt x="1007" y="2187"/>
                  </a:lnTo>
                  <a:lnTo>
                    <a:pt x="1002" y="2186"/>
                  </a:lnTo>
                  <a:lnTo>
                    <a:pt x="995" y="2183"/>
                  </a:lnTo>
                  <a:lnTo>
                    <a:pt x="994" y="2182"/>
                  </a:lnTo>
                  <a:lnTo>
                    <a:pt x="993" y="2182"/>
                  </a:lnTo>
                  <a:lnTo>
                    <a:pt x="987" y="2176"/>
                  </a:lnTo>
                  <a:lnTo>
                    <a:pt x="985" y="2176"/>
                  </a:lnTo>
                  <a:lnTo>
                    <a:pt x="985" y="2175"/>
                  </a:lnTo>
                  <a:lnTo>
                    <a:pt x="987" y="2174"/>
                  </a:lnTo>
                  <a:lnTo>
                    <a:pt x="987" y="2172"/>
                  </a:lnTo>
                  <a:lnTo>
                    <a:pt x="983" y="2171"/>
                  </a:lnTo>
                  <a:lnTo>
                    <a:pt x="982" y="2171"/>
                  </a:lnTo>
                  <a:lnTo>
                    <a:pt x="979" y="2169"/>
                  </a:lnTo>
                  <a:lnTo>
                    <a:pt x="971" y="2169"/>
                  </a:lnTo>
                  <a:lnTo>
                    <a:pt x="971" y="2170"/>
                  </a:lnTo>
                  <a:lnTo>
                    <a:pt x="970" y="2171"/>
                  </a:lnTo>
                  <a:lnTo>
                    <a:pt x="969" y="2170"/>
                  </a:lnTo>
                  <a:lnTo>
                    <a:pt x="966" y="2169"/>
                  </a:lnTo>
                  <a:lnTo>
                    <a:pt x="964" y="2167"/>
                  </a:lnTo>
                  <a:lnTo>
                    <a:pt x="962" y="2165"/>
                  </a:lnTo>
                  <a:lnTo>
                    <a:pt x="952" y="2165"/>
                  </a:lnTo>
                  <a:lnTo>
                    <a:pt x="951" y="2167"/>
                  </a:lnTo>
                  <a:lnTo>
                    <a:pt x="947" y="2168"/>
                  </a:lnTo>
                  <a:lnTo>
                    <a:pt x="944" y="2168"/>
                  </a:lnTo>
                  <a:lnTo>
                    <a:pt x="941" y="2167"/>
                  </a:lnTo>
                  <a:lnTo>
                    <a:pt x="932" y="2167"/>
                  </a:lnTo>
                  <a:lnTo>
                    <a:pt x="931" y="2165"/>
                  </a:lnTo>
                  <a:lnTo>
                    <a:pt x="928" y="2167"/>
                  </a:lnTo>
                  <a:lnTo>
                    <a:pt x="926" y="2167"/>
                  </a:lnTo>
                  <a:lnTo>
                    <a:pt x="922" y="2163"/>
                  </a:lnTo>
                  <a:lnTo>
                    <a:pt x="920" y="2162"/>
                  </a:lnTo>
                  <a:lnTo>
                    <a:pt x="919" y="2162"/>
                  </a:lnTo>
                  <a:lnTo>
                    <a:pt x="919" y="2159"/>
                  </a:lnTo>
                  <a:lnTo>
                    <a:pt x="914" y="2159"/>
                  </a:lnTo>
                  <a:lnTo>
                    <a:pt x="912" y="2158"/>
                  </a:lnTo>
                  <a:lnTo>
                    <a:pt x="910" y="2158"/>
                  </a:lnTo>
                  <a:lnTo>
                    <a:pt x="909" y="2157"/>
                  </a:lnTo>
                  <a:lnTo>
                    <a:pt x="902" y="2157"/>
                  </a:lnTo>
                  <a:lnTo>
                    <a:pt x="896" y="2152"/>
                  </a:lnTo>
                  <a:lnTo>
                    <a:pt x="895" y="2151"/>
                  </a:lnTo>
                  <a:lnTo>
                    <a:pt x="891" y="2150"/>
                  </a:lnTo>
                  <a:lnTo>
                    <a:pt x="889" y="2149"/>
                  </a:lnTo>
                  <a:lnTo>
                    <a:pt x="888" y="2147"/>
                  </a:lnTo>
                  <a:lnTo>
                    <a:pt x="885" y="2147"/>
                  </a:lnTo>
                  <a:lnTo>
                    <a:pt x="883" y="2149"/>
                  </a:lnTo>
                  <a:lnTo>
                    <a:pt x="882" y="2150"/>
                  </a:lnTo>
                  <a:lnTo>
                    <a:pt x="879" y="2149"/>
                  </a:lnTo>
                  <a:lnTo>
                    <a:pt x="870" y="2145"/>
                  </a:lnTo>
                  <a:lnTo>
                    <a:pt x="866" y="2145"/>
                  </a:lnTo>
                  <a:lnTo>
                    <a:pt x="864" y="2146"/>
                  </a:lnTo>
                  <a:lnTo>
                    <a:pt x="863" y="2146"/>
                  </a:lnTo>
                  <a:lnTo>
                    <a:pt x="863" y="2147"/>
                  </a:lnTo>
                  <a:lnTo>
                    <a:pt x="859" y="2155"/>
                  </a:lnTo>
                  <a:lnTo>
                    <a:pt x="859" y="2156"/>
                  </a:lnTo>
                  <a:lnTo>
                    <a:pt x="858" y="2156"/>
                  </a:lnTo>
                  <a:lnTo>
                    <a:pt x="855" y="2153"/>
                  </a:lnTo>
                  <a:lnTo>
                    <a:pt x="855" y="2152"/>
                  </a:lnTo>
                  <a:lnTo>
                    <a:pt x="854" y="2151"/>
                  </a:lnTo>
                  <a:lnTo>
                    <a:pt x="854" y="2150"/>
                  </a:lnTo>
                  <a:lnTo>
                    <a:pt x="853" y="2149"/>
                  </a:lnTo>
                  <a:lnTo>
                    <a:pt x="850" y="2147"/>
                  </a:lnTo>
                  <a:lnTo>
                    <a:pt x="848" y="2146"/>
                  </a:lnTo>
                  <a:lnTo>
                    <a:pt x="847" y="2146"/>
                  </a:lnTo>
                  <a:lnTo>
                    <a:pt x="847" y="2144"/>
                  </a:lnTo>
                  <a:lnTo>
                    <a:pt x="846" y="2143"/>
                  </a:lnTo>
                  <a:lnTo>
                    <a:pt x="844" y="2141"/>
                  </a:lnTo>
                  <a:lnTo>
                    <a:pt x="836" y="2134"/>
                  </a:lnTo>
                  <a:lnTo>
                    <a:pt x="834" y="2129"/>
                  </a:lnTo>
                  <a:lnTo>
                    <a:pt x="832" y="2127"/>
                  </a:lnTo>
                  <a:lnTo>
                    <a:pt x="822" y="2119"/>
                  </a:lnTo>
                  <a:lnTo>
                    <a:pt x="820" y="2116"/>
                  </a:lnTo>
                  <a:lnTo>
                    <a:pt x="820" y="2115"/>
                  </a:lnTo>
                  <a:lnTo>
                    <a:pt x="817" y="2115"/>
                  </a:lnTo>
                  <a:lnTo>
                    <a:pt x="817" y="2113"/>
                  </a:lnTo>
                  <a:lnTo>
                    <a:pt x="815" y="2110"/>
                  </a:lnTo>
                  <a:lnTo>
                    <a:pt x="813" y="2110"/>
                  </a:lnTo>
                  <a:lnTo>
                    <a:pt x="807" y="2104"/>
                  </a:lnTo>
                  <a:lnTo>
                    <a:pt x="804" y="2103"/>
                  </a:lnTo>
                  <a:lnTo>
                    <a:pt x="801" y="2101"/>
                  </a:lnTo>
                  <a:lnTo>
                    <a:pt x="789" y="2098"/>
                  </a:lnTo>
                  <a:lnTo>
                    <a:pt x="788" y="2098"/>
                  </a:lnTo>
                  <a:lnTo>
                    <a:pt x="784" y="2097"/>
                  </a:lnTo>
                  <a:lnTo>
                    <a:pt x="783" y="2097"/>
                  </a:lnTo>
                  <a:lnTo>
                    <a:pt x="780" y="2092"/>
                  </a:lnTo>
                  <a:lnTo>
                    <a:pt x="778" y="2090"/>
                  </a:lnTo>
                  <a:lnTo>
                    <a:pt x="778" y="2088"/>
                  </a:lnTo>
                  <a:lnTo>
                    <a:pt x="774" y="2088"/>
                  </a:lnTo>
                  <a:lnTo>
                    <a:pt x="773" y="2085"/>
                  </a:lnTo>
                  <a:lnTo>
                    <a:pt x="772" y="2085"/>
                  </a:lnTo>
                  <a:lnTo>
                    <a:pt x="772" y="2083"/>
                  </a:lnTo>
                  <a:lnTo>
                    <a:pt x="770" y="2079"/>
                  </a:lnTo>
                  <a:lnTo>
                    <a:pt x="768" y="2079"/>
                  </a:lnTo>
                  <a:lnTo>
                    <a:pt x="766" y="2077"/>
                  </a:lnTo>
                  <a:lnTo>
                    <a:pt x="766" y="2079"/>
                  </a:lnTo>
                  <a:lnTo>
                    <a:pt x="767" y="2081"/>
                  </a:lnTo>
                  <a:lnTo>
                    <a:pt x="767" y="2083"/>
                  </a:lnTo>
                  <a:lnTo>
                    <a:pt x="763" y="2083"/>
                  </a:lnTo>
                  <a:lnTo>
                    <a:pt x="760" y="2081"/>
                  </a:lnTo>
                  <a:lnTo>
                    <a:pt x="759" y="2082"/>
                  </a:lnTo>
                  <a:lnTo>
                    <a:pt x="755" y="2082"/>
                  </a:lnTo>
                  <a:lnTo>
                    <a:pt x="755" y="2081"/>
                  </a:lnTo>
                  <a:lnTo>
                    <a:pt x="754" y="2081"/>
                  </a:lnTo>
                  <a:lnTo>
                    <a:pt x="754" y="2082"/>
                  </a:lnTo>
                  <a:lnTo>
                    <a:pt x="753" y="2081"/>
                  </a:lnTo>
                  <a:lnTo>
                    <a:pt x="753" y="2079"/>
                  </a:lnTo>
                  <a:lnTo>
                    <a:pt x="752" y="2079"/>
                  </a:lnTo>
                  <a:lnTo>
                    <a:pt x="752" y="2078"/>
                  </a:lnTo>
                  <a:lnTo>
                    <a:pt x="749" y="2077"/>
                  </a:lnTo>
                  <a:lnTo>
                    <a:pt x="748" y="2077"/>
                  </a:lnTo>
                  <a:lnTo>
                    <a:pt x="748" y="2075"/>
                  </a:lnTo>
                  <a:lnTo>
                    <a:pt x="746" y="2071"/>
                  </a:lnTo>
                  <a:lnTo>
                    <a:pt x="746" y="2067"/>
                  </a:lnTo>
                  <a:lnTo>
                    <a:pt x="745" y="2066"/>
                  </a:lnTo>
                  <a:lnTo>
                    <a:pt x="741" y="2061"/>
                  </a:lnTo>
                  <a:lnTo>
                    <a:pt x="737" y="2061"/>
                  </a:lnTo>
                  <a:lnTo>
                    <a:pt x="737" y="2060"/>
                  </a:lnTo>
                  <a:lnTo>
                    <a:pt x="736" y="2060"/>
                  </a:lnTo>
                  <a:lnTo>
                    <a:pt x="734" y="2059"/>
                  </a:lnTo>
                  <a:lnTo>
                    <a:pt x="730" y="2058"/>
                  </a:lnTo>
                  <a:lnTo>
                    <a:pt x="727" y="2055"/>
                  </a:lnTo>
                  <a:lnTo>
                    <a:pt x="724" y="2054"/>
                  </a:lnTo>
                  <a:lnTo>
                    <a:pt x="723" y="2054"/>
                  </a:lnTo>
                  <a:lnTo>
                    <a:pt x="722" y="2055"/>
                  </a:lnTo>
                  <a:lnTo>
                    <a:pt x="721" y="2055"/>
                  </a:lnTo>
                  <a:lnTo>
                    <a:pt x="718" y="2054"/>
                  </a:lnTo>
                  <a:lnTo>
                    <a:pt x="716" y="2052"/>
                  </a:lnTo>
                  <a:lnTo>
                    <a:pt x="716" y="2051"/>
                  </a:lnTo>
                  <a:lnTo>
                    <a:pt x="715" y="2051"/>
                  </a:lnTo>
                  <a:lnTo>
                    <a:pt x="715" y="2049"/>
                  </a:lnTo>
                  <a:lnTo>
                    <a:pt x="722" y="2049"/>
                  </a:lnTo>
                  <a:lnTo>
                    <a:pt x="724" y="2047"/>
                  </a:lnTo>
                  <a:lnTo>
                    <a:pt x="728" y="2047"/>
                  </a:lnTo>
                  <a:lnTo>
                    <a:pt x="730" y="2046"/>
                  </a:lnTo>
                  <a:lnTo>
                    <a:pt x="732" y="2045"/>
                  </a:lnTo>
                  <a:lnTo>
                    <a:pt x="732" y="2042"/>
                  </a:lnTo>
                  <a:lnTo>
                    <a:pt x="730" y="2042"/>
                  </a:lnTo>
                  <a:lnTo>
                    <a:pt x="724" y="2043"/>
                  </a:lnTo>
                  <a:lnTo>
                    <a:pt x="723" y="2043"/>
                  </a:lnTo>
                  <a:lnTo>
                    <a:pt x="723" y="2040"/>
                  </a:lnTo>
                  <a:lnTo>
                    <a:pt x="724" y="2041"/>
                  </a:lnTo>
                  <a:lnTo>
                    <a:pt x="724" y="2042"/>
                  </a:lnTo>
                  <a:lnTo>
                    <a:pt x="726" y="2042"/>
                  </a:lnTo>
                  <a:lnTo>
                    <a:pt x="726" y="2040"/>
                  </a:lnTo>
                  <a:lnTo>
                    <a:pt x="724" y="2039"/>
                  </a:lnTo>
                  <a:lnTo>
                    <a:pt x="722" y="2039"/>
                  </a:lnTo>
                  <a:lnTo>
                    <a:pt x="718" y="2042"/>
                  </a:lnTo>
                  <a:lnTo>
                    <a:pt x="718" y="2041"/>
                  </a:lnTo>
                  <a:lnTo>
                    <a:pt x="720" y="2040"/>
                  </a:lnTo>
                  <a:lnTo>
                    <a:pt x="721" y="2038"/>
                  </a:lnTo>
                  <a:lnTo>
                    <a:pt x="726" y="2035"/>
                  </a:lnTo>
                  <a:lnTo>
                    <a:pt x="729" y="2035"/>
                  </a:lnTo>
                  <a:lnTo>
                    <a:pt x="736" y="2040"/>
                  </a:lnTo>
                  <a:lnTo>
                    <a:pt x="737" y="2041"/>
                  </a:lnTo>
                  <a:lnTo>
                    <a:pt x="739" y="2041"/>
                  </a:lnTo>
                  <a:lnTo>
                    <a:pt x="739" y="2042"/>
                  </a:lnTo>
                  <a:lnTo>
                    <a:pt x="737" y="2042"/>
                  </a:lnTo>
                  <a:lnTo>
                    <a:pt x="737" y="2046"/>
                  </a:lnTo>
                  <a:lnTo>
                    <a:pt x="736" y="2046"/>
                  </a:lnTo>
                  <a:lnTo>
                    <a:pt x="736" y="2047"/>
                  </a:lnTo>
                  <a:lnTo>
                    <a:pt x="737" y="2047"/>
                  </a:lnTo>
                  <a:lnTo>
                    <a:pt x="740" y="2046"/>
                  </a:lnTo>
                  <a:lnTo>
                    <a:pt x="743" y="2046"/>
                  </a:lnTo>
                  <a:lnTo>
                    <a:pt x="743" y="2045"/>
                  </a:lnTo>
                  <a:lnTo>
                    <a:pt x="746" y="2045"/>
                  </a:lnTo>
                  <a:lnTo>
                    <a:pt x="745" y="2043"/>
                  </a:lnTo>
                  <a:lnTo>
                    <a:pt x="740" y="2043"/>
                  </a:lnTo>
                  <a:lnTo>
                    <a:pt x="740" y="2042"/>
                  </a:lnTo>
                  <a:lnTo>
                    <a:pt x="748" y="2042"/>
                  </a:lnTo>
                  <a:lnTo>
                    <a:pt x="749" y="2043"/>
                  </a:lnTo>
                  <a:lnTo>
                    <a:pt x="749" y="2042"/>
                  </a:lnTo>
                  <a:lnTo>
                    <a:pt x="752" y="2042"/>
                  </a:lnTo>
                  <a:lnTo>
                    <a:pt x="754" y="2040"/>
                  </a:lnTo>
                  <a:lnTo>
                    <a:pt x="755" y="2040"/>
                  </a:lnTo>
                  <a:lnTo>
                    <a:pt x="754" y="2041"/>
                  </a:lnTo>
                  <a:lnTo>
                    <a:pt x="759" y="2041"/>
                  </a:lnTo>
                  <a:lnTo>
                    <a:pt x="759" y="2042"/>
                  </a:lnTo>
                  <a:lnTo>
                    <a:pt x="760" y="2041"/>
                  </a:lnTo>
                  <a:lnTo>
                    <a:pt x="760" y="2042"/>
                  </a:lnTo>
                  <a:lnTo>
                    <a:pt x="761" y="2042"/>
                  </a:lnTo>
                  <a:lnTo>
                    <a:pt x="761" y="2043"/>
                  </a:lnTo>
                  <a:lnTo>
                    <a:pt x="764" y="2043"/>
                  </a:lnTo>
                  <a:lnTo>
                    <a:pt x="764" y="2042"/>
                  </a:lnTo>
                  <a:lnTo>
                    <a:pt x="763" y="2041"/>
                  </a:lnTo>
                  <a:lnTo>
                    <a:pt x="763" y="2040"/>
                  </a:lnTo>
                  <a:lnTo>
                    <a:pt x="764" y="2040"/>
                  </a:lnTo>
                  <a:lnTo>
                    <a:pt x="764" y="2039"/>
                  </a:lnTo>
                  <a:lnTo>
                    <a:pt x="765" y="2039"/>
                  </a:lnTo>
                  <a:lnTo>
                    <a:pt x="765" y="2038"/>
                  </a:lnTo>
                  <a:lnTo>
                    <a:pt x="764" y="2038"/>
                  </a:lnTo>
                  <a:lnTo>
                    <a:pt x="764" y="2036"/>
                  </a:lnTo>
                  <a:lnTo>
                    <a:pt x="763" y="2035"/>
                  </a:lnTo>
                  <a:lnTo>
                    <a:pt x="763" y="2034"/>
                  </a:lnTo>
                  <a:lnTo>
                    <a:pt x="764" y="2034"/>
                  </a:lnTo>
                  <a:lnTo>
                    <a:pt x="764" y="2035"/>
                  </a:lnTo>
                  <a:lnTo>
                    <a:pt x="765" y="2035"/>
                  </a:lnTo>
                  <a:lnTo>
                    <a:pt x="765" y="2034"/>
                  </a:lnTo>
                  <a:lnTo>
                    <a:pt x="764" y="2034"/>
                  </a:lnTo>
                  <a:lnTo>
                    <a:pt x="763" y="2033"/>
                  </a:lnTo>
                  <a:lnTo>
                    <a:pt x="763" y="2028"/>
                  </a:lnTo>
                  <a:lnTo>
                    <a:pt x="761" y="2027"/>
                  </a:lnTo>
                  <a:lnTo>
                    <a:pt x="760" y="2027"/>
                  </a:lnTo>
                  <a:lnTo>
                    <a:pt x="760" y="2026"/>
                  </a:lnTo>
                  <a:lnTo>
                    <a:pt x="759" y="2026"/>
                  </a:lnTo>
                  <a:lnTo>
                    <a:pt x="759" y="2027"/>
                  </a:lnTo>
                  <a:lnTo>
                    <a:pt x="760" y="2027"/>
                  </a:lnTo>
                  <a:lnTo>
                    <a:pt x="761" y="2028"/>
                  </a:lnTo>
                  <a:lnTo>
                    <a:pt x="760" y="2028"/>
                  </a:lnTo>
                  <a:lnTo>
                    <a:pt x="760" y="2034"/>
                  </a:lnTo>
                  <a:lnTo>
                    <a:pt x="759" y="2036"/>
                  </a:lnTo>
                  <a:lnTo>
                    <a:pt x="758" y="2036"/>
                  </a:lnTo>
                  <a:lnTo>
                    <a:pt x="758" y="2023"/>
                  </a:lnTo>
                  <a:lnTo>
                    <a:pt x="759" y="2022"/>
                  </a:lnTo>
                  <a:lnTo>
                    <a:pt x="759" y="2021"/>
                  </a:lnTo>
                  <a:lnTo>
                    <a:pt x="760" y="2022"/>
                  </a:lnTo>
                  <a:lnTo>
                    <a:pt x="759" y="2023"/>
                  </a:lnTo>
                  <a:lnTo>
                    <a:pt x="760" y="2023"/>
                  </a:lnTo>
                  <a:lnTo>
                    <a:pt x="760" y="2024"/>
                  </a:lnTo>
                  <a:lnTo>
                    <a:pt x="763" y="2024"/>
                  </a:lnTo>
                  <a:lnTo>
                    <a:pt x="763" y="2023"/>
                  </a:lnTo>
                  <a:lnTo>
                    <a:pt x="761" y="2023"/>
                  </a:lnTo>
                  <a:lnTo>
                    <a:pt x="761" y="2021"/>
                  </a:lnTo>
                  <a:lnTo>
                    <a:pt x="765" y="2018"/>
                  </a:lnTo>
                  <a:lnTo>
                    <a:pt x="767" y="2017"/>
                  </a:lnTo>
                  <a:lnTo>
                    <a:pt x="768" y="2016"/>
                  </a:lnTo>
                  <a:lnTo>
                    <a:pt x="768" y="2015"/>
                  </a:lnTo>
                  <a:lnTo>
                    <a:pt x="770" y="2014"/>
                  </a:lnTo>
                  <a:lnTo>
                    <a:pt x="770" y="2011"/>
                  </a:lnTo>
                  <a:lnTo>
                    <a:pt x="771" y="2004"/>
                  </a:lnTo>
                  <a:lnTo>
                    <a:pt x="772" y="2002"/>
                  </a:lnTo>
                  <a:lnTo>
                    <a:pt x="774" y="1999"/>
                  </a:lnTo>
                  <a:lnTo>
                    <a:pt x="777" y="1998"/>
                  </a:lnTo>
                  <a:lnTo>
                    <a:pt x="779" y="1998"/>
                  </a:lnTo>
                  <a:lnTo>
                    <a:pt x="777" y="1999"/>
                  </a:lnTo>
                  <a:lnTo>
                    <a:pt x="778" y="1999"/>
                  </a:lnTo>
                  <a:lnTo>
                    <a:pt x="778" y="2000"/>
                  </a:lnTo>
                  <a:lnTo>
                    <a:pt x="777" y="2002"/>
                  </a:lnTo>
                  <a:lnTo>
                    <a:pt x="777" y="2004"/>
                  </a:lnTo>
                  <a:lnTo>
                    <a:pt x="778" y="2004"/>
                  </a:lnTo>
                  <a:lnTo>
                    <a:pt x="778" y="2008"/>
                  </a:lnTo>
                  <a:lnTo>
                    <a:pt x="776" y="2010"/>
                  </a:lnTo>
                  <a:lnTo>
                    <a:pt x="776" y="2012"/>
                  </a:lnTo>
                  <a:lnTo>
                    <a:pt x="777" y="2012"/>
                  </a:lnTo>
                  <a:lnTo>
                    <a:pt x="778" y="2011"/>
                  </a:lnTo>
                  <a:lnTo>
                    <a:pt x="777" y="2011"/>
                  </a:lnTo>
                  <a:lnTo>
                    <a:pt x="777" y="2010"/>
                  </a:lnTo>
                  <a:lnTo>
                    <a:pt x="778" y="2009"/>
                  </a:lnTo>
                  <a:lnTo>
                    <a:pt x="779" y="2005"/>
                  </a:lnTo>
                  <a:lnTo>
                    <a:pt x="779" y="2004"/>
                  </a:lnTo>
                  <a:lnTo>
                    <a:pt x="780" y="2003"/>
                  </a:lnTo>
                  <a:lnTo>
                    <a:pt x="780" y="2002"/>
                  </a:lnTo>
                  <a:lnTo>
                    <a:pt x="782" y="1999"/>
                  </a:lnTo>
                  <a:lnTo>
                    <a:pt x="782" y="1996"/>
                  </a:lnTo>
                  <a:lnTo>
                    <a:pt x="783" y="1995"/>
                  </a:lnTo>
                  <a:lnTo>
                    <a:pt x="783" y="1993"/>
                  </a:lnTo>
                  <a:lnTo>
                    <a:pt x="785" y="1993"/>
                  </a:lnTo>
                  <a:lnTo>
                    <a:pt x="785" y="1992"/>
                  </a:lnTo>
                  <a:lnTo>
                    <a:pt x="789" y="1996"/>
                  </a:lnTo>
                  <a:lnTo>
                    <a:pt x="790" y="1996"/>
                  </a:lnTo>
                  <a:lnTo>
                    <a:pt x="794" y="1999"/>
                  </a:lnTo>
                  <a:lnTo>
                    <a:pt x="798" y="1999"/>
                  </a:lnTo>
                  <a:lnTo>
                    <a:pt x="799" y="1998"/>
                  </a:lnTo>
                  <a:lnTo>
                    <a:pt x="799" y="1995"/>
                  </a:lnTo>
                  <a:lnTo>
                    <a:pt x="798" y="1995"/>
                  </a:lnTo>
                  <a:lnTo>
                    <a:pt x="788" y="1989"/>
                  </a:lnTo>
                  <a:lnTo>
                    <a:pt x="788" y="1986"/>
                  </a:lnTo>
                  <a:lnTo>
                    <a:pt x="786" y="1985"/>
                  </a:lnTo>
                  <a:lnTo>
                    <a:pt x="786" y="1984"/>
                  </a:lnTo>
                  <a:lnTo>
                    <a:pt x="784" y="1983"/>
                  </a:lnTo>
                  <a:lnTo>
                    <a:pt x="780" y="1978"/>
                  </a:lnTo>
                  <a:lnTo>
                    <a:pt x="779" y="1977"/>
                  </a:lnTo>
                  <a:lnTo>
                    <a:pt x="774" y="1977"/>
                  </a:lnTo>
                  <a:lnTo>
                    <a:pt x="774" y="1978"/>
                  </a:lnTo>
                  <a:lnTo>
                    <a:pt x="776" y="1979"/>
                  </a:lnTo>
                  <a:lnTo>
                    <a:pt x="774" y="1980"/>
                  </a:lnTo>
                  <a:lnTo>
                    <a:pt x="774" y="1979"/>
                  </a:lnTo>
                  <a:lnTo>
                    <a:pt x="771" y="1977"/>
                  </a:lnTo>
                  <a:lnTo>
                    <a:pt x="770" y="1973"/>
                  </a:lnTo>
                  <a:lnTo>
                    <a:pt x="768" y="1973"/>
                  </a:lnTo>
                  <a:lnTo>
                    <a:pt x="768" y="1972"/>
                  </a:lnTo>
                  <a:lnTo>
                    <a:pt x="767" y="1971"/>
                  </a:lnTo>
                  <a:lnTo>
                    <a:pt x="767" y="1968"/>
                  </a:lnTo>
                  <a:lnTo>
                    <a:pt x="765" y="1963"/>
                  </a:lnTo>
                  <a:lnTo>
                    <a:pt x="765" y="1962"/>
                  </a:lnTo>
                  <a:lnTo>
                    <a:pt x="764" y="1961"/>
                  </a:lnTo>
                  <a:lnTo>
                    <a:pt x="764" y="1960"/>
                  </a:lnTo>
                  <a:lnTo>
                    <a:pt x="765" y="1961"/>
                  </a:lnTo>
                  <a:lnTo>
                    <a:pt x="767" y="1962"/>
                  </a:lnTo>
                  <a:lnTo>
                    <a:pt x="768" y="1963"/>
                  </a:lnTo>
                  <a:lnTo>
                    <a:pt x="777" y="1963"/>
                  </a:lnTo>
                  <a:lnTo>
                    <a:pt x="778" y="1962"/>
                  </a:lnTo>
                  <a:lnTo>
                    <a:pt x="779" y="1960"/>
                  </a:lnTo>
                  <a:lnTo>
                    <a:pt x="780" y="1960"/>
                  </a:lnTo>
                  <a:lnTo>
                    <a:pt x="782" y="1959"/>
                  </a:lnTo>
                  <a:lnTo>
                    <a:pt x="785" y="1959"/>
                  </a:lnTo>
                  <a:lnTo>
                    <a:pt x="786" y="1956"/>
                  </a:lnTo>
                  <a:lnTo>
                    <a:pt x="788" y="1957"/>
                  </a:lnTo>
                  <a:lnTo>
                    <a:pt x="788" y="1960"/>
                  </a:lnTo>
                  <a:lnTo>
                    <a:pt x="789" y="1960"/>
                  </a:lnTo>
                  <a:lnTo>
                    <a:pt x="795" y="1962"/>
                  </a:lnTo>
                  <a:lnTo>
                    <a:pt x="799" y="1961"/>
                  </a:lnTo>
                  <a:lnTo>
                    <a:pt x="801" y="1961"/>
                  </a:lnTo>
                  <a:lnTo>
                    <a:pt x="801" y="1960"/>
                  </a:lnTo>
                  <a:lnTo>
                    <a:pt x="799" y="1959"/>
                  </a:lnTo>
                  <a:lnTo>
                    <a:pt x="799" y="1957"/>
                  </a:lnTo>
                  <a:lnTo>
                    <a:pt x="798" y="1957"/>
                  </a:lnTo>
                  <a:lnTo>
                    <a:pt x="797" y="1956"/>
                  </a:lnTo>
                  <a:lnTo>
                    <a:pt x="791" y="1956"/>
                  </a:lnTo>
                  <a:lnTo>
                    <a:pt x="791" y="1955"/>
                  </a:lnTo>
                  <a:lnTo>
                    <a:pt x="792" y="1954"/>
                  </a:lnTo>
                  <a:lnTo>
                    <a:pt x="792" y="1950"/>
                  </a:lnTo>
                  <a:lnTo>
                    <a:pt x="794" y="1949"/>
                  </a:lnTo>
                  <a:lnTo>
                    <a:pt x="801" y="1949"/>
                  </a:lnTo>
                  <a:lnTo>
                    <a:pt x="804" y="1948"/>
                  </a:lnTo>
                  <a:lnTo>
                    <a:pt x="805" y="1948"/>
                  </a:lnTo>
                  <a:lnTo>
                    <a:pt x="808" y="1947"/>
                  </a:lnTo>
                  <a:lnTo>
                    <a:pt x="809" y="1947"/>
                  </a:lnTo>
                  <a:lnTo>
                    <a:pt x="811" y="1944"/>
                  </a:lnTo>
                  <a:lnTo>
                    <a:pt x="811" y="1943"/>
                  </a:lnTo>
                  <a:lnTo>
                    <a:pt x="816" y="1943"/>
                  </a:lnTo>
                  <a:lnTo>
                    <a:pt x="817" y="1942"/>
                  </a:lnTo>
                  <a:lnTo>
                    <a:pt x="819" y="1940"/>
                  </a:lnTo>
                  <a:lnTo>
                    <a:pt x="820" y="1938"/>
                  </a:lnTo>
                  <a:lnTo>
                    <a:pt x="821" y="1938"/>
                  </a:lnTo>
                  <a:lnTo>
                    <a:pt x="822" y="1940"/>
                  </a:lnTo>
                  <a:lnTo>
                    <a:pt x="823" y="1940"/>
                  </a:lnTo>
                  <a:lnTo>
                    <a:pt x="823" y="1938"/>
                  </a:lnTo>
                  <a:lnTo>
                    <a:pt x="828" y="1940"/>
                  </a:lnTo>
                  <a:lnTo>
                    <a:pt x="829" y="1940"/>
                  </a:lnTo>
                  <a:lnTo>
                    <a:pt x="829" y="1938"/>
                  </a:lnTo>
                  <a:lnTo>
                    <a:pt x="830" y="1936"/>
                  </a:lnTo>
                  <a:lnTo>
                    <a:pt x="830" y="1935"/>
                  </a:lnTo>
                  <a:lnTo>
                    <a:pt x="832" y="1934"/>
                  </a:lnTo>
                  <a:lnTo>
                    <a:pt x="833" y="1934"/>
                  </a:lnTo>
                  <a:lnTo>
                    <a:pt x="834" y="1932"/>
                  </a:lnTo>
                  <a:lnTo>
                    <a:pt x="832" y="1932"/>
                  </a:lnTo>
                  <a:lnTo>
                    <a:pt x="829" y="1935"/>
                  </a:lnTo>
                  <a:lnTo>
                    <a:pt x="828" y="1934"/>
                  </a:lnTo>
                  <a:lnTo>
                    <a:pt x="829" y="1931"/>
                  </a:lnTo>
                  <a:lnTo>
                    <a:pt x="828" y="1931"/>
                  </a:lnTo>
                  <a:lnTo>
                    <a:pt x="828" y="1928"/>
                  </a:lnTo>
                  <a:lnTo>
                    <a:pt x="829" y="1928"/>
                  </a:lnTo>
                  <a:lnTo>
                    <a:pt x="829" y="1925"/>
                  </a:lnTo>
                  <a:lnTo>
                    <a:pt x="828" y="1924"/>
                  </a:lnTo>
                  <a:lnTo>
                    <a:pt x="827" y="1924"/>
                  </a:lnTo>
                  <a:lnTo>
                    <a:pt x="826" y="1923"/>
                  </a:lnTo>
                  <a:lnTo>
                    <a:pt x="821" y="1923"/>
                  </a:lnTo>
                  <a:lnTo>
                    <a:pt x="820" y="1924"/>
                  </a:lnTo>
                  <a:lnTo>
                    <a:pt x="815" y="1924"/>
                  </a:lnTo>
                  <a:lnTo>
                    <a:pt x="815" y="1929"/>
                  </a:lnTo>
                  <a:lnTo>
                    <a:pt x="813" y="1929"/>
                  </a:lnTo>
                  <a:lnTo>
                    <a:pt x="811" y="1930"/>
                  </a:lnTo>
                  <a:lnTo>
                    <a:pt x="808" y="1930"/>
                  </a:lnTo>
                  <a:lnTo>
                    <a:pt x="805" y="1931"/>
                  </a:lnTo>
                  <a:lnTo>
                    <a:pt x="798" y="1931"/>
                  </a:lnTo>
                  <a:lnTo>
                    <a:pt x="798" y="1932"/>
                  </a:lnTo>
                  <a:lnTo>
                    <a:pt x="796" y="1932"/>
                  </a:lnTo>
                  <a:lnTo>
                    <a:pt x="796" y="1931"/>
                  </a:lnTo>
                  <a:lnTo>
                    <a:pt x="797" y="1930"/>
                  </a:lnTo>
                  <a:lnTo>
                    <a:pt x="797" y="1929"/>
                  </a:lnTo>
                  <a:lnTo>
                    <a:pt x="798" y="1928"/>
                  </a:lnTo>
                  <a:lnTo>
                    <a:pt x="798" y="1926"/>
                  </a:lnTo>
                  <a:lnTo>
                    <a:pt x="801" y="1926"/>
                  </a:lnTo>
                  <a:lnTo>
                    <a:pt x="808" y="1925"/>
                  </a:lnTo>
                  <a:lnTo>
                    <a:pt x="810" y="1923"/>
                  </a:lnTo>
                  <a:lnTo>
                    <a:pt x="809" y="1922"/>
                  </a:lnTo>
                  <a:lnTo>
                    <a:pt x="809" y="1924"/>
                  </a:lnTo>
                  <a:lnTo>
                    <a:pt x="807" y="1924"/>
                  </a:lnTo>
                  <a:lnTo>
                    <a:pt x="801" y="1925"/>
                  </a:lnTo>
                  <a:lnTo>
                    <a:pt x="798" y="1926"/>
                  </a:lnTo>
                  <a:lnTo>
                    <a:pt x="797" y="1926"/>
                  </a:lnTo>
                  <a:lnTo>
                    <a:pt x="796" y="1929"/>
                  </a:lnTo>
                  <a:lnTo>
                    <a:pt x="795" y="1930"/>
                  </a:lnTo>
                  <a:lnTo>
                    <a:pt x="795" y="1931"/>
                  </a:lnTo>
                  <a:lnTo>
                    <a:pt x="794" y="1932"/>
                  </a:lnTo>
                  <a:lnTo>
                    <a:pt x="786" y="1932"/>
                  </a:lnTo>
                  <a:lnTo>
                    <a:pt x="785" y="1934"/>
                  </a:lnTo>
                  <a:lnTo>
                    <a:pt x="784" y="1934"/>
                  </a:lnTo>
                  <a:lnTo>
                    <a:pt x="784" y="1928"/>
                  </a:lnTo>
                  <a:lnTo>
                    <a:pt x="786" y="1925"/>
                  </a:lnTo>
                  <a:lnTo>
                    <a:pt x="788" y="1925"/>
                  </a:lnTo>
                  <a:lnTo>
                    <a:pt x="788" y="1923"/>
                  </a:lnTo>
                  <a:lnTo>
                    <a:pt x="786" y="1922"/>
                  </a:lnTo>
                  <a:lnTo>
                    <a:pt x="783" y="1922"/>
                  </a:lnTo>
                  <a:lnTo>
                    <a:pt x="783" y="1920"/>
                  </a:lnTo>
                  <a:lnTo>
                    <a:pt x="785" y="1918"/>
                  </a:lnTo>
                  <a:lnTo>
                    <a:pt x="786" y="1916"/>
                  </a:lnTo>
                  <a:lnTo>
                    <a:pt x="786" y="1907"/>
                  </a:lnTo>
                  <a:lnTo>
                    <a:pt x="788" y="1905"/>
                  </a:lnTo>
                  <a:lnTo>
                    <a:pt x="790" y="1903"/>
                  </a:lnTo>
                  <a:lnTo>
                    <a:pt x="799" y="1901"/>
                  </a:lnTo>
                  <a:lnTo>
                    <a:pt x="799" y="1900"/>
                  </a:lnTo>
                  <a:lnTo>
                    <a:pt x="801" y="1900"/>
                  </a:lnTo>
                  <a:lnTo>
                    <a:pt x="802" y="1898"/>
                  </a:lnTo>
                  <a:lnTo>
                    <a:pt x="807" y="1898"/>
                  </a:lnTo>
                  <a:lnTo>
                    <a:pt x="807" y="1894"/>
                  </a:lnTo>
                  <a:lnTo>
                    <a:pt x="810" y="1887"/>
                  </a:lnTo>
                  <a:lnTo>
                    <a:pt x="813" y="1886"/>
                  </a:lnTo>
                  <a:lnTo>
                    <a:pt x="819" y="1887"/>
                  </a:lnTo>
                  <a:lnTo>
                    <a:pt x="821" y="1888"/>
                  </a:lnTo>
                  <a:lnTo>
                    <a:pt x="824" y="1888"/>
                  </a:lnTo>
                  <a:lnTo>
                    <a:pt x="830" y="1887"/>
                  </a:lnTo>
                  <a:lnTo>
                    <a:pt x="832" y="1887"/>
                  </a:lnTo>
                  <a:lnTo>
                    <a:pt x="834" y="1889"/>
                  </a:lnTo>
                  <a:lnTo>
                    <a:pt x="835" y="1888"/>
                  </a:lnTo>
                  <a:lnTo>
                    <a:pt x="838" y="1888"/>
                  </a:lnTo>
                  <a:lnTo>
                    <a:pt x="839" y="1889"/>
                  </a:lnTo>
                  <a:lnTo>
                    <a:pt x="841" y="1888"/>
                  </a:lnTo>
                  <a:lnTo>
                    <a:pt x="842" y="1888"/>
                  </a:lnTo>
                  <a:lnTo>
                    <a:pt x="847" y="1889"/>
                  </a:lnTo>
                  <a:lnTo>
                    <a:pt x="848" y="1889"/>
                  </a:lnTo>
                  <a:lnTo>
                    <a:pt x="850" y="1888"/>
                  </a:lnTo>
                  <a:lnTo>
                    <a:pt x="850" y="1887"/>
                  </a:lnTo>
                  <a:lnTo>
                    <a:pt x="851" y="1885"/>
                  </a:lnTo>
                  <a:lnTo>
                    <a:pt x="851" y="1879"/>
                  </a:lnTo>
                  <a:lnTo>
                    <a:pt x="850" y="1877"/>
                  </a:lnTo>
                  <a:lnTo>
                    <a:pt x="850" y="1876"/>
                  </a:lnTo>
                  <a:lnTo>
                    <a:pt x="851" y="1876"/>
                  </a:lnTo>
                  <a:lnTo>
                    <a:pt x="853" y="1875"/>
                  </a:lnTo>
                  <a:lnTo>
                    <a:pt x="852" y="1873"/>
                  </a:lnTo>
                  <a:lnTo>
                    <a:pt x="852" y="1872"/>
                  </a:lnTo>
                  <a:lnTo>
                    <a:pt x="853" y="1870"/>
                  </a:lnTo>
                  <a:lnTo>
                    <a:pt x="855" y="1867"/>
                  </a:lnTo>
                  <a:lnTo>
                    <a:pt x="855" y="1866"/>
                  </a:lnTo>
                  <a:lnTo>
                    <a:pt x="858" y="1863"/>
                  </a:lnTo>
                  <a:lnTo>
                    <a:pt x="859" y="1863"/>
                  </a:lnTo>
                  <a:lnTo>
                    <a:pt x="859" y="1860"/>
                  </a:lnTo>
                  <a:lnTo>
                    <a:pt x="854" y="1860"/>
                  </a:lnTo>
                  <a:lnTo>
                    <a:pt x="852" y="1858"/>
                  </a:lnTo>
                  <a:lnTo>
                    <a:pt x="857" y="1854"/>
                  </a:lnTo>
                  <a:lnTo>
                    <a:pt x="855" y="1854"/>
                  </a:lnTo>
                  <a:lnTo>
                    <a:pt x="855" y="1851"/>
                  </a:lnTo>
                  <a:lnTo>
                    <a:pt x="854" y="1848"/>
                  </a:lnTo>
                  <a:lnTo>
                    <a:pt x="853" y="1848"/>
                  </a:lnTo>
                  <a:lnTo>
                    <a:pt x="853" y="1846"/>
                  </a:lnTo>
                  <a:lnTo>
                    <a:pt x="854" y="1846"/>
                  </a:lnTo>
                  <a:lnTo>
                    <a:pt x="854" y="1844"/>
                  </a:lnTo>
                  <a:lnTo>
                    <a:pt x="853" y="1843"/>
                  </a:lnTo>
                  <a:lnTo>
                    <a:pt x="853" y="1842"/>
                  </a:lnTo>
                  <a:lnTo>
                    <a:pt x="852" y="1840"/>
                  </a:lnTo>
                  <a:lnTo>
                    <a:pt x="844" y="1840"/>
                  </a:lnTo>
                  <a:lnTo>
                    <a:pt x="845" y="1839"/>
                  </a:lnTo>
                  <a:lnTo>
                    <a:pt x="847" y="1831"/>
                  </a:lnTo>
                  <a:lnTo>
                    <a:pt x="847" y="1830"/>
                  </a:lnTo>
                  <a:lnTo>
                    <a:pt x="848" y="1830"/>
                  </a:lnTo>
                  <a:lnTo>
                    <a:pt x="848" y="1829"/>
                  </a:lnTo>
                  <a:lnTo>
                    <a:pt x="850" y="1829"/>
                  </a:lnTo>
                  <a:lnTo>
                    <a:pt x="850" y="1827"/>
                  </a:lnTo>
                  <a:lnTo>
                    <a:pt x="851" y="1826"/>
                  </a:lnTo>
                  <a:lnTo>
                    <a:pt x="852" y="1826"/>
                  </a:lnTo>
                  <a:lnTo>
                    <a:pt x="857" y="1827"/>
                  </a:lnTo>
                  <a:lnTo>
                    <a:pt x="859" y="1827"/>
                  </a:lnTo>
                  <a:lnTo>
                    <a:pt x="861" y="1825"/>
                  </a:lnTo>
                  <a:lnTo>
                    <a:pt x="861" y="1821"/>
                  </a:lnTo>
                  <a:lnTo>
                    <a:pt x="860" y="1821"/>
                  </a:lnTo>
                  <a:lnTo>
                    <a:pt x="859" y="1823"/>
                  </a:lnTo>
                  <a:lnTo>
                    <a:pt x="858" y="1823"/>
                  </a:lnTo>
                  <a:lnTo>
                    <a:pt x="858" y="1824"/>
                  </a:lnTo>
                  <a:lnTo>
                    <a:pt x="857" y="1824"/>
                  </a:lnTo>
                  <a:lnTo>
                    <a:pt x="857" y="1823"/>
                  </a:lnTo>
                  <a:lnTo>
                    <a:pt x="855" y="1821"/>
                  </a:lnTo>
                  <a:lnTo>
                    <a:pt x="854" y="1823"/>
                  </a:lnTo>
                  <a:lnTo>
                    <a:pt x="851" y="1821"/>
                  </a:lnTo>
                  <a:lnTo>
                    <a:pt x="850" y="1821"/>
                  </a:lnTo>
                  <a:lnTo>
                    <a:pt x="848" y="1820"/>
                  </a:lnTo>
                  <a:lnTo>
                    <a:pt x="848" y="1818"/>
                  </a:lnTo>
                  <a:lnTo>
                    <a:pt x="847" y="1818"/>
                  </a:lnTo>
                  <a:lnTo>
                    <a:pt x="846" y="1817"/>
                  </a:lnTo>
                  <a:lnTo>
                    <a:pt x="846" y="1813"/>
                  </a:lnTo>
                  <a:lnTo>
                    <a:pt x="847" y="1812"/>
                  </a:lnTo>
                  <a:lnTo>
                    <a:pt x="850" y="1813"/>
                  </a:lnTo>
                  <a:lnTo>
                    <a:pt x="852" y="1811"/>
                  </a:lnTo>
                  <a:lnTo>
                    <a:pt x="854" y="1811"/>
                  </a:lnTo>
                  <a:lnTo>
                    <a:pt x="855" y="1812"/>
                  </a:lnTo>
                  <a:lnTo>
                    <a:pt x="857" y="1811"/>
                  </a:lnTo>
                  <a:lnTo>
                    <a:pt x="857" y="1807"/>
                  </a:lnTo>
                  <a:lnTo>
                    <a:pt x="859" y="1805"/>
                  </a:lnTo>
                  <a:lnTo>
                    <a:pt x="861" y="1803"/>
                  </a:lnTo>
                  <a:lnTo>
                    <a:pt x="861" y="1802"/>
                  </a:lnTo>
                  <a:lnTo>
                    <a:pt x="865" y="1799"/>
                  </a:lnTo>
                  <a:lnTo>
                    <a:pt x="865" y="1796"/>
                  </a:lnTo>
                  <a:lnTo>
                    <a:pt x="866" y="1794"/>
                  </a:lnTo>
                  <a:lnTo>
                    <a:pt x="866" y="1791"/>
                  </a:lnTo>
                  <a:lnTo>
                    <a:pt x="864" y="1789"/>
                  </a:lnTo>
                  <a:lnTo>
                    <a:pt x="861" y="1784"/>
                  </a:lnTo>
                  <a:lnTo>
                    <a:pt x="861" y="1781"/>
                  </a:lnTo>
                  <a:lnTo>
                    <a:pt x="864" y="1778"/>
                  </a:lnTo>
                  <a:lnTo>
                    <a:pt x="865" y="1778"/>
                  </a:lnTo>
                  <a:lnTo>
                    <a:pt x="865" y="1776"/>
                  </a:lnTo>
                  <a:lnTo>
                    <a:pt x="860" y="1775"/>
                  </a:lnTo>
                  <a:lnTo>
                    <a:pt x="859" y="1775"/>
                  </a:lnTo>
                  <a:lnTo>
                    <a:pt x="855" y="1777"/>
                  </a:lnTo>
                  <a:lnTo>
                    <a:pt x="855" y="1778"/>
                  </a:lnTo>
                  <a:lnTo>
                    <a:pt x="853" y="1778"/>
                  </a:lnTo>
                  <a:lnTo>
                    <a:pt x="852" y="1780"/>
                  </a:lnTo>
                  <a:lnTo>
                    <a:pt x="851" y="1780"/>
                  </a:lnTo>
                  <a:lnTo>
                    <a:pt x="851" y="1778"/>
                  </a:lnTo>
                  <a:lnTo>
                    <a:pt x="848" y="1776"/>
                  </a:lnTo>
                  <a:lnTo>
                    <a:pt x="846" y="1776"/>
                  </a:lnTo>
                  <a:lnTo>
                    <a:pt x="845" y="1775"/>
                  </a:lnTo>
                  <a:lnTo>
                    <a:pt x="844" y="1775"/>
                  </a:lnTo>
                  <a:lnTo>
                    <a:pt x="842" y="1772"/>
                  </a:lnTo>
                  <a:lnTo>
                    <a:pt x="842" y="1769"/>
                  </a:lnTo>
                  <a:lnTo>
                    <a:pt x="841" y="1768"/>
                  </a:lnTo>
                  <a:lnTo>
                    <a:pt x="839" y="1766"/>
                  </a:lnTo>
                  <a:lnTo>
                    <a:pt x="838" y="1766"/>
                  </a:lnTo>
                  <a:lnTo>
                    <a:pt x="836" y="1765"/>
                  </a:lnTo>
                  <a:lnTo>
                    <a:pt x="834" y="1766"/>
                  </a:lnTo>
                  <a:lnTo>
                    <a:pt x="833" y="1766"/>
                  </a:lnTo>
                  <a:lnTo>
                    <a:pt x="832" y="1768"/>
                  </a:lnTo>
                  <a:lnTo>
                    <a:pt x="829" y="1766"/>
                  </a:lnTo>
                  <a:lnTo>
                    <a:pt x="828" y="1766"/>
                  </a:lnTo>
                  <a:lnTo>
                    <a:pt x="827" y="1764"/>
                  </a:lnTo>
                  <a:lnTo>
                    <a:pt x="824" y="1758"/>
                  </a:lnTo>
                  <a:lnTo>
                    <a:pt x="824" y="1757"/>
                  </a:lnTo>
                  <a:lnTo>
                    <a:pt x="822" y="1758"/>
                  </a:lnTo>
                  <a:lnTo>
                    <a:pt x="822" y="1759"/>
                  </a:lnTo>
                  <a:lnTo>
                    <a:pt x="820" y="1760"/>
                  </a:lnTo>
                  <a:lnTo>
                    <a:pt x="820" y="1762"/>
                  </a:lnTo>
                  <a:lnTo>
                    <a:pt x="815" y="1762"/>
                  </a:lnTo>
                  <a:lnTo>
                    <a:pt x="811" y="1758"/>
                  </a:lnTo>
                  <a:lnTo>
                    <a:pt x="807" y="1757"/>
                  </a:lnTo>
                  <a:lnTo>
                    <a:pt x="803" y="1753"/>
                  </a:lnTo>
                  <a:lnTo>
                    <a:pt x="803" y="1752"/>
                  </a:lnTo>
                  <a:lnTo>
                    <a:pt x="795" y="1752"/>
                  </a:lnTo>
                  <a:lnTo>
                    <a:pt x="794" y="1751"/>
                  </a:lnTo>
                  <a:lnTo>
                    <a:pt x="790" y="1751"/>
                  </a:lnTo>
                  <a:lnTo>
                    <a:pt x="790" y="1750"/>
                  </a:lnTo>
                  <a:lnTo>
                    <a:pt x="789" y="1746"/>
                  </a:lnTo>
                  <a:lnTo>
                    <a:pt x="788" y="1745"/>
                  </a:lnTo>
                  <a:lnTo>
                    <a:pt x="783" y="1745"/>
                  </a:lnTo>
                  <a:lnTo>
                    <a:pt x="782" y="1747"/>
                  </a:lnTo>
                  <a:lnTo>
                    <a:pt x="783" y="1750"/>
                  </a:lnTo>
                  <a:lnTo>
                    <a:pt x="783" y="1753"/>
                  </a:lnTo>
                  <a:lnTo>
                    <a:pt x="780" y="1754"/>
                  </a:lnTo>
                  <a:lnTo>
                    <a:pt x="779" y="1754"/>
                  </a:lnTo>
                  <a:lnTo>
                    <a:pt x="779" y="1753"/>
                  </a:lnTo>
                  <a:lnTo>
                    <a:pt x="778" y="1753"/>
                  </a:lnTo>
                  <a:lnTo>
                    <a:pt x="778" y="1754"/>
                  </a:lnTo>
                  <a:lnTo>
                    <a:pt x="776" y="1756"/>
                  </a:lnTo>
                  <a:lnTo>
                    <a:pt x="774" y="1756"/>
                  </a:lnTo>
                  <a:lnTo>
                    <a:pt x="774" y="1753"/>
                  </a:lnTo>
                  <a:lnTo>
                    <a:pt x="772" y="1748"/>
                  </a:lnTo>
                  <a:lnTo>
                    <a:pt x="770" y="1747"/>
                  </a:lnTo>
                  <a:lnTo>
                    <a:pt x="768" y="1746"/>
                  </a:lnTo>
                  <a:lnTo>
                    <a:pt x="765" y="1745"/>
                  </a:lnTo>
                  <a:lnTo>
                    <a:pt x="764" y="1744"/>
                  </a:lnTo>
                  <a:lnTo>
                    <a:pt x="760" y="1738"/>
                  </a:lnTo>
                  <a:lnTo>
                    <a:pt x="758" y="1737"/>
                  </a:lnTo>
                  <a:lnTo>
                    <a:pt x="758" y="1734"/>
                  </a:lnTo>
                  <a:lnTo>
                    <a:pt x="759" y="1733"/>
                  </a:lnTo>
                  <a:lnTo>
                    <a:pt x="757" y="1728"/>
                  </a:lnTo>
                  <a:lnTo>
                    <a:pt x="753" y="1727"/>
                  </a:lnTo>
                  <a:lnTo>
                    <a:pt x="753" y="1725"/>
                  </a:lnTo>
                  <a:lnTo>
                    <a:pt x="752" y="1723"/>
                  </a:lnTo>
                  <a:lnTo>
                    <a:pt x="752" y="1721"/>
                  </a:lnTo>
                  <a:lnTo>
                    <a:pt x="746" y="1721"/>
                  </a:lnTo>
                  <a:lnTo>
                    <a:pt x="741" y="1726"/>
                  </a:lnTo>
                  <a:lnTo>
                    <a:pt x="735" y="1727"/>
                  </a:lnTo>
                  <a:lnTo>
                    <a:pt x="729" y="1727"/>
                  </a:lnTo>
                  <a:lnTo>
                    <a:pt x="720" y="1732"/>
                  </a:lnTo>
                  <a:lnTo>
                    <a:pt x="720" y="1733"/>
                  </a:lnTo>
                  <a:lnTo>
                    <a:pt x="718" y="1733"/>
                  </a:lnTo>
                  <a:lnTo>
                    <a:pt x="718" y="1734"/>
                  </a:lnTo>
                  <a:lnTo>
                    <a:pt x="717" y="1735"/>
                  </a:lnTo>
                  <a:lnTo>
                    <a:pt x="714" y="1735"/>
                  </a:lnTo>
                  <a:lnTo>
                    <a:pt x="714" y="1732"/>
                  </a:lnTo>
                  <a:lnTo>
                    <a:pt x="712" y="1731"/>
                  </a:lnTo>
                  <a:lnTo>
                    <a:pt x="711" y="1731"/>
                  </a:lnTo>
                  <a:lnTo>
                    <a:pt x="710" y="1729"/>
                  </a:lnTo>
                  <a:lnTo>
                    <a:pt x="707" y="1729"/>
                  </a:lnTo>
                  <a:lnTo>
                    <a:pt x="705" y="1731"/>
                  </a:lnTo>
                  <a:lnTo>
                    <a:pt x="702" y="1731"/>
                  </a:lnTo>
                  <a:lnTo>
                    <a:pt x="698" y="1723"/>
                  </a:lnTo>
                  <a:lnTo>
                    <a:pt x="697" y="1723"/>
                  </a:lnTo>
                  <a:lnTo>
                    <a:pt x="697" y="1722"/>
                  </a:lnTo>
                  <a:lnTo>
                    <a:pt x="696" y="1721"/>
                  </a:lnTo>
                  <a:lnTo>
                    <a:pt x="683" y="1721"/>
                  </a:lnTo>
                  <a:lnTo>
                    <a:pt x="683" y="1722"/>
                  </a:lnTo>
                  <a:lnTo>
                    <a:pt x="681" y="1723"/>
                  </a:lnTo>
                  <a:lnTo>
                    <a:pt x="680" y="1723"/>
                  </a:lnTo>
                  <a:lnTo>
                    <a:pt x="680" y="1725"/>
                  </a:lnTo>
                  <a:lnTo>
                    <a:pt x="679" y="1725"/>
                  </a:lnTo>
                  <a:lnTo>
                    <a:pt x="679" y="1726"/>
                  </a:lnTo>
                  <a:lnTo>
                    <a:pt x="678" y="1727"/>
                  </a:lnTo>
                  <a:lnTo>
                    <a:pt x="676" y="1727"/>
                  </a:lnTo>
                  <a:lnTo>
                    <a:pt x="674" y="1726"/>
                  </a:lnTo>
                  <a:lnTo>
                    <a:pt x="673" y="1726"/>
                  </a:lnTo>
                  <a:lnTo>
                    <a:pt x="673" y="1725"/>
                  </a:lnTo>
                  <a:lnTo>
                    <a:pt x="672" y="1723"/>
                  </a:lnTo>
                  <a:lnTo>
                    <a:pt x="672" y="1720"/>
                  </a:lnTo>
                  <a:lnTo>
                    <a:pt x="671" y="1719"/>
                  </a:lnTo>
                  <a:lnTo>
                    <a:pt x="668" y="1719"/>
                  </a:lnTo>
                  <a:lnTo>
                    <a:pt x="666" y="1716"/>
                  </a:lnTo>
                  <a:lnTo>
                    <a:pt x="665" y="1708"/>
                  </a:lnTo>
                  <a:lnTo>
                    <a:pt x="665" y="1707"/>
                  </a:lnTo>
                  <a:lnTo>
                    <a:pt x="668" y="1705"/>
                  </a:lnTo>
                  <a:lnTo>
                    <a:pt x="667" y="1704"/>
                  </a:lnTo>
                  <a:lnTo>
                    <a:pt x="667" y="1698"/>
                  </a:lnTo>
                  <a:lnTo>
                    <a:pt x="666" y="1697"/>
                  </a:lnTo>
                  <a:lnTo>
                    <a:pt x="665" y="1697"/>
                  </a:lnTo>
                  <a:lnTo>
                    <a:pt x="665" y="1694"/>
                  </a:lnTo>
                  <a:lnTo>
                    <a:pt x="664" y="1692"/>
                  </a:lnTo>
                  <a:lnTo>
                    <a:pt x="664" y="1691"/>
                  </a:lnTo>
                  <a:lnTo>
                    <a:pt x="662" y="1690"/>
                  </a:lnTo>
                  <a:lnTo>
                    <a:pt x="664" y="1689"/>
                  </a:lnTo>
                  <a:lnTo>
                    <a:pt x="662" y="1688"/>
                  </a:lnTo>
                  <a:lnTo>
                    <a:pt x="661" y="1688"/>
                  </a:lnTo>
                  <a:lnTo>
                    <a:pt x="661" y="1686"/>
                  </a:lnTo>
                  <a:lnTo>
                    <a:pt x="660" y="1686"/>
                  </a:lnTo>
                  <a:lnTo>
                    <a:pt x="660" y="1683"/>
                  </a:lnTo>
                  <a:lnTo>
                    <a:pt x="664" y="1683"/>
                  </a:lnTo>
                  <a:lnTo>
                    <a:pt x="664" y="1680"/>
                  </a:lnTo>
                  <a:lnTo>
                    <a:pt x="662" y="1680"/>
                  </a:lnTo>
                  <a:lnTo>
                    <a:pt x="661" y="1679"/>
                  </a:lnTo>
                  <a:lnTo>
                    <a:pt x="660" y="1679"/>
                  </a:lnTo>
                  <a:lnTo>
                    <a:pt x="658" y="1680"/>
                  </a:lnTo>
                  <a:lnTo>
                    <a:pt x="656" y="1680"/>
                  </a:lnTo>
                  <a:lnTo>
                    <a:pt x="655" y="1679"/>
                  </a:lnTo>
                  <a:lnTo>
                    <a:pt x="654" y="1677"/>
                  </a:lnTo>
                  <a:lnTo>
                    <a:pt x="653" y="1671"/>
                  </a:lnTo>
                  <a:lnTo>
                    <a:pt x="653" y="1670"/>
                  </a:lnTo>
                  <a:lnTo>
                    <a:pt x="652" y="1668"/>
                  </a:lnTo>
                  <a:lnTo>
                    <a:pt x="650" y="1668"/>
                  </a:lnTo>
                  <a:lnTo>
                    <a:pt x="649" y="1670"/>
                  </a:lnTo>
                  <a:lnTo>
                    <a:pt x="648" y="1670"/>
                  </a:lnTo>
                  <a:lnTo>
                    <a:pt x="648" y="1668"/>
                  </a:lnTo>
                  <a:lnTo>
                    <a:pt x="647" y="1668"/>
                  </a:lnTo>
                  <a:lnTo>
                    <a:pt x="645" y="1670"/>
                  </a:lnTo>
                  <a:lnTo>
                    <a:pt x="641" y="1671"/>
                  </a:lnTo>
                  <a:lnTo>
                    <a:pt x="639" y="1672"/>
                  </a:lnTo>
                  <a:lnTo>
                    <a:pt x="635" y="1672"/>
                  </a:lnTo>
                  <a:lnTo>
                    <a:pt x="633" y="1670"/>
                  </a:lnTo>
                  <a:lnTo>
                    <a:pt x="633" y="1667"/>
                  </a:lnTo>
                  <a:lnTo>
                    <a:pt x="627" y="1667"/>
                  </a:lnTo>
                  <a:lnTo>
                    <a:pt x="624" y="1666"/>
                  </a:lnTo>
                  <a:lnTo>
                    <a:pt x="621" y="1666"/>
                  </a:lnTo>
                  <a:lnTo>
                    <a:pt x="619" y="1667"/>
                  </a:lnTo>
                  <a:lnTo>
                    <a:pt x="617" y="1667"/>
                  </a:lnTo>
                  <a:lnTo>
                    <a:pt x="615" y="1666"/>
                  </a:lnTo>
                  <a:lnTo>
                    <a:pt x="617" y="1665"/>
                  </a:lnTo>
                  <a:lnTo>
                    <a:pt x="619" y="1660"/>
                  </a:lnTo>
                  <a:lnTo>
                    <a:pt x="619" y="1658"/>
                  </a:lnTo>
                  <a:lnTo>
                    <a:pt x="618" y="1659"/>
                  </a:lnTo>
                  <a:lnTo>
                    <a:pt x="617" y="1659"/>
                  </a:lnTo>
                  <a:lnTo>
                    <a:pt x="614" y="1655"/>
                  </a:lnTo>
                  <a:lnTo>
                    <a:pt x="616" y="1655"/>
                  </a:lnTo>
                  <a:lnTo>
                    <a:pt x="616" y="1647"/>
                  </a:lnTo>
                  <a:lnTo>
                    <a:pt x="612" y="1643"/>
                  </a:lnTo>
                  <a:lnTo>
                    <a:pt x="612" y="1641"/>
                  </a:lnTo>
                  <a:lnTo>
                    <a:pt x="611" y="1641"/>
                  </a:lnTo>
                  <a:lnTo>
                    <a:pt x="610" y="1640"/>
                  </a:lnTo>
                  <a:lnTo>
                    <a:pt x="610" y="1637"/>
                  </a:lnTo>
                  <a:lnTo>
                    <a:pt x="612" y="1637"/>
                  </a:lnTo>
                  <a:lnTo>
                    <a:pt x="619" y="1635"/>
                  </a:lnTo>
                  <a:lnTo>
                    <a:pt x="622" y="1635"/>
                  </a:lnTo>
                  <a:lnTo>
                    <a:pt x="624" y="1633"/>
                  </a:lnTo>
                  <a:lnTo>
                    <a:pt x="624" y="1630"/>
                  </a:lnTo>
                  <a:lnTo>
                    <a:pt x="623" y="1628"/>
                  </a:lnTo>
                  <a:lnTo>
                    <a:pt x="621" y="1625"/>
                  </a:lnTo>
                  <a:lnTo>
                    <a:pt x="618" y="1624"/>
                  </a:lnTo>
                  <a:lnTo>
                    <a:pt x="618" y="1623"/>
                  </a:lnTo>
                  <a:lnTo>
                    <a:pt x="616" y="1623"/>
                  </a:lnTo>
                  <a:lnTo>
                    <a:pt x="616" y="1622"/>
                  </a:lnTo>
                  <a:lnTo>
                    <a:pt x="615" y="1622"/>
                  </a:lnTo>
                  <a:lnTo>
                    <a:pt x="615" y="1621"/>
                  </a:lnTo>
                  <a:lnTo>
                    <a:pt x="612" y="1618"/>
                  </a:lnTo>
                  <a:lnTo>
                    <a:pt x="610" y="1618"/>
                  </a:lnTo>
                  <a:lnTo>
                    <a:pt x="611" y="1617"/>
                  </a:lnTo>
                  <a:lnTo>
                    <a:pt x="611" y="1616"/>
                  </a:lnTo>
                  <a:lnTo>
                    <a:pt x="609" y="1614"/>
                  </a:lnTo>
                  <a:lnTo>
                    <a:pt x="609" y="1608"/>
                  </a:lnTo>
                  <a:lnTo>
                    <a:pt x="610" y="1606"/>
                  </a:lnTo>
                  <a:lnTo>
                    <a:pt x="610" y="1605"/>
                  </a:lnTo>
                  <a:lnTo>
                    <a:pt x="608" y="1603"/>
                  </a:lnTo>
                  <a:lnTo>
                    <a:pt x="608" y="1602"/>
                  </a:lnTo>
                  <a:lnTo>
                    <a:pt x="605" y="1599"/>
                  </a:lnTo>
                  <a:lnTo>
                    <a:pt x="604" y="1599"/>
                  </a:lnTo>
                  <a:lnTo>
                    <a:pt x="603" y="1597"/>
                  </a:lnTo>
                  <a:lnTo>
                    <a:pt x="603" y="1596"/>
                  </a:lnTo>
                  <a:lnTo>
                    <a:pt x="600" y="1594"/>
                  </a:lnTo>
                  <a:lnTo>
                    <a:pt x="599" y="1593"/>
                  </a:lnTo>
                  <a:lnTo>
                    <a:pt x="599" y="1592"/>
                  </a:lnTo>
                  <a:lnTo>
                    <a:pt x="598" y="1591"/>
                  </a:lnTo>
                  <a:lnTo>
                    <a:pt x="593" y="1591"/>
                  </a:lnTo>
                  <a:lnTo>
                    <a:pt x="590" y="1592"/>
                  </a:lnTo>
                  <a:lnTo>
                    <a:pt x="586" y="1596"/>
                  </a:lnTo>
                  <a:lnTo>
                    <a:pt x="585" y="1594"/>
                  </a:lnTo>
                  <a:lnTo>
                    <a:pt x="585" y="1591"/>
                  </a:lnTo>
                  <a:lnTo>
                    <a:pt x="584" y="1591"/>
                  </a:lnTo>
                  <a:lnTo>
                    <a:pt x="583" y="1592"/>
                  </a:lnTo>
                  <a:lnTo>
                    <a:pt x="581" y="1592"/>
                  </a:lnTo>
                  <a:lnTo>
                    <a:pt x="580" y="1591"/>
                  </a:lnTo>
                  <a:lnTo>
                    <a:pt x="577" y="1591"/>
                  </a:lnTo>
                  <a:lnTo>
                    <a:pt x="573" y="1590"/>
                  </a:lnTo>
                  <a:lnTo>
                    <a:pt x="572" y="1590"/>
                  </a:lnTo>
                  <a:lnTo>
                    <a:pt x="572" y="1591"/>
                  </a:lnTo>
                  <a:lnTo>
                    <a:pt x="571" y="1592"/>
                  </a:lnTo>
                  <a:lnTo>
                    <a:pt x="568" y="1592"/>
                  </a:lnTo>
                  <a:lnTo>
                    <a:pt x="568" y="1593"/>
                  </a:lnTo>
                  <a:lnTo>
                    <a:pt x="567" y="1594"/>
                  </a:lnTo>
                  <a:lnTo>
                    <a:pt x="566" y="1594"/>
                  </a:lnTo>
                  <a:lnTo>
                    <a:pt x="561" y="1598"/>
                  </a:lnTo>
                  <a:lnTo>
                    <a:pt x="559" y="1598"/>
                  </a:lnTo>
                  <a:lnTo>
                    <a:pt x="558" y="1597"/>
                  </a:lnTo>
                  <a:lnTo>
                    <a:pt x="556" y="1597"/>
                  </a:lnTo>
                  <a:lnTo>
                    <a:pt x="554" y="1598"/>
                  </a:lnTo>
                  <a:lnTo>
                    <a:pt x="553" y="1598"/>
                  </a:lnTo>
                  <a:lnTo>
                    <a:pt x="544" y="1593"/>
                  </a:lnTo>
                  <a:lnTo>
                    <a:pt x="542" y="1594"/>
                  </a:lnTo>
                  <a:lnTo>
                    <a:pt x="538" y="1593"/>
                  </a:lnTo>
                  <a:lnTo>
                    <a:pt x="537" y="1593"/>
                  </a:lnTo>
                  <a:lnTo>
                    <a:pt x="536" y="1596"/>
                  </a:lnTo>
                  <a:lnTo>
                    <a:pt x="537" y="1598"/>
                  </a:lnTo>
                  <a:lnTo>
                    <a:pt x="537" y="1599"/>
                  </a:lnTo>
                  <a:lnTo>
                    <a:pt x="536" y="1599"/>
                  </a:lnTo>
                  <a:lnTo>
                    <a:pt x="536" y="1602"/>
                  </a:lnTo>
                  <a:lnTo>
                    <a:pt x="535" y="1605"/>
                  </a:lnTo>
                  <a:lnTo>
                    <a:pt x="534" y="1608"/>
                  </a:lnTo>
                  <a:lnTo>
                    <a:pt x="531" y="1610"/>
                  </a:lnTo>
                  <a:lnTo>
                    <a:pt x="527" y="1612"/>
                  </a:lnTo>
                  <a:lnTo>
                    <a:pt x="525" y="1612"/>
                  </a:lnTo>
                  <a:lnTo>
                    <a:pt x="523" y="1611"/>
                  </a:lnTo>
                  <a:lnTo>
                    <a:pt x="522" y="1612"/>
                  </a:lnTo>
                  <a:lnTo>
                    <a:pt x="519" y="1614"/>
                  </a:lnTo>
                  <a:lnTo>
                    <a:pt x="518" y="1614"/>
                  </a:lnTo>
                  <a:lnTo>
                    <a:pt x="517" y="1612"/>
                  </a:lnTo>
                  <a:lnTo>
                    <a:pt x="517" y="1609"/>
                  </a:lnTo>
                  <a:lnTo>
                    <a:pt x="516" y="1609"/>
                  </a:lnTo>
                  <a:lnTo>
                    <a:pt x="515" y="1608"/>
                  </a:lnTo>
                  <a:lnTo>
                    <a:pt x="512" y="1609"/>
                  </a:lnTo>
                  <a:lnTo>
                    <a:pt x="512" y="1605"/>
                  </a:lnTo>
                  <a:lnTo>
                    <a:pt x="509" y="1602"/>
                  </a:lnTo>
                  <a:lnTo>
                    <a:pt x="509" y="1598"/>
                  </a:lnTo>
                  <a:lnTo>
                    <a:pt x="507" y="1597"/>
                  </a:lnTo>
                  <a:lnTo>
                    <a:pt x="506" y="1597"/>
                  </a:lnTo>
                  <a:lnTo>
                    <a:pt x="505" y="1596"/>
                  </a:lnTo>
                  <a:lnTo>
                    <a:pt x="504" y="1593"/>
                  </a:lnTo>
                  <a:lnTo>
                    <a:pt x="505" y="1592"/>
                  </a:lnTo>
                  <a:lnTo>
                    <a:pt x="505" y="1588"/>
                  </a:lnTo>
                  <a:lnTo>
                    <a:pt x="504" y="1587"/>
                  </a:lnTo>
                  <a:lnTo>
                    <a:pt x="504" y="1586"/>
                  </a:lnTo>
                  <a:lnTo>
                    <a:pt x="505" y="1584"/>
                  </a:lnTo>
                  <a:lnTo>
                    <a:pt x="505" y="1582"/>
                  </a:lnTo>
                  <a:lnTo>
                    <a:pt x="503" y="1580"/>
                  </a:lnTo>
                  <a:lnTo>
                    <a:pt x="504" y="1579"/>
                  </a:lnTo>
                  <a:lnTo>
                    <a:pt x="504" y="1578"/>
                  </a:lnTo>
                  <a:lnTo>
                    <a:pt x="506" y="1578"/>
                  </a:lnTo>
                  <a:lnTo>
                    <a:pt x="506" y="1576"/>
                  </a:lnTo>
                  <a:lnTo>
                    <a:pt x="504" y="1575"/>
                  </a:lnTo>
                  <a:lnTo>
                    <a:pt x="504" y="1574"/>
                  </a:lnTo>
                  <a:lnTo>
                    <a:pt x="503" y="1572"/>
                  </a:lnTo>
                  <a:lnTo>
                    <a:pt x="500" y="1569"/>
                  </a:lnTo>
                  <a:lnTo>
                    <a:pt x="500" y="1568"/>
                  </a:lnTo>
                  <a:lnTo>
                    <a:pt x="503" y="1567"/>
                  </a:lnTo>
                  <a:lnTo>
                    <a:pt x="504" y="1565"/>
                  </a:lnTo>
                  <a:lnTo>
                    <a:pt x="504" y="1561"/>
                  </a:lnTo>
                  <a:lnTo>
                    <a:pt x="502" y="1559"/>
                  </a:lnTo>
                  <a:lnTo>
                    <a:pt x="502" y="1556"/>
                  </a:lnTo>
                  <a:lnTo>
                    <a:pt x="499" y="1556"/>
                  </a:lnTo>
                  <a:lnTo>
                    <a:pt x="496" y="1553"/>
                  </a:lnTo>
                  <a:lnTo>
                    <a:pt x="494" y="1549"/>
                  </a:lnTo>
                  <a:lnTo>
                    <a:pt x="493" y="1548"/>
                  </a:lnTo>
                  <a:lnTo>
                    <a:pt x="491" y="1544"/>
                  </a:lnTo>
                  <a:lnTo>
                    <a:pt x="493" y="1541"/>
                  </a:lnTo>
                  <a:lnTo>
                    <a:pt x="494" y="1541"/>
                  </a:lnTo>
                  <a:lnTo>
                    <a:pt x="496" y="1539"/>
                  </a:lnTo>
                  <a:lnTo>
                    <a:pt x="496" y="1533"/>
                  </a:lnTo>
                  <a:lnTo>
                    <a:pt x="498" y="1532"/>
                  </a:lnTo>
                  <a:lnTo>
                    <a:pt x="503" y="1532"/>
                  </a:lnTo>
                  <a:lnTo>
                    <a:pt x="504" y="1531"/>
                  </a:lnTo>
                  <a:lnTo>
                    <a:pt x="506" y="1531"/>
                  </a:lnTo>
                  <a:lnTo>
                    <a:pt x="509" y="1532"/>
                  </a:lnTo>
                  <a:lnTo>
                    <a:pt x="512" y="1532"/>
                  </a:lnTo>
                  <a:lnTo>
                    <a:pt x="512" y="1537"/>
                  </a:lnTo>
                  <a:lnTo>
                    <a:pt x="513" y="1538"/>
                  </a:lnTo>
                  <a:lnTo>
                    <a:pt x="516" y="1538"/>
                  </a:lnTo>
                  <a:lnTo>
                    <a:pt x="518" y="1539"/>
                  </a:lnTo>
                  <a:lnTo>
                    <a:pt x="522" y="1539"/>
                  </a:lnTo>
                  <a:lnTo>
                    <a:pt x="523" y="1538"/>
                  </a:lnTo>
                  <a:lnTo>
                    <a:pt x="525" y="1541"/>
                  </a:lnTo>
                  <a:lnTo>
                    <a:pt x="527" y="1541"/>
                  </a:lnTo>
                  <a:lnTo>
                    <a:pt x="528" y="1539"/>
                  </a:lnTo>
                  <a:lnTo>
                    <a:pt x="530" y="1539"/>
                  </a:lnTo>
                  <a:lnTo>
                    <a:pt x="531" y="1538"/>
                  </a:lnTo>
                  <a:lnTo>
                    <a:pt x="531" y="1537"/>
                  </a:lnTo>
                  <a:lnTo>
                    <a:pt x="534" y="1537"/>
                  </a:lnTo>
                  <a:lnTo>
                    <a:pt x="538" y="1532"/>
                  </a:lnTo>
                  <a:lnTo>
                    <a:pt x="540" y="1532"/>
                  </a:lnTo>
                  <a:lnTo>
                    <a:pt x="540" y="1531"/>
                  </a:lnTo>
                  <a:lnTo>
                    <a:pt x="541" y="1529"/>
                  </a:lnTo>
                  <a:lnTo>
                    <a:pt x="542" y="1528"/>
                  </a:lnTo>
                  <a:lnTo>
                    <a:pt x="542" y="1526"/>
                  </a:lnTo>
                  <a:lnTo>
                    <a:pt x="541" y="1526"/>
                  </a:lnTo>
                  <a:lnTo>
                    <a:pt x="541" y="1525"/>
                  </a:lnTo>
                  <a:lnTo>
                    <a:pt x="542" y="1524"/>
                  </a:lnTo>
                  <a:lnTo>
                    <a:pt x="543" y="1525"/>
                  </a:lnTo>
                  <a:lnTo>
                    <a:pt x="546" y="1525"/>
                  </a:lnTo>
                  <a:lnTo>
                    <a:pt x="547" y="1524"/>
                  </a:lnTo>
                  <a:lnTo>
                    <a:pt x="547" y="1523"/>
                  </a:lnTo>
                  <a:lnTo>
                    <a:pt x="553" y="1523"/>
                  </a:lnTo>
                  <a:lnTo>
                    <a:pt x="552" y="1520"/>
                  </a:lnTo>
                  <a:lnTo>
                    <a:pt x="553" y="1516"/>
                  </a:lnTo>
                  <a:lnTo>
                    <a:pt x="553" y="1514"/>
                  </a:lnTo>
                  <a:lnTo>
                    <a:pt x="552" y="1513"/>
                  </a:lnTo>
                  <a:lnTo>
                    <a:pt x="549" y="1513"/>
                  </a:lnTo>
                  <a:lnTo>
                    <a:pt x="549" y="1511"/>
                  </a:lnTo>
                  <a:lnTo>
                    <a:pt x="547" y="1511"/>
                  </a:lnTo>
                  <a:lnTo>
                    <a:pt x="547" y="1512"/>
                  </a:lnTo>
                  <a:lnTo>
                    <a:pt x="546" y="1511"/>
                  </a:lnTo>
                  <a:lnTo>
                    <a:pt x="546" y="1510"/>
                  </a:lnTo>
                  <a:lnTo>
                    <a:pt x="544" y="1510"/>
                  </a:lnTo>
                  <a:lnTo>
                    <a:pt x="542" y="1508"/>
                  </a:lnTo>
                  <a:lnTo>
                    <a:pt x="540" y="1506"/>
                  </a:lnTo>
                  <a:lnTo>
                    <a:pt x="540" y="1505"/>
                  </a:lnTo>
                  <a:lnTo>
                    <a:pt x="538" y="1502"/>
                  </a:lnTo>
                  <a:lnTo>
                    <a:pt x="538" y="1501"/>
                  </a:lnTo>
                  <a:lnTo>
                    <a:pt x="540" y="1501"/>
                  </a:lnTo>
                  <a:lnTo>
                    <a:pt x="542" y="1499"/>
                  </a:lnTo>
                  <a:lnTo>
                    <a:pt x="543" y="1499"/>
                  </a:lnTo>
                  <a:lnTo>
                    <a:pt x="543" y="1498"/>
                  </a:lnTo>
                  <a:lnTo>
                    <a:pt x="541" y="1495"/>
                  </a:lnTo>
                  <a:lnTo>
                    <a:pt x="537" y="1495"/>
                  </a:lnTo>
                  <a:lnTo>
                    <a:pt x="536" y="1493"/>
                  </a:lnTo>
                  <a:lnTo>
                    <a:pt x="535" y="1492"/>
                  </a:lnTo>
                  <a:lnTo>
                    <a:pt x="529" y="1490"/>
                  </a:lnTo>
                  <a:lnTo>
                    <a:pt x="527" y="1489"/>
                  </a:lnTo>
                  <a:lnTo>
                    <a:pt x="525" y="1488"/>
                  </a:lnTo>
                  <a:lnTo>
                    <a:pt x="517" y="1490"/>
                  </a:lnTo>
                  <a:lnTo>
                    <a:pt x="513" y="1489"/>
                  </a:lnTo>
                  <a:lnTo>
                    <a:pt x="511" y="1489"/>
                  </a:lnTo>
                  <a:lnTo>
                    <a:pt x="512" y="1488"/>
                  </a:lnTo>
                  <a:lnTo>
                    <a:pt x="515" y="1483"/>
                  </a:lnTo>
                  <a:lnTo>
                    <a:pt x="515" y="1477"/>
                  </a:lnTo>
                  <a:lnTo>
                    <a:pt x="516" y="1477"/>
                  </a:lnTo>
                  <a:lnTo>
                    <a:pt x="516" y="1475"/>
                  </a:lnTo>
                  <a:lnTo>
                    <a:pt x="515" y="1471"/>
                  </a:lnTo>
                  <a:lnTo>
                    <a:pt x="512" y="1471"/>
                  </a:lnTo>
                  <a:lnTo>
                    <a:pt x="512" y="1469"/>
                  </a:lnTo>
                  <a:lnTo>
                    <a:pt x="511" y="1469"/>
                  </a:lnTo>
                  <a:lnTo>
                    <a:pt x="511" y="1468"/>
                  </a:lnTo>
                  <a:lnTo>
                    <a:pt x="507" y="1468"/>
                  </a:lnTo>
                  <a:lnTo>
                    <a:pt x="504" y="1465"/>
                  </a:lnTo>
                  <a:lnTo>
                    <a:pt x="503" y="1465"/>
                  </a:lnTo>
                  <a:lnTo>
                    <a:pt x="502" y="1464"/>
                  </a:lnTo>
                  <a:lnTo>
                    <a:pt x="500" y="1464"/>
                  </a:lnTo>
                  <a:lnTo>
                    <a:pt x="493" y="1458"/>
                  </a:lnTo>
                  <a:lnTo>
                    <a:pt x="493" y="1457"/>
                  </a:lnTo>
                  <a:lnTo>
                    <a:pt x="492" y="1456"/>
                  </a:lnTo>
                  <a:lnTo>
                    <a:pt x="492" y="1449"/>
                  </a:lnTo>
                  <a:lnTo>
                    <a:pt x="491" y="1449"/>
                  </a:lnTo>
                  <a:lnTo>
                    <a:pt x="491" y="1448"/>
                  </a:lnTo>
                  <a:lnTo>
                    <a:pt x="490" y="1444"/>
                  </a:lnTo>
                  <a:lnTo>
                    <a:pt x="488" y="1443"/>
                  </a:lnTo>
                  <a:lnTo>
                    <a:pt x="487" y="1443"/>
                  </a:lnTo>
                  <a:lnTo>
                    <a:pt x="487" y="1442"/>
                  </a:lnTo>
                  <a:lnTo>
                    <a:pt x="484" y="1440"/>
                  </a:lnTo>
                  <a:lnTo>
                    <a:pt x="482" y="1439"/>
                  </a:lnTo>
                  <a:lnTo>
                    <a:pt x="484" y="1437"/>
                  </a:lnTo>
                  <a:lnTo>
                    <a:pt x="486" y="1433"/>
                  </a:lnTo>
                  <a:lnTo>
                    <a:pt x="487" y="1430"/>
                  </a:lnTo>
                  <a:lnTo>
                    <a:pt x="485" y="1428"/>
                  </a:lnTo>
                  <a:lnTo>
                    <a:pt x="485" y="1426"/>
                  </a:lnTo>
                  <a:lnTo>
                    <a:pt x="480" y="1426"/>
                  </a:lnTo>
                  <a:lnTo>
                    <a:pt x="480" y="1425"/>
                  </a:lnTo>
                  <a:lnTo>
                    <a:pt x="479" y="1424"/>
                  </a:lnTo>
                  <a:lnTo>
                    <a:pt x="473" y="1419"/>
                  </a:lnTo>
                  <a:lnTo>
                    <a:pt x="471" y="1419"/>
                  </a:lnTo>
                  <a:lnTo>
                    <a:pt x="471" y="1418"/>
                  </a:lnTo>
                  <a:lnTo>
                    <a:pt x="469" y="1416"/>
                  </a:lnTo>
                  <a:lnTo>
                    <a:pt x="471" y="1415"/>
                  </a:lnTo>
                  <a:lnTo>
                    <a:pt x="471" y="1413"/>
                  </a:lnTo>
                  <a:lnTo>
                    <a:pt x="472" y="1413"/>
                  </a:lnTo>
                  <a:lnTo>
                    <a:pt x="473" y="1412"/>
                  </a:lnTo>
                  <a:lnTo>
                    <a:pt x="473" y="1409"/>
                  </a:lnTo>
                  <a:lnTo>
                    <a:pt x="472" y="1408"/>
                  </a:lnTo>
                  <a:lnTo>
                    <a:pt x="473" y="1407"/>
                  </a:lnTo>
                  <a:lnTo>
                    <a:pt x="475" y="1406"/>
                  </a:lnTo>
                  <a:lnTo>
                    <a:pt x="476" y="1406"/>
                  </a:lnTo>
                  <a:lnTo>
                    <a:pt x="478" y="1405"/>
                  </a:lnTo>
                  <a:lnTo>
                    <a:pt x="476" y="1403"/>
                  </a:lnTo>
                  <a:lnTo>
                    <a:pt x="476" y="1401"/>
                  </a:lnTo>
                  <a:lnTo>
                    <a:pt x="480" y="1401"/>
                  </a:lnTo>
                  <a:lnTo>
                    <a:pt x="480" y="1397"/>
                  </a:lnTo>
                  <a:lnTo>
                    <a:pt x="479" y="1396"/>
                  </a:lnTo>
                  <a:lnTo>
                    <a:pt x="479" y="1391"/>
                  </a:lnTo>
                  <a:lnTo>
                    <a:pt x="478" y="1391"/>
                  </a:lnTo>
                  <a:lnTo>
                    <a:pt x="478" y="1390"/>
                  </a:lnTo>
                  <a:lnTo>
                    <a:pt x="475" y="1388"/>
                  </a:lnTo>
                  <a:lnTo>
                    <a:pt x="474" y="1384"/>
                  </a:lnTo>
                  <a:lnTo>
                    <a:pt x="474" y="1383"/>
                  </a:lnTo>
                  <a:lnTo>
                    <a:pt x="473" y="1383"/>
                  </a:lnTo>
                  <a:lnTo>
                    <a:pt x="472" y="1382"/>
                  </a:lnTo>
                  <a:lnTo>
                    <a:pt x="472" y="1378"/>
                  </a:lnTo>
                  <a:lnTo>
                    <a:pt x="473" y="1376"/>
                  </a:lnTo>
                  <a:lnTo>
                    <a:pt x="476" y="1375"/>
                  </a:lnTo>
                  <a:lnTo>
                    <a:pt x="476" y="1372"/>
                  </a:lnTo>
                  <a:lnTo>
                    <a:pt x="475" y="1371"/>
                  </a:lnTo>
                  <a:lnTo>
                    <a:pt x="475" y="1367"/>
                  </a:lnTo>
                  <a:lnTo>
                    <a:pt x="476" y="1366"/>
                  </a:lnTo>
                  <a:lnTo>
                    <a:pt x="475" y="1365"/>
                  </a:lnTo>
                  <a:lnTo>
                    <a:pt x="476" y="1363"/>
                  </a:lnTo>
                  <a:lnTo>
                    <a:pt x="476" y="1359"/>
                  </a:lnTo>
                  <a:lnTo>
                    <a:pt x="475" y="1358"/>
                  </a:lnTo>
                  <a:lnTo>
                    <a:pt x="473" y="1357"/>
                  </a:lnTo>
                  <a:lnTo>
                    <a:pt x="472" y="1358"/>
                  </a:lnTo>
                  <a:lnTo>
                    <a:pt x="469" y="1358"/>
                  </a:lnTo>
                  <a:lnTo>
                    <a:pt x="468" y="1356"/>
                  </a:lnTo>
                  <a:lnTo>
                    <a:pt x="467" y="1354"/>
                  </a:lnTo>
                  <a:lnTo>
                    <a:pt x="467" y="1353"/>
                  </a:lnTo>
                  <a:lnTo>
                    <a:pt x="463" y="1353"/>
                  </a:lnTo>
                  <a:lnTo>
                    <a:pt x="462" y="1352"/>
                  </a:lnTo>
                  <a:lnTo>
                    <a:pt x="462" y="1348"/>
                  </a:lnTo>
                  <a:lnTo>
                    <a:pt x="457" y="1346"/>
                  </a:lnTo>
                  <a:lnTo>
                    <a:pt x="457" y="1344"/>
                  </a:lnTo>
                  <a:lnTo>
                    <a:pt x="449" y="1340"/>
                  </a:lnTo>
                  <a:lnTo>
                    <a:pt x="448" y="1340"/>
                  </a:lnTo>
                  <a:lnTo>
                    <a:pt x="447" y="1339"/>
                  </a:lnTo>
                  <a:lnTo>
                    <a:pt x="445" y="1339"/>
                  </a:lnTo>
                  <a:lnTo>
                    <a:pt x="443" y="1341"/>
                  </a:lnTo>
                  <a:lnTo>
                    <a:pt x="442" y="1341"/>
                  </a:lnTo>
                  <a:lnTo>
                    <a:pt x="437" y="1339"/>
                  </a:lnTo>
                  <a:lnTo>
                    <a:pt x="436" y="1339"/>
                  </a:lnTo>
                  <a:lnTo>
                    <a:pt x="434" y="1340"/>
                  </a:lnTo>
                  <a:lnTo>
                    <a:pt x="432" y="1340"/>
                  </a:lnTo>
                  <a:lnTo>
                    <a:pt x="430" y="1345"/>
                  </a:lnTo>
                  <a:lnTo>
                    <a:pt x="429" y="1346"/>
                  </a:lnTo>
                  <a:lnTo>
                    <a:pt x="425" y="1345"/>
                  </a:lnTo>
                  <a:lnTo>
                    <a:pt x="424" y="1345"/>
                  </a:lnTo>
                  <a:lnTo>
                    <a:pt x="420" y="1347"/>
                  </a:lnTo>
                  <a:lnTo>
                    <a:pt x="417" y="1352"/>
                  </a:lnTo>
                  <a:lnTo>
                    <a:pt x="416" y="1352"/>
                  </a:lnTo>
                  <a:lnTo>
                    <a:pt x="414" y="1351"/>
                  </a:lnTo>
                  <a:lnTo>
                    <a:pt x="413" y="1348"/>
                  </a:lnTo>
                  <a:lnTo>
                    <a:pt x="410" y="1345"/>
                  </a:lnTo>
                  <a:lnTo>
                    <a:pt x="410" y="1342"/>
                  </a:lnTo>
                  <a:lnTo>
                    <a:pt x="411" y="1340"/>
                  </a:lnTo>
                  <a:lnTo>
                    <a:pt x="411" y="1339"/>
                  </a:lnTo>
                  <a:lnTo>
                    <a:pt x="412" y="1338"/>
                  </a:lnTo>
                  <a:lnTo>
                    <a:pt x="412" y="1335"/>
                  </a:lnTo>
                  <a:lnTo>
                    <a:pt x="414" y="1335"/>
                  </a:lnTo>
                  <a:lnTo>
                    <a:pt x="414" y="1334"/>
                  </a:lnTo>
                  <a:lnTo>
                    <a:pt x="413" y="1334"/>
                  </a:lnTo>
                  <a:lnTo>
                    <a:pt x="413" y="1333"/>
                  </a:lnTo>
                  <a:lnTo>
                    <a:pt x="412" y="1332"/>
                  </a:lnTo>
                  <a:lnTo>
                    <a:pt x="411" y="1332"/>
                  </a:lnTo>
                  <a:lnTo>
                    <a:pt x="405" y="1329"/>
                  </a:lnTo>
                  <a:lnTo>
                    <a:pt x="404" y="1328"/>
                  </a:lnTo>
                  <a:lnTo>
                    <a:pt x="399" y="1326"/>
                  </a:lnTo>
                  <a:lnTo>
                    <a:pt x="397" y="1326"/>
                  </a:lnTo>
                  <a:lnTo>
                    <a:pt x="389" y="1329"/>
                  </a:lnTo>
                  <a:lnTo>
                    <a:pt x="388" y="1330"/>
                  </a:lnTo>
                  <a:lnTo>
                    <a:pt x="388" y="1333"/>
                  </a:lnTo>
                  <a:lnTo>
                    <a:pt x="387" y="1333"/>
                  </a:lnTo>
                  <a:lnTo>
                    <a:pt x="385" y="1332"/>
                  </a:lnTo>
                  <a:lnTo>
                    <a:pt x="382" y="1329"/>
                  </a:lnTo>
                  <a:lnTo>
                    <a:pt x="382" y="1326"/>
                  </a:lnTo>
                  <a:lnTo>
                    <a:pt x="380" y="1323"/>
                  </a:lnTo>
                  <a:lnTo>
                    <a:pt x="380" y="1322"/>
                  </a:lnTo>
                  <a:lnTo>
                    <a:pt x="379" y="1321"/>
                  </a:lnTo>
                  <a:lnTo>
                    <a:pt x="369" y="1321"/>
                  </a:lnTo>
                  <a:lnTo>
                    <a:pt x="369" y="1322"/>
                  </a:lnTo>
                  <a:lnTo>
                    <a:pt x="367" y="1324"/>
                  </a:lnTo>
                  <a:lnTo>
                    <a:pt x="366" y="1324"/>
                  </a:lnTo>
                  <a:lnTo>
                    <a:pt x="363" y="1322"/>
                  </a:lnTo>
                  <a:lnTo>
                    <a:pt x="361" y="1319"/>
                  </a:lnTo>
                  <a:lnTo>
                    <a:pt x="360" y="1317"/>
                  </a:lnTo>
                  <a:lnTo>
                    <a:pt x="361" y="1316"/>
                  </a:lnTo>
                  <a:lnTo>
                    <a:pt x="361" y="1310"/>
                  </a:lnTo>
                  <a:lnTo>
                    <a:pt x="362" y="1309"/>
                  </a:lnTo>
                  <a:lnTo>
                    <a:pt x="362" y="1307"/>
                  </a:lnTo>
                  <a:lnTo>
                    <a:pt x="361" y="1302"/>
                  </a:lnTo>
                  <a:lnTo>
                    <a:pt x="361" y="1299"/>
                  </a:lnTo>
                  <a:lnTo>
                    <a:pt x="360" y="1298"/>
                  </a:lnTo>
                  <a:lnTo>
                    <a:pt x="361" y="1296"/>
                  </a:lnTo>
                  <a:lnTo>
                    <a:pt x="360" y="1295"/>
                  </a:lnTo>
                  <a:lnTo>
                    <a:pt x="360" y="1293"/>
                  </a:lnTo>
                  <a:lnTo>
                    <a:pt x="357" y="1291"/>
                  </a:lnTo>
                  <a:lnTo>
                    <a:pt x="357" y="1289"/>
                  </a:lnTo>
                  <a:lnTo>
                    <a:pt x="358" y="1287"/>
                  </a:lnTo>
                  <a:lnTo>
                    <a:pt x="358" y="1286"/>
                  </a:lnTo>
                  <a:lnTo>
                    <a:pt x="357" y="1285"/>
                  </a:lnTo>
                  <a:lnTo>
                    <a:pt x="355" y="1284"/>
                  </a:lnTo>
                  <a:lnTo>
                    <a:pt x="354" y="1283"/>
                  </a:lnTo>
                  <a:lnTo>
                    <a:pt x="354" y="1281"/>
                  </a:lnTo>
                  <a:lnTo>
                    <a:pt x="353" y="1280"/>
                  </a:lnTo>
                  <a:lnTo>
                    <a:pt x="353" y="1276"/>
                  </a:lnTo>
                  <a:lnTo>
                    <a:pt x="348" y="1272"/>
                  </a:lnTo>
                  <a:lnTo>
                    <a:pt x="348" y="1270"/>
                  </a:lnTo>
                  <a:lnTo>
                    <a:pt x="349" y="1268"/>
                  </a:lnTo>
                  <a:lnTo>
                    <a:pt x="350" y="1266"/>
                  </a:lnTo>
                  <a:lnTo>
                    <a:pt x="350" y="1265"/>
                  </a:lnTo>
                  <a:lnTo>
                    <a:pt x="349" y="1265"/>
                  </a:lnTo>
                  <a:lnTo>
                    <a:pt x="347" y="1262"/>
                  </a:lnTo>
                  <a:lnTo>
                    <a:pt x="344" y="1261"/>
                  </a:lnTo>
                  <a:lnTo>
                    <a:pt x="343" y="1262"/>
                  </a:lnTo>
                  <a:lnTo>
                    <a:pt x="339" y="1264"/>
                  </a:lnTo>
                  <a:lnTo>
                    <a:pt x="337" y="1264"/>
                  </a:lnTo>
                  <a:lnTo>
                    <a:pt x="338" y="1261"/>
                  </a:lnTo>
                  <a:lnTo>
                    <a:pt x="342" y="1255"/>
                  </a:lnTo>
                  <a:lnTo>
                    <a:pt x="342" y="1250"/>
                  </a:lnTo>
                  <a:lnTo>
                    <a:pt x="343" y="1249"/>
                  </a:lnTo>
                  <a:lnTo>
                    <a:pt x="343" y="1246"/>
                  </a:lnTo>
                  <a:lnTo>
                    <a:pt x="342" y="1246"/>
                  </a:lnTo>
                  <a:lnTo>
                    <a:pt x="339" y="1243"/>
                  </a:lnTo>
                  <a:lnTo>
                    <a:pt x="341" y="1242"/>
                  </a:lnTo>
                  <a:lnTo>
                    <a:pt x="344" y="1240"/>
                  </a:lnTo>
                  <a:lnTo>
                    <a:pt x="347" y="1237"/>
                  </a:lnTo>
                  <a:lnTo>
                    <a:pt x="347" y="1228"/>
                  </a:lnTo>
                  <a:lnTo>
                    <a:pt x="345" y="1227"/>
                  </a:lnTo>
                  <a:lnTo>
                    <a:pt x="341" y="1224"/>
                  </a:lnTo>
                  <a:lnTo>
                    <a:pt x="338" y="1221"/>
                  </a:lnTo>
                  <a:lnTo>
                    <a:pt x="333" y="1219"/>
                  </a:lnTo>
                  <a:lnTo>
                    <a:pt x="332" y="1218"/>
                  </a:lnTo>
                  <a:lnTo>
                    <a:pt x="332" y="1217"/>
                  </a:lnTo>
                  <a:lnTo>
                    <a:pt x="333" y="1215"/>
                  </a:lnTo>
                  <a:lnTo>
                    <a:pt x="333" y="1210"/>
                  </a:lnTo>
                  <a:lnTo>
                    <a:pt x="325" y="1210"/>
                  </a:lnTo>
                  <a:lnTo>
                    <a:pt x="325" y="1205"/>
                  </a:lnTo>
                  <a:lnTo>
                    <a:pt x="327" y="1205"/>
                  </a:lnTo>
                  <a:lnTo>
                    <a:pt x="327" y="1198"/>
                  </a:lnTo>
                  <a:lnTo>
                    <a:pt x="329" y="1198"/>
                  </a:lnTo>
                  <a:lnTo>
                    <a:pt x="332" y="1197"/>
                  </a:lnTo>
                  <a:lnTo>
                    <a:pt x="332" y="1191"/>
                  </a:lnTo>
                  <a:lnTo>
                    <a:pt x="333" y="1190"/>
                  </a:lnTo>
                  <a:lnTo>
                    <a:pt x="335" y="1190"/>
                  </a:lnTo>
                  <a:lnTo>
                    <a:pt x="333" y="1188"/>
                  </a:lnTo>
                  <a:lnTo>
                    <a:pt x="335" y="1187"/>
                  </a:lnTo>
                  <a:lnTo>
                    <a:pt x="341" y="1187"/>
                  </a:lnTo>
                  <a:lnTo>
                    <a:pt x="343" y="1186"/>
                  </a:lnTo>
                  <a:lnTo>
                    <a:pt x="345" y="1184"/>
                  </a:lnTo>
                  <a:lnTo>
                    <a:pt x="344" y="1182"/>
                  </a:lnTo>
                  <a:lnTo>
                    <a:pt x="344" y="1181"/>
                  </a:lnTo>
                  <a:lnTo>
                    <a:pt x="339" y="1180"/>
                  </a:lnTo>
                  <a:lnTo>
                    <a:pt x="339" y="1174"/>
                  </a:lnTo>
                  <a:lnTo>
                    <a:pt x="338" y="1173"/>
                  </a:lnTo>
                  <a:lnTo>
                    <a:pt x="338" y="1166"/>
                  </a:lnTo>
                  <a:lnTo>
                    <a:pt x="336" y="1163"/>
                  </a:lnTo>
                  <a:lnTo>
                    <a:pt x="333" y="1160"/>
                  </a:lnTo>
                  <a:lnTo>
                    <a:pt x="333" y="1157"/>
                  </a:lnTo>
                  <a:lnTo>
                    <a:pt x="332" y="1155"/>
                  </a:lnTo>
                  <a:lnTo>
                    <a:pt x="331" y="1151"/>
                  </a:lnTo>
                  <a:lnTo>
                    <a:pt x="335" y="1141"/>
                  </a:lnTo>
                  <a:lnTo>
                    <a:pt x="332" y="1130"/>
                  </a:lnTo>
                  <a:lnTo>
                    <a:pt x="329" y="1115"/>
                  </a:lnTo>
                  <a:lnTo>
                    <a:pt x="329" y="1112"/>
                  </a:lnTo>
                  <a:lnTo>
                    <a:pt x="331" y="1102"/>
                  </a:lnTo>
                  <a:lnTo>
                    <a:pt x="337" y="1098"/>
                  </a:lnTo>
                  <a:lnTo>
                    <a:pt x="341" y="1094"/>
                  </a:lnTo>
                  <a:lnTo>
                    <a:pt x="341" y="1093"/>
                  </a:lnTo>
                  <a:lnTo>
                    <a:pt x="344" y="1086"/>
                  </a:lnTo>
                  <a:lnTo>
                    <a:pt x="347" y="1078"/>
                  </a:lnTo>
                  <a:lnTo>
                    <a:pt x="348" y="1072"/>
                  </a:lnTo>
                  <a:lnTo>
                    <a:pt x="349" y="1071"/>
                  </a:lnTo>
                  <a:lnTo>
                    <a:pt x="348" y="1069"/>
                  </a:lnTo>
                  <a:lnTo>
                    <a:pt x="349" y="1068"/>
                  </a:lnTo>
                  <a:lnTo>
                    <a:pt x="351" y="1066"/>
                  </a:lnTo>
                  <a:lnTo>
                    <a:pt x="356" y="1066"/>
                  </a:lnTo>
                  <a:lnTo>
                    <a:pt x="357" y="1065"/>
                  </a:lnTo>
                  <a:lnTo>
                    <a:pt x="356" y="1065"/>
                  </a:lnTo>
                  <a:lnTo>
                    <a:pt x="354" y="1064"/>
                  </a:lnTo>
                  <a:lnTo>
                    <a:pt x="358" y="1064"/>
                  </a:lnTo>
                  <a:lnTo>
                    <a:pt x="360" y="1062"/>
                  </a:lnTo>
                  <a:lnTo>
                    <a:pt x="361" y="1063"/>
                  </a:lnTo>
                  <a:lnTo>
                    <a:pt x="361" y="1061"/>
                  </a:lnTo>
                  <a:lnTo>
                    <a:pt x="358" y="1058"/>
                  </a:lnTo>
                  <a:lnTo>
                    <a:pt x="357" y="1056"/>
                  </a:lnTo>
                  <a:lnTo>
                    <a:pt x="357" y="1055"/>
                  </a:lnTo>
                  <a:lnTo>
                    <a:pt x="355" y="1053"/>
                  </a:lnTo>
                  <a:lnTo>
                    <a:pt x="354" y="1052"/>
                  </a:lnTo>
                  <a:lnTo>
                    <a:pt x="356" y="1049"/>
                  </a:lnTo>
                  <a:lnTo>
                    <a:pt x="356" y="1044"/>
                  </a:lnTo>
                  <a:lnTo>
                    <a:pt x="355" y="1040"/>
                  </a:lnTo>
                  <a:lnTo>
                    <a:pt x="354" y="1038"/>
                  </a:lnTo>
                  <a:lnTo>
                    <a:pt x="354" y="1035"/>
                  </a:lnTo>
                  <a:lnTo>
                    <a:pt x="353" y="1034"/>
                  </a:lnTo>
                  <a:lnTo>
                    <a:pt x="353" y="1033"/>
                  </a:lnTo>
                  <a:lnTo>
                    <a:pt x="354" y="1031"/>
                  </a:lnTo>
                  <a:lnTo>
                    <a:pt x="354" y="1029"/>
                  </a:lnTo>
                  <a:lnTo>
                    <a:pt x="357" y="1026"/>
                  </a:lnTo>
                  <a:lnTo>
                    <a:pt x="358" y="1026"/>
                  </a:lnTo>
                  <a:lnTo>
                    <a:pt x="360" y="1028"/>
                  </a:lnTo>
                  <a:lnTo>
                    <a:pt x="362" y="1031"/>
                  </a:lnTo>
                  <a:lnTo>
                    <a:pt x="362" y="1033"/>
                  </a:lnTo>
                  <a:lnTo>
                    <a:pt x="363" y="1034"/>
                  </a:lnTo>
                  <a:lnTo>
                    <a:pt x="368" y="1037"/>
                  </a:lnTo>
                  <a:lnTo>
                    <a:pt x="369" y="1037"/>
                  </a:lnTo>
                  <a:lnTo>
                    <a:pt x="370" y="1035"/>
                  </a:lnTo>
                  <a:lnTo>
                    <a:pt x="370" y="1033"/>
                  </a:lnTo>
                  <a:lnTo>
                    <a:pt x="372" y="1031"/>
                  </a:lnTo>
                  <a:lnTo>
                    <a:pt x="370" y="1027"/>
                  </a:lnTo>
                  <a:lnTo>
                    <a:pt x="373" y="1022"/>
                  </a:lnTo>
                  <a:lnTo>
                    <a:pt x="373" y="1021"/>
                  </a:lnTo>
                  <a:lnTo>
                    <a:pt x="374" y="1021"/>
                  </a:lnTo>
                  <a:lnTo>
                    <a:pt x="375" y="1020"/>
                  </a:lnTo>
                  <a:lnTo>
                    <a:pt x="378" y="1022"/>
                  </a:lnTo>
                  <a:lnTo>
                    <a:pt x="380" y="1023"/>
                  </a:lnTo>
                  <a:lnTo>
                    <a:pt x="381" y="1023"/>
                  </a:lnTo>
                  <a:lnTo>
                    <a:pt x="381" y="1025"/>
                  </a:lnTo>
                  <a:lnTo>
                    <a:pt x="382" y="1025"/>
                  </a:lnTo>
                  <a:lnTo>
                    <a:pt x="382" y="1026"/>
                  </a:lnTo>
                  <a:lnTo>
                    <a:pt x="384" y="1027"/>
                  </a:lnTo>
                  <a:lnTo>
                    <a:pt x="385" y="1027"/>
                  </a:lnTo>
                  <a:lnTo>
                    <a:pt x="386" y="1026"/>
                  </a:lnTo>
                  <a:lnTo>
                    <a:pt x="387" y="1027"/>
                  </a:lnTo>
                  <a:lnTo>
                    <a:pt x="389" y="1027"/>
                  </a:lnTo>
                  <a:lnTo>
                    <a:pt x="391" y="1025"/>
                  </a:lnTo>
                  <a:lnTo>
                    <a:pt x="393" y="1025"/>
                  </a:lnTo>
                  <a:lnTo>
                    <a:pt x="394" y="1023"/>
                  </a:lnTo>
                  <a:lnTo>
                    <a:pt x="397" y="1019"/>
                  </a:lnTo>
                  <a:lnTo>
                    <a:pt x="397" y="1018"/>
                  </a:lnTo>
                  <a:lnTo>
                    <a:pt x="394" y="1015"/>
                  </a:lnTo>
                  <a:lnTo>
                    <a:pt x="397" y="1015"/>
                  </a:lnTo>
                  <a:lnTo>
                    <a:pt x="397" y="1014"/>
                  </a:lnTo>
                  <a:lnTo>
                    <a:pt x="399" y="1010"/>
                  </a:lnTo>
                  <a:lnTo>
                    <a:pt x="400" y="1009"/>
                  </a:lnTo>
                  <a:lnTo>
                    <a:pt x="406" y="1009"/>
                  </a:lnTo>
                  <a:lnTo>
                    <a:pt x="417" y="1012"/>
                  </a:lnTo>
                  <a:lnTo>
                    <a:pt x="430" y="1014"/>
                  </a:lnTo>
                  <a:lnTo>
                    <a:pt x="432" y="1016"/>
                  </a:lnTo>
                  <a:lnTo>
                    <a:pt x="443" y="1020"/>
                  </a:lnTo>
                  <a:lnTo>
                    <a:pt x="444" y="1020"/>
                  </a:lnTo>
                  <a:lnTo>
                    <a:pt x="445" y="1019"/>
                  </a:lnTo>
                  <a:lnTo>
                    <a:pt x="447" y="1016"/>
                  </a:lnTo>
                  <a:lnTo>
                    <a:pt x="447" y="1013"/>
                  </a:lnTo>
                  <a:lnTo>
                    <a:pt x="448" y="1012"/>
                  </a:lnTo>
                  <a:lnTo>
                    <a:pt x="448" y="1009"/>
                  </a:lnTo>
                  <a:lnTo>
                    <a:pt x="447" y="1009"/>
                  </a:lnTo>
                  <a:lnTo>
                    <a:pt x="437" y="1008"/>
                  </a:lnTo>
                  <a:lnTo>
                    <a:pt x="436" y="1007"/>
                  </a:lnTo>
                  <a:lnTo>
                    <a:pt x="435" y="1003"/>
                  </a:lnTo>
                  <a:lnTo>
                    <a:pt x="434" y="1002"/>
                  </a:lnTo>
                  <a:lnTo>
                    <a:pt x="434" y="997"/>
                  </a:lnTo>
                  <a:lnTo>
                    <a:pt x="431" y="995"/>
                  </a:lnTo>
                  <a:lnTo>
                    <a:pt x="425" y="992"/>
                  </a:lnTo>
                  <a:lnTo>
                    <a:pt x="418" y="991"/>
                  </a:lnTo>
                  <a:lnTo>
                    <a:pt x="414" y="994"/>
                  </a:lnTo>
                  <a:lnTo>
                    <a:pt x="413" y="995"/>
                  </a:lnTo>
                  <a:lnTo>
                    <a:pt x="406" y="994"/>
                  </a:lnTo>
                  <a:lnTo>
                    <a:pt x="398" y="994"/>
                  </a:lnTo>
                  <a:lnTo>
                    <a:pt x="397" y="992"/>
                  </a:lnTo>
                  <a:lnTo>
                    <a:pt x="395" y="990"/>
                  </a:lnTo>
                  <a:lnTo>
                    <a:pt x="393" y="986"/>
                  </a:lnTo>
                  <a:lnTo>
                    <a:pt x="391" y="984"/>
                  </a:lnTo>
                  <a:lnTo>
                    <a:pt x="389" y="984"/>
                  </a:lnTo>
                  <a:lnTo>
                    <a:pt x="389" y="982"/>
                  </a:lnTo>
                  <a:lnTo>
                    <a:pt x="388" y="979"/>
                  </a:lnTo>
                  <a:lnTo>
                    <a:pt x="388" y="978"/>
                  </a:lnTo>
                  <a:lnTo>
                    <a:pt x="387" y="978"/>
                  </a:lnTo>
                  <a:lnTo>
                    <a:pt x="387" y="979"/>
                  </a:lnTo>
                  <a:lnTo>
                    <a:pt x="384" y="979"/>
                  </a:lnTo>
                  <a:lnTo>
                    <a:pt x="382" y="978"/>
                  </a:lnTo>
                  <a:lnTo>
                    <a:pt x="380" y="977"/>
                  </a:lnTo>
                  <a:lnTo>
                    <a:pt x="379" y="977"/>
                  </a:lnTo>
                  <a:lnTo>
                    <a:pt x="379" y="976"/>
                  </a:lnTo>
                  <a:lnTo>
                    <a:pt x="375" y="967"/>
                  </a:lnTo>
                  <a:lnTo>
                    <a:pt x="373" y="963"/>
                  </a:lnTo>
                  <a:lnTo>
                    <a:pt x="372" y="961"/>
                  </a:lnTo>
                  <a:lnTo>
                    <a:pt x="373" y="960"/>
                  </a:lnTo>
                  <a:lnTo>
                    <a:pt x="374" y="960"/>
                  </a:lnTo>
                  <a:lnTo>
                    <a:pt x="375" y="961"/>
                  </a:lnTo>
                  <a:lnTo>
                    <a:pt x="375" y="965"/>
                  </a:lnTo>
                  <a:lnTo>
                    <a:pt x="376" y="965"/>
                  </a:lnTo>
                  <a:lnTo>
                    <a:pt x="381" y="970"/>
                  </a:lnTo>
                  <a:lnTo>
                    <a:pt x="384" y="970"/>
                  </a:lnTo>
                  <a:lnTo>
                    <a:pt x="384" y="969"/>
                  </a:lnTo>
                  <a:lnTo>
                    <a:pt x="382" y="966"/>
                  </a:lnTo>
                  <a:lnTo>
                    <a:pt x="382" y="965"/>
                  </a:lnTo>
                  <a:lnTo>
                    <a:pt x="381" y="964"/>
                  </a:lnTo>
                  <a:lnTo>
                    <a:pt x="381" y="957"/>
                  </a:lnTo>
                  <a:lnTo>
                    <a:pt x="382" y="957"/>
                  </a:lnTo>
                  <a:lnTo>
                    <a:pt x="382" y="955"/>
                  </a:lnTo>
                  <a:lnTo>
                    <a:pt x="381" y="953"/>
                  </a:lnTo>
                  <a:lnTo>
                    <a:pt x="380" y="952"/>
                  </a:lnTo>
                  <a:lnTo>
                    <a:pt x="381" y="951"/>
                  </a:lnTo>
                  <a:lnTo>
                    <a:pt x="382" y="951"/>
                  </a:lnTo>
                  <a:lnTo>
                    <a:pt x="382" y="952"/>
                  </a:lnTo>
                  <a:lnTo>
                    <a:pt x="384" y="952"/>
                  </a:lnTo>
                  <a:lnTo>
                    <a:pt x="385" y="949"/>
                  </a:lnTo>
                  <a:lnTo>
                    <a:pt x="384" y="947"/>
                  </a:lnTo>
                  <a:lnTo>
                    <a:pt x="382" y="946"/>
                  </a:lnTo>
                  <a:lnTo>
                    <a:pt x="378" y="951"/>
                  </a:lnTo>
                  <a:lnTo>
                    <a:pt x="375" y="951"/>
                  </a:lnTo>
                  <a:lnTo>
                    <a:pt x="374" y="952"/>
                  </a:lnTo>
                  <a:lnTo>
                    <a:pt x="370" y="952"/>
                  </a:lnTo>
                  <a:lnTo>
                    <a:pt x="369" y="954"/>
                  </a:lnTo>
                  <a:lnTo>
                    <a:pt x="369" y="955"/>
                  </a:lnTo>
                  <a:lnTo>
                    <a:pt x="367" y="955"/>
                  </a:lnTo>
                  <a:lnTo>
                    <a:pt x="367" y="957"/>
                  </a:lnTo>
                  <a:lnTo>
                    <a:pt x="368" y="957"/>
                  </a:lnTo>
                  <a:lnTo>
                    <a:pt x="368" y="958"/>
                  </a:lnTo>
                  <a:lnTo>
                    <a:pt x="366" y="958"/>
                  </a:lnTo>
                  <a:lnTo>
                    <a:pt x="366" y="959"/>
                  </a:lnTo>
                  <a:lnTo>
                    <a:pt x="364" y="959"/>
                  </a:lnTo>
                  <a:lnTo>
                    <a:pt x="363" y="961"/>
                  </a:lnTo>
                  <a:lnTo>
                    <a:pt x="362" y="963"/>
                  </a:lnTo>
                  <a:lnTo>
                    <a:pt x="361" y="963"/>
                  </a:lnTo>
                  <a:lnTo>
                    <a:pt x="361" y="961"/>
                  </a:lnTo>
                  <a:lnTo>
                    <a:pt x="360" y="961"/>
                  </a:lnTo>
                  <a:lnTo>
                    <a:pt x="360" y="964"/>
                  </a:lnTo>
                  <a:lnTo>
                    <a:pt x="358" y="964"/>
                  </a:lnTo>
                  <a:lnTo>
                    <a:pt x="357" y="963"/>
                  </a:lnTo>
                  <a:lnTo>
                    <a:pt x="356" y="963"/>
                  </a:lnTo>
                  <a:lnTo>
                    <a:pt x="355" y="964"/>
                  </a:lnTo>
                  <a:lnTo>
                    <a:pt x="349" y="964"/>
                  </a:lnTo>
                  <a:lnTo>
                    <a:pt x="348" y="963"/>
                  </a:lnTo>
                  <a:lnTo>
                    <a:pt x="348" y="960"/>
                  </a:lnTo>
                  <a:lnTo>
                    <a:pt x="347" y="961"/>
                  </a:lnTo>
                  <a:lnTo>
                    <a:pt x="347" y="963"/>
                  </a:lnTo>
                  <a:lnTo>
                    <a:pt x="345" y="964"/>
                  </a:lnTo>
                  <a:lnTo>
                    <a:pt x="344" y="964"/>
                  </a:lnTo>
                  <a:lnTo>
                    <a:pt x="345" y="963"/>
                  </a:lnTo>
                  <a:lnTo>
                    <a:pt x="345" y="961"/>
                  </a:lnTo>
                  <a:lnTo>
                    <a:pt x="349" y="958"/>
                  </a:lnTo>
                  <a:lnTo>
                    <a:pt x="353" y="953"/>
                  </a:lnTo>
                  <a:lnTo>
                    <a:pt x="354" y="952"/>
                  </a:lnTo>
                  <a:lnTo>
                    <a:pt x="360" y="945"/>
                  </a:lnTo>
                  <a:lnTo>
                    <a:pt x="363" y="941"/>
                  </a:lnTo>
                  <a:lnTo>
                    <a:pt x="368" y="935"/>
                  </a:lnTo>
                  <a:lnTo>
                    <a:pt x="375" y="928"/>
                  </a:lnTo>
                  <a:lnTo>
                    <a:pt x="379" y="927"/>
                  </a:lnTo>
                  <a:lnTo>
                    <a:pt x="381" y="924"/>
                  </a:lnTo>
                  <a:lnTo>
                    <a:pt x="381" y="922"/>
                  </a:lnTo>
                  <a:lnTo>
                    <a:pt x="382" y="921"/>
                  </a:lnTo>
                  <a:lnTo>
                    <a:pt x="385" y="917"/>
                  </a:lnTo>
                  <a:lnTo>
                    <a:pt x="387" y="915"/>
                  </a:lnTo>
                  <a:lnTo>
                    <a:pt x="389" y="914"/>
                  </a:lnTo>
                  <a:lnTo>
                    <a:pt x="392" y="910"/>
                  </a:lnTo>
                  <a:lnTo>
                    <a:pt x="394" y="909"/>
                  </a:lnTo>
                  <a:lnTo>
                    <a:pt x="401" y="904"/>
                  </a:lnTo>
                  <a:lnTo>
                    <a:pt x="404" y="902"/>
                  </a:lnTo>
                  <a:lnTo>
                    <a:pt x="406" y="898"/>
                  </a:lnTo>
                  <a:lnTo>
                    <a:pt x="407" y="897"/>
                  </a:lnTo>
                  <a:lnTo>
                    <a:pt x="407" y="896"/>
                  </a:lnTo>
                  <a:lnTo>
                    <a:pt x="409" y="893"/>
                  </a:lnTo>
                  <a:lnTo>
                    <a:pt x="414" y="887"/>
                  </a:lnTo>
                  <a:lnTo>
                    <a:pt x="417" y="883"/>
                  </a:lnTo>
                  <a:lnTo>
                    <a:pt x="417" y="881"/>
                  </a:lnTo>
                  <a:lnTo>
                    <a:pt x="418" y="880"/>
                  </a:lnTo>
                  <a:lnTo>
                    <a:pt x="423" y="878"/>
                  </a:lnTo>
                  <a:lnTo>
                    <a:pt x="429" y="871"/>
                  </a:lnTo>
                  <a:lnTo>
                    <a:pt x="429" y="869"/>
                  </a:lnTo>
                  <a:lnTo>
                    <a:pt x="430" y="866"/>
                  </a:lnTo>
                  <a:lnTo>
                    <a:pt x="437" y="859"/>
                  </a:lnTo>
                  <a:lnTo>
                    <a:pt x="444" y="848"/>
                  </a:lnTo>
                  <a:lnTo>
                    <a:pt x="451" y="835"/>
                  </a:lnTo>
                  <a:lnTo>
                    <a:pt x="457" y="829"/>
                  </a:lnTo>
                  <a:lnTo>
                    <a:pt x="463" y="820"/>
                  </a:lnTo>
                  <a:lnTo>
                    <a:pt x="465" y="818"/>
                  </a:lnTo>
                  <a:lnTo>
                    <a:pt x="465" y="817"/>
                  </a:lnTo>
                  <a:lnTo>
                    <a:pt x="466" y="817"/>
                  </a:lnTo>
                  <a:lnTo>
                    <a:pt x="467" y="816"/>
                  </a:lnTo>
                  <a:lnTo>
                    <a:pt x="476" y="809"/>
                  </a:lnTo>
                  <a:lnTo>
                    <a:pt x="476" y="807"/>
                  </a:lnTo>
                  <a:lnTo>
                    <a:pt x="478" y="806"/>
                  </a:lnTo>
                  <a:lnTo>
                    <a:pt x="479" y="804"/>
                  </a:lnTo>
                  <a:lnTo>
                    <a:pt x="479" y="803"/>
                  </a:lnTo>
                  <a:lnTo>
                    <a:pt x="485" y="795"/>
                  </a:lnTo>
                  <a:lnTo>
                    <a:pt x="486" y="793"/>
                  </a:lnTo>
                  <a:lnTo>
                    <a:pt x="486" y="792"/>
                  </a:lnTo>
                  <a:lnTo>
                    <a:pt x="487" y="792"/>
                  </a:lnTo>
                  <a:lnTo>
                    <a:pt x="490" y="791"/>
                  </a:lnTo>
                  <a:lnTo>
                    <a:pt x="490" y="789"/>
                  </a:lnTo>
                  <a:lnTo>
                    <a:pt x="491" y="787"/>
                  </a:lnTo>
                  <a:lnTo>
                    <a:pt x="492" y="782"/>
                  </a:lnTo>
                  <a:lnTo>
                    <a:pt x="493" y="781"/>
                  </a:lnTo>
                  <a:lnTo>
                    <a:pt x="494" y="777"/>
                  </a:lnTo>
                  <a:lnTo>
                    <a:pt x="496" y="775"/>
                  </a:lnTo>
                  <a:lnTo>
                    <a:pt x="497" y="767"/>
                  </a:lnTo>
                  <a:lnTo>
                    <a:pt x="498" y="763"/>
                  </a:lnTo>
                  <a:lnTo>
                    <a:pt x="500" y="760"/>
                  </a:lnTo>
                  <a:lnTo>
                    <a:pt x="504" y="752"/>
                  </a:lnTo>
                  <a:lnTo>
                    <a:pt x="503" y="751"/>
                  </a:lnTo>
                  <a:lnTo>
                    <a:pt x="502" y="749"/>
                  </a:lnTo>
                  <a:lnTo>
                    <a:pt x="502" y="746"/>
                  </a:lnTo>
                  <a:lnTo>
                    <a:pt x="500" y="744"/>
                  </a:lnTo>
                  <a:lnTo>
                    <a:pt x="499" y="744"/>
                  </a:lnTo>
                  <a:lnTo>
                    <a:pt x="499" y="743"/>
                  </a:lnTo>
                  <a:lnTo>
                    <a:pt x="496" y="739"/>
                  </a:lnTo>
                  <a:lnTo>
                    <a:pt x="494" y="737"/>
                  </a:lnTo>
                  <a:lnTo>
                    <a:pt x="492" y="736"/>
                  </a:lnTo>
                  <a:lnTo>
                    <a:pt x="491" y="733"/>
                  </a:lnTo>
                  <a:lnTo>
                    <a:pt x="491" y="732"/>
                  </a:lnTo>
                  <a:lnTo>
                    <a:pt x="490" y="731"/>
                  </a:lnTo>
                  <a:lnTo>
                    <a:pt x="490" y="725"/>
                  </a:lnTo>
                  <a:lnTo>
                    <a:pt x="487" y="723"/>
                  </a:lnTo>
                  <a:lnTo>
                    <a:pt x="479" y="717"/>
                  </a:lnTo>
                  <a:lnTo>
                    <a:pt x="472" y="708"/>
                  </a:lnTo>
                  <a:lnTo>
                    <a:pt x="459" y="700"/>
                  </a:lnTo>
                  <a:lnTo>
                    <a:pt x="456" y="697"/>
                  </a:lnTo>
                  <a:lnTo>
                    <a:pt x="454" y="693"/>
                  </a:lnTo>
                  <a:lnTo>
                    <a:pt x="448" y="689"/>
                  </a:lnTo>
                  <a:lnTo>
                    <a:pt x="437" y="676"/>
                  </a:lnTo>
                  <a:lnTo>
                    <a:pt x="437" y="672"/>
                  </a:lnTo>
                  <a:lnTo>
                    <a:pt x="440" y="671"/>
                  </a:lnTo>
                  <a:lnTo>
                    <a:pt x="447" y="669"/>
                  </a:lnTo>
                  <a:lnTo>
                    <a:pt x="449" y="665"/>
                  </a:lnTo>
                  <a:lnTo>
                    <a:pt x="451" y="658"/>
                  </a:lnTo>
                  <a:lnTo>
                    <a:pt x="459" y="650"/>
                  </a:lnTo>
                  <a:lnTo>
                    <a:pt x="461" y="646"/>
                  </a:lnTo>
                  <a:lnTo>
                    <a:pt x="462" y="644"/>
                  </a:lnTo>
                  <a:lnTo>
                    <a:pt x="462" y="640"/>
                  </a:lnTo>
                  <a:lnTo>
                    <a:pt x="461" y="637"/>
                  </a:lnTo>
                  <a:lnTo>
                    <a:pt x="461" y="634"/>
                  </a:lnTo>
                  <a:lnTo>
                    <a:pt x="460" y="633"/>
                  </a:lnTo>
                  <a:lnTo>
                    <a:pt x="460" y="632"/>
                  </a:lnTo>
                  <a:lnTo>
                    <a:pt x="461" y="629"/>
                  </a:lnTo>
                  <a:lnTo>
                    <a:pt x="461" y="627"/>
                  </a:lnTo>
                  <a:lnTo>
                    <a:pt x="459" y="625"/>
                  </a:lnTo>
                  <a:lnTo>
                    <a:pt x="456" y="625"/>
                  </a:lnTo>
                  <a:lnTo>
                    <a:pt x="455" y="623"/>
                  </a:lnTo>
                  <a:lnTo>
                    <a:pt x="455" y="621"/>
                  </a:lnTo>
                  <a:lnTo>
                    <a:pt x="451" y="617"/>
                  </a:lnTo>
                  <a:lnTo>
                    <a:pt x="444" y="615"/>
                  </a:lnTo>
                  <a:lnTo>
                    <a:pt x="442" y="614"/>
                  </a:lnTo>
                  <a:lnTo>
                    <a:pt x="440" y="611"/>
                  </a:lnTo>
                  <a:lnTo>
                    <a:pt x="440" y="608"/>
                  </a:lnTo>
                  <a:lnTo>
                    <a:pt x="441" y="605"/>
                  </a:lnTo>
                  <a:lnTo>
                    <a:pt x="441" y="603"/>
                  </a:lnTo>
                  <a:lnTo>
                    <a:pt x="440" y="601"/>
                  </a:lnTo>
                  <a:lnTo>
                    <a:pt x="437" y="599"/>
                  </a:lnTo>
                  <a:lnTo>
                    <a:pt x="437" y="596"/>
                  </a:lnTo>
                  <a:lnTo>
                    <a:pt x="436" y="596"/>
                  </a:lnTo>
                  <a:lnTo>
                    <a:pt x="436" y="592"/>
                  </a:lnTo>
                  <a:lnTo>
                    <a:pt x="443" y="589"/>
                  </a:lnTo>
                  <a:lnTo>
                    <a:pt x="445" y="586"/>
                  </a:lnTo>
                  <a:lnTo>
                    <a:pt x="445" y="584"/>
                  </a:lnTo>
                  <a:lnTo>
                    <a:pt x="444" y="582"/>
                  </a:lnTo>
                  <a:lnTo>
                    <a:pt x="443" y="580"/>
                  </a:lnTo>
                  <a:lnTo>
                    <a:pt x="443" y="579"/>
                  </a:lnTo>
                  <a:lnTo>
                    <a:pt x="442" y="578"/>
                  </a:lnTo>
                  <a:lnTo>
                    <a:pt x="442" y="576"/>
                  </a:lnTo>
                  <a:lnTo>
                    <a:pt x="443" y="574"/>
                  </a:lnTo>
                  <a:lnTo>
                    <a:pt x="443" y="573"/>
                  </a:lnTo>
                  <a:lnTo>
                    <a:pt x="442" y="573"/>
                  </a:lnTo>
                  <a:lnTo>
                    <a:pt x="441" y="572"/>
                  </a:lnTo>
                  <a:lnTo>
                    <a:pt x="432" y="572"/>
                  </a:lnTo>
                  <a:lnTo>
                    <a:pt x="429" y="571"/>
                  </a:lnTo>
                  <a:lnTo>
                    <a:pt x="425" y="566"/>
                  </a:lnTo>
                  <a:lnTo>
                    <a:pt x="422" y="560"/>
                  </a:lnTo>
                  <a:lnTo>
                    <a:pt x="420" y="552"/>
                  </a:lnTo>
                  <a:lnTo>
                    <a:pt x="420" y="547"/>
                  </a:lnTo>
                  <a:lnTo>
                    <a:pt x="422" y="545"/>
                  </a:lnTo>
                  <a:lnTo>
                    <a:pt x="424" y="542"/>
                  </a:lnTo>
                  <a:lnTo>
                    <a:pt x="430" y="541"/>
                  </a:lnTo>
                  <a:lnTo>
                    <a:pt x="431" y="540"/>
                  </a:lnTo>
                  <a:lnTo>
                    <a:pt x="431" y="537"/>
                  </a:lnTo>
                  <a:lnTo>
                    <a:pt x="430" y="537"/>
                  </a:lnTo>
                  <a:lnTo>
                    <a:pt x="430" y="535"/>
                  </a:lnTo>
                  <a:lnTo>
                    <a:pt x="431" y="534"/>
                  </a:lnTo>
                  <a:lnTo>
                    <a:pt x="431" y="530"/>
                  </a:lnTo>
                  <a:lnTo>
                    <a:pt x="428" y="529"/>
                  </a:lnTo>
                  <a:lnTo>
                    <a:pt x="422" y="529"/>
                  </a:lnTo>
                  <a:lnTo>
                    <a:pt x="420" y="527"/>
                  </a:lnTo>
                  <a:lnTo>
                    <a:pt x="422" y="523"/>
                  </a:lnTo>
                  <a:lnTo>
                    <a:pt x="426" y="517"/>
                  </a:lnTo>
                  <a:lnTo>
                    <a:pt x="426" y="514"/>
                  </a:lnTo>
                  <a:lnTo>
                    <a:pt x="425" y="505"/>
                  </a:lnTo>
                  <a:lnTo>
                    <a:pt x="426" y="500"/>
                  </a:lnTo>
                  <a:lnTo>
                    <a:pt x="426" y="499"/>
                  </a:lnTo>
                  <a:lnTo>
                    <a:pt x="430" y="494"/>
                  </a:lnTo>
                  <a:lnTo>
                    <a:pt x="431" y="493"/>
                  </a:lnTo>
                  <a:lnTo>
                    <a:pt x="430" y="491"/>
                  </a:lnTo>
                  <a:lnTo>
                    <a:pt x="426" y="488"/>
                  </a:lnTo>
                  <a:lnTo>
                    <a:pt x="425" y="487"/>
                  </a:lnTo>
                  <a:lnTo>
                    <a:pt x="428" y="485"/>
                  </a:lnTo>
                  <a:lnTo>
                    <a:pt x="438" y="481"/>
                  </a:lnTo>
                  <a:lnTo>
                    <a:pt x="441" y="484"/>
                  </a:lnTo>
                  <a:lnTo>
                    <a:pt x="442" y="484"/>
                  </a:lnTo>
                  <a:lnTo>
                    <a:pt x="443" y="481"/>
                  </a:lnTo>
                  <a:lnTo>
                    <a:pt x="442" y="479"/>
                  </a:lnTo>
                  <a:lnTo>
                    <a:pt x="441" y="469"/>
                  </a:lnTo>
                  <a:lnTo>
                    <a:pt x="441" y="467"/>
                  </a:lnTo>
                  <a:lnTo>
                    <a:pt x="438" y="457"/>
                  </a:lnTo>
                  <a:lnTo>
                    <a:pt x="437" y="456"/>
                  </a:lnTo>
                  <a:lnTo>
                    <a:pt x="436" y="451"/>
                  </a:lnTo>
                  <a:lnTo>
                    <a:pt x="436" y="449"/>
                  </a:lnTo>
                  <a:lnTo>
                    <a:pt x="435" y="442"/>
                  </a:lnTo>
                  <a:lnTo>
                    <a:pt x="434" y="437"/>
                  </a:lnTo>
                  <a:lnTo>
                    <a:pt x="432" y="435"/>
                  </a:lnTo>
                  <a:lnTo>
                    <a:pt x="429" y="430"/>
                  </a:lnTo>
                  <a:lnTo>
                    <a:pt x="423" y="418"/>
                  </a:lnTo>
                  <a:lnTo>
                    <a:pt x="420" y="412"/>
                  </a:lnTo>
                  <a:lnTo>
                    <a:pt x="419" y="410"/>
                  </a:lnTo>
                  <a:lnTo>
                    <a:pt x="419" y="405"/>
                  </a:lnTo>
                  <a:lnTo>
                    <a:pt x="418" y="404"/>
                  </a:lnTo>
                  <a:lnTo>
                    <a:pt x="418" y="398"/>
                  </a:lnTo>
                  <a:lnTo>
                    <a:pt x="413" y="389"/>
                  </a:lnTo>
                  <a:lnTo>
                    <a:pt x="412" y="388"/>
                  </a:lnTo>
                  <a:lnTo>
                    <a:pt x="412" y="385"/>
                  </a:lnTo>
                  <a:lnTo>
                    <a:pt x="411" y="383"/>
                  </a:lnTo>
                  <a:lnTo>
                    <a:pt x="409" y="377"/>
                  </a:lnTo>
                  <a:lnTo>
                    <a:pt x="399" y="361"/>
                  </a:lnTo>
                  <a:lnTo>
                    <a:pt x="398" y="352"/>
                  </a:lnTo>
                  <a:lnTo>
                    <a:pt x="400" y="344"/>
                  </a:lnTo>
                  <a:lnTo>
                    <a:pt x="413" y="318"/>
                  </a:lnTo>
                  <a:lnTo>
                    <a:pt x="416" y="315"/>
                  </a:lnTo>
                  <a:lnTo>
                    <a:pt x="416" y="314"/>
                  </a:lnTo>
                  <a:lnTo>
                    <a:pt x="417" y="313"/>
                  </a:lnTo>
                  <a:lnTo>
                    <a:pt x="417" y="310"/>
                  </a:lnTo>
                  <a:lnTo>
                    <a:pt x="434" y="287"/>
                  </a:lnTo>
                  <a:lnTo>
                    <a:pt x="435" y="285"/>
                  </a:lnTo>
                  <a:lnTo>
                    <a:pt x="436" y="281"/>
                  </a:lnTo>
                  <a:lnTo>
                    <a:pt x="436" y="271"/>
                  </a:lnTo>
                  <a:lnTo>
                    <a:pt x="437" y="270"/>
                  </a:lnTo>
                  <a:lnTo>
                    <a:pt x="437" y="269"/>
                  </a:lnTo>
                  <a:lnTo>
                    <a:pt x="438" y="267"/>
                  </a:lnTo>
                  <a:lnTo>
                    <a:pt x="425" y="256"/>
                  </a:lnTo>
                  <a:lnTo>
                    <a:pt x="423" y="252"/>
                  </a:lnTo>
                  <a:lnTo>
                    <a:pt x="416" y="236"/>
                  </a:lnTo>
                  <a:lnTo>
                    <a:pt x="414" y="233"/>
                  </a:lnTo>
                  <a:lnTo>
                    <a:pt x="411" y="226"/>
                  </a:lnTo>
                  <a:lnTo>
                    <a:pt x="409" y="223"/>
                  </a:lnTo>
                  <a:lnTo>
                    <a:pt x="395" y="217"/>
                  </a:lnTo>
                  <a:lnTo>
                    <a:pt x="384" y="213"/>
                  </a:lnTo>
                  <a:lnTo>
                    <a:pt x="382" y="211"/>
                  </a:lnTo>
                  <a:lnTo>
                    <a:pt x="381" y="209"/>
                  </a:lnTo>
                  <a:lnTo>
                    <a:pt x="374" y="179"/>
                  </a:lnTo>
                  <a:lnTo>
                    <a:pt x="373" y="177"/>
                  </a:lnTo>
                  <a:lnTo>
                    <a:pt x="372" y="173"/>
                  </a:lnTo>
                  <a:lnTo>
                    <a:pt x="372" y="172"/>
                  </a:lnTo>
                  <a:lnTo>
                    <a:pt x="373" y="171"/>
                  </a:lnTo>
                  <a:lnTo>
                    <a:pt x="384" y="149"/>
                  </a:lnTo>
                  <a:lnTo>
                    <a:pt x="385" y="146"/>
                  </a:lnTo>
                  <a:lnTo>
                    <a:pt x="387" y="136"/>
                  </a:lnTo>
                  <a:lnTo>
                    <a:pt x="384" y="132"/>
                  </a:lnTo>
                  <a:lnTo>
                    <a:pt x="372" y="132"/>
                  </a:lnTo>
                  <a:lnTo>
                    <a:pt x="370" y="131"/>
                  </a:lnTo>
                  <a:lnTo>
                    <a:pt x="370" y="129"/>
                  </a:lnTo>
                  <a:lnTo>
                    <a:pt x="373" y="129"/>
                  </a:lnTo>
                  <a:lnTo>
                    <a:pt x="384" y="121"/>
                  </a:lnTo>
                  <a:lnTo>
                    <a:pt x="388" y="119"/>
                  </a:lnTo>
                  <a:lnTo>
                    <a:pt x="393" y="113"/>
                  </a:lnTo>
                  <a:lnTo>
                    <a:pt x="394" y="113"/>
                  </a:lnTo>
                  <a:lnTo>
                    <a:pt x="395" y="112"/>
                  </a:lnTo>
                  <a:lnTo>
                    <a:pt x="398" y="113"/>
                  </a:lnTo>
                  <a:lnTo>
                    <a:pt x="403" y="109"/>
                  </a:lnTo>
                  <a:lnTo>
                    <a:pt x="405" y="105"/>
                  </a:lnTo>
                  <a:lnTo>
                    <a:pt x="406" y="104"/>
                  </a:lnTo>
                  <a:lnTo>
                    <a:pt x="406" y="101"/>
                  </a:lnTo>
                  <a:lnTo>
                    <a:pt x="407" y="98"/>
                  </a:lnTo>
                  <a:lnTo>
                    <a:pt x="407" y="94"/>
                  </a:lnTo>
                  <a:lnTo>
                    <a:pt x="409" y="93"/>
                  </a:lnTo>
                  <a:lnTo>
                    <a:pt x="409" y="90"/>
                  </a:lnTo>
                  <a:lnTo>
                    <a:pt x="410" y="86"/>
                  </a:lnTo>
                  <a:lnTo>
                    <a:pt x="410" y="84"/>
                  </a:lnTo>
                  <a:lnTo>
                    <a:pt x="411" y="81"/>
                  </a:lnTo>
                  <a:lnTo>
                    <a:pt x="413" y="80"/>
                  </a:lnTo>
                  <a:lnTo>
                    <a:pt x="420" y="80"/>
                  </a:lnTo>
                  <a:lnTo>
                    <a:pt x="423" y="79"/>
                  </a:lnTo>
                  <a:lnTo>
                    <a:pt x="428" y="74"/>
                  </a:lnTo>
                  <a:lnTo>
                    <a:pt x="436" y="74"/>
                  </a:lnTo>
                  <a:lnTo>
                    <a:pt x="436" y="73"/>
                  </a:lnTo>
                  <a:lnTo>
                    <a:pt x="437" y="70"/>
                  </a:lnTo>
                  <a:lnTo>
                    <a:pt x="443" y="64"/>
                  </a:lnTo>
                  <a:lnTo>
                    <a:pt x="443" y="60"/>
                  </a:lnTo>
                  <a:lnTo>
                    <a:pt x="444" y="58"/>
                  </a:lnTo>
                  <a:lnTo>
                    <a:pt x="444" y="56"/>
                  </a:lnTo>
                  <a:lnTo>
                    <a:pt x="447" y="54"/>
                  </a:lnTo>
                  <a:lnTo>
                    <a:pt x="447" y="52"/>
                  </a:lnTo>
                  <a:lnTo>
                    <a:pt x="448" y="50"/>
                  </a:lnTo>
                  <a:lnTo>
                    <a:pt x="448" y="48"/>
                  </a:lnTo>
                  <a:lnTo>
                    <a:pt x="447" y="45"/>
                  </a:lnTo>
                  <a:lnTo>
                    <a:pt x="447" y="44"/>
                  </a:lnTo>
                  <a:lnTo>
                    <a:pt x="444" y="43"/>
                  </a:lnTo>
                  <a:lnTo>
                    <a:pt x="443" y="42"/>
                  </a:lnTo>
                  <a:lnTo>
                    <a:pt x="443" y="41"/>
                  </a:lnTo>
                  <a:lnTo>
                    <a:pt x="448" y="41"/>
                  </a:lnTo>
                  <a:lnTo>
                    <a:pt x="450" y="43"/>
                  </a:lnTo>
                  <a:lnTo>
                    <a:pt x="457" y="52"/>
                  </a:lnTo>
                  <a:lnTo>
                    <a:pt x="460" y="52"/>
                  </a:lnTo>
                  <a:lnTo>
                    <a:pt x="469" y="55"/>
                  </a:lnTo>
                  <a:lnTo>
                    <a:pt x="474" y="54"/>
                  </a:lnTo>
                  <a:lnTo>
                    <a:pt x="475" y="52"/>
                  </a:lnTo>
                  <a:lnTo>
                    <a:pt x="476" y="48"/>
                  </a:lnTo>
                  <a:lnTo>
                    <a:pt x="476" y="37"/>
                  </a:lnTo>
                  <a:lnTo>
                    <a:pt x="475" y="35"/>
                  </a:lnTo>
                  <a:lnTo>
                    <a:pt x="475" y="31"/>
                  </a:lnTo>
                  <a:lnTo>
                    <a:pt x="474" y="29"/>
                  </a:lnTo>
                  <a:lnTo>
                    <a:pt x="474" y="27"/>
                  </a:lnTo>
                  <a:lnTo>
                    <a:pt x="473" y="25"/>
                  </a:lnTo>
                  <a:lnTo>
                    <a:pt x="473" y="20"/>
                  </a:lnTo>
                  <a:lnTo>
                    <a:pt x="481" y="24"/>
                  </a:lnTo>
                  <a:lnTo>
                    <a:pt x="486" y="24"/>
                  </a:lnTo>
                  <a:lnTo>
                    <a:pt x="488" y="26"/>
                  </a:lnTo>
                  <a:lnTo>
                    <a:pt x="490" y="26"/>
                  </a:lnTo>
                  <a:lnTo>
                    <a:pt x="491" y="25"/>
                  </a:lnTo>
                  <a:lnTo>
                    <a:pt x="492" y="26"/>
                  </a:lnTo>
                  <a:lnTo>
                    <a:pt x="493" y="26"/>
                  </a:lnTo>
                  <a:lnTo>
                    <a:pt x="494" y="30"/>
                  </a:lnTo>
                  <a:lnTo>
                    <a:pt x="497" y="30"/>
                  </a:lnTo>
                  <a:lnTo>
                    <a:pt x="497" y="36"/>
                  </a:lnTo>
                  <a:lnTo>
                    <a:pt x="496" y="36"/>
                  </a:lnTo>
                  <a:lnTo>
                    <a:pt x="496" y="39"/>
                  </a:lnTo>
                  <a:lnTo>
                    <a:pt x="494" y="41"/>
                  </a:lnTo>
                  <a:lnTo>
                    <a:pt x="492" y="44"/>
                  </a:lnTo>
                  <a:lnTo>
                    <a:pt x="494" y="42"/>
                  </a:lnTo>
                  <a:lnTo>
                    <a:pt x="499" y="35"/>
                  </a:lnTo>
                  <a:lnTo>
                    <a:pt x="500" y="33"/>
                  </a:lnTo>
                  <a:lnTo>
                    <a:pt x="502" y="35"/>
                  </a:lnTo>
                  <a:lnTo>
                    <a:pt x="503" y="35"/>
                  </a:lnTo>
                  <a:lnTo>
                    <a:pt x="503" y="33"/>
                  </a:lnTo>
                  <a:lnTo>
                    <a:pt x="504" y="33"/>
                  </a:lnTo>
                  <a:lnTo>
                    <a:pt x="515" y="35"/>
                  </a:lnTo>
                  <a:lnTo>
                    <a:pt x="513" y="32"/>
                  </a:lnTo>
                  <a:lnTo>
                    <a:pt x="512" y="31"/>
                  </a:lnTo>
                  <a:lnTo>
                    <a:pt x="510" y="30"/>
                  </a:lnTo>
                  <a:lnTo>
                    <a:pt x="510" y="27"/>
                  </a:lnTo>
                  <a:lnTo>
                    <a:pt x="511" y="25"/>
                  </a:lnTo>
                  <a:lnTo>
                    <a:pt x="510" y="23"/>
                  </a:lnTo>
                  <a:lnTo>
                    <a:pt x="510" y="18"/>
                  </a:lnTo>
                  <a:lnTo>
                    <a:pt x="511" y="15"/>
                  </a:lnTo>
                  <a:lnTo>
                    <a:pt x="512" y="14"/>
                  </a:lnTo>
                  <a:lnTo>
                    <a:pt x="516" y="14"/>
                  </a:lnTo>
                  <a:lnTo>
                    <a:pt x="517" y="15"/>
                  </a:lnTo>
                  <a:lnTo>
                    <a:pt x="518" y="18"/>
                  </a:lnTo>
                  <a:lnTo>
                    <a:pt x="521" y="19"/>
                  </a:lnTo>
                  <a:lnTo>
                    <a:pt x="523" y="23"/>
                  </a:lnTo>
                  <a:lnTo>
                    <a:pt x="524" y="24"/>
                  </a:lnTo>
                  <a:lnTo>
                    <a:pt x="527" y="21"/>
                  </a:lnTo>
                  <a:lnTo>
                    <a:pt x="527" y="20"/>
                  </a:lnTo>
                  <a:lnTo>
                    <a:pt x="525" y="19"/>
                  </a:lnTo>
                  <a:lnTo>
                    <a:pt x="524" y="15"/>
                  </a:lnTo>
                  <a:lnTo>
                    <a:pt x="522" y="13"/>
                  </a:lnTo>
                  <a:lnTo>
                    <a:pt x="522" y="8"/>
                  </a:lnTo>
                  <a:lnTo>
                    <a:pt x="521" y="8"/>
                  </a:lnTo>
                  <a:lnTo>
                    <a:pt x="518" y="6"/>
                  </a:lnTo>
                  <a:lnTo>
                    <a:pt x="518" y="5"/>
                  </a:lnTo>
                  <a:lnTo>
                    <a:pt x="519" y="2"/>
                  </a:lnTo>
                  <a:lnTo>
                    <a:pt x="519" y="1"/>
                  </a:lnTo>
                  <a:lnTo>
                    <a:pt x="521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19">
              <a:extLst>
                <a:ext uri="{FF2B5EF4-FFF2-40B4-BE49-F238E27FC236}">
                  <a16:creationId xmlns:a16="http://schemas.microsoft.com/office/drawing/2014/main" id="{59E762BC-4F16-4849-BBE2-EEB4774FCE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89888" y="1308100"/>
              <a:ext cx="612775" cy="428625"/>
            </a:xfrm>
            <a:custGeom>
              <a:avLst/>
              <a:gdLst/>
              <a:ahLst/>
              <a:cxnLst>
                <a:cxn ang="0">
                  <a:pos x="343" y="203"/>
                </a:cxn>
                <a:cxn ang="0">
                  <a:pos x="363" y="216"/>
                </a:cxn>
                <a:cxn ang="0">
                  <a:pos x="381" y="244"/>
                </a:cxn>
                <a:cxn ang="0">
                  <a:pos x="382" y="257"/>
                </a:cxn>
                <a:cxn ang="0">
                  <a:pos x="360" y="270"/>
                </a:cxn>
                <a:cxn ang="0">
                  <a:pos x="346" y="253"/>
                </a:cxn>
                <a:cxn ang="0">
                  <a:pos x="320" y="240"/>
                </a:cxn>
                <a:cxn ang="0">
                  <a:pos x="302" y="220"/>
                </a:cxn>
                <a:cxn ang="0">
                  <a:pos x="301" y="208"/>
                </a:cxn>
                <a:cxn ang="0">
                  <a:pos x="298" y="196"/>
                </a:cxn>
                <a:cxn ang="0">
                  <a:pos x="301" y="186"/>
                </a:cxn>
                <a:cxn ang="0">
                  <a:pos x="309" y="176"/>
                </a:cxn>
                <a:cxn ang="0">
                  <a:pos x="245" y="164"/>
                </a:cxn>
                <a:cxn ang="0">
                  <a:pos x="232" y="159"/>
                </a:cxn>
                <a:cxn ang="0">
                  <a:pos x="83" y="65"/>
                </a:cxn>
                <a:cxn ang="0">
                  <a:pos x="63" y="54"/>
                </a:cxn>
                <a:cxn ang="0">
                  <a:pos x="58" y="54"/>
                </a:cxn>
                <a:cxn ang="0">
                  <a:pos x="71" y="69"/>
                </a:cxn>
                <a:cxn ang="0">
                  <a:pos x="72" y="91"/>
                </a:cxn>
                <a:cxn ang="0">
                  <a:pos x="68" y="103"/>
                </a:cxn>
                <a:cxn ang="0">
                  <a:pos x="52" y="74"/>
                </a:cxn>
                <a:cxn ang="0">
                  <a:pos x="41" y="54"/>
                </a:cxn>
                <a:cxn ang="0">
                  <a:pos x="174" y="0"/>
                </a:cxn>
                <a:cxn ang="0">
                  <a:pos x="196" y="61"/>
                </a:cxn>
                <a:cxn ang="0">
                  <a:pos x="238" y="121"/>
                </a:cxn>
                <a:cxn ang="0">
                  <a:pos x="255" y="139"/>
                </a:cxn>
                <a:cxn ang="0">
                  <a:pos x="255" y="153"/>
                </a:cxn>
                <a:cxn ang="0">
                  <a:pos x="227" y="145"/>
                </a:cxn>
                <a:cxn ang="0">
                  <a:pos x="237" y="154"/>
                </a:cxn>
                <a:cxn ang="0">
                  <a:pos x="218" y="137"/>
                </a:cxn>
                <a:cxn ang="0">
                  <a:pos x="203" y="139"/>
                </a:cxn>
                <a:cxn ang="0">
                  <a:pos x="205" y="148"/>
                </a:cxn>
                <a:cxn ang="0">
                  <a:pos x="221" y="158"/>
                </a:cxn>
                <a:cxn ang="0">
                  <a:pos x="216" y="154"/>
                </a:cxn>
                <a:cxn ang="0">
                  <a:pos x="199" y="154"/>
                </a:cxn>
                <a:cxn ang="0">
                  <a:pos x="190" y="154"/>
                </a:cxn>
                <a:cxn ang="0">
                  <a:pos x="184" y="146"/>
                </a:cxn>
                <a:cxn ang="0">
                  <a:pos x="170" y="136"/>
                </a:cxn>
                <a:cxn ang="0">
                  <a:pos x="163" y="143"/>
                </a:cxn>
                <a:cxn ang="0">
                  <a:pos x="153" y="154"/>
                </a:cxn>
                <a:cxn ang="0">
                  <a:pos x="139" y="134"/>
                </a:cxn>
                <a:cxn ang="0">
                  <a:pos x="137" y="142"/>
                </a:cxn>
                <a:cxn ang="0">
                  <a:pos x="129" y="140"/>
                </a:cxn>
                <a:cxn ang="0">
                  <a:pos x="102" y="128"/>
                </a:cxn>
                <a:cxn ang="0">
                  <a:pos x="90" y="128"/>
                </a:cxn>
                <a:cxn ang="0">
                  <a:pos x="95" y="122"/>
                </a:cxn>
                <a:cxn ang="0">
                  <a:pos x="95" y="102"/>
                </a:cxn>
                <a:cxn ang="0">
                  <a:pos x="107" y="96"/>
                </a:cxn>
                <a:cxn ang="0">
                  <a:pos x="113" y="90"/>
                </a:cxn>
                <a:cxn ang="0">
                  <a:pos x="110" y="81"/>
                </a:cxn>
                <a:cxn ang="0">
                  <a:pos x="106" y="80"/>
                </a:cxn>
                <a:cxn ang="0">
                  <a:pos x="95" y="76"/>
                </a:cxn>
                <a:cxn ang="0">
                  <a:pos x="93" y="61"/>
                </a:cxn>
                <a:cxn ang="0">
                  <a:pos x="102" y="45"/>
                </a:cxn>
                <a:cxn ang="0">
                  <a:pos x="81" y="37"/>
                </a:cxn>
                <a:cxn ang="0">
                  <a:pos x="71" y="47"/>
                </a:cxn>
                <a:cxn ang="0">
                  <a:pos x="65" y="50"/>
                </a:cxn>
                <a:cxn ang="0">
                  <a:pos x="56" y="38"/>
                </a:cxn>
                <a:cxn ang="0">
                  <a:pos x="46" y="23"/>
                </a:cxn>
                <a:cxn ang="0">
                  <a:pos x="35" y="32"/>
                </a:cxn>
                <a:cxn ang="0">
                  <a:pos x="31" y="39"/>
                </a:cxn>
                <a:cxn ang="0">
                  <a:pos x="4" y="18"/>
                </a:cxn>
              </a:cxnLst>
              <a:rect l="0" t="0" r="r" b="b"/>
              <a:pathLst>
                <a:path w="386" h="270">
                  <a:moveTo>
                    <a:pt x="321" y="170"/>
                  </a:moveTo>
                  <a:lnTo>
                    <a:pt x="323" y="171"/>
                  </a:lnTo>
                  <a:lnTo>
                    <a:pt x="323" y="174"/>
                  </a:lnTo>
                  <a:lnTo>
                    <a:pt x="324" y="174"/>
                  </a:lnTo>
                  <a:lnTo>
                    <a:pt x="325" y="176"/>
                  </a:lnTo>
                  <a:lnTo>
                    <a:pt x="333" y="183"/>
                  </a:lnTo>
                  <a:lnTo>
                    <a:pt x="334" y="185"/>
                  </a:lnTo>
                  <a:lnTo>
                    <a:pt x="339" y="194"/>
                  </a:lnTo>
                  <a:lnTo>
                    <a:pt x="342" y="196"/>
                  </a:lnTo>
                  <a:lnTo>
                    <a:pt x="343" y="196"/>
                  </a:lnTo>
                  <a:lnTo>
                    <a:pt x="343" y="203"/>
                  </a:lnTo>
                  <a:lnTo>
                    <a:pt x="344" y="204"/>
                  </a:lnTo>
                  <a:lnTo>
                    <a:pt x="348" y="204"/>
                  </a:lnTo>
                  <a:lnTo>
                    <a:pt x="350" y="208"/>
                  </a:lnTo>
                  <a:lnTo>
                    <a:pt x="352" y="208"/>
                  </a:lnTo>
                  <a:lnTo>
                    <a:pt x="352" y="211"/>
                  </a:lnTo>
                  <a:lnTo>
                    <a:pt x="354" y="213"/>
                  </a:lnTo>
                  <a:lnTo>
                    <a:pt x="354" y="214"/>
                  </a:lnTo>
                  <a:lnTo>
                    <a:pt x="356" y="214"/>
                  </a:lnTo>
                  <a:lnTo>
                    <a:pt x="360" y="217"/>
                  </a:lnTo>
                  <a:lnTo>
                    <a:pt x="361" y="217"/>
                  </a:lnTo>
                  <a:lnTo>
                    <a:pt x="363" y="216"/>
                  </a:lnTo>
                  <a:lnTo>
                    <a:pt x="364" y="217"/>
                  </a:lnTo>
                  <a:lnTo>
                    <a:pt x="364" y="220"/>
                  </a:lnTo>
                  <a:lnTo>
                    <a:pt x="365" y="220"/>
                  </a:lnTo>
                  <a:lnTo>
                    <a:pt x="367" y="221"/>
                  </a:lnTo>
                  <a:lnTo>
                    <a:pt x="376" y="233"/>
                  </a:lnTo>
                  <a:lnTo>
                    <a:pt x="376" y="234"/>
                  </a:lnTo>
                  <a:lnTo>
                    <a:pt x="380" y="234"/>
                  </a:lnTo>
                  <a:lnTo>
                    <a:pt x="381" y="235"/>
                  </a:lnTo>
                  <a:lnTo>
                    <a:pt x="382" y="239"/>
                  </a:lnTo>
                  <a:lnTo>
                    <a:pt x="382" y="242"/>
                  </a:lnTo>
                  <a:lnTo>
                    <a:pt x="381" y="244"/>
                  </a:lnTo>
                  <a:lnTo>
                    <a:pt x="382" y="246"/>
                  </a:lnTo>
                  <a:lnTo>
                    <a:pt x="382" y="247"/>
                  </a:lnTo>
                  <a:lnTo>
                    <a:pt x="383" y="247"/>
                  </a:lnTo>
                  <a:lnTo>
                    <a:pt x="385" y="248"/>
                  </a:lnTo>
                  <a:lnTo>
                    <a:pt x="385" y="251"/>
                  </a:lnTo>
                  <a:lnTo>
                    <a:pt x="386" y="252"/>
                  </a:lnTo>
                  <a:lnTo>
                    <a:pt x="386" y="253"/>
                  </a:lnTo>
                  <a:lnTo>
                    <a:pt x="385" y="253"/>
                  </a:lnTo>
                  <a:lnTo>
                    <a:pt x="385" y="254"/>
                  </a:lnTo>
                  <a:lnTo>
                    <a:pt x="383" y="254"/>
                  </a:lnTo>
                  <a:lnTo>
                    <a:pt x="382" y="257"/>
                  </a:lnTo>
                  <a:lnTo>
                    <a:pt x="381" y="258"/>
                  </a:lnTo>
                  <a:lnTo>
                    <a:pt x="381" y="262"/>
                  </a:lnTo>
                  <a:lnTo>
                    <a:pt x="382" y="264"/>
                  </a:lnTo>
                  <a:lnTo>
                    <a:pt x="379" y="263"/>
                  </a:lnTo>
                  <a:lnTo>
                    <a:pt x="377" y="264"/>
                  </a:lnTo>
                  <a:lnTo>
                    <a:pt x="373" y="268"/>
                  </a:lnTo>
                  <a:lnTo>
                    <a:pt x="371" y="268"/>
                  </a:lnTo>
                  <a:lnTo>
                    <a:pt x="367" y="264"/>
                  </a:lnTo>
                  <a:lnTo>
                    <a:pt x="363" y="264"/>
                  </a:lnTo>
                  <a:lnTo>
                    <a:pt x="360" y="268"/>
                  </a:lnTo>
                  <a:lnTo>
                    <a:pt x="360" y="270"/>
                  </a:lnTo>
                  <a:lnTo>
                    <a:pt x="358" y="270"/>
                  </a:lnTo>
                  <a:lnTo>
                    <a:pt x="358" y="268"/>
                  </a:lnTo>
                  <a:lnTo>
                    <a:pt x="357" y="266"/>
                  </a:lnTo>
                  <a:lnTo>
                    <a:pt x="352" y="266"/>
                  </a:lnTo>
                  <a:lnTo>
                    <a:pt x="344" y="264"/>
                  </a:lnTo>
                  <a:lnTo>
                    <a:pt x="345" y="263"/>
                  </a:lnTo>
                  <a:lnTo>
                    <a:pt x="343" y="260"/>
                  </a:lnTo>
                  <a:lnTo>
                    <a:pt x="343" y="257"/>
                  </a:lnTo>
                  <a:lnTo>
                    <a:pt x="344" y="256"/>
                  </a:lnTo>
                  <a:lnTo>
                    <a:pt x="346" y="256"/>
                  </a:lnTo>
                  <a:lnTo>
                    <a:pt x="346" y="253"/>
                  </a:lnTo>
                  <a:lnTo>
                    <a:pt x="345" y="252"/>
                  </a:lnTo>
                  <a:lnTo>
                    <a:pt x="340" y="246"/>
                  </a:lnTo>
                  <a:lnTo>
                    <a:pt x="338" y="242"/>
                  </a:lnTo>
                  <a:lnTo>
                    <a:pt x="336" y="242"/>
                  </a:lnTo>
                  <a:lnTo>
                    <a:pt x="333" y="244"/>
                  </a:lnTo>
                  <a:lnTo>
                    <a:pt x="332" y="244"/>
                  </a:lnTo>
                  <a:lnTo>
                    <a:pt x="327" y="239"/>
                  </a:lnTo>
                  <a:lnTo>
                    <a:pt x="324" y="239"/>
                  </a:lnTo>
                  <a:lnTo>
                    <a:pt x="318" y="237"/>
                  </a:lnTo>
                  <a:lnTo>
                    <a:pt x="318" y="238"/>
                  </a:lnTo>
                  <a:lnTo>
                    <a:pt x="320" y="240"/>
                  </a:lnTo>
                  <a:lnTo>
                    <a:pt x="323" y="241"/>
                  </a:lnTo>
                  <a:lnTo>
                    <a:pt x="326" y="245"/>
                  </a:lnTo>
                  <a:lnTo>
                    <a:pt x="324" y="247"/>
                  </a:lnTo>
                  <a:lnTo>
                    <a:pt x="321" y="246"/>
                  </a:lnTo>
                  <a:lnTo>
                    <a:pt x="321" y="245"/>
                  </a:lnTo>
                  <a:lnTo>
                    <a:pt x="320" y="245"/>
                  </a:lnTo>
                  <a:lnTo>
                    <a:pt x="318" y="242"/>
                  </a:lnTo>
                  <a:lnTo>
                    <a:pt x="318" y="241"/>
                  </a:lnTo>
                  <a:lnTo>
                    <a:pt x="315" y="238"/>
                  </a:lnTo>
                  <a:lnTo>
                    <a:pt x="307" y="229"/>
                  </a:lnTo>
                  <a:lnTo>
                    <a:pt x="302" y="220"/>
                  </a:lnTo>
                  <a:lnTo>
                    <a:pt x="303" y="215"/>
                  </a:lnTo>
                  <a:lnTo>
                    <a:pt x="301" y="214"/>
                  </a:lnTo>
                  <a:lnTo>
                    <a:pt x="301" y="213"/>
                  </a:lnTo>
                  <a:lnTo>
                    <a:pt x="302" y="213"/>
                  </a:lnTo>
                  <a:lnTo>
                    <a:pt x="303" y="211"/>
                  </a:lnTo>
                  <a:lnTo>
                    <a:pt x="303" y="210"/>
                  </a:lnTo>
                  <a:lnTo>
                    <a:pt x="302" y="210"/>
                  </a:lnTo>
                  <a:lnTo>
                    <a:pt x="302" y="208"/>
                  </a:lnTo>
                  <a:lnTo>
                    <a:pt x="303" y="207"/>
                  </a:lnTo>
                  <a:lnTo>
                    <a:pt x="301" y="207"/>
                  </a:lnTo>
                  <a:lnTo>
                    <a:pt x="301" y="208"/>
                  </a:lnTo>
                  <a:lnTo>
                    <a:pt x="300" y="208"/>
                  </a:lnTo>
                  <a:lnTo>
                    <a:pt x="300" y="205"/>
                  </a:lnTo>
                  <a:lnTo>
                    <a:pt x="298" y="205"/>
                  </a:lnTo>
                  <a:lnTo>
                    <a:pt x="298" y="204"/>
                  </a:lnTo>
                  <a:lnTo>
                    <a:pt x="299" y="202"/>
                  </a:lnTo>
                  <a:lnTo>
                    <a:pt x="299" y="201"/>
                  </a:lnTo>
                  <a:lnTo>
                    <a:pt x="298" y="201"/>
                  </a:lnTo>
                  <a:lnTo>
                    <a:pt x="296" y="199"/>
                  </a:lnTo>
                  <a:lnTo>
                    <a:pt x="295" y="197"/>
                  </a:lnTo>
                  <a:lnTo>
                    <a:pt x="296" y="196"/>
                  </a:lnTo>
                  <a:lnTo>
                    <a:pt x="298" y="196"/>
                  </a:lnTo>
                  <a:lnTo>
                    <a:pt x="313" y="203"/>
                  </a:lnTo>
                  <a:lnTo>
                    <a:pt x="313" y="201"/>
                  </a:lnTo>
                  <a:lnTo>
                    <a:pt x="312" y="199"/>
                  </a:lnTo>
                  <a:lnTo>
                    <a:pt x="312" y="198"/>
                  </a:lnTo>
                  <a:lnTo>
                    <a:pt x="311" y="197"/>
                  </a:lnTo>
                  <a:lnTo>
                    <a:pt x="307" y="195"/>
                  </a:lnTo>
                  <a:lnTo>
                    <a:pt x="306" y="192"/>
                  </a:lnTo>
                  <a:lnTo>
                    <a:pt x="300" y="188"/>
                  </a:lnTo>
                  <a:lnTo>
                    <a:pt x="299" y="188"/>
                  </a:lnTo>
                  <a:lnTo>
                    <a:pt x="300" y="186"/>
                  </a:lnTo>
                  <a:lnTo>
                    <a:pt x="301" y="186"/>
                  </a:lnTo>
                  <a:lnTo>
                    <a:pt x="305" y="188"/>
                  </a:lnTo>
                  <a:lnTo>
                    <a:pt x="305" y="186"/>
                  </a:lnTo>
                  <a:lnTo>
                    <a:pt x="307" y="184"/>
                  </a:lnTo>
                  <a:lnTo>
                    <a:pt x="308" y="184"/>
                  </a:lnTo>
                  <a:lnTo>
                    <a:pt x="309" y="183"/>
                  </a:lnTo>
                  <a:lnTo>
                    <a:pt x="309" y="182"/>
                  </a:lnTo>
                  <a:lnTo>
                    <a:pt x="311" y="180"/>
                  </a:lnTo>
                  <a:lnTo>
                    <a:pt x="309" y="179"/>
                  </a:lnTo>
                  <a:lnTo>
                    <a:pt x="309" y="177"/>
                  </a:lnTo>
                  <a:lnTo>
                    <a:pt x="308" y="177"/>
                  </a:lnTo>
                  <a:lnTo>
                    <a:pt x="309" y="176"/>
                  </a:lnTo>
                  <a:lnTo>
                    <a:pt x="315" y="176"/>
                  </a:lnTo>
                  <a:lnTo>
                    <a:pt x="315" y="174"/>
                  </a:lnTo>
                  <a:lnTo>
                    <a:pt x="319" y="171"/>
                  </a:lnTo>
                  <a:lnTo>
                    <a:pt x="321" y="170"/>
                  </a:lnTo>
                  <a:close/>
                  <a:moveTo>
                    <a:pt x="230" y="153"/>
                  </a:moveTo>
                  <a:lnTo>
                    <a:pt x="234" y="156"/>
                  </a:lnTo>
                  <a:lnTo>
                    <a:pt x="237" y="158"/>
                  </a:lnTo>
                  <a:lnTo>
                    <a:pt x="239" y="160"/>
                  </a:lnTo>
                  <a:lnTo>
                    <a:pt x="240" y="159"/>
                  </a:lnTo>
                  <a:lnTo>
                    <a:pt x="244" y="161"/>
                  </a:lnTo>
                  <a:lnTo>
                    <a:pt x="245" y="164"/>
                  </a:lnTo>
                  <a:lnTo>
                    <a:pt x="245" y="166"/>
                  </a:lnTo>
                  <a:lnTo>
                    <a:pt x="244" y="165"/>
                  </a:lnTo>
                  <a:lnTo>
                    <a:pt x="240" y="162"/>
                  </a:lnTo>
                  <a:lnTo>
                    <a:pt x="238" y="162"/>
                  </a:lnTo>
                  <a:lnTo>
                    <a:pt x="237" y="161"/>
                  </a:lnTo>
                  <a:lnTo>
                    <a:pt x="238" y="164"/>
                  </a:lnTo>
                  <a:lnTo>
                    <a:pt x="242" y="165"/>
                  </a:lnTo>
                  <a:lnTo>
                    <a:pt x="242" y="167"/>
                  </a:lnTo>
                  <a:lnTo>
                    <a:pt x="238" y="166"/>
                  </a:lnTo>
                  <a:lnTo>
                    <a:pt x="233" y="162"/>
                  </a:lnTo>
                  <a:lnTo>
                    <a:pt x="232" y="159"/>
                  </a:lnTo>
                  <a:lnTo>
                    <a:pt x="233" y="159"/>
                  </a:lnTo>
                  <a:lnTo>
                    <a:pt x="232" y="156"/>
                  </a:lnTo>
                  <a:lnTo>
                    <a:pt x="230" y="156"/>
                  </a:lnTo>
                  <a:lnTo>
                    <a:pt x="230" y="153"/>
                  </a:lnTo>
                  <a:close/>
                  <a:moveTo>
                    <a:pt x="102" y="128"/>
                  </a:moveTo>
                  <a:lnTo>
                    <a:pt x="104" y="130"/>
                  </a:lnTo>
                  <a:lnTo>
                    <a:pt x="103" y="130"/>
                  </a:lnTo>
                  <a:lnTo>
                    <a:pt x="102" y="128"/>
                  </a:lnTo>
                  <a:close/>
                  <a:moveTo>
                    <a:pt x="73" y="56"/>
                  </a:moveTo>
                  <a:lnTo>
                    <a:pt x="77" y="56"/>
                  </a:lnTo>
                  <a:lnTo>
                    <a:pt x="83" y="65"/>
                  </a:lnTo>
                  <a:lnTo>
                    <a:pt x="83" y="66"/>
                  </a:lnTo>
                  <a:lnTo>
                    <a:pt x="84" y="66"/>
                  </a:lnTo>
                  <a:lnTo>
                    <a:pt x="83" y="67"/>
                  </a:lnTo>
                  <a:lnTo>
                    <a:pt x="82" y="66"/>
                  </a:lnTo>
                  <a:lnTo>
                    <a:pt x="77" y="62"/>
                  </a:lnTo>
                  <a:lnTo>
                    <a:pt x="77" y="61"/>
                  </a:lnTo>
                  <a:lnTo>
                    <a:pt x="76" y="59"/>
                  </a:lnTo>
                  <a:lnTo>
                    <a:pt x="73" y="56"/>
                  </a:lnTo>
                  <a:close/>
                  <a:moveTo>
                    <a:pt x="54" y="49"/>
                  </a:moveTo>
                  <a:lnTo>
                    <a:pt x="56" y="49"/>
                  </a:lnTo>
                  <a:lnTo>
                    <a:pt x="63" y="54"/>
                  </a:lnTo>
                  <a:lnTo>
                    <a:pt x="63" y="55"/>
                  </a:lnTo>
                  <a:lnTo>
                    <a:pt x="64" y="56"/>
                  </a:lnTo>
                  <a:lnTo>
                    <a:pt x="65" y="60"/>
                  </a:lnTo>
                  <a:lnTo>
                    <a:pt x="65" y="61"/>
                  </a:lnTo>
                  <a:lnTo>
                    <a:pt x="68" y="63"/>
                  </a:lnTo>
                  <a:lnTo>
                    <a:pt x="68" y="66"/>
                  </a:lnTo>
                  <a:lnTo>
                    <a:pt x="63" y="61"/>
                  </a:lnTo>
                  <a:lnTo>
                    <a:pt x="62" y="57"/>
                  </a:lnTo>
                  <a:lnTo>
                    <a:pt x="62" y="56"/>
                  </a:lnTo>
                  <a:lnTo>
                    <a:pt x="59" y="54"/>
                  </a:lnTo>
                  <a:lnTo>
                    <a:pt x="58" y="54"/>
                  </a:lnTo>
                  <a:lnTo>
                    <a:pt x="60" y="57"/>
                  </a:lnTo>
                  <a:lnTo>
                    <a:pt x="62" y="60"/>
                  </a:lnTo>
                  <a:lnTo>
                    <a:pt x="60" y="61"/>
                  </a:lnTo>
                  <a:lnTo>
                    <a:pt x="58" y="60"/>
                  </a:lnTo>
                  <a:lnTo>
                    <a:pt x="58" y="61"/>
                  </a:lnTo>
                  <a:lnTo>
                    <a:pt x="70" y="72"/>
                  </a:lnTo>
                  <a:lnTo>
                    <a:pt x="72" y="73"/>
                  </a:lnTo>
                  <a:lnTo>
                    <a:pt x="73" y="70"/>
                  </a:lnTo>
                  <a:lnTo>
                    <a:pt x="72" y="69"/>
                  </a:lnTo>
                  <a:lnTo>
                    <a:pt x="71" y="70"/>
                  </a:lnTo>
                  <a:lnTo>
                    <a:pt x="71" y="69"/>
                  </a:lnTo>
                  <a:lnTo>
                    <a:pt x="73" y="67"/>
                  </a:lnTo>
                  <a:lnTo>
                    <a:pt x="73" y="68"/>
                  </a:lnTo>
                  <a:lnTo>
                    <a:pt x="75" y="69"/>
                  </a:lnTo>
                  <a:lnTo>
                    <a:pt x="76" y="69"/>
                  </a:lnTo>
                  <a:lnTo>
                    <a:pt x="76" y="74"/>
                  </a:lnTo>
                  <a:lnTo>
                    <a:pt x="77" y="74"/>
                  </a:lnTo>
                  <a:lnTo>
                    <a:pt x="76" y="76"/>
                  </a:lnTo>
                  <a:lnTo>
                    <a:pt x="76" y="82"/>
                  </a:lnTo>
                  <a:lnTo>
                    <a:pt x="73" y="85"/>
                  </a:lnTo>
                  <a:lnTo>
                    <a:pt x="73" y="91"/>
                  </a:lnTo>
                  <a:lnTo>
                    <a:pt x="72" y="91"/>
                  </a:lnTo>
                  <a:lnTo>
                    <a:pt x="72" y="92"/>
                  </a:lnTo>
                  <a:lnTo>
                    <a:pt x="71" y="92"/>
                  </a:lnTo>
                  <a:lnTo>
                    <a:pt x="70" y="91"/>
                  </a:lnTo>
                  <a:lnTo>
                    <a:pt x="69" y="93"/>
                  </a:lnTo>
                  <a:lnTo>
                    <a:pt x="69" y="98"/>
                  </a:lnTo>
                  <a:lnTo>
                    <a:pt x="70" y="100"/>
                  </a:lnTo>
                  <a:lnTo>
                    <a:pt x="73" y="104"/>
                  </a:lnTo>
                  <a:lnTo>
                    <a:pt x="72" y="106"/>
                  </a:lnTo>
                  <a:lnTo>
                    <a:pt x="70" y="108"/>
                  </a:lnTo>
                  <a:lnTo>
                    <a:pt x="68" y="106"/>
                  </a:lnTo>
                  <a:lnTo>
                    <a:pt x="68" y="103"/>
                  </a:lnTo>
                  <a:lnTo>
                    <a:pt x="66" y="99"/>
                  </a:lnTo>
                  <a:lnTo>
                    <a:pt x="66" y="97"/>
                  </a:lnTo>
                  <a:lnTo>
                    <a:pt x="64" y="94"/>
                  </a:lnTo>
                  <a:lnTo>
                    <a:pt x="59" y="91"/>
                  </a:lnTo>
                  <a:lnTo>
                    <a:pt x="59" y="88"/>
                  </a:lnTo>
                  <a:lnTo>
                    <a:pt x="58" y="88"/>
                  </a:lnTo>
                  <a:lnTo>
                    <a:pt x="58" y="81"/>
                  </a:lnTo>
                  <a:lnTo>
                    <a:pt x="57" y="80"/>
                  </a:lnTo>
                  <a:lnTo>
                    <a:pt x="53" y="78"/>
                  </a:lnTo>
                  <a:lnTo>
                    <a:pt x="53" y="75"/>
                  </a:lnTo>
                  <a:lnTo>
                    <a:pt x="52" y="74"/>
                  </a:lnTo>
                  <a:lnTo>
                    <a:pt x="51" y="72"/>
                  </a:lnTo>
                  <a:lnTo>
                    <a:pt x="48" y="70"/>
                  </a:lnTo>
                  <a:lnTo>
                    <a:pt x="46" y="70"/>
                  </a:lnTo>
                  <a:lnTo>
                    <a:pt x="44" y="72"/>
                  </a:lnTo>
                  <a:lnTo>
                    <a:pt x="40" y="70"/>
                  </a:lnTo>
                  <a:lnTo>
                    <a:pt x="35" y="67"/>
                  </a:lnTo>
                  <a:lnTo>
                    <a:pt x="34" y="65"/>
                  </a:lnTo>
                  <a:lnTo>
                    <a:pt x="34" y="57"/>
                  </a:lnTo>
                  <a:lnTo>
                    <a:pt x="35" y="57"/>
                  </a:lnTo>
                  <a:lnTo>
                    <a:pt x="40" y="55"/>
                  </a:lnTo>
                  <a:lnTo>
                    <a:pt x="41" y="54"/>
                  </a:lnTo>
                  <a:lnTo>
                    <a:pt x="45" y="54"/>
                  </a:lnTo>
                  <a:lnTo>
                    <a:pt x="47" y="51"/>
                  </a:lnTo>
                  <a:lnTo>
                    <a:pt x="52" y="53"/>
                  </a:lnTo>
                  <a:lnTo>
                    <a:pt x="53" y="54"/>
                  </a:lnTo>
                  <a:lnTo>
                    <a:pt x="54" y="56"/>
                  </a:lnTo>
                  <a:lnTo>
                    <a:pt x="56" y="57"/>
                  </a:lnTo>
                  <a:lnTo>
                    <a:pt x="56" y="56"/>
                  </a:lnTo>
                  <a:lnTo>
                    <a:pt x="54" y="54"/>
                  </a:lnTo>
                  <a:lnTo>
                    <a:pt x="54" y="49"/>
                  </a:lnTo>
                  <a:close/>
                  <a:moveTo>
                    <a:pt x="0" y="0"/>
                  </a:moveTo>
                  <a:lnTo>
                    <a:pt x="174" y="0"/>
                  </a:lnTo>
                  <a:lnTo>
                    <a:pt x="175" y="4"/>
                  </a:lnTo>
                  <a:lnTo>
                    <a:pt x="180" y="23"/>
                  </a:lnTo>
                  <a:lnTo>
                    <a:pt x="183" y="30"/>
                  </a:lnTo>
                  <a:lnTo>
                    <a:pt x="186" y="33"/>
                  </a:lnTo>
                  <a:lnTo>
                    <a:pt x="187" y="35"/>
                  </a:lnTo>
                  <a:lnTo>
                    <a:pt x="189" y="43"/>
                  </a:lnTo>
                  <a:lnTo>
                    <a:pt x="190" y="47"/>
                  </a:lnTo>
                  <a:lnTo>
                    <a:pt x="193" y="49"/>
                  </a:lnTo>
                  <a:lnTo>
                    <a:pt x="194" y="53"/>
                  </a:lnTo>
                  <a:lnTo>
                    <a:pt x="195" y="54"/>
                  </a:lnTo>
                  <a:lnTo>
                    <a:pt x="196" y="61"/>
                  </a:lnTo>
                  <a:lnTo>
                    <a:pt x="196" y="66"/>
                  </a:lnTo>
                  <a:lnTo>
                    <a:pt x="199" y="69"/>
                  </a:lnTo>
                  <a:lnTo>
                    <a:pt x="218" y="96"/>
                  </a:lnTo>
                  <a:lnTo>
                    <a:pt x="221" y="102"/>
                  </a:lnTo>
                  <a:lnTo>
                    <a:pt x="227" y="106"/>
                  </a:lnTo>
                  <a:lnTo>
                    <a:pt x="230" y="108"/>
                  </a:lnTo>
                  <a:lnTo>
                    <a:pt x="230" y="109"/>
                  </a:lnTo>
                  <a:lnTo>
                    <a:pt x="231" y="110"/>
                  </a:lnTo>
                  <a:lnTo>
                    <a:pt x="232" y="113"/>
                  </a:lnTo>
                  <a:lnTo>
                    <a:pt x="238" y="119"/>
                  </a:lnTo>
                  <a:lnTo>
                    <a:pt x="238" y="121"/>
                  </a:lnTo>
                  <a:lnTo>
                    <a:pt x="242" y="121"/>
                  </a:lnTo>
                  <a:lnTo>
                    <a:pt x="245" y="124"/>
                  </a:lnTo>
                  <a:lnTo>
                    <a:pt x="247" y="125"/>
                  </a:lnTo>
                  <a:lnTo>
                    <a:pt x="249" y="128"/>
                  </a:lnTo>
                  <a:lnTo>
                    <a:pt x="256" y="127"/>
                  </a:lnTo>
                  <a:lnTo>
                    <a:pt x="256" y="130"/>
                  </a:lnTo>
                  <a:lnTo>
                    <a:pt x="263" y="137"/>
                  </a:lnTo>
                  <a:lnTo>
                    <a:pt x="258" y="137"/>
                  </a:lnTo>
                  <a:lnTo>
                    <a:pt x="256" y="136"/>
                  </a:lnTo>
                  <a:lnTo>
                    <a:pt x="255" y="135"/>
                  </a:lnTo>
                  <a:lnTo>
                    <a:pt x="255" y="139"/>
                  </a:lnTo>
                  <a:lnTo>
                    <a:pt x="257" y="140"/>
                  </a:lnTo>
                  <a:lnTo>
                    <a:pt x="258" y="141"/>
                  </a:lnTo>
                  <a:lnTo>
                    <a:pt x="258" y="143"/>
                  </a:lnTo>
                  <a:lnTo>
                    <a:pt x="256" y="146"/>
                  </a:lnTo>
                  <a:lnTo>
                    <a:pt x="256" y="148"/>
                  </a:lnTo>
                  <a:lnTo>
                    <a:pt x="255" y="149"/>
                  </a:lnTo>
                  <a:lnTo>
                    <a:pt x="255" y="151"/>
                  </a:lnTo>
                  <a:lnTo>
                    <a:pt x="252" y="151"/>
                  </a:lnTo>
                  <a:lnTo>
                    <a:pt x="252" y="152"/>
                  </a:lnTo>
                  <a:lnTo>
                    <a:pt x="253" y="152"/>
                  </a:lnTo>
                  <a:lnTo>
                    <a:pt x="255" y="153"/>
                  </a:lnTo>
                  <a:lnTo>
                    <a:pt x="246" y="151"/>
                  </a:lnTo>
                  <a:lnTo>
                    <a:pt x="239" y="145"/>
                  </a:lnTo>
                  <a:lnTo>
                    <a:pt x="237" y="145"/>
                  </a:lnTo>
                  <a:lnTo>
                    <a:pt x="236" y="147"/>
                  </a:lnTo>
                  <a:lnTo>
                    <a:pt x="234" y="147"/>
                  </a:lnTo>
                  <a:lnTo>
                    <a:pt x="232" y="146"/>
                  </a:lnTo>
                  <a:lnTo>
                    <a:pt x="228" y="141"/>
                  </a:lnTo>
                  <a:lnTo>
                    <a:pt x="226" y="140"/>
                  </a:lnTo>
                  <a:lnTo>
                    <a:pt x="225" y="141"/>
                  </a:lnTo>
                  <a:lnTo>
                    <a:pt x="225" y="142"/>
                  </a:lnTo>
                  <a:lnTo>
                    <a:pt x="227" y="145"/>
                  </a:lnTo>
                  <a:lnTo>
                    <a:pt x="230" y="148"/>
                  </a:lnTo>
                  <a:lnTo>
                    <a:pt x="238" y="151"/>
                  </a:lnTo>
                  <a:lnTo>
                    <a:pt x="240" y="149"/>
                  </a:lnTo>
                  <a:lnTo>
                    <a:pt x="243" y="149"/>
                  </a:lnTo>
                  <a:lnTo>
                    <a:pt x="243" y="153"/>
                  </a:lnTo>
                  <a:lnTo>
                    <a:pt x="245" y="154"/>
                  </a:lnTo>
                  <a:lnTo>
                    <a:pt x="249" y="156"/>
                  </a:lnTo>
                  <a:lnTo>
                    <a:pt x="250" y="158"/>
                  </a:lnTo>
                  <a:lnTo>
                    <a:pt x="250" y="159"/>
                  </a:lnTo>
                  <a:lnTo>
                    <a:pt x="249" y="159"/>
                  </a:lnTo>
                  <a:lnTo>
                    <a:pt x="237" y="154"/>
                  </a:lnTo>
                  <a:lnTo>
                    <a:pt x="224" y="149"/>
                  </a:lnTo>
                  <a:lnTo>
                    <a:pt x="219" y="145"/>
                  </a:lnTo>
                  <a:lnTo>
                    <a:pt x="219" y="147"/>
                  </a:lnTo>
                  <a:lnTo>
                    <a:pt x="224" y="149"/>
                  </a:lnTo>
                  <a:lnTo>
                    <a:pt x="221" y="151"/>
                  </a:lnTo>
                  <a:lnTo>
                    <a:pt x="219" y="149"/>
                  </a:lnTo>
                  <a:lnTo>
                    <a:pt x="215" y="146"/>
                  </a:lnTo>
                  <a:lnTo>
                    <a:pt x="214" y="142"/>
                  </a:lnTo>
                  <a:lnTo>
                    <a:pt x="215" y="141"/>
                  </a:lnTo>
                  <a:lnTo>
                    <a:pt x="215" y="137"/>
                  </a:lnTo>
                  <a:lnTo>
                    <a:pt x="218" y="137"/>
                  </a:lnTo>
                  <a:lnTo>
                    <a:pt x="218" y="135"/>
                  </a:lnTo>
                  <a:lnTo>
                    <a:pt x="213" y="135"/>
                  </a:lnTo>
                  <a:lnTo>
                    <a:pt x="213" y="137"/>
                  </a:lnTo>
                  <a:lnTo>
                    <a:pt x="212" y="139"/>
                  </a:lnTo>
                  <a:lnTo>
                    <a:pt x="212" y="140"/>
                  </a:lnTo>
                  <a:lnTo>
                    <a:pt x="211" y="140"/>
                  </a:lnTo>
                  <a:lnTo>
                    <a:pt x="207" y="137"/>
                  </a:lnTo>
                  <a:lnTo>
                    <a:pt x="205" y="136"/>
                  </a:lnTo>
                  <a:lnTo>
                    <a:pt x="202" y="136"/>
                  </a:lnTo>
                  <a:lnTo>
                    <a:pt x="203" y="137"/>
                  </a:lnTo>
                  <a:lnTo>
                    <a:pt x="203" y="139"/>
                  </a:lnTo>
                  <a:lnTo>
                    <a:pt x="205" y="140"/>
                  </a:lnTo>
                  <a:lnTo>
                    <a:pt x="207" y="140"/>
                  </a:lnTo>
                  <a:lnTo>
                    <a:pt x="207" y="141"/>
                  </a:lnTo>
                  <a:lnTo>
                    <a:pt x="202" y="140"/>
                  </a:lnTo>
                  <a:lnTo>
                    <a:pt x="202" y="142"/>
                  </a:lnTo>
                  <a:lnTo>
                    <a:pt x="203" y="143"/>
                  </a:lnTo>
                  <a:lnTo>
                    <a:pt x="207" y="143"/>
                  </a:lnTo>
                  <a:lnTo>
                    <a:pt x="206" y="146"/>
                  </a:lnTo>
                  <a:lnTo>
                    <a:pt x="203" y="146"/>
                  </a:lnTo>
                  <a:lnTo>
                    <a:pt x="203" y="147"/>
                  </a:lnTo>
                  <a:lnTo>
                    <a:pt x="205" y="148"/>
                  </a:lnTo>
                  <a:lnTo>
                    <a:pt x="209" y="148"/>
                  </a:lnTo>
                  <a:lnTo>
                    <a:pt x="209" y="146"/>
                  </a:lnTo>
                  <a:lnTo>
                    <a:pt x="207" y="143"/>
                  </a:lnTo>
                  <a:lnTo>
                    <a:pt x="212" y="145"/>
                  </a:lnTo>
                  <a:lnTo>
                    <a:pt x="214" y="146"/>
                  </a:lnTo>
                  <a:lnTo>
                    <a:pt x="215" y="149"/>
                  </a:lnTo>
                  <a:lnTo>
                    <a:pt x="213" y="149"/>
                  </a:lnTo>
                  <a:lnTo>
                    <a:pt x="213" y="151"/>
                  </a:lnTo>
                  <a:lnTo>
                    <a:pt x="218" y="153"/>
                  </a:lnTo>
                  <a:lnTo>
                    <a:pt x="221" y="154"/>
                  </a:lnTo>
                  <a:lnTo>
                    <a:pt x="221" y="158"/>
                  </a:lnTo>
                  <a:lnTo>
                    <a:pt x="219" y="158"/>
                  </a:lnTo>
                  <a:lnTo>
                    <a:pt x="215" y="161"/>
                  </a:lnTo>
                  <a:lnTo>
                    <a:pt x="214" y="161"/>
                  </a:lnTo>
                  <a:lnTo>
                    <a:pt x="211" y="159"/>
                  </a:lnTo>
                  <a:lnTo>
                    <a:pt x="215" y="159"/>
                  </a:lnTo>
                  <a:lnTo>
                    <a:pt x="213" y="158"/>
                  </a:lnTo>
                  <a:lnTo>
                    <a:pt x="213" y="156"/>
                  </a:lnTo>
                  <a:lnTo>
                    <a:pt x="214" y="158"/>
                  </a:lnTo>
                  <a:lnTo>
                    <a:pt x="216" y="158"/>
                  </a:lnTo>
                  <a:lnTo>
                    <a:pt x="218" y="156"/>
                  </a:lnTo>
                  <a:lnTo>
                    <a:pt x="216" y="154"/>
                  </a:lnTo>
                  <a:lnTo>
                    <a:pt x="214" y="154"/>
                  </a:lnTo>
                  <a:lnTo>
                    <a:pt x="212" y="155"/>
                  </a:lnTo>
                  <a:lnTo>
                    <a:pt x="208" y="154"/>
                  </a:lnTo>
                  <a:lnTo>
                    <a:pt x="206" y="153"/>
                  </a:lnTo>
                  <a:lnTo>
                    <a:pt x="200" y="147"/>
                  </a:lnTo>
                  <a:lnTo>
                    <a:pt x="197" y="146"/>
                  </a:lnTo>
                  <a:lnTo>
                    <a:pt x="195" y="148"/>
                  </a:lnTo>
                  <a:lnTo>
                    <a:pt x="200" y="151"/>
                  </a:lnTo>
                  <a:lnTo>
                    <a:pt x="201" y="153"/>
                  </a:lnTo>
                  <a:lnTo>
                    <a:pt x="201" y="155"/>
                  </a:lnTo>
                  <a:lnTo>
                    <a:pt x="199" y="154"/>
                  </a:lnTo>
                  <a:lnTo>
                    <a:pt x="195" y="152"/>
                  </a:lnTo>
                  <a:lnTo>
                    <a:pt x="193" y="147"/>
                  </a:lnTo>
                  <a:lnTo>
                    <a:pt x="190" y="145"/>
                  </a:lnTo>
                  <a:lnTo>
                    <a:pt x="187" y="143"/>
                  </a:lnTo>
                  <a:lnTo>
                    <a:pt x="186" y="142"/>
                  </a:lnTo>
                  <a:lnTo>
                    <a:pt x="188" y="148"/>
                  </a:lnTo>
                  <a:lnTo>
                    <a:pt x="194" y="152"/>
                  </a:lnTo>
                  <a:lnTo>
                    <a:pt x="196" y="156"/>
                  </a:lnTo>
                  <a:lnTo>
                    <a:pt x="195" y="158"/>
                  </a:lnTo>
                  <a:lnTo>
                    <a:pt x="191" y="154"/>
                  </a:lnTo>
                  <a:lnTo>
                    <a:pt x="190" y="154"/>
                  </a:lnTo>
                  <a:lnTo>
                    <a:pt x="189" y="156"/>
                  </a:lnTo>
                  <a:lnTo>
                    <a:pt x="188" y="155"/>
                  </a:lnTo>
                  <a:lnTo>
                    <a:pt x="188" y="153"/>
                  </a:lnTo>
                  <a:lnTo>
                    <a:pt x="182" y="153"/>
                  </a:lnTo>
                  <a:lnTo>
                    <a:pt x="181" y="152"/>
                  </a:lnTo>
                  <a:lnTo>
                    <a:pt x="182" y="151"/>
                  </a:lnTo>
                  <a:lnTo>
                    <a:pt x="181" y="148"/>
                  </a:lnTo>
                  <a:lnTo>
                    <a:pt x="183" y="149"/>
                  </a:lnTo>
                  <a:lnTo>
                    <a:pt x="184" y="149"/>
                  </a:lnTo>
                  <a:lnTo>
                    <a:pt x="186" y="148"/>
                  </a:lnTo>
                  <a:lnTo>
                    <a:pt x="184" y="146"/>
                  </a:lnTo>
                  <a:lnTo>
                    <a:pt x="183" y="142"/>
                  </a:lnTo>
                  <a:lnTo>
                    <a:pt x="183" y="141"/>
                  </a:lnTo>
                  <a:lnTo>
                    <a:pt x="180" y="140"/>
                  </a:lnTo>
                  <a:lnTo>
                    <a:pt x="178" y="136"/>
                  </a:lnTo>
                  <a:lnTo>
                    <a:pt x="177" y="137"/>
                  </a:lnTo>
                  <a:lnTo>
                    <a:pt x="177" y="140"/>
                  </a:lnTo>
                  <a:lnTo>
                    <a:pt x="180" y="140"/>
                  </a:lnTo>
                  <a:lnTo>
                    <a:pt x="182" y="145"/>
                  </a:lnTo>
                  <a:lnTo>
                    <a:pt x="172" y="140"/>
                  </a:lnTo>
                  <a:lnTo>
                    <a:pt x="171" y="139"/>
                  </a:lnTo>
                  <a:lnTo>
                    <a:pt x="170" y="136"/>
                  </a:lnTo>
                  <a:lnTo>
                    <a:pt x="170" y="135"/>
                  </a:lnTo>
                  <a:lnTo>
                    <a:pt x="169" y="135"/>
                  </a:lnTo>
                  <a:lnTo>
                    <a:pt x="169" y="136"/>
                  </a:lnTo>
                  <a:lnTo>
                    <a:pt x="166" y="139"/>
                  </a:lnTo>
                  <a:lnTo>
                    <a:pt x="166" y="141"/>
                  </a:lnTo>
                  <a:lnTo>
                    <a:pt x="168" y="141"/>
                  </a:lnTo>
                  <a:lnTo>
                    <a:pt x="170" y="143"/>
                  </a:lnTo>
                  <a:lnTo>
                    <a:pt x="171" y="147"/>
                  </a:lnTo>
                  <a:lnTo>
                    <a:pt x="170" y="147"/>
                  </a:lnTo>
                  <a:lnTo>
                    <a:pt x="169" y="143"/>
                  </a:lnTo>
                  <a:lnTo>
                    <a:pt x="163" y="143"/>
                  </a:lnTo>
                  <a:lnTo>
                    <a:pt x="162" y="145"/>
                  </a:lnTo>
                  <a:lnTo>
                    <a:pt x="162" y="148"/>
                  </a:lnTo>
                  <a:lnTo>
                    <a:pt x="164" y="152"/>
                  </a:lnTo>
                  <a:lnTo>
                    <a:pt x="164" y="153"/>
                  </a:lnTo>
                  <a:lnTo>
                    <a:pt x="163" y="153"/>
                  </a:lnTo>
                  <a:lnTo>
                    <a:pt x="163" y="156"/>
                  </a:lnTo>
                  <a:lnTo>
                    <a:pt x="160" y="156"/>
                  </a:lnTo>
                  <a:lnTo>
                    <a:pt x="160" y="159"/>
                  </a:lnTo>
                  <a:lnTo>
                    <a:pt x="158" y="160"/>
                  </a:lnTo>
                  <a:lnTo>
                    <a:pt x="156" y="158"/>
                  </a:lnTo>
                  <a:lnTo>
                    <a:pt x="153" y="154"/>
                  </a:lnTo>
                  <a:lnTo>
                    <a:pt x="151" y="152"/>
                  </a:lnTo>
                  <a:lnTo>
                    <a:pt x="151" y="149"/>
                  </a:lnTo>
                  <a:lnTo>
                    <a:pt x="147" y="149"/>
                  </a:lnTo>
                  <a:lnTo>
                    <a:pt x="147" y="148"/>
                  </a:lnTo>
                  <a:lnTo>
                    <a:pt x="146" y="147"/>
                  </a:lnTo>
                  <a:lnTo>
                    <a:pt x="143" y="146"/>
                  </a:lnTo>
                  <a:lnTo>
                    <a:pt x="143" y="145"/>
                  </a:lnTo>
                  <a:lnTo>
                    <a:pt x="140" y="142"/>
                  </a:lnTo>
                  <a:lnTo>
                    <a:pt x="140" y="141"/>
                  </a:lnTo>
                  <a:lnTo>
                    <a:pt x="139" y="139"/>
                  </a:lnTo>
                  <a:lnTo>
                    <a:pt x="139" y="134"/>
                  </a:lnTo>
                  <a:lnTo>
                    <a:pt x="138" y="133"/>
                  </a:lnTo>
                  <a:lnTo>
                    <a:pt x="134" y="131"/>
                  </a:lnTo>
                  <a:lnTo>
                    <a:pt x="133" y="128"/>
                  </a:lnTo>
                  <a:lnTo>
                    <a:pt x="131" y="125"/>
                  </a:lnTo>
                  <a:lnTo>
                    <a:pt x="132" y="128"/>
                  </a:lnTo>
                  <a:lnTo>
                    <a:pt x="133" y="129"/>
                  </a:lnTo>
                  <a:lnTo>
                    <a:pt x="133" y="131"/>
                  </a:lnTo>
                  <a:lnTo>
                    <a:pt x="131" y="130"/>
                  </a:lnTo>
                  <a:lnTo>
                    <a:pt x="129" y="130"/>
                  </a:lnTo>
                  <a:lnTo>
                    <a:pt x="129" y="137"/>
                  </a:lnTo>
                  <a:lnTo>
                    <a:pt x="137" y="142"/>
                  </a:lnTo>
                  <a:lnTo>
                    <a:pt x="135" y="142"/>
                  </a:lnTo>
                  <a:lnTo>
                    <a:pt x="135" y="143"/>
                  </a:lnTo>
                  <a:lnTo>
                    <a:pt x="137" y="145"/>
                  </a:lnTo>
                  <a:lnTo>
                    <a:pt x="139" y="145"/>
                  </a:lnTo>
                  <a:lnTo>
                    <a:pt x="140" y="146"/>
                  </a:lnTo>
                  <a:lnTo>
                    <a:pt x="141" y="148"/>
                  </a:lnTo>
                  <a:lnTo>
                    <a:pt x="137" y="147"/>
                  </a:lnTo>
                  <a:lnTo>
                    <a:pt x="133" y="145"/>
                  </a:lnTo>
                  <a:lnTo>
                    <a:pt x="132" y="143"/>
                  </a:lnTo>
                  <a:lnTo>
                    <a:pt x="132" y="140"/>
                  </a:lnTo>
                  <a:lnTo>
                    <a:pt x="129" y="140"/>
                  </a:lnTo>
                  <a:lnTo>
                    <a:pt x="121" y="131"/>
                  </a:lnTo>
                  <a:lnTo>
                    <a:pt x="121" y="136"/>
                  </a:lnTo>
                  <a:lnTo>
                    <a:pt x="120" y="137"/>
                  </a:lnTo>
                  <a:lnTo>
                    <a:pt x="119" y="137"/>
                  </a:lnTo>
                  <a:lnTo>
                    <a:pt x="115" y="134"/>
                  </a:lnTo>
                  <a:lnTo>
                    <a:pt x="113" y="136"/>
                  </a:lnTo>
                  <a:lnTo>
                    <a:pt x="112" y="135"/>
                  </a:lnTo>
                  <a:lnTo>
                    <a:pt x="109" y="134"/>
                  </a:lnTo>
                  <a:lnTo>
                    <a:pt x="103" y="125"/>
                  </a:lnTo>
                  <a:lnTo>
                    <a:pt x="102" y="125"/>
                  </a:lnTo>
                  <a:lnTo>
                    <a:pt x="102" y="128"/>
                  </a:lnTo>
                  <a:lnTo>
                    <a:pt x="101" y="128"/>
                  </a:lnTo>
                  <a:lnTo>
                    <a:pt x="98" y="129"/>
                  </a:lnTo>
                  <a:lnTo>
                    <a:pt x="97" y="129"/>
                  </a:lnTo>
                  <a:lnTo>
                    <a:pt x="97" y="128"/>
                  </a:lnTo>
                  <a:lnTo>
                    <a:pt x="94" y="124"/>
                  </a:lnTo>
                  <a:lnTo>
                    <a:pt x="91" y="124"/>
                  </a:lnTo>
                  <a:lnTo>
                    <a:pt x="90" y="123"/>
                  </a:lnTo>
                  <a:lnTo>
                    <a:pt x="91" y="123"/>
                  </a:lnTo>
                  <a:lnTo>
                    <a:pt x="91" y="122"/>
                  </a:lnTo>
                  <a:lnTo>
                    <a:pt x="90" y="122"/>
                  </a:lnTo>
                  <a:lnTo>
                    <a:pt x="90" y="128"/>
                  </a:lnTo>
                  <a:lnTo>
                    <a:pt x="89" y="127"/>
                  </a:lnTo>
                  <a:lnTo>
                    <a:pt x="87" y="125"/>
                  </a:lnTo>
                  <a:lnTo>
                    <a:pt x="84" y="122"/>
                  </a:lnTo>
                  <a:lnTo>
                    <a:pt x="83" y="121"/>
                  </a:lnTo>
                  <a:lnTo>
                    <a:pt x="79" y="119"/>
                  </a:lnTo>
                  <a:lnTo>
                    <a:pt x="89" y="119"/>
                  </a:lnTo>
                  <a:lnTo>
                    <a:pt x="90" y="118"/>
                  </a:lnTo>
                  <a:lnTo>
                    <a:pt x="90" y="117"/>
                  </a:lnTo>
                  <a:lnTo>
                    <a:pt x="91" y="117"/>
                  </a:lnTo>
                  <a:lnTo>
                    <a:pt x="93" y="118"/>
                  </a:lnTo>
                  <a:lnTo>
                    <a:pt x="95" y="122"/>
                  </a:lnTo>
                  <a:lnTo>
                    <a:pt x="95" y="124"/>
                  </a:lnTo>
                  <a:lnTo>
                    <a:pt x="96" y="124"/>
                  </a:lnTo>
                  <a:lnTo>
                    <a:pt x="97" y="123"/>
                  </a:lnTo>
                  <a:lnTo>
                    <a:pt x="96" y="121"/>
                  </a:lnTo>
                  <a:lnTo>
                    <a:pt x="95" y="119"/>
                  </a:lnTo>
                  <a:lnTo>
                    <a:pt x="95" y="117"/>
                  </a:lnTo>
                  <a:lnTo>
                    <a:pt x="97" y="112"/>
                  </a:lnTo>
                  <a:lnTo>
                    <a:pt x="97" y="111"/>
                  </a:lnTo>
                  <a:lnTo>
                    <a:pt x="98" y="110"/>
                  </a:lnTo>
                  <a:lnTo>
                    <a:pt x="97" y="106"/>
                  </a:lnTo>
                  <a:lnTo>
                    <a:pt x="95" y="102"/>
                  </a:lnTo>
                  <a:lnTo>
                    <a:pt x="90" y="97"/>
                  </a:lnTo>
                  <a:lnTo>
                    <a:pt x="88" y="93"/>
                  </a:lnTo>
                  <a:lnTo>
                    <a:pt x="88" y="91"/>
                  </a:lnTo>
                  <a:lnTo>
                    <a:pt x="90" y="92"/>
                  </a:lnTo>
                  <a:lnTo>
                    <a:pt x="96" y="92"/>
                  </a:lnTo>
                  <a:lnTo>
                    <a:pt x="95" y="91"/>
                  </a:lnTo>
                  <a:lnTo>
                    <a:pt x="96" y="90"/>
                  </a:lnTo>
                  <a:lnTo>
                    <a:pt x="98" y="92"/>
                  </a:lnTo>
                  <a:lnTo>
                    <a:pt x="101" y="92"/>
                  </a:lnTo>
                  <a:lnTo>
                    <a:pt x="106" y="96"/>
                  </a:lnTo>
                  <a:lnTo>
                    <a:pt x="107" y="96"/>
                  </a:lnTo>
                  <a:lnTo>
                    <a:pt x="102" y="88"/>
                  </a:lnTo>
                  <a:lnTo>
                    <a:pt x="101" y="85"/>
                  </a:lnTo>
                  <a:lnTo>
                    <a:pt x="107" y="84"/>
                  </a:lnTo>
                  <a:lnTo>
                    <a:pt x="109" y="85"/>
                  </a:lnTo>
                  <a:lnTo>
                    <a:pt x="112" y="87"/>
                  </a:lnTo>
                  <a:lnTo>
                    <a:pt x="108" y="86"/>
                  </a:lnTo>
                  <a:lnTo>
                    <a:pt x="107" y="86"/>
                  </a:lnTo>
                  <a:lnTo>
                    <a:pt x="106" y="88"/>
                  </a:lnTo>
                  <a:lnTo>
                    <a:pt x="107" y="90"/>
                  </a:lnTo>
                  <a:lnTo>
                    <a:pt x="109" y="88"/>
                  </a:lnTo>
                  <a:lnTo>
                    <a:pt x="113" y="90"/>
                  </a:lnTo>
                  <a:lnTo>
                    <a:pt x="119" y="87"/>
                  </a:lnTo>
                  <a:lnTo>
                    <a:pt x="120" y="87"/>
                  </a:lnTo>
                  <a:lnTo>
                    <a:pt x="119" y="86"/>
                  </a:lnTo>
                  <a:lnTo>
                    <a:pt x="119" y="85"/>
                  </a:lnTo>
                  <a:lnTo>
                    <a:pt x="118" y="85"/>
                  </a:lnTo>
                  <a:lnTo>
                    <a:pt x="116" y="86"/>
                  </a:lnTo>
                  <a:lnTo>
                    <a:pt x="115" y="86"/>
                  </a:lnTo>
                  <a:lnTo>
                    <a:pt x="112" y="85"/>
                  </a:lnTo>
                  <a:lnTo>
                    <a:pt x="110" y="84"/>
                  </a:lnTo>
                  <a:lnTo>
                    <a:pt x="109" y="81"/>
                  </a:lnTo>
                  <a:lnTo>
                    <a:pt x="110" y="81"/>
                  </a:lnTo>
                  <a:lnTo>
                    <a:pt x="110" y="79"/>
                  </a:lnTo>
                  <a:lnTo>
                    <a:pt x="112" y="78"/>
                  </a:lnTo>
                  <a:lnTo>
                    <a:pt x="113" y="78"/>
                  </a:lnTo>
                  <a:lnTo>
                    <a:pt x="112" y="75"/>
                  </a:lnTo>
                  <a:lnTo>
                    <a:pt x="115" y="75"/>
                  </a:lnTo>
                  <a:lnTo>
                    <a:pt x="112" y="72"/>
                  </a:lnTo>
                  <a:lnTo>
                    <a:pt x="110" y="73"/>
                  </a:lnTo>
                  <a:lnTo>
                    <a:pt x="110" y="74"/>
                  </a:lnTo>
                  <a:lnTo>
                    <a:pt x="108" y="79"/>
                  </a:lnTo>
                  <a:lnTo>
                    <a:pt x="107" y="80"/>
                  </a:lnTo>
                  <a:lnTo>
                    <a:pt x="106" y="80"/>
                  </a:lnTo>
                  <a:lnTo>
                    <a:pt x="104" y="79"/>
                  </a:lnTo>
                  <a:lnTo>
                    <a:pt x="104" y="76"/>
                  </a:lnTo>
                  <a:lnTo>
                    <a:pt x="103" y="75"/>
                  </a:lnTo>
                  <a:lnTo>
                    <a:pt x="101" y="75"/>
                  </a:lnTo>
                  <a:lnTo>
                    <a:pt x="102" y="76"/>
                  </a:lnTo>
                  <a:lnTo>
                    <a:pt x="102" y="82"/>
                  </a:lnTo>
                  <a:lnTo>
                    <a:pt x="101" y="82"/>
                  </a:lnTo>
                  <a:lnTo>
                    <a:pt x="98" y="80"/>
                  </a:lnTo>
                  <a:lnTo>
                    <a:pt x="97" y="80"/>
                  </a:lnTo>
                  <a:lnTo>
                    <a:pt x="97" y="78"/>
                  </a:lnTo>
                  <a:lnTo>
                    <a:pt x="95" y="76"/>
                  </a:lnTo>
                  <a:lnTo>
                    <a:pt x="95" y="75"/>
                  </a:lnTo>
                  <a:lnTo>
                    <a:pt x="94" y="75"/>
                  </a:lnTo>
                  <a:lnTo>
                    <a:pt x="91" y="76"/>
                  </a:lnTo>
                  <a:lnTo>
                    <a:pt x="90" y="75"/>
                  </a:lnTo>
                  <a:lnTo>
                    <a:pt x="90" y="74"/>
                  </a:lnTo>
                  <a:lnTo>
                    <a:pt x="89" y="73"/>
                  </a:lnTo>
                  <a:lnTo>
                    <a:pt x="87" y="69"/>
                  </a:lnTo>
                  <a:lnTo>
                    <a:pt x="87" y="68"/>
                  </a:lnTo>
                  <a:lnTo>
                    <a:pt x="91" y="65"/>
                  </a:lnTo>
                  <a:lnTo>
                    <a:pt x="93" y="63"/>
                  </a:lnTo>
                  <a:lnTo>
                    <a:pt x="93" y="61"/>
                  </a:lnTo>
                  <a:lnTo>
                    <a:pt x="95" y="57"/>
                  </a:lnTo>
                  <a:lnTo>
                    <a:pt x="95" y="54"/>
                  </a:lnTo>
                  <a:lnTo>
                    <a:pt x="96" y="50"/>
                  </a:lnTo>
                  <a:lnTo>
                    <a:pt x="97" y="49"/>
                  </a:lnTo>
                  <a:lnTo>
                    <a:pt x="104" y="48"/>
                  </a:lnTo>
                  <a:lnTo>
                    <a:pt x="106" y="45"/>
                  </a:lnTo>
                  <a:lnTo>
                    <a:pt x="107" y="42"/>
                  </a:lnTo>
                  <a:lnTo>
                    <a:pt x="106" y="41"/>
                  </a:lnTo>
                  <a:lnTo>
                    <a:pt x="104" y="41"/>
                  </a:lnTo>
                  <a:lnTo>
                    <a:pt x="104" y="42"/>
                  </a:lnTo>
                  <a:lnTo>
                    <a:pt x="102" y="45"/>
                  </a:lnTo>
                  <a:lnTo>
                    <a:pt x="91" y="51"/>
                  </a:lnTo>
                  <a:lnTo>
                    <a:pt x="90" y="53"/>
                  </a:lnTo>
                  <a:lnTo>
                    <a:pt x="90" y="61"/>
                  </a:lnTo>
                  <a:lnTo>
                    <a:pt x="88" y="63"/>
                  </a:lnTo>
                  <a:lnTo>
                    <a:pt x="84" y="62"/>
                  </a:lnTo>
                  <a:lnTo>
                    <a:pt x="82" y="60"/>
                  </a:lnTo>
                  <a:lnTo>
                    <a:pt x="82" y="55"/>
                  </a:lnTo>
                  <a:lnTo>
                    <a:pt x="81" y="51"/>
                  </a:lnTo>
                  <a:lnTo>
                    <a:pt x="78" y="43"/>
                  </a:lnTo>
                  <a:lnTo>
                    <a:pt x="81" y="41"/>
                  </a:lnTo>
                  <a:lnTo>
                    <a:pt x="81" y="37"/>
                  </a:lnTo>
                  <a:lnTo>
                    <a:pt x="82" y="35"/>
                  </a:lnTo>
                  <a:lnTo>
                    <a:pt x="85" y="31"/>
                  </a:lnTo>
                  <a:lnTo>
                    <a:pt x="83" y="27"/>
                  </a:lnTo>
                  <a:lnTo>
                    <a:pt x="82" y="27"/>
                  </a:lnTo>
                  <a:lnTo>
                    <a:pt x="76" y="36"/>
                  </a:lnTo>
                  <a:lnTo>
                    <a:pt x="75" y="38"/>
                  </a:lnTo>
                  <a:lnTo>
                    <a:pt x="73" y="42"/>
                  </a:lnTo>
                  <a:lnTo>
                    <a:pt x="73" y="45"/>
                  </a:lnTo>
                  <a:lnTo>
                    <a:pt x="72" y="47"/>
                  </a:lnTo>
                  <a:lnTo>
                    <a:pt x="72" y="48"/>
                  </a:lnTo>
                  <a:lnTo>
                    <a:pt x="71" y="47"/>
                  </a:lnTo>
                  <a:lnTo>
                    <a:pt x="71" y="42"/>
                  </a:lnTo>
                  <a:lnTo>
                    <a:pt x="69" y="39"/>
                  </a:lnTo>
                  <a:lnTo>
                    <a:pt x="70" y="37"/>
                  </a:lnTo>
                  <a:lnTo>
                    <a:pt x="69" y="37"/>
                  </a:lnTo>
                  <a:lnTo>
                    <a:pt x="68" y="38"/>
                  </a:lnTo>
                  <a:lnTo>
                    <a:pt x="68" y="41"/>
                  </a:lnTo>
                  <a:lnTo>
                    <a:pt x="69" y="42"/>
                  </a:lnTo>
                  <a:lnTo>
                    <a:pt x="69" y="44"/>
                  </a:lnTo>
                  <a:lnTo>
                    <a:pt x="66" y="44"/>
                  </a:lnTo>
                  <a:lnTo>
                    <a:pt x="66" y="49"/>
                  </a:lnTo>
                  <a:lnTo>
                    <a:pt x="65" y="50"/>
                  </a:lnTo>
                  <a:lnTo>
                    <a:pt x="65" y="49"/>
                  </a:lnTo>
                  <a:lnTo>
                    <a:pt x="64" y="49"/>
                  </a:lnTo>
                  <a:lnTo>
                    <a:pt x="63" y="51"/>
                  </a:lnTo>
                  <a:lnTo>
                    <a:pt x="62" y="51"/>
                  </a:lnTo>
                  <a:lnTo>
                    <a:pt x="62" y="43"/>
                  </a:lnTo>
                  <a:lnTo>
                    <a:pt x="59" y="41"/>
                  </a:lnTo>
                  <a:lnTo>
                    <a:pt x="58" y="42"/>
                  </a:lnTo>
                  <a:lnTo>
                    <a:pt x="59" y="47"/>
                  </a:lnTo>
                  <a:lnTo>
                    <a:pt x="57" y="45"/>
                  </a:lnTo>
                  <a:lnTo>
                    <a:pt x="56" y="44"/>
                  </a:lnTo>
                  <a:lnTo>
                    <a:pt x="56" y="38"/>
                  </a:lnTo>
                  <a:lnTo>
                    <a:pt x="52" y="42"/>
                  </a:lnTo>
                  <a:lnTo>
                    <a:pt x="51" y="41"/>
                  </a:lnTo>
                  <a:lnTo>
                    <a:pt x="51" y="38"/>
                  </a:lnTo>
                  <a:lnTo>
                    <a:pt x="52" y="36"/>
                  </a:lnTo>
                  <a:lnTo>
                    <a:pt x="52" y="31"/>
                  </a:lnTo>
                  <a:lnTo>
                    <a:pt x="51" y="29"/>
                  </a:lnTo>
                  <a:lnTo>
                    <a:pt x="50" y="27"/>
                  </a:lnTo>
                  <a:lnTo>
                    <a:pt x="48" y="25"/>
                  </a:lnTo>
                  <a:lnTo>
                    <a:pt x="48" y="19"/>
                  </a:lnTo>
                  <a:lnTo>
                    <a:pt x="47" y="20"/>
                  </a:lnTo>
                  <a:lnTo>
                    <a:pt x="46" y="23"/>
                  </a:lnTo>
                  <a:lnTo>
                    <a:pt x="46" y="29"/>
                  </a:lnTo>
                  <a:lnTo>
                    <a:pt x="45" y="30"/>
                  </a:lnTo>
                  <a:lnTo>
                    <a:pt x="41" y="30"/>
                  </a:lnTo>
                  <a:lnTo>
                    <a:pt x="40" y="32"/>
                  </a:lnTo>
                  <a:lnTo>
                    <a:pt x="40" y="36"/>
                  </a:lnTo>
                  <a:lnTo>
                    <a:pt x="42" y="38"/>
                  </a:lnTo>
                  <a:lnTo>
                    <a:pt x="42" y="41"/>
                  </a:lnTo>
                  <a:lnTo>
                    <a:pt x="41" y="39"/>
                  </a:lnTo>
                  <a:lnTo>
                    <a:pt x="39" y="38"/>
                  </a:lnTo>
                  <a:lnTo>
                    <a:pt x="37" y="35"/>
                  </a:lnTo>
                  <a:lnTo>
                    <a:pt x="35" y="32"/>
                  </a:lnTo>
                  <a:lnTo>
                    <a:pt x="37" y="27"/>
                  </a:lnTo>
                  <a:lnTo>
                    <a:pt x="37" y="25"/>
                  </a:lnTo>
                  <a:lnTo>
                    <a:pt x="35" y="26"/>
                  </a:lnTo>
                  <a:lnTo>
                    <a:pt x="33" y="30"/>
                  </a:lnTo>
                  <a:lnTo>
                    <a:pt x="32" y="31"/>
                  </a:lnTo>
                  <a:lnTo>
                    <a:pt x="31" y="31"/>
                  </a:lnTo>
                  <a:lnTo>
                    <a:pt x="32" y="35"/>
                  </a:lnTo>
                  <a:lnTo>
                    <a:pt x="33" y="37"/>
                  </a:lnTo>
                  <a:lnTo>
                    <a:pt x="35" y="38"/>
                  </a:lnTo>
                  <a:lnTo>
                    <a:pt x="37" y="41"/>
                  </a:lnTo>
                  <a:lnTo>
                    <a:pt x="31" y="39"/>
                  </a:lnTo>
                  <a:lnTo>
                    <a:pt x="27" y="41"/>
                  </a:lnTo>
                  <a:lnTo>
                    <a:pt x="23" y="39"/>
                  </a:lnTo>
                  <a:lnTo>
                    <a:pt x="21" y="42"/>
                  </a:lnTo>
                  <a:lnTo>
                    <a:pt x="19" y="43"/>
                  </a:lnTo>
                  <a:lnTo>
                    <a:pt x="16" y="41"/>
                  </a:lnTo>
                  <a:lnTo>
                    <a:pt x="16" y="38"/>
                  </a:lnTo>
                  <a:lnTo>
                    <a:pt x="11" y="33"/>
                  </a:lnTo>
                  <a:lnTo>
                    <a:pt x="8" y="32"/>
                  </a:lnTo>
                  <a:lnTo>
                    <a:pt x="6" y="29"/>
                  </a:lnTo>
                  <a:lnTo>
                    <a:pt x="6" y="19"/>
                  </a:lnTo>
                  <a:lnTo>
                    <a:pt x="4" y="18"/>
                  </a:lnTo>
                  <a:lnTo>
                    <a:pt x="2" y="11"/>
                  </a:lnTo>
                  <a:lnTo>
                    <a:pt x="2" y="10"/>
                  </a:lnTo>
                  <a:lnTo>
                    <a:pt x="3" y="8"/>
                  </a:lnTo>
                  <a:lnTo>
                    <a:pt x="1" y="6"/>
                  </a:lnTo>
                  <a:lnTo>
                    <a:pt x="1" y="4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0">
              <a:extLst>
                <a:ext uri="{FF2B5EF4-FFF2-40B4-BE49-F238E27FC236}">
                  <a16:creationId xmlns:a16="http://schemas.microsoft.com/office/drawing/2014/main" id="{2BED5E64-D203-4B5E-A23E-C6AAE9FDE4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02325" y="4632325"/>
              <a:ext cx="633413" cy="444500"/>
            </a:xfrm>
            <a:custGeom>
              <a:avLst/>
              <a:gdLst/>
              <a:ahLst/>
              <a:cxnLst>
                <a:cxn ang="0">
                  <a:pos x="366" y="220"/>
                </a:cxn>
                <a:cxn ang="0">
                  <a:pos x="274" y="1"/>
                </a:cxn>
                <a:cxn ang="0">
                  <a:pos x="287" y="8"/>
                </a:cxn>
                <a:cxn ang="0">
                  <a:pos x="291" y="15"/>
                </a:cxn>
                <a:cxn ang="0">
                  <a:pos x="294" y="28"/>
                </a:cxn>
                <a:cxn ang="0">
                  <a:pos x="303" y="43"/>
                </a:cxn>
                <a:cxn ang="0">
                  <a:pos x="310" y="54"/>
                </a:cxn>
                <a:cxn ang="0">
                  <a:pos x="318" y="69"/>
                </a:cxn>
                <a:cxn ang="0">
                  <a:pos x="331" y="85"/>
                </a:cxn>
                <a:cxn ang="0">
                  <a:pos x="337" y="117"/>
                </a:cxn>
                <a:cxn ang="0">
                  <a:pos x="331" y="135"/>
                </a:cxn>
                <a:cxn ang="0">
                  <a:pos x="334" y="167"/>
                </a:cxn>
                <a:cxn ang="0">
                  <a:pos x="343" y="182"/>
                </a:cxn>
                <a:cxn ang="0">
                  <a:pos x="361" y="181"/>
                </a:cxn>
                <a:cxn ang="0">
                  <a:pos x="375" y="178"/>
                </a:cxn>
                <a:cxn ang="0">
                  <a:pos x="397" y="186"/>
                </a:cxn>
                <a:cxn ang="0">
                  <a:pos x="397" y="199"/>
                </a:cxn>
                <a:cxn ang="0">
                  <a:pos x="378" y="212"/>
                </a:cxn>
                <a:cxn ang="0">
                  <a:pos x="375" y="210"/>
                </a:cxn>
                <a:cxn ang="0">
                  <a:pos x="368" y="202"/>
                </a:cxn>
                <a:cxn ang="0">
                  <a:pos x="367" y="211"/>
                </a:cxn>
                <a:cxn ang="0">
                  <a:pos x="360" y="221"/>
                </a:cxn>
                <a:cxn ang="0">
                  <a:pos x="359" y="229"/>
                </a:cxn>
                <a:cxn ang="0">
                  <a:pos x="358" y="237"/>
                </a:cxn>
                <a:cxn ang="0">
                  <a:pos x="355" y="261"/>
                </a:cxn>
                <a:cxn ang="0">
                  <a:pos x="322" y="260"/>
                </a:cxn>
                <a:cxn ang="0">
                  <a:pos x="297" y="253"/>
                </a:cxn>
                <a:cxn ang="0">
                  <a:pos x="272" y="254"/>
                </a:cxn>
                <a:cxn ang="0">
                  <a:pos x="235" y="273"/>
                </a:cxn>
                <a:cxn ang="0">
                  <a:pos x="214" y="279"/>
                </a:cxn>
                <a:cxn ang="0">
                  <a:pos x="173" y="273"/>
                </a:cxn>
                <a:cxn ang="0">
                  <a:pos x="123" y="267"/>
                </a:cxn>
                <a:cxn ang="0">
                  <a:pos x="116" y="259"/>
                </a:cxn>
                <a:cxn ang="0">
                  <a:pos x="100" y="241"/>
                </a:cxn>
                <a:cxn ang="0">
                  <a:pos x="100" y="225"/>
                </a:cxn>
                <a:cxn ang="0">
                  <a:pos x="92" y="216"/>
                </a:cxn>
                <a:cxn ang="0">
                  <a:pos x="77" y="229"/>
                </a:cxn>
                <a:cxn ang="0">
                  <a:pos x="58" y="217"/>
                </a:cxn>
                <a:cxn ang="0">
                  <a:pos x="52" y="208"/>
                </a:cxn>
                <a:cxn ang="0">
                  <a:pos x="49" y="199"/>
                </a:cxn>
                <a:cxn ang="0">
                  <a:pos x="42" y="187"/>
                </a:cxn>
                <a:cxn ang="0">
                  <a:pos x="25" y="173"/>
                </a:cxn>
                <a:cxn ang="0">
                  <a:pos x="21" y="155"/>
                </a:cxn>
                <a:cxn ang="0">
                  <a:pos x="8" y="143"/>
                </a:cxn>
                <a:cxn ang="0">
                  <a:pos x="11" y="130"/>
                </a:cxn>
                <a:cxn ang="0">
                  <a:pos x="26" y="124"/>
                </a:cxn>
                <a:cxn ang="0">
                  <a:pos x="38" y="124"/>
                </a:cxn>
                <a:cxn ang="0">
                  <a:pos x="44" y="104"/>
                </a:cxn>
                <a:cxn ang="0">
                  <a:pos x="54" y="91"/>
                </a:cxn>
                <a:cxn ang="0">
                  <a:pos x="58" y="77"/>
                </a:cxn>
                <a:cxn ang="0">
                  <a:pos x="70" y="58"/>
                </a:cxn>
                <a:cxn ang="0">
                  <a:pos x="87" y="33"/>
                </a:cxn>
                <a:cxn ang="0">
                  <a:pos x="111" y="21"/>
                </a:cxn>
                <a:cxn ang="0">
                  <a:pos x="122" y="11"/>
                </a:cxn>
                <a:cxn ang="0">
                  <a:pos x="145" y="18"/>
                </a:cxn>
                <a:cxn ang="0">
                  <a:pos x="168" y="24"/>
                </a:cxn>
                <a:cxn ang="0">
                  <a:pos x="192" y="28"/>
                </a:cxn>
                <a:cxn ang="0">
                  <a:pos x="237" y="19"/>
                </a:cxn>
                <a:cxn ang="0">
                  <a:pos x="255" y="6"/>
                </a:cxn>
              </a:cxnLst>
              <a:rect l="0" t="0" r="r" b="b"/>
              <a:pathLst>
                <a:path w="399" h="280">
                  <a:moveTo>
                    <a:pt x="365" y="217"/>
                  </a:moveTo>
                  <a:lnTo>
                    <a:pt x="368" y="218"/>
                  </a:lnTo>
                  <a:lnTo>
                    <a:pt x="369" y="220"/>
                  </a:lnTo>
                  <a:lnTo>
                    <a:pt x="368" y="221"/>
                  </a:lnTo>
                  <a:lnTo>
                    <a:pt x="368" y="222"/>
                  </a:lnTo>
                  <a:lnTo>
                    <a:pt x="367" y="222"/>
                  </a:lnTo>
                  <a:lnTo>
                    <a:pt x="367" y="221"/>
                  </a:lnTo>
                  <a:lnTo>
                    <a:pt x="368" y="220"/>
                  </a:lnTo>
                  <a:lnTo>
                    <a:pt x="367" y="218"/>
                  </a:lnTo>
                  <a:lnTo>
                    <a:pt x="367" y="220"/>
                  </a:lnTo>
                  <a:lnTo>
                    <a:pt x="366" y="220"/>
                  </a:lnTo>
                  <a:lnTo>
                    <a:pt x="366" y="221"/>
                  </a:lnTo>
                  <a:lnTo>
                    <a:pt x="365" y="221"/>
                  </a:lnTo>
                  <a:lnTo>
                    <a:pt x="362" y="223"/>
                  </a:lnTo>
                  <a:lnTo>
                    <a:pt x="361" y="223"/>
                  </a:lnTo>
                  <a:lnTo>
                    <a:pt x="361" y="222"/>
                  </a:lnTo>
                  <a:lnTo>
                    <a:pt x="363" y="221"/>
                  </a:lnTo>
                  <a:lnTo>
                    <a:pt x="366" y="218"/>
                  </a:lnTo>
                  <a:lnTo>
                    <a:pt x="365" y="217"/>
                  </a:lnTo>
                  <a:close/>
                  <a:moveTo>
                    <a:pt x="269" y="0"/>
                  </a:moveTo>
                  <a:lnTo>
                    <a:pt x="274" y="0"/>
                  </a:lnTo>
                  <a:lnTo>
                    <a:pt x="274" y="1"/>
                  </a:lnTo>
                  <a:lnTo>
                    <a:pt x="278" y="1"/>
                  </a:lnTo>
                  <a:lnTo>
                    <a:pt x="279" y="2"/>
                  </a:lnTo>
                  <a:lnTo>
                    <a:pt x="281" y="3"/>
                  </a:lnTo>
                  <a:lnTo>
                    <a:pt x="281" y="5"/>
                  </a:lnTo>
                  <a:lnTo>
                    <a:pt x="284" y="5"/>
                  </a:lnTo>
                  <a:lnTo>
                    <a:pt x="284" y="6"/>
                  </a:lnTo>
                  <a:lnTo>
                    <a:pt x="285" y="6"/>
                  </a:lnTo>
                  <a:lnTo>
                    <a:pt x="285" y="7"/>
                  </a:lnTo>
                  <a:lnTo>
                    <a:pt x="284" y="7"/>
                  </a:lnTo>
                  <a:lnTo>
                    <a:pt x="284" y="8"/>
                  </a:lnTo>
                  <a:lnTo>
                    <a:pt x="287" y="8"/>
                  </a:lnTo>
                  <a:lnTo>
                    <a:pt x="287" y="11"/>
                  </a:lnTo>
                  <a:lnTo>
                    <a:pt x="286" y="11"/>
                  </a:lnTo>
                  <a:lnTo>
                    <a:pt x="287" y="12"/>
                  </a:lnTo>
                  <a:lnTo>
                    <a:pt x="287" y="13"/>
                  </a:lnTo>
                  <a:lnTo>
                    <a:pt x="288" y="14"/>
                  </a:lnTo>
                  <a:lnTo>
                    <a:pt x="290" y="14"/>
                  </a:lnTo>
                  <a:lnTo>
                    <a:pt x="290" y="15"/>
                  </a:lnTo>
                  <a:lnTo>
                    <a:pt x="288" y="15"/>
                  </a:lnTo>
                  <a:lnTo>
                    <a:pt x="288" y="16"/>
                  </a:lnTo>
                  <a:lnTo>
                    <a:pt x="290" y="16"/>
                  </a:lnTo>
                  <a:lnTo>
                    <a:pt x="291" y="15"/>
                  </a:lnTo>
                  <a:lnTo>
                    <a:pt x="291" y="18"/>
                  </a:lnTo>
                  <a:lnTo>
                    <a:pt x="292" y="18"/>
                  </a:lnTo>
                  <a:lnTo>
                    <a:pt x="292" y="20"/>
                  </a:lnTo>
                  <a:lnTo>
                    <a:pt x="293" y="20"/>
                  </a:lnTo>
                  <a:lnTo>
                    <a:pt x="292" y="21"/>
                  </a:lnTo>
                  <a:lnTo>
                    <a:pt x="292" y="22"/>
                  </a:lnTo>
                  <a:lnTo>
                    <a:pt x="293" y="22"/>
                  </a:lnTo>
                  <a:lnTo>
                    <a:pt x="294" y="24"/>
                  </a:lnTo>
                  <a:lnTo>
                    <a:pt x="294" y="26"/>
                  </a:lnTo>
                  <a:lnTo>
                    <a:pt x="296" y="27"/>
                  </a:lnTo>
                  <a:lnTo>
                    <a:pt x="294" y="28"/>
                  </a:lnTo>
                  <a:lnTo>
                    <a:pt x="296" y="30"/>
                  </a:lnTo>
                  <a:lnTo>
                    <a:pt x="296" y="31"/>
                  </a:lnTo>
                  <a:lnTo>
                    <a:pt x="298" y="33"/>
                  </a:lnTo>
                  <a:lnTo>
                    <a:pt x="297" y="33"/>
                  </a:lnTo>
                  <a:lnTo>
                    <a:pt x="298" y="34"/>
                  </a:lnTo>
                  <a:lnTo>
                    <a:pt x="297" y="34"/>
                  </a:lnTo>
                  <a:lnTo>
                    <a:pt x="297" y="36"/>
                  </a:lnTo>
                  <a:lnTo>
                    <a:pt x="298" y="38"/>
                  </a:lnTo>
                  <a:lnTo>
                    <a:pt x="300" y="42"/>
                  </a:lnTo>
                  <a:lnTo>
                    <a:pt x="301" y="43"/>
                  </a:lnTo>
                  <a:lnTo>
                    <a:pt x="303" y="43"/>
                  </a:lnTo>
                  <a:lnTo>
                    <a:pt x="304" y="44"/>
                  </a:lnTo>
                  <a:lnTo>
                    <a:pt x="304" y="46"/>
                  </a:lnTo>
                  <a:lnTo>
                    <a:pt x="305" y="46"/>
                  </a:lnTo>
                  <a:lnTo>
                    <a:pt x="305" y="49"/>
                  </a:lnTo>
                  <a:lnTo>
                    <a:pt x="306" y="49"/>
                  </a:lnTo>
                  <a:lnTo>
                    <a:pt x="306" y="50"/>
                  </a:lnTo>
                  <a:lnTo>
                    <a:pt x="310" y="50"/>
                  </a:lnTo>
                  <a:lnTo>
                    <a:pt x="310" y="51"/>
                  </a:lnTo>
                  <a:lnTo>
                    <a:pt x="309" y="52"/>
                  </a:lnTo>
                  <a:lnTo>
                    <a:pt x="309" y="54"/>
                  </a:lnTo>
                  <a:lnTo>
                    <a:pt x="310" y="54"/>
                  </a:lnTo>
                  <a:lnTo>
                    <a:pt x="310" y="57"/>
                  </a:lnTo>
                  <a:lnTo>
                    <a:pt x="311" y="59"/>
                  </a:lnTo>
                  <a:lnTo>
                    <a:pt x="312" y="61"/>
                  </a:lnTo>
                  <a:lnTo>
                    <a:pt x="315" y="61"/>
                  </a:lnTo>
                  <a:lnTo>
                    <a:pt x="315" y="62"/>
                  </a:lnTo>
                  <a:lnTo>
                    <a:pt x="316" y="62"/>
                  </a:lnTo>
                  <a:lnTo>
                    <a:pt x="317" y="63"/>
                  </a:lnTo>
                  <a:lnTo>
                    <a:pt x="317" y="65"/>
                  </a:lnTo>
                  <a:lnTo>
                    <a:pt x="319" y="68"/>
                  </a:lnTo>
                  <a:lnTo>
                    <a:pt x="319" y="69"/>
                  </a:lnTo>
                  <a:lnTo>
                    <a:pt x="318" y="69"/>
                  </a:lnTo>
                  <a:lnTo>
                    <a:pt x="321" y="71"/>
                  </a:lnTo>
                  <a:lnTo>
                    <a:pt x="321" y="73"/>
                  </a:lnTo>
                  <a:lnTo>
                    <a:pt x="322" y="73"/>
                  </a:lnTo>
                  <a:lnTo>
                    <a:pt x="324" y="75"/>
                  </a:lnTo>
                  <a:lnTo>
                    <a:pt x="324" y="76"/>
                  </a:lnTo>
                  <a:lnTo>
                    <a:pt x="325" y="76"/>
                  </a:lnTo>
                  <a:lnTo>
                    <a:pt x="327" y="77"/>
                  </a:lnTo>
                  <a:lnTo>
                    <a:pt x="329" y="77"/>
                  </a:lnTo>
                  <a:lnTo>
                    <a:pt x="329" y="79"/>
                  </a:lnTo>
                  <a:lnTo>
                    <a:pt x="331" y="81"/>
                  </a:lnTo>
                  <a:lnTo>
                    <a:pt x="331" y="85"/>
                  </a:lnTo>
                  <a:lnTo>
                    <a:pt x="332" y="86"/>
                  </a:lnTo>
                  <a:lnTo>
                    <a:pt x="332" y="89"/>
                  </a:lnTo>
                  <a:lnTo>
                    <a:pt x="334" y="91"/>
                  </a:lnTo>
                  <a:lnTo>
                    <a:pt x="335" y="94"/>
                  </a:lnTo>
                  <a:lnTo>
                    <a:pt x="335" y="95"/>
                  </a:lnTo>
                  <a:lnTo>
                    <a:pt x="337" y="100"/>
                  </a:lnTo>
                  <a:lnTo>
                    <a:pt x="337" y="107"/>
                  </a:lnTo>
                  <a:lnTo>
                    <a:pt x="336" y="107"/>
                  </a:lnTo>
                  <a:lnTo>
                    <a:pt x="336" y="110"/>
                  </a:lnTo>
                  <a:lnTo>
                    <a:pt x="337" y="111"/>
                  </a:lnTo>
                  <a:lnTo>
                    <a:pt x="337" y="117"/>
                  </a:lnTo>
                  <a:lnTo>
                    <a:pt x="336" y="117"/>
                  </a:lnTo>
                  <a:lnTo>
                    <a:pt x="336" y="119"/>
                  </a:lnTo>
                  <a:lnTo>
                    <a:pt x="335" y="119"/>
                  </a:lnTo>
                  <a:lnTo>
                    <a:pt x="335" y="123"/>
                  </a:lnTo>
                  <a:lnTo>
                    <a:pt x="334" y="124"/>
                  </a:lnTo>
                  <a:lnTo>
                    <a:pt x="332" y="124"/>
                  </a:lnTo>
                  <a:lnTo>
                    <a:pt x="332" y="129"/>
                  </a:lnTo>
                  <a:lnTo>
                    <a:pt x="334" y="129"/>
                  </a:lnTo>
                  <a:lnTo>
                    <a:pt x="332" y="131"/>
                  </a:lnTo>
                  <a:lnTo>
                    <a:pt x="332" y="135"/>
                  </a:lnTo>
                  <a:lnTo>
                    <a:pt x="331" y="135"/>
                  </a:lnTo>
                  <a:lnTo>
                    <a:pt x="331" y="141"/>
                  </a:lnTo>
                  <a:lnTo>
                    <a:pt x="332" y="143"/>
                  </a:lnTo>
                  <a:lnTo>
                    <a:pt x="332" y="153"/>
                  </a:lnTo>
                  <a:lnTo>
                    <a:pt x="334" y="154"/>
                  </a:lnTo>
                  <a:lnTo>
                    <a:pt x="334" y="162"/>
                  </a:lnTo>
                  <a:lnTo>
                    <a:pt x="335" y="162"/>
                  </a:lnTo>
                  <a:lnTo>
                    <a:pt x="334" y="163"/>
                  </a:lnTo>
                  <a:lnTo>
                    <a:pt x="331" y="163"/>
                  </a:lnTo>
                  <a:lnTo>
                    <a:pt x="330" y="165"/>
                  </a:lnTo>
                  <a:lnTo>
                    <a:pt x="332" y="166"/>
                  </a:lnTo>
                  <a:lnTo>
                    <a:pt x="334" y="167"/>
                  </a:lnTo>
                  <a:lnTo>
                    <a:pt x="334" y="169"/>
                  </a:lnTo>
                  <a:lnTo>
                    <a:pt x="335" y="171"/>
                  </a:lnTo>
                  <a:lnTo>
                    <a:pt x="335" y="172"/>
                  </a:lnTo>
                  <a:lnTo>
                    <a:pt x="336" y="173"/>
                  </a:lnTo>
                  <a:lnTo>
                    <a:pt x="337" y="173"/>
                  </a:lnTo>
                  <a:lnTo>
                    <a:pt x="340" y="175"/>
                  </a:lnTo>
                  <a:lnTo>
                    <a:pt x="340" y="177"/>
                  </a:lnTo>
                  <a:lnTo>
                    <a:pt x="341" y="180"/>
                  </a:lnTo>
                  <a:lnTo>
                    <a:pt x="341" y="181"/>
                  </a:lnTo>
                  <a:lnTo>
                    <a:pt x="342" y="181"/>
                  </a:lnTo>
                  <a:lnTo>
                    <a:pt x="343" y="182"/>
                  </a:lnTo>
                  <a:lnTo>
                    <a:pt x="344" y="182"/>
                  </a:lnTo>
                  <a:lnTo>
                    <a:pt x="348" y="184"/>
                  </a:lnTo>
                  <a:lnTo>
                    <a:pt x="352" y="186"/>
                  </a:lnTo>
                  <a:lnTo>
                    <a:pt x="358" y="187"/>
                  </a:lnTo>
                  <a:lnTo>
                    <a:pt x="359" y="187"/>
                  </a:lnTo>
                  <a:lnTo>
                    <a:pt x="360" y="186"/>
                  </a:lnTo>
                  <a:lnTo>
                    <a:pt x="361" y="186"/>
                  </a:lnTo>
                  <a:lnTo>
                    <a:pt x="360" y="185"/>
                  </a:lnTo>
                  <a:lnTo>
                    <a:pt x="360" y="184"/>
                  </a:lnTo>
                  <a:lnTo>
                    <a:pt x="361" y="182"/>
                  </a:lnTo>
                  <a:lnTo>
                    <a:pt x="361" y="181"/>
                  </a:lnTo>
                  <a:lnTo>
                    <a:pt x="362" y="181"/>
                  </a:lnTo>
                  <a:lnTo>
                    <a:pt x="363" y="182"/>
                  </a:lnTo>
                  <a:lnTo>
                    <a:pt x="365" y="182"/>
                  </a:lnTo>
                  <a:lnTo>
                    <a:pt x="366" y="184"/>
                  </a:lnTo>
                  <a:lnTo>
                    <a:pt x="367" y="184"/>
                  </a:lnTo>
                  <a:lnTo>
                    <a:pt x="368" y="182"/>
                  </a:lnTo>
                  <a:lnTo>
                    <a:pt x="368" y="181"/>
                  </a:lnTo>
                  <a:lnTo>
                    <a:pt x="369" y="181"/>
                  </a:lnTo>
                  <a:lnTo>
                    <a:pt x="372" y="179"/>
                  </a:lnTo>
                  <a:lnTo>
                    <a:pt x="374" y="179"/>
                  </a:lnTo>
                  <a:lnTo>
                    <a:pt x="375" y="178"/>
                  </a:lnTo>
                  <a:lnTo>
                    <a:pt x="377" y="178"/>
                  </a:lnTo>
                  <a:lnTo>
                    <a:pt x="377" y="177"/>
                  </a:lnTo>
                  <a:lnTo>
                    <a:pt x="378" y="177"/>
                  </a:lnTo>
                  <a:lnTo>
                    <a:pt x="378" y="175"/>
                  </a:lnTo>
                  <a:lnTo>
                    <a:pt x="383" y="175"/>
                  </a:lnTo>
                  <a:lnTo>
                    <a:pt x="383" y="174"/>
                  </a:lnTo>
                  <a:lnTo>
                    <a:pt x="387" y="174"/>
                  </a:lnTo>
                  <a:lnTo>
                    <a:pt x="393" y="177"/>
                  </a:lnTo>
                  <a:lnTo>
                    <a:pt x="398" y="181"/>
                  </a:lnTo>
                  <a:lnTo>
                    <a:pt x="398" y="184"/>
                  </a:lnTo>
                  <a:lnTo>
                    <a:pt x="397" y="186"/>
                  </a:lnTo>
                  <a:lnTo>
                    <a:pt x="398" y="186"/>
                  </a:lnTo>
                  <a:lnTo>
                    <a:pt x="398" y="187"/>
                  </a:lnTo>
                  <a:lnTo>
                    <a:pt x="396" y="187"/>
                  </a:lnTo>
                  <a:lnTo>
                    <a:pt x="396" y="188"/>
                  </a:lnTo>
                  <a:lnTo>
                    <a:pt x="397" y="188"/>
                  </a:lnTo>
                  <a:lnTo>
                    <a:pt x="397" y="190"/>
                  </a:lnTo>
                  <a:lnTo>
                    <a:pt x="398" y="191"/>
                  </a:lnTo>
                  <a:lnTo>
                    <a:pt x="399" y="191"/>
                  </a:lnTo>
                  <a:lnTo>
                    <a:pt x="398" y="192"/>
                  </a:lnTo>
                  <a:lnTo>
                    <a:pt x="398" y="193"/>
                  </a:lnTo>
                  <a:lnTo>
                    <a:pt x="397" y="199"/>
                  </a:lnTo>
                  <a:lnTo>
                    <a:pt x="397" y="203"/>
                  </a:lnTo>
                  <a:lnTo>
                    <a:pt x="396" y="203"/>
                  </a:lnTo>
                  <a:lnTo>
                    <a:pt x="396" y="206"/>
                  </a:lnTo>
                  <a:lnTo>
                    <a:pt x="394" y="208"/>
                  </a:lnTo>
                  <a:lnTo>
                    <a:pt x="396" y="209"/>
                  </a:lnTo>
                  <a:lnTo>
                    <a:pt x="396" y="210"/>
                  </a:lnTo>
                  <a:lnTo>
                    <a:pt x="394" y="210"/>
                  </a:lnTo>
                  <a:lnTo>
                    <a:pt x="393" y="211"/>
                  </a:lnTo>
                  <a:lnTo>
                    <a:pt x="391" y="211"/>
                  </a:lnTo>
                  <a:lnTo>
                    <a:pt x="383" y="212"/>
                  </a:lnTo>
                  <a:lnTo>
                    <a:pt x="378" y="212"/>
                  </a:lnTo>
                  <a:lnTo>
                    <a:pt x="377" y="214"/>
                  </a:lnTo>
                  <a:lnTo>
                    <a:pt x="372" y="216"/>
                  </a:lnTo>
                  <a:lnTo>
                    <a:pt x="371" y="217"/>
                  </a:lnTo>
                  <a:lnTo>
                    <a:pt x="369" y="220"/>
                  </a:lnTo>
                  <a:lnTo>
                    <a:pt x="369" y="217"/>
                  </a:lnTo>
                  <a:lnTo>
                    <a:pt x="368" y="216"/>
                  </a:lnTo>
                  <a:lnTo>
                    <a:pt x="369" y="215"/>
                  </a:lnTo>
                  <a:lnTo>
                    <a:pt x="372" y="215"/>
                  </a:lnTo>
                  <a:lnTo>
                    <a:pt x="374" y="214"/>
                  </a:lnTo>
                  <a:lnTo>
                    <a:pt x="375" y="212"/>
                  </a:lnTo>
                  <a:lnTo>
                    <a:pt x="375" y="210"/>
                  </a:lnTo>
                  <a:lnTo>
                    <a:pt x="373" y="208"/>
                  </a:lnTo>
                  <a:lnTo>
                    <a:pt x="374" y="209"/>
                  </a:lnTo>
                  <a:lnTo>
                    <a:pt x="374" y="210"/>
                  </a:lnTo>
                  <a:lnTo>
                    <a:pt x="372" y="210"/>
                  </a:lnTo>
                  <a:lnTo>
                    <a:pt x="372" y="204"/>
                  </a:lnTo>
                  <a:lnTo>
                    <a:pt x="374" y="203"/>
                  </a:lnTo>
                  <a:lnTo>
                    <a:pt x="374" y="202"/>
                  </a:lnTo>
                  <a:lnTo>
                    <a:pt x="372" y="200"/>
                  </a:lnTo>
                  <a:lnTo>
                    <a:pt x="371" y="200"/>
                  </a:lnTo>
                  <a:lnTo>
                    <a:pt x="368" y="199"/>
                  </a:lnTo>
                  <a:lnTo>
                    <a:pt x="368" y="202"/>
                  </a:lnTo>
                  <a:lnTo>
                    <a:pt x="366" y="202"/>
                  </a:lnTo>
                  <a:lnTo>
                    <a:pt x="363" y="204"/>
                  </a:lnTo>
                  <a:lnTo>
                    <a:pt x="363" y="205"/>
                  </a:lnTo>
                  <a:lnTo>
                    <a:pt x="365" y="205"/>
                  </a:lnTo>
                  <a:lnTo>
                    <a:pt x="365" y="206"/>
                  </a:lnTo>
                  <a:lnTo>
                    <a:pt x="363" y="206"/>
                  </a:lnTo>
                  <a:lnTo>
                    <a:pt x="363" y="208"/>
                  </a:lnTo>
                  <a:lnTo>
                    <a:pt x="365" y="208"/>
                  </a:lnTo>
                  <a:lnTo>
                    <a:pt x="365" y="209"/>
                  </a:lnTo>
                  <a:lnTo>
                    <a:pt x="366" y="209"/>
                  </a:lnTo>
                  <a:lnTo>
                    <a:pt x="367" y="211"/>
                  </a:lnTo>
                  <a:lnTo>
                    <a:pt x="366" y="211"/>
                  </a:lnTo>
                  <a:lnTo>
                    <a:pt x="367" y="212"/>
                  </a:lnTo>
                  <a:lnTo>
                    <a:pt x="366" y="212"/>
                  </a:lnTo>
                  <a:lnTo>
                    <a:pt x="366" y="214"/>
                  </a:lnTo>
                  <a:lnTo>
                    <a:pt x="367" y="214"/>
                  </a:lnTo>
                  <a:lnTo>
                    <a:pt x="367" y="215"/>
                  </a:lnTo>
                  <a:lnTo>
                    <a:pt x="363" y="215"/>
                  </a:lnTo>
                  <a:lnTo>
                    <a:pt x="361" y="217"/>
                  </a:lnTo>
                  <a:lnTo>
                    <a:pt x="361" y="220"/>
                  </a:lnTo>
                  <a:lnTo>
                    <a:pt x="360" y="220"/>
                  </a:lnTo>
                  <a:lnTo>
                    <a:pt x="360" y="221"/>
                  </a:lnTo>
                  <a:lnTo>
                    <a:pt x="361" y="222"/>
                  </a:lnTo>
                  <a:lnTo>
                    <a:pt x="360" y="222"/>
                  </a:lnTo>
                  <a:lnTo>
                    <a:pt x="359" y="223"/>
                  </a:lnTo>
                  <a:lnTo>
                    <a:pt x="360" y="223"/>
                  </a:lnTo>
                  <a:lnTo>
                    <a:pt x="360" y="224"/>
                  </a:lnTo>
                  <a:lnTo>
                    <a:pt x="361" y="225"/>
                  </a:lnTo>
                  <a:lnTo>
                    <a:pt x="359" y="225"/>
                  </a:lnTo>
                  <a:lnTo>
                    <a:pt x="359" y="227"/>
                  </a:lnTo>
                  <a:lnTo>
                    <a:pt x="360" y="227"/>
                  </a:lnTo>
                  <a:lnTo>
                    <a:pt x="360" y="228"/>
                  </a:lnTo>
                  <a:lnTo>
                    <a:pt x="359" y="229"/>
                  </a:lnTo>
                  <a:lnTo>
                    <a:pt x="359" y="233"/>
                  </a:lnTo>
                  <a:lnTo>
                    <a:pt x="360" y="231"/>
                  </a:lnTo>
                  <a:lnTo>
                    <a:pt x="360" y="229"/>
                  </a:lnTo>
                  <a:lnTo>
                    <a:pt x="361" y="229"/>
                  </a:lnTo>
                  <a:lnTo>
                    <a:pt x="362" y="227"/>
                  </a:lnTo>
                  <a:lnTo>
                    <a:pt x="363" y="227"/>
                  </a:lnTo>
                  <a:lnTo>
                    <a:pt x="365" y="225"/>
                  </a:lnTo>
                  <a:lnTo>
                    <a:pt x="366" y="225"/>
                  </a:lnTo>
                  <a:lnTo>
                    <a:pt x="363" y="230"/>
                  </a:lnTo>
                  <a:lnTo>
                    <a:pt x="361" y="231"/>
                  </a:lnTo>
                  <a:lnTo>
                    <a:pt x="358" y="237"/>
                  </a:lnTo>
                  <a:lnTo>
                    <a:pt x="356" y="239"/>
                  </a:lnTo>
                  <a:lnTo>
                    <a:pt x="355" y="239"/>
                  </a:lnTo>
                  <a:lnTo>
                    <a:pt x="355" y="240"/>
                  </a:lnTo>
                  <a:lnTo>
                    <a:pt x="354" y="240"/>
                  </a:lnTo>
                  <a:lnTo>
                    <a:pt x="354" y="245"/>
                  </a:lnTo>
                  <a:lnTo>
                    <a:pt x="355" y="246"/>
                  </a:lnTo>
                  <a:lnTo>
                    <a:pt x="355" y="249"/>
                  </a:lnTo>
                  <a:lnTo>
                    <a:pt x="354" y="249"/>
                  </a:lnTo>
                  <a:lnTo>
                    <a:pt x="354" y="252"/>
                  </a:lnTo>
                  <a:lnTo>
                    <a:pt x="355" y="257"/>
                  </a:lnTo>
                  <a:lnTo>
                    <a:pt x="355" y="261"/>
                  </a:lnTo>
                  <a:lnTo>
                    <a:pt x="353" y="266"/>
                  </a:lnTo>
                  <a:lnTo>
                    <a:pt x="353" y="270"/>
                  </a:lnTo>
                  <a:lnTo>
                    <a:pt x="352" y="271"/>
                  </a:lnTo>
                  <a:lnTo>
                    <a:pt x="352" y="274"/>
                  </a:lnTo>
                  <a:lnTo>
                    <a:pt x="346" y="274"/>
                  </a:lnTo>
                  <a:lnTo>
                    <a:pt x="336" y="273"/>
                  </a:lnTo>
                  <a:lnTo>
                    <a:pt x="328" y="270"/>
                  </a:lnTo>
                  <a:lnTo>
                    <a:pt x="327" y="268"/>
                  </a:lnTo>
                  <a:lnTo>
                    <a:pt x="324" y="261"/>
                  </a:lnTo>
                  <a:lnTo>
                    <a:pt x="324" y="260"/>
                  </a:lnTo>
                  <a:lnTo>
                    <a:pt x="322" y="260"/>
                  </a:lnTo>
                  <a:lnTo>
                    <a:pt x="318" y="261"/>
                  </a:lnTo>
                  <a:lnTo>
                    <a:pt x="316" y="263"/>
                  </a:lnTo>
                  <a:lnTo>
                    <a:pt x="313" y="260"/>
                  </a:lnTo>
                  <a:lnTo>
                    <a:pt x="312" y="258"/>
                  </a:lnTo>
                  <a:lnTo>
                    <a:pt x="310" y="259"/>
                  </a:lnTo>
                  <a:lnTo>
                    <a:pt x="301" y="259"/>
                  </a:lnTo>
                  <a:lnTo>
                    <a:pt x="300" y="258"/>
                  </a:lnTo>
                  <a:lnTo>
                    <a:pt x="300" y="257"/>
                  </a:lnTo>
                  <a:lnTo>
                    <a:pt x="299" y="257"/>
                  </a:lnTo>
                  <a:lnTo>
                    <a:pt x="297" y="255"/>
                  </a:lnTo>
                  <a:lnTo>
                    <a:pt x="297" y="253"/>
                  </a:lnTo>
                  <a:lnTo>
                    <a:pt x="296" y="253"/>
                  </a:lnTo>
                  <a:lnTo>
                    <a:pt x="296" y="252"/>
                  </a:lnTo>
                  <a:lnTo>
                    <a:pt x="294" y="253"/>
                  </a:lnTo>
                  <a:lnTo>
                    <a:pt x="294" y="252"/>
                  </a:lnTo>
                  <a:lnTo>
                    <a:pt x="290" y="251"/>
                  </a:lnTo>
                  <a:lnTo>
                    <a:pt x="286" y="249"/>
                  </a:lnTo>
                  <a:lnTo>
                    <a:pt x="285" y="249"/>
                  </a:lnTo>
                  <a:lnTo>
                    <a:pt x="280" y="251"/>
                  </a:lnTo>
                  <a:lnTo>
                    <a:pt x="276" y="253"/>
                  </a:lnTo>
                  <a:lnTo>
                    <a:pt x="273" y="253"/>
                  </a:lnTo>
                  <a:lnTo>
                    <a:pt x="272" y="254"/>
                  </a:lnTo>
                  <a:lnTo>
                    <a:pt x="269" y="254"/>
                  </a:lnTo>
                  <a:lnTo>
                    <a:pt x="261" y="255"/>
                  </a:lnTo>
                  <a:lnTo>
                    <a:pt x="257" y="257"/>
                  </a:lnTo>
                  <a:lnTo>
                    <a:pt x="256" y="257"/>
                  </a:lnTo>
                  <a:lnTo>
                    <a:pt x="249" y="259"/>
                  </a:lnTo>
                  <a:lnTo>
                    <a:pt x="245" y="263"/>
                  </a:lnTo>
                  <a:lnTo>
                    <a:pt x="245" y="264"/>
                  </a:lnTo>
                  <a:lnTo>
                    <a:pt x="241" y="267"/>
                  </a:lnTo>
                  <a:lnTo>
                    <a:pt x="240" y="267"/>
                  </a:lnTo>
                  <a:lnTo>
                    <a:pt x="240" y="268"/>
                  </a:lnTo>
                  <a:lnTo>
                    <a:pt x="235" y="273"/>
                  </a:lnTo>
                  <a:lnTo>
                    <a:pt x="234" y="276"/>
                  </a:lnTo>
                  <a:lnTo>
                    <a:pt x="229" y="276"/>
                  </a:lnTo>
                  <a:lnTo>
                    <a:pt x="229" y="277"/>
                  </a:lnTo>
                  <a:lnTo>
                    <a:pt x="228" y="277"/>
                  </a:lnTo>
                  <a:lnTo>
                    <a:pt x="226" y="278"/>
                  </a:lnTo>
                  <a:lnTo>
                    <a:pt x="225" y="278"/>
                  </a:lnTo>
                  <a:lnTo>
                    <a:pt x="224" y="279"/>
                  </a:lnTo>
                  <a:lnTo>
                    <a:pt x="219" y="279"/>
                  </a:lnTo>
                  <a:lnTo>
                    <a:pt x="218" y="280"/>
                  </a:lnTo>
                  <a:lnTo>
                    <a:pt x="216" y="279"/>
                  </a:lnTo>
                  <a:lnTo>
                    <a:pt x="214" y="279"/>
                  </a:lnTo>
                  <a:lnTo>
                    <a:pt x="213" y="278"/>
                  </a:lnTo>
                  <a:lnTo>
                    <a:pt x="211" y="277"/>
                  </a:lnTo>
                  <a:lnTo>
                    <a:pt x="210" y="277"/>
                  </a:lnTo>
                  <a:lnTo>
                    <a:pt x="204" y="276"/>
                  </a:lnTo>
                  <a:lnTo>
                    <a:pt x="199" y="274"/>
                  </a:lnTo>
                  <a:lnTo>
                    <a:pt x="188" y="274"/>
                  </a:lnTo>
                  <a:lnTo>
                    <a:pt x="186" y="273"/>
                  </a:lnTo>
                  <a:lnTo>
                    <a:pt x="180" y="271"/>
                  </a:lnTo>
                  <a:lnTo>
                    <a:pt x="179" y="271"/>
                  </a:lnTo>
                  <a:lnTo>
                    <a:pt x="174" y="273"/>
                  </a:lnTo>
                  <a:lnTo>
                    <a:pt x="173" y="273"/>
                  </a:lnTo>
                  <a:lnTo>
                    <a:pt x="166" y="274"/>
                  </a:lnTo>
                  <a:lnTo>
                    <a:pt x="164" y="273"/>
                  </a:lnTo>
                  <a:lnTo>
                    <a:pt x="150" y="270"/>
                  </a:lnTo>
                  <a:lnTo>
                    <a:pt x="148" y="268"/>
                  </a:lnTo>
                  <a:lnTo>
                    <a:pt x="147" y="268"/>
                  </a:lnTo>
                  <a:lnTo>
                    <a:pt x="143" y="270"/>
                  </a:lnTo>
                  <a:lnTo>
                    <a:pt x="142" y="268"/>
                  </a:lnTo>
                  <a:lnTo>
                    <a:pt x="137" y="266"/>
                  </a:lnTo>
                  <a:lnTo>
                    <a:pt x="130" y="266"/>
                  </a:lnTo>
                  <a:lnTo>
                    <a:pt x="126" y="267"/>
                  </a:lnTo>
                  <a:lnTo>
                    <a:pt x="123" y="267"/>
                  </a:lnTo>
                  <a:lnTo>
                    <a:pt x="122" y="268"/>
                  </a:lnTo>
                  <a:lnTo>
                    <a:pt x="119" y="268"/>
                  </a:lnTo>
                  <a:lnTo>
                    <a:pt x="113" y="270"/>
                  </a:lnTo>
                  <a:lnTo>
                    <a:pt x="112" y="268"/>
                  </a:lnTo>
                  <a:lnTo>
                    <a:pt x="111" y="268"/>
                  </a:lnTo>
                  <a:lnTo>
                    <a:pt x="110" y="267"/>
                  </a:lnTo>
                  <a:lnTo>
                    <a:pt x="110" y="266"/>
                  </a:lnTo>
                  <a:lnTo>
                    <a:pt x="111" y="261"/>
                  </a:lnTo>
                  <a:lnTo>
                    <a:pt x="112" y="260"/>
                  </a:lnTo>
                  <a:lnTo>
                    <a:pt x="112" y="259"/>
                  </a:lnTo>
                  <a:lnTo>
                    <a:pt x="116" y="259"/>
                  </a:lnTo>
                  <a:lnTo>
                    <a:pt x="117" y="258"/>
                  </a:lnTo>
                  <a:lnTo>
                    <a:pt x="118" y="255"/>
                  </a:lnTo>
                  <a:lnTo>
                    <a:pt x="118" y="254"/>
                  </a:lnTo>
                  <a:lnTo>
                    <a:pt x="117" y="254"/>
                  </a:lnTo>
                  <a:lnTo>
                    <a:pt x="116" y="253"/>
                  </a:lnTo>
                  <a:lnTo>
                    <a:pt x="114" y="253"/>
                  </a:lnTo>
                  <a:lnTo>
                    <a:pt x="112" y="252"/>
                  </a:lnTo>
                  <a:lnTo>
                    <a:pt x="104" y="246"/>
                  </a:lnTo>
                  <a:lnTo>
                    <a:pt x="104" y="242"/>
                  </a:lnTo>
                  <a:lnTo>
                    <a:pt x="102" y="241"/>
                  </a:lnTo>
                  <a:lnTo>
                    <a:pt x="100" y="241"/>
                  </a:lnTo>
                  <a:lnTo>
                    <a:pt x="95" y="236"/>
                  </a:lnTo>
                  <a:lnTo>
                    <a:pt x="95" y="234"/>
                  </a:lnTo>
                  <a:lnTo>
                    <a:pt x="94" y="233"/>
                  </a:lnTo>
                  <a:lnTo>
                    <a:pt x="94" y="230"/>
                  </a:lnTo>
                  <a:lnTo>
                    <a:pt x="95" y="230"/>
                  </a:lnTo>
                  <a:lnTo>
                    <a:pt x="96" y="229"/>
                  </a:lnTo>
                  <a:lnTo>
                    <a:pt x="98" y="229"/>
                  </a:lnTo>
                  <a:lnTo>
                    <a:pt x="98" y="227"/>
                  </a:lnTo>
                  <a:lnTo>
                    <a:pt x="99" y="227"/>
                  </a:lnTo>
                  <a:lnTo>
                    <a:pt x="99" y="225"/>
                  </a:lnTo>
                  <a:lnTo>
                    <a:pt x="100" y="225"/>
                  </a:lnTo>
                  <a:lnTo>
                    <a:pt x="102" y="228"/>
                  </a:lnTo>
                  <a:lnTo>
                    <a:pt x="105" y="228"/>
                  </a:lnTo>
                  <a:lnTo>
                    <a:pt x="106" y="227"/>
                  </a:lnTo>
                  <a:lnTo>
                    <a:pt x="106" y="225"/>
                  </a:lnTo>
                  <a:lnTo>
                    <a:pt x="105" y="223"/>
                  </a:lnTo>
                  <a:lnTo>
                    <a:pt x="104" y="222"/>
                  </a:lnTo>
                  <a:lnTo>
                    <a:pt x="100" y="222"/>
                  </a:lnTo>
                  <a:lnTo>
                    <a:pt x="98" y="220"/>
                  </a:lnTo>
                  <a:lnTo>
                    <a:pt x="94" y="217"/>
                  </a:lnTo>
                  <a:lnTo>
                    <a:pt x="94" y="216"/>
                  </a:lnTo>
                  <a:lnTo>
                    <a:pt x="92" y="216"/>
                  </a:lnTo>
                  <a:lnTo>
                    <a:pt x="92" y="217"/>
                  </a:lnTo>
                  <a:lnTo>
                    <a:pt x="91" y="218"/>
                  </a:lnTo>
                  <a:lnTo>
                    <a:pt x="89" y="218"/>
                  </a:lnTo>
                  <a:lnTo>
                    <a:pt x="88" y="220"/>
                  </a:lnTo>
                  <a:lnTo>
                    <a:pt x="87" y="220"/>
                  </a:lnTo>
                  <a:lnTo>
                    <a:pt x="87" y="221"/>
                  </a:lnTo>
                  <a:lnTo>
                    <a:pt x="82" y="229"/>
                  </a:lnTo>
                  <a:lnTo>
                    <a:pt x="81" y="230"/>
                  </a:lnTo>
                  <a:lnTo>
                    <a:pt x="80" y="230"/>
                  </a:lnTo>
                  <a:lnTo>
                    <a:pt x="79" y="229"/>
                  </a:lnTo>
                  <a:lnTo>
                    <a:pt x="77" y="229"/>
                  </a:lnTo>
                  <a:lnTo>
                    <a:pt x="77" y="227"/>
                  </a:lnTo>
                  <a:lnTo>
                    <a:pt x="76" y="227"/>
                  </a:lnTo>
                  <a:lnTo>
                    <a:pt x="76" y="224"/>
                  </a:lnTo>
                  <a:lnTo>
                    <a:pt x="75" y="224"/>
                  </a:lnTo>
                  <a:lnTo>
                    <a:pt x="74" y="221"/>
                  </a:lnTo>
                  <a:lnTo>
                    <a:pt x="73" y="221"/>
                  </a:lnTo>
                  <a:lnTo>
                    <a:pt x="69" y="218"/>
                  </a:lnTo>
                  <a:lnTo>
                    <a:pt x="68" y="218"/>
                  </a:lnTo>
                  <a:lnTo>
                    <a:pt x="65" y="220"/>
                  </a:lnTo>
                  <a:lnTo>
                    <a:pt x="60" y="220"/>
                  </a:lnTo>
                  <a:lnTo>
                    <a:pt x="58" y="217"/>
                  </a:lnTo>
                  <a:lnTo>
                    <a:pt x="57" y="216"/>
                  </a:lnTo>
                  <a:lnTo>
                    <a:pt x="57" y="215"/>
                  </a:lnTo>
                  <a:lnTo>
                    <a:pt x="56" y="214"/>
                  </a:lnTo>
                  <a:lnTo>
                    <a:pt x="49" y="214"/>
                  </a:lnTo>
                  <a:lnTo>
                    <a:pt x="49" y="212"/>
                  </a:lnTo>
                  <a:lnTo>
                    <a:pt x="46" y="210"/>
                  </a:lnTo>
                  <a:lnTo>
                    <a:pt x="46" y="209"/>
                  </a:lnTo>
                  <a:lnTo>
                    <a:pt x="48" y="209"/>
                  </a:lnTo>
                  <a:lnTo>
                    <a:pt x="49" y="208"/>
                  </a:lnTo>
                  <a:lnTo>
                    <a:pt x="51" y="209"/>
                  </a:lnTo>
                  <a:lnTo>
                    <a:pt x="52" y="208"/>
                  </a:lnTo>
                  <a:lnTo>
                    <a:pt x="55" y="208"/>
                  </a:lnTo>
                  <a:lnTo>
                    <a:pt x="55" y="205"/>
                  </a:lnTo>
                  <a:lnTo>
                    <a:pt x="54" y="204"/>
                  </a:lnTo>
                  <a:lnTo>
                    <a:pt x="52" y="204"/>
                  </a:lnTo>
                  <a:lnTo>
                    <a:pt x="51" y="203"/>
                  </a:lnTo>
                  <a:lnTo>
                    <a:pt x="48" y="203"/>
                  </a:lnTo>
                  <a:lnTo>
                    <a:pt x="48" y="202"/>
                  </a:lnTo>
                  <a:lnTo>
                    <a:pt x="46" y="202"/>
                  </a:lnTo>
                  <a:lnTo>
                    <a:pt x="46" y="200"/>
                  </a:lnTo>
                  <a:lnTo>
                    <a:pt x="48" y="199"/>
                  </a:lnTo>
                  <a:lnTo>
                    <a:pt x="49" y="199"/>
                  </a:lnTo>
                  <a:lnTo>
                    <a:pt x="50" y="198"/>
                  </a:lnTo>
                  <a:lnTo>
                    <a:pt x="50" y="197"/>
                  </a:lnTo>
                  <a:lnTo>
                    <a:pt x="51" y="196"/>
                  </a:lnTo>
                  <a:lnTo>
                    <a:pt x="51" y="193"/>
                  </a:lnTo>
                  <a:lnTo>
                    <a:pt x="52" y="193"/>
                  </a:lnTo>
                  <a:lnTo>
                    <a:pt x="52" y="191"/>
                  </a:lnTo>
                  <a:lnTo>
                    <a:pt x="51" y="190"/>
                  </a:lnTo>
                  <a:lnTo>
                    <a:pt x="50" y="190"/>
                  </a:lnTo>
                  <a:lnTo>
                    <a:pt x="49" y="188"/>
                  </a:lnTo>
                  <a:lnTo>
                    <a:pt x="44" y="187"/>
                  </a:lnTo>
                  <a:lnTo>
                    <a:pt x="42" y="187"/>
                  </a:lnTo>
                  <a:lnTo>
                    <a:pt x="40" y="186"/>
                  </a:lnTo>
                  <a:lnTo>
                    <a:pt x="40" y="185"/>
                  </a:lnTo>
                  <a:lnTo>
                    <a:pt x="38" y="182"/>
                  </a:lnTo>
                  <a:lnTo>
                    <a:pt x="37" y="182"/>
                  </a:lnTo>
                  <a:lnTo>
                    <a:pt x="37" y="184"/>
                  </a:lnTo>
                  <a:lnTo>
                    <a:pt x="36" y="184"/>
                  </a:lnTo>
                  <a:lnTo>
                    <a:pt x="36" y="182"/>
                  </a:lnTo>
                  <a:lnTo>
                    <a:pt x="35" y="182"/>
                  </a:lnTo>
                  <a:lnTo>
                    <a:pt x="32" y="181"/>
                  </a:lnTo>
                  <a:lnTo>
                    <a:pt x="26" y="175"/>
                  </a:lnTo>
                  <a:lnTo>
                    <a:pt x="25" y="173"/>
                  </a:lnTo>
                  <a:lnTo>
                    <a:pt x="24" y="173"/>
                  </a:lnTo>
                  <a:lnTo>
                    <a:pt x="21" y="171"/>
                  </a:lnTo>
                  <a:lnTo>
                    <a:pt x="23" y="171"/>
                  </a:lnTo>
                  <a:lnTo>
                    <a:pt x="24" y="169"/>
                  </a:lnTo>
                  <a:lnTo>
                    <a:pt x="24" y="168"/>
                  </a:lnTo>
                  <a:lnTo>
                    <a:pt x="23" y="167"/>
                  </a:lnTo>
                  <a:lnTo>
                    <a:pt x="21" y="165"/>
                  </a:lnTo>
                  <a:lnTo>
                    <a:pt x="21" y="162"/>
                  </a:lnTo>
                  <a:lnTo>
                    <a:pt x="23" y="161"/>
                  </a:lnTo>
                  <a:lnTo>
                    <a:pt x="23" y="155"/>
                  </a:lnTo>
                  <a:lnTo>
                    <a:pt x="21" y="155"/>
                  </a:lnTo>
                  <a:lnTo>
                    <a:pt x="21" y="156"/>
                  </a:lnTo>
                  <a:lnTo>
                    <a:pt x="19" y="156"/>
                  </a:lnTo>
                  <a:lnTo>
                    <a:pt x="18" y="155"/>
                  </a:lnTo>
                  <a:lnTo>
                    <a:pt x="18" y="154"/>
                  </a:lnTo>
                  <a:lnTo>
                    <a:pt x="17" y="153"/>
                  </a:lnTo>
                  <a:lnTo>
                    <a:pt x="17" y="150"/>
                  </a:lnTo>
                  <a:lnTo>
                    <a:pt x="15" y="150"/>
                  </a:lnTo>
                  <a:lnTo>
                    <a:pt x="15" y="149"/>
                  </a:lnTo>
                  <a:lnTo>
                    <a:pt x="14" y="147"/>
                  </a:lnTo>
                  <a:lnTo>
                    <a:pt x="12" y="147"/>
                  </a:lnTo>
                  <a:lnTo>
                    <a:pt x="8" y="143"/>
                  </a:lnTo>
                  <a:lnTo>
                    <a:pt x="7" y="143"/>
                  </a:lnTo>
                  <a:lnTo>
                    <a:pt x="6" y="142"/>
                  </a:lnTo>
                  <a:lnTo>
                    <a:pt x="5" y="142"/>
                  </a:lnTo>
                  <a:lnTo>
                    <a:pt x="4" y="141"/>
                  </a:lnTo>
                  <a:lnTo>
                    <a:pt x="4" y="138"/>
                  </a:lnTo>
                  <a:lnTo>
                    <a:pt x="2" y="137"/>
                  </a:lnTo>
                  <a:lnTo>
                    <a:pt x="0" y="134"/>
                  </a:lnTo>
                  <a:lnTo>
                    <a:pt x="1" y="131"/>
                  </a:lnTo>
                  <a:lnTo>
                    <a:pt x="8" y="131"/>
                  </a:lnTo>
                  <a:lnTo>
                    <a:pt x="9" y="130"/>
                  </a:lnTo>
                  <a:lnTo>
                    <a:pt x="11" y="130"/>
                  </a:lnTo>
                  <a:lnTo>
                    <a:pt x="13" y="131"/>
                  </a:lnTo>
                  <a:lnTo>
                    <a:pt x="14" y="132"/>
                  </a:lnTo>
                  <a:lnTo>
                    <a:pt x="18" y="132"/>
                  </a:lnTo>
                  <a:lnTo>
                    <a:pt x="19" y="131"/>
                  </a:lnTo>
                  <a:lnTo>
                    <a:pt x="19" y="129"/>
                  </a:lnTo>
                  <a:lnTo>
                    <a:pt x="21" y="129"/>
                  </a:lnTo>
                  <a:lnTo>
                    <a:pt x="21" y="128"/>
                  </a:lnTo>
                  <a:lnTo>
                    <a:pt x="20" y="126"/>
                  </a:lnTo>
                  <a:lnTo>
                    <a:pt x="21" y="126"/>
                  </a:lnTo>
                  <a:lnTo>
                    <a:pt x="23" y="124"/>
                  </a:lnTo>
                  <a:lnTo>
                    <a:pt x="26" y="124"/>
                  </a:lnTo>
                  <a:lnTo>
                    <a:pt x="26" y="125"/>
                  </a:lnTo>
                  <a:lnTo>
                    <a:pt x="27" y="125"/>
                  </a:lnTo>
                  <a:lnTo>
                    <a:pt x="27" y="124"/>
                  </a:lnTo>
                  <a:lnTo>
                    <a:pt x="29" y="124"/>
                  </a:lnTo>
                  <a:lnTo>
                    <a:pt x="30" y="125"/>
                  </a:lnTo>
                  <a:lnTo>
                    <a:pt x="32" y="125"/>
                  </a:lnTo>
                  <a:lnTo>
                    <a:pt x="33" y="126"/>
                  </a:lnTo>
                  <a:lnTo>
                    <a:pt x="35" y="126"/>
                  </a:lnTo>
                  <a:lnTo>
                    <a:pt x="36" y="124"/>
                  </a:lnTo>
                  <a:lnTo>
                    <a:pt x="37" y="123"/>
                  </a:lnTo>
                  <a:lnTo>
                    <a:pt x="38" y="124"/>
                  </a:lnTo>
                  <a:lnTo>
                    <a:pt x="38" y="122"/>
                  </a:lnTo>
                  <a:lnTo>
                    <a:pt x="39" y="120"/>
                  </a:lnTo>
                  <a:lnTo>
                    <a:pt x="39" y="117"/>
                  </a:lnTo>
                  <a:lnTo>
                    <a:pt x="40" y="116"/>
                  </a:lnTo>
                  <a:lnTo>
                    <a:pt x="43" y="116"/>
                  </a:lnTo>
                  <a:lnTo>
                    <a:pt x="44" y="114"/>
                  </a:lnTo>
                  <a:lnTo>
                    <a:pt x="44" y="113"/>
                  </a:lnTo>
                  <a:lnTo>
                    <a:pt x="43" y="111"/>
                  </a:lnTo>
                  <a:lnTo>
                    <a:pt x="43" y="108"/>
                  </a:lnTo>
                  <a:lnTo>
                    <a:pt x="44" y="108"/>
                  </a:lnTo>
                  <a:lnTo>
                    <a:pt x="44" y="104"/>
                  </a:lnTo>
                  <a:lnTo>
                    <a:pt x="45" y="102"/>
                  </a:lnTo>
                  <a:lnTo>
                    <a:pt x="49" y="102"/>
                  </a:lnTo>
                  <a:lnTo>
                    <a:pt x="50" y="101"/>
                  </a:lnTo>
                  <a:lnTo>
                    <a:pt x="50" y="99"/>
                  </a:lnTo>
                  <a:lnTo>
                    <a:pt x="52" y="99"/>
                  </a:lnTo>
                  <a:lnTo>
                    <a:pt x="54" y="98"/>
                  </a:lnTo>
                  <a:lnTo>
                    <a:pt x="54" y="96"/>
                  </a:lnTo>
                  <a:lnTo>
                    <a:pt x="52" y="95"/>
                  </a:lnTo>
                  <a:lnTo>
                    <a:pt x="51" y="95"/>
                  </a:lnTo>
                  <a:lnTo>
                    <a:pt x="52" y="94"/>
                  </a:lnTo>
                  <a:lnTo>
                    <a:pt x="54" y="91"/>
                  </a:lnTo>
                  <a:lnTo>
                    <a:pt x="55" y="89"/>
                  </a:lnTo>
                  <a:lnTo>
                    <a:pt x="56" y="89"/>
                  </a:lnTo>
                  <a:lnTo>
                    <a:pt x="56" y="88"/>
                  </a:lnTo>
                  <a:lnTo>
                    <a:pt x="57" y="88"/>
                  </a:lnTo>
                  <a:lnTo>
                    <a:pt x="57" y="85"/>
                  </a:lnTo>
                  <a:lnTo>
                    <a:pt x="60" y="83"/>
                  </a:lnTo>
                  <a:lnTo>
                    <a:pt x="60" y="80"/>
                  </a:lnTo>
                  <a:lnTo>
                    <a:pt x="61" y="80"/>
                  </a:lnTo>
                  <a:lnTo>
                    <a:pt x="60" y="79"/>
                  </a:lnTo>
                  <a:lnTo>
                    <a:pt x="58" y="79"/>
                  </a:lnTo>
                  <a:lnTo>
                    <a:pt x="58" y="77"/>
                  </a:lnTo>
                  <a:lnTo>
                    <a:pt x="61" y="76"/>
                  </a:lnTo>
                  <a:lnTo>
                    <a:pt x="61" y="75"/>
                  </a:lnTo>
                  <a:lnTo>
                    <a:pt x="63" y="74"/>
                  </a:lnTo>
                  <a:lnTo>
                    <a:pt x="64" y="73"/>
                  </a:lnTo>
                  <a:lnTo>
                    <a:pt x="64" y="70"/>
                  </a:lnTo>
                  <a:lnTo>
                    <a:pt x="65" y="70"/>
                  </a:lnTo>
                  <a:lnTo>
                    <a:pt x="67" y="69"/>
                  </a:lnTo>
                  <a:lnTo>
                    <a:pt x="67" y="65"/>
                  </a:lnTo>
                  <a:lnTo>
                    <a:pt x="68" y="64"/>
                  </a:lnTo>
                  <a:lnTo>
                    <a:pt x="68" y="61"/>
                  </a:lnTo>
                  <a:lnTo>
                    <a:pt x="70" y="58"/>
                  </a:lnTo>
                  <a:lnTo>
                    <a:pt x="70" y="57"/>
                  </a:lnTo>
                  <a:lnTo>
                    <a:pt x="71" y="57"/>
                  </a:lnTo>
                  <a:lnTo>
                    <a:pt x="74" y="56"/>
                  </a:lnTo>
                  <a:lnTo>
                    <a:pt x="74" y="49"/>
                  </a:lnTo>
                  <a:lnTo>
                    <a:pt x="75" y="48"/>
                  </a:lnTo>
                  <a:lnTo>
                    <a:pt x="76" y="45"/>
                  </a:lnTo>
                  <a:lnTo>
                    <a:pt x="81" y="43"/>
                  </a:lnTo>
                  <a:lnTo>
                    <a:pt x="81" y="40"/>
                  </a:lnTo>
                  <a:lnTo>
                    <a:pt x="82" y="39"/>
                  </a:lnTo>
                  <a:lnTo>
                    <a:pt x="82" y="38"/>
                  </a:lnTo>
                  <a:lnTo>
                    <a:pt x="87" y="33"/>
                  </a:lnTo>
                  <a:lnTo>
                    <a:pt x="92" y="33"/>
                  </a:lnTo>
                  <a:lnTo>
                    <a:pt x="92" y="31"/>
                  </a:lnTo>
                  <a:lnTo>
                    <a:pt x="93" y="30"/>
                  </a:lnTo>
                  <a:lnTo>
                    <a:pt x="96" y="32"/>
                  </a:lnTo>
                  <a:lnTo>
                    <a:pt x="100" y="32"/>
                  </a:lnTo>
                  <a:lnTo>
                    <a:pt x="105" y="27"/>
                  </a:lnTo>
                  <a:lnTo>
                    <a:pt x="106" y="27"/>
                  </a:lnTo>
                  <a:lnTo>
                    <a:pt x="106" y="25"/>
                  </a:lnTo>
                  <a:lnTo>
                    <a:pt x="107" y="24"/>
                  </a:lnTo>
                  <a:lnTo>
                    <a:pt x="108" y="24"/>
                  </a:lnTo>
                  <a:lnTo>
                    <a:pt x="111" y="21"/>
                  </a:lnTo>
                  <a:lnTo>
                    <a:pt x="111" y="20"/>
                  </a:lnTo>
                  <a:lnTo>
                    <a:pt x="112" y="20"/>
                  </a:lnTo>
                  <a:lnTo>
                    <a:pt x="113" y="19"/>
                  </a:lnTo>
                  <a:lnTo>
                    <a:pt x="113" y="16"/>
                  </a:lnTo>
                  <a:lnTo>
                    <a:pt x="114" y="16"/>
                  </a:lnTo>
                  <a:lnTo>
                    <a:pt x="116" y="18"/>
                  </a:lnTo>
                  <a:lnTo>
                    <a:pt x="117" y="18"/>
                  </a:lnTo>
                  <a:lnTo>
                    <a:pt x="119" y="16"/>
                  </a:lnTo>
                  <a:lnTo>
                    <a:pt x="119" y="15"/>
                  </a:lnTo>
                  <a:lnTo>
                    <a:pt x="120" y="12"/>
                  </a:lnTo>
                  <a:lnTo>
                    <a:pt x="122" y="11"/>
                  </a:lnTo>
                  <a:lnTo>
                    <a:pt x="123" y="11"/>
                  </a:lnTo>
                  <a:lnTo>
                    <a:pt x="126" y="12"/>
                  </a:lnTo>
                  <a:lnTo>
                    <a:pt x="131" y="16"/>
                  </a:lnTo>
                  <a:lnTo>
                    <a:pt x="131" y="18"/>
                  </a:lnTo>
                  <a:lnTo>
                    <a:pt x="133" y="18"/>
                  </a:lnTo>
                  <a:lnTo>
                    <a:pt x="136" y="19"/>
                  </a:lnTo>
                  <a:lnTo>
                    <a:pt x="137" y="19"/>
                  </a:lnTo>
                  <a:lnTo>
                    <a:pt x="137" y="18"/>
                  </a:lnTo>
                  <a:lnTo>
                    <a:pt x="138" y="16"/>
                  </a:lnTo>
                  <a:lnTo>
                    <a:pt x="144" y="16"/>
                  </a:lnTo>
                  <a:lnTo>
                    <a:pt x="145" y="18"/>
                  </a:lnTo>
                  <a:lnTo>
                    <a:pt x="150" y="18"/>
                  </a:lnTo>
                  <a:lnTo>
                    <a:pt x="153" y="20"/>
                  </a:lnTo>
                  <a:lnTo>
                    <a:pt x="153" y="21"/>
                  </a:lnTo>
                  <a:lnTo>
                    <a:pt x="154" y="21"/>
                  </a:lnTo>
                  <a:lnTo>
                    <a:pt x="157" y="19"/>
                  </a:lnTo>
                  <a:lnTo>
                    <a:pt x="158" y="19"/>
                  </a:lnTo>
                  <a:lnTo>
                    <a:pt x="160" y="20"/>
                  </a:lnTo>
                  <a:lnTo>
                    <a:pt x="162" y="20"/>
                  </a:lnTo>
                  <a:lnTo>
                    <a:pt x="164" y="22"/>
                  </a:lnTo>
                  <a:lnTo>
                    <a:pt x="167" y="24"/>
                  </a:lnTo>
                  <a:lnTo>
                    <a:pt x="168" y="24"/>
                  </a:lnTo>
                  <a:lnTo>
                    <a:pt x="172" y="21"/>
                  </a:lnTo>
                  <a:lnTo>
                    <a:pt x="173" y="21"/>
                  </a:lnTo>
                  <a:lnTo>
                    <a:pt x="175" y="20"/>
                  </a:lnTo>
                  <a:lnTo>
                    <a:pt x="182" y="20"/>
                  </a:lnTo>
                  <a:lnTo>
                    <a:pt x="185" y="21"/>
                  </a:lnTo>
                  <a:lnTo>
                    <a:pt x="185" y="22"/>
                  </a:lnTo>
                  <a:lnTo>
                    <a:pt x="186" y="24"/>
                  </a:lnTo>
                  <a:lnTo>
                    <a:pt x="186" y="26"/>
                  </a:lnTo>
                  <a:lnTo>
                    <a:pt x="187" y="27"/>
                  </a:lnTo>
                  <a:lnTo>
                    <a:pt x="188" y="27"/>
                  </a:lnTo>
                  <a:lnTo>
                    <a:pt x="192" y="28"/>
                  </a:lnTo>
                  <a:lnTo>
                    <a:pt x="193" y="30"/>
                  </a:lnTo>
                  <a:lnTo>
                    <a:pt x="193" y="31"/>
                  </a:lnTo>
                  <a:lnTo>
                    <a:pt x="194" y="33"/>
                  </a:lnTo>
                  <a:lnTo>
                    <a:pt x="195" y="34"/>
                  </a:lnTo>
                  <a:lnTo>
                    <a:pt x="201" y="34"/>
                  </a:lnTo>
                  <a:lnTo>
                    <a:pt x="204" y="33"/>
                  </a:lnTo>
                  <a:lnTo>
                    <a:pt x="206" y="31"/>
                  </a:lnTo>
                  <a:lnTo>
                    <a:pt x="210" y="25"/>
                  </a:lnTo>
                  <a:lnTo>
                    <a:pt x="212" y="24"/>
                  </a:lnTo>
                  <a:lnTo>
                    <a:pt x="232" y="21"/>
                  </a:lnTo>
                  <a:lnTo>
                    <a:pt x="237" y="19"/>
                  </a:lnTo>
                  <a:lnTo>
                    <a:pt x="242" y="19"/>
                  </a:lnTo>
                  <a:lnTo>
                    <a:pt x="244" y="18"/>
                  </a:lnTo>
                  <a:lnTo>
                    <a:pt x="250" y="18"/>
                  </a:lnTo>
                  <a:lnTo>
                    <a:pt x="250" y="16"/>
                  </a:lnTo>
                  <a:lnTo>
                    <a:pt x="251" y="14"/>
                  </a:lnTo>
                  <a:lnTo>
                    <a:pt x="253" y="14"/>
                  </a:lnTo>
                  <a:lnTo>
                    <a:pt x="253" y="13"/>
                  </a:lnTo>
                  <a:lnTo>
                    <a:pt x="254" y="12"/>
                  </a:lnTo>
                  <a:lnTo>
                    <a:pt x="254" y="11"/>
                  </a:lnTo>
                  <a:lnTo>
                    <a:pt x="255" y="9"/>
                  </a:lnTo>
                  <a:lnTo>
                    <a:pt x="255" y="6"/>
                  </a:lnTo>
                  <a:lnTo>
                    <a:pt x="256" y="3"/>
                  </a:lnTo>
                  <a:lnTo>
                    <a:pt x="257" y="3"/>
                  </a:lnTo>
                  <a:lnTo>
                    <a:pt x="259" y="2"/>
                  </a:lnTo>
                  <a:lnTo>
                    <a:pt x="262" y="2"/>
                  </a:lnTo>
                  <a:lnTo>
                    <a:pt x="268" y="1"/>
                  </a:lnTo>
                  <a:lnTo>
                    <a:pt x="269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2">
              <a:extLst>
                <a:ext uri="{FF2B5EF4-FFF2-40B4-BE49-F238E27FC236}">
                  <a16:creationId xmlns:a16="http://schemas.microsoft.com/office/drawing/2014/main" id="{562A2786-9D3D-4DB3-8359-643FBA9698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91163" y="3922713"/>
              <a:ext cx="671513" cy="635000"/>
            </a:xfrm>
            <a:custGeom>
              <a:avLst/>
              <a:gdLst/>
              <a:ahLst/>
              <a:cxnLst>
                <a:cxn ang="0">
                  <a:pos x="195" y="11"/>
                </a:cxn>
                <a:cxn ang="0">
                  <a:pos x="195" y="10"/>
                </a:cxn>
                <a:cxn ang="0">
                  <a:pos x="179" y="0"/>
                </a:cxn>
                <a:cxn ang="0">
                  <a:pos x="185" y="13"/>
                </a:cxn>
                <a:cxn ang="0">
                  <a:pos x="195" y="34"/>
                </a:cxn>
                <a:cxn ang="0">
                  <a:pos x="235" y="30"/>
                </a:cxn>
                <a:cxn ang="0">
                  <a:pos x="370" y="32"/>
                </a:cxn>
                <a:cxn ang="0">
                  <a:pos x="391" y="45"/>
                </a:cxn>
                <a:cxn ang="0">
                  <a:pos x="397" y="76"/>
                </a:cxn>
                <a:cxn ang="0">
                  <a:pos x="413" y="124"/>
                </a:cxn>
                <a:cxn ang="0">
                  <a:pos x="383" y="182"/>
                </a:cxn>
                <a:cxn ang="0">
                  <a:pos x="397" y="192"/>
                </a:cxn>
                <a:cxn ang="0">
                  <a:pos x="402" y="208"/>
                </a:cxn>
                <a:cxn ang="0">
                  <a:pos x="398" y="226"/>
                </a:cxn>
                <a:cxn ang="0">
                  <a:pos x="403" y="244"/>
                </a:cxn>
                <a:cxn ang="0">
                  <a:pos x="412" y="262"/>
                </a:cxn>
                <a:cxn ang="0">
                  <a:pos x="420" y="281"/>
                </a:cxn>
                <a:cxn ang="0">
                  <a:pos x="421" y="299"/>
                </a:cxn>
                <a:cxn ang="0">
                  <a:pos x="400" y="318"/>
                </a:cxn>
                <a:cxn ang="0">
                  <a:pos x="365" y="360"/>
                </a:cxn>
                <a:cxn ang="0">
                  <a:pos x="364" y="389"/>
                </a:cxn>
                <a:cxn ang="0">
                  <a:pos x="364" y="398"/>
                </a:cxn>
                <a:cxn ang="0">
                  <a:pos x="338" y="388"/>
                </a:cxn>
                <a:cxn ang="0">
                  <a:pos x="321" y="375"/>
                </a:cxn>
                <a:cxn ang="0">
                  <a:pos x="299" y="374"/>
                </a:cxn>
                <a:cxn ang="0">
                  <a:pos x="289" y="381"/>
                </a:cxn>
                <a:cxn ang="0">
                  <a:pos x="267" y="374"/>
                </a:cxn>
                <a:cxn ang="0">
                  <a:pos x="252" y="388"/>
                </a:cxn>
                <a:cxn ang="0">
                  <a:pos x="240" y="382"/>
                </a:cxn>
                <a:cxn ang="0">
                  <a:pos x="227" y="363"/>
                </a:cxn>
                <a:cxn ang="0">
                  <a:pos x="210" y="375"/>
                </a:cxn>
                <a:cxn ang="0">
                  <a:pos x="198" y="361"/>
                </a:cxn>
                <a:cxn ang="0">
                  <a:pos x="189" y="350"/>
                </a:cxn>
                <a:cxn ang="0">
                  <a:pos x="178" y="340"/>
                </a:cxn>
                <a:cxn ang="0">
                  <a:pos x="166" y="332"/>
                </a:cxn>
                <a:cxn ang="0">
                  <a:pos x="153" y="329"/>
                </a:cxn>
                <a:cxn ang="0">
                  <a:pos x="150" y="314"/>
                </a:cxn>
                <a:cxn ang="0">
                  <a:pos x="131" y="313"/>
                </a:cxn>
                <a:cxn ang="0">
                  <a:pos x="118" y="313"/>
                </a:cxn>
                <a:cxn ang="0">
                  <a:pos x="118" y="321"/>
                </a:cxn>
                <a:cxn ang="0">
                  <a:pos x="99" y="317"/>
                </a:cxn>
                <a:cxn ang="0">
                  <a:pos x="92" y="303"/>
                </a:cxn>
                <a:cxn ang="0">
                  <a:pos x="87" y="294"/>
                </a:cxn>
                <a:cxn ang="0">
                  <a:pos x="75" y="290"/>
                </a:cxn>
                <a:cxn ang="0">
                  <a:pos x="53" y="284"/>
                </a:cxn>
                <a:cxn ang="0">
                  <a:pos x="43" y="269"/>
                </a:cxn>
                <a:cxn ang="0">
                  <a:pos x="30" y="278"/>
                </a:cxn>
                <a:cxn ang="0">
                  <a:pos x="35" y="238"/>
                </a:cxn>
                <a:cxn ang="0">
                  <a:pos x="23" y="221"/>
                </a:cxn>
                <a:cxn ang="0">
                  <a:pos x="25" y="191"/>
                </a:cxn>
                <a:cxn ang="0">
                  <a:pos x="23" y="161"/>
                </a:cxn>
                <a:cxn ang="0">
                  <a:pos x="3" y="139"/>
                </a:cxn>
                <a:cxn ang="0">
                  <a:pos x="13" y="117"/>
                </a:cxn>
                <a:cxn ang="0">
                  <a:pos x="9" y="90"/>
                </a:cxn>
                <a:cxn ang="0">
                  <a:pos x="15" y="84"/>
                </a:cxn>
                <a:cxn ang="0">
                  <a:pos x="19" y="78"/>
                </a:cxn>
                <a:cxn ang="0">
                  <a:pos x="11" y="68"/>
                </a:cxn>
                <a:cxn ang="0">
                  <a:pos x="3" y="68"/>
                </a:cxn>
                <a:cxn ang="0">
                  <a:pos x="66" y="47"/>
                </a:cxn>
                <a:cxn ang="0">
                  <a:pos x="92" y="37"/>
                </a:cxn>
                <a:cxn ang="0">
                  <a:pos x="100" y="25"/>
                </a:cxn>
                <a:cxn ang="0">
                  <a:pos x="160" y="1"/>
                </a:cxn>
              </a:cxnLst>
              <a:rect l="0" t="0" r="r" b="b"/>
              <a:pathLst>
                <a:path w="423" h="400">
                  <a:moveTo>
                    <a:pt x="7" y="79"/>
                  </a:moveTo>
                  <a:lnTo>
                    <a:pt x="9" y="79"/>
                  </a:lnTo>
                  <a:lnTo>
                    <a:pt x="9" y="80"/>
                  </a:lnTo>
                  <a:lnTo>
                    <a:pt x="7" y="79"/>
                  </a:lnTo>
                  <a:close/>
                  <a:moveTo>
                    <a:pt x="85" y="41"/>
                  </a:moveTo>
                  <a:lnTo>
                    <a:pt x="86" y="41"/>
                  </a:lnTo>
                  <a:lnTo>
                    <a:pt x="84" y="42"/>
                  </a:lnTo>
                  <a:lnTo>
                    <a:pt x="85" y="41"/>
                  </a:lnTo>
                  <a:close/>
                  <a:moveTo>
                    <a:pt x="92" y="35"/>
                  </a:moveTo>
                  <a:lnTo>
                    <a:pt x="90" y="37"/>
                  </a:lnTo>
                  <a:lnTo>
                    <a:pt x="92" y="35"/>
                  </a:lnTo>
                  <a:close/>
                  <a:moveTo>
                    <a:pt x="195" y="11"/>
                  </a:moveTo>
                  <a:lnTo>
                    <a:pt x="196" y="11"/>
                  </a:lnTo>
                  <a:lnTo>
                    <a:pt x="198" y="14"/>
                  </a:lnTo>
                  <a:lnTo>
                    <a:pt x="199" y="16"/>
                  </a:lnTo>
                  <a:lnTo>
                    <a:pt x="199" y="18"/>
                  </a:lnTo>
                  <a:lnTo>
                    <a:pt x="198" y="18"/>
                  </a:lnTo>
                  <a:lnTo>
                    <a:pt x="198" y="17"/>
                  </a:lnTo>
                  <a:lnTo>
                    <a:pt x="197" y="16"/>
                  </a:lnTo>
                  <a:lnTo>
                    <a:pt x="197" y="14"/>
                  </a:lnTo>
                  <a:lnTo>
                    <a:pt x="196" y="13"/>
                  </a:lnTo>
                  <a:lnTo>
                    <a:pt x="195" y="11"/>
                  </a:lnTo>
                  <a:close/>
                  <a:moveTo>
                    <a:pt x="193" y="10"/>
                  </a:moveTo>
                  <a:lnTo>
                    <a:pt x="195" y="10"/>
                  </a:lnTo>
                  <a:lnTo>
                    <a:pt x="195" y="11"/>
                  </a:lnTo>
                  <a:lnTo>
                    <a:pt x="193" y="10"/>
                  </a:lnTo>
                  <a:close/>
                  <a:moveTo>
                    <a:pt x="184" y="4"/>
                  </a:moveTo>
                  <a:lnTo>
                    <a:pt x="193" y="10"/>
                  </a:lnTo>
                  <a:lnTo>
                    <a:pt x="192" y="10"/>
                  </a:lnTo>
                  <a:lnTo>
                    <a:pt x="191" y="8"/>
                  </a:lnTo>
                  <a:lnTo>
                    <a:pt x="190" y="8"/>
                  </a:lnTo>
                  <a:lnTo>
                    <a:pt x="185" y="6"/>
                  </a:lnTo>
                  <a:lnTo>
                    <a:pt x="185" y="5"/>
                  </a:lnTo>
                  <a:lnTo>
                    <a:pt x="184" y="4"/>
                  </a:lnTo>
                  <a:close/>
                  <a:moveTo>
                    <a:pt x="171" y="0"/>
                  </a:moveTo>
                  <a:lnTo>
                    <a:pt x="179" y="0"/>
                  </a:lnTo>
                  <a:lnTo>
                    <a:pt x="180" y="1"/>
                  </a:lnTo>
                  <a:lnTo>
                    <a:pt x="180" y="2"/>
                  </a:lnTo>
                  <a:lnTo>
                    <a:pt x="181" y="2"/>
                  </a:lnTo>
                  <a:lnTo>
                    <a:pt x="184" y="4"/>
                  </a:lnTo>
                  <a:lnTo>
                    <a:pt x="183" y="4"/>
                  </a:lnTo>
                  <a:lnTo>
                    <a:pt x="183" y="5"/>
                  </a:lnTo>
                  <a:lnTo>
                    <a:pt x="181" y="6"/>
                  </a:lnTo>
                  <a:lnTo>
                    <a:pt x="181" y="8"/>
                  </a:lnTo>
                  <a:lnTo>
                    <a:pt x="183" y="8"/>
                  </a:lnTo>
                  <a:lnTo>
                    <a:pt x="184" y="10"/>
                  </a:lnTo>
                  <a:lnTo>
                    <a:pt x="184" y="13"/>
                  </a:lnTo>
                  <a:lnTo>
                    <a:pt x="185" y="13"/>
                  </a:lnTo>
                  <a:lnTo>
                    <a:pt x="184" y="14"/>
                  </a:lnTo>
                  <a:lnTo>
                    <a:pt x="185" y="16"/>
                  </a:lnTo>
                  <a:lnTo>
                    <a:pt x="186" y="16"/>
                  </a:lnTo>
                  <a:lnTo>
                    <a:pt x="186" y="17"/>
                  </a:lnTo>
                  <a:lnTo>
                    <a:pt x="187" y="17"/>
                  </a:lnTo>
                  <a:lnTo>
                    <a:pt x="189" y="20"/>
                  </a:lnTo>
                  <a:lnTo>
                    <a:pt x="189" y="30"/>
                  </a:lnTo>
                  <a:lnTo>
                    <a:pt x="190" y="30"/>
                  </a:lnTo>
                  <a:lnTo>
                    <a:pt x="191" y="31"/>
                  </a:lnTo>
                  <a:lnTo>
                    <a:pt x="193" y="31"/>
                  </a:lnTo>
                  <a:lnTo>
                    <a:pt x="193" y="32"/>
                  </a:lnTo>
                  <a:lnTo>
                    <a:pt x="195" y="34"/>
                  </a:lnTo>
                  <a:lnTo>
                    <a:pt x="202" y="36"/>
                  </a:lnTo>
                  <a:lnTo>
                    <a:pt x="203" y="36"/>
                  </a:lnTo>
                  <a:lnTo>
                    <a:pt x="204" y="35"/>
                  </a:lnTo>
                  <a:lnTo>
                    <a:pt x="205" y="36"/>
                  </a:lnTo>
                  <a:lnTo>
                    <a:pt x="207" y="36"/>
                  </a:lnTo>
                  <a:lnTo>
                    <a:pt x="222" y="34"/>
                  </a:lnTo>
                  <a:lnTo>
                    <a:pt x="226" y="32"/>
                  </a:lnTo>
                  <a:lnTo>
                    <a:pt x="228" y="31"/>
                  </a:lnTo>
                  <a:lnTo>
                    <a:pt x="229" y="31"/>
                  </a:lnTo>
                  <a:lnTo>
                    <a:pt x="233" y="28"/>
                  </a:lnTo>
                  <a:lnTo>
                    <a:pt x="233" y="29"/>
                  </a:lnTo>
                  <a:lnTo>
                    <a:pt x="235" y="30"/>
                  </a:lnTo>
                  <a:lnTo>
                    <a:pt x="247" y="30"/>
                  </a:lnTo>
                  <a:lnTo>
                    <a:pt x="264" y="31"/>
                  </a:lnTo>
                  <a:lnTo>
                    <a:pt x="288" y="32"/>
                  </a:lnTo>
                  <a:lnTo>
                    <a:pt x="303" y="34"/>
                  </a:lnTo>
                  <a:lnTo>
                    <a:pt x="321" y="34"/>
                  </a:lnTo>
                  <a:lnTo>
                    <a:pt x="345" y="35"/>
                  </a:lnTo>
                  <a:lnTo>
                    <a:pt x="354" y="36"/>
                  </a:lnTo>
                  <a:lnTo>
                    <a:pt x="363" y="36"/>
                  </a:lnTo>
                  <a:lnTo>
                    <a:pt x="365" y="35"/>
                  </a:lnTo>
                  <a:lnTo>
                    <a:pt x="366" y="35"/>
                  </a:lnTo>
                  <a:lnTo>
                    <a:pt x="367" y="32"/>
                  </a:lnTo>
                  <a:lnTo>
                    <a:pt x="370" y="32"/>
                  </a:lnTo>
                  <a:lnTo>
                    <a:pt x="372" y="34"/>
                  </a:lnTo>
                  <a:lnTo>
                    <a:pt x="375" y="34"/>
                  </a:lnTo>
                  <a:lnTo>
                    <a:pt x="375" y="36"/>
                  </a:lnTo>
                  <a:lnTo>
                    <a:pt x="377" y="36"/>
                  </a:lnTo>
                  <a:lnTo>
                    <a:pt x="377" y="39"/>
                  </a:lnTo>
                  <a:lnTo>
                    <a:pt x="381" y="39"/>
                  </a:lnTo>
                  <a:lnTo>
                    <a:pt x="384" y="42"/>
                  </a:lnTo>
                  <a:lnTo>
                    <a:pt x="385" y="43"/>
                  </a:lnTo>
                  <a:lnTo>
                    <a:pt x="389" y="44"/>
                  </a:lnTo>
                  <a:lnTo>
                    <a:pt x="390" y="44"/>
                  </a:lnTo>
                  <a:lnTo>
                    <a:pt x="390" y="45"/>
                  </a:lnTo>
                  <a:lnTo>
                    <a:pt x="391" y="45"/>
                  </a:lnTo>
                  <a:lnTo>
                    <a:pt x="391" y="48"/>
                  </a:lnTo>
                  <a:lnTo>
                    <a:pt x="392" y="48"/>
                  </a:lnTo>
                  <a:lnTo>
                    <a:pt x="395" y="50"/>
                  </a:lnTo>
                  <a:lnTo>
                    <a:pt x="395" y="53"/>
                  </a:lnTo>
                  <a:lnTo>
                    <a:pt x="396" y="54"/>
                  </a:lnTo>
                  <a:lnTo>
                    <a:pt x="396" y="61"/>
                  </a:lnTo>
                  <a:lnTo>
                    <a:pt x="395" y="61"/>
                  </a:lnTo>
                  <a:lnTo>
                    <a:pt x="395" y="63"/>
                  </a:lnTo>
                  <a:lnTo>
                    <a:pt x="396" y="63"/>
                  </a:lnTo>
                  <a:lnTo>
                    <a:pt x="396" y="69"/>
                  </a:lnTo>
                  <a:lnTo>
                    <a:pt x="397" y="71"/>
                  </a:lnTo>
                  <a:lnTo>
                    <a:pt x="397" y="76"/>
                  </a:lnTo>
                  <a:lnTo>
                    <a:pt x="400" y="79"/>
                  </a:lnTo>
                  <a:lnTo>
                    <a:pt x="400" y="84"/>
                  </a:lnTo>
                  <a:lnTo>
                    <a:pt x="401" y="88"/>
                  </a:lnTo>
                  <a:lnTo>
                    <a:pt x="404" y="99"/>
                  </a:lnTo>
                  <a:lnTo>
                    <a:pt x="406" y="104"/>
                  </a:lnTo>
                  <a:lnTo>
                    <a:pt x="407" y="106"/>
                  </a:lnTo>
                  <a:lnTo>
                    <a:pt x="408" y="112"/>
                  </a:lnTo>
                  <a:lnTo>
                    <a:pt x="409" y="115"/>
                  </a:lnTo>
                  <a:lnTo>
                    <a:pt x="410" y="116"/>
                  </a:lnTo>
                  <a:lnTo>
                    <a:pt x="410" y="118"/>
                  </a:lnTo>
                  <a:lnTo>
                    <a:pt x="413" y="121"/>
                  </a:lnTo>
                  <a:lnTo>
                    <a:pt x="413" y="124"/>
                  </a:lnTo>
                  <a:lnTo>
                    <a:pt x="412" y="124"/>
                  </a:lnTo>
                  <a:lnTo>
                    <a:pt x="412" y="128"/>
                  </a:lnTo>
                  <a:lnTo>
                    <a:pt x="413" y="130"/>
                  </a:lnTo>
                  <a:lnTo>
                    <a:pt x="414" y="131"/>
                  </a:lnTo>
                  <a:lnTo>
                    <a:pt x="414" y="153"/>
                  </a:lnTo>
                  <a:lnTo>
                    <a:pt x="412" y="155"/>
                  </a:lnTo>
                  <a:lnTo>
                    <a:pt x="407" y="159"/>
                  </a:lnTo>
                  <a:lnTo>
                    <a:pt x="396" y="162"/>
                  </a:lnTo>
                  <a:lnTo>
                    <a:pt x="392" y="166"/>
                  </a:lnTo>
                  <a:lnTo>
                    <a:pt x="386" y="174"/>
                  </a:lnTo>
                  <a:lnTo>
                    <a:pt x="384" y="177"/>
                  </a:lnTo>
                  <a:lnTo>
                    <a:pt x="383" y="182"/>
                  </a:lnTo>
                  <a:lnTo>
                    <a:pt x="384" y="183"/>
                  </a:lnTo>
                  <a:lnTo>
                    <a:pt x="383" y="185"/>
                  </a:lnTo>
                  <a:lnTo>
                    <a:pt x="384" y="185"/>
                  </a:lnTo>
                  <a:lnTo>
                    <a:pt x="388" y="186"/>
                  </a:lnTo>
                  <a:lnTo>
                    <a:pt x="388" y="185"/>
                  </a:lnTo>
                  <a:lnTo>
                    <a:pt x="389" y="186"/>
                  </a:lnTo>
                  <a:lnTo>
                    <a:pt x="391" y="188"/>
                  </a:lnTo>
                  <a:lnTo>
                    <a:pt x="392" y="188"/>
                  </a:lnTo>
                  <a:lnTo>
                    <a:pt x="391" y="189"/>
                  </a:lnTo>
                  <a:lnTo>
                    <a:pt x="396" y="189"/>
                  </a:lnTo>
                  <a:lnTo>
                    <a:pt x="396" y="190"/>
                  </a:lnTo>
                  <a:lnTo>
                    <a:pt x="397" y="192"/>
                  </a:lnTo>
                  <a:lnTo>
                    <a:pt x="400" y="192"/>
                  </a:lnTo>
                  <a:lnTo>
                    <a:pt x="401" y="194"/>
                  </a:lnTo>
                  <a:lnTo>
                    <a:pt x="401" y="195"/>
                  </a:lnTo>
                  <a:lnTo>
                    <a:pt x="402" y="195"/>
                  </a:lnTo>
                  <a:lnTo>
                    <a:pt x="402" y="197"/>
                  </a:lnTo>
                  <a:lnTo>
                    <a:pt x="403" y="198"/>
                  </a:lnTo>
                  <a:lnTo>
                    <a:pt x="403" y="201"/>
                  </a:lnTo>
                  <a:lnTo>
                    <a:pt x="404" y="202"/>
                  </a:lnTo>
                  <a:lnTo>
                    <a:pt x="403" y="202"/>
                  </a:lnTo>
                  <a:lnTo>
                    <a:pt x="403" y="203"/>
                  </a:lnTo>
                  <a:lnTo>
                    <a:pt x="402" y="204"/>
                  </a:lnTo>
                  <a:lnTo>
                    <a:pt x="402" y="208"/>
                  </a:lnTo>
                  <a:lnTo>
                    <a:pt x="401" y="209"/>
                  </a:lnTo>
                  <a:lnTo>
                    <a:pt x="402" y="209"/>
                  </a:lnTo>
                  <a:lnTo>
                    <a:pt x="401" y="210"/>
                  </a:lnTo>
                  <a:lnTo>
                    <a:pt x="401" y="213"/>
                  </a:lnTo>
                  <a:lnTo>
                    <a:pt x="402" y="214"/>
                  </a:lnTo>
                  <a:lnTo>
                    <a:pt x="402" y="216"/>
                  </a:lnTo>
                  <a:lnTo>
                    <a:pt x="401" y="216"/>
                  </a:lnTo>
                  <a:lnTo>
                    <a:pt x="400" y="217"/>
                  </a:lnTo>
                  <a:lnTo>
                    <a:pt x="398" y="217"/>
                  </a:lnTo>
                  <a:lnTo>
                    <a:pt x="398" y="225"/>
                  </a:lnTo>
                  <a:lnTo>
                    <a:pt x="397" y="225"/>
                  </a:lnTo>
                  <a:lnTo>
                    <a:pt x="398" y="226"/>
                  </a:lnTo>
                  <a:lnTo>
                    <a:pt x="398" y="229"/>
                  </a:lnTo>
                  <a:lnTo>
                    <a:pt x="400" y="232"/>
                  </a:lnTo>
                  <a:lnTo>
                    <a:pt x="398" y="232"/>
                  </a:lnTo>
                  <a:lnTo>
                    <a:pt x="400" y="233"/>
                  </a:lnTo>
                  <a:lnTo>
                    <a:pt x="401" y="233"/>
                  </a:lnTo>
                  <a:lnTo>
                    <a:pt x="401" y="235"/>
                  </a:lnTo>
                  <a:lnTo>
                    <a:pt x="402" y="235"/>
                  </a:lnTo>
                  <a:lnTo>
                    <a:pt x="403" y="237"/>
                  </a:lnTo>
                  <a:lnTo>
                    <a:pt x="403" y="238"/>
                  </a:lnTo>
                  <a:lnTo>
                    <a:pt x="404" y="241"/>
                  </a:lnTo>
                  <a:lnTo>
                    <a:pt x="404" y="244"/>
                  </a:lnTo>
                  <a:lnTo>
                    <a:pt x="403" y="244"/>
                  </a:lnTo>
                  <a:lnTo>
                    <a:pt x="403" y="245"/>
                  </a:lnTo>
                  <a:lnTo>
                    <a:pt x="402" y="246"/>
                  </a:lnTo>
                  <a:lnTo>
                    <a:pt x="402" y="248"/>
                  </a:lnTo>
                  <a:lnTo>
                    <a:pt x="403" y="248"/>
                  </a:lnTo>
                  <a:lnTo>
                    <a:pt x="404" y="250"/>
                  </a:lnTo>
                  <a:lnTo>
                    <a:pt x="407" y="254"/>
                  </a:lnTo>
                  <a:lnTo>
                    <a:pt x="408" y="256"/>
                  </a:lnTo>
                  <a:lnTo>
                    <a:pt x="410" y="257"/>
                  </a:lnTo>
                  <a:lnTo>
                    <a:pt x="412" y="259"/>
                  </a:lnTo>
                  <a:lnTo>
                    <a:pt x="413" y="259"/>
                  </a:lnTo>
                  <a:lnTo>
                    <a:pt x="412" y="260"/>
                  </a:lnTo>
                  <a:lnTo>
                    <a:pt x="412" y="262"/>
                  </a:lnTo>
                  <a:lnTo>
                    <a:pt x="413" y="264"/>
                  </a:lnTo>
                  <a:lnTo>
                    <a:pt x="414" y="265"/>
                  </a:lnTo>
                  <a:lnTo>
                    <a:pt x="414" y="269"/>
                  </a:lnTo>
                  <a:lnTo>
                    <a:pt x="415" y="269"/>
                  </a:lnTo>
                  <a:lnTo>
                    <a:pt x="415" y="270"/>
                  </a:lnTo>
                  <a:lnTo>
                    <a:pt x="416" y="270"/>
                  </a:lnTo>
                  <a:lnTo>
                    <a:pt x="416" y="274"/>
                  </a:lnTo>
                  <a:lnTo>
                    <a:pt x="420" y="276"/>
                  </a:lnTo>
                  <a:lnTo>
                    <a:pt x="423" y="277"/>
                  </a:lnTo>
                  <a:lnTo>
                    <a:pt x="423" y="280"/>
                  </a:lnTo>
                  <a:lnTo>
                    <a:pt x="420" y="280"/>
                  </a:lnTo>
                  <a:lnTo>
                    <a:pt x="420" y="281"/>
                  </a:lnTo>
                  <a:lnTo>
                    <a:pt x="419" y="280"/>
                  </a:lnTo>
                  <a:lnTo>
                    <a:pt x="417" y="280"/>
                  </a:lnTo>
                  <a:lnTo>
                    <a:pt x="416" y="281"/>
                  </a:lnTo>
                  <a:lnTo>
                    <a:pt x="416" y="284"/>
                  </a:lnTo>
                  <a:lnTo>
                    <a:pt x="419" y="284"/>
                  </a:lnTo>
                  <a:lnTo>
                    <a:pt x="417" y="286"/>
                  </a:lnTo>
                  <a:lnTo>
                    <a:pt x="420" y="288"/>
                  </a:lnTo>
                  <a:lnTo>
                    <a:pt x="421" y="288"/>
                  </a:lnTo>
                  <a:lnTo>
                    <a:pt x="421" y="291"/>
                  </a:lnTo>
                  <a:lnTo>
                    <a:pt x="422" y="294"/>
                  </a:lnTo>
                  <a:lnTo>
                    <a:pt x="421" y="295"/>
                  </a:lnTo>
                  <a:lnTo>
                    <a:pt x="421" y="299"/>
                  </a:lnTo>
                  <a:lnTo>
                    <a:pt x="422" y="300"/>
                  </a:lnTo>
                  <a:lnTo>
                    <a:pt x="421" y="300"/>
                  </a:lnTo>
                  <a:lnTo>
                    <a:pt x="421" y="301"/>
                  </a:lnTo>
                  <a:lnTo>
                    <a:pt x="417" y="302"/>
                  </a:lnTo>
                  <a:lnTo>
                    <a:pt x="417" y="306"/>
                  </a:lnTo>
                  <a:lnTo>
                    <a:pt x="416" y="308"/>
                  </a:lnTo>
                  <a:lnTo>
                    <a:pt x="415" y="309"/>
                  </a:lnTo>
                  <a:lnTo>
                    <a:pt x="406" y="309"/>
                  </a:lnTo>
                  <a:lnTo>
                    <a:pt x="403" y="312"/>
                  </a:lnTo>
                  <a:lnTo>
                    <a:pt x="403" y="314"/>
                  </a:lnTo>
                  <a:lnTo>
                    <a:pt x="402" y="314"/>
                  </a:lnTo>
                  <a:lnTo>
                    <a:pt x="400" y="318"/>
                  </a:lnTo>
                  <a:lnTo>
                    <a:pt x="396" y="321"/>
                  </a:lnTo>
                  <a:lnTo>
                    <a:pt x="394" y="323"/>
                  </a:lnTo>
                  <a:lnTo>
                    <a:pt x="384" y="333"/>
                  </a:lnTo>
                  <a:lnTo>
                    <a:pt x="379" y="338"/>
                  </a:lnTo>
                  <a:lnTo>
                    <a:pt x="375" y="345"/>
                  </a:lnTo>
                  <a:lnTo>
                    <a:pt x="373" y="346"/>
                  </a:lnTo>
                  <a:lnTo>
                    <a:pt x="373" y="348"/>
                  </a:lnTo>
                  <a:lnTo>
                    <a:pt x="371" y="350"/>
                  </a:lnTo>
                  <a:lnTo>
                    <a:pt x="369" y="355"/>
                  </a:lnTo>
                  <a:lnTo>
                    <a:pt x="367" y="356"/>
                  </a:lnTo>
                  <a:lnTo>
                    <a:pt x="365" y="356"/>
                  </a:lnTo>
                  <a:lnTo>
                    <a:pt x="365" y="360"/>
                  </a:lnTo>
                  <a:lnTo>
                    <a:pt x="361" y="363"/>
                  </a:lnTo>
                  <a:lnTo>
                    <a:pt x="360" y="366"/>
                  </a:lnTo>
                  <a:lnTo>
                    <a:pt x="361" y="368"/>
                  </a:lnTo>
                  <a:lnTo>
                    <a:pt x="361" y="373"/>
                  </a:lnTo>
                  <a:lnTo>
                    <a:pt x="364" y="375"/>
                  </a:lnTo>
                  <a:lnTo>
                    <a:pt x="364" y="385"/>
                  </a:lnTo>
                  <a:lnTo>
                    <a:pt x="363" y="387"/>
                  </a:lnTo>
                  <a:lnTo>
                    <a:pt x="363" y="389"/>
                  </a:lnTo>
                  <a:lnTo>
                    <a:pt x="361" y="389"/>
                  </a:lnTo>
                  <a:lnTo>
                    <a:pt x="363" y="391"/>
                  </a:lnTo>
                  <a:lnTo>
                    <a:pt x="363" y="389"/>
                  </a:lnTo>
                  <a:lnTo>
                    <a:pt x="364" y="389"/>
                  </a:lnTo>
                  <a:lnTo>
                    <a:pt x="366" y="392"/>
                  </a:lnTo>
                  <a:lnTo>
                    <a:pt x="366" y="393"/>
                  </a:lnTo>
                  <a:lnTo>
                    <a:pt x="369" y="394"/>
                  </a:lnTo>
                  <a:lnTo>
                    <a:pt x="369" y="398"/>
                  </a:lnTo>
                  <a:lnTo>
                    <a:pt x="370" y="399"/>
                  </a:lnTo>
                  <a:lnTo>
                    <a:pt x="370" y="400"/>
                  </a:lnTo>
                  <a:lnTo>
                    <a:pt x="369" y="400"/>
                  </a:lnTo>
                  <a:lnTo>
                    <a:pt x="367" y="399"/>
                  </a:lnTo>
                  <a:lnTo>
                    <a:pt x="366" y="399"/>
                  </a:lnTo>
                  <a:lnTo>
                    <a:pt x="365" y="398"/>
                  </a:lnTo>
                  <a:lnTo>
                    <a:pt x="365" y="397"/>
                  </a:lnTo>
                  <a:lnTo>
                    <a:pt x="364" y="398"/>
                  </a:lnTo>
                  <a:lnTo>
                    <a:pt x="360" y="398"/>
                  </a:lnTo>
                  <a:lnTo>
                    <a:pt x="357" y="394"/>
                  </a:lnTo>
                  <a:lnTo>
                    <a:pt x="355" y="395"/>
                  </a:lnTo>
                  <a:lnTo>
                    <a:pt x="354" y="394"/>
                  </a:lnTo>
                  <a:lnTo>
                    <a:pt x="350" y="394"/>
                  </a:lnTo>
                  <a:lnTo>
                    <a:pt x="347" y="392"/>
                  </a:lnTo>
                  <a:lnTo>
                    <a:pt x="345" y="392"/>
                  </a:lnTo>
                  <a:lnTo>
                    <a:pt x="342" y="391"/>
                  </a:lnTo>
                  <a:lnTo>
                    <a:pt x="342" y="389"/>
                  </a:lnTo>
                  <a:lnTo>
                    <a:pt x="340" y="389"/>
                  </a:lnTo>
                  <a:lnTo>
                    <a:pt x="339" y="388"/>
                  </a:lnTo>
                  <a:lnTo>
                    <a:pt x="338" y="388"/>
                  </a:lnTo>
                  <a:lnTo>
                    <a:pt x="335" y="387"/>
                  </a:lnTo>
                  <a:lnTo>
                    <a:pt x="334" y="387"/>
                  </a:lnTo>
                  <a:lnTo>
                    <a:pt x="333" y="385"/>
                  </a:lnTo>
                  <a:lnTo>
                    <a:pt x="333" y="382"/>
                  </a:lnTo>
                  <a:lnTo>
                    <a:pt x="332" y="380"/>
                  </a:lnTo>
                  <a:lnTo>
                    <a:pt x="330" y="379"/>
                  </a:lnTo>
                  <a:lnTo>
                    <a:pt x="328" y="377"/>
                  </a:lnTo>
                  <a:lnTo>
                    <a:pt x="327" y="376"/>
                  </a:lnTo>
                  <a:lnTo>
                    <a:pt x="324" y="376"/>
                  </a:lnTo>
                  <a:lnTo>
                    <a:pt x="323" y="377"/>
                  </a:lnTo>
                  <a:lnTo>
                    <a:pt x="322" y="377"/>
                  </a:lnTo>
                  <a:lnTo>
                    <a:pt x="321" y="375"/>
                  </a:lnTo>
                  <a:lnTo>
                    <a:pt x="320" y="374"/>
                  </a:lnTo>
                  <a:lnTo>
                    <a:pt x="319" y="374"/>
                  </a:lnTo>
                  <a:lnTo>
                    <a:pt x="317" y="373"/>
                  </a:lnTo>
                  <a:lnTo>
                    <a:pt x="313" y="373"/>
                  </a:lnTo>
                  <a:lnTo>
                    <a:pt x="311" y="374"/>
                  </a:lnTo>
                  <a:lnTo>
                    <a:pt x="311" y="373"/>
                  </a:lnTo>
                  <a:lnTo>
                    <a:pt x="310" y="374"/>
                  </a:lnTo>
                  <a:lnTo>
                    <a:pt x="309" y="374"/>
                  </a:lnTo>
                  <a:lnTo>
                    <a:pt x="305" y="373"/>
                  </a:lnTo>
                  <a:lnTo>
                    <a:pt x="303" y="372"/>
                  </a:lnTo>
                  <a:lnTo>
                    <a:pt x="301" y="372"/>
                  </a:lnTo>
                  <a:lnTo>
                    <a:pt x="299" y="374"/>
                  </a:lnTo>
                  <a:lnTo>
                    <a:pt x="297" y="374"/>
                  </a:lnTo>
                  <a:lnTo>
                    <a:pt x="297" y="373"/>
                  </a:lnTo>
                  <a:lnTo>
                    <a:pt x="294" y="373"/>
                  </a:lnTo>
                  <a:lnTo>
                    <a:pt x="294" y="374"/>
                  </a:lnTo>
                  <a:lnTo>
                    <a:pt x="292" y="374"/>
                  </a:lnTo>
                  <a:lnTo>
                    <a:pt x="292" y="375"/>
                  </a:lnTo>
                  <a:lnTo>
                    <a:pt x="294" y="375"/>
                  </a:lnTo>
                  <a:lnTo>
                    <a:pt x="295" y="376"/>
                  </a:lnTo>
                  <a:lnTo>
                    <a:pt x="294" y="377"/>
                  </a:lnTo>
                  <a:lnTo>
                    <a:pt x="291" y="377"/>
                  </a:lnTo>
                  <a:lnTo>
                    <a:pt x="291" y="379"/>
                  </a:lnTo>
                  <a:lnTo>
                    <a:pt x="289" y="381"/>
                  </a:lnTo>
                  <a:lnTo>
                    <a:pt x="286" y="381"/>
                  </a:lnTo>
                  <a:lnTo>
                    <a:pt x="285" y="380"/>
                  </a:lnTo>
                  <a:lnTo>
                    <a:pt x="283" y="380"/>
                  </a:lnTo>
                  <a:lnTo>
                    <a:pt x="283" y="379"/>
                  </a:lnTo>
                  <a:lnTo>
                    <a:pt x="282" y="379"/>
                  </a:lnTo>
                  <a:lnTo>
                    <a:pt x="278" y="374"/>
                  </a:lnTo>
                  <a:lnTo>
                    <a:pt x="274" y="374"/>
                  </a:lnTo>
                  <a:lnTo>
                    <a:pt x="274" y="375"/>
                  </a:lnTo>
                  <a:lnTo>
                    <a:pt x="273" y="375"/>
                  </a:lnTo>
                  <a:lnTo>
                    <a:pt x="273" y="376"/>
                  </a:lnTo>
                  <a:lnTo>
                    <a:pt x="271" y="376"/>
                  </a:lnTo>
                  <a:lnTo>
                    <a:pt x="267" y="374"/>
                  </a:lnTo>
                  <a:lnTo>
                    <a:pt x="266" y="374"/>
                  </a:lnTo>
                  <a:lnTo>
                    <a:pt x="266" y="375"/>
                  </a:lnTo>
                  <a:lnTo>
                    <a:pt x="261" y="375"/>
                  </a:lnTo>
                  <a:lnTo>
                    <a:pt x="261" y="379"/>
                  </a:lnTo>
                  <a:lnTo>
                    <a:pt x="257" y="379"/>
                  </a:lnTo>
                  <a:lnTo>
                    <a:pt x="255" y="380"/>
                  </a:lnTo>
                  <a:lnTo>
                    <a:pt x="254" y="380"/>
                  </a:lnTo>
                  <a:lnTo>
                    <a:pt x="254" y="381"/>
                  </a:lnTo>
                  <a:lnTo>
                    <a:pt x="253" y="382"/>
                  </a:lnTo>
                  <a:lnTo>
                    <a:pt x="253" y="383"/>
                  </a:lnTo>
                  <a:lnTo>
                    <a:pt x="252" y="385"/>
                  </a:lnTo>
                  <a:lnTo>
                    <a:pt x="252" y="388"/>
                  </a:lnTo>
                  <a:lnTo>
                    <a:pt x="251" y="389"/>
                  </a:lnTo>
                  <a:lnTo>
                    <a:pt x="247" y="386"/>
                  </a:lnTo>
                  <a:lnTo>
                    <a:pt x="243" y="386"/>
                  </a:lnTo>
                  <a:lnTo>
                    <a:pt x="243" y="387"/>
                  </a:lnTo>
                  <a:lnTo>
                    <a:pt x="242" y="388"/>
                  </a:lnTo>
                  <a:lnTo>
                    <a:pt x="240" y="388"/>
                  </a:lnTo>
                  <a:lnTo>
                    <a:pt x="239" y="387"/>
                  </a:lnTo>
                  <a:lnTo>
                    <a:pt x="239" y="386"/>
                  </a:lnTo>
                  <a:lnTo>
                    <a:pt x="240" y="383"/>
                  </a:lnTo>
                  <a:lnTo>
                    <a:pt x="241" y="383"/>
                  </a:lnTo>
                  <a:lnTo>
                    <a:pt x="241" y="382"/>
                  </a:lnTo>
                  <a:lnTo>
                    <a:pt x="240" y="382"/>
                  </a:lnTo>
                  <a:lnTo>
                    <a:pt x="240" y="376"/>
                  </a:lnTo>
                  <a:lnTo>
                    <a:pt x="239" y="375"/>
                  </a:lnTo>
                  <a:lnTo>
                    <a:pt x="239" y="374"/>
                  </a:lnTo>
                  <a:lnTo>
                    <a:pt x="237" y="375"/>
                  </a:lnTo>
                  <a:lnTo>
                    <a:pt x="235" y="375"/>
                  </a:lnTo>
                  <a:lnTo>
                    <a:pt x="233" y="374"/>
                  </a:lnTo>
                  <a:lnTo>
                    <a:pt x="233" y="372"/>
                  </a:lnTo>
                  <a:lnTo>
                    <a:pt x="230" y="372"/>
                  </a:lnTo>
                  <a:lnTo>
                    <a:pt x="230" y="370"/>
                  </a:lnTo>
                  <a:lnTo>
                    <a:pt x="228" y="366"/>
                  </a:lnTo>
                  <a:lnTo>
                    <a:pt x="228" y="363"/>
                  </a:lnTo>
                  <a:lnTo>
                    <a:pt x="227" y="363"/>
                  </a:lnTo>
                  <a:lnTo>
                    <a:pt x="226" y="362"/>
                  </a:lnTo>
                  <a:lnTo>
                    <a:pt x="226" y="361"/>
                  </a:lnTo>
                  <a:lnTo>
                    <a:pt x="221" y="366"/>
                  </a:lnTo>
                  <a:lnTo>
                    <a:pt x="221" y="367"/>
                  </a:lnTo>
                  <a:lnTo>
                    <a:pt x="216" y="367"/>
                  </a:lnTo>
                  <a:lnTo>
                    <a:pt x="216" y="368"/>
                  </a:lnTo>
                  <a:lnTo>
                    <a:pt x="215" y="370"/>
                  </a:lnTo>
                  <a:lnTo>
                    <a:pt x="216" y="372"/>
                  </a:lnTo>
                  <a:lnTo>
                    <a:pt x="215" y="372"/>
                  </a:lnTo>
                  <a:lnTo>
                    <a:pt x="215" y="373"/>
                  </a:lnTo>
                  <a:lnTo>
                    <a:pt x="212" y="375"/>
                  </a:lnTo>
                  <a:lnTo>
                    <a:pt x="210" y="375"/>
                  </a:lnTo>
                  <a:lnTo>
                    <a:pt x="210" y="374"/>
                  </a:lnTo>
                  <a:lnTo>
                    <a:pt x="209" y="374"/>
                  </a:lnTo>
                  <a:lnTo>
                    <a:pt x="207" y="375"/>
                  </a:lnTo>
                  <a:lnTo>
                    <a:pt x="205" y="375"/>
                  </a:lnTo>
                  <a:lnTo>
                    <a:pt x="205" y="372"/>
                  </a:lnTo>
                  <a:lnTo>
                    <a:pt x="204" y="370"/>
                  </a:lnTo>
                  <a:lnTo>
                    <a:pt x="204" y="369"/>
                  </a:lnTo>
                  <a:lnTo>
                    <a:pt x="205" y="368"/>
                  </a:lnTo>
                  <a:lnTo>
                    <a:pt x="204" y="368"/>
                  </a:lnTo>
                  <a:lnTo>
                    <a:pt x="199" y="367"/>
                  </a:lnTo>
                  <a:lnTo>
                    <a:pt x="199" y="361"/>
                  </a:lnTo>
                  <a:lnTo>
                    <a:pt x="198" y="361"/>
                  </a:lnTo>
                  <a:lnTo>
                    <a:pt x="198" y="357"/>
                  </a:lnTo>
                  <a:lnTo>
                    <a:pt x="197" y="356"/>
                  </a:lnTo>
                  <a:lnTo>
                    <a:pt x="196" y="356"/>
                  </a:lnTo>
                  <a:lnTo>
                    <a:pt x="196" y="357"/>
                  </a:lnTo>
                  <a:lnTo>
                    <a:pt x="195" y="357"/>
                  </a:lnTo>
                  <a:lnTo>
                    <a:pt x="195" y="356"/>
                  </a:lnTo>
                  <a:lnTo>
                    <a:pt x="193" y="356"/>
                  </a:lnTo>
                  <a:lnTo>
                    <a:pt x="193" y="355"/>
                  </a:lnTo>
                  <a:lnTo>
                    <a:pt x="191" y="355"/>
                  </a:lnTo>
                  <a:lnTo>
                    <a:pt x="191" y="354"/>
                  </a:lnTo>
                  <a:lnTo>
                    <a:pt x="190" y="352"/>
                  </a:lnTo>
                  <a:lnTo>
                    <a:pt x="189" y="350"/>
                  </a:lnTo>
                  <a:lnTo>
                    <a:pt x="189" y="346"/>
                  </a:lnTo>
                  <a:lnTo>
                    <a:pt x="190" y="345"/>
                  </a:lnTo>
                  <a:lnTo>
                    <a:pt x="189" y="344"/>
                  </a:lnTo>
                  <a:lnTo>
                    <a:pt x="189" y="343"/>
                  </a:lnTo>
                  <a:lnTo>
                    <a:pt x="187" y="342"/>
                  </a:lnTo>
                  <a:lnTo>
                    <a:pt x="187" y="340"/>
                  </a:lnTo>
                  <a:lnTo>
                    <a:pt x="186" y="342"/>
                  </a:lnTo>
                  <a:lnTo>
                    <a:pt x="185" y="342"/>
                  </a:lnTo>
                  <a:lnTo>
                    <a:pt x="181" y="340"/>
                  </a:lnTo>
                  <a:lnTo>
                    <a:pt x="180" y="339"/>
                  </a:lnTo>
                  <a:lnTo>
                    <a:pt x="178" y="339"/>
                  </a:lnTo>
                  <a:lnTo>
                    <a:pt x="178" y="340"/>
                  </a:lnTo>
                  <a:lnTo>
                    <a:pt x="179" y="340"/>
                  </a:lnTo>
                  <a:lnTo>
                    <a:pt x="178" y="342"/>
                  </a:lnTo>
                  <a:lnTo>
                    <a:pt x="177" y="342"/>
                  </a:lnTo>
                  <a:lnTo>
                    <a:pt x="176" y="340"/>
                  </a:lnTo>
                  <a:lnTo>
                    <a:pt x="176" y="339"/>
                  </a:lnTo>
                  <a:lnTo>
                    <a:pt x="174" y="338"/>
                  </a:lnTo>
                  <a:lnTo>
                    <a:pt x="173" y="338"/>
                  </a:lnTo>
                  <a:lnTo>
                    <a:pt x="172" y="337"/>
                  </a:lnTo>
                  <a:lnTo>
                    <a:pt x="171" y="337"/>
                  </a:lnTo>
                  <a:lnTo>
                    <a:pt x="168" y="336"/>
                  </a:lnTo>
                  <a:lnTo>
                    <a:pt x="168" y="334"/>
                  </a:lnTo>
                  <a:lnTo>
                    <a:pt x="166" y="332"/>
                  </a:lnTo>
                  <a:lnTo>
                    <a:pt x="165" y="332"/>
                  </a:lnTo>
                  <a:lnTo>
                    <a:pt x="165" y="333"/>
                  </a:lnTo>
                  <a:lnTo>
                    <a:pt x="166" y="333"/>
                  </a:lnTo>
                  <a:lnTo>
                    <a:pt x="166" y="334"/>
                  </a:lnTo>
                  <a:lnTo>
                    <a:pt x="165" y="336"/>
                  </a:lnTo>
                  <a:lnTo>
                    <a:pt x="162" y="336"/>
                  </a:lnTo>
                  <a:lnTo>
                    <a:pt x="161" y="337"/>
                  </a:lnTo>
                  <a:lnTo>
                    <a:pt x="158" y="337"/>
                  </a:lnTo>
                  <a:lnTo>
                    <a:pt x="154" y="333"/>
                  </a:lnTo>
                  <a:lnTo>
                    <a:pt x="154" y="331"/>
                  </a:lnTo>
                  <a:lnTo>
                    <a:pt x="153" y="331"/>
                  </a:lnTo>
                  <a:lnTo>
                    <a:pt x="153" y="329"/>
                  </a:lnTo>
                  <a:lnTo>
                    <a:pt x="149" y="329"/>
                  </a:lnTo>
                  <a:lnTo>
                    <a:pt x="147" y="326"/>
                  </a:lnTo>
                  <a:lnTo>
                    <a:pt x="147" y="325"/>
                  </a:lnTo>
                  <a:lnTo>
                    <a:pt x="148" y="324"/>
                  </a:lnTo>
                  <a:lnTo>
                    <a:pt x="150" y="324"/>
                  </a:lnTo>
                  <a:lnTo>
                    <a:pt x="153" y="323"/>
                  </a:lnTo>
                  <a:lnTo>
                    <a:pt x="153" y="321"/>
                  </a:lnTo>
                  <a:lnTo>
                    <a:pt x="154" y="321"/>
                  </a:lnTo>
                  <a:lnTo>
                    <a:pt x="153" y="320"/>
                  </a:lnTo>
                  <a:lnTo>
                    <a:pt x="153" y="315"/>
                  </a:lnTo>
                  <a:lnTo>
                    <a:pt x="152" y="314"/>
                  </a:lnTo>
                  <a:lnTo>
                    <a:pt x="150" y="314"/>
                  </a:lnTo>
                  <a:lnTo>
                    <a:pt x="150" y="315"/>
                  </a:lnTo>
                  <a:lnTo>
                    <a:pt x="149" y="318"/>
                  </a:lnTo>
                  <a:lnTo>
                    <a:pt x="142" y="318"/>
                  </a:lnTo>
                  <a:lnTo>
                    <a:pt x="141" y="319"/>
                  </a:lnTo>
                  <a:lnTo>
                    <a:pt x="140" y="319"/>
                  </a:lnTo>
                  <a:lnTo>
                    <a:pt x="140" y="318"/>
                  </a:lnTo>
                  <a:lnTo>
                    <a:pt x="137" y="318"/>
                  </a:lnTo>
                  <a:lnTo>
                    <a:pt x="137" y="319"/>
                  </a:lnTo>
                  <a:lnTo>
                    <a:pt x="136" y="318"/>
                  </a:lnTo>
                  <a:lnTo>
                    <a:pt x="136" y="314"/>
                  </a:lnTo>
                  <a:lnTo>
                    <a:pt x="133" y="314"/>
                  </a:lnTo>
                  <a:lnTo>
                    <a:pt x="131" y="313"/>
                  </a:lnTo>
                  <a:lnTo>
                    <a:pt x="130" y="313"/>
                  </a:lnTo>
                  <a:lnTo>
                    <a:pt x="130" y="311"/>
                  </a:lnTo>
                  <a:lnTo>
                    <a:pt x="127" y="311"/>
                  </a:lnTo>
                  <a:lnTo>
                    <a:pt x="127" y="309"/>
                  </a:lnTo>
                  <a:lnTo>
                    <a:pt x="125" y="309"/>
                  </a:lnTo>
                  <a:lnTo>
                    <a:pt x="122" y="308"/>
                  </a:lnTo>
                  <a:lnTo>
                    <a:pt x="121" y="308"/>
                  </a:lnTo>
                  <a:lnTo>
                    <a:pt x="119" y="307"/>
                  </a:lnTo>
                  <a:lnTo>
                    <a:pt x="116" y="307"/>
                  </a:lnTo>
                  <a:lnTo>
                    <a:pt x="117" y="308"/>
                  </a:lnTo>
                  <a:lnTo>
                    <a:pt x="118" y="311"/>
                  </a:lnTo>
                  <a:lnTo>
                    <a:pt x="118" y="313"/>
                  </a:lnTo>
                  <a:lnTo>
                    <a:pt x="119" y="314"/>
                  </a:lnTo>
                  <a:lnTo>
                    <a:pt x="119" y="315"/>
                  </a:lnTo>
                  <a:lnTo>
                    <a:pt x="121" y="315"/>
                  </a:lnTo>
                  <a:lnTo>
                    <a:pt x="122" y="317"/>
                  </a:lnTo>
                  <a:lnTo>
                    <a:pt x="122" y="319"/>
                  </a:lnTo>
                  <a:lnTo>
                    <a:pt x="123" y="320"/>
                  </a:lnTo>
                  <a:lnTo>
                    <a:pt x="123" y="321"/>
                  </a:lnTo>
                  <a:lnTo>
                    <a:pt x="122" y="321"/>
                  </a:lnTo>
                  <a:lnTo>
                    <a:pt x="122" y="320"/>
                  </a:lnTo>
                  <a:lnTo>
                    <a:pt x="121" y="320"/>
                  </a:lnTo>
                  <a:lnTo>
                    <a:pt x="121" y="321"/>
                  </a:lnTo>
                  <a:lnTo>
                    <a:pt x="118" y="321"/>
                  </a:lnTo>
                  <a:lnTo>
                    <a:pt x="117" y="323"/>
                  </a:lnTo>
                  <a:lnTo>
                    <a:pt x="115" y="323"/>
                  </a:lnTo>
                  <a:lnTo>
                    <a:pt x="112" y="325"/>
                  </a:lnTo>
                  <a:lnTo>
                    <a:pt x="112" y="326"/>
                  </a:lnTo>
                  <a:lnTo>
                    <a:pt x="110" y="329"/>
                  </a:lnTo>
                  <a:lnTo>
                    <a:pt x="106" y="329"/>
                  </a:lnTo>
                  <a:lnTo>
                    <a:pt x="104" y="326"/>
                  </a:lnTo>
                  <a:lnTo>
                    <a:pt x="104" y="325"/>
                  </a:lnTo>
                  <a:lnTo>
                    <a:pt x="103" y="323"/>
                  </a:lnTo>
                  <a:lnTo>
                    <a:pt x="103" y="321"/>
                  </a:lnTo>
                  <a:lnTo>
                    <a:pt x="100" y="319"/>
                  </a:lnTo>
                  <a:lnTo>
                    <a:pt x="99" y="317"/>
                  </a:lnTo>
                  <a:lnTo>
                    <a:pt x="98" y="315"/>
                  </a:lnTo>
                  <a:lnTo>
                    <a:pt x="96" y="314"/>
                  </a:lnTo>
                  <a:lnTo>
                    <a:pt x="94" y="313"/>
                  </a:lnTo>
                  <a:lnTo>
                    <a:pt x="94" y="311"/>
                  </a:lnTo>
                  <a:lnTo>
                    <a:pt x="91" y="311"/>
                  </a:lnTo>
                  <a:lnTo>
                    <a:pt x="90" y="308"/>
                  </a:lnTo>
                  <a:lnTo>
                    <a:pt x="89" y="308"/>
                  </a:lnTo>
                  <a:lnTo>
                    <a:pt x="89" y="306"/>
                  </a:lnTo>
                  <a:lnTo>
                    <a:pt x="90" y="306"/>
                  </a:lnTo>
                  <a:lnTo>
                    <a:pt x="90" y="305"/>
                  </a:lnTo>
                  <a:lnTo>
                    <a:pt x="91" y="305"/>
                  </a:lnTo>
                  <a:lnTo>
                    <a:pt x="92" y="303"/>
                  </a:lnTo>
                  <a:lnTo>
                    <a:pt x="92" y="302"/>
                  </a:lnTo>
                  <a:lnTo>
                    <a:pt x="96" y="302"/>
                  </a:lnTo>
                  <a:lnTo>
                    <a:pt x="96" y="301"/>
                  </a:lnTo>
                  <a:lnTo>
                    <a:pt x="97" y="301"/>
                  </a:lnTo>
                  <a:lnTo>
                    <a:pt x="97" y="299"/>
                  </a:lnTo>
                  <a:lnTo>
                    <a:pt x="98" y="297"/>
                  </a:lnTo>
                  <a:lnTo>
                    <a:pt x="98" y="296"/>
                  </a:lnTo>
                  <a:lnTo>
                    <a:pt x="93" y="291"/>
                  </a:lnTo>
                  <a:lnTo>
                    <a:pt x="90" y="291"/>
                  </a:lnTo>
                  <a:lnTo>
                    <a:pt x="89" y="293"/>
                  </a:lnTo>
                  <a:lnTo>
                    <a:pt x="89" y="294"/>
                  </a:lnTo>
                  <a:lnTo>
                    <a:pt x="87" y="294"/>
                  </a:lnTo>
                  <a:lnTo>
                    <a:pt x="85" y="293"/>
                  </a:lnTo>
                  <a:lnTo>
                    <a:pt x="84" y="293"/>
                  </a:lnTo>
                  <a:lnTo>
                    <a:pt x="81" y="295"/>
                  </a:lnTo>
                  <a:lnTo>
                    <a:pt x="79" y="295"/>
                  </a:lnTo>
                  <a:lnTo>
                    <a:pt x="79" y="294"/>
                  </a:lnTo>
                  <a:lnTo>
                    <a:pt x="80" y="294"/>
                  </a:lnTo>
                  <a:lnTo>
                    <a:pt x="80" y="293"/>
                  </a:lnTo>
                  <a:lnTo>
                    <a:pt x="79" y="291"/>
                  </a:lnTo>
                  <a:lnTo>
                    <a:pt x="79" y="290"/>
                  </a:lnTo>
                  <a:lnTo>
                    <a:pt x="78" y="290"/>
                  </a:lnTo>
                  <a:lnTo>
                    <a:pt x="78" y="289"/>
                  </a:lnTo>
                  <a:lnTo>
                    <a:pt x="75" y="290"/>
                  </a:lnTo>
                  <a:lnTo>
                    <a:pt x="73" y="290"/>
                  </a:lnTo>
                  <a:lnTo>
                    <a:pt x="72" y="287"/>
                  </a:lnTo>
                  <a:lnTo>
                    <a:pt x="71" y="286"/>
                  </a:lnTo>
                  <a:lnTo>
                    <a:pt x="67" y="287"/>
                  </a:lnTo>
                  <a:lnTo>
                    <a:pt x="66" y="287"/>
                  </a:lnTo>
                  <a:lnTo>
                    <a:pt x="66" y="286"/>
                  </a:lnTo>
                  <a:lnTo>
                    <a:pt x="65" y="286"/>
                  </a:lnTo>
                  <a:lnTo>
                    <a:pt x="56" y="282"/>
                  </a:lnTo>
                  <a:lnTo>
                    <a:pt x="55" y="282"/>
                  </a:lnTo>
                  <a:lnTo>
                    <a:pt x="54" y="283"/>
                  </a:lnTo>
                  <a:lnTo>
                    <a:pt x="54" y="284"/>
                  </a:lnTo>
                  <a:lnTo>
                    <a:pt x="53" y="284"/>
                  </a:lnTo>
                  <a:lnTo>
                    <a:pt x="53" y="280"/>
                  </a:lnTo>
                  <a:lnTo>
                    <a:pt x="50" y="280"/>
                  </a:lnTo>
                  <a:lnTo>
                    <a:pt x="50" y="278"/>
                  </a:lnTo>
                  <a:lnTo>
                    <a:pt x="49" y="278"/>
                  </a:lnTo>
                  <a:lnTo>
                    <a:pt x="49" y="276"/>
                  </a:lnTo>
                  <a:lnTo>
                    <a:pt x="48" y="275"/>
                  </a:lnTo>
                  <a:lnTo>
                    <a:pt x="49" y="274"/>
                  </a:lnTo>
                  <a:lnTo>
                    <a:pt x="49" y="272"/>
                  </a:lnTo>
                  <a:lnTo>
                    <a:pt x="47" y="270"/>
                  </a:lnTo>
                  <a:lnTo>
                    <a:pt x="44" y="270"/>
                  </a:lnTo>
                  <a:lnTo>
                    <a:pt x="44" y="268"/>
                  </a:lnTo>
                  <a:lnTo>
                    <a:pt x="43" y="269"/>
                  </a:lnTo>
                  <a:lnTo>
                    <a:pt x="43" y="270"/>
                  </a:lnTo>
                  <a:lnTo>
                    <a:pt x="42" y="270"/>
                  </a:lnTo>
                  <a:lnTo>
                    <a:pt x="41" y="269"/>
                  </a:lnTo>
                  <a:lnTo>
                    <a:pt x="38" y="269"/>
                  </a:lnTo>
                  <a:lnTo>
                    <a:pt x="38" y="268"/>
                  </a:lnTo>
                  <a:lnTo>
                    <a:pt x="37" y="268"/>
                  </a:lnTo>
                  <a:lnTo>
                    <a:pt x="37" y="269"/>
                  </a:lnTo>
                  <a:lnTo>
                    <a:pt x="36" y="269"/>
                  </a:lnTo>
                  <a:lnTo>
                    <a:pt x="36" y="270"/>
                  </a:lnTo>
                  <a:lnTo>
                    <a:pt x="37" y="271"/>
                  </a:lnTo>
                  <a:lnTo>
                    <a:pt x="37" y="278"/>
                  </a:lnTo>
                  <a:lnTo>
                    <a:pt x="30" y="278"/>
                  </a:lnTo>
                  <a:lnTo>
                    <a:pt x="30" y="276"/>
                  </a:lnTo>
                  <a:lnTo>
                    <a:pt x="32" y="275"/>
                  </a:lnTo>
                  <a:lnTo>
                    <a:pt x="34" y="269"/>
                  </a:lnTo>
                  <a:lnTo>
                    <a:pt x="36" y="264"/>
                  </a:lnTo>
                  <a:lnTo>
                    <a:pt x="36" y="262"/>
                  </a:lnTo>
                  <a:lnTo>
                    <a:pt x="37" y="262"/>
                  </a:lnTo>
                  <a:lnTo>
                    <a:pt x="37" y="256"/>
                  </a:lnTo>
                  <a:lnTo>
                    <a:pt x="38" y="254"/>
                  </a:lnTo>
                  <a:lnTo>
                    <a:pt x="38" y="250"/>
                  </a:lnTo>
                  <a:lnTo>
                    <a:pt x="36" y="247"/>
                  </a:lnTo>
                  <a:lnTo>
                    <a:pt x="36" y="239"/>
                  </a:lnTo>
                  <a:lnTo>
                    <a:pt x="35" y="238"/>
                  </a:lnTo>
                  <a:lnTo>
                    <a:pt x="34" y="238"/>
                  </a:lnTo>
                  <a:lnTo>
                    <a:pt x="32" y="237"/>
                  </a:lnTo>
                  <a:lnTo>
                    <a:pt x="31" y="237"/>
                  </a:lnTo>
                  <a:lnTo>
                    <a:pt x="30" y="235"/>
                  </a:lnTo>
                  <a:lnTo>
                    <a:pt x="29" y="235"/>
                  </a:lnTo>
                  <a:lnTo>
                    <a:pt x="27" y="234"/>
                  </a:lnTo>
                  <a:lnTo>
                    <a:pt x="25" y="233"/>
                  </a:lnTo>
                  <a:lnTo>
                    <a:pt x="25" y="231"/>
                  </a:lnTo>
                  <a:lnTo>
                    <a:pt x="27" y="229"/>
                  </a:lnTo>
                  <a:lnTo>
                    <a:pt x="27" y="223"/>
                  </a:lnTo>
                  <a:lnTo>
                    <a:pt x="24" y="221"/>
                  </a:lnTo>
                  <a:lnTo>
                    <a:pt x="23" y="221"/>
                  </a:lnTo>
                  <a:lnTo>
                    <a:pt x="23" y="217"/>
                  </a:lnTo>
                  <a:lnTo>
                    <a:pt x="21" y="215"/>
                  </a:lnTo>
                  <a:lnTo>
                    <a:pt x="21" y="211"/>
                  </a:lnTo>
                  <a:lnTo>
                    <a:pt x="24" y="208"/>
                  </a:lnTo>
                  <a:lnTo>
                    <a:pt x="24" y="207"/>
                  </a:lnTo>
                  <a:lnTo>
                    <a:pt x="25" y="205"/>
                  </a:lnTo>
                  <a:lnTo>
                    <a:pt x="25" y="201"/>
                  </a:lnTo>
                  <a:lnTo>
                    <a:pt x="27" y="200"/>
                  </a:lnTo>
                  <a:lnTo>
                    <a:pt x="27" y="197"/>
                  </a:lnTo>
                  <a:lnTo>
                    <a:pt x="28" y="196"/>
                  </a:lnTo>
                  <a:lnTo>
                    <a:pt x="24" y="192"/>
                  </a:lnTo>
                  <a:lnTo>
                    <a:pt x="25" y="191"/>
                  </a:lnTo>
                  <a:lnTo>
                    <a:pt x="25" y="184"/>
                  </a:lnTo>
                  <a:lnTo>
                    <a:pt x="24" y="183"/>
                  </a:lnTo>
                  <a:lnTo>
                    <a:pt x="23" y="183"/>
                  </a:lnTo>
                  <a:lnTo>
                    <a:pt x="22" y="182"/>
                  </a:lnTo>
                  <a:lnTo>
                    <a:pt x="21" y="182"/>
                  </a:lnTo>
                  <a:lnTo>
                    <a:pt x="21" y="180"/>
                  </a:lnTo>
                  <a:lnTo>
                    <a:pt x="19" y="178"/>
                  </a:lnTo>
                  <a:lnTo>
                    <a:pt x="18" y="174"/>
                  </a:lnTo>
                  <a:lnTo>
                    <a:pt x="18" y="172"/>
                  </a:lnTo>
                  <a:lnTo>
                    <a:pt x="22" y="168"/>
                  </a:lnTo>
                  <a:lnTo>
                    <a:pt x="22" y="164"/>
                  </a:lnTo>
                  <a:lnTo>
                    <a:pt x="23" y="161"/>
                  </a:lnTo>
                  <a:lnTo>
                    <a:pt x="19" y="158"/>
                  </a:lnTo>
                  <a:lnTo>
                    <a:pt x="16" y="157"/>
                  </a:lnTo>
                  <a:lnTo>
                    <a:pt x="15" y="154"/>
                  </a:lnTo>
                  <a:lnTo>
                    <a:pt x="13" y="154"/>
                  </a:lnTo>
                  <a:lnTo>
                    <a:pt x="12" y="151"/>
                  </a:lnTo>
                  <a:lnTo>
                    <a:pt x="7" y="147"/>
                  </a:lnTo>
                  <a:lnTo>
                    <a:pt x="5" y="145"/>
                  </a:lnTo>
                  <a:lnTo>
                    <a:pt x="3" y="145"/>
                  </a:lnTo>
                  <a:lnTo>
                    <a:pt x="0" y="142"/>
                  </a:lnTo>
                  <a:lnTo>
                    <a:pt x="2" y="141"/>
                  </a:lnTo>
                  <a:lnTo>
                    <a:pt x="3" y="141"/>
                  </a:lnTo>
                  <a:lnTo>
                    <a:pt x="3" y="139"/>
                  </a:lnTo>
                  <a:lnTo>
                    <a:pt x="2" y="136"/>
                  </a:lnTo>
                  <a:lnTo>
                    <a:pt x="2" y="135"/>
                  </a:lnTo>
                  <a:lnTo>
                    <a:pt x="4" y="133"/>
                  </a:lnTo>
                  <a:lnTo>
                    <a:pt x="9" y="130"/>
                  </a:lnTo>
                  <a:lnTo>
                    <a:pt x="10" y="128"/>
                  </a:lnTo>
                  <a:lnTo>
                    <a:pt x="11" y="127"/>
                  </a:lnTo>
                  <a:lnTo>
                    <a:pt x="12" y="123"/>
                  </a:lnTo>
                  <a:lnTo>
                    <a:pt x="12" y="121"/>
                  </a:lnTo>
                  <a:lnTo>
                    <a:pt x="11" y="119"/>
                  </a:lnTo>
                  <a:lnTo>
                    <a:pt x="12" y="118"/>
                  </a:lnTo>
                  <a:lnTo>
                    <a:pt x="12" y="117"/>
                  </a:lnTo>
                  <a:lnTo>
                    <a:pt x="13" y="117"/>
                  </a:lnTo>
                  <a:lnTo>
                    <a:pt x="13" y="116"/>
                  </a:lnTo>
                  <a:lnTo>
                    <a:pt x="15" y="115"/>
                  </a:lnTo>
                  <a:lnTo>
                    <a:pt x="13" y="114"/>
                  </a:lnTo>
                  <a:lnTo>
                    <a:pt x="13" y="112"/>
                  </a:lnTo>
                  <a:lnTo>
                    <a:pt x="12" y="112"/>
                  </a:lnTo>
                  <a:lnTo>
                    <a:pt x="12" y="109"/>
                  </a:lnTo>
                  <a:lnTo>
                    <a:pt x="11" y="104"/>
                  </a:lnTo>
                  <a:lnTo>
                    <a:pt x="11" y="100"/>
                  </a:lnTo>
                  <a:lnTo>
                    <a:pt x="10" y="99"/>
                  </a:lnTo>
                  <a:lnTo>
                    <a:pt x="10" y="98"/>
                  </a:lnTo>
                  <a:lnTo>
                    <a:pt x="9" y="96"/>
                  </a:lnTo>
                  <a:lnTo>
                    <a:pt x="9" y="90"/>
                  </a:lnTo>
                  <a:lnTo>
                    <a:pt x="7" y="87"/>
                  </a:lnTo>
                  <a:lnTo>
                    <a:pt x="6" y="86"/>
                  </a:lnTo>
                  <a:lnTo>
                    <a:pt x="6" y="82"/>
                  </a:lnTo>
                  <a:lnTo>
                    <a:pt x="7" y="82"/>
                  </a:lnTo>
                  <a:lnTo>
                    <a:pt x="9" y="81"/>
                  </a:lnTo>
                  <a:lnTo>
                    <a:pt x="7" y="80"/>
                  </a:lnTo>
                  <a:lnTo>
                    <a:pt x="10" y="80"/>
                  </a:lnTo>
                  <a:lnTo>
                    <a:pt x="10" y="81"/>
                  </a:lnTo>
                  <a:lnTo>
                    <a:pt x="11" y="81"/>
                  </a:lnTo>
                  <a:lnTo>
                    <a:pt x="12" y="82"/>
                  </a:lnTo>
                  <a:lnTo>
                    <a:pt x="12" y="84"/>
                  </a:lnTo>
                  <a:lnTo>
                    <a:pt x="15" y="84"/>
                  </a:lnTo>
                  <a:lnTo>
                    <a:pt x="17" y="85"/>
                  </a:lnTo>
                  <a:lnTo>
                    <a:pt x="18" y="85"/>
                  </a:lnTo>
                  <a:lnTo>
                    <a:pt x="18" y="86"/>
                  </a:lnTo>
                  <a:lnTo>
                    <a:pt x="21" y="88"/>
                  </a:lnTo>
                  <a:lnTo>
                    <a:pt x="21" y="87"/>
                  </a:lnTo>
                  <a:lnTo>
                    <a:pt x="22" y="87"/>
                  </a:lnTo>
                  <a:lnTo>
                    <a:pt x="22" y="86"/>
                  </a:lnTo>
                  <a:lnTo>
                    <a:pt x="21" y="86"/>
                  </a:lnTo>
                  <a:lnTo>
                    <a:pt x="19" y="85"/>
                  </a:lnTo>
                  <a:lnTo>
                    <a:pt x="18" y="82"/>
                  </a:lnTo>
                  <a:lnTo>
                    <a:pt x="19" y="80"/>
                  </a:lnTo>
                  <a:lnTo>
                    <a:pt x="19" y="78"/>
                  </a:lnTo>
                  <a:lnTo>
                    <a:pt x="22" y="78"/>
                  </a:lnTo>
                  <a:lnTo>
                    <a:pt x="22" y="73"/>
                  </a:lnTo>
                  <a:lnTo>
                    <a:pt x="21" y="74"/>
                  </a:lnTo>
                  <a:lnTo>
                    <a:pt x="19" y="74"/>
                  </a:lnTo>
                  <a:lnTo>
                    <a:pt x="19" y="73"/>
                  </a:lnTo>
                  <a:lnTo>
                    <a:pt x="21" y="73"/>
                  </a:lnTo>
                  <a:lnTo>
                    <a:pt x="19" y="72"/>
                  </a:lnTo>
                  <a:lnTo>
                    <a:pt x="19" y="71"/>
                  </a:lnTo>
                  <a:lnTo>
                    <a:pt x="15" y="71"/>
                  </a:lnTo>
                  <a:lnTo>
                    <a:pt x="13" y="69"/>
                  </a:lnTo>
                  <a:lnTo>
                    <a:pt x="15" y="68"/>
                  </a:lnTo>
                  <a:lnTo>
                    <a:pt x="11" y="68"/>
                  </a:lnTo>
                  <a:lnTo>
                    <a:pt x="11" y="69"/>
                  </a:lnTo>
                  <a:lnTo>
                    <a:pt x="12" y="69"/>
                  </a:lnTo>
                  <a:lnTo>
                    <a:pt x="13" y="71"/>
                  </a:lnTo>
                  <a:lnTo>
                    <a:pt x="13" y="72"/>
                  </a:lnTo>
                  <a:lnTo>
                    <a:pt x="12" y="72"/>
                  </a:lnTo>
                  <a:lnTo>
                    <a:pt x="11" y="73"/>
                  </a:lnTo>
                  <a:lnTo>
                    <a:pt x="10" y="73"/>
                  </a:lnTo>
                  <a:lnTo>
                    <a:pt x="10" y="74"/>
                  </a:lnTo>
                  <a:lnTo>
                    <a:pt x="9" y="74"/>
                  </a:lnTo>
                  <a:lnTo>
                    <a:pt x="4" y="69"/>
                  </a:lnTo>
                  <a:lnTo>
                    <a:pt x="4" y="68"/>
                  </a:lnTo>
                  <a:lnTo>
                    <a:pt x="3" y="68"/>
                  </a:lnTo>
                  <a:lnTo>
                    <a:pt x="4" y="67"/>
                  </a:lnTo>
                  <a:lnTo>
                    <a:pt x="4" y="66"/>
                  </a:lnTo>
                  <a:lnTo>
                    <a:pt x="5" y="66"/>
                  </a:lnTo>
                  <a:lnTo>
                    <a:pt x="7" y="67"/>
                  </a:lnTo>
                  <a:lnTo>
                    <a:pt x="12" y="67"/>
                  </a:lnTo>
                  <a:lnTo>
                    <a:pt x="15" y="66"/>
                  </a:lnTo>
                  <a:lnTo>
                    <a:pt x="17" y="63"/>
                  </a:lnTo>
                  <a:lnTo>
                    <a:pt x="29" y="59"/>
                  </a:lnTo>
                  <a:lnTo>
                    <a:pt x="38" y="56"/>
                  </a:lnTo>
                  <a:lnTo>
                    <a:pt x="50" y="51"/>
                  </a:lnTo>
                  <a:lnTo>
                    <a:pt x="58" y="49"/>
                  </a:lnTo>
                  <a:lnTo>
                    <a:pt x="66" y="47"/>
                  </a:lnTo>
                  <a:lnTo>
                    <a:pt x="74" y="43"/>
                  </a:lnTo>
                  <a:lnTo>
                    <a:pt x="81" y="42"/>
                  </a:lnTo>
                  <a:lnTo>
                    <a:pt x="84" y="42"/>
                  </a:lnTo>
                  <a:lnTo>
                    <a:pt x="83" y="42"/>
                  </a:lnTo>
                  <a:lnTo>
                    <a:pt x="84" y="43"/>
                  </a:lnTo>
                  <a:lnTo>
                    <a:pt x="87" y="42"/>
                  </a:lnTo>
                  <a:lnTo>
                    <a:pt x="87" y="41"/>
                  </a:lnTo>
                  <a:lnTo>
                    <a:pt x="89" y="41"/>
                  </a:lnTo>
                  <a:lnTo>
                    <a:pt x="89" y="39"/>
                  </a:lnTo>
                  <a:lnTo>
                    <a:pt x="87" y="39"/>
                  </a:lnTo>
                  <a:lnTo>
                    <a:pt x="90" y="37"/>
                  </a:lnTo>
                  <a:lnTo>
                    <a:pt x="92" y="37"/>
                  </a:lnTo>
                  <a:lnTo>
                    <a:pt x="92" y="36"/>
                  </a:lnTo>
                  <a:lnTo>
                    <a:pt x="93" y="36"/>
                  </a:lnTo>
                  <a:lnTo>
                    <a:pt x="94" y="35"/>
                  </a:lnTo>
                  <a:lnTo>
                    <a:pt x="93" y="34"/>
                  </a:lnTo>
                  <a:lnTo>
                    <a:pt x="92" y="35"/>
                  </a:lnTo>
                  <a:lnTo>
                    <a:pt x="93" y="32"/>
                  </a:lnTo>
                  <a:lnTo>
                    <a:pt x="98" y="25"/>
                  </a:lnTo>
                  <a:lnTo>
                    <a:pt x="98" y="26"/>
                  </a:lnTo>
                  <a:lnTo>
                    <a:pt x="99" y="28"/>
                  </a:lnTo>
                  <a:lnTo>
                    <a:pt x="99" y="26"/>
                  </a:lnTo>
                  <a:lnTo>
                    <a:pt x="100" y="26"/>
                  </a:lnTo>
                  <a:lnTo>
                    <a:pt x="100" y="25"/>
                  </a:lnTo>
                  <a:lnTo>
                    <a:pt x="99" y="25"/>
                  </a:lnTo>
                  <a:lnTo>
                    <a:pt x="99" y="24"/>
                  </a:lnTo>
                  <a:lnTo>
                    <a:pt x="102" y="23"/>
                  </a:lnTo>
                  <a:lnTo>
                    <a:pt x="104" y="20"/>
                  </a:lnTo>
                  <a:lnTo>
                    <a:pt x="112" y="19"/>
                  </a:lnTo>
                  <a:lnTo>
                    <a:pt x="116" y="18"/>
                  </a:lnTo>
                  <a:lnTo>
                    <a:pt x="118" y="18"/>
                  </a:lnTo>
                  <a:lnTo>
                    <a:pt x="119" y="17"/>
                  </a:lnTo>
                  <a:lnTo>
                    <a:pt x="124" y="13"/>
                  </a:lnTo>
                  <a:lnTo>
                    <a:pt x="136" y="7"/>
                  </a:lnTo>
                  <a:lnTo>
                    <a:pt x="153" y="4"/>
                  </a:lnTo>
                  <a:lnTo>
                    <a:pt x="160" y="1"/>
                  </a:lnTo>
                  <a:lnTo>
                    <a:pt x="171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23">
              <a:extLst>
                <a:ext uri="{FF2B5EF4-FFF2-40B4-BE49-F238E27FC236}">
                  <a16:creationId xmlns:a16="http://schemas.microsoft.com/office/drawing/2014/main" id="{E55DF280-061B-4FB7-A795-73CF7AB06C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70438" y="4068763"/>
              <a:ext cx="257175" cy="307975"/>
            </a:xfrm>
            <a:custGeom>
              <a:avLst/>
              <a:gdLst/>
              <a:ahLst/>
              <a:cxnLst>
                <a:cxn ang="0">
                  <a:pos x="22" y="154"/>
                </a:cxn>
                <a:cxn ang="0">
                  <a:pos x="32" y="153"/>
                </a:cxn>
                <a:cxn ang="0">
                  <a:pos x="25" y="162"/>
                </a:cxn>
                <a:cxn ang="0">
                  <a:pos x="7" y="158"/>
                </a:cxn>
                <a:cxn ang="0">
                  <a:pos x="60" y="148"/>
                </a:cxn>
                <a:cxn ang="0">
                  <a:pos x="65" y="29"/>
                </a:cxn>
                <a:cxn ang="0">
                  <a:pos x="62" y="31"/>
                </a:cxn>
                <a:cxn ang="0">
                  <a:pos x="65" y="24"/>
                </a:cxn>
                <a:cxn ang="0">
                  <a:pos x="86" y="12"/>
                </a:cxn>
                <a:cxn ang="0">
                  <a:pos x="81" y="11"/>
                </a:cxn>
                <a:cxn ang="0">
                  <a:pos x="150" y="16"/>
                </a:cxn>
                <a:cxn ang="0">
                  <a:pos x="158" y="22"/>
                </a:cxn>
                <a:cxn ang="0">
                  <a:pos x="161" y="44"/>
                </a:cxn>
                <a:cxn ang="0">
                  <a:pos x="144" y="65"/>
                </a:cxn>
                <a:cxn ang="0">
                  <a:pos x="143" y="78"/>
                </a:cxn>
                <a:cxn ang="0">
                  <a:pos x="155" y="93"/>
                </a:cxn>
                <a:cxn ang="0">
                  <a:pos x="143" y="102"/>
                </a:cxn>
                <a:cxn ang="0">
                  <a:pos x="146" y="110"/>
                </a:cxn>
                <a:cxn ang="0">
                  <a:pos x="135" y="117"/>
                </a:cxn>
                <a:cxn ang="0">
                  <a:pos x="125" y="119"/>
                </a:cxn>
                <a:cxn ang="0">
                  <a:pos x="118" y="119"/>
                </a:cxn>
                <a:cxn ang="0">
                  <a:pos x="110" y="128"/>
                </a:cxn>
                <a:cxn ang="0">
                  <a:pos x="118" y="141"/>
                </a:cxn>
                <a:cxn ang="0">
                  <a:pos x="115" y="165"/>
                </a:cxn>
                <a:cxn ang="0">
                  <a:pos x="109" y="174"/>
                </a:cxn>
                <a:cxn ang="0">
                  <a:pos x="112" y="179"/>
                </a:cxn>
                <a:cxn ang="0">
                  <a:pos x="111" y="191"/>
                </a:cxn>
                <a:cxn ang="0">
                  <a:pos x="99" y="190"/>
                </a:cxn>
                <a:cxn ang="0">
                  <a:pos x="100" y="179"/>
                </a:cxn>
                <a:cxn ang="0">
                  <a:pos x="103" y="166"/>
                </a:cxn>
                <a:cxn ang="0">
                  <a:pos x="92" y="158"/>
                </a:cxn>
                <a:cxn ang="0">
                  <a:pos x="75" y="155"/>
                </a:cxn>
                <a:cxn ang="0">
                  <a:pos x="69" y="147"/>
                </a:cxn>
                <a:cxn ang="0">
                  <a:pos x="60" y="143"/>
                </a:cxn>
                <a:cxn ang="0">
                  <a:pos x="43" y="147"/>
                </a:cxn>
                <a:cxn ang="0">
                  <a:pos x="38" y="149"/>
                </a:cxn>
                <a:cxn ang="0">
                  <a:pos x="25" y="147"/>
                </a:cxn>
                <a:cxn ang="0">
                  <a:pos x="9" y="147"/>
                </a:cxn>
                <a:cxn ang="0">
                  <a:pos x="5" y="140"/>
                </a:cxn>
                <a:cxn ang="0">
                  <a:pos x="23" y="140"/>
                </a:cxn>
                <a:cxn ang="0">
                  <a:pos x="40" y="143"/>
                </a:cxn>
                <a:cxn ang="0">
                  <a:pos x="36" y="135"/>
                </a:cxn>
                <a:cxn ang="0">
                  <a:pos x="23" y="133"/>
                </a:cxn>
                <a:cxn ang="0">
                  <a:pos x="15" y="128"/>
                </a:cxn>
                <a:cxn ang="0">
                  <a:pos x="34" y="130"/>
                </a:cxn>
                <a:cxn ang="0">
                  <a:pos x="23" y="123"/>
                </a:cxn>
                <a:cxn ang="0">
                  <a:pos x="29" y="116"/>
                </a:cxn>
                <a:cxn ang="0">
                  <a:pos x="44" y="93"/>
                </a:cxn>
                <a:cxn ang="0">
                  <a:pos x="57" y="49"/>
                </a:cxn>
                <a:cxn ang="0">
                  <a:pos x="69" y="44"/>
                </a:cxn>
                <a:cxn ang="0">
                  <a:pos x="88" y="24"/>
                </a:cxn>
                <a:cxn ang="0">
                  <a:pos x="99" y="17"/>
                </a:cxn>
                <a:cxn ang="0">
                  <a:pos x="133" y="8"/>
                </a:cxn>
                <a:cxn ang="0">
                  <a:pos x="109" y="6"/>
                </a:cxn>
                <a:cxn ang="0">
                  <a:pos x="121" y="4"/>
                </a:cxn>
                <a:cxn ang="0">
                  <a:pos x="121" y="4"/>
                </a:cxn>
              </a:cxnLst>
              <a:rect l="0" t="0" r="r" b="b"/>
              <a:pathLst>
                <a:path w="162" h="194">
                  <a:moveTo>
                    <a:pt x="7" y="149"/>
                  </a:moveTo>
                  <a:lnTo>
                    <a:pt x="9" y="149"/>
                  </a:lnTo>
                  <a:lnTo>
                    <a:pt x="11" y="151"/>
                  </a:lnTo>
                  <a:lnTo>
                    <a:pt x="16" y="152"/>
                  </a:lnTo>
                  <a:lnTo>
                    <a:pt x="17" y="153"/>
                  </a:lnTo>
                  <a:lnTo>
                    <a:pt x="19" y="153"/>
                  </a:lnTo>
                  <a:lnTo>
                    <a:pt x="20" y="154"/>
                  </a:lnTo>
                  <a:lnTo>
                    <a:pt x="22" y="154"/>
                  </a:lnTo>
                  <a:lnTo>
                    <a:pt x="25" y="152"/>
                  </a:lnTo>
                  <a:lnTo>
                    <a:pt x="26" y="152"/>
                  </a:lnTo>
                  <a:lnTo>
                    <a:pt x="26" y="149"/>
                  </a:lnTo>
                  <a:lnTo>
                    <a:pt x="29" y="149"/>
                  </a:lnTo>
                  <a:lnTo>
                    <a:pt x="30" y="151"/>
                  </a:lnTo>
                  <a:lnTo>
                    <a:pt x="30" y="152"/>
                  </a:lnTo>
                  <a:lnTo>
                    <a:pt x="32" y="152"/>
                  </a:lnTo>
                  <a:lnTo>
                    <a:pt x="32" y="153"/>
                  </a:lnTo>
                  <a:lnTo>
                    <a:pt x="35" y="153"/>
                  </a:lnTo>
                  <a:lnTo>
                    <a:pt x="35" y="152"/>
                  </a:lnTo>
                  <a:lnTo>
                    <a:pt x="37" y="152"/>
                  </a:lnTo>
                  <a:lnTo>
                    <a:pt x="37" y="154"/>
                  </a:lnTo>
                  <a:lnTo>
                    <a:pt x="36" y="154"/>
                  </a:lnTo>
                  <a:lnTo>
                    <a:pt x="35" y="156"/>
                  </a:lnTo>
                  <a:lnTo>
                    <a:pt x="32" y="159"/>
                  </a:lnTo>
                  <a:lnTo>
                    <a:pt x="25" y="162"/>
                  </a:lnTo>
                  <a:lnTo>
                    <a:pt x="24" y="162"/>
                  </a:lnTo>
                  <a:lnTo>
                    <a:pt x="19" y="164"/>
                  </a:lnTo>
                  <a:lnTo>
                    <a:pt x="19" y="162"/>
                  </a:lnTo>
                  <a:lnTo>
                    <a:pt x="18" y="162"/>
                  </a:lnTo>
                  <a:lnTo>
                    <a:pt x="18" y="160"/>
                  </a:lnTo>
                  <a:lnTo>
                    <a:pt x="17" y="159"/>
                  </a:lnTo>
                  <a:lnTo>
                    <a:pt x="12" y="158"/>
                  </a:lnTo>
                  <a:lnTo>
                    <a:pt x="7" y="158"/>
                  </a:lnTo>
                  <a:lnTo>
                    <a:pt x="6" y="159"/>
                  </a:lnTo>
                  <a:lnTo>
                    <a:pt x="7" y="160"/>
                  </a:lnTo>
                  <a:lnTo>
                    <a:pt x="6" y="161"/>
                  </a:lnTo>
                  <a:lnTo>
                    <a:pt x="4" y="161"/>
                  </a:lnTo>
                  <a:lnTo>
                    <a:pt x="0" y="158"/>
                  </a:lnTo>
                  <a:lnTo>
                    <a:pt x="0" y="152"/>
                  </a:lnTo>
                  <a:lnTo>
                    <a:pt x="7" y="149"/>
                  </a:lnTo>
                  <a:close/>
                  <a:moveTo>
                    <a:pt x="60" y="148"/>
                  </a:moveTo>
                  <a:lnTo>
                    <a:pt x="61" y="148"/>
                  </a:lnTo>
                  <a:lnTo>
                    <a:pt x="62" y="149"/>
                  </a:lnTo>
                  <a:lnTo>
                    <a:pt x="60" y="149"/>
                  </a:lnTo>
                  <a:lnTo>
                    <a:pt x="60" y="148"/>
                  </a:lnTo>
                  <a:close/>
                  <a:moveTo>
                    <a:pt x="63" y="26"/>
                  </a:moveTo>
                  <a:lnTo>
                    <a:pt x="65" y="26"/>
                  </a:lnTo>
                  <a:lnTo>
                    <a:pt x="66" y="27"/>
                  </a:lnTo>
                  <a:lnTo>
                    <a:pt x="65" y="29"/>
                  </a:lnTo>
                  <a:lnTo>
                    <a:pt x="66" y="29"/>
                  </a:lnTo>
                  <a:lnTo>
                    <a:pt x="66" y="35"/>
                  </a:lnTo>
                  <a:lnTo>
                    <a:pt x="60" y="41"/>
                  </a:lnTo>
                  <a:lnTo>
                    <a:pt x="57" y="38"/>
                  </a:lnTo>
                  <a:lnTo>
                    <a:pt x="57" y="36"/>
                  </a:lnTo>
                  <a:lnTo>
                    <a:pt x="59" y="33"/>
                  </a:lnTo>
                  <a:lnTo>
                    <a:pt x="60" y="32"/>
                  </a:lnTo>
                  <a:lnTo>
                    <a:pt x="62" y="31"/>
                  </a:lnTo>
                  <a:lnTo>
                    <a:pt x="62" y="29"/>
                  </a:lnTo>
                  <a:lnTo>
                    <a:pt x="63" y="26"/>
                  </a:lnTo>
                  <a:close/>
                  <a:moveTo>
                    <a:pt x="72" y="18"/>
                  </a:moveTo>
                  <a:lnTo>
                    <a:pt x="73" y="18"/>
                  </a:lnTo>
                  <a:lnTo>
                    <a:pt x="73" y="19"/>
                  </a:lnTo>
                  <a:lnTo>
                    <a:pt x="72" y="19"/>
                  </a:lnTo>
                  <a:lnTo>
                    <a:pt x="66" y="25"/>
                  </a:lnTo>
                  <a:lnTo>
                    <a:pt x="65" y="24"/>
                  </a:lnTo>
                  <a:lnTo>
                    <a:pt x="69" y="19"/>
                  </a:lnTo>
                  <a:lnTo>
                    <a:pt x="72" y="18"/>
                  </a:lnTo>
                  <a:close/>
                  <a:moveTo>
                    <a:pt x="94" y="8"/>
                  </a:moveTo>
                  <a:lnTo>
                    <a:pt x="93" y="10"/>
                  </a:lnTo>
                  <a:lnTo>
                    <a:pt x="90" y="10"/>
                  </a:lnTo>
                  <a:lnTo>
                    <a:pt x="90" y="11"/>
                  </a:lnTo>
                  <a:lnTo>
                    <a:pt x="88" y="11"/>
                  </a:lnTo>
                  <a:lnTo>
                    <a:pt x="86" y="12"/>
                  </a:lnTo>
                  <a:lnTo>
                    <a:pt x="85" y="12"/>
                  </a:lnTo>
                  <a:lnTo>
                    <a:pt x="79" y="16"/>
                  </a:lnTo>
                  <a:lnTo>
                    <a:pt x="78" y="16"/>
                  </a:lnTo>
                  <a:lnTo>
                    <a:pt x="76" y="14"/>
                  </a:lnTo>
                  <a:lnTo>
                    <a:pt x="78" y="13"/>
                  </a:lnTo>
                  <a:lnTo>
                    <a:pt x="80" y="12"/>
                  </a:lnTo>
                  <a:lnTo>
                    <a:pt x="80" y="11"/>
                  </a:lnTo>
                  <a:lnTo>
                    <a:pt x="81" y="11"/>
                  </a:lnTo>
                  <a:lnTo>
                    <a:pt x="87" y="10"/>
                  </a:lnTo>
                  <a:lnTo>
                    <a:pt x="88" y="10"/>
                  </a:lnTo>
                  <a:lnTo>
                    <a:pt x="94" y="8"/>
                  </a:lnTo>
                  <a:close/>
                  <a:moveTo>
                    <a:pt x="143" y="7"/>
                  </a:moveTo>
                  <a:lnTo>
                    <a:pt x="147" y="8"/>
                  </a:lnTo>
                  <a:lnTo>
                    <a:pt x="148" y="8"/>
                  </a:lnTo>
                  <a:lnTo>
                    <a:pt x="149" y="10"/>
                  </a:lnTo>
                  <a:lnTo>
                    <a:pt x="150" y="16"/>
                  </a:lnTo>
                  <a:lnTo>
                    <a:pt x="152" y="16"/>
                  </a:lnTo>
                  <a:lnTo>
                    <a:pt x="152" y="17"/>
                  </a:lnTo>
                  <a:lnTo>
                    <a:pt x="154" y="17"/>
                  </a:lnTo>
                  <a:lnTo>
                    <a:pt x="155" y="18"/>
                  </a:lnTo>
                  <a:lnTo>
                    <a:pt x="156" y="18"/>
                  </a:lnTo>
                  <a:lnTo>
                    <a:pt x="156" y="19"/>
                  </a:lnTo>
                  <a:lnTo>
                    <a:pt x="158" y="18"/>
                  </a:lnTo>
                  <a:lnTo>
                    <a:pt x="158" y="22"/>
                  </a:lnTo>
                  <a:lnTo>
                    <a:pt x="159" y="22"/>
                  </a:lnTo>
                  <a:lnTo>
                    <a:pt x="162" y="23"/>
                  </a:lnTo>
                  <a:lnTo>
                    <a:pt x="162" y="27"/>
                  </a:lnTo>
                  <a:lnTo>
                    <a:pt x="161" y="30"/>
                  </a:lnTo>
                  <a:lnTo>
                    <a:pt x="161" y="31"/>
                  </a:lnTo>
                  <a:lnTo>
                    <a:pt x="162" y="31"/>
                  </a:lnTo>
                  <a:lnTo>
                    <a:pt x="162" y="42"/>
                  </a:lnTo>
                  <a:lnTo>
                    <a:pt x="161" y="44"/>
                  </a:lnTo>
                  <a:lnTo>
                    <a:pt x="158" y="50"/>
                  </a:lnTo>
                  <a:lnTo>
                    <a:pt x="158" y="51"/>
                  </a:lnTo>
                  <a:lnTo>
                    <a:pt x="156" y="53"/>
                  </a:lnTo>
                  <a:lnTo>
                    <a:pt x="156" y="65"/>
                  </a:lnTo>
                  <a:lnTo>
                    <a:pt x="155" y="66"/>
                  </a:lnTo>
                  <a:lnTo>
                    <a:pt x="150" y="66"/>
                  </a:lnTo>
                  <a:lnTo>
                    <a:pt x="148" y="65"/>
                  </a:lnTo>
                  <a:lnTo>
                    <a:pt x="144" y="65"/>
                  </a:lnTo>
                  <a:lnTo>
                    <a:pt x="143" y="66"/>
                  </a:lnTo>
                  <a:lnTo>
                    <a:pt x="142" y="66"/>
                  </a:lnTo>
                  <a:lnTo>
                    <a:pt x="142" y="69"/>
                  </a:lnTo>
                  <a:lnTo>
                    <a:pt x="143" y="70"/>
                  </a:lnTo>
                  <a:lnTo>
                    <a:pt x="141" y="72"/>
                  </a:lnTo>
                  <a:lnTo>
                    <a:pt x="141" y="76"/>
                  </a:lnTo>
                  <a:lnTo>
                    <a:pt x="142" y="78"/>
                  </a:lnTo>
                  <a:lnTo>
                    <a:pt x="143" y="78"/>
                  </a:lnTo>
                  <a:lnTo>
                    <a:pt x="147" y="79"/>
                  </a:lnTo>
                  <a:lnTo>
                    <a:pt x="153" y="79"/>
                  </a:lnTo>
                  <a:lnTo>
                    <a:pt x="153" y="78"/>
                  </a:lnTo>
                  <a:lnTo>
                    <a:pt x="155" y="82"/>
                  </a:lnTo>
                  <a:lnTo>
                    <a:pt x="156" y="84"/>
                  </a:lnTo>
                  <a:lnTo>
                    <a:pt x="156" y="86"/>
                  </a:lnTo>
                  <a:lnTo>
                    <a:pt x="155" y="88"/>
                  </a:lnTo>
                  <a:lnTo>
                    <a:pt x="155" y="93"/>
                  </a:lnTo>
                  <a:lnTo>
                    <a:pt x="154" y="94"/>
                  </a:lnTo>
                  <a:lnTo>
                    <a:pt x="153" y="94"/>
                  </a:lnTo>
                  <a:lnTo>
                    <a:pt x="152" y="97"/>
                  </a:lnTo>
                  <a:lnTo>
                    <a:pt x="149" y="98"/>
                  </a:lnTo>
                  <a:lnTo>
                    <a:pt x="148" y="99"/>
                  </a:lnTo>
                  <a:lnTo>
                    <a:pt x="148" y="100"/>
                  </a:lnTo>
                  <a:lnTo>
                    <a:pt x="147" y="102"/>
                  </a:lnTo>
                  <a:lnTo>
                    <a:pt x="143" y="102"/>
                  </a:lnTo>
                  <a:lnTo>
                    <a:pt x="143" y="103"/>
                  </a:lnTo>
                  <a:lnTo>
                    <a:pt x="142" y="104"/>
                  </a:lnTo>
                  <a:lnTo>
                    <a:pt x="142" y="105"/>
                  </a:lnTo>
                  <a:lnTo>
                    <a:pt x="141" y="105"/>
                  </a:lnTo>
                  <a:lnTo>
                    <a:pt x="141" y="108"/>
                  </a:lnTo>
                  <a:lnTo>
                    <a:pt x="142" y="108"/>
                  </a:lnTo>
                  <a:lnTo>
                    <a:pt x="144" y="109"/>
                  </a:lnTo>
                  <a:lnTo>
                    <a:pt x="146" y="110"/>
                  </a:lnTo>
                  <a:lnTo>
                    <a:pt x="146" y="111"/>
                  </a:lnTo>
                  <a:lnTo>
                    <a:pt x="147" y="111"/>
                  </a:lnTo>
                  <a:lnTo>
                    <a:pt x="147" y="112"/>
                  </a:lnTo>
                  <a:lnTo>
                    <a:pt x="146" y="112"/>
                  </a:lnTo>
                  <a:lnTo>
                    <a:pt x="144" y="115"/>
                  </a:lnTo>
                  <a:lnTo>
                    <a:pt x="143" y="116"/>
                  </a:lnTo>
                  <a:lnTo>
                    <a:pt x="138" y="116"/>
                  </a:lnTo>
                  <a:lnTo>
                    <a:pt x="135" y="117"/>
                  </a:lnTo>
                  <a:lnTo>
                    <a:pt x="133" y="119"/>
                  </a:lnTo>
                  <a:lnTo>
                    <a:pt x="131" y="119"/>
                  </a:lnTo>
                  <a:lnTo>
                    <a:pt x="128" y="118"/>
                  </a:lnTo>
                  <a:lnTo>
                    <a:pt x="129" y="121"/>
                  </a:lnTo>
                  <a:lnTo>
                    <a:pt x="128" y="121"/>
                  </a:lnTo>
                  <a:lnTo>
                    <a:pt x="127" y="122"/>
                  </a:lnTo>
                  <a:lnTo>
                    <a:pt x="127" y="121"/>
                  </a:lnTo>
                  <a:lnTo>
                    <a:pt x="125" y="119"/>
                  </a:lnTo>
                  <a:lnTo>
                    <a:pt x="124" y="119"/>
                  </a:lnTo>
                  <a:lnTo>
                    <a:pt x="123" y="118"/>
                  </a:lnTo>
                  <a:lnTo>
                    <a:pt x="121" y="118"/>
                  </a:lnTo>
                  <a:lnTo>
                    <a:pt x="118" y="117"/>
                  </a:lnTo>
                  <a:lnTo>
                    <a:pt x="117" y="116"/>
                  </a:lnTo>
                  <a:lnTo>
                    <a:pt x="116" y="117"/>
                  </a:lnTo>
                  <a:lnTo>
                    <a:pt x="117" y="117"/>
                  </a:lnTo>
                  <a:lnTo>
                    <a:pt x="118" y="119"/>
                  </a:lnTo>
                  <a:lnTo>
                    <a:pt x="113" y="119"/>
                  </a:lnTo>
                  <a:lnTo>
                    <a:pt x="112" y="121"/>
                  </a:lnTo>
                  <a:lnTo>
                    <a:pt x="110" y="121"/>
                  </a:lnTo>
                  <a:lnTo>
                    <a:pt x="109" y="122"/>
                  </a:lnTo>
                  <a:lnTo>
                    <a:pt x="111" y="124"/>
                  </a:lnTo>
                  <a:lnTo>
                    <a:pt x="111" y="125"/>
                  </a:lnTo>
                  <a:lnTo>
                    <a:pt x="110" y="127"/>
                  </a:lnTo>
                  <a:lnTo>
                    <a:pt x="110" y="128"/>
                  </a:lnTo>
                  <a:lnTo>
                    <a:pt x="111" y="128"/>
                  </a:lnTo>
                  <a:lnTo>
                    <a:pt x="112" y="129"/>
                  </a:lnTo>
                  <a:lnTo>
                    <a:pt x="113" y="129"/>
                  </a:lnTo>
                  <a:lnTo>
                    <a:pt x="112" y="131"/>
                  </a:lnTo>
                  <a:lnTo>
                    <a:pt x="113" y="133"/>
                  </a:lnTo>
                  <a:lnTo>
                    <a:pt x="116" y="134"/>
                  </a:lnTo>
                  <a:lnTo>
                    <a:pt x="116" y="136"/>
                  </a:lnTo>
                  <a:lnTo>
                    <a:pt x="118" y="141"/>
                  </a:lnTo>
                  <a:lnTo>
                    <a:pt x="121" y="142"/>
                  </a:lnTo>
                  <a:lnTo>
                    <a:pt x="121" y="154"/>
                  </a:lnTo>
                  <a:lnTo>
                    <a:pt x="119" y="154"/>
                  </a:lnTo>
                  <a:lnTo>
                    <a:pt x="118" y="155"/>
                  </a:lnTo>
                  <a:lnTo>
                    <a:pt x="116" y="159"/>
                  </a:lnTo>
                  <a:lnTo>
                    <a:pt x="116" y="160"/>
                  </a:lnTo>
                  <a:lnTo>
                    <a:pt x="115" y="161"/>
                  </a:lnTo>
                  <a:lnTo>
                    <a:pt x="115" y="165"/>
                  </a:lnTo>
                  <a:lnTo>
                    <a:pt x="116" y="166"/>
                  </a:lnTo>
                  <a:lnTo>
                    <a:pt x="118" y="165"/>
                  </a:lnTo>
                  <a:lnTo>
                    <a:pt x="117" y="166"/>
                  </a:lnTo>
                  <a:lnTo>
                    <a:pt x="118" y="167"/>
                  </a:lnTo>
                  <a:lnTo>
                    <a:pt x="116" y="168"/>
                  </a:lnTo>
                  <a:lnTo>
                    <a:pt x="111" y="172"/>
                  </a:lnTo>
                  <a:lnTo>
                    <a:pt x="110" y="174"/>
                  </a:lnTo>
                  <a:lnTo>
                    <a:pt x="109" y="174"/>
                  </a:lnTo>
                  <a:lnTo>
                    <a:pt x="107" y="173"/>
                  </a:lnTo>
                  <a:lnTo>
                    <a:pt x="106" y="174"/>
                  </a:lnTo>
                  <a:lnTo>
                    <a:pt x="106" y="179"/>
                  </a:lnTo>
                  <a:lnTo>
                    <a:pt x="107" y="179"/>
                  </a:lnTo>
                  <a:lnTo>
                    <a:pt x="109" y="178"/>
                  </a:lnTo>
                  <a:lnTo>
                    <a:pt x="110" y="178"/>
                  </a:lnTo>
                  <a:lnTo>
                    <a:pt x="111" y="179"/>
                  </a:lnTo>
                  <a:lnTo>
                    <a:pt x="112" y="179"/>
                  </a:lnTo>
                  <a:lnTo>
                    <a:pt x="112" y="182"/>
                  </a:lnTo>
                  <a:lnTo>
                    <a:pt x="113" y="183"/>
                  </a:lnTo>
                  <a:lnTo>
                    <a:pt x="115" y="183"/>
                  </a:lnTo>
                  <a:lnTo>
                    <a:pt x="115" y="186"/>
                  </a:lnTo>
                  <a:lnTo>
                    <a:pt x="113" y="188"/>
                  </a:lnTo>
                  <a:lnTo>
                    <a:pt x="112" y="188"/>
                  </a:lnTo>
                  <a:lnTo>
                    <a:pt x="112" y="190"/>
                  </a:lnTo>
                  <a:lnTo>
                    <a:pt x="111" y="191"/>
                  </a:lnTo>
                  <a:lnTo>
                    <a:pt x="111" y="192"/>
                  </a:lnTo>
                  <a:lnTo>
                    <a:pt x="112" y="192"/>
                  </a:lnTo>
                  <a:lnTo>
                    <a:pt x="112" y="194"/>
                  </a:lnTo>
                  <a:lnTo>
                    <a:pt x="103" y="194"/>
                  </a:lnTo>
                  <a:lnTo>
                    <a:pt x="102" y="192"/>
                  </a:lnTo>
                  <a:lnTo>
                    <a:pt x="100" y="194"/>
                  </a:lnTo>
                  <a:lnTo>
                    <a:pt x="99" y="194"/>
                  </a:lnTo>
                  <a:lnTo>
                    <a:pt x="99" y="190"/>
                  </a:lnTo>
                  <a:lnTo>
                    <a:pt x="98" y="190"/>
                  </a:lnTo>
                  <a:lnTo>
                    <a:pt x="97" y="189"/>
                  </a:lnTo>
                  <a:lnTo>
                    <a:pt x="96" y="186"/>
                  </a:lnTo>
                  <a:lnTo>
                    <a:pt x="99" y="183"/>
                  </a:lnTo>
                  <a:lnTo>
                    <a:pt x="100" y="183"/>
                  </a:lnTo>
                  <a:lnTo>
                    <a:pt x="100" y="182"/>
                  </a:lnTo>
                  <a:lnTo>
                    <a:pt x="103" y="179"/>
                  </a:lnTo>
                  <a:lnTo>
                    <a:pt x="100" y="179"/>
                  </a:lnTo>
                  <a:lnTo>
                    <a:pt x="102" y="177"/>
                  </a:lnTo>
                  <a:lnTo>
                    <a:pt x="103" y="176"/>
                  </a:lnTo>
                  <a:lnTo>
                    <a:pt x="103" y="173"/>
                  </a:lnTo>
                  <a:lnTo>
                    <a:pt x="104" y="173"/>
                  </a:lnTo>
                  <a:lnTo>
                    <a:pt x="104" y="171"/>
                  </a:lnTo>
                  <a:lnTo>
                    <a:pt x="105" y="171"/>
                  </a:lnTo>
                  <a:lnTo>
                    <a:pt x="105" y="166"/>
                  </a:lnTo>
                  <a:lnTo>
                    <a:pt x="103" y="166"/>
                  </a:lnTo>
                  <a:lnTo>
                    <a:pt x="102" y="165"/>
                  </a:lnTo>
                  <a:lnTo>
                    <a:pt x="97" y="165"/>
                  </a:lnTo>
                  <a:lnTo>
                    <a:pt x="97" y="164"/>
                  </a:lnTo>
                  <a:lnTo>
                    <a:pt x="94" y="162"/>
                  </a:lnTo>
                  <a:lnTo>
                    <a:pt x="93" y="162"/>
                  </a:lnTo>
                  <a:lnTo>
                    <a:pt x="93" y="160"/>
                  </a:lnTo>
                  <a:lnTo>
                    <a:pt x="92" y="159"/>
                  </a:lnTo>
                  <a:lnTo>
                    <a:pt x="92" y="158"/>
                  </a:lnTo>
                  <a:lnTo>
                    <a:pt x="88" y="158"/>
                  </a:lnTo>
                  <a:lnTo>
                    <a:pt x="86" y="160"/>
                  </a:lnTo>
                  <a:lnTo>
                    <a:pt x="81" y="159"/>
                  </a:lnTo>
                  <a:lnTo>
                    <a:pt x="80" y="160"/>
                  </a:lnTo>
                  <a:lnTo>
                    <a:pt x="79" y="159"/>
                  </a:lnTo>
                  <a:lnTo>
                    <a:pt x="79" y="156"/>
                  </a:lnTo>
                  <a:lnTo>
                    <a:pt x="75" y="156"/>
                  </a:lnTo>
                  <a:lnTo>
                    <a:pt x="75" y="155"/>
                  </a:lnTo>
                  <a:lnTo>
                    <a:pt x="74" y="154"/>
                  </a:lnTo>
                  <a:lnTo>
                    <a:pt x="74" y="153"/>
                  </a:lnTo>
                  <a:lnTo>
                    <a:pt x="73" y="152"/>
                  </a:lnTo>
                  <a:lnTo>
                    <a:pt x="73" y="146"/>
                  </a:lnTo>
                  <a:lnTo>
                    <a:pt x="72" y="145"/>
                  </a:lnTo>
                  <a:lnTo>
                    <a:pt x="71" y="145"/>
                  </a:lnTo>
                  <a:lnTo>
                    <a:pt x="71" y="146"/>
                  </a:lnTo>
                  <a:lnTo>
                    <a:pt x="69" y="147"/>
                  </a:lnTo>
                  <a:lnTo>
                    <a:pt x="69" y="148"/>
                  </a:lnTo>
                  <a:lnTo>
                    <a:pt x="67" y="151"/>
                  </a:lnTo>
                  <a:lnTo>
                    <a:pt x="66" y="151"/>
                  </a:lnTo>
                  <a:lnTo>
                    <a:pt x="65" y="149"/>
                  </a:lnTo>
                  <a:lnTo>
                    <a:pt x="62" y="149"/>
                  </a:lnTo>
                  <a:lnTo>
                    <a:pt x="62" y="145"/>
                  </a:lnTo>
                  <a:lnTo>
                    <a:pt x="61" y="143"/>
                  </a:lnTo>
                  <a:lnTo>
                    <a:pt x="60" y="143"/>
                  </a:lnTo>
                  <a:lnTo>
                    <a:pt x="55" y="148"/>
                  </a:lnTo>
                  <a:lnTo>
                    <a:pt x="54" y="148"/>
                  </a:lnTo>
                  <a:lnTo>
                    <a:pt x="54" y="149"/>
                  </a:lnTo>
                  <a:lnTo>
                    <a:pt x="53" y="148"/>
                  </a:lnTo>
                  <a:lnTo>
                    <a:pt x="50" y="148"/>
                  </a:lnTo>
                  <a:lnTo>
                    <a:pt x="50" y="145"/>
                  </a:lnTo>
                  <a:lnTo>
                    <a:pt x="48" y="145"/>
                  </a:lnTo>
                  <a:lnTo>
                    <a:pt x="43" y="147"/>
                  </a:lnTo>
                  <a:lnTo>
                    <a:pt x="44" y="148"/>
                  </a:lnTo>
                  <a:lnTo>
                    <a:pt x="44" y="149"/>
                  </a:lnTo>
                  <a:lnTo>
                    <a:pt x="46" y="151"/>
                  </a:lnTo>
                  <a:lnTo>
                    <a:pt x="46" y="153"/>
                  </a:lnTo>
                  <a:lnTo>
                    <a:pt x="42" y="153"/>
                  </a:lnTo>
                  <a:lnTo>
                    <a:pt x="40" y="152"/>
                  </a:lnTo>
                  <a:lnTo>
                    <a:pt x="38" y="152"/>
                  </a:lnTo>
                  <a:lnTo>
                    <a:pt x="38" y="149"/>
                  </a:lnTo>
                  <a:lnTo>
                    <a:pt x="37" y="148"/>
                  </a:lnTo>
                  <a:lnTo>
                    <a:pt x="37" y="149"/>
                  </a:lnTo>
                  <a:lnTo>
                    <a:pt x="31" y="149"/>
                  </a:lnTo>
                  <a:lnTo>
                    <a:pt x="31" y="148"/>
                  </a:lnTo>
                  <a:lnTo>
                    <a:pt x="29" y="147"/>
                  </a:lnTo>
                  <a:lnTo>
                    <a:pt x="28" y="147"/>
                  </a:lnTo>
                  <a:lnTo>
                    <a:pt x="26" y="146"/>
                  </a:lnTo>
                  <a:lnTo>
                    <a:pt x="25" y="147"/>
                  </a:lnTo>
                  <a:lnTo>
                    <a:pt x="24" y="149"/>
                  </a:lnTo>
                  <a:lnTo>
                    <a:pt x="23" y="151"/>
                  </a:lnTo>
                  <a:lnTo>
                    <a:pt x="20" y="151"/>
                  </a:lnTo>
                  <a:lnTo>
                    <a:pt x="19" y="149"/>
                  </a:lnTo>
                  <a:lnTo>
                    <a:pt x="16" y="148"/>
                  </a:lnTo>
                  <a:lnTo>
                    <a:pt x="15" y="146"/>
                  </a:lnTo>
                  <a:lnTo>
                    <a:pt x="12" y="147"/>
                  </a:lnTo>
                  <a:lnTo>
                    <a:pt x="9" y="147"/>
                  </a:lnTo>
                  <a:lnTo>
                    <a:pt x="9" y="146"/>
                  </a:lnTo>
                  <a:lnTo>
                    <a:pt x="7" y="145"/>
                  </a:lnTo>
                  <a:lnTo>
                    <a:pt x="7" y="143"/>
                  </a:lnTo>
                  <a:lnTo>
                    <a:pt x="6" y="143"/>
                  </a:lnTo>
                  <a:lnTo>
                    <a:pt x="5" y="142"/>
                  </a:lnTo>
                  <a:lnTo>
                    <a:pt x="5" y="141"/>
                  </a:lnTo>
                  <a:lnTo>
                    <a:pt x="4" y="140"/>
                  </a:lnTo>
                  <a:lnTo>
                    <a:pt x="5" y="140"/>
                  </a:lnTo>
                  <a:lnTo>
                    <a:pt x="9" y="136"/>
                  </a:lnTo>
                  <a:lnTo>
                    <a:pt x="20" y="135"/>
                  </a:lnTo>
                  <a:lnTo>
                    <a:pt x="22" y="136"/>
                  </a:lnTo>
                  <a:lnTo>
                    <a:pt x="23" y="136"/>
                  </a:lnTo>
                  <a:lnTo>
                    <a:pt x="23" y="137"/>
                  </a:lnTo>
                  <a:lnTo>
                    <a:pt x="24" y="139"/>
                  </a:lnTo>
                  <a:lnTo>
                    <a:pt x="23" y="139"/>
                  </a:lnTo>
                  <a:lnTo>
                    <a:pt x="23" y="140"/>
                  </a:lnTo>
                  <a:lnTo>
                    <a:pt x="26" y="140"/>
                  </a:lnTo>
                  <a:lnTo>
                    <a:pt x="29" y="141"/>
                  </a:lnTo>
                  <a:lnTo>
                    <a:pt x="31" y="143"/>
                  </a:lnTo>
                  <a:lnTo>
                    <a:pt x="31" y="146"/>
                  </a:lnTo>
                  <a:lnTo>
                    <a:pt x="32" y="147"/>
                  </a:lnTo>
                  <a:lnTo>
                    <a:pt x="40" y="147"/>
                  </a:lnTo>
                  <a:lnTo>
                    <a:pt x="41" y="146"/>
                  </a:lnTo>
                  <a:lnTo>
                    <a:pt x="40" y="143"/>
                  </a:lnTo>
                  <a:lnTo>
                    <a:pt x="40" y="142"/>
                  </a:lnTo>
                  <a:lnTo>
                    <a:pt x="36" y="142"/>
                  </a:lnTo>
                  <a:lnTo>
                    <a:pt x="34" y="141"/>
                  </a:lnTo>
                  <a:lnTo>
                    <a:pt x="31" y="141"/>
                  </a:lnTo>
                  <a:lnTo>
                    <a:pt x="28" y="137"/>
                  </a:lnTo>
                  <a:lnTo>
                    <a:pt x="30" y="136"/>
                  </a:lnTo>
                  <a:lnTo>
                    <a:pt x="36" y="136"/>
                  </a:lnTo>
                  <a:lnTo>
                    <a:pt x="36" y="135"/>
                  </a:lnTo>
                  <a:lnTo>
                    <a:pt x="34" y="135"/>
                  </a:lnTo>
                  <a:lnTo>
                    <a:pt x="32" y="134"/>
                  </a:lnTo>
                  <a:lnTo>
                    <a:pt x="32" y="133"/>
                  </a:lnTo>
                  <a:lnTo>
                    <a:pt x="31" y="134"/>
                  </a:lnTo>
                  <a:lnTo>
                    <a:pt x="30" y="134"/>
                  </a:lnTo>
                  <a:lnTo>
                    <a:pt x="26" y="135"/>
                  </a:lnTo>
                  <a:lnTo>
                    <a:pt x="24" y="134"/>
                  </a:lnTo>
                  <a:lnTo>
                    <a:pt x="23" y="133"/>
                  </a:lnTo>
                  <a:lnTo>
                    <a:pt x="23" y="131"/>
                  </a:lnTo>
                  <a:lnTo>
                    <a:pt x="22" y="131"/>
                  </a:lnTo>
                  <a:lnTo>
                    <a:pt x="20" y="130"/>
                  </a:lnTo>
                  <a:lnTo>
                    <a:pt x="19" y="130"/>
                  </a:lnTo>
                  <a:lnTo>
                    <a:pt x="19" y="129"/>
                  </a:lnTo>
                  <a:lnTo>
                    <a:pt x="18" y="131"/>
                  </a:lnTo>
                  <a:lnTo>
                    <a:pt x="15" y="131"/>
                  </a:lnTo>
                  <a:lnTo>
                    <a:pt x="15" y="128"/>
                  </a:lnTo>
                  <a:lnTo>
                    <a:pt x="16" y="127"/>
                  </a:lnTo>
                  <a:lnTo>
                    <a:pt x="26" y="127"/>
                  </a:lnTo>
                  <a:lnTo>
                    <a:pt x="26" y="128"/>
                  </a:lnTo>
                  <a:lnTo>
                    <a:pt x="29" y="129"/>
                  </a:lnTo>
                  <a:lnTo>
                    <a:pt x="29" y="130"/>
                  </a:lnTo>
                  <a:lnTo>
                    <a:pt x="31" y="131"/>
                  </a:lnTo>
                  <a:lnTo>
                    <a:pt x="34" y="131"/>
                  </a:lnTo>
                  <a:lnTo>
                    <a:pt x="34" y="130"/>
                  </a:lnTo>
                  <a:lnTo>
                    <a:pt x="35" y="130"/>
                  </a:lnTo>
                  <a:lnTo>
                    <a:pt x="34" y="129"/>
                  </a:lnTo>
                  <a:lnTo>
                    <a:pt x="31" y="129"/>
                  </a:lnTo>
                  <a:lnTo>
                    <a:pt x="30" y="128"/>
                  </a:lnTo>
                  <a:lnTo>
                    <a:pt x="30" y="125"/>
                  </a:lnTo>
                  <a:lnTo>
                    <a:pt x="26" y="122"/>
                  </a:lnTo>
                  <a:lnTo>
                    <a:pt x="26" y="123"/>
                  </a:lnTo>
                  <a:lnTo>
                    <a:pt x="23" y="123"/>
                  </a:lnTo>
                  <a:lnTo>
                    <a:pt x="22" y="122"/>
                  </a:lnTo>
                  <a:lnTo>
                    <a:pt x="23" y="121"/>
                  </a:lnTo>
                  <a:lnTo>
                    <a:pt x="25" y="119"/>
                  </a:lnTo>
                  <a:lnTo>
                    <a:pt x="29" y="119"/>
                  </a:lnTo>
                  <a:lnTo>
                    <a:pt x="30" y="121"/>
                  </a:lnTo>
                  <a:lnTo>
                    <a:pt x="31" y="119"/>
                  </a:lnTo>
                  <a:lnTo>
                    <a:pt x="29" y="117"/>
                  </a:lnTo>
                  <a:lnTo>
                    <a:pt x="29" y="116"/>
                  </a:lnTo>
                  <a:lnTo>
                    <a:pt x="30" y="116"/>
                  </a:lnTo>
                  <a:lnTo>
                    <a:pt x="29" y="115"/>
                  </a:lnTo>
                  <a:lnTo>
                    <a:pt x="29" y="111"/>
                  </a:lnTo>
                  <a:lnTo>
                    <a:pt x="28" y="110"/>
                  </a:lnTo>
                  <a:lnTo>
                    <a:pt x="32" y="110"/>
                  </a:lnTo>
                  <a:lnTo>
                    <a:pt x="34" y="109"/>
                  </a:lnTo>
                  <a:lnTo>
                    <a:pt x="40" y="102"/>
                  </a:lnTo>
                  <a:lnTo>
                    <a:pt x="44" y="93"/>
                  </a:lnTo>
                  <a:lnTo>
                    <a:pt x="49" y="86"/>
                  </a:lnTo>
                  <a:lnTo>
                    <a:pt x="51" y="79"/>
                  </a:lnTo>
                  <a:lnTo>
                    <a:pt x="51" y="76"/>
                  </a:lnTo>
                  <a:lnTo>
                    <a:pt x="53" y="74"/>
                  </a:lnTo>
                  <a:lnTo>
                    <a:pt x="55" y="61"/>
                  </a:lnTo>
                  <a:lnTo>
                    <a:pt x="55" y="56"/>
                  </a:lnTo>
                  <a:lnTo>
                    <a:pt x="56" y="54"/>
                  </a:lnTo>
                  <a:lnTo>
                    <a:pt x="57" y="49"/>
                  </a:lnTo>
                  <a:lnTo>
                    <a:pt x="59" y="47"/>
                  </a:lnTo>
                  <a:lnTo>
                    <a:pt x="59" y="42"/>
                  </a:lnTo>
                  <a:lnTo>
                    <a:pt x="62" y="43"/>
                  </a:lnTo>
                  <a:lnTo>
                    <a:pt x="62" y="44"/>
                  </a:lnTo>
                  <a:lnTo>
                    <a:pt x="63" y="47"/>
                  </a:lnTo>
                  <a:lnTo>
                    <a:pt x="66" y="47"/>
                  </a:lnTo>
                  <a:lnTo>
                    <a:pt x="67" y="45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3" y="43"/>
                  </a:lnTo>
                  <a:lnTo>
                    <a:pt x="81" y="36"/>
                  </a:lnTo>
                  <a:lnTo>
                    <a:pt x="84" y="33"/>
                  </a:lnTo>
                  <a:lnTo>
                    <a:pt x="86" y="33"/>
                  </a:lnTo>
                  <a:lnTo>
                    <a:pt x="87" y="31"/>
                  </a:lnTo>
                  <a:lnTo>
                    <a:pt x="88" y="26"/>
                  </a:lnTo>
                  <a:lnTo>
                    <a:pt x="88" y="24"/>
                  </a:lnTo>
                  <a:lnTo>
                    <a:pt x="91" y="23"/>
                  </a:lnTo>
                  <a:lnTo>
                    <a:pt x="91" y="22"/>
                  </a:lnTo>
                  <a:lnTo>
                    <a:pt x="93" y="22"/>
                  </a:lnTo>
                  <a:lnTo>
                    <a:pt x="93" y="20"/>
                  </a:lnTo>
                  <a:lnTo>
                    <a:pt x="94" y="19"/>
                  </a:lnTo>
                  <a:lnTo>
                    <a:pt x="94" y="18"/>
                  </a:lnTo>
                  <a:lnTo>
                    <a:pt x="98" y="18"/>
                  </a:lnTo>
                  <a:lnTo>
                    <a:pt x="99" y="17"/>
                  </a:lnTo>
                  <a:lnTo>
                    <a:pt x="106" y="14"/>
                  </a:lnTo>
                  <a:lnTo>
                    <a:pt x="107" y="13"/>
                  </a:lnTo>
                  <a:lnTo>
                    <a:pt x="109" y="13"/>
                  </a:lnTo>
                  <a:lnTo>
                    <a:pt x="111" y="11"/>
                  </a:lnTo>
                  <a:lnTo>
                    <a:pt x="124" y="11"/>
                  </a:lnTo>
                  <a:lnTo>
                    <a:pt x="125" y="12"/>
                  </a:lnTo>
                  <a:lnTo>
                    <a:pt x="127" y="11"/>
                  </a:lnTo>
                  <a:lnTo>
                    <a:pt x="133" y="8"/>
                  </a:lnTo>
                  <a:lnTo>
                    <a:pt x="143" y="7"/>
                  </a:lnTo>
                  <a:close/>
                  <a:moveTo>
                    <a:pt x="117" y="7"/>
                  </a:moveTo>
                  <a:lnTo>
                    <a:pt x="118" y="7"/>
                  </a:lnTo>
                  <a:lnTo>
                    <a:pt x="118" y="8"/>
                  </a:lnTo>
                  <a:lnTo>
                    <a:pt x="117" y="7"/>
                  </a:lnTo>
                  <a:close/>
                  <a:moveTo>
                    <a:pt x="98" y="6"/>
                  </a:moveTo>
                  <a:lnTo>
                    <a:pt x="98" y="7"/>
                  </a:lnTo>
                  <a:lnTo>
                    <a:pt x="109" y="6"/>
                  </a:lnTo>
                  <a:lnTo>
                    <a:pt x="110" y="7"/>
                  </a:lnTo>
                  <a:lnTo>
                    <a:pt x="106" y="8"/>
                  </a:lnTo>
                  <a:lnTo>
                    <a:pt x="100" y="8"/>
                  </a:lnTo>
                  <a:lnTo>
                    <a:pt x="98" y="10"/>
                  </a:lnTo>
                  <a:lnTo>
                    <a:pt x="97" y="8"/>
                  </a:lnTo>
                  <a:lnTo>
                    <a:pt x="97" y="7"/>
                  </a:lnTo>
                  <a:lnTo>
                    <a:pt x="98" y="6"/>
                  </a:lnTo>
                  <a:close/>
                  <a:moveTo>
                    <a:pt x="121" y="4"/>
                  </a:moveTo>
                  <a:lnTo>
                    <a:pt x="127" y="4"/>
                  </a:lnTo>
                  <a:lnTo>
                    <a:pt x="127" y="5"/>
                  </a:lnTo>
                  <a:lnTo>
                    <a:pt x="125" y="5"/>
                  </a:lnTo>
                  <a:lnTo>
                    <a:pt x="118" y="7"/>
                  </a:lnTo>
                  <a:lnTo>
                    <a:pt x="117" y="6"/>
                  </a:lnTo>
                  <a:lnTo>
                    <a:pt x="118" y="5"/>
                  </a:lnTo>
                  <a:lnTo>
                    <a:pt x="119" y="5"/>
                  </a:lnTo>
                  <a:lnTo>
                    <a:pt x="121" y="4"/>
                  </a:lnTo>
                  <a:close/>
                  <a:moveTo>
                    <a:pt x="130" y="0"/>
                  </a:moveTo>
                  <a:lnTo>
                    <a:pt x="131" y="0"/>
                  </a:lnTo>
                  <a:lnTo>
                    <a:pt x="134" y="1"/>
                  </a:lnTo>
                  <a:lnTo>
                    <a:pt x="133" y="2"/>
                  </a:lnTo>
                  <a:lnTo>
                    <a:pt x="130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4">
              <a:extLst>
                <a:ext uri="{FF2B5EF4-FFF2-40B4-BE49-F238E27FC236}">
                  <a16:creationId xmlns:a16="http://schemas.microsoft.com/office/drawing/2014/main" id="{13293DD8-9857-401B-B77B-4A32D0F575A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81675" y="5086350"/>
              <a:ext cx="128588" cy="153988"/>
            </a:xfrm>
            <a:custGeom>
              <a:avLst/>
              <a:gdLst/>
              <a:ahLst/>
              <a:cxnLst>
                <a:cxn ang="0">
                  <a:pos x="3" y="66"/>
                </a:cxn>
                <a:cxn ang="0">
                  <a:pos x="22" y="0"/>
                </a:cxn>
                <a:cxn ang="0">
                  <a:pos x="26" y="3"/>
                </a:cxn>
                <a:cxn ang="0">
                  <a:pos x="28" y="0"/>
                </a:cxn>
                <a:cxn ang="0">
                  <a:pos x="31" y="4"/>
                </a:cxn>
                <a:cxn ang="0">
                  <a:pos x="39" y="10"/>
                </a:cxn>
                <a:cxn ang="0">
                  <a:pos x="45" y="17"/>
                </a:cxn>
                <a:cxn ang="0">
                  <a:pos x="49" y="21"/>
                </a:cxn>
                <a:cxn ang="0">
                  <a:pos x="52" y="23"/>
                </a:cxn>
                <a:cxn ang="0">
                  <a:pos x="56" y="25"/>
                </a:cxn>
                <a:cxn ang="0">
                  <a:pos x="60" y="27"/>
                </a:cxn>
                <a:cxn ang="0">
                  <a:pos x="62" y="24"/>
                </a:cxn>
                <a:cxn ang="0">
                  <a:pos x="64" y="27"/>
                </a:cxn>
                <a:cxn ang="0">
                  <a:pos x="71" y="34"/>
                </a:cxn>
                <a:cxn ang="0">
                  <a:pos x="80" y="37"/>
                </a:cxn>
                <a:cxn ang="0">
                  <a:pos x="77" y="42"/>
                </a:cxn>
                <a:cxn ang="0">
                  <a:pos x="74" y="47"/>
                </a:cxn>
                <a:cxn ang="0">
                  <a:pos x="68" y="45"/>
                </a:cxn>
                <a:cxn ang="0">
                  <a:pos x="66" y="47"/>
                </a:cxn>
                <a:cxn ang="0">
                  <a:pos x="69" y="54"/>
                </a:cxn>
                <a:cxn ang="0">
                  <a:pos x="66" y="58"/>
                </a:cxn>
                <a:cxn ang="0">
                  <a:pos x="60" y="61"/>
                </a:cxn>
                <a:cxn ang="0">
                  <a:pos x="57" y="61"/>
                </a:cxn>
                <a:cxn ang="0">
                  <a:pos x="52" y="52"/>
                </a:cxn>
                <a:cxn ang="0">
                  <a:pos x="47" y="59"/>
                </a:cxn>
                <a:cxn ang="0">
                  <a:pos x="45" y="63"/>
                </a:cxn>
                <a:cxn ang="0">
                  <a:pos x="44" y="65"/>
                </a:cxn>
                <a:cxn ang="0">
                  <a:pos x="37" y="77"/>
                </a:cxn>
                <a:cxn ang="0">
                  <a:pos x="37" y="80"/>
                </a:cxn>
                <a:cxn ang="0">
                  <a:pos x="38" y="88"/>
                </a:cxn>
                <a:cxn ang="0">
                  <a:pos x="38" y="91"/>
                </a:cxn>
                <a:cxn ang="0">
                  <a:pos x="38" y="94"/>
                </a:cxn>
                <a:cxn ang="0">
                  <a:pos x="37" y="95"/>
                </a:cxn>
                <a:cxn ang="0">
                  <a:pos x="32" y="92"/>
                </a:cxn>
                <a:cxn ang="0">
                  <a:pos x="29" y="90"/>
                </a:cxn>
                <a:cxn ang="0">
                  <a:pos x="27" y="82"/>
                </a:cxn>
                <a:cxn ang="0">
                  <a:pos x="24" y="80"/>
                </a:cxn>
                <a:cxn ang="0">
                  <a:pos x="22" y="78"/>
                </a:cxn>
                <a:cxn ang="0">
                  <a:pos x="19" y="72"/>
                </a:cxn>
                <a:cxn ang="0">
                  <a:pos x="14" y="73"/>
                </a:cxn>
                <a:cxn ang="0">
                  <a:pos x="12" y="70"/>
                </a:cxn>
                <a:cxn ang="0">
                  <a:pos x="9" y="67"/>
                </a:cxn>
                <a:cxn ang="0">
                  <a:pos x="7" y="67"/>
                </a:cxn>
                <a:cxn ang="0">
                  <a:pos x="6" y="64"/>
                </a:cxn>
                <a:cxn ang="0">
                  <a:pos x="10" y="66"/>
                </a:cxn>
                <a:cxn ang="0">
                  <a:pos x="10" y="63"/>
                </a:cxn>
                <a:cxn ang="0">
                  <a:pos x="7" y="64"/>
                </a:cxn>
                <a:cxn ang="0">
                  <a:pos x="1" y="64"/>
                </a:cxn>
                <a:cxn ang="0">
                  <a:pos x="0" y="57"/>
                </a:cxn>
                <a:cxn ang="0">
                  <a:pos x="4" y="53"/>
                </a:cxn>
                <a:cxn ang="0">
                  <a:pos x="1" y="45"/>
                </a:cxn>
                <a:cxn ang="0">
                  <a:pos x="0" y="41"/>
                </a:cxn>
                <a:cxn ang="0">
                  <a:pos x="0" y="36"/>
                </a:cxn>
                <a:cxn ang="0">
                  <a:pos x="2" y="30"/>
                </a:cxn>
                <a:cxn ang="0">
                  <a:pos x="10" y="18"/>
                </a:cxn>
                <a:cxn ang="0">
                  <a:pos x="15" y="14"/>
                </a:cxn>
                <a:cxn ang="0">
                  <a:pos x="20" y="11"/>
                </a:cxn>
                <a:cxn ang="0">
                  <a:pos x="22" y="15"/>
                </a:cxn>
                <a:cxn ang="0">
                  <a:pos x="25" y="15"/>
                </a:cxn>
                <a:cxn ang="0">
                  <a:pos x="25" y="11"/>
                </a:cxn>
                <a:cxn ang="0">
                  <a:pos x="22" y="5"/>
                </a:cxn>
                <a:cxn ang="0">
                  <a:pos x="20" y="4"/>
                </a:cxn>
                <a:cxn ang="0">
                  <a:pos x="22" y="0"/>
                </a:cxn>
              </a:cxnLst>
              <a:rect l="0" t="0" r="r" b="b"/>
              <a:pathLst>
                <a:path w="81" h="97">
                  <a:moveTo>
                    <a:pt x="2" y="64"/>
                  </a:moveTo>
                  <a:lnTo>
                    <a:pt x="3" y="64"/>
                  </a:lnTo>
                  <a:lnTo>
                    <a:pt x="3" y="66"/>
                  </a:lnTo>
                  <a:lnTo>
                    <a:pt x="2" y="65"/>
                  </a:lnTo>
                  <a:lnTo>
                    <a:pt x="2" y="64"/>
                  </a:lnTo>
                  <a:close/>
                  <a:moveTo>
                    <a:pt x="22" y="0"/>
                  </a:moveTo>
                  <a:lnTo>
                    <a:pt x="25" y="0"/>
                  </a:lnTo>
                  <a:lnTo>
                    <a:pt x="25" y="2"/>
                  </a:lnTo>
                  <a:lnTo>
                    <a:pt x="26" y="3"/>
                  </a:lnTo>
                  <a:lnTo>
                    <a:pt x="27" y="3"/>
                  </a:lnTo>
                  <a:lnTo>
                    <a:pt x="27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1" y="2"/>
                  </a:lnTo>
                  <a:lnTo>
                    <a:pt x="31" y="4"/>
                  </a:lnTo>
                  <a:lnTo>
                    <a:pt x="33" y="6"/>
                  </a:lnTo>
                  <a:lnTo>
                    <a:pt x="39" y="9"/>
                  </a:lnTo>
                  <a:lnTo>
                    <a:pt x="39" y="10"/>
                  </a:lnTo>
                  <a:lnTo>
                    <a:pt x="44" y="15"/>
                  </a:lnTo>
                  <a:lnTo>
                    <a:pt x="44" y="16"/>
                  </a:lnTo>
                  <a:lnTo>
                    <a:pt x="45" y="17"/>
                  </a:lnTo>
                  <a:lnTo>
                    <a:pt x="46" y="20"/>
                  </a:lnTo>
                  <a:lnTo>
                    <a:pt x="47" y="20"/>
                  </a:lnTo>
                  <a:lnTo>
                    <a:pt x="49" y="21"/>
                  </a:lnTo>
                  <a:lnTo>
                    <a:pt x="49" y="22"/>
                  </a:lnTo>
                  <a:lnTo>
                    <a:pt x="52" y="22"/>
                  </a:lnTo>
                  <a:lnTo>
                    <a:pt x="52" y="23"/>
                  </a:lnTo>
                  <a:lnTo>
                    <a:pt x="53" y="22"/>
                  </a:lnTo>
                  <a:lnTo>
                    <a:pt x="54" y="24"/>
                  </a:lnTo>
                  <a:lnTo>
                    <a:pt x="56" y="25"/>
                  </a:lnTo>
                  <a:lnTo>
                    <a:pt x="57" y="25"/>
                  </a:lnTo>
                  <a:lnTo>
                    <a:pt x="58" y="27"/>
                  </a:lnTo>
                  <a:lnTo>
                    <a:pt x="60" y="27"/>
                  </a:lnTo>
                  <a:lnTo>
                    <a:pt x="60" y="25"/>
                  </a:lnTo>
                  <a:lnTo>
                    <a:pt x="62" y="25"/>
                  </a:lnTo>
                  <a:lnTo>
                    <a:pt x="62" y="24"/>
                  </a:lnTo>
                  <a:lnTo>
                    <a:pt x="63" y="25"/>
                  </a:lnTo>
                  <a:lnTo>
                    <a:pt x="63" y="27"/>
                  </a:lnTo>
                  <a:lnTo>
                    <a:pt x="64" y="27"/>
                  </a:lnTo>
                  <a:lnTo>
                    <a:pt x="68" y="30"/>
                  </a:lnTo>
                  <a:lnTo>
                    <a:pt x="71" y="33"/>
                  </a:lnTo>
                  <a:lnTo>
                    <a:pt x="71" y="34"/>
                  </a:lnTo>
                  <a:lnTo>
                    <a:pt x="75" y="34"/>
                  </a:lnTo>
                  <a:lnTo>
                    <a:pt x="77" y="36"/>
                  </a:lnTo>
                  <a:lnTo>
                    <a:pt x="80" y="37"/>
                  </a:lnTo>
                  <a:lnTo>
                    <a:pt x="81" y="37"/>
                  </a:lnTo>
                  <a:lnTo>
                    <a:pt x="81" y="41"/>
                  </a:lnTo>
                  <a:lnTo>
                    <a:pt x="77" y="42"/>
                  </a:lnTo>
                  <a:lnTo>
                    <a:pt x="75" y="42"/>
                  </a:lnTo>
                  <a:lnTo>
                    <a:pt x="75" y="46"/>
                  </a:lnTo>
                  <a:lnTo>
                    <a:pt x="74" y="47"/>
                  </a:lnTo>
                  <a:lnTo>
                    <a:pt x="72" y="46"/>
                  </a:lnTo>
                  <a:lnTo>
                    <a:pt x="70" y="45"/>
                  </a:lnTo>
                  <a:lnTo>
                    <a:pt x="68" y="45"/>
                  </a:lnTo>
                  <a:lnTo>
                    <a:pt x="68" y="46"/>
                  </a:lnTo>
                  <a:lnTo>
                    <a:pt x="66" y="46"/>
                  </a:lnTo>
                  <a:lnTo>
                    <a:pt x="66" y="47"/>
                  </a:lnTo>
                  <a:lnTo>
                    <a:pt x="70" y="51"/>
                  </a:lnTo>
                  <a:lnTo>
                    <a:pt x="70" y="53"/>
                  </a:lnTo>
                  <a:lnTo>
                    <a:pt x="69" y="54"/>
                  </a:lnTo>
                  <a:lnTo>
                    <a:pt x="69" y="58"/>
                  </a:lnTo>
                  <a:lnTo>
                    <a:pt x="68" y="57"/>
                  </a:lnTo>
                  <a:lnTo>
                    <a:pt x="66" y="58"/>
                  </a:lnTo>
                  <a:lnTo>
                    <a:pt x="65" y="60"/>
                  </a:lnTo>
                  <a:lnTo>
                    <a:pt x="60" y="60"/>
                  </a:lnTo>
                  <a:lnTo>
                    <a:pt x="60" y="61"/>
                  </a:lnTo>
                  <a:lnTo>
                    <a:pt x="59" y="63"/>
                  </a:lnTo>
                  <a:lnTo>
                    <a:pt x="57" y="63"/>
                  </a:lnTo>
                  <a:lnTo>
                    <a:pt x="57" y="61"/>
                  </a:lnTo>
                  <a:lnTo>
                    <a:pt x="54" y="59"/>
                  </a:lnTo>
                  <a:lnTo>
                    <a:pt x="54" y="52"/>
                  </a:lnTo>
                  <a:lnTo>
                    <a:pt x="52" y="52"/>
                  </a:lnTo>
                  <a:lnTo>
                    <a:pt x="49" y="55"/>
                  </a:lnTo>
                  <a:lnTo>
                    <a:pt x="49" y="59"/>
                  </a:lnTo>
                  <a:lnTo>
                    <a:pt x="47" y="59"/>
                  </a:lnTo>
                  <a:lnTo>
                    <a:pt x="46" y="60"/>
                  </a:lnTo>
                  <a:lnTo>
                    <a:pt x="46" y="61"/>
                  </a:lnTo>
                  <a:lnTo>
                    <a:pt x="45" y="63"/>
                  </a:lnTo>
                  <a:lnTo>
                    <a:pt x="45" y="64"/>
                  </a:lnTo>
                  <a:lnTo>
                    <a:pt x="44" y="64"/>
                  </a:lnTo>
                  <a:lnTo>
                    <a:pt x="44" y="65"/>
                  </a:lnTo>
                  <a:lnTo>
                    <a:pt x="40" y="68"/>
                  </a:lnTo>
                  <a:lnTo>
                    <a:pt x="40" y="70"/>
                  </a:lnTo>
                  <a:lnTo>
                    <a:pt x="37" y="77"/>
                  </a:lnTo>
                  <a:lnTo>
                    <a:pt x="35" y="78"/>
                  </a:lnTo>
                  <a:lnTo>
                    <a:pt x="35" y="79"/>
                  </a:lnTo>
                  <a:lnTo>
                    <a:pt x="37" y="80"/>
                  </a:lnTo>
                  <a:lnTo>
                    <a:pt x="39" y="82"/>
                  </a:lnTo>
                  <a:lnTo>
                    <a:pt x="39" y="86"/>
                  </a:lnTo>
                  <a:lnTo>
                    <a:pt x="38" y="88"/>
                  </a:lnTo>
                  <a:lnTo>
                    <a:pt x="39" y="89"/>
                  </a:lnTo>
                  <a:lnTo>
                    <a:pt x="39" y="91"/>
                  </a:lnTo>
                  <a:lnTo>
                    <a:pt x="38" y="91"/>
                  </a:lnTo>
                  <a:lnTo>
                    <a:pt x="39" y="92"/>
                  </a:lnTo>
                  <a:lnTo>
                    <a:pt x="38" y="92"/>
                  </a:lnTo>
                  <a:lnTo>
                    <a:pt x="38" y="94"/>
                  </a:lnTo>
                  <a:lnTo>
                    <a:pt x="39" y="95"/>
                  </a:lnTo>
                  <a:lnTo>
                    <a:pt x="39" y="97"/>
                  </a:lnTo>
                  <a:lnTo>
                    <a:pt x="37" y="95"/>
                  </a:lnTo>
                  <a:lnTo>
                    <a:pt x="35" y="95"/>
                  </a:lnTo>
                  <a:lnTo>
                    <a:pt x="33" y="94"/>
                  </a:lnTo>
                  <a:lnTo>
                    <a:pt x="32" y="92"/>
                  </a:lnTo>
                  <a:lnTo>
                    <a:pt x="31" y="92"/>
                  </a:lnTo>
                  <a:lnTo>
                    <a:pt x="31" y="90"/>
                  </a:lnTo>
                  <a:lnTo>
                    <a:pt x="29" y="90"/>
                  </a:lnTo>
                  <a:lnTo>
                    <a:pt x="29" y="86"/>
                  </a:lnTo>
                  <a:lnTo>
                    <a:pt x="27" y="84"/>
                  </a:lnTo>
                  <a:lnTo>
                    <a:pt x="27" y="82"/>
                  </a:lnTo>
                  <a:lnTo>
                    <a:pt x="26" y="82"/>
                  </a:lnTo>
                  <a:lnTo>
                    <a:pt x="26" y="80"/>
                  </a:lnTo>
                  <a:lnTo>
                    <a:pt x="24" y="80"/>
                  </a:lnTo>
                  <a:lnTo>
                    <a:pt x="24" y="79"/>
                  </a:lnTo>
                  <a:lnTo>
                    <a:pt x="22" y="79"/>
                  </a:lnTo>
                  <a:lnTo>
                    <a:pt x="22" y="78"/>
                  </a:lnTo>
                  <a:lnTo>
                    <a:pt x="20" y="76"/>
                  </a:lnTo>
                  <a:lnTo>
                    <a:pt x="19" y="73"/>
                  </a:lnTo>
                  <a:lnTo>
                    <a:pt x="19" y="72"/>
                  </a:lnTo>
                  <a:lnTo>
                    <a:pt x="15" y="72"/>
                  </a:lnTo>
                  <a:lnTo>
                    <a:pt x="15" y="73"/>
                  </a:lnTo>
                  <a:lnTo>
                    <a:pt x="14" y="73"/>
                  </a:lnTo>
                  <a:lnTo>
                    <a:pt x="14" y="72"/>
                  </a:lnTo>
                  <a:lnTo>
                    <a:pt x="12" y="71"/>
                  </a:lnTo>
                  <a:lnTo>
                    <a:pt x="12" y="70"/>
                  </a:lnTo>
                  <a:lnTo>
                    <a:pt x="10" y="68"/>
                  </a:lnTo>
                  <a:lnTo>
                    <a:pt x="10" y="67"/>
                  </a:lnTo>
                  <a:lnTo>
                    <a:pt x="9" y="67"/>
                  </a:lnTo>
                  <a:lnTo>
                    <a:pt x="9" y="68"/>
                  </a:lnTo>
                  <a:lnTo>
                    <a:pt x="8" y="67"/>
                  </a:lnTo>
                  <a:lnTo>
                    <a:pt x="7" y="67"/>
                  </a:lnTo>
                  <a:lnTo>
                    <a:pt x="4" y="65"/>
                  </a:lnTo>
                  <a:lnTo>
                    <a:pt x="4" y="64"/>
                  </a:lnTo>
                  <a:lnTo>
                    <a:pt x="6" y="64"/>
                  </a:lnTo>
                  <a:lnTo>
                    <a:pt x="8" y="65"/>
                  </a:lnTo>
                  <a:lnTo>
                    <a:pt x="9" y="65"/>
                  </a:lnTo>
                  <a:lnTo>
                    <a:pt x="10" y="66"/>
                  </a:lnTo>
                  <a:lnTo>
                    <a:pt x="12" y="66"/>
                  </a:lnTo>
                  <a:lnTo>
                    <a:pt x="12" y="65"/>
                  </a:lnTo>
                  <a:lnTo>
                    <a:pt x="10" y="63"/>
                  </a:lnTo>
                  <a:lnTo>
                    <a:pt x="10" y="61"/>
                  </a:lnTo>
                  <a:lnTo>
                    <a:pt x="9" y="63"/>
                  </a:lnTo>
                  <a:lnTo>
                    <a:pt x="7" y="64"/>
                  </a:lnTo>
                  <a:lnTo>
                    <a:pt x="2" y="63"/>
                  </a:lnTo>
                  <a:lnTo>
                    <a:pt x="2" y="64"/>
                  </a:lnTo>
                  <a:lnTo>
                    <a:pt x="1" y="64"/>
                  </a:lnTo>
                  <a:lnTo>
                    <a:pt x="1" y="63"/>
                  </a:lnTo>
                  <a:lnTo>
                    <a:pt x="0" y="61"/>
                  </a:lnTo>
                  <a:lnTo>
                    <a:pt x="0" y="57"/>
                  </a:lnTo>
                  <a:lnTo>
                    <a:pt x="2" y="57"/>
                  </a:lnTo>
                  <a:lnTo>
                    <a:pt x="2" y="55"/>
                  </a:lnTo>
                  <a:lnTo>
                    <a:pt x="4" y="53"/>
                  </a:lnTo>
                  <a:lnTo>
                    <a:pt x="4" y="49"/>
                  </a:lnTo>
                  <a:lnTo>
                    <a:pt x="2" y="47"/>
                  </a:lnTo>
                  <a:lnTo>
                    <a:pt x="1" y="45"/>
                  </a:lnTo>
                  <a:lnTo>
                    <a:pt x="1" y="43"/>
                  </a:lnTo>
                  <a:lnTo>
                    <a:pt x="0" y="42"/>
                  </a:lnTo>
                  <a:lnTo>
                    <a:pt x="0" y="41"/>
                  </a:lnTo>
                  <a:lnTo>
                    <a:pt x="1" y="41"/>
                  </a:lnTo>
                  <a:lnTo>
                    <a:pt x="1" y="39"/>
                  </a:lnTo>
                  <a:lnTo>
                    <a:pt x="0" y="36"/>
                  </a:lnTo>
                  <a:lnTo>
                    <a:pt x="0" y="34"/>
                  </a:lnTo>
                  <a:lnTo>
                    <a:pt x="1" y="31"/>
                  </a:lnTo>
                  <a:lnTo>
                    <a:pt x="2" y="30"/>
                  </a:lnTo>
                  <a:lnTo>
                    <a:pt x="8" y="30"/>
                  </a:lnTo>
                  <a:lnTo>
                    <a:pt x="8" y="21"/>
                  </a:lnTo>
                  <a:lnTo>
                    <a:pt x="10" y="18"/>
                  </a:lnTo>
                  <a:lnTo>
                    <a:pt x="9" y="18"/>
                  </a:lnTo>
                  <a:lnTo>
                    <a:pt x="10" y="17"/>
                  </a:lnTo>
                  <a:lnTo>
                    <a:pt x="15" y="14"/>
                  </a:lnTo>
                  <a:lnTo>
                    <a:pt x="16" y="12"/>
                  </a:lnTo>
                  <a:lnTo>
                    <a:pt x="16" y="11"/>
                  </a:lnTo>
                  <a:lnTo>
                    <a:pt x="20" y="11"/>
                  </a:lnTo>
                  <a:lnTo>
                    <a:pt x="21" y="12"/>
                  </a:lnTo>
                  <a:lnTo>
                    <a:pt x="22" y="12"/>
                  </a:lnTo>
                  <a:lnTo>
                    <a:pt x="22" y="15"/>
                  </a:lnTo>
                  <a:lnTo>
                    <a:pt x="24" y="16"/>
                  </a:lnTo>
                  <a:lnTo>
                    <a:pt x="24" y="15"/>
                  </a:lnTo>
                  <a:lnTo>
                    <a:pt x="25" y="15"/>
                  </a:lnTo>
                  <a:lnTo>
                    <a:pt x="25" y="14"/>
                  </a:lnTo>
                  <a:lnTo>
                    <a:pt x="27" y="14"/>
                  </a:lnTo>
                  <a:lnTo>
                    <a:pt x="25" y="11"/>
                  </a:lnTo>
                  <a:lnTo>
                    <a:pt x="24" y="8"/>
                  </a:lnTo>
                  <a:lnTo>
                    <a:pt x="22" y="6"/>
                  </a:lnTo>
                  <a:lnTo>
                    <a:pt x="22" y="5"/>
                  </a:lnTo>
                  <a:lnTo>
                    <a:pt x="21" y="6"/>
                  </a:lnTo>
                  <a:lnTo>
                    <a:pt x="21" y="4"/>
                  </a:lnTo>
                  <a:lnTo>
                    <a:pt x="20" y="4"/>
                  </a:lnTo>
                  <a:lnTo>
                    <a:pt x="20" y="2"/>
                  </a:lnTo>
                  <a:lnTo>
                    <a:pt x="21" y="2"/>
                  </a:lnTo>
                  <a:lnTo>
                    <a:pt x="22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25">
              <a:extLst>
                <a:ext uri="{FF2B5EF4-FFF2-40B4-BE49-F238E27FC236}">
                  <a16:creationId xmlns:a16="http://schemas.microsoft.com/office/drawing/2014/main" id="{5C193B74-C8CB-43AC-BDD6-453A79FC244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8725" y="5065713"/>
              <a:ext cx="6350" cy="4763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3" y="0"/>
                </a:cxn>
                <a:cxn ang="0">
                  <a:pos x="4" y="1"/>
                </a:cxn>
                <a:cxn ang="0">
                  <a:pos x="3" y="3"/>
                </a:cxn>
                <a:cxn ang="0">
                  <a:pos x="0" y="3"/>
                </a:cxn>
                <a:cxn ang="0">
                  <a:pos x="0" y="1"/>
                </a:cxn>
                <a:cxn ang="0">
                  <a:pos x="2" y="0"/>
                </a:cxn>
              </a:cxnLst>
              <a:rect l="0" t="0" r="r" b="b"/>
              <a:pathLst>
                <a:path w="4" h="3">
                  <a:moveTo>
                    <a:pt x="2" y="0"/>
                  </a:moveTo>
                  <a:lnTo>
                    <a:pt x="3" y="0"/>
                  </a:lnTo>
                  <a:lnTo>
                    <a:pt x="4" y="1"/>
                  </a:lnTo>
                  <a:lnTo>
                    <a:pt x="3" y="3"/>
                  </a:lnTo>
                  <a:lnTo>
                    <a:pt x="0" y="3"/>
                  </a:lnTo>
                  <a:lnTo>
                    <a:pt x="0" y="1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26">
              <a:extLst>
                <a:ext uri="{FF2B5EF4-FFF2-40B4-BE49-F238E27FC236}">
                  <a16:creationId xmlns:a16="http://schemas.microsoft.com/office/drawing/2014/main" id="{C1E0823C-573A-48D5-A52E-3FD751F54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9363" y="4608513"/>
              <a:ext cx="234950" cy="298450"/>
            </a:xfrm>
            <a:custGeom>
              <a:avLst/>
              <a:gdLst/>
              <a:ahLst/>
              <a:cxnLst>
                <a:cxn ang="0">
                  <a:pos x="52" y="5"/>
                </a:cxn>
                <a:cxn ang="0">
                  <a:pos x="62" y="12"/>
                </a:cxn>
                <a:cxn ang="0">
                  <a:pos x="66" y="17"/>
                </a:cxn>
                <a:cxn ang="0">
                  <a:pos x="73" y="17"/>
                </a:cxn>
                <a:cxn ang="0">
                  <a:pos x="74" y="21"/>
                </a:cxn>
                <a:cxn ang="0">
                  <a:pos x="78" y="27"/>
                </a:cxn>
                <a:cxn ang="0">
                  <a:pos x="90" y="23"/>
                </a:cxn>
                <a:cxn ang="0">
                  <a:pos x="96" y="33"/>
                </a:cxn>
                <a:cxn ang="0">
                  <a:pos x="104" y="33"/>
                </a:cxn>
                <a:cxn ang="0">
                  <a:pos x="109" y="39"/>
                </a:cxn>
                <a:cxn ang="0">
                  <a:pos x="109" y="46"/>
                </a:cxn>
                <a:cxn ang="0">
                  <a:pos x="108" y="58"/>
                </a:cxn>
                <a:cxn ang="0">
                  <a:pos x="109" y="66"/>
                </a:cxn>
                <a:cxn ang="0">
                  <a:pos x="116" y="72"/>
                </a:cxn>
                <a:cxn ang="0">
                  <a:pos x="121" y="74"/>
                </a:cxn>
                <a:cxn ang="0">
                  <a:pos x="125" y="78"/>
                </a:cxn>
                <a:cxn ang="0">
                  <a:pos x="123" y="86"/>
                </a:cxn>
                <a:cxn ang="0">
                  <a:pos x="125" y="89"/>
                </a:cxn>
                <a:cxn ang="0">
                  <a:pos x="130" y="100"/>
                </a:cxn>
                <a:cxn ang="0">
                  <a:pos x="140" y="106"/>
                </a:cxn>
                <a:cxn ang="0">
                  <a:pos x="141" y="120"/>
                </a:cxn>
                <a:cxn ang="0">
                  <a:pos x="142" y="126"/>
                </a:cxn>
                <a:cxn ang="0">
                  <a:pos x="148" y="129"/>
                </a:cxn>
                <a:cxn ang="0">
                  <a:pos x="135" y="132"/>
                </a:cxn>
                <a:cxn ang="0">
                  <a:pos x="128" y="129"/>
                </a:cxn>
                <a:cxn ang="0">
                  <a:pos x="123" y="129"/>
                </a:cxn>
                <a:cxn ang="0">
                  <a:pos x="114" y="127"/>
                </a:cxn>
                <a:cxn ang="0">
                  <a:pos x="108" y="122"/>
                </a:cxn>
                <a:cxn ang="0">
                  <a:pos x="97" y="133"/>
                </a:cxn>
                <a:cxn ang="0">
                  <a:pos x="98" y="151"/>
                </a:cxn>
                <a:cxn ang="0">
                  <a:pos x="89" y="160"/>
                </a:cxn>
                <a:cxn ang="0">
                  <a:pos x="86" y="169"/>
                </a:cxn>
                <a:cxn ang="0">
                  <a:pos x="80" y="172"/>
                </a:cxn>
                <a:cxn ang="0">
                  <a:pos x="79" y="177"/>
                </a:cxn>
                <a:cxn ang="0">
                  <a:pos x="79" y="182"/>
                </a:cxn>
                <a:cxn ang="0">
                  <a:pos x="67" y="186"/>
                </a:cxn>
                <a:cxn ang="0">
                  <a:pos x="63" y="181"/>
                </a:cxn>
                <a:cxn ang="0">
                  <a:pos x="65" y="169"/>
                </a:cxn>
                <a:cxn ang="0">
                  <a:pos x="63" y="146"/>
                </a:cxn>
                <a:cxn ang="0">
                  <a:pos x="66" y="134"/>
                </a:cxn>
                <a:cxn ang="0">
                  <a:pos x="67" y="122"/>
                </a:cxn>
                <a:cxn ang="0">
                  <a:pos x="63" y="104"/>
                </a:cxn>
                <a:cxn ang="0">
                  <a:pos x="58" y="92"/>
                </a:cxn>
                <a:cxn ang="0">
                  <a:pos x="52" y="86"/>
                </a:cxn>
                <a:cxn ang="0">
                  <a:pos x="47" y="77"/>
                </a:cxn>
                <a:cxn ang="0">
                  <a:pos x="41" y="69"/>
                </a:cxn>
                <a:cxn ang="0">
                  <a:pos x="37" y="64"/>
                </a:cxn>
                <a:cxn ang="0">
                  <a:pos x="32" y="58"/>
                </a:cxn>
                <a:cxn ang="0">
                  <a:pos x="28" y="48"/>
                </a:cxn>
                <a:cxn ang="0">
                  <a:pos x="25" y="41"/>
                </a:cxn>
                <a:cxn ang="0">
                  <a:pos x="23" y="35"/>
                </a:cxn>
                <a:cxn ang="0">
                  <a:pos x="19" y="30"/>
                </a:cxn>
                <a:cxn ang="0">
                  <a:pos x="17" y="26"/>
                </a:cxn>
                <a:cxn ang="0">
                  <a:pos x="16" y="21"/>
                </a:cxn>
                <a:cxn ang="0">
                  <a:pos x="9" y="16"/>
                </a:cxn>
                <a:cxn ang="0">
                  <a:pos x="3" y="11"/>
                </a:cxn>
                <a:cxn ang="0">
                  <a:pos x="6" y="9"/>
                </a:cxn>
                <a:cxn ang="0">
                  <a:pos x="16" y="9"/>
                </a:cxn>
                <a:cxn ang="0">
                  <a:pos x="25" y="9"/>
                </a:cxn>
                <a:cxn ang="0">
                  <a:pos x="40" y="2"/>
                </a:cxn>
              </a:cxnLst>
              <a:rect l="0" t="0" r="r" b="b"/>
              <a:pathLst>
                <a:path w="148" h="188">
                  <a:moveTo>
                    <a:pt x="41" y="0"/>
                  </a:moveTo>
                  <a:lnTo>
                    <a:pt x="42" y="2"/>
                  </a:lnTo>
                  <a:lnTo>
                    <a:pt x="42" y="3"/>
                  </a:lnTo>
                  <a:lnTo>
                    <a:pt x="48" y="3"/>
                  </a:lnTo>
                  <a:lnTo>
                    <a:pt x="49" y="4"/>
                  </a:lnTo>
                  <a:lnTo>
                    <a:pt x="52" y="5"/>
                  </a:lnTo>
                  <a:lnTo>
                    <a:pt x="54" y="8"/>
                  </a:lnTo>
                  <a:lnTo>
                    <a:pt x="54" y="9"/>
                  </a:lnTo>
                  <a:lnTo>
                    <a:pt x="56" y="11"/>
                  </a:lnTo>
                  <a:lnTo>
                    <a:pt x="61" y="11"/>
                  </a:lnTo>
                  <a:lnTo>
                    <a:pt x="61" y="12"/>
                  </a:lnTo>
                  <a:lnTo>
                    <a:pt x="62" y="12"/>
                  </a:lnTo>
                  <a:lnTo>
                    <a:pt x="62" y="14"/>
                  </a:lnTo>
                  <a:lnTo>
                    <a:pt x="61" y="16"/>
                  </a:lnTo>
                  <a:lnTo>
                    <a:pt x="62" y="17"/>
                  </a:lnTo>
                  <a:lnTo>
                    <a:pt x="63" y="17"/>
                  </a:lnTo>
                  <a:lnTo>
                    <a:pt x="66" y="15"/>
                  </a:lnTo>
                  <a:lnTo>
                    <a:pt x="66" y="17"/>
                  </a:lnTo>
                  <a:lnTo>
                    <a:pt x="67" y="18"/>
                  </a:lnTo>
                  <a:lnTo>
                    <a:pt x="69" y="18"/>
                  </a:lnTo>
                  <a:lnTo>
                    <a:pt x="69" y="17"/>
                  </a:lnTo>
                  <a:lnTo>
                    <a:pt x="71" y="17"/>
                  </a:lnTo>
                  <a:lnTo>
                    <a:pt x="73" y="16"/>
                  </a:lnTo>
                  <a:lnTo>
                    <a:pt x="73" y="17"/>
                  </a:lnTo>
                  <a:lnTo>
                    <a:pt x="74" y="17"/>
                  </a:lnTo>
                  <a:lnTo>
                    <a:pt x="74" y="20"/>
                  </a:lnTo>
                  <a:lnTo>
                    <a:pt x="72" y="22"/>
                  </a:lnTo>
                  <a:lnTo>
                    <a:pt x="72" y="23"/>
                  </a:lnTo>
                  <a:lnTo>
                    <a:pt x="74" y="23"/>
                  </a:lnTo>
                  <a:lnTo>
                    <a:pt x="74" y="21"/>
                  </a:lnTo>
                  <a:lnTo>
                    <a:pt x="75" y="21"/>
                  </a:lnTo>
                  <a:lnTo>
                    <a:pt x="77" y="22"/>
                  </a:lnTo>
                  <a:lnTo>
                    <a:pt x="77" y="23"/>
                  </a:lnTo>
                  <a:lnTo>
                    <a:pt x="75" y="24"/>
                  </a:lnTo>
                  <a:lnTo>
                    <a:pt x="77" y="27"/>
                  </a:lnTo>
                  <a:lnTo>
                    <a:pt x="78" y="27"/>
                  </a:lnTo>
                  <a:lnTo>
                    <a:pt x="79" y="28"/>
                  </a:lnTo>
                  <a:lnTo>
                    <a:pt x="79" y="24"/>
                  </a:lnTo>
                  <a:lnTo>
                    <a:pt x="80" y="22"/>
                  </a:lnTo>
                  <a:lnTo>
                    <a:pt x="83" y="22"/>
                  </a:lnTo>
                  <a:lnTo>
                    <a:pt x="86" y="23"/>
                  </a:lnTo>
                  <a:lnTo>
                    <a:pt x="90" y="23"/>
                  </a:lnTo>
                  <a:lnTo>
                    <a:pt x="91" y="24"/>
                  </a:lnTo>
                  <a:lnTo>
                    <a:pt x="92" y="24"/>
                  </a:lnTo>
                  <a:lnTo>
                    <a:pt x="92" y="27"/>
                  </a:lnTo>
                  <a:lnTo>
                    <a:pt x="93" y="28"/>
                  </a:lnTo>
                  <a:lnTo>
                    <a:pt x="93" y="30"/>
                  </a:lnTo>
                  <a:lnTo>
                    <a:pt x="96" y="33"/>
                  </a:lnTo>
                  <a:lnTo>
                    <a:pt x="97" y="35"/>
                  </a:lnTo>
                  <a:lnTo>
                    <a:pt x="98" y="35"/>
                  </a:lnTo>
                  <a:lnTo>
                    <a:pt x="98" y="36"/>
                  </a:lnTo>
                  <a:lnTo>
                    <a:pt x="102" y="36"/>
                  </a:lnTo>
                  <a:lnTo>
                    <a:pt x="103" y="34"/>
                  </a:lnTo>
                  <a:lnTo>
                    <a:pt x="104" y="33"/>
                  </a:lnTo>
                  <a:lnTo>
                    <a:pt x="105" y="33"/>
                  </a:lnTo>
                  <a:lnTo>
                    <a:pt x="106" y="34"/>
                  </a:lnTo>
                  <a:lnTo>
                    <a:pt x="106" y="35"/>
                  </a:lnTo>
                  <a:lnTo>
                    <a:pt x="108" y="35"/>
                  </a:lnTo>
                  <a:lnTo>
                    <a:pt x="108" y="39"/>
                  </a:lnTo>
                  <a:lnTo>
                    <a:pt x="109" y="39"/>
                  </a:lnTo>
                  <a:lnTo>
                    <a:pt x="110" y="40"/>
                  </a:lnTo>
                  <a:lnTo>
                    <a:pt x="110" y="41"/>
                  </a:lnTo>
                  <a:lnTo>
                    <a:pt x="109" y="42"/>
                  </a:lnTo>
                  <a:lnTo>
                    <a:pt x="109" y="43"/>
                  </a:lnTo>
                  <a:lnTo>
                    <a:pt x="108" y="45"/>
                  </a:lnTo>
                  <a:lnTo>
                    <a:pt x="109" y="46"/>
                  </a:lnTo>
                  <a:lnTo>
                    <a:pt x="110" y="46"/>
                  </a:lnTo>
                  <a:lnTo>
                    <a:pt x="110" y="48"/>
                  </a:lnTo>
                  <a:lnTo>
                    <a:pt x="109" y="49"/>
                  </a:lnTo>
                  <a:lnTo>
                    <a:pt x="109" y="54"/>
                  </a:lnTo>
                  <a:lnTo>
                    <a:pt x="108" y="57"/>
                  </a:lnTo>
                  <a:lnTo>
                    <a:pt x="108" y="58"/>
                  </a:lnTo>
                  <a:lnTo>
                    <a:pt x="106" y="59"/>
                  </a:lnTo>
                  <a:lnTo>
                    <a:pt x="105" y="61"/>
                  </a:lnTo>
                  <a:lnTo>
                    <a:pt x="108" y="66"/>
                  </a:lnTo>
                  <a:lnTo>
                    <a:pt x="108" y="67"/>
                  </a:lnTo>
                  <a:lnTo>
                    <a:pt x="109" y="67"/>
                  </a:lnTo>
                  <a:lnTo>
                    <a:pt x="109" y="66"/>
                  </a:lnTo>
                  <a:lnTo>
                    <a:pt x="110" y="66"/>
                  </a:lnTo>
                  <a:lnTo>
                    <a:pt x="112" y="69"/>
                  </a:lnTo>
                  <a:lnTo>
                    <a:pt x="112" y="70"/>
                  </a:lnTo>
                  <a:lnTo>
                    <a:pt x="114" y="71"/>
                  </a:lnTo>
                  <a:lnTo>
                    <a:pt x="115" y="71"/>
                  </a:lnTo>
                  <a:lnTo>
                    <a:pt x="116" y="72"/>
                  </a:lnTo>
                  <a:lnTo>
                    <a:pt x="116" y="76"/>
                  </a:lnTo>
                  <a:lnTo>
                    <a:pt x="117" y="76"/>
                  </a:lnTo>
                  <a:lnTo>
                    <a:pt x="117" y="77"/>
                  </a:lnTo>
                  <a:lnTo>
                    <a:pt x="119" y="77"/>
                  </a:lnTo>
                  <a:lnTo>
                    <a:pt x="119" y="76"/>
                  </a:lnTo>
                  <a:lnTo>
                    <a:pt x="121" y="74"/>
                  </a:lnTo>
                  <a:lnTo>
                    <a:pt x="121" y="73"/>
                  </a:lnTo>
                  <a:lnTo>
                    <a:pt x="123" y="73"/>
                  </a:lnTo>
                  <a:lnTo>
                    <a:pt x="124" y="74"/>
                  </a:lnTo>
                  <a:lnTo>
                    <a:pt x="124" y="76"/>
                  </a:lnTo>
                  <a:lnTo>
                    <a:pt x="125" y="77"/>
                  </a:lnTo>
                  <a:lnTo>
                    <a:pt x="125" y="78"/>
                  </a:lnTo>
                  <a:lnTo>
                    <a:pt x="124" y="79"/>
                  </a:lnTo>
                  <a:lnTo>
                    <a:pt x="123" y="79"/>
                  </a:lnTo>
                  <a:lnTo>
                    <a:pt x="123" y="80"/>
                  </a:lnTo>
                  <a:lnTo>
                    <a:pt x="124" y="84"/>
                  </a:lnTo>
                  <a:lnTo>
                    <a:pt x="123" y="85"/>
                  </a:lnTo>
                  <a:lnTo>
                    <a:pt x="123" y="86"/>
                  </a:lnTo>
                  <a:lnTo>
                    <a:pt x="121" y="86"/>
                  </a:lnTo>
                  <a:lnTo>
                    <a:pt x="121" y="88"/>
                  </a:lnTo>
                  <a:lnTo>
                    <a:pt x="122" y="90"/>
                  </a:lnTo>
                  <a:lnTo>
                    <a:pt x="123" y="90"/>
                  </a:lnTo>
                  <a:lnTo>
                    <a:pt x="123" y="89"/>
                  </a:lnTo>
                  <a:lnTo>
                    <a:pt x="125" y="89"/>
                  </a:lnTo>
                  <a:lnTo>
                    <a:pt x="125" y="92"/>
                  </a:lnTo>
                  <a:lnTo>
                    <a:pt x="124" y="94"/>
                  </a:lnTo>
                  <a:lnTo>
                    <a:pt x="124" y="98"/>
                  </a:lnTo>
                  <a:lnTo>
                    <a:pt x="127" y="98"/>
                  </a:lnTo>
                  <a:lnTo>
                    <a:pt x="127" y="100"/>
                  </a:lnTo>
                  <a:lnTo>
                    <a:pt x="130" y="100"/>
                  </a:lnTo>
                  <a:lnTo>
                    <a:pt x="130" y="101"/>
                  </a:lnTo>
                  <a:lnTo>
                    <a:pt x="133" y="103"/>
                  </a:lnTo>
                  <a:lnTo>
                    <a:pt x="136" y="103"/>
                  </a:lnTo>
                  <a:lnTo>
                    <a:pt x="137" y="104"/>
                  </a:lnTo>
                  <a:lnTo>
                    <a:pt x="137" y="106"/>
                  </a:lnTo>
                  <a:lnTo>
                    <a:pt x="140" y="106"/>
                  </a:lnTo>
                  <a:lnTo>
                    <a:pt x="140" y="109"/>
                  </a:lnTo>
                  <a:lnTo>
                    <a:pt x="141" y="109"/>
                  </a:lnTo>
                  <a:lnTo>
                    <a:pt x="141" y="111"/>
                  </a:lnTo>
                  <a:lnTo>
                    <a:pt x="140" y="115"/>
                  </a:lnTo>
                  <a:lnTo>
                    <a:pt x="140" y="119"/>
                  </a:lnTo>
                  <a:lnTo>
                    <a:pt x="141" y="120"/>
                  </a:lnTo>
                  <a:lnTo>
                    <a:pt x="140" y="121"/>
                  </a:lnTo>
                  <a:lnTo>
                    <a:pt x="139" y="121"/>
                  </a:lnTo>
                  <a:lnTo>
                    <a:pt x="139" y="123"/>
                  </a:lnTo>
                  <a:lnTo>
                    <a:pt x="141" y="125"/>
                  </a:lnTo>
                  <a:lnTo>
                    <a:pt x="141" y="126"/>
                  </a:lnTo>
                  <a:lnTo>
                    <a:pt x="142" y="126"/>
                  </a:lnTo>
                  <a:lnTo>
                    <a:pt x="142" y="125"/>
                  </a:lnTo>
                  <a:lnTo>
                    <a:pt x="143" y="125"/>
                  </a:lnTo>
                  <a:lnTo>
                    <a:pt x="143" y="127"/>
                  </a:lnTo>
                  <a:lnTo>
                    <a:pt x="146" y="128"/>
                  </a:lnTo>
                  <a:lnTo>
                    <a:pt x="146" y="129"/>
                  </a:lnTo>
                  <a:lnTo>
                    <a:pt x="148" y="129"/>
                  </a:lnTo>
                  <a:lnTo>
                    <a:pt x="147" y="132"/>
                  </a:lnTo>
                  <a:lnTo>
                    <a:pt x="146" y="133"/>
                  </a:lnTo>
                  <a:lnTo>
                    <a:pt x="137" y="133"/>
                  </a:lnTo>
                  <a:lnTo>
                    <a:pt x="136" y="134"/>
                  </a:lnTo>
                  <a:lnTo>
                    <a:pt x="135" y="134"/>
                  </a:lnTo>
                  <a:lnTo>
                    <a:pt x="135" y="132"/>
                  </a:lnTo>
                  <a:lnTo>
                    <a:pt x="134" y="131"/>
                  </a:lnTo>
                  <a:lnTo>
                    <a:pt x="134" y="129"/>
                  </a:lnTo>
                  <a:lnTo>
                    <a:pt x="131" y="127"/>
                  </a:lnTo>
                  <a:lnTo>
                    <a:pt x="130" y="127"/>
                  </a:lnTo>
                  <a:lnTo>
                    <a:pt x="130" y="129"/>
                  </a:lnTo>
                  <a:lnTo>
                    <a:pt x="128" y="129"/>
                  </a:lnTo>
                  <a:lnTo>
                    <a:pt x="128" y="133"/>
                  </a:lnTo>
                  <a:lnTo>
                    <a:pt x="125" y="133"/>
                  </a:lnTo>
                  <a:lnTo>
                    <a:pt x="124" y="132"/>
                  </a:lnTo>
                  <a:lnTo>
                    <a:pt x="124" y="131"/>
                  </a:lnTo>
                  <a:lnTo>
                    <a:pt x="123" y="131"/>
                  </a:lnTo>
                  <a:lnTo>
                    <a:pt x="123" y="129"/>
                  </a:lnTo>
                  <a:lnTo>
                    <a:pt x="121" y="129"/>
                  </a:lnTo>
                  <a:lnTo>
                    <a:pt x="121" y="126"/>
                  </a:lnTo>
                  <a:lnTo>
                    <a:pt x="119" y="126"/>
                  </a:lnTo>
                  <a:lnTo>
                    <a:pt x="116" y="129"/>
                  </a:lnTo>
                  <a:lnTo>
                    <a:pt x="115" y="129"/>
                  </a:lnTo>
                  <a:lnTo>
                    <a:pt x="114" y="127"/>
                  </a:lnTo>
                  <a:lnTo>
                    <a:pt x="112" y="128"/>
                  </a:lnTo>
                  <a:lnTo>
                    <a:pt x="112" y="131"/>
                  </a:lnTo>
                  <a:lnTo>
                    <a:pt x="110" y="133"/>
                  </a:lnTo>
                  <a:lnTo>
                    <a:pt x="109" y="133"/>
                  </a:lnTo>
                  <a:lnTo>
                    <a:pt x="109" y="122"/>
                  </a:lnTo>
                  <a:lnTo>
                    <a:pt x="108" y="122"/>
                  </a:lnTo>
                  <a:lnTo>
                    <a:pt x="104" y="125"/>
                  </a:lnTo>
                  <a:lnTo>
                    <a:pt x="103" y="125"/>
                  </a:lnTo>
                  <a:lnTo>
                    <a:pt x="102" y="126"/>
                  </a:lnTo>
                  <a:lnTo>
                    <a:pt x="98" y="127"/>
                  </a:lnTo>
                  <a:lnTo>
                    <a:pt x="97" y="129"/>
                  </a:lnTo>
                  <a:lnTo>
                    <a:pt x="97" y="133"/>
                  </a:lnTo>
                  <a:lnTo>
                    <a:pt x="98" y="135"/>
                  </a:lnTo>
                  <a:lnTo>
                    <a:pt x="98" y="140"/>
                  </a:lnTo>
                  <a:lnTo>
                    <a:pt x="102" y="144"/>
                  </a:lnTo>
                  <a:lnTo>
                    <a:pt x="100" y="146"/>
                  </a:lnTo>
                  <a:lnTo>
                    <a:pt x="98" y="149"/>
                  </a:lnTo>
                  <a:lnTo>
                    <a:pt x="98" y="151"/>
                  </a:lnTo>
                  <a:lnTo>
                    <a:pt x="99" y="154"/>
                  </a:lnTo>
                  <a:lnTo>
                    <a:pt x="99" y="156"/>
                  </a:lnTo>
                  <a:lnTo>
                    <a:pt x="98" y="156"/>
                  </a:lnTo>
                  <a:lnTo>
                    <a:pt x="90" y="158"/>
                  </a:lnTo>
                  <a:lnTo>
                    <a:pt x="89" y="159"/>
                  </a:lnTo>
                  <a:lnTo>
                    <a:pt x="89" y="160"/>
                  </a:lnTo>
                  <a:lnTo>
                    <a:pt x="90" y="162"/>
                  </a:lnTo>
                  <a:lnTo>
                    <a:pt x="90" y="165"/>
                  </a:lnTo>
                  <a:lnTo>
                    <a:pt x="89" y="165"/>
                  </a:lnTo>
                  <a:lnTo>
                    <a:pt x="89" y="166"/>
                  </a:lnTo>
                  <a:lnTo>
                    <a:pt x="86" y="166"/>
                  </a:lnTo>
                  <a:lnTo>
                    <a:pt x="86" y="169"/>
                  </a:lnTo>
                  <a:lnTo>
                    <a:pt x="85" y="170"/>
                  </a:lnTo>
                  <a:lnTo>
                    <a:pt x="83" y="170"/>
                  </a:lnTo>
                  <a:lnTo>
                    <a:pt x="81" y="171"/>
                  </a:lnTo>
                  <a:lnTo>
                    <a:pt x="83" y="171"/>
                  </a:lnTo>
                  <a:lnTo>
                    <a:pt x="83" y="172"/>
                  </a:lnTo>
                  <a:lnTo>
                    <a:pt x="80" y="172"/>
                  </a:lnTo>
                  <a:lnTo>
                    <a:pt x="80" y="174"/>
                  </a:lnTo>
                  <a:lnTo>
                    <a:pt x="79" y="174"/>
                  </a:lnTo>
                  <a:lnTo>
                    <a:pt x="79" y="175"/>
                  </a:lnTo>
                  <a:lnTo>
                    <a:pt x="78" y="176"/>
                  </a:lnTo>
                  <a:lnTo>
                    <a:pt x="79" y="176"/>
                  </a:lnTo>
                  <a:lnTo>
                    <a:pt x="79" y="177"/>
                  </a:lnTo>
                  <a:lnTo>
                    <a:pt x="80" y="177"/>
                  </a:lnTo>
                  <a:lnTo>
                    <a:pt x="80" y="180"/>
                  </a:lnTo>
                  <a:lnTo>
                    <a:pt x="81" y="181"/>
                  </a:lnTo>
                  <a:lnTo>
                    <a:pt x="80" y="181"/>
                  </a:lnTo>
                  <a:lnTo>
                    <a:pt x="80" y="182"/>
                  </a:lnTo>
                  <a:lnTo>
                    <a:pt x="79" y="182"/>
                  </a:lnTo>
                  <a:lnTo>
                    <a:pt x="80" y="184"/>
                  </a:lnTo>
                  <a:lnTo>
                    <a:pt x="79" y="186"/>
                  </a:lnTo>
                  <a:lnTo>
                    <a:pt x="75" y="186"/>
                  </a:lnTo>
                  <a:lnTo>
                    <a:pt x="73" y="184"/>
                  </a:lnTo>
                  <a:lnTo>
                    <a:pt x="69" y="184"/>
                  </a:lnTo>
                  <a:lnTo>
                    <a:pt x="67" y="186"/>
                  </a:lnTo>
                  <a:lnTo>
                    <a:pt x="67" y="188"/>
                  </a:lnTo>
                  <a:lnTo>
                    <a:pt x="66" y="187"/>
                  </a:lnTo>
                  <a:lnTo>
                    <a:pt x="66" y="186"/>
                  </a:lnTo>
                  <a:lnTo>
                    <a:pt x="65" y="184"/>
                  </a:lnTo>
                  <a:lnTo>
                    <a:pt x="65" y="182"/>
                  </a:lnTo>
                  <a:lnTo>
                    <a:pt x="63" y="181"/>
                  </a:lnTo>
                  <a:lnTo>
                    <a:pt x="61" y="180"/>
                  </a:lnTo>
                  <a:lnTo>
                    <a:pt x="62" y="178"/>
                  </a:lnTo>
                  <a:lnTo>
                    <a:pt x="65" y="178"/>
                  </a:lnTo>
                  <a:lnTo>
                    <a:pt x="66" y="177"/>
                  </a:lnTo>
                  <a:lnTo>
                    <a:pt x="65" y="177"/>
                  </a:lnTo>
                  <a:lnTo>
                    <a:pt x="65" y="169"/>
                  </a:lnTo>
                  <a:lnTo>
                    <a:pt x="63" y="168"/>
                  </a:lnTo>
                  <a:lnTo>
                    <a:pt x="63" y="158"/>
                  </a:lnTo>
                  <a:lnTo>
                    <a:pt x="62" y="156"/>
                  </a:lnTo>
                  <a:lnTo>
                    <a:pt x="62" y="150"/>
                  </a:lnTo>
                  <a:lnTo>
                    <a:pt x="63" y="150"/>
                  </a:lnTo>
                  <a:lnTo>
                    <a:pt x="63" y="146"/>
                  </a:lnTo>
                  <a:lnTo>
                    <a:pt x="65" y="144"/>
                  </a:lnTo>
                  <a:lnTo>
                    <a:pt x="63" y="144"/>
                  </a:lnTo>
                  <a:lnTo>
                    <a:pt x="63" y="139"/>
                  </a:lnTo>
                  <a:lnTo>
                    <a:pt x="65" y="139"/>
                  </a:lnTo>
                  <a:lnTo>
                    <a:pt x="66" y="138"/>
                  </a:lnTo>
                  <a:lnTo>
                    <a:pt x="66" y="134"/>
                  </a:lnTo>
                  <a:lnTo>
                    <a:pt x="67" y="134"/>
                  </a:lnTo>
                  <a:lnTo>
                    <a:pt x="67" y="132"/>
                  </a:lnTo>
                  <a:lnTo>
                    <a:pt x="68" y="132"/>
                  </a:lnTo>
                  <a:lnTo>
                    <a:pt x="68" y="126"/>
                  </a:lnTo>
                  <a:lnTo>
                    <a:pt x="67" y="125"/>
                  </a:lnTo>
                  <a:lnTo>
                    <a:pt x="67" y="122"/>
                  </a:lnTo>
                  <a:lnTo>
                    <a:pt x="68" y="122"/>
                  </a:lnTo>
                  <a:lnTo>
                    <a:pt x="68" y="115"/>
                  </a:lnTo>
                  <a:lnTo>
                    <a:pt x="66" y="110"/>
                  </a:lnTo>
                  <a:lnTo>
                    <a:pt x="66" y="109"/>
                  </a:lnTo>
                  <a:lnTo>
                    <a:pt x="65" y="106"/>
                  </a:lnTo>
                  <a:lnTo>
                    <a:pt x="63" y="104"/>
                  </a:lnTo>
                  <a:lnTo>
                    <a:pt x="63" y="101"/>
                  </a:lnTo>
                  <a:lnTo>
                    <a:pt x="62" y="100"/>
                  </a:lnTo>
                  <a:lnTo>
                    <a:pt x="62" y="96"/>
                  </a:lnTo>
                  <a:lnTo>
                    <a:pt x="60" y="94"/>
                  </a:lnTo>
                  <a:lnTo>
                    <a:pt x="60" y="92"/>
                  </a:lnTo>
                  <a:lnTo>
                    <a:pt x="58" y="92"/>
                  </a:lnTo>
                  <a:lnTo>
                    <a:pt x="56" y="91"/>
                  </a:lnTo>
                  <a:lnTo>
                    <a:pt x="55" y="91"/>
                  </a:lnTo>
                  <a:lnTo>
                    <a:pt x="55" y="90"/>
                  </a:lnTo>
                  <a:lnTo>
                    <a:pt x="53" y="88"/>
                  </a:lnTo>
                  <a:lnTo>
                    <a:pt x="52" y="88"/>
                  </a:lnTo>
                  <a:lnTo>
                    <a:pt x="52" y="86"/>
                  </a:lnTo>
                  <a:lnTo>
                    <a:pt x="49" y="84"/>
                  </a:lnTo>
                  <a:lnTo>
                    <a:pt x="50" y="84"/>
                  </a:lnTo>
                  <a:lnTo>
                    <a:pt x="50" y="83"/>
                  </a:lnTo>
                  <a:lnTo>
                    <a:pt x="48" y="80"/>
                  </a:lnTo>
                  <a:lnTo>
                    <a:pt x="48" y="78"/>
                  </a:lnTo>
                  <a:lnTo>
                    <a:pt x="47" y="77"/>
                  </a:lnTo>
                  <a:lnTo>
                    <a:pt x="46" y="77"/>
                  </a:lnTo>
                  <a:lnTo>
                    <a:pt x="46" y="76"/>
                  </a:lnTo>
                  <a:lnTo>
                    <a:pt x="43" y="76"/>
                  </a:lnTo>
                  <a:lnTo>
                    <a:pt x="42" y="74"/>
                  </a:lnTo>
                  <a:lnTo>
                    <a:pt x="41" y="72"/>
                  </a:lnTo>
                  <a:lnTo>
                    <a:pt x="41" y="69"/>
                  </a:lnTo>
                  <a:lnTo>
                    <a:pt x="40" y="69"/>
                  </a:lnTo>
                  <a:lnTo>
                    <a:pt x="40" y="67"/>
                  </a:lnTo>
                  <a:lnTo>
                    <a:pt x="41" y="66"/>
                  </a:lnTo>
                  <a:lnTo>
                    <a:pt x="41" y="65"/>
                  </a:lnTo>
                  <a:lnTo>
                    <a:pt x="37" y="65"/>
                  </a:lnTo>
                  <a:lnTo>
                    <a:pt x="37" y="64"/>
                  </a:lnTo>
                  <a:lnTo>
                    <a:pt x="36" y="64"/>
                  </a:lnTo>
                  <a:lnTo>
                    <a:pt x="36" y="61"/>
                  </a:lnTo>
                  <a:lnTo>
                    <a:pt x="35" y="61"/>
                  </a:lnTo>
                  <a:lnTo>
                    <a:pt x="35" y="59"/>
                  </a:lnTo>
                  <a:lnTo>
                    <a:pt x="34" y="58"/>
                  </a:lnTo>
                  <a:lnTo>
                    <a:pt x="32" y="58"/>
                  </a:lnTo>
                  <a:lnTo>
                    <a:pt x="31" y="57"/>
                  </a:lnTo>
                  <a:lnTo>
                    <a:pt x="29" y="53"/>
                  </a:lnTo>
                  <a:lnTo>
                    <a:pt x="28" y="51"/>
                  </a:lnTo>
                  <a:lnTo>
                    <a:pt x="28" y="49"/>
                  </a:lnTo>
                  <a:lnTo>
                    <a:pt x="29" y="49"/>
                  </a:lnTo>
                  <a:lnTo>
                    <a:pt x="28" y="48"/>
                  </a:lnTo>
                  <a:lnTo>
                    <a:pt x="29" y="48"/>
                  </a:lnTo>
                  <a:lnTo>
                    <a:pt x="27" y="46"/>
                  </a:lnTo>
                  <a:lnTo>
                    <a:pt x="27" y="45"/>
                  </a:lnTo>
                  <a:lnTo>
                    <a:pt x="25" y="43"/>
                  </a:lnTo>
                  <a:lnTo>
                    <a:pt x="27" y="42"/>
                  </a:lnTo>
                  <a:lnTo>
                    <a:pt x="25" y="41"/>
                  </a:lnTo>
                  <a:lnTo>
                    <a:pt x="25" y="39"/>
                  </a:lnTo>
                  <a:lnTo>
                    <a:pt x="24" y="37"/>
                  </a:lnTo>
                  <a:lnTo>
                    <a:pt x="23" y="37"/>
                  </a:lnTo>
                  <a:lnTo>
                    <a:pt x="23" y="36"/>
                  </a:lnTo>
                  <a:lnTo>
                    <a:pt x="24" y="35"/>
                  </a:lnTo>
                  <a:lnTo>
                    <a:pt x="23" y="35"/>
                  </a:lnTo>
                  <a:lnTo>
                    <a:pt x="23" y="33"/>
                  </a:lnTo>
                  <a:lnTo>
                    <a:pt x="22" y="33"/>
                  </a:lnTo>
                  <a:lnTo>
                    <a:pt x="22" y="30"/>
                  </a:lnTo>
                  <a:lnTo>
                    <a:pt x="21" y="31"/>
                  </a:lnTo>
                  <a:lnTo>
                    <a:pt x="19" y="31"/>
                  </a:lnTo>
                  <a:lnTo>
                    <a:pt x="19" y="30"/>
                  </a:lnTo>
                  <a:lnTo>
                    <a:pt x="21" y="30"/>
                  </a:lnTo>
                  <a:lnTo>
                    <a:pt x="21" y="29"/>
                  </a:lnTo>
                  <a:lnTo>
                    <a:pt x="19" y="29"/>
                  </a:lnTo>
                  <a:lnTo>
                    <a:pt x="18" y="28"/>
                  </a:lnTo>
                  <a:lnTo>
                    <a:pt x="18" y="27"/>
                  </a:lnTo>
                  <a:lnTo>
                    <a:pt x="17" y="26"/>
                  </a:lnTo>
                  <a:lnTo>
                    <a:pt x="18" y="26"/>
                  </a:lnTo>
                  <a:lnTo>
                    <a:pt x="18" y="23"/>
                  </a:lnTo>
                  <a:lnTo>
                    <a:pt x="15" y="23"/>
                  </a:lnTo>
                  <a:lnTo>
                    <a:pt x="15" y="22"/>
                  </a:lnTo>
                  <a:lnTo>
                    <a:pt x="16" y="22"/>
                  </a:lnTo>
                  <a:lnTo>
                    <a:pt x="16" y="21"/>
                  </a:lnTo>
                  <a:lnTo>
                    <a:pt x="15" y="21"/>
                  </a:lnTo>
                  <a:lnTo>
                    <a:pt x="15" y="20"/>
                  </a:lnTo>
                  <a:lnTo>
                    <a:pt x="12" y="20"/>
                  </a:lnTo>
                  <a:lnTo>
                    <a:pt x="12" y="18"/>
                  </a:lnTo>
                  <a:lnTo>
                    <a:pt x="10" y="17"/>
                  </a:lnTo>
                  <a:lnTo>
                    <a:pt x="9" y="16"/>
                  </a:lnTo>
                  <a:lnTo>
                    <a:pt x="5" y="16"/>
                  </a:lnTo>
                  <a:lnTo>
                    <a:pt x="5" y="15"/>
                  </a:lnTo>
                  <a:lnTo>
                    <a:pt x="0" y="15"/>
                  </a:lnTo>
                  <a:lnTo>
                    <a:pt x="0" y="14"/>
                  </a:lnTo>
                  <a:lnTo>
                    <a:pt x="3" y="12"/>
                  </a:lnTo>
                  <a:lnTo>
                    <a:pt x="3" y="11"/>
                  </a:lnTo>
                  <a:lnTo>
                    <a:pt x="4" y="11"/>
                  </a:lnTo>
                  <a:lnTo>
                    <a:pt x="4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7" y="10"/>
                  </a:lnTo>
                  <a:lnTo>
                    <a:pt x="6" y="9"/>
                  </a:lnTo>
                  <a:lnTo>
                    <a:pt x="7" y="8"/>
                  </a:lnTo>
                  <a:lnTo>
                    <a:pt x="9" y="9"/>
                  </a:lnTo>
                  <a:lnTo>
                    <a:pt x="9" y="6"/>
                  </a:lnTo>
                  <a:lnTo>
                    <a:pt x="10" y="6"/>
                  </a:lnTo>
                  <a:lnTo>
                    <a:pt x="13" y="10"/>
                  </a:lnTo>
                  <a:lnTo>
                    <a:pt x="16" y="9"/>
                  </a:lnTo>
                  <a:lnTo>
                    <a:pt x="17" y="9"/>
                  </a:lnTo>
                  <a:lnTo>
                    <a:pt x="17" y="6"/>
                  </a:lnTo>
                  <a:lnTo>
                    <a:pt x="18" y="6"/>
                  </a:lnTo>
                  <a:lnTo>
                    <a:pt x="19" y="8"/>
                  </a:lnTo>
                  <a:lnTo>
                    <a:pt x="23" y="9"/>
                  </a:lnTo>
                  <a:lnTo>
                    <a:pt x="25" y="9"/>
                  </a:lnTo>
                  <a:lnTo>
                    <a:pt x="30" y="4"/>
                  </a:lnTo>
                  <a:lnTo>
                    <a:pt x="31" y="4"/>
                  </a:lnTo>
                  <a:lnTo>
                    <a:pt x="32" y="5"/>
                  </a:lnTo>
                  <a:lnTo>
                    <a:pt x="34" y="5"/>
                  </a:lnTo>
                  <a:lnTo>
                    <a:pt x="37" y="2"/>
                  </a:lnTo>
                  <a:lnTo>
                    <a:pt x="40" y="2"/>
                  </a:lnTo>
                  <a:lnTo>
                    <a:pt x="41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27">
              <a:extLst>
                <a:ext uri="{FF2B5EF4-FFF2-40B4-BE49-F238E27FC236}">
                  <a16:creationId xmlns:a16="http://schemas.microsoft.com/office/drawing/2014/main" id="{8500DC85-B856-4D2D-A5E6-A2B24B61EF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97513" y="5737225"/>
              <a:ext cx="23813" cy="22225"/>
            </a:xfrm>
            <a:custGeom>
              <a:avLst/>
              <a:gdLst/>
              <a:ahLst/>
              <a:cxnLst>
                <a:cxn ang="0">
                  <a:pos x="6" y="6"/>
                </a:cxn>
                <a:cxn ang="0">
                  <a:pos x="11" y="6"/>
                </a:cxn>
                <a:cxn ang="0">
                  <a:pos x="13" y="8"/>
                </a:cxn>
                <a:cxn ang="0">
                  <a:pos x="13" y="10"/>
                </a:cxn>
                <a:cxn ang="0">
                  <a:pos x="14" y="10"/>
                </a:cxn>
                <a:cxn ang="0">
                  <a:pos x="15" y="11"/>
                </a:cxn>
                <a:cxn ang="0">
                  <a:pos x="15" y="13"/>
                </a:cxn>
                <a:cxn ang="0">
                  <a:pos x="14" y="13"/>
                </a:cxn>
                <a:cxn ang="0">
                  <a:pos x="14" y="14"/>
                </a:cxn>
                <a:cxn ang="0">
                  <a:pos x="12" y="14"/>
                </a:cxn>
                <a:cxn ang="0">
                  <a:pos x="9" y="13"/>
                </a:cxn>
                <a:cxn ang="0">
                  <a:pos x="7" y="11"/>
                </a:cxn>
                <a:cxn ang="0">
                  <a:pos x="6" y="11"/>
                </a:cxn>
                <a:cxn ang="0">
                  <a:pos x="6" y="6"/>
                </a:cxn>
                <a:cxn ang="0">
                  <a:pos x="6" y="5"/>
                </a:cxn>
                <a:cxn ang="0">
                  <a:pos x="7" y="5"/>
                </a:cxn>
                <a:cxn ang="0">
                  <a:pos x="6" y="6"/>
                </a:cxn>
                <a:cxn ang="0">
                  <a:pos x="5" y="6"/>
                </a:cxn>
                <a:cxn ang="0">
                  <a:pos x="6" y="5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6" y="2"/>
                </a:cxn>
                <a:cxn ang="0">
                  <a:pos x="5" y="2"/>
                </a:cxn>
                <a:cxn ang="0">
                  <a:pos x="3" y="4"/>
                </a:cxn>
                <a:cxn ang="0">
                  <a:pos x="1" y="4"/>
                </a:cxn>
                <a:cxn ang="0">
                  <a:pos x="0" y="2"/>
                </a:cxn>
                <a:cxn ang="0">
                  <a:pos x="0" y="0"/>
                </a:cxn>
              </a:cxnLst>
              <a:rect l="0" t="0" r="r" b="b"/>
              <a:pathLst>
                <a:path w="15" h="14">
                  <a:moveTo>
                    <a:pt x="6" y="6"/>
                  </a:moveTo>
                  <a:lnTo>
                    <a:pt x="11" y="6"/>
                  </a:lnTo>
                  <a:lnTo>
                    <a:pt x="13" y="8"/>
                  </a:lnTo>
                  <a:lnTo>
                    <a:pt x="13" y="10"/>
                  </a:lnTo>
                  <a:lnTo>
                    <a:pt x="14" y="10"/>
                  </a:lnTo>
                  <a:lnTo>
                    <a:pt x="15" y="11"/>
                  </a:lnTo>
                  <a:lnTo>
                    <a:pt x="15" y="13"/>
                  </a:lnTo>
                  <a:lnTo>
                    <a:pt x="14" y="13"/>
                  </a:lnTo>
                  <a:lnTo>
                    <a:pt x="14" y="14"/>
                  </a:lnTo>
                  <a:lnTo>
                    <a:pt x="12" y="14"/>
                  </a:lnTo>
                  <a:lnTo>
                    <a:pt x="9" y="13"/>
                  </a:lnTo>
                  <a:lnTo>
                    <a:pt x="7" y="11"/>
                  </a:lnTo>
                  <a:lnTo>
                    <a:pt x="6" y="11"/>
                  </a:lnTo>
                  <a:lnTo>
                    <a:pt x="6" y="6"/>
                  </a:lnTo>
                  <a:close/>
                  <a:moveTo>
                    <a:pt x="6" y="5"/>
                  </a:moveTo>
                  <a:lnTo>
                    <a:pt x="7" y="5"/>
                  </a:lnTo>
                  <a:lnTo>
                    <a:pt x="6" y="6"/>
                  </a:lnTo>
                  <a:lnTo>
                    <a:pt x="5" y="6"/>
                  </a:lnTo>
                  <a:lnTo>
                    <a:pt x="6" y="5"/>
                  </a:lnTo>
                  <a:close/>
                  <a:moveTo>
                    <a:pt x="0" y="0"/>
                  </a:moveTo>
                  <a:lnTo>
                    <a:pt x="3" y="0"/>
                  </a:lnTo>
                  <a:lnTo>
                    <a:pt x="6" y="2"/>
                  </a:lnTo>
                  <a:lnTo>
                    <a:pt x="5" y="2"/>
                  </a:lnTo>
                  <a:lnTo>
                    <a:pt x="3" y="4"/>
                  </a:lnTo>
                  <a:lnTo>
                    <a:pt x="1" y="4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28">
              <a:extLst>
                <a:ext uri="{FF2B5EF4-FFF2-40B4-BE49-F238E27FC236}">
                  <a16:creationId xmlns:a16="http://schemas.microsoft.com/office/drawing/2014/main" id="{DC0C68A1-9A26-43BB-BBEB-11F3C0880C5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5025" y="5192713"/>
              <a:ext cx="173038" cy="136525"/>
            </a:xfrm>
            <a:custGeom>
              <a:avLst/>
              <a:gdLst/>
              <a:ahLst/>
              <a:cxnLst>
                <a:cxn ang="0">
                  <a:pos x="78" y="3"/>
                </a:cxn>
                <a:cxn ang="0">
                  <a:pos x="80" y="4"/>
                </a:cxn>
                <a:cxn ang="0">
                  <a:pos x="87" y="13"/>
                </a:cxn>
                <a:cxn ang="0">
                  <a:pos x="94" y="18"/>
                </a:cxn>
                <a:cxn ang="0">
                  <a:pos x="99" y="19"/>
                </a:cxn>
                <a:cxn ang="0">
                  <a:pos x="102" y="22"/>
                </a:cxn>
                <a:cxn ang="0">
                  <a:pos x="104" y="29"/>
                </a:cxn>
                <a:cxn ang="0">
                  <a:pos x="108" y="35"/>
                </a:cxn>
                <a:cxn ang="0">
                  <a:pos x="108" y="40"/>
                </a:cxn>
                <a:cxn ang="0">
                  <a:pos x="105" y="46"/>
                </a:cxn>
                <a:cxn ang="0">
                  <a:pos x="105" y="55"/>
                </a:cxn>
                <a:cxn ang="0">
                  <a:pos x="99" y="59"/>
                </a:cxn>
                <a:cxn ang="0">
                  <a:pos x="97" y="62"/>
                </a:cxn>
                <a:cxn ang="0">
                  <a:pos x="96" y="70"/>
                </a:cxn>
                <a:cxn ang="0">
                  <a:pos x="92" y="68"/>
                </a:cxn>
                <a:cxn ang="0">
                  <a:pos x="90" y="72"/>
                </a:cxn>
                <a:cxn ang="0">
                  <a:pos x="86" y="72"/>
                </a:cxn>
                <a:cxn ang="0">
                  <a:pos x="79" y="71"/>
                </a:cxn>
                <a:cxn ang="0">
                  <a:pos x="75" y="68"/>
                </a:cxn>
                <a:cxn ang="0">
                  <a:pos x="72" y="71"/>
                </a:cxn>
                <a:cxn ang="0">
                  <a:pos x="67" y="70"/>
                </a:cxn>
                <a:cxn ang="0">
                  <a:pos x="63" y="72"/>
                </a:cxn>
                <a:cxn ang="0">
                  <a:pos x="61" y="76"/>
                </a:cxn>
                <a:cxn ang="0">
                  <a:pos x="56" y="82"/>
                </a:cxn>
                <a:cxn ang="0">
                  <a:pos x="53" y="82"/>
                </a:cxn>
                <a:cxn ang="0">
                  <a:pos x="50" y="84"/>
                </a:cxn>
                <a:cxn ang="0">
                  <a:pos x="46" y="84"/>
                </a:cxn>
                <a:cxn ang="0">
                  <a:pos x="38" y="85"/>
                </a:cxn>
                <a:cxn ang="0">
                  <a:pos x="35" y="85"/>
                </a:cxn>
                <a:cxn ang="0">
                  <a:pos x="23" y="86"/>
                </a:cxn>
                <a:cxn ang="0">
                  <a:pos x="22" y="83"/>
                </a:cxn>
                <a:cxn ang="0">
                  <a:pos x="12" y="84"/>
                </a:cxn>
                <a:cxn ang="0">
                  <a:pos x="11" y="78"/>
                </a:cxn>
                <a:cxn ang="0">
                  <a:pos x="6" y="73"/>
                </a:cxn>
                <a:cxn ang="0">
                  <a:pos x="5" y="68"/>
                </a:cxn>
                <a:cxn ang="0">
                  <a:pos x="3" y="61"/>
                </a:cxn>
                <a:cxn ang="0">
                  <a:pos x="4" y="59"/>
                </a:cxn>
                <a:cxn ang="0">
                  <a:pos x="5" y="55"/>
                </a:cxn>
                <a:cxn ang="0">
                  <a:pos x="3" y="54"/>
                </a:cxn>
                <a:cxn ang="0">
                  <a:pos x="1" y="50"/>
                </a:cxn>
                <a:cxn ang="0">
                  <a:pos x="3" y="47"/>
                </a:cxn>
                <a:cxn ang="0">
                  <a:pos x="3" y="41"/>
                </a:cxn>
                <a:cxn ang="0">
                  <a:pos x="5" y="30"/>
                </a:cxn>
                <a:cxn ang="0">
                  <a:pos x="9" y="30"/>
                </a:cxn>
                <a:cxn ang="0">
                  <a:pos x="10" y="30"/>
                </a:cxn>
                <a:cxn ang="0">
                  <a:pos x="13" y="28"/>
                </a:cxn>
                <a:cxn ang="0">
                  <a:pos x="15" y="17"/>
                </a:cxn>
                <a:cxn ang="0">
                  <a:pos x="23" y="15"/>
                </a:cxn>
                <a:cxn ang="0">
                  <a:pos x="25" y="12"/>
                </a:cxn>
                <a:cxn ang="0">
                  <a:pos x="31" y="12"/>
                </a:cxn>
                <a:cxn ang="0">
                  <a:pos x="34" y="16"/>
                </a:cxn>
                <a:cxn ang="0">
                  <a:pos x="36" y="16"/>
                </a:cxn>
                <a:cxn ang="0">
                  <a:pos x="36" y="13"/>
                </a:cxn>
                <a:cxn ang="0">
                  <a:pos x="42" y="10"/>
                </a:cxn>
                <a:cxn ang="0">
                  <a:pos x="43" y="9"/>
                </a:cxn>
                <a:cxn ang="0">
                  <a:pos x="46" y="9"/>
                </a:cxn>
                <a:cxn ang="0">
                  <a:pos x="52" y="9"/>
                </a:cxn>
                <a:cxn ang="0">
                  <a:pos x="54" y="7"/>
                </a:cxn>
                <a:cxn ang="0">
                  <a:pos x="62" y="3"/>
                </a:cxn>
                <a:cxn ang="0">
                  <a:pos x="67" y="5"/>
                </a:cxn>
                <a:cxn ang="0">
                  <a:pos x="77" y="1"/>
                </a:cxn>
              </a:cxnLst>
              <a:rect l="0" t="0" r="r" b="b"/>
              <a:pathLst>
                <a:path w="109" h="86">
                  <a:moveTo>
                    <a:pt x="77" y="0"/>
                  </a:moveTo>
                  <a:lnTo>
                    <a:pt x="78" y="0"/>
                  </a:lnTo>
                  <a:lnTo>
                    <a:pt x="78" y="3"/>
                  </a:lnTo>
                  <a:lnTo>
                    <a:pt x="79" y="3"/>
                  </a:lnTo>
                  <a:lnTo>
                    <a:pt x="79" y="4"/>
                  </a:lnTo>
                  <a:lnTo>
                    <a:pt x="80" y="4"/>
                  </a:lnTo>
                  <a:lnTo>
                    <a:pt x="85" y="10"/>
                  </a:lnTo>
                  <a:lnTo>
                    <a:pt x="87" y="12"/>
                  </a:lnTo>
                  <a:lnTo>
                    <a:pt x="87" y="13"/>
                  </a:lnTo>
                  <a:lnTo>
                    <a:pt x="88" y="15"/>
                  </a:lnTo>
                  <a:lnTo>
                    <a:pt x="92" y="17"/>
                  </a:lnTo>
                  <a:lnTo>
                    <a:pt x="94" y="18"/>
                  </a:lnTo>
                  <a:lnTo>
                    <a:pt x="96" y="18"/>
                  </a:lnTo>
                  <a:lnTo>
                    <a:pt x="97" y="19"/>
                  </a:lnTo>
                  <a:lnTo>
                    <a:pt x="99" y="19"/>
                  </a:lnTo>
                  <a:lnTo>
                    <a:pt x="99" y="21"/>
                  </a:lnTo>
                  <a:lnTo>
                    <a:pt x="102" y="21"/>
                  </a:lnTo>
                  <a:lnTo>
                    <a:pt x="102" y="22"/>
                  </a:lnTo>
                  <a:lnTo>
                    <a:pt x="103" y="23"/>
                  </a:lnTo>
                  <a:lnTo>
                    <a:pt x="103" y="29"/>
                  </a:lnTo>
                  <a:lnTo>
                    <a:pt x="104" y="29"/>
                  </a:lnTo>
                  <a:lnTo>
                    <a:pt x="104" y="30"/>
                  </a:lnTo>
                  <a:lnTo>
                    <a:pt x="106" y="35"/>
                  </a:lnTo>
                  <a:lnTo>
                    <a:pt x="108" y="35"/>
                  </a:lnTo>
                  <a:lnTo>
                    <a:pt x="109" y="36"/>
                  </a:lnTo>
                  <a:lnTo>
                    <a:pt x="109" y="39"/>
                  </a:lnTo>
                  <a:lnTo>
                    <a:pt x="108" y="40"/>
                  </a:lnTo>
                  <a:lnTo>
                    <a:pt x="108" y="41"/>
                  </a:lnTo>
                  <a:lnTo>
                    <a:pt x="105" y="43"/>
                  </a:lnTo>
                  <a:lnTo>
                    <a:pt x="105" y="46"/>
                  </a:lnTo>
                  <a:lnTo>
                    <a:pt x="106" y="46"/>
                  </a:lnTo>
                  <a:lnTo>
                    <a:pt x="106" y="55"/>
                  </a:lnTo>
                  <a:lnTo>
                    <a:pt x="105" y="55"/>
                  </a:lnTo>
                  <a:lnTo>
                    <a:pt x="106" y="56"/>
                  </a:lnTo>
                  <a:lnTo>
                    <a:pt x="106" y="59"/>
                  </a:lnTo>
                  <a:lnTo>
                    <a:pt x="99" y="59"/>
                  </a:lnTo>
                  <a:lnTo>
                    <a:pt x="98" y="60"/>
                  </a:lnTo>
                  <a:lnTo>
                    <a:pt x="98" y="62"/>
                  </a:lnTo>
                  <a:lnTo>
                    <a:pt x="97" y="62"/>
                  </a:lnTo>
                  <a:lnTo>
                    <a:pt x="97" y="70"/>
                  </a:lnTo>
                  <a:lnTo>
                    <a:pt x="96" y="71"/>
                  </a:lnTo>
                  <a:lnTo>
                    <a:pt x="96" y="70"/>
                  </a:lnTo>
                  <a:lnTo>
                    <a:pt x="94" y="70"/>
                  </a:lnTo>
                  <a:lnTo>
                    <a:pt x="94" y="68"/>
                  </a:lnTo>
                  <a:lnTo>
                    <a:pt x="92" y="68"/>
                  </a:lnTo>
                  <a:lnTo>
                    <a:pt x="92" y="71"/>
                  </a:lnTo>
                  <a:lnTo>
                    <a:pt x="90" y="71"/>
                  </a:lnTo>
                  <a:lnTo>
                    <a:pt x="90" y="72"/>
                  </a:lnTo>
                  <a:lnTo>
                    <a:pt x="88" y="71"/>
                  </a:lnTo>
                  <a:lnTo>
                    <a:pt x="87" y="71"/>
                  </a:lnTo>
                  <a:lnTo>
                    <a:pt x="86" y="72"/>
                  </a:lnTo>
                  <a:lnTo>
                    <a:pt x="84" y="72"/>
                  </a:lnTo>
                  <a:lnTo>
                    <a:pt x="83" y="71"/>
                  </a:lnTo>
                  <a:lnTo>
                    <a:pt x="79" y="71"/>
                  </a:lnTo>
                  <a:lnTo>
                    <a:pt x="79" y="70"/>
                  </a:lnTo>
                  <a:lnTo>
                    <a:pt x="75" y="70"/>
                  </a:lnTo>
                  <a:lnTo>
                    <a:pt x="75" y="68"/>
                  </a:lnTo>
                  <a:lnTo>
                    <a:pt x="74" y="70"/>
                  </a:lnTo>
                  <a:lnTo>
                    <a:pt x="73" y="70"/>
                  </a:lnTo>
                  <a:lnTo>
                    <a:pt x="72" y="71"/>
                  </a:lnTo>
                  <a:lnTo>
                    <a:pt x="68" y="71"/>
                  </a:lnTo>
                  <a:lnTo>
                    <a:pt x="68" y="70"/>
                  </a:lnTo>
                  <a:lnTo>
                    <a:pt x="67" y="70"/>
                  </a:lnTo>
                  <a:lnTo>
                    <a:pt x="67" y="71"/>
                  </a:lnTo>
                  <a:lnTo>
                    <a:pt x="65" y="71"/>
                  </a:lnTo>
                  <a:lnTo>
                    <a:pt x="63" y="72"/>
                  </a:lnTo>
                  <a:lnTo>
                    <a:pt x="62" y="72"/>
                  </a:lnTo>
                  <a:lnTo>
                    <a:pt x="62" y="76"/>
                  </a:lnTo>
                  <a:lnTo>
                    <a:pt x="61" y="76"/>
                  </a:lnTo>
                  <a:lnTo>
                    <a:pt x="57" y="79"/>
                  </a:lnTo>
                  <a:lnTo>
                    <a:pt x="57" y="82"/>
                  </a:lnTo>
                  <a:lnTo>
                    <a:pt x="56" y="82"/>
                  </a:lnTo>
                  <a:lnTo>
                    <a:pt x="56" y="83"/>
                  </a:lnTo>
                  <a:lnTo>
                    <a:pt x="55" y="83"/>
                  </a:lnTo>
                  <a:lnTo>
                    <a:pt x="53" y="82"/>
                  </a:lnTo>
                  <a:lnTo>
                    <a:pt x="52" y="83"/>
                  </a:lnTo>
                  <a:lnTo>
                    <a:pt x="52" y="84"/>
                  </a:lnTo>
                  <a:lnTo>
                    <a:pt x="50" y="84"/>
                  </a:lnTo>
                  <a:lnTo>
                    <a:pt x="49" y="85"/>
                  </a:lnTo>
                  <a:lnTo>
                    <a:pt x="47" y="85"/>
                  </a:lnTo>
                  <a:lnTo>
                    <a:pt x="46" y="84"/>
                  </a:lnTo>
                  <a:lnTo>
                    <a:pt x="42" y="83"/>
                  </a:lnTo>
                  <a:lnTo>
                    <a:pt x="41" y="83"/>
                  </a:lnTo>
                  <a:lnTo>
                    <a:pt x="38" y="85"/>
                  </a:lnTo>
                  <a:lnTo>
                    <a:pt x="36" y="86"/>
                  </a:lnTo>
                  <a:lnTo>
                    <a:pt x="35" y="86"/>
                  </a:lnTo>
                  <a:lnTo>
                    <a:pt x="35" y="85"/>
                  </a:lnTo>
                  <a:lnTo>
                    <a:pt x="31" y="85"/>
                  </a:lnTo>
                  <a:lnTo>
                    <a:pt x="29" y="86"/>
                  </a:lnTo>
                  <a:lnTo>
                    <a:pt x="23" y="86"/>
                  </a:lnTo>
                  <a:lnTo>
                    <a:pt x="23" y="85"/>
                  </a:lnTo>
                  <a:lnTo>
                    <a:pt x="22" y="84"/>
                  </a:lnTo>
                  <a:lnTo>
                    <a:pt x="22" y="83"/>
                  </a:lnTo>
                  <a:lnTo>
                    <a:pt x="16" y="83"/>
                  </a:lnTo>
                  <a:lnTo>
                    <a:pt x="15" y="84"/>
                  </a:lnTo>
                  <a:lnTo>
                    <a:pt x="12" y="84"/>
                  </a:lnTo>
                  <a:lnTo>
                    <a:pt x="12" y="83"/>
                  </a:lnTo>
                  <a:lnTo>
                    <a:pt x="11" y="82"/>
                  </a:lnTo>
                  <a:lnTo>
                    <a:pt x="11" y="78"/>
                  </a:lnTo>
                  <a:lnTo>
                    <a:pt x="10" y="74"/>
                  </a:lnTo>
                  <a:lnTo>
                    <a:pt x="9" y="73"/>
                  </a:lnTo>
                  <a:lnTo>
                    <a:pt x="6" y="73"/>
                  </a:lnTo>
                  <a:lnTo>
                    <a:pt x="6" y="71"/>
                  </a:lnTo>
                  <a:lnTo>
                    <a:pt x="5" y="70"/>
                  </a:lnTo>
                  <a:lnTo>
                    <a:pt x="5" y="68"/>
                  </a:lnTo>
                  <a:lnTo>
                    <a:pt x="4" y="66"/>
                  </a:lnTo>
                  <a:lnTo>
                    <a:pt x="3" y="65"/>
                  </a:lnTo>
                  <a:lnTo>
                    <a:pt x="3" y="61"/>
                  </a:lnTo>
                  <a:lnTo>
                    <a:pt x="1" y="60"/>
                  </a:lnTo>
                  <a:lnTo>
                    <a:pt x="3" y="59"/>
                  </a:lnTo>
                  <a:lnTo>
                    <a:pt x="4" y="59"/>
                  </a:lnTo>
                  <a:lnTo>
                    <a:pt x="4" y="58"/>
                  </a:lnTo>
                  <a:lnTo>
                    <a:pt x="5" y="56"/>
                  </a:lnTo>
                  <a:lnTo>
                    <a:pt x="5" y="55"/>
                  </a:lnTo>
                  <a:lnTo>
                    <a:pt x="4" y="55"/>
                  </a:lnTo>
                  <a:lnTo>
                    <a:pt x="4" y="54"/>
                  </a:lnTo>
                  <a:lnTo>
                    <a:pt x="3" y="54"/>
                  </a:lnTo>
                  <a:lnTo>
                    <a:pt x="3" y="52"/>
                  </a:lnTo>
                  <a:lnTo>
                    <a:pt x="1" y="52"/>
                  </a:lnTo>
                  <a:lnTo>
                    <a:pt x="1" y="50"/>
                  </a:lnTo>
                  <a:lnTo>
                    <a:pt x="0" y="50"/>
                  </a:lnTo>
                  <a:lnTo>
                    <a:pt x="0" y="47"/>
                  </a:lnTo>
                  <a:lnTo>
                    <a:pt x="3" y="47"/>
                  </a:lnTo>
                  <a:lnTo>
                    <a:pt x="4" y="46"/>
                  </a:lnTo>
                  <a:lnTo>
                    <a:pt x="4" y="42"/>
                  </a:lnTo>
                  <a:lnTo>
                    <a:pt x="3" y="41"/>
                  </a:lnTo>
                  <a:lnTo>
                    <a:pt x="3" y="36"/>
                  </a:lnTo>
                  <a:lnTo>
                    <a:pt x="5" y="34"/>
                  </a:lnTo>
                  <a:lnTo>
                    <a:pt x="5" y="30"/>
                  </a:lnTo>
                  <a:lnTo>
                    <a:pt x="6" y="29"/>
                  </a:lnTo>
                  <a:lnTo>
                    <a:pt x="6" y="30"/>
                  </a:lnTo>
                  <a:lnTo>
                    <a:pt x="9" y="30"/>
                  </a:lnTo>
                  <a:lnTo>
                    <a:pt x="9" y="29"/>
                  </a:lnTo>
                  <a:lnTo>
                    <a:pt x="10" y="29"/>
                  </a:lnTo>
                  <a:lnTo>
                    <a:pt x="10" y="30"/>
                  </a:lnTo>
                  <a:lnTo>
                    <a:pt x="12" y="30"/>
                  </a:lnTo>
                  <a:lnTo>
                    <a:pt x="12" y="29"/>
                  </a:lnTo>
                  <a:lnTo>
                    <a:pt x="13" y="28"/>
                  </a:lnTo>
                  <a:lnTo>
                    <a:pt x="13" y="19"/>
                  </a:lnTo>
                  <a:lnTo>
                    <a:pt x="15" y="18"/>
                  </a:lnTo>
                  <a:lnTo>
                    <a:pt x="15" y="17"/>
                  </a:lnTo>
                  <a:lnTo>
                    <a:pt x="16" y="17"/>
                  </a:lnTo>
                  <a:lnTo>
                    <a:pt x="19" y="15"/>
                  </a:lnTo>
                  <a:lnTo>
                    <a:pt x="23" y="15"/>
                  </a:lnTo>
                  <a:lnTo>
                    <a:pt x="24" y="13"/>
                  </a:lnTo>
                  <a:lnTo>
                    <a:pt x="25" y="13"/>
                  </a:lnTo>
                  <a:lnTo>
                    <a:pt x="25" y="12"/>
                  </a:lnTo>
                  <a:lnTo>
                    <a:pt x="27" y="11"/>
                  </a:lnTo>
                  <a:lnTo>
                    <a:pt x="29" y="11"/>
                  </a:lnTo>
                  <a:lnTo>
                    <a:pt x="31" y="12"/>
                  </a:lnTo>
                  <a:lnTo>
                    <a:pt x="32" y="13"/>
                  </a:lnTo>
                  <a:lnTo>
                    <a:pt x="32" y="15"/>
                  </a:lnTo>
                  <a:lnTo>
                    <a:pt x="34" y="16"/>
                  </a:lnTo>
                  <a:lnTo>
                    <a:pt x="35" y="16"/>
                  </a:lnTo>
                  <a:lnTo>
                    <a:pt x="36" y="17"/>
                  </a:lnTo>
                  <a:lnTo>
                    <a:pt x="36" y="16"/>
                  </a:lnTo>
                  <a:lnTo>
                    <a:pt x="37" y="16"/>
                  </a:lnTo>
                  <a:lnTo>
                    <a:pt x="36" y="15"/>
                  </a:lnTo>
                  <a:lnTo>
                    <a:pt x="36" y="13"/>
                  </a:lnTo>
                  <a:lnTo>
                    <a:pt x="38" y="10"/>
                  </a:lnTo>
                  <a:lnTo>
                    <a:pt x="40" y="9"/>
                  </a:lnTo>
                  <a:lnTo>
                    <a:pt x="42" y="10"/>
                  </a:lnTo>
                  <a:lnTo>
                    <a:pt x="42" y="7"/>
                  </a:lnTo>
                  <a:lnTo>
                    <a:pt x="43" y="7"/>
                  </a:lnTo>
                  <a:lnTo>
                    <a:pt x="43" y="9"/>
                  </a:lnTo>
                  <a:lnTo>
                    <a:pt x="44" y="9"/>
                  </a:lnTo>
                  <a:lnTo>
                    <a:pt x="44" y="7"/>
                  </a:lnTo>
                  <a:lnTo>
                    <a:pt x="46" y="9"/>
                  </a:lnTo>
                  <a:lnTo>
                    <a:pt x="48" y="7"/>
                  </a:lnTo>
                  <a:lnTo>
                    <a:pt x="50" y="7"/>
                  </a:lnTo>
                  <a:lnTo>
                    <a:pt x="52" y="9"/>
                  </a:lnTo>
                  <a:lnTo>
                    <a:pt x="53" y="9"/>
                  </a:lnTo>
                  <a:lnTo>
                    <a:pt x="53" y="7"/>
                  </a:lnTo>
                  <a:lnTo>
                    <a:pt x="54" y="7"/>
                  </a:lnTo>
                  <a:lnTo>
                    <a:pt x="59" y="4"/>
                  </a:lnTo>
                  <a:lnTo>
                    <a:pt x="61" y="4"/>
                  </a:lnTo>
                  <a:lnTo>
                    <a:pt x="62" y="3"/>
                  </a:lnTo>
                  <a:lnTo>
                    <a:pt x="63" y="3"/>
                  </a:lnTo>
                  <a:lnTo>
                    <a:pt x="66" y="4"/>
                  </a:lnTo>
                  <a:lnTo>
                    <a:pt x="67" y="5"/>
                  </a:lnTo>
                  <a:lnTo>
                    <a:pt x="68" y="5"/>
                  </a:lnTo>
                  <a:lnTo>
                    <a:pt x="71" y="4"/>
                  </a:lnTo>
                  <a:lnTo>
                    <a:pt x="77" y="1"/>
                  </a:lnTo>
                  <a:lnTo>
                    <a:pt x="77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29">
              <a:extLst>
                <a:ext uri="{FF2B5EF4-FFF2-40B4-BE49-F238E27FC236}">
                  <a16:creationId xmlns:a16="http://schemas.microsoft.com/office/drawing/2014/main" id="{32967FC2-A747-4B38-9034-ABC91ECD2C7A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9188" y="4437063"/>
              <a:ext cx="53975" cy="76200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16" y="1"/>
                </a:cxn>
                <a:cxn ang="0">
                  <a:pos x="17" y="3"/>
                </a:cxn>
                <a:cxn ang="0">
                  <a:pos x="16" y="7"/>
                </a:cxn>
                <a:cxn ang="0">
                  <a:pos x="16" y="8"/>
                </a:cxn>
                <a:cxn ang="0">
                  <a:pos x="17" y="12"/>
                </a:cxn>
                <a:cxn ang="0">
                  <a:pos x="18" y="14"/>
                </a:cxn>
                <a:cxn ang="0">
                  <a:pos x="19" y="14"/>
                </a:cxn>
                <a:cxn ang="0">
                  <a:pos x="22" y="19"/>
                </a:cxn>
                <a:cxn ang="0">
                  <a:pos x="24" y="20"/>
                </a:cxn>
                <a:cxn ang="0">
                  <a:pos x="27" y="21"/>
                </a:cxn>
                <a:cxn ang="0">
                  <a:pos x="28" y="24"/>
                </a:cxn>
                <a:cxn ang="0">
                  <a:pos x="33" y="25"/>
                </a:cxn>
                <a:cxn ang="0">
                  <a:pos x="33" y="27"/>
                </a:cxn>
                <a:cxn ang="0">
                  <a:pos x="30" y="33"/>
                </a:cxn>
                <a:cxn ang="0">
                  <a:pos x="29" y="34"/>
                </a:cxn>
                <a:cxn ang="0">
                  <a:pos x="30" y="36"/>
                </a:cxn>
                <a:cxn ang="0">
                  <a:pos x="29" y="37"/>
                </a:cxn>
                <a:cxn ang="0">
                  <a:pos x="27" y="46"/>
                </a:cxn>
                <a:cxn ang="0">
                  <a:pos x="23" y="44"/>
                </a:cxn>
                <a:cxn ang="0">
                  <a:pos x="18" y="45"/>
                </a:cxn>
                <a:cxn ang="0">
                  <a:pos x="16" y="46"/>
                </a:cxn>
                <a:cxn ang="0">
                  <a:pos x="10" y="48"/>
                </a:cxn>
                <a:cxn ang="0">
                  <a:pos x="9" y="45"/>
                </a:cxn>
                <a:cxn ang="0">
                  <a:pos x="5" y="44"/>
                </a:cxn>
                <a:cxn ang="0">
                  <a:pos x="3" y="42"/>
                </a:cxn>
                <a:cxn ang="0">
                  <a:pos x="5" y="40"/>
                </a:cxn>
                <a:cxn ang="0">
                  <a:pos x="6" y="37"/>
                </a:cxn>
                <a:cxn ang="0">
                  <a:pos x="7" y="36"/>
                </a:cxn>
                <a:cxn ang="0">
                  <a:pos x="5" y="33"/>
                </a:cxn>
                <a:cxn ang="0">
                  <a:pos x="6" y="31"/>
                </a:cxn>
                <a:cxn ang="0">
                  <a:pos x="4" y="30"/>
                </a:cxn>
                <a:cxn ang="0">
                  <a:pos x="3" y="26"/>
                </a:cxn>
                <a:cxn ang="0">
                  <a:pos x="0" y="25"/>
                </a:cxn>
                <a:cxn ang="0">
                  <a:pos x="2" y="21"/>
                </a:cxn>
                <a:cxn ang="0">
                  <a:pos x="0" y="20"/>
                </a:cxn>
                <a:cxn ang="0">
                  <a:pos x="0" y="19"/>
                </a:cxn>
                <a:cxn ang="0">
                  <a:pos x="2" y="14"/>
                </a:cxn>
                <a:cxn ang="0">
                  <a:pos x="4" y="10"/>
                </a:cxn>
                <a:cxn ang="0">
                  <a:pos x="5" y="8"/>
                </a:cxn>
                <a:cxn ang="0">
                  <a:pos x="6" y="5"/>
                </a:cxn>
                <a:cxn ang="0">
                  <a:pos x="9" y="3"/>
                </a:cxn>
                <a:cxn ang="0">
                  <a:pos x="10" y="0"/>
                </a:cxn>
              </a:cxnLst>
              <a:rect l="0" t="0" r="r" b="b"/>
              <a:pathLst>
                <a:path w="34" h="48">
                  <a:moveTo>
                    <a:pt x="10" y="0"/>
                  </a:moveTo>
                  <a:lnTo>
                    <a:pt x="12" y="0"/>
                  </a:lnTo>
                  <a:lnTo>
                    <a:pt x="12" y="1"/>
                  </a:lnTo>
                  <a:lnTo>
                    <a:pt x="16" y="1"/>
                  </a:lnTo>
                  <a:lnTo>
                    <a:pt x="16" y="3"/>
                  </a:lnTo>
                  <a:lnTo>
                    <a:pt x="17" y="3"/>
                  </a:lnTo>
                  <a:lnTo>
                    <a:pt x="17" y="5"/>
                  </a:lnTo>
                  <a:lnTo>
                    <a:pt x="16" y="7"/>
                  </a:lnTo>
                  <a:lnTo>
                    <a:pt x="17" y="7"/>
                  </a:lnTo>
                  <a:lnTo>
                    <a:pt x="16" y="8"/>
                  </a:lnTo>
                  <a:lnTo>
                    <a:pt x="17" y="8"/>
                  </a:lnTo>
                  <a:lnTo>
                    <a:pt x="17" y="12"/>
                  </a:lnTo>
                  <a:lnTo>
                    <a:pt x="18" y="13"/>
                  </a:lnTo>
                  <a:lnTo>
                    <a:pt x="18" y="14"/>
                  </a:lnTo>
                  <a:lnTo>
                    <a:pt x="19" y="15"/>
                  </a:lnTo>
                  <a:lnTo>
                    <a:pt x="19" y="14"/>
                  </a:lnTo>
                  <a:lnTo>
                    <a:pt x="21" y="15"/>
                  </a:lnTo>
                  <a:lnTo>
                    <a:pt x="22" y="19"/>
                  </a:lnTo>
                  <a:lnTo>
                    <a:pt x="23" y="20"/>
                  </a:lnTo>
                  <a:lnTo>
                    <a:pt x="24" y="20"/>
                  </a:lnTo>
                  <a:lnTo>
                    <a:pt x="24" y="21"/>
                  </a:lnTo>
                  <a:lnTo>
                    <a:pt x="27" y="21"/>
                  </a:lnTo>
                  <a:lnTo>
                    <a:pt x="27" y="22"/>
                  </a:lnTo>
                  <a:lnTo>
                    <a:pt x="28" y="24"/>
                  </a:lnTo>
                  <a:lnTo>
                    <a:pt x="31" y="24"/>
                  </a:lnTo>
                  <a:lnTo>
                    <a:pt x="33" y="25"/>
                  </a:lnTo>
                  <a:lnTo>
                    <a:pt x="34" y="25"/>
                  </a:lnTo>
                  <a:lnTo>
                    <a:pt x="33" y="27"/>
                  </a:lnTo>
                  <a:lnTo>
                    <a:pt x="33" y="31"/>
                  </a:lnTo>
                  <a:lnTo>
                    <a:pt x="30" y="33"/>
                  </a:lnTo>
                  <a:lnTo>
                    <a:pt x="29" y="33"/>
                  </a:lnTo>
                  <a:lnTo>
                    <a:pt x="29" y="34"/>
                  </a:lnTo>
                  <a:lnTo>
                    <a:pt x="30" y="34"/>
                  </a:lnTo>
                  <a:lnTo>
                    <a:pt x="30" y="36"/>
                  </a:lnTo>
                  <a:lnTo>
                    <a:pt x="29" y="36"/>
                  </a:lnTo>
                  <a:lnTo>
                    <a:pt x="29" y="37"/>
                  </a:lnTo>
                  <a:lnTo>
                    <a:pt x="27" y="39"/>
                  </a:lnTo>
                  <a:lnTo>
                    <a:pt x="27" y="46"/>
                  </a:lnTo>
                  <a:lnTo>
                    <a:pt x="24" y="46"/>
                  </a:lnTo>
                  <a:lnTo>
                    <a:pt x="23" y="44"/>
                  </a:lnTo>
                  <a:lnTo>
                    <a:pt x="18" y="44"/>
                  </a:lnTo>
                  <a:lnTo>
                    <a:pt x="18" y="45"/>
                  </a:lnTo>
                  <a:lnTo>
                    <a:pt x="16" y="45"/>
                  </a:lnTo>
                  <a:lnTo>
                    <a:pt x="16" y="46"/>
                  </a:lnTo>
                  <a:lnTo>
                    <a:pt x="15" y="48"/>
                  </a:lnTo>
                  <a:lnTo>
                    <a:pt x="10" y="48"/>
                  </a:lnTo>
                  <a:lnTo>
                    <a:pt x="10" y="46"/>
                  </a:lnTo>
                  <a:lnTo>
                    <a:pt x="9" y="45"/>
                  </a:lnTo>
                  <a:lnTo>
                    <a:pt x="6" y="44"/>
                  </a:lnTo>
                  <a:lnTo>
                    <a:pt x="5" y="44"/>
                  </a:lnTo>
                  <a:lnTo>
                    <a:pt x="5" y="43"/>
                  </a:lnTo>
                  <a:lnTo>
                    <a:pt x="3" y="42"/>
                  </a:lnTo>
                  <a:lnTo>
                    <a:pt x="4" y="40"/>
                  </a:lnTo>
                  <a:lnTo>
                    <a:pt x="5" y="40"/>
                  </a:lnTo>
                  <a:lnTo>
                    <a:pt x="5" y="38"/>
                  </a:lnTo>
                  <a:lnTo>
                    <a:pt x="6" y="37"/>
                  </a:lnTo>
                  <a:lnTo>
                    <a:pt x="6" y="36"/>
                  </a:lnTo>
                  <a:lnTo>
                    <a:pt x="7" y="36"/>
                  </a:lnTo>
                  <a:lnTo>
                    <a:pt x="7" y="33"/>
                  </a:lnTo>
                  <a:lnTo>
                    <a:pt x="5" y="33"/>
                  </a:lnTo>
                  <a:lnTo>
                    <a:pt x="5" y="32"/>
                  </a:lnTo>
                  <a:lnTo>
                    <a:pt x="6" y="31"/>
                  </a:lnTo>
                  <a:lnTo>
                    <a:pt x="6" y="30"/>
                  </a:lnTo>
                  <a:lnTo>
                    <a:pt x="4" y="30"/>
                  </a:lnTo>
                  <a:lnTo>
                    <a:pt x="4" y="28"/>
                  </a:lnTo>
                  <a:lnTo>
                    <a:pt x="3" y="26"/>
                  </a:lnTo>
                  <a:lnTo>
                    <a:pt x="2" y="25"/>
                  </a:lnTo>
                  <a:lnTo>
                    <a:pt x="0" y="25"/>
                  </a:lnTo>
                  <a:lnTo>
                    <a:pt x="0" y="22"/>
                  </a:lnTo>
                  <a:lnTo>
                    <a:pt x="2" y="21"/>
                  </a:lnTo>
                  <a:lnTo>
                    <a:pt x="0" y="21"/>
                  </a:lnTo>
                  <a:lnTo>
                    <a:pt x="0" y="20"/>
                  </a:lnTo>
                  <a:lnTo>
                    <a:pt x="2" y="20"/>
                  </a:lnTo>
                  <a:lnTo>
                    <a:pt x="0" y="19"/>
                  </a:lnTo>
                  <a:lnTo>
                    <a:pt x="2" y="15"/>
                  </a:lnTo>
                  <a:lnTo>
                    <a:pt x="2" y="14"/>
                  </a:lnTo>
                  <a:lnTo>
                    <a:pt x="4" y="14"/>
                  </a:lnTo>
                  <a:lnTo>
                    <a:pt x="4" y="10"/>
                  </a:lnTo>
                  <a:lnTo>
                    <a:pt x="5" y="10"/>
                  </a:lnTo>
                  <a:lnTo>
                    <a:pt x="5" y="8"/>
                  </a:lnTo>
                  <a:lnTo>
                    <a:pt x="6" y="7"/>
                  </a:lnTo>
                  <a:lnTo>
                    <a:pt x="6" y="5"/>
                  </a:lnTo>
                  <a:lnTo>
                    <a:pt x="7" y="5"/>
                  </a:lnTo>
                  <a:lnTo>
                    <a:pt x="9" y="3"/>
                  </a:lnTo>
                  <a:lnTo>
                    <a:pt x="10" y="3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30">
              <a:extLst>
                <a:ext uri="{FF2B5EF4-FFF2-40B4-BE49-F238E27FC236}">
                  <a16:creationId xmlns:a16="http://schemas.microsoft.com/office/drawing/2014/main" id="{33C6005A-C449-406D-ADFF-78BBB88817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48363" y="3733800"/>
              <a:ext cx="392113" cy="298450"/>
            </a:xfrm>
            <a:custGeom>
              <a:avLst/>
              <a:gdLst/>
              <a:ahLst/>
              <a:cxnLst>
                <a:cxn ang="0">
                  <a:pos x="170" y="10"/>
                </a:cxn>
                <a:cxn ang="0">
                  <a:pos x="196" y="22"/>
                </a:cxn>
                <a:cxn ang="0">
                  <a:pos x="208" y="33"/>
                </a:cxn>
                <a:cxn ang="0">
                  <a:pos x="226" y="52"/>
                </a:cxn>
                <a:cxn ang="0">
                  <a:pos x="237" y="68"/>
                </a:cxn>
                <a:cxn ang="0">
                  <a:pos x="233" y="83"/>
                </a:cxn>
                <a:cxn ang="0">
                  <a:pos x="246" y="89"/>
                </a:cxn>
                <a:cxn ang="0">
                  <a:pos x="240" y="93"/>
                </a:cxn>
                <a:cxn ang="0">
                  <a:pos x="233" y="98"/>
                </a:cxn>
                <a:cxn ang="0">
                  <a:pos x="221" y="107"/>
                </a:cxn>
                <a:cxn ang="0">
                  <a:pos x="211" y="111"/>
                </a:cxn>
                <a:cxn ang="0">
                  <a:pos x="205" y="117"/>
                </a:cxn>
                <a:cxn ang="0">
                  <a:pos x="203" y="139"/>
                </a:cxn>
                <a:cxn ang="0">
                  <a:pos x="197" y="149"/>
                </a:cxn>
                <a:cxn ang="0">
                  <a:pos x="197" y="158"/>
                </a:cxn>
                <a:cxn ang="0">
                  <a:pos x="203" y="161"/>
                </a:cxn>
                <a:cxn ang="0">
                  <a:pos x="195" y="170"/>
                </a:cxn>
                <a:cxn ang="0">
                  <a:pos x="194" y="163"/>
                </a:cxn>
                <a:cxn ang="0">
                  <a:pos x="188" y="162"/>
                </a:cxn>
                <a:cxn ang="0">
                  <a:pos x="177" y="169"/>
                </a:cxn>
                <a:cxn ang="0">
                  <a:pos x="164" y="172"/>
                </a:cxn>
                <a:cxn ang="0">
                  <a:pos x="159" y="182"/>
                </a:cxn>
                <a:cxn ang="0">
                  <a:pos x="145" y="188"/>
                </a:cxn>
                <a:cxn ang="0">
                  <a:pos x="135" y="184"/>
                </a:cxn>
                <a:cxn ang="0">
                  <a:pos x="121" y="186"/>
                </a:cxn>
                <a:cxn ang="0">
                  <a:pos x="113" y="187"/>
                </a:cxn>
                <a:cxn ang="0">
                  <a:pos x="108" y="180"/>
                </a:cxn>
                <a:cxn ang="0">
                  <a:pos x="103" y="164"/>
                </a:cxn>
                <a:cxn ang="0">
                  <a:pos x="93" y="158"/>
                </a:cxn>
                <a:cxn ang="0">
                  <a:pos x="82" y="151"/>
                </a:cxn>
                <a:cxn ang="0">
                  <a:pos x="73" y="138"/>
                </a:cxn>
                <a:cxn ang="0">
                  <a:pos x="77" y="126"/>
                </a:cxn>
                <a:cxn ang="0">
                  <a:pos x="79" y="115"/>
                </a:cxn>
                <a:cxn ang="0">
                  <a:pos x="72" y="111"/>
                </a:cxn>
                <a:cxn ang="0">
                  <a:pos x="64" y="104"/>
                </a:cxn>
                <a:cxn ang="0">
                  <a:pos x="46" y="104"/>
                </a:cxn>
                <a:cxn ang="0">
                  <a:pos x="40" y="100"/>
                </a:cxn>
                <a:cxn ang="0">
                  <a:pos x="25" y="93"/>
                </a:cxn>
                <a:cxn ang="0">
                  <a:pos x="14" y="86"/>
                </a:cxn>
                <a:cxn ang="0">
                  <a:pos x="10" y="82"/>
                </a:cxn>
                <a:cxn ang="0">
                  <a:pos x="11" y="68"/>
                </a:cxn>
                <a:cxn ang="0">
                  <a:pos x="7" y="74"/>
                </a:cxn>
                <a:cxn ang="0">
                  <a:pos x="2" y="86"/>
                </a:cxn>
                <a:cxn ang="0">
                  <a:pos x="7" y="53"/>
                </a:cxn>
                <a:cxn ang="0">
                  <a:pos x="6" y="49"/>
                </a:cxn>
                <a:cxn ang="0">
                  <a:pos x="11" y="26"/>
                </a:cxn>
                <a:cxn ang="0">
                  <a:pos x="27" y="10"/>
                </a:cxn>
                <a:cxn ang="0">
                  <a:pos x="51" y="1"/>
                </a:cxn>
                <a:cxn ang="0">
                  <a:pos x="83" y="2"/>
                </a:cxn>
                <a:cxn ang="0">
                  <a:pos x="94" y="7"/>
                </a:cxn>
                <a:cxn ang="0">
                  <a:pos x="109" y="8"/>
                </a:cxn>
                <a:cxn ang="0">
                  <a:pos x="128" y="9"/>
                </a:cxn>
                <a:cxn ang="0">
                  <a:pos x="150" y="13"/>
                </a:cxn>
                <a:cxn ang="0">
                  <a:pos x="165" y="2"/>
                </a:cxn>
              </a:cxnLst>
              <a:rect l="0" t="0" r="r" b="b"/>
              <a:pathLst>
                <a:path w="247" h="188">
                  <a:moveTo>
                    <a:pt x="165" y="0"/>
                  </a:moveTo>
                  <a:lnTo>
                    <a:pt x="168" y="0"/>
                  </a:lnTo>
                  <a:lnTo>
                    <a:pt x="168" y="1"/>
                  </a:lnTo>
                  <a:lnTo>
                    <a:pt x="169" y="4"/>
                  </a:lnTo>
                  <a:lnTo>
                    <a:pt x="170" y="9"/>
                  </a:lnTo>
                  <a:lnTo>
                    <a:pt x="170" y="10"/>
                  </a:lnTo>
                  <a:lnTo>
                    <a:pt x="171" y="10"/>
                  </a:lnTo>
                  <a:lnTo>
                    <a:pt x="175" y="18"/>
                  </a:lnTo>
                  <a:lnTo>
                    <a:pt x="176" y="19"/>
                  </a:lnTo>
                  <a:lnTo>
                    <a:pt x="187" y="21"/>
                  </a:lnTo>
                  <a:lnTo>
                    <a:pt x="194" y="21"/>
                  </a:lnTo>
                  <a:lnTo>
                    <a:pt x="196" y="22"/>
                  </a:lnTo>
                  <a:lnTo>
                    <a:pt x="200" y="22"/>
                  </a:lnTo>
                  <a:lnTo>
                    <a:pt x="201" y="26"/>
                  </a:lnTo>
                  <a:lnTo>
                    <a:pt x="202" y="27"/>
                  </a:lnTo>
                  <a:lnTo>
                    <a:pt x="205" y="28"/>
                  </a:lnTo>
                  <a:lnTo>
                    <a:pt x="206" y="29"/>
                  </a:lnTo>
                  <a:lnTo>
                    <a:pt x="208" y="33"/>
                  </a:lnTo>
                  <a:lnTo>
                    <a:pt x="212" y="35"/>
                  </a:lnTo>
                  <a:lnTo>
                    <a:pt x="214" y="38"/>
                  </a:lnTo>
                  <a:lnTo>
                    <a:pt x="218" y="40"/>
                  </a:lnTo>
                  <a:lnTo>
                    <a:pt x="221" y="44"/>
                  </a:lnTo>
                  <a:lnTo>
                    <a:pt x="224" y="49"/>
                  </a:lnTo>
                  <a:lnTo>
                    <a:pt x="226" y="52"/>
                  </a:lnTo>
                  <a:lnTo>
                    <a:pt x="228" y="55"/>
                  </a:lnTo>
                  <a:lnTo>
                    <a:pt x="234" y="57"/>
                  </a:lnTo>
                  <a:lnTo>
                    <a:pt x="237" y="58"/>
                  </a:lnTo>
                  <a:lnTo>
                    <a:pt x="239" y="58"/>
                  </a:lnTo>
                  <a:lnTo>
                    <a:pt x="239" y="65"/>
                  </a:lnTo>
                  <a:lnTo>
                    <a:pt x="237" y="68"/>
                  </a:lnTo>
                  <a:lnTo>
                    <a:pt x="237" y="74"/>
                  </a:lnTo>
                  <a:lnTo>
                    <a:pt x="236" y="75"/>
                  </a:lnTo>
                  <a:lnTo>
                    <a:pt x="234" y="78"/>
                  </a:lnTo>
                  <a:lnTo>
                    <a:pt x="234" y="80"/>
                  </a:lnTo>
                  <a:lnTo>
                    <a:pt x="233" y="81"/>
                  </a:lnTo>
                  <a:lnTo>
                    <a:pt x="233" y="83"/>
                  </a:lnTo>
                  <a:lnTo>
                    <a:pt x="236" y="84"/>
                  </a:lnTo>
                  <a:lnTo>
                    <a:pt x="239" y="84"/>
                  </a:lnTo>
                  <a:lnTo>
                    <a:pt x="246" y="86"/>
                  </a:lnTo>
                  <a:lnTo>
                    <a:pt x="247" y="86"/>
                  </a:lnTo>
                  <a:lnTo>
                    <a:pt x="247" y="88"/>
                  </a:lnTo>
                  <a:lnTo>
                    <a:pt x="246" y="89"/>
                  </a:lnTo>
                  <a:lnTo>
                    <a:pt x="245" y="89"/>
                  </a:lnTo>
                  <a:lnTo>
                    <a:pt x="244" y="90"/>
                  </a:lnTo>
                  <a:lnTo>
                    <a:pt x="243" y="90"/>
                  </a:lnTo>
                  <a:lnTo>
                    <a:pt x="241" y="92"/>
                  </a:lnTo>
                  <a:lnTo>
                    <a:pt x="241" y="93"/>
                  </a:lnTo>
                  <a:lnTo>
                    <a:pt x="240" y="93"/>
                  </a:lnTo>
                  <a:lnTo>
                    <a:pt x="240" y="98"/>
                  </a:lnTo>
                  <a:lnTo>
                    <a:pt x="239" y="99"/>
                  </a:lnTo>
                  <a:lnTo>
                    <a:pt x="238" y="99"/>
                  </a:lnTo>
                  <a:lnTo>
                    <a:pt x="234" y="96"/>
                  </a:lnTo>
                  <a:lnTo>
                    <a:pt x="233" y="96"/>
                  </a:lnTo>
                  <a:lnTo>
                    <a:pt x="233" y="98"/>
                  </a:lnTo>
                  <a:lnTo>
                    <a:pt x="232" y="98"/>
                  </a:lnTo>
                  <a:lnTo>
                    <a:pt x="227" y="96"/>
                  </a:lnTo>
                  <a:lnTo>
                    <a:pt x="225" y="96"/>
                  </a:lnTo>
                  <a:lnTo>
                    <a:pt x="224" y="99"/>
                  </a:lnTo>
                  <a:lnTo>
                    <a:pt x="224" y="104"/>
                  </a:lnTo>
                  <a:lnTo>
                    <a:pt x="221" y="107"/>
                  </a:lnTo>
                  <a:lnTo>
                    <a:pt x="221" y="108"/>
                  </a:lnTo>
                  <a:lnTo>
                    <a:pt x="220" y="108"/>
                  </a:lnTo>
                  <a:lnTo>
                    <a:pt x="220" y="110"/>
                  </a:lnTo>
                  <a:lnTo>
                    <a:pt x="218" y="111"/>
                  </a:lnTo>
                  <a:lnTo>
                    <a:pt x="213" y="112"/>
                  </a:lnTo>
                  <a:lnTo>
                    <a:pt x="211" y="111"/>
                  </a:lnTo>
                  <a:lnTo>
                    <a:pt x="208" y="112"/>
                  </a:lnTo>
                  <a:lnTo>
                    <a:pt x="208" y="113"/>
                  </a:lnTo>
                  <a:lnTo>
                    <a:pt x="207" y="114"/>
                  </a:lnTo>
                  <a:lnTo>
                    <a:pt x="207" y="115"/>
                  </a:lnTo>
                  <a:lnTo>
                    <a:pt x="206" y="115"/>
                  </a:lnTo>
                  <a:lnTo>
                    <a:pt x="205" y="117"/>
                  </a:lnTo>
                  <a:lnTo>
                    <a:pt x="205" y="121"/>
                  </a:lnTo>
                  <a:lnTo>
                    <a:pt x="203" y="121"/>
                  </a:lnTo>
                  <a:lnTo>
                    <a:pt x="202" y="123"/>
                  </a:lnTo>
                  <a:lnTo>
                    <a:pt x="202" y="133"/>
                  </a:lnTo>
                  <a:lnTo>
                    <a:pt x="203" y="136"/>
                  </a:lnTo>
                  <a:lnTo>
                    <a:pt x="203" y="139"/>
                  </a:lnTo>
                  <a:lnTo>
                    <a:pt x="202" y="141"/>
                  </a:lnTo>
                  <a:lnTo>
                    <a:pt x="201" y="141"/>
                  </a:lnTo>
                  <a:lnTo>
                    <a:pt x="199" y="142"/>
                  </a:lnTo>
                  <a:lnTo>
                    <a:pt x="199" y="143"/>
                  </a:lnTo>
                  <a:lnTo>
                    <a:pt x="197" y="144"/>
                  </a:lnTo>
                  <a:lnTo>
                    <a:pt x="197" y="149"/>
                  </a:lnTo>
                  <a:lnTo>
                    <a:pt x="195" y="154"/>
                  </a:lnTo>
                  <a:lnTo>
                    <a:pt x="194" y="155"/>
                  </a:lnTo>
                  <a:lnTo>
                    <a:pt x="194" y="157"/>
                  </a:lnTo>
                  <a:lnTo>
                    <a:pt x="195" y="157"/>
                  </a:lnTo>
                  <a:lnTo>
                    <a:pt x="195" y="158"/>
                  </a:lnTo>
                  <a:lnTo>
                    <a:pt x="197" y="158"/>
                  </a:lnTo>
                  <a:lnTo>
                    <a:pt x="200" y="156"/>
                  </a:lnTo>
                  <a:lnTo>
                    <a:pt x="201" y="156"/>
                  </a:lnTo>
                  <a:lnTo>
                    <a:pt x="201" y="158"/>
                  </a:lnTo>
                  <a:lnTo>
                    <a:pt x="202" y="160"/>
                  </a:lnTo>
                  <a:lnTo>
                    <a:pt x="203" y="160"/>
                  </a:lnTo>
                  <a:lnTo>
                    <a:pt x="203" y="161"/>
                  </a:lnTo>
                  <a:lnTo>
                    <a:pt x="205" y="161"/>
                  </a:lnTo>
                  <a:lnTo>
                    <a:pt x="205" y="168"/>
                  </a:lnTo>
                  <a:lnTo>
                    <a:pt x="203" y="169"/>
                  </a:lnTo>
                  <a:lnTo>
                    <a:pt x="201" y="169"/>
                  </a:lnTo>
                  <a:lnTo>
                    <a:pt x="200" y="170"/>
                  </a:lnTo>
                  <a:lnTo>
                    <a:pt x="195" y="170"/>
                  </a:lnTo>
                  <a:lnTo>
                    <a:pt x="193" y="168"/>
                  </a:lnTo>
                  <a:lnTo>
                    <a:pt x="193" y="167"/>
                  </a:lnTo>
                  <a:lnTo>
                    <a:pt x="194" y="167"/>
                  </a:lnTo>
                  <a:lnTo>
                    <a:pt x="194" y="166"/>
                  </a:lnTo>
                  <a:lnTo>
                    <a:pt x="193" y="164"/>
                  </a:lnTo>
                  <a:lnTo>
                    <a:pt x="194" y="163"/>
                  </a:lnTo>
                  <a:lnTo>
                    <a:pt x="195" y="163"/>
                  </a:lnTo>
                  <a:lnTo>
                    <a:pt x="193" y="160"/>
                  </a:lnTo>
                  <a:lnTo>
                    <a:pt x="191" y="158"/>
                  </a:lnTo>
                  <a:lnTo>
                    <a:pt x="190" y="158"/>
                  </a:lnTo>
                  <a:lnTo>
                    <a:pt x="188" y="161"/>
                  </a:lnTo>
                  <a:lnTo>
                    <a:pt x="188" y="162"/>
                  </a:lnTo>
                  <a:lnTo>
                    <a:pt x="184" y="162"/>
                  </a:lnTo>
                  <a:lnTo>
                    <a:pt x="181" y="161"/>
                  </a:lnTo>
                  <a:lnTo>
                    <a:pt x="180" y="162"/>
                  </a:lnTo>
                  <a:lnTo>
                    <a:pt x="180" y="166"/>
                  </a:lnTo>
                  <a:lnTo>
                    <a:pt x="178" y="167"/>
                  </a:lnTo>
                  <a:lnTo>
                    <a:pt x="177" y="169"/>
                  </a:lnTo>
                  <a:lnTo>
                    <a:pt x="175" y="170"/>
                  </a:lnTo>
                  <a:lnTo>
                    <a:pt x="172" y="170"/>
                  </a:lnTo>
                  <a:lnTo>
                    <a:pt x="170" y="169"/>
                  </a:lnTo>
                  <a:lnTo>
                    <a:pt x="165" y="169"/>
                  </a:lnTo>
                  <a:lnTo>
                    <a:pt x="164" y="170"/>
                  </a:lnTo>
                  <a:lnTo>
                    <a:pt x="164" y="172"/>
                  </a:lnTo>
                  <a:lnTo>
                    <a:pt x="163" y="173"/>
                  </a:lnTo>
                  <a:lnTo>
                    <a:pt x="163" y="176"/>
                  </a:lnTo>
                  <a:lnTo>
                    <a:pt x="164" y="178"/>
                  </a:lnTo>
                  <a:lnTo>
                    <a:pt x="164" y="181"/>
                  </a:lnTo>
                  <a:lnTo>
                    <a:pt x="163" y="182"/>
                  </a:lnTo>
                  <a:lnTo>
                    <a:pt x="159" y="182"/>
                  </a:lnTo>
                  <a:lnTo>
                    <a:pt x="158" y="180"/>
                  </a:lnTo>
                  <a:lnTo>
                    <a:pt x="157" y="181"/>
                  </a:lnTo>
                  <a:lnTo>
                    <a:pt x="154" y="181"/>
                  </a:lnTo>
                  <a:lnTo>
                    <a:pt x="152" y="182"/>
                  </a:lnTo>
                  <a:lnTo>
                    <a:pt x="147" y="187"/>
                  </a:lnTo>
                  <a:lnTo>
                    <a:pt x="145" y="188"/>
                  </a:lnTo>
                  <a:lnTo>
                    <a:pt x="144" y="188"/>
                  </a:lnTo>
                  <a:lnTo>
                    <a:pt x="143" y="187"/>
                  </a:lnTo>
                  <a:lnTo>
                    <a:pt x="140" y="187"/>
                  </a:lnTo>
                  <a:lnTo>
                    <a:pt x="139" y="185"/>
                  </a:lnTo>
                  <a:lnTo>
                    <a:pt x="137" y="182"/>
                  </a:lnTo>
                  <a:lnTo>
                    <a:pt x="135" y="184"/>
                  </a:lnTo>
                  <a:lnTo>
                    <a:pt x="133" y="185"/>
                  </a:lnTo>
                  <a:lnTo>
                    <a:pt x="128" y="185"/>
                  </a:lnTo>
                  <a:lnTo>
                    <a:pt x="127" y="184"/>
                  </a:lnTo>
                  <a:lnTo>
                    <a:pt x="126" y="184"/>
                  </a:lnTo>
                  <a:lnTo>
                    <a:pt x="122" y="186"/>
                  </a:lnTo>
                  <a:lnTo>
                    <a:pt x="121" y="186"/>
                  </a:lnTo>
                  <a:lnTo>
                    <a:pt x="121" y="185"/>
                  </a:lnTo>
                  <a:lnTo>
                    <a:pt x="120" y="185"/>
                  </a:lnTo>
                  <a:lnTo>
                    <a:pt x="119" y="186"/>
                  </a:lnTo>
                  <a:lnTo>
                    <a:pt x="116" y="186"/>
                  </a:lnTo>
                  <a:lnTo>
                    <a:pt x="114" y="187"/>
                  </a:lnTo>
                  <a:lnTo>
                    <a:pt x="113" y="187"/>
                  </a:lnTo>
                  <a:lnTo>
                    <a:pt x="109" y="185"/>
                  </a:lnTo>
                  <a:lnTo>
                    <a:pt x="108" y="185"/>
                  </a:lnTo>
                  <a:lnTo>
                    <a:pt x="108" y="182"/>
                  </a:lnTo>
                  <a:lnTo>
                    <a:pt x="107" y="182"/>
                  </a:lnTo>
                  <a:lnTo>
                    <a:pt x="107" y="180"/>
                  </a:lnTo>
                  <a:lnTo>
                    <a:pt x="108" y="180"/>
                  </a:lnTo>
                  <a:lnTo>
                    <a:pt x="108" y="173"/>
                  </a:lnTo>
                  <a:lnTo>
                    <a:pt x="107" y="172"/>
                  </a:lnTo>
                  <a:lnTo>
                    <a:pt x="107" y="169"/>
                  </a:lnTo>
                  <a:lnTo>
                    <a:pt x="104" y="167"/>
                  </a:lnTo>
                  <a:lnTo>
                    <a:pt x="103" y="167"/>
                  </a:lnTo>
                  <a:lnTo>
                    <a:pt x="103" y="164"/>
                  </a:lnTo>
                  <a:lnTo>
                    <a:pt x="102" y="164"/>
                  </a:lnTo>
                  <a:lnTo>
                    <a:pt x="102" y="163"/>
                  </a:lnTo>
                  <a:lnTo>
                    <a:pt x="101" y="163"/>
                  </a:lnTo>
                  <a:lnTo>
                    <a:pt x="97" y="162"/>
                  </a:lnTo>
                  <a:lnTo>
                    <a:pt x="96" y="161"/>
                  </a:lnTo>
                  <a:lnTo>
                    <a:pt x="93" y="158"/>
                  </a:lnTo>
                  <a:lnTo>
                    <a:pt x="89" y="158"/>
                  </a:lnTo>
                  <a:lnTo>
                    <a:pt x="89" y="155"/>
                  </a:lnTo>
                  <a:lnTo>
                    <a:pt x="87" y="155"/>
                  </a:lnTo>
                  <a:lnTo>
                    <a:pt x="87" y="153"/>
                  </a:lnTo>
                  <a:lnTo>
                    <a:pt x="84" y="153"/>
                  </a:lnTo>
                  <a:lnTo>
                    <a:pt x="82" y="151"/>
                  </a:lnTo>
                  <a:lnTo>
                    <a:pt x="79" y="151"/>
                  </a:lnTo>
                  <a:lnTo>
                    <a:pt x="78" y="154"/>
                  </a:lnTo>
                  <a:lnTo>
                    <a:pt x="77" y="154"/>
                  </a:lnTo>
                  <a:lnTo>
                    <a:pt x="75" y="150"/>
                  </a:lnTo>
                  <a:lnTo>
                    <a:pt x="73" y="148"/>
                  </a:lnTo>
                  <a:lnTo>
                    <a:pt x="73" y="138"/>
                  </a:lnTo>
                  <a:lnTo>
                    <a:pt x="75" y="136"/>
                  </a:lnTo>
                  <a:lnTo>
                    <a:pt x="75" y="130"/>
                  </a:lnTo>
                  <a:lnTo>
                    <a:pt x="76" y="129"/>
                  </a:lnTo>
                  <a:lnTo>
                    <a:pt x="76" y="127"/>
                  </a:lnTo>
                  <a:lnTo>
                    <a:pt x="77" y="127"/>
                  </a:lnTo>
                  <a:lnTo>
                    <a:pt x="77" y="126"/>
                  </a:lnTo>
                  <a:lnTo>
                    <a:pt x="78" y="126"/>
                  </a:lnTo>
                  <a:lnTo>
                    <a:pt x="78" y="125"/>
                  </a:lnTo>
                  <a:lnTo>
                    <a:pt x="79" y="124"/>
                  </a:lnTo>
                  <a:lnTo>
                    <a:pt x="81" y="124"/>
                  </a:lnTo>
                  <a:lnTo>
                    <a:pt x="81" y="117"/>
                  </a:lnTo>
                  <a:lnTo>
                    <a:pt x="79" y="115"/>
                  </a:lnTo>
                  <a:lnTo>
                    <a:pt x="77" y="114"/>
                  </a:lnTo>
                  <a:lnTo>
                    <a:pt x="76" y="113"/>
                  </a:lnTo>
                  <a:lnTo>
                    <a:pt x="77" y="112"/>
                  </a:lnTo>
                  <a:lnTo>
                    <a:pt x="76" y="112"/>
                  </a:lnTo>
                  <a:lnTo>
                    <a:pt x="76" y="111"/>
                  </a:lnTo>
                  <a:lnTo>
                    <a:pt x="72" y="111"/>
                  </a:lnTo>
                  <a:lnTo>
                    <a:pt x="71" y="110"/>
                  </a:lnTo>
                  <a:lnTo>
                    <a:pt x="71" y="108"/>
                  </a:lnTo>
                  <a:lnTo>
                    <a:pt x="70" y="105"/>
                  </a:lnTo>
                  <a:lnTo>
                    <a:pt x="70" y="104"/>
                  </a:lnTo>
                  <a:lnTo>
                    <a:pt x="67" y="101"/>
                  </a:lnTo>
                  <a:lnTo>
                    <a:pt x="64" y="104"/>
                  </a:lnTo>
                  <a:lnTo>
                    <a:pt x="57" y="102"/>
                  </a:lnTo>
                  <a:lnTo>
                    <a:pt x="56" y="102"/>
                  </a:lnTo>
                  <a:lnTo>
                    <a:pt x="51" y="104"/>
                  </a:lnTo>
                  <a:lnTo>
                    <a:pt x="50" y="105"/>
                  </a:lnTo>
                  <a:lnTo>
                    <a:pt x="47" y="105"/>
                  </a:lnTo>
                  <a:lnTo>
                    <a:pt x="46" y="104"/>
                  </a:lnTo>
                  <a:lnTo>
                    <a:pt x="46" y="101"/>
                  </a:lnTo>
                  <a:lnTo>
                    <a:pt x="45" y="100"/>
                  </a:lnTo>
                  <a:lnTo>
                    <a:pt x="44" y="100"/>
                  </a:lnTo>
                  <a:lnTo>
                    <a:pt x="44" y="101"/>
                  </a:lnTo>
                  <a:lnTo>
                    <a:pt x="41" y="101"/>
                  </a:lnTo>
                  <a:lnTo>
                    <a:pt x="40" y="100"/>
                  </a:lnTo>
                  <a:lnTo>
                    <a:pt x="39" y="100"/>
                  </a:lnTo>
                  <a:lnTo>
                    <a:pt x="38" y="99"/>
                  </a:lnTo>
                  <a:lnTo>
                    <a:pt x="34" y="98"/>
                  </a:lnTo>
                  <a:lnTo>
                    <a:pt x="31" y="94"/>
                  </a:lnTo>
                  <a:lnTo>
                    <a:pt x="28" y="93"/>
                  </a:lnTo>
                  <a:lnTo>
                    <a:pt x="25" y="93"/>
                  </a:lnTo>
                  <a:lnTo>
                    <a:pt x="22" y="92"/>
                  </a:lnTo>
                  <a:lnTo>
                    <a:pt x="20" y="87"/>
                  </a:lnTo>
                  <a:lnTo>
                    <a:pt x="19" y="86"/>
                  </a:lnTo>
                  <a:lnTo>
                    <a:pt x="17" y="86"/>
                  </a:lnTo>
                  <a:lnTo>
                    <a:pt x="14" y="89"/>
                  </a:lnTo>
                  <a:lnTo>
                    <a:pt x="14" y="86"/>
                  </a:lnTo>
                  <a:lnTo>
                    <a:pt x="15" y="86"/>
                  </a:lnTo>
                  <a:lnTo>
                    <a:pt x="15" y="83"/>
                  </a:lnTo>
                  <a:lnTo>
                    <a:pt x="14" y="83"/>
                  </a:lnTo>
                  <a:lnTo>
                    <a:pt x="14" y="80"/>
                  </a:lnTo>
                  <a:lnTo>
                    <a:pt x="11" y="82"/>
                  </a:lnTo>
                  <a:lnTo>
                    <a:pt x="10" y="82"/>
                  </a:lnTo>
                  <a:lnTo>
                    <a:pt x="13" y="77"/>
                  </a:lnTo>
                  <a:lnTo>
                    <a:pt x="14" y="76"/>
                  </a:lnTo>
                  <a:lnTo>
                    <a:pt x="14" y="75"/>
                  </a:lnTo>
                  <a:lnTo>
                    <a:pt x="13" y="71"/>
                  </a:lnTo>
                  <a:lnTo>
                    <a:pt x="13" y="69"/>
                  </a:lnTo>
                  <a:lnTo>
                    <a:pt x="11" y="68"/>
                  </a:lnTo>
                  <a:lnTo>
                    <a:pt x="11" y="64"/>
                  </a:lnTo>
                  <a:lnTo>
                    <a:pt x="9" y="59"/>
                  </a:lnTo>
                  <a:lnTo>
                    <a:pt x="9" y="65"/>
                  </a:lnTo>
                  <a:lnTo>
                    <a:pt x="8" y="67"/>
                  </a:lnTo>
                  <a:lnTo>
                    <a:pt x="8" y="72"/>
                  </a:lnTo>
                  <a:lnTo>
                    <a:pt x="7" y="74"/>
                  </a:lnTo>
                  <a:lnTo>
                    <a:pt x="7" y="75"/>
                  </a:lnTo>
                  <a:lnTo>
                    <a:pt x="8" y="75"/>
                  </a:lnTo>
                  <a:lnTo>
                    <a:pt x="8" y="76"/>
                  </a:lnTo>
                  <a:lnTo>
                    <a:pt x="6" y="78"/>
                  </a:lnTo>
                  <a:lnTo>
                    <a:pt x="6" y="82"/>
                  </a:lnTo>
                  <a:lnTo>
                    <a:pt x="2" y="86"/>
                  </a:lnTo>
                  <a:lnTo>
                    <a:pt x="2" y="87"/>
                  </a:lnTo>
                  <a:lnTo>
                    <a:pt x="0" y="87"/>
                  </a:lnTo>
                  <a:lnTo>
                    <a:pt x="3" y="81"/>
                  </a:lnTo>
                  <a:lnTo>
                    <a:pt x="4" y="76"/>
                  </a:lnTo>
                  <a:lnTo>
                    <a:pt x="7" y="70"/>
                  </a:lnTo>
                  <a:lnTo>
                    <a:pt x="7" y="53"/>
                  </a:lnTo>
                  <a:lnTo>
                    <a:pt x="9" y="58"/>
                  </a:lnTo>
                  <a:lnTo>
                    <a:pt x="9" y="56"/>
                  </a:lnTo>
                  <a:lnTo>
                    <a:pt x="7" y="53"/>
                  </a:lnTo>
                  <a:lnTo>
                    <a:pt x="7" y="52"/>
                  </a:lnTo>
                  <a:lnTo>
                    <a:pt x="6" y="52"/>
                  </a:lnTo>
                  <a:lnTo>
                    <a:pt x="6" y="49"/>
                  </a:lnTo>
                  <a:lnTo>
                    <a:pt x="4" y="43"/>
                  </a:lnTo>
                  <a:lnTo>
                    <a:pt x="4" y="39"/>
                  </a:lnTo>
                  <a:lnTo>
                    <a:pt x="6" y="38"/>
                  </a:lnTo>
                  <a:lnTo>
                    <a:pt x="6" y="27"/>
                  </a:lnTo>
                  <a:lnTo>
                    <a:pt x="9" y="27"/>
                  </a:lnTo>
                  <a:lnTo>
                    <a:pt x="11" y="26"/>
                  </a:lnTo>
                  <a:lnTo>
                    <a:pt x="11" y="22"/>
                  </a:lnTo>
                  <a:lnTo>
                    <a:pt x="13" y="20"/>
                  </a:lnTo>
                  <a:lnTo>
                    <a:pt x="16" y="16"/>
                  </a:lnTo>
                  <a:lnTo>
                    <a:pt x="19" y="15"/>
                  </a:lnTo>
                  <a:lnTo>
                    <a:pt x="21" y="15"/>
                  </a:lnTo>
                  <a:lnTo>
                    <a:pt x="27" y="10"/>
                  </a:lnTo>
                  <a:lnTo>
                    <a:pt x="28" y="9"/>
                  </a:lnTo>
                  <a:lnTo>
                    <a:pt x="32" y="9"/>
                  </a:lnTo>
                  <a:lnTo>
                    <a:pt x="44" y="3"/>
                  </a:lnTo>
                  <a:lnTo>
                    <a:pt x="45" y="3"/>
                  </a:lnTo>
                  <a:lnTo>
                    <a:pt x="50" y="1"/>
                  </a:lnTo>
                  <a:lnTo>
                    <a:pt x="51" y="1"/>
                  </a:lnTo>
                  <a:lnTo>
                    <a:pt x="53" y="3"/>
                  </a:lnTo>
                  <a:lnTo>
                    <a:pt x="70" y="3"/>
                  </a:lnTo>
                  <a:lnTo>
                    <a:pt x="73" y="7"/>
                  </a:lnTo>
                  <a:lnTo>
                    <a:pt x="79" y="3"/>
                  </a:lnTo>
                  <a:lnTo>
                    <a:pt x="82" y="3"/>
                  </a:lnTo>
                  <a:lnTo>
                    <a:pt x="83" y="2"/>
                  </a:lnTo>
                  <a:lnTo>
                    <a:pt x="85" y="2"/>
                  </a:lnTo>
                  <a:lnTo>
                    <a:pt x="87" y="4"/>
                  </a:lnTo>
                  <a:lnTo>
                    <a:pt x="88" y="8"/>
                  </a:lnTo>
                  <a:lnTo>
                    <a:pt x="90" y="9"/>
                  </a:lnTo>
                  <a:lnTo>
                    <a:pt x="93" y="9"/>
                  </a:lnTo>
                  <a:lnTo>
                    <a:pt x="94" y="7"/>
                  </a:lnTo>
                  <a:lnTo>
                    <a:pt x="94" y="6"/>
                  </a:lnTo>
                  <a:lnTo>
                    <a:pt x="95" y="6"/>
                  </a:lnTo>
                  <a:lnTo>
                    <a:pt x="100" y="4"/>
                  </a:lnTo>
                  <a:lnTo>
                    <a:pt x="101" y="4"/>
                  </a:lnTo>
                  <a:lnTo>
                    <a:pt x="108" y="8"/>
                  </a:lnTo>
                  <a:lnTo>
                    <a:pt x="109" y="8"/>
                  </a:lnTo>
                  <a:lnTo>
                    <a:pt x="112" y="7"/>
                  </a:lnTo>
                  <a:lnTo>
                    <a:pt x="113" y="6"/>
                  </a:lnTo>
                  <a:lnTo>
                    <a:pt x="118" y="6"/>
                  </a:lnTo>
                  <a:lnTo>
                    <a:pt x="118" y="8"/>
                  </a:lnTo>
                  <a:lnTo>
                    <a:pt x="124" y="8"/>
                  </a:lnTo>
                  <a:lnTo>
                    <a:pt x="128" y="9"/>
                  </a:lnTo>
                  <a:lnTo>
                    <a:pt x="133" y="13"/>
                  </a:lnTo>
                  <a:lnTo>
                    <a:pt x="137" y="13"/>
                  </a:lnTo>
                  <a:lnTo>
                    <a:pt x="141" y="10"/>
                  </a:lnTo>
                  <a:lnTo>
                    <a:pt x="144" y="10"/>
                  </a:lnTo>
                  <a:lnTo>
                    <a:pt x="147" y="13"/>
                  </a:lnTo>
                  <a:lnTo>
                    <a:pt x="150" y="13"/>
                  </a:lnTo>
                  <a:lnTo>
                    <a:pt x="152" y="12"/>
                  </a:lnTo>
                  <a:lnTo>
                    <a:pt x="153" y="10"/>
                  </a:lnTo>
                  <a:lnTo>
                    <a:pt x="157" y="6"/>
                  </a:lnTo>
                  <a:lnTo>
                    <a:pt x="159" y="3"/>
                  </a:lnTo>
                  <a:lnTo>
                    <a:pt x="164" y="2"/>
                  </a:lnTo>
                  <a:lnTo>
                    <a:pt x="165" y="2"/>
                  </a:lnTo>
                  <a:lnTo>
                    <a:pt x="165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31">
              <a:extLst>
                <a:ext uri="{FF2B5EF4-FFF2-40B4-BE49-F238E27FC236}">
                  <a16:creationId xmlns:a16="http://schemas.microsoft.com/office/drawing/2014/main" id="{A274785D-8D97-433A-A5EB-F92427D8EEC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1600" y="4732338"/>
              <a:ext cx="9525" cy="20638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2"/>
                </a:cxn>
                <a:cxn ang="0">
                  <a:pos x="3" y="2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5" y="8"/>
                </a:cxn>
                <a:cxn ang="0">
                  <a:pos x="6" y="10"/>
                </a:cxn>
                <a:cxn ang="0">
                  <a:pos x="6" y="11"/>
                </a:cxn>
                <a:cxn ang="0">
                  <a:pos x="3" y="13"/>
                </a:cxn>
                <a:cxn ang="0">
                  <a:pos x="1" y="12"/>
                </a:cxn>
                <a:cxn ang="0">
                  <a:pos x="0" y="12"/>
                </a:cxn>
                <a:cxn ang="0">
                  <a:pos x="0" y="11"/>
                </a:cxn>
                <a:cxn ang="0">
                  <a:pos x="1" y="11"/>
                </a:cxn>
                <a:cxn ang="0">
                  <a:pos x="1" y="7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1"/>
                </a:cxn>
                <a:cxn ang="0">
                  <a:pos x="2" y="0"/>
                </a:cxn>
              </a:cxnLst>
              <a:rect l="0" t="0" r="r" b="b"/>
              <a:pathLst>
                <a:path w="6" h="13">
                  <a:moveTo>
                    <a:pt x="2" y="0"/>
                  </a:moveTo>
                  <a:lnTo>
                    <a:pt x="2" y="2"/>
                  </a:lnTo>
                  <a:lnTo>
                    <a:pt x="3" y="2"/>
                  </a:lnTo>
                  <a:lnTo>
                    <a:pt x="3" y="6"/>
                  </a:lnTo>
                  <a:lnTo>
                    <a:pt x="5" y="6"/>
                  </a:lnTo>
                  <a:lnTo>
                    <a:pt x="5" y="8"/>
                  </a:lnTo>
                  <a:lnTo>
                    <a:pt x="6" y="10"/>
                  </a:lnTo>
                  <a:lnTo>
                    <a:pt x="6" y="11"/>
                  </a:lnTo>
                  <a:lnTo>
                    <a:pt x="3" y="13"/>
                  </a:lnTo>
                  <a:lnTo>
                    <a:pt x="1" y="12"/>
                  </a:lnTo>
                  <a:lnTo>
                    <a:pt x="0" y="12"/>
                  </a:lnTo>
                  <a:lnTo>
                    <a:pt x="0" y="11"/>
                  </a:lnTo>
                  <a:lnTo>
                    <a:pt x="1" y="11"/>
                  </a:lnTo>
                  <a:lnTo>
                    <a:pt x="1" y="7"/>
                  </a:lnTo>
                  <a:lnTo>
                    <a:pt x="0" y="6"/>
                  </a:lnTo>
                  <a:lnTo>
                    <a:pt x="0" y="4"/>
                  </a:lnTo>
                  <a:lnTo>
                    <a:pt x="1" y="1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32">
              <a:extLst>
                <a:ext uri="{FF2B5EF4-FFF2-40B4-BE49-F238E27FC236}">
                  <a16:creationId xmlns:a16="http://schemas.microsoft.com/office/drawing/2014/main" id="{2426F2DA-E7E8-4304-BC92-2E44CD9449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1538" y="3530600"/>
              <a:ext cx="484188" cy="295275"/>
            </a:xfrm>
            <a:custGeom>
              <a:avLst/>
              <a:gdLst/>
              <a:ahLst/>
              <a:cxnLst>
                <a:cxn ang="0">
                  <a:pos x="182" y="5"/>
                </a:cxn>
                <a:cxn ang="0">
                  <a:pos x="186" y="3"/>
                </a:cxn>
                <a:cxn ang="0">
                  <a:pos x="199" y="12"/>
                </a:cxn>
                <a:cxn ang="0">
                  <a:pos x="212" y="18"/>
                </a:cxn>
                <a:cxn ang="0">
                  <a:pos x="218" y="27"/>
                </a:cxn>
                <a:cxn ang="0">
                  <a:pos x="234" y="44"/>
                </a:cxn>
                <a:cxn ang="0">
                  <a:pos x="238" y="42"/>
                </a:cxn>
                <a:cxn ang="0">
                  <a:pos x="247" y="38"/>
                </a:cxn>
                <a:cxn ang="0">
                  <a:pos x="251" y="37"/>
                </a:cxn>
                <a:cxn ang="0">
                  <a:pos x="269" y="43"/>
                </a:cxn>
                <a:cxn ang="0">
                  <a:pos x="281" y="54"/>
                </a:cxn>
                <a:cxn ang="0">
                  <a:pos x="284" y="75"/>
                </a:cxn>
                <a:cxn ang="0">
                  <a:pos x="285" y="88"/>
                </a:cxn>
                <a:cxn ang="0">
                  <a:pos x="290" y="95"/>
                </a:cxn>
                <a:cxn ang="0">
                  <a:pos x="291" y="105"/>
                </a:cxn>
                <a:cxn ang="0">
                  <a:pos x="300" y="118"/>
                </a:cxn>
                <a:cxn ang="0">
                  <a:pos x="303" y="128"/>
                </a:cxn>
                <a:cxn ang="0">
                  <a:pos x="305" y="142"/>
                </a:cxn>
                <a:cxn ang="0">
                  <a:pos x="297" y="152"/>
                </a:cxn>
                <a:cxn ang="0">
                  <a:pos x="287" y="160"/>
                </a:cxn>
                <a:cxn ang="0">
                  <a:pos x="279" y="177"/>
                </a:cxn>
                <a:cxn ang="0">
                  <a:pos x="265" y="177"/>
                </a:cxn>
                <a:cxn ang="0">
                  <a:pos x="248" y="181"/>
                </a:cxn>
                <a:cxn ang="0">
                  <a:pos x="237" y="186"/>
                </a:cxn>
                <a:cxn ang="0">
                  <a:pos x="219" y="172"/>
                </a:cxn>
                <a:cxn ang="0">
                  <a:pos x="203" y="156"/>
                </a:cxn>
                <a:cxn ang="0">
                  <a:pos x="185" y="149"/>
                </a:cxn>
                <a:cxn ang="0">
                  <a:pos x="167" y="132"/>
                </a:cxn>
                <a:cxn ang="0">
                  <a:pos x="157" y="131"/>
                </a:cxn>
                <a:cxn ang="0">
                  <a:pos x="142" y="138"/>
                </a:cxn>
                <a:cxn ang="0">
                  <a:pos x="116" y="136"/>
                </a:cxn>
                <a:cxn ang="0">
                  <a:pos x="99" y="132"/>
                </a:cxn>
                <a:cxn ang="0">
                  <a:pos x="88" y="137"/>
                </a:cxn>
                <a:cxn ang="0">
                  <a:pos x="77" y="131"/>
                </a:cxn>
                <a:cxn ang="0">
                  <a:pos x="43" y="131"/>
                </a:cxn>
                <a:cxn ang="0">
                  <a:pos x="17" y="143"/>
                </a:cxn>
                <a:cxn ang="0">
                  <a:pos x="4" y="155"/>
                </a:cxn>
                <a:cxn ang="0">
                  <a:pos x="1" y="122"/>
                </a:cxn>
                <a:cxn ang="0">
                  <a:pos x="4" y="129"/>
                </a:cxn>
                <a:cxn ang="0">
                  <a:pos x="4" y="109"/>
                </a:cxn>
                <a:cxn ang="0">
                  <a:pos x="13" y="88"/>
                </a:cxn>
                <a:cxn ang="0">
                  <a:pos x="18" y="79"/>
                </a:cxn>
                <a:cxn ang="0">
                  <a:pos x="19" y="63"/>
                </a:cxn>
                <a:cxn ang="0">
                  <a:pos x="33" y="38"/>
                </a:cxn>
                <a:cxn ang="0">
                  <a:pos x="67" y="25"/>
                </a:cxn>
                <a:cxn ang="0">
                  <a:pos x="70" y="38"/>
                </a:cxn>
                <a:cxn ang="0">
                  <a:pos x="91" y="57"/>
                </a:cxn>
                <a:cxn ang="0">
                  <a:pos x="94" y="68"/>
                </a:cxn>
                <a:cxn ang="0">
                  <a:pos x="107" y="82"/>
                </a:cxn>
                <a:cxn ang="0">
                  <a:pos x="125" y="83"/>
                </a:cxn>
                <a:cxn ang="0">
                  <a:pos x="132" y="77"/>
                </a:cxn>
                <a:cxn ang="0">
                  <a:pos x="141" y="70"/>
                </a:cxn>
                <a:cxn ang="0">
                  <a:pos x="143" y="45"/>
                </a:cxn>
                <a:cxn ang="0">
                  <a:pos x="141" y="17"/>
                </a:cxn>
                <a:cxn ang="0">
                  <a:pos x="151" y="9"/>
                </a:cxn>
                <a:cxn ang="0">
                  <a:pos x="162" y="8"/>
                </a:cxn>
                <a:cxn ang="0">
                  <a:pos x="172" y="1"/>
                </a:cxn>
              </a:cxnLst>
              <a:rect l="0" t="0" r="r" b="b"/>
              <a:pathLst>
                <a:path w="305" h="186">
                  <a:moveTo>
                    <a:pt x="175" y="0"/>
                  </a:moveTo>
                  <a:lnTo>
                    <a:pt x="178" y="2"/>
                  </a:lnTo>
                  <a:lnTo>
                    <a:pt x="178" y="5"/>
                  </a:lnTo>
                  <a:lnTo>
                    <a:pt x="179" y="7"/>
                  </a:lnTo>
                  <a:lnTo>
                    <a:pt x="180" y="7"/>
                  </a:lnTo>
                  <a:lnTo>
                    <a:pt x="182" y="5"/>
                  </a:lnTo>
                  <a:lnTo>
                    <a:pt x="180" y="2"/>
                  </a:lnTo>
                  <a:lnTo>
                    <a:pt x="180" y="0"/>
                  </a:lnTo>
                  <a:lnTo>
                    <a:pt x="181" y="0"/>
                  </a:lnTo>
                  <a:lnTo>
                    <a:pt x="183" y="2"/>
                  </a:lnTo>
                  <a:lnTo>
                    <a:pt x="183" y="3"/>
                  </a:lnTo>
                  <a:lnTo>
                    <a:pt x="186" y="3"/>
                  </a:lnTo>
                  <a:lnTo>
                    <a:pt x="191" y="8"/>
                  </a:lnTo>
                  <a:lnTo>
                    <a:pt x="193" y="8"/>
                  </a:lnTo>
                  <a:lnTo>
                    <a:pt x="193" y="11"/>
                  </a:lnTo>
                  <a:lnTo>
                    <a:pt x="195" y="13"/>
                  </a:lnTo>
                  <a:lnTo>
                    <a:pt x="197" y="13"/>
                  </a:lnTo>
                  <a:lnTo>
                    <a:pt x="199" y="12"/>
                  </a:lnTo>
                  <a:lnTo>
                    <a:pt x="200" y="12"/>
                  </a:lnTo>
                  <a:lnTo>
                    <a:pt x="201" y="13"/>
                  </a:lnTo>
                  <a:lnTo>
                    <a:pt x="201" y="14"/>
                  </a:lnTo>
                  <a:lnTo>
                    <a:pt x="203" y="17"/>
                  </a:lnTo>
                  <a:lnTo>
                    <a:pt x="203" y="18"/>
                  </a:lnTo>
                  <a:lnTo>
                    <a:pt x="212" y="18"/>
                  </a:lnTo>
                  <a:lnTo>
                    <a:pt x="213" y="19"/>
                  </a:lnTo>
                  <a:lnTo>
                    <a:pt x="213" y="20"/>
                  </a:lnTo>
                  <a:lnTo>
                    <a:pt x="212" y="20"/>
                  </a:lnTo>
                  <a:lnTo>
                    <a:pt x="212" y="23"/>
                  </a:lnTo>
                  <a:lnTo>
                    <a:pt x="213" y="24"/>
                  </a:lnTo>
                  <a:lnTo>
                    <a:pt x="218" y="27"/>
                  </a:lnTo>
                  <a:lnTo>
                    <a:pt x="219" y="30"/>
                  </a:lnTo>
                  <a:lnTo>
                    <a:pt x="223" y="36"/>
                  </a:lnTo>
                  <a:lnTo>
                    <a:pt x="224" y="38"/>
                  </a:lnTo>
                  <a:lnTo>
                    <a:pt x="226" y="39"/>
                  </a:lnTo>
                  <a:lnTo>
                    <a:pt x="230" y="40"/>
                  </a:lnTo>
                  <a:lnTo>
                    <a:pt x="234" y="44"/>
                  </a:lnTo>
                  <a:lnTo>
                    <a:pt x="235" y="44"/>
                  </a:lnTo>
                  <a:lnTo>
                    <a:pt x="235" y="43"/>
                  </a:lnTo>
                  <a:lnTo>
                    <a:pt x="236" y="44"/>
                  </a:lnTo>
                  <a:lnTo>
                    <a:pt x="237" y="44"/>
                  </a:lnTo>
                  <a:lnTo>
                    <a:pt x="237" y="42"/>
                  </a:lnTo>
                  <a:lnTo>
                    <a:pt x="238" y="42"/>
                  </a:lnTo>
                  <a:lnTo>
                    <a:pt x="239" y="40"/>
                  </a:lnTo>
                  <a:lnTo>
                    <a:pt x="242" y="39"/>
                  </a:lnTo>
                  <a:lnTo>
                    <a:pt x="244" y="40"/>
                  </a:lnTo>
                  <a:lnTo>
                    <a:pt x="245" y="39"/>
                  </a:lnTo>
                  <a:lnTo>
                    <a:pt x="247" y="39"/>
                  </a:lnTo>
                  <a:lnTo>
                    <a:pt x="247" y="38"/>
                  </a:lnTo>
                  <a:lnTo>
                    <a:pt x="248" y="37"/>
                  </a:lnTo>
                  <a:lnTo>
                    <a:pt x="248" y="36"/>
                  </a:lnTo>
                  <a:lnTo>
                    <a:pt x="249" y="36"/>
                  </a:lnTo>
                  <a:lnTo>
                    <a:pt x="250" y="37"/>
                  </a:lnTo>
                  <a:lnTo>
                    <a:pt x="251" y="36"/>
                  </a:lnTo>
                  <a:lnTo>
                    <a:pt x="251" y="37"/>
                  </a:lnTo>
                  <a:lnTo>
                    <a:pt x="254" y="37"/>
                  </a:lnTo>
                  <a:lnTo>
                    <a:pt x="254" y="38"/>
                  </a:lnTo>
                  <a:lnTo>
                    <a:pt x="257" y="42"/>
                  </a:lnTo>
                  <a:lnTo>
                    <a:pt x="261" y="42"/>
                  </a:lnTo>
                  <a:lnTo>
                    <a:pt x="268" y="44"/>
                  </a:lnTo>
                  <a:lnTo>
                    <a:pt x="269" y="43"/>
                  </a:lnTo>
                  <a:lnTo>
                    <a:pt x="276" y="43"/>
                  </a:lnTo>
                  <a:lnTo>
                    <a:pt x="276" y="48"/>
                  </a:lnTo>
                  <a:lnTo>
                    <a:pt x="275" y="50"/>
                  </a:lnTo>
                  <a:lnTo>
                    <a:pt x="275" y="51"/>
                  </a:lnTo>
                  <a:lnTo>
                    <a:pt x="276" y="52"/>
                  </a:lnTo>
                  <a:lnTo>
                    <a:pt x="281" y="54"/>
                  </a:lnTo>
                  <a:lnTo>
                    <a:pt x="284" y="57"/>
                  </a:lnTo>
                  <a:lnTo>
                    <a:pt x="288" y="60"/>
                  </a:lnTo>
                  <a:lnTo>
                    <a:pt x="290" y="61"/>
                  </a:lnTo>
                  <a:lnTo>
                    <a:pt x="290" y="70"/>
                  </a:lnTo>
                  <a:lnTo>
                    <a:pt x="287" y="73"/>
                  </a:lnTo>
                  <a:lnTo>
                    <a:pt x="284" y="75"/>
                  </a:lnTo>
                  <a:lnTo>
                    <a:pt x="282" y="76"/>
                  </a:lnTo>
                  <a:lnTo>
                    <a:pt x="285" y="79"/>
                  </a:lnTo>
                  <a:lnTo>
                    <a:pt x="286" y="79"/>
                  </a:lnTo>
                  <a:lnTo>
                    <a:pt x="286" y="82"/>
                  </a:lnTo>
                  <a:lnTo>
                    <a:pt x="285" y="83"/>
                  </a:lnTo>
                  <a:lnTo>
                    <a:pt x="285" y="88"/>
                  </a:lnTo>
                  <a:lnTo>
                    <a:pt x="281" y="94"/>
                  </a:lnTo>
                  <a:lnTo>
                    <a:pt x="280" y="97"/>
                  </a:lnTo>
                  <a:lnTo>
                    <a:pt x="282" y="97"/>
                  </a:lnTo>
                  <a:lnTo>
                    <a:pt x="286" y="95"/>
                  </a:lnTo>
                  <a:lnTo>
                    <a:pt x="287" y="94"/>
                  </a:lnTo>
                  <a:lnTo>
                    <a:pt x="290" y="95"/>
                  </a:lnTo>
                  <a:lnTo>
                    <a:pt x="292" y="98"/>
                  </a:lnTo>
                  <a:lnTo>
                    <a:pt x="293" y="98"/>
                  </a:lnTo>
                  <a:lnTo>
                    <a:pt x="293" y="99"/>
                  </a:lnTo>
                  <a:lnTo>
                    <a:pt x="292" y="101"/>
                  </a:lnTo>
                  <a:lnTo>
                    <a:pt x="291" y="103"/>
                  </a:lnTo>
                  <a:lnTo>
                    <a:pt x="291" y="105"/>
                  </a:lnTo>
                  <a:lnTo>
                    <a:pt x="296" y="109"/>
                  </a:lnTo>
                  <a:lnTo>
                    <a:pt x="296" y="113"/>
                  </a:lnTo>
                  <a:lnTo>
                    <a:pt x="297" y="114"/>
                  </a:lnTo>
                  <a:lnTo>
                    <a:pt x="297" y="116"/>
                  </a:lnTo>
                  <a:lnTo>
                    <a:pt x="298" y="117"/>
                  </a:lnTo>
                  <a:lnTo>
                    <a:pt x="300" y="118"/>
                  </a:lnTo>
                  <a:lnTo>
                    <a:pt x="301" y="119"/>
                  </a:lnTo>
                  <a:lnTo>
                    <a:pt x="301" y="120"/>
                  </a:lnTo>
                  <a:lnTo>
                    <a:pt x="300" y="122"/>
                  </a:lnTo>
                  <a:lnTo>
                    <a:pt x="300" y="124"/>
                  </a:lnTo>
                  <a:lnTo>
                    <a:pt x="303" y="126"/>
                  </a:lnTo>
                  <a:lnTo>
                    <a:pt x="303" y="128"/>
                  </a:lnTo>
                  <a:lnTo>
                    <a:pt x="304" y="129"/>
                  </a:lnTo>
                  <a:lnTo>
                    <a:pt x="303" y="131"/>
                  </a:lnTo>
                  <a:lnTo>
                    <a:pt x="304" y="132"/>
                  </a:lnTo>
                  <a:lnTo>
                    <a:pt x="304" y="135"/>
                  </a:lnTo>
                  <a:lnTo>
                    <a:pt x="305" y="140"/>
                  </a:lnTo>
                  <a:lnTo>
                    <a:pt x="305" y="142"/>
                  </a:lnTo>
                  <a:lnTo>
                    <a:pt x="304" y="143"/>
                  </a:lnTo>
                  <a:lnTo>
                    <a:pt x="304" y="149"/>
                  </a:lnTo>
                  <a:lnTo>
                    <a:pt x="303" y="150"/>
                  </a:lnTo>
                  <a:lnTo>
                    <a:pt x="301" y="149"/>
                  </a:lnTo>
                  <a:lnTo>
                    <a:pt x="299" y="149"/>
                  </a:lnTo>
                  <a:lnTo>
                    <a:pt x="297" y="152"/>
                  </a:lnTo>
                  <a:lnTo>
                    <a:pt x="296" y="152"/>
                  </a:lnTo>
                  <a:lnTo>
                    <a:pt x="294" y="153"/>
                  </a:lnTo>
                  <a:lnTo>
                    <a:pt x="293" y="153"/>
                  </a:lnTo>
                  <a:lnTo>
                    <a:pt x="292" y="154"/>
                  </a:lnTo>
                  <a:lnTo>
                    <a:pt x="292" y="155"/>
                  </a:lnTo>
                  <a:lnTo>
                    <a:pt x="287" y="160"/>
                  </a:lnTo>
                  <a:lnTo>
                    <a:pt x="287" y="161"/>
                  </a:lnTo>
                  <a:lnTo>
                    <a:pt x="286" y="163"/>
                  </a:lnTo>
                  <a:lnTo>
                    <a:pt x="281" y="167"/>
                  </a:lnTo>
                  <a:lnTo>
                    <a:pt x="280" y="169"/>
                  </a:lnTo>
                  <a:lnTo>
                    <a:pt x="280" y="175"/>
                  </a:lnTo>
                  <a:lnTo>
                    <a:pt x="279" y="177"/>
                  </a:lnTo>
                  <a:lnTo>
                    <a:pt x="278" y="177"/>
                  </a:lnTo>
                  <a:lnTo>
                    <a:pt x="273" y="175"/>
                  </a:lnTo>
                  <a:lnTo>
                    <a:pt x="272" y="175"/>
                  </a:lnTo>
                  <a:lnTo>
                    <a:pt x="269" y="173"/>
                  </a:lnTo>
                  <a:lnTo>
                    <a:pt x="266" y="177"/>
                  </a:lnTo>
                  <a:lnTo>
                    <a:pt x="265" y="177"/>
                  </a:lnTo>
                  <a:lnTo>
                    <a:pt x="261" y="174"/>
                  </a:lnTo>
                  <a:lnTo>
                    <a:pt x="261" y="173"/>
                  </a:lnTo>
                  <a:lnTo>
                    <a:pt x="259" y="173"/>
                  </a:lnTo>
                  <a:lnTo>
                    <a:pt x="254" y="174"/>
                  </a:lnTo>
                  <a:lnTo>
                    <a:pt x="253" y="174"/>
                  </a:lnTo>
                  <a:lnTo>
                    <a:pt x="248" y="181"/>
                  </a:lnTo>
                  <a:lnTo>
                    <a:pt x="247" y="183"/>
                  </a:lnTo>
                  <a:lnTo>
                    <a:pt x="243" y="185"/>
                  </a:lnTo>
                  <a:lnTo>
                    <a:pt x="242" y="185"/>
                  </a:lnTo>
                  <a:lnTo>
                    <a:pt x="239" y="184"/>
                  </a:lnTo>
                  <a:lnTo>
                    <a:pt x="238" y="184"/>
                  </a:lnTo>
                  <a:lnTo>
                    <a:pt x="237" y="186"/>
                  </a:lnTo>
                  <a:lnTo>
                    <a:pt x="235" y="186"/>
                  </a:lnTo>
                  <a:lnTo>
                    <a:pt x="232" y="185"/>
                  </a:lnTo>
                  <a:lnTo>
                    <a:pt x="226" y="183"/>
                  </a:lnTo>
                  <a:lnTo>
                    <a:pt x="224" y="180"/>
                  </a:lnTo>
                  <a:lnTo>
                    <a:pt x="222" y="177"/>
                  </a:lnTo>
                  <a:lnTo>
                    <a:pt x="219" y="172"/>
                  </a:lnTo>
                  <a:lnTo>
                    <a:pt x="216" y="168"/>
                  </a:lnTo>
                  <a:lnTo>
                    <a:pt x="212" y="166"/>
                  </a:lnTo>
                  <a:lnTo>
                    <a:pt x="210" y="163"/>
                  </a:lnTo>
                  <a:lnTo>
                    <a:pt x="206" y="161"/>
                  </a:lnTo>
                  <a:lnTo>
                    <a:pt x="204" y="157"/>
                  </a:lnTo>
                  <a:lnTo>
                    <a:pt x="203" y="156"/>
                  </a:lnTo>
                  <a:lnTo>
                    <a:pt x="200" y="155"/>
                  </a:lnTo>
                  <a:lnTo>
                    <a:pt x="199" y="154"/>
                  </a:lnTo>
                  <a:lnTo>
                    <a:pt x="198" y="150"/>
                  </a:lnTo>
                  <a:lnTo>
                    <a:pt x="194" y="150"/>
                  </a:lnTo>
                  <a:lnTo>
                    <a:pt x="192" y="149"/>
                  </a:lnTo>
                  <a:lnTo>
                    <a:pt x="185" y="149"/>
                  </a:lnTo>
                  <a:lnTo>
                    <a:pt x="174" y="147"/>
                  </a:lnTo>
                  <a:lnTo>
                    <a:pt x="173" y="146"/>
                  </a:lnTo>
                  <a:lnTo>
                    <a:pt x="169" y="138"/>
                  </a:lnTo>
                  <a:lnTo>
                    <a:pt x="168" y="138"/>
                  </a:lnTo>
                  <a:lnTo>
                    <a:pt x="168" y="137"/>
                  </a:lnTo>
                  <a:lnTo>
                    <a:pt x="167" y="132"/>
                  </a:lnTo>
                  <a:lnTo>
                    <a:pt x="166" y="129"/>
                  </a:lnTo>
                  <a:lnTo>
                    <a:pt x="166" y="128"/>
                  </a:lnTo>
                  <a:lnTo>
                    <a:pt x="163" y="128"/>
                  </a:lnTo>
                  <a:lnTo>
                    <a:pt x="163" y="130"/>
                  </a:lnTo>
                  <a:lnTo>
                    <a:pt x="162" y="130"/>
                  </a:lnTo>
                  <a:lnTo>
                    <a:pt x="157" y="131"/>
                  </a:lnTo>
                  <a:lnTo>
                    <a:pt x="155" y="134"/>
                  </a:lnTo>
                  <a:lnTo>
                    <a:pt x="151" y="138"/>
                  </a:lnTo>
                  <a:lnTo>
                    <a:pt x="150" y="140"/>
                  </a:lnTo>
                  <a:lnTo>
                    <a:pt x="148" y="141"/>
                  </a:lnTo>
                  <a:lnTo>
                    <a:pt x="145" y="141"/>
                  </a:lnTo>
                  <a:lnTo>
                    <a:pt x="142" y="138"/>
                  </a:lnTo>
                  <a:lnTo>
                    <a:pt x="139" y="138"/>
                  </a:lnTo>
                  <a:lnTo>
                    <a:pt x="135" y="141"/>
                  </a:lnTo>
                  <a:lnTo>
                    <a:pt x="131" y="141"/>
                  </a:lnTo>
                  <a:lnTo>
                    <a:pt x="126" y="137"/>
                  </a:lnTo>
                  <a:lnTo>
                    <a:pt x="122" y="136"/>
                  </a:lnTo>
                  <a:lnTo>
                    <a:pt x="116" y="136"/>
                  </a:lnTo>
                  <a:lnTo>
                    <a:pt x="116" y="134"/>
                  </a:lnTo>
                  <a:lnTo>
                    <a:pt x="111" y="134"/>
                  </a:lnTo>
                  <a:lnTo>
                    <a:pt x="110" y="135"/>
                  </a:lnTo>
                  <a:lnTo>
                    <a:pt x="107" y="136"/>
                  </a:lnTo>
                  <a:lnTo>
                    <a:pt x="106" y="136"/>
                  </a:lnTo>
                  <a:lnTo>
                    <a:pt x="99" y="132"/>
                  </a:lnTo>
                  <a:lnTo>
                    <a:pt x="98" y="132"/>
                  </a:lnTo>
                  <a:lnTo>
                    <a:pt x="93" y="134"/>
                  </a:lnTo>
                  <a:lnTo>
                    <a:pt x="92" y="134"/>
                  </a:lnTo>
                  <a:lnTo>
                    <a:pt x="92" y="135"/>
                  </a:lnTo>
                  <a:lnTo>
                    <a:pt x="91" y="137"/>
                  </a:lnTo>
                  <a:lnTo>
                    <a:pt x="88" y="137"/>
                  </a:lnTo>
                  <a:lnTo>
                    <a:pt x="86" y="136"/>
                  </a:lnTo>
                  <a:lnTo>
                    <a:pt x="85" y="132"/>
                  </a:lnTo>
                  <a:lnTo>
                    <a:pt x="83" y="130"/>
                  </a:lnTo>
                  <a:lnTo>
                    <a:pt x="81" y="130"/>
                  </a:lnTo>
                  <a:lnTo>
                    <a:pt x="80" y="131"/>
                  </a:lnTo>
                  <a:lnTo>
                    <a:pt x="77" y="131"/>
                  </a:lnTo>
                  <a:lnTo>
                    <a:pt x="71" y="135"/>
                  </a:lnTo>
                  <a:lnTo>
                    <a:pt x="68" y="131"/>
                  </a:lnTo>
                  <a:lnTo>
                    <a:pt x="51" y="131"/>
                  </a:lnTo>
                  <a:lnTo>
                    <a:pt x="49" y="129"/>
                  </a:lnTo>
                  <a:lnTo>
                    <a:pt x="48" y="129"/>
                  </a:lnTo>
                  <a:lnTo>
                    <a:pt x="43" y="131"/>
                  </a:lnTo>
                  <a:lnTo>
                    <a:pt x="42" y="131"/>
                  </a:lnTo>
                  <a:lnTo>
                    <a:pt x="30" y="137"/>
                  </a:lnTo>
                  <a:lnTo>
                    <a:pt x="26" y="137"/>
                  </a:lnTo>
                  <a:lnTo>
                    <a:pt x="25" y="138"/>
                  </a:lnTo>
                  <a:lnTo>
                    <a:pt x="19" y="143"/>
                  </a:lnTo>
                  <a:lnTo>
                    <a:pt x="17" y="143"/>
                  </a:lnTo>
                  <a:lnTo>
                    <a:pt x="14" y="144"/>
                  </a:lnTo>
                  <a:lnTo>
                    <a:pt x="11" y="148"/>
                  </a:lnTo>
                  <a:lnTo>
                    <a:pt x="9" y="150"/>
                  </a:lnTo>
                  <a:lnTo>
                    <a:pt x="9" y="154"/>
                  </a:lnTo>
                  <a:lnTo>
                    <a:pt x="7" y="155"/>
                  </a:lnTo>
                  <a:lnTo>
                    <a:pt x="4" y="155"/>
                  </a:lnTo>
                  <a:lnTo>
                    <a:pt x="2" y="153"/>
                  </a:lnTo>
                  <a:lnTo>
                    <a:pt x="2" y="149"/>
                  </a:lnTo>
                  <a:lnTo>
                    <a:pt x="0" y="144"/>
                  </a:lnTo>
                  <a:lnTo>
                    <a:pt x="0" y="130"/>
                  </a:lnTo>
                  <a:lnTo>
                    <a:pt x="1" y="129"/>
                  </a:lnTo>
                  <a:lnTo>
                    <a:pt x="1" y="122"/>
                  </a:lnTo>
                  <a:lnTo>
                    <a:pt x="2" y="122"/>
                  </a:lnTo>
                  <a:lnTo>
                    <a:pt x="2" y="130"/>
                  </a:lnTo>
                  <a:lnTo>
                    <a:pt x="4" y="131"/>
                  </a:lnTo>
                  <a:lnTo>
                    <a:pt x="5" y="131"/>
                  </a:lnTo>
                  <a:lnTo>
                    <a:pt x="5" y="130"/>
                  </a:lnTo>
                  <a:lnTo>
                    <a:pt x="4" y="129"/>
                  </a:lnTo>
                  <a:lnTo>
                    <a:pt x="4" y="122"/>
                  </a:lnTo>
                  <a:lnTo>
                    <a:pt x="2" y="120"/>
                  </a:lnTo>
                  <a:lnTo>
                    <a:pt x="1" y="120"/>
                  </a:lnTo>
                  <a:lnTo>
                    <a:pt x="1" y="116"/>
                  </a:lnTo>
                  <a:lnTo>
                    <a:pt x="2" y="111"/>
                  </a:lnTo>
                  <a:lnTo>
                    <a:pt x="4" y="109"/>
                  </a:lnTo>
                  <a:lnTo>
                    <a:pt x="4" y="97"/>
                  </a:lnTo>
                  <a:lnTo>
                    <a:pt x="7" y="94"/>
                  </a:lnTo>
                  <a:lnTo>
                    <a:pt x="7" y="93"/>
                  </a:lnTo>
                  <a:lnTo>
                    <a:pt x="11" y="92"/>
                  </a:lnTo>
                  <a:lnTo>
                    <a:pt x="11" y="91"/>
                  </a:lnTo>
                  <a:lnTo>
                    <a:pt x="13" y="88"/>
                  </a:lnTo>
                  <a:lnTo>
                    <a:pt x="13" y="87"/>
                  </a:lnTo>
                  <a:lnTo>
                    <a:pt x="14" y="86"/>
                  </a:lnTo>
                  <a:lnTo>
                    <a:pt x="17" y="85"/>
                  </a:lnTo>
                  <a:lnTo>
                    <a:pt x="17" y="83"/>
                  </a:lnTo>
                  <a:lnTo>
                    <a:pt x="18" y="81"/>
                  </a:lnTo>
                  <a:lnTo>
                    <a:pt x="18" y="79"/>
                  </a:lnTo>
                  <a:lnTo>
                    <a:pt x="19" y="75"/>
                  </a:lnTo>
                  <a:lnTo>
                    <a:pt x="18" y="75"/>
                  </a:lnTo>
                  <a:lnTo>
                    <a:pt x="18" y="70"/>
                  </a:lnTo>
                  <a:lnTo>
                    <a:pt x="19" y="70"/>
                  </a:lnTo>
                  <a:lnTo>
                    <a:pt x="18" y="64"/>
                  </a:lnTo>
                  <a:lnTo>
                    <a:pt x="19" y="63"/>
                  </a:lnTo>
                  <a:lnTo>
                    <a:pt x="19" y="61"/>
                  </a:lnTo>
                  <a:lnTo>
                    <a:pt x="21" y="58"/>
                  </a:lnTo>
                  <a:lnTo>
                    <a:pt x="23" y="54"/>
                  </a:lnTo>
                  <a:lnTo>
                    <a:pt x="26" y="50"/>
                  </a:lnTo>
                  <a:lnTo>
                    <a:pt x="31" y="40"/>
                  </a:lnTo>
                  <a:lnTo>
                    <a:pt x="33" y="38"/>
                  </a:lnTo>
                  <a:lnTo>
                    <a:pt x="42" y="38"/>
                  </a:lnTo>
                  <a:lnTo>
                    <a:pt x="43" y="37"/>
                  </a:lnTo>
                  <a:lnTo>
                    <a:pt x="51" y="33"/>
                  </a:lnTo>
                  <a:lnTo>
                    <a:pt x="63" y="26"/>
                  </a:lnTo>
                  <a:lnTo>
                    <a:pt x="67" y="26"/>
                  </a:lnTo>
                  <a:lnTo>
                    <a:pt x="67" y="25"/>
                  </a:lnTo>
                  <a:lnTo>
                    <a:pt x="69" y="25"/>
                  </a:lnTo>
                  <a:lnTo>
                    <a:pt x="69" y="26"/>
                  </a:lnTo>
                  <a:lnTo>
                    <a:pt x="68" y="26"/>
                  </a:lnTo>
                  <a:lnTo>
                    <a:pt x="68" y="34"/>
                  </a:lnTo>
                  <a:lnTo>
                    <a:pt x="69" y="36"/>
                  </a:lnTo>
                  <a:lnTo>
                    <a:pt x="70" y="38"/>
                  </a:lnTo>
                  <a:lnTo>
                    <a:pt x="80" y="46"/>
                  </a:lnTo>
                  <a:lnTo>
                    <a:pt x="83" y="51"/>
                  </a:lnTo>
                  <a:lnTo>
                    <a:pt x="87" y="54"/>
                  </a:lnTo>
                  <a:lnTo>
                    <a:pt x="89" y="55"/>
                  </a:lnTo>
                  <a:lnTo>
                    <a:pt x="91" y="55"/>
                  </a:lnTo>
                  <a:lnTo>
                    <a:pt x="91" y="57"/>
                  </a:lnTo>
                  <a:lnTo>
                    <a:pt x="92" y="57"/>
                  </a:lnTo>
                  <a:lnTo>
                    <a:pt x="92" y="60"/>
                  </a:lnTo>
                  <a:lnTo>
                    <a:pt x="93" y="61"/>
                  </a:lnTo>
                  <a:lnTo>
                    <a:pt x="93" y="66"/>
                  </a:lnTo>
                  <a:lnTo>
                    <a:pt x="94" y="67"/>
                  </a:lnTo>
                  <a:lnTo>
                    <a:pt x="94" y="68"/>
                  </a:lnTo>
                  <a:lnTo>
                    <a:pt x="95" y="68"/>
                  </a:lnTo>
                  <a:lnTo>
                    <a:pt x="96" y="75"/>
                  </a:lnTo>
                  <a:lnTo>
                    <a:pt x="96" y="77"/>
                  </a:lnTo>
                  <a:lnTo>
                    <a:pt x="98" y="77"/>
                  </a:lnTo>
                  <a:lnTo>
                    <a:pt x="100" y="80"/>
                  </a:lnTo>
                  <a:lnTo>
                    <a:pt x="107" y="82"/>
                  </a:lnTo>
                  <a:lnTo>
                    <a:pt x="110" y="86"/>
                  </a:lnTo>
                  <a:lnTo>
                    <a:pt x="112" y="87"/>
                  </a:lnTo>
                  <a:lnTo>
                    <a:pt x="114" y="87"/>
                  </a:lnTo>
                  <a:lnTo>
                    <a:pt x="122" y="85"/>
                  </a:lnTo>
                  <a:lnTo>
                    <a:pt x="124" y="83"/>
                  </a:lnTo>
                  <a:lnTo>
                    <a:pt x="125" y="83"/>
                  </a:lnTo>
                  <a:lnTo>
                    <a:pt x="127" y="82"/>
                  </a:lnTo>
                  <a:lnTo>
                    <a:pt x="127" y="81"/>
                  </a:lnTo>
                  <a:lnTo>
                    <a:pt x="129" y="80"/>
                  </a:lnTo>
                  <a:lnTo>
                    <a:pt x="129" y="79"/>
                  </a:lnTo>
                  <a:lnTo>
                    <a:pt x="131" y="79"/>
                  </a:lnTo>
                  <a:lnTo>
                    <a:pt x="132" y="77"/>
                  </a:lnTo>
                  <a:lnTo>
                    <a:pt x="137" y="75"/>
                  </a:lnTo>
                  <a:lnTo>
                    <a:pt x="137" y="73"/>
                  </a:lnTo>
                  <a:lnTo>
                    <a:pt x="138" y="73"/>
                  </a:lnTo>
                  <a:lnTo>
                    <a:pt x="139" y="71"/>
                  </a:lnTo>
                  <a:lnTo>
                    <a:pt x="139" y="70"/>
                  </a:lnTo>
                  <a:lnTo>
                    <a:pt x="141" y="70"/>
                  </a:lnTo>
                  <a:lnTo>
                    <a:pt x="143" y="67"/>
                  </a:lnTo>
                  <a:lnTo>
                    <a:pt x="144" y="64"/>
                  </a:lnTo>
                  <a:lnTo>
                    <a:pt x="145" y="61"/>
                  </a:lnTo>
                  <a:lnTo>
                    <a:pt x="144" y="57"/>
                  </a:lnTo>
                  <a:lnTo>
                    <a:pt x="144" y="48"/>
                  </a:lnTo>
                  <a:lnTo>
                    <a:pt x="143" y="45"/>
                  </a:lnTo>
                  <a:lnTo>
                    <a:pt x="143" y="31"/>
                  </a:lnTo>
                  <a:lnTo>
                    <a:pt x="141" y="27"/>
                  </a:lnTo>
                  <a:lnTo>
                    <a:pt x="141" y="25"/>
                  </a:lnTo>
                  <a:lnTo>
                    <a:pt x="139" y="21"/>
                  </a:lnTo>
                  <a:lnTo>
                    <a:pt x="139" y="18"/>
                  </a:lnTo>
                  <a:lnTo>
                    <a:pt x="141" y="17"/>
                  </a:lnTo>
                  <a:lnTo>
                    <a:pt x="144" y="17"/>
                  </a:lnTo>
                  <a:lnTo>
                    <a:pt x="145" y="15"/>
                  </a:lnTo>
                  <a:lnTo>
                    <a:pt x="145" y="14"/>
                  </a:lnTo>
                  <a:lnTo>
                    <a:pt x="148" y="12"/>
                  </a:lnTo>
                  <a:lnTo>
                    <a:pt x="150" y="11"/>
                  </a:lnTo>
                  <a:lnTo>
                    <a:pt x="151" y="9"/>
                  </a:lnTo>
                  <a:lnTo>
                    <a:pt x="154" y="11"/>
                  </a:lnTo>
                  <a:lnTo>
                    <a:pt x="156" y="9"/>
                  </a:lnTo>
                  <a:lnTo>
                    <a:pt x="157" y="9"/>
                  </a:lnTo>
                  <a:lnTo>
                    <a:pt x="157" y="7"/>
                  </a:lnTo>
                  <a:lnTo>
                    <a:pt x="161" y="7"/>
                  </a:lnTo>
                  <a:lnTo>
                    <a:pt x="162" y="8"/>
                  </a:lnTo>
                  <a:lnTo>
                    <a:pt x="162" y="7"/>
                  </a:lnTo>
                  <a:lnTo>
                    <a:pt x="163" y="7"/>
                  </a:lnTo>
                  <a:lnTo>
                    <a:pt x="164" y="6"/>
                  </a:lnTo>
                  <a:lnTo>
                    <a:pt x="168" y="6"/>
                  </a:lnTo>
                  <a:lnTo>
                    <a:pt x="172" y="2"/>
                  </a:lnTo>
                  <a:lnTo>
                    <a:pt x="172" y="1"/>
                  </a:lnTo>
                  <a:lnTo>
                    <a:pt x="174" y="1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33">
              <a:extLst>
                <a:ext uri="{FF2B5EF4-FFF2-40B4-BE49-F238E27FC236}">
                  <a16:creationId xmlns:a16="http://schemas.microsoft.com/office/drawing/2014/main" id="{89DE98E7-0ACD-4552-A328-72EEC514EE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6450" y="5111750"/>
              <a:ext cx="117475" cy="128588"/>
            </a:xfrm>
            <a:custGeom>
              <a:avLst/>
              <a:gdLst/>
              <a:ahLst/>
              <a:cxnLst>
                <a:cxn ang="0">
                  <a:pos x="35" y="1"/>
                </a:cxn>
                <a:cxn ang="0">
                  <a:pos x="35" y="4"/>
                </a:cxn>
                <a:cxn ang="0">
                  <a:pos x="42" y="9"/>
                </a:cxn>
                <a:cxn ang="0">
                  <a:pos x="47" y="12"/>
                </a:cxn>
                <a:cxn ang="0">
                  <a:pos x="50" y="15"/>
                </a:cxn>
                <a:cxn ang="0">
                  <a:pos x="53" y="23"/>
                </a:cxn>
                <a:cxn ang="0">
                  <a:pos x="59" y="24"/>
                </a:cxn>
                <a:cxn ang="0">
                  <a:pos x="59" y="31"/>
                </a:cxn>
                <a:cxn ang="0">
                  <a:pos x="68" y="33"/>
                </a:cxn>
                <a:cxn ang="0">
                  <a:pos x="71" y="33"/>
                </a:cxn>
                <a:cxn ang="0">
                  <a:pos x="74" y="35"/>
                </a:cxn>
                <a:cxn ang="0">
                  <a:pos x="73" y="41"/>
                </a:cxn>
                <a:cxn ang="0">
                  <a:pos x="68" y="47"/>
                </a:cxn>
                <a:cxn ang="0">
                  <a:pos x="65" y="52"/>
                </a:cxn>
                <a:cxn ang="0">
                  <a:pos x="65" y="57"/>
                </a:cxn>
                <a:cxn ang="0">
                  <a:pos x="62" y="58"/>
                </a:cxn>
                <a:cxn ang="0">
                  <a:pos x="61" y="58"/>
                </a:cxn>
                <a:cxn ang="0">
                  <a:pos x="58" y="60"/>
                </a:cxn>
                <a:cxn ang="0">
                  <a:pos x="54" y="66"/>
                </a:cxn>
                <a:cxn ang="0">
                  <a:pos x="54" y="68"/>
                </a:cxn>
                <a:cxn ang="0">
                  <a:pos x="50" y="66"/>
                </a:cxn>
                <a:cxn ang="0">
                  <a:pos x="47" y="62"/>
                </a:cxn>
                <a:cxn ang="0">
                  <a:pos x="43" y="64"/>
                </a:cxn>
                <a:cxn ang="0">
                  <a:pos x="37" y="66"/>
                </a:cxn>
                <a:cxn ang="0">
                  <a:pos x="33" y="69"/>
                </a:cxn>
                <a:cxn ang="0">
                  <a:pos x="30" y="80"/>
                </a:cxn>
                <a:cxn ang="0">
                  <a:pos x="28" y="80"/>
                </a:cxn>
                <a:cxn ang="0">
                  <a:pos x="24" y="81"/>
                </a:cxn>
                <a:cxn ang="0">
                  <a:pos x="24" y="78"/>
                </a:cxn>
                <a:cxn ang="0">
                  <a:pos x="24" y="74"/>
                </a:cxn>
                <a:cxn ang="0">
                  <a:pos x="23" y="64"/>
                </a:cxn>
                <a:cxn ang="0">
                  <a:pos x="19" y="60"/>
                </a:cxn>
                <a:cxn ang="0">
                  <a:pos x="10" y="55"/>
                </a:cxn>
                <a:cxn ang="0">
                  <a:pos x="9" y="51"/>
                </a:cxn>
                <a:cxn ang="0">
                  <a:pos x="9" y="49"/>
                </a:cxn>
                <a:cxn ang="0">
                  <a:pos x="5" y="44"/>
                </a:cxn>
                <a:cxn ang="0">
                  <a:pos x="4" y="37"/>
                </a:cxn>
                <a:cxn ang="0">
                  <a:pos x="0" y="30"/>
                </a:cxn>
                <a:cxn ang="0">
                  <a:pos x="4" y="29"/>
                </a:cxn>
                <a:cxn ang="0">
                  <a:pos x="9" y="30"/>
                </a:cxn>
                <a:cxn ang="0">
                  <a:pos x="15" y="25"/>
                </a:cxn>
                <a:cxn ang="0">
                  <a:pos x="21" y="21"/>
                </a:cxn>
                <a:cxn ang="0">
                  <a:pos x="19" y="19"/>
                </a:cxn>
                <a:cxn ang="0">
                  <a:pos x="22" y="17"/>
                </a:cxn>
                <a:cxn ang="0">
                  <a:pos x="25" y="15"/>
                </a:cxn>
                <a:cxn ang="0">
                  <a:pos x="28" y="11"/>
                </a:cxn>
                <a:cxn ang="0">
                  <a:pos x="27" y="8"/>
                </a:cxn>
                <a:cxn ang="0">
                  <a:pos x="28" y="4"/>
                </a:cxn>
                <a:cxn ang="0">
                  <a:pos x="34" y="0"/>
                </a:cxn>
              </a:cxnLst>
              <a:rect l="0" t="0" r="r" b="b"/>
              <a:pathLst>
                <a:path w="74" h="81">
                  <a:moveTo>
                    <a:pt x="34" y="0"/>
                  </a:moveTo>
                  <a:lnTo>
                    <a:pt x="34" y="1"/>
                  </a:lnTo>
                  <a:lnTo>
                    <a:pt x="35" y="1"/>
                  </a:lnTo>
                  <a:lnTo>
                    <a:pt x="35" y="2"/>
                  </a:lnTo>
                  <a:lnTo>
                    <a:pt x="36" y="2"/>
                  </a:lnTo>
                  <a:lnTo>
                    <a:pt x="35" y="4"/>
                  </a:lnTo>
                  <a:lnTo>
                    <a:pt x="35" y="6"/>
                  </a:lnTo>
                  <a:lnTo>
                    <a:pt x="39" y="7"/>
                  </a:lnTo>
                  <a:lnTo>
                    <a:pt x="42" y="9"/>
                  </a:lnTo>
                  <a:lnTo>
                    <a:pt x="43" y="11"/>
                  </a:lnTo>
                  <a:lnTo>
                    <a:pt x="47" y="11"/>
                  </a:lnTo>
                  <a:lnTo>
                    <a:pt x="47" y="12"/>
                  </a:lnTo>
                  <a:lnTo>
                    <a:pt x="48" y="15"/>
                  </a:lnTo>
                  <a:lnTo>
                    <a:pt x="49" y="17"/>
                  </a:lnTo>
                  <a:lnTo>
                    <a:pt x="50" y="15"/>
                  </a:lnTo>
                  <a:lnTo>
                    <a:pt x="52" y="17"/>
                  </a:lnTo>
                  <a:lnTo>
                    <a:pt x="52" y="20"/>
                  </a:lnTo>
                  <a:lnTo>
                    <a:pt x="53" y="23"/>
                  </a:lnTo>
                  <a:lnTo>
                    <a:pt x="55" y="23"/>
                  </a:lnTo>
                  <a:lnTo>
                    <a:pt x="56" y="24"/>
                  </a:lnTo>
                  <a:lnTo>
                    <a:pt x="59" y="24"/>
                  </a:lnTo>
                  <a:lnTo>
                    <a:pt x="59" y="30"/>
                  </a:lnTo>
                  <a:lnTo>
                    <a:pt x="58" y="30"/>
                  </a:lnTo>
                  <a:lnTo>
                    <a:pt x="59" y="31"/>
                  </a:lnTo>
                  <a:lnTo>
                    <a:pt x="65" y="31"/>
                  </a:lnTo>
                  <a:lnTo>
                    <a:pt x="66" y="32"/>
                  </a:lnTo>
                  <a:lnTo>
                    <a:pt x="68" y="33"/>
                  </a:lnTo>
                  <a:lnTo>
                    <a:pt x="68" y="35"/>
                  </a:lnTo>
                  <a:lnTo>
                    <a:pt x="70" y="35"/>
                  </a:lnTo>
                  <a:lnTo>
                    <a:pt x="71" y="33"/>
                  </a:lnTo>
                  <a:lnTo>
                    <a:pt x="73" y="33"/>
                  </a:lnTo>
                  <a:lnTo>
                    <a:pt x="73" y="35"/>
                  </a:lnTo>
                  <a:lnTo>
                    <a:pt x="74" y="35"/>
                  </a:lnTo>
                  <a:lnTo>
                    <a:pt x="74" y="37"/>
                  </a:lnTo>
                  <a:lnTo>
                    <a:pt x="73" y="37"/>
                  </a:lnTo>
                  <a:lnTo>
                    <a:pt x="73" y="41"/>
                  </a:lnTo>
                  <a:lnTo>
                    <a:pt x="72" y="42"/>
                  </a:lnTo>
                  <a:lnTo>
                    <a:pt x="70" y="45"/>
                  </a:lnTo>
                  <a:lnTo>
                    <a:pt x="68" y="47"/>
                  </a:lnTo>
                  <a:lnTo>
                    <a:pt x="68" y="51"/>
                  </a:lnTo>
                  <a:lnTo>
                    <a:pt x="67" y="51"/>
                  </a:lnTo>
                  <a:lnTo>
                    <a:pt x="65" y="52"/>
                  </a:lnTo>
                  <a:lnTo>
                    <a:pt x="64" y="54"/>
                  </a:lnTo>
                  <a:lnTo>
                    <a:pt x="64" y="55"/>
                  </a:lnTo>
                  <a:lnTo>
                    <a:pt x="65" y="57"/>
                  </a:lnTo>
                  <a:lnTo>
                    <a:pt x="66" y="58"/>
                  </a:lnTo>
                  <a:lnTo>
                    <a:pt x="64" y="60"/>
                  </a:lnTo>
                  <a:lnTo>
                    <a:pt x="62" y="58"/>
                  </a:lnTo>
                  <a:lnTo>
                    <a:pt x="62" y="60"/>
                  </a:lnTo>
                  <a:lnTo>
                    <a:pt x="61" y="60"/>
                  </a:lnTo>
                  <a:lnTo>
                    <a:pt x="61" y="58"/>
                  </a:lnTo>
                  <a:lnTo>
                    <a:pt x="60" y="58"/>
                  </a:lnTo>
                  <a:lnTo>
                    <a:pt x="60" y="61"/>
                  </a:lnTo>
                  <a:lnTo>
                    <a:pt x="58" y="60"/>
                  </a:lnTo>
                  <a:lnTo>
                    <a:pt x="56" y="61"/>
                  </a:lnTo>
                  <a:lnTo>
                    <a:pt x="54" y="64"/>
                  </a:lnTo>
                  <a:lnTo>
                    <a:pt x="54" y="66"/>
                  </a:lnTo>
                  <a:lnTo>
                    <a:pt x="55" y="67"/>
                  </a:lnTo>
                  <a:lnTo>
                    <a:pt x="54" y="67"/>
                  </a:lnTo>
                  <a:lnTo>
                    <a:pt x="54" y="68"/>
                  </a:lnTo>
                  <a:lnTo>
                    <a:pt x="53" y="67"/>
                  </a:lnTo>
                  <a:lnTo>
                    <a:pt x="52" y="67"/>
                  </a:lnTo>
                  <a:lnTo>
                    <a:pt x="50" y="66"/>
                  </a:lnTo>
                  <a:lnTo>
                    <a:pt x="50" y="64"/>
                  </a:lnTo>
                  <a:lnTo>
                    <a:pt x="49" y="63"/>
                  </a:lnTo>
                  <a:lnTo>
                    <a:pt x="47" y="62"/>
                  </a:lnTo>
                  <a:lnTo>
                    <a:pt x="45" y="62"/>
                  </a:lnTo>
                  <a:lnTo>
                    <a:pt x="43" y="63"/>
                  </a:lnTo>
                  <a:lnTo>
                    <a:pt x="43" y="64"/>
                  </a:lnTo>
                  <a:lnTo>
                    <a:pt x="42" y="64"/>
                  </a:lnTo>
                  <a:lnTo>
                    <a:pt x="41" y="66"/>
                  </a:lnTo>
                  <a:lnTo>
                    <a:pt x="37" y="66"/>
                  </a:lnTo>
                  <a:lnTo>
                    <a:pt x="34" y="68"/>
                  </a:lnTo>
                  <a:lnTo>
                    <a:pt x="33" y="68"/>
                  </a:lnTo>
                  <a:lnTo>
                    <a:pt x="33" y="69"/>
                  </a:lnTo>
                  <a:lnTo>
                    <a:pt x="31" y="70"/>
                  </a:lnTo>
                  <a:lnTo>
                    <a:pt x="31" y="79"/>
                  </a:lnTo>
                  <a:lnTo>
                    <a:pt x="30" y="80"/>
                  </a:lnTo>
                  <a:lnTo>
                    <a:pt x="30" y="81"/>
                  </a:lnTo>
                  <a:lnTo>
                    <a:pt x="28" y="81"/>
                  </a:lnTo>
                  <a:lnTo>
                    <a:pt x="28" y="80"/>
                  </a:lnTo>
                  <a:lnTo>
                    <a:pt x="27" y="80"/>
                  </a:lnTo>
                  <a:lnTo>
                    <a:pt x="27" y="81"/>
                  </a:lnTo>
                  <a:lnTo>
                    <a:pt x="24" y="81"/>
                  </a:lnTo>
                  <a:lnTo>
                    <a:pt x="24" y="80"/>
                  </a:lnTo>
                  <a:lnTo>
                    <a:pt x="23" y="79"/>
                  </a:lnTo>
                  <a:lnTo>
                    <a:pt x="24" y="78"/>
                  </a:lnTo>
                  <a:lnTo>
                    <a:pt x="24" y="76"/>
                  </a:lnTo>
                  <a:lnTo>
                    <a:pt x="25" y="75"/>
                  </a:lnTo>
                  <a:lnTo>
                    <a:pt x="24" y="74"/>
                  </a:lnTo>
                  <a:lnTo>
                    <a:pt x="24" y="73"/>
                  </a:lnTo>
                  <a:lnTo>
                    <a:pt x="23" y="69"/>
                  </a:lnTo>
                  <a:lnTo>
                    <a:pt x="23" y="64"/>
                  </a:lnTo>
                  <a:lnTo>
                    <a:pt x="21" y="61"/>
                  </a:lnTo>
                  <a:lnTo>
                    <a:pt x="21" y="60"/>
                  </a:lnTo>
                  <a:lnTo>
                    <a:pt x="19" y="60"/>
                  </a:lnTo>
                  <a:lnTo>
                    <a:pt x="19" y="58"/>
                  </a:lnTo>
                  <a:lnTo>
                    <a:pt x="14" y="55"/>
                  </a:lnTo>
                  <a:lnTo>
                    <a:pt x="10" y="55"/>
                  </a:lnTo>
                  <a:lnTo>
                    <a:pt x="10" y="54"/>
                  </a:lnTo>
                  <a:lnTo>
                    <a:pt x="9" y="54"/>
                  </a:lnTo>
                  <a:lnTo>
                    <a:pt x="9" y="51"/>
                  </a:lnTo>
                  <a:lnTo>
                    <a:pt x="8" y="51"/>
                  </a:lnTo>
                  <a:lnTo>
                    <a:pt x="8" y="50"/>
                  </a:lnTo>
                  <a:lnTo>
                    <a:pt x="9" y="49"/>
                  </a:lnTo>
                  <a:lnTo>
                    <a:pt x="8" y="48"/>
                  </a:lnTo>
                  <a:lnTo>
                    <a:pt x="6" y="44"/>
                  </a:lnTo>
                  <a:lnTo>
                    <a:pt x="5" y="44"/>
                  </a:lnTo>
                  <a:lnTo>
                    <a:pt x="3" y="43"/>
                  </a:lnTo>
                  <a:lnTo>
                    <a:pt x="3" y="38"/>
                  </a:lnTo>
                  <a:lnTo>
                    <a:pt x="4" y="37"/>
                  </a:lnTo>
                  <a:lnTo>
                    <a:pt x="4" y="35"/>
                  </a:lnTo>
                  <a:lnTo>
                    <a:pt x="0" y="31"/>
                  </a:lnTo>
                  <a:lnTo>
                    <a:pt x="0" y="30"/>
                  </a:lnTo>
                  <a:lnTo>
                    <a:pt x="2" y="30"/>
                  </a:lnTo>
                  <a:lnTo>
                    <a:pt x="2" y="29"/>
                  </a:lnTo>
                  <a:lnTo>
                    <a:pt x="4" y="29"/>
                  </a:lnTo>
                  <a:lnTo>
                    <a:pt x="6" y="30"/>
                  </a:lnTo>
                  <a:lnTo>
                    <a:pt x="8" y="31"/>
                  </a:lnTo>
                  <a:lnTo>
                    <a:pt x="9" y="30"/>
                  </a:lnTo>
                  <a:lnTo>
                    <a:pt x="9" y="26"/>
                  </a:lnTo>
                  <a:lnTo>
                    <a:pt x="11" y="26"/>
                  </a:lnTo>
                  <a:lnTo>
                    <a:pt x="15" y="25"/>
                  </a:lnTo>
                  <a:lnTo>
                    <a:pt x="18" y="25"/>
                  </a:lnTo>
                  <a:lnTo>
                    <a:pt x="21" y="23"/>
                  </a:lnTo>
                  <a:lnTo>
                    <a:pt x="21" y="21"/>
                  </a:lnTo>
                  <a:lnTo>
                    <a:pt x="19" y="20"/>
                  </a:lnTo>
                  <a:lnTo>
                    <a:pt x="18" y="20"/>
                  </a:lnTo>
                  <a:lnTo>
                    <a:pt x="19" y="19"/>
                  </a:lnTo>
                  <a:lnTo>
                    <a:pt x="19" y="18"/>
                  </a:lnTo>
                  <a:lnTo>
                    <a:pt x="22" y="18"/>
                  </a:lnTo>
                  <a:lnTo>
                    <a:pt x="22" y="17"/>
                  </a:lnTo>
                  <a:lnTo>
                    <a:pt x="23" y="17"/>
                  </a:lnTo>
                  <a:lnTo>
                    <a:pt x="23" y="15"/>
                  </a:lnTo>
                  <a:lnTo>
                    <a:pt x="25" y="15"/>
                  </a:lnTo>
                  <a:lnTo>
                    <a:pt x="25" y="14"/>
                  </a:lnTo>
                  <a:lnTo>
                    <a:pt x="27" y="13"/>
                  </a:lnTo>
                  <a:lnTo>
                    <a:pt x="28" y="11"/>
                  </a:lnTo>
                  <a:lnTo>
                    <a:pt x="28" y="9"/>
                  </a:lnTo>
                  <a:lnTo>
                    <a:pt x="27" y="9"/>
                  </a:lnTo>
                  <a:lnTo>
                    <a:pt x="27" y="8"/>
                  </a:lnTo>
                  <a:lnTo>
                    <a:pt x="25" y="8"/>
                  </a:lnTo>
                  <a:lnTo>
                    <a:pt x="25" y="4"/>
                  </a:lnTo>
                  <a:lnTo>
                    <a:pt x="28" y="4"/>
                  </a:lnTo>
                  <a:lnTo>
                    <a:pt x="31" y="1"/>
                  </a:lnTo>
                  <a:lnTo>
                    <a:pt x="33" y="1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34">
              <a:extLst>
                <a:ext uri="{FF2B5EF4-FFF2-40B4-BE49-F238E27FC236}">
                  <a16:creationId xmlns:a16="http://schemas.microsoft.com/office/drawing/2014/main" id="{0D855616-FB42-440D-83BB-B9276654C3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87925" y="4749800"/>
              <a:ext cx="798513" cy="1036638"/>
            </a:xfrm>
            <a:custGeom>
              <a:avLst/>
              <a:gdLst/>
              <a:ahLst/>
              <a:cxnLst>
                <a:cxn ang="0">
                  <a:pos x="231" y="522"/>
                </a:cxn>
                <a:cxn ang="0">
                  <a:pos x="365" y="559"/>
                </a:cxn>
                <a:cxn ang="0">
                  <a:pos x="358" y="592"/>
                </a:cxn>
                <a:cxn ang="0">
                  <a:pos x="296" y="560"/>
                </a:cxn>
                <a:cxn ang="0">
                  <a:pos x="249" y="538"/>
                </a:cxn>
                <a:cxn ang="0">
                  <a:pos x="273" y="516"/>
                </a:cxn>
                <a:cxn ang="0">
                  <a:pos x="315" y="519"/>
                </a:cxn>
                <a:cxn ang="0">
                  <a:pos x="354" y="501"/>
                </a:cxn>
                <a:cxn ang="0">
                  <a:pos x="335" y="489"/>
                </a:cxn>
                <a:cxn ang="0">
                  <a:pos x="72" y="461"/>
                </a:cxn>
                <a:cxn ang="0">
                  <a:pos x="74" y="353"/>
                </a:cxn>
                <a:cxn ang="0">
                  <a:pos x="124" y="349"/>
                </a:cxn>
                <a:cxn ang="0">
                  <a:pos x="133" y="375"/>
                </a:cxn>
                <a:cxn ang="0">
                  <a:pos x="130" y="421"/>
                </a:cxn>
                <a:cxn ang="0">
                  <a:pos x="115" y="455"/>
                </a:cxn>
                <a:cxn ang="0">
                  <a:pos x="90" y="470"/>
                </a:cxn>
                <a:cxn ang="0">
                  <a:pos x="77" y="443"/>
                </a:cxn>
                <a:cxn ang="0">
                  <a:pos x="80" y="406"/>
                </a:cxn>
                <a:cxn ang="0">
                  <a:pos x="67" y="374"/>
                </a:cxn>
                <a:cxn ang="0">
                  <a:pos x="99" y="353"/>
                </a:cxn>
                <a:cxn ang="0">
                  <a:pos x="148" y="267"/>
                </a:cxn>
                <a:cxn ang="0">
                  <a:pos x="158" y="254"/>
                </a:cxn>
                <a:cxn ang="0">
                  <a:pos x="136" y="181"/>
                </a:cxn>
                <a:cxn ang="0">
                  <a:pos x="234" y="7"/>
                </a:cxn>
                <a:cxn ang="0">
                  <a:pos x="291" y="33"/>
                </a:cxn>
                <a:cxn ang="0">
                  <a:pos x="291" y="67"/>
                </a:cxn>
                <a:cxn ang="0">
                  <a:pos x="301" y="85"/>
                </a:cxn>
                <a:cxn ang="0">
                  <a:pos x="274" y="82"/>
                </a:cxn>
                <a:cxn ang="0">
                  <a:pos x="249" y="92"/>
                </a:cxn>
                <a:cxn ang="0">
                  <a:pos x="246" y="124"/>
                </a:cxn>
                <a:cxn ang="0">
                  <a:pos x="240" y="137"/>
                </a:cxn>
                <a:cxn ang="0">
                  <a:pos x="291" y="208"/>
                </a:cxn>
                <a:cxn ang="0">
                  <a:pos x="340" y="290"/>
                </a:cxn>
                <a:cxn ang="0">
                  <a:pos x="398" y="319"/>
                </a:cxn>
                <a:cxn ang="0">
                  <a:pos x="475" y="374"/>
                </a:cxn>
                <a:cxn ang="0">
                  <a:pos x="497" y="421"/>
                </a:cxn>
                <a:cxn ang="0">
                  <a:pos x="450" y="390"/>
                </a:cxn>
                <a:cxn ang="0">
                  <a:pos x="425" y="406"/>
                </a:cxn>
                <a:cxn ang="0">
                  <a:pos x="441" y="443"/>
                </a:cxn>
                <a:cxn ang="0">
                  <a:pos x="419" y="500"/>
                </a:cxn>
                <a:cxn ang="0">
                  <a:pos x="389" y="504"/>
                </a:cxn>
                <a:cxn ang="0">
                  <a:pos x="397" y="443"/>
                </a:cxn>
                <a:cxn ang="0">
                  <a:pos x="352" y="399"/>
                </a:cxn>
                <a:cxn ang="0">
                  <a:pos x="329" y="377"/>
                </a:cxn>
                <a:cxn ang="0">
                  <a:pos x="295" y="344"/>
                </a:cxn>
                <a:cxn ang="0">
                  <a:pos x="241" y="316"/>
                </a:cxn>
                <a:cxn ang="0">
                  <a:pos x="191" y="278"/>
                </a:cxn>
                <a:cxn ang="0">
                  <a:pos x="165" y="247"/>
                </a:cxn>
                <a:cxn ang="0">
                  <a:pos x="136" y="179"/>
                </a:cxn>
                <a:cxn ang="0">
                  <a:pos x="94" y="161"/>
                </a:cxn>
                <a:cxn ang="0">
                  <a:pos x="66" y="189"/>
                </a:cxn>
                <a:cxn ang="0">
                  <a:pos x="34" y="178"/>
                </a:cxn>
                <a:cxn ang="0">
                  <a:pos x="18" y="140"/>
                </a:cxn>
                <a:cxn ang="0">
                  <a:pos x="19" y="113"/>
                </a:cxn>
                <a:cxn ang="0">
                  <a:pos x="21" y="73"/>
                </a:cxn>
                <a:cxn ang="0">
                  <a:pos x="62" y="51"/>
                </a:cxn>
                <a:cxn ang="0">
                  <a:pos x="94" y="64"/>
                </a:cxn>
                <a:cxn ang="0">
                  <a:pos x="105" y="60"/>
                </a:cxn>
                <a:cxn ang="0">
                  <a:pos x="124" y="48"/>
                </a:cxn>
                <a:cxn ang="0">
                  <a:pos x="147" y="30"/>
                </a:cxn>
                <a:cxn ang="0">
                  <a:pos x="174" y="18"/>
                </a:cxn>
                <a:cxn ang="0">
                  <a:pos x="216" y="7"/>
                </a:cxn>
              </a:cxnLst>
              <a:rect l="0" t="0" r="r" b="b"/>
              <a:pathLst>
                <a:path w="503" h="653">
                  <a:moveTo>
                    <a:pt x="251" y="651"/>
                  </a:moveTo>
                  <a:lnTo>
                    <a:pt x="254" y="651"/>
                  </a:lnTo>
                  <a:lnTo>
                    <a:pt x="254" y="653"/>
                  </a:lnTo>
                  <a:lnTo>
                    <a:pt x="253" y="652"/>
                  </a:lnTo>
                  <a:lnTo>
                    <a:pt x="251" y="652"/>
                  </a:lnTo>
                  <a:lnTo>
                    <a:pt x="251" y="651"/>
                  </a:lnTo>
                  <a:close/>
                  <a:moveTo>
                    <a:pt x="264" y="633"/>
                  </a:moveTo>
                  <a:lnTo>
                    <a:pt x="265" y="633"/>
                  </a:lnTo>
                  <a:lnTo>
                    <a:pt x="265" y="634"/>
                  </a:lnTo>
                  <a:lnTo>
                    <a:pt x="264" y="634"/>
                  </a:lnTo>
                  <a:lnTo>
                    <a:pt x="264" y="633"/>
                  </a:lnTo>
                  <a:close/>
                  <a:moveTo>
                    <a:pt x="224" y="583"/>
                  </a:moveTo>
                  <a:lnTo>
                    <a:pt x="228" y="583"/>
                  </a:lnTo>
                  <a:lnTo>
                    <a:pt x="230" y="584"/>
                  </a:lnTo>
                  <a:lnTo>
                    <a:pt x="230" y="586"/>
                  </a:lnTo>
                  <a:lnTo>
                    <a:pt x="229" y="587"/>
                  </a:lnTo>
                  <a:lnTo>
                    <a:pt x="228" y="587"/>
                  </a:lnTo>
                  <a:lnTo>
                    <a:pt x="226" y="585"/>
                  </a:lnTo>
                  <a:lnTo>
                    <a:pt x="226" y="584"/>
                  </a:lnTo>
                  <a:lnTo>
                    <a:pt x="224" y="583"/>
                  </a:lnTo>
                  <a:close/>
                  <a:moveTo>
                    <a:pt x="240" y="524"/>
                  </a:moveTo>
                  <a:lnTo>
                    <a:pt x="243" y="524"/>
                  </a:lnTo>
                  <a:lnTo>
                    <a:pt x="243" y="525"/>
                  </a:lnTo>
                  <a:lnTo>
                    <a:pt x="240" y="525"/>
                  </a:lnTo>
                  <a:lnTo>
                    <a:pt x="240" y="524"/>
                  </a:lnTo>
                  <a:close/>
                  <a:moveTo>
                    <a:pt x="230" y="522"/>
                  </a:moveTo>
                  <a:lnTo>
                    <a:pt x="231" y="522"/>
                  </a:lnTo>
                  <a:lnTo>
                    <a:pt x="231" y="523"/>
                  </a:lnTo>
                  <a:lnTo>
                    <a:pt x="230" y="523"/>
                  </a:lnTo>
                  <a:lnTo>
                    <a:pt x="230" y="522"/>
                  </a:lnTo>
                  <a:close/>
                  <a:moveTo>
                    <a:pt x="377" y="505"/>
                  </a:moveTo>
                  <a:lnTo>
                    <a:pt x="378" y="505"/>
                  </a:lnTo>
                  <a:lnTo>
                    <a:pt x="380" y="506"/>
                  </a:lnTo>
                  <a:lnTo>
                    <a:pt x="382" y="506"/>
                  </a:lnTo>
                  <a:lnTo>
                    <a:pt x="379" y="507"/>
                  </a:lnTo>
                  <a:lnTo>
                    <a:pt x="379" y="509"/>
                  </a:lnTo>
                  <a:lnTo>
                    <a:pt x="378" y="510"/>
                  </a:lnTo>
                  <a:lnTo>
                    <a:pt x="379" y="510"/>
                  </a:lnTo>
                  <a:lnTo>
                    <a:pt x="377" y="513"/>
                  </a:lnTo>
                  <a:lnTo>
                    <a:pt x="376" y="516"/>
                  </a:lnTo>
                  <a:lnTo>
                    <a:pt x="371" y="522"/>
                  </a:lnTo>
                  <a:lnTo>
                    <a:pt x="367" y="528"/>
                  </a:lnTo>
                  <a:lnTo>
                    <a:pt x="366" y="530"/>
                  </a:lnTo>
                  <a:lnTo>
                    <a:pt x="366" y="531"/>
                  </a:lnTo>
                  <a:lnTo>
                    <a:pt x="365" y="531"/>
                  </a:lnTo>
                  <a:lnTo>
                    <a:pt x="364" y="534"/>
                  </a:lnTo>
                  <a:lnTo>
                    <a:pt x="364" y="537"/>
                  </a:lnTo>
                  <a:lnTo>
                    <a:pt x="363" y="538"/>
                  </a:lnTo>
                  <a:lnTo>
                    <a:pt x="363" y="542"/>
                  </a:lnTo>
                  <a:lnTo>
                    <a:pt x="361" y="543"/>
                  </a:lnTo>
                  <a:lnTo>
                    <a:pt x="359" y="548"/>
                  </a:lnTo>
                  <a:lnTo>
                    <a:pt x="359" y="556"/>
                  </a:lnTo>
                  <a:lnTo>
                    <a:pt x="363" y="559"/>
                  </a:lnTo>
                  <a:lnTo>
                    <a:pt x="365" y="559"/>
                  </a:lnTo>
                  <a:lnTo>
                    <a:pt x="365" y="560"/>
                  </a:lnTo>
                  <a:lnTo>
                    <a:pt x="366" y="561"/>
                  </a:lnTo>
                  <a:lnTo>
                    <a:pt x="365" y="561"/>
                  </a:lnTo>
                  <a:lnTo>
                    <a:pt x="364" y="562"/>
                  </a:lnTo>
                  <a:lnTo>
                    <a:pt x="364" y="561"/>
                  </a:lnTo>
                  <a:lnTo>
                    <a:pt x="363" y="561"/>
                  </a:lnTo>
                  <a:lnTo>
                    <a:pt x="363" y="565"/>
                  </a:lnTo>
                  <a:lnTo>
                    <a:pt x="364" y="566"/>
                  </a:lnTo>
                  <a:lnTo>
                    <a:pt x="365" y="565"/>
                  </a:lnTo>
                  <a:lnTo>
                    <a:pt x="365" y="567"/>
                  </a:lnTo>
                  <a:lnTo>
                    <a:pt x="366" y="568"/>
                  </a:lnTo>
                  <a:lnTo>
                    <a:pt x="367" y="568"/>
                  </a:lnTo>
                  <a:lnTo>
                    <a:pt x="367" y="571"/>
                  </a:lnTo>
                  <a:lnTo>
                    <a:pt x="366" y="571"/>
                  </a:lnTo>
                  <a:lnTo>
                    <a:pt x="367" y="572"/>
                  </a:lnTo>
                  <a:lnTo>
                    <a:pt x="367" y="573"/>
                  </a:lnTo>
                  <a:lnTo>
                    <a:pt x="366" y="574"/>
                  </a:lnTo>
                  <a:lnTo>
                    <a:pt x="366" y="575"/>
                  </a:lnTo>
                  <a:lnTo>
                    <a:pt x="364" y="575"/>
                  </a:lnTo>
                  <a:lnTo>
                    <a:pt x="364" y="577"/>
                  </a:lnTo>
                  <a:lnTo>
                    <a:pt x="363" y="577"/>
                  </a:lnTo>
                  <a:lnTo>
                    <a:pt x="361" y="578"/>
                  </a:lnTo>
                  <a:lnTo>
                    <a:pt x="359" y="584"/>
                  </a:lnTo>
                  <a:lnTo>
                    <a:pt x="359" y="585"/>
                  </a:lnTo>
                  <a:lnTo>
                    <a:pt x="360" y="587"/>
                  </a:lnTo>
                  <a:lnTo>
                    <a:pt x="360" y="592"/>
                  </a:lnTo>
                  <a:lnTo>
                    <a:pt x="358" y="592"/>
                  </a:lnTo>
                  <a:lnTo>
                    <a:pt x="357" y="591"/>
                  </a:lnTo>
                  <a:lnTo>
                    <a:pt x="357" y="590"/>
                  </a:lnTo>
                  <a:lnTo>
                    <a:pt x="353" y="590"/>
                  </a:lnTo>
                  <a:lnTo>
                    <a:pt x="352" y="589"/>
                  </a:lnTo>
                  <a:lnTo>
                    <a:pt x="349" y="587"/>
                  </a:lnTo>
                  <a:lnTo>
                    <a:pt x="348" y="589"/>
                  </a:lnTo>
                  <a:lnTo>
                    <a:pt x="346" y="590"/>
                  </a:lnTo>
                  <a:lnTo>
                    <a:pt x="346" y="589"/>
                  </a:lnTo>
                  <a:lnTo>
                    <a:pt x="345" y="589"/>
                  </a:lnTo>
                  <a:lnTo>
                    <a:pt x="345" y="590"/>
                  </a:lnTo>
                  <a:lnTo>
                    <a:pt x="344" y="589"/>
                  </a:lnTo>
                  <a:lnTo>
                    <a:pt x="341" y="589"/>
                  </a:lnTo>
                  <a:lnTo>
                    <a:pt x="341" y="587"/>
                  </a:lnTo>
                  <a:lnTo>
                    <a:pt x="340" y="586"/>
                  </a:lnTo>
                  <a:lnTo>
                    <a:pt x="338" y="586"/>
                  </a:lnTo>
                  <a:lnTo>
                    <a:pt x="338" y="585"/>
                  </a:lnTo>
                  <a:lnTo>
                    <a:pt x="333" y="585"/>
                  </a:lnTo>
                  <a:lnTo>
                    <a:pt x="333" y="584"/>
                  </a:lnTo>
                  <a:lnTo>
                    <a:pt x="329" y="577"/>
                  </a:lnTo>
                  <a:lnTo>
                    <a:pt x="324" y="572"/>
                  </a:lnTo>
                  <a:lnTo>
                    <a:pt x="321" y="570"/>
                  </a:lnTo>
                  <a:lnTo>
                    <a:pt x="316" y="567"/>
                  </a:lnTo>
                  <a:lnTo>
                    <a:pt x="311" y="568"/>
                  </a:lnTo>
                  <a:lnTo>
                    <a:pt x="308" y="568"/>
                  </a:lnTo>
                  <a:lnTo>
                    <a:pt x="305" y="566"/>
                  </a:lnTo>
                  <a:lnTo>
                    <a:pt x="302" y="566"/>
                  </a:lnTo>
                  <a:lnTo>
                    <a:pt x="296" y="560"/>
                  </a:lnTo>
                  <a:lnTo>
                    <a:pt x="295" y="560"/>
                  </a:lnTo>
                  <a:lnTo>
                    <a:pt x="293" y="559"/>
                  </a:lnTo>
                  <a:lnTo>
                    <a:pt x="291" y="559"/>
                  </a:lnTo>
                  <a:lnTo>
                    <a:pt x="290" y="558"/>
                  </a:lnTo>
                  <a:lnTo>
                    <a:pt x="289" y="558"/>
                  </a:lnTo>
                  <a:lnTo>
                    <a:pt x="286" y="555"/>
                  </a:lnTo>
                  <a:lnTo>
                    <a:pt x="284" y="554"/>
                  </a:lnTo>
                  <a:lnTo>
                    <a:pt x="283" y="554"/>
                  </a:lnTo>
                  <a:lnTo>
                    <a:pt x="283" y="553"/>
                  </a:lnTo>
                  <a:lnTo>
                    <a:pt x="282" y="553"/>
                  </a:lnTo>
                  <a:lnTo>
                    <a:pt x="282" y="550"/>
                  </a:lnTo>
                  <a:lnTo>
                    <a:pt x="280" y="550"/>
                  </a:lnTo>
                  <a:lnTo>
                    <a:pt x="279" y="549"/>
                  </a:lnTo>
                  <a:lnTo>
                    <a:pt x="278" y="549"/>
                  </a:lnTo>
                  <a:lnTo>
                    <a:pt x="278" y="548"/>
                  </a:lnTo>
                  <a:lnTo>
                    <a:pt x="272" y="547"/>
                  </a:lnTo>
                  <a:lnTo>
                    <a:pt x="272" y="548"/>
                  </a:lnTo>
                  <a:lnTo>
                    <a:pt x="271" y="548"/>
                  </a:lnTo>
                  <a:lnTo>
                    <a:pt x="271" y="546"/>
                  </a:lnTo>
                  <a:lnTo>
                    <a:pt x="268" y="543"/>
                  </a:lnTo>
                  <a:lnTo>
                    <a:pt x="261" y="543"/>
                  </a:lnTo>
                  <a:lnTo>
                    <a:pt x="258" y="544"/>
                  </a:lnTo>
                  <a:lnTo>
                    <a:pt x="257" y="544"/>
                  </a:lnTo>
                  <a:lnTo>
                    <a:pt x="255" y="543"/>
                  </a:lnTo>
                  <a:lnTo>
                    <a:pt x="253" y="540"/>
                  </a:lnTo>
                  <a:lnTo>
                    <a:pt x="252" y="538"/>
                  </a:lnTo>
                  <a:lnTo>
                    <a:pt x="249" y="538"/>
                  </a:lnTo>
                  <a:lnTo>
                    <a:pt x="249" y="537"/>
                  </a:lnTo>
                  <a:lnTo>
                    <a:pt x="248" y="536"/>
                  </a:lnTo>
                  <a:lnTo>
                    <a:pt x="248" y="534"/>
                  </a:lnTo>
                  <a:lnTo>
                    <a:pt x="247" y="534"/>
                  </a:lnTo>
                  <a:lnTo>
                    <a:pt x="247" y="532"/>
                  </a:lnTo>
                  <a:lnTo>
                    <a:pt x="246" y="531"/>
                  </a:lnTo>
                  <a:lnTo>
                    <a:pt x="247" y="530"/>
                  </a:lnTo>
                  <a:lnTo>
                    <a:pt x="247" y="531"/>
                  </a:lnTo>
                  <a:lnTo>
                    <a:pt x="248" y="530"/>
                  </a:lnTo>
                  <a:lnTo>
                    <a:pt x="248" y="525"/>
                  </a:lnTo>
                  <a:lnTo>
                    <a:pt x="249" y="523"/>
                  </a:lnTo>
                  <a:lnTo>
                    <a:pt x="249" y="519"/>
                  </a:lnTo>
                  <a:lnTo>
                    <a:pt x="251" y="519"/>
                  </a:lnTo>
                  <a:lnTo>
                    <a:pt x="253" y="517"/>
                  </a:lnTo>
                  <a:lnTo>
                    <a:pt x="255" y="517"/>
                  </a:lnTo>
                  <a:lnTo>
                    <a:pt x="255" y="516"/>
                  </a:lnTo>
                  <a:lnTo>
                    <a:pt x="257" y="515"/>
                  </a:lnTo>
                  <a:lnTo>
                    <a:pt x="259" y="515"/>
                  </a:lnTo>
                  <a:lnTo>
                    <a:pt x="259" y="511"/>
                  </a:lnTo>
                  <a:lnTo>
                    <a:pt x="260" y="511"/>
                  </a:lnTo>
                  <a:lnTo>
                    <a:pt x="260" y="512"/>
                  </a:lnTo>
                  <a:lnTo>
                    <a:pt x="262" y="517"/>
                  </a:lnTo>
                  <a:lnTo>
                    <a:pt x="264" y="517"/>
                  </a:lnTo>
                  <a:lnTo>
                    <a:pt x="266" y="519"/>
                  </a:lnTo>
                  <a:lnTo>
                    <a:pt x="268" y="519"/>
                  </a:lnTo>
                  <a:lnTo>
                    <a:pt x="272" y="517"/>
                  </a:lnTo>
                  <a:lnTo>
                    <a:pt x="273" y="516"/>
                  </a:lnTo>
                  <a:lnTo>
                    <a:pt x="273" y="513"/>
                  </a:lnTo>
                  <a:lnTo>
                    <a:pt x="274" y="512"/>
                  </a:lnTo>
                  <a:lnTo>
                    <a:pt x="274" y="511"/>
                  </a:lnTo>
                  <a:lnTo>
                    <a:pt x="280" y="511"/>
                  </a:lnTo>
                  <a:lnTo>
                    <a:pt x="280" y="510"/>
                  </a:lnTo>
                  <a:lnTo>
                    <a:pt x="283" y="510"/>
                  </a:lnTo>
                  <a:lnTo>
                    <a:pt x="284" y="509"/>
                  </a:lnTo>
                  <a:lnTo>
                    <a:pt x="284" y="510"/>
                  </a:lnTo>
                  <a:lnTo>
                    <a:pt x="286" y="511"/>
                  </a:lnTo>
                  <a:lnTo>
                    <a:pt x="286" y="513"/>
                  </a:lnTo>
                  <a:lnTo>
                    <a:pt x="288" y="516"/>
                  </a:lnTo>
                  <a:lnTo>
                    <a:pt x="292" y="515"/>
                  </a:lnTo>
                  <a:lnTo>
                    <a:pt x="293" y="516"/>
                  </a:lnTo>
                  <a:lnTo>
                    <a:pt x="293" y="518"/>
                  </a:lnTo>
                  <a:lnTo>
                    <a:pt x="295" y="518"/>
                  </a:lnTo>
                  <a:lnTo>
                    <a:pt x="297" y="519"/>
                  </a:lnTo>
                  <a:lnTo>
                    <a:pt x="298" y="521"/>
                  </a:lnTo>
                  <a:lnTo>
                    <a:pt x="299" y="521"/>
                  </a:lnTo>
                  <a:lnTo>
                    <a:pt x="301" y="522"/>
                  </a:lnTo>
                  <a:lnTo>
                    <a:pt x="304" y="522"/>
                  </a:lnTo>
                  <a:lnTo>
                    <a:pt x="307" y="521"/>
                  </a:lnTo>
                  <a:lnTo>
                    <a:pt x="309" y="521"/>
                  </a:lnTo>
                  <a:lnTo>
                    <a:pt x="309" y="519"/>
                  </a:lnTo>
                  <a:lnTo>
                    <a:pt x="310" y="519"/>
                  </a:lnTo>
                  <a:lnTo>
                    <a:pt x="313" y="518"/>
                  </a:lnTo>
                  <a:lnTo>
                    <a:pt x="314" y="518"/>
                  </a:lnTo>
                  <a:lnTo>
                    <a:pt x="315" y="519"/>
                  </a:lnTo>
                  <a:lnTo>
                    <a:pt x="329" y="519"/>
                  </a:lnTo>
                  <a:lnTo>
                    <a:pt x="330" y="518"/>
                  </a:lnTo>
                  <a:lnTo>
                    <a:pt x="334" y="518"/>
                  </a:lnTo>
                  <a:lnTo>
                    <a:pt x="340" y="517"/>
                  </a:lnTo>
                  <a:lnTo>
                    <a:pt x="342" y="515"/>
                  </a:lnTo>
                  <a:lnTo>
                    <a:pt x="344" y="512"/>
                  </a:lnTo>
                  <a:lnTo>
                    <a:pt x="346" y="512"/>
                  </a:lnTo>
                  <a:lnTo>
                    <a:pt x="349" y="511"/>
                  </a:lnTo>
                  <a:lnTo>
                    <a:pt x="352" y="511"/>
                  </a:lnTo>
                  <a:lnTo>
                    <a:pt x="353" y="512"/>
                  </a:lnTo>
                  <a:lnTo>
                    <a:pt x="357" y="512"/>
                  </a:lnTo>
                  <a:lnTo>
                    <a:pt x="357" y="513"/>
                  </a:lnTo>
                  <a:lnTo>
                    <a:pt x="360" y="513"/>
                  </a:lnTo>
                  <a:lnTo>
                    <a:pt x="363" y="512"/>
                  </a:lnTo>
                  <a:lnTo>
                    <a:pt x="364" y="511"/>
                  </a:lnTo>
                  <a:lnTo>
                    <a:pt x="365" y="507"/>
                  </a:lnTo>
                  <a:lnTo>
                    <a:pt x="365" y="509"/>
                  </a:lnTo>
                  <a:lnTo>
                    <a:pt x="366" y="510"/>
                  </a:lnTo>
                  <a:lnTo>
                    <a:pt x="367" y="510"/>
                  </a:lnTo>
                  <a:lnTo>
                    <a:pt x="372" y="509"/>
                  </a:lnTo>
                  <a:lnTo>
                    <a:pt x="372" y="507"/>
                  </a:lnTo>
                  <a:lnTo>
                    <a:pt x="373" y="507"/>
                  </a:lnTo>
                  <a:lnTo>
                    <a:pt x="375" y="506"/>
                  </a:lnTo>
                  <a:lnTo>
                    <a:pt x="377" y="505"/>
                  </a:lnTo>
                  <a:close/>
                  <a:moveTo>
                    <a:pt x="353" y="498"/>
                  </a:moveTo>
                  <a:lnTo>
                    <a:pt x="355" y="500"/>
                  </a:lnTo>
                  <a:lnTo>
                    <a:pt x="354" y="501"/>
                  </a:lnTo>
                  <a:lnTo>
                    <a:pt x="353" y="500"/>
                  </a:lnTo>
                  <a:lnTo>
                    <a:pt x="353" y="498"/>
                  </a:lnTo>
                  <a:close/>
                  <a:moveTo>
                    <a:pt x="351" y="493"/>
                  </a:moveTo>
                  <a:lnTo>
                    <a:pt x="353" y="493"/>
                  </a:lnTo>
                  <a:lnTo>
                    <a:pt x="353" y="494"/>
                  </a:lnTo>
                  <a:lnTo>
                    <a:pt x="354" y="494"/>
                  </a:lnTo>
                  <a:lnTo>
                    <a:pt x="354" y="495"/>
                  </a:lnTo>
                  <a:lnTo>
                    <a:pt x="353" y="495"/>
                  </a:lnTo>
                  <a:lnTo>
                    <a:pt x="353" y="497"/>
                  </a:lnTo>
                  <a:lnTo>
                    <a:pt x="352" y="497"/>
                  </a:lnTo>
                  <a:lnTo>
                    <a:pt x="352" y="495"/>
                  </a:lnTo>
                  <a:lnTo>
                    <a:pt x="351" y="495"/>
                  </a:lnTo>
                  <a:lnTo>
                    <a:pt x="351" y="493"/>
                  </a:lnTo>
                  <a:close/>
                  <a:moveTo>
                    <a:pt x="328" y="491"/>
                  </a:moveTo>
                  <a:lnTo>
                    <a:pt x="328" y="492"/>
                  </a:lnTo>
                  <a:lnTo>
                    <a:pt x="327" y="492"/>
                  </a:lnTo>
                  <a:lnTo>
                    <a:pt x="328" y="491"/>
                  </a:lnTo>
                  <a:close/>
                  <a:moveTo>
                    <a:pt x="346" y="489"/>
                  </a:moveTo>
                  <a:lnTo>
                    <a:pt x="349" y="489"/>
                  </a:lnTo>
                  <a:lnTo>
                    <a:pt x="349" y="492"/>
                  </a:lnTo>
                  <a:lnTo>
                    <a:pt x="347" y="491"/>
                  </a:lnTo>
                  <a:lnTo>
                    <a:pt x="346" y="489"/>
                  </a:lnTo>
                  <a:close/>
                  <a:moveTo>
                    <a:pt x="335" y="489"/>
                  </a:moveTo>
                  <a:lnTo>
                    <a:pt x="336" y="489"/>
                  </a:lnTo>
                  <a:lnTo>
                    <a:pt x="338" y="491"/>
                  </a:lnTo>
                  <a:lnTo>
                    <a:pt x="336" y="491"/>
                  </a:lnTo>
                  <a:lnTo>
                    <a:pt x="335" y="489"/>
                  </a:lnTo>
                  <a:close/>
                  <a:moveTo>
                    <a:pt x="277" y="482"/>
                  </a:moveTo>
                  <a:lnTo>
                    <a:pt x="279" y="482"/>
                  </a:lnTo>
                  <a:lnTo>
                    <a:pt x="278" y="484"/>
                  </a:lnTo>
                  <a:lnTo>
                    <a:pt x="277" y="484"/>
                  </a:lnTo>
                  <a:lnTo>
                    <a:pt x="277" y="482"/>
                  </a:lnTo>
                  <a:close/>
                  <a:moveTo>
                    <a:pt x="363" y="478"/>
                  </a:moveTo>
                  <a:lnTo>
                    <a:pt x="365" y="478"/>
                  </a:lnTo>
                  <a:lnTo>
                    <a:pt x="365" y="479"/>
                  </a:lnTo>
                  <a:lnTo>
                    <a:pt x="363" y="479"/>
                  </a:lnTo>
                  <a:lnTo>
                    <a:pt x="363" y="478"/>
                  </a:lnTo>
                  <a:close/>
                  <a:moveTo>
                    <a:pt x="74" y="461"/>
                  </a:moveTo>
                  <a:lnTo>
                    <a:pt x="78" y="461"/>
                  </a:lnTo>
                  <a:lnTo>
                    <a:pt x="79" y="463"/>
                  </a:lnTo>
                  <a:lnTo>
                    <a:pt x="80" y="463"/>
                  </a:lnTo>
                  <a:lnTo>
                    <a:pt x="79" y="464"/>
                  </a:lnTo>
                  <a:lnTo>
                    <a:pt x="79" y="466"/>
                  </a:lnTo>
                  <a:lnTo>
                    <a:pt x="78" y="467"/>
                  </a:lnTo>
                  <a:lnTo>
                    <a:pt x="78" y="469"/>
                  </a:lnTo>
                  <a:lnTo>
                    <a:pt x="77" y="469"/>
                  </a:lnTo>
                  <a:lnTo>
                    <a:pt x="77" y="468"/>
                  </a:lnTo>
                  <a:lnTo>
                    <a:pt x="74" y="463"/>
                  </a:lnTo>
                  <a:lnTo>
                    <a:pt x="74" y="461"/>
                  </a:lnTo>
                  <a:close/>
                  <a:moveTo>
                    <a:pt x="69" y="457"/>
                  </a:moveTo>
                  <a:lnTo>
                    <a:pt x="72" y="457"/>
                  </a:lnTo>
                  <a:lnTo>
                    <a:pt x="72" y="458"/>
                  </a:lnTo>
                  <a:lnTo>
                    <a:pt x="73" y="461"/>
                  </a:lnTo>
                  <a:lnTo>
                    <a:pt x="72" y="461"/>
                  </a:lnTo>
                  <a:lnTo>
                    <a:pt x="72" y="462"/>
                  </a:lnTo>
                  <a:lnTo>
                    <a:pt x="71" y="462"/>
                  </a:lnTo>
                  <a:lnTo>
                    <a:pt x="71" y="460"/>
                  </a:lnTo>
                  <a:lnTo>
                    <a:pt x="69" y="460"/>
                  </a:lnTo>
                  <a:lnTo>
                    <a:pt x="69" y="457"/>
                  </a:lnTo>
                  <a:close/>
                  <a:moveTo>
                    <a:pt x="307" y="370"/>
                  </a:moveTo>
                  <a:lnTo>
                    <a:pt x="308" y="370"/>
                  </a:lnTo>
                  <a:lnTo>
                    <a:pt x="310" y="371"/>
                  </a:lnTo>
                  <a:lnTo>
                    <a:pt x="311" y="371"/>
                  </a:lnTo>
                  <a:lnTo>
                    <a:pt x="311" y="372"/>
                  </a:lnTo>
                  <a:lnTo>
                    <a:pt x="310" y="374"/>
                  </a:lnTo>
                  <a:lnTo>
                    <a:pt x="307" y="374"/>
                  </a:lnTo>
                  <a:lnTo>
                    <a:pt x="307" y="370"/>
                  </a:lnTo>
                  <a:close/>
                  <a:moveTo>
                    <a:pt x="289" y="368"/>
                  </a:moveTo>
                  <a:lnTo>
                    <a:pt x="289" y="369"/>
                  </a:lnTo>
                  <a:lnTo>
                    <a:pt x="288" y="369"/>
                  </a:lnTo>
                  <a:lnTo>
                    <a:pt x="289" y="368"/>
                  </a:lnTo>
                  <a:close/>
                  <a:moveTo>
                    <a:pt x="71" y="353"/>
                  </a:moveTo>
                  <a:lnTo>
                    <a:pt x="71" y="356"/>
                  </a:lnTo>
                  <a:lnTo>
                    <a:pt x="69" y="357"/>
                  </a:lnTo>
                  <a:lnTo>
                    <a:pt x="68" y="357"/>
                  </a:lnTo>
                  <a:lnTo>
                    <a:pt x="69" y="356"/>
                  </a:lnTo>
                  <a:lnTo>
                    <a:pt x="69" y="355"/>
                  </a:lnTo>
                  <a:lnTo>
                    <a:pt x="71" y="353"/>
                  </a:lnTo>
                  <a:close/>
                  <a:moveTo>
                    <a:pt x="71" y="351"/>
                  </a:moveTo>
                  <a:lnTo>
                    <a:pt x="74" y="351"/>
                  </a:lnTo>
                  <a:lnTo>
                    <a:pt x="74" y="353"/>
                  </a:lnTo>
                  <a:lnTo>
                    <a:pt x="71" y="353"/>
                  </a:lnTo>
                  <a:lnTo>
                    <a:pt x="71" y="351"/>
                  </a:lnTo>
                  <a:close/>
                  <a:moveTo>
                    <a:pt x="121" y="344"/>
                  </a:moveTo>
                  <a:lnTo>
                    <a:pt x="122" y="344"/>
                  </a:lnTo>
                  <a:lnTo>
                    <a:pt x="122" y="347"/>
                  </a:lnTo>
                  <a:lnTo>
                    <a:pt x="121" y="347"/>
                  </a:lnTo>
                  <a:lnTo>
                    <a:pt x="121" y="344"/>
                  </a:lnTo>
                  <a:close/>
                  <a:moveTo>
                    <a:pt x="118" y="343"/>
                  </a:moveTo>
                  <a:lnTo>
                    <a:pt x="119" y="343"/>
                  </a:lnTo>
                  <a:lnTo>
                    <a:pt x="119" y="345"/>
                  </a:lnTo>
                  <a:lnTo>
                    <a:pt x="117" y="345"/>
                  </a:lnTo>
                  <a:lnTo>
                    <a:pt x="117" y="344"/>
                  </a:lnTo>
                  <a:lnTo>
                    <a:pt x="118" y="344"/>
                  </a:lnTo>
                  <a:lnTo>
                    <a:pt x="118" y="343"/>
                  </a:lnTo>
                  <a:close/>
                  <a:moveTo>
                    <a:pt x="110" y="343"/>
                  </a:moveTo>
                  <a:lnTo>
                    <a:pt x="112" y="343"/>
                  </a:lnTo>
                  <a:lnTo>
                    <a:pt x="114" y="344"/>
                  </a:lnTo>
                  <a:lnTo>
                    <a:pt x="114" y="346"/>
                  </a:lnTo>
                  <a:lnTo>
                    <a:pt x="116" y="346"/>
                  </a:lnTo>
                  <a:lnTo>
                    <a:pt x="116" y="345"/>
                  </a:lnTo>
                  <a:lnTo>
                    <a:pt x="117" y="345"/>
                  </a:lnTo>
                  <a:lnTo>
                    <a:pt x="118" y="347"/>
                  </a:lnTo>
                  <a:lnTo>
                    <a:pt x="119" y="347"/>
                  </a:lnTo>
                  <a:lnTo>
                    <a:pt x="119" y="349"/>
                  </a:lnTo>
                  <a:lnTo>
                    <a:pt x="121" y="350"/>
                  </a:lnTo>
                  <a:lnTo>
                    <a:pt x="121" y="349"/>
                  </a:lnTo>
                  <a:lnTo>
                    <a:pt x="124" y="349"/>
                  </a:lnTo>
                  <a:lnTo>
                    <a:pt x="124" y="350"/>
                  </a:lnTo>
                  <a:lnTo>
                    <a:pt x="125" y="350"/>
                  </a:lnTo>
                  <a:lnTo>
                    <a:pt x="125" y="352"/>
                  </a:lnTo>
                  <a:lnTo>
                    <a:pt x="124" y="352"/>
                  </a:lnTo>
                  <a:lnTo>
                    <a:pt x="124" y="355"/>
                  </a:lnTo>
                  <a:lnTo>
                    <a:pt x="125" y="355"/>
                  </a:lnTo>
                  <a:lnTo>
                    <a:pt x="125" y="357"/>
                  </a:lnTo>
                  <a:lnTo>
                    <a:pt x="127" y="356"/>
                  </a:lnTo>
                  <a:lnTo>
                    <a:pt x="128" y="356"/>
                  </a:lnTo>
                  <a:lnTo>
                    <a:pt x="129" y="357"/>
                  </a:lnTo>
                  <a:lnTo>
                    <a:pt x="127" y="357"/>
                  </a:lnTo>
                  <a:lnTo>
                    <a:pt x="127" y="359"/>
                  </a:lnTo>
                  <a:lnTo>
                    <a:pt x="125" y="359"/>
                  </a:lnTo>
                  <a:lnTo>
                    <a:pt x="125" y="361"/>
                  </a:lnTo>
                  <a:lnTo>
                    <a:pt x="123" y="361"/>
                  </a:lnTo>
                  <a:lnTo>
                    <a:pt x="123" y="362"/>
                  </a:lnTo>
                  <a:lnTo>
                    <a:pt x="128" y="362"/>
                  </a:lnTo>
                  <a:lnTo>
                    <a:pt x="128" y="363"/>
                  </a:lnTo>
                  <a:lnTo>
                    <a:pt x="130" y="365"/>
                  </a:lnTo>
                  <a:lnTo>
                    <a:pt x="133" y="365"/>
                  </a:lnTo>
                  <a:lnTo>
                    <a:pt x="131" y="366"/>
                  </a:lnTo>
                  <a:lnTo>
                    <a:pt x="130" y="366"/>
                  </a:lnTo>
                  <a:lnTo>
                    <a:pt x="130" y="368"/>
                  </a:lnTo>
                  <a:lnTo>
                    <a:pt x="129" y="368"/>
                  </a:lnTo>
                  <a:lnTo>
                    <a:pt x="131" y="370"/>
                  </a:lnTo>
                  <a:lnTo>
                    <a:pt x="131" y="372"/>
                  </a:lnTo>
                  <a:lnTo>
                    <a:pt x="133" y="375"/>
                  </a:lnTo>
                  <a:lnTo>
                    <a:pt x="134" y="376"/>
                  </a:lnTo>
                  <a:lnTo>
                    <a:pt x="134" y="380"/>
                  </a:lnTo>
                  <a:lnTo>
                    <a:pt x="135" y="381"/>
                  </a:lnTo>
                  <a:lnTo>
                    <a:pt x="135" y="382"/>
                  </a:lnTo>
                  <a:lnTo>
                    <a:pt x="136" y="383"/>
                  </a:lnTo>
                  <a:lnTo>
                    <a:pt x="136" y="387"/>
                  </a:lnTo>
                  <a:lnTo>
                    <a:pt x="135" y="387"/>
                  </a:lnTo>
                  <a:lnTo>
                    <a:pt x="135" y="389"/>
                  </a:lnTo>
                  <a:lnTo>
                    <a:pt x="134" y="390"/>
                  </a:lnTo>
                  <a:lnTo>
                    <a:pt x="134" y="392"/>
                  </a:lnTo>
                  <a:lnTo>
                    <a:pt x="133" y="392"/>
                  </a:lnTo>
                  <a:lnTo>
                    <a:pt x="130" y="394"/>
                  </a:lnTo>
                  <a:lnTo>
                    <a:pt x="130" y="395"/>
                  </a:lnTo>
                  <a:lnTo>
                    <a:pt x="128" y="398"/>
                  </a:lnTo>
                  <a:lnTo>
                    <a:pt x="128" y="401"/>
                  </a:lnTo>
                  <a:lnTo>
                    <a:pt x="129" y="405"/>
                  </a:lnTo>
                  <a:lnTo>
                    <a:pt x="130" y="405"/>
                  </a:lnTo>
                  <a:lnTo>
                    <a:pt x="130" y="406"/>
                  </a:lnTo>
                  <a:lnTo>
                    <a:pt x="133" y="408"/>
                  </a:lnTo>
                  <a:lnTo>
                    <a:pt x="131" y="413"/>
                  </a:lnTo>
                  <a:lnTo>
                    <a:pt x="130" y="414"/>
                  </a:lnTo>
                  <a:lnTo>
                    <a:pt x="131" y="415"/>
                  </a:lnTo>
                  <a:lnTo>
                    <a:pt x="131" y="417"/>
                  </a:lnTo>
                  <a:lnTo>
                    <a:pt x="130" y="418"/>
                  </a:lnTo>
                  <a:lnTo>
                    <a:pt x="130" y="420"/>
                  </a:lnTo>
                  <a:lnTo>
                    <a:pt x="131" y="420"/>
                  </a:lnTo>
                  <a:lnTo>
                    <a:pt x="130" y="421"/>
                  </a:lnTo>
                  <a:lnTo>
                    <a:pt x="130" y="430"/>
                  </a:lnTo>
                  <a:lnTo>
                    <a:pt x="129" y="431"/>
                  </a:lnTo>
                  <a:lnTo>
                    <a:pt x="129" y="436"/>
                  </a:lnTo>
                  <a:lnTo>
                    <a:pt x="128" y="439"/>
                  </a:lnTo>
                  <a:lnTo>
                    <a:pt x="129" y="441"/>
                  </a:lnTo>
                  <a:lnTo>
                    <a:pt x="129" y="443"/>
                  </a:lnTo>
                  <a:lnTo>
                    <a:pt x="127" y="448"/>
                  </a:lnTo>
                  <a:lnTo>
                    <a:pt x="127" y="449"/>
                  </a:lnTo>
                  <a:lnTo>
                    <a:pt x="128" y="450"/>
                  </a:lnTo>
                  <a:lnTo>
                    <a:pt x="129" y="450"/>
                  </a:lnTo>
                  <a:lnTo>
                    <a:pt x="129" y="451"/>
                  </a:lnTo>
                  <a:lnTo>
                    <a:pt x="128" y="451"/>
                  </a:lnTo>
                  <a:lnTo>
                    <a:pt x="125" y="454"/>
                  </a:lnTo>
                  <a:lnTo>
                    <a:pt x="125" y="456"/>
                  </a:lnTo>
                  <a:lnTo>
                    <a:pt x="127" y="457"/>
                  </a:lnTo>
                  <a:lnTo>
                    <a:pt x="125" y="458"/>
                  </a:lnTo>
                  <a:lnTo>
                    <a:pt x="125" y="460"/>
                  </a:lnTo>
                  <a:lnTo>
                    <a:pt x="124" y="460"/>
                  </a:lnTo>
                  <a:lnTo>
                    <a:pt x="123" y="461"/>
                  </a:lnTo>
                  <a:lnTo>
                    <a:pt x="123" y="460"/>
                  </a:lnTo>
                  <a:lnTo>
                    <a:pt x="119" y="460"/>
                  </a:lnTo>
                  <a:lnTo>
                    <a:pt x="119" y="458"/>
                  </a:lnTo>
                  <a:lnTo>
                    <a:pt x="118" y="457"/>
                  </a:lnTo>
                  <a:lnTo>
                    <a:pt x="117" y="457"/>
                  </a:lnTo>
                  <a:lnTo>
                    <a:pt x="116" y="456"/>
                  </a:lnTo>
                  <a:lnTo>
                    <a:pt x="115" y="456"/>
                  </a:lnTo>
                  <a:lnTo>
                    <a:pt x="115" y="455"/>
                  </a:lnTo>
                  <a:lnTo>
                    <a:pt x="110" y="455"/>
                  </a:lnTo>
                  <a:lnTo>
                    <a:pt x="109" y="456"/>
                  </a:lnTo>
                  <a:lnTo>
                    <a:pt x="109" y="457"/>
                  </a:lnTo>
                  <a:lnTo>
                    <a:pt x="108" y="456"/>
                  </a:lnTo>
                  <a:lnTo>
                    <a:pt x="106" y="456"/>
                  </a:lnTo>
                  <a:lnTo>
                    <a:pt x="105" y="454"/>
                  </a:lnTo>
                  <a:lnTo>
                    <a:pt x="104" y="454"/>
                  </a:lnTo>
                  <a:lnTo>
                    <a:pt x="104" y="452"/>
                  </a:lnTo>
                  <a:lnTo>
                    <a:pt x="103" y="452"/>
                  </a:lnTo>
                  <a:lnTo>
                    <a:pt x="103" y="455"/>
                  </a:lnTo>
                  <a:lnTo>
                    <a:pt x="105" y="455"/>
                  </a:lnTo>
                  <a:lnTo>
                    <a:pt x="103" y="457"/>
                  </a:lnTo>
                  <a:lnTo>
                    <a:pt x="103" y="463"/>
                  </a:lnTo>
                  <a:lnTo>
                    <a:pt x="104" y="463"/>
                  </a:lnTo>
                  <a:lnTo>
                    <a:pt x="104" y="464"/>
                  </a:lnTo>
                  <a:lnTo>
                    <a:pt x="103" y="466"/>
                  </a:lnTo>
                  <a:lnTo>
                    <a:pt x="103" y="468"/>
                  </a:lnTo>
                  <a:lnTo>
                    <a:pt x="102" y="468"/>
                  </a:lnTo>
                  <a:lnTo>
                    <a:pt x="97" y="473"/>
                  </a:lnTo>
                  <a:lnTo>
                    <a:pt x="96" y="473"/>
                  </a:lnTo>
                  <a:lnTo>
                    <a:pt x="96" y="474"/>
                  </a:lnTo>
                  <a:lnTo>
                    <a:pt x="94" y="474"/>
                  </a:lnTo>
                  <a:lnTo>
                    <a:pt x="94" y="473"/>
                  </a:lnTo>
                  <a:lnTo>
                    <a:pt x="93" y="472"/>
                  </a:lnTo>
                  <a:lnTo>
                    <a:pt x="92" y="472"/>
                  </a:lnTo>
                  <a:lnTo>
                    <a:pt x="91" y="470"/>
                  </a:lnTo>
                  <a:lnTo>
                    <a:pt x="90" y="470"/>
                  </a:lnTo>
                  <a:lnTo>
                    <a:pt x="88" y="472"/>
                  </a:lnTo>
                  <a:lnTo>
                    <a:pt x="87" y="472"/>
                  </a:lnTo>
                  <a:lnTo>
                    <a:pt x="87" y="474"/>
                  </a:lnTo>
                  <a:lnTo>
                    <a:pt x="86" y="474"/>
                  </a:lnTo>
                  <a:lnTo>
                    <a:pt x="86" y="473"/>
                  </a:lnTo>
                  <a:lnTo>
                    <a:pt x="85" y="473"/>
                  </a:lnTo>
                  <a:lnTo>
                    <a:pt x="85" y="469"/>
                  </a:lnTo>
                  <a:lnTo>
                    <a:pt x="84" y="469"/>
                  </a:lnTo>
                  <a:lnTo>
                    <a:pt x="84" y="467"/>
                  </a:lnTo>
                  <a:lnTo>
                    <a:pt x="83" y="464"/>
                  </a:lnTo>
                  <a:lnTo>
                    <a:pt x="81" y="463"/>
                  </a:lnTo>
                  <a:lnTo>
                    <a:pt x="81" y="462"/>
                  </a:lnTo>
                  <a:lnTo>
                    <a:pt x="80" y="462"/>
                  </a:lnTo>
                  <a:lnTo>
                    <a:pt x="79" y="461"/>
                  </a:lnTo>
                  <a:lnTo>
                    <a:pt x="79" y="460"/>
                  </a:lnTo>
                  <a:lnTo>
                    <a:pt x="78" y="461"/>
                  </a:lnTo>
                  <a:lnTo>
                    <a:pt x="78" y="457"/>
                  </a:lnTo>
                  <a:lnTo>
                    <a:pt x="77" y="457"/>
                  </a:lnTo>
                  <a:lnTo>
                    <a:pt x="77" y="456"/>
                  </a:lnTo>
                  <a:lnTo>
                    <a:pt x="75" y="456"/>
                  </a:lnTo>
                  <a:lnTo>
                    <a:pt x="75" y="454"/>
                  </a:lnTo>
                  <a:lnTo>
                    <a:pt x="78" y="451"/>
                  </a:lnTo>
                  <a:lnTo>
                    <a:pt x="78" y="450"/>
                  </a:lnTo>
                  <a:lnTo>
                    <a:pt x="75" y="448"/>
                  </a:lnTo>
                  <a:lnTo>
                    <a:pt x="75" y="445"/>
                  </a:lnTo>
                  <a:lnTo>
                    <a:pt x="77" y="445"/>
                  </a:lnTo>
                  <a:lnTo>
                    <a:pt x="77" y="443"/>
                  </a:lnTo>
                  <a:lnTo>
                    <a:pt x="75" y="442"/>
                  </a:lnTo>
                  <a:lnTo>
                    <a:pt x="78" y="439"/>
                  </a:lnTo>
                  <a:lnTo>
                    <a:pt x="78" y="438"/>
                  </a:lnTo>
                  <a:lnTo>
                    <a:pt x="79" y="437"/>
                  </a:lnTo>
                  <a:lnTo>
                    <a:pt x="79" y="431"/>
                  </a:lnTo>
                  <a:lnTo>
                    <a:pt x="78" y="429"/>
                  </a:lnTo>
                  <a:lnTo>
                    <a:pt x="78" y="425"/>
                  </a:lnTo>
                  <a:lnTo>
                    <a:pt x="79" y="425"/>
                  </a:lnTo>
                  <a:lnTo>
                    <a:pt x="79" y="426"/>
                  </a:lnTo>
                  <a:lnTo>
                    <a:pt x="81" y="429"/>
                  </a:lnTo>
                  <a:lnTo>
                    <a:pt x="81" y="426"/>
                  </a:lnTo>
                  <a:lnTo>
                    <a:pt x="83" y="425"/>
                  </a:lnTo>
                  <a:lnTo>
                    <a:pt x="81" y="425"/>
                  </a:lnTo>
                  <a:lnTo>
                    <a:pt x="83" y="424"/>
                  </a:lnTo>
                  <a:lnTo>
                    <a:pt x="83" y="419"/>
                  </a:lnTo>
                  <a:lnTo>
                    <a:pt x="80" y="417"/>
                  </a:lnTo>
                  <a:lnTo>
                    <a:pt x="79" y="417"/>
                  </a:lnTo>
                  <a:lnTo>
                    <a:pt x="78" y="418"/>
                  </a:lnTo>
                  <a:lnTo>
                    <a:pt x="79" y="418"/>
                  </a:lnTo>
                  <a:lnTo>
                    <a:pt x="78" y="419"/>
                  </a:lnTo>
                  <a:lnTo>
                    <a:pt x="77" y="418"/>
                  </a:lnTo>
                  <a:lnTo>
                    <a:pt x="77" y="411"/>
                  </a:lnTo>
                  <a:lnTo>
                    <a:pt x="75" y="411"/>
                  </a:lnTo>
                  <a:lnTo>
                    <a:pt x="75" y="409"/>
                  </a:lnTo>
                  <a:lnTo>
                    <a:pt x="79" y="409"/>
                  </a:lnTo>
                  <a:lnTo>
                    <a:pt x="80" y="408"/>
                  </a:lnTo>
                  <a:lnTo>
                    <a:pt x="80" y="406"/>
                  </a:lnTo>
                  <a:lnTo>
                    <a:pt x="79" y="405"/>
                  </a:lnTo>
                  <a:lnTo>
                    <a:pt x="79" y="400"/>
                  </a:lnTo>
                  <a:lnTo>
                    <a:pt x="80" y="398"/>
                  </a:lnTo>
                  <a:lnTo>
                    <a:pt x="80" y="396"/>
                  </a:lnTo>
                  <a:lnTo>
                    <a:pt x="77" y="393"/>
                  </a:lnTo>
                  <a:lnTo>
                    <a:pt x="77" y="394"/>
                  </a:lnTo>
                  <a:lnTo>
                    <a:pt x="75" y="393"/>
                  </a:lnTo>
                  <a:lnTo>
                    <a:pt x="75" y="392"/>
                  </a:lnTo>
                  <a:lnTo>
                    <a:pt x="77" y="389"/>
                  </a:lnTo>
                  <a:lnTo>
                    <a:pt x="75" y="388"/>
                  </a:lnTo>
                  <a:lnTo>
                    <a:pt x="75" y="386"/>
                  </a:lnTo>
                  <a:lnTo>
                    <a:pt x="74" y="384"/>
                  </a:lnTo>
                  <a:lnTo>
                    <a:pt x="73" y="384"/>
                  </a:lnTo>
                  <a:lnTo>
                    <a:pt x="73" y="381"/>
                  </a:lnTo>
                  <a:lnTo>
                    <a:pt x="72" y="380"/>
                  </a:lnTo>
                  <a:lnTo>
                    <a:pt x="71" y="380"/>
                  </a:lnTo>
                  <a:lnTo>
                    <a:pt x="68" y="381"/>
                  </a:lnTo>
                  <a:lnTo>
                    <a:pt x="68" y="378"/>
                  </a:lnTo>
                  <a:lnTo>
                    <a:pt x="67" y="378"/>
                  </a:lnTo>
                  <a:lnTo>
                    <a:pt x="67" y="380"/>
                  </a:lnTo>
                  <a:lnTo>
                    <a:pt x="66" y="381"/>
                  </a:lnTo>
                  <a:lnTo>
                    <a:pt x="66" y="377"/>
                  </a:lnTo>
                  <a:lnTo>
                    <a:pt x="67" y="377"/>
                  </a:lnTo>
                  <a:lnTo>
                    <a:pt x="67" y="375"/>
                  </a:lnTo>
                  <a:lnTo>
                    <a:pt x="68" y="375"/>
                  </a:lnTo>
                  <a:lnTo>
                    <a:pt x="68" y="374"/>
                  </a:lnTo>
                  <a:lnTo>
                    <a:pt x="67" y="374"/>
                  </a:lnTo>
                  <a:lnTo>
                    <a:pt x="66" y="372"/>
                  </a:lnTo>
                  <a:lnTo>
                    <a:pt x="65" y="372"/>
                  </a:lnTo>
                  <a:lnTo>
                    <a:pt x="68" y="364"/>
                  </a:lnTo>
                  <a:lnTo>
                    <a:pt x="68" y="362"/>
                  </a:lnTo>
                  <a:lnTo>
                    <a:pt x="67" y="362"/>
                  </a:lnTo>
                  <a:lnTo>
                    <a:pt x="67" y="359"/>
                  </a:lnTo>
                  <a:lnTo>
                    <a:pt x="68" y="358"/>
                  </a:lnTo>
                  <a:lnTo>
                    <a:pt x="68" y="359"/>
                  </a:lnTo>
                  <a:lnTo>
                    <a:pt x="69" y="359"/>
                  </a:lnTo>
                  <a:lnTo>
                    <a:pt x="69" y="362"/>
                  </a:lnTo>
                  <a:lnTo>
                    <a:pt x="71" y="364"/>
                  </a:lnTo>
                  <a:lnTo>
                    <a:pt x="73" y="365"/>
                  </a:lnTo>
                  <a:lnTo>
                    <a:pt x="78" y="366"/>
                  </a:lnTo>
                  <a:lnTo>
                    <a:pt x="81" y="366"/>
                  </a:lnTo>
                  <a:lnTo>
                    <a:pt x="85" y="365"/>
                  </a:lnTo>
                  <a:lnTo>
                    <a:pt x="86" y="364"/>
                  </a:lnTo>
                  <a:lnTo>
                    <a:pt x="86" y="363"/>
                  </a:lnTo>
                  <a:lnTo>
                    <a:pt x="90" y="362"/>
                  </a:lnTo>
                  <a:lnTo>
                    <a:pt x="92" y="362"/>
                  </a:lnTo>
                  <a:lnTo>
                    <a:pt x="94" y="361"/>
                  </a:lnTo>
                  <a:lnTo>
                    <a:pt x="94" y="359"/>
                  </a:lnTo>
                  <a:lnTo>
                    <a:pt x="97" y="357"/>
                  </a:lnTo>
                  <a:lnTo>
                    <a:pt x="97" y="356"/>
                  </a:lnTo>
                  <a:lnTo>
                    <a:pt x="98" y="356"/>
                  </a:lnTo>
                  <a:lnTo>
                    <a:pt x="98" y="355"/>
                  </a:lnTo>
                  <a:lnTo>
                    <a:pt x="99" y="355"/>
                  </a:lnTo>
                  <a:lnTo>
                    <a:pt x="99" y="353"/>
                  </a:lnTo>
                  <a:lnTo>
                    <a:pt x="100" y="353"/>
                  </a:lnTo>
                  <a:lnTo>
                    <a:pt x="100" y="352"/>
                  </a:lnTo>
                  <a:lnTo>
                    <a:pt x="102" y="351"/>
                  </a:lnTo>
                  <a:lnTo>
                    <a:pt x="102" y="350"/>
                  </a:lnTo>
                  <a:lnTo>
                    <a:pt x="106" y="350"/>
                  </a:lnTo>
                  <a:lnTo>
                    <a:pt x="109" y="347"/>
                  </a:lnTo>
                  <a:lnTo>
                    <a:pt x="109" y="344"/>
                  </a:lnTo>
                  <a:lnTo>
                    <a:pt x="110" y="343"/>
                  </a:lnTo>
                  <a:close/>
                  <a:moveTo>
                    <a:pt x="183" y="282"/>
                  </a:moveTo>
                  <a:lnTo>
                    <a:pt x="184" y="282"/>
                  </a:lnTo>
                  <a:lnTo>
                    <a:pt x="183" y="283"/>
                  </a:lnTo>
                  <a:lnTo>
                    <a:pt x="183" y="282"/>
                  </a:lnTo>
                  <a:close/>
                  <a:moveTo>
                    <a:pt x="156" y="280"/>
                  </a:moveTo>
                  <a:lnTo>
                    <a:pt x="158" y="282"/>
                  </a:lnTo>
                  <a:lnTo>
                    <a:pt x="158" y="283"/>
                  </a:lnTo>
                  <a:lnTo>
                    <a:pt x="156" y="282"/>
                  </a:lnTo>
                  <a:lnTo>
                    <a:pt x="156" y="280"/>
                  </a:lnTo>
                  <a:close/>
                  <a:moveTo>
                    <a:pt x="181" y="278"/>
                  </a:moveTo>
                  <a:lnTo>
                    <a:pt x="181" y="279"/>
                  </a:lnTo>
                  <a:lnTo>
                    <a:pt x="183" y="279"/>
                  </a:lnTo>
                  <a:lnTo>
                    <a:pt x="183" y="282"/>
                  </a:lnTo>
                  <a:lnTo>
                    <a:pt x="180" y="280"/>
                  </a:lnTo>
                  <a:lnTo>
                    <a:pt x="180" y="279"/>
                  </a:lnTo>
                  <a:lnTo>
                    <a:pt x="181" y="278"/>
                  </a:lnTo>
                  <a:close/>
                  <a:moveTo>
                    <a:pt x="147" y="266"/>
                  </a:moveTo>
                  <a:lnTo>
                    <a:pt x="148" y="266"/>
                  </a:lnTo>
                  <a:lnTo>
                    <a:pt x="148" y="267"/>
                  </a:lnTo>
                  <a:lnTo>
                    <a:pt x="147" y="269"/>
                  </a:lnTo>
                  <a:lnTo>
                    <a:pt x="147" y="266"/>
                  </a:lnTo>
                  <a:close/>
                  <a:moveTo>
                    <a:pt x="161" y="251"/>
                  </a:moveTo>
                  <a:lnTo>
                    <a:pt x="162" y="252"/>
                  </a:lnTo>
                  <a:lnTo>
                    <a:pt x="162" y="255"/>
                  </a:lnTo>
                  <a:lnTo>
                    <a:pt x="160" y="258"/>
                  </a:lnTo>
                  <a:lnTo>
                    <a:pt x="161" y="258"/>
                  </a:lnTo>
                  <a:lnTo>
                    <a:pt x="162" y="259"/>
                  </a:lnTo>
                  <a:lnTo>
                    <a:pt x="161" y="260"/>
                  </a:lnTo>
                  <a:lnTo>
                    <a:pt x="160" y="260"/>
                  </a:lnTo>
                  <a:lnTo>
                    <a:pt x="160" y="259"/>
                  </a:lnTo>
                  <a:lnTo>
                    <a:pt x="158" y="257"/>
                  </a:lnTo>
                  <a:lnTo>
                    <a:pt x="158" y="258"/>
                  </a:lnTo>
                  <a:lnTo>
                    <a:pt x="154" y="258"/>
                  </a:lnTo>
                  <a:lnTo>
                    <a:pt x="154" y="259"/>
                  </a:lnTo>
                  <a:lnTo>
                    <a:pt x="150" y="259"/>
                  </a:lnTo>
                  <a:lnTo>
                    <a:pt x="149" y="258"/>
                  </a:lnTo>
                  <a:lnTo>
                    <a:pt x="148" y="258"/>
                  </a:lnTo>
                  <a:lnTo>
                    <a:pt x="148" y="255"/>
                  </a:lnTo>
                  <a:lnTo>
                    <a:pt x="149" y="254"/>
                  </a:lnTo>
                  <a:lnTo>
                    <a:pt x="153" y="254"/>
                  </a:lnTo>
                  <a:lnTo>
                    <a:pt x="153" y="255"/>
                  </a:lnTo>
                  <a:lnTo>
                    <a:pt x="155" y="255"/>
                  </a:lnTo>
                  <a:lnTo>
                    <a:pt x="155" y="253"/>
                  </a:lnTo>
                  <a:lnTo>
                    <a:pt x="156" y="254"/>
                  </a:lnTo>
                  <a:lnTo>
                    <a:pt x="158" y="253"/>
                  </a:lnTo>
                  <a:lnTo>
                    <a:pt x="158" y="254"/>
                  </a:lnTo>
                  <a:lnTo>
                    <a:pt x="159" y="254"/>
                  </a:lnTo>
                  <a:lnTo>
                    <a:pt x="160" y="253"/>
                  </a:lnTo>
                  <a:lnTo>
                    <a:pt x="160" y="252"/>
                  </a:lnTo>
                  <a:lnTo>
                    <a:pt x="161" y="251"/>
                  </a:lnTo>
                  <a:close/>
                  <a:moveTo>
                    <a:pt x="136" y="240"/>
                  </a:moveTo>
                  <a:lnTo>
                    <a:pt x="137" y="240"/>
                  </a:lnTo>
                  <a:lnTo>
                    <a:pt x="137" y="242"/>
                  </a:lnTo>
                  <a:lnTo>
                    <a:pt x="136" y="243"/>
                  </a:lnTo>
                  <a:lnTo>
                    <a:pt x="135" y="243"/>
                  </a:lnTo>
                  <a:lnTo>
                    <a:pt x="135" y="242"/>
                  </a:lnTo>
                  <a:lnTo>
                    <a:pt x="136" y="240"/>
                  </a:lnTo>
                  <a:close/>
                  <a:moveTo>
                    <a:pt x="248" y="186"/>
                  </a:moveTo>
                  <a:lnTo>
                    <a:pt x="247" y="187"/>
                  </a:lnTo>
                  <a:lnTo>
                    <a:pt x="246" y="187"/>
                  </a:lnTo>
                  <a:lnTo>
                    <a:pt x="245" y="189"/>
                  </a:lnTo>
                  <a:lnTo>
                    <a:pt x="245" y="191"/>
                  </a:lnTo>
                  <a:lnTo>
                    <a:pt x="246" y="192"/>
                  </a:lnTo>
                  <a:lnTo>
                    <a:pt x="248" y="192"/>
                  </a:lnTo>
                  <a:lnTo>
                    <a:pt x="248" y="190"/>
                  </a:lnTo>
                  <a:lnTo>
                    <a:pt x="249" y="189"/>
                  </a:lnTo>
                  <a:lnTo>
                    <a:pt x="249" y="187"/>
                  </a:lnTo>
                  <a:lnTo>
                    <a:pt x="248" y="186"/>
                  </a:lnTo>
                  <a:close/>
                  <a:moveTo>
                    <a:pt x="136" y="181"/>
                  </a:moveTo>
                  <a:lnTo>
                    <a:pt x="137" y="181"/>
                  </a:lnTo>
                  <a:lnTo>
                    <a:pt x="137" y="183"/>
                  </a:lnTo>
                  <a:lnTo>
                    <a:pt x="136" y="183"/>
                  </a:lnTo>
                  <a:lnTo>
                    <a:pt x="136" y="181"/>
                  </a:lnTo>
                  <a:close/>
                  <a:moveTo>
                    <a:pt x="235" y="107"/>
                  </a:moveTo>
                  <a:lnTo>
                    <a:pt x="235" y="111"/>
                  </a:lnTo>
                  <a:lnTo>
                    <a:pt x="236" y="111"/>
                  </a:lnTo>
                  <a:lnTo>
                    <a:pt x="236" y="108"/>
                  </a:lnTo>
                  <a:lnTo>
                    <a:pt x="235" y="107"/>
                  </a:lnTo>
                  <a:close/>
                  <a:moveTo>
                    <a:pt x="245" y="100"/>
                  </a:moveTo>
                  <a:lnTo>
                    <a:pt x="246" y="100"/>
                  </a:lnTo>
                  <a:lnTo>
                    <a:pt x="247" y="101"/>
                  </a:lnTo>
                  <a:lnTo>
                    <a:pt x="245" y="101"/>
                  </a:lnTo>
                  <a:lnTo>
                    <a:pt x="242" y="106"/>
                  </a:lnTo>
                  <a:lnTo>
                    <a:pt x="242" y="104"/>
                  </a:lnTo>
                  <a:lnTo>
                    <a:pt x="243" y="103"/>
                  </a:lnTo>
                  <a:lnTo>
                    <a:pt x="243" y="101"/>
                  </a:lnTo>
                  <a:lnTo>
                    <a:pt x="245" y="100"/>
                  </a:lnTo>
                  <a:close/>
                  <a:moveTo>
                    <a:pt x="242" y="99"/>
                  </a:moveTo>
                  <a:lnTo>
                    <a:pt x="243" y="99"/>
                  </a:lnTo>
                  <a:lnTo>
                    <a:pt x="243" y="100"/>
                  </a:lnTo>
                  <a:lnTo>
                    <a:pt x="242" y="101"/>
                  </a:lnTo>
                  <a:lnTo>
                    <a:pt x="242" y="100"/>
                  </a:lnTo>
                  <a:lnTo>
                    <a:pt x="241" y="100"/>
                  </a:lnTo>
                  <a:lnTo>
                    <a:pt x="242" y="99"/>
                  </a:lnTo>
                  <a:close/>
                  <a:moveTo>
                    <a:pt x="233" y="0"/>
                  </a:moveTo>
                  <a:lnTo>
                    <a:pt x="236" y="0"/>
                  </a:lnTo>
                  <a:lnTo>
                    <a:pt x="236" y="3"/>
                  </a:lnTo>
                  <a:lnTo>
                    <a:pt x="234" y="5"/>
                  </a:lnTo>
                  <a:lnTo>
                    <a:pt x="233" y="6"/>
                  </a:lnTo>
                  <a:lnTo>
                    <a:pt x="234" y="7"/>
                  </a:lnTo>
                  <a:lnTo>
                    <a:pt x="234" y="11"/>
                  </a:lnTo>
                  <a:lnTo>
                    <a:pt x="235" y="11"/>
                  </a:lnTo>
                  <a:lnTo>
                    <a:pt x="235" y="12"/>
                  </a:lnTo>
                  <a:lnTo>
                    <a:pt x="236" y="12"/>
                  </a:lnTo>
                  <a:lnTo>
                    <a:pt x="236" y="13"/>
                  </a:lnTo>
                  <a:lnTo>
                    <a:pt x="240" y="13"/>
                  </a:lnTo>
                  <a:lnTo>
                    <a:pt x="240" y="19"/>
                  </a:lnTo>
                  <a:lnTo>
                    <a:pt x="242" y="19"/>
                  </a:lnTo>
                  <a:lnTo>
                    <a:pt x="242" y="20"/>
                  </a:lnTo>
                  <a:lnTo>
                    <a:pt x="243" y="21"/>
                  </a:lnTo>
                  <a:lnTo>
                    <a:pt x="243" y="22"/>
                  </a:lnTo>
                  <a:lnTo>
                    <a:pt x="246" y="24"/>
                  </a:lnTo>
                  <a:lnTo>
                    <a:pt x="247" y="25"/>
                  </a:lnTo>
                  <a:lnTo>
                    <a:pt x="249" y="25"/>
                  </a:lnTo>
                  <a:lnTo>
                    <a:pt x="251" y="26"/>
                  </a:lnTo>
                  <a:lnTo>
                    <a:pt x="257" y="26"/>
                  </a:lnTo>
                  <a:lnTo>
                    <a:pt x="258" y="27"/>
                  </a:lnTo>
                  <a:lnTo>
                    <a:pt x="261" y="27"/>
                  </a:lnTo>
                  <a:lnTo>
                    <a:pt x="264" y="30"/>
                  </a:lnTo>
                  <a:lnTo>
                    <a:pt x="273" y="30"/>
                  </a:lnTo>
                  <a:lnTo>
                    <a:pt x="277" y="31"/>
                  </a:lnTo>
                  <a:lnTo>
                    <a:pt x="279" y="32"/>
                  </a:lnTo>
                  <a:lnTo>
                    <a:pt x="280" y="32"/>
                  </a:lnTo>
                  <a:lnTo>
                    <a:pt x="282" y="33"/>
                  </a:lnTo>
                  <a:lnTo>
                    <a:pt x="286" y="32"/>
                  </a:lnTo>
                  <a:lnTo>
                    <a:pt x="291" y="32"/>
                  </a:lnTo>
                  <a:lnTo>
                    <a:pt x="291" y="33"/>
                  </a:lnTo>
                  <a:lnTo>
                    <a:pt x="293" y="33"/>
                  </a:lnTo>
                  <a:lnTo>
                    <a:pt x="298" y="34"/>
                  </a:lnTo>
                  <a:lnTo>
                    <a:pt x="299" y="34"/>
                  </a:lnTo>
                  <a:lnTo>
                    <a:pt x="299" y="39"/>
                  </a:lnTo>
                  <a:lnTo>
                    <a:pt x="296" y="39"/>
                  </a:lnTo>
                  <a:lnTo>
                    <a:pt x="291" y="44"/>
                  </a:lnTo>
                  <a:lnTo>
                    <a:pt x="290" y="44"/>
                  </a:lnTo>
                  <a:lnTo>
                    <a:pt x="288" y="46"/>
                  </a:lnTo>
                  <a:lnTo>
                    <a:pt x="288" y="48"/>
                  </a:lnTo>
                  <a:lnTo>
                    <a:pt x="286" y="49"/>
                  </a:lnTo>
                  <a:lnTo>
                    <a:pt x="286" y="51"/>
                  </a:lnTo>
                  <a:lnTo>
                    <a:pt x="288" y="52"/>
                  </a:lnTo>
                  <a:lnTo>
                    <a:pt x="288" y="54"/>
                  </a:lnTo>
                  <a:lnTo>
                    <a:pt x="289" y="54"/>
                  </a:lnTo>
                  <a:lnTo>
                    <a:pt x="289" y="52"/>
                  </a:lnTo>
                  <a:lnTo>
                    <a:pt x="290" y="52"/>
                  </a:lnTo>
                  <a:lnTo>
                    <a:pt x="291" y="54"/>
                  </a:lnTo>
                  <a:lnTo>
                    <a:pt x="292" y="54"/>
                  </a:lnTo>
                  <a:lnTo>
                    <a:pt x="293" y="55"/>
                  </a:lnTo>
                  <a:lnTo>
                    <a:pt x="297" y="55"/>
                  </a:lnTo>
                  <a:lnTo>
                    <a:pt x="297" y="56"/>
                  </a:lnTo>
                  <a:lnTo>
                    <a:pt x="296" y="58"/>
                  </a:lnTo>
                  <a:lnTo>
                    <a:pt x="291" y="63"/>
                  </a:lnTo>
                  <a:lnTo>
                    <a:pt x="291" y="65"/>
                  </a:lnTo>
                  <a:lnTo>
                    <a:pt x="290" y="65"/>
                  </a:lnTo>
                  <a:lnTo>
                    <a:pt x="290" y="67"/>
                  </a:lnTo>
                  <a:lnTo>
                    <a:pt x="291" y="67"/>
                  </a:lnTo>
                  <a:lnTo>
                    <a:pt x="292" y="68"/>
                  </a:lnTo>
                  <a:lnTo>
                    <a:pt x="295" y="68"/>
                  </a:lnTo>
                  <a:lnTo>
                    <a:pt x="296" y="67"/>
                  </a:lnTo>
                  <a:lnTo>
                    <a:pt x="297" y="68"/>
                  </a:lnTo>
                  <a:lnTo>
                    <a:pt x="296" y="69"/>
                  </a:lnTo>
                  <a:lnTo>
                    <a:pt x="296" y="71"/>
                  </a:lnTo>
                  <a:lnTo>
                    <a:pt x="295" y="75"/>
                  </a:lnTo>
                  <a:lnTo>
                    <a:pt x="295" y="77"/>
                  </a:lnTo>
                  <a:lnTo>
                    <a:pt x="296" y="79"/>
                  </a:lnTo>
                  <a:lnTo>
                    <a:pt x="298" y="79"/>
                  </a:lnTo>
                  <a:lnTo>
                    <a:pt x="301" y="81"/>
                  </a:lnTo>
                  <a:lnTo>
                    <a:pt x="303" y="82"/>
                  </a:lnTo>
                  <a:lnTo>
                    <a:pt x="307" y="87"/>
                  </a:lnTo>
                  <a:lnTo>
                    <a:pt x="307" y="88"/>
                  </a:lnTo>
                  <a:lnTo>
                    <a:pt x="308" y="88"/>
                  </a:lnTo>
                  <a:lnTo>
                    <a:pt x="308" y="89"/>
                  </a:lnTo>
                  <a:lnTo>
                    <a:pt x="307" y="91"/>
                  </a:lnTo>
                  <a:lnTo>
                    <a:pt x="307" y="92"/>
                  </a:lnTo>
                  <a:lnTo>
                    <a:pt x="304" y="92"/>
                  </a:lnTo>
                  <a:lnTo>
                    <a:pt x="303" y="91"/>
                  </a:lnTo>
                  <a:lnTo>
                    <a:pt x="301" y="91"/>
                  </a:lnTo>
                  <a:lnTo>
                    <a:pt x="301" y="89"/>
                  </a:lnTo>
                  <a:lnTo>
                    <a:pt x="303" y="89"/>
                  </a:lnTo>
                  <a:lnTo>
                    <a:pt x="303" y="88"/>
                  </a:lnTo>
                  <a:lnTo>
                    <a:pt x="302" y="87"/>
                  </a:lnTo>
                  <a:lnTo>
                    <a:pt x="302" y="85"/>
                  </a:lnTo>
                  <a:lnTo>
                    <a:pt x="301" y="85"/>
                  </a:lnTo>
                  <a:lnTo>
                    <a:pt x="298" y="81"/>
                  </a:lnTo>
                  <a:lnTo>
                    <a:pt x="297" y="80"/>
                  </a:lnTo>
                  <a:lnTo>
                    <a:pt x="295" y="79"/>
                  </a:lnTo>
                  <a:lnTo>
                    <a:pt x="293" y="79"/>
                  </a:lnTo>
                  <a:lnTo>
                    <a:pt x="293" y="80"/>
                  </a:lnTo>
                  <a:lnTo>
                    <a:pt x="292" y="81"/>
                  </a:lnTo>
                  <a:lnTo>
                    <a:pt x="292" y="82"/>
                  </a:lnTo>
                  <a:lnTo>
                    <a:pt x="293" y="82"/>
                  </a:lnTo>
                  <a:lnTo>
                    <a:pt x="292" y="83"/>
                  </a:lnTo>
                  <a:lnTo>
                    <a:pt x="291" y="83"/>
                  </a:lnTo>
                  <a:lnTo>
                    <a:pt x="289" y="86"/>
                  </a:lnTo>
                  <a:lnTo>
                    <a:pt x="286" y="86"/>
                  </a:lnTo>
                  <a:lnTo>
                    <a:pt x="288" y="85"/>
                  </a:lnTo>
                  <a:lnTo>
                    <a:pt x="289" y="85"/>
                  </a:lnTo>
                  <a:lnTo>
                    <a:pt x="289" y="83"/>
                  </a:lnTo>
                  <a:lnTo>
                    <a:pt x="286" y="82"/>
                  </a:lnTo>
                  <a:lnTo>
                    <a:pt x="285" y="82"/>
                  </a:lnTo>
                  <a:lnTo>
                    <a:pt x="282" y="81"/>
                  </a:lnTo>
                  <a:lnTo>
                    <a:pt x="280" y="81"/>
                  </a:lnTo>
                  <a:lnTo>
                    <a:pt x="280" y="80"/>
                  </a:lnTo>
                  <a:lnTo>
                    <a:pt x="278" y="80"/>
                  </a:lnTo>
                  <a:lnTo>
                    <a:pt x="277" y="81"/>
                  </a:lnTo>
                  <a:lnTo>
                    <a:pt x="276" y="80"/>
                  </a:lnTo>
                  <a:lnTo>
                    <a:pt x="274" y="81"/>
                  </a:lnTo>
                  <a:lnTo>
                    <a:pt x="276" y="81"/>
                  </a:lnTo>
                  <a:lnTo>
                    <a:pt x="276" y="82"/>
                  </a:lnTo>
                  <a:lnTo>
                    <a:pt x="274" y="82"/>
                  </a:lnTo>
                  <a:lnTo>
                    <a:pt x="273" y="83"/>
                  </a:lnTo>
                  <a:lnTo>
                    <a:pt x="273" y="85"/>
                  </a:lnTo>
                  <a:lnTo>
                    <a:pt x="277" y="85"/>
                  </a:lnTo>
                  <a:lnTo>
                    <a:pt x="274" y="86"/>
                  </a:lnTo>
                  <a:lnTo>
                    <a:pt x="274" y="88"/>
                  </a:lnTo>
                  <a:lnTo>
                    <a:pt x="268" y="88"/>
                  </a:lnTo>
                  <a:lnTo>
                    <a:pt x="261" y="93"/>
                  </a:lnTo>
                  <a:lnTo>
                    <a:pt x="254" y="97"/>
                  </a:lnTo>
                  <a:lnTo>
                    <a:pt x="249" y="98"/>
                  </a:lnTo>
                  <a:lnTo>
                    <a:pt x="249" y="99"/>
                  </a:lnTo>
                  <a:lnTo>
                    <a:pt x="247" y="99"/>
                  </a:lnTo>
                  <a:lnTo>
                    <a:pt x="246" y="100"/>
                  </a:lnTo>
                  <a:lnTo>
                    <a:pt x="246" y="99"/>
                  </a:lnTo>
                  <a:lnTo>
                    <a:pt x="247" y="98"/>
                  </a:lnTo>
                  <a:lnTo>
                    <a:pt x="247" y="97"/>
                  </a:lnTo>
                  <a:lnTo>
                    <a:pt x="251" y="97"/>
                  </a:lnTo>
                  <a:lnTo>
                    <a:pt x="251" y="95"/>
                  </a:lnTo>
                  <a:lnTo>
                    <a:pt x="252" y="95"/>
                  </a:lnTo>
                  <a:lnTo>
                    <a:pt x="252" y="94"/>
                  </a:lnTo>
                  <a:lnTo>
                    <a:pt x="253" y="94"/>
                  </a:lnTo>
                  <a:lnTo>
                    <a:pt x="253" y="93"/>
                  </a:lnTo>
                  <a:lnTo>
                    <a:pt x="252" y="93"/>
                  </a:lnTo>
                  <a:lnTo>
                    <a:pt x="252" y="94"/>
                  </a:lnTo>
                  <a:lnTo>
                    <a:pt x="251" y="94"/>
                  </a:lnTo>
                  <a:lnTo>
                    <a:pt x="251" y="93"/>
                  </a:lnTo>
                  <a:lnTo>
                    <a:pt x="249" y="93"/>
                  </a:lnTo>
                  <a:lnTo>
                    <a:pt x="249" y="92"/>
                  </a:lnTo>
                  <a:lnTo>
                    <a:pt x="247" y="94"/>
                  </a:lnTo>
                  <a:lnTo>
                    <a:pt x="247" y="95"/>
                  </a:lnTo>
                  <a:lnTo>
                    <a:pt x="246" y="95"/>
                  </a:lnTo>
                  <a:lnTo>
                    <a:pt x="245" y="94"/>
                  </a:lnTo>
                  <a:lnTo>
                    <a:pt x="245" y="95"/>
                  </a:lnTo>
                  <a:lnTo>
                    <a:pt x="246" y="97"/>
                  </a:lnTo>
                  <a:lnTo>
                    <a:pt x="243" y="97"/>
                  </a:lnTo>
                  <a:lnTo>
                    <a:pt x="241" y="98"/>
                  </a:lnTo>
                  <a:lnTo>
                    <a:pt x="239" y="100"/>
                  </a:lnTo>
                  <a:lnTo>
                    <a:pt x="239" y="105"/>
                  </a:lnTo>
                  <a:lnTo>
                    <a:pt x="237" y="105"/>
                  </a:lnTo>
                  <a:lnTo>
                    <a:pt x="237" y="114"/>
                  </a:lnTo>
                  <a:lnTo>
                    <a:pt x="239" y="114"/>
                  </a:lnTo>
                  <a:lnTo>
                    <a:pt x="240" y="113"/>
                  </a:lnTo>
                  <a:lnTo>
                    <a:pt x="241" y="113"/>
                  </a:lnTo>
                  <a:lnTo>
                    <a:pt x="241" y="116"/>
                  </a:lnTo>
                  <a:lnTo>
                    <a:pt x="242" y="116"/>
                  </a:lnTo>
                  <a:lnTo>
                    <a:pt x="242" y="120"/>
                  </a:lnTo>
                  <a:lnTo>
                    <a:pt x="241" y="120"/>
                  </a:lnTo>
                  <a:lnTo>
                    <a:pt x="241" y="122"/>
                  </a:lnTo>
                  <a:lnTo>
                    <a:pt x="242" y="122"/>
                  </a:lnTo>
                  <a:lnTo>
                    <a:pt x="245" y="124"/>
                  </a:lnTo>
                  <a:lnTo>
                    <a:pt x="243" y="124"/>
                  </a:lnTo>
                  <a:lnTo>
                    <a:pt x="243" y="125"/>
                  </a:lnTo>
                  <a:lnTo>
                    <a:pt x="245" y="125"/>
                  </a:lnTo>
                  <a:lnTo>
                    <a:pt x="245" y="124"/>
                  </a:lnTo>
                  <a:lnTo>
                    <a:pt x="246" y="124"/>
                  </a:lnTo>
                  <a:lnTo>
                    <a:pt x="246" y="125"/>
                  </a:lnTo>
                  <a:lnTo>
                    <a:pt x="247" y="125"/>
                  </a:lnTo>
                  <a:lnTo>
                    <a:pt x="248" y="126"/>
                  </a:lnTo>
                  <a:lnTo>
                    <a:pt x="249" y="126"/>
                  </a:lnTo>
                  <a:lnTo>
                    <a:pt x="251" y="128"/>
                  </a:lnTo>
                  <a:lnTo>
                    <a:pt x="251" y="130"/>
                  </a:lnTo>
                  <a:lnTo>
                    <a:pt x="249" y="131"/>
                  </a:lnTo>
                  <a:lnTo>
                    <a:pt x="249" y="135"/>
                  </a:lnTo>
                  <a:lnTo>
                    <a:pt x="247" y="137"/>
                  </a:lnTo>
                  <a:lnTo>
                    <a:pt x="247" y="136"/>
                  </a:lnTo>
                  <a:lnTo>
                    <a:pt x="246" y="135"/>
                  </a:lnTo>
                  <a:lnTo>
                    <a:pt x="247" y="134"/>
                  </a:lnTo>
                  <a:lnTo>
                    <a:pt x="247" y="132"/>
                  </a:lnTo>
                  <a:lnTo>
                    <a:pt x="246" y="132"/>
                  </a:lnTo>
                  <a:lnTo>
                    <a:pt x="246" y="134"/>
                  </a:lnTo>
                  <a:lnTo>
                    <a:pt x="245" y="135"/>
                  </a:lnTo>
                  <a:lnTo>
                    <a:pt x="246" y="135"/>
                  </a:lnTo>
                  <a:lnTo>
                    <a:pt x="246" y="136"/>
                  </a:lnTo>
                  <a:lnTo>
                    <a:pt x="245" y="136"/>
                  </a:lnTo>
                  <a:lnTo>
                    <a:pt x="245" y="137"/>
                  </a:lnTo>
                  <a:lnTo>
                    <a:pt x="246" y="137"/>
                  </a:lnTo>
                  <a:lnTo>
                    <a:pt x="246" y="138"/>
                  </a:lnTo>
                  <a:lnTo>
                    <a:pt x="243" y="138"/>
                  </a:lnTo>
                  <a:lnTo>
                    <a:pt x="243" y="137"/>
                  </a:lnTo>
                  <a:lnTo>
                    <a:pt x="242" y="136"/>
                  </a:lnTo>
                  <a:lnTo>
                    <a:pt x="241" y="136"/>
                  </a:lnTo>
                  <a:lnTo>
                    <a:pt x="240" y="137"/>
                  </a:lnTo>
                  <a:lnTo>
                    <a:pt x="239" y="141"/>
                  </a:lnTo>
                  <a:lnTo>
                    <a:pt x="239" y="147"/>
                  </a:lnTo>
                  <a:lnTo>
                    <a:pt x="240" y="148"/>
                  </a:lnTo>
                  <a:lnTo>
                    <a:pt x="240" y="156"/>
                  </a:lnTo>
                  <a:lnTo>
                    <a:pt x="241" y="162"/>
                  </a:lnTo>
                  <a:lnTo>
                    <a:pt x="242" y="165"/>
                  </a:lnTo>
                  <a:lnTo>
                    <a:pt x="242" y="167"/>
                  </a:lnTo>
                  <a:lnTo>
                    <a:pt x="243" y="168"/>
                  </a:lnTo>
                  <a:lnTo>
                    <a:pt x="243" y="171"/>
                  </a:lnTo>
                  <a:lnTo>
                    <a:pt x="245" y="173"/>
                  </a:lnTo>
                  <a:lnTo>
                    <a:pt x="247" y="175"/>
                  </a:lnTo>
                  <a:lnTo>
                    <a:pt x="248" y="178"/>
                  </a:lnTo>
                  <a:lnTo>
                    <a:pt x="249" y="179"/>
                  </a:lnTo>
                  <a:lnTo>
                    <a:pt x="252" y="180"/>
                  </a:lnTo>
                  <a:lnTo>
                    <a:pt x="253" y="180"/>
                  </a:lnTo>
                  <a:lnTo>
                    <a:pt x="255" y="184"/>
                  </a:lnTo>
                  <a:lnTo>
                    <a:pt x="258" y="186"/>
                  </a:lnTo>
                  <a:lnTo>
                    <a:pt x="260" y="187"/>
                  </a:lnTo>
                  <a:lnTo>
                    <a:pt x="262" y="187"/>
                  </a:lnTo>
                  <a:lnTo>
                    <a:pt x="262" y="189"/>
                  </a:lnTo>
                  <a:lnTo>
                    <a:pt x="267" y="191"/>
                  </a:lnTo>
                  <a:lnTo>
                    <a:pt x="268" y="192"/>
                  </a:lnTo>
                  <a:lnTo>
                    <a:pt x="282" y="203"/>
                  </a:lnTo>
                  <a:lnTo>
                    <a:pt x="286" y="206"/>
                  </a:lnTo>
                  <a:lnTo>
                    <a:pt x="288" y="206"/>
                  </a:lnTo>
                  <a:lnTo>
                    <a:pt x="289" y="208"/>
                  </a:lnTo>
                  <a:lnTo>
                    <a:pt x="291" y="208"/>
                  </a:lnTo>
                  <a:lnTo>
                    <a:pt x="292" y="206"/>
                  </a:lnTo>
                  <a:lnTo>
                    <a:pt x="292" y="208"/>
                  </a:lnTo>
                  <a:lnTo>
                    <a:pt x="293" y="208"/>
                  </a:lnTo>
                  <a:lnTo>
                    <a:pt x="293" y="209"/>
                  </a:lnTo>
                  <a:lnTo>
                    <a:pt x="297" y="212"/>
                  </a:lnTo>
                  <a:lnTo>
                    <a:pt x="296" y="212"/>
                  </a:lnTo>
                  <a:lnTo>
                    <a:pt x="303" y="228"/>
                  </a:lnTo>
                  <a:lnTo>
                    <a:pt x="303" y="232"/>
                  </a:lnTo>
                  <a:lnTo>
                    <a:pt x="304" y="233"/>
                  </a:lnTo>
                  <a:lnTo>
                    <a:pt x="304" y="234"/>
                  </a:lnTo>
                  <a:lnTo>
                    <a:pt x="307" y="239"/>
                  </a:lnTo>
                  <a:lnTo>
                    <a:pt x="307" y="243"/>
                  </a:lnTo>
                  <a:lnTo>
                    <a:pt x="309" y="249"/>
                  </a:lnTo>
                  <a:lnTo>
                    <a:pt x="310" y="255"/>
                  </a:lnTo>
                  <a:lnTo>
                    <a:pt x="311" y="259"/>
                  </a:lnTo>
                  <a:lnTo>
                    <a:pt x="313" y="261"/>
                  </a:lnTo>
                  <a:lnTo>
                    <a:pt x="315" y="265"/>
                  </a:lnTo>
                  <a:lnTo>
                    <a:pt x="315" y="266"/>
                  </a:lnTo>
                  <a:lnTo>
                    <a:pt x="316" y="266"/>
                  </a:lnTo>
                  <a:lnTo>
                    <a:pt x="322" y="275"/>
                  </a:lnTo>
                  <a:lnTo>
                    <a:pt x="324" y="277"/>
                  </a:lnTo>
                  <a:lnTo>
                    <a:pt x="328" y="278"/>
                  </a:lnTo>
                  <a:lnTo>
                    <a:pt x="329" y="279"/>
                  </a:lnTo>
                  <a:lnTo>
                    <a:pt x="330" y="283"/>
                  </a:lnTo>
                  <a:lnTo>
                    <a:pt x="336" y="288"/>
                  </a:lnTo>
                  <a:lnTo>
                    <a:pt x="338" y="289"/>
                  </a:lnTo>
                  <a:lnTo>
                    <a:pt x="340" y="290"/>
                  </a:lnTo>
                  <a:lnTo>
                    <a:pt x="342" y="290"/>
                  </a:lnTo>
                  <a:lnTo>
                    <a:pt x="342" y="291"/>
                  </a:lnTo>
                  <a:lnTo>
                    <a:pt x="344" y="294"/>
                  </a:lnTo>
                  <a:lnTo>
                    <a:pt x="344" y="296"/>
                  </a:lnTo>
                  <a:lnTo>
                    <a:pt x="346" y="296"/>
                  </a:lnTo>
                  <a:lnTo>
                    <a:pt x="346" y="297"/>
                  </a:lnTo>
                  <a:lnTo>
                    <a:pt x="348" y="298"/>
                  </a:lnTo>
                  <a:lnTo>
                    <a:pt x="349" y="298"/>
                  </a:lnTo>
                  <a:lnTo>
                    <a:pt x="353" y="300"/>
                  </a:lnTo>
                  <a:lnTo>
                    <a:pt x="354" y="300"/>
                  </a:lnTo>
                  <a:lnTo>
                    <a:pt x="359" y="304"/>
                  </a:lnTo>
                  <a:lnTo>
                    <a:pt x="366" y="304"/>
                  </a:lnTo>
                  <a:lnTo>
                    <a:pt x="372" y="306"/>
                  </a:lnTo>
                  <a:lnTo>
                    <a:pt x="373" y="306"/>
                  </a:lnTo>
                  <a:lnTo>
                    <a:pt x="380" y="304"/>
                  </a:lnTo>
                  <a:lnTo>
                    <a:pt x="388" y="306"/>
                  </a:lnTo>
                  <a:lnTo>
                    <a:pt x="398" y="304"/>
                  </a:lnTo>
                  <a:lnTo>
                    <a:pt x="402" y="304"/>
                  </a:lnTo>
                  <a:lnTo>
                    <a:pt x="404" y="307"/>
                  </a:lnTo>
                  <a:lnTo>
                    <a:pt x="404" y="309"/>
                  </a:lnTo>
                  <a:lnTo>
                    <a:pt x="406" y="310"/>
                  </a:lnTo>
                  <a:lnTo>
                    <a:pt x="406" y="313"/>
                  </a:lnTo>
                  <a:lnTo>
                    <a:pt x="404" y="313"/>
                  </a:lnTo>
                  <a:lnTo>
                    <a:pt x="404" y="314"/>
                  </a:lnTo>
                  <a:lnTo>
                    <a:pt x="403" y="315"/>
                  </a:lnTo>
                  <a:lnTo>
                    <a:pt x="402" y="315"/>
                  </a:lnTo>
                  <a:lnTo>
                    <a:pt x="398" y="319"/>
                  </a:lnTo>
                  <a:lnTo>
                    <a:pt x="394" y="321"/>
                  </a:lnTo>
                  <a:lnTo>
                    <a:pt x="392" y="322"/>
                  </a:lnTo>
                  <a:lnTo>
                    <a:pt x="392" y="327"/>
                  </a:lnTo>
                  <a:lnTo>
                    <a:pt x="394" y="328"/>
                  </a:lnTo>
                  <a:lnTo>
                    <a:pt x="395" y="331"/>
                  </a:lnTo>
                  <a:lnTo>
                    <a:pt x="395" y="332"/>
                  </a:lnTo>
                  <a:lnTo>
                    <a:pt x="398" y="333"/>
                  </a:lnTo>
                  <a:lnTo>
                    <a:pt x="401" y="334"/>
                  </a:lnTo>
                  <a:lnTo>
                    <a:pt x="402" y="335"/>
                  </a:lnTo>
                  <a:lnTo>
                    <a:pt x="410" y="339"/>
                  </a:lnTo>
                  <a:lnTo>
                    <a:pt x="416" y="343"/>
                  </a:lnTo>
                  <a:lnTo>
                    <a:pt x="419" y="343"/>
                  </a:lnTo>
                  <a:lnTo>
                    <a:pt x="420" y="344"/>
                  </a:lnTo>
                  <a:lnTo>
                    <a:pt x="422" y="345"/>
                  </a:lnTo>
                  <a:lnTo>
                    <a:pt x="432" y="349"/>
                  </a:lnTo>
                  <a:lnTo>
                    <a:pt x="433" y="350"/>
                  </a:lnTo>
                  <a:lnTo>
                    <a:pt x="433" y="349"/>
                  </a:lnTo>
                  <a:lnTo>
                    <a:pt x="434" y="350"/>
                  </a:lnTo>
                  <a:lnTo>
                    <a:pt x="441" y="352"/>
                  </a:lnTo>
                  <a:lnTo>
                    <a:pt x="447" y="356"/>
                  </a:lnTo>
                  <a:lnTo>
                    <a:pt x="451" y="358"/>
                  </a:lnTo>
                  <a:lnTo>
                    <a:pt x="459" y="366"/>
                  </a:lnTo>
                  <a:lnTo>
                    <a:pt x="460" y="366"/>
                  </a:lnTo>
                  <a:lnTo>
                    <a:pt x="463" y="368"/>
                  </a:lnTo>
                  <a:lnTo>
                    <a:pt x="466" y="369"/>
                  </a:lnTo>
                  <a:lnTo>
                    <a:pt x="471" y="371"/>
                  </a:lnTo>
                  <a:lnTo>
                    <a:pt x="475" y="374"/>
                  </a:lnTo>
                  <a:lnTo>
                    <a:pt x="478" y="375"/>
                  </a:lnTo>
                  <a:lnTo>
                    <a:pt x="479" y="375"/>
                  </a:lnTo>
                  <a:lnTo>
                    <a:pt x="479" y="377"/>
                  </a:lnTo>
                  <a:lnTo>
                    <a:pt x="481" y="376"/>
                  </a:lnTo>
                  <a:lnTo>
                    <a:pt x="482" y="376"/>
                  </a:lnTo>
                  <a:lnTo>
                    <a:pt x="482" y="378"/>
                  </a:lnTo>
                  <a:lnTo>
                    <a:pt x="483" y="378"/>
                  </a:lnTo>
                  <a:lnTo>
                    <a:pt x="483" y="382"/>
                  </a:lnTo>
                  <a:lnTo>
                    <a:pt x="490" y="387"/>
                  </a:lnTo>
                  <a:lnTo>
                    <a:pt x="491" y="387"/>
                  </a:lnTo>
                  <a:lnTo>
                    <a:pt x="493" y="389"/>
                  </a:lnTo>
                  <a:lnTo>
                    <a:pt x="494" y="390"/>
                  </a:lnTo>
                  <a:lnTo>
                    <a:pt x="495" y="393"/>
                  </a:lnTo>
                  <a:lnTo>
                    <a:pt x="496" y="393"/>
                  </a:lnTo>
                  <a:lnTo>
                    <a:pt x="497" y="394"/>
                  </a:lnTo>
                  <a:lnTo>
                    <a:pt x="500" y="398"/>
                  </a:lnTo>
                  <a:lnTo>
                    <a:pt x="502" y="404"/>
                  </a:lnTo>
                  <a:lnTo>
                    <a:pt x="502" y="405"/>
                  </a:lnTo>
                  <a:lnTo>
                    <a:pt x="503" y="405"/>
                  </a:lnTo>
                  <a:lnTo>
                    <a:pt x="503" y="407"/>
                  </a:lnTo>
                  <a:lnTo>
                    <a:pt x="502" y="408"/>
                  </a:lnTo>
                  <a:lnTo>
                    <a:pt x="502" y="409"/>
                  </a:lnTo>
                  <a:lnTo>
                    <a:pt x="501" y="409"/>
                  </a:lnTo>
                  <a:lnTo>
                    <a:pt x="500" y="411"/>
                  </a:lnTo>
                  <a:lnTo>
                    <a:pt x="498" y="413"/>
                  </a:lnTo>
                  <a:lnTo>
                    <a:pt x="498" y="419"/>
                  </a:lnTo>
                  <a:lnTo>
                    <a:pt x="497" y="421"/>
                  </a:lnTo>
                  <a:lnTo>
                    <a:pt x="497" y="424"/>
                  </a:lnTo>
                  <a:lnTo>
                    <a:pt x="496" y="424"/>
                  </a:lnTo>
                  <a:lnTo>
                    <a:pt x="494" y="421"/>
                  </a:lnTo>
                  <a:lnTo>
                    <a:pt x="490" y="421"/>
                  </a:lnTo>
                  <a:lnTo>
                    <a:pt x="489" y="420"/>
                  </a:lnTo>
                  <a:lnTo>
                    <a:pt x="488" y="420"/>
                  </a:lnTo>
                  <a:lnTo>
                    <a:pt x="484" y="417"/>
                  </a:lnTo>
                  <a:lnTo>
                    <a:pt x="482" y="413"/>
                  </a:lnTo>
                  <a:lnTo>
                    <a:pt x="481" y="413"/>
                  </a:lnTo>
                  <a:lnTo>
                    <a:pt x="481" y="412"/>
                  </a:lnTo>
                  <a:lnTo>
                    <a:pt x="482" y="412"/>
                  </a:lnTo>
                  <a:lnTo>
                    <a:pt x="482" y="409"/>
                  </a:lnTo>
                  <a:lnTo>
                    <a:pt x="479" y="409"/>
                  </a:lnTo>
                  <a:lnTo>
                    <a:pt x="482" y="408"/>
                  </a:lnTo>
                  <a:lnTo>
                    <a:pt x="482" y="406"/>
                  </a:lnTo>
                  <a:lnTo>
                    <a:pt x="479" y="405"/>
                  </a:lnTo>
                  <a:lnTo>
                    <a:pt x="479" y="404"/>
                  </a:lnTo>
                  <a:lnTo>
                    <a:pt x="478" y="402"/>
                  </a:lnTo>
                  <a:lnTo>
                    <a:pt x="478" y="399"/>
                  </a:lnTo>
                  <a:lnTo>
                    <a:pt x="476" y="396"/>
                  </a:lnTo>
                  <a:lnTo>
                    <a:pt x="475" y="396"/>
                  </a:lnTo>
                  <a:lnTo>
                    <a:pt x="460" y="395"/>
                  </a:lnTo>
                  <a:lnTo>
                    <a:pt x="458" y="394"/>
                  </a:lnTo>
                  <a:lnTo>
                    <a:pt x="456" y="394"/>
                  </a:lnTo>
                  <a:lnTo>
                    <a:pt x="456" y="393"/>
                  </a:lnTo>
                  <a:lnTo>
                    <a:pt x="454" y="393"/>
                  </a:lnTo>
                  <a:lnTo>
                    <a:pt x="450" y="390"/>
                  </a:lnTo>
                  <a:lnTo>
                    <a:pt x="448" y="390"/>
                  </a:lnTo>
                  <a:lnTo>
                    <a:pt x="447" y="389"/>
                  </a:lnTo>
                  <a:lnTo>
                    <a:pt x="448" y="389"/>
                  </a:lnTo>
                  <a:lnTo>
                    <a:pt x="450" y="388"/>
                  </a:lnTo>
                  <a:lnTo>
                    <a:pt x="450" y="387"/>
                  </a:lnTo>
                  <a:lnTo>
                    <a:pt x="448" y="387"/>
                  </a:lnTo>
                  <a:lnTo>
                    <a:pt x="450" y="386"/>
                  </a:lnTo>
                  <a:lnTo>
                    <a:pt x="452" y="387"/>
                  </a:lnTo>
                  <a:lnTo>
                    <a:pt x="452" y="386"/>
                  </a:lnTo>
                  <a:lnTo>
                    <a:pt x="453" y="384"/>
                  </a:lnTo>
                  <a:lnTo>
                    <a:pt x="452" y="384"/>
                  </a:lnTo>
                  <a:lnTo>
                    <a:pt x="451" y="386"/>
                  </a:lnTo>
                  <a:lnTo>
                    <a:pt x="451" y="384"/>
                  </a:lnTo>
                  <a:lnTo>
                    <a:pt x="448" y="384"/>
                  </a:lnTo>
                  <a:lnTo>
                    <a:pt x="448" y="386"/>
                  </a:lnTo>
                  <a:lnTo>
                    <a:pt x="446" y="386"/>
                  </a:lnTo>
                  <a:lnTo>
                    <a:pt x="446" y="384"/>
                  </a:lnTo>
                  <a:lnTo>
                    <a:pt x="445" y="384"/>
                  </a:lnTo>
                  <a:lnTo>
                    <a:pt x="441" y="383"/>
                  </a:lnTo>
                  <a:lnTo>
                    <a:pt x="438" y="386"/>
                  </a:lnTo>
                  <a:lnTo>
                    <a:pt x="433" y="390"/>
                  </a:lnTo>
                  <a:lnTo>
                    <a:pt x="431" y="396"/>
                  </a:lnTo>
                  <a:lnTo>
                    <a:pt x="429" y="398"/>
                  </a:lnTo>
                  <a:lnTo>
                    <a:pt x="428" y="401"/>
                  </a:lnTo>
                  <a:lnTo>
                    <a:pt x="427" y="402"/>
                  </a:lnTo>
                  <a:lnTo>
                    <a:pt x="426" y="405"/>
                  </a:lnTo>
                  <a:lnTo>
                    <a:pt x="425" y="406"/>
                  </a:lnTo>
                  <a:lnTo>
                    <a:pt x="423" y="406"/>
                  </a:lnTo>
                  <a:lnTo>
                    <a:pt x="422" y="408"/>
                  </a:lnTo>
                  <a:lnTo>
                    <a:pt x="422" y="411"/>
                  </a:lnTo>
                  <a:lnTo>
                    <a:pt x="423" y="413"/>
                  </a:lnTo>
                  <a:lnTo>
                    <a:pt x="423" y="415"/>
                  </a:lnTo>
                  <a:lnTo>
                    <a:pt x="422" y="415"/>
                  </a:lnTo>
                  <a:lnTo>
                    <a:pt x="422" y="417"/>
                  </a:lnTo>
                  <a:lnTo>
                    <a:pt x="420" y="419"/>
                  </a:lnTo>
                  <a:lnTo>
                    <a:pt x="419" y="421"/>
                  </a:lnTo>
                  <a:lnTo>
                    <a:pt x="417" y="423"/>
                  </a:lnTo>
                  <a:lnTo>
                    <a:pt x="417" y="425"/>
                  </a:lnTo>
                  <a:lnTo>
                    <a:pt x="420" y="427"/>
                  </a:lnTo>
                  <a:lnTo>
                    <a:pt x="420" y="429"/>
                  </a:lnTo>
                  <a:lnTo>
                    <a:pt x="419" y="430"/>
                  </a:lnTo>
                  <a:lnTo>
                    <a:pt x="420" y="431"/>
                  </a:lnTo>
                  <a:lnTo>
                    <a:pt x="422" y="432"/>
                  </a:lnTo>
                  <a:lnTo>
                    <a:pt x="423" y="433"/>
                  </a:lnTo>
                  <a:lnTo>
                    <a:pt x="431" y="433"/>
                  </a:lnTo>
                  <a:lnTo>
                    <a:pt x="431" y="435"/>
                  </a:lnTo>
                  <a:lnTo>
                    <a:pt x="432" y="435"/>
                  </a:lnTo>
                  <a:lnTo>
                    <a:pt x="432" y="437"/>
                  </a:lnTo>
                  <a:lnTo>
                    <a:pt x="433" y="437"/>
                  </a:lnTo>
                  <a:lnTo>
                    <a:pt x="438" y="439"/>
                  </a:lnTo>
                  <a:lnTo>
                    <a:pt x="438" y="441"/>
                  </a:lnTo>
                  <a:lnTo>
                    <a:pt x="440" y="441"/>
                  </a:lnTo>
                  <a:lnTo>
                    <a:pt x="441" y="442"/>
                  </a:lnTo>
                  <a:lnTo>
                    <a:pt x="441" y="443"/>
                  </a:lnTo>
                  <a:lnTo>
                    <a:pt x="442" y="444"/>
                  </a:lnTo>
                  <a:lnTo>
                    <a:pt x="445" y="445"/>
                  </a:lnTo>
                  <a:lnTo>
                    <a:pt x="446" y="445"/>
                  </a:lnTo>
                  <a:lnTo>
                    <a:pt x="445" y="449"/>
                  </a:lnTo>
                  <a:lnTo>
                    <a:pt x="444" y="451"/>
                  </a:lnTo>
                  <a:lnTo>
                    <a:pt x="444" y="452"/>
                  </a:lnTo>
                  <a:lnTo>
                    <a:pt x="445" y="454"/>
                  </a:lnTo>
                  <a:lnTo>
                    <a:pt x="445" y="464"/>
                  </a:lnTo>
                  <a:lnTo>
                    <a:pt x="446" y="464"/>
                  </a:lnTo>
                  <a:lnTo>
                    <a:pt x="447" y="466"/>
                  </a:lnTo>
                  <a:lnTo>
                    <a:pt x="446" y="467"/>
                  </a:lnTo>
                  <a:lnTo>
                    <a:pt x="446" y="469"/>
                  </a:lnTo>
                  <a:lnTo>
                    <a:pt x="444" y="472"/>
                  </a:lnTo>
                  <a:lnTo>
                    <a:pt x="440" y="472"/>
                  </a:lnTo>
                  <a:lnTo>
                    <a:pt x="439" y="470"/>
                  </a:lnTo>
                  <a:lnTo>
                    <a:pt x="436" y="470"/>
                  </a:lnTo>
                  <a:lnTo>
                    <a:pt x="433" y="472"/>
                  </a:lnTo>
                  <a:lnTo>
                    <a:pt x="426" y="475"/>
                  </a:lnTo>
                  <a:lnTo>
                    <a:pt x="422" y="476"/>
                  </a:lnTo>
                  <a:lnTo>
                    <a:pt x="422" y="478"/>
                  </a:lnTo>
                  <a:lnTo>
                    <a:pt x="421" y="479"/>
                  </a:lnTo>
                  <a:lnTo>
                    <a:pt x="421" y="480"/>
                  </a:lnTo>
                  <a:lnTo>
                    <a:pt x="420" y="481"/>
                  </a:lnTo>
                  <a:lnTo>
                    <a:pt x="420" y="485"/>
                  </a:lnTo>
                  <a:lnTo>
                    <a:pt x="421" y="488"/>
                  </a:lnTo>
                  <a:lnTo>
                    <a:pt x="421" y="498"/>
                  </a:lnTo>
                  <a:lnTo>
                    <a:pt x="419" y="500"/>
                  </a:lnTo>
                  <a:lnTo>
                    <a:pt x="419" y="501"/>
                  </a:lnTo>
                  <a:lnTo>
                    <a:pt x="417" y="501"/>
                  </a:lnTo>
                  <a:lnTo>
                    <a:pt x="416" y="503"/>
                  </a:lnTo>
                  <a:lnTo>
                    <a:pt x="415" y="503"/>
                  </a:lnTo>
                  <a:lnTo>
                    <a:pt x="411" y="505"/>
                  </a:lnTo>
                  <a:lnTo>
                    <a:pt x="410" y="506"/>
                  </a:lnTo>
                  <a:lnTo>
                    <a:pt x="404" y="513"/>
                  </a:lnTo>
                  <a:lnTo>
                    <a:pt x="403" y="515"/>
                  </a:lnTo>
                  <a:lnTo>
                    <a:pt x="402" y="521"/>
                  </a:lnTo>
                  <a:lnTo>
                    <a:pt x="402" y="522"/>
                  </a:lnTo>
                  <a:lnTo>
                    <a:pt x="401" y="523"/>
                  </a:lnTo>
                  <a:lnTo>
                    <a:pt x="401" y="524"/>
                  </a:lnTo>
                  <a:lnTo>
                    <a:pt x="400" y="524"/>
                  </a:lnTo>
                  <a:lnTo>
                    <a:pt x="397" y="525"/>
                  </a:lnTo>
                  <a:lnTo>
                    <a:pt x="395" y="524"/>
                  </a:lnTo>
                  <a:lnTo>
                    <a:pt x="386" y="525"/>
                  </a:lnTo>
                  <a:lnTo>
                    <a:pt x="384" y="523"/>
                  </a:lnTo>
                  <a:lnTo>
                    <a:pt x="383" y="523"/>
                  </a:lnTo>
                  <a:lnTo>
                    <a:pt x="382" y="522"/>
                  </a:lnTo>
                  <a:lnTo>
                    <a:pt x="382" y="519"/>
                  </a:lnTo>
                  <a:lnTo>
                    <a:pt x="383" y="518"/>
                  </a:lnTo>
                  <a:lnTo>
                    <a:pt x="382" y="517"/>
                  </a:lnTo>
                  <a:lnTo>
                    <a:pt x="382" y="507"/>
                  </a:lnTo>
                  <a:lnTo>
                    <a:pt x="384" y="507"/>
                  </a:lnTo>
                  <a:lnTo>
                    <a:pt x="388" y="506"/>
                  </a:lnTo>
                  <a:lnTo>
                    <a:pt x="389" y="505"/>
                  </a:lnTo>
                  <a:lnTo>
                    <a:pt x="389" y="504"/>
                  </a:lnTo>
                  <a:lnTo>
                    <a:pt x="390" y="501"/>
                  </a:lnTo>
                  <a:lnTo>
                    <a:pt x="392" y="495"/>
                  </a:lnTo>
                  <a:lnTo>
                    <a:pt x="394" y="493"/>
                  </a:lnTo>
                  <a:lnTo>
                    <a:pt x="394" y="491"/>
                  </a:lnTo>
                  <a:lnTo>
                    <a:pt x="390" y="487"/>
                  </a:lnTo>
                  <a:lnTo>
                    <a:pt x="390" y="485"/>
                  </a:lnTo>
                  <a:lnTo>
                    <a:pt x="392" y="485"/>
                  </a:lnTo>
                  <a:lnTo>
                    <a:pt x="396" y="482"/>
                  </a:lnTo>
                  <a:lnTo>
                    <a:pt x="397" y="482"/>
                  </a:lnTo>
                  <a:lnTo>
                    <a:pt x="400" y="481"/>
                  </a:lnTo>
                  <a:lnTo>
                    <a:pt x="402" y="482"/>
                  </a:lnTo>
                  <a:lnTo>
                    <a:pt x="403" y="482"/>
                  </a:lnTo>
                  <a:lnTo>
                    <a:pt x="403" y="481"/>
                  </a:lnTo>
                  <a:lnTo>
                    <a:pt x="404" y="481"/>
                  </a:lnTo>
                  <a:lnTo>
                    <a:pt x="406" y="479"/>
                  </a:lnTo>
                  <a:lnTo>
                    <a:pt x="406" y="478"/>
                  </a:lnTo>
                  <a:lnTo>
                    <a:pt x="407" y="475"/>
                  </a:lnTo>
                  <a:lnTo>
                    <a:pt x="407" y="473"/>
                  </a:lnTo>
                  <a:lnTo>
                    <a:pt x="406" y="472"/>
                  </a:lnTo>
                  <a:lnTo>
                    <a:pt x="406" y="470"/>
                  </a:lnTo>
                  <a:lnTo>
                    <a:pt x="404" y="470"/>
                  </a:lnTo>
                  <a:lnTo>
                    <a:pt x="403" y="469"/>
                  </a:lnTo>
                  <a:lnTo>
                    <a:pt x="403" y="468"/>
                  </a:lnTo>
                  <a:lnTo>
                    <a:pt x="401" y="463"/>
                  </a:lnTo>
                  <a:lnTo>
                    <a:pt x="398" y="450"/>
                  </a:lnTo>
                  <a:lnTo>
                    <a:pt x="398" y="448"/>
                  </a:lnTo>
                  <a:lnTo>
                    <a:pt x="397" y="443"/>
                  </a:lnTo>
                  <a:lnTo>
                    <a:pt x="391" y="437"/>
                  </a:lnTo>
                  <a:lnTo>
                    <a:pt x="391" y="433"/>
                  </a:lnTo>
                  <a:lnTo>
                    <a:pt x="390" y="431"/>
                  </a:lnTo>
                  <a:lnTo>
                    <a:pt x="389" y="430"/>
                  </a:lnTo>
                  <a:lnTo>
                    <a:pt x="389" y="429"/>
                  </a:lnTo>
                  <a:lnTo>
                    <a:pt x="388" y="424"/>
                  </a:lnTo>
                  <a:lnTo>
                    <a:pt x="388" y="418"/>
                  </a:lnTo>
                  <a:lnTo>
                    <a:pt x="385" y="415"/>
                  </a:lnTo>
                  <a:lnTo>
                    <a:pt x="385" y="413"/>
                  </a:lnTo>
                  <a:lnTo>
                    <a:pt x="383" y="412"/>
                  </a:lnTo>
                  <a:lnTo>
                    <a:pt x="383" y="409"/>
                  </a:lnTo>
                  <a:lnTo>
                    <a:pt x="382" y="409"/>
                  </a:lnTo>
                  <a:lnTo>
                    <a:pt x="382" y="408"/>
                  </a:lnTo>
                  <a:lnTo>
                    <a:pt x="377" y="408"/>
                  </a:lnTo>
                  <a:lnTo>
                    <a:pt x="372" y="413"/>
                  </a:lnTo>
                  <a:lnTo>
                    <a:pt x="367" y="411"/>
                  </a:lnTo>
                  <a:lnTo>
                    <a:pt x="366" y="411"/>
                  </a:lnTo>
                  <a:lnTo>
                    <a:pt x="366" y="408"/>
                  </a:lnTo>
                  <a:lnTo>
                    <a:pt x="364" y="406"/>
                  </a:lnTo>
                  <a:lnTo>
                    <a:pt x="363" y="406"/>
                  </a:lnTo>
                  <a:lnTo>
                    <a:pt x="359" y="402"/>
                  </a:lnTo>
                  <a:lnTo>
                    <a:pt x="358" y="404"/>
                  </a:lnTo>
                  <a:lnTo>
                    <a:pt x="357" y="404"/>
                  </a:lnTo>
                  <a:lnTo>
                    <a:pt x="357" y="402"/>
                  </a:lnTo>
                  <a:lnTo>
                    <a:pt x="354" y="400"/>
                  </a:lnTo>
                  <a:lnTo>
                    <a:pt x="352" y="400"/>
                  </a:lnTo>
                  <a:lnTo>
                    <a:pt x="352" y="399"/>
                  </a:lnTo>
                  <a:lnTo>
                    <a:pt x="351" y="399"/>
                  </a:lnTo>
                  <a:lnTo>
                    <a:pt x="351" y="398"/>
                  </a:lnTo>
                  <a:lnTo>
                    <a:pt x="352" y="396"/>
                  </a:lnTo>
                  <a:lnTo>
                    <a:pt x="352" y="394"/>
                  </a:lnTo>
                  <a:lnTo>
                    <a:pt x="353" y="394"/>
                  </a:lnTo>
                  <a:lnTo>
                    <a:pt x="353" y="393"/>
                  </a:lnTo>
                  <a:lnTo>
                    <a:pt x="354" y="393"/>
                  </a:lnTo>
                  <a:lnTo>
                    <a:pt x="354" y="388"/>
                  </a:lnTo>
                  <a:lnTo>
                    <a:pt x="349" y="378"/>
                  </a:lnTo>
                  <a:lnTo>
                    <a:pt x="346" y="375"/>
                  </a:lnTo>
                  <a:lnTo>
                    <a:pt x="345" y="375"/>
                  </a:lnTo>
                  <a:lnTo>
                    <a:pt x="344" y="376"/>
                  </a:lnTo>
                  <a:lnTo>
                    <a:pt x="341" y="376"/>
                  </a:lnTo>
                  <a:lnTo>
                    <a:pt x="341" y="377"/>
                  </a:lnTo>
                  <a:lnTo>
                    <a:pt x="339" y="376"/>
                  </a:lnTo>
                  <a:lnTo>
                    <a:pt x="339" y="377"/>
                  </a:lnTo>
                  <a:lnTo>
                    <a:pt x="336" y="378"/>
                  </a:lnTo>
                  <a:lnTo>
                    <a:pt x="334" y="378"/>
                  </a:lnTo>
                  <a:lnTo>
                    <a:pt x="333" y="377"/>
                  </a:lnTo>
                  <a:lnTo>
                    <a:pt x="333" y="378"/>
                  </a:lnTo>
                  <a:lnTo>
                    <a:pt x="330" y="378"/>
                  </a:lnTo>
                  <a:lnTo>
                    <a:pt x="329" y="380"/>
                  </a:lnTo>
                  <a:lnTo>
                    <a:pt x="328" y="380"/>
                  </a:lnTo>
                  <a:lnTo>
                    <a:pt x="327" y="381"/>
                  </a:lnTo>
                  <a:lnTo>
                    <a:pt x="327" y="378"/>
                  </a:lnTo>
                  <a:lnTo>
                    <a:pt x="328" y="377"/>
                  </a:lnTo>
                  <a:lnTo>
                    <a:pt x="329" y="377"/>
                  </a:lnTo>
                  <a:lnTo>
                    <a:pt x="329" y="376"/>
                  </a:lnTo>
                  <a:lnTo>
                    <a:pt x="332" y="375"/>
                  </a:lnTo>
                  <a:lnTo>
                    <a:pt x="333" y="374"/>
                  </a:lnTo>
                  <a:lnTo>
                    <a:pt x="333" y="372"/>
                  </a:lnTo>
                  <a:lnTo>
                    <a:pt x="332" y="371"/>
                  </a:lnTo>
                  <a:lnTo>
                    <a:pt x="332" y="370"/>
                  </a:lnTo>
                  <a:lnTo>
                    <a:pt x="330" y="371"/>
                  </a:lnTo>
                  <a:lnTo>
                    <a:pt x="328" y="369"/>
                  </a:lnTo>
                  <a:lnTo>
                    <a:pt x="327" y="369"/>
                  </a:lnTo>
                  <a:lnTo>
                    <a:pt x="326" y="366"/>
                  </a:lnTo>
                  <a:lnTo>
                    <a:pt x="322" y="366"/>
                  </a:lnTo>
                  <a:lnTo>
                    <a:pt x="321" y="368"/>
                  </a:lnTo>
                  <a:lnTo>
                    <a:pt x="319" y="368"/>
                  </a:lnTo>
                  <a:lnTo>
                    <a:pt x="317" y="366"/>
                  </a:lnTo>
                  <a:lnTo>
                    <a:pt x="316" y="366"/>
                  </a:lnTo>
                  <a:lnTo>
                    <a:pt x="316" y="369"/>
                  </a:lnTo>
                  <a:lnTo>
                    <a:pt x="315" y="369"/>
                  </a:lnTo>
                  <a:lnTo>
                    <a:pt x="315" y="364"/>
                  </a:lnTo>
                  <a:lnTo>
                    <a:pt x="311" y="357"/>
                  </a:lnTo>
                  <a:lnTo>
                    <a:pt x="310" y="356"/>
                  </a:lnTo>
                  <a:lnTo>
                    <a:pt x="309" y="356"/>
                  </a:lnTo>
                  <a:lnTo>
                    <a:pt x="309" y="353"/>
                  </a:lnTo>
                  <a:lnTo>
                    <a:pt x="307" y="349"/>
                  </a:lnTo>
                  <a:lnTo>
                    <a:pt x="304" y="345"/>
                  </a:lnTo>
                  <a:lnTo>
                    <a:pt x="301" y="343"/>
                  </a:lnTo>
                  <a:lnTo>
                    <a:pt x="296" y="343"/>
                  </a:lnTo>
                  <a:lnTo>
                    <a:pt x="295" y="344"/>
                  </a:lnTo>
                  <a:lnTo>
                    <a:pt x="295" y="345"/>
                  </a:lnTo>
                  <a:lnTo>
                    <a:pt x="291" y="345"/>
                  </a:lnTo>
                  <a:lnTo>
                    <a:pt x="291" y="344"/>
                  </a:lnTo>
                  <a:lnTo>
                    <a:pt x="284" y="340"/>
                  </a:lnTo>
                  <a:lnTo>
                    <a:pt x="283" y="340"/>
                  </a:lnTo>
                  <a:lnTo>
                    <a:pt x="279" y="341"/>
                  </a:lnTo>
                  <a:lnTo>
                    <a:pt x="278" y="341"/>
                  </a:lnTo>
                  <a:lnTo>
                    <a:pt x="277" y="343"/>
                  </a:lnTo>
                  <a:lnTo>
                    <a:pt x="276" y="343"/>
                  </a:lnTo>
                  <a:lnTo>
                    <a:pt x="273" y="345"/>
                  </a:lnTo>
                  <a:lnTo>
                    <a:pt x="272" y="344"/>
                  </a:lnTo>
                  <a:lnTo>
                    <a:pt x="272" y="343"/>
                  </a:lnTo>
                  <a:lnTo>
                    <a:pt x="271" y="341"/>
                  </a:lnTo>
                  <a:lnTo>
                    <a:pt x="270" y="339"/>
                  </a:lnTo>
                  <a:lnTo>
                    <a:pt x="267" y="335"/>
                  </a:lnTo>
                  <a:lnTo>
                    <a:pt x="266" y="334"/>
                  </a:lnTo>
                  <a:lnTo>
                    <a:pt x="265" y="334"/>
                  </a:lnTo>
                  <a:lnTo>
                    <a:pt x="264" y="333"/>
                  </a:lnTo>
                  <a:lnTo>
                    <a:pt x="260" y="333"/>
                  </a:lnTo>
                  <a:lnTo>
                    <a:pt x="257" y="332"/>
                  </a:lnTo>
                  <a:lnTo>
                    <a:pt x="255" y="331"/>
                  </a:lnTo>
                  <a:lnTo>
                    <a:pt x="255" y="332"/>
                  </a:lnTo>
                  <a:lnTo>
                    <a:pt x="254" y="332"/>
                  </a:lnTo>
                  <a:lnTo>
                    <a:pt x="252" y="327"/>
                  </a:lnTo>
                  <a:lnTo>
                    <a:pt x="247" y="321"/>
                  </a:lnTo>
                  <a:lnTo>
                    <a:pt x="242" y="318"/>
                  </a:lnTo>
                  <a:lnTo>
                    <a:pt x="241" y="316"/>
                  </a:lnTo>
                  <a:lnTo>
                    <a:pt x="239" y="316"/>
                  </a:lnTo>
                  <a:lnTo>
                    <a:pt x="239" y="315"/>
                  </a:lnTo>
                  <a:lnTo>
                    <a:pt x="237" y="315"/>
                  </a:lnTo>
                  <a:lnTo>
                    <a:pt x="237" y="310"/>
                  </a:lnTo>
                  <a:lnTo>
                    <a:pt x="229" y="302"/>
                  </a:lnTo>
                  <a:lnTo>
                    <a:pt x="229" y="301"/>
                  </a:lnTo>
                  <a:lnTo>
                    <a:pt x="228" y="301"/>
                  </a:lnTo>
                  <a:lnTo>
                    <a:pt x="226" y="298"/>
                  </a:lnTo>
                  <a:lnTo>
                    <a:pt x="221" y="298"/>
                  </a:lnTo>
                  <a:lnTo>
                    <a:pt x="221" y="297"/>
                  </a:lnTo>
                  <a:lnTo>
                    <a:pt x="220" y="296"/>
                  </a:lnTo>
                  <a:lnTo>
                    <a:pt x="218" y="296"/>
                  </a:lnTo>
                  <a:lnTo>
                    <a:pt x="218" y="295"/>
                  </a:lnTo>
                  <a:lnTo>
                    <a:pt x="217" y="294"/>
                  </a:lnTo>
                  <a:lnTo>
                    <a:pt x="217" y="291"/>
                  </a:lnTo>
                  <a:lnTo>
                    <a:pt x="215" y="286"/>
                  </a:lnTo>
                  <a:lnTo>
                    <a:pt x="209" y="280"/>
                  </a:lnTo>
                  <a:lnTo>
                    <a:pt x="206" y="280"/>
                  </a:lnTo>
                  <a:lnTo>
                    <a:pt x="204" y="279"/>
                  </a:lnTo>
                  <a:lnTo>
                    <a:pt x="203" y="278"/>
                  </a:lnTo>
                  <a:lnTo>
                    <a:pt x="201" y="278"/>
                  </a:lnTo>
                  <a:lnTo>
                    <a:pt x="197" y="277"/>
                  </a:lnTo>
                  <a:lnTo>
                    <a:pt x="195" y="277"/>
                  </a:lnTo>
                  <a:lnTo>
                    <a:pt x="195" y="278"/>
                  </a:lnTo>
                  <a:lnTo>
                    <a:pt x="193" y="279"/>
                  </a:lnTo>
                  <a:lnTo>
                    <a:pt x="192" y="279"/>
                  </a:lnTo>
                  <a:lnTo>
                    <a:pt x="191" y="278"/>
                  </a:lnTo>
                  <a:lnTo>
                    <a:pt x="190" y="278"/>
                  </a:lnTo>
                  <a:lnTo>
                    <a:pt x="190" y="276"/>
                  </a:lnTo>
                  <a:lnTo>
                    <a:pt x="193" y="276"/>
                  </a:lnTo>
                  <a:lnTo>
                    <a:pt x="193" y="275"/>
                  </a:lnTo>
                  <a:lnTo>
                    <a:pt x="195" y="273"/>
                  </a:lnTo>
                  <a:lnTo>
                    <a:pt x="195" y="272"/>
                  </a:lnTo>
                  <a:lnTo>
                    <a:pt x="193" y="271"/>
                  </a:lnTo>
                  <a:lnTo>
                    <a:pt x="193" y="270"/>
                  </a:lnTo>
                  <a:lnTo>
                    <a:pt x="192" y="269"/>
                  </a:lnTo>
                  <a:lnTo>
                    <a:pt x="191" y="269"/>
                  </a:lnTo>
                  <a:lnTo>
                    <a:pt x="191" y="267"/>
                  </a:lnTo>
                  <a:lnTo>
                    <a:pt x="190" y="266"/>
                  </a:lnTo>
                  <a:lnTo>
                    <a:pt x="190" y="265"/>
                  </a:lnTo>
                  <a:lnTo>
                    <a:pt x="189" y="264"/>
                  </a:lnTo>
                  <a:lnTo>
                    <a:pt x="186" y="263"/>
                  </a:lnTo>
                  <a:lnTo>
                    <a:pt x="186" y="261"/>
                  </a:lnTo>
                  <a:lnTo>
                    <a:pt x="185" y="260"/>
                  </a:lnTo>
                  <a:lnTo>
                    <a:pt x="184" y="258"/>
                  </a:lnTo>
                  <a:lnTo>
                    <a:pt x="181" y="257"/>
                  </a:lnTo>
                  <a:lnTo>
                    <a:pt x="174" y="255"/>
                  </a:lnTo>
                  <a:lnTo>
                    <a:pt x="177" y="253"/>
                  </a:lnTo>
                  <a:lnTo>
                    <a:pt x="177" y="249"/>
                  </a:lnTo>
                  <a:lnTo>
                    <a:pt x="175" y="248"/>
                  </a:lnTo>
                  <a:lnTo>
                    <a:pt x="171" y="246"/>
                  </a:lnTo>
                  <a:lnTo>
                    <a:pt x="168" y="246"/>
                  </a:lnTo>
                  <a:lnTo>
                    <a:pt x="166" y="248"/>
                  </a:lnTo>
                  <a:lnTo>
                    <a:pt x="165" y="247"/>
                  </a:lnTo>
                  <a:lnTo>
                    <a:pt x="164" y="245"/>
                  </a:lnTo>
                  <a:lnTo>
                    <a:pt x="166" y="242"/>
                  </a:lnTo>
                  <a:lnTo>
                    <a:pt x="167" y="239"/>
                  </a:lnTo>
                  <a:lnTo>
                    <a:pt x="166" y="239"/>
                  </a:lnTo>
                  <a:lnTo>
                    <a:pt x="166" y="237"/>
                  </a:lnTo>
                  <a:lnTo>
                    <a:pt x="167" y="236"/>
                  </a:lnTo>
                  <a:lnTo>
                    <a:pt x="167" y="234"/>
                  </a:lnTo>
                  <a:lnTo>
                    <a:pt x="166" y="233"/>
                  </a:lnTo>
                  <a:lnTo>
                    <a:pt x="166" y="228"/>
                  </a:lnTo>
                  <a:lnTo>
                    <a:pt x="162" y="221"/>
                  </a:lnTo>
                  <a:lnTo>
                    <a:pt x="160" y="217"/>
                  </a:lnTo>
                  <a:lnTo>
                    <a:pt x="159" y="217"/>
                  </a:lnTo>
                  <a:lnTo>
                    <a:pt x="158" y="216"/>
                  </a:lnTo>
                  <a:lnTo>
                    <a:pt x="158" y="215"/>
                  </a:lnTo>
                  <a:lnTo>
                    <a:pt x="156" y="211"/>
                  </a:lnTo>
                  <a:lnTo>
                    <a:pt x="155" y="197"/>
                  </a:lnTo>
                  <a:lnTo>
                    <a:pt x="154" y="194"/>
                  </a:lnTo>
                  <a:lnTo>
                    <a:pt x="153" y="190"/>
                  </a:lnTo>
                  <a:lnTo>
                    <a:pt x="152" y="189"/>
                  </a:lnTo>
                  <a:lnTo>
                    <a:pt x="149" y="187"/>
                  </a:lnTo>
                  <a:lnTo>
                    <a:pt x="148" y="185"/>
                  </a:lnTo>
                  <a:lnTo>
                    <a:pt x="148" y="184"/>
                  </a:lnTo>
                  <a:lnTo>
                    <a:pt x="147" y="184"/>
                  </a:lnTo>
                  <a:lnTo>
                    <a:pt x="146" y="183"/>
                  </a:lnTo>
                  <a:lnTo>
                    <a:pt x="141" y="183"/>
                  </a:lnTo>
                  <a:lnTo>
                    <a:pt x="137" y="179"/>
                  </a:lnTo>
                  <a:lnTo>
                    <a:pt x="136" y="179"/>
                  </a:lnTo>
                  <a:lnTo>
                    <a:pt x="137" y="180"/>
                  </a:lnTo>
                  <a:lnTo>
                    <a:pt x="136" y="180"/>
                  </a:lnTo>
                  <a:lnTo>
                    <a:pt x="136" y="181"/>
                  </a:lnTo>
                  <a:lnTo>
                    <a:pt x="134" y="181"/>
                  </a:lnTo>
                  <a:lnTo>
                    <a:pt x="133" y="179"/>
                  </a:lnTo>
                  <a:lnTo>
                    <a:pt x="131" y="179"/>
                  </a:lnTo>
                  <a:lnTo>
                    <a:pt x="130" y="178"/>
                  </a:lnTo>
                  <a:lnTo>
                    <a:pt x="129" y="178"/>
                  </a:lnTo>
                  <a:lnTo>
                    <a:pt x="125" y="174"/>
                  </a:lnTo>
                  <a:lnTo>
                    <a:pt x="123" y="173"/>
                  </a:lnTo>
                  <a:lnTo>
                    <a:pt x="122" y="172"/>
                  </a:lnTo>
                  <a:lnTo>
                    <a:pt x="121" y="172"/>
                  </a:lnTo>
                  <a:lnTo>
                    <a:pt x="119" y="171"/>
                  </a:lnTo>
                  <a:lnTo>
                    <a:pt x="117" y="169"/>
                  </a:lnTo>
                  <a:lnTo>
                    <a:pt x="117" y="168"/>
                  </a:lnTo>
                  <a:lnTo>
                    <a:pt x="112" y="166"/>
                  </a:lnTo>
                  <a:lnTo>
                    <a:pt x="111" y="165"/>
                  </a:lnTo>
                  <a:lnTo>
                    <a:pt x="111" y="166"/>
                  </a:lnTo>
                  <a:lnTo>
                    <a:pt x="110" y="167"/>
                  </a:lnTo>
                  <a:lnTo>
                    <a:pt x="109" y="167"/>
                  </a:lnTo>
                  <a:lnTo>
                    <a:pt x="108" y="166"/>
                  </a:lnTo>
                  <a:lnTo>
                    <a:pt x="108" y="165"/>
                  </a:lnTo>
                  <a:lnTo>
                    <a:pt x="106" y="163"/>
                  </a:lnTo>
                  <a:lnTo>
                    <a:pt x="102" y="162"/>
                  </a:lnTo>
                  <a:lnTo>
                    <a:pt x="99" y="162"/>
                  </a:lnTo>
                  <a:lnTo>
                    <a:pt x="98" y="161"/>
                  </a:lnTo>
                  <a:lnTo>
                    <a:pt x="94" y="161"/>
                  </a:lnTo>
                  <a:lnTo>
                    <a:pt x="94" y="160"/>
                  </a:lnTo>
                  <a:lnTo>
                    <a:pt x="91" y="160"/>
                  </a:lnTo>
                  <a:lnTo>
                    <a:pt x="90" y="161"/>
                  </a:lnTo>
                  <a:lnTo>
                    <a:pt x="88" y="161"/>
                  </a:lnTo>
                  <a:lnTo>
                    <a:pt x="88" y="162"/>
                  </a:lnTo>
                  <a:lnTo>
                    <a:pt x="87" y="162"/>
                  </a:lnTo>
                  <a:lnTo>
                    <a:pt x="85" y="165"/>
                  </a:lnTo>
                  <a:lnTo>
                    <a:pt x="84" y="165"/>
                  </a:lnTo>
                  <a:lnTo>
                    <a:pt x="83" y="166"/>
                  </a:lnTo>
                  <a:lnTo>
                    <a:pt x="79" y="168"/>
                  </a:lnTo>
                  <a:lnTo>
                    <a:pt x="78" y="169"/>
                  </a:lnTo>
                  <a:lnTo>
                    <a:pt x="79" y="169"/>
                  </a:lnTo>
                  <a:lnTo>
                    <a:pt x="78" y="171"/>
                  </a:lnTo>
                  <a:lnTo>
                    <a:pt x="78" y="172"/>
                  </a:lnTo>
                  <a:lnTo>
                    <a:pt x="77" y="172"/>
                  </a:lnTo>
                  <a:lnTo>
                    <a:pt x="77" y="175"/>
                  </a:lnTo>
                  <a:lnTo>
                    <a:pt x="75" y="175"/>
                  </a:lnTo>
                  <a:lnTo>
                    <a:pt x="73" y="177"/>
                  </a:lnTo>
                  <a:lnTo>
                    <a:pt x="72" y="177"/>
                  </a:lnTo>
                  <a:lnTo>
                    <a:pt x="69" y="179"/>
                  </a:lnTo>
                  <a:lnTo>
                    <a:pt x="69" y="183"/>
                  </a:lnTo>
                  <a:lnTo>
                    <a:pt x="68" y="183"/>
                  </a:lnTo>
                  <a:lnTo>
                    <a:pt x="67" y="185"/>
                  </a:lnTo>
                  <a:lnTo>
                    <a:pt x="66" y="186"/>
                  </a:lnTo>
                  <a:lnTo>
                    <a:pt x="67" y="187"/>
                  </a:lnTo>
                  <a:lnTo>
                    <a:pt x="67" y="189"/>
                  </a:lnTo>
                  <a:lnTo>
                    <a:pt x="66" y="189"/>
                  </a:lnTo>
                  <a:lnTo>
                    <a:pt x="65" y="190"/>
                  </a:lnTo>
                  <a:lnTo>
                    <a:pt x="63" y="190"/>
                  </a:lnTo>
                  <a:lnTo>
                    <a:pt x="63" y="191"/>
                  </a:lnTo>
                  <a:lnTo>
                    <a:pt x="62" y="191"/>
                  </a:lnTo>
                  <a:lnTo>
                    <a:pt x="62" y="192"/>
                  </a:lnTo>
                  <a:lnTo>
                    <a:pt x="61" y="192"/>
                  </a:lnTo>
                  <a:lnTo>
                    <a:pt x="57" y="194"/>
                  </a:lnTo>
                  <a:lnTo>
                    <a:pt x="50" y="196"/>
                  </a:lnTo>
                  <a:lnTo>
                    <a:pt x="48" y="197"/>
                  </a:lnTo>
                  <a:lnTo>
                    <a:pt x="47" y="198"/>
                  </a:lnTo>
                  <a:lnTo>
                    <a:pt x="38" y="198"/>
                  </a:lnTo>
                  <a:lnTo>
                    <a:pt x="37" y="194"/>
                  </a:lnTo>
                  <a:lnTo>
                    <a:pt x="37" y="193"/>
                  </a:lnTo>
                  <a:lnTo>
                    <a:pt x="38" y="192"/>
                  </a:lnTo>
                  <a:lnTo>
                    <a:pt x="40" y="190"/>
                  </a:lnTo>
                  <a:lnTo>
                    <a:pt x="41" y="189"/>
                  </a:lnTo>
                  <a:lnTo>
                    <a:pt x="43" y="187"/>
                  </a:lnTo>
                  <a:lnTo>
                    <a:pt x="44" y="186"/>
                  </a:lnTo>
                  <a:lnTo>
                    <a:pt x="44" y="184"/>
                  </a:lnTo>
                  <a:lnTo>
                    <a:pt x="47" y="181"/>
                  </a:lnTo>
                  <a:lnTo>
                    <a:pt x="47" y="180"/>
                  </a:lnTo>
                  <a:lnTo>
                    <a:pt x="44" y="178"/>
                  </a:lnTo>
                  <a:lnTo>
                    <a:pt x="44" y="175"/>
                  </a:lnTo>
                  <a:lnTo>
                    <a:pt x="43" y="175"/>
                  </a:lnTo>
                  <a:lnTo>
                    <a:pt x="42" y="177"/>
                  </a:lnTo>
                  <a:lnTo>
                    <a:pt x="41" y="177"/>
                  </a:lnTo>
                  <a:lnTo>
                    <a:pt x="34" y="178"/>
                  </a:lnTo>
                  <a:lnTo>
                    <a:pt x="30" y="178"/>
                  </a:lnTo>
                  <a:lnTo>
                    <a:pt x="30" y="177"/>
                  </a:lnTo>
                  <a:lnTo>
                    <a:pt x="28" y="177"/>
                  </a:lnTo>
                  <a:lnTo>
                    <a:pt x="23" y="173"/>
                  </a:lnTo>
                  <a:lnTo>
                    <a:pt x="22" y="173"/>
                  </a:lnTo>
                  <a:lnTo>
                    <a:pt x="19" y="172"/>
                  </a:lnTo>
                  <a:lnTo>
                    <a:pt x="17" y="172"/>
                  </a:lnTo>
                  <a:lnTo>
                    <a:pt x="16" y="171"/>
                  </a:lnTo>
                  <a:lnTo>
                    <a:pt x="16" y="169"/>
                  </a:lnTo>
                  <a:lnTo>
                    <a:pt x="15" y="168"/>
                  </a:lnTo>
                  <a:lnTo>
                    <a:pt x="13" y="168"/>
                  </a:lnTo>
                  <a:lnTo>
                    <a:pt x="13" y="166"/>
                  </a:lnTo>
                  <a:lnTo>
                    <a:pt x="12" y="165"/>
                  </a:lnTo>
                  <a:lnTo>
                    <a:pt x="12" y="161"/>
                  </a:lnTo>
                  <a:lnTo>
                    <a:pt x="13" y="160"/>
                  </a:lnTo>
                  <a:lnTo>
                    <a:pt x="11" y="157"/>
                  </a:lnTo>
                  <a:lnTo>
                    <a:pt x="11" y="156"/>
                  </a:lnTo>
                  <a:lnTo>
                    <a:pt x="10" y="154"/>
                  </a:lnTo>
                  <a:lnTo>
                    <a:pt x="11" y="154"/>
                  </a:lnTo>
                  <a:lnTo>
                    <a:pt x="13" y="151"/>
                  </a:lnTo>
                  <a:lnTo>
                    <a:pt x="15" y="149"/>
                  </a:lnTo>
                  <a:lnTo>
                    <a:pt x="15" y="147"/>
                  </a:lnTo>
                  <a:lnTo>
                    <a:pt x="17" y="144"/>
                  </a:lnTo>
                  <a:lnTo>
                    <a:pt x="19" y="146"/>
                  </a:lnTo>
                  <a:lnTo>
                    <a:pt x="19" y="144"/>
                  </a:lnTo>
                  <a:lnTo>
                    <a:pt x="18" y="142"/>
                  </a:lnTo>
                  <a:lnTo>
                    <a:pt x="18" y="140"/>
                  </a:lnTo>
                  <a:lnTo>
                    <a:pt x="17" y="138"/>
                  </a:lnTo>
                  <a:lnTo>
                    <a:pt x="17" y="136"/>
                  </a:lnTo>
                  <a:lnTo>
                    <a:pt x="15" y="135"/>
                  </a:lnTo>
                  <a:lnTo>
                    <a:pt x="11" y="135"/>
                  </a:lnTo>
                  <a:lnTo>
                    <a:pt x="7" y="134"/>
                  </a:lnTo>
                  <a:lnTo>
                    <a:pt x="6" y="132"/>
                  </a:lnTo>
                  <a:lnTo>
                    <a:pt x="6" y="128"/>
                  </a:lnTo>
                  <a:lnTo>
                    <a:pt x="5" y="125"/>
                  </a:lnTo>
                  <a:lnTo>
                    <a:pt x="3" y="125"/>
                  </a:lnTo>
                  <a:lnTo>
                    <a:pt x="3" y="124"/>
                  </a:lnTo>
                  <a:lnTo>
                    <a:pt x="1" y="123"/>
                  </a:lnTo>
                  <a:lnTo>
                    <a:pt x="1" y="122"/>
                  </a:lnTo>
                  <a:lnTo>
                    <a:pt x="0" y="120"/>
                  </a:lnTo>
                  <a:lnTo>
                    <a:pt x="3" y="118"/>
                  </a:lnTo>
                  <a:lnTo>
                    <a:pt x="5" y="118"/>
                  </a:lnTo>
                  <a:lnTo>
                    <a:pt x="6" y="117"/>
                  </a:lnTo>
                  <a:lnTo>
                    <a:pt x="7" y="117"/>
                  </a:lnTo>
                  <a:lnTo>
                    <a:pt x="9" y="118"/>
                  </a:lnTo>
                  <a:lnTo>
                    <a:pt x="11" y="119"/>
                  </a:lnTo>
                  <a:lnTo>
                    <a:pt x="12" y="118"/>
                  </a:lnTo>
                  <a:lnTo>
                    <a:pt x="12" y="117"/>
                  </a:lnTo>
                  <a:lnTo>
                    <a:pt x="13" y="117"/>
                  </a:lnTo>
                  <a:lnTo>
                    <a:pt x="15" y="116"/>
                  </a:lnTo>
                  <a:lnTo>
                    <a:pt x="15" y="114"/>
                  </a:lnTo>
                  <a:lnTo>
                    <a:pt x="16" y="114"/>
                  </a:lnTo>
                  <a:lnTo>
                    <a:pt x="17" y="113"/>
                  </a:lnTo>
                  <a:lnTo>
                    <a:pt x="19" y="113"/>
                  </a:lnTo>
                  <a:lnTo>
                    <a:pt x="22" y="111"/>
                  </a:lnTo>
                  <a:lnTo>
                    <a:pt x="22" y="107"/>
                  </a:lnTo>
                  <a:lnTo>
                    <a:pt x="23" y="105"/>
                  </a:lnTo>
                  <a:lnTo>
                    <a:pt x="24" y="104"/>
                  </a:lnTo>
                  <a:lnTo>
                    <a:pt x="24" y="101"/>
                  </a:lnTo>
                  <a:lnTo>
                    <a:pt x="22" y="101"/>
                  </a:lnTo>
                  <a:lnTo>
                    <a:pt x="22" y="100"/>
                  </a:lnTo>
                  <a:lnTo>
                    <a:pt x="21" y="100"/>
                  </a:lnTo>
                  <a:lnTo>
                    <a:pt x="21" y="98"/>
                  </a:lnTo>
                  <a:lnTo>
                    <a:pt x="18" y="97"/>
                  </a:lnTo>
                  <a:lnTo>
                    <a:pt x="17" y="95"/>
                  </a:lnTo>
                  <a:lnTo>
                    <a:pt x="16" y="95"/>
                  </a:lnTo>
                  <a:lnTo>
                    <a:pt x="16" y="88"/>
                  </a:lnTo>
                  <a:lnTo>
                    <a:pt x="13" y="87"/>
                  </a:lnTo>
                  <a:lnTo>
                    <a:pt x="12" y="86"/>
                  </a:lnTo>
                  <a:lnTo>
                    <a:pt x="11" y="86"/>
                  </a:lnTo>
                  <a:lnTo>
                    <a:pt x="9" y="83"/>
                  </a:lnTo>
                  <a:lnTo>
                    <a:pt x="9" y="76"/>
                  </a:lnTo>
                  <a:lnTo>
                    <a:pt x="11" y="76"/>
                  </a:lnTo>
                  <a:lnTo>
                    <a:pt x="11" y="75"/>
                  </a:lnTo>
                  <a:lnTo>
                    <a:pt x="12" y="76"/>
                  </a:lnTo>
                  <a:lnTo>
                    <a:pt x="13" y="76"/>
                  </a:lnTo>
                  <a:lnTo>
                    <a:pt x="17" y="73"/>
                  </a:lnTo>
                  <a:lnTo>
                    <a:pt x="17" y="71"/>
                  </a:lnTo>
                  <a:lnTo>
                    <a:pt x="18" y="71"/>
                  </a:lnTo>
                  <a:lnTo>
                    <a:pt x="18" y="70"/>
                  </a:lnTo>
                  <a:lnTo>
                    <a:pt x="21" y="73"/>
                  </a:lnTo>
                  <a:lnTo>
                    <a:pt x="21" y="74"/>
                  </a:lnTo>
                  <a:lnTo>
                    <a:pt x="25" y="74"/>
                  </a:lnTo>
                  <a:lnTo>
                    <a:pt x="28" y="73"/>
                  </a:lnTo>
                  <a:lnTo>
                    <a:pt x="29" y="71"/>
                  </a:lnTo>
                  <a:lnTo>
                    <a:pt x="34" y="71"/>
                  </a:lnTo>
                  <a:lnTo>
                    <a:pt x="36" y="69"/>
                  </a:lnTo>
                  <a:lnTo>
                    <a:pt x="38" y="69"/>
                  </a:lnTo>
                  <a:lnTo>
                    <a:pt x="38" y="68"/>
                  </a:lnTo>
                  <a:lnTo>
                    <a:pt x="40" y="68"/>
                  </a:lnTo>
                  <a:lnTo>
                    <a:pt x="40" y="67"/>
                  </a:lnTo>
                  <a:lnTo>
                    <a:pt x="44" y="68"/>
                  </a:lnTo>
                  <a:lnTo>
                    <a:pt x="47" y="70"/>
                  </a:lnTo>
                  <a:lnTo>
                    <a:pt x="48" y="70"/>
                  </a:lnTo>
                  <a:lnTo>
                    <a:pt x="50" y="71"/>
                  </a:lnTo>
                  <a:lnTo>
                    <a:pt x="53" y="71"/>
                  </a:lnTo>
                  <a:lnTo>
                    <a:pt x="53" y="70"/>
                  </a:lnTo>
                  <a:lnTo>
                    <a:pt x="54" y="68"/>
                  </a:lnTo>
                  <a:lnTo>
                    <a:pt x="55" y="68"/>
                  </a:lnTo>
                  <a:lnTo>
                    <a:pt x="59" y="67"/>
                  </a:lnTo>
                  <a:lnTo>
                    <a:pt x="60" y="65"/>
                  </a:lnTo>
                  <a:lnTo>
                    <a:pt x="60" y="62"/>
                  </a:lnTo>
                  <a:lnTo>
                    <a:pt x="61" y="61"/>
                  </a:lnTo>
                  <a:lnTo>
                    <a:pt x="62" y="61"/>
                  </a:lnTo>
                  <a:lnTo>
                    <a:pt x="65" y="58"/>
                  </a:lnTo>
                  <a:lnTo>
                    <a:pt x="65" y="55"/>
                  </a:lnTo>
                  <a:lnTo>
                    <a:pt x="63" y="52"/>
                  </a:lnTo>
                  <a:lnTo>
                    <a:pt x="62" y="51"/>
                  </a:lnTo>
                  <a:lnTo>
                    <a:pt x="62" y="50"/>
                  </a:lnTo>
                  <a:lnTo>
                    <a:pt x="63" y="50"/>
                  </a:lnTo>
                  <a:lnTo>
                    <a:pt x="63" y="49"/>
                  </a:lnTo>
                  <a:lnTo>
                    <a:pt x="65" y="49"/>
                  </a:lnTo>
                  <a:lnTo>
                    <a:pt x="67" y="48"/>
                  </a:lnTo>
                  <a:lnTo>
                    <a:pt x="71" y="44"/>
                  </a:lnTo>
                  <a:lnTo>
                    <a:pt x="72" y="44"/>
                  </a:lnTo>
                  <a:lnTo>
                    <a:pt x="72" y="40"/>
                  </a:lnTo>
                  <a:lnTo>
                    <a:pt x="73" y="40"/>
                  </a:lnTo>
                  <a:lnTo>
                    <a:pt x="74" y="39"/>
                  </a:lnTo>
                  <a:lnTo>
                    <a:pt x="78" y="39"/>
                  </a:lnTo>
                  <a:lnTo>
                    <a:pt x="78" y="52"/>
                  </a:lnTo>
                  <a:lnTo>
                    <a:pt x="79" y="52"/>
                  </a:lnTo>
                  <a:lnTo>
                    <a:pt x="80" y="54"/>
                  </a:lnTo>
                  <a:lnTo>
                    <a:pt x="81" y="54"/>
                  </a:lnTo>
                  <a:lnTo>
                    <a:pt x="83" y="55"/>
                  </a:lnTo>
                  <a:lnTo>
                    <a:pt x="85" y="58"/>
                  </a:lnTo>
                  <a:lnTo>
                    <a:pt x="85" y="60"/>
                  </a:lnTo>
                  <a:lnTo>
                    <a:pt x="86" y="60"/>
                  </a:lnTo>
                  <a:lnTo>
                    <a:pt x="88" y="61"/>
                  </a:lnTo>
                  <a:lnTo>
                    <a:pt x="90" y="61"/>
                  </a:lnTo>
                  <a:lnTo>
                    <a:pt x="90" y="60"/>
                  </a:lnTo>
                  <a:lnTo>
                    <a:pt x="91" y="60"/>
                  </a:lnTo>
                  <a:lnTo>
                    <a:pt x="91" y="61"/>
                  </a:lnTo>
                  <a:lnTo>
                    <a:pt x="93" y="61"/>
                  </a:lnTo>
                  <a:lnTo>
                    <a:pt x="94" y="62"/>
                  </a:lnTo>
                  <a:lnTo>
                    <a:pt x="94" y="64"/>
                  </a:lnTo>
                  <a:lnTo>
                    <a:pt x="92" y="67"/>
                  </a:lnTo>
                  <a:lnTo>
                    <a:pt x="92" y="68"/>
                  </a:lnTo>
                  <a:lnTo>
                    <a:pt x="93" y="68"/>
                  </a:lnTo>
                  <a:lnTo>
                    <a:pt x="96" y="69"/>
                  </a:lnTo>
                  <a:lnTo>
                    <a:pt x="97" y="70"/>
                  </a:lnTo>
                  <a:lnTo>
                    <a:pt x="97" y="71"/>
                  </a:lnTo>
                  <a:lnTo>
                    <a:pt x="98" y="73"/>
                  </a:lnTo>
                  <a:lnTo>
                    <a:pt x="98" y="76"/>
                  </a:lnTo>
                  <a:lnTo>
                    <a:pt x="99" y="76"/>
                  </a:lnTo>
                  <a:lnTo>
                    <a:pt x="100" y="77"/>
                  </a:lnTo>
                  <a:lnTo>
                    <a:pt x="102" y="77"/>
                  </a:lnTo>
                  <a:lnTo>
                    <a:pt x="103" y="75"/>
                  </a:lnTo>
                  <a:lnTo>
                    <a:pt x="104" y="74"/>
                  </a:lnTo>
                  <a:lnTo>
                    <a:pt x="104" y="71"/>
                  </a:lnTo>
                  <a:lnTo>
                    <a:pt x="103" y="71"/>
                  </a:lnTo>
                  <a:lnTo>
                    <a:pt x="102" y="70"/>
                  </a:lnTo>
                  <a:lnTo>
                    <a:pt x="102" y="69"/>
                  </a:lnTo>
                  <a:lnTo>
                    <a:pt x="100" y="69"/>
                  </a:lnTo>
                  <a:lnTo>
                    <a:pt x="100" y="68"/>
                  </a:lnTo>
                  <a:lnTo>
                    <a:pt x="103" y="67"/>
                  </a:lnTo>
                  <a:lnTo>
                    <a:pt x="102" y="64"/>
                  </a:lnTo>
                  <a:lnTo>
                    <a:pt x="103" y="63"/>
                  </a:lnTo>
                  <a:lnTo>
                    <a:pt x="104" y="63"/>
                  </a:lnTo>
                  <a:lnTo>
                    <a:pt x="104" y="62"/>
                  </a:lnTo>
                  <a:lnTo>
                    <a:pt x="105" y="61"/>
                  </a:lnTo>
                  <a:lnTo>
                    <a:pt x="104" y="60"/>
                  </a:lnTo>
                  <a:lnTo>
                    <a:pt x="105" y="60"/>
                  </a:lnTo>
                  <a:lnTo>
                    <a:pt x="105" y="58"/>
                  </a:lnTo>
                  <a:lnTo>
                    <a:pt x="109" y="56"/>
                  </a:lnTo>
                  <a:lnTo>
                    <a:pt x="109" y="54"/>
                  </a:lnTo>
                  <a:lnTo>
                    <a:pt x="110" y="54"/>
                  </a:lnTo>
                  <a:lnTo>
                    <a:pt x="111" y="52"/>
                  </a:lnTo>
                  <a:lnTo>
                    <a:pt x="114" y="48"/>
                  </a:lnTo>
                  <a:lnTo>
                    <a:pt x="114" y="45"/>
                  </a:lnTo>
                  <a:lnTo>
                    <a:pt x="112" y="43"/>
                  </a:lnTo>
                  <a:lnTo>
                    <a:pt x="112" y="40"/>
                  </a:lnTo>
                  <a:lnTo>
                    <a:pt x="111" y="39"/>
                  </a:lnTo>
                  <a:lnTo>
                    <a:pt x="112" y="38"/>
                  </a:lnTo>
                  <a:lnTo>
                    <a:pt x="112" y="37"/>
                  </a:lnTo>
                  <a:lnTo>
                    <a:pt x="114" y="36"/>
                  </a:lnTo>
                  <a:lnTo>
                    <a:pt x="116" y="36"/>
                  </a:lnTo>
                  <a:lnTo>
                    <a:pt x="116" y="37"/>
                  </a:lnTo>
                  <a:lnTo>
                    <a:pt x="117" y="38"/>
                  </a:lnTo>
                  <a:lnTo>
                    <a:pt x="118" y="38"/>
                  </a:lnTo>
                  <a:lnTo>
                    <a:pt x="118" y="37"/>
                  </a:lnTo>
                  <a:lnTo>
                    <a:pt x="119" y="37"/>
                  </a:lnTo>
                  <a:lnTo>
                    <a:pt x="119" y="36"/>
                  </a:lnTo>
                  <a:lnTo>
                    <a:pt x="121" y="37"/>
                  </a:lnTo>
                  <a:lnTo>
                    <a:pt x="121" y="44"/>
                  </a:lnTo>
                  <a:lnTo>
                    <a:pt x="122" y="44"/>
                  </a:lnTo>
                  <a:lnTo>
                    <a:pt x="122" y="45"/>
                  </a:lnTo>
                  <a:lnTo>
                    <a:pt x="123" y="46"/>
                  </a:lnTo>
                  <a:lnTo>
                    <a:pt x="123" y="48"/>
                  </a:lnTo>
                  <a:lnTo>
                    <a:pt x="124" y="48"/>
                  </a:lnTo>
                  <a:lnTo>
                    <a:pt x="125" y="49"/>
                  </a:lnTo>
                  <a:lnTo>
                    <a:pt x="131" y="49"/>
                  </a:lnTo>
                  <a:lnTo>
                    <a:pt x="131" y="45"/>
                  </a:lnTo>
                  <a:lnTo>
                    <a:pt x="135" y="45"/>
                  </a:lnTo>
                  <a:lnTo>
                    <a:pt x="137" y="44"/>
                  </a:lnTo>
                  <a:lnTo>
                    <a:pt x="141" y="44"/>
                  </a:lnTo>
                  <a:lnTo>
                    <a:pt x="142" y="45"/>
                  </a:lnTo>
                  <a:lnTo>
                    <a:pt x="142" y="46"/>
                  </a:lnTo>
                  <a:lnTo>
                    <a:pt x="143" y="49"/>
                  </a:lnTo>
                  <a:lnTo>
                    <a:pt x="146" y="50"/>
                  </a:lnTo>
                  <a:lnTo>
                    <a:pt x="146" y="52"/>
                  </a:lnTo>
                  <a:lnTo>
                    <a:pt x="149" y="52"/>
                  </a:lnTo>
                  <a:lnTo>
                    <a:pt x="150" y="51"/>
                  </a:lnTo>
                  <a:lnTo>
                    <a:pt x="150" y="49"/>
                  </a:lnTo>
                  <a:lnTo>
                    <a:pt x="148" y="48"/>
                  </a:lnTo>
                  <a:lnTo>
                    <a:pt x="148" y="44"/>
                  </a:lnTo>
                  <a:lnTo>
                    <a:pt x="149" y="44"/>
                  </a:lnTo>
                  <a:lnTo>
                    <a:pt x="149" y="40"/>
                  </a:lnTo>
                  <a:lnTo>
                    <a:pt x="146" y="40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146" y="37"/>
                  </a:lnTo>
                  <a:lnTo>
                    <a:pt x="144" y="37"/>
                  </a:lnTo>
                  <a:lnTo>
                    <a:pt x="146" y="36"/>
                  </a:lnTo>
                  <a:lnTo>
                    <a:pt x="146" y="33"/>
                  </a:lnTo>
                  <a:lnTo>
                    <a:pt x="147" y="32"/>
                  </a:lnTo>
                  <a:lnTo>
                    <a:pt x="147" y="30"/>
                  </a:lnTo>
                  <a:lnTo>
                    <a:pt x="148" y="30"/>
                  </a:lnTo>
                  <a:lnTo>
                    <a:pt x="152" y="28"/>
                  </a:lnTo>
                  <a:lnTo>
                    <a:pt x="154" y="28"/>
                  </a:lnTo>
                  <a:lnTo>
                    <a:pt x="154" y="31"/>
                  </a:lnTo>
                  <a:lnTo>
                    <a:pt x="155" y="32"/>
                  </a:lnTo>
                  <a:lnTo>
                    <a:pt x="156" y="32"/>
                  </a:lnTo>
                  <a:lnTo>
                    <a:pt x="156" y="33"/>
                  </a:lnTo>
                  <a:lnTo>
                    <a:pt x="162" y="33"/>
                  </a:lnTo>
                  <a:lnTo>
                    <a:pt x="164" y="32"/>
                  </a:lnTo>
                  <a:lnTo>
                    <a:pt x="164" y="28"/>
                  </a:lnTo>
                  <a:lnTo>
                    <a:pt x="162" y="27"/>
                  </a:lnTo>
                  <a:lnTo>
                    <a:pt x="160" y="27"/>
                  </a:lnTo>
                  <a:lnTo>
                    <a:pt x="160" y="22"/>
                  </a:lnTo>
                  <a:lnTo>
                    <a:pt x="162" y="20"/>
                  </a:lnTo>
                  <a:lnTo>
                    <a:pt x="162" y="19"/>
                  </a:lnTo>
                  <a:lnTo>
                    <a:pt x="161" y="19"/>
                  </a:lnTo>
                  <a:lnTo>
                    <a:pt x="161" y="18"/>
                  </a:lnTo>
                  <a:lnTo>
                    <a:pt x="162" y="17"/>
                  </a:lnTo>
                  <a:lnTo>
                    <a:pt x="162" y="15"/>
                  </a:lnTo>
                  <a:lnTo>
                    <a:pt x="164" y="13"/>
                  </a:lnTo>
                  <a:lnTo>
                    <a:pt x="166" y="15"/>
                  </a:lnTo>
                  <a:lnTo>
                    <a:pt x="171" y="14"/>
                  </a:lnTo>
                  <a:lnTo>
                    <a:pt x="171" y="13"/>
                  </a:lnTo>
                  <a:lnTo>
                    <a:pt x="172" y="14"/>
                  </a:lnTo>
                  <a:lnTo>
                    <a:pt x="175" y="15"/>
                  </a:lnTo>
                  <a:lnTo>
                    <a:pt x="175" y="17"/>
                  </a:lnTo>
                  <a:lnTo>
                    <a:pt x="174" y="18"/>
                  </a:lnTo>
                  <a:lnTo>
                    <a:pt x="177" y="18"/>
                  </a:lnTo>
                  <a:lnTo>
                    <a:pt x="178" y="19"/>
                  </a:lnTo>
                  <a:lnTo>
                    <a:pt x="180" y="19"/>
                  </a:lnTo>
                  <a:lnTo>
                    <a:pt x="180" y="20"/>
                  </a:lnTo>
                  <a:lnTo>
                    <a:pt x="181" y="20"/>
                  </a:lnTo>
                  <a:lnTo>
                    <a:pt x="183" y="19"/>
                  </a:lnTo>
                  <a:lnTo>
                    <a:pt x="186" y="19"/>
                  </a:lnTo>
                  <a:lnTo>
                    <a:pt x="187" y="17"/>
                  </a:lnTo>
                  <a:lnTo>
                    <a:pt x="189" y="17"/>
                  </a:lnTo>
                  <a:lnTo>
                    <a:pt x="189" y="13"/>
                  </a:lnTo>
                  <a:lnTo>
                    <a:pt x="190" y="12"/>
                  </a:lnTo>
                  <a:lnTo>
                    <a:pt x="190" y="11"/>
                  </a:lnTo>
                  <a:lnTo>
                    <a:pt x="193" y="7"/>
                  </a:lnTo>
                  <a:lnTo>
                    <a:pt x="196" y="6"/>
                  </a:lnTo>
                  <a:lnTo>
                    <a:pt x="201" y="6"/>
                  </a:lnTo>
                  <a:lnTo>
                    <a:pt x="202" y="7"/>
                  </a:lnTo>
                  <a:lnTo>
                    <a:pt x="203" y="7"/>
                  </a:lnTo>
                  <a:lnTo>
                    <a:pt x="205" y="6"/>
                  </a:lnTo>
                  <a:lnTo>
                    <a:pt x="205" y="5"/>
                  </a:lnTo>
                  <a:lnTo>
                    <a:pt x="206" y="5"/>
                  </a:lnTo>
                  <a:lnTo>
                    <a:pt x="208" y="6"/>
                  </a:lnTo>
                  <a:lnTo>
                    <a:pt x="209" y="6"/>
                  </a:lnTo>
                  <a:lnTo>
                    <a:pt x="210" y="5"/>
                  </a:lnTo>
                  <a:lnTo>
                    <a:pt x="211" y="5"/>
                  </a:lnTo>
                  <a:lnTo>
                    <a:pt x="214" y="6"/>
                  </a:lnTo>
                  <a:lnTo>
                    <a:pt x="215" y="6"/>
                  </a:lnTo>
                  <a:lnTo>
                    <a:pt x="216" y="7"/>
                  </a:lnTo>
                  <a:lnTo>
                    <a:pt x="217" y="7"/>
                  </a:lnTo>
                  <a:lnTo>
                    <a:pt x="218" y="6"/>
                  </a:lnTo>
                  <a:lnTo>
                    <a:pt x="221" y="6"/>
                  </a:lnTo>
                  <a:lnTo>
                    <a:pt x="222" y="5"/>
                  </a:lnTo>
                  <a:lnTo>
                    <a:pt x="224" y="3"/>
                  </a:lnTo>
                  <a:lnTo>
                    <a:pt x="226" y="2"/>
                  </a:lnTo>
                  <a:lnTo>
                    <a:pt x="229" y="2"/>
                  </a:lnTo>
                  <a:lnTo>
                    <a:pt x="233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35">
              <a:extLst>
                <a:ext uri="{FF2B5EF4-FFF2-40B4-BE49-F238E27FC236}">
                  <a16:creationId xmlns:a16="http://schemas.microsoft.com/office/drawing/2014/main" id="{66B477A3-1525-47B1-B85C-B5BE8DB3BD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44925" y="3857625"/>
              <a:ext cx="300038" cy="444500"/>
            </a:xfrm>
            <a:custGeom>
              <a:avLst/>
              <a:gdLst/>
              <a:ahLst/>
              <a:cxnLst>
                <a:cxn ang="0">
                  <a:pos x="34" y="165"/>
                </a:cxn>
                <a:cxn ang="0">
                  <a:pos x="33" y="155"/>
                </a:cxn>
                <a:cxn ang="0">
                  <a:pos x="29" y="108"/>
                </a:cxn>
                <a:cxn ang="0">
                  <a:pos x="22" y="83"/>
                </a:cxn>
                <a:cxn ang="0">
                  <a:pos x="87" y="60"/>
                </a:cxn>
                <a:cxn ang="0">
                  <a:pos x="136" y="3"/>
                </a:cxn>
                <a:cxn ang="0">
                  <a:pos x="131" y="27"/>
                </a:cxn>
                <a:cxn ang="0">
                  <a:pos x="112" y="55"/>
                </a:cxn>
                <a:cxn ang="0">
                  <a:pos x="101" y="75"/>
                </a:cxn>
                <a:cxn ang="0">
                  <a:pos x="134" y="94"/>
                </a:cxn>
                <a:cxn ang="0">
                  <a:pos x="146" y="72"/>
                </a:cxn>
                <a:cxn ang="0">
                  <a:pos x="160" y="94"/>
                </a:cxn>
                <a:cxn ang="0">
                  <a:pos x="182" y="100"/>
                </a:cxn>
                <a:cxn ang="0">
                  <a:pos x="180" y="128"/>
                </a:cxn>
                <a:cxn ang="0">
                  <a:pos x="180" y="150"/>
                </a:cxn>
                <a:cxn ang="0">
                  <a:pos x="183" y="186"/>
                </a:cxn>
                <a:cxn ang="0">
                  <a:pos x="174" y="229"/>
                </a:cxn>
                <a:cxn ang="0">
                  <a:pos x="157" y="225"/>
                </a:cxn>
                <a:cxn ang="0">
                  <a:pos x="148" y="227"/>
                </a:cxn>
                <a:cxn ang="0">
                  <a:pos x="124" y="236"/>
                </a:cxn>
                <a:cxn ang="0">
                  <a:pos x="111" y="244"/>
                </a:cxn>
                <a:cxn ang="0">
                  <a:pos x="97" y="252"/>
                </a:cxn>
                <a:cxn ang="0">
                  <a:pos x="91" y="256"/>
                </a:cxn>
                <a:cxn ang="0">
                  <a:pos x="75" y="268"/>
                </a:cxn>
                <a:cxn ang="0">
                  <a:pos x="58" y="274"/>
                </a:cxn>
                <a:cxn ang="0">
                  <a:pos x="44" y="274"/>
                </a:cxn>
                <a:cxn ang="0">
                  <a:pos x="27" y="278"/>
                </a:cxn>
                <a:cxn ang="0">
                  <a:pos x="40" y="264"/>
                </a:cxn>
                <a:cxn ang="0">
                  <a:pos x="15" y="269"/>
                </a:cxn>
                <a:cxn ang="0">
                  <a:pos x="28" y="256"/>
                </a:cxn>
                <a:cxn ang="0">
                  <a:pos x="18" y="257"/>
                </a:cxn>
                <a:cxn ang="0">
                  <a:pos x="5" y="248"/>
                </a:cxn>
                <a:cxn ang="0">
                  <a:pos x="21" y="236"/>
                </a:cxn>
                <a:cxn ang="0">
                  <a:pos x="9" y="235"/>
                </a:cxn>
                <a:cxn ang="0">
                  <a:pos x="6" y="226"/>
                </a:cxn>
                <a:cxn ang="0">
                  <a:pos x="30" y="224"/>
                </a:cxn>
                <a:cxn ang="0">
                  <a:pos x="34" y="208"/>
                </a:cxn>
                <a:cxn ang="0">
                  <a:pos x="65" y="192"/>
                </a:cxn>
                <a:cxn ang="0">
                  <a:pos x="40" y="199"/>
                </a:cxn>
                <a:cxn ang="0">
                  <a:pos x="43" y="183"/>
                </a:cxn>
                <a:cxn ang="0">
                  <a:pos x="59" y="163"/>
                </a:cxn>
                <a:cxn ang="0">
                  <a:pos x="62" y="156"/>
                </a:cxn>
                <a:cxn ang="0">
                  <a:pos x="37" y="146"/>
                </a:cxn>
                <a:cxn ang="0">
                  <a:pos x="27" y="144"/>
                </a:cxn>
                <a:cxn ang="0">
                  <a:pos x="15" y="137"/>
                </a:cxn>
                <a:cxn ang="0">
                  <a:pos x="23" y="123"/>
                </a:cxn>
                <a:cxn ang="0">
                  <a:pos x="22" y="110"/>
                </a:cxn>
                <a:cxn ang="0">
                  <a:pos x="22" y="101"/>
                </a:cxn>
                <a:cxn ang="0">
                  <a:pos x="27" y="94"/>
                </a:cxn>
                <a:cxn ang="0">
                  <a:pos x="27" y="82"/>
                </a:cxn>
                <a:cxn ang="0">
                  <a:pos x="52" y="80"/>
                </a:cxn>
                <a:cxn ang="0">
                  <a:pos x="71" y="83"/>
                </a:cxn>
                <a:cxn ang="0">
                  <a:pos x="81" y="79"/>
                </a:cxn>
                <a:cxn ang="0">
                  <a:pos x="96" y="60"/>
                </a:cxn>
                <a:cxn ang="0">
                  <a:pos x="84" y="58"/>
                </a:cxn>
                <a:cxn ang="0">
                  <a:pos x="81" y="45"/>
                </a:cxn>
                <a:cxn ang="0">
                  <a:pos x="85" y="33"/>
                </a:cxn>
                <a:cxn ang="0">
                  <a:pos x="98" y="20"/>
                </a:cxn>
                <a:cxn ang="0">
                  <a:pos x="112" y="15"/>
                </a:cxn>
                <a:cxn ang="0">
                  <a:pos x="116" y="11"/>
                </a:cxn>
                <a:cxn ang="0">
                  <a:pos x="124" y="27"/>
                </a:cxn>
                <a:cxn ang="0">
                  <a:pos x="133" y="8"/>
                </a:cxn>
              </a:cxnLst>
              <a:rect l="0" t="0" r="r" b="b"/>
              <a:pathLst>
                <a:path w="189" h="280">
                  <a:moveTo>
                    <a:pt x="24" y="267"/>
                  </a:moveTo>
                  <a:lnTo>
                    <a:pt x="28" y="267"/>
                  </a:lnTo>
                  <a:lnTo>
                    <a:pt x="28" y="268"/>
                  </a:lnTo>
                  <a:lnTo>
                    <a:pt x="24" y="269"/>
                  </a:lnTo>
                  <a:lnTo>
                    <a:pt x="24" y="268"/>
                  </a:lnTo>
                  <a:lnTo>
                    <a:pt x="23" y="268"/>
                  </a:lnTo>
                  <a:lnTo>
                    <a:pt x="24" y="267"/>
                  </a:lnTo>
                  <a:close/>
                  <a:moveTo>
                    <a:pt x="141" y="231"/>
                  </a:moveTo>
                  <a:lnTo>
                    <a:pt x="142" y="231"/>
                  </a:lnTo>
                  <a:lnTo>
                    <a:pt x="142" y="232"/>
                  </a:lnTo>
                  <a:lnTo>
                    <a:pt x="141" y="231"/>
                  </a:lnTo>
                  <a:close/>
                  <a:moveTo>
                    <a:pt x="167" y="217"/>
                  </a:moveTo>
                  <a:lnTo>
                    <a:pt x="167" y="218"/>
                  </a:lnTo>
                  <a:lnTo>
                    <a:pt x="168" y="218"/>
                  </a:lnTo>
                  <a:lnTo>
                    <a:pt x="170" y="217"/>
                  </a:lnTo>
                  <a:lnTo>
                    <a:pt x="167" y="217"/>
                  </a:lnTo>
                  <a:close/>
                  <a:moveTo>
                    <a:pt x="28" y="163"/>
                  </a:moveTo>
                  <a:lnTo>
                    <a:pt x="33" y="163"/>
                  </a:lnTo>
                  <a:lnTo>
                    <a:pt x="34" y="164"/>
                  </a:lnTo>
                  <a:lnTo>
                    <a:pt x="34" y="165"/>
                  </a:lnTo>
                  <a:lnTo>
                    <a:pt x="35" y="165"/>
                  </a:lnTo>
                  <a:lnTo>
                    <a:pt x="35" y="166"/>
                  </a:lnTo>
                  <a:lnTo>
                    <a:pt x="34" y="166"/>
                  </a:lnTo>
                  <a:lnTo>
                    <a:pt x="29" y="164"/>
                  </a:lnTo>
                  <a:lnTo>
                    <a:pt x="28" y="163"/>
                  </a:lnTo>
                  <a:close/>
                  <a:moveTo>
                    <a:pt x="62" y="160"/>
                  </a:moveTo>
                  <a:lnTo>
                    <a:pt x="64" y="160"/>
                  </a:lnTo>
                  <a:lnTo>
                    <a:pt x="62" y="162"/>
                  </a:lnTo>
                  <a:lnTo>
                    <a:pt x="62" y="160"/>
                  </a:lnTo>
                  <a:close/>
                  <a:moveTo>
                    <a:pt x="60" y="160"/>
                  </a:moveTo>
                  <a:lnTo>
                    <a:pt x="61" y="160"/>
                  </a:lnTo>
                  <a:lnTo>
                    <a:pt x="62" y="162"/>
                  </a:lnTo>
                  <a:lnTo>
                    <a:pt x="60" y="162"/>
                  </a:lnTo>
                  <a:lnTo>
                    <a:pt x="60" y="160"/>
                  </a:lnTo>
                  <a:close/>
                  <a:moveTo>
                    <a:pt x="33" y="153"/>
                  </a:moveTo>
                  <a:lnTo>
                    <a:pt x="34" y="153"/>
                  </a:lnTo>
                  <a:lnTo>
                    <a:pt x="35" y="156"/>
                  </a:lnTo>
                  <a:lnTo>
                    <a:pt x="35" y="157"/>
                  </a:lnTo>
                  <a:lnTo>
                    <a:pt x="33" y="157"/>
                  </a:lnTo>
                  <a:lnTo>
                    <a:pt x="33" y="155"/>
                  </a:lnTo>
                  <a:lnTo>
                    <a:pt x="31" y="155"/>
                  </a:lnTo>
                  <a:lnTo>
                    <a:pt x="33" y="153"/>
                  </a:lnTo>
                  <a:close/>
                  <a:moveTo>
                    <a:pt x="184" y="145"/>
                  </a:moveTo>
                  <a:lnTo>
                    <a:pt x="186" y="145"/>
                  </a:lnTo>
                  <a:lnTo>
                    <a:pt x="186" y="147"/>
                  </a:lnTo>
                  <a:lnTo>
                    <a:pt x="185" y="147"/>
                  </a:lnTo>
                  <a:lnTo>
                    <a:pt x="185" y="146"/>
                  </a:lnTo>
                  <a:lnTo>
                    <a:pt x="184" y="146"/>
                  </a:lnTo>
                  <a:lnTo>
                    <a:pt x="184" y="145"/>
                  </a:lnTo>
                  <a:close/>
                  <a:moveTo>
                    <a:pt x="18" y="139"/>
                  </a:moveTo>
                  <a:lnTo>
                    <a:pt x="19" y="140"/>
                  </a:lnTo>
                  <a:lnTo>
                    <a:pt x="19" y="139"/>
                  </a:lnTo>
                  <a:lnTo>
                    <a:pt x="18" y="139"/>
                  </a:lnTo>
                  <a:close/>
                  <a:moveTo>
                    <a:pt x="11" y="134"/>
                  </a:moveTo>
                  <a:lnTo>
                    <a:pt x="14" y="134"/>
                  </a:lnTo>
                  <a:lnTo>
                    <a:pt x="12" y="135"/>
                  </a:lnTo>
                  <a:lnTo>
                    <a:pt x="11" y="134"/>
                  </a:lnTo>
                  <a:close/>
                  <a:moveTo>
                    <a:pt x="28" y="104"/>
                  </a:moveTo>
                  <a:lnTo>
                    <a:pt x="28" y="108"/>
                  </a:lnTo>
                  <a:lnTo>
                    <a:pt x="29" y="108"/>
                  </a:lnTo>
                  <a:lnTo>
                    <a:pt x="29" y="106"/>
                  </a:lnTo>
                  <a:lnTo>
                    <a:pt x="28" y="104"/>
                  </a:lnTo>
                  <a:close/>
                  <a:moveTo>
                    <a:pt x="134" y="90"/>
                  </a:moveTo>
                  <a:lnTo>
                    <a:pt x="134" y="94"/>
                  </a:lnTo>
                  <a:lnTo>
                    <a:pt x="133" y="91"/>
                  </a:lnTo>
                  <a:lnTo>
                    <a:pt x="134" y="90"/>
                  </a:lnTo>
                  <a:close/>
                  <a:moveTo>
                    <a:pt x="16" y="90"/>
                  </a:moveTo>
                  <a:lnTo>
                    <a:pt x="16" y="91"/>
                  </a:lnTo>
                  <a:lnTo>
                    <a:pt x="17" y="91"/>
                  </a:lnTo>
                  <a:lnTo>
                    <a:pt x="17" y="92"/>
                  </a:lnTo>
                  <a:lnTo>
                    <a:pt x="16" y="94"/>
                  </a:lnTo>
                  <a:lnTo>
                    <a:pt x="17" y="94"/>
                  </a:lnTo>
                  <a:lnTo>
                    <a:pt x="17" y="95"/>
                  </a:lnTo>
                  <a:lnTo>
                    <a:pt x="15" y="95"/>
                  </a:lnTo>
                  <a:lnTo>
                    <a:pt x="15" y="92"/>
                  </a:lnTo>
                  <a:lnTo>
                    <a:pt x="16" y="90"/>
                  </a:lnTo>
                  <a:close/>
                  <a:moveTo>
                    <a:pt x="19" y="80"/>
                  </a:moveTo>
                  <a:lnTo>
                    <a:pt x="21" y="80"/>
                  </a:lnTo>
                  <a:lnTo>
                    <a:pt x="21" y="82"/>
                  </a:lnTo>
                  <a:lnTo>
                    <a:pt x="22" y="83"/>
                  </a:lnTo>
                  <a:lnTo>
                    <a:pt x="25" y="83"/>
                  </a:lnTo>
                  <a:lnTo>
                    <a:pt x="24" y="85"/>
                  </a:lnTo>
                  <a:lnTo>
                    <a:pt x="22" y="85"/>
                  </a:lnTo>
                  <a:lnTo>
                    <a:pt x="21" y="84"/>
                  </a:lnTo>
                  <a:lnTo>
                    <a:pt x="21" y="86"/>
                  </a:lnTo>
                  <a:lnTo>
                    <a:pt x="19" y="86"/>
                  </a:lnTo>
                  <a:lnTo>
                    <a:pt x="19" y="89"/>
                  </a:lnTo>
                  <a:lnTo>
                    <a:pt x="18" y="89"/>
                  </a:lnTo>
                  <a:lnTo>
                    <a:pt x="18" y="90"/>
                  </a:lnTo>
                  <a:lnTo>
                    <a:pt x="16" y="90"/>
                  </a:lnTo>
                  <a:lnTo>
                    <a:pt x="16" y="88"/>
                  </a:lnTo>
                  <a:lnTo>
                    <a:pt x="17" y="88"/>
                  </a:lnTo>
                  <a:lnTo>
                    <a:pt x="17" y="86"/>
                  </a:lnTo>
                  <a:lnTo>
                    <a:pt x="16" y="86"/>
                  </a:lnTo>
                  <a:lnTo>
                    <a:pt x="16" y="84"/>
                  </a:lnTo>
                  <a:lnTo>
                    <a:pt x="17" y="83"/>
                  </a:lnTo>
                  <a:lnTo>
                    <a:pt x="17" y="82"/>
                  </a:lnTo>
                  <a:lnTo>
                    <a:pt x="19" y="80"/>
                  </a:lnTo>
                  <a:close/>
                  <a:moveTo>
                    <a:pt x="89" y="58"/>
                  </a:moveTo>
                  <a:lnTo>
                    <a:pt x="87" y="60"/>
                  </a:lnTo>
                  <a:lnTo>
                    <a:pt x="86" y="60"/>
                  </a:lnTo>
                  <a:lnTo>
                    <a:pt x="86" y="61"/>
                  </a:lnTo>
                  <a:lnTo>
                    <a:pt x="85" y="61"/>
                  </a:lnTo>
                  <a:lnTo>
                    <a:pt x="85" y="60"/>
                  </a:lnTo>
                  <a:lnTo>
                    <a:pt x="86" y="59"/>
                  </a:lnTo>
                  <a:lnTo>
                    <a:pt x="87" y="59"/>
                  </a:lnTo>
                  <a:lnTo>
                    <a:pt x="89" y="58"/>
                  </a:lnTo>
                  <a:close/>
                  <a:moveTo>
                    <a:pt x="81" y="28"/>
                  </a:moveTo>
                  <a:lnTo>
                    <a:pt x="83" y="29"/>
                  </a:lnTo>
                  <a:lnTo>
                    <a:pt x="84" y="29"/>
                  </a:lnTo>
                  <a:lnTo>
                    <a:pt x="84" y="32"/>
                  </a:lnTo>
                  <a:lnTo>
                    <a:pt x="80" y="32"/>
                  </a:lnTo>
                  <a:lnTo>
                    <a:pt x="80" y="29"/>
                  </a:lnTo>
                  <a:lnTo>
                    <a:pt x="81" y="29"/>
                  </a:lnTo>
                  <a:lnTo>
                    <a:pt x="81" y="28"/>
                  </a:lnTo>
                  <a:close/>
                  <a:moveTo>
                    <a:pt x="130" y="0"/>
                  </a:moveTo>
                  <a:lnTo>
                    <a:pt x="131" y="0"/>
                  </a:lnTo>
                  <a:lnTo>
                    <a:pt x="133" y="2"/>
                  </a:lnTo>
                  <a:lnTo>
                    <a:pt x="135" y="3"/>
                  </a:lnTo>
                  <a:lnTo>
                    <a:pt x="136" y="3"/>
                  </a:lnTo>
                  <a:lnTo>
                    <a:pt x="137" y="4"/>
                  </a:lnTo>
                  <a:lnTo>
                    <a:pt x="139" y="4"/>
                  </a:lnTo>
                  <a:lnTo>
                    <a:pt x="141" y="8"/>
                  </a:lnTo>
                  <a:lnTo>
                    <a:pt x="143" y="9"/>
                  </a:lnTo>
                  <a:lnTo>
                    <a:pt x="145" y="10"/>
                  </a:lnTo>
                  <a:lnTo>
                    <a:pt x="147" y="10"/>
                  </a:lnTo>
                  <a:lnTo>
                    <a:pt x="148" y="11"/>
                  </a:lnTo>
                  <a:lnTo>
                    <a:pt x="148" y="10"/>
                  </a:lnTo>
                  <a:lnTo>
                    <a:pt x="149" y="11"/>
                  </a:lnTo>
                  <a:lnTo>
                    <a:pt x="149" y="14"/>
                  </a:lnTo>
                  <a:lnTo>
                    <a:pt x="147" y="14"/>
                  </a:lnTo>
                  <a:lnTo>
                    <a:pt x="145" y="15"/>
                  </a:lnTo>
                  <a:lnTo>
                    <a:pt x="141" y="18"/>
                  </a:lnTo>
                  <a:lnTo>
                    <a:pt x="140" y="18"/>
                  </a:lnTo>
                  <a:lnTo>
                    <a:pt x="136" y="22"/>
                  </a:lnTo>
                  <a:lnTo>
                    <a:pt x="136" y="24"/>
                  </a:lnTo>
                  <a:lnTo>
                    <a:pt x="135" y="24"/>
                  </a:lnTo>
                  <a:lnTo>
                    <a:pt x="135" y="26"/>
                  </a:lnTo>
                  <a:lnTo>
                    <a:pt x="134" y="26"/>
                  </a:lnTo>
                  <a:lnTo>
                    <a:pt x="131" y="27"/>
                  </a:lnTo>
                  <a:lnTo>
                    <a:pt x="130" y="27"/>
                  </a:lnTo>
                  <a:lnTo>
                    <a:pt x="129" y="29"/>
                  </a:lnTo>
                  <a:lnTo>
                    <a:pt x="129" y="34"/>
                  </a:lnTo>
                  <a:lnTo>
                    <a:pt x="128" y="34"/>
                  </a:lnTo>
                  <a:lnTo>
                    <a:pt x="128" y="40"/>
                  </a:lnTo>
                  <a:lnTo>
                    <a:pt x="123" y="45"/>
                  </a:lnTo>
                  <a:lnTo>
                    <a:pt x="123" y="48"/>
                  </a:lnTo>
                  <a:lnTo>
                    <a:pt x="118" y="48"/>
                  </a:lnTo>
                  <a:lnTo>
                    <a:pt x="116" y="51"/>
                  </a:lnTo>
                  <a:lnTo>
                    <a:pt x="112" y="51"/>
                  </a:lnTo>
                  <a:lnTo>
                    <a:pt x="111" y="49"/>
                  </a:lnTo>
                  <a:lnTo>
                    <a:pt x="110" y="51"/>
                  </a:lnTo>
                  <a:lnTo>
                    <a:pt x="108" y="52"/>
                  </a:lnTo>
                  <a:lnTo>
                    <a:pt x="109" y="52"/>
                  </a:lnTo>
                  <a:lnTo>
                    <a:pt x="108" y="53"/>
                  </a:lnTo>
                  <a:lnTo>
                    <a:pt x="109" y="54"/>
                  </a:lnTo>
                  <a:lnTo>
                    <a:pt x="110" y="54"/>
                  </a:lnTo>
                  <a:lnTo>
                    <a:pt x="110" y="55"/>
                  </a:lnTo>
                  <a:lnTo>
                    <a:pt x="111" y="57"/>
                  </a:lnTo>
                  <a:lnTo>
                    <a:pt x="112" y="55"/>
                  </a:lnTo>
                  <a:lnTo>
                    <a:pt x="112" y="57"/>
                  </a:lnTo>
                  <a:lnTo>
                    <a:pt x="114" y="58"/>
                  </a:lnTo>
                  <a:lnTo>
                    <a:pt x="115" y="58"/>
                  </a:lnTo>
                  <a:lnTo>
                    <a:pt x="116" y="57"/>
                  </a:lnTo>
                  <a:lnTo>
                    <a:pt x="117" y="57"/>
                  </a:lnTo>
                  <a:lnTo>
                    <a:pt x="117" y="58"/>
                  </a:lnTo>
                  <a:lnTo>
                    <a:pt x="115" y="59"/>
                  </a:lnTo>
                  <a:lnTo>
                    <a:pt x="111" y="63"/>
                  </a:lnTo>
                  <a:lnTo>
                    <a:pt x="109" y="64"/>
                  </a:lnTo>
                  <a:lnTo>
                    <a:pt x="108" y="64"/>
                  </a:lnTo>
                  <a:lnTo>
                    <a:pt x="104" y="63"/>
                  </a:lnTo>
                  <a:lnTo>
                    <a:pt x="103" y="64"/>
                  </a:lnTo>
                  <a:lnTo>
                    <a:pt x="103" y="65"/>
                  </a:lnTo>
                  <a:lnTo>
                    <a:pt x="102" y="66"/>
                  </a:lnTo>
                  <a:lnTo>
                    <a:pt x="102" y="67"/>
                  </a:lnTo>
                  <a:lnTo>
                    <a:pt x="101" y="67"/>
                  </a:lnTo>
                  <a:lnTo>
                    <a:pt x="98" y="69"/>
                  </a:lnTo>
                  <a:lnTo>
                    <a:pt x="98" y="71"/>
                  </a:lnTo>
                  <a:lnTo>
                    <a:pt x="99" y="72"/>
                  </a:lnTo>
                  <a:lnTo>
                    <a:pt x="101" y="75"/>
                  </a:lnTo>
                  <a:lnTo>
                    <a:pt x="102" y="76"/>
                  </a:lnTo>
                  <a:lnTo>
                    <a:pt x="104" y="76"/>
                  </a:lnTo>
                  <a:lnTo>
                    <a:pt x="105" y="78"/>
                  </a:lnTo>
                  <a:lnTo>
                    <a:pt x="105" y="79"/>
                  </a:lnTo>
                  <a:lnTo>
                    <a:pt x="106" y="80"/>
                  </a:lnTo>
                  <a:lnTo>
                    <a:pt x="109" y="80"/>
                  </a:lnTo>
                  <a:lnTo>
                    <a:pt x="110" y="82"/>
                  </a:lnTo>
                  <a:lnTo>
                    <a:pt x="110" y="86"/>
                  </a:lnTo>
                  <a:lnTo>
                    <a:pt x="111" y="88"/>
                  </a:lnTo>
                  <a:lnTo>
                    <a:pt x="117" y="88"/>
                  </a:lnTo>
                  <a:lnTo>
                    <a:pt x="120" y="90"/>
                  </a:lnTo>
                  <a:lnTo>
                    <a:pt x="121" y="90"/>
                  </a:lnTo>
                  <a:lnTo>
                    <a:pt x="121" y="92"/>
                  </a:lnTo>
                  <a:lnTo>
                    <a:pt x="127" y="92"/>
                  </a:lnTo>
                  <a:lnTo>
                    <a:pt x="128" y="91"/>
                  </a:lnTo>
                  <a:lnTo>
                    <a:pt x="129" y="91"/>
                  </a:lnTo>
                  <a:lnTo>
                    <a:pt x="129" y="92"/>
                  </a:lnTo>
                  <a:lnTo>
                    <a:pt x="130" y="92"/>
                  </a:lnTo>
                  <a:lnTo>
                    <a:pt x="130" y="94"/>
                  </a:lnTo>
                  <a:lnTo>
                    <a:pt x="134" y="94"/>
                  </a:lnTo>
                  <a:lnTo>
                    <a:pt x="135" y="92"/>
                  </a:lnTo>
                  <a:lnTo>
                    <a:pt x="135" y="90"/>
                  </a:lnTo>
                  <a:lnTo>
                    <a:pt x="136" y="90"/>
                  </a:lnTo>
                  <a:lnTo>
                    <a:pt x="136" y="89"/>
                  </a:lnTo>
                  <a:lnTo>
                    <a:pt x="135" y="89"/>
                  </a:lnTo>
                  <a:lnTo>
                    <a:pt x="137" y="86"/>
                  </a:lnTo>
                  <a:lnTo>
                    <a:pt x="139" y="86"/>
                  </a:lnTo>
                  <a:lnTo>
                    <a:pt x="140" y="85"/>
                  </a:lnTo>
                  <a:lnTo>
                    <a:pt x="140" y="84"/>
                  </a:lnTo>
                  <a:lnTo>
                    <a:pt x="141" y="84"/>
                  </a:lnTo>
                  <a:lnTo>
                    <a:pt x="139" y="83"/>
                  </a:lnTo>
                  <a:lnTo>
                    <a:pt x="139" y="82"/>
                  </a:lnTo>
                  <a:lnTo>
                    <a:pt x="137" y="80"/>
                  </a:lnTo>
                  <a:lnTo>
                    <a:pt x="139" y="80"/>
                  </a:lnTo>
                  <a:lnTo>
                    <a:pt x="139" y="78"/>
                  </a:lnTo>
                  <a:lnTo>
                    <a:pt x="140" y="78"/>
                  </a:lnTo>
                  <a:lnTo>
                    <a:pt x="141" y="77"/>
                  </a:lnTo>
                  <a:lnTo>
                    <a:pt x="143" y="73"/>
                  </a:lnTo>
                  <a:lnTo>
                    <a:pt x="145" y="72"/>
                  </a:lnTo>
                  <a:lnTo>
                    <a:pt x="146" y="72"/>
                  </a:lnTo>
                  <a:lnTo>
                    <a:pt x="147" y="73"/>
                  </a:lnTo>
                  <a:lnTo>
                    <a:pt x="149" y="75"/>
                  </a:lnTo>
                  <a:lnTo>
                    <a:pt x="151" y="76"/>
                  </a:lnTo>
                  <a:lnTo>
                    <a:pt x="151" y="77"/>
                  </a:lnTo>
                  <a:lnTo>
                    <a:pt x="152" y="77"/>
                  </a:lnTo>
                  <a:lnTo>
                    <a:pt x="152" y="78"/>
                  </a:lnTo>
                  <a:lnTo>
                    <a:pt x="153" y="79"/>
                  </a:lnTo>
                  <a:lnTo>
                    <a:pt x="153" y="80"/>
                  </a:lnTo>
                  <a:lnTo>
                    <a:pt x="152" y="82"/>
                  </a:lnTo>
                  <a:lnTo>
                    <a:pt x="154" y="84"/>
                  </a:lnTo>
                  <a:lnTo>
                    <a:pt x="154" y="86"/>
                  </a:lnTo>
                  <a:lnTo>
                    <a:pt x="155" y="88"/>
                  </a:lnTo>
                  <a:lnTo>
                    <a:pt x="157" y="88"/>
                  </a:lnTo>
                  <a:lnTo>
                    <a:pt x="158" y="89"/>
                  </a:lnTo>
                  <a:lnTo>
                    <a:pt x="159" y="88"/>
                  </a:lnTo>
                  <a:lnTo>
                    <a:pt x="160" y="88"/>
                  </a:lnTo>
                  <a:lnTo>
                    <a:pt x="161" y="89"/>
                  </a:lnTo>
                  <a:lnTo>
                    <a:pt x="161" y="90"/>
                  </a:lnTo>
                  <a:lnTo>
                    <a:pt x="162" y="91"/>
                  </a:lnTo>
                  <a:lnTo>
                    <a:pt x="160" y="94"/>
                  </a:lnTo>
                  <a:lnTo>
                    <a:pt x="161" y="95"/>
                  </a:lnTo>
                  <a:lnTo>
                    <a:pt x="160" y="97"/>
                  </a:lnTo>
                  <a:lnTo>
                    <a:pt x="161" y="97"/>
                  </a:lnTo>
                  <a:lnTo>
                    <a:pt x="162" y="98"/>
                  </a:lnTo>
                  <a:lnTo>
                    <a:pt x="162" y="100"/>
                  </a:lnTo>
                  <a:lnTo>
                    <a:pt x="164" y="98"/>
                  </a:lnTo>
                  <a:lnTo>
                    <a:pt x="165" y="98"/>
                  </a:lnTo>
                  <a:lnTo>
                    <a:pt x="168" y="97"/>
                  </a:lnTo>
                  <a:lnTo>
                    <a:pt x="170" y="97"/>
                  </a:lnTo>
                  <a:lnTo>
                    <a:pt x="171" y="98"/>
                  </a:lnTo>
                  <a:lnTo>
                    <a:pt x="172" y="97"/>
                  </a:lnTo>
                  <a:lnTo>
                    <a:pt x="173" y="97"/>
                  </a:lnTo>
                  <a:lnTo>
                    <a:pt x="173" y="95"/>
                  </a:lnTo>
                  <a:lnTo>
                    <a:pt x="174" y="94"/>
                  </a:lnTo>
                  <a:lnTo>
                    <a:pt x="174" y="95"/>
                  </a:lnTo>
                  <a:lnTo>
                    <a:pt x="178" y="95"/>
                  </a:lnTo>
                  <a:lnTo>
                    <a:pt x="180" y="97"/>
                  </a:lnTo>
                  <a:lnTo>
                    <a:pt x="180" y="98"/>
                  </a:lnTo>
                  <a:lnTo>
                    <a:pt x="182" y="98"/>
                  </a:lnTo>
                  <a:lnTo>
                    <a:pt x="182" y="100"/>
                  </a:lnTo>
                  <a:lnTo>
                    <a:pt x="184" y="100"/>
                  </a:lnTo>
                  <a:lnTo>
                    <a:pt x="184" y="102"/>
                  </a:lnTo>
                  <a:lnTo>
                    <a:pt x="183" y="103"/>
                  </a:lnTo>
                  <a:lnTo>
                    <a:pt x="180" y="103"/>
                  </a:lnTo>
                  <a:lnTo>
                    <a:pt x="179" y="102"/>
                  </a:lnTo>
                  <a:lnTo>
                    <a:pt x="176" y="101"/>
                  </a:lnTo>
                  <a:lnTo>
                    <a:pt x="173" y="101"/>
                  </a:lnTo>
                  <a:lnTo>
                    <a:pt x="174" y="102"/>
                  </a:lnTo>
                  <a:lnTo>
                    <a:pt x="173" y="103"/>
                  </a:lnTo>
                  <a:lnTo>
                    <a:pt x="173" y="109"/>
                  </a:lnTo>
                  <a:lnTo>
                    <a:pt x="176" y="112"/>
                  </a:lnTo>
                  <a:lnTo>
                    <a:pt x="178" y="112"/>
                  </a:lnTo>
                  <a:lnTo>
                    <a:pt x="178" y="116"/>
                  </a:lnTo>
                  <a:lnTo>
                    <a:pt x="179" y="116"/>
                  </a:lnTo>
                  <a:lnTo>
                    <a:pt x="178" y="117"/>
                  </a:lnTo>
                  <a:lnTo>
                    <a:pt x="178" y="121"/>
                  </a:lnTo>
                  <a:lnTo>
                    <a:pt x="179" y="125"/>
                  </a:lnTo>
                  <a:lnTo>
                    <a:pt x="179" y="127"/>
                  </a:lnTo>
                  <a:lnTo>
                    <a:pt x="180" y="127"/>
                  </a:lnTo>
                  <a:lnTo>
                    <a:pt x="180" y="128"/>
                  </a:lnTo>
                  <a:lnTo>
                    <a:pt x="182" y="131"/>
                  </a:lnTo>
                  <a:lnTo>
                    <a:pt x="183" y="131"/>
                  </a:lnTo>
                  <a:lnTo>
                    <a:pt x="184" y="132"/>
                  </a:lnTo>
                  <a:lnTo>
                    <a:pt x="185" y="132"/>
                  </a:lnTo>
                  <a:lnTo>
                    <a:pt x="185" y="137"/>
                  </a:lnTo>
                  <a:lnTo>
                    <a:pt x="184" y="138"/>
                  </a:lnTo>
                  <a:lnTo>
                    <a:pt x="184" y="140"/>
                  </a:lnTo>
                  <a:lnTo>
                    <a:pt x="183" y="140"/>
                  </a:lnTo>
                  <a:lnTo>
                    <a:pt x="182" y="139"/>
                  </a:lnTo>
                  <a:lnTo>
                    <a:pt x="182" y="140"/>
                  </a:lnTo>
                  <a:lnTo>
                    <a:pt x="180" y="140"/>
                  </a:lnTo>
                  <a:lnTo>
                    <a:pt x="183" y="141"/>
                  </a:lnTo>
                  <a:lnTo>
                    <a:pt x="184" y="143"/>
                  </a:lnTo>
                  <a:lnTo>
                    <a:pt x="184" y="145"/>
                  </a:lnTo>
                  <a:lnTo>
                    <a:pt x="183" y="145"/>
                  </a:lnTo>
                  <a:lnTo>
                    <a:pt x="183" y="146"/>
                  </a:lnTo>
                  <a:lnTo>
                    <a:pt x="179" y="147"/>
                  </a:lnTo>
                  <a:lnTo>
                    <a:pt x="179" y="149"/>
                  </a:lnTo>
                  <a:lnTo>
                    <a:pt x="180" y="149"/>
                  </a:lnTo>
                  <a:lnTo>
                    <a:pt x="180" y="150"/>
                  </a:lnTo>
                  <a:lnTo>
                    <a:pt x="183" y="152"/>
                  </a:lnTo>
                  <a:lnTo>
                    <a:pt x="184" y="152"/>
                  </a:lnTo>
                  <a:lnTo>
                    <a:pt x="185" y="153"/>
                  </a:lnTo>
                  <a:lnTo>
                    <a:pt x="184" y="153"/>
                  </a:lnTo>
                  <a:lnTo>
                    <a:pt x="184" y="157"/>
                  </a:lnTo>
                  <a:lnTo>
                    <a:pt x="185" y="158"/>
                  </a:lnTo>
                  <a:lnTo>
                    <a:pt x="185" y="159"/>
                  </a:lnTo>
                  <a:lnTo>
                    <a:pt x="186" y="159"/>
                  </a:lnTo>
                  <a:lnTo>
                    <a:pt x="185" y="162"/>
                  </a:lnTo>
                  <a:lnTo>
                    <a:pt x="186" y="162"/>
                  </a:lnTo>
                  <a:lnTo>
                    <a:pt x="188" y="165"/>
                  </a:lnTo>
                  <a:lnTo>
                    <a:pt x="188" y="170"/>
                  </a:lnTo>
                  <a:lnTo>
                    <a:pt x="186" y="171"/>
                  </a:lnTo>
                  <a:lnTo>
                    <a:pt x="186" y="172"/>
                  </a:lnTo>
                  <a:lnTo>
                    <a:pt x="189" y="175"/>
                  </a:lnTo>
                  <a:lnTo>
                    <a:pt x="189" y="176"/>
                  </a:lnTo>
                  <a:lnTo>
                    <a:pt x="188" y="177"/>
                  </a:lnTo>
                  <a:lnTo>
                    <a:pt x="188" y="178"/>
                  </a:lnTo>
                  <a:lnTo>
                    <a:pt x="186" y="182"/>
                  </a:lnTo>
                  <a:lnTo>
                    <a:pt x="183" y="186"/>
                  </a:lnTo>
                  <a:lnTo>
                    <a:pt x="183" y="190"/>
                  </a:lnTo>
                  <a:lnTo>
                    <a:pt x="182" y="193"/>
                  </a:lnTo>
                  <a:lnTo>
                    <a:pt x="179" y="196"/>
                  </a:lnTo>
                  <a:lnTo>
                    <a:pt x="179" y="199"/>
                  </a:lnTo>
                  <a:lnTo>
                    <a:pt x="180" y="200"/>
                  </a:lnTo>
                  <a:lnTo>
                    <a:pt x="180" y="205"/>
                  </a:lnTo>
                  <a:lnTo>
                    <a:pt x="179" y="206"/>
                  </a:lnTo>
                  <a:lnTo>
                    <a:pt x="177" y="209"/>
                  </a:lnTo>
                  <a:lnTo>
                    <a:pt x="176" y="211"/>
                  </a:lnTo>
                  <a:lnTo>
                    <a:pt x="176" y="212"/>
                  </a:lnTo>
                  <a:lnTo>
                    <a:pt x="174" y="212"/>
                  </a:lnTo>
                  <a:lnTo>
                    <a:pt x="173" y="214"/>
                  </a:lnTo>
                  <a:lnTo>
                    <a:pt x="173" y="218"/>
                  </a:lnTo>
                  <a:lnTo>
                    <a:pt x="170" y="218"/>
                  </a:lnTo>
                  <a:lnTo>
                    <a:pt x="170" y="220"/>
                  </a:lnTo>
                  <a:lnTo>
                    <a:pt x="172" y="223"/>
                  </a:lnTo>
                  <a:lnTo>
                    <a:pt x="172" y="221"/>
                  </a:lnTo>
                  <a:lnTo>
                    <a:pt x="173" y="224"/>
                  </a:lnTo>
                  <a:lnTo>
                    <a:pt x="176" y="225"/>
                  </a:lnTo>
                  <a:lnTo>
                    <a:pt x="174" y="229"/>
                  </a:lnTo>
                  <a:lnTo>
                    <a:pt x="173" y="230"/>
                  </a:lnTo>
                  <a:lnTo>
                    <a:pt x="172" y="230"/>
                  </a:lnTo>
                  <a:lnTo>
                    <a:pt x="172" y="229"/>
                  </a:lnTo>
                  <a:lnTo>
                    <a:pt x="173" y="227"/>
                  </a:lnTo>
                  <a:lnTo>
                    <a:pt x="172" y="227"/>
                  </a:lnTo>
                  <a:lnTo>
                    <a:pt x="172" y="229"/>
                  </a:lnTo>
                  <a:lnTo>
                    <a:pt x="170" y="229"/>
                  </a:lnTo>
                  <a:lnTo>
                    <a:pt x="170" y="227"/>
                  </a:lnTo>
                  <a:lnTo>
                    <a:pt x="168" y="227"/>
                  </a:lnTo>
                  <a:lnTo>
                    <a:pt x="168" y="229"/>
                  </a:lnTo>
                  <a:lnTo>
                    <a:pt x="166" y="229"/>
                  </a:lnTo>
                  <a:lnTo>
                    <a:pt x="165" y="230"/>
                  </a:lnTo>
                  <a:lnTo>
                    <a:pt x="164" y="230"/>
                  </a:lnTo>
                  <a:lnTo>
                    <a:pt x="162" y="229"/>
                  </a:lnTo>
                  <a:lnTo>
                    <a:pt x="161" y="229"/>
                  </a:lnTo>
                  <a:lnTo>
                    <a:pt x="159" y="227"/>
                  </a:lnTo>
                  <a:lnTo>
                    <a:pt x="155" y="227"/>
                  </a:lnTo>
                  <a:lnTo>
                    <a:pt x="155" y="226"/>
                  </a:lnTo>
                  <a:lnTo>
                    <a:pt x="157" y="226"/>
                  </a:lnTo>
                  <a:lnTo>
                    <a:pt x="157" y="225"/>
                  </a:lnTo>
                  <a:lnTo>
                    <a:pt x="155" y="226"/>
                  </a:lnTo>
                  <a:lnTo>
                    <a:pt x="154" y="226"/>
                  </a:lnTo>
                  <a:lnTo>
                    <a:pt x="154" y="225"/>
                  </a:lnTo>
                  <a:lnTo>
                    <a:pt x="153" y="226"/>
                  </a:lnTo>
                  <a:lnTo>
                    <a:pt x="153" y="227"/>
                  </a:lnTo>
                  <a:lnTo>
                    <a:pt x="154" y="227"/>
                  </a:lnTo>
                  <a:lnTo>
                    <a:pt x="154" y="230"/>
                  </a:lnTo>
                  <a:lnTo>
                    <a:pt x="151" y="232"/>
                  </a:lnTo>
                  <a:lnTo>
                    <a:pt x="151" y="233"/>
                  </a:lnTo>
                  <a:lnTo>
                    <a:pt x="148" y="233"/>
                  </a:lnTo>
                  <a:lnTo>
                    <a:pt x="151" y="231"/>
                  </a:lnTo>
                  <a:lnTo>
                    <a:pt x="151" y="230"/>
                  </a:lnTo>
                  <a:lnTo>
                    <a:pt x="149" y="227"/>
                  </a:lnTo>
                  <a:lnTo>
                    <a:pt x="149" y="226"/>
                  </a:lnTo>
                  <a:lnTo>
                    <a:pt x="148" y="226"/>
                  </a:lnTo>
                  <a:lnTo>
                    <a:pt x="148" y="225"/>
                  </a:lnTo>
                  <a:lnTo>
                    <a:pt x="147" y="223"/>
                  </a:lnTo>
                  <a:lnTo>
                    <a:pt x="147" y="225"/>
                  </a:lnTo>
                  <a:lnTo>
                    <a:pt x="148" y="226"/>
                  </a:lnTo>
                  <a:lnTo>
                    <a:pt x="148" y="227"/>
                  </a:lnTo>
                  <a:lnTo>
                    <a:pt x="147" y="229"/>
                  </a:lnTo>
                  <a:lnTo>
                    <a:pt x="147" y="230"/>
                  </a:lnTo>
                  <a:lnTo>
                    <a:pt x="148" y="230"/>
                  </a:lnTo>
                  <a:lnTo>
                    <a:pt x="147" y="232"/>
                  </a:lnTo>
                  <a:lnTo>
                    <a:pt x="146" y="232"/>
                  </a:lnTo>
                  <a:lnTo>
                    <a:pt x="145" y="233"/>
                  </a:lnTo>
                  <a:lnTo>
                    <a:pt x="142" y="233"/>
                  </a:lnTo>
                  <a:lnTo>
                    <a:pt x="142" y="232"/>
                  </a:lnTo>
                  <a:lnTo>
                    <a:pt x="143" y="231"/>
                  </a:lnTo>
                  <a:lnTo>
                    <a:pt x="142" y="230"/>
                  </a:lnTo>
                  <a:lnTo>
                    <a:pt x="141" y="230"/>
                  </a:lnTo>
                  <a:lnTo>
                    <a:pt x="141" y="231"/>
                  </a:lnTo>
                  <a:lnTo>
                    <a:pt x="140" y="231"/>
                  </a:lnTo>
                  <a:lnTo>
                    <a:pt x="140" y="232"/>
                  </a:lnTo>
                  <a:lnTo>
                    <a:pt x="139" y="233"/>
                  </a:lnTo>
                  <a:lnTo>
                    <a:pt x="137" y="233"/>
                  </a:lnTo>
                  <a:lnTo>
                    <a:pt x="136" y="232"/>
                  </a:lnTo>
                  <a:lnTo>
                    <a:pt x="128" y="233"/>
                  </a:lnTo>
                  <a:lnTo>
                    <a:pt x="126" y="235"/>
                  </a:lnTo>
                  <a:lnTo>
                    <a:pt x="124" y="236"/>
                  </a:lnTo>
                  <a:lnTo>
                    <a:pt x="123" y="236"/>
                  </a:lnTo>
                  <a:lnTo>
                    <a:pt x="123" y="237"/>
                  </a:lnTo>
                  <a:lnTo>
                    <a:pt x="122" y="236"/>
                  </a:lnTo>
                  <a:lnTo>
                    <a:pt x="122" y="235"/>
                  </a:lnTo>
                  <a:lnTo>
                    <a:pt x="120" y="237"/>
                  </a:lnTo>
                  <a:lnTo>
                    <a:pt x="120" y="238"/>
                  </a:lnTo>
                  <a:lnTo>
                    <a:pt x="121" y="237"/>
                  </a:lnTo>
                  <a:lnTo>
                    <a:pt x="122" y="237"/>
                  </a:lnTo>
                  <a:lnTo>
                    <a:pt x="123" y="238"/>
                  </a:lnTo>
                  <a:lnTo>
                    <a:pt x="123" y="239"/>
                  </a:lnTo>
                  <a:lnTo>
                    <a:pt x="122" y="241"/>
                  </a:lnTo>
                  <a:lnTo>
                    <a:pt x="122" y="243"/>
                  </a:lnTo>
                  <a:lnTo>
                    <a:pt x="121" y="243"/>
                  </a:lnTo>
                  <a:lnTo>
                    <a:pt x="120" y="244"/>
                  </a:lnTo>
                  <a:lnTo>
                    <a:pt x="117" y="243"/>
                  </a:lnTo>
                  <a:lnTo>
                    <a:pt x="117" y="244"/>
                  </a:lnTo>
                  <a:lnTo>
                    <a:pt x="116" y="245"/>
                  </a:lnTo>
                  <a:lnTo>
                    <a:pt x="116" y="246"/>
                  </a:lnTo>
                  <a:lnTo>
                    <a:pt x="111" y="245"/>
                  </a:lnTo>
                  <a:lnTo>
                    <a:pt x="111" y="244"/>
                  </a:lnTo>
                  <a:lnTo>
                    <a:pt x="110" y="244"/>
                  </a:lnTo>
                  <a:lnTo>
                    <a:pt x="110" y="246"/>
                  </a:lnTo>
                  <a:lnTo>
                    <a:pt x="109" y="248"/>
                  </a:lnTo>
                  <a:lnTo>
                    <a:pt x="108" y="248"/>
                  </a:lnTo>
                  <a:lnTo>
                    <a:pt x="109" y="249"/>
                  </a:lnTo>
                  <a:lnTo>
                    <a:pt x="109" y="250"/>
                  </a:lnTo>
                  <a:lnTo>
                    <a:pt x="108" y="250"/>
                  </a:lnTo>
                  <a:lnTo>
                    <a:pt x="106" y="251"/>
                  </a:lnTo>
                  <a:lnTo>
                    <a:pt x="104" y="252"/>
                  </a:lnTo>
                  <a:lnTo>
                    <a:pt x="103" y="252"/>
                  </a:lnTo>
                  <a:lnTo>
                    <a:pt x="104" y="254"/>
                  </a:lnTo>
                  <a:lnTo>
                    <a:pt x="101" y="255"/>
                  </a:lnTo>
                  <a:lnTo>
                    <a:pt x="99" y="256"/>
                  </a:lnTo>
                  <a:lnTo>
                    <a:pt x="95" y="256"/>
                  </a:lnTo>
                  <a:lnTo>
                    <a:pt x="93" y="255"/>
                  </a:lnTo>
                  <a:lnTo>
                    <a:pt x="95" y="255"/>
                  </a:lnTo>
                  <a:lnTo>
                    <a:pt x="95" y="254"/>
                  </a:lnTo>
                  <a:lnTo>
                    <a:pt x="96" y="254"/>
                  </a:lnTo>
                  <a:lnTo>
                    <a:pt x="96" y="252"/>
                  </a:lnTo>
                  <a:lnTo>
                    <a:pt x="97" y="252"/>
                  </a:lnTo>
                  <a:lnTo>
                    <a:pt x="97" y="251"/>
                  </a:lnTo>
                  <a:lnTo>
                    <a:pt x="96" y="251"/>
                  </a:lnTo>
                  <a:lnTo>
                    <a:pt x="96" y="250"/>
                  </a:lnTo>
                  <a:lnTo>
                    <a:pt x="97" y="250"/>
                  </a:lnTo>
                  <a:lnTo>
                    <a:pt x="97" y="249"/>
                  </a:lnTo>
                  <a:lnTo>
                    <a:pt x="96" y="249"/>
                  </a:lnTo>
                  <a:lnTo>
                    <a:pt x="96" y="250"/>
                  </a:lnTo>
                  <a:lnTo>
                    <a:pt x="95" y="250"/>
                  </a:lnTo>
                  <a:lnTo>
                    <a:pt x="95" y="249"/>
                  </a:lnTo>
                  <a:lnTo>
                    <a:pt x="92" y="250"/>
                  </a:lnTo>
                  <a:lnTo>
                    <a:pt x="92" y="249"/>
                  </a:lnTo>
                  <a:lnTo>
                    <a:pt x="91" y="249"/>
                  </a:lnTo>
                  <a:lnTo>
                    <a:pt x="90" y="250"/>
                  </a:lnTo>
                  <a:lnTo>
                    <a:pt x="89" y="249"/>
                  </a:lnTo>
                  <a:lnTo>
                    <a:pt x="87" y="250"/>
                  </a:lnTo>
                  <a:lnTo>
                    <a:pt x="90" y="251"/>
                  </a:lnTo>
                  <a:lnTo>
                    <a:pt x="91" y="251"/>
                  </a:lnTo>
                  <a:lnTo>
                    <a:pt x="90" y="254"/>
                  </a:lnTo>
                  <a:lnTo>
                    <a:pt x="91" y="254"/>
                  </a:lnTo>
                  <a:lnTo>
                    <a:pt x="91" y="256"/>
                  </a:lnTo>
                  <a:lnTo>
                    <a:pt x="92" y="256"/>
                  </a:lnTo>
                  <a:lnTo>
                    <a:pt x="92" y="258"/>
                  </a:lnTo>
                  <a:lnTo>
                    <a:pt x="90" y="260"/>
                  </a:lnTo>
                  <a:lnTo>
                    <a:pt x="90" y="261"/>
                  </a:lnTo>
                  <a:lnTo>
                    <a:pt x="89" y="262"/>
                  </a:lnTo>
                  <a:lnTo>
                    <a:pt x="85" y="262"/>
                  </a:lnTo>
                  <a:lnTo>
                    <a:pt x="85" y="263"/>
                  </a:lnTo>
                  <a:lnTo>
                    <a:pt x="84" y="264"/>
                  </a:lnTo>
                  <a:lnTo>
                    <a:pt x="84" y="263"/>
                  </a:lnTo>
                  <a:lnTo>
                    <a:pt x="83" y="263"/>
                  </a:lnTo>
                  <a:lnTo>
                    <a:pt x="83" y="262"/>
                  </a:lnTo>
                  <a:lnTo>
                    <a:pt x="81" y="262"/>
                  </a:lnTo>
                  <a:lnTo>
                    <a:pt x="81" y="263"/>
                  </a:lnTo>
                  <a:lnTo>
                    <a:pt x="83" y="263"/>
                  </a:lnTo>
                  <a:lnTo>
                    <a:pt x="83" y="264"/>
                  </a:lnTo>
                  <a:lnTo>
                    <a:pt x="81" y="266"/>
                  </a:lnTo>
                  <a:lnTo>
                    <a:pt x="81" y="268"/>
                  </a:lnTo>
                  <a:lnTo>
                    <a:pt x="80" y="267"/>
                  </a:lnTo>
                  <a:lnTo>
                    <a:pt x="75" y="267"/>
                  </a:lnTo>
                  <a:lnTo>
                    <a:pt x="75" y="268"/>
                  </a:lnTo>
                  <a:lnTo>
                    <a:pt x="74" y="268"/>
                  </a:lnTo>
                  <a:lnTo>
                    <a:pt x="75" y="269"/>
                  </a:lnTo>
                  <a:lnTo>
                    <a:pt x="74" y="269"/>
                  </a:lnTo>
                  <a:lnTo>
                    <a:pt x="74" y="270"/>
                  </a:lnTo>
                  <a:lnTo>
                    <a:pt x="75" y="272"/>
                  </a:lnTo>
                  <a:lnTo>
                    <a:pt x="73" y="270"/>
                  </a:lnTo>
                  <a:lnTo>
                    <a:pt x="71" y="270"/>
                  </a:lnTo>
                  <a:lnTo>
                    <a:pt x="70" y="269"/>
                  </a:lnTo>
                  <a:lnTo>
                    <a:pt x="70" y="270"/>
                  </a:lnTo>
                  <a:lnTo>
                    <a:pt x="68" y="269"/>
                  </a:lnTo>
                  <a:lnTo>
                    <a:pt x="68" y="270"/>
                  </a:lnTo>
                  <a:lnTo>
                    <a:pt x="67" y="272"/>
                  </a:lnTo>
                  <a:lnTo>
                    <a:pt x="67" y="273"/>
                  </a:lnTo>
                  <a:lnTo>
                    <a:pt x="64" y="273"/>
                  </a:lnTo>
                  <a:lnTo>
                    <a:pt x="64" y="272"/>
                  </a:lnTo>
                  <a:lnTo>
                    <a:pt x="62" y="272"/>
                  </a:lnTo>
                  <a:lnTo>
                    <a:pt x="61" y="273"/>
                  </a:lnTo>
                  <a:lnTo>
                    <a:pt x="59" y="273"/>
                  </a:lnTo>
                  <a:lnTo>
                    <a:pt x="58" y="272"/>
                  </a:lnTo>
                  <a:lnTo>
                    <a:pt x="58" y="274"/>
                  </a:lnTo>
                  <a:lnTo>
                    <a:pt x="56" y="274"/>
                  </a:lnTo>
                  <a:lnTo>
                    <a:pt x="55" y="275"/>
                  </a:lnTo>
                  <a:lnTo>
                    <a:pt x="54" y="274"/>
                  </a:lnTo>
                  <a:lnTo>
                    <a:pt x="54" y="275"/>
                  </a:lnTo>
                  <a:lnTo>
                    <a:pt x="53" y="276"/>
                  </a:lnTo>
                  <a:lnTo>
                    <a:pt x="53" y="278"/>
                  </a:lnTo>
                  <a:lnTo>
                    <a:pt x="52" y="276"/>
                  </a:lnTo>
                  <a:lnTo>
                    <a:pt x="50" y="278"/>
                  </a:lnTo>
                  <a:lnTo>
                    <a:pt x="50" y="275"/>
                  </a:lnTo>
                  <a:lnTo>
                    <a:pt x="49" y="276"/>
                  </a:lnTo>
                  <a:lnTo>
                    <a:pt x="49" y="278"/>
                  </a:lnTo>
                  <a:lnTo>
                    <a:pt x="47" y="278"/>
                  </a:lnTo>
                  <a:lnTo>
                    <a:pt x="47" y="275"/>
                  </a:lnTo>
                  <a:lnTo>
                    <a:pt x="48" y="274"/>
                  </a:lnTo>
                  <a:lnTo>
                    <a:pt x="47" y="274"/>
                  </a:lnTo>
                  <a:lnTo>
                    <a:pt x="47" y="275"/>
                  </a:lnTo>
                  <a:lnTo>
                    <a:pt x="46" y="275"/>
                  </a:lnTo>
                  <a:lnTo>
                    <a:pt x="46" y="276"/>
                  </a:lnTo>
                  <a:lnTo>
                    <a:pt x="44" y="275"/>
                  </a:lnTo>
                  <a:lnTo>
                    <a:pt x="44" y="274"/>
                  </a:lnTo>
                  <a:lnTo>
                    <a:pt x="46" y="273"/>
                  </a:lnTo>
                  <a:lnTo>
                    <a:pt x="44" y="273"/>
                  </a:lnTo>
                  <a:lnTo>
                    <a:pt x="43" y="272"/>
                  </a:lnTo>
                  <a:lnTo>
                    <a:pt x="43" y="273"/>
                  </a:lnTo>
                  <a:lnTo>
                    <a:pt x="42" y="274"/>
                  </a:lnTo>
                  <a:lnTo>
                    <a:pt x="39" y="274"/>
                  </a:lnTo>
                  <a:lnTo>
                    <a:pt x="39" y="275"/>
                  </a:lnTo>
                  <a:lnTo>
                    <a:pt x="37" y="275"/>
                  </a:lnTo>
                  <a:lnTo>
                    <a:pt x="37" y="276"/>
                  </a:lnTo>
                  <a:lnTo>
                    <a:pt x="36" y="276"/>
                  </a:lnTo>
                  <a:lnTo>
                    <a:pt x="35" y="275"/>
                  </a:lnTo>
                  <a:lnTo>
                    <a:pt x="34" y="275"/>
                  </a:lnTo>
                  <a:lnTo>
                    <a:pt x="31" y="278"/>
                  </a:lnTo>
                  <a:lnTo>
                    <a:pt x="33" y="278"/>
                  </a:lnTo>
                  <a:lnTo>
                    <a:pt x="30" y="280"/>
                  </a:lnTo>
                  <a:lnTo>
                    <a:pt x="30" y="279"/>
                  </a:lnTo>
                  <a:lnTo>
                    <a:pt x="29" y="279"/>
                  </a:lnTo>
                  <a:lnTo>
                    <a:pt x="28" y="280"/>
                  </a:lnTo>
                  <a:lnTo>
                    <a:pt x="28" y="278"/>
                  </a:lnTo>
                  <a:lnTo>
                    <a:pt x="27" y="278"/>
                  </a:lnTo>
                  <a:lnTo>
                    <a:pt x="28" y="276"/>
                  </a:lnTo>
                  <a:lnTo>
                    <a:pt x="29" y="276"/>
                  </a:lnTo>
                  <a:lnTo>
                    <a:pt x="31" y="274"/>
                  </a:lnTo>
                  <a:lnTo>
                    <a:pt x="33" y="274"/>
                  </a:lnTo>
                  <a:lnTo>
                    <a:pt x="36" y="270"/>
                  </a:lnTo>
                  <a:lnTo>
                    <a:pt x="37" y="270"/>
                  </a:lnTo>
                  <a:lnTo>
                    <a:pt x="39" y="269"/>
                  </a:lnTo>
                  <a:lnTo>
                    <a:pt x="40" y="269"/>
                  </a:lnTo>
                  <a:lnTo>
                    <a:pt x="37" y="268"/>
                  </a:lnTo>
                  <a:lnTo>
                    <a:pt x="29" y="273"/>
                  </a:lnTo>
                  <a:lnTo>
                    <a:pt x="27" y="273"/>
                  </a:lnTo>
                  <a:lnTo>
                    <a:pt x="28" y="272"/>
                  </a:lnTo>
                  <a:lnTo>
                    <a:pt x="29" y="272"/>
                  </a:lnTo>
                  <a:lnTo>
                    <a:pt x="29" y="270"/>
                  </a:lnTo>
                  <a:lnTo>
                    <a:pt x="30" y="270"/>
                  </a:lnTo>
                  <a:lnTo>
                    <a:pt x="31" y="269"/>
                  </a:lnTo>
                  <a:lnTo>
                    <a:pt x="36" y="267"/>
                  </a:lnTo>
                  <a:lnTo>
                    <a:pt x="37" y="266"/>
                  </a:lnTo>
                  <a:lnTo>
                    <a:pt x="39" y="266"/>
                  </a:lnTo>
                  <a:lnTo>
                    <a:pt x="40" y="264"/>
                  </a:lnTo>
                  <a:lnTo>
                    <a:pt x="42" y="264"/>
                  </a:lnTo>
                  <a:lnTo>
                    <a:pt x="43" y="263"/>
                  </a:lnTo>
                  <a:lnTo>
                    <a:pt x="43" y="261"/>
                  </a:lnTo>
                  <a:lnTo>
                    <a:pt x="42" y="261"/>
                  </a:lnTo>
                  <a:lnTo>
                    <a:pt x="42" y="262"/>
                  </a:lnTo>
                  <a:lnTo>
                    <a:pt x="41" y="261"/>
                  </a:lnTo>
                  <a:lnTo>
                    <a:pt x="40" y="261"/>
                  </a:lnTo>
                  <a:lnTo>
                    <a:pt x="40" y="258"/>
                  </a:lnTo>
                  <a:lnTo>
                    <a:pt x="39" y="258"/>
                  </a:lnTo>
                  <a:lnTo>
                    <a:pt x="39" y="261"/>
                  </a:lnTo>
                  <a:lnTo>
                    <a:pt x="40" y="261"/>
                  </a:lnTo>
                  <a:lnTo>
                    <a:pt x="39" y="262"/>
                  </a:lnTo>
                  <a:lnTo>
                    <a:pt x="37" y="262"/>
                  </a:lnTo>
                  <a:lnTo>
                    <a:pt x="35" y="264"/>
                  </a:lnTo>
                  <a:lnTo>
                    <a:pt x="30" y="264"/>
                  </a:lnTo>
                  <a:lnTo>
                    <a:pt x="25" y="266"/>
                  </a:lnTo>
                  <a:lnTo>
                    <a:pt x="23" y="267"/>
                  </a:lnTo>
                  <a:lnTo>
                    <a:pt x="23" y="268"/>
                  </a:lnTo>
                  <a:lnTo>
                    <a:pt x="19" y="269"/>
                  </a:lnTo>
                  <a:lnTo>
                    <a:pt x="15" y="269"/>
                  </a:lnTo>
                  <a:lnTo>
                    <a:pt x="15" y="270"/>
                  </a:lnTo>
                  <a:lnTo>
                    <a:pt x="14" y="270"/>
                  </a:lnTo>
                  <a:lnTo>
                    <a:pt x="14" y="268"/>
                  </a:lnTo>
                  <a:lnTo>
                    <a:pt x="17" y="268"/>
                  </a:lnTo>
                  <a:lnTo>
                    <a:pt x="17" y="266"/>
                  </a:lnTo>
                  <a:lnTo>
                    <a:pt x="16" y="266"/>
                  </a:lnTo>
                  <a:lnTo>
                    <a:pt x="16" y="264"/>
                  </a:lnTo>
                  <a:lnTo>
                    <a:pt x="19" y="264"/>
                  </a:lnTo>
                  <a:lnTo>
                    <a:pt x="22" y="262"/>
                  </a:lnTo>
                  <a:lnTo>
                    <a:pt x="21" y="262"/>
                  </a:lnTo>
                  <a:lnTo>
                    <a:pt x="21" y="261"/>
                  </a:lnTo>
                  <a:lnTo>
                    <a:pt x="23" y="258"/>
                  </a:lnTo>
                  <a:lnTo>
                    <a:pt x="24" y="258"/>
                  </a:lnTo>
                  <a:lnTo>
                    <a:pt x="24" y="260"/>
                  </a:lnTo>
                  <a:lnTo>
                    <a:pt x="25" y="260"/>
                  </a:lnTo>
                  <a:lnTo>
                    <a:pt x="27" y="258"/>
                  </a:lnTo>
                  <a:lnTo>
                    <a:pt x="29" y="258"/>
                  </a:lnTo>
                  <a:lnTo>
                    <a:pt x="29" y="257"/>
                  </a:lnTo>
                  <a:lnTo>
                    <a:pt x="28" y="257"/>
                  </a:lnTo>
                  <a:lnTo>
                    <a:pt x="28" y="256"/>
                  </a:lnTo>
                  <a:lnTo>
                    <a:pt x="29" y="256"/>
                  </a:lnTo>
                  <a:lnTo>
                    <a:pt x="29" y="255"/>
                  </a:lnTo>
                  <a:lnTo>
                    <a:pt x="30" y="255"/>
                  </a:lnTo>
                  <a:lnTo>
                    <a:pt x="31" y="254"/>
                  </a:lnTo>
                  <a:lnTo>
                    <a:pt x="33" y="254"/>
                  </a:lnTo>
                  <a:lnTo>
                    <a:pt x="34" y="252"/>
                  </a:lnTo>
                  <a:lnTo>
                    <a:pt x="36" y="251"/>
                  </a:lnTo>
                  <a:lnTo>
                    <a:pt x="37" y="251"/>
                  </a:lnTo>
                  <a:lnTo>
                    <a:pt x="37" y="250"/>
                  </a:lnTo>
                  <a:lnTo>
                    <a:pt x="35" y="251"/>
                  </a:lnTo>
                  <a:lnTo>
                    <a:pt x="30" y="252"/>
                  </a:lnTo>
                  <a:lnTo>
                    <a:pt x="29" y="254"/>
                  </a:lnTo>
                  <a:lnTo>
                    <a:pt x="27" y="254"/>
                  </a:lnTo>
                  <a:lnTo>
                    <a:pt x="27" y="255"/>
                  </a:lnTo>
                  <a:lnTo>
                    <a:pt x="25" y="256"/>
                  </a:lnTo>
                  <a:lnTo>
                    <a:pt x="25" y="254"/>
                  </a:lnTo>
                  <a:lnTo>
                    <a:pt x="24" y="255"/>
                  </a:lnTo>
                  <a:lnTo>
                    <a:pt x="23" y="255"/>
                  </a:lnTo>
                  <a:lnTo>
                    <a:pt x="21" y="257"/>
                  </a:lnTo>
                  <a:lnTo>
                    <a:pt x="18" y="257"/>
                  </a:lnTo>
                  <a:lnTo>
                    <a:pt x="17" y="258"/>
                  </a:lnTo>
                  <a:lnTo>
                    <a:pt x="16" y="258"/>
                  </a:lnTo>
                  <a:lnTo>
                    <a:pt x="16" y="260"/>
                  </a:lnTo>
                  <a:lnTo>
                    <a:pt x="15" y="260"/>
                  </a:lnTo>
                  <a:lnTo>
                    <a:pt x="15" y="258"/>
                  </a:lnTo>
                  <a:lnTo>
                    <a:pt x="11" y="257"/>
                  </a:lnTo>
                  <a:lnTo>
                    <a:pt x="12" y="256"/>
                  </a:lnTo>
                  <a:lnTo>
                    <a:pt x="12" y="254"/>
                  </a:lnTo>
                  <a:lnTo>
                    <a:pt x="10" y="252"/>
                  </a:lnTo>
                  <a:lnTo>
                    <a:pt x="9" y="255"/>
                  </a:lnTo>
                  <a:lnTo>
                    <a:pt x="8" y="255"/>
                  </a:lnTo>
                  <a:lnTo>
                    <a:pt x="6" y="256"/>
                  </a:lnTo>
                  <a:lnTo>
                    <a:pt x="5" y="256"/>
                  </a:lnTo>
                  <a:lnTo>
                    <a:pt x="6" y="254"/>
                  </a:lnTo>
                  <a:lnTo>
                    <a:pt x="5" y="252"/>
                  </a:lnTo>
                  <a:lnTo>
                    <a:pt x="4" y="252"/>
                  </a:lnTo>
                  <a:lnTo>
                    <a:pt x="4" y="250"/>
                  </a:lnTo>
                  <a:lnTo>
                    <a:pt x="2" y="250"/>
                  </a:lnTo>
                  <a:lnTo>
                    <a:pt x="3" y="249"/>
                  </a:lnTo>
                  <a:lnTo>
                    <a:pt x="5" y="248"/>
                  </a:lnTo>
                  <a:lnTo>
                    <a:pt x="5" y="246"/>
                  </a:lnTo>
                  <a:lnTo>
                    <a:pt x="6" y="246"/>
                  </a:lnTo>
                  <a:lnTo>
                    <a:pt x="6" y="248"/>
                  </a:lnTo>
                  <a:lnTo>
                    <a:pt x="8" y="248"/>
                  </a:lnTo>
                  <a:lnTo>
                    <a:pt x="5" y="250"/>
                  </a:lnTo>
                  <a:lnTo>
                    <a:pt x="9" y="249"/>
                  </a:lnTo>
                  <a:lnTo>
                    <a:pt x="10" y="248"/>
                  </a:lnTo>
                  <a:lnTo>
                    <a:pt x="9" y="248"/>
                  </a:lnTo>
                  <a:lnTo>
                    <a:pt x="9" y="246"/>
                  </a:lnTo>
                  <a:lnTo>
                    <a:pt x="8" y="245"/>
                  </a:lnTo>
                  <a:lnTo>
                    <a:pt x="8" y="244"/>
                  </a:lnTo>
                  <a:lnTo>
                    <a:pt x="9" y="244"/>
                  </a:lnTo>
                  <a:lnTo>
                    <a:pt x="9" y="243"/>
                  </a:lnTo>
                  <a:lnTo>
                    <a:pt x="10" y="243"/>
                  </a:lnTo>
                  <a:lnTo>
                    <a:pt x="11" y="242"/>
                  </a:lnTo>
                  <a:lnTo>
                    <a:pt x="12" y="242"/>
                  </a:lnTo>
                  <a:lnTo>
                    <a:pt x="15" y="241"/>
                  </a:lnTo>
                  <a:lnTo>
                    <a:pt x="18" y="239"/>
                  </a:lnTo>
                  <a:lnTo>
                    <a:pt x="21" y="238"/>
                  </a:lnTo>
                  <a:lnTo>
                    <a:pt x="21" y="236"/>
                  </a:lnTo>
                  <a:lnTo>
                    <a:pt x="22" y="236"/>
                  </a:lnTo>
                  <a:lnTo>
                    <a:pt x="22" y="238"/>
                  </a:lnTo>
                  <a:lnTo>
                    <a:pt x="23" y="238"/>
                  </a:lnTo>
                  <a:lnTo>
                    <a:pt x="23" y="237"/>
                  </a:lnTo>
                  <a:lnTo>
                    <a:pt x="24" y="233"/>
                  </a:lnTo>
                  <a:lnTo>
                    <a:pt x="25" y="233"/>
                  </a:lnTo>
                  <a:lnTo>
                    <a:pt x="27" y="235"/>
                  </a:lnTo>
                  <a:lnTo>
                    <a:pt x="30" y="233"/>
                  </a:lnTo>
                  <a:lnTo>
                    <a:pt x="29" y="233"/>
                  </a:lnTo>
                  <a:lnTo>
                    <a:pt x="29" y="232"/>
                  </a:lnTo>
                  <a:lnTo>
                    <a:pt x="22" y="232"/>
                  </a:lnTo>
                  <a:lnTo>
                    <a:pt x="22" y="233"/>
                  </a:lnTo>
                  <a:lnTo>
                    <a:pt x="21" y="233"/>
                  </a:lnTo>
                  <a:lnTo>
                    <a:pt x="21" y="232"/>
                  </a:lnTo>
                  <a:lnTo>
                    <a:pt x="18" y="232"/>
                  </a:lnTo>
                  <a:lnTo>
                    <a:pt x="14" y="235"/>
                  </a:lnTo>
                  <a:lnTo>
                    <a:pt x="11" y="235"/>
                  </a:lnTo>
                  <a:lnTo>
                    <a:pt x="11" y="233"/>
                  </a:lnTo>
                  <a:lnTo>
                    <a:pt x="8" y="233"/>
                  </a:lnTo>
                  <a:lnTo>
                    <a:pt x="9" y="235"/>
                  </a:lnTo>
                  <a:lnTo>
                    <a:pt x="8" y="235"/>
                  </a:lnTo>
                  <a:lnTo>
                    <a:pt x="5" y="233"/>
                  </a:lnTo>
                  <a:lnTo>
                    <a:pt x="4" y="233"/>
                  </a:lnTo>
                  <a:lnTo>
                    <a:pt x="4" y="235"/>
                  </a:lnTo>
                  <a:lnTo>
                    <a:pt x="3" y="236"/>
                  </a:lnTo>
                  <a:lnTo>
                    <a:pt x="2" y="236"/>
                  </a:lnTo>
                  <a:lnTo>
                    <a:pt x="0" y="235"/>
                  </a:lnTo>
                  <a:lnTo>
                    <a:pt x="0" y="231"/>
                  </a:lnTo>
                  <a:lnTo>
                    <a:pt x="2" y="231"/>
                  </a:lnTo>
                  <a:lnTo>
                    <a:pt x="2" y="230"/>
                  </a:lnTo>
                  <a:lnTo>
                    <a:pt x="0" y="230"/>
                  </a:lnTo>
                  <a:lnTo>
                    <a:pt x="2" y="229"/>
                  </a:lnTo>
                  <a:lnTo>
                    <a:pt x="3" y="229"/>
                  </a:lnTo>
                  <a:lnTo>
                    <a:pt x="3" y="230"/>
                  </a:lnTo>
                  <a:lnTo>
                    <a:pt x="4" y="230"/>
                  </a:lnTo>
                  <a:lnTo>
                    <a:pt x="4" y="229"/>
                  </a:lnTo>
                  <a:lnTo>
                    <a:pt x="5" y="227"/>
                  </a:lnTo>
                  <a:lnTo>
                    <a:pt x="4" y="227"/>
                  </a:lnTo>
                  <a:lnTo>
                    <a:pt x="4" y="226"/>
                  </a:lnTo>
                  <a:lnTo>
                    <a:pt x="6" y="226"/>
                  </a:lnTo>
                  <a:lnTo>
                    <a:pt x="8" y="225"/>
                  </a:lnTo>
                  <a:lnTo>
                    <a:pt x="8" y="224"/>
                  </a:lnTo>
                  <a:lnTo>
                    <a:pt x="9" y="224"/>
                  </a:lnTo>
                  <a:lnTo>
                    <a:pt x="12" y="223"/>
                  </a:lnTo>
                  <a:lnTo>
                    <a:pt x="14" y="223"/>
                  </a:lnTo>
                  <a:lnTo>
                    <a:pt x="14" y="226"/>
                  </a:lnTo>
                  <a:lnTo>
                    <a:pt x="16" y="225"/>
                  </a:lnTo>
                  <a:lnTo>
                    <a:pt x="17" y="225"/>
                  </a:lnTo>
                  <a:lnTo>
                    <a:pt x="18" y="224"/>
                  </a:lnTo>
                  <a:lnTo>
                    <a:pt x="18" y="223"/>
                  </a:lnTo>
                  <a:lnTo>
                    <a:pt x="17" y="221"/>
                  </a:lnTo>
                  <a:lnTo>
                    <a:pt x="19" y="220"/>
                  </a:lnTo>
                  <a:lnTo>
                    <a:pt x="19" y="225"/>
                  </a:lnTo>
                  <a:lnTo>
                    <a:pt x="21" y="225"/>
                  </a:lnTo>
                  <a:lnTo>
                    <a:pt x="22" y="226"/>
                  </a:lnTo>
                  <a:lnTo>
                    <a:pt x="25" y="226"/>
                  </a:lnTo>
                  <a:lnTo>
                    <a:pt x="28" y="224"/>
                  </a:lnTo>
                  <a:lnTo>
                    <a:pt x="28" y="225"/>
                  </a:lnTo>
                  <a:lnTo>
                    <a:pt x="31" y="225"/>
                  </a:lnTo>
                  <a:lnTo>
                    <a:pt x="30" y="224"/>
                  </a:lnTo>
                  <a:lnTo>
                    <a:pt x="25" y="224"/>
                  </a:lnTo>
                  <a:lnTo>
                    <a:pt x="25" y="223"/>
                  </a:lnTo>
                  <a:lnTo>
                    <a:pt x="27" y="223"/>
                  </a:lnTo>
                  <a:lnTo>
                    <a:pt x="27" y="221"/>
                  </a:lnTo>
                  <a:lnTo>
                    <a:pt x="28" y="221"/>
                  </a:lnTo>
                  <a:lnTo>
                    <a:pt x="27" y="220"/>
                  </a:lnTo>
                  <a:lnTo>
                    <a:pt x="27" y="215"/>
                  </a:lnTo>
                  <a:lnTo>
                    <a:pt x="24" y="215"/>
                  </a:lnTo>
                  <a:lnTo>
                    <a:pt x="23" y="214"/>
                  </a:lnTo>
                  <a:lnTo>
                    <a:pt x="22" y="214"/>
                  </a:lnTo>
                  <a:lnTo>
                    <a:pt x="23" y="213"/>
                  </a:lnTo>
                  <a:lnTo>
                    <a:pt x="27" y="213"/>
                  </a:lnTo>
                  <a:lnTo>
                    <a:pt x="30" y="211"/>
                  </a:lnTo>
                  <a:lnTo>
                    <a:pt x="31" y="211"/>
                  </a:lnTo>
                  <a:lnTo>
                    <a:pt x="31" y="209"/>
                  </a:lnTo>
                  <a:lnTo>
                    <a:pt x="33" y="208"/>
                  </a:lnTo>
                  <a:lnTo>
                    <a:pt x="34" y="208"/>
                  </a:lnTo>
                  <a:lnTo>
                    <a:pt x="35" y="209"/>
                  </a:lnTo>
                  <a:lnTo>
                    <a:pt x="35" y="208"/>
                  </a:lnTo>
                  <a:lnTo>
                    <a:pt x="34" y="208"/>
                  </a:lnTo>
                  <a:lnTo>
                    <a:pt x="34" y="203"/>
                  </a:lnTo>
                  <a:lnTo>
                    <a:pt x="35" y="202"/>
                  </a:lnTo>
                  <a:lnTo>
                    <a:pt x="41" y="202"/>
                  </a:lnTo>
                  <a:lnTo>
                    <a:pt x="42" y="203"/>
                  </a:lnTo>
                  <a:lnTo>
                    <a:pt x="43" y="203"/>
                  </a:lnTo>
                  <a:lnTo>
                    <a:pt x="43" y="202"/>
                  </a:lnTo>
                  <a:lnTo>
                    <a:pt x="53" y="202"/>
                  </a:lnTo>
                  <a:lnTo>
                    <a:pt x="54" y="201"/>
                  </a:lnTo>
                  <a:lnTo>
                    <a:pt x="59" y="199"/>
                  </a:lnTo>
                  <a:lnTo>
                    <a:pt x="60" y="199"/>
                  </a:lnTo>
                  <a:lnTo>
                    <a:pt x="61" y="200"/>
                  </a:lnTo>
                  <a:lnTo>
                    <a:pt x="64" y="198"/>
                  </a:lnTo>
                  <a:lnTo>
                    <a:pt x="71" y="196"/>
                  </a:lnTo>
                  <a:lnTo>
                    <a:pt x="73" y="195"/>
                  </a:lnTo>
                  <a:lnTo>
                    <a:pt x="70" y="195"/>
                  </a:lnTo>
                  <a:lnTo>
                    <a:pt x="68" y="194"/>
                  </a:lnTo>
                  <a:lnTo>
                    <a:pt x="65" y="195"/>
                  </a:lnTo>
                  <a:lnTo>
                    <a:pt x="64" y="194"/>
                  </a:lnTo>
                  <a:lnTo>
                    <a:pt x="65" y="193"/>
                  </a:lnTo>
                  <a:lnTo>
                    <a:pt x="65" y="192"/>
                  </a:lnTo>
                  <a:lnTo>
                    <a:pt x="64" y="190"/>
                  </a:lnTo>
                  <a:lnTo>
                    <a:pt x="65" y="189"/>
                  </a:lnTo>
                  <a:lnTo>
                    <a:pt x="65" y="188"/>
                  </a:lnTo>
                  <a:lnTo>
                    <a:pt x="64" y="189"/>
                  </a:lnTo>
                  <a:lnTo>
                    <a:pt x="62" y="189"/>
                  </a:lnTo>
                  <a:lnTo>
                    <a:pt x="61" y="190"/>
                  </a:lnTo>
                  <a:lnTo>
                    <a:pt x="61" y="192"/>
                  </a:lnTo>
                  <a:lnTo>
                    <a:pt x="60" y="194"/>
                  </a:lnTo>
                  <a:lnTo>
                    <a:pt x="56" y="199"/>
                  </a:lnTo>
                  <a:lnTo>
                    <a:pt x="55" y="200"/>
                  </a:lnTo>
                  <a:lnTo>
                    <a:pt x="52" y="200"/>
                  </a:lnTo>
                  <a:lnTo>
                    <a:pt x="50" y="201"/>
                  </a:lnTo>
                  <a:lnTo>
                    <a:pt x="48" y="201"/>
                  </a:lnTo>
                  <a:lnTo>
                    <a:pt x="50" y="199"/>
                  </a:lnTo>
                  <a:lnTo>
                    <a:pt x="50" y="198"/>
                  </a:lnTo>
                  <a:lnTo>
                    <a:pt x="49" y="199"/>
                  </a:lnTo>
                  <a:lnTo>
                    <a:pt x="46" y="200"/>
                  </a:lnTo>
                  <a:lnTo>
                    <a:pt x="42" y="200"/>
                  </a:lnTo>
                  <a:lnTo>
                    <a:pt x="42" y="199"/>
                  </a:lnTo>
                  <a:lnTo>
                    <a:pt x="40" y="199"/>
                  </a:lnTo>
                  <a:lnTo>
                    <a:pt x="40" y="196"/>
                  </a:lnTo>
                  <a:lnTo>
                    <a:pt x="39" y="196"/>
                  </a:lnTo>
                  <a:lnTo>
                    <a:pt x="39" y="198"/>
                  </a:lnTo>
                  <a:lnTo>
                    <a:pt x="36" y="200"/>
                  </a:lnTo>
                  <a:lnTo>
                    <a:pt x="33" y="200"/>
                  </a:lnTo>
                  <a:lnTo>
                    <a:pt x="33" y="202"/>
                  </a:lnTo>
                  <a:lnTo>
                    <a:pt x="30" y="202"/>
                  </a:lnTo>
                  <a:lnTo>
                    <a:pt x="23" y="203"/>
                  </a:lnTo>
                  <a:lnTo>
                    <a:pt x="25" y="201"/>
                  </a:lnTo>
                  <a:lnTo>
                    <a:pt x="28" y="201"/>
                  </a:lnTo>
                  <a:lnTo>
                    <a:pt x="36" y="193"/>
                  </a:lnTo>
                  <a:lnTo>
                    <a:pt x="36" y="192"/>
                  </a:lnTo>
                  <a:lnTo>
                    <a:pt x="37" y="192"/>
                  </a:lnTo>
                  <a:lnTo>
                    <a:pt x="37" y="190"/>
                  </a:lnTo>
                  <a:lnTo>
                    <a:pt x="41" y="190"/>
                  </a:lnTo>
                  <a:lnTo>
                    <a:pt x="41" y="189"/>
                  </a:lnTo>
                  <a:lnTo>
                    <a:pt x="42" y="188"/>
                  </a:lnTo>
                  <a:lnTo>
                    <a:pt x="42" y="186"/>
                  </a:lnTo>
                  <a:lnTo>
                    <a:pt x="43" y="186"/>
                  </a:lnTo>
                  <a:lnTo>
                    <a:pt x="43" y="183"/>
                  </a:lnTo>
                  <a:lnTo>
                    <a:pt x="44" y="183"/>
                  </a:lnTo>
                  <a:lnTo>
                    <a:pt x="44" y="181"/>
                  </a:lnTo>
                  <a:lnTo>
                    <a:pt x="47" y="178"/>
                  </a:lnTo>
                  <a:lnTo>
                    <a:pt x="47" y="177"/>
                  </a:lnTo>
                  <a:lnTo>
                    <a:pt x="42" y="177"/>
                  </a:lnTo>
                  <a:lnTo>
                    <a:pt x="43" y="176"/>
                  </a:lnTo>
                  <a:lnTo>
                    <a:pt x="43" y="175"/>
                  </a:lnTo>
                  <a:lnTo>
                    <a:pt x="46" y="172"/>
                  </a:lnTo>
                  <a:lnTo>
                    <a:pt x="46" y="171"/>
                  </a:lnTo>
                  <a:lnTo>
                    <a:pt x="48" y="168"/>
                  </a:lnTo>
                  <a:lnTo>
                    <a:pt x="49" y="166"/>
                  </a:lnTo>
                  <a:lnTo>
                    <a:pt x="49" y="165"/>
                  </a:lnTo>
                  <a:lnTo>
                    <a:pt x="50" y="164"/>
                  </a:lnTo>
                  <a:lnTo>
                    <a:pt x="50" y="163"/>
                  </a:lnTo>
                  <a:lnTo>
                    <a:pt x="52" y="162"/>
                  </a:lnTo>
                  <a:lnTo>
                    <a:pt x="55" y="165"/>
                  </a:lnTo>
                  <a:lnTo>
                    <a:pt x="56" y="165"/>
                  </a:lnTo>
                  <a:lnTo>
                    <a:pt x="58" y="164"/>
                  </a:lnTo>
                  <a:lnTo>
                    <a:pt x="59" y="164"/>
                  </a:lnTo>
                  <a:lnTo>
                    <a:pt x="59" y="163"/>
                  </a:lnTo>
                  <a:lnTo>
                    <a:pt x="56" y="162"/>
                  </a:lnTo>
                  <a:lnTo>
                    <a:pt x="60" y="162"/>
                  </a:lnTo>
                  <a:lnTo>
                    <a:pt x="61" y="163"/>
                  </a:lnTo>
                  <a:lnTo>
                    <a:pt x="62" y="163"/>
                  </a:lnTo>
                  <a:lnTo>
                    <a:pt x="62" y="162"/>
                  </a:lnTo>
                  <a:lnTo>
                    <a:pt x="64" y="162"/>
                  </a:lnTo>
                  <a:lnTo>
                    <a:pt x="65" y="163"/>
                  </a:lnTo>
                  <a:lnTo>
                    <a:pt x="65" y="160"/>
                  </a:lnTo>
                  <a:lnTo>
                    <a:pt x="64" y="160"/>
                  </a:lnTo>
                  <a:lnTo>
                    <a:pt x="65" y="159"/>
                  </a:lnTo>
                  <a:lnTo>
                    <a:pt x="65" y="158"/>
                  </a:lnTo>
                  <a:lnTo>
                    <a:pt x="66" y="158"/>
                  </a:lnTo>
                  <a:lnTo>
                    <a:pt x="67" y="157"/>
                  </a:lnTo>
                  <a:lnTo>
                    <a:pt x="66" y="157"/>
                  </a:lnTo>
                  <a:lnTo>
                    <a:pt x="66" y="158"/>
                  </a:lnTo>
                  <a:lnTo>
                    <a:pt x="61" y="158"/>
                  </a:lnTo>
                  <a:lnTo>
                    <a:pt x="60" y="157"/>
                  </a:lnTo>
                  <a:lnTo>
                    <a:pt x="62" y="157"/>
                  </a:lnTo>
                  <a:lnTo>
                    <a:pt x="64" y="156"/>
                  </a:lnTo>
                  <a:lnTo>
                    <a:pt x="62" y="156"/>
                  </a:lnTo>
                  <a:lnTo>
                    <a:pt x="64" y="155"/>
                  </a:lnTo>
                  <a:lnTo>
                    <a:pt x="65" y="155"/>
                  </a:lnTo>
                  <a:lnTo>
                    <a:pt x="61" y="153"/>
                  </a:lnTo>
                  <a:lnTo>
                    <a:pt x="60" y="153"/>
                  </a:lnTo>
                  <a:lnTo>
                    <a:pt x="59" y="155"/>
                  </a:lnTo>
                  <a:lnTo>
                    <a:pt x="46" y="156"/>
                  </a:lnTo>
                  <a:lnTo>
                    <a:pt x="44" y="156"/>
                  </a:lnTo>
                  <a:lnTo>
                    <a:pt x="43" y="157"/>
                  </a:lnTo>
                  <a:lnTo>
                    <a:pt x="40" y="157"/>
                  </a:lnTo>
                  <a:lnTo>
                    <a:pt x="40" y="156"/>
                  </a:lnTo>
                  <a:lnTo>
                    <a:pt x="39" y="155"/>
                  </a:lnTo>
                  <a:lnTo>
                    <a:pt x="39" y="152"/>
                  </a:lnTo>
                  <a:lnTo>
                    <a:pt x="37" y="153"/>
                  </a:lnTo>
                  <a:lnTo>
                    <a:pt x="37" y="156"/>
                  </a:lnTo>
                  <a:lnTo>
                    <a:pt x="36" y="156"/>
                  </a:lnTo>
                  <a:lnTo>
                    <a:pt x="36" y="150"/>
                  </a:lnTo>
                  <a:lnTo>
                    <a:pt x="39" y="150"/>
                  </a:lnTo>
                  <a:lnTo>
                    <a:pt x="39" y="149"/>
                  </a:lnTo>
                  <a:lnTo>
                    <a:pt x="37" y="147"/>
                  </a:lnTo>
                  <a:lnTo>
                    <a:pt x="37" y="146"/>
                  </a:lnTo>
                  <a:lnTo>
                    <a:pt x="36" y="146"/>
                  </a:lnTo>
                  <a:lnTo>
                    <a:pt x="36" y="150"/>
                  </a:lnTo>
                  <a:lnTo>
                    <a:pt x="35" y="150"/>
                  </a:lnTo>
                  <a:lnTo>
                    <a:pt x="35" y="145"/>
                  </a:lnTo>
                  <a:lnTo>
                    <a:pt x="33" y="147"/>
                  </a:lnTo>
                  <a:lnTo>
                    <a:pt x="33" y="149"/>
                  </a:lnTo>
                  <a:lnTo>
                    <a:pt x="31" y="150"/>
                  </a:lnTo>
                  <a:lnTo>
                    <a:pt x="31" y="151"/>
                  </a:lnTo>
                  <a:lnTo>
                    <a:pt x="29" y="152"/>
                  </a:lnTo>
                  <a:lnTo>
                    <a:pt x="28" y="152"/>
                  </a:lnTo>
                  <a:lnTo>
                    <a:pt x="28" y="151"/>
                  </a:lnTo>
                  <a:lnTo>
                    <a:pt x="27" y="150"/>
                  </a:lnTo>
                  <a:lnTo>
                    <a:pt x="24" y="151"/>
                  </a:lnTo>
                  <a:lnTo>
                    <a:pt x="24" y="147"/>
                  </a:lnTo>
                  <a:lnTo>
                    <a:pt x="27" y="147"/>
                  </a:lnTo>
                  <a:lnTo>
                    <a:pt x="29" y="146"/>
                  </a:lnTo>
                  <a:lnTo>
                    <a:pt x="29" y="145"/>
                  </a:lnTo>
                  <a:lnTo>
                    <a:pt x="28" y="145"/>
                  </a:lnTo>
                  <a:lnTo>
                    <a:pt x="28" y="144"/>
                  </a:lnTo>
                  <a:lnTo>
                    <a:pt x="27" y="144"/>
                  </a:lnTo>
                  <a:lnTo>
                    <a:pt x="27" y="145"/>
                  </a:lnTo>
                  <a:lnTo>
                    <a:pt x="25" y="145"/>
                  </a:lnTo>
                  <a:lnTo>
                    <a:pt x="25" y="144"/>
                  </a:lnTo>
                  <a:lnTo>
                    <a:pt x="27" y="143"/>
                  </a:lnTo>
                  <a:lnTo>
                    <a:pt x="25" y="143"/>
                  </a:lnTo>
                  <a:lnTo>
                    <a:pt x="25" y="144"/>
                  </a:lnTo>
                  <a:lnTo>
                    <a:pt x="24" y="143"/>
                  </a:lnTo>
                  <a:lnTo>
                    <a:pt x="23" y="144"/>
                  </a:lnTo>
                  <a:lnTo>
                    <a:pt x="23" y="146"/>
                  </a:lnTo>
                  <a:lnTo>
                    <a:pt x="19" y="146"/>
                  </a:lnTo>
                  <a:lnTo>
                    <a:pt x="18" y="145"/>
                  </a:lnTo>
                  <a:lnTo>
                    <a:pt x="18" y="144"/>
                  </a:lnTo>
                  <a:lnTo>
                    <a:pt x="12" y="144"/>
                  </a:lnTo>
                  <a:lnTo>
                    <a:pt x="14" y="143"/>
                  </a:lnTo>
                  <a:lnTo>
                    <a:pt x="14" y="141"/>
                  </a:lnTo>
                  <a:lnTo>
                    <a:pt x="18" y="141"/>
                  </a:lnTo>
                  <a:lnTo>
                    <a:pt x="18" y="140"/>
                  </a:lnTo>
                  <a:lnTo>
                    <a:pt x="17" y="140"/>
                  </a:lnTo>
                  <a:lnTo>
                    <a:pt x="17" y="139"/>
                  </a:lnTo>
                  <a:lnTo>
                    <a:pt x="15" y="137"/>
                  </a:lnTo>
                  <a:lnTo>
                    <a:pt x="15" y="135"/>
                  </a:lnTo>
                  <a:lnTo>
                    <a:pt x="14" y="135"/>
                  </a:lnTo>
                  <a:lnTo>
                    <a:pt x="14" y="134"/>
                  </a:lnTo>
                  <a:lnTo>
                    <a:pt x="16" y="134"/>
                  </a:lnTo>
                  <a:lnTo>
                    <a:pt x="15" y="133"/>
                  </a:lnTo>
                  <a:lnTo>
                    <a:pt x="19" y="133"/>
                  </a:lnTo>
                  <a:lnTo>
                    <a:pt x="19" y="134"/>
                  </a:lnTo>
                  <a:lnTo>
                    <a:pt x="21" y="134"/>
                  </a:lnTo>
                  <a:lnTo>
                    <a:pt x="21" y="133"/>
                  </a:lnTo>
                  <a:lnTo>
                    <a:pt x="18" y="132"/>
                  </a:lnTo>
                  <a:lnTo>
                    <a:pt x="18" y="131"/>
                  </a:lnTo>
                  <a:lnTo>
                    <a:pt x="24" y="131"/>
                  </a:lnTo>
                  <a:lnTo>
                    <a:pt x="25" y="129"/>
                  </a:lnTo>
                  <a:lnTo>
                    <a:pt x="28" y="129"/>
                  </a:lnTo>
                  <a:lnTo>
                    <a:pt x="29" y="131"/>
                  </a:lnTo>
                  <a:lnTo>
                    <a:pt x="33" y="131"/>
                  </a:lnTo>
                  <a:lnTo>
                    <a:pt x="33" y="129"/>
                  </a:lnTo>
                  <a:lnTo>
                    <a:pt x="28" y="129"/>
                  </a:lnTo>
                  <a:lnTo>
                    <a:pt x="24" y="127"/>
                  </a:lnTo>
                  <a:lnTo>
                    <a:pt x="23" y="123"/>
                  </a:lnTo>
                  <a:lnTo>
                    <a:pt x="23" y="122"/>
                  </a:lnTo>
                  <a:lnTo>
                    <a:pt x="24" y="121"/>
                  </a:lnTo>
                  <a:lnTo>
                    <a:pt x="24" y="119"/>
                  </a:lnTo>
                  <a:lnTo>
                    <a:pt x="25" y="119"/>
                  </a:lnTo>
                  <a:lnTo>
                    <a:pt x="27" y="117"/>
                  </a:lnTo>
                  <a:lnTo>
                    <a:pt x="30" y="117"/>
                  </a:lnTo>
                  <a:lnTo>
                    <a:pt x="39" y="116"/>
                  </a:lnTo>
                  <a:lnTo>
                    <a:pt x="37" y="116"/>
                  </a:lnTo>
                  <a:lnTo>
                    <a:pt x="36" y="115"/>
                  </a:lnTo>
                  <a:lnTo>
                    <a:pt x="37" y="114"/>
                  </a:lnTo>
                  <a:lnTo>
                    <a:pt x="36" y="114"/>
                  </a:lnTo>
                  <a:lnTo>
                    <a:pt x="39" y="112"/>
                  </a:lnTo>
                  <a:lnTo>
                    <a:pt x="37" y="112"/>
                  </a:lnTo>
                  <a:lnTo>
                    <a:pt x="37" y="110"/>
                  </a:lnTo>
                  <a:lnTo>
                    <a:pt x="39" y="110"/>
                  </a:lnTo>
                  <a:lnTo>
                    <a:pt x="39" y="109"/>
                  </a:lnTo>
                  <a:lnTo>
                    <a:pt x="30" y="109"/>
                  </a:lnTo>
                  <a:lnTo>
                    <a:pt x="27" y="112"/>
                  </a:lnTo>
                  <a:lnTo>
                    <a:pt x="24" y="112"/>
                  </a:lnTo>
                  <a:lnTo>
                    <a:pt x="22" y="110"/>
                  </a:lnTo>
                  <a:lnTo>
                    <a:pt x="23" y="110"/>
                  </a:lnTo>
                  <a:lnTo>
                    <a:pt x="23" y="109"/>
                  </a:lnTo>
                  <a:lnTo>
                    <a:pt x="22" y="110"/>
                  </a:lnTo>
                  <a:lnTo>
                    <a:pt x="21" y="110"/>
                  </a:lnTo>
                  <a:lnTo>
                    <a:pt x="21" y="109"/>
                  </a:lnTo>
                  <a:lnTo>
                    <a:pt x="19" y="108"/>
                  </a:lnTo>
                  <a:lnTo>
                    <a:pt x="17" y="108"/>
                  </a:lnTo>
                  <a:lnTo>
                    <a:pt x="17" y="107"/>
                  </a:lnTo>
                  <a:lnTo>
                    <a:pt x="18" y="106"/>
                  </a:lnTo>
                  <a:lnTo>
                    <a:pt x="17" y="104"/>
                  </a:lnTo>
                  <a:lnTo>
                    <a:pt x="12" y="104"/>
                  </a:lnTo>
                  <a:lnTo>
                    <a:pt x="10" y="103"/>
                  </a:lnTo>
                  <a:lnTo>
                    <a:pt x="11" y="103"/>
                  </a:lnTo>
                  <a:lnTo>
                    <a:pt x="11" y="102"/>
                  </a:lnTo>
                  <a:lnTo>
                    <a:pt x="12" y="101"/>
                  </a:lnTo>
                  <a:lnTo>
                    <a:pt x="14" y="101"/>
                  </a:lnTo>
                  <a:lnTo>
                    <a:pt x="15" y="102"/>
                  </a:lnTo>
                  <a:lnTo>
                    <a:pt x="16" y="102"/>
                  </a:lnTo>
                  <a:lnTo>
                    <a:pt x="17" y="101"/>
                  </a:lnTo>
                  <a:lnTo>
                    <a:pt x="22" y="101"/>
                  </a:lnTo>
                  <a:lnTo>
                    <a:pt x="23" y="103"/>
                  </a:lnTo>
                  <a:lnTo>
                    <a:pt x="22" y="103"/>
                  </a:lnTo>
                  <a:lnTo>
                    <a:pt x="22" y="104"/>
                  </a:lnTo>
                  <a:lnTo>
                    <a:pt x="23" y="104"/>
                  </a:lnTo>
                  <a:lnTo>
                    <a:pt x="23" y="108"/>
                  </a:lnTo>
                  <a:lnTo>
                    <a:pt x="24" y="108"/>
                  </a:lnTo>
                  <a:lnTo>
                    <a:pt x="24" y="106"/>
                  </a:lnTo>
                  <a:lnTo>
                    <a:pt x="23" y="106"/>
                  </a:lnTo>
                  <a:lnTo>
                    <a:pt x="25" y="104"/>
                  </a:lnTo>
                  <a:lnTo>
                    <a:pt x="27" y="106"/>
                  </a:lnTo>
                  <a:lnTo>
                    <a:pt x="27" y="102"/>
                  </a:lnTo>
                  <a:lnTo>
                    <a:pt x="25" y="102"/>
                  </a:lnTo>
                  <a:lnTo>
                    <a:pt x="25" y="101"/>
                  </a:lnTo>
                  <a:lnTo>
                    <a:pt x="24" y="101"/>
                  </a:lnTo>
                  <a:lnTo>
                    <a:pt x="24" y="97"/>
                  </a:lnTo>
                  <a:lnTo>
                    <a:pt x="25" y="97"/>
                  </a:lnTo>
                  <a:lnTo>
                    <a:pt x="25" y="96"/>
                  </a:lnTo>
                  <a:lnTo>
                    <a:pt x="27" y="95"/>
                  </a:lnTo>
                  <a:lnTo>
                    <a:pt x="25" y="95"/>
                  </a:lnTo>
                  <a:lnTo>
                    <a:pt x="27" y="94"/>
                  </a:lnTo>
                  <a:lnTo>
                    <a:pt x="25" y="94"/>
                  </a:lnTo>
                  <a:lnTo>
                    <a:pt x="25" y="95"/>
                  </a:lnTo>
                  <a:lnTo>
                    <a:pt x="24" y="95"/>
                  </a:lnTo>
                  <a:lnTo>
                    <a:pt x="23" y="97"/>
                  </a:lnTo>
                  <a:lnTo>
                    <a:pt x="22" y="97"/>
                  </a:lnTo>
                  <a:lnTo>
                    <a:pt x="22" y="96"/>
                  </a:lnTo>
                  <a:lnTo>
                    <a:pt x="21" y="95"/>
                  </a:lnTo>
                  <a:lnTo>
                    <a:pt x="23" y="94"/>
                  </a:lnTo>
                  <a:lnTo>
                    <a:pt x="24" y="94"/>
                  </a:lnTo>
                  <a:lnTo>
                    <a:pt x="22" y="91"/>
                  </a:lnTo>
                  <a:lnTo>
                    <a:pt x="23" y="91"/>
                  </a:lnTo>
                  <a:lnTo>
                    <a:pt x="21" y="89"/>
                  </a:lnTo>
                  <a:lnTo>
                    <a:pt x="23" y="89"/>
                  </a:lnTo>
                  <a:lnTo>
                    <a:pt x="21" y="86"/>
                  </a:lnTo>
                  <a:lnTo>
                    <a:pt x="23" y="86"/>
                  </a:lnTo>
                  <a:lnTo>
                    <a:pt x="24" y="88"/>
                  </a:lnTo>
                  <a:lnTo>
                    <a:pt x="24" y="86"/>
                  </a:lnTo>
                  <a:lnTo>
                    <a:pt x="25" y="86"/>
                  </a:lnTo>
                  <a:lnTo>
                    <a:pt x="25" y="83"/>
                  </a:lnTo>
                  <a:lnTo>
                    <a:pt x="27" y="82"/>
                  </a:lnTo>
                  <a:lnTo>
                    <a:pt x="28" y="83"/>
                  </a:lnTo>
                  <a:lnTo>
                    <a:pt x="29" y="83"/>
                  </a:lnTo>
                  <a:lnTo>
                    <a:pt x="30" y="84"/>
                  </a:lnTo>
                  <a:lnTo>
                    <a:pt x="30" y="83"/>
                  </a:lnTo>
                  <a:lnTo>
                    <a:pt x="29" y="83"/>
                  </a:lnTo>
                  <a:lnTo>
                    <a:pt x="29" y="82"/>
                  </a:lnTo>
                  <a:lnTo>
                    <a:pt x="30" y="82"/>
                  </a:lnTo>
                  <a:lnTo>
                    <a:pt x="29" y="80"/>
                  </a:lnTo>
                  <a:lnTo>
                    <a:pt x="28" y="80"/>
                  </a:lnTo>
                  <a:lnTo>
                    <a:pt x="27" y="79"/>
                  </a:lnTo>
                  <a:lnTo>
                    <a:pt x="27" y="78"/>
                  </a:lnTo>
                  <a:lnTo>
                    <a:pt x="30" y="78"/>
                  </a:lnTo>
                  <a:lnTo>
                    <a:pt x="31" y="79"/>
                  </a:lnTo>
                  <a:lnTo>
                    <a:pt x="42" y="79"/>
                  </a:lnTo>
                  <a:lnTo>
                    <a:pt x="42" y="80"/>
                  </a:lnTo>
                  <a:lnTo>
                    <a:pt x="47" y="80"/>
                  </a:lnTo>
                  <a:lnTo>
                    <a:pt x="47" y="79"/>
                  </a:lnTo>
                  <a:lnTo>
                    <a:pt x="48" y="79"/>
                  </a:lnTo>
                  <a:lnTo>
                    <a:pt x="50" y="80"/>
                  </a:lnTo>
                  <a:lnTo>
                    <a:pt x="52" y="80"/>
                  </a:lnTo>
                  <a:lnTo>
                    <a:pt x="52" y="82"/>
                  </a:lnTo>
                  <a:lnTo>
                    <a:pt x="53" y="82"/>
                  </a:lnTo>
                  <a:lnTo>
                    <a:pt x="53" y="84"/>
                  </a:lnTo>
                  <a:lnTo>
                    <a:pt x="54" y="84"/>
                  </a:lnTo>
                  <a:lnTo>
                    <a:pt x="54" y="85"/>
                  </a:lnTo>
                  <a:lnTo>
                    <a:pt x="53" y="85"/>
                  </a:lnTo>
                  <a:lnTo>
                    <a:pt x="53" y="86"/>
                  </a:lnTo>
                  <a:lnTo>
                    <a:pt x="55" y="88"/>
                  </a:lnTo>
                  <a:lnTo>
                    <a:pt x="56" y="89"/>
                  </a:lnTo>
                  <a:lnTo>
                    <a:pt x="56" y="86"/>
                  </a:lnTo>
                  <a:lnTo>
                    <a:pt x="58" y="86"/>
                  </a:lnTo>
                  <a:lnTo>
                    <a:pt x="59" y="85"/>
                  </a:lnTo>
                  <a:lnTo>
                    <a:pt x="59" y="84"/>
                  </a:lnTo>
                  <a:lnTo>
                    <a:pt x="60" y="83"/>
                  </a:lnTo>
                  <a:lnTo>
                    <a:pt x="60" y="82"/>
                  </a:lnTo>
                  <a:lnTo>
                    <a:pt x="61" y="80"/>
                  </a:lnTo>
                  <a:lnTo>
                    <a:pt x="64" y="82"/>
                  </a:lnTo>
                  <a:lnTo>
                    <a:pt x="67" y="82"/>
                  </a:lnTo>
                  <a:lnTo>
                    <a:pt x="67" y="83"/>
                  </a:lnTo>
                  <a:lnTo>
                    <a:pt x="71" y="83"/>
                  </a:lnTo>
                  <a:lnTo>
                    <a:pt x="72" y="82"/>
                  </a:lnTo>
                  <a:lnTo>
                    <a:pt x="73" y="83"/>
                  </a:lnTo>
                  <a:lnTo>
                    <a:pt x="77" y="83"/>
                  </a:lnTo>
                  <a:lnTo>
                    <a:pt x="78" y="84"/>
                  </a:lnTo>
                  <a:lnTo>
                    <a:pt x="78" y="85"/>
                  </a:lnTo>
                  <a:lnTo>
                    <a:pt x="79" y="85"/>
                  </a:lnTo>
                  <a:lnTo>
                    <a:pt x="79" y="86"/>
                  </a:lnTo>
                  <a:lnTo>
                    <a:pt x="80" y="88"/>
                  </a:lnTo>
                  <a:lnTo>
                    <a:pt x="81" y="86"/>
                  </a:lnTo>
                  <a:lnTo>
                    <a:pt x="80" y="85"/>
                  </a:lnTo>
                  <a:lnTo>
                    <a:pt x="80" y="84"/>
                  </a:lnTo>
                  <a:lnTo>
                    <a:pt x="78" y="84"/>
                  </a:lnTo>
                  <a:lnTo>
                    <a:pt x="78" y="83"/>
                  </a:lnTo>
                  <a:lnTo>
                    <a:pt x="79" y="83"/>
                  </a:lnTo>
                  <a:lnTo>
                    <a:pt x="79" y="82"/>
                  </a:lnTo>
                  <a:lnTo>
                    <a:pt x="84" y="82"/>
                  </a:lnTo>
                  <a:lnTo>
                    <a:pt x="83" y="80"/>
                  </a:lnTo>
                  <a:lnTo>
                    <a:pt x="80" y="80"/>
                  </a:lnTo>
                  <a:lnTo>
                    <a:pt x="80" y="78"/>
                  </a:lnTo>
                  <a:lnTo>
                    <a:pt x="81" y="79"/>
                  </a:lnTo>
                  <a:lnTo>
                    <a:pt x="83" y="79"/>
                  </a:lnTo>
                  <a:lnTo>
                    <a:pt x="83" y="78"/>
                  </a:lnTo>
                  <a:lnTo>
                    <a:pt x="77" y="78"/>
                  </a:lnTo>
                  <a:lnTo>
                    <a:pt x="77" y="76"/>
                  </a:lnTo>
                  <a:lnTo>
                    <a:pt x="78" y="76"/>
                  </a:lnTo>
                  <a:lnTo>
                    <a:pt x="79" y="75"/>
                  </a:lnTo>
                  <a:lnTo>
                    <a:pt x="84" y="71"/>
                  </a:lnTo>
                  <a:lnTo>
                    <a:pt x="85" y="71"/>
                  </a:lnTo>
                  <a:lnTo>
                    <a:pt x="85" y="69"/>
                  </a:lnTo>
                  <a:lnTo>
                    <a:pt x="86" y="70"/>
                  </a:lnTo>
                  <a:lnTo>
                    <a:pt x="87" y="69"/>
                  </a:lnTo>
                  <a:lnTo>
                    <a:pt x="89" y="69"/>
                  </a:lnTo>
                  <a:lnTo>
                    <a:pt x="92" y="67"/>
                  </a:lnTo>
                  <a:lnTo>
                    <a:pt x="95" y="66"/>
                  </a:lnTo>
                  <a:lnTo>
                    <a:pt x="96" y="66"/>
                  </a:lnTo>
                  <a:lnTo>
                    <a:pt x="96" y="65"/>
                  </a:lnTo>
                  <a:lnTo>
                    <a:pt x="93" y="65"/>
                  </a:lnTo>
                  <a:lnTo>
                    <a:pt x="93" y="64"/>
                  </a:lnTo>
                  <a:lnTo>
                    <a:pt x="96" y="63"/>
                  </a:lnTo>
                  <a:lnTo>
                    <a:pt x="96" y="60"/>
                  </a:lnTo>
                  <a:lnTo>
                    <a:pt x="97" y="59"/>
                  </a:lnTo>
                  <a:lnTo>
                    <a:pt x="97" y="58"/>
                  </a:lnTo>
                  <a:lnTo>
                    <a:pt x="98" y="58"/>
                  </a:lnTo>
                  <a:lnTo>
                    <a:pt x="99" y="55"/>
                  </a:lnTo>
                  <a:lnTo>
                    <a:pt x="99" y="54"/>
                  </a:lnTo>
                  <a:lnTo>
                    <a:pt x="98" y="55"/>
                  </a:lnTo>
                  <a:lnTo>
                    <a:pt x="97" y="55"/>
                  </a:lnTo>
                  <a:lnTo>
                    <a:pt x="95" y="57"/>
                  </a:lnTo>
                  <a:lnTo>
                    <a:pt x="93" y="58"/>
                  </a:lnTo>
                  <a:lnTo>
                    <a:pt x="92" y="58"/>
                  </a:lnTo>
                  <a:lnTo>
                    <a:pt x="92" y="55"/>
                  </a:lnTo>
                  <a:lnTo>
                    <a:pt x="91" y="55"/>
                  </a:lnTo>
                  <a:lnTo>
                    <a:pt x="90" y="58"/>
                  </a:lnTo>
                  <a:lnTo>
                    <a:pt x="89" y="58"/>
                  </a:lnTo>
                  <a:lnTo>
                    <a:pt x="89" y="57"/>
                  </a:lnTo>
                  <a:lnTo>
                    <a:pt x="86" y="57"/>
                  </a:lnTo>
                  <a:lnTo>
                    <a:pt x="86" y="55"/>
                  </a:lnTo>
                  <a:lnTo>
                    <a:pt x="85" y="57"/>
                  </a:lnTo>
                  <a:lnTo>
                    <a:pt x="85" y="58"/>
                  </a:lnTo>
                  <a:lnTo>
                    <a:pt x="84" y="58"/>
                  </a:lnTo>
                  <a:lnTo>
                    <a:pt x="84" y="57"/>
                  </a:lnTo>
                  <a:lnTo>
                    <a:pt x="81" y="57"/>
                  </a:lnTo>
                  <a:lnTo>
                    <a:pt x="80" y="58"/>
                  </a:lnTo>
                  <a:lnTo>
                    <a:pt x="79" y="57"/>
                  </a:lnTo>
                  <a:lnTo>
                    <a:pt x="75" y="57"/>
                  </a:lnTo>
                  <a:lnTo>
                    <a:pt x="75" y="55"/>
                  </a:lnTo>
                  <a:lnTo>
                    <a:pt x="72" y="54"/>
                  </a:lnTo>
                  <a:lnTo>
                    <a:pt x="71" y="54"/>
                  </a:lnTo>
                  <a:lnTo>
                    <a:pt x="72" y="53"/>
                  </a:lnTo>
                  <a:lnTo>
                    <a:pt x="71" y="52"/>
                  </a:lnTo>
                  <a:lnTo>
                    <a:pt x="72" y="51"/>
                  </a:lnTo>
                  <a:lnTo>
                    <a:pt x="73" y="51"/>
                  </a:lnTo>
                  <a:lnTo>
                    <a:pt x="73" y="49"/>
                  </a:lnTo>
                  <a:lnTo>
                    <a:pt x="77" y="47"/>
                  </a:lnTo>
                  <a:lnTo>
                    <a:pt x="78" y="46"/>
                  </a:lnTo>
                  <a:lnTo>
                    <a:pt x="81" y="46"/>
                  </a:lnTo>
                  <a:lnTo>
                    <a:pt x="84" y="47"/>
                  </a:lnTo>
                  <a:lnTo>
                    <a:pt x="85" y="47"/>
                  </a:lnTo>
                  <a:lnTo>
                    <a:pt x="83" y="46"/>
                  </a:lnTo>
                  <a:lnTo>
                    <a:pt x="81" y="45"/>
                  </a:lnTo>
                  <a:lnTo>
                    <a:pt x="85" y="45"/>
                  </a:lnTo>
                  <a:lnTo>
                    <a:pt x="85" y="46"/>
                  </a:lnTo>
                  <a:lnTo>
                    <a:pt x="86" y="47"/>
                  </a:lnTo>
                  <a:lnTo>
                    <a:pt x="87" y="47"/>
                  </a:lnTo>
                  <a:lnTo>
                    <a:pt x="84" y="43"/>
                  </a:lnTo>
                  <a:lnTo>
                    <a:pt x="81" y="42"/>
                  </a:lnTo>
                  <a:lnTo>
                    <a:pt x="83" y="41"/>
                  </a:lnTo>
                  <a:lnTo>
                    <a:pt x="84" y="41"/>
                  </a:lnTo>
                  <a:lnTo>
                    <a:pt x="84" y="40"/>
                  </a:lnTo>
                  <a:lnTo>
                    <a:pt x="85" y="41"/>
                  </a:lnTo>
                  <a:lnTo>
                    <a:pt x="89" y="41"/>
                  </a:lnTo>
                  <a:lnTo>
                    <a:pt x="89" y="37"/>
                  </a:lnTo>
                  <a:lnTo>
                    <a:pt x="91" y="39"/>
                  </a:lnTo>
                  <a:lnTo>
                    <a:pt x="91" y="37"/>
                  </a:lnTo>
                  <a:lnTo>
                    <a:pt x="90" y="36"/>
                  </a:lnTo>
                  <a:lnTo>
                    <a:pt x="89" y="36"/>
                  </a:lnTo>
                  <a:lnTo>
                    <a:pt x="89" y="37"/>
                  </a:lnTo>
                  <a:lnTo>
                    <a:pt x="87" y="37"/>
                  </a:lnTo>
                  <a:lnTo>
                    <a:pt x="85" y="35"/>
                  </a:lnTo>
                  <a:lnTo>
                    <a:pt x="85" y="33"/>
                  </a:lnTo>
                  <a:lnTo>
                    <a:pt x="86" y="34"/>
                  </a:lnTo>
                  <a:lnTo>
                    <a:pt x="87" y="34"/>
                  </a:lnTo>
                  <a:lnTo>
                    <a:pt x="89" y="33"/>
                  </a:lnTo>
                  <a:lnTo>
                    <a:pt x="87" y="33"/>
                  </a:lnTo>
                  <a:lnTo>
                    <a:pt x="86" y="32"/>
                  </a:lnTo>
                  <a:lnTo>
                    <a:pt x="85" y="29"/>
                  </a:lnTo>
                  <a:lnTo>
                    <a:pt x="87" y="29"/>
                  </a:lnTo>
                  <a:lnTo>
                    <a:pt x="87" y="27"/>
                  </a:lnTo>
                  <a:lnTo>
                    <a:pt x="89" y="27"/>
                  </a:lnTo>
                  <a:lnTo>
                    <a:pt x="90" y="24"/>
                  </a:lnTo>
                  <a:lnTo>
                    <a:pt x="90" y="27"/>
                  </a:lnTo>
                  <a:lnTo>
                    <a:pt x="91" y="27"/>
                  </a:lnTo>
                  <a:lnTo>
                    <a:pt x="91" y="21"/>
                  </a:lnTo>
                  <a:lnTo>
                    <a:pt x="92" y="18"/>
                  </a:lnTo>
                  <a:lnTo>
                    <a:pt x="92" y="17"/>
                  </a:lnTo>
                  <a:lnTo>
                    <a:pt x="93" y="17"/>
                  </a:lnTo>
                  <a:lnTo>
                    <a:pt x="96" y="18"/>
                  </a:lnTo>
                  <a:lnTo>
                    <a:pt x="97" y="18"/>
                  </a:lnTo>
                  <a:lnTo>
                    <a:pt x="98" y="17"/>
                  </a:lnTo>
                  <a:lnTo>
                    <a:pt x="98" y="20"/>
                  </a:lnTo>
                  <a:lnTo>
                    <a:pt x="102" y="16"/>
                  </a:lnTo>
                  <a:lnTo>
                    <a:pt x="103" y="16"/>
                  </a:lnTo>
                  <a:lnTo>
                    <a:pt x="104" y="15"/>
                  </a:lnTo>
                  <a:lnTo>
                    <a:pt x="104" y="14"/>
                  </a:lnTo>
                  <a:lnTo>
                    <a:pt x="105" y="12"/>
                  </a:lnTo>
                  <a:lnTo>
                    <a:pt x="106" y="14"/>
                  </a:lnTo>
                  <a:lnTo>
                    <a:pt x="106" y="15"/>
                  </a:lnTo>
                  <a:lnTo>
                    <a:pt x="104" y="16"/>
                  </a:lnTo>
                  <a:lnTo>
                    <a:pt x="108" y="16"/>
                  </a:lnTo>
                  <a:lnTo>
                    <a:pt x="109" y="15"/>
                  </a:lnTo>
                  <a:lnTo>
                    <a:pt x="109" y="17"/>
                  </a:lnTo>
                  <a:lnTo>
                    <a:pt x="110" y="17"/>
                  </a:lnTo>
                  <a:lnTo>
                    <a:pt x="110" y="20"/>
                  </a:lnTo>
                  <a:lnTo>
                    <a:pt x="111" y="18"/>
                  </a:lnTo>
                  <a:lnTo>
                    <a:pt x="111" y="16"/>
                  </a:lnTo>
                  <a:lnTo>
                    <a:pt x="110" y="15"/>
                  </a:lnTo>
                  <a:lnTo>
                    <a:pt x="110" y="14"/>
                  </a:lnTo>
                  <a:lnTo>
                    <a:pt x="112" y="11"/>
                  </a:lnTo>
                  <a:lnTo>
                    <a:pt x="114" y="11"/>
                  </a:lnTo>
                  <a:lnTo>
                    <a:pt x="112" y="15"/>
                  </a:lnTo>
                  <a:lnTo>
                    <a:pt x="112" y="16"/>
                  </a:lnTo>
                  <a:lnTo>
                    <a:pt x="114" y="16"/>
                  </a:lnTo>
                  <a:lnTo>
                    <a:pt x="114" y="15"/>
                  </a:lnTo>
                  <a:lnTo>
                    <a:pt x="115" y="16"/>
                  </a:lnTo>
                  <a:lnTo>
                    <a:pt x="116" y="16"/>
                  </a:lnTo>
                  <a:lnTo>
                    <a:pt x="116" y="17"/>
                  </a:lnTo>
                  <a:lnTo>
                    <a:pt x="117" y="17"/>
                  </a:lnTo>
                  <a:lnTo>
                    <a:pt x="117" y="21"/>
                  </a:lnTo>
                  <a:lnTo>
                    <a:pt x="118" y="20"/>
                  </a:lnTo>
                  <a:lnTo>
                    <a:pt x="118" y="17"/>
                  </a:lnTo>
                  <a:lnTo>
                    <a:pt x="117" y="16"/>
                  </a:lnTo>
                  <a:lnTo>
                    <a:pt x="117" y="14"/>
                  </a:lnTo>
                  <a:lnTo>
                    <a:pt x="116" y="12"/>
                  </a:lnTo>
                  <a:lnTo>
                    <a:pt x="116" y="16"/>
                  </a:lnTo>
                  <a:lnTo>
                    <a:pt x="115" y="15"/>
                  </a:lnTo>
                  <a:lnTo>
                    <a:pt x="114" y="15"/>
                  </a:lnTo>
                  <a:lnTo>
                    <a:pt x="114" y="14"/>
                  </a:lnTo>
                  <a:lnTo>
                    <a:pt x="115" y="11"/>
                  </a:lnTo>
                  <a:lnTo>
                    <a:pt x="115" y="10"/>
                  </a:lnTo>
                  <a:lnTo>
                    <a:pt x="116" y="11"/>
                  </a:lnTo>
                  <a:lnTo>
                    <a:pt x="118" y="9"/>
                  </a:lnTo>
                  <a:lnTo>
                    <a:pt x="120" y="9"/>
                  </a:lnTo>
                  <a:lnTo>
                    <a:pt x="120" y="10"/>
                  </a:lnTo>
                  <a:lnTo>
                    <a:pt x="121" y="10"/>
                  </a:lnTo>
                  <a:lnTo>
                    <a:pt x="121" y="15"/>
                  </a:lnTo>
                  <a:lnTo>
                    <a:pt x="122" y="16"/>
                  </a:lnTo>
                  <a:lnTo>
                    <a:pt x="122" y="17"/>
                  </a:lnTo>
                  <a:lnTo>
                    <a:pt x="123" y="18"/>
                  </a:lnTo>
                  <a:lnTo>
                    <a:pt x="124" y="18"/>
                  </a:lnTo>
                  <a:lnTo>
                    <a:pt x="124" y="22"/>
                  </a:lnTo>
                  <a:lnTo>
                    <a:pt x="122" y="24"/>
                  </a:lnTo>
                  <a:lnTo>
                    <a:pt x="120" y="26"/>
                  </a:lnTo>
                  <a:lnTo>
                    <a:pt x="123" y="26"/>
                  </a:lnTo>
                  <a:lnTo>
                    <a:pt x="122" y="28"/>
                  </a:lnTo>
                  <a:lnTo>
                    <a:pt x="120" y="29"/>
                  </a:lnTo>
                  <a:lnTo>
                    <a:pt x="118" y="32"/>
                  </a:lnTo>
                  <a:lnTo>
                    <a:pt x="118" y="33"/>
                  </a:lnTo>
                  <a:lnTo>
                    <a:pt x="123" y="28"/>
                  </a:lnTo>
                  <a:lnTo>
                    <a:pt x="124" y="28"/>
                  </a:lnTo>
                  <a:lnTo>
                    <a:pt x="124" y="27"/>
                  </a:lnTo>
                  <a:lnTo>
                    <a:pt x="126" y="27"/>
                  </a:lnTo>
                  <a:lnTo>
                    <a:pt x="127" y="26"/>
                  </a:lnTo>
                  <a:lnTo>
                    <a:pt x="128" y="26"/>
                  </a:lnTo>
                  <a:lnTo>
                    <a:pt x="128" y="23"/>
                  </a:lnTo>
                  <a:lnTo>
                    <a:pt x="127" y="22"/>
                  </a:lnTo>
                  <a:lnTo>
                    <a:pt x="127" y="18"/>
                  </a:lnTo>
                  <a:lnTo>
                    <a:pt x="126" y="16"/>
                  </a:lnTo>
                  <a:lnTo>
                    <a:pt x="123" y="14"/>
                  </a:lnTo>
                  <a:lnTo>
                    <a:pt x="123" y="12"/>
                  </a:lnTo>
                  <a:lnTo>
                    <a:pt x="124" y="12"/>
                  </a:lnTo>
                  <a:lnTo>
                    <a:pt x="124" y="8"/>
                  </a:lnTo>
                  <a:lnTo>
                    <a:pt x="126" y="8"/>
                  </a:lnTo>
                  <a:lnTo>
                    <a:pt x="127" y="9"/>
                  </a:lnTo>
                  <a:lnTo>
                    <a:pt x="127" y="6"/>
                  </a:lnTo>
                  <a:lnTo>
                    <a:pt x="128" y="8"/>
                  </a:lnTo>
                  <a:lnTo>
                    <a:pt x="129" y="8"/>
                  </a:lnTo>
                  <a:lnTo>
                    <a:pt x="131" y="6"/>
                  </a:lnTo>
                  <a:lnTo>
                    <a:pt x="133" y="6"/>
                  </a:lnTo>
                  <a:lnTo>
                    <a:pt x="134" y="8"/>
                  </a:lnTo>
                  <a:lnTo>
                    <a:pt x="133" y="8"/>
                  </a:lnTo>
                  <a:lnTo>
                    <a:pt x="133" y="9"/>
                  </a:lnTo>
                  <a:lnTo>
                    <a:pt x="136" y="9"/>
                  </a:lnTo>
                  <a:lnTo>
                    <a:pt x="133" y="6"/>
                  </a:lnTo>
                  <a:lnTo>
                    <a:pt x="131" y="4"/>
                  </a:lnTo>
                  <a:lnTo>
                    <a:pt x="131" y="3"/>
                  </a:lnTo>
                  <a:lnTo>
                    <a:pt x="130" y="2"/>
                  </a:lnTo>
                  <a:lnTo>
                    <a:pt x="129" y="2"/>
                  </a:lnTo>
                  <a:lnTo>
                    <a:pt x="130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37">
              <a:extLst>
                <a:ext uri="{FF2B5EF4-FFF2-40B4-BE49-F238E27FC236}">
                  <a16:creationId xmlns:a16="http://schemas.microsoft.com/office/drawing/2014/main" id="{3BF8DC7A-22F5-497C-8C9E-6E324A3841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24513" y="4602163"/>
              <a:ext cx="454025" cy="277813"/>
            </a:xfrm>
            <a:custGeom>
              <a:avLst/>
              <a:gdLst/>
              <a:ahLst/>
              <a:cxnLst>
                <a:cxn ang="0">
                  <a:pos x="199" y="0"/>
                </a:cxn>
                <a:cxn ang="0">
                  <a:pos x="214" y="3"/>
                </a:cxn>
                <a:cxn ang="0">
                  <a:pos x="223" y="1"/>
                </a:cxn>
                <a:cxn ang="0">
                  <a:pos x="232" y="4"/>
                </a:cxn>
                <a:cxn ang="0">
                  <a:pos x="245" y="13"/>
                </a:cxn>
                <a:cxn ang="0">
                  <a:pos x="261" y="10"/>
                </a:cxn>
                <a:cxn ang="0">
                  <a:pos x="266" y="21"/>
                </a:cxn>
                <a:cxn ang="0">
                  <a:pos x="274" y="28"/>
                </a:cxn>
                <a:cxn ang="0">
                  <a:pos x="285" y="31"/>
                </a:cxn>
                <a:cxn ang="0">
                  <a:pos x="286" y="40"/>
                </a:cxn>
                <a:cxn ang="0">
                  <a:pos x="271" y="51"/>
                </a:cxn>
                <a:cxn ang="0">
                  <a:pos x="256" y="59"/>
                </a:cxn>
                <a:cxn ang="0">
                  <a:pos x="245" y="76"/>
                </a:cxn>
                <a:cxn ang="0">
                  <a:pos x="239" y="89"/>
                </a:cxn>
                <a:cxn ang="0">
                  <a:pos x="235" y="98"/>
                </a:cxn>
                <a:cxn ang="0">
                  <a:pos x="231" y="108"/>
                </a:cxn>
                <a:cxn ang="0">
                  <a:pos x="229" y="117"/>
                </a:cxn>
                <a:cxn ang="0">
                  <a:pos x="219" y="127"/>
                </a:cxn>
                <a:cxn ang="0">
                  <a:pos x="214" y="136"/>
                </a:cxn>
                <a:cxn ang="0">
                  <a:pos x="208" y="145"/>
                </a:cxn>
                <a:cxn ang="0">
                  <a:pos x="201" y="143"/>
                </a:cxn>
                <a:cxn ang="0">
                  <a:pos x="194" y="150"/>
                </a:cxn>
                <a:cxn ang="0">
                  <a:pos x="176" y="150"/>
                </a:cxn>
                <a:cxn ang="0">
                  <a:pos x="164" y="150"/>
                </a:cxn>
                <a:cxn ang="0">
                  <a:pos x="151" y="149"/>
                </a:cxn>
                <a:cxn ang="0">
                  <a:pos x="142" y="154"/>
                </a:cxn>
                <a:cxn ang="0">
                  <a:pos x="134" y="158"/>
                </a:cxn>
                <a:cxn ang="0">
                  <a:pos x="125" y="158"/>
                </a:cxn>
                <a:cxn ang="0">
                  <a:pos x="114" y="166"/>
                </a:cxn>
                <a:cxn ang="0">
                  <a:pos x="107" y="167"/>
                </a:cxn>
                <a:cxn ang="0">
                  <a:pos x="96" y="175"/>
                </a:cxn>
                <a:cxn ang="0">
                  <a:pos x="75" y="173"/>
                </a:cxn>
                <a:cxn ang="0">
                  <a:pos x="56" y="163"/>
                </a:cxn>
                <a:cxn ang="0">
                  <a:pos x="50" y="157"/>
                </a:cxn>
                <a:cxn ang="0">
                  <a:pos x="37" y="147"/>
                </a:cxn>
                <a:cxn ang="0">
                  <a:pos x="27" y="135"/>
                </a:cxn>
                <a:cxn ang="0">
                  <a:pos x="20" y="131"/>
                </a:cxn>
                <a:cxn ang="0">
                  <a:pos x="12" y="121"/>
                </a:cxn>
                <a:cxn ang="0">
                  <a:pos x="9" y="111"/>
                </a:cxn>
                <a:cxn ang="0">
                  <a:pos x="3" y="104"/>
                </a:cxn>
                <a:cxn ang="0">
                  <a:pos x="13" y="98"/>
                </a:cxn>
                <a:cxn ang="0">
                  <a:pos x="16" y="94"/>
                </a:cxn>
                <a:cxn ang="0">
                  <a:pos x="14" y="87"/>
                </a:cxn>
                <a:cxn ang="0">
                  <a:pos x="14" y="77"/>
                </a:cxn>
                <a:cxn ang="0">
                  <a:pos x="22" y="68"/>
                </a:cxn>
                <a:cxn ang="0">
                  <a:pos x="20" y="59"/>
                </a:cxn>
                <a:cxn ang="0">
                  <a:pos x="18" y="55"/>
                </a:cxn>
                <a:cxn ang="0">
                  <a:pos x="25" y="52"/>
                </a:cxn>
                <a:cxn ang="0">
                  <a:pos x="32" y="56"/>
                </a:cxn>
                <a:cxn ang="0">
                  <a:pos x="39" y="46"/>
                </a:cxn>
                <a:cxn ang="0">
                  <a:pos x="43" y="39"/>
                </a:cxn>
                <a:cxn ang="0">
                  <a:pos x="52" y="35"/>
                </a:cxn>
                <a:cxn ang="0">
                  <a:pos x="65" y="47"/>
                </a:cxn>
                <a:cxn ang="0">
                  <a:pos x="103" y="49"/>
                </a:cxn>
                <a:cxn ang="0">
                  <a:pos x="115" y="46"/>
                </a:cxn>
                <a:cxn ang="0">
                  <a:pos x="120" y="32"/>
                </a:cxn>
                <a:cxn ang="0">
                  <a:pos x="143" y="27"/>
                </a:cxn>
                <a:cxn ang="0">
                  <a:pos x="151" y="24"/>
                </a:cxn>
                <a:cxn ang="0">
                  <a:pos x="164" y="26"/>
                </a:cxn>
                <a:cxn ang="0">
                  <a:pos x="170" y="20"/>
                </a:cxn>
                <a:cxn ang="0">
                  <a:pos x="182" y="9"/>
                </a:cxn>
                <a:cxn ang="0">
                  <a:pos x="189" y="2"/>
                </a:cxn>
              </a:cxnLst>
              <a:rect l="0" t="0" r="r" b="b"/>
              <a:pathLst>
                <a:path w="286" h="175">
                  <a:moveTo>
                    <a:pt x="121" y="163"/>
                  </a:moveTo>
                  <a:lnTo>
                    <a:pt x="123" y="163"/>
                  </a:lnTo>
                  <a:lnTo>
                    <a:pt x="123" y="164"/>
                  </a:lnTo>
                  <a:lnTo>
                    <a:pt x="121" y="164"/>
                  </a:lnTo>
                  <a:lnTo>
                    <a:pt x="121" y="163"/>
                  </a:lnTo>
                  <a:close/>
                  <a:moveTo>
                    <a:pt x="198" y="0"/>
                  </a:moveTo>
                  <a:lnTo>
                    <a:pt x="199" y="0"/>
                  </a:lnTo>
                  <a:lnTo>
                    <a:pt x="200" y="1"/>
                  </a:lnTo>
                  <a:lnTo>
                    <a:pt x="202" y="1"/>
                  </a:lnTo>
                  <a:lnTo>
                    <a:pt x="205" y="3"/>
                  </a:lnTo>
                  <a:lnTo>
                    <a:pt x="210" y="3"/>
                  </a:lnTo>
                  <a:lnTo>
                    <a:pt x="211" y="4"/>
                  </a:lnTo>
                  <a:lnTo>
                    <a:pt x="212" y="4"/>
                  </a:lnTo>
                  <a:lnTo>
                    <a:pt x="214" y="3"/>
                  </a:lnTo>
                  <a:lnTo>
                    <a:pt x="218" y="3"/>
                  </a:lnTo>
                  <a:lnTo>
                    <a:pt x="218" y="4"/>
                  </a:lnTo>
                  <a:lnTo>
                    <a:pt x="219" y="3"/>
                  </a:lnTo>
                  <a:lnTo>
                    <a:pt x="219" y="2"/>
                  </a:lnTo>
                  <a:lnTo>
                    <a:pt x="220" y="2"/>
                  </a:lnTo>
                  <a:lnTo>
                    <a:pt x="220" y="1"/>
                  </a:lnTo>
                  <a:lnTo>
                    <a:pt x="223" y="1"/>
                  </a:lnTo>
                  <a:lnTo>
                    <a:pt x="225" y="0"/>
                  </a:lnTo>
                  <a:lnTo>
                    <a:pt x="225" y="1"/>
                  </a:lnTo>
                  <a:lnTo>
                    <a:pt x="227" y="1"/>
                  </a:lnTo>
                  <a:lnTo>
                    <a:pt x="227" y="2"/>
                  </a:lnTo>
                  <a:lnTo>
                    <a:pt x="229" y="2"/>
                  </a:lnTo>
                  <a:lnTo>
                    <a:pt x="229" y="4"/>
                  </a:lnTo>
                  <a:lnTo>
                    <a:pt x="232" y="4"/>
                  </a:lnTo>
                  <a:lnTo>
                    <a:pt x="232" y="6"/>
                  </a:lnTo>
                  <a:lnTo>
                    <a:pt x="233" y="8"/>
                  </a:lnTo>
                  <a:lnTo>
                    <a:pt x="236" y="12"/>
                  </a:lnTo>
                  <a:lnTo>
                    <a:pt x="239" y="15"/>
                  </a:lnTo>
                  <a:lnTo>
                    <a:pt x="240" y="14"/>
                  </a:lnTo>
                  <a:lnTo>
                    <a:pt x="243" y="13"/>
                  </a:lnTo>
                  <a:lnTo>
                    <a:pt x="245" y="13"/>
                  </a:lnTo>
                  <a:lnTo>
                    <a:pt x="246" y="12"/>
                  </a:lnTo>
                  <a:lnTo>
                    <a:pt x="254" y="12"/>
                  </a:lnTo>
                  <a:lnTo>
                    <a:pt x="255" y="10"/>
                  </a:lnTo>
                  <a:lnTo>
                    <a:pt x="256" y="10"/>
                  </a:lnTo>
                  <a:lnTo>
                    <a:pt x="256" y="9"/>
                  </a:lnTo>
                  <a:lnTo>
                    <a:pt x="260" y="9"/>
                  </a:lnTo>
                  <a:lnTo>
                    <a:pt x="261" y="10"/>
                  </a:lnTo>
                  <a:lnTo>
                    <a:pt x="260" y="12"/>
                  </a:lnTo>
                  <a:lnTo>
                    <a:pt x="260" y="13"/>
                  </a:lnTo>
                  <a:lnTo>
                    <a:pt x="262" y="13"/>
                  </a:lnTo>
                  <a:lnTo>
                    <a:pt x="262" y="18"/>
                  </a:lnTo>
                  <a:lnTo>
                    <a:pt x="264" y="20"/>
                  </a:lnTo>
                  <a:lnTo>
                    <a:pt x="264" y="21"/>
                  </a:lnTo>
                  <a:lnTo>
                    <a:pt x="266" y="21"/>
                  </a:lnTo>
                  <a:lnTo>
                    <a:pt x="266" y="20"/>
                  </a:lnTo>
                  <a:lnTo>
                    <a:pt x="267" y="21"/>
                  </a:lnTo>
                  <a:lnTo>
                    <a:pt x="268" y="21"/>
                  </a:lnTo>
                  <a:lnTo>
                    <a:pt x="269" y="20"/>
                  </a:lnTo>
                  <a:lnTo>
                    <a:pt x="273" y="25"/>
                  </a:lnTo>
                  <a:lnTo>
                    <a:pt x="273" y="26"/>
                  </a:lnTo>
                  <a:lnTo>
                    <a:pt x="274" y="28"/>
                  </a:lnTo>
                  <a:lnTo>
                    <a:pt x="274" y="30"/>
                  </a:lnTo>
                  <a:lnTo>
                    <a:pt x="279" y="30"/>
                  </a:lnTo>
                  <a:lnTo>
                    <a:pt x="280" y="28"/>
                  </a:lnTo>
                  <a:lnTo>
                    <a:pt x="281" y="28"/>
                  </a:lnTo>
                  <a:lnTo>
                    <a:pt x="281" y="30"/>
                  </a:lnTo>
                  <a:lnTo>
                    <a:pt x="283" y="30"/>
                  </a:lnTo>
                  <a:lnTo>
                    <a:pt x="285" y="31"/>
                  </a:lnTo>
                  <a:lnTo>
                    <a:pt x="285" y="32"/>
                  </a:lnTo>
                  <a:lnTo>
                    <a:pt x="286" y="33"/>
                  </a:lnTo>
                  <a:lnTo>
                    <a:pt x="286" y="34"/>
                  </a:lnTo>
                  <a:lnTo>
                    <a:pt x="285" y="35"/>
                  </a:lnTo>
                  <a:lnTo>
                    <a:pt x="285" y="38"/>
                  </a:lnTo>
                  <a:lnTo>
                    <a:pt x="286" y="39"/>
                  </a:lnTo>
                  <a:lnTo>
                    <a:pt x="286" y="40"/>
                  </a:lnTo>
                  <a:lnTo>
                    <a:pt x="283" y="43"/>
                  </a:lnTo>
                  <a:lnTo>
                    <a:pt x="282" y="43"/>
                  </a:lnTo>
                  <a:lnTo>
                    <a:pt x="281" y="44"/>
                  </a:lnTo>
                  <a:lnTo>
                    <a:pt x="281" y="46"/>
                  </a:lnTo>
                  <a:lnTo>
                    <a:pt x="280" y="46"/>
                  </a:lnTo>
                  <a:lnTo>
                    <a:pt x="275" y="51"/>
                  </a:lnTo>
                  <a:lnTo>
                    <a:pt x="271" y="51"/>
                  </a:lnTo>
                  <a:lnTo>
                    <a:pt x="268" y="49"/>
                  </a:lnTo>
                  <a:lnTo>
                    <a:pt x="267" y="50"/>
                  </a:lnTo>
                  <a:lnTo>
                    <a:pt x="267" y="52"/>
                  </a:lnTo>
                  <a:lnTo>
                    <a:pt x="262" y="52"/>
                  </a:lnTo>
                  <a:lnTo>
                    <a:pt x="257" y="57"/>
                  </a:lnTo>
                  <a:lnTo>
                    <a:pt x="257" y="58"/>
                  </a:lnTo>
                  <a:lnTo>
                    <a:pt x="256" y="59"/>
                  </a:lnTo>
                  <a:lnTo>
                    <a:pt x="256" y="62"/>
                  </a:lnTo>
                  <a:lnTo>
                    <a:pt x="251" y="64"/>
                  </a:lnTo>
                  <a:lnTo>
                    <a:pt x="250" y="67"/>
                  </a:lnTo>
                  <a:lnTo>
                    <a:pt x="249" y="68"/>
                  </a:lnTo>
                  <a:lnTo>
                    <a:pt x="249" y="75"/>
                  </a:lnTo>
                  <a:lnTo>
                    <a:pt x="246" y="76"/>
                  </a:lnTo>
                  <a:lnTo>
                    <a:pt x="245" y="76"/>
                  </a:lnTo>
                  <a:lnTo>
                    <a:pt x="245" y="77"/>
                  </a:lnTo>
                  <a:lnTo>
                    <a:pt x="243" y="80"/>
                  </a:lnTo>
                  <a:lnTo>
                    <a:pt x="243" y="83"/>
                  </a:lnTo>
                  <a:lnTo>
                    <a:pt x="242" y="84"/>
                  </a:lnTo>
                  <a:lnTo>
                    <a:pt x="242" y="88"/>
                  </a:lnTo>
                  <a:lnTo>
                    <a:pt x="240" y="89"/>
                  </a:lnTo>
                  <a:lnTo>
                    <a:pt x="239" y="89"/>
                  </a:lnTo>
                  <a:lnTo>
                    <a:pt x="239" y="92"/>
                  </a:lnTo>
                  <a:lnTo>
                    <a:pt x="238" y="93"/>
                  </a:lnTo>
                  <a:lnTo>
                    <a:pt x="236" y="94"/>
                  </a:lnTo>
                  <a:lnTo>
                    <a:pt x="236" y="95"/>
                  </a:lnTo>
                  <a:lnTo>
                    <a:pt x="233" y="96"/>
                  </a:lnTo>
                  <a:lnTo>
                    <a:pt x="233" y="98"/>
                  </a:lnTo>
                  <a:lnTo>
                    <a:pt x="235" y="98"/>
                  </a:lnTo>
                  <a:lnTo>
                    <a:pt x="236" y="99"/>
                  </a:lnTo>
                  <a:lnTo>
                    <a:pt x="235" y="99"/>
                  </a:lnTo>
                  <a:lnTo>
                    <a:pt x="235" y="102"/>
                  </a:lnTo>
                  <a:lnTo>
                    <a:pt x="232" y="104"/>
                  </a:lnTo>
                  <a:lnTo>
                    <a:pt x="232" y="107"/>
                  </a:lnTo>
                  <a:lnTo>
                    <a:pt x="231" y="107"/>
                  </a:lnTo>
                  <a:lnTo>
                    <a:pt x="231" y="108"/>
                  </a:lnTo>
                  <a:lnTo>
                    <a:pt x="230" y="108"/>
                  </a:lnTo>
                  <a:lnTo>
                    <a:pt x="229" y="110"/>
                  </a:lnTo>
                  <a:lnTo>
                    <a:pt x="227" y="113"/>
                  </a:lnTo>
                  <a:lnTo>
                    <a:pt x="226" y="114"/>
                  </a:lnTo>
                  <a:lnTo>
                    <a:pt x="227" y="114"/>
                  </a:lnTo>
                  <a:lnTo>
                    <a:pt x="229" y="115"/>
                  </a:lnTo>
                  <a:lnTo>
                    <a:pt x="229" y="117"/>
                  </a:lnTo>
                  <a:lnTo>
                    <a:pt x="227" y="118"/>
                  </a:lnTo>
                  <a:lnTo>
                    <a:pt x="225" y="118"/>
                  </a:lnTo>
                  <a:lnTo>
                    <a:pt x="225" y="120"/>
                  </a:lnTo>
                  <a:lnTo>
                    <a:pt x="224" y="121"/>
                  </a:lnTo>
                  <a:lnTo>
                    <a:pt x="220" y="121"/>
                  </a:lnTo>
                  <a:lnTo>
                    <a:pt x="219" y="123"/>
                  </a:lnTo>
                  <a:lnTo>
                    <a:pt x="219" y="127"/>
                  </a:lnTo>
                  <a:lnTo>
                    <a:pt x="218" y="127"/>
                  </a:lnTo>
                  <a:lnTo>
                    <a:pt x="218" y="130"/>
                  </a:lnTo>
                  <a:lnTo>
                    <a:pt x="219" y="132"/>
                  </a:lnTo>
                  <a:lnTo>
                    <a:pt x="219" y="133"/>
                  </a:lnTo>
                  <a:lnTo>
                    <a:pt x="218" y="135"/>
                  </a:lnTo>
                  <a:lnTo>
                    <a:pt x="215" y="135"/>
                  </a:lnTo>
                  <a:lnTo>
                    <a:pt x="214" y="136"/>
                  </a:lnTo>
                  <a:lnTo>
                    <a:pt x="214" y="139"/>
                  </a:lnTo>
                  <a:lnTo>
                    <a:pt x="213" y="141"/>
                  </a:lnTo>
                  <a:lnTo>
                    <a:pt x="213" y="143"/>
                  </a:lnTo>
                  <a:lnTo>
                    <a:pt x="212" y="142"/>
                  </a:lnTo>
                  <a:lnTo>
                    <a:pt x="211" y="143"/>
                  </a:lnTo>
                  <a:lnTo>
                    <a:pt x="210" y="145"/>
                  </a:lnTo>
                  <a:lnTo>
                    <a:pt x="208" y="145"/>
                  </a:lnTo>
                  <a:lnTo>
                    <a:pt x="207" y="144"/>
                  </a:lnTo>
                  <a:lnTo>
                    <a:pt x="205" y="144"/>
                  </a:lnTo>
                  <a:lnTo>
                    <a:pt x="204" y="143"/>
                  </a:lnTo>
                  <a:lnTo>
                    <a:pt x="202" y="143"/>
                  </a:lnTo>
                  <a:lnTo>
                    <a:pt x="202" y="144"/>
                  </a:lnTo>
                  <a:lnTo>
                    <a:pt x="201" y="144"/>
                  </a:lnTo>
                  <a:lnTo>
                    <a:pt x="201" y="143"/>
                  </a:lnTo>
                  <a:lnTo>
                    <a:pt x="198" y="143"/>
                  </a:lnTo>
                  <a:lnTo>
                    <a:pt x="196" y="145"/>
                  </a:lnTo>
                  <a:lnTo>
                    <a:pt x="195" y="145"/>
                  </a:lnTo>
                  <a:lnTo>
                    <a:pt x="196" y="147"/>
                  </a:lnTo>
                  <a:lnTo>
                    <a:pt x="196" y="148"/>
                  </a:lnTo>
                  <a:lnTo>
                    <a:pt x="194" y="148"/>
                  </a:lnTo>
                  <a:lnTo>
                    <a:pt x="194" y="150"/>
                  </a:lnTo>
                  <a:lnTo>
                    <a:pt x="193" y="151"/>
                  </a:lnTo>
                  <a:lnTo>
                    <a:pt x="189" y="151"/>
                  </a:lnTo>
                  <a:lnTo>
                    <a:pt x="188" y="150"/>
                  </a:lnTo>
                  <a:lnTo>
                    <a:pt x="186" y="149"/>
                  </a:lnTo>
                  <a:lnTo>
                    <a:pt x="184" y="149"/>
                  </a:lnTo>
                  <a:lnTo>
                    <a:pt x="183" y="150"/>
                  </a:lnTo>
                  <a:lnTo>
                    <a:pt x="176" y="150"/>
                  </a:lnTo>
                  <a:lnTo>
                    <a:pt x="175" y="153"/>
                  </a:lnTo>
                  <a:lnTo>
                    <a:pt x="173" y="151"/>
                  </a:lnTo>
                  <a:lnTo>
                    <a:pt x="171" y="150"/>
                  </a:lnTo>
                  <a:lnTo>
                    <a:pt x="171" y="151"/>
                  </a:lnTo>
                  <a:lnTo>
                    <a:pt x="170" y="151"/>
                  </a:lnTo>
                  <a:lnTo>
                    <a:pt x="170" y="150"/>
                  </a:lnTo>
                  <a:lnTo>
                    <a:pt x="164" y="150"/>
                  </a:lnTo>
                  <a:lnTo>
                    <a:pt x="162" y="149"/>
                  </a:lnTo>
                  <a:lnTo>
                    <a:pt x="161" y="150"/>
                  </a:lnTo>
                  <a:lnTo>
                    <a:pt x="159" y="150"/>
                  </a:lnTo>
                  <a:lnTo>
                    <a:pt x="156" y="151"/>
                  </a:lnTo>
                  <a:lnTo>
                    <a:pt x="155" y="151"/>
                  </a:lnTo>
                  <a:lnTo>
                    <a:pt x="152" y="150"/>
                  </a:lnTo>
                  <a:lnTo>
                    <a:pt x="151" y="149"/>
                  </a:lnTo>
                  <a:lnTo>
                    <a:pt x="146" y="149"/>
                  </a:lnTo>
                  <a:lnTo>
                    <a:pt x="145" y="150"/>
                  </a:lnTo>
                  <a:lnTo>
                    <a:pt x="144" y="150"/>
                  </a:lnTo>
                  <a:lnTo>
                    <a:pt x="143" y="151"/>
                  </a:lnTo>
                  <a:lnTo>
                    <a:pt x="144" y="153"/>
                  </a:lnTo>
                  <a:lnTo>
                    <a:pt x="143" y="154"/>
                  </a:lnTo>
                  <a:lnTo>
                    <a:pt x="142" y="154"/>
                  </a:lnTo>
                  <a:lnTo>
                    <a:pt x="142" y="155"/>
                  </a:lnTo>
                  <a:lnTo>
                    <a:pt x="140" y="155"/>
                  </a:lnTo>
                  <a:lnTo>
                    <a:pt x="139" y="156"/>
                  </a:lnTo>
                  <a:lnTo>
                    <a:pt x="139" y="157"/>
                  </a:lnTo>
                  <a:lnTo>
                    <a:pt x="136" y="157"/>
                  </a:lnTo>
                  <a:lnTo>
                    <a:pt x="136" y="158"/>
                  </a:lnTo>
                  <a:lnTo>
                    <a:pt x="134" y="158"/>
                  </a:lnTo>
                  <a:lnTo>
                    <a:pt x="134" y="160"/>
                  </a:lnTo>
                  <a:lnTo>
                    <a:pt x="133" y="161"/>
                  </a:lnTo>
                  <a:lnTo>
                    <a:pt x="132" y="161"/>
                  </a:lnTo>
                  <a:lnTo>
                    <a:pt x="128" y="160"/>
                  </a:lnTo>
                  <a:lnTo>
                    <a:pt x="127" y="160"/>
                  </a:lnTo>
                  <a:lnTo>
                    <a:pt x="127" y="158"/>
                  </a:lnTo>
                  <a:lnTo>
                    <a:pt x="125" y="158"/>
                  </a:lnTo>
                  <a:lnTo>
                    <a:pt x="125" y="162"/>
                  </a:lnTo>
                  <a:lnTo>
                    <a:pt x="121" y="162"/>
                  </a:lnTo>
                  <a:lnTo>
                    <a:pt x="121" y="163"/>
                  </a:lnTo>
                  <a:lnTo>
                    <a:pt x="118" y="163"/>
                  </a:lnTo>
                  <a:lnTo>
                    <a:pt x="118" y="164"/>
                  </a:lnTo>
                  <a:lnTo>
                    <a:pt x="114" y="164"/>
                  </a:lnTo>
                  <a:lnTo>
                    <a:pt x="114" y="166"/>
                  </a:lnTo>
                  <a:lnTo>
                    <a:pt x="113" y="166"/>
                  </a:lnTo>
                  <a:lnTo>
                    <a:pt x="113" y="167"/>
                  </a:lnTo>
                  <a:lnTo>
                    <a:pt x="111" y="166"/>
                  </a:lnTo>
                  <a:lnTo>
                    <a:pt x="109" y="164"/>
                  </a:lnTo>
                  <a:lnTo>
                    <a:pt x="108" y="164"/>
                  </a:lnTo>
                  <a:lnTo>
                    <a:pt x="107" y="166"/>
                  </a:lnTo>
                  <a:lnTo>
                    <a:pt x="107" y="167"/>
                  </a:lnTo>
                  <a:lnTo>
                    <a:pt x="105" y="169"/>
                  </a:lnTo>
                  <a:lnTo>
                    <a:pt x="105" y="170"/>
                  </a:lnTo>
                  <a:lnTo>
                    <a:pt x="102" y="172"/>
                  </a:lnTo>
                  <a:lnTo>
                    <a:pt x="101" y="173"/>
                  </a:lnTo>
                  <a:lnTo>
                    <a:pt x="101" y="172"/>
                  </a:lnTo>
                  <a:lnTo>
                    <a:pt x="97" y="175"/>
                  </a:lnTo>
                  <a:lnTo>
                    <a:pt x="96" y="175"/>
                  </a:lnTo>
                  <a:lnTo>
                    <a:pt x="96" y="174"/>
                  </a:lnTo>
                  <a:lnTo>
                    <a:pt x="92" y="174"/>
                  </a:lnTo>
                  <a:lnTo>
                    <a:pt x="90" y="173"/>
                  </a:lnTo>
                  <a:lnTo>
                    <a:pt x="83" y="173"/>
                  </a:lnTo>
                  <a:lnTo>
                    <a:pt x="80" y="172"/>
                  </a:lnTo>
                  <a:lnTo>
                    <a:pt x="75" y="172"/>
                  </a:lnTo>
                  <a:lnTo>
                    <a:pt x="75" y="173"/>
                  </a:lnTo>
                  <a:lnTo>
                    <a:pt x="72" y="170"/>
                  </a:lnTo>
                  <a:lnTo>
                    <a:pt x="68" y="169"/>
                  </a:lnTo>
                  <a:lnTo>
                    <a:pt x="65" y="169"/>
                  </a:lnTo>
                  <a:lnTo>
                    <a:pt x="65" y="166"/>
                  </a:lnTo>
                  <a:lnTo>
                    <a:pt x="62" y="162"/>
                  </a:lnTo>
                  <a:lnTo>
                    <a:pt x="56" y="162"/>
                  </a:lnTo>
                  <a:lnTo>
                    <a:pt x="56" y="163"/>
                  </a:lnTo>
                  <a:lnTo>
                    <a:pt x="55" y="162"/>
                  </a:lnTo>
                  <a:lnTo>
                    <a:pt x="52" y="162"/>
                  </a:lnTo>
                  <a:lnTo>
                    <a:pt x="52" y="161"/>
                  </a:lnTo>
                  <a:lnTo>
                    <a:pt x="51" y="161"/>
                  </a:lnTo>
                  <a:lnTo>
                    <a:pt x="51" y="158"/>
                  </a:lnTo>
                  <a:lnTo>
                    <a:pt x="50" y="158"/>
                  </a:lnTo>
                  <a:lnTo>
                    <a:pt x="50" y="157"/>
                  </a:lnTo>
                  <a:lnTo>
                    <a:pt x="47" y="153"/>
                  </a:lnTo>
                  <a:lnTo>
                    <a:pt x="46" y="153"/>
                  </a:lnTo>
                  <a:lnTo>
                    <a:pt x="43" y="151"/>
                  </a:lnTo>
                  <a:lnTo>
                    <a:pt x="40" y="150"/>
                  </a:lnTo>
                  <a:lnTo>
                    <a:pt x="40" y="149"/>
                  </a:lnTo>
                  <a:lnTo>
                    <a:pt x="39" y="149"/>
                  </a:lnTo>
                  <a:lnTo>
                    <a:pt x="37" y="147"/>
                  </a:lnTo>
                  <a:lnTo>
                    <a:pt x="34" y="142"/>
                  </a:lnTo>
                  <a:lnTo>
                    <a:pt x="33" y="142"/>
                  </a:lnTo>
                  <a:lnTo>
                    <a:pt x="33" y="138"/>
                  </a:lnTo>
                  <a:lnTo>
                    <a:pt x="32" y="137"/>
                  </a:lnTo>
                  <a:lnTo>
                    <a:pt x="32" y="136"/>
                  </a:lnTo>
                  <a:lnTo>
                    <a:pt x="28" y="136"/>
                  </a:lnTo>
                  <a:lnTo>
                    <a:pt x="27" y="135"/>
                  </a:lnTo>
                  <a:lnTo>
                    <a:pt x="26" y="135"/>
                  </a:lnTo>
                  <a:lnTo>
                    <a:pt x="25" y="133"/>
                  </a:lnTo>
                  <a:lnTo>
                    <a:pt x="25" y="132"/>
                  </a:lnTo>
                  <a:lnTo>
                    <a:pt x="22" y="130"/>
                  </a:lnTo>
                  <a:lnTo>
                    <a:pt x="21" y="130"/>
                  </a:lnTo>
                  <a:lnTo>
                    <a:pt x="21" y="131"/>
                  </a:lnTo>
                  <a:lnTo>
                    <a:pt x="20" y="131"/>
                  </a:lnTo>
                  <a:lnTo>
                    <a:pt x="20" y="130"/>
                  </a:lnTo>
                  <a:lnTo>
                    <a:pt x="18" y="129"/>
                  </a:lnTo>
                  <a:lnTo>
                    <a:pt x="18" y="126"/>
                  </a:lnTo>
                  <a:lnTo>
                    <a:pt x="15" y="125"/>
                  </a:lnTo>
                  <a:lnTo>
                    <a:pt x="14" y="123"/>
                  </a:lnTo>
                  <a:lnTo>
                    <a:pt x="13" y="121"/>
                  </a:lnTo>
                  <a:lnTo>
                    <a:pt x="12" y="121"/>
                  </a:lnTo>
                  <a:lnTo>
                    <a:pt x="12" y="119"/>
                  </a:lnTo>
                  <a:lnTo>
                    <a:pt x="13" y="119"/>
                  </a:lnTo>
                  <a:lnTo>
                    <a:pt x="13" y="117"/>
                  </a:lnTo>
                  <a:lnTo>
                    <a:pt x="12" y="117"/>
                  </a:lnTo>
                  <a:lnTo>
                    <a:pt x="9" y="114"/>
                  </a:lnTo>
                  <a:lnTo>
                    <a:pt x="8" y="112"/>
                  </a:lnTo>
                  <a:lnTo>
                    <a:pt x="9" y="111"/>
                  </a:lnTo>
                  <a:lnTo>
                    <a:pt x="9" y="108"/>
                  </a:lnTo>
                  <a:lnTo>
                    <a:pt x="7" y="106"/>
                  </a:lnTo>
                  <a:lnTo>
                    <a:pt x="3" y="107"/>
                  </a:lnTo>
                  <a:lnTo>
                    <a:pt x="0" y="107"/>
                  </a:lnTo>
                  <a:lnTo>
                    <a:pt x="1" y="106"/>
                  </a:lnTo>
                  <a:lnTo>
                    <a:pt x="2" y="104"/>
                  </a:lnTo>
                  <a:lnTo>
                    <a:pt x="3" y="104"/>
                  </a:lnTo>
                  <a:lnTo>
                    <a:pt x="5" y="102"/>
                  </a:lnTo>
                  <a:lnTo>
                    <a:pt x="6" y="102"/>
                  </a:lnTo>
                  <a:lnTo>
                    <a:pt x="6" y="100"/>
                  </a:lnTo>
                  <a:lnTo>
                    <a:pt x="7" y="100"/>
                  </a:lnTo>
                  <a:lnTo>
                    <a:pt x="7" y="99"/>
                  </a:lnTo>
                  <a:lnTo>
                    <a:pt x="8" y="98"/>
                  </a:lnTo>
                  <a:lnTo>
                    <a:pt x="13" y="98"/>
                  </a:lnTo>
                  <a:lnTo>
                    <a:pt x="13" y="99"/>
                  </a:lnTo>
                  <a:lnTo>
                    <a:pt x="15" y="99"/>
                  </a:lnTo>
                  <a:lnTo>
                    <a:pt x="16" y="98"/>
                  </a:lnTo>
                  <a:lnTo>
                    <a:pt x="15" y="96"/>
                  </a:lnTo>
                  <a:lnTo>
                    <a:pt x="14" y="96"/>
                  </a:lnTo>
                  <a:lnTo>
                    <a:pt x="16" y="95"/>
                  </a:lnTo>
                  <a:lnTo>
                    <a:pt x="16" y="94"/>
                  </a:lnTo>
                  <a:lnTo>
                    <a:pt x="15" y="94"/>
                  </a:lnTo>
                  <a:lnTo>
                    <a:pt x="15" y="92"/>
                  </a:lnTo>
                  <a:lnTo>
                    <a:pt x="16" y="92"/>
                  </a:lnTo>
                  <a:lnTo>
                    <a:pt x="18" y="90"/>
                  </a:lnTo>
                  <a:lnTo>
                    <a:pt x="18" y="89"/>
                  </a:lnTo>
                  <a:lnTo>
                    <a:pt x="14" y="89"/>
                  </a:lnTo>
                  <a:lnTo>
                    <a:pt x="14" y="87"/>
                  </a:lnTo>
                  <a:lnTo>
                    <a:pt x="13" y="87"/>
                  </a:lnTo>
                  <a:lnTo>
                    <a:pt x="13" y="86"/>
                  </a:lnTo>
                  <a:lnTo>
                    <a:pt x="14" y="84"/>
                  </a:lnTo>
                  <a:lnTo>
                    <a:pt x="14" y="83"/>
                  </a:lnTo>
                  <a:lnTo>
                    <a:pt x="16" y="81"/>
                  </a:lnTo>
                  <a:lnTo>
                    <a:pt x="15" y="80"/>
                  </a:lnTo>
                  <a:lnTo>
                    <a:pt x="14" y="77"/>
                  </a:lnTo>
                  <a:lnTo>
                    <a:pt x="14" y="74"/>
                  </a:lnTo>
                  <a:lnTo>
                    <a:pt x="15" y="73"/>
                  </a:lnTo>
                  <a:lnTo>
                    <a:pt x="16" y="74"/>
                  </a:lnTo>
                  <a:lnTo>
                    <a:pt x="21" y="71"/>
                  </a:lnTo>
                  <a:lnTo>
                    <a:pt x="22" y="70"/>
                  </a:lnTo>
                  <a:lnTo>
                    <a:pt x="24" y="70"/>
                  </a:lnTo>
                  <a:lnTo>
                    <a:pt x="22" y="68"/>
                  </a:lnTo>
                  <a:lnTo>
                    <a:pt x="24" y="67"/>
                  </a:lnTo>
                  <a:lnTo>
                    <a:pt x="25" y="67"/>
                  </a:lnTo>
                  <a:lnTo>
                    <a:pt x="25" y="64"/>
                  </a:lnTo>
                  <a:lnTo>
                    <a:pt x="24" y="63"/>
                  </a:lnTo>
                  <a:lnTo>
                    <a:pt x="24" y="61"/>
                  </a:lnTo>
                  <a:lnTo>
                    <a:pt x="22" y="59"/>
                  </a:lnTo>
                  <a:lnTo>
                    <a:pt x="20" y="59"/>
                  </a:lnTo>
                  <a:lnTo>
                    <a:pt x="18" y="58"/>
                  </a:lnTo>
                  <a:lnTo>
                    <a:pt x="16" y="58"/>
                  </a:lnTo>
                  <a:lnTo>
                    <a:pt x="14" y="57"/>
                  </a:lnTo>
                  <a:lnTo>
                    <a:pt x="14" y="55"/>
                  </a:lnTo>
                  <a:lnTo>
                    <a:pt x="15" y="56"/>
                  </a:lnTo>
                  <a:lnTo>
                    <a:pt x="16" y="55"/>
                  </a:lnTo>
                  <a:lnTo>
                    <a:pt x="18" y="55"/>
                  </a:lnTo>
                  <a:lnTo>
                    <a:pt x="18" y="53"/>
                  </a:lnTo>
                  <a:lnTo>
                    <a:pt x="19" y="53"/>
                  </a:lnTo>
                  <a:lnTo>
                    <a:pt x="18" y="52"/>
                  </a:lnTo>
                  <a:lnTo>
                    <a:pt x="19" y="52"/>
                  </a:lnTo>
                  <a:lnTo>
                    <a:pt x="20" y="51"/>
                  </a:lnTo>
                  <a:lnTo>
                    <a:pt x="21" y="51"/>
                  </a:lnTo>
                  <a:lnTo>
                    <a:pt x="25" y="52"/>
                  </a:lnTo>
                  <a:lnTo>
                    <a:pt x="26" y="53"/>
                  </a:lnTo>
                  <a:lnTo>
                    <a:pt x="26" y="55"/>
                  </a:lnTo>
                  <a:lnTo>
                    <a:pt x="27" y="56"/>
                  </a:lnTo>
                  <a:lnTo>
                    <a:pt x="31" y="56"/>
                  </a:lnTo>
                  <a:lnTo>
                    <a:pt x="31" y="55"/>
                  </a:lnTo>
                  <a:lnTo>
                    <a:pt x="32" y="53"/>
                  </a:lnTo>
                  <a:lnTo>
                    <a:pt x="32" y="56"/>
                  </a:lnTo>
                  <a:lnTo>
                    <a:pt x="34" y="56"/>
                  </a:lnTo>
                  <a:lnTo>
                    <a:pt x="38" y="55"/>
                  </a:lnTo>
                  <a:lnTo>
                    <a:pt x="41" y="55"/>
                  </a:lnTo>
                  <a:lnTo>
                    <a:pt x="41" y="53"/>
                  </a:lnTo>
                  <a:lnTo>
                    <a:pt x="40" y="53"/>
                  </a:lnTo>
                  <a:lnTo>
                    <a:pt x="40" y="46"/>
                  </a:lnTo>
                  <a:lnTo>
                    <a:pt x="39" y="46"/>
                  </a:lnTo>
                  <a:lnTo>
                    <a:pt x="39" y="45"/>
                  </a:lnTo>
                  <a:lnTo>
                    <a:pt x="38" y="45"/>
                  </a:lnTo>
                  <a:lnTo>
                    <a:pt x="38" y="44"/>
                  </a:lnTo>
                  <a:lnTo>
                    <a:pt x="40" y="44"/>
                  </a:lnTo>
                  <a:lnTo>
                    <a:pt x="41" y="43"/>
                  </a:lnTo>
                  <a:lnTo>
                    <a:pt x="41" y="39"/>
                  </a:lnTo>
                  <a:lnTo>
                    <a:pt x="43" y="39"/>
                  </a:lnTo>
                  <a:lnTo>
                    <a:pt x="43" y="38"/>
                  </a:lnTo>
                  <a:lnTo>
                    <a:pt x="41" y="38"/>
                  </a:lnTo>
                  <a:lnTo>
                    <a:pt x="44" y="35"/>
                  </a:lnTo>
                  <a:lnTo>
                    <a:pt x="46" y="34"/>
                  </a:lnTo>
                  <a:lnTo>
                    <a:pt x="47" y="34"/>
                  </a:lnTo>
                  <a:lnTo>
                    <a:pt x="50" y="35"/>
                  </a:lnTo>
                  <a:lnTo>
                    <a:pt x="52" y="35"/>
                  </a:lnTo>
                  <a:lnTo>
                    <a:pt x="53" y="37"/>
                  </a:lnTo>
                  <a:lnTo>
                    <a:pt x="58" y="43"/>
                  </a:lnTo>
                  <a:lnTo>
                    <a:pt x="59" y="44"/>
                  </a:lnTo>
                  <a:lnTo>
                    <a:pt x="61" y="44"/>
                  </a:lnTo>
                  <a:lnTo>
                    <a:pt x="62" y="46"/>
                  </a:lnTo>
                  <a:lnTo>
                    <a:pt x="64" y="46"/>
                  </a:lnTo>
                  <a:lnTo>
                    <a:pt x="65" y="47"/>
                  </a:lnTo>
                  <a:lnTo>
                    <a:pt x="66" y="47"/>
                  </a:lnTo>
                  <a:lnTo>
                    <a:pt x="66" y="49"/>
                  </a:lnTo>
                  <a:lnTo>
                    <a:pt x="69" y="50"/>
                  </a:lnTo>
                  <a:lnTo>
                    <a:pt x="70" y="51"/>
                  </a:lnTo>
                  <a:lnTo>
                    <a:pt x="92" y="51"/>
                  </a:lnTo>
                  <a:lnTo>
                    <a:pt x="95" y="50"/>
                  </a:lnTo>
                  <a:lnTo>
                    <a:pt x="103" y="49"/>
                  </a:lnTo>
                  <a:lnTo>
                    <a:pt x="106" y="49"/>
                  </a:lnTo>
                  <a:lnTo>
                    <a:pt x="107" y="50"/>
                  </a:lnTo>
                  <a:lnTo>
                    <a:pt x="109" y="50"/>
                  </a:lnTo>
                  <a:lnTo>
                    <a:pt x="112" y="47"/>
                  </a:lnTo>
                  <a:lnTo>
                    <a:pt x="113" y="47"/>
                  </a:lnTo>
                  <a:lnTo>
                    <a:pt x="114" y="46"/>
                  </a:lnTo>
                  <a:lnTo>
                    <a:pt x="115" y="46"/>
                  </a:lnTo>
                  <a:lnTo>
                    <a:pt x="113" y="45"/>
                  </a:lnTo>
                  <a:lnTo>
                    <a:pt x="112" y="44"/>
                  </a:lnTo>
                  <a:lnTo>
                    <a:pt x="112" y="37"/>
                  </a:lnTo>
                  <a:lnTo>
                    <a:pt x="114" y="37"/>
                  </a:lnTo>
                  <a:lnTo>
                    <a:pt x="115" y="34"/>
                  </a:lnTo>
                  <a:lnTo>
                    <a:pt x="115" y="33"/>
                  </a:lnTo>
                  <a:lnTo>
                    <a:pt x="120" y="32"/>
                  </a:lnTo>
                  <a:lnTo>
                    <a:pt x="124" y="32"/>
                  </a:lnTo>
                  <a:lnTo>
                    <a:pt x="127" y="31"/>
                  </a:lnTo>
                  <a:lnTo>
                    <a:pt x="132" y="32"/>
                  </a:lnTo>
                  <a:lnTo>
                    <a:pt x="134" y="31"/>
                  </a:lnTo>
                  <a:lnTo>
                    <a:pt x="140" y="31"/>
                  </a:lnTo>
                  <a:lnTo>
                    <a:pt x="143" y="28"/>
                  </a:lnTo>
                  <a:lnTo>
                    <a:pt x="143" y="27"/>
                  </a:lnTo>
                  <a:lnTo>
                    <a:pt x="144" y="26"/>
                  </a:lnTo>
                  <a:lnTo>
                    <a:pt x="144" y="22"/>
                  </a:lnTo>
                  <a:lnTo>
                    <a:pt x="145" y="22"/>
                  </a:lnTo>
                  <a:lnTo>
                    <a:pt x="149" y="21"/>
                  </a:lnTo>
                  <a:lnTo>
                    <a:pt x="150" y="21"/>
                  </a:lnTo>
                  <a:lnTo>
                    <a:pt x="150" y="22"/>
                  </a:lnTo>
                  <a:lnTo>
                    <a:pt x="151" y="24"/>
                  </a:lnTo>
                  <a:lnTo>
                    <a:pt x="153" y="22"/>
                  </a:lnTo>
                  <a:lnTo>
                    <a:pt x="155" y="24"/>
                  </a:lnTo>
                  <a:lnTo>
                    <a:pt x="155" y="26"/>
                  </a:lnTo>
                  <a:lnTo>
                    <a:pt x="158" y="26"/>
                  </a:lnTo>
                  <a:lnTo>
                    <a:pt x="161" y="28"/>
                  </a:lnTo>
                  <a:lnTo>
                    <a:pt x="162" y="27"/>
                  </a:lnTo>
                  <a:lnTo>
                    <a:pt x="164" y="26"/>
                  </a:lnTo>
                  <a:lnTo>
                    <a:pt x="164" y="25"/>
                  </a:lnTo>
                  <a:lnTo>
                    <a:pt x="167" y="25"/>
                  </a:lnTo>
                  <a:lnTo>
                    <a:pt x="168" y="24"/>
                  </a:lnTo>
                  <a:lnTo>
                    <a:pt x="169" y="24"/>
                  </a:lnTo>
                  <a:lnTo>
                    <a:pt x="169" y="22"/>
                  </a:lnTo>
                  <a:lnTo>
                    <a:pt x="170" y="21"/>
                  </a:lnTo>
                  <a:lnTo>
                    <a:pt x="170" y="20"/>
                  </a:lnTo>
                  <a:lnTo>
                    <a:pt x="173" y="20"/>
                  </a:lnTo>
                  <a:lnTo>
                    <a:pt x="174" y="19"/>
                  </a:lnTo>
                  <a:lnTo>
                    <a:pt x="175" y="19"/>
                  </a:lnTo>
                  <a:lnTo>
                    <a:pt x="176" y="20"/>
                  </a:lnTo>
                  <a:lnTo>
                    <a:pt x="180" y="16"/>
                  </a:lnTo>
                  <a:lnTo>
                    <a:pt x="181" y="14"/>
                  </a:lnTo>
                  <a:lnTo>
                    <a:pt x="182" y="9"/>
                  </a:lnTo>
                  <a:lnTo>
                    <a:pt x="182" y="8"/>
                  </a:lnTo>
                  <a:lnTo>
                    <a:pt x="183" y="8"/>
                  </a:lnTo>
                  <a:lnTo>
                    <a:pt x="186" y="6"/>
                  </a:lnTo>
                  <a:lnTo>
                    <a:pt x="186" y="4"/>
                  </a:lnTo>
                  <a:lnTo>
                    <a:pt x="184" y="3"/>
                  </a:lnTo>
                  <a:lnTo>
                    <a:pt x="186" y="2"/>
                  </a:lnTo>
                  <a:lnTo>
                    <a:pt x="189" y="2"/>
                  </a:lnTo>
                  <a:lnTo>
                    <a:pt x="198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38">
              <a:extLst>
                <a:ext uri="{FF2B5EF4-FFF2-40B4-BE49-F238E27FC236}">
                  <a16:creationId xmlns:a16="http://schemas.microsoft.com/office/drawing/2014/main" id="{509CF877-DB59-4D2E-9FA8-5D22258FDF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62638" y="5249863"/>
              <a:ext cx="574675" cy="592138"/>
            </a:xfrm>
            <a:custGeom>
              <a:avLst/>
              <a:gdLst/>
              <a:ahLst/>
              <a:cxnLst>
                <a:cxn ang="0">
                  <a:pos x="191" y="339"/>
                </a:cxn>
                <a:cxn ang="0">
                  <a:pos x="268" y="351"/>
                </a:cxn>
                <a:cxn ang="0">
                  <a:pos x="208" y="357"/>
                </a:cxn>
                <a:cxn ang="0">
                  <a:pos x="318" y="326"/>
                </a:cxn>
                <a:cxn ang="0">
                  <a:pos x="139" y="292"/>
                </a:cxn>
                <a:cxn ang="0">
                  <a:pos x="348" y="313"/>
                </a:cxn>
                <a:cxn ang="0">
                  <a:pos x="329" y="289"/>
                </a:cxn>
                <a:cxn ang="0">
                  <a:pos x="346" y="282"/>
                </a:cxn>
                <a:cxn ang="0">
                  <a:pos x="200" y="274"/>
                </a:cxn>
                <a:cxn ang="0">
                  <a:pos x="211" y="270"/>
                </a:cxn>
                <a:cxn ang="0">
                  <a:pos x="270" y="264"/>
                </a:cxn>
                <a:cxn ang="0">
                  <a:pos x="306" y="255"/>
                </a:cxn>
                <a:cxn ang="0">
                  <a:pos x="232" y="255"/>
                </a:cxn>
                <a:cxn ang="0">
                  <a:pos x="204" y="252"/>
                </a:cxn>
                <a:cxn ang="0">
                  <a:pos x="203" y="238"/>
                </a:cxn>
                <a:cxn ang="0">
                  <a:pos x="162" y="231"/>
                </a:cxn>
                <a:cxn ang="0">
                  <a:pos x="232" y="226"/>
                </a:cxn>
                <a:cxn ang="0">
                  <a:pos x="309" y="219"/>
                </a:cxn>
                <a:cxn ang="0">
                  <a:pos x="50" y="222"/>
                </a:cxn>
                <a:cxn ang="0">
                  <a:pos x="216" y="213"/>
                </a:cxn>
                <a:cxn ang="0">
                  <a:pos x="45" y="185"/>
                </a:cxn>
                <a:cxn ang="0">
                  <a:pos x="38" y="186"/>
                </a:cxn>
                <a:cxn ang="0">
                  <a:pos x="266" y="195"/>
                </a:cxn>
                <a:cxn ang="0">
                  <a:pos x="54" y="172"/>
                </a:cxn>
                <a:cxn ang="0">
                  <a:pos x="141" y="159"/>
                </a:cxn>
                <a:cxn ang="0">
                  <a:pos x="160" y="154"/>
                </a:cxn>
                <a:cxn ang="0">
                  <a:pos x="206" y="208"/>
                </a:cxn>
                <a:cxn ang="0">
                  <a:pos x="161" y="171"/>
                </a:cxn>
                <a:cxn ang="0">
                  <a:pos x="161" y="140"/>
                </a:cxn>
                <a:cxn ang="0">
                  <a:pos x="282" y="133"/>
                </a:cxn>
                <a:cxn ang="0">
                  <a:pos x="280" y="141"/>
                </a:cxn>
                <a:cxn ang="0">
                  <a:pos x="12" y="109"/>
                </a:cxn>
                <a:cxn ang="0">
                  <a:pos x="6" y="108"/>
                </a:cxn>
                <a:cxn ang="0">
                  <a:pos x="229" y="98"/>
                </a:cxn>
                <a:cxn ang="0">
                  <a:pos x="208" y="63"/>
                </a:cxn>
                <a:cxn ang="0">
                  <a:pos x="284" y="41"/>
                </a:cxn>
                <a:cxn ang="0">
                  <a:pos x="225" y="44"/>
                </a:cxn>
                <a:cxn ang="0">
                  <a:pos x="173" y="62"/>
                </a:cxn>
                <a:cxn ang="0">
                  <a:pos x="170" y="79"/>
                </a:cxn>
                <a:cxn ang="0">
                  <a:pos x="156" y="85"/>
                </a:cxn>
                <a:cxn ang="0">
                  <a:pos x="137" y="62"/>
                </a:cxn>
                <a:cxn ang="0">
                  <a:pos x="138" y="120"/>
                </a:cxn>
                <a:cxn ang="0">
                  <a:pos x="136" y="143"/>
                </a:cxn>
                <a:cxn ang="0">
                  <a:pos x="124" y="160"/>
                </a:cxn>
                <a:cxn ang="0">
                  <a:pos x="167" y="182"/>
                </a:cxn>
                <a:cxn ang="0">
                  <a:pos x="180" y="217"/>
                </a:cxn>
                <a:cxn ang="0">
                  <a:pos x="149" y="222"/>
                </a:cxn>
                <a:cxn ang="0">
                  <a:pos x="147" y="240"/>
                </a:cxn>
                <a:cxn ang="0">
                  <a:pos x="143" y="265"/>
                </a:cxn>
                <a:cxn ang="0">
                  <a:pos x="124" y="272"/>
                </a:cxn>
                <a:cxn ang="0">
                  <a:pos x="99" y="258"/>
                </a:cxn>
                <a:cxn ang="0">
                  <a:pos x="67" y="216"/>
                </a:cxn>
                <a:cxn ang="0">
                  <a:pos x="139" y="209"/>
                </a:cxn>
                <a:cxn ang="0">
                  <a:pos x="129" y="189"/>
                </a:cxn>
                <a:cxn ang="0">
                  <a:pos x="89" y="186"/>
                </a:cxn>
                <a:cxn ang="0">
                  <a:pos x="58" y="174"/>
                </a:cxn>
                <a:cxn ang="0">
                  <a:pos x="61" y="149"/>
                </a:cxn>
                <a:cxn ang="0">
                  <a:pos x="25" y="129"/>
                </a:cxn>
                <a:cxn ang="0">
                  <a:pos x="43" y="92"/>
                </a:cxn>
                <a:cxn ang="0">
                  <a:pos x="94" y="40"/>
                </a:cxn>
                <a:cxn ang="0">
                  <a:pos x="155" y="20"/>
                </a:cxn>
                <a:cxn ang="0">
                  <a:pos x="213" y="19"/>
                </a:cxn>
                <a:cxn ang="0">
                  <a:pos x="275" y="12"/>
                </a:cxn>
              </a:cxnLst>
              <a:rect l="0" t="0" r="r" b="b"/>
              <a:pathLst>
                <a:path w="362" h="373">
                  <a:moveTo>
                    <a:pt x="187" y="369"/>
                  </a:moveTo>
                  <a:lnTo>
                    <a:pt x="188" y="369"/>
                  </a:lnTo>
                  <a:lnTo>
                    <a:pt x="189" y="370"/>
                  </a:lnTo>
                  <a:lnTo>
                    <a:pt x="188" y="370"/>
                  </a:lnTo>
                  <a:lnTo>
                    <a:pt x="188" y="372"/>
                  </a:lnTo>
                  <a:lnTo>
                    <a:pt x="189" y="372"/>
                  </a:lnTo>
                  <a:lnTo>
                    <a:pt x="189" y="373"/>
                  </a:lnTo>
                  <a:lnTo>
                    <a:pt x="188" y="373"/>
                  </a:lnTo>
                  <a:lnTo>
                    <a:pt x="186" y="370"/>
                  </a:lnTo>
                  <a:lnTo>
                    <a:pt x="187" y="370"/>
                  </a:lnTo>
                  <a:lnTo>
                    <a:pt x="187" y="369"/>
                  </a:lnTo>
                  <a:close/>
                  <a:moveTo>
                    <a:pt x="280" y="346"/>
                  </a:moveTo>
                  <a:lnTo>
                    <a:pt x="281" y="346"/>
                  </a:lnTo>
                  <a:lnTo>
                    <a:pt x="281" y="348"/>
                  </a:lnTo>
                  <a:lnTo>
                    <a:pt x="280" y="348"/>
                  </a:lnTo>
                  <a:lnTo>
                    <a:pt x="280" y="346"/>
                  </a:lnTo>
                  <a:close/>
                  <a:moveTo>
                    <a:pt x="309" y="341"/>
                  </a:moveTo>
                  <a:lnTo>
                    <a:pt x="310" y="341"/>
                  </a:lnTo>
                  <a:lnTo>
                    <a:pt x="310" y="343"/>
                  </a:lnTo>
                  <a:lnTo>
                    <a:pt x="307" y="343"/>
                  </a:lnTo>
                  <a:lnTo>
                    <a:pt x="307" y="344"/>
                  </a:lnTo>
                  <a:lnTo>
                    <a:pt x="306" y="344"/>
                  </a:lnTo>
                  <a:lnTo>
                    <a:pt x="305" y="345"/>
                  </a:lnTo>
                  <a:lnTo>
                    <a:pt x="304" y="344"/>
                  </a:lnTo>
                  <a:lnTo>
                    <a:pt x="304" y="343"/>
                  </a:lnTo>
                  <a:lnTo>
                    <a:pt x="305" y="342"/>
                  </a:lnTo>
                  <a:lnTo>
                    <a:pt x="307" y="342"/>
                  </a:lnTo>
                  <a:lnTo>
                    <a:pt x="309" y="341"/>
                  </a:lnTo>
                  <a:close/>
                  <a:moveTo>
                    <a:pt x="173" y="327"/>
                  </a:moveTo>
                  <a:lnTo>
                    <a:pt x="174" y="327"/>
                  </a:lnTo>
                  <a:lnTo>
                    <a:pt x="174" y="333"/>
                  </a:lnTo>
                  <a:lnTo>
                    <a:pt x="176" y="336"/>
                  </a:lnTo>
                  <a:lnTo>
                    <a:pt x="186" y="336"/>
                  </a:lnTo>
                  <a:lnTo>
                    <a:pt x="186" y="335"/>
                  </a:lnTo>
                  <a:lnTo>
                    <a:pt x="187" y="335"/>
                  </a:lnTo>
                  <a:lnTo>
                    <a:pt x="187" y="332"/>
                  </a:lnTo>
                  <a:lnTo>
                    <a:pt x="192" y="332"/>
                  </a:lnTo>
                  <a:lnTo>
                    <a:pt x="192" y="337"/>
                  </a:lnTo>
                  <a:lnTo>
                    <a:pt x="187" y="337"/>
                  </a:lnTo>
                  <a:lnTo>
                    <a:pt x="187" y="338"/>
                  </a:lnTo>
                  <a:lnTo>
                    <a:pt x="189" y="338"/>
                  </a:lnTo>
                  <a:lnTo>
                    <a:pt x="191" y="339"/>
                  </a:lnTo>
                  <a:lnTo>
                    <a:pt x="193" y="339"/>
                  </a:lnTo>
                  <a:lnTo>
                    <a:pt x="194" y="338"/>
                  </a:lnTo>
                  <a:lnTo>
                    <a:pt x="194" y="344"/>
                  </a:lnTo>
                  <a:lnTo>
                    <a:pt x="197" y="344"/>
                  </a:lnTo>
                  <a:lnTo>
                    <a:pt x="198" y="345"/>
                  </a:lnTo>
                  <a:lnTo>
                    <a:pt x="201" y="344"/>
                  </a:lnTo>
                  <a:lnTo>
                    <a:pt x="204" y="344"/>
                  </a:lnTo>
                  <a:lnTo>
                    <a:pt x="207" y="343"/>
                  </a:lnTo>
                  <a:lnTo>
                    <a:pt x="208" y="343"/>
                  </a:lnTo>
                  <a:lnTo>
                    <a:pt x="211" y="342"/>
                  </a:lnTo>
                  <a:lnTo>
                    <a:pt x="212" y="341"/>
                  </a:lnTo>
                  <a:lnTo>
                    <a:pt x="214" y="341"/>
                  </a:lnTo>
                  <a:lnTo>
                    <a:pt x="218" y="342"/>
                  </a:lnTo>
                  <a:lnTo>
                    <a:pt x="220" y="342"/>
                  </a:lnTo>
                  <a:lnTo>
                    <a:pt x="222" y="341"/>
                  </a:lnTo>
                  <a:lnTo>
                    <a:pt x="224" y="342"/>
                  </a:lnTo>
                  <a:lnTo>
                    <a:pt x="224" y="341"/>
                  </a:lnTo>
                  <a:lnTo>
                    <a:pt x="226" y="342"/>
                  </a:lnTo>
                  <a:lnTo>
                    <a:pt x="228" y="342"/>
                  </a:lnTo>
                  <a:lnTo>
                    <a:pt x="228" y="344"/>
                  </a:lnTo>
                  <a:lnTo>
                    <a:pt x="229" y="345"/>
                  </a:lnTo>
                  <a:lnTo>
                    <a:pt x="242" y="345"/>
                  </a:lnTo>
                  <a:lnTo>
                    <a:pt x="242" y="346"/>
                  </a:lnTo>
                  <a:lnTo>
                    <a:pt x="243" y="346"/>
                  </a:lnTo>
                  <a:lnTo>
                    <a:pt x="243" y="348"/>
                  </a:lnTo>
                  <a:lnTo>
                    <a:pt x="247" y="348"/>
                  </a:lnTo>
                  <a:lnTo>
                    <a:pt x="253" y="345"/>
                  </a:lnTo>
                  <a:lnTo>
                    <a:pt x="259" y="345"/>
                  </a:lnTo>
                  <a:lnTo>
                    <a:pt x="256" y="348"/>
                  </a:lnTo>
                  <a:lnTo>
                    <a:pt x="256" y="349"/>
                  </a:lnTo>
                  <a:lnTo>
                    <a:pt x="257" y="350"/>
                  </a:lnTo>
                  <a:lnTo>
                    <a:pt x="256" y="350"/>
                  </a:lnTo>
                  <a:lnTo>
                    <a:pt x="256" y="356"/>
                  </a:lnTo>
                  <a:lnTo>
                    <a:pt x="259" y="356"/>
                  </a:lnTo>
                  <a:lnTo>
                    <a:pt x="259" y="357"/>
                  </a:lnTo>
                  <a:lnTo>
                    <a:pt x="260" y="357"/>
                  </a:lnTo>
                  <a:lnTo>
                    <a:pt x="261" y="356"/>
                  </a:lnTo>
                  <a:lnTo>
                    <a:pt x="261" y="355"/>
                  </a:lnTo>
                  <a:lnTo>
                    <a:pt x="263" y="355"/>
                  </a:lnTo>
                  <a:lnTo>
                    <a:pt x="263" y="354"/>
                  </a:lnTo>
                  <a:lnTo>
                    <a:pt x="266" y="354"/>
                  </a:lnTo>
                  <a:lnTo>
                    <a:pt x="268" y="351"/>
                  </a:lnTo>
                  <a:lnTo>
                    <a:pt x="273" y="351"/>
                  </a:lnTo>
                  <a:lnTo>
                    <a:pt x="273" y="352"/>
                  </a:lnTo>
                  <a:lnTo>
                    <a:pt x="275" y="352"/>
                  </a:lnTo>
                  <a:lnTo>
                    <a:pt x="278" y="350"/>
                  </a:lnTo>
                  <a:lnTo>
                    <a:pt x="278" y="349"/>
                  </a:lnTo>
                  <a:lnTo>
                    <a:pt x="279" y="348"/>
                  </a:lnTo>
                  <a:lnTo>
                    <a:pt x="280" y="348"/>
                  </a:lnTo>
                  <a:lnTo>
                    <a:pt x="280" y="349"/>
                  </a:lnTo>
                  <a:lnTo>
                    <a:pt x="279" y="350"/>
                  </a:lnTo>
                  <a:lnTo>
                    <a:pt x="280" y="352"/>
                  </a:lnTo>
                  <a:lnTo>
                    <a:pt x="280" y="354"/>
                  </a:lnTo>
                  <a:lnTo>
                    <a:pt x="281" y="352"/>
                  </a:lnTo>
                  <a:lnTo>
                    <a:pt x="281" y="354"/>
                  </a:lnTo>
                  <a:lnTo>
                    <a:pt x="280" y="355"/>
                  </a:lnTo>
                  <a:lnTo>
                    <a:pt x="280" y="357"/>
                  </a:lnTo>
                  <a:lnTo>
                    <a:pt x="279" y="358"/>
                  </a:lnTo>
                  <a:lnTo>
                    <a:pt x="279" y="360"/>
                  </a:lnTo>
                  <a:lnTo>
                    <a:pt x="276" y="362"/>
                  </a:lnTo>
                  <a:lnTo>
                    <a:pt x="274" y="363"/>
                  </a:lnTo>
                  <a:lnTo>
                    <a:pt x="273" y="363"/>
                  </a:lnTo>
                  <a:lnTo>
                    <a:pt x="272" y="362"/>
                  </a:lnTo>
                  <a:lnTo>
                    <a:pt x="269" y="362"/>
                  </a:lnTo>
                  <a:lnTo>
                    <a:pt x="268" y="361"/>
                  </a:lnTo>
                  <a:lnTo>
                    <a:pt x="265" y="361"/>
                  </a:lnTo>
                  <a:lnTo>
                    <a:pt x="263" y="362"/>
                  </a:lnTo>
                  <a:lnTo>
                    <a:pt x="251" y="362"/>
                  </a:lnTo>
                  <a:lnTo>
                    <a:pt x="248" y="363"/>
                  </a:lnTo>
                  <a:lnTo>
                    <a:pt x="238" y="363"/>
                  </a:lnTo>
                  <a:lnTo>
                    <a:pt x="238" y="364"/>
                  </a:lnTo>
                  <a:lnTo>
                    <a:pt x="237" y="364"/>
                  </a:lnTo>
                  <a:lnTo>
                    <a:pt x="235" y="366"/>
                  </a:lnTo>
                  <a:lnTo>
                    <a:pt x="228" y="366"/>
                  </a:lnTo>
                  <a:lnTo>
                    <a:pt x="226" y="367"/>
                  </a:lnTo>
                  <a:lnTo>
                    <a:pt x="226" y="366"/>
                  </a:lnTo>
                  <a:lnTo>
                    <a:pt x="225" y="366"/>
                  </a:lnTo>
                  <a:lnTo>
                    <a:pt x="214" y="367"/>
                  </a:lnTo>
                  <a:lnTo>
                    <a:pt x="214" y="366"/>
                  </a:lnTo>
                  <a:lnTo>
                    <a:pt x="216" y="366"/>
                  </a:lnTo>
                  <a:lnTo>
                    <a:pt x="216" y="360"/>
                  </a:lnTo>
                  <a:lnTo>
                    <a:pt x="214" y="358"/>
                  </a:lnTo>
                  <a:lnTo>
                    <a:pt x="210" y="358"/>
                  </a:lnTo>
                  <a:lnTo>
                    <a:pt x="208" y="357"/>
                  </a:lnTo>
                  <a:lnTo>
                    <a:pt x="207" y="357"/>
                  </a:lnTo>
                  <a:lnTo>
                    <a:pt x="206" y="356"/>
                  </a:lnTo>
                  <a:lnTo>
                    <a:pt x="205" y="356"/>
                  </a:lnTo>
                  <a:lnTo>
                    <a:pt x="205" y="355"/>
                  </a:lnTo>
                  <a:lnTo>
                    <a:pt x="203" y="355"/>
                  </a:lnTo>
                  <a:lnTo>
                    <a:pt x="200" y="354"/>
                  </a:lnTo>
                  <a:lnTo>
                    <a:pt x="193" y="354"/>
                  </a:lnTo>
                  <a:lnTo>
                    <a:pt x="193" y="352"/>
                  </a:lnTo>
                  <a:lnTo>
                    <a:pt x="187" y="352"/>
                  </a:lnTo>
                  <a:lnTo>
                    <a:pt x="186" y="354"/>
                  </a:lnTo>
                  <a:lnTo>
                    <a:pt x="183" y="351"/>
                  </a:lnTo>
                  <a:lnTo>
                    <a:pt x="178" y="351"/>
                  </a:lnTo>
                  <a:lnTo>
                    <a:pt x="176" y="350"/>
                  </a:lnTo>
                  <a:lnTo>
                    <a:pt x="175" y="350"/>
                  </a:lnTo>
                  <a:lnTo>
                    <a:pt x="174" y="351"/>
                  </a:lnTo>
                  <a:lnTo>
                    <a:pt x="167" y="351"/>
                  </a:lnTo>
                  <a:lnTo>
                    <a:pt x="166" y="350"/>
                  </a:lnTo>
                  <a:lnTo>
                    <a:pt x="166" y="349"/>
                  </a:lnTo>
                  <a:lnTo>
                    <a:pt x="164" y="349"/>
                  </a:lnTo>
                  <a:lnTo>
                    <a:pt x="163" y="348"/>
                  </a:lnTo>
                  <a:lnTo>
                    <a:pt x="163" y="346"/>
                  </a:lnTo>
                  <a:lnTo>
                    <a:pt x="164" y="346"/>
                  </a:lnTo>
                  <a:lnTo>
                    <a:pt x="164" y="343"/>
                  </a:lnTo>
                  <a:lnTo>
                    <a:pt x="166" y="342"/>
                  </a:lnTo>
                  <a:lnTo>
                    <a:pt x="166" y="339"/>
                  </a:lnTo>
                  <a:lnTo>
                    <a:pt x="164" y="339"/>
                  </a:lnTo>
                  <a:lnTo>
                    <a:pt x="166" y="338"/>
                  </a:lnTo>
                  <a:lnTo>
                    <a:pt x="166" y="333"/>
                  </a:lnTo>
                  <a:lnTo>
                    <a:pt x="167" y="332"/>
                  </a:lnTo>
                  <a:lnTo>
                    <a:pt x="167" y="336"/>
                  </a:lnTo>
                  <a:lnTo>
                    <a:pt x="168" y="336"/>
                  </a:lnTo>
                  <a:lnTo>
                    <a:pt x="168" y="337"/>
                  </a:lnTo>
                  <a:lnTo>
                    <a:pt x="172" y="337"/>
                  </a:lnTo>
                  <a:lnTo>
                    <a:pt x="172" y="336"/>
                  </a:lnTo>
                  <a:lnTo>
                    <a:pt x="173" y="335"/>
                  </a:lnTo>
                  <a:lnTo>
                    <a:pt x="172" y="333"/>
                  </a:lnTo>
                  <a:lnTo>
                    <a:pt x="172" y="329"/>
                  </a:lnTo>
                  <a:lnTo>
                    <a:pt x="173" y="327"/>
                  </a:lnTo>
                  <a:close/>
                  <a:moveTo>
                    <a:pt x="318" y="320"/>
                  </a:moveTo>
                  <a:lnTo>
                    <a:pt x="319" y="320"/>
                  </a:lnTo>
                  <a:lnTo>
                    <a:pt x="319" y="326"/>
                  </a:lnTo>
                  <a:lnTo>
                    <a:pt x="318" y="326"/>
                  </a:lnTo>
                  <a:lnTo>
                    <a:pt x="318" y="329"/>
                  </a:lnTo>
                  <a:lnTo>
                    <a:pt x="317" y="329"/>
                  </a:lnTo>
                  <a:lnTo>
                    <a:pt x="317" y="331"/>
                  </a:lnTo>
                  <a:lnTo>
                    <a:pt x="318" y="332"/>
                  </a:lnTo>
                  <a:lnTo>
                    <a:pt x="319" y="335"/>
                  </a:lnTo>
                  <a:lnTo>
                    <a:pt x="319" y="337"/>
                  </a:lnTo>
                  <a:lnTo>
                    <a:pt x="321" y="337"/>
                  </a:lnTo>
                  <a:lnTo>
                    <a:pt x="318" y="339"/>
                  </a:lnTo>
                  <a:lnTo>
                    <a:pt x="317" y="339"/>
                  </a:lnTo>
                  <a:lnTo>
                    <a:pt x="317" y="342"/>
                  </a:lnTo>
                  <a:lnTo>
                    <a:pt x="316" y="342"/>
                  </a:lnTo>
                  <a:lnTo>
                    <a:pt x="316" y="341"/>
                  </a:lnTo>
                  <a:lnTo>
                    <a:pt x="315" y="341"/>
                  </a:lnTo>
                  <a:lnTo>
                    <a:pt x="315" y="333"/>
                  </a:lnTo>
                  <a:lnTo>
                    <a:pt x="313" y="333"/>
                  </a:lnTo>
                  <a:lnTo>
                    <a:pt x="313" y="330"/>
                  </a:lnTo>
                  <a:lnTo>
                    <a:pt x="315" y="330"/>
                  </a:lnTo>
                  <a:lnTo>
                    <a:pt x="316" y="329"/>
                  </a:lnTo>
                  <a:lnTo>
                    <a:pt x="316" y="327"/>
                  </a:lnTo>
                  <a:lnTo>
                    <a:pt x="317" y="326"/>
                  </a:lnTo>
                  <a:lnTo>
                    <a:pt x="317" y="321"/>
                  </a:lnTo>
                  <a:lnTo>
                    <a:pt x="318" y="321"/>
                  </a:lnTo>
                  <a:lnTo>
                    <a:pt x="318" y="320"/>
                  </a:lnTo>
                  <a:close/>
                  <a:moveTo>
                    <a:pt x="152" y="317"/>
                  </a:moveTo>
                  <a:lnTo>
                    <a:pt x="154" y="317"/>
                  </a:lnTo>
                  <a:lnTo>
                    <a:pt x="155" y="318"/>
                  </a:lnTo>
                  <a:lnTo>
                    <a:pt x="155" y="319"/>
                  </a:lnTo>
                  <a:lnTo>
                    <a:pt x="154" y="319"/>
                  </a:lnTo>
                  <a:lnTo>
                    <a:pt x="154" y="318"/>
                  </a:lnTo>
                  <a:lnTo>
                    <a:pt x="152" y="317"/>
                  </a:lnTo>
                  <a:close/>
                  <a:moveTo>
                    <a:pt x="332" y="299"/>
                  </a:moveTo>
                  <a:lnTo>
                    <a:pt x="336" y="299"/>
                  </a:lnTo>
                  <a:lnTo>
                    <a:pt x="336" y="300"/>
                  </a:lnTo>
                  <a:lnTo>
                    <a:pt x="332" y="300"/>
                  </a:lnTo>
                  <a:lnTo>
                    <a:pt x="332" y="299"/>
                  </a:lnTo>
                  <a:close/>
                  <a:moveTo>
                    <a:pt x="257" y="290"/>
                  </a:moveTo>
                  <a:lnTo>
                    <a:pt x="260" y="290"/>
                  </a:lnTo>
                  <a:lnTo>
                    <a:pt x="262" y="293"/>
                  </a:lnTo>
                  <a:lnTo>
                    <a:pt x="257" y="293"/>
                  </a:lnTo>
                  <a:lnTo>
                    <a:pt x="257" y="290"/>
                  </a:lnTo>
                  <a:close/>
                  <a:moveTo>
                    <a:pt x="139" y="290"/>
                  </a:moveTo>
                  <a:lnTo>
                    <a:pt x="139" y="292"/>
                  </a:lnTo>
                  <a:lnTo>
                    <a:pt x="142" y="294"/>
                  </a:lnTo>
                  <a:lnTo>
                    <a:pt x="142" y="295"/>
                  </a:lnTo>
                  <a:lnTo>
                    <a:pt x="144" y="298"/>
                  </a:lnTo>
                  <a:lnTo>
                    <a:pt x="145" y="298"/>
                  </a:lnTo>
                  <a:lnTo>
                    <a:pt x="145" y="299"/>
                  </a:lnTo>
                  <a:lnTo>
                    <a:pt x="144" y="300"/>
                  </a:lnTo>
                  <a:lnTo>
                    <a:pt x="144" y="301"/>
                  </a:lnTo>
                  <a:lnTo>
                    <a:pt x="143" y="303"/>
                  </a:lnTo>
                  <a:lnTo>
                    <a:pt x="141" y="303"/>
                  </a:lnTo>
                  <a:lnTo>
                    <a:pt x="139" y="302"/>
                  </a:lnTo>
                  <a:lnTo>
                    <a:pt x="138" y="302"/>
                  </a:lnTo>
                  <a:lnTo>
                    <a:pt x="138" y="301"/>
                  </a:lnTo>
                  <a:lnTo>
                    <a:pt x="137" y="300"/>
                  </a:lnTo>
                  <a:lnTo>
                    <a:pt x="138" y="298"/>
                  </a:lnTo>
                  <a:lnTo>
                    <a:pt x="138" y="296"/>
                  </a:lnTo>
                  <a:lnTo>
                    <a:pt x="137" y="295"/>
                  </a:lnTo>
                  <a:lnTo>
                    <a:pt x="137" y="294"/>
                  </a:lnTo>
                  <a:lnTo>
                    <a:pt x="138" y="292"/>
                  </a:lnTo>
                  <a:lnTo>
                    <a:pt x="139" y="290"/>
                  </a:lnTo>
                  <a:close/>
                  <a:moveTo>
                    <a:pt x="361" y="288"/>
                  </a:moveTo>
                  <a:lnTo>
                    <a:pt x="362" y="288"/>
                  </a:lnTo>
                  <a:lnTo>
                    <a:pt x="362" y="292"/>
                  </a:lnTo>
                  <a:lnTo>
                    <a:pt x="361" y="293"/>
                  </a:lnTo>
                  <a:lnTo>
                    <a:pt x="361" y="295"/>
                  </a:lnTo>
                  <a:lnTo>
                    <a:pt x="360" y="296"/>
                  </a:lnTo>
                  <a:lnTo>
                    <a:pt x="360" y="299"/>
                  </a:lnTo>
                  <a:lnTo>
                    <a:pt x="359" y="299"/>
                  </a:lnTo>
                  <a:lnTo>
                    <a:pt x="359" y="300"/>
                  </a:lnTo>
                  <a:lnTo>
                    <a:pt x="357" y="301"/>
                  </a:lnTo>
                  <a:lnTo>
                    <a:pt x="356" y="301"/>
                  </a:lnTo>
                  <a:lnTo>
                    <a:pt x="356" y="302"/>
                  </a:lnTo>
                  <a:lnTo>
                    <a:pt x="355" y="305"/>
                  </a:lnTo>
                  <a:lnTo>
                    <a:pt x="355" y="306"/>
                  </a:lnTo>
                  <a:lnTo>
                    <a:pt x="356" y="306"/>
                  </a:lnTo>
                  <a:lnTo>
                    <a:pt x="356" y="307"/>
                  </a:lnTo>
                  <a:lnTo>
                    <a:pt x="355" y="307"/>
                  </a:lnTo>
                  <a:lnTo>
                    <a:pt x="356" y="308"/>
                  </a:lnTo>
                  <a:lnTo>
                    <a:pt x="354" y="307"/>
                  </a:lnTo>
                  <a:lnTo>
                    <a:pt x="353" y="307"/>
                  </a:lnTo>
                  <a:lnTo>
                    <a:pt x="350" y="309"/>
                  </a:lnTo>
                  <a:lnTo>
                    <a:pt x="349" y="309"/>
                  </a:lnTo>
                  <a:lnTo>
                    <a:pt x="348" y="313"/>
                  </a:lnTo>
                  <a:lnTo>
                    <a:pt x="346" y="315"/>
                  </a:lnTo>
                  <a:lnTo>
                    <a:pt x="343" y="317"/>
                  </a:lnTo>
                  <a:lnTo>
                    <a:pt x="341" y="315"/>
                  </a:lnTo>
                  <a:lnTo>
                    <a:pt x="340" y="314"/>
                  </a:lnTo>
                  <a:lnTo>
                    <a:pt x="341" y="313"/>
                  </a:lnTo>
                  <a:lnTo>
                    <a:pt x="342" y="309"/>
                  </a:lnTo>
                  <a:lnTo>
                    <a:pt x="342" y="306"/>
                  </a:lnTo>
                  <a:lnTo>
                    <a:pt x="341" y="306"/>
                  </a:lnTo>
                  <a:lnTo>
                    <a:pt x="340" y="305"/>
                  </a:lnTo>
                  <a:lnTo>
                    <a:pt x="341" y="303"/>
                  </a:lnTo>
                  <a:lnTo>
                    <a:pt x="338" y="303"/>
                  </a:lnTo>
                  <a:lnTo>
                    <a:pt x="341" y="301"/>
                  </a:lnTo>
                  <a:lnTo>
                    <a:pt x="343" y="301"/>
                  </a:lnTo>
                  <a:lnTo>
                    <a:pt x="342" y="300"/>
                  </a:lnTo>
                  <a:lnTo>
                    <a:pt x="343" y="300"/>
                  </a:lnTo>
                  <a:lnTo>
                    <a:pt x="343" y="298"/>
                  </a:lnTo>
                  <a:lnTo>
                    <a:pt x="344" y="298"/>
                  </a:lnTo>
                  <a:lnTo>
                    <a:pt x="344" y="296"/>
                  </a:lnTo>
                  <a:lnTo>
                    <a:pt x="346" y="296"/>
                  </a:lnTo>
                  <a:lnTo>
                    <a:pt x="347" y="294"/>
                  </a:lnTo>
                  <a:lnTo>
                    <a:pt x="348" y="294"/>
                  </a:lnTo>
                  <a:lnTo>
                    <a:pt x="355" y="290"/>
                  </a:lnTo>
                  <a:lnTo>
                    <a:pt x="356" y="289"/>
                  </a:lnTo>
                  <a:lnTo>
                    <a:pt x="360" y="289"/>
                  </a:lnTo>
                  <a:lnTo>
                    <a:pt x="361" y="288"/>
                  </a:lnTo>
                  <a:close/>
                  <a:moveTo>
                    <a:pt x="243" y="287"/>
                  </a:moveTo>
                  <a:lnTo>
                    <a:pt x="247" y="290"/>
                  </a:lnTo>
                  <a:lnTo>
                    <a:pt x="247" y="292"/>
                  </a:lnTo>
                  <a:lnTo>
                    <a:pt x="244" y="294"/>
                  </a:lnTo>
                  <a:lnTo>
                    <a:pt x="242" y="293"/>
                  </a:lnTo>
                  <a:lnTo>
                    <a:pt x="243" y="293"/>
                  </a:lnTo>
                  <a:lnTo>
                    <a:pt x="243" y="292"/>
                  </a:lnTo>
                  <a:lnTo>
                    <a:pt x="244" y="292"/>
                  </a:lnTo>
                  <a:lnTo>
                    <a:pt x="244" y="289"/>
                  </a:lnTo>
                  <a:lnTo>
                    <a:pt x="243" y="289"/>
                  </a:lnTo>
                  <a:lnTo>
                    <a:pt x="243" y="287"/>
                  </a:lnTo>
                  <a:close/>
                  <a:moveTo>
                    <a:pt x="325" y="286"/>
                  </a:moveTo>
                  <a:lnTo>
                    <a:pt x="325" y="287"/>
                  </a:lnTo>
                  <a:lnTo>
                    <a:pt x="326" y="288"/>
                  </a:lnTo>
                  <a:lnTo>
                    <a:pt x="326" y="290"/>
                  </a:lnTo>
                  <a:lnTo>
                    <a:pt x="328" y="290"/>
                  </a:lnTo>
                  <a:lnTo>
                    <a:pt x="329" y="289"/>
                  </a:lnTo>
                  <a:lnTo>
                    <a:pt x="329" y="290"/>
                  </a:lnTo>
                  <a:lnTo>
                    <a:pt x="328" y="292"/>
                  </a:lnTo>
                  <a:lnTo>
                    <a:pt x="326" y="292"/>
                  </a:lnTo>
                  <a:lnTo>
                    <a:pt x="325" y="290"/>
                  </a:lnTo>
                  <a:lnTo>
                    <a:pt x="325" y="289"/>
                  </a:lnTo>
                  <a:lnTo>
                    <a:pt x="323" y="289"/>
                  </a:lnTo>
                  <a:lnTo>
                    <a:pt x="323" y="287"/>
                  </a:lnTo>
                  <a:lnTo>
                    <a:pt x="324" y="287"/>
                  </a:lnTo>
                  <a:lnTo>
                    <a:pt x="325" y="286"/>
                  </a:lnTo>
                  <a:close/>
                  <a:moveTo>
                    <a:pt x="242" y="286"/>
                  </a:moveTo>
                  <a:lnTo>
                    <a:pt x="243" y="287"/>
                  </a:lnTo>
                  <a:lnTo>
                    <a:pt x="242" y="287"/>
                  </a:lnTo>
                  <a:lnTo>
                    <a:pt x="242" y="286"/>
                  </a:lnTo>
                  <a:close/>
                  <a:moveTo>
                    <a:pt x="316" y="280"/>
                  </a:moveTo>
                  <a:lnTo>
                    <a:pt x="318" y="280"/>
                  </a:lnTo>
                  <a:lnTo>
                    <a:pt x="319" y="281"/>
                  </a:lnTo>
                  <a:lnTo>
                    <a:pt x="318" y="282"/>
                  </a:lnTo>
                  <a:lnTo>
                    <a:pt x="316" y="282"/>
                  </a:lnTo>
                  <a:lnTo>
                    <a:pt x="316" y="280"/>
                  </a:lnTo>
                  <a:close/>
                  <a:moveTo>
                    <a:pt x="279" y="280"/>
                  </a:moveTo>
                  <a:lnTo>
                    <a:pt x="280" y="281"/>
                  </a:lnTo>
                  <a:lnTo>
                    <a:pt x="280" y="280"/>
                  </a:lnTo>
                  <a:lnTo>
                    <a:pt x="282" y="282"/>
                  </a:lnTo>
                  <a:lnTo>
                    <a:pt x="282" y="281"/>
                  </a:lnTo>
                  <a:lnTo>
                    <a:pt x="284" y="281"/>
                  </a:lnTo>
                  <a:lnTo>
                    <a:pt x="284" y="282"/>
                  </a:lnTo>
                  <a:lnTo>
                    <a:pt x="282" y="283"/>
                  </a:lnTo>
                  <a:lnTo>
                    <a:pt x="282" y="284"/>
                  </a:lnTo>
                  <a:lnTo>
                    <a:pt x="280" y="284"/>
                  </a:lnTo>
                  <a:lnTo>
                    <a:pt x="280" y="283"/>
                  </a:lnTo>
                  <a:lnTo>
                    <a:pt x="279" y="282"/>
                  </a:lnTo>
                  <a:lnTo>
                    <a:pt x="280" y="282"/>
                  </a:lnTo>
                  <a:lnTo>
                    <a:pt x="279" y="281"/>
                  </a:lnTo>
                  <a:lnTo>
                    <a:pt x="279" y="280"/>
                  </a:lnTo>
                  <a:close/>
                  <a:moveTo>
                    <a:pt x="343" y="278"/>
                  </a:moveTo>
                  <a:lnTo>
                    <a:pt x="344" y="278"/>
                  </a:lnTo>
                  <a:lnTo>
                    <a:pt x="344" y="280"/>
                  </a:lnTo>
                  <a:lnTo>
                    <a:pt x="346" y="280"/>
                  </a:lnTo>
                  <a:lnTo>
                    <a:pt x="347" y="278"/>
                  </a:lnTo>
                  <a:lnTo>
                    <a:pt x="347" y="283"/>
                  </a:lnTo>
                  <a:lnTo>
                    <a:pt x="346" y="283"/>
                  </a:lnTo>
                  <a:lnTo>
                    <a:pt x="346" y="282"/>
                  </a:lnTo>
                  <a:lnTo>
                    <a:pt x="343" y="282"/>
                  </a:lnTo>
                  <a:lnTo>
                    <a:pt x="344" y="281"/>
                  </a:lnTo>
                  <a:lnTo>
                    <a:pt x="342" y="281"/>
                  </a:lnTo>
                  <a:lnTo>
                    <a:pt x="343" y="280"/>
                  </a:lnTo>
                  <a:lnTo>
                    <a:pt x="343" y="278"/>
                  </a:lnTo>
                  <a:close/>
                  <a:moveTo>
                    <a:pt x="285" y="278"/>
                  </a:moveTo>
                  <a:lnTo>
                    <a:pt x="286" y="278"/>
                  </a:lnTo>
                  <a:lnTo>
                    <a:pt x="287" y="280"/>
                  </a:lnTo>
                  <a:lnTo>
                    <a:pt x="287" y="281"/>
                  </a:lnTo>
                  <a:lnTo>
                    <a:pt x="285" y="281"/>
                  </a:lnTo>
                  <a:lnTo>
                    <a:pt x="285" y="278"/>
                  </a:lnTo>
                  <a:close/>
                  <a:moveTo>
                    <a:pt x="346" y="277"/>
                  </a:moveTo>
                  <a:lnTo>
                    <a:pt x="347" y="277"/>
                  </a:lnTo>
                  <a:lnTo>
                    <a:pt x="347" y="278"/>
                  </a:lnTo>
                  <a:lnTo>
                    <a:pt x="344" y="278"/>
                  </a:lnTo>
                  <a:lnTo>
                    <a:pt x="346" y="277"/>
                  </a:lnTo>
                  <a:close/>
                  <a:moveTo>
                    <a:pt x="219" y="276"/>
                  </a:moveTo>
                  <a:lnTo>
                    <a:pt x="220" y="276"/>
                  </a:lnTo>
                  <a:lnTo>
                    <a:pt x="224" y="278"/>
                  </a:lnTo>
                  <a:lnTo>
                    <a:pt x="224" y="280"/>
                  </a:lnTo>
                  <a:lnTo>
                    <a:pt x="223" y="280"/>
                  </a:lnTo>
                  <a:lnTo>
                    <a:pt x="222" y="278"/>
                  </a:lnTo>
                  <a:lnTo>
                    <a:pt x="220" y="278"/>
                  </a:lnTo>
                  <a:lnTo>
                    <a:pt x="219" y="277"/>
                  </a:lnTo>
                  <a:lnTo>
                    <a:pt x="219" y="276"/>
                  </a:lnTo>
                  <a:close/>
                  <a:moveTo>
                    <a:pt x="231" y="274"/>
                  </a:moveTo>
                  <a:lnTo>
                    <a:pt x="234" y="274"/>
                  </a:lnTo>
                  <a:lnTo>
                    <a:pt x="234" y="275"/>
                  </a:lnTo>
                  <a:lnTo>
                    <a:pt x="230" y="278"/>
                  </a:lnTo>
                  <a:lnTo>
                    <a:pt x="229" y="278"/>
                  </a:lnTo>
                  <a:lnTo>
                    <a:pt x="230" y="275"/>
                  </a:lnTo>
                  <a:lnTo>
                    <a:pt x="231" y="275"/>
                  </a:lnTo>
                  <a:lnTo>
                    <a:pt x="231" y="274"/>
                  </a:lnTo>
                  <a:close/>
                  <a:moveTo>
                    <a:pt x="89" y="272"/>
                  </a:moveTo>
                  <a:lnTo>
                    <a:pt x="90" y="272"/>
                  </a:lnTo>
                  <a:lnTo>
                    <a:pt x="89" y="274"/>
                  </a:lnTo>
                  <a:lnTo>
                    <a:pt x="88" y="274"/>
                  </a:lnTo>
                  <a:lnTo>
                    <a:pt x="89" y="272"/>
                  </a:lnTo>
                  <a:close/>
                  <a:moveTo>
                    <a:pt x="199" y="271"/>
                  </a:moveTo>
                  <a:lnTo>
                    <a:pt x="199" y="272"/>
                  </a:lnTo>
                  <a:lnTo>
                    <a:pt x="200" y="272"/>
                  </a:lnTo>
                  <a:lnTo>
                    <a:pt x="200" y="274"/>
                  </a:lnTo>
                  <a:lnTo>
                    <a:pt x="201" y="275"/>
                  </a:lnTo>
                  <a:lnTo>
                    <a:pt x="204" y="275"/>
                  </a:lnTo>
                  <a:lnTo>
                    <a:pt x="204" y="274"/>
                  </a:lnTo>
                  <a:lnTo>
                    <a:pt x="203" y="274"/>
                  </a:lnTo>
                  <a:lnTo>
                    <a:pt x="201" y="272"/>
                  </a:lnTo>
                  <a:lnTo>
                    <a:pt x="201" y="271"/>
                  </a:lnTo>
                  <a:lnTo>
                    <a:pt x="203" y="271"/>
                  </a:lnTo>
                  <a:lnTo>
                    <a:pt x="204" y="272"/>
                  </a:lnTo>
                  <a:lnTo>
                    <a:pt x="205" y="271"/>
                  </a:lnTo>
                  <a:lnTo>
                    <a:pt x="206" y="271"/>
                  </a:lnTo>
                  <a:lnTo>
                    <a:pt x="206" y="276"/>
                  </a:lnTo>
                  <a:lnTo>
                    <a:pt x="199" y="276"/>
                  </a:lnTo>
                  <a:lnTo>
                    <a:pt x="198" y="277"/>
                  </a:lnTo>
                  <a:lnTo>
                    <a:pt x="197" y="276"/>
                  </a:lnTo>
                  <a:lnTo>
                    <a:pt x="198" y="275"/>
                  </a:lnTo>
                  <a:lnTo>
                    <a:pt x="198" y="272"/>
                  </a:lnTo>
                  <a:lnTo>
                    <a:pt x="199" y="271"/>
                  </a:lnTo>
                  <a:close/>
                  <a:moveTo>
                    <a:pt x="309" y="270"/>
                  </a:moveTo>
                  <a:lnTo>
                    <a:pt x="310" y="271"/>
                  </a:lnTo>
                  <a:lnTo>
                    <a:pt x="309" y="272"/>
                  </a:lnTo>
                  <a:lnTo>
                    <a:pt x="310" y="274"/>
                  </a:lnTo>
                  <a:lnTo>
                    <a:pt x="309" y="274"/>
                  </a:lnTo>
                  <a:lnTo>
                    <a:pt x="309" y="276"/>
                  </a:lnTo>
                  <a:lnTo>
                    <a:pt x="306" y="274"/>
                  </a:lnTo>
                  <a:lnTo>
                    <a:pt x="306" y="272"/>
                  </a:lnTo>
                  <a:lnTo>
                    <a:pt x="309" y="270"/>
                  </a:lnTo>
                  <a:close/>
                  <a:moveTo>
                    <a:pt x="238" y="270"/>
                  </a:moveTo>
                  <a:lnTo>
                    <a:pt x="239" y="270"/>
                  </a:lnTo>
                  <a:lnTo>
                    <a:pt x="239" y="271"/>
                  </a:lnTo>
                  <a:lnTo>
                    <a:pt x="241" y="272"/>
                  </a:lnTo>
                  <a:lnTo>
                    <a:pt x="242" y="272"/>
                  </a:lnTo>
                  <a:lnTo>
                    <a:pt x="243" y="274"/>
                  </a:lnTo>
                  <a:lnTo>
                    <a:pt x="242" y="274"/>
                  </a:lnTo>
                  <a:lnTo>
                    <a:pt x="242" y="277"/>
                  </a:lnTo>
                  <a:lnTo>
                    <a:pt x="239" y="276"/>
                  </a:lnTo>
                  <a:lnTo>
                    <a:pt x="237" y="274"/>
                  </a:lnTo>
                  <a:lnTo>
                    <a:pt x="236" y="274"/>
                  </a:lnTo>
                  <a:lnTo>
                    <a:pt x="237" y="272"/>
                  </a:lnTo>
                  <a:lnTo>
                    <a:pt x="237" y="271"/>
                  </a:lnTo>
                  <a:lnTo>
                    <a:pt x="238" y="270"/>
                  </a:lnTo>
                  <a:close/>
                  <a:moveTo>
                    <a:pt x="210" y="270"/>
                  </a:moveTo>
                  <a:lnTo>
                    <a:pt x="211" y="270"/>
                  </a:lnTo>
                  <a:lnTo>
                    <a:pt x="212" y="271"/>
                  </a:lnTo>
                  <a:lnTo>
                    <a:pt x="211" y="272"/>
                  </a:lnTo>
                  <a:lnTo>
                    <a:pt x="210" y="271"/>
                  </a:lnTo>
                  <a:lnTo>
                    <a:pt x="210" y="270"/>
                  </a:lnTo>
                  <a:close/>
                  <a:moveTo>
                    <a:pt x="87" y="270"/>
                  </a:moveTo>
                  <a:lnTo>
                    <a:pt x="87" y="272"/>
                  </a:lnTo>
                  <a:lnTo>
                    <a:pt x="86" y="272"/>
                  </a:lnTo>
                  <a:lnTo>
                    <a:pt x="87" y="270"/>
                  </a:lnTo>
                  <a:close/>
                  <a:moveTo>
                    <a:pt x="207" y="266"/>
                  </a:moveTo>
                  <a:lnTo>
                    <a:pt x="207" y="268"/>
                  </a:lnTo>
                  <a:lnTo>
                    <a:pt x="208" y="268"/>
                  </a:lnTo>
                  <a:lnTo>
                    <a:pt x="207" y="270"/>
                  </a:lnTo>
                  <a:lnTo>
                    <a:pt x="206" y="270"/>
                  </a:lnTo>
                  <a:lnTo>
                    <a:pt x="206" y="269"/>
                  </a:lnTo>
                  <a:lnTo>
                    <a:pt x="205" y="269"/>
                  </a:lnTo>
                  <a:lnTo>
                    <a:pt x="207" y="266"/>
                  </a:lnTo>
                  <a:close/>
                  <a:moveTo>
                    <a:pt x="245" y="265"/>
                  </a:moveTo>
                  <a:lnTo>
                    <a:pt x="245" y="268"/>
                  </a:lnTo>
                  <a:lnTo>
                    <a:pt x="243" y="268"/>
                  </a:lnTo>
                  <a:lnTo>
                    <a:pt x="245" y="265"/>
                  </a:lnTo>
                  <a:close/>
                  <a:moveTo>
                    <a:pt x="317" y="264"/>
                  </a:moveTo>
                  <a:lnTo>
                    <a:pt x="323" y="264"/>
                  </a:lnTo>
                  <a:lnTo>
                    <a:pt x="325" y="266"/>
                  </a:lnTo>
                  <a:lnTo>
                    <a:pt x="324" y="266"/>
                  </a:lnTo>
                  <a:lnTo>
                    <a:pt x="319" y="268"/>
                  </a:lnTo>
                  <a:lnTo>
                    <a:pt x="316" y="271"/>
                  </a:lnTo>
                  <a:lnTo>
                    <a:pt x="310" y="271"/>
                  </a:lnTo>
                  <a:lnTo>
                    <a:pt x="310" y="270"/>
                  </a:lnTo>
                  <a:lnTo>
                    <a:pt x="311" y="270"/>
                  </a:lnTo>
                  <a:lnTo>
                    <a:pt x="311" y="269"/>
                  </a:lnTo>
                  <a:lnTo>
                    <a:pt x="312" y="268"/>
                  </a:lnTo>
                  <a:lnTo>
                    <a:pt x="317" y="264"/>
                  </a:lnTo>
                  <a:close/>
                  <a:moveTo>
                    <a:pt x="253" y="263"/>
                  </a:moveTo>
                  <a:lnTo>
                    <a:pt x="254" y="264"/>
                  </a:lnTo>
                  <a:lnTo>
                    <a:pt x="255" y="264"/>
                  </a:lnTo>
                  <a:lnTo>
                    <a:pt x="254" y="265"/>
                  </a:lnTo>
                  <a:lnTo>
                    <a:pt x="251" y="265"/>
                  </a:lnTo>
                  <a:lnTo>
                    <a:pt x="251" y="264"/>
                  </a:lnTo>
                  <a:lnTo>
                    <a:pt x="253" y="264"/>
                  </a:lnTo>
                  <a:lnTo>
                    <a:pt x="253" y="263"/>
                  </a:lnTo>
                  <a:close/>
                  <a:moveTo>
                    <a:pt x="268" y="262"/>
                  </a:moveTo>
                  <a:lnTo>
                    <a:pt x="270" y="264"/>
                  </a:lnTo>
                  <a:lnTo>
                    <a:pt x="268" y="264"/>
                  </a:lnTo>
                  <a:lnTo>
                    <a:pt x="268" y="265"/>
                  </a:lnTo>
                  <a:lnTo>
                    <a:pt x="266" y="266"/>
                  </a:lnTo>
                  <a:lnTo>
                    <a:pt x="263" y="269"/>
                  </a:lnTo>
                  <a:lnTo>
                    <a:pt x="263" y="270"/>
                  </a:lnTo>
                  <a:lnTo>
                    <a:pt x="260" y="271"/>
                  </a:lnTo>
                  <a:lnTo>
                    <a:pt x="257" y="271"/>
                  </a:lnTo>
                  <a:lnTo>
                    <a:pt x="257" y="269"/>
                  </a:lnTo>
                  <a:lnTo>
                    <a:pt x="262" y="269"/>
                  </a:lnTo>
                  <a:lnTo>
                    <a:pt x="262" y="268"/>
                  </a:lnTo>
                  <a:lnTo>
                    <a:pt x="261" y="268"/>
                  </a:lnTo>
                  <a:lnTo>
                    <a:pt x="261" y="266"/>
                  </a:lnTo>
                  <a:lnTo>
                    <a:pt x="262" y="266"/>
                  </a:lnTo>
                  <a:lnTo>
                    <a:pt x="267" y="264"/>
                  </a:lnTo>
                  <a:lnTo>
                    <a:pt x="266" y="264"/>
                  </a:lnTo>
                  <a:lnTo>
                    <a:pt x="266" y="263"/>
                  </a:lnTo>
                  <a:lnTo>
                    <a:pt x="267" y="263"/>
                  </a:lnTo>
                  <a:lnTo>
                    <a:pt x="268" y="262"/>
                  </a:lnTo>
                  <a:close/>
                  <a:moveTo>
                    <a:pt x="228" y="257"/>
                  </a:moveTo>
                  <a:lnTo>
                    <a:pt x="230" y="257"/>
                  </a:lnTo>
                  <a:lnTo>
                    <a:pt x="229" y="259"/>
                  </a:lnTo>
                  <a:lnTo>
                    <a:pt x="229" y="262"/>
                  </a:lnTo>
                  <a:lnTo>
                    <a:pt x="228" y="260"/>
                  </a:lnTo>
                  <a:lnTo>
                    <a:pt x="228" y="259"/>
                  </a:lnTo>
                  <a:lnTo>
                    <a:pt x="226" y="258"/>
                  </a:lnTo>
                  <a:lnTo>
                    <a:pt x="228" y="258"/>
                  </a:lnTo>
                  <a:lnTo>
                    <a:pt x="228" y="257"/>
                  </a:lnTo>
                  <a:close/>
                  <a:moveTo>
                    <a:pt x="211" y="256"/>
                  </a:moveTo>
                  <a:lnTo>
                    <a:pt x="212" y="257"/>
                  </a:lnTo>
                  <a:lnTo>
                    <a:pt x="213" y="257"/>
                  </a:lnTo>
                  <a:lnTo>
                    <a:pt x="213" y="258"/>
                  </a:lnTo>
                  <a:lnTo>
                    <a:pt x="216" y="259"/>
                  </a:lnTo>
                  <a:lnTo>
                    <a:pt x="216" y="262"/>
                  </a:lnTo>
                  <a:lnTo>
                    <a:pt x="214" y="262"/>
                  </a:lnTo>
                  <a:lnTo>
                    <a:pt x="213" y="264"/>
                  </a:lnTo>
                  <a:lnTo>
                    <a:pt x="213" y="263"/>
                  </a:lnTo>
                  <a:lnTo>
                    <a:pt x="212" y="262"/>
                  </a:lnTo>
                  <a:lnTo>
                    <a:pt x="212" y="258"/>
                  </a:lnTo>
                  <a:lnTo>
                    <a:pt x="211" y="258"/>
                  </a:lnTo>
                  <a:lnTo>
                    <a:pt x="211" y="256"/>
                  </a:lnTo>
                  <a:close/>
                  <a:moveTo>
                    <a:pt x="305" y="255"/>
                  </a:moveTo>
                  <a:lnTo>
                    <a:pt x="306" y="255"/>
                  </a:lnTo>
                  <a:lnTo>
                    <a:pt x="310" y="256"/>
                  </a:lnTo>
                  <a:lnTo>
                    <a:pt x="310" y="259"/>
                  </a:lnTo>
                  <a:lnTo>
                    <a:pt x="311" y="258"/>
                  </a:lnTo>
                  <a:lnTo>
                    <a:pt x="312" y="258"/>
                  </a:lnTo>
                  <a:lnTo>
                    <a:pt x="312" y="260"/>
                  </a:lnTo>
                  <a:lnTo>
                    <a:pt x="311" y="260"/>
                  </a:lnTo>
                  <a:lnTo>
                    <a:pt x="311" y="262"/>
                  </a:lnTo>
                  <a:lnTo>
                    <a:pt x="310" y="262"/>
                  </a:lnTo>
                  <a:lnTo>
                    <a:pt x="310" y="263"/>
                  </a:lnTo>
                  <a:lnTo>
                    <a:pt x="307" y="263"/>
                  </a:lnTo>
                  <a:lnTo>
                    <a:pt x="307" y="262"/>
                  </a:lnTo>
                  <a:lnTo>
                    <a:pt x="306" y="262"/>
                  </a:lnTo>
                  <a:lnTo>
                    <a:pt x="306" y="260"/>
                  </a:lnTo>
                  <a:lnTo>
                    <a:pt x="307" y="260"/>
                  </a:lnTo>
                  <a:lnTo>
                    <a:pt x="307" y="258"/>
                  </a:lnTo>
                  <a:lnTo>
                    <a:pt x="309" y="258"/>
                  </a:lnTo>
                  <a:lnTo>
                    <a:pt x="309" y="257"/>
                  </a:lnTo>
                  <a:lnTo>
                    <a:pt x="306" y="257"/>
                  </a:lnTo>
                  <a:lnTo>
                    <a:pt x="306" y="256"/>
                  </a:lnTo>
                  <a:lnTo>
                    <a:pt x="305" y="255"/>
                  </a:lnTo>
                  <a:close/>
                  <a:moveTo>
                    <a:pt x="259" y="252"/>
                  </a:moveTo>
                  <a:lnTo>
                    <a:pt x="261" y="252"/>
                  </a:lnTo>
                  <a:lnTo>
                    <a:pt x="261" y="253"/>
                  </a:lnTo>
                  <a:lnTo>
                    <a:pt x="260" y="253"/>
                  </a:lnTo>
                  <a:lnTo>
                    <a:pt x="259" y="252"/>
                  </a:lnTo>
                  <a:close/>
                  <a:moveTo>
                    <a:pt x="237" y="251"/>
                  </a:moveTo>
                  <a:lnTo>
                    <a:pt x="238" y="251"/>
                  </a:lnTo>
                  <a:lnTo>
                    <a:pt x="238" y="252"/>
                  </a:lnTo>
                  <a:lnTo>
                    <a:pt x="237" y="252"/>
                  </a:lnTo>
                  <a:lnTo>
                    <a:pt x="237" y="251"/>
                  </a:lnTo>
                  <a:close/>
                  <a:moveTo>
                    <a:pt x="235" y="251"/>
                  </a:moveTo>
                  <a:lnTo>
                    <a:pt x="236" y="251"/>
                  </a:lnTo>
                  <a:lnTo>
                    <a:pt x="235" y="252"/>
                  </a:lnTo>
                  <a:lnTo>
                    <a:pt x="237" y="252"/>
                  </a:lnTo>
                  <a:lnTo>
                    <a:pt x="237" y="257"/>
                  </a:lnTo>
                  <a:lnTo>
                    <a:pt x="235" y="259"/>
                  </a:lnTo>
                  <a:lnTo>
                    <a:pt x="232" y="259"/>
                  </a:lnTo>
                  <a:lnTo>
                    <a:pt x="231" y="258"/>
                  </a:lnTo>
                  <a:lnTo>
                    <a:pt x="230" y="258"/>
                  </a:lnTo>
                  <a:lnTo>
                    <a:pt x="230" y="256"/>
                  </a:lnTo>
                  <a:lnTo>
                    <a:pt x="231" y="255"/>
                  </a:lnTo>
                  <a:lnTo>
                    <a:pt x="232" y="255"/>
                  </a:lnTo>
                  <a:lnTo>
                    <a:pt x="232" y="253"/>
                  </a:lnTo>
                  <a:lnTo>
                    <a:pt x="235" y="251"/>
                  </a:lnTo>
                  <a:close/>
                  <a:moveTo>
                    <a:pt x="301" y="249"/>
                  </a:moveTo>
                  <a:lnTo>
                    <a:pt x="304" y="249"/>
                  </a:lnTo>
                  <a:lnTo>
                    <a:pt x="304" y="251"/>
                  </a:lnTo>
                  <a:lnTo>
                    <a:pt x="305" y="251"/>
                  </a:lnTo>
                  <a:lnTo>
                    <a:pt x="305" y="253"/>
                  </a:lnTo>
                  <a:lnTo>
                    <a:pt x="303" y="253"/>
                  </a:lnTo>
                  <a:lnTo>
                    <a:pt x="304" y="252"/>
                  </a:lnTo>
                  <a:lnTo>
                    <a:pt x="303" y="252"/>
                  </a:lnTo>
                  <a:lnTo>
                    <a:pt x="303" y="251"/>
                  </a:lnTo>
                  <a:lnTo>
                    <a:pt x="301" y="251"/>
                  </a:lnTo>
                  <a:lnTo>
                    <a:pt x="301" y="250"/>
                  </a:lnTo>
                  <a:lnTo>
                    <a:pt x="300" y="250"/>
                  </a:lnTo>
                  <a:lnTo>
                    <a:pt x="301" y="249"/>
                  </a:lnTo>
                  <a:close/>
                  <a:moveTo>
                    <a:pt x="247" y="249"/>
                  </a:moveTo>
                  <a:lnTo>
                    <a:pt x="249" y="249"/>
                  </a:lnTo>
                  <a:lnTo>
                    <a:pt x="250" y="250"/>
                  </a:lnTo>
                  <a:lnTo>
                    <a:pt x="250" y="251"/>
                  </a:lnTo>
                  <a:lnTo>
                    <a:pt x="251" y="253"/>
                  </a:lnTo>
                  <a:lnTo>
                    <a:pt x="250" y="255"/>
                  </a:lnTo>
                  <a:lnTo>
                    <a:pt x="250" y="258"/>
                  </a:lnTo>
                  <a:lnTo>
                    <a:pt x="249" y="260"/>
                  </a:lnTo>
                  <a:lnTo>
                    <a:pt x="248" y="260"/>
                  </a:lnTo>
                  <a:lnTo>
                    <a:pt x="247" y="263"/>
                  </a:lnTo>
                  <a:lnTo>
                    <a:pt x="244" y="263"/>
                  </a:lnTo>
                  <a:lnTo>
                    <a:pt x="244" y="260"/>
                  </a:lnTo>
                  <a:lnTo>
                    <a:pt x="243" y="260"/>
                  </a:lnTo>
                  <a:lnTo>
                    <a:pt x="242" y="259"/>
                  </a:lnTo>
                  <a:lnTo>
                    <a:pt x="242" y="257"/>
                  </a:lnTo>
                  <a:lnTo>
                    <a:pt x="241" y="256"/>
                  </a:lnTo>
                  <a:lnTo>
                    <a:pt x="241" y="255"/>
                  </a:lnTo>
                  <a:lnTo>
                    <a:pt x="242" y="255"/>
                  </a:lnTo>
                  <a:lnTo>
                    <a:pt x="243" y="252"/>
                  </a:lnTo>
                  <a:lnTo>
                    <a:pt x="247" y="249"/>
                  </a:lnTo>
                  <a:close/>
                  <a:moveTo>
                    <a:pt x="204" y="247"/>
                  </a:moveTo>
                  <a:lnTo>
                    <a:pt x="205" y="249"/>
                  </a:lnTo>
                  <a:lnTo>
                    <a:pt x="206" y="249"/>
                  </a:lnTo>
                  <a:lnTo>
                    <a:pt x="206" y="251"/>
                  </a:lnTo>
                  <a:lnTo>
                    <a:pt x="205" y="251"/>
                  </a:lnTo>
                  <a:lnTo>
                    <a:pt x="205" y="253"/>
                  </a:lnTo>
                  <a:lnTo>
                    <a:pt x="204" y="252"/>
                  </a:lnTo>
                  <a:lnTo>
                    <a:pt x="201" y="252"/>
                  </a:lnTo>
                  <a:lnTo>
                    <a:pt x="201" y="250"/>
                  </a:lnTo>
                  <a:lnTo>
                    <a:pt x="203" y="250"/>
                  </a:lnTo>
                  <a:lnTo>
                    <a:pt x="201" y="249"/>
                  </a:lnTo>
                  <a:lnTo>
                    <a:pt x="204" y="249"/>
                  </a:lnTo>
                  <a:lnTo>
                    <a:pt x="204" y="247"/>
                  </a:lnTo>
                  <a:close/>
                  <a:moveTo>
                    <a:pt x="145" y="244"/>
                  </a:moveTo>
                  <a:lnTo>
                    <a:pt x="148" y="244"/>
                  </a:lnTo>
                  <a:lnTo>
                    <a:pt x="148" y="246"/>
                  </a:lnTo>
                  <a:lnTo>
                    <a:pt x="147" y="246"/>
                  </a:lnTo>
                  <a:lnTo>
                    <a:pt x="147" y="245"/>
                  </a:lnTo>
                  <a:lnTo>
                    <a:pt x="145" y="244"/>
                  </a:lnTo>
                  <a:close/>
                  <a:moveTo>
                    <a:pt x="291" y="241"/>
                  </a:moveTo>
                  <a:lnTo>
                    <a:pt x="292" y="243"/>
                  </a:lnTo>
                  <a:lnTo>
                    <a:pt x="292" y="245"/>
                  </a:lnTo>
                  <a:lnTo>
                    <a:pt x="291" y="244"/>
                  </a:lnTo>
                  <a:lnTo>
                    <a:pt x="291" y="241"/>
                  </a:lnTo>
                  <a:close/>
                  <a:moveTo>
                    <a:pt x="291" y="239"/>
                  </a:moveTo>
                  <a:lnTo>
                    <a:pt x="293" y="239"/>
                  </a:lnTo>
                  <a:lnTo>
                    <a:pt x="293" y="240"/>
                  </a:lnTo>
                  <a:lnTo>
                    <a:pt x="292" y="240"/>
                  </a:lnTo>
                  <a:lnTo>
                    <a:pt x="292" y="241"/>
                  </a:lnTo>
                  <a:lnTo>
                    <a:pt x="291" y="241"/>
                  </a:lnTo>
                  <a:lnTo>
                    <a:pt x="291" y="239"/>
                  </a:lnTo>
                  <a:close/>
                  <a:moveTo>
                    <a:pt x="163" y="239"/>
                  </a:moveTo>
                  <a:lnTo>
                    <a:pt x="166" y="239"/>
                  </a:lnTo>
                  <a:lnTo>
                    <a:pt x="166" y="240"/>
                  </a:lnTo>
                  <a:lnTo>
                    <a:pt x="163" y="240"/>
                  </a:lnTo>
                  <a:lnTo>
                    <a:pt x="163" y="241"/>
                  </a:lnTo>
                  <a:lnTo>
                    <a:pt x="162" y="241"/>
                  </a:lnTo>
                  <a:lnTo>
                    <a:pt x="161" y="243"/>
                  </a:lnTo>
                  <a:lnTo>
                    <a:pt x="157" y="243"/>
                  </a:lnTo>
                  <a:lnTo>
                    <a:pt x="161" y="240"/>
                  </a:lnTo>
                  <a:lnTo>
                    <a:pt x="162" y="240"/>
                  </a:lnTo>
                  <a:lnTo>
                    <a:pt x="163" y="239"/>
                  </a:lnTo>
                  <a:close/>
                  <a:moveTo>
                    <a:pt x="201" y="233"/>
                  </a:moveTo>
                  <a:lnTo>
                    <a:pt x="203" y="233"/>
                  </a:lnTo>
                  <a:lnTo>
                    <a:pt x="203" y="234"/>
                  </a:lnTo>
                  <a:lnTo>
                    <a:pt x="201" y="235"/>
                  </a:lnTo>
                  <a:lnTo>
                    <a:pt x="204" y="237"/>
                  </a:lnTo>
                  <a:lnTo>
                    <a:pt x="204" y="238"/>
                  </a:lnTo>
                  <a:lnTo>
                    <a:pt x="203" y="238"/>
                  </a:lnTo>
                  <a:lnTo>
                    <a:pt x="203" y="240"/>
                  </a:lnTo>
                  <a:lnTo>
                    <a:pt x="200" y="243"/>
                  </a:lnTo>
                  <a:lnTo>
                    <a:pt x="199" y="243"/>
                  </a:lnTo>
                  <a:lnTo>
                    <a:pt x="199" y="240"/>
                  </a:lnTo>
                  <a:lnTo>
                    <a:pt x="200" y="240"/>
                  </a:lnTo>
                  <a:lnTo>
                    <a:pt x="200" y="237"/>
                  </a:lnTo>
                  <a:lnTo>
                    <a:pt x="199" y="237"/>
                  </a:lnTo>
                  <a:lnTo>
                    <a:pt x="199" y="235"/>
                  </a:lnTo>
                  <a:lnTo>
                    <a:pt x="200" y="234"/>
                  </a:lnTo>
                  <a:lnTo>
                    <a:pt x="201" y="234"/>
                  </a:lnTo>
                  <a:lnTo>
                    <a:pt x="201" y="233"/>
                  </a:lnTo>
                  <a:close/>
                  <a:moveTo>
                    <a:pt x="239" y="232"/>
                  </a:moveTo>
                  <a:lnTo>
                    <a:pt x="241" y="232"/>
                  </a:lnTo>
                  <a:lnTo>
                    <a:pt x="242" y="234"/>
                  </a:lnTo>
                  <a:lnTo>
                    <a:pt x="242" y="233"/>
                  </a:lnTo>
                  <a:lnTo>
                    <a:pt x="244" y="233"/>
                  </a:lnTo>
                  <a:lnTo>
                    <a:pt x="244" y="234"/>
                  </a:lnTo>
                  <a:lnTo>
                    <a:pt x="245" y="234"/>
                  </a:lnTo>
                  <a:lnTo>
                    <a:pt x="245" y="235"/>
                  </a:lnTo>
                  <a:lnTo>
                    <a:pt x="243" y="235"/>
                  </a:lnTo>
                  <a:lnTo>
                    <a:pt x="243" y="237"/>
                  </a:lnTo>
                  <a:lnTo>
                    <a:pt x="238" y="237"/>
                  </a:lnTo>
                  <a:lnTo>
                    <a:pt x="238" y="235"/>
                  </a:lnTo>
                  <a:lnTo>
                    <a:pt x="239" y="235"/>
                  </a:lnTo>
                  <a:lnTo>
                    <a:pt x="239" y="234"/>
                  </a:lnTo>
                  <a:lnTo>
                    <a:pt x="238" y="234"/>
                  </a:lnTo>
                  <a:lnTo>
                    <a:pt x="239" y="233"/>
                  </a:lnTo>
                  <a:lnTo>
                    <a:pt x="239" y="232"/>
                  </a:lnTo>
                  <a:close/>
                  <a:moveTo>
                    <a:pt x="222" y="232"/>
                  </a:moveTo>
                  <a:lnTo>
                    <a:pt x="223" y="232"/>
                  </a:lnTo>
                  <a:lnTo>
                    <a:pt x="224" y="233"/>
                  </a:lnTo>
                  <a:lnTo>
                    <a:pt x="224" y="238"/>
                  </a:lnTo>
                  <a:lnTo>
                    <a:pt x="222" y="239"/>
                  </a:lnTo>
                  <a:lnTo>
                    <a:pt x="220" y="240"/>
                  </a:lnTo>
                  <a:lnTo>
                    <a:pt x="220" y="239"/>
                  </a:lnTo>
                  <a:lnTo>
                    <a:pt x="222" y="238"/>
                  </a:lnTo>
                  <a:lnTo>
                    <a:pt x="220" y="238"/>
                  </a:lnTo>
                  <a:lnTo>
                    <a:pt x="220" y="235"/>
                  </a:lnTo>
                  <a:lnTo>
                    <a:pt x="222" y="235"/>
                  </a:lnTo>
                  <a:lnTo>
                    <a:pt x="222" y="232"/>
                  </a:lnTo>
                  <a:close/>
                  <a:moveTo>
                    <a:pt x="162" y="229"/>
                  </a:moveTo>
                  <a:lnTo>
                    <a:pt x="162" y="231"/>
                  </a:lnTo>
                  <a:lnTo>
                    <a:pt x="163" y="231"/>
                  </a:lnTo>
                  <a:lnTo>
                    <a:pt x="163" y="232"/>
                  </a:lnTo>
                  <a:lnTo>
                    <a:pt x="161" y="232"/>
                  </a:lnTo>
                  <a:lnTo>
                    <a:pt x="160" y="231"/>
                  </a:lnTo>
                  <a:lnTo>
                    <a:pt x="161" y="231"/>
                  </a:lnTo>
                  <a:lnTo>
                    <a:pt x="162" y="229"/>
                  </a:lnTo>
                  <a:close/>
                  <a:moveTo>
                    <a:pt x="213" y="226"/>
                  </a:moveTo>
                  <a:lnTo>
                    <a:pt x="214" y="226"/>
                  </a:lnTo>
                  <a:lnTo>
                    <a:pt x="214" y="227"/>
                  </a:lnTo>
                  <a:lnTo>
                    <a:pt x="212" y="227"/>
                  </a:lnTo>
                  <a:lnTo>
                    <a:pt x="213" y="226"/>
                  </a:lnTo>
                  <a:close/>
                  <a:moveTo>
                    <a:pt x="281" y="222"/>
                  </a:moveTo>
                  <a:lnTo>
                    <a:pt x="284" y="222"/>
                  </a:lnTo>
                  <a:lnTo>
                    <a:pt x="276" y="229"/>
                  </a:lnTo>
                  <a:lnTo>
                    <a:pt x="273" y="229"/>
                  </a:lnTo>
                  <a:lnTo>
                    <a:pt x="272" y="231"/>
                  </a:lnTo>
                  <a:lnTo>
                    <a:pt x="270" y="231"/>
                  </a:lnTo>
                  <a:lnTo>
                    <a:pt x="270" y="232"/>
                  </a:lnTo>
                  <a:lnTo>
                    <a:pt x="269" y="232"/>
                  </a:lnTo>
                  <a:lnTo>
                    <a:pt x="269" y="231"/>
                  </a:lnTo>
                  <a:lnTo>
                    <a:pt x="268" y="232"/>
                  </a:lnTo>
                  <a:lnTo>
                    <a:pt x="267" y="232"/>
                  </a:lnTo>
                  <a:lnTo>
                    <a:pt x="267" y="229"/>
                  </a:lnTo>
                  <a:lnTo>
                    <a:pt x="268" y="228"/>
                  </a:lnTo>
                  <a:lnTo>
                    <a:pt x="269" y="228"/>
                  </a:lnTo>
                  <a:lnTo>
                    <a:pt x="269" y="226"/>
                  </a:lnTo>
                  <a:lnTo>
                    <a:pt x="270" y="226"/>
                  </a:lnTo>
                  <a:lnTo>
                    <a:pt x="270" y="225"/>
                  </a:lnTo>
                  <a:lnTo>
                    <a:pt x="272" y="225"/>
                  </a:lnTo>
                  <a:lnTo>
                    <a:pt x="274" y="226"/>
                  </a:lnTo>
                  <a:lnTo>
                    <a:pt x="275" y="225"/>
                  </a:lnTo>
                  <a:lnTo>
                    <a:pt x="276" y="226"/>
                  </a:lnTo>
                  <a:lnTo>
                    <a:pt x="278" y="225"/>
                  </a:lnTo>
                  <a:lnTo>
                    <a:pt x="279" y="225"/>
                  </a:lnTo>
                  <a:lnTo>
                    <a:pt x="281" y="222"/>
                  </a:lnTo>
                  <a:close/>
                  <a:moveTo>
                    <a:pt x="225" y="222"/>
                  </a:moveTo>
                  <a:lnTo>
                    <a:pt x="228" y="222"/>
                  </a:lnTo>
                  <a:lnTo>
                    <a:pt x="228" y="223"/>
                  </a:lnTo>
                  <a:lnTo>
                    <a:pt x="229" y="223"/>
                  </a:lnTo>
                  <a:lnTo>
                    <a:pt x="229" y="225"/>
                  </a:lnTo>
                  <a:lnTo>
                    <a:pt x="231" y="225"/>
                  </a:lnTo>
                  <a:lnTo>
                    <a:pt x="232" y="226"/>
                  </a:lnTo>
                  <a:lnTo>
                    <a:pt x="232" y="225"/>
                  </a:lnTo>
                  <a:lnTo>
                    <a:pt x="234" y="225"/>
                  </a:lnTo>
                  <a:lnTo>
                    <a:pt x="235" y="226"/>
                  </a:lnTo>
                  <a:lnTo>
                    <a:pt x="236" y="226"/>
                  </a:lnTo>
                  <a:lnTo>
                    <a:pt x="236" y="227"/>
                  </a:lnTo>
                  <a:lnTo>
                    <a:pt x="237" y="227"/>
                  </a:lnTo>
                  <a:lnTo>
                    <a:pt x="236" y="229"/>
                  </a:lnTo>
                  <a:lnTo>
                    <a:pt x="235" y="231"/>
                  </a:lnTo>
                  <a:lnTo>
                    <a:pt x="232" y="231"/>
                  </a:lnTo>
                  <a:lnTo>
                    <a:pt x="230" y="228"/>
                  </a:lnTo>
                  <a:lnTo>
                    <a:pt x="229" y="228"/>
                  </a:lnTo>
                  <a:lnTo>
                    <a:pt x="228" y="226"/>
                  </a:lnTo>
                  <a:lnTo>
                    <a:pt x="226" y="226"/>
                  </a:lnTo>
                  <a:lnTo>
                    <a:pt x="225" y="225"/>
                  </a:lnTo>
                  <a:lnTo>
                    <a:pt x="225" y="222"/>
                  </a:lnTo>
                  <a:close/>
                  <a:moveTo>
                    <a:pt x="197" y="222"/>
                  </a:moveTo>
                  <a:lnTo>
                    <a:pt x="199" y="222"/>
                  </a:lnTo>
                  <a:lnTo>
                    <a:pt x="200" y="225"/>
                  </a:lnTo>
                  <a:lnTo>
                    <a:pt x="200" y="226"/>
                  </a:lnTo>
                  <a:lnTo>
                    <a:pt x="198" y="228"/>
                  </a:lnTo>
                  <a:lnTo>
                    <a:pt x="197" y="231"/>
                  </a:lnTo>
                  <a:lnTo>
                    <a:pt x="195" y="231"/>
                  </a:lnTo>
                  <a:lnTo>
                    <a:pt x="195" y="225"/>
                  </a:lnTo>
                  <a:lnTo>
                    <a:pt x="197" y="223"/>
                  </a:lnTo>
                  <a:lnTo>
                    <a:pt x="197" y="222"/>
                  </a:lnTo>
                  <a:close/>
                  <a:moveTo>
                    <a:pt x="164" y="217"/>
                  </a:moveTo>
                  <a:lnTo>
                    <a:pt x="166" y="219"/>
                  </a:lnTo>
                  <a:lnTo>
                    <a:pt x="164" y="219"/>
                  </a:lnTo>
                  <a:lnTo>
                    <a:pt x="164" y="220"/>
                  </a:lnTo>
                  <a:lnTo>
                    <a:pt x="163" y="220"/>
                  </a:lnTo>
                  <a:lnTo>
                    <a:pt x="163" y="222"/>
                  </a:lnTo>
                  <a:lnTo>
                    <a:pt x="161" y="222"/>
                  </a:lnTo>
                  <a:lnTo>
                    <a:pt x="161" y="221"/>
                  </a:lnTo>
                  <a:lnTo>
                    <a:pt x="160" y="220"/>
                  </a:lnTo>
                  <a:lnTo>
                    <a:pt x="160" y="219"/>
                  </a:lnTo>
                  <a:lnTo>
                    <a:pt x="164" y="217"/>
                  </a:lnTo>
                  <a:close/>
                  <a:moveTo>
                    <a:pt x="300" y="215"/>
                  </a:moveTo>
                  <a:lnTo>
                    <a:pt x="301" y="215"/>
                  </a:lnTo>
                  <a:lnTo>
                    <a:pt x="304" y="216"/>
                  </a:lnTo>
                  <a:lnTo>
                    <a:pt x="305" y="217"/>
                  </a:lnTo>
                  <a:lnTo>
                    <a:pt x="306" y="217"/>
                  </a:lnTo>
                  <a:lnTo>
                    <a:pt x="309" y="219"/>
                  </a:lnTo>
                  <a:lnTo>
                    <a:pt x="309" y="217"/>
                  </a:lnTo>
                  <a:lnTo>
                    <a:pt x="313" y="217"/>
                  </a:lnTo>
                  <a:lnTo>
                    <a:pt x="312" y="219"/>
                  </a:lnTo>
                  <a:lnTo>
                    <a:pt x="311" y="219"/>
                  </a:lnTo>
                  <a:lnTo>
                    <a:pt x="312" y="220"/>
                  </a:lnTo>
                  <a:lnTo>
                    <a:pt x="313" y="220"/>
                  </a:lnTo>
                  <a:lnTo>
                    <a:pt x="313" y="221"/>
                  </a:lnTo>
                  <a:lnTo>
                    <a:pt x="310" y="221"/>
                  </a:lnTo>
                  <a:lnTo>
                    <a:pt x="306" y="223"/>
                  </a:lnTo>
                  <a:lnTo>
                    <a:pt x="305" y="223"/>
                  </a:lnTo>
                  <a:lnTo>
                    <a:pt x="305" y="225"/>
                  </a:lnTo>
                  <a:lnTo>
                    <a:pt x="301" y="225"/>
                  </a:lnTo>
                  <a:lnTo>
                    <a:pt x="300" y="223"/>
                  </a:lnTo>
                  <a:lnTo>
                    <a:pt x="300" y="222"/>
                  </a:lnTo>
                  <a:lnTo>
                    <a:pt x="299" y="222"/>
                  </a:lnTo>
                  <a:lnTo>
                    <a:pt x="299" y="221"/>
                  </a:lnTo>
                  <a:lnTo>
                    <a:pt x="295" y="221"/>
                  </a:lnTo>
                  <a:lnTo>
                    <a:pt x="295" y="222"/>
                  </a:lnTo>
                  <a:lnTo>
                    <a:pt x="293" y="222"/>
                  </a:lnTo>
                  <a:lnTo>
                    <a:pt x="292" y="221"/>
                  </a:lnTo>
                  <a:lnTo>
                    <a:pt x="292" y="220"/>
                  </a:lnTo>
                  <a:lnTo>
                    <a:pt x="293" y="219"/>
                  </a:lnTo>
                  <a:lnTo>
                    <a:pt x="294" y="219"/>
                  </a:lnTo>
                  <a:lnTo>
                    <a:pt x="295" y="217"/>
                  </a:lnTo>
                  <a:lnTo>
                    <a:pt x="295" y="216"/>
                  </a:lnTo>
                  <a:lnTo>
                    <a:pt x="300" y="215"/>
                  </a:lnTo>
                  <a:close/>
                  <a:moveTo>
                    <a:pt x="44" y="209"/>
                  </a:moveTo>
                  <a:lnTo>
                    <a:pt x="45" y="210"/>
                  </a:lnTo>
                  <a:lnTo>
                    <a:pt x="45" y="212"/>
                  </a:lnTo>
                  <a:lnTo>
                    <a:pt x="46" y="213"/>
                  </a:lnTo>
                  <a:lnTo>
                    <a:pt x="46" y="214"/>
                  </a:lnTo>
                  <a:lnTo>
                    <a:pt x="51" y="214"/>
                  </a:lnTo>
                  <a:lnTo>
                    <a:pt x="52" y="215"/>
                  </a:lnTo>
                  <a:lnTo>
                    <a:pt x="52" y="216"/>
                  </a:lnTo>
                  <a:lnTo>
                    <a:pt x="54" y="219"/>
                  </a:lnTo>
                  <a:lnTo>
                    <a:pt x="56" y="220"/>
                  </a:lnTo>
                  <a:lnTo>
                    <a:pt x="57" y="222"/>
                  </a:lnTo>
                  <a:lnTo>
                    <a:pt x="55" y="220"/>
                  </a:lnTo>
                  <a:lnTo>
                    <a:pt x="52" y="220"/>
                  </a:lnTo>
                  <a:lnTo>
                    <a:pt x="51" y="221"/>
                  </a:lnTo>
                  <a:lnTo>
                    <a:pt x="50" y="221"/>
                  </a:lnTo>
                  <a:lnTo>
                    <a:pt x="50" y="222"/>
                  </a:lnTo>
                  <a:lnTo>
                    <a:pt x="51" y="223"/>
                  </a:lnTo>
                  <a:lnTo>
                    <a:pt x="50" y="225"/>
                  </a:lnTo>
                  <a:lnTo>
                    <a:pt x="49" y="225"/>
                  </a:lnTo>
                  <a:lnTo>
                    <a:pt x="48" y="222"/>
                  </a:lnTo>
                  <a:lnTo>
                    <a:pt x="45" y="221"/>
                  </a:lnTo>
                  <a:lnTo>
                    <a:pt x="44" y="220"/>
                  </a:lnTo>
                  <a:lnTo>
                    <a:pt x="44" y="217"/>
                  </a:lnTo>
                  <a:lnTo>
                    <a:pt x="42" y="216"/>
                  </a:lnTo>
                  <a:lnTo>
                    <a:pt x="40" y="215"/>
                  </a:lnTo>
                  <a:lnTo>
                    <a:pt x="42" y="215"/>
                  </a:lnTo>
                  <a:lnTo>
                    <a:pt x="40" y="214"/>
                  </a:lnTo>
                  <a:lnTo>
                    <a:pt x="42" y="214"/>
                  </a:lnTo>
                  <a:lnTo>
                    <a:pt x="40" y="213"/>
                  </a:lnTo>
                  <a:lnTo>
                    <a:pt x="44" y="209"/>
                  </a:lnTo>
                  <a:close/>
                  <a:moveTo>
                    <a:pt x="216" y="206"/>
                  </a:moveTo>
                  <a:lnTo>
                    <a:pt x="217" y="206"/>
                  </a:lnTo>
                  <a:lnTo>
                    <a:pt x="217" y="207"/>
                  </a:lnTo>
                  <a:lnTo>
                    <a:pt x="218" y="207"/>
                  </a:lnTo>
                  <a:lnTo>
                    <a:pt x="218" y="208"/>
                  </a:lnTo>
                  <a:lnTo>
                    <a:pt x="219" y="209"/>
                  </a:lnTo>
                  <a:lnTo>
                    <a:pt x="219" y="210"/>
                  </a:lnTo>
                  <a:lnTo>
                    <a:pt x="224" y="210"/>
                  </a:lnTo>
                  <a:lnTo>
                    <a:pt x="224" y="213"/>
                  </a:lnTo>
                  <a:lnTo>
                    <a:pt x="223" y="214"/>
                  </a:lnTo>
                  <a:lnTo>
                    <a:pt x="225" y="215"/>
                  </a:lnTo>
                  <a:lnTo>
                    <a:pt x="225" y="216"/>
                  </a:lnTo>
                  <a:lnTo>
                    <a:pt x="224" y="216"/>
                  </a:lnTo>
                  <a:lnTo>
                    <a:pt x="224" y="217"/>
                  </a:lnTo>
                  <a:lnTo>
                    <a:pt x="225" y="217"/>
                  </a:lnTo>
                  <a:lnTo>
                    <a:pt x="225" y="220"/>
                  </a:lnTo>
                  <a:lnTo>
                    <a:pt x="224" y="221"/>
                  </a:lnTo>
                  <a:lnTo>
                    <a:pt x="224" y="222"/>
                  </a:lnTo>
                  <a:lnTo>
                    <a:pt x="223" y="221"/>
                  </a:lnTo>
                  <a:lnTo>
                    <a:pt x="222" y="221"/>
                  </a:lnTo>
                  <a:lnTo>
                    <a:pt x="222" y="219"/>
                  </a:lnTo>
                  <a:lnTo>
                    <a:pt x="220" y="217"/>
                  </a:lnTo>
                  <a:lnTo>
                    <a:pt x="219" y="217"/>
                  </a:lnTo>
                  <a:lnTo>
                    <a:pt x="219" y="216"/>
                  </a:lnTo>
                  <a:lnTo>
                    <a:pt x="218" y="215"/>
                  </a:lnTo>
                  <a:lnTo>
                    <a:pt x="217" y="215"/>
                  </a:lnTo>
                  <a:lnTo>
                    <a:pt x="217" y="213"/>
                  </a:lnTo>
                  <a:lnTo>
                    <a:pt x="216" y="213"/>
                  </a:lnTo>
                  <a:lnTo>
                    <a:pt x="214" y="212"/>
                  </a:lnTo>
                  <a:lnTo>
                    <a:pt x="213" y="213"/>
                  </a:lnTo>
                  <a:lnTo>
                    <a:pt x="213" y="210"/>
                  </a:lnTo>
                  <a:lnTo>
                    <a:pt x="212" y="209"/>
                  </a:lnTo>
                  <a:lnTo>
                    <a:pt x="213" y="209"/>
                  </a:lnTo>
                  <a:lnTo>
                    <a:pt x="212" y="208"/>
                  </a:lnTo>
                  <a:lnTo>
                    <a:pt x="213" y="208"/>
                  </a:lnTo>
                  <a:lnTo>
                    <a:pt x="213" y="207"/>
                  </a:lnTo>
                  <a:lnTo>
                    <a:pt x="216" y="206"/>
                  </a:lnTo>
                  <a:close/>
                  <a:moveTo>
                    <a:pt x="161" y="206"/>
                  </a:moveTo>
                  <a:lnTo>
                    <a:pt x="163" y="206"/>
                  </a:lnTo>
                  <a:lnTo>
                    <a:pt x="164" y="207"/>
                  </a:lnTo>
                  <a:lnTo>
                    <a:pt x="164" y="208"/>
                  </a:lnTo>
                  <a:lnTo>
                    <a:pt x="166" y="208"/>
                  </a:lnTo>
                  <a:lnTo>
                    <a:pt x="163" y="210"/>
                  </a:lnTo>
                  <a:lnTo>
                    <a:pt x="163" y="212"/>
                  </a:lnTo>
                  <a:lnTo>
                    <a:pt x="162" y="210"/>
                  </a:lnTo>
                  <a:lnTo>
                    <a:pt x="162" y="212"/>
                  </a:lnTo>
                  <a:lnTo>
                    <a:pt x="158" y="212"/>
                  </a:lnTo>
                  <a:lnTo>
                    <a:pt x="158" y="210"/>
                  </a:lnTo>
                  <a:lnTo>
                    <a:pt x="160" y="209"/>
                  </a:lnTo>
                  <a:lnTo>
                    <a:pt x="162" y="209"/>
                  </a:lnTo>
                  <a:lnTo>
                    <a:pt x="162" y="208"/>
                  </a:lnTo>
                  <a:lnTo>
                    <a:pt x="160" y="208"/>
                  </a:lnTo>
                  <a:lnTo>
                    <a:pt x="161" y="207"/>
                  </a:lnTo>
                  <a:lnTo>
                    <a:pt x="161" y="206"/>
                  </a:lnTo>
                  <a:close/>
                  <a:moveTo>
                    <a:pt x="138" y="195"/>
                  </a:moveTo>
                  <a:lnTo>
                    <a:pt x="139" y="195"/>
                  </a:lnTo>
                  <a:lnTo>
                    <a:pt x="141" y="196"/>
                  </a:lnTo>
                  <a:lnTo>
                    <a:pt x="139" y="196"/>
                  </a:lnTo>
                  <a:lnTo>
                    <a:pt x="138" y="195"/>
                  </a:lnTo>
                  <a:close/>
                  <a:moveTo>
                    <a:pt x="75" y="188"/>
                  </a:moveTo>
                  <a:lnTo>
                    <a:pt x="76" y="188"/>
                  </a:lnTo>
                  <a:lnTo>
                    <a:pt x="76" y="189"/>
                  </a:lnTo>
                  <a:lnTo>
                    <a:pt x="75" y="188"/>
                  </a:lnTo>
                  <a:close/>
                  <a:moveTo>
                    <a:pt x="45" y="185"/>
                  </a:moveTo>
                  <a:lnTo>
                    <a:pt x="46" y="185"/>
                  </a:lnTo>
                  <a:lnTo>
                    <a:pt x="46" y="189"/>
                  </a:lnTo>
                  <a:lnTo>
                    <a:pt x="44" y="189"/>
                  </a:lnTo>
                  <a:lnTo>
                    <a:pt x="44" y="186"/>
                  </a:lnTo>
                  <a:lnTo>
                    <a:pt x="45" y="186"/>
                  </a:lnTo>
                  <a:lnTo>
                    <a:pt x="45" y="185"/>
                  </a:lnTo>
                  <a:close/>
                  <a:moveTo>
                    <a:pt x="37" y="180"/>
                  </a:moveTo>
                  <a:lnTo>
                    <a:pt x="39" y="180"/>
                  </a:lnTo>
                  <a:lnTo>
                    <a:pt x="42" y="186"/>
                  </a:lnTo>
                  <a:lnTo>
                    <a:pt x="42" y="188"/>
                  </a:lnTo>
                  <a:lnTo>
                    <a:pt x="40" y="189"/>
                  </a:lnTo>
                  <a:lnTo>
                    <a:pt x="40" y="190"/>
                  </a:lnTo>
                  <a:lnTo>
                    <a:pt x="42" y="192"/>
                  </a:lnTo>
                  <a:lnTo>
                    <a:pt x="43" y="191"/>
                  </a:lnTo>
                  <a:lnTo>
                    <a:pt x="44" y="191"/>
                  </a:lnTo>
                  <a:lnTo>
                    <a:pt x="44" y="192"/>
                  </a:lnTo>
                  <a:lnTo>
                    <a:pt x="46" y="195"/>
                  </a:lnTo>
                  <a:lnTo>
                    <a:pt x="46" y="197"/>
                  </a:lnTo>
                  <a:lnTo>
                    <a:pt x="49" y="198"/>
                  </a:lnTo>
                  <a:lnTo>
                    <a:pt x="49" y="202"/>
                  </a:lnTo>
                  <a:lnTo>
                    <a:pt x="44" y="202"/>
                  </a:lnTo>
                  <a:lnTo>
                    <a:pt x="44" y="201"/>
                  </a:lnTo>
                  <a:lnTo>
                    <a:pt x="43" y="200"/>
                  </a:lnTo>
                  <a:lnTo>
                    <a:pt x="39" y="200"/>
                  </a:lnTo>
                  <a:lnTo>
                    <a:pt x="38" y="201"/>
                  </a:lnTo>
                  <a:lnTo>
                    <a:pt x="36" y="200"/>
                  </a:lnTo>
                  <a:lnTo>
                    <a:pt x="36" y="197"/>
                  </a:lnTo>
                  <a:lnTo>
                    <a:pt x="34" y="196"/>
                  </a:lnTo>
                  <a:lnTo>
                    <a:pt x="36" y="196"/>
                  </a:lnTo>
                  <a:lnTo>
                    <a:pt x="36" y="195"/>
                  </a:lnTo>
                  <a:lnTo>
                    <a:pt x="34" y="191"/>
                  </a:lnTo>
                  <a:lnTo>
                    <a:pt x="33" y="191"/>
                  </a:lnTo>
                  <a:lnTo>
                    <a:pt x="33" y="196"/>
                  </a:lnTo>
                  <a:lnTo>
                    <a:pt x="32" y="197"/>
                  </a:lnTo>
                  <a:lnTo>
                    <a:pt x="31" y="197"/>
                  </a:lnTo>
                  <a:lnTo>
                    <a:pt x="29" y="195"/>
                  </a:lnTo>
                  <a:lnTo>
                    <a:pt x="30" y="195"/>
                  </a:lnTo>
                  <a:lnTo>
                    <a:pt x="30" y="191"/>
                  </a:lnTo>
                  <a:lnTo>
                    <a:pt x="31" y="191"/>
                  </a:lnTo>
                  <a:lnTo>
                    <a:pt x="31" y="190"/>
                  </a:lnTo>
                  <a:lnTo>
                    <a:pt x="32" y="188"/>
                  </a:lnTo>
                  <a:lnTo>
                    <a:pt x="33" y="186"/>
                  </a:lnTo>
                  <a:lnTo>
                    <a:pt x="33" y="188"/>
                  </a:lnTo>
                  <a:lnTo>
                    <a:pt x="34" y="189"/>
                  </a:lnTo>
                  <a:lnTo>
                    <a:pt x="36" y="189"/>
                  </a:lnTo>
                  <a:lnTo>
                    <a:pt x="36" y="188"/>
                  </a:lnTo>
                  <a:lnTo>
                    <a:pt x="37" y="188"/>
                  </a:lnTo>
                  <a:lnTo>
                    <a:pt x="38" y="186"/>
                  </a:lnTo>
                  <a:lnTo>
                    <a:pt x="38" y="183"/>
                  </a:lnTo>
                  <a:lnTo>
                    <a:pt x="37" y="183"/>
                  </a:lnTo>
                  <a:lnTo>
                    <a:pt x="38" y="182"/>
                  </a:lnTo>
                  <a:lnTo>
                    <a:pt x="37" y="180"/>
                  </a:lnTo>
                  <a:close/>
                  <a:moveTo>
                    <a:pt x="43" y="179"/>
                  </a:moveTo>
                  <a:lnTo>
                    <a:pt x="43" y="180"/>
                  </a:lnTo>
                  <a:lnTo>
                    <a:pt x="44" y="182"/>
                  </a:lnTo>
                  <a:lnTo>
                    <a:pt x="45" y="182"/>
                  </a:lnTo>
                  <a:lnTo>
                    <a:pt x="44" y="183"/>
                  </a:lnTo>
                  <a:lnTo>
                    <a:pt x="44" y="184"/>
                  </a:lnTo>
                  <a:lnTo>
                    <a:pt x="43" y="185"/>
                  </a:lnTo>
                  <a:lnTo>
                    <a:pt x="44" y="185"/>
                  </a:lnTo>
                  <a:lnTo>
                    <a:pt x="44" y="186"/>
                  </a:lnTo>
                  <a:lnTo>
                    <a:pt x="43" y="186"/>
                  </a:lnTo>
                  <a:lnTo>
                    <a:pt x="42" y="184"/>
                  </a:lnTo>
                  <a:lnTo>
                    <a:pt x="42" y="182"/>
                  </a:lnTo>
                  <a:lnTo>
                    <a:pt x="40" y="182"/>
                  </a:lnTo>
                  <a:lnTo>
                    <a:pt x="40" y="180"/>
                  </a:lnTo>
                  <a:lnTo>
                    <a:pt x="42" y="180"/>
                  </a:lnTo>
                  <a:lnTo>
                    <a:pt x="43" y="179"/>
                  </a:lnTo>
                  <a:close/>
                  <a:moveTo>
                    <a:pt x="268" y="173"/>
                  </a:moveTo>
                  <a:lnTo>
                    <a:pt x="270" y="174"/>
                  </a:lnTo>
                  <a:lnTo>
                    <a:pt x="273" y="177"/>
                  </a:lnTo>
                  <a:lnTo>
                    <a:pt x="273" y="176"/>
                  </a:lnTo>
                  <a:lnTo>
                    <a:pt x="274" y="176"/>
                  </a:lnTo>
                  <a:lnTo>
                    <a:pt x="275" y="177"/>
                  </a:lnTo>
                  <a:lnTo>
                    <a:pt x="274" y="177"/>
                  </a:lnTo>
                  <a:lnTo>
                    <a:pt x="274" y="179"/>
                  </a:lnTo>
                  <a:lnTo>
                    <a:pt x="273" y="179"/>
                  </a:lnTo>
                  <a:lnTo>
                    <a:pt x="273" y="180"/>
                  </a:lnTo>
                  <a:lnTo>
                    <a:pt x="274" y="180"/>
                  </a:lnTo>
                  <a:lnTo>
                    <a:pt x="274" y="188"/>
                  </a:lnTo>
                  <a:lnTo>
                    <a:pt x="275" y="190"/>
                  </a:lnTo>
                  <a:lnTo>
                    <a:pt x="273" y="190"/>
                  </a:lnTo>
                  <a:lnTo>
                    <a:pt x="272" y="191"/>
                  </a:lnTo>
                  <a:lnTo>
                    <a:pt x="273" y="194"/>
                  </a:lnTo>
                  <a:lnTo>
                    <a:pt x="272" y="195"/>
                  </a:lnTo>
                  <a:lnTo>
                    <a:pt x="269" y="195"/>
                  </a:lnTo>
                  <a:lnTo>
                    <a:pt x="269" y="197"/>
                  </a:lnTo>
                  <a:lnTo>
                    <a:pt x="267" y="197"/>
                  </a:lnTo>
                  <a:lnTo>
                    <a:pt x="267" y="196"/>
                  </a:lnTo>
                  <a:lnTo>
                    <a:pt x="266" y="195"/>
                  </a:lnTo>
                  <a:lnTo>
                    <a:pt x="265" y="195"/>
                  </a:lnTo>
                  <a:lnTo>
                    <a:pt x="265" y="194"/>
                  </a:lnTo>
                  <a:lnTo>
                    <a:pt x="263" y="194"/>
                  </a:lnTo>
                  <a:lnTo>
                    <a:pt x="263" y="192"/>
                  </a:lnTo>
                  <a:lnTo>
                    <a:pt x="262" y="192"/>
                  </a:lnTo>
                  <a:lnTo>
                    <a:pt x="262" y="191"/>
                  </a:lnTo>
                  <a:lnTo>
                    <a:pt x="263" y="191"/>
                  </a:lnTo>
                  <a:lnTo>
                    <a:pt x="263" y="190"/>
                  </a:lnTo>
                  <a:lnTo>
                    <a:pt x="267" y="190"/>
                  </a:lnTo>
                  <a:lnTo>
                    <a:pt x="267" y="188"/>
                  </a:lnTo>
                  <a:lnTo>
                    <a:pt x="268" y="188"/>
                  </a:lnTo>
                  <a:lnTo>
                    <a:pt x="267" y="186"/>
                  </a:lnTo>
                  <a:lnTo>
                    <a:pt x="267" y="184"/>
                  </a:lnTo>
                  <a:lnTo>
                    <a:pt x="266" y="184"/>
                  </a:lnTo>
                  <a:lnTo>
                    <a:pt x="266" y="182"/>
                  </a:lnTo>
                  <a:lnTo>
                    <a:pt x="265" y="180"/>
                  </a:lnTo>
                  <a:lnTo>
                    <a:pt x="263" y="180"/>
                  </a:lnTo>
                  <a:lnTo>
                    <a:pt x="261" y="178"/>
                  </a:lnTo>
                  <a:lnTo>
                    <a:pt x="261" y="174"/>
                  </a:lnTo>
                  <a:lnTo>
                    <a:pt x="268" y="173"/>
                  </a:lnTo>
                  <a:close/>
                  <a:moveTo>
                    <a:pt x="248" y="173"/>
                  </a:moveTo>
                  <a:lnTo>
                    <a:pt x="251" y="173"/>
                  </a:lnTo>
                  <a:lnTo>
                    <a:pt x="251" y="177"/>
                  </a:lnTo>
                  <a:lnTo>
                    <a:pt x="249" y="177"/>
                  </a:lnTo>
                  <a:lnTo>
                    <a:pt x="249" y="174"/>
                  </a:lnTo>
                  <a:lnTo>
                    <a:pt x="248" y="174"/>
                  </a:lnTo>
                  <a:lnTo>
                    <a:pt x="248" y="173"/>
                  </a:lnTo>
                  <a:close/>
                  <a:moveTo>
                    <a:pt x="54" y="173"/>
                  </a:moveTo>
                  <a:lnTo>
                    <a:pt x="55" y="173"/>
                  </a:lnTo>
                  <a:lnTo>
                    <a:pt x="54" y="174"/>
                  </a:lnTo>
                  <a:lnTo>
                    <a:pt x="54" y="177"/>
                  </a:lnTo>
                  <a:lnTo>
                    <a:pt x="52" y="177"/>
                  </a:lnTo>
                  <a:lnTo>
                    <a:pt x="52" y="176"/>
                  </a:lnTo>
                  <a:lnTo>
                    <a:pt x="54" y="173"/>
                  </a:lnTo>
                  <a:close/>
                  <a:moveTo>
                    <a:pt x="46" y="172"/>
                  </a:moveTo>
                  <a:lnTo>
                    <a:pt x="48" y="172"/>
                  </a:lnTo>
                  <a:lnTo>
                    <a:pt x="48" y="173"/>
                  </a:lnTo>
                  <a:lnTo>
                    <a:pt x="46" y="172"/>
                  </a:lnTo>
                  <a:close/>
                  <a:moveTo>
                    <a:pt x="52" y="171"/>
                  </a:moveTo>
                  <a:lnTo>
                    <a:pt x="55" y="171"/>
                  </a:lnTo>
                  <a:lnTo>
                    <a:pt x="55" y="172"/>
                  </a:lnTo>
                  <a:lnTo>
                    <a:pt x="54" y="172"/>
                  </a:lnTo>
                  <a:lnTo>
                    <a:pt x="54" y="173"/>
                  </a:lnTo>
                  <a:lnTo>
                    <a:pt x="52" y="173"/>
                  </a:lnTo>
                  <a:lnTo>
                    <a:pt x="52" y="174"/>
                  </a:lnTo>
                  <a:lnTo>
                    <a:pt x="51" y="174"/>
                  </a:lnTo>
                  <a:lnTo>
                    <a:pt x="51" y="173"/>
                  </a:lnTo>
                  <a:lnTo>
                    <a:pt x="52" y="172"/>
                  </a:lnTo>
                  <a:lnTo>
                    <a:pt x="52" y="171"/>
                  </a:lnTo>
                  <a:close/>
                  <a:moveTo>
                    <a:pt x="46" y="170"/>
                  </a:moveTo>
                  <a:lnTo>
                    <a:pt x="49" y="170"/>
                  </a:lnTo>
                  <a:lnTo>
                    <a:pt x="49" y="171"/>
                  </a:lnTo>
                  <a:lnTo>
                    <a:pt x="46" y="171"/>
                  </a:lnTo>
                  <a:lnTo>
                    <a:pt x="46" y="170"/>
                  </a:lnTo>
                  <a:close/>
                  <a:moveTo>
                    <a:pt x="43" y="160"/>
                  </a:moveTo>
                  <a:lnTo>
                    <a:pt x="44" y="160"/>
                  </a:lnTo>
                  <a:lnTo>
                    <a:pt x="44" y="161"/>
                  </a:lnTo>
                  <a:lnTo>
                    <a:pt x="45" y="161"/>
                  </a:lnTo>
                  <a:lnTo>
                    <a:pt x="45" y="167"/>
                  </a:lnTo>
                  <a:lnTo>
                    <a:pt x="44" y="169"/>
                  </a:lnTo>
                  <a:lnTo>
                    <a:pt x="44" y="170"/>
                  </a:lnTo>
                  <a:lnTo>
                    <a:pt x="45" y="169"/>
                  </a:lnTo>
                  <a:lnTo>
                    <a:pt x="45" y="172"/>
                  </a:lnTo>
                  <a:lnTo>
                    <a:pt x="44" y="171"/>
                  </a:lnTo>
                  <a:lnTo>
                    <a:pt x="44" y="173"/>
                  </a:lnTo>
                  <a:lnTo>
                    <a:pt x="40" y="173"/>
                  </a:lnTo>
                  <a:lnTo>
                    <a:pt x="40" y="172"/>
                  </a:lnTo>
                  <a:lnTo>
                    <a:pt x="39" y="172"/>
                  </a:lnTo>
                  <a:lnTo>
                    <a:pt x="39" y="173"/>
                  </a:lnTo>
                  <a:lnTo>
                    <a:pt x="38" y="173"/>
                  </a:lnTo>
                  <a:lnTo>
                    <a:pt x="38" y="169"/>
                  </a:lnTo>
                  <a:lnTo>
                    <a:pt x="39" y="167"/>
                  </a:lnTo>
                  <a:lnTo>
                    <a:pt x="39" y="166"/>
                  </a:lnTo>
                  <a:lnTo>
                    <a:pt x="40" y="164"/>
                  </a:lnTo>
                  <a:lnTo>
                    <a:pt x="40" y="163"/>
                  </a:lnTo>
                  <a:lnTo>
                    <a:pt x="43" y="160"/>
                  </a:lnTo>
                  <a:close/>
                  <a:moveTo>
                    <a:pt x="201" y="158"/>
                  </a:moveTo>
                  <a:lnTo>
                    <a:pt x="203" y="158"/>
                  </a:lnTo>
                  <a:lnTo>
                    <a:pt x="201" y="159"/>
                  </a:lnTo>
                  <a:lnTo>
                    <a:pt x="201" y="158"/>
                  </a:lnTo>
                  <a:close/>
                  <a:moveTo>
                    <a:pt x="137" y="158"/>
                  </a:moveTo>
                  <a:lnTo>
                    <a:pt x="139" y="158"/>
                  </a:lnTo>
                  <a:lnTo>
                    <a:pt x="139" y="159"/>
                  </a:lnTo>
                  <a:lnTo>
                    <a:pt x="141" y="159"/>
                  </a:lnTo>
                  <a:lnTo>
                    <a:pt x="141" y="160"/>
                  </a:lnTo>
                  <a:lnTo>
                    <a:pt x="139" y="160"/>
                  </a:lnTo>
                  <a:lnTo>
                    <a:pt x="136" y="161"/>
                  </a:lnTo>
                  <a:lnTo>
                    <a:pt x="135" y="161"/>
                  </a:lnTo>
                  <a:lnTo>
                    <a:pt x="135" y="159"/>
                  </a:lnTo>
                  <a:lnTo>
                    <a:pt x="137" y="159"/>
                  </a:lnTo>
                  <a:lnTo>
                    <a:pt x="137" y="158"/>
                  </a:lnTo>
                  <a:close/>
                  <a:moveTo>
                    <a:pt x="204" y="153"/>
                  </a:moveTo>
                  <a:lnTo>
                    <a:pt x="207" y="155"/>
                  </a:lnTo>
                  <a:lnTo>
                    <a:pt x="207" y="158"/>
                  </a:lnTo>
                  <a:lnTo>
                    <a:pt x="208" y="159"/>
                  </a:lnTo>
                  <a:lnTo>
                    <a:pt x="211" y="160"/>
                  </a:lnTo>
                  <a:lnTo>
                    <a:pt x="212" y="161"/>
                  </a:lnTo>
                  <a:lnTo>
                    <a:pt x="212" y="164"/>
                  </a:lnTo>
                  <a:lnTo>
                    <a:pt x="211" y="165"/>
                  </a:lnTo>
                  <a:lnTo>
                    <a:pt x="211" y="164"/>
                  </a:lnTo>
                  <a:lnTo>
                    <a:pt x="210" y="165"/>
                  </a:lnTo>
                  <a:lnTo>
                    <a:pt x="210" y="164"/>
                  </a:lnTo>
                  <a:lnTo>
                    <a:pt x="207" y="164"/>
                  </a:lnTo>
                  <a:lnTo>
                    <a:pt x="207" y="165"/>
                  </a:lnTo>
                  <a:lnTo>
                    <a:pt x="206" y="163"/>
                  </a:lnTo>
                  <a:lnTo>
                    <a:pt x="207" y="163"/>
                  </a:lnTo>
                  <a:lnTo>
                    <a:pt x="207" y="160"/>
                  </a:lnTo>
                  <a:lnTo>
                    <a:pt x="206" y="161"/>
                  </a:lnTo>
                  <a:lnTo>
                    <a:pt x="206" y="160"/>
                  </a:lnTo>
                  <a:lnTo>
                    <a:pt x="205" y="160"/>
                  </a:lnTo>
                  <a:lnTo>
                    <a:pt x="204" y="159"/>
                  </a:lnTo>
                  <a:lnTo>
                    <a:pt x="203" y="159"/>
                  </a:lnTo>
                  <a:lnTo>
                    <a:pt x="203" y="154"/>
                  </a:lnTo>
                  <a:lnTo>
                    <a:pt x="204" y="153"/>
                  </a:lnTo>
                  <a:close/>
                  <a:moveTo>
                    <a:pt x="49" y="153"/>
                  </a:moveTo>
                  <a:lnTo>
                    <a:pt x="50" y="153"/>
                  </a:lnTo>
                  <a:lnTo>
                    <a:pt x="50" y="154"/>
                  </a:lnTo>
                  <a:lnTo>
                    <a:pt x="49" y="154"/>
                  </a:lnTo>
                  <a:lnTo>
                    <a:pt x="49" y="153"/>
                  </a:lnTo>
                  <a:close/>
                  <a:moveTo>
                    <a:pt x="152" y="149"/>
                  </a:moveTo>
                  <a:lnTo>
                    <a:pt x="155" y="149"/>
                  </a:lnTo>
                  <a:lnTo>
                    <a:pt x="155" y="151"/>
                  </a:lnTo>
                  <a:lnTo>
                    <a:pt x="156" y="151"/>
                  </a:lnTo>
                  <a:lnTo>
                    <a:pt x="157" y="152"/>
                  </a:lnTo>
                  <a:lnTo>
                    <a:pt x="157" y="154"/>
                  </a:lnTo>
                  <a:lnTo>
                    <a:pt x="160" y="154"/>
                  </a:lnTo>
                  <a:lnTo>
                    <a:pt x="160" y="158"/>
                  </a:lnTo>
                  <a:lnTo>
                    <a:pt x="161" y="158"/>
                  </a:lnTo>
                  <a:lnTo>
                    <a:pt x="161" y="160"/>
                  </a:lnTo>
                  <a:lnTo>
                    <a:pt x="162" y="160"/>
                  </a:lnTo>
                  <a:lnTo>
                    <a:pt x="163" y="161"/>
                  </a:lnTo>
                  <a:lnTo>
                    <a:pt x="166" y="163"/>
                  </a:lnTo>
                  <a:lnTo>
                    <a:pt x="168" y="165"/>
                  </a:lnTo>
                  <a:lnTo>
                    <a:pt x="173" y="165"/>
                  </a:lnTo>
                  <a:lnTo>
                    <a:pt x="173" y="167"/>
                  </a:lnTo>
                  <a:lnTo>
                    <a:pt x="174" y="167"/>
                  </a:lnTo>
                  <a:lnTo>
                    <a:pt x="175" y="169"/>
                  </a:lnTo>
                  <a:lnTo>
                    <a:pt x="178" y="169"/>
                  </a:lnTo>
                  <a:lnTo>
                    <a:pt x="180" y="170"/>
                  </a:lnTo>
                  <a:lnTo>
                    <a:pt x="182" y="170"/>
                  </a:lnTo>
                  <a:lnTo>
                    <a:pt x="182" y="169"/>
                  </a:lnTo>
                  <a:lnTo>
                    <a:pt x="183" y="170"/>
                  </a:lnTo>
                  <a:lnTo>
                    <a:pt x="189" y="170"/>
                  </a:lnTo>
                  <a:lnTo>
                    <a:pt x="191" y="171"/>
                  </a:lnTo>
                  <a:lnTo>
                    <a:pt x="189" y="171"/>
                  </a:lnTo>
                  <a:lnTo>
                    <a:pt x="189" y="172"/>
                  </a:lnTo>
                  <a:lnTo>
                    <a:pt x="188" y="172"/>
                  </a:lnTo>
                  <a:lnTo>
                    <a:pt x="188" y="173"/>
                  </a:lnTo>
                  <a:lnTo>
                    <a:pt x="189" y="173"/>
                  </a:lnTo>
                  <a:lnTo>
                    <a:pt x="193" y="177"/>
                  </a:lnTo>
                  <a:lnTo>
                    <a:pt x="193" y="178"/>
                  </a:lnTo>
                  <a:lnTo>
                    <a:pt x="192" y="178"/>
                  </a:lnTo>
                  <a:lnTo>
                    <a:pt x="192" y="184"/>
                  </a:lnTo>
                  <a:lnTo>
                    <a:pt x="193" y="185"/>
                  </a:lnTo>
                  <a:lnTo>
                    <a:pt x="193" y="189"/>
                  </a:lnTo>
                  <a:lnTo>
                    <a:pt x="194" y="190"/>
                  </a:lnTo>
                  <a:lnTo>
                    <a:pt x="194" y="194"/>
                  </a:lnTo>
                  <a:lnTo>
                    <a:pt x="195" y="195"/>
                  </a:lnTo>
                  <a:lnTo>
                    <a:pt x="198" y="196"/>
                  </a:lnTo>
                  <a:lnTo>
                    <a:pt x="198" y="197"/>
                  </a:lnTo>
                  <a:lnTo>
                    <a:pt x="200" y="197"/>
                  </a:lnTo>
                  <a:lnTo>
                    <a:pt x="201" y="198"/>
                  </a:lnTo>
                  <a:lnTo>
                    <a:pt x="205" y="198"/>
                  </a:lnTo>
                  <a:lnTo>
                    <a:pt x="208" y="197"/>
                  </a:lnTo>
                  <a:lnTo>
                    <a:pt x="208" y="203"/>
                  </a:lnTo>
                  <a:lnTo>
                    <a:pt x="207" y="206"/>
                  </a:lnTo>
                  <a:lnTo>
                    <a:pt x="207" y="207"/>
                  </a:lnTo>
                  <a:lnTo>
                    <a:pt x="206" y="208"/>
                  </a:lnTo>
                  <a:lnTo>
                    <a:pt x="204" y="208"/>
                  </a:lnTo>
                  <a:lnTo>
                    <a:pt x="204" y="207"/>
                  </a:lnTo>
                  <a:lnTo>
                    <a:pt x="201" y="204"/>
                  </a:lnTo>
                  <a:lnTo>
                    <a:pt x="200" y="206"/>
                  </a:lnTo>
                  <a:lnTo>
                    <a:pt x="200" y="207"/>
                  </a:lnTo>
                  <a:lnTo>
                    <a:pt x="199" y="207"/>
                  </a:lnTo>
                  <a:lnTo>
                    <a:pt x="198" y="206"/>
                  </a:lnTo>
                  <a:lnTo>
                    <a:pt x="198" y="204"/>
                  </a:lnTo>
                  <a:lnTo>
                    <a:pt x="197" y="204"/>
                  </a:lnTo>
                  <a:lnTo>
                    <a:pt x="198" y="203"/>
                  </a:lnTo>
                  <a:lnTo>
                    <a:pt x="197" y="202"/>
                  </a:lnTo>
                  <a:lnTo>
                    <a:pt x="195" y="202"/>
                  </a:lnTo>
                  <a:lnTo>
                    <a:pt x="195" y="201"/>
                  </a:lnTo>
                  <a:lnTo>
                    <a:pt x="193" y="201"/>
                  </a:lnTo>
                  <a:lnTo>
                    <a:pt x="193" y="200"/>
                  </a:lnTo>
                  <a:lnTo>
                    <a:pt x="192" y="198"/>
                  </a:lnTo>
                  <a:lnTo>
                    <a:pt x="192" y="197"/>
                  </a:lnTo>
                  <a:lnTo>
                    <a:pt x="193" y="197"/>
                  </a:lnTo>
                  <a:lnTo>
                    <a:pt x="192" y="196"/>
                  </a:lnTo>
                  <a:lnTo>
                    <a:pt x="192" y="194"/>
                  </a:lnTo>
                  <a:lnTo>
                    <a:pt x="189" y="194"/>
                  </a:lnTo>
                  <a:lnTo>
                    <a:pt x="189" y="192"/>
                  </a:lnTo>
                  <a:lnTo>
                    <a:pt x="191" y="191"/>
                  </a:lnTo>
                  <a:lnTo>
                    <a:pt x="189" y="191"/>
                  </a:lnTo>
                  <a:lnTo>
                    <a:pt x="188" y="192"/>
                  </a:lnTo>
                  <a:lnTo>
                    <a:pt x="188" y="189"/>
                  </a:lnTo>
                  <a:lnTo>
                    <a:pt x="187" y="189"/>
                  </a:lnTo>
                  <a:lnTo>
                    <a:pt x="186" y="188"/>
                  </a:lnTo>
                  <a:lnTo>
                    <a:pt x="186" y="184"/>
                  </a:lnTo>
                  <a:lnTo>
                    <a:pt x="182" y="184"/>
                  </a:lnTo>
                  <a:lnTo>
                    <a:pt x="180" y="185"/>
                  </a:lnTo>
                  <a:lnTo>
                    <a:pt x="179" y="184"/>
                  </a:lnTo>
                  <a:lnTo>
                    <a:pt x="168" y="184"/>
                  </a:lnTo>
                  <a:lnTo>
                    <a:pt x="167" y="180"/>
                  </a:lnTo>
                  <a:lnTo>
                    <a:pt x="168" y="179"/>
                  </a:lnTo>
                  <a:lnTo>
                    <a:pt x="168" y="177"/>
                  </a:lnTo>
                  <a:lnTo>
                    <a:pt x="166" y="174"/>
                  </a:lnTo>
                  <a:lnTo>
                    <a:pt x="163" y="174"/>
                  </a:lnTo>
                  <a:lnTo>
                    <a:pt x="163" y="173"/>
                  </a:lnTo>
                  <a:lnTo>
                    <a:pt x="162" y="173"/>
                  </a:lnTo>
                  <a:lnTo>
                    <a:pt x="162" y="172"/>
                  </a:lnTo>
                  <a:lnTo>
                    <a:pt x="161" y="171"/>
                  </a:lnTo>
                  <a:lnTo>
                    <a:pt x="161" y="170"/>
                  </a:lnTo>
                  <a:lnTo>
                    <a:pt x="160" y="170"/>
                  </a:lnTo>
                  <a:lnTo>
                    <a:pt x="160" y="169"/>
                  </a:lnTo>
                  <a:lnTo>
                    <a:pt x="158" y="169"/>
                  </a:lnTo>
                  <a:lnTo>
                    <a:pt x="154" y="164"/>
                  </a:lnTo>
                  <a:lnTo>
                    <a:pt x="150" y="161"/>
                  </a:lnTo>
                  <a:lnTo>
                    <a:pt x="149" y="160"/>
                  </a:lnTo>
                  <a:lnTo>
                    <a:pt x="144" y="160"/>
                  </a:lnTo>
                  <a:lnTo>
                    <a:pt x="143" y="159"/>
                  </a:lnTo>
                  <a:lnTo>
                    <a:pt x="142" y="159"/>
                  </a:lnTo>
                  <a:lnTo>
                    <a:pt x="141" y="158"/>
                  </a:lnTo>
                  <a:lnTo>
                    <a:pt x="139" y="158"/>
                  </a:lnTo>
                  <a:lnTo>
                    <a:pt x="141" y="157"/>
                  </a:lnTo>
                  <a:lnTo>
                    <a:pt x="142" y="157"/>
                  </a:lnTo>
                  <a:lnTo>
                    <a:pt x="144" y="154"/>
                  </a:lnTo>
                  <a:lnTo>
                    <a:pt x="145" y="154"/>
                  </a:lnTo>
                  <a:lnTo>
                    <a:pt x="145" y="153"/>
                  </a:lnTo>
                  <a:lnTo>
                    <a:pt x="147" y="152"/>
                  </a:lnTo>
                  <a:lnTo>
                    <a:pt x="150" y="152"/>
                  </a:lnTo>
                  <a:lnTo>
                    <a:pt x="150" y="151"/>
                  </a:lnTo>
                  <a:lnTo>
                    <a:pt x="152" y="149"/>
                  </a:lnTo>
                  <a:close/>
                  <a:moveTo>
                    <a:pt x="168" y="142"/>
                  </a:moveTo>
                  <a:lnTo>
                    <a:pt x="169" y="142"/>
                  </a:lnTo>
                  <a:lnTo>
                    <a:pt x="170" y="143"/>
                  </a:lnTo>
                  <a:lnTo>
                    <a:pt x="173" y="143"/>
                  </a:lnTo>
                  <a:lnTo>
                    <a:pt x="172" y="145"/>
                  </a:lnTo>
                  <a:lnTo>
                    <a:pt x="175" y="145"/>
                  </a:lnTo>
                  <a:lnTo>
                    <a:pt x="175" y="146"/>
                  </a:lnTo>
                  <a:lnTo>
                    <a:pt x="174" y="147"/>
                  </a:lnTo>
                  <a:lnTo>
                    <a:pt x="173" y="147"/>
                  </a:lnTo>
                  <a:lnTo>
                    <a:pt x="172" y="148"/>
                  </a:lnTo>
                  <a:lnTo>
                    <a:pt x="172" y="147"/>
                  </a:lnTo>
                  <a:lnTo>
                    <a:pt x="169" y="147"/>
                  </a:lnTo>
                  <a:lnTo>
                    <a:pt x="169" y="146"/>
                  </a:lnTo>
                  <a:lnTo>
                    <a:pt x="168" y="143"/>
                  </a:lnTo>
                  <a:lnTo>
                    <a:pt x="168" y="142"/>
                  </a:lnTo>
                  <a:close/>
                  <a:moveTo>
                    <a:pt x="167" y="140"/>
                  </a:moveTo>
                  <a:lnTo>
                    <a:pt x="167" y="141"/>
                  </a:lnTo>
                  <a:lnTo>
                    <a:pt x="168" y="142"/>
                  </a:lnTo>
                  <a:lnTo>
                    <a:pt x="166" y="141"/>
                  </a:lnTo>
                  <a:lnTo>
                    <a:pt x="167" y="140"/>
                  </a:lnTo>
                  <a:close/>
                  <a:moveTo>
                    <a:pt x="161" y="140"/>
                  </a:moveTo>
                  <a:lnTo>
                    <a:pt x="163" y="142"/>
                  </a:lnTo>
                  <a:lnTo>
                    <a:pt x="163" y="143"/>
                  </a:lnTo>
                  <a:lnTo>
                    <a:pt x="162" y="142"/>
                  </a:lnTo>
                  <a:lnTo>
                    <a:pt x="161" y="143"/>
                  </a:lnTo>
                  <a:lnTo>
                    <a:pt x="161" y="145"/>
                  </a:lnTo>
                  <a:lnTo>
                    <a:pt x="160" y="145"/>
                  </a:lnTo>
                  <a:lnTo>
                    <a:pt x="160" y="143"/>
                  </a:lnTo>
                  <a:lnTo>
                    <a:pt x="158" y="143"/>
                  </a:lnTo>
                  <a:lnTo>
                    <a:pt x="158" y="142"/>
                  </a:lnTo>
                  <a:lnTo>
                    <a:pt x="160" y="142"/>
                  </a:lnTo>
                  <a:lnTo>
                    <a:pt x="160" y="141"/>
                  </a:lnTo>
                  <a:lnTo>
                    <a:pt x="161" y="141"/>
                  </a:lnTo>
                  <a:lnTo>
                    <a:pt x="161" y="140"/>
                  </a:lnTo>
                  <a:close/>
                  <a:moveTo>
                    <a:pt x="20" y="139"/>
                  </a:moveTo>
                  <a:lnTo>
                    <a:pt x="21" y="140"/>
                  </a:lnTo>
                  <a:lnTo>
                    <a:pt x="23" y="140"/>
                  </a:lnTo>
                  <a:lnTo>
                    <a:pt x="23" y="141"/>
                  </a:lnTo>
                  <a:lnTo>
                    <a:pt x="24" y="142"/>
                  </a:lnTo>
                  <a:lnTo>
                    <a:pt x="21" y="142"/>
                  </a:lnTo>
                  <a:lnTo>
                    <a:pt x="20" y="141"/>
                  </a:lnTo>
                  <a:lnTo>
                    <a:pt x="20" y="139"/>
                  </a:lnTo>
                  <a:close/>
                  <a:moveTo>
                    <a:pt x="181" y="136"/>
                  </a:moveTo>
                  <a:lnTo>
                    <a:pt x="181" y="137"/>
                  </a:lnTo>
                  <a:lnTo>
                    <a:pt x="182" y="137"/>
                  </a:lnTo>
                  <a:lnTo>
                    <a:pt x="182" y="139"/>
                  </a:lnTo>
                  <a:lnTo>
                    <a:pt x="180" y="141"/>
                  </a:lnTo>
                  <a:lnTo>
                    <a:pt x="179" y="143"/>
                  </a:lnTo>
                  <a:lnTo>
                    <a:pt x="178" y="145"/>
                  </a:lnTo>
                  <a:lnTo>
                    <a:pt x="176" y="143"/>
                  </a:lnTo>
                  <a:lnTo>
                    <a:pt x="178" y="143"/>
                  </a:lnTo>
                  <a:lnTo>
                    <a:pt x="178" y="142"/>
                  </a:lnTo>
                  <a:lnTo>
                    <a:pt x="179" y="142"/>
                  </a:lnTo>
                  <a:lnTo>
                    <a:pt x="179" y="140"/>
                  </a:lnTo>
                  <a:lnTo>
                    <a:pt x="181" y="136"/>
                  </a:lnTo>
                  <a:close/>
                  <a:moveTo>
                    <a:pt x="186" y="133"/>
                  </a:moveTo>
                  <a:lnTo>
                    <a:pt x="187" y="133"/>
                  </a:lnTo>
                  <a:lnTo>
                    <a:pt x="187" y="135"/>
                  </a:lnTo>
                  <a:lnTo>
                    <a:pt x="186" y="136"/>
                  </a:lnTo>
                  <a:lnTo>
                    <a:pt x="186" y="133"/>
                  </a:lnTo>
                  <a:close/>
                  <a:moveTo>
                    <a:pt x="275" y="132"/>
                  </a:moveTo>
                  <a:lnTo>
                    <a:pt x="284" y="132"/>
                  </a:lnTo>
                  <a:lnTo>
                    <a:pt x="282" y="133"/>
                  </a:lnTo>
                  <a:lnTo>
                    <a:pt x="284" y="133"/>
                  </a:lnTo>
                  <a:lnTo>
                    <a:pt x="285" y="134"/>
                  </a:lnTo>
                  <a:lnTo>
                    <a:pt x="286" y="134"/>
                  </a:lnTo>
                  <a:lnTo>
                    <a:pt x="284" y="136"/>
                  </a:lnTo>
                  <a:lnTo>
                    <a:pt x="284" y="137"/>
                  </a:lnTo>
                  <a:lnTo>
                    <a:pt x="286" y="139"/>
                  </a:lnTo>
                  <a:lnTo>
                    <a:pt x="287" y="139"/>
                  </a:lnTo>
                  <a:lnTo>
                    <a:pt x="287" y="140"/>
                  </a:lnTo>
                  <a:lnTo>
                    <a:pt x="288" y="140"/>
                  </a:lnTo>
                  <a:lnTo>
                    <a:pt x="290" y="142"/>
                  </a:lnTo>
                  <a:lnTo>
                    <a:pt x="291" y="143"/>
                  </a:lnTo>
                  <a:lnTo>
                    <a:pt x="291" y="146"/>
                  </a:lnTo>
                  <a:lnTo>
                    <a:pt x="292" y="146"/>
                  </a:lnTo>
                  <a:lnTo>
                    <a:pt x="292" y="148"/>
                  </a:lnTo>
                  <a:lnTo>
                    <a:pt x="293" y="149"/>
                  </a:lnTo>
                  <a:lnTo>
                    <a:pt x="294" y="149"/>
                  </a:lnTo>
                  <a:lnTo>
                    <a:pt x="293" y="151"/>
                  </a:lnTo>
                  <a:lnTo>
                    <a:pt x="293" y="152"/>
                  </a:lnTo>
                  <a:lnTo>
                    <a:pt x="292" y="151"/>
                  </a:lnTo>
                  <a:lnTo>
                    <a:pt x="291" y="151"/>
                  </a:lnTo>
                  <a:lnTo>
                    <a:pt x="290" y="149"/>
                  </a:lnTo>
                  <a:lnTo>
                    <a:pt x="290" y="146"/>
                  </a:lnTo>
                  <a:lnTo>
                    <a:pt x="286" y="146"/>
                  </a:lnTo>
                  <a:lnTo>
                    <a:pt x="291" y="151"/>
                  </a:lnTo>
                  <a:lnTo>
                    <a:pt x="291" y="153"/>
                  </a:lnTo>
                  <a:lnTo>
                    <a:pt x="288" y="153"/>
                  </a:lnTo>
                  <a:lnTo>
                    <a:pt x="286" y="154"/>
                  </a:lnTo>
                  <a:lnTo>
                    <a:pt x="285" y="154"/>
                  </a:lnTo>
                  <a:lnTo>
                    <a:pt x="284" y="153"/>
                  </a:lnTo>
                  <a:lnTo>
                    <a:pt x="281" y="153"/>
                  </a:lnTo>
                  <a:lnTo>
                    <a:pt x="280" y="152"/>
                  </a:lnTo>
                  <a:lnTo>
                    <a:pt x="278" y="151"/>
                  </a:lnTo>
                  <a:lnTo>
                    <a:pt x="274" y="151"/>
                  </a:lnTo>
                  <a:lnTo>
                    <a:pt x="273" y="148"/>
                  </a:lnTo>
                  <a:lnTo>
                    <a:pt x="272" y="148"/>
                  </a:lnTo>
                  <a:lnTo>
                    <a:pt x="272" y="147"/>
                  </a:lnTo>
                  <a:lnTo>
                    <a:pt x="275" y="147"/>
                  </a:lnTo>
                  <a:lnTo>
                    <a:pt x="275" y="146"/>
                  </a:lnTo>
                  <a:lnTo>
                    <a:pt x="276" y="145"/>
                  </a:lnTo>
                  <a:lnTo>
                    <a:pt x="278" y="145"/>
                  </a:lnTo>
                  <a:lnTo>
                    <a:pt x="280" y="142"/>
                  </a:lnTo>
                  <a:lnTo>
                    <a:pt x="280" y="141"/>
                  </a:lnTo>
                  <a:lnTo>
                    <a:pt x="275" y="141"/>
                  </a:lnTo>
                  <a:lnTo>
                    <a:pt x="275" y="142"/>
                  </a:lnTo>
                  <a:lnTo>
                    <a:pt x="272" y="146"/>
                  </a:lnTo>
                  <a:lnTo>
                    <a:pt x="272" y="147"/>
                  </a:lnTo>
                  <a:lnTo>
                    <a:pt x="269" y="147"/>
                  </a:lnTo>
                  <a:lnTo>
                    <a:pt x="266" y="146"/>
                  </a:lnTo>
                  <a:lnTo>
                    <a:pt x="266" y="145"/>
                  </a:lnTo>
                  <a:lnTo>
                    <a:pt x="263" y="145"/>
                  </a:lnTo>
                  <a:lnTo>
                    <a:pt x="262" y="142"/>
                  </a:lnTo>
                  <a:lnTo>
                    <a:pt x="261" y="142"/>
                  </a:lnTo>
                  <a:lnTo>
                    <a:pt x="261" y="141"/>
                  </a:lnTo>
                  <a:lnTo>
                    <a:pt x="262" y="141"/>
                  </a:lnTo>
                  <a:lnTo>
                    <a:pt x="262" y="137"/>
                  </a:lnTo>
                  <a:lnTo>
                    <a:pt x="263" y="137"/>
                  </a:lnTo>
                  <a:lnTo>
                    <a:pt x="265" y="136"/>
                  </a:lnTo>
                  <a:lnTo>
                    <a:pt x="266" y="137"/>
                  </a:lnTo>
                  <a:lnTo>
                    <a:pt x="267" y="136"/>
                  </a:lnTo>
                  <a:lnTo>
                    <a:pt x="269" y="136"/>
                  </a:lnTo>
                  <a:lnTo>
                    <a:pt x="270" y="135"/>
                  </a:lnTo>
                  <a:lnTo>
                    <a:pt x="274" y="135"/>
                  </a:lnTo>
                  <a:lnTo>
                    <a:pt x="275" y="134"/>
                  </a:lnTo>
                  <a:lnTo>
                    <a:pt x="275" y="132"/>
                  </a:lnTo>
                  <a:close/>
                  <a:moveTo>
                    <a:pt x="226" y="121"/>
                  </a:moveTo>
                  <a:lnTo>
                    <a:pt x="228" y="122"/>
                  </a:lnTo>
                  <a:lnTo>
                    <a:pt x="228" y="123"/>
                  </a:lnTo>
                  <a:lnTo>
                    <a:pt x="225" y="127"/>
                  </a:lnTo>
                  <a:lnTo>
                    <a:pt x="225" y="122"/>
                  </a:lnTo>
                  <a:lnTo>
                    <a:pt x="226" y="121"/>
                  </a:lnTo>
                  <a:close/>
                  <a:moveTo>
                    <a:pt x="19" y="115"/>
                  </a:moveTo>
                  <a:lnTo>
                    <a:pt x="21" y="117"/>
                  </a:lnTo>
                  <a:lnTo>
                    <a:pt x="20" y="117"/>
                  </a:lnTo>
                  <a:lnTo>
                    <a:pt x="20" y="116"/>
                  </a:lnTo>
                  <a:lnTo>
                    <a:pt x="19" y="116"/>
                  </a:lnTo>
                  <a:lnTo>
                    <a:pt x="19" y="115"/>
                  </a:lnTo>
                  <a:close/>
                  <a:moveTo>
                    <a:pt x="15" y="114"/>
                  </a:moveTo>
                  <a:lnTo>
                    <a:pt x="17" y="115"/>
                  </a:lnTo>
                  <a:lnTo>
                    <a:pt x="14" y="115"/>
                  </a:lnTo>
                  <a:lnTo>
                    <a:pt x="15" y="114"/>
                  </a:lnTo>
                  <a:close/>
                  <a:moveTo>
                    <a:pt x="8" y="106"/>
                  </a:moveTo>
                  <a:lnTo>
                    <a:pt x="9" y="108"/>
                  </a:lnTo>
                  <a:lnTo>
                    <a:pt x="11" y="108"/>
                  </a:lnTo>
                  <a:lnTo>
                    <a:pt x="12" y="109"/>
                  </a:lnTo>
                  <a:lnTo>
                    <a:pt x="13" y="109"/>
                  </a:lnTo>
                  <a:lnTo>
                    <a:pt x="13" y="110"/>
                  </a:lnTo>
                  <a:lnTo>
                    <a:pt x="11" y="112"/>
                  </a:lnTo>
                  <a:lnTo>
                    <a:pt x="8" y="114"/>
                  </a:lnTo>
                  <a:lnTo>
                    <a:pt x="8" y="116"/>
                  </a:lnTo>
                  <a:lnTo>
                    <a:pt x="11" y="117"/>
                  </a:lnTo>
                  <a:lnTo>
                    <a:pt x="12" y="118"/>
                  </a:lnTo>
                  <a:lnTo>
                    <a:pt x="12" y="120"/>
                  </a:lnTo>
                  <a:lnTo>
                    <a:pt x="11" y="120"/>
                  </a:lnTo>
                  <a:lnTo>
                    <a:pt x="11" y="121"/>
                  </a:lnTo>
                  <a:lnTo>
                    <a:pt x="12" y="126"/>
                  </a:lnTo>
                  <a:lnTo>
                    <a:pt x="12" y="127"/>
                  </a:lnTo>
                  <a:lnTo>
                    <a:pt x="15" y="127"/>
                  </a:lnTo>
                  <a:lnTo>
                    <a:pt x="15" y="128"/>
                  </a:lnTo>
                  <a:lnTo>
                    <a:pt x="19" y="128"/>
                  </a:lnTo>
                  <a:lnTo>
                    <a:pt x="19" y="130"/>
                  </a:lnTo>
                  <a:lnTo>
                    <a:pt x="20" y="132"/>
                  </a:lnTo>
                  <a:lnTo>
                    <a:pt x="19" y="133"/>
                  </a:lnTo>
                  <a:lnTo>
                    <a:pt x="19" y="132"/>
                  </a:lnTo>
                  <a:lnTo>
                    <a:pt x="18" y="132"/>
                  </a:lnTo>
                  <a:lnTo>
                    <a:pt x="17" y="130"/>
                  </a:lnTo>
                  <a:lnTo>
                    <a:pt x="14" y="130"/>
                  </a:lnTo>
                  <a:lnTo>
                    <a:pt x="13" y="129"/>
                  </a:lnTo>
                  <a:lnTo>
                    <a:pt x="11" y="129"/>
                  </a:lnTo>
                  <a:lnTo>
                    <a:pt x="11" y="128"/>
                  </a:lnTo>
                  <a:lnTo>
                    <a:pt x="12" y="128"/>
                  </a:lnTo>
                  <a:lnTo>
                    <a:pt x="11" y="127"/>
                  </a:lnTo>
                  <a:lnTo>
                    <a:pt x="9" y="127"/>
                  </a:lnTo>
                  <a:lnTo>
                    <a:pt x="8" y="126"/>
                  </a:lnTo>
                  <a:lnTo>
                    <a:pt x="8" y="122"/>
                  </a:lnTo>
                  <a:lnTo>
                    <a:pt x="7" y="121"/>
                  </a:lnTo>
                  <a:lnTo>
                    <a:pt x="7" y="120"/>
                  </a:lnTo>
                  <a:lnTo>
                    <a:pt x="6" y="120"/>
                  </a:lnTo>
                  <a:lnTo>
                    <a:pt x="5" y="118"/>
                  </a:lnTo>
                  <a:lnTo>
                    <a:pt x="3" y="116"/>
                  </a:lnTo>
                  <a:lnTo>
                    <a:pt x="2" y="115"/>
                  </a:lnTo>
                  <a:lnTo>
                    <a:pt x="1" y="115"/>
                  </a:lnTo>
                  <a:lnTo>
                    <a:pt x="1" y="112"/>
                  </a:lnTo>
                  <a:lnTo>
                    <a:pt x="0" y="114"/>
                  </a:lnTo>
                  <a:lnTo>
                    <a:pt x="0" y="109"/>
                  </a:lnTo>
                  <a:lnTo>
                    <a:pt x="5" y="109"/>
                  </a:lnTo>
                  <a:lnTo>
                    <a:pt x="6" y="108"/>
                  </a:lnTo>
                  <a:lnTo>
                    <a:pt x="7" y="108"/>
                  </a:lnTo>
                  <a:lnTo>
                    <a:pt x="8" y="106"/>
                  </a:lnTo>
                  <a:close/>
                  <a:moveTo>
                    <a:pt x="242" y="96"/>
                  </a:moveTo>
                  <a:lnTo>
                    <a:pt x="244" y="96"/>
                  </a:lnTo>
                  <a:lnTo>
                    <a:pt x="244" y="98"/>
                  </a:lnTo>
                  <a:lnTo>
                    <a:pt x="242" y="100"/>
                  </a:lnTo>
                  <a:lnTo>
                    <a:pt x="242" y="102"/>
                  </a:lnTo>
                  <a:lnTo>
                    <a:pt x="241" y="102"/>
                  </a:lnTo>
                  <a:lnTo>
                    <a:pt x="241" y="104"/>
                  </a:lnTo>
                  <a:lnTo>
                    <a:pt x="239" y="104"/>
                  </a:lnTo>
                  <a:lnTo>
                    <a:pt x="241" y="105"/>
                  </a:lnTo>
                  <a:lnTo>
                    <a:pt x="241" y="106"/>
                  </a:lnTo>
                  <a:lnTo>
                    <a:pt x="242" y="108"/>
                  </a:lnTo>
                  <a:lnTo>
                    <a:pt x="241" y="108"/>
                  </a:lnTo>
                  <a:lnTo>
                    <a:pt x="241" y="109"/>
                  </a:lnTo>
                  <a:lnTo>
                    <a:pt x="239" y="109"/>
                  </a:lnTo>
                  <a:lnTo>
                    <a:pt x="238" y="108"/>
                  </a:lnTo>
                  <a:lnTo>
                    <a:pt x="238" y="106"/>
                  </a:lnTo>
                  <a:lnTo>
                    <a:pt x="237" y="106"/>
                  </a:lnTo>
                  <a:lnTo>
                    <a:pt x="237" y="105"/>
                  </a:lnTo>
                  <a:lnTo>
                    <a:pt x="236" y="105"/>
                  </a:lnTo>
                  <a:lnTo>
                    <a:pt x="237" y="104"/>
                  </a:lnTo>
                  <a:lnTo>
                    <a:pt x="237" y="102"/>
                  </a:lnTo>
                  <a:lnTo>
                    <a:pt x="236" y="102"/>
                  </a:lnTo>
                  <a:lnTo>
                    <a:pt x="234" y="103"/>
                  </a:lnTo>
                  <a:lnTo>
                    <a:pt x="235" y="103"/>
                  </a:lnTo>
                  <a:lnTo>
                    <a:pt x="235" y="104"/>
                  </a:lnTo>
                  <a:lnTo>
                    <a:pt x="234" y="104"/>
                  </a:lnTo>
                  <a:lnTo>
                    <a:pt x="234" y="105"/>
                  </a:lnTo>
                  <a:lnTo>
                    <a:pt x="235" y="106"/>
                  </a:lnTo>
                  <a:lnTo>
                    <a:pt x="235" y="108"/>
                  </a:lnTo>
                  <a:lnTo>
                    <a:pt x="232" y="108"/>
                  </a:lnTo>
                  <a:lnTo>
                    <a:pt x="232" y="105"/>
                  </a:lnTo>
                  <a:lnTo>
                    <a:pt x="231" y="105"/>
                  </a:lnTo>
                  <a:lnTo>
                    <a:pt x="229" y="106"/>
                  </a:lnTo>
                  <a:lnTo>
                    <a:pt x="228" y="106"/>
                  </a:lnTo>
                  <a:lnTo>
                    <a:pt x="228" y="104"/>
                  </a:lnTo>
                  <a:lnTo>
                    <a:pt x="229" y="104"/>
                  </a:lnTo>
                  <a:lnTo>
                    <a:pt x="229" y="102"/>
                  </a:lnTo>
                  <a:lnTo>
                    <a:pt x="228" y="100"/>
                  </a:lnTo>
                  <a:lnTo>
                    <a:pt x="228" y="98"/>
                  </a:lnTo>
                  <a:lnTo>
                    <a:pt x="229" y="98"/>
                  </a:lnTo>
                  <a:lnTo>
                    <a:pt x="231" y="97"/>
                  </a:lnTo>
                  <a:lnTo>
                    <a:pt x="232" y="97"/>
                  </a:lnTo>
                  <a:lnTo>
                    <a:pt x="232" y="98"/>
                  </a:lnTo>
                  <a:lnTo>
                    <a:pt x="234" y="98"/>
                  </a:lnTo>
                  <a:lnTo>
                    <a:pt x="235" y="97"/>
                  </a:lnTo>
                  <a:lnTo>
                    <a:pt x="236" y="97"/>
                  </a:lnTo>
                  <a:lnTo>
                    <a:pt x="237" y="98"/>
                  </a:lnTo>
                  <a:lnTo>
                    <a:pt x="237" y="99"/>
                  </a:lnTo>
                  <a:lnTo>
                    <a:pt x="239" y="99"/>
                  </a:lnTo>
                  <a:lnTo>
                    <a:pt x="242" y="97"/>
                  </a:lnTo>
                  <a:lnTo>
                    <a:pt x="242" y="96"/>
                  </a:lnTo>
                  <a:close/>
                  <a:moveTo>
                    <a:pt x="248" y="69"/>
                  </a:moveTo>
                  <a:lnTo>
                    <a:pt x="254" y="69"/>
                  </a:lnTo>
                  <a:lnTo>
                    <a:pt x="254" y="71"/>
                  </a:lnTo>
                  <a:lnTo>
                    <a:pt x="255" y="71"/>
                  </a:lnTo>
                  <a:lnTo>
                    <a:pt x="255" y="74"/>
                  </a:lnTo>
                  <a:lnTo>
                    <a:pt x="250" y="75"/>
                  </a:lnTo>
                  <a:lnTo>
                    <a:pt x="248" y="74"/>
                  </a:lnTo>
                  <a:lnTo>
                    <a:pt x="245" y="72"/>
                  </a:lnTo>
                  <a:lnTo>
                    <a:pt x="244" y="72"/>
                  </a:lnTo>
                  <a:lnTo>
                    <a:pt x="244" y="71"/>
                  </a:lnTo>
                  <a:lnTo>
                    <a:pt x="245" y="71"/>
                  </a:lnTo>
                  <a:lnTo>
                    <a:pt x="248" y="69"/>
                  </a:lnTo>
                  <a:close/>
                  <a:moveTo>
                    <a:pt x="211" y="53"/>
                  </a:moveTo>
                  <a:lnTo>
                    <a:pt x="212" y="54"/>
                  </a:lnTo>
                  <a:lnTo>
                    <a:pt x="214" y="54"/>
                  </a:lnTo>
                  <a:lnTo>
                    <a:pt x="214" y="55"/>
                  </a:lnTo>
                  <a:lnTo>
                    <a:pt x="216" y="55"/>
                  </a:lnTo>
                  <a:lnTo>
                    <a:pt x="216" y="57"/>
                  </a:lnTo>
                  <a:lnTo>
                    <a:pt x="217" y="59"/>
                  </a:lnTo>
                  <a:lnTo>
                    <a:pt x="217" y="60"/>
                  </a:lnTo>
                  <a:lnTo>
                    <a:pt x="216" y="60"/>
                  </a:lnTo>
                  <a:lnTo>
                    <a:pt x="216" y="62"/>
                  </a:lnTo>
                  <a:lnTo>
                    <a:pt x="217" y="62"/>
                  </a:lnTo>
                  <a:lnTo>
                    <a:pt x="217" y="63"/>
                  </a:lnTo>
                  <a:lnTo>
                    <a:pt x="214" y="63"/>
                  </a:lnTo>
                  <a:lnTo>
                    <a:pt x="214" y="65"/>
                  </a:lnTo>
                  <a:lnTo>
                    <a:pt x="212" y="65"/>
                  </a:lnTo>
                  <a:lnTo>
                    <a:pt x="211" y="66"/>
                  </a:lnTo>
                  <a:lnTo>
                    <a:pt x="210" y="65"/>
                  </a:lnTo>
                  <a:lnTo>
                    <a:pt x="208" y="65"/>
                  </a:lnTo>
                  <a:lnTo>
                    <a:pt x="208" y="63"/>
                  </a:lnTo>
                  <a:lnTo>
                    <a:pt x="207" y="62"/>
                  </a:lnTo>
                  <a:lnTo>
                    <a:pt x="205" y="62"/>
                  </a:lnTo>
                  <a:lnTo>
                    <a:pt x="205" y="59"/>
                  </a:lnTo>
                  <a:lnTo>
                    <a:pt x="206" y="57"/>
                  </a:lnTo>
                  <a:lnTo>
                    <a:pt x="207" y="55"/>
                  </a:lnTo>
                  <a:lnTo>
                    <a:pt x="211" y="53"/>
                  </a:lnTo>
                  <a:close/>
                  <a:moveTo>
                    <a:pt x="276" y="0"/>
                  </a:moveTo>
                  <a:lnTo>
                    <a:pt x="278" y="0"/>
                  </a:lnTo>
                  <a:lnTo>
                    <a:pt x="279" y="1"/>
                  </a:lnTo>
                  <a:lnTo>
                    <a:pt x="280" y="1"/>
                  </a:lnTo>
                  <a:lnTo>
                    <a:pt x="280" y="3"/>
                  </a:lnTo>
                  <a:lnTo>
                    <a:pt x="282" y="3"/>
                  </a:lnTo>
                  <a:lnTo>
                    <a:pt x="284" y="1"/>
                  </a:lnTo>
                  <a:lnTo>
                    <a:pt x="284" y="3"/>
                  </a:lnTo>
                  <a:lnTo>
                    <a:pt x="285" y="4"/>
                  </a:lnTo>
                  <a:lnTo>
                    <a:pt x="288" y="4"/>
                  </a:lnTo>
                  <a:lnTo>
                    <a:pt x="288" y="5"/>
                  </a:lnTo>
                  <a:lnTo>
                    <a:pt x="287" y="6"/>
                  </a:lnTo>
                  <a:lnTo>
                    <a:pt x="292" y="8"/>
                  </a:lnTo>
                  <a:lnTo>
                    <a:pt x="293" y="7"/>
                  </a:lnTo>
                  <a:lnTo>
                    <a:pt x="293" y="13"/>
                  </a:lnTo>
                  <a:lnTo>
                    <a:pt x="294" y="16"/>
                  </a:lnTo>
                  <a:lnTo>
                    <a:pt x="294" y="23"/>
                  </a:lnTo>
                  <a:lnTo>
                    <a:pt x="293" y="24"/>
                  </a:lnTo>
                  <a:lnTo>
                    <a:pt x="292" y="23"/>
                  </a:lnTo>
                  <a:lnTo>
                    <a:pt x="291" y="23"/>
                  </a:lnTo>
                  <a:lnTo>
                    <a:pt x="288" y="24"/>
                  </a:lnTo>
                  <a:lnTo>
                    <a:pt x="288" y="25"/>
                  </a:lnTo>
                  <a:lnTo>
                    <a:pt x="287" y="25"/>
                  </a:lnTo>
                  <a:lnTo>
                    <a:pt x="285" y="28"/>
                  </a:lnTo>
                  <a:lnTo>
                    <a:pt x="282" y="28"/>
                  </a:lnTo>
                  <a:lnTo>
                    <a:pt x="281" y="29"/>
                  </a:lnTo>
                  <a:lnTo>
                    <a:pt x="282" y="29"/>
                  </a:lnTo>
                  <a:lnTo>
                    <a:pt x="281" y="30"/>
                  </a:lnTo>
                  <a:lnTo>
                    <a:pt x="281" y="32"/>
                  </a:lnTo>
                  <a:lnTo>
                    <a:pt x="282" y="34"/>
                  </a:lnTo>
                  <a:lnTo>
                    <a:pt x="281" y="35"/>
                  </a:lnTo>
                  <a:lnTo>
                    <a:pt x="282" y="35"/>
                  </a:lnTo>
                  <a:lnTo>
                    <a:pt x="282" y="36"/>
                  </a:lnTo>
                  <a:lnTo>
                    <a:pt x="281" y="37"/>
                  </a:lnTo>
                  <a:lnTo>
                    <a:pt x="281" y="38"/>
                  </a:lnTo>
                  <a:lnTo>
                    <a:pt x="284" y="41"/>
                  </a:lnTo>
                  <a:lnTo>
                    <a:pt x="284" y="42"/>
                  </a:lnTo>
                  <a:lnTo>
                    <a:pt x="282" y="42"/>
                  </a:lnTo>
                  <a:lnTo>
                    <a:pt x="282" y="46"/>
                  </a:lnTo>
                  <a:lnTo>
                    <a:pt x="280" y="46"/>
                  </a:lnTo>
                  <a:lnTo>
                    <a:pt x="280" y="47"/>
                  </a:lnTo>
                  <a:lnTo>
                    <a:pt x="279" y="47"/>
                  </a:lnTo>
                  <a:lnTo>
                    <a:pt x="279" y="48"/>
                  </a:lnTo>
                  <a:lnTo>
                    <a:pt x="278" y="48"/>
                  </a:lnTo>
                  <a:lnTo>
                    <a:pt x="278" y="49"/>
                  </a:lnTo>
                  <a:lnTo>
                    <a:pt x="276" y="49"/>
                  </a:lnTo>
                  <a:lnTo>
                    <a:pt x="276" y="50"/>
                  </a:lnTo>
                  <a:lnTo>
                    <a:pt x="274" y="53"/>
                  </a:lnTo>
                  <a:lnTo>
                    <a:pt x="274" y="55"/>
                  </a:lnTo>
                  <a:lnTo>
                    <a:pt x="273" y="56"/>
                  </a:lnTo>
                  <a:lnTo>
                    <a:pt x="270" y="56"/>
                  </a:lnTo>
                  <a:lnTo>
                    <a:pt x="269" y="55"/>
                  </a:lnTo>
                  <a:lnTo>
                    <a:pt x="269" y="54"/>
                  </a:lnTo>
                  <a:lnTo>
                    <a:pt x="268" y="53"/>
                  </a:lnTo>
                  <a:lnTo>
                    <a:pt x="270" y="53"/>
                  </a:lnTo>
                  <a:lnTo>
                    <a:pt x="270" y="51"/>
                  </a:lnTo>
                  <a:lnTo>
                    <a:pt x="268" y="51"/>
                  </a:lnTo>
                  <a:lnTo>
                    <a:pt x="268" y="53"/>
                  </a:lnTo>
                  <a:lnTo>
                    <a:pt x="266" y="50"/>
                  </a:lnTo>
                  <a:lnTo>
                    <a:pt x="255" y="50"/>
                  </a:lnTo>
                  <a:lnTo>
                    <a:pt x="253" y="49"/>
                  </a:lnTo>
                  <a:lnTo>
                    <a:pt x="248" y="49"/>
                  </a:lnTo>
                  <a:lnTo>
                    <a:pt x="247" y="48"/>
                  </a:lnTo>
                  <a:lnTo>
                    <a:pt x="244" y="47"/>
                  </a:lnTo>
                  <a:lnTo>
                    <a:pt x="242" y="47"/>
                  </a:lnTo>
                  <a:lnTo>
                    <a:pt x="241" y="46"/>
                  </a:lnTo>
                  <a:lnTo>
                    <a:pt x="238" y="44"/>
                  </a:lnTo>
                  <a:lnTo>
                    <a:pt x="237" y="46"/>
                  </a:lnTo>
                  <a:lnTo>
                    <a:pt x="234" y="46"/>
                  </a:lnTo>
                  <a:lnTo>
                    <a:pt x="232" y="44"/>
                  </a:lnTo>
                  <a:lnTo>
                    <a:pt x="231" y="44"/>
                  </a:lnTo>
                  <a:lnTo>
                    <a:pt x="231" y="43"/>
                  </a:lnTo>
                  <a:lnTo>
                    <a:pt x="232" y="43"/>
                  </a:lnTo>
                  <a:lnTo>
                    <a:pt x="232" y="42"/>
                  </a:lnTo>
                  <a:lnTo>
                    <a:pt x="228" y="42"/>
                  </a:lnTo>
                  <a:lnTo>
                    <a:pt x="228" y="43"/>
                  </a:lnTo>
                  <a:lnTo>
                    <a:pt x="226" y="43"/>
                  </a:lnTo>
                  <a:lnTo>
                    <a:pt x="225" y="44"/>
                  </a:lnTo>
                  <a:lnTo>
                    <a:pt x="225" y="46"/>
                  </a:lnTo>
                  <a:lnTo>
                    <a:pt x="223" y="46"/>
                  </a:lnTo>
                  <a:lnTo>
                    <a:pt x="222" y="47"/>
                  </a:lnTo>
                  <a:lnTo>
                    <a:pt x="220" y="47"/>
                  </a:lnTo>
                  <a:lnTo>
                    <a:pt x="219" y="49"/>
                  </a:lnTo>
                  <a:lnTo>
                    <a:pt x="217" y="50"/>
                  </a:lnTo>
                  <a:lnTo>
                    <a:pt x="216" y="49"/>
                  </a:lnTo>
                  <a:lnTo>
                    <a:pt x="214" y="50"/>
                  </a:lnTo>
                  <a:lnTo>
                    <a:pt x="213" y="50"/>
                  </a:lnTo>
                  <a:lnTo>
                    <a:pt x="213" y="49"/>
                  </a:lnTo>
                  <a:lnTo>
                    <a:pt x="211" y="49"/>
                  </a:lnTo>
                  <a:lnTo>
                    <a:pt x="211" y="50"/>
                  </a:lnTo>
                  <a:lnTo>
                    <a:pt x="210" y="50"/>
                  </a:lnTo>
                  <a:lnTo>
                    <a:pt x="210" y="48"/>
                  </a:lnTo>
                  <a:lnTo>
                    <a:pt x="208" y="48"/>
                  </a:lnTo>
                  <a:lnTo>
                    <a:pt x="208" y="47"/>
                  </a:lnTo>
                  <a:lnTo>
                    <a:pt x="207" y="46"/>
                  </a:lnTo>
                  <a:lnTo>
                    <a:pt x="207" y="44"/>
                  </a:lnTo>
                  <a:lnTo>
                    <a:pt x="204" y="44"/>
                  </a:lnTo>
                  <a:lnTo>
                    <a:pt x="203" y="46"/>
                  </a:lnTo>
                  <a:lnTo>
                    <a:pt x="203" y="44"/>
                  </a:lnTo>
                  <a:lnTo>
                    <a:pt x="201" y="46"/>
                  </a:lnTo>
                  <a:lnTo>
                    <a:pt x="200" y="46"/>
                  </a:lnTo>
                  <a:lnTo>
                    <a:pt x="197" y="49"/>
                  </a:lnTo>
                  <a:lnTo>
                    <a:pt x="198" y="49"/>
                  </a:lnTo>
                  <a:lnTo>
                    <a:pt x="198" y="50"/>
                  </a:lnTo>
                  <a:lnTo>
                    <a:pt x="197" y="50"/>
                  </a:lnTo>
                  <a:lnTo>
                    <a:pt x="197" y="51"/>
                  </a:lnTo>
                  <a:lnTo>
                    <a:pt x="198" y="51"/>
                  </a:lnTo>
                  <a:lnTo>
                    <a:pt x="193" y="55"/>
                  </a:lnTo>
                  <a:lnTo>
                    <a:pt x="188" y="57"/>
                  </a:lnTo>
                  <a:lnTo>
                    <a:pt x="183" y="57"/>
                  </a:lnTo>
                  <a:lnTo>
                    <a:pt x="179" y="54"/>
                  </a:lnTo>
                  <a:lnTo>
                    <a:pt x="175" y="54"/>
                  </a:lnTo>
                  <a:lnTo>
                    <a:pt x="173" y="55"/>
                  </a:lnTo>
                  <a:lnTo>
                    <a:pt x="173" y="56"/>
                  </a:lnTo>
                  <a:lnTo>
                    <a:pt x="172" y="56"/>
                  </a:lnTo>
                  <a:lnTo>
                    <a:pt x="170" y="57"/>
                  </a:lnTo>
                  <a:lnTo>
                    <a:pt x="170" y="60"/>
                  </a:lnTo>
                  <a:lnTo>
                    <a:pt x="172" y="61"/>
                  </a:lnTo>
                  <a:lnTo>
                    <a:pt x="173" y="61"/>
                  </a:lnTo>
                  <a:lnTo>
                    <a:pt x="173" y="62"/>
                  </a:lnTo>
                  <a:lnTo>
                    <a:pt x="174" y="62"/>
                  </a:lnTo>
                  <a:lnTo>
                    <a:pt x="174" y="63"/>
                  </a:lnTo>
                  <a:lnTo>
                    <a:pt x="178" y="67"/>
                  </a:lnTo>
                  <a:lnTo>
                    <a:pt x="179" y="67"/>
                  </a:lnTo>
                  <a:lnTo>
                    <a:pt x="180" y="68"/>
                  </a:lnTo>
                  <a:lnTo>
                    <a:pt x="176" y="68"/>
                  </a:lnTo>
                  <a:lnTo>
                    <a:pt x="176" y="72"/>
                  </a:lnTo>
                  <a:lnTo>
                    <a:pt x="178" y="74"/>
                  </a:lnTo>
                  <a:lnTo>
                    <a:pt x="179" y="75"/>
                  </a:lnTo>
                  <a:lnTo>
                    <a:pt x="180" y="75"/>
                  </a:lnTo>
                  <a:lnTo>
                    <a:pt x="181" y="77"/>
                  </a:lnTo>
                  <a:lnTo>
                    <a:pt x="183" y="77"/>
                  </a:lnTo>
                  <a:lnTo>
                    <a:pt x="183" y="73"/>
                  </a:lnTo>
                  <a:lnTo>
                    <a:pt x="185" y="73"/>
                  </a:lnTo>
                  <a:lnTo>
                    <a:pt x="186" y="75"/>
                  </a:lnTo>
                  <a:lnTo>
                    <a:pt x="186" y="77"/>
                  </a:lnTo>
                  <a:lnTo>
                    <a:pt x="187" y="78"/>
                  </a:lnTo>
                  <a:lnTo>
                    <a:pt x="192" y="78"/>
                  </a:lnTo>
                  <a:lnTo>
                    <a:pt x="192" y="80"/>
                  </a:lnTo>
                  <a:lnTo>
                    <a:pt x="193" y="80"/>
                  </a:lnTo>
                  <a:lnTo>
                    <a:pt x="194" y="81"/>
                  </a:lnTo>
                  <a:lnTo>
                    <a:pt x="197" y="85"/>
                  </a:lnTo>
                  <a:lnTo>
                    <a:pt x="200" y="87"/>
                  </a:lnTo>
                  <a:lnTo>
                    <a:pt x="200" y="89"/>
                  </a:lnTo>
                  <a:lnTo>
                    <a:pt x="199" y="90"/>
                  </a:lnTo>
                  <a:lnTo>
                    <a:pt x="197" y="91"/>
                  </a:lnTo>
                  <a:lnTo>
                    <a:pt x="195" y="90"/>
                  </a:lnTo>
                  <a:lnTo>
                    <a:pt x="195" y="89"/>
                  </a:lnTo>
                  <a:lnTo>
                    <a:pt x="194" y="87"/>
                  </a:lnTo>
                  <a:lnTo>
                    <a:pt x="193" y="87"/>
                  </a:lnTo>
                  <a:lnTo>
                    <a:pt x="193" y="85"/>
                  </a:lnTo>
                  <a:lnTo>
                    <a:pt x="189" y="81"/>
                  </a:lnTo>
                  <a:lnTo>
                    <a:pt x="186" y="81"/>
                  </a:lnTo>
                  <a:lnTo>
                    <a:pt x="182" y="78"/>
                  </a:lnTo>
                  <a:lnTo>
                    <a:pt x="181" y="78"/>
                  </a:lnTo>
                  <a:lnTo>
                    <a:pt x="180" y="77"/>
                  </a:lnTo>
                  <a:lnTo>
                    <a:pt x="179" y="78"/>
                  </a:lnTo>
                  <a:lnTo>
                    <a:pt x="178" y="77"/>
                  </a:lnTo>
                  <a:lnTo>
                    <a:pt x="176" y="77"/>
                  </a:lnTo>
                  <a:lnTo>
                    <a:pt x="174" y="78"/>
                  </a:lnTo>
                  <a:lnTo>
                    <a:pt x="172" y="78"/>
                  </a:lnTo>
                  <a:lnTo>
                    <a:pt x="170" y="79"/>
                  </a:lnTo>
                  <a:lnTo>
                    <a:pt x="170" y="81"/>
                  </a:lnTo>
                  <a:lnTo>
                    <a:pt x="172" y="83"/>
                  </a:lnTo>
                  <a:lnTo>
                    <a:pt x="172" y="84"/>
                  </a:lnTo>
                  <a:lnTo>
                    <a:pt x="173" y="85"/>
                  </a:lnTo>
                  <a:lnTo>
                    <a:pt x="174" y="85"/>
                  </a:lnTo>
                  <a:lnTo>
                    <a:pt x="174" y="86"/>
                  </a:lnTo>
                  <a:lnTo>
                    <a:pt x="175" y="86"/>
                  </a:lnTo>
                  <a:lnTo>
                    <a:pt x="178" y="87"/>
                  </a:lnTo>
                  <a:lnTo>
                    <a:pt x="179" y="87"/>
                  </a:lnTo>
                  <a:lnTo>
                    <a:pt x="179" y="89"/>
                  </a:lnTo>
                  <a:lnTo>
                    <a:pt x="180" y="89"/>
                  </a:lnTo>
                  <a:lnTo>
                    <a:pt x="180" y="90"/>
                  </a:lnTo>
                  <a:lnTo>
                    <a:pt x="182" y="90"/>
                  </a:lnTo>
                  <a:lnTo>
                    <a:pt x="183" y="91"/>
                  </a:lnTo>
                  <a:lnTo>
                    <a:pt x="182" y="92"/>
                  </a:lnTo>
                  <a:lnTo>
                    <a:pt x="182" y="93"/>
                  </a:lnTo>
                  <a:lnTo>
                    <a:pt x="183" y="93"/>
                  </a:lnTo>
                  <a:lnTo>
                    <a:pt x="183" y="96"/>
                  </a:lnTo>
                  <a:lnTo>
                    <a:pt x="185" y="96"/>
                  </a:lnTo>
                  <a:lnTo>
                    <a:pt x="185" y="97"/>
                  </a:lnTo>
                  <a:lnTo>
                    <a:pt x="183" y="97"/>
                  </a:lnTo>
                  <a:lnTo>
                    <a:pt x="183" y="100"/>
                  </a:lnTo>
                  <a:lnTo>
                    <a:pt x="181" y="100"/>
                  </a:lnTo>
                  <a:lnTo>
                    <a:pt x="179" y="98"/>
                  </a:lnTo>
                  <a:lnTo>
                    <a:pt x="180" y="98"/>
                  </a:lnTo>
                  <a:lnTo>
                    <a:pt x="178" y="97"/>
                  </a:lnTo>
                  <a:lnTo>
                    <a:pt x="178" y="96"/>
                  </a:lnTo>
                  <a:lnTo>
                    <a:pt x="176" y="96"/>
                  </a:lnTo>
                  <a:lnTo>
                    <a:pt x="176" y="97"/>
                  </a:lnTo>
                  <a:lnTo>
                    <a:pt x="175" y="94"/>
                  </a:lnTo>
                  <a:lnTo>
                    <a:pt x="174" y="93"/>
                  </a:lnTo>
                  <a:lnTo>
                    <a:pt x="175" y="93"/>
                  </a:lnTo>
                  <a:lnTo>
                    <a:pt x="175" y="92"/>
                  </a:lnTo>
                  <a:lnTo>
                    <a:pt x="174" y="92"/>
                  </a:lnTo>
                  <a:lnTo>
                    <a:pt x="174" y="91"/>
                  </a:lnTo>
                  <a:lnTo>
                    <a:pt x="170" y="85"/>
                  </a:lnTo>
                  <a:lnTo>
                    <a:pt x="168" y="85"/>
                  </a:lnTo>
                  <a:lnTo>
                    <a:pt x="168" y="84"/>
                  </a:lnTo>
                  <a:lnTo>
                    <a:pt x="164" y="84"/>
                  </a:lnTo>
                  <a:lnTo>
                    <a:pt x="162" y="83"/>
                  </a:lnTo>
                  <a:lnTo>
                    <a:pt x="157" y="83"/>
                  </a:lnTo>
                  <a:lnTo>
                    <a:pt x="156" y="85"/>
                  </a:lnTo>
                  <a:lnTo>
                    <a:pt x="156" y="89"/>
                  </a:lnTo>
                  <a:lnTo>
                    <a:pt x="157" y="89"/>
                  </a:lnTo>
                  <a:lnTo>
                    <a:pt x="157" y="90"/>
                  </a:lnTo>
                  <a:lnTo>
                    <a:pt x="158" y="90"/>
                  </a:lnTo>
                  <a:lnTo>
                    <a:pt x="158" y="91"/>
                  </a:lnTo>
                  <a:lnTo>
                    <a:pt x="162" y="94"/>
                  </a:lnTo>
                  <a:lnTo>
                    <a:pt x="169" y="98"/>
                  </a:lnTo>
                  <a:lnTo>
                    <a:pt x="169" y="99"/>
                  </a:lnTo>
                  <a:lnTo>
                    <a:pt x="170" y="99"/>
                  </a:lnTo>
                  <a:lnTo>
                    <a:pt x="170" y="100"/>
                  </a:lnTo>
                  <a:lnTo>
                    <a:pt x="173" y="100"/>
                  </a:lnTo>
                  <a:lnTo>
                    <a:pt x="173" y="102"/>
                  </a:lnTo>
                  <a:lnTo>
                    <a:pt x="167" y="102"/>
                  </a:lnTo>
                  <a:lnTo>
                    <a:pt x="161" y="99"/>
                  </a:lnTo>
                  <a:lnTo>
                    <a:pt x="157" y="99"/>
                  </a:lnTo>
                  <a:lnTo>
                    <a:pt x="157" y="96"/>
                  </a:lnTo>
                  <a:lnTo>
                    <a:pt x="156" y="96"/>
                  </a:lnTo>
                  <a:lnTo>
                    <a:pt x="156" y="93"/>
                  </a:lnTo>
                  <a:lnTo>
                    <a:pt x="155" y="92"/>
                  </a:lnTo>
                  <a:lnTo>
                    <a:pt x="154" y="92"/>
                  </a:lnTo>
                  <a:lnTo>
                    <a:pt x="155" y="90"/>
                  </a:lnTo>
                  <a:lnTo>
                    <a:pt x="155" y="86"/>
                  </a:lnTo>
                  <a:lnTo>
                    <a:pt x="151" y="83"/>
                  </a:lnTo>
                  <a:lnTo>
                    <a:pt x="148" y="83"/>
                  </a:lnTo>
                  <a:lnTo>
                    <a:pt x="145" y="80"/>
                  </a:lnTo>
                  <a:lnTo>
                    <a:pt x="144" y="80"/>
                  </a:lnTo>
                  <a:lnTo>
                    <a:pt x="142" y="78"/>
                  </a:lnTo>
                  <a:lnTo>
                    <a:pt x="139" y="77"/>
                  </a:lnTo>
                  <a:lnTo>
                    <a:pt x="138" y="75"/>
                  </a:lnTo>
                  <a:lnTo>
                    <a:pt x="137" y="77"/>
                  </a:lnTo>
                  <a:lnTo>
                    <a:pt x="137" y="74"/>
                  </a:lnTo>
                  <a:lnTo>
                    <a:pt x="136" y="73"/>
                  </a:lnTo>
                  <a:lnTo>
                    <a:pt x="136" y="72"/>
                  </a:lnTo>
                  <a:lnTo>
                    <a:pt x="133" y="69"/>
                  </a:lnTo>
                  <a:lnTo>
                    <a:pt x="139" y="69"/>
                  </a:lnTo>
                  <a:lnTo>
                    <a:pt x="139" y="68"/>
                  </a:lnTo>
                  <a:lnTo>
                    <a:pt x="141" y="67"/>
                  </a:lnTo>
                  <a:lnTo>
                    <a:pt x="141" y="66"/>
                  </a:lnTo>
                  <a:lnTo>
                    <a:pt x="139" y="65"/>
                  </a:lnTo>
                  <a:lnTo>
                    <a:pt x="139" y="63"/>
                  </a:lnTo>
                  <a:lnTo>
                    <a:pt x="138" y="62"/>
                  </a:lnTo>
                  <a:lnTo>
                    <a:pt x="137" y="62"/>
                  </a:lnTo>
                  <a:lnTo>
                    <a:pt x="137" y="61"/>
                  </a:lnTo>
                  <a:lnTo>
                    <a:pt x="135" y="62"/>
                  </a:lnTo>
                  <a:lnTo>
                    <a:pt x="136" y="63"/>
                  </a:lnTo>
                  <a:lnTo>
                    <a:pt x="133" y="66"/>
                  </a:lnTo>
                  <a:lnTo>
                    <a:pt x="131" y="66"/>
                  </a:lnTo>
                  <a:lnTo>
                    <a:pt x="131" y="68"/>
                  </a:lnTo>
                  <a:lnTo>
                    <a:pt x="130" y="68"/>
                  </a:lnTo>
                  <a:lnTo>
                    <a:pt x="130" y="69"/>
                  </a:lnTo>
                  <a:lnTo>
                    <a:pt x="129" y="69"/>
                  </a:lnTo>
                  <a:lnTo>
                    <a:pt x="129" y="68"/>
                  </a:lnTo>
                  <a:lnTo>
                    <a:pt x="127" y="68"/>
                  </a:lnTo>
                  <a:lnTo>
                    <a:pt x="127" y="71"/>
                  </a:lnTo>
                  <a:lnTo>
                    <a:pt x="124" y="71"/>
                  </a:lnTo>
                  <a:lnTo>
                    <a:pt x="124" y="72"/>
                  </a:lnTo>
                  <a:lnTo>
                    <a:pt x="125" y="73"/>
                  </a:lnTo>
                  <a:lnTo>
                    <a:pt x="125" y="75"/>
                  </a:lnTo>
                  <a:lnTo>
                    <a:pt x="126" y="77"/>
                  </a:lnTo>
                  <a:lnTo>
                    <a:pt x="127" y="77"/>
                  </a:lnTo>
                  <a:lnTo>
                    <a:pt x="126" y="78"/>
                  </a:lnTo>
                  <a:lnTo>
                    <a:pt x="125" y="80"/>
                  </a:lnTo>
                  <a:lnTo>
                    <a:pt x="124" y="84"/>
                  </a:lnTo>
                  <a:lnTo>
                    <a:pt x="124" y="85"/>
                  </a:lnTo>
                  <a:lnTo>
                    <a:pt x="123" y="89"/>
                  </a:lnTo>
                  <a:lnTo>
                    <a:pt x="123" y="91"/>
                  </a:lnTo>
                  <a:lnTo>
                    <a:pt x="124" y="92"/>
                  </a:lnTo>
                  <a:lnTo>
                    <a:pt x="123" y="93"/>
                  </a:lnTo>
                  <a:lnTo>
                    <a:pt x="123" y="94"/>
                  </a:lnTo>
                  <a:lnTo>
                    <a:pt x="124" y="94"/>
                  </a:lnTo>
                  <a:lnTo>
                    <a:pt x="124" y="97"/>
                  </a:lnTo>
                  <a:lnTo>
                    <a:pt x="126" y="98"/>
                  </a:lnTo>
                  <a:lnTo>
                    <a:pt x="127" y="98"/>
                  </a:lnTo>
                  <a:lnTo>
                    <a:pt x="127" y="99"/>
                  </a:lnTo>
                  <a:lnTo>
                    <a:pt x="129" y="99"/>
                  </a:lnTo>
                  <a:lnTo>
                    <a:pt x="129" y="100"/>
                  </a:lnTo>
                  <a:lnTo>
                    <a:pt x="130" y="103"/>
                  </a:lnTo>
                  <a:lnTo>
                    <a:pt x="130" y="104"/>
                  </a:lnTo>
                  <a:lnTo>
                    <a:pt x="132" y="105"/>
                  </a:lnTo>
                  <a:lnTo>
                    <a:pt x="135" y="108"/>
                  </a:lnTo>
                  <a:lnTo>
                    <a:pt x="135" y="109"/>
                  </a:lnTo>
                  <a:lnTo>
                    <a:pt x="136" y="110"/>
                  </a:lnTo>
                  <a:lnTo>
                    <a:pt x="136" y="112"/>
                  </a:lnTo>
                  <a:lnTo>
                    <a:pt x="138" y="120"/>
                  </a:lnTo>
                  <a:lnTo>
                    <a:pt x="139" y="121"/>
                  </a:lnTo>
                  <a:lnTo>
                    <a:pt x="144" y="123"/>
                  </a:lnTo>
                  <a:lnTo>
                    <a:pt x="145" y="124"/>
                  </a:lnTo>
                  <a:lnTo>
                    <a:pt x="147" y="127"/>
                  </a:lnTo>
                  <a:lnTo>
                    <a:pt x="150" y="132"/>
                  </a:lnTo>
                  <a:lnTo>
                    <a:pt x="152" y="134"/>
                  </a:lnTo>
                  <a:lnTo>
                    <a:pt x="154" y="137"/>
                  </a:lnTo>
                  <a:lnTo>
                    <a:pt x="156" y="141"/>
                  </a:lnTo>
                  <a:lnTo>
                    <a:pt x="156" y="142"/>
                  </a:lnTo>
                  <a:lnTo>
                    <a:pt x="155" y="142"/>
                  </a:lnTo>
                  <a:lnTo>
                    <a:pt x="154" y="143"/>
                  </a:lnTo>
                  <a:lnTo>
                    <a:pt x="151" y="145"/>
                  </a:lnTo>
                  <a:lnTo>
                    <a:pt x="151" y="146"/>
                  </a:lnTo>
                  <a:lnTo>
                    <a:pt x="149" y="146"/>
                  </a:lnTo>
                  <a:lnTo>
                    <a:pt x="148" y="147"/>
                  </a:lnTo>
                  <a:lnTo>
                    <a:pt x="143" y="147"/>
                  </a:lnTo>
                  <a:lnTo>
                    <a:pt x="144" y="146"/>
                  </a:lnTo>
                  <a:lnTo>
                    <a:pt x="144" y="145"/>
                  </a:lnTo>
                  <a:lnTo>
                    <a:pt x="145" y="143"/>
                  </a:lnTo>
                  <a:lnTo>
                    <a:pt x="147" y="143"/>
                  </a:lnTo>
                  <a:lnTo>
                    <a:pt x="145" y="146"/>
                  </a:lnTo>
                  <a:lnTo>
                    <a:pt x="149" y="145"/>
                  </a:lnTo>
                  <a:lnTo>
                    <a:pt x="149" y="143"/>
                  </a:lnTo>
                  <a:lnTo>
                    <a:pt x="150" y="143"/>
                  </a:lnTo>
                  <a:lnTo>
                    <a:pt x="150" y="141"/>
                  </a:lnTo>
                  <a:lnTo>
                    <a:pt x="149" y="140"/>
                  </a:lnTo>
                  <a:lnTo>
                    <a:pt x="149" y="137"/>
                  </a:lnTo>
                  <a:lnTo>
                    <a:pt x="148" y="136"/>
                  </a:lnTo>
                  <a:lnTo>
                    <a:pt x="147" y="136"/>
                  </a:lnTo>
                  <a:lnTo>
                    <a:pt x="147" y="135"/>
                  </a:lnTo>
                  <a:lnTo>
                    <a:pt x="142" y="135"/>
                  </a:lnTo>
                  <a:lnTo>
                    <a:pt x="142" y="133"/>
                  </a:lnTo>
                  <a:lnTo>
                    <a:pt x="139" y="133"/>
                  </a:lnTo>
                  <a:lnTo>
                    <a:pt x="138" y="134"/>
                  </a:lnTo>
                  <a:lnTo>
                    <a:pt x="138" y="135"/>
                  </a:lnTo>
                  <a:lnTo>
                    <a:pt x="139" y="135"/>
                  </a:lnTo>
                  <a:lnTo>
                    <a:pt x="138" y="136"/>
                  </a:lnTo>
                  <a:lnTo>
                    <a:pt x="135" y="136"/>
                  </a:lnTo>
                  <a:lnTo>
                    <a:pt x="133" y="137"/>
                  </a:lnTo>
                  <a:lnTo>
                    <a:pt x="133" y="140"/>
                  </a:lnTo>
                  <a:lnTo>
                    <a:pt x="135" y="143"/>
                  </a:lnTo>
                  <a:lnTo>
                    <a:pt x="136" y="143"/>
                  </a:lnTo>
                  <a:lnTo>
                    <a:pt x="136" y="141"/>
                  </a:lnTo>
                  <a:lnTo>
                    <a:pt x="137" y="142"/>
                  </a:lnTo>
                  <a:lnTo>
                    <a:pt x="137" y="143"/>
                  </a:lnTo>
                  <a:lnTo>
                    <a:pt x="138" y="145"/>
                  </a:lnTo>
                  <a:lnTo>
                    <a:pt x="138" y="146"/>
                  </a:lnTo>
                  <a:lnTo>
                    <a:pt x="141" y="146"/>
                  </a:lnTo>
                  <a:lnTo>
                    <a:pt x="141" y="147"/>
                  </a:lnTo>
                  <a:lnTo>
                    <a:pt x="142" y="148"/>
                  </a:lnTo>
                  <a:lnTo>
                    <a:pt x="141" y="149"/>
                  </a:lnTo>
                  <a:lnTo>
                    <a:pt x="142" y="149"/>
                  </a:lnTo>
                  <a:lnTo>
                    <a:pt x="139" y="151"/>
                  </a:lnTo>
                  <a:lnTo>
                    <a:pt x="139" y="152"/>
                  </a:lnTo>
                  <a:lnTo>
                    <a:pt x="142" y="151"/>
                  </a:lnTo>
                  <a:lnTo>
                    <a:pt x="143" y="149"/>
                  </a:lnTo>
                  <a:lnTo>
                    <a:pt x="144" y="149"/>
                  </a:lnTo>
                  <a:lnTo>
                    <a:pt x="144" y="151"/>
                  </a:lnTo>
                  <a:lnTo>
                    <a:pt x="143" y="151"/>
                  </a:lnTo>
                  <a:lnTo>
                    <a:pt x="142" y="152"/>
                  </a:lnTo>
                  <a:lnTo>
                    <a:pt x="142" y="154"/>
                  </a:lnTo>
                  <a:lnTo>
                    <a:pt x="139" y="154"/>
                  </a:lnTo>
                  <a:lnTo>
                    <a:pt x="139" y="155"/>
                  </a:lnTo>
                  <a:lnTo>
                    <a:pt x="138" y="155"/>
                  </a:lnTo>
                  <a:lnTo>
                    <a:pt x="137" y="157"/>
                  </a:lnTo>
                  <a:lnTo>
                    <a:pt x="136" y="155"/>
                  </a:lnTo>
                  <a:lnTo>
                    <a:pt x="135" y="155"/>
                  </a:lnTo>
                  <a:lnTo>
                    <a:pt x="135" y="158"/>
                  </a:lnTo>
                  <a:lnTo>
                    <a:pt x="132" y="158"/>
                  </a:lnTo>
                  <a:lnTo>
                    <a:pt x="132" y="159"/>
                  </a:lnTo>
                  <a:lnTo>
                    <a:pt x="130" y="159"/>
                  </a:lnTo>
                  <a:lnTo>
                    <a:pt x="130" y="158"/>
                  </a:lnTo>
                  <a:lnTo>
                    <a:pt x="129" y="158"/>
                  </a:lnTo>
                  <a:lnTo>
                    <a:pt x="129" y="159"/>
                  </a:lnTo>
                  <a:lnTo>
                    <a:pt x="127" y="159"/>
                  </a:lnTo>
                  <a:lnTo>
                    <a:pt x="127" y="158"/>
                  </a:lnTo>
                  <a:lnTo>
                    <a:pt x="126" y="158"/>
                  </a:lnTo>
                  <a:lnTo>
                    <a:pt x="125" y="157"/>
                  </a:lnTo>
                  <a:lnTo>
                    <a:pt x="124" y="158"/>
                  </a:lnTo>
                  <a:lnTo>
                    <a:pt x="123" y="158"/>
                  </a:lnTo>
                  <a:lnTo>
                    <a:pt x="121" y="159"/>
                  </a:lnTo>
                  <a:lnTo>
                    <a:pt x="121" y="160"/>
                  </a:lnTo>
                  <a:lnTo>
                    <a:pt x="124" y="159"/>
                  </a:lnTo>
                  <a:lnTo>
                    <a:pt x="124" y="160"/>
                  </a:lnTo>
                  <a:lnTo>
                    <a:pt x="123" y="160"/>
                  </a:lnTo>
                  <a:lnTo>
                    <a:pt x="123" y="161"/>
                  </a:lnTo>
                  <a:lnTo>
                    <a:pt x="126" y="161"/>
                  </a:lnTo>
                  <a:lnTo>
                    <a:pt x="129" y="160"/>
                  </a:lnTo>
                  <a:lnTo>
                    <a:pt x="131" y="163"/>
                  </a:lnTo>
                  <a:lnTo>
                    <a:pt x="131" y="164"/>
                  </a:lnTo>
                  <a:lnTo>
                    <a:pt x="135" y="164"/>
                  </a:lnTo>
                  <a:lnTo>
                    <a:pt x="136" y="165"/>
                  </a:lnTo>
                  <a:lnTo>
                    <a:pt x="137" y="164"/>
                  </a:lnTo>
                  <a:lnTo>
                    <a:pt x="138" y="164"/>
                  </a:lnTo>
                  <a:lnTo>
                    <a:pt x="139" y="165"/>
                  </a:lnTo>
                  <a:lnTo>
                    <a:pt x="142" y="165"/>
                  </a:lnTo>
                  <a:lnTo>
                    <a:pt x="143" y="166"/>
                  </a:lnTo>
                  <a:lnTo>
                    <a:pt x="144" y="166"/>
                  </a:lnTo>
                  <a:lnTo>
                    <a:pt x="145" y="171"/>
                  </a:lnTo>
                  <a:lnTo>
                    <a:pt x="147" y="172"/>
                  </a:lnTo>
                  <a:lnTo>
                    <a:pt x="147" y="171"/>
                  </a:lnTo>
                  <a:lnTo>
                    <a:pt x="149" y="171"/>
                  </a:lnTo>
                  <a:lnTo>
                    <a:pt x="150" y="170"/>
                  </a:lnTo>
                  <a:lnTo>
                    <a:pt x="149" y="170"/>
                  </a:lnTo>
                  <a:lnTo>
                    <a:pt x="149" y="169"/>
                  </a:lnTo>
                  <a:lnTo>
                    <a:pt x="150" y="169"/>
                  </a:lnTo>
                  <a:lnTo>
                    <a:pt x="151" y="170"/>
                  </a:lnTo>
                  <a:lnTo>
                    <a:pt x="152" y="170"/>
                  </a:lnTo>
                  <a:lnTo>
                    <a:pt x="154" y="171"/>
                  </a:lnTo>
                  <a:lnTo>
                    <a:pt x="155" y="171"/>
                  </a:lnTo>
                  <a:lnTo>
                    <a:pt x="155" y="172"/>
                  </a:lnTo>
                  <a:lnTo>
                    <a:pt x="156" y="172"/>
                  </a:lnTo>
                  <a:lnTo>
                    <a:pt x="154" y="174"/>
                  </a:lnTo>
                  <a:lnTo>
                    <a:pt x="154" y="176"/>
                  </a:lnTo>
                  <a:lnTo>
                    <a:pt x="155" y="176"/>
                  </a:lnTo>
                  <a:lnTo>
                    <a:pt x="156" y="177"/>
                  </a:lnTo>
                  <a:lnTo>
                    <a:pt x="157" y="177"/>
                  </a:lnTo>
                  <a:lnTo>
                    <a:pt x="157" y="178"/>
                  </a:lnTo>
                  <a:lnTo>
                    <a:pt x="155" y="178"/>
                  </a:lnTo>
                  <a:lnTo>
                    <a:pt x="156" y="179"/>
                  </a:lnTo>
                  <a:lnTo>
                    <a:pt x="163" y="179"/>
                  </a:lnTo>
                  <a:lnTo>
                    <a:pt x="164" y="178"/>
                  </a:lnTo>
                  <a:lnTo>
                    <a:pt x="167" y="180"/>
                  </a:lnTo>
                  <a:lnTo>
                    <a:pt x="166" y="180"/>
                  </a:lnTo>
                  <a:lnTo>
                    <a:pt x="166" y="182"/>
                  </a:lnTo>
                  <a:lnTo>
                    <a:pt x="167" y="182"/>
                  </a:lnTo>
                  <a:lnTo>
                    <a:pt x="167" y="183"/>
                  </a:lnTo>
                  <a:lnTo>
                    <a:pt x="168" y="184"/>
                  </a:lnTo>
                  <a:lnTo>
                    <a:pt x="169" y="186"/>
                  </a:lnTo>
                  <a:lnTo>
                    <a:pt x="172" y="188"/>
                  </a:lnTo>
                  <a:lnTo>
                    <a:pt x="176" y="188"/>
                  </a:lnTo>
                  <a:lnTo>
                    <a:pt x="180" y="190"/>
                  </a:lnTo>
                  <a:lnTo>
                    <a:pt x="181" y="190"/>
                  </a:lnTo>
                  <a:lnTo>
                    <a:pt x="185" y="194"/>
                  </a:lnTo>
                  <a:lnTo>
                    <a:pt x="186" y="194"/>
                  </a:lnTo>
                  <a:lnTo>
                    <a:pt x="186" y="195"/>
                  </a:lnTo>
                  <a:lnTo>
                    <a:pt x="187" y="195"/>
                  </a:lnTo>
                  <a:lnTo>
                    <a:pt x="187" y="197"/>
                  </a:lnTo>
                  <a:lnTo>
                    <a:pt x="186" y="197"/>
                  </a:lnTo>
                  <a:lnTo>
                    <a:pt x="186" y="198"/>
                  </a:lnTo>
                  <a:lnTo>
                    <a:pt x="185" y="198"/>
                  </a:lnTo>
                  <a:lnTo>
                    <a:pt x="183" y="200"/>
                  </a:lnTo>
                  <a:lnTo>
                    <a:pt x="183" y="203"/>
                  </a:lnTo>
                  <a:lnTo>
                    <a:pt x="185" y="204"/>
                  </a:lnTo>
                  <a:lnTo>
                    <a:pt x="185" y="207"/>
                  </a:lnTo>
                  <a:lnTo>
                    <a:pt x="183" y="208"/>
                  </a:lnTo>
                  <a:lnTo>
                    <a:pt x="185" y="208"/>
                  </a:lnTo>
                  <a:lnTo>
                    <a:pt x="185" y="210"/>
                  </a:lnTo>
                  <a:lnTo>
                    <a:pt x="186" y="210"/>
                  </a:lnTo>
                  <a:lnTo>
                    <a:pt x="186" y="212"/>
                  </a:lnTo>
                  <a:lnTo>
                    <a:pt x="185" y="212"/>
                  </a:lnTo>
                  <a:lnTo>
                    <a:pt x="185" y="213"/>
                  </a:lnTo>
                  <a:lnTo>
                    <a:pt x="186" y="213"/>
                  </a:lnTo>
                  <a:lnTo>
                    <a:pt x="186" y="215"/>
                  </a:lnTo>
                  <a:lnTo>
                    <a:pt x="187" y="216"/>
                  </a:lnTo>
                  <a:lnTo>
                    <a:pt x="187" y="219"/>
                  </a:lnTo>
                  <a:lnTo>
                    <a:pt x="186" y="220"/>
                  </a:lnTo>
                  <a:lnTo>
                    <a:pt x="187" y="220"/>
                  </a:lnTo>
                  <a:lnTo>
                    <a:pt x="187" y="221"/>
                  </a:lnTo>
                  <a:lnTo>
                    <a:pt x="186" y="221"/>
                  </a:lnTo>
                  <a:lnTo>
                    <a:pt x="186" y="222"/>
                  </a:lnTo>
                  <a:lnTo>
                    <a:pt x="187" y="222"/>
                  </a:lnTo>
                  <a:lnTo>
                    <a:pt x="185" y="225"/>
                  </a:lnTo>
                  <a:lnTo>
                    <a:pt x="185" y="223"/>
                  </a:lnTo>
                  <a:lnTo>
                    <a:pt x="181" y="223"/>
                  </a:lnTo>
                  <a:lnTo>
                    <a:pt x="181" y="220"/>
                  </a:lnTo>
                  <a:lnTo>
                    <a:pt x="180" y="221"/>
                  </a:lnTo>
                  <a:lnTo>
                    <a:pt x="180" y="217"/>
                  </a:lnTo>
                  <a:lnTo>
                    <a:pt x="179" y="217"/>
                  </a:lnTo>
                  <a:lnTo>
                    <a:pt x="179" y="216"/>
                  </a:lnTo>
                  <a:lnTo>
                    <a:pt x="178" y="216"/>
                  </a:lnTo>
                  <a:lnTo>
                    <a:pt x="178" y="215"/>
                  </a:lnTo>
                  <a:lnTo>
                    <a:pt x="175" y="215"/>
                  </a:lnTo>
                  <a:lnTo>
                    <a:pt x="175" y="216"/>
                  </a:lnTo>
                  <a:lnTo>
                    <a:pt x="174" y="216"/>
                  </a:lnTo>
                  <a:lnTo>
                    <a:pt x="174" y="214"/>
                  </a:lnTo>
                  <a:lnTo>
                    <a:pt x="173" y="214"/>
                  </a:lnTo>
                  <a:lnTo>
                    <a:pt x="173" y="213"/>
                  </a:lnTo>
                  <a:lnTo>
                    <a:pt x="170" y="210"/>
                  </a:lnTo>
                  <a:lnTo>
                    <a:pt x="170" y="209"/>
                  </a:lnTo>
                  <a:lnTo>
                    <a:pt x="168" y="209"/>
                  </a:lnTo>
                  <a:lnTo>
                    <a:pt x="168" y="208"/>
                  </a:lnTo>
                  <a:lnTo>
                    <a:pt x="166" y="208"/>
                  </a:lnTo>
                  <a:lnTo>
                    <a:pt x="164" y="207"/>
                  </a:lnTo>
                  <a:lnTo>
                    <a:pt x="167" y="204"/>
                  </a:lnTo>
                  <a:lnTo>
                    <a:pt x="167" y="203"/>
                  </a:lnTo>
                  <a:lnTo>
                    <a:pt x="163" y="203"/>
                  </a:lnTo>
                  <a:lnTo>
                    <a:pt x="163" y="204"/>
                  </a:lnTo>
                  <a:lnTo>
                    <a:pt x="161" y="204"/>
                  </a:lnTo>
                  <a:lnTo>
                    <a:pt x="158" y="206"/>
                  </a:lnTo>
                  <a:lnTo>
                    <a:pt x="158" y="207"/>
                  </a:lnTo>
                  <a:lnTo>
                    <a:pt x="151" y="207"/>
                  </a:lnTo>
                  <a:lnTo>
                    <a:pt x="149" y="208"/>
                  </a:lnTo>
                  <a:lnTo>
                    <a:pt x="148" y="209"/>
                  </a:lnTo>
                  <a:lnTo>
                    <a:pt x="145" y="210"/>
                  </a:lnTo>
                  <a:lnTo>
                    <a:pt x="142" y="210"/>
                  </a:lnTo>
                  <a:lnTo>
                    <a:pt x="142" y="212"/>
                  </a:lnTo>
                  <a:lnTo>
                    <a:pt x="141" y="212"/>
                  </a:lnTo>
                  <a:lnTo>
                    <a:pt x="142" y="213"/>
                  </a:lnTo>
                  <a:lnTo>
                    <a:pt x="142" y="214"/>
                  </a:lnTo>
                  <a:lnTo>
                    <a:pt x="147" y="214"/>
                  </a:lnTo>
                  <a:lnTo>
                    <a:pt x="149" y="216"/>
                  </a:lnTo>
                  <a:lnTo>
                    <a:pt x="149" y="217"/>
                  </a:lnTo>
                  <a:lnTo>
                    <a:pt x="148" y="219"/>
                  </a:lnTo>
                  <a:lnTo>
                    <a:pt x="147" y="219"/>
                  </a:lnTo>
                  <a:lnTo>
                    <a:pt x="147" y="220"/>
                  </a:lnTo>
                  <a:lnTo>
                    <a:pt x="148" y="220"/>
                  </a:lnTo>
                  <a:lnTo>
                    <a:pt x="148" y="221"/>
                  </a:lnTo>
                  <a:lnTo>
                    <a:pt x="149" y="221"/>
                  </a:lnTo>
                  <a:lnTo>
                    <a:pt x="149" y="222"/>
                  </a:lnTo>
                  <a:lnTo>
                    <a:pt x="148" y="222"/>
                  </a:lnTo>
                  <a:lnTo>
                    <a:pt x="149" y="223"/>
                  </a:lnTo>
                  <a:lnTo>
                    <a:pt x="149" y="225"/>
                  </a:lnTo>
                  <a:lnTo>
                    <a:pt x="148" y="225"/>
                  </a:lnTo>
                  <a:lnTo>
                    <a:pt x="148" y="226"/>
                  </a:lnTo>
                  <a:lnTo>
                    <a:pt x="149" y="226"/>
                  </a:lnTo>
                  <a:lnTo>
                    <a:pt x="149" y="227"/>
                  </a:lnTo>
                  <a:lnTo>
                    <a:pt x="151" y="228"/>
                  </a:lnTo>
                  <a:lnTo>
                    <a:pt x="151" y="227"/>
                  </a:lnTo>
                  <a:lnTo>
                    <a:pt x="152" y="229"/>
                  </a:lnTo>
                  <a:lnTo>
                    <a:pt x="154" y="229"/>
                  </a:lnTo>
                  <a:lnTo>
                    <a:pt x="155" y="231"/>
                  </a:lnTo>
                  <a:lnTo>
                    <a:pt x="156" y="231"/>
                  </a:lnTo>
                  <a:lnTo>
                    <a:pt x="156" y="227"/>
                  </a:lnTo>
                  <a:lnTo>
                    <a:pt x="155" y="227"/>
                  </a:lnTo>
                  <a:lnTo>
                    <a:pt x="155" y="226"/>
                  </a:lnTo>
                  <a:lnTo>
                    <a:pt x="156" y="225"/>
                  </a:lnTo>
                  <a:lnTo>
                    <a:pt x="158" y="225"/>
                  </a:lnTo>
                  <a:lnTo>
                    <a:pt x="158" y="227"/>
                  </a:lnTo>
                  <a:lnTo>
                    <a:pt x="157" y="228"/>
                  </a:lnTo>
                  <a:lnTo>
                    <a:pt x="157" y="229"/>
                  </a:lnTo>
                  <a:lnTo>
                    <a:pt x="158" y="231"/>
                  </a:lnTo>
                  <a:lnTo>
                    <a:pt x="158" y="232"/>
                  </a:lnTo>
                  <a:lnTo>
                    <a:pt x="160" y="232"/>
                  </a:lnTo>
                  <a:lnTo>
                    <a:pt x="161" y="233"/>
                  </a:lnTo>
                  <a:lnTo>
                    <a:pt x="162" y="233"/>
                  </a:lnTo>
                  <a:lnTo>
                    <a:pt x="163" y="234"/>
                  </a:lnTo>
                  <a:lnTo>
                    <a:pt x="163" y="237"/>
                  </a:lnTo>
                  <a:lnTo>
                    <a:pt x="154" y="237"/>
                  </a:lnTo>
                  <a:lnTo>
                    <a:pt x="155" y="238"/>
                  </a:lnTo>
                  <a:lnTo>
                    <a:pt x="152" y="238"/>
                  </a:lnTo>
                  <a:lnTo>
                    <a:pt x="151" y="239"/>
                  </a:lnTo>
                  <a:lnTo>
                    <a:pt x="152" y="239"/>
                  </a:lnTo>
                  <a:lnTo>
                    <a:pt x="152" y="240"/>
                  </a:lnTo>
                  <a:lnTo>
                    <a:pt x="150" y="240"/>
                  </a:lnTo>
                  <a:lnTo>
                    <a:pt x="149" y="241"/>
                  </a:lnTo>
                  <a:lnTo>
                    <a:pt x="150" y="241"/>
                  </a:lnTo>
                  <a:lnTo>
                    <a:pt x="150" y="243"/>
                  </a:lnTo>
                  <a:lnTo>
                    <a:pt x="148" y="243"/>
                  </a:lnTo>
                  <a:lnTo>
                    <a:pt x="148" y="241"/>
                  </a:lnTo>
                  <a:lnTo>
                    <a:pt x="147" y="241"/>
                  </a:lnTo>
                  <a:lnTo>
                    <a:pt x="147" y="240"/>
                  </a:lnTo>
                  <a:lnTo>
                    <a:pt x="144" y="240"/>
                  </a:lnTo>
                  <a:lnTo>
                    <a:pt x="144" y="238"/>
                  </a:lnTo>
                  <a:lnTo>
                    <a:pt x="145" y="238"/>
                  </a:lnTo>
                  <a:lnTo>
                    <a:pt x="147" y="237"/>
                  </a:lnTo>
                  <a:lnTo>
                    <a:pt x="147" y="234"/>
                  </a:lnTo>
                  <a:lnTo>
                    <a:pt x="144" y="234"/>
                  </a:lnTo>
                  <a:lnTo>
                    <a:pt x="143" y="233"/>
                  </a:lnTo>
                  <a:lnTo>
                    <a:pt x="142" y="234"/>
                  </a:lnTo>
                  <a:lnTo>
                    <a:pt x="141" y="233"/>
                  </a:lnTo>
                  <a:lnTo>
                    <a:pt x="141" y="232"/>
                  </a:lnTo>
                  <a:lnTo>
                    <a:pt x="139" y="231"/>
                  </a:lnTo>
                  <a:lnTo>
                    <a:pt x="136" y="231"/>
                  </a:lnTo>
                  <a:lnTo>
                    <a:pt x="135" y="232"/>
                  </a:lnTo>
                  <a:lnTo>
                    <a:pt x="133" y="231"/>
                  </a:lnTo>
                  <a:lnTo>
                    <a:pt x="133" y="229"/>
                  </a:lnTo>
                  <a:lnTo>
                    <a:pt x="132" y="228"/>
                  </a:lnTo>
                  <a:lnTo>
                    <a:pt x="132" y="227"/>
                  </a:lnTo>
                  <a:lnTo>
                    <a:pt x="131" y="227"/>
                  </a:lnTo>
                  <a:lnTo>
                    <a:pt x="130" y="228"/>
                  </a:lnTo>
                  <a:lnTo>
                    <a:pt x="130" y="233"/>
                  </a:lnTo>
                  <a:lnTo>
                    <a:pt x="131" y="234"/>
                  </a:lnTo>
                  <a:lnTo>
                    <a:pt x="131" y="238"/>
                  </a:lnTo>
                  <a:lnTo>
                    <a:pt x="133" y="240"/>
                  </a:lnTo>
                  <a:lnTo>
                    <a:pt x="133" y="243"/>
                  </a:lnTo>
                  <a:lnTo>
                    <a:pt x="135" y="243"/>
                  </a:lnTo>
                  <a:lnTo>
                    <a:pt x="135" y="244"/>
                  </a:lnTo>
                  <a:lnTo>
                    <a:pt x="136" y="245"/>
                  </a:lnTo>
                  <a:lnTo>
                    <a:pt x="137" y="247"/>
                  </a:lnTo>
                  <a:lnTo>
                    <a:pt x="137" y="249"/>
                  </a:lnTo>
                  <a:lnTo>
                    <a:pt x="138" y="249"/>
                  </a:lnTo>
                  <a:lnTo>
                    <a:pt x="137" y="250"/>
                  </a:lnTo>
                  <a:lnTo>
                    <a:pt x="137" y="252"/>
                  </a:lnTo>
                  <a:lnTo>
                    <a:pt x="139" y="252"/>
                  </a:lnTo>
                  <a:lnTo>
                    <a:pt x="139" y="253"/>
                  </a:lnTo>
                  <a:lnTo>
                    <a:pt x="141" y="255"/>
                  </a:lnTo>
                  <a:lnTo>
                    <a:pt x="139" y="255"/>
                  </a:lnTo>
                  <a:lnTo>
                    <a:pt x="142" y="257"/>
                  </a:lnTo>
                  <a:lnTo>
                    <a:pt x="142" y="259"/>
                  </a:lnTo>
                  <a:lnTo>
                    <a:pt x="141" y="259"/>
                  </a:lnTo>
                  <a:lnTo>
                    <a:pt x="142" y="260"/>
                  </a:lnTo>
                  <a:lnTo>
                    <a:pt x="142" y="263"/>
                  </a:lnTo>
                  <a:lnTo>
                    <a:pt x="143" y="265"/>
                  </a:lnTo>
                  <a:lnTo>
                    <a:pt x="145" y="268"/>
                  </a:lnTo>
                  <a:lnTo>
                    <a:pt x="145" y="269"/>
                  </a:lnTo>
                  <a:lnTo>
                    <a:pt x="144" y="270"/>
                  </a:lnTo>
                  <a:lnTo>
                    <a:pt x="147" y="270"/>
                  </a:lnTo>
                  <a:lnTo>
                    <a:pt x="147" y="271"/>
                  </a:lnTo>
                  <a:lnTo>
                    <a:pt x="145" y="271"/>
                  </a:lnTo>
                  <a:lnTo>
                    <a:pt x="145" y="272"/>
                  </a:lnTo>
                  <a:lnTo>
                    <a:pt x="143" y="272"/>
                  </a:lnTo>
                  <a:lnTo>
                    <a:pt x="143" y="275"/>
                  </a:lnTo>
                  <a:lnTo>
                    <a:pt x="144" y="275"/>
                  </a:lnTo>
                  <a:lnTo>
                    <a:pt x="143" y="276"/>
                  </a:lnTo>
                  <a:lnTo>
                    <a:pt x="143" y="278"/>
                  </a:lnTo>
                  <a:lnTo>
                    <a:pt x="144" y="280"/>
                  </a:lnTo>
                  <a:lnTo>
                    <a:pt x="144" y="281"/>
                  </a:lnTo>
                  <a:lnTo>
                    <a:pt x="145" y="281"/>
                  </a:lnTo>
                  <a:lnTo>
                    <a:pt x="145" y="282"/>
                  </a:lnTo>
                  <a:lnTo>
                    <a:pt x="148" y="282"/>
                  </a:lnTo>
                  <a:lnTo>
                    <a:pt x="148" y="284"/>
                  </a:lnTo>
                  <a:lnTo>
                    <a:pt x="147" y="284"/>
                  </a:lnTo>
                  <a:lnTo>
                    <a:pt x="150" y="288"/>
                  </a:lnTo>
                  <a:lnTo>
                    <a:pt x="150" y="289"/>
                  </a:lnTo>
                  <a:lnTo>
                    <a:pt x="148" y="288"/>
                  </a:lnTo>
                  <a:lnTo>
                    <a:pt x="145" y="288"/>
                  </a:lnTo>
                  <a:lnTo>
                    <a:pt x="144" y="287"/>
                  </a:lnTo>
                  <a:lnTo>
                    <a:pt x="144" y="284"/>
                  </a:lnTo>
                  <a:lnTo>
                    <a:pt x="143" y="284"/>
                  </a:lnTo>
                  <a:lnTo>
                    <a:pt x="143" y="283"/>
                  </a:lnTo>
                  <a:lnTo>
                    <a:pt x="141" y="284"/>
                  </a:lnTo>
                  <a:lnTo>
                    <a:pt x="139" y="283"/>
                  </a:lnTo>
                  <a:lnTo>
                    <a:pt x="138" y="281"/>
                  </a:lnTo>
                  <a:lnTo>
                    <a:pt x="138" y="280"/>
                  </a:lnTo>
                  <a:lnTo>
                    <a:pt x="136" y="278"/>
                  </a:lnTo>
                  <a:lnTo>
                    <a:pt x="137" y="277"/>
                  </a:lnTo>
                  <a:lnTo>
                    <a:pt x="135" y="275"/>
                  </a:lnTo>
                  <a:lnTo>
                    <a:pt x="135" y="276"/>
                  </a:lnTo>
                  <a:lnTo>
                    <a:pt x="133" y="276"/>
                  </a:lnTo>
                  <a:lnTo>
                    <a:pt x="133" y="270"/>
                  </a:lnTo>
                  <a:lnTo>
                    <a:pt x="132" y="270"/>
                  </a:lnTo>
                  <a:lnTo>
                    <a:pt x="131" y="269"/>
                  </a:lnTo>
                  <a:lnTo>
                    <a:pt x="125" y="269"/>
                  </a:lnTo>
                  <a:lnTo>
                    <a:pt x="124" y="270"/>
                  </a:lnTo>
                  <a:lnTo>
                    <a:pt x="124" y="272"/>
                  </a:lnTo>
                  <a:lnTo>
                    <a:pt x="123" y="274"/>
                  </a:lnTo>
                  <a:lnTo>
                    <a:pt x="121" y="274"/>
                  </a:lnTo>
                  <a:lnTo>
                    <a:pt x="121" y="275"/>
                  </a:lnTo>
                  <a:lnTo>
                    <a:pt x="123" y="276"/>
                  </a:lnTo>
                  <a:lnTo>
                    <a:pt x="123" y="277"/>
                  </a:lnTo>
                  <a:lnTo>
                    <a:pt x="121" y="277"/>
                  </a:lnTo>
                  <a:lnTo>
                    <a:pt x="121" y="276"/>
                  </a:lnTo>
                  <a:lnTo>
                    <a:pt x="120" y="277"/>
                  </a:lnTo>
                  <a:lnTo>
                    <a:pt x="121" y="278"/>
                  </a:lnTo>
                  <a:lnTo>
                    <a:pt x="121" y="280"/>
                  </a:lnTo>
                  <a:lnTo>
                    <a:pt x="120" y="280"/>
                  </a:lnTo>
                  <a:lnTo>
                    <a:pt x="120" y="278"/>
                  </a:lnTo>
                  <a:lnTo>
                    <a:pt x="119" y="280"/>
                  </a:lnTo>
                  <a:lnTo>
                    <a:pt x="119" y="283"/>
                  </a:lnTo>
                  <a:lnTo>
                    <a:pt x="120" y="284"/>
                  </a:lnTo>
                  <a:lnTo>
                    <a:pt x="120" y="290"/>
                  </a:lnTo>
                  <a:lnTo>
                    <a:pt x="119" y="290"/>
                  </a:lnTo>
                  <a:lnTo>
                    <a:pt x="119" y="288"/>
                  </a:lnTo>
                  <a:lnTo>
                    <a:pt x="118" y="287"/>
                  </a:lnTo>
                  <a:lnTo>
                    <a:pt x="117" y="287"/>
                  </a:lnTo>
                  <a:lnTo>
                    <a:pt x="117" y="286"/>
                  </a:lnTo>
                  <a:lnTo>
                    <a:pt x="114" y="286"/>
                  </a:lnTo>
                  <a:lnTo>
                    <a:pt x="114" y="282"/>
                  </a:lnTo>
                  <a:lnTo>
                    <a:pt x="116" y="283"/>
                  </a:lnTo>
                  <a:lnTo>
                    <a:pt x="116" y="280"/>
                  </a:lnTo>
                  <a:lnTo>
                    <a:pt x="114" y="280"/>
                  </a:lnTo>
                  <a:lnTo>
                    <a:pt x="114" y="276"/>
                  </a:lnTo>
                  <a:lnTo>
                    <a:pt x="116" y="275"/>
                  </a:lnTo>
                  <a:lnTo>
                    <a:pt x="114" y="275"/>
                  </a:lnTo>
                  <a:lnTo>
                    <a:pt x="113" y="274"/>
                  </a:lnTo>
                  <a:lnTo>
                    <a:pt x="113" y="271"/>
                  </a:lnTo>
                  <a:lnTo>
                    <a:pt x="112" y="271"/>
                  </a:lnTo>
                  <a:lnTo>
                    <a:pt x="112" y="269"/>
                  </a:lnTo>
                  <a:lnTo>
                    <a:pt x="108" y="264"/>
                  </a:lnTo>
                  <a:lnTo>
                    <a:pt x="106" y="264"/>
                  </a:lnTo>
                  <a:lnTo>
                    <a:pt x="105" y="263"/>
                  </a:lnTo>
                  <a:lnTo>
                    <a:pt x="105" y="262"/>
                  </a:lnTo>
                  <a:lnTo>
                    <a:pt x="106" y="260"/>
                  </a:lnTo>
                  <a:lnTo>
                    <a:pt x="106" y="258"/>
                  </a:lnTo>
                  <a:lnTo>
                    <a:pt x="102" y="257"/>
                  </a:lnTo>
                  <a:lnTo>
                    <a:pt x="100" y="257"/>
                  </a:lnTo>
                  <a:lnTo>
                    <a:pt x="99" y="258"/>
                  </a:lnTo>
                  <a:lnTo>
                    <a:pt x="98" y="258"/>
                  </a:lnTo>
                  <a:lnTo>
                    <a:pt x="96" y="259"/>
                  </a:lnTo>
                  <a:lnTo>
                    <a:pt x="96" y="265"/>
                  </a:lnTo>
                  <a:lnTo>
                    <a:pt x="95" y="265"/>
                  </a:lnTo>
                  <a:lnTo>
                    <a:pt x="95" y="266"/>
                  </a:lnTo>
                  <a:lnTo>
                    <a:pt x="96" y="266"/>
                  </a:lnTo>
                  <a:lnTo>
                    <a:pt x="96" y="269"/>
                  </a:lnTo>
                  <a:lnTo>
                    <a:pt x="98" y="269"/>
                  </a:lnTo>
                  <a:lnTo>
                    <a:pt x="98" y="270"/>
                  </a:lnTo>
                  <a:lnTo>
                    <a:pt x="96" y="270"/>
                  </a:lnTo>
                  <a:lnTo>
                    <a:pt x="96" y="271"/>
                  </a:lnTo>
                  <a:lnTo>
                    <a:pt x="95" y="272"/>
                  </a:lnTo>
                  <a:lnTo>
                    <a:pt x="94" y="272"/>
                  </a:lnTo>
                  <a:lnTo>
                    <a:pt x="94" y="274"/>
                  </a:lnTo>
                  <a:lnTo>
                    <a:pt x="92" y="269"/>
                  </a:lnTo>
                  <a:lnTo>
                    <a:pt x="90" y="269"/>
                  </a:lnTo>
                  <a:lnTo>
                    <a:pt x="89" y="270"/>
                  </a:lnTo>
                  <a:lnTo>
                    <a:pt x="86" y="266"/>
                  </a:lnTo>
                  <a:lnTo>
                    <a:pt x="86" y="264"/>
                  </a:lnTo>
                  <a:lnTo>
                    <a:pt x="87" y="263"/>
                  </a:lnTo>
                  <a:lnTo>
                    <a:pt x="87" y="260"/>
                  </a:lnTo>
                  <a:lnTo>
                    <a:pt x="85" y="260"/>
                  </a:lnTo>
                  <a:lnTo>
                    <a:pt x="85" y="259"/>
                  </a:lnTo>
                  <a:lnTo>
                    <a:pt x="82" y="257"/>
                  </a:lnTo>
                  <a:lnTo>
                    <a:pt x="81" y="255"/>
                  </a:lnTo>
                  <a:lnTo>
                    <a:pt x="81" y="249"/>
                  </a:lnTo>
                  <a:lnTo>
                    <a:pt x="86" y="244"/>
                  </a:lnTo>
                  <a:lnTo>
                    <a:pt x="86" y="238"/>
                  </a:lnTo>
                  <a:lnTo>
                    <a:pt x="82" y="232"/>
                  </a:lnTo>
                  <a:lnTo>
                    <a:pt x="81" y="229"/>
                  </a:lnTo>
                  <a:lnTo>
                    <a:pt x="80" y="229"/>
                  </a:lnTo>
                  <a:lnTo>
                    <a:pt x="76" y="227"/>
                  </a:lnTo>
                  <a:lnTo>
                    <a:pt x="76" y="226"/>
                  </a:lnTo>
                  <a:lnTo>
                    <a:pt x="75" y="226"/>
                  </a:lnTo>
                  <a:lnTo>
                    <a:pt x="74" y="225"/>
                  </a:lnTo>
                  <a:lnTo>
                    <a:pt x="71" y="223"/>
                  </a:lnTo>
                  <a:lnTo>
                    <a:pt x="69" y="223"/>
                  </a:lnTo>
                  <a:lnTo>
                    <a:pt x="70" y="222"/>
                  </a:lnTo>
                  <a:lnTo>
                    <a:pt x="70" y="220"/>
                  </a:lnTo>
                  <a:lnTo>
                    <a:pt x="69" y="217"/>
                  </a:lnTo>
                  <a:lnTo>
                    <a:pt x="68" y="216"/>
                  </a:lnTo>
                  <a:lnTo>
                    <a:pt x="67" y="216"/>
                  </a:lnTo>
                  <a:lnTo>
                    <a:pt x="62" y="214"/>
                  </a:lnTo>
                  <a:lnTo>
                    <a:pt x="62" y="213"/>
                  </a:lnTo>
                  <a:lnTo>
                    <a:pt x="63" y="209"/>
                  </a:lnTo>
                  <a:lnTo>
                    <a:pt x="65" y="209"/>
                  </a:lnTo>
                  <a:lnTo>
                    <a:pt x="69" y="206"/>
                  </a:lnTo>
                  <a:lnTo>
                    <a:pt x="70" y="206"/>
                  </a:lnTo>
                  <a:lnTo>
                    <a:pt x="70" y="204"/>
                  </a:lnTo>
                  <a:lnTo>
                    <a:pt x="69" y="204"/>
                  </a:lnTo>
                  <a:lnTo>
                    <a:pt x="71" y="202"/>
                  </a:lnTo>
                  <a:lnTo>
                    <a:pt x="73" y="200"/>
                  </a:lnTo>
                  <a:lnTo>
                    <a:pt x="73" y="195"/>
                  </a:lnTo>
                  <a:lnTo>
                    <a:pt x="74" y="196"/>
                  </a:lnTo>
                  <a:lnTo>
                    <a:pt x="74" y="195"/>
                  </a:lnTo>
                  <a:lnTo>
                    <a:pt x="77" y="195"/>
                  </a:lnTo>
                  <a:lnTo>
                    <a:pt x="79" y="197"/>
                  </a:lnTo>
                  <a:lnTo>
                    <a:pt x="85" y="197"/>
                  </a:lnTo>
                  <a:lnTo>
                    <a:pt x="87" y="195"/>
                  </a:lnTo>
                  <a:lnTo>
                    <a:pt x="88" y="191"/>
                  </a:lnTo>
                  <a:lnTo>
                    <a:pt x="89" y="190"/>
                  </a:lnTo>
                  <a:lnTo>
                    <a:pt x="93" y="188"/>
                  </a:lnTo>
                  <a:lnTo>
                    <a:pt x="98" y="188"/>
                  </a:lnTo>
                  <a:lnTo>
                    <a:pt x="98" y="189"/>
                  </a:lnTo>
                  <a:lnTo>
                    <a:pt x="100" y="189"/>
                  </a:lnTo>
                  <a:lnTo>
                    <a:pt x="100" y="190"/>
                  </a:lnTo>
                  <a:lnTo>
                    <a:pt x="101" y="191"/>
                  </a:lnTo>
                  <a:lnTo>
                    <a:pt x="105" y="191"/>
                  </a:lnTo>
                  <a:lnTo>
                    <a:pt x="105" y="192"/>
                  </a:lnTo>
                  <a:lnTo>
                    <a:pt x="106" y="194"/>
                  </a:lnTo>
                  <a:lnTo>
                    <a:pt x="106" y="195"/>
                  </a:lnTo>
                  <a:lnTo>
                    <a:pt x="108" y="195"/>
                  </a:lnTo>
                  <a:lnTo>
                    <a:pt x="108" y="196"/>
                  </a:lnTo>
                  <a:lnTo>
                    <a:pt x="113" y="196"/>
                  </a:lnTo>
                  <a:lnTo>
                    <a:pt x="116" y="198"/>
                  </a:lnTo>
                  <a:lnTo>
                    <a:pt x="120" y="198"/>
                  </a:lnTo>
                  <a:lnTo>
                    <a:pt x="127" y="202"/>
                  </a:lnTo>
                  <a:lnTo>
                    <a:pt x="129" y="203"/>
                  </a:lnTo>
                  <a:lnTo>
                    <a:pt x="132" y="206"/>
                  </a:lnTo>
                  <a:lnTo>
                    <a:pt x="132" y="207"/>
                  </a:lnTo>
                  <a:lnTo>
                    <a:pt x="133" y="207"/>
                  </a:lnTo>
                  <a:lnTo>
                    <a:pt x="133" y="208"/>
                  </a:lnTo>
                  <a:lnTo>
                    <a:pt x="135" y="209"/>
                  </a:lnTo>
                  <a:lnTo>
                    <a:pt x="139" y="209"/>
                  </a:lnTo>
                  <a:lnTo>
                    <a:pt x="139" y="208"/>
                  </a:lnTo>
                  <a:lnTo>
                    <a:pt x="141" y="207"/>
                  </a:lnTo>
                  <a:lnTo>
                    <a:pt x="139" y="207"/>
                  </a:lnTo>
                  <a:lnTo>
                    <a:pt x="139" y="206"/>
                  </a:lnTo>
                  <a:lnTo>
                    <a:pt x="138" y="206"/>
                  </a:lnTo>
                  <a:lnTo>
                    <a:pt x="137" y="204"/>
                  </a:lnTo>
                  <a:lnTo>
                    <a:pt x="135" y="204"/>
                  </a:lnTo>
                  <a:lnTo>
                    <a:pt x="136" y="203"/>
                  </a:lnTo>
                  <a:lnTo>
                    <a:pt x="137" y="203"/>
                  </a:lnTo>
                  <a:lnTo>
                    <a:pt x="139" y="201"/>
                  </a:lnTo>
                  <a:lnTo>
                    <a:pt x="141" y="201"/>
                  </a:lnTo>
                  <a:lnTo>
                    <a:pt x="142" y="202"/>
                  </a:lnTo>
                  <a:lnTo>
                    <a:pt x="143" y="202"/>
                  </a:lnTo>
                  <a:lnTo>
                    <a:pt x="144" y="203"/>
                  </a:lnTo>
                  <a:lnTo>
                    <a:pt x="145" y="202"/>
                  </a:lnTo>
                  <a:lnTo>
                    <a:pt x="149" y="202"/>
                  </a:lnTo>
                  <a:lnTo>
                    <a:pt x="149" y="201"/>
                  </a:lnTo>
                  <a:lnTo>
                    <a:pt x="150" y="201"/>
                  </a:lnTo>
                  <a:lnTo>
                    <a:pt x="150" y="198"/>
                  </a:lnTo>
                  <a:lnTo>
                    <a:pt x="149" y="198"/>
                  </a:lnTo>
                  <a:lnTo>
                    <a:pt x="150" y="197"/>
                  </a:lnTo>
                  <a:lnTo>
                    <a:pt x="148" y="197"/>
                  </a:lnTo>
                  <a:lnTo>
                    <a:pt x="147" y="196"/>
                  </a:lnTo>
                  <a:lnTo>
                    <a:pt x="148" y="196"/>
                  </a:lnTo>
                  <a:lnTo>
                    <a:pt x="147" y="195"/>
                  </a:lnTo>
                  <a:lnTo>
                    <a:pt x="144" y="196"/>
                  </a:lnTo>
                  <a:lnTo>
                    <a:pt x="143" y="196"/>
                  </a:lnTo>
                  <a:lnTo>
                    <a:pt x="143" y="194"/>
                  </a:lnTo>
                  <a:lnTo>
                    <a:pt x="138" y="194"/>
                  </a:lnTo>
                  <a:lnTo>
                    <a:pt x="138" y="195"/>
                  </a:lnTo>
                  <a:lnTo>
                    <a:pt x="137" y="196"/>
                  </a:lnTo>
                  <a:lnTo>
                    <a:pt x="137" y="192"/>
                  </a:lnTo>
                  <a:lnTo>
                    <a:pt x="136" y="194"/>
                  </a:lnTo>
                  <a:lnTo>
                    <a:pt x="133" y="194"/>
                  </a:lnTo>
                  <a:lnTo>
                    <a:pt x="131" y="192"/>
                  </a:lnTo>
                  <a:lnTo>
                    <a:pt x="132" y="192"/>
                  </a:lnTo>
                  <a:lnTo>
                    <a:pt x="132" y="191"/>
                  </a:lnTo>
                  <a:lnTo>
                    <a:pt x="133" y="191"/>
                  </a:lnTo>
                  <a:lnTo>
                    <a:pt x="132" y="190"/>
                  </a:lnTo>
                  <a:lnTo>
                    <a:pt x="131" y="190"/>
                  </a:lnTo>
                  <a:lnTo>
                    <a:pt x="130" y="189"/>
                  </a:lnTo>
                  <a:lnTo>
                    <a:pt x="129" y="189"/>
                  </a:lnTo>
                  <a:lnTo>
                    <a:pt x="127" y="188"/>
                  </a:lnTo>
                  <a:lnTo>
                    <a:pt x="127" y="185"/>
                  </a:lnTo>
                  <a:lnTo>
                    <a:pt x="126" y="185"/>
                  </a:lnTo>
                  <a:lnTo>
                    <a:pt x="124" y="188"/>
                  </a:lnTo>
                  <a:lnTo>
                    <a:pt x="124" y="190"/>
                  </a:lnTo>
                  <a:lnTo>
                    <a:pt x="123" y="190"/>
                  </a:lnTo>
                  <a:lnTo>
                    <a:pt x="123" y="189"/>
                  </a:lnTo>
                  <a:lnTo>
                    <a:pt x="121" y="189"/>
                  </a:lnTo>
                  <a:lnTo>
                    <a:pt x="121" y="186"/>
                  </a:lnTo>
                  <a:lnTo>
                    <a:pt x="119" y="184"/>
                  </a:lnTo>
                  <a:lnTo>
                    <a:pt x="119" y="183"/>
                  </a:lnTo>
                  <a:lnTo>
                    <a:pt x="117" y="183"/>
                  </a:lnTo>
                  <a:lnTo>
                    <a:pt x="117" y="182"/>
                  </a:lnTo>
                  <a:lnTo>
                    <a:pt x="116" y="182"/>
                  </a:lnTo>
                  <a:lnTo>
                    <a:pt x="117" y="183"/>
                  </a:lnTo>
                  <a:lnTo>
                    <a:pt x="117" y="184"/>
                  </a:lnTo>
                  <a:lnTo>
                    <a:pt x="116" y="184"/>
                  </a:lnTo>
                  <a:lnTo>
                    <a:pt x="114" y="185"/>
                  </a:lnTo>
                  <a:lnTo>
                    <a:pt x="116" y="185"/>
                  </a:lnTo>
                  <a:lnTo>
                    <a:pt x="116" y="188"/>
                  </a:lnTo>
                  <a:lnTo>
                    <a:pt x="114" y="188"/>
                  </a:lnTo>
                  <a:lnTo>
                    <a:pt x="113" y="186"/>
                  </a:lnTo>
                  <a:lnTo>
                    <a:pt x="111" y="188"/>
                  </a:lnTo>
                  <a:lnTo>
                    <a:pt x="111" y="186"/>
                  </a:lnTo>
                  <a:lnTo>
                    <a:pt x="108" y="186"/>
                  </a:lnTo>
                  <a:lnTo>
                    <a:pt x="107" y="188"/>
                  </a:lnTo>
                  <a:lnTo>
                    <a:pt x="106" y="188"/>
                  </a:lnTo>
                  <a:lnTo>
                    <a:pt x="106" y="186"/>
                  </a:lnTo>
                  <a:lnTo>
                    <a:pt x="105" y="186"/>
                  </a:lnTo>
                  <a:lnTo>
                    <a:pt x="105" y="185"/>
                  </a:lnTo>
                  <a:lnTo>
                    <a:pt x="104" y="185"/>
                  </a:lnTo>
                  <a:lnTo>
                    <a:pt x="101" y="184"/>
                  </a:lnTo>
                  <a:lnTo>
                    <a:pt x="100" y="184"/>
                  </a:lnTo>
                  <a:lnTo>
                    <a:pt x="100" y="185"/>
                  </a:lnTo>
                  <a:lnTo>
                    <a:pt x="99" y="184"/>
                  </a:lnTo>
                  <a:lnTo>
                    <a:pt x="96" y="184"/>
                  </a:lnTo>
                  <a:lnTo>
                    <a:pt x="94" y="185"/>
                  </a:lnTo>
                  <a:lnTo>
                    <a:pt x="93" y="185"/>
                  </a:lnTo>
                  <a:lnTo>
                    <a:pt x="93" y="184"/>
                  </a:lnTo>
                  <a:lnTo>
                    <a:pt x="92" y="184"/>
                  </a:lnTo>
                  <a:lnTo>
                    <a:pt x="90" y="186"/>
                  </a:lnTo>
                  <a:lnTo>
                    <a:pt x="89" y="186"/>
                  </a:lnTo>
                  <a:lnTo>
                    <a:pt x="89" y="188"/>
                  </a:lnTo>
                  <a:lnTo>
                    <a:pt x="88" y="188"/>
                  </a:lnTo>
                  <a:lnTo>
                    <a:pt x="87" y="186"/>
                  </a:lnTo>
                  <a:lnTo>
                    <a:pt x="85" y="186"/>
                  </a:lnTo>
                  <a:lnTo>
                    <a:pt x="83" y="188"/>
                  </a:lnTo>
                  <a:lnTo>
                    <a:pt x="82" y="186"/>
                  </a:lnTo>
                  <a:lnTo>
                    <a:pt x="79" y="190"/>
                  </a:lnTo>
                  <a:lnTo>
                    <a:pt x="77" y="190"/>
                  </a:lnTo>
                  <a:lnTo>
                    <a:pt x="77" y="186"/>
                  </a:lnTo>
                  <a:lnTo>
                    <a:pt x="75" y="186"/>
                  </a:lnTo>
                  <a:lnTo>
                    <a:pt x="75" y="184"/>
                  </a:lnTo>
                  <a:lnTo>
                    <a:pt x="73" y="184"/>
                  </a:lnTo>
                  <a:lnTo>
                    <a:pt x="73" y="180"/>
                  </a:lnTo>
                  <a:lnTo>
                    <a:pt x="71" y="179"/>
                  </a:lnTo>
                  <a:lnTo>
                    <a:pt x="70" y="179"/>
                  </a:lnTo>
                  <a:lnTo>
                    <a:pt x="71" y="183"/>
                  </a:lnTo>
                  <a:lnTo>
                    <a:pt x="71" y="185"/>
                  </a:lnTo>
                  <a:lnTo>
                    <a:pt x="69" y="185"/>
                  </a:lnTo>
                  <a:lnTo>
                    <a:pt x="69" y="186"/>
                  </a:lnTo>
                  <a:lnTo>
                    <a:pt x="68" y="186"/>
                  </a:lnTo>
                  <a:lnTo>
                    <a:pt x="68" y="188"/>
                  </a:lnTo>
                  <a:lnTo>
                    <a:pt x="64" y="188"/>
                  </a:lnTo>
                  <a:lnTo>
                    <a:pt x="64" y="190"/>
                  </a:lnTo>
                  <a:lnTo>
                    <a:pt x="63" y="190"/>
                  </a:lnTo>
                  <a:lnTo>
                    <a:pt x="63" y="188"/>
                  </a:lnTo>
                  <a:lnTo>
                    <a:pt x="61" y="188"/>
                  </a:lnTo>
                  <a:lnTo>
                    <a:pt x="62" y="186"/>
                  </a:lnTo>
                  <a:lnTo>
                    <a:pt x="61" y="186"/>
                  </a:lnTo>
                  <a:lnTo>
                    <a:pt x="61" y="185"/>
                  </a:lnTo>
                  <a:lnTo>
                    <a:pt x="63" y="185"/>
                  </a:lnTo>
                  <a:lnTo>
                    <a:pt x="63" y="184"/>
                  </a:lnTo>
                  <a:lnTo>
                    <a:pt x="61" y="184"/>
                  </a:lnTo>
                  <a:lnTo>
                    <a:pt x="61" y="183"/>
                  </a:lnTo>
                  <a:lnTo>
                    <a:pt x="62" y="183"/>
                  </a:lnTo>
                  <a:lnTo>
                    <a:pt x="62" y="182"/>
                  </a:lnTo>
                  <a:lnTo>
                    <a:pt x="61" y="180"/>
                  </a:lnTo>
                  <a:lnTo>
                    <a:pt x="61" y="177"/>
                  </a:lnTo>
                  <a:lnTo>
                    <a:pt x="60" y="178"/>
                  </a:lnTo>
                  <a:lnTo>
                    <a:pt x="58" y="178"/>
                  </a:lnTo>
                  <a:lnTo>
                    <a:pt x="58" y="177"/>
                  </a:lnTo>
                  <a:lnTo>
                    <a:pt x="57" y="177"/>
                  </a:lnTo>
                  <a:lnTo>
                    <a:pt x="58" y="174"/>
                  </a:lnTo>
                  <a:lnTo>
                    <a:pt x="58" y="173"/>
                  </a:lnTo>
                  <a:lnTo>
                    <a:pt x="57" y="172"/>
                  </a:lnTo>
                  <a:lnTo>
                    <a:pt x="56" y="170"/>
                  </a:lnTo>
                  <a:lnTo>
                    <a:pt x="54" y="170"/>
                  </a:lnTo>
                  <a:lnTo>
                    <a:pt x="54" y="169"/>
                  </a:lnTo>
                  <a:lnTo>
                    <a:pt x="52" y="164"/>
                  </a:lnTo>
                  <a:lnTo>
                    <a:pt x="51" y="163"/>
                  </a:lnTo>
                  <a:lnTo>
                    <a:pt x="50" y="163"/>
                  </a:lnTo>
                  <a:lnTo>
                    <a:pt x="50" y="164"/>
                  </a:lnTo>
                  <a:lnTo>
                    <a:pt x="49" y="164"/>
                  </a:lnTo>
                  <a:lnTo>
                    <a:pt x="48" y="165"/>
                  </a:lnTo>
                  <a:lnTo>
                    <a:pt x="48" y="164"/>
                  </a:lnTo>
                  <a:lnTo>
                    <a:pt x="46" y="164"/>
                  </a:lnTo>
                  <a:lnTo>
                    <a:pt x="45" y="163"/>
                  </a:lnTo>
                  <a:lnTo>
                    <a:pt x="46" y="161"/>
                  </a:lnTo>
                  <a:lnTo>
                    <a:pt x="46" y="160"/>
                  </a:lnTo>
                  <a:lnTo>
                    <a:pt x="48" y="159"/>
                  </a:lnTo>
                  <a:lnTo>
                    <a:pt x="49" y="159"/>
                  </a:lnTo>
                  <a:lnTo>
                    <a:pt x="46" y="157"/>
                  </a:lnTo>
                  <a:lnTo>
                    <a:pt x="46" y="155"/>
                  </a:lnTo>
                  <a:lnTo>
                    <a:pt x="48" y="154"/>
                  </a:lnTo>
                  <a:lnTo>
                    <a:pt x="48" y="155"/>
                  </a:lnTo>
                  <a:lnTo>
                    <a:pt x="49" y="155"/>
                  </a:lnTo>
                  <a:lnTo>
                    <a:pt x="49" y="157"/>
                  </a:lnTo>
                  <a:lnTo>
                    <a:pt x="50" y="155"/>
                  </a:lnTo>
                  <a:lnTo>
                    <a:pt x="54" y="155"/>
                  </a:lnTo>
                  <a:lnTo>
                    <a:pt x="54" y="154"/>
                  </a:lnTo>
                  <a:lnTo>
                    <a:pt x="55" y="155"/>
                  </a:lnTo>
                  <a:lnTo>
                    <a:pt x="58" y="155"/>
                  </a:lnTo>
                  <a:lnTo>
                    <a:pt x="58" y="158"/>
                  </a:lnTo>
                  <a:lnTo>
                    <a:pt x="60" y="158"/>
                  </a:lnTo>
                  <a:lnTo>
                    <a:pt x="61" y="159"/>
                  </a:lnTo>
                  <a:lnTo>
                    <a:pt x="61" y="157"/>
                  </a:lnTo>
                  <a:lnTo>
                    <a:pt x="62" y="157"/>
                  </a:lnTo>
                  <a:lnTo>
                    <a:pt x="64" y="159"/>
                  </a:lnTo>
                  <a:lnTo>
                    <a:pt x="64" y="157"/>
                  </a:lnTo>
                  <a:lnTo>
                    <a:pt x="63" y="157"/>
                  </a:lnTo>
                  <a:lnTo>
                    <a:pt x="63" y="153"/>
                  </a:lnTo>
                  <a:lnTo>
                    <a:pt x="64" y="153"/>
                  </a:lnTo>
                  <a:lnTo>
                    <a:pt x="64" y="152"/>
                  </a:lnTo>
                  <a:lnTo>
                    <a:pt x="61" y="148"/>
                  </a:lnTo>
                  <a:lnTo>
                    <a:pt x="61" y="149"/>
                  </a:lnTo>
                  <a:lnTo>
                    <a:pt x="60" y="149"/>
                  </a:lnTo>
                  <a:lnTo>
                    <a:pt x="58" y="151"/>
                  </a:lnTo>
                  <a:lnTo>
                    <a:pt x="60" y="152"/>
                  </a:lnTo>
                  <a:lnTo>
                    <a:pt x="57" y="151"/>
                  </a:lnTo>
                  <a:lnTo>
                    <a:pt x="56" y="151"/>
                  </a:lnTo>
                  <a:lnTo>
                    <a:pt x="56" y="149"/>
                  </a:lnTo>
                  <a:lnTo>
                    <a:pt x="55" y="151"/>
                  </a:lnTo>
                  <a:lnTo>
                    <a:pt x="55" y="148"/>
                  </a:lnTo>
                  <a:lnTo>
                    <a:pt x="50" y="148"/>
                  </a:lnTo>
                  <a:lnTo>
                    <a:pt x="50" y="146"/>
                  </a:lnTo>
                  <a:lnTo>
                    <a:pt x="49" y="146"/>
                  </a:lnTo>
                  <a:lnTo>
                    <a:pt x="49" y="147"/>
                  </a:lnTo>
                  <a:lnTo>
                    <a:pt x="48" y="147"/>
                  </a:lnTo>
                  <a:lnTo>
                    <a:pt x="48" y="149"/>
                  </a:lnTo>
                  <a:lnTo>
                    <a:pt x="46" y="151"/>
                  </a:lnTo>
                  <a:lnTo>
                    <a:pt x="49" y="153"/>
                  </a:lnTo>
                  <a:lnTo>
                    <a:pt x="46" y="153"/>
                  </a:lnTo>
                  <a:lnTo>
                    <a:pt x="46" y="154"/>
                  </a:lnTo>
                  <a:lnTo>
                    <a:pt x="45" y="154"/>
                  </a:lnTo>
                  <a:lnTo>
                    <a:pt x="45" y="153"/>
                  </a:lnTo>
                  <a:lnTo>
                    <a:pt x="44" y="152"/>
                  </a:lnTo>
                  <a:lnTo>
                    <a:pt x="45" y="152"/>
                  </a:lnTo>
                  <a:lnTo>
                    <a:pt x="45" y="151"/>
                  </a:lnTo>
                  <a:lnTo>
                    <a:pt x="44" y="149"/>
                  </a:lnTo>
                  <a:lnTo>
                    <a:pt x="44" y="148"/>
                  </a:lnTo>
                  <a:lnTo>
                    <a:pt x="36" y="140"/>
                  </a:lnTo>
                  <a:lnTo>
                    <a:pt x="34" y="140"/>
                  </a:lnTo>
                  <a:lnTo>
                    <a:pt x="36" y="139"/>
                  </a:lnTo>
                  <a:lnTo>
                    <a:pt x="34" y="139"/>
                  </a:lnTo>
                  <a:lnTo>
                    <a:pt x="34" y="137"/>
                  </a:lnTo>
                  <a:lnTo>
                    <a:pt x="36" y="137"/>
                  </a:lnTo>
                  <a:lnTo>
                    <a:pt x="36" y="136"/>
                  </a:lnTo>
                  <a:lnTo>
                    <a:pt x="34" y="136"/>
                  </a:lnTo>
                  <a:lnTo>
                    <a:pt x="34" y="137"/>
                  </a:lnTo>
                  <a:lnTo>
                    <a:pt x="33" y="136"/>
                  </a:lnTo>
                  <a:lnTo>
                    <a:pt x="30" y="136"/>
                  </a:lnTo>
                  <a:lnTo>
                    <a:pt x="27" y="134"/>
                  </a:lnTo>
                  <a:lnTo>
                    <a:pt x="27" y="133"/>
                  </a:lnTo>
                  <a:lnTo>
                    <a:pt x="26" y="132"/>
                  </a:lnTo>
                  <a:lnTo>
                    <a:pt x="26" y="130"/>
                  </a:lnTo>
                  <a:lnTo>
                    <a:pt x="25" y="130"/>
                  </a:lnTo>
                  <a:lnTo>
                    <a:pt x="25" y="129"/>
                  </a:lnTo>
                  <a:lnTo>
                    <a:pt x="24" y="128"/>
                  </a:lnTo>
                  <a:lnTo>
                    <a:pt x="26" y="128"/>
                  </a:lnTo>
                  <a:lnTo>
                    <a:pt x="26" y="127"/>
                  </a:lnTo>
                  <a:lnTo>
                    <a:pt x="25" y="127"/>
                  </a:lnTo>
                  <a:lnTo>
                    <a:pt x="24" y="126"/>
                  </a:lnTo>
                  <a:lnTo>
                    <a:pt x="25" y="126"/>
                  </a:lnTo>
                  <a:lnTo>
                    <a:pt x="26" y="124"/>
                  </a:lnTo>
                  <a:lnTo>
                    <a:pt x="25" y="124"/>
                  </a:lnTo>
                  <a:lnTo>
                    <a:pt x="25" y="123"/>
                  </a:lnTo>
                  <a:lnTo>
                    <a:pt x="20" y="123"/>
                  </a:lnTo>
                  <a:lnTo>
                    <a:pt x="21" y="122"/>
                  </a:lnTo>
                  <a:lnTo>
                    <a:pt x="21" y="121"/>
                  </a:lnTo>
                  <a:lnTo>
                    <a:pt x="23" y="121"/>
                  </a:lnTo>
                  <a:lnTo>
                    <a:pt x="23" y="118"/>
                  </a:lnTo>
                  <a:lnTo>
                    <a:pt x="21" y="117"/>
                  </a:lnTo>
                  <a:lnTo>
                    <a:pt x="24" y="117"/>
                  </a:lnTo>
                  <a:lnTo>
                    <a:pt x="24" y="116"/>
                  </a:lnTo>
                  <a:lnTo>
                    <a:pt x="25" y="116"/>
                  </a:lnTo>
                  <a:lnTo>
                    <a:pt x="25" y="115"/>
                  </a:lnTo>
                  <a:lnTo>
                    <a:pt x="27" y="112"/>
                  </a:lnTo>
                  <a:lnTo>
                    <a:pt x="27" y="111"/>
                  </a:lnTo>
                  <a:lnTo>
                    <a:pt x="26" y="111"/>
                  </a:lnTo>
                  <a:lnTo>
                    <a:pt x="26" y="110"/>
                  </a:lnTo>
                  <a:lnTo>
                    <a:pt x="27" y="110"/>
                  </a:lnTo>
                  <a:lnTo>
                    <a:pt x="26" y="109"/>
                  </a:lnTo>
                  <a:lnTo>
                    <a:pt x="26" y="108"/>
                  </a:lnTo>
                  <a:lnTo>
                    <a:pt x="27" y="108"/>
                  </a:lnTo>
                  <a:lnTo>
                    <a:pt x="29" y="109"/>
                  </a:lnTo>
                  <a:lnTo>
                    <a:pt x="31" y="109"/>
                  </a:lnTo>
                  <a:lnTo>
                    <a:pt x="32" y="108"/>
                  </a:lnTo>
                  <a:lnTo>
                    <a:pt x="31" y="106"/>
                  </a:lnTo>
                  <a:lnTo>
                    <a:pt x="30" y="103"/>
                  </a:lnTo>
                  <a:lnTo>
                    <a:pt x="29" y="102"/>
                  </a:lnTo>
                  <a:lnTo>
                    <a:pt x="27" y="98"/>
                  </a:lnTo>
                  <a:lnTo>
                    <a:pt x="31" y="98"/>
                  </a:lnTo>
                  <a:lnTo>
                    <a:pt x="31" y="96"/>
                  </a:lnTo>
                  <a:lnTo>
                    <a:pt x="33" y="93"/>
                  </a:lnTo>
                  <a:lnTo>
                    <a:pt x="34" y="94"/>
                  </a:lnTo>
                  <a:lnTo>
                    <a:pt x="36" y="93"/>
                  </a:lnTo>
                  <a:lnTo>
                    <a:pt x="40" y="93"/>
                  </a:lnTo>
                  <a:lnTo>
                    <a:pt x="42" y="92"/>
                  </a:lnTo>
                  <a:lnTo>
                    <a:pt x="43" y="92"/>
                  </a:lnTo>
                  <a:lnTo>
                    <a:pt x="43" y="87"/>
                  </a:lnTo>
                  <a:lnTo>
                    <a:pt x="44" y="87"/>
                  </a:lnTo>
                  <a:lnTo>
                    <a:pt x="44" y="81"/>
                  </a:lnTo>
                  <a:lnTo>
                    <a:pt x="45" y="81"/>
                  </a:lnTo>
                  <a:lnTo>
                    <a:pt x="46" y="80"/>
                  </a:lnTo>
                  <a:lnTo>
                    <a:pt x="46" y="79"/>
                  </a:lnTo>
                  <a:lnTo>
                    <a:pt x="48" y="78"/>
                  </a:lnTo>
                  <a:lnTo>
                    <a:pt x="48" y="74"/>
                  </a:lnTo>
                  <a:lnTo>
                    <a:pt x="50" y="72"/>
                  </a:lnTo>
                  <a:lnTo>
                    <a:pt x="55" y="72"/>
                  </a:lnTo>
                  <a:lnTo>
                    <a:pt x="55" y="69"/>
                  </a:lnTo>
                  <a:lnTo>
                    <a:pt x="56" y="68"/>
                  </a:lnTo>
                  <a:lnTo>
                    <a:pt x="57" y="68"/>
                  </a:lnTo>
                  <a:lnTo>
                    <a:pt x="57" y="67"/>
                  </a:lnTo>
                  <a:lnTo>
                    <a:pt x="58" y="67"/>
                  </a:lnTo>
                  <a:lnTo>
                    <a:pt x="58" y="59"/>
                  </a:lnTo>
                  <a:lnTo>
                    <a:pt x="56" y="56"/>
                  </a:lnTo>
                  <a:lnTo>
                    <a:pt x="55" y="56"/>
                  </a:lnTo>
                  <a:lnTo>
                    <a:pt x="55" y="54"/>
                  </a:lnTo>
                  <a:lnTo>
                    <a:pt x="56" y="53"/>
                  </a:lnTo>
                  <a:lnTo>
                    <a:pt x="56" y="50"/>
                  </a:lnTo>
                  <a:lnTo>
                    <a:pt x="62" y="50"/>
                  </a:lnTo>
                  <a:lnTo>
                    <a:pt x="64" y="49"/>
                  </a:lnTo>
                  <a:lnTo>
                    <a:pt x="68" y="49"/>
                  </a:lnTo>
                  <a:lnTo>
                    <a:pt x="68" y="50"/>
                  </a:lnTo>
                  <a:lnTo>
                    <a:pt x="69" y="50"/>
                  </a:lnTo>
                  <a:lnTo>
                    <a:pt x="71" y="49"/>
                  </a:lnTo>
                  <a:lnTo>
                    <a:pt x="74" y="47"/>
                  </a:lnTo>
                  <a:lnTo>
                    <a:pt x="75" y="47"/>
                  </a:lnTo>
                  <a:lnTo>
                    <a:pt x="79" y="48"/>
                  </a:lnTo>
                  <a:lnTo>
                    <a:pt x="80" y="49"/>
                  </a:lnTo>
                  <a:lnTo>
                    <a:pt x="82" y="49"/>
                  </a:lnTo>
                  <a:lnTo>
                    <a:pt x="83" y="48"/>
                  </a:lnTo>
                  <a:lnTo>
                    <a:pt x="85" y="48"/>
                  </a:lnTo>
                  <a:lnTo>
                    <a:pt x="85" y="47"/>
                  </a:lnTo>
                  <a:lnTo>
                    <a:pt x="86" y="46"/>
                  </a:lnTo>
                  <a:lnTo>
                    <a:pt x="88" y="47"/>
                  </a:lnTo>
                  <a:lnTo>
                    <a:pt x="89" y="47"/>
                  </a:lnTo>
                  <a:lnTo>
                    <a:pt x="89" y="46"/>
                  </a:lnTo>
                  <a:lnTo>
                    <a:pt x="90" y="46"/>
                  </a:lnTo>
                  <a:lnTo>
                    <a:pt x="90" y="43"/>
                  </a:lnTo>
                  <a:lnTo>
                    <a:pt x="94" y="40"/>
                  </a:lnTo>
                  <a:lnTo>
                    <a:pt x="95" y="40"/>
                  </a:lnTo>
                  <a:lnTo>
                    <a:pt x="95" y="36"/>
                  </a:lnTo>
                  <a:lnTo>
                    <a:pt x="96" y="36"/>
                  </a:lnTo>
                  <a:lnTo>
                    <a:pt x="98" y="35"/>
                  </a:lnTo>
                  <a:lnTo>
                    <a:pt x="100" y="35"/>
                  </a:lnTo>
                  <a:lnTo>
                    <a:pt x="100" y="34"/>
                  </a:lnTo>
                  <a:lnTo>
                    <a:pt x="101" y="34"/>
                  </a:lnTo>
                  <a:lnTo>
                    <a:pt x="101" y="35"/>
                  </a:lnTo>
                  <a:lnTo>
                    <a:pt x="105" y="35"/>
                  </a:lnTo>
                  <a:lnTo>
                    <a:pt x="106" y="34"/>
                  </a:lnTo>
                  <a:lnTo>
                    <a:pt x="107" y="34"/>
                  </a:lnTo>
                  <a:lnTo>
                    <a:pt x="108" y="32"/>
                  </a:lnTo>
                  <a:lnTo>
                    <a:pt x="108" y="34"/>
                  </a:lnTo>
                  <a:lnTo>
                    <a:pt x="112" y="34"/>
                  </a:lnTo>
                  <a:lnTo>
                    <a:pt x="112" y="35"/>
                  </a:lnTo>
                  <a:lnTo>
                    <a:pt x="116" y="35"/>
                  </a:lnTo>
                  <a:lnTo>
                    <a:pt x="117" y="36"/>
                  </a:lnTo>
                  <a:lnTo>
                    <a:pt x="119" y="36"/>
                  </a:lnTo>
                  <a:lnTo>
                    <a:pt x="120" y="35"/>
                  </a:lnTo>
                  <a:lnTo>
                    <a:pt x="121" y="35"/>
                  </a:lnTo>
                  <a:lnTo>
                    <a:pt x="123" y="36"/>
                  </a:lnTo>
                  <a:lnTo>
                    <a:pt x="123" y="35"/>
                  </a:lnTo>
                  <a:lnTo>
                    <a:pt x="125" y="35"/>
                  </a:lnTo>
                  <a:lnTo>
                    <a:pt x="125" y="32"/>
                  </a:lnTo>
                  <a:lnTo>
                    <a:pt x="127" y="32"/>
                  </a:lnTo>
                  <a:lnTo>
                    <a:pt x="127" y="34"/>
                  </a:lnTo>
                  <a:lnTo>
                    <a:pt x="129" y="34"/>
                  </a:lnTo>
                  <a:lnTo>
                    <a:pt x="129" y="35"/>
                  </a:lnTo>
                  <a:lnTo>
                    <a:pt x="130" y="34"/>
                  </a:lnTo>
                  <a:lnTo>
                    <a:pt x="130" y="26"/>
                  </a:lnTo>
                  <a:lnTo>
                    <a:pt x="131" y="26"/>
                  </a:lnTo>
                  <a:lnTo>
                    <a:pt x="131" y="24"/>
                  </a:lnTo>
                  <a:lnTo>
                    <a:pt x="132" y="23"/>
                  </a:lnTo>
                  <a:lnTo>
                    <a:pt x="138" y="23"/>
                  </a:lnTo>
                  <a:lnTo>
                    <a:pt x="147" y="24"/>
                  </a:lnTo>
                  <a:lnTo>
                    <a:pt x="149" y="24"/>
                  </a:lnTo>
                  <a:lnTo>
                    <a:pt x="150" y="23"/>
                  </a:lnTo>
                  <a:lnTo>
                    <a:pt x="150" y="22"/>
                  </a:lnTo>
                  <a:lnTo>
                    <a:pt x="152" y="19"/>
                  </a:lnTo>
                  <a:lnTo>
                    <a:pt x="154" y="19"/>
                  </a:lnTo>
                  <a:lnTo>
                    <a:pt x="154" y="20"/>
                  </a:lnTo>
                  <a:lnTo>
                    <a:pt x="155" y="20"/>
                  </a:lnTo>
                  <a:lnTo>
                    <a:pt x="155" y="22"/>
                  </a:lnTo>
                  <a:lnTo>
                    <a:pt x="156" y="22"/>
                  </a:lnTo>
                  <a:lnTo>
                    <a:pt x="157" y="20"/>
                  </a:lnTo>
                  <a:lnTo>
                    <a:pt x="158" y="20"/>
                  </a:lnTo>
                  <a:lnTo>
                    <a:pt x="158" y="19"/>
                  </a:lnTo>
                  <a:lnTo>
                    <a:pt x="163" y="19"/>
                  </a:lnTo>
                  <a:lnTo>
                    <a:pt x="166" y="22"/>
                  </a:lnTo>
                  <a:lnTo>
                    <a:pt x="167" y="22"/>
                  </a:lnTo>
                  <a:lnTo>
                    <a:pt x="169" y="19"/>
                  </a:lnTo>
                  <a:lnTo>
                    <a:pt x="173" y="19"/>
                  </a:lnTo>
                  <a:lnTo>
                    <a:pt x="174" y="18"/>
                  </a:lnTo>
                  <a:lnTo>
                    <a:pt x="176" y="18"/>
                  </a:lnTo>
                  <a:lnTo>
                    <a:pt x="179" y="16"/>
                  </a:lnTo>
                  <a:lnTo>
                    <a:pt x="180" y="16"/>
                  </a:lnTo>
                  <a:lnTo>
                    <a:pt x="181" y="18"/>
                  </a:lnTo>
                  <a:lnTo>
                    <a:pt x="182" y="17"/>
                  </a:lnTo>
                  <a:lnTo>
                    <a:pt x="183" y="17"/>
                  </a:lnTo>
                  <a:lnTo>
                    <a:pt x="183" y="16"/>
                  </a:lnTo>
                  <a:lnTo>
                    <a:pt x="185" y="17"/>
                  </a:lnTo>
                  <a:lnTo>
                    <a:pt x="186" y="17"/>
                  </a:lnTo>
                  <a:lnTo>
                    <a:pt x="186" y="12"/>
                  </a:lnTo>
                  <a:lnTo>
                    <a:pt x="189" y="12"/>
                  </a:lnTo>
                  <a:lnTo>
                    <a:pt x="189" y="13"/>
                  </a:lnTo>
                  <a:lnTo>
                    <a:pt x="191" y="13"/>
                  </a:lnTo>
                  <a:lnTo>
                    <a:pt x="191" y="12"/>
                  </a:lnTo>
                  <a:lnTo>
                    <a:pt x="192" y="11"/>
                  </a:lnTo>
                  <a:lnTo>
                    <a:pt x="194" y="11"/>
                  </a:lnTo>
                  <a:lnTo>
                    <a:pt x="195" y="12"/>
                  </a:lnTo>
                  <a:lnTo>
                    <a:pt x="195" y="13"/>
                  </a:lnTo>
                  <a:lnTo>
                    <a:pt x="199" y="13"/>
                  </a:lnTo>
                  <a:lnTo>
                    <a:pt x="200" y="12"/>
                  </a:lnTo>
                  <a:lnTo>
                    <a:pt x="203" y="12"/>
                  </a:lnTo>
                  <a:lnTo>
                    <a:pt x="203" y="11"/>
                  </a:lnTo>
                  <a:lnTo>
                    <a:pt x="206" y="11"/>
                  </a:lnTo>
                  <a:lnTo>
                    <a:pt x="206" y="14"/>
                  </a:lnTo>
                  <a:lnTo>
                    <a:pt x="207" y="14"/>
                  </a:lnTo>
                  <a:lnTo>
                    <a:pt x="207" y="16"/>
                  </a:lnTo>
                  <a:lnTo>
                    <a:pt x="208" y="16"/>
                  </a:lnTo>
                  <a:lnTo>
                    <a:pt x="208" y="18"/>
                  </a:lnTo>
                  <a:lnTo>
                    <a:pt x="211" y="18"/>
                  </a:lnTo>
                  <a:lnTo>
                    <a:pt x="212" y="19"/>
                  </a:lnTo>
                  <a:lnTo>
                    <a:pt x="213" y="19"/>
                  </a:lnTo>
                  <a:lnTo>
                    <a:pt x="213" y="20"/>
                  </a:lnTo>
                  <a:lnTo>
                    <a:pt x="216" y="22"/>
                  </a:lnTo>
                  <a:lnTo>
                    <a:pt x="216" y="23"/>
                  </a:lnTo>
                  <a:lnTo>
                    <a:pt x="217" y="23"/>
                  </a:lnTo>
                  <a:lnTo>
                    <a:pt x="217" y="20"/>
                  </a:lnTo>
                  <a:lnTo>
                    <a:pt x="219" y="20"/>
                  </a:lnTo>
                  <a:lnTo>
                    <a:pt x="220" y="19"/>
                  </a:lnTo>
                  <a:lnTo>
                    <a:pt x="223" y="20"/>
                  </a:lnTo>
                  <a:lnTo>
                    <a:pt x="229" y="23"/>
                  </a:lnTo>
                  <a:lnTo>
                    <a:pt x="230" y="23"/>
                  </a:lnTo>
                  <a:lnTo>
                    <a:pt x="230" y="24"/>
                  </a:lnTo>
                  <a:lnTo>
                    <a:pt x="231" y="24"/>
                  </a:lnTo>
                  <a:lnTo>
                    <a:pt x="232" y="25"/>
                  </a:lnTo>
                  <a:lnTo>
                    <a:pt x="234" y="25"/>
                  </a:lnTo>
                  <a:lnTo>
                    <a:pt x="235" y="28"/>
                  </a:lnTo>
                  <a:lnTo>
                    <a:pt x="236" y="29"/>
                  </a:lnTo>
                  <a:lnTo>
                    <a:pt x="238" y="29"/>
                  </a:lnTo>
                  <a:lnTo>
                    <a:pt x="244" y="26"/>
                  </a:lnTo>
                  <a:lnTo>
                    <a:pt x="248" y="26"/>
                  </a:lnTo>
                  <a:lnTo>
                    <a:pt x="248" y="24"/>
                  </a:lnTo>
                  <a:lnTo>
                    <a:pt x="253" y="24"/>
                  </a:lnTo>
                  <a:lnTo>
                    <a:pt x="253" y="25"/>
                  </a:lnTo>
                  <a:lnTo>
                    <a:pt x="255" y="25"/>
                  </a:lnTo>
                  <a:lnTo>
                    <a:pt x="256" y="24"/>
                  </a:lnTo>
                  <a:lnTo>
                    <a:pt x="257" y="24"/>
                  </a:lnTo>
                  <a:lnTo>
                    <a:pt x="260" y="23"/>
                  </a:lnTo>
                  <a:lnTo>
                    <a:pt x="261" y="23"/>
                  </a:lnTo>
                  <a:lnTo>
                    <a:pt x="262" y="25"/>
                  </a:lnTo>
                  <a:lnTo>
                    <a:pt x="263" y="25"/>
                  </a:lnTo>
                  <a:lnTo>
                    <a:pt x="265" y="24"/>
                  </a:lnTo>
                  <a:lnTo>
                    <a:pt x="267" y="24"/>
                  </a:lnTo>
                  <a:lnTo>
                    <a:pt x="268" y="23"/>
                  </a:lnTo>
                  <a:lnTo>
                    <a:pt x="269" y="23"/>
                  </a:lnTo>
                  <a:lnTo>
                    <a:pt x="273" y="22"/>
                  </a:lnTo>
                  <a:lnTo>
                    <a:pt x="274" y="22"/>
                  </a:lnTo>
                  <a:lnTo>
                    <a:pt x="274" y="18"/>
                  </a:lnTo>
                  <a:lnTo>
                    <a:pt x="275" y="18"/>
                  </a:lnTo>
                  <a:lnTo>
                    <a:pt x="275" y="17"/>
                  </a:lnTo>
                  <a:lnTo>
                    <a:pt x="274" y="16"/>
                  </a:lnTo>
                  <a:lnTo>
                    <a:pt x="274" y="14"/>
                  </a:lnTo>
                  <a:lnTo>
                    <a:pt x="275" y="13"/>
                  </a:lnTo>
                  <a:lnTo>
                    <a:pt x="275" y="12"/>
                  </a:lnTo>
                  <a:lnTo>
                    <a:pt x="274" y="12"/>
                  </a:lnTo>
                  <a:lnTo>
                    <a:pt x="274" y="11"/>
                  </a:lnTo>
                  <a:lnTo>
                    <a:pt x="273" y="11"/>
                  </a:lnTo>
                  <a:lnTo>
                    <a:pt x="273" y="7"/>
                  </a:lnTo>
                  <a:lnTo>
                    <a:pt x="272" y="7"/>
                  </a:lnTo>
                  <a:lnTo>
                    <a:pt x="272" y="6"/>
                  </a:lnTo>
                  <a:lnTo>
                    <a:pt x="270" y="6"/>
                  </a:lnTo>
                  <a:lnTo>
                    <a:pt x="270" y="3"/>
                  </a:lnTo>
                  <a:lnTo>
                    <a:pt x="272" y="3"/>
                  </a:lnTo>
                  <a:lnTo>
                    <a:pt x="273" y="1"/>
                  </a:lnTo>
                  <a:lnTo>
                    <a:pt x="276" y="1"/>
                  </a:lnTo>
                  <a:lnTo>
                    <a:pt x="276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39">
              <a:extLst>
                <a:ext uri="{FF2B5EF4-FFF2-40B4-BE49-F238E27FC236}">
                  <a16:creationId xmlns:a16="http://schemas.microsoft.com/office/drawing/2014/main" id="{7D50A492-6785-4613-87B5-2A57E92FAB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70338" y="3452813"/>
              <a:ext cx="693738" cy="1087438"/>
            </a:xfrm>
            <a:custGeom>
              <a:avLst/>
              <a:gdLst/>
              <a:ahLst/>
              <a:cxnLst>
                <a:cxn ang="0">
                  <a:pos x="260" y="596"/>
                </a:cxn>
                <a:cxn ang="0">
                  <a:pos x="170" y="411"/>
                </a:cxn>
                <a:cxn ang="0">
                  <a:pos x="180" y="337"/>
                </a:cxn>
                <a:cxn ang="0">
                  <a:pos x="113" y="287"/>
                </a:cxn>
                <a:cxn ang="0">
                  <a:pos x="123" y="319"/>
                </a:cxn>
                <a:cxn ang="0">
                  <a:pos x="81" y="343"/>
                </a:cxn>
                <a:cxn ang="0">
                  <a:pos x="30" y="335"/>
                </a:cxn>
                <a:cxn ang="0">
                  <a:pos x="63" y="282"/>
                </a:cxn>
                <a:cxn ang="0">
                  <a:pos x="150" y="229"/>
                </a:cxn>
                <a:cxn ang="0">
                  <a:pos x="88" y="234"/>
                </a:cxn>
                <a:cxn ang="0">
                  <a:pos x="111" y="212"/>
                </a:cxn>
                <a:cxn ang="0">
                  <a:pos x="78" y="168"/>
                </a:cxn>
                <a:cxn ang="0">
                  <a:pos x="98" y="184"/>
                </a:cxn>
                <a:cxn ang="0">
                  <a:pos x="86" y="165"/>
                </a:cxn>
                <a:cxn ang="0">
                  <a:pos x="86" y="130"/>
                </a:cxn>
                <a:cxn ang="0">
                  <a:pos x="58" y="124"/>
                </a:cxn>
                <a:cxn ang="0">
                  <a:pos x="56" y="88"/>
                </a:cxn>
                <a:cxn ang="0">
                  <a:pos x="51" y="83"/>
                </a:cxn>
                <a:cxn ang="0">
                  <a:pos x="109" y="131"/>
                </a:cxn>
                <a:cxn ang="0">
                  <a:pos x="79" y="103"/>
                </a:cxn>
                <a:cxn ang="0">
                  <a:pos x="61" y="75"/>
                </a:cxn>
                <a:cxn ang="0">
                  <a:pos x="94" y="36"/>
                </a:cxn>
                <a:cxn ang="0">
                  <a:pos x="81" y="61"/>
                </a:cxn>
                <a:cxn ang="0">
                  <a:pos x="62" y="45"/>
                </a:cxn>
                <a:cxn ang="0">
                  <a:pos x="236" y="3"/>
                </a:cxn>
                <a:cxn ang="0">
                  <a:pos x="179" y="62"/>
                </a:cxn>
                <a:cxn ang="0">
                  <a:pos x="186" y="92"/>
                </a:cxn>
                <a:cxn ang="0">
                  <a:pos x="267" y="79"/>
                </a:cxn>
                <a:cxn ang="0">
                  <a:pos x="248" y="174"/>
                </a:cxn>
                <a:cxn ang="0">
                  <a:pos x="223" y="210"/>
                </a:cxn>
                <a:cxn ang="0">
                  <a:pos x="299" y="273"/>
                </a:cxn>
                <a:cxn ang="0">
                  <a:pos x="354" y="357"/>
                </a:cxn>
                <a:cxn ang="0">
                  <a:pos x="370" y="427"/>
                </a:cxn>
                <a:cxn ang="0">
                  <a:pos x="417" y="499"/>
                </a:cxn>
                <a:cxn ang="0">
                  <a:pos x="381" y="534"/>
                </a:cxn>
                <a:cxn ang="0">
                  <a:pos x="390" y="574"/>
                </a:cxn>
                <a:cxn ang="0">
                  <a:pos x="298" y="580"/>
                </a:cxn>
                <a:cxn ang="0">
                  <a:pos x="217" y="591"/>
                </a:cxn>
                <a:cxn ang="0">
                  <a:pos x="178" y="607"/>
                </a:cxn>
                <a:cxn ang="0">
                  <a:pos x="124" y="620"/>
                </a:cxn>
                <a:cxn ang="0">
                  <a:pos x="185" y="552"/>
                </a:cxn>
                <a:cxn ang="0">
                  <a:pos x="237" y="528"/>
                </a:cxn>
                <a:cxn ang="0">
                  <a:pos x="178" y="516"/>
                </a:cxn>
                <a:cxn ang="0">
                  <a:pos x="144" y="517"/>
                </a:cxn>
                <a:cxn ang="0">
                  <a:pos x="197" y="458"/>
                </a:cxn>
                <a:cxn ang="0">
                  <a:pos x="187" y="413"/>
                </a:cxn>
                <a:cxn ang="0">
                  <a:pos x="238" y="378"/>
                </a:cxn>
                <a:cxn ang="0">
                  <a:pos x="227" y="343"/>
                </a:cxn>
                <a:cxn ang="0">
                  <a:pos x="200" y="295"/>
                </a:cxn>
                <a:cxn ang="0">
                  <a:pos x="155" y="302"/>
                </a:cxn>
                <a:cxn ang="0">
                  <a:pos x="157" y="223"/>
                </a:cxn>
                <a:cxn ang="0">
                  <a:pos x="149" y="216"/>
                </a:cxn>
                <a:cxn ang="0">
                  <a:pos x="132" y="236"/>
                </a:cxn>
                <a:cxn ang="0">
                  <a:pos x="124" y="218"/>
                </a:cxn>
                <a:cxn ang="0">
                  <a:pos x="134" y="175"/>
                </a:cxn>
                <a:cxn ang="0">
                  <a:pos x="144" y="149"/>
                </a:cxn>
                <a:cxn ang="0">
                  <a:pos x="113" y="152"/>
                </a:cxn>
                <a:cxn ang="0">
                  <a:pos x="129" y="125"/>
                </a:cxn>
                <a:cxn ang="0">
                  <a:pos x="117" y="88"/>
                </a:cxn>
                <a:cxn ang="0">
                  <a:pos x="131" y="67"/>
                </a:cxn>
                <a:cxn ang="0">
                  <a:pos x="136" y="36"/>
                </a:cxn>
                <a:cxn ang="0">
                  <a:pos x="166" y="11"/>
                </a:cxn>
                <a:cxn ang="0">
                  <a:pos x="221" y="5"/>
                </a:cxn>
              </a:cxnLst>
              <a:rect l="0" t="0" r="r" b="b"/>
              <a:pathLst>
                <a:path w="437" h="685">
                  <a:moveTo>
                    <a:pt x="268" y="679"/>
                  </a:moveTo>
                  <a:lnTo>
                    <a:pt x="275" y="679"/>
                  </a:lnTo>
                  <a:lnTo>
                    <a:pt x="278" y="681"/>
                  </a:lnTo>
                  <a:lnTo>
                    <a:pt x="278" y="685"/>
                  </a:lnTo>
                  <a:lnTo>
                    <a:pt x="277" y="684"/>
                  </a:lnTo>
                  <a:lnTo>
                    <a:pt x="274" y="684"/>
                  </a:lnTo>
                  <a:lnTo>
                    <a:pt x="273" y="683"/>
                  </a:lnTo>
                  <a:lnTo>
                    <a:pt x="272" y="683"/>
                  </a:lnTo>
                  <a:lnTo>
                    <a:pt x="272" y="684"/>
                  </a:lnTo>
                  <a:lnTo>
                    <a:pt x="268" y="684"/>
                  </a:lnTo>
                  <a:lnTo>
                    <a:pt x="269" y="683"/>
                  </a:lnTo>
                  <a:lnTo>
                    <a:pt x="268" y="682"/>
                  </a:lnTo>
                  <a:lnTo>
                    <a:pt x="268" y="679"/>
                  </a:lnTo>
                  <a:close/>
                  <a:moveTo>
                    <a:pt x="262" y="668"/>
                  </a:moveTo>
                  <a:lnTo>
                    <a:pt x="263" y="668"/>
                  </a:lnTo>
                  <a:lnTo>
                    <a:pt x="263" y="669"/>
                  </a:lnTo>
                  <a:lnTo>
                    <a:pt x="262" y="670"/>
                  </a:lnTo>
                  <a:lnTo>
                    <a:pt x="262" y="668"/>
                  </a:lnTo>
                  <a:close/>
                  <a:moveTo>
                    <a:pt x="256" y="663"/>
                  </a:moveTo>
                  <a:lnTo>
                    <a:pt x="257" y="664"/>
                  </a:lnTo>
                  <a:lnTo>
                    <a:pt x="256" y="665"/>
                  </a:lnTo>
                  <a:lnTo>
                    <a:pt x="256" y="668"/>
                  </a:lnTo>
                  <a:lnTo>
                    <a:pt x="255" y="669"/>
                  </a:lnTo>
                  <a:lnTo>
                    <a:pt x="250" y="669"/>
                  </a:lnTo>
                  <a:lnTo>
                    <a:pt x="250" y="668"/>
                  </a:lnTo>
                  <a:lnTo>
                    <a:pt x="252" y="668"/>
                  </a:lnTo>
                  <a:lnTo>
                    <a:pt x="250" y="666"/>
                  </a:lnTo>
                  <a:lnTo>
                    <a:pt x="253" y="666"/>
                  </a:lnTo>
                  <a:lnTo>
                    <a:pt x="254" y="664"/>
                  </a:lnTo>
                  <a:lnTo>
                    <a:pt x="255" y="664"/>
                  </a:lnTo>
                  <a:lnTo>
                    <a:pt x="256" y="663"/>
                  </a:lnTo>
                  <a:close/>
                  <a:moveTo>
                    <a:pt x="269" y="650"/>
                  </a:moveTo>
                  <a:lnTo>
                    <a:pt x="271" y="650"/>
                  </a:lnTo>
                  <a:lnTo>
                    <a:pt x="271" y="651"/>
                  </a:lnTo>
                  <a:lnTo>
                    <a:pt x="269" y="651"/>
                  </a:lnTo>
                  <a:lnTo>
                    <a:pt x="269" y="650"/>
                  </a:lnTo>
                  <a:close/>
                  <a:moveTo>
                    <a:pt x="271" y="648"/>
                  </a:moveTo>
                  <a:lnTo>
                    <a:pt x="272" y="648"/>
                  </a:lnTo>
                  <a:lnTo>
                    <a:pt x="272" y="650"/>
                  </a:lnTo>
                  <a:lnTo>
                    <a:pt x="271" y="650"/>
                  </a:lnTo>
                  <a:lnTo>
                    <a:pt x="271" y="648"/>
                  </a:lnTo>
                  <a:close/>
                  <a:moveTo>
                    <a:pt x="97" y="635"/>
                  </a:moveTo>
                  <a:lnTo>
                    <a:pt x="98" y="635"/>
                  </a:lnTo>
                  <a:lnTo>
                    <a:pt x="98" y="638"/>
                  </a:lnTo>
                  <a:lnTo>
                    <a:pt x="97" y="636"/>
                  </a:lnTo>
                  <a:lnTo>
                    <a:pt x="97" y="635"/>
                  </a:lnTo>
                  <a:close/>
                  <a:moveTo>
                    <a:pt x="95" y="634"/>
                  </a:moveTo>
                  <a:lnTo>
                    <a:pt x="97" y="634"/>
                  </a:lnTo>
                  <a:lnTo>
                    <a:pt x="95" y="635"/>
                  </a:lnTo>
                  <a:lnTo>
                    <a:pt x="95" y="634"/>
                  </a:lnTo>
                  <a:close/>
                  <a:moveTo>
                    <a:pt x="259" y="592"/>
                  </a:moveTo>
                  <a:lnTo>
                    <a:pt x="260" y="593"/>
                  </a:lnTo>
                  <a:lnTo>
                    <a:pt x="260" y="596"/>
                  </a:lnTo>
                  <a:lnTo>
                    <a:pt x="259" y="596"/>
                  </a:lnTo>
                  <a:lnTo>
                    <a:pt x="259" y="592"/>
                  </a:lnTo>
                  <a:close/>
                  <a:moveTo>
                    <a:pt x="306" y="580"/>
                  </a:moveTo>
                  <a:lnTo>
                    <a:pt x="309" y="580"/>
                  </a:lnTo>
                  <a:lnTo>
                    <a:pt x="315" y="583"/>
                  </a:lnTo>
                  <a:lnTo>
                    <a:pt x="317" y="583"/>
                  </a:lnTo>
                  <a:lnTo>
                    <a:pt x="317" y="584"/>
                  </a:lnTo>
                  <a:lnTo>
                    <a:pt x="318" y="585"/>
                  </a:lnTo>
                  <a:lnTo>
                    <a:pt x="318" y="586"/>
                  </a:lnTo>
                  <a:lnTo>
                    <a:pt x="316" y="586"/>
                  </a:lnTo>
                  <a:lnTo>
                    <a:pt x="316" y="587"/>
                  </a:lnTo>
                  <a:lnTo>
                    <a:pt x="315" y="589"/>
                  </a:lnTo>
                  <a:lnTo>
                    <a:pt x="314" y="589"/>
                  </a:lnTo>
                  <a:lnTo>
                    <a:pt x="314" y="591"/>
                  </a:lnTo>
                  <a:lnTo>
                    <a:pt x="309" y="592"/>
                  </a:lnTo>
                  <a:lnTo>
                    <a:pt x="308" y="592"/>
                  </a:lnTo>
                  <a:lnTo>
                    <a:pt x="302" y="589"/>
                  </a:lnTo>
                  <a:lnTo>
                    <a:pt x="302" y="587"/>
                  </a:lnTo>
                  <a:lnTo>
                    <a:pt x="300" y="587"/>
                  </a:lnTo>
                  <a:lnTo>
                    <a:pt x="299" y="586"/>
                  </a:lnTo>
                  <a:lnTo>
                    <a:pt x="298" y="587"/>
                  </a:lnTo>
                  <a:lnTo>
                    <a:pt x="297" y="587"/>
                  </a:lnTo>
                  <a:lnTo>
                    <a:pt x="298" y="586"/>
                  </a:lnTo>
                  <a:lnTo>
                    <a:pt x="299" y="584"/>
                  </a:lnTo>
                  <a:lnTo>
                    <a:pt x="303" y="583"/>
                  </a:lnTo>
                  <a:lnTo>
                    <a:pt x="303" y="584"/>
                  </a:lnTo>
                  <a:lnTo>
                    <a:pt x="304" y="584"/>
                  </a:lnTo>
                  <a:lnTo>
                    <a:pt x="305" y="583"/>
                  </a:lnTo>
                  <a:lnTo>
                    <a:pt x="306" y="580"/>
                  </a:lnTo>
                  <a:close/>
                  <a:moveTo>
                    <a:pt x="322" y="577"/>
                  </a:moveTo>
                  <a:lnTo>
                    <a:pt x="323" y="577"/>
                  </a:lnTo>
                  <a:lnTo>
                    <a:pt x="323" y="579"/>
                  </a:lnTo>
                  <a:lnTo>
                    <a:pt x="319" y="579"/>
                  </a:lnTo>
                  <a:lnTo>
                    <a:pt x="322" y="577"/>
                  </a:lnTo>
                  <a:close/>
                  <a:moveTo>
                    <a:pt x="411" y="496"/>
                  </a:moveTo>
                  <a:lnTo>
                    <a:pt x="414" y="497"/>
                  </a:lnTo>
                  <a:lnTo>
                    <a:pt x="414" y="498"/>
                  </a:lnTo>
                  <a:lnTo>
                    <a:pt x="416" y="498"/>
                  </a:lnTo>
                  <a:lnTo>
                    <a:pt x="415" y="497"/>
                  </a:lnTo>
                  <a:lnTo>
                    <a:pt x="412" y="496"/>
                  </a:lnTo>
                  <a:lnTo>
                    <a:pt x="411" y="496"/>
                  </a:lnTo>
                  <a:close/>
                  <a:moveTo>
                    <a:pt x="404" y="430"/>
                  </a:moveTo>
                  <a:lnTo>
                    <a:pt x="405" y="430"/>
                  </a:lnTo>
                  <a:lnTo>
                    <a:pt x="404" y="430"/>
                  </a:lnTo>
                  <a:close/>
                  <a:moveTo>
                    <a:pt x="166" y="405"/>
                  </a:moveTo>
                  <a:lnTo>
                    <a:pt x="167" y="405"/>
                  </a:lnTo>
                  <a:lnTo>
                    <a:pt x="167" y="406"/>
                  </a:lnTo>
                  <a:lnTo>
                    <a:pt x="168" y="405"/>
                  </a:lnTo>
                  <a:lnTo>
                    <a:pt x="168" y="406"/>
                  </a:lnTo>
                  <a:lnTo>
                    <a:pt x="169" y="407"/>
                  </a:lnTo>
                  <a:lnTo>
                    <a:pt x="169" y="408"/>
                  </a:lnTo>
                  <a:lnTo>
                    <a:pt x="170" y="410"/>
                  </a:lnTo>
                  <a:lnTo>
                    <a:pt x="170" y="411"/>
                  </a:lnTo>
                  <a:lnTo>
                    <a:pt x="169" y="411"/>
                  </a:lnTo>
                  <a:lnTo>
                    <a:pt x="169" y="410"/>
                  </a:lnTo>
                  <a:lnTo>
                    <a:pt x="168" y="408"/>
                  </a:lnTo>
                  <a:lnTo>
                    <a:pt x="166" y="408"/>
                  </a:lnTo>
                  <a:lnTo>
                    <a:pt x="165" y="406"/>
                  </a:lnTo>
                  <a:lnTo>
                    <a:pt x="166" y="405"/>
                  </a:lnTo>
                  <a:close/>
                  <a:moveTo>
                    <a:pt x="176" y="398"/>
                  </a:moveTo>
                  <a:lnTo>
                    <a:pt x="180" y="399"/>
                  </a:lnTo>
                  <a:lnTo>
                    <a:pt x="182" y="399"/>
                  </a:lnTo>
                  <a:lnTo>
                    <a:pt x="182" y="402"/>
                  </a:lnTo>
                  <a:lnTo>
                    <a:pt x="185" y="402"/>
                  </a:lnTo>
                  <a:lnTo>
                    <a:pt x="185" y="406"/>
                  </a:lnTo>
                  <a:lnTo>
                    <a:pt x="186" y="406"/>
                  </a:lnTo>
                  <a:lnTo>
                    <a:pt x="186" y="407"/>
                  </a:lnTo>
                  <a:lnTo>
                    <a:pt x="187" y="407"/>
                  </a:lnTo>
                  <a:lnTo>
                    <a:pt x="188" y="406"/>
                  </a:lnTo>
                  <a:lnTo>
                    <a:pt x="192" y="406"/>
                  </a:lnTo>
                  <a:lnTo>
                    <a:pt x="192" y="407"/>
                  </a:lnTo>
                  <a:lnTo>
                    <a:pt x="190" y="411"/>
                  </a:lnTo>
                  <a:lnTo>
                    <a:pt x="188" y="411"/>
                  </a:lnTo>
                  <a:lnTo>
                    <a:pt x="187" y="412"/>
                  </a:lnTo>
                  <a:lnTo>
                    <a:pt x="186" y="412"/>
                  </a:lnTo>
                  <a:lnTo>
                    <a:pt x="185" y="413"/>
                  </a:lnTo>
                  <a:lnTo>
                    <a:pt x="185" y="415"/>
                  </a:lnTo>
                  <a:lnTo>
                    <a:pt x="182" y="417"/>
                  </a:lnTo>
                  <a:lnTo>
                    <a:pt x="180" y="419"/>
                  </a:lnTo>
                  <a:lnTo>
                    <a:pt x="179" y="419"/>
                  </a:lnTo>
                  <a:lnTo>
                    <a:pt x="178" y="418"/>
                  </a:lnTo>
                  <a:lnTo>
                    <a:pt x="178" y="419"/>
                  </a:lnTo>
                  <a:lnTo>
                    <a:pt x="176" y="419"/>
                  </a:lnTo>
                  <a:lnTo>
                    <a:pt x="176" y="417"/>
                  </a:lnTo>
                  <a:lnTo>
                    <a:pt x="178" y="417"/>
                  </a:lnTo>
                  <a:lnTo>
                    <a:pt x="178" y="414"/>
                  </a:lnTo>
                  <a:lnTo>
                    <a:pt x="176" y="415"/>
                  </a:lnTo>
                  <a:lnTo>
                    <a:pt x="176" y="417"/>
                  </a:lnTo>
                  <a:lnTo>
                    <a:pt x="175" y="417"/>
                  </a:lnTo>
                  <a:lnTo>
                    <a:pt x="174" y="415"/>
                  </a:lnTo>
                  <a:lnTo>
                    <a:pt x="173" y="415"/>
                  </a:lnTo>
                  <a:lnTo>
                    <a:pt x="173" y="413"/>
                  </a:lnTo>
                  <a:lnTo>
                    <a:pt x="172" y="412"/>
                  </a:lnTo>
                  <a:lnTo>
                    <a:pt x="170" y="410"/>
                  </a:lnTo>
                  <a:lnTo>
                    <a:pt x="170" y="400"/>
                  </a:lnTo>
                  <a:lnTo>
                    <a:pt x="176" y="398"/>
                  </a:lnTo>
                  <a:close/>
                  <a:moveTo>
                    <a:pt x="178" y="327"/>
                  </a:moveTo>
                  <a:lnTo>
                    <a:pt x="179" y="327"/>
                  </a:lnTo>
                  <a:lnTo>
                    <a:pt x="179" y="328"/>
                  </a:lnTo>
                  <a:lnTo>
                    <a:pt x="178" y="331"/>
                  </a:lnTo>
                  <a:lnTo>
                    <a:pt x="179" y="332"/>
                  </a:lnTo>
                  <a:lnTo>
                    <a:pt x="179" y="334"/>
                  </a:lnTo>
                  <a:lnTo>
                    <a:pt x="180" y="334"/>
                  </a:lnTo>
                  <a:lnTo>
                    <a:pt x="181" y="335"/>
                  </a:lnTo>
                  <a:lnTo>
                    <a:pt x="181" y="337"/>
                  </a:lnTo>
                  <a:lnTo>
                    <a:pt x="180" y="337"/>
                  </a:lnTo>
                  <a:lnTo>
                    <a:pt x="180" y="338"/>
                  </a:lnTo>
                  <a:lnTo>
                    <a:pt x="179" y="339"/>
                  </a:lnTo>
                  <a:lnTo>
                    <a:pt x="179" y="340"/>
                  </a:lnTo>
                  <a:lnTo>
                    <a:pt x="178" y="341"/>
                  </a:lnTo>
                  <a:lnTo>
                    <a:pt x="178" y="343"/>
                  </a:lnTo>
                  <a:lnTo>
                    <a:pt x="170" y="350"/>
                  </a:lnTo>
                  <a:lnTo>
                    <a:pt x="169" y="350"/>
                  </a:lnTo>
                  <a:lnTo>
                    <a:pt x="169" y="351"/>
                  </a:lnTo>
                  <a:lnTo>
                    <a:pt x="168" y="353"/>
                  </a:lnTo>
                  <a:lnTo>
                    <a:pt x="168" y="352"/>
                  </a:lnTo>
                  <a:lnTo>
                    <a:pt x="166" y="352"/>
                  </a:lnTo>
                  <a:lnTo>
                    <a:pt x="165" y="351"/>
                  </a:lnTo>
                  <a:lnTo>
                    <a:pt x="163" y="351"/>
                  </a:lnTo>
                  <a:lnTo>
                    <a:pt x="162" y="352"/>
                  </a:lnTo>
                  <a:lnTo>
                    <a:pt x="161" y="352"/>
                  </a:lnTo>
                  <a:lnTo>
                    <a:pt x="161" y="351"/>
                  </a:lnTo>
                  <a:lnTo>
                    <a:pt x="162" y="351"/>
                  </a:lnTo>
                  <a:lnTo>
                    <a:pt x="162" y="350"/>
                  </a:lnTo>
                  <a:lnTo>
                    <a:pt x="163" y="347"/>
                  </a:lnTo>
                  <a:lnTo>
                    <a:pt x="163" y="344"/>
                  </a:lnTo>
                  <a:lnTo>
                    <a:pt x="165" y="343"/>
                  </a:lnTo>
                  <a:lnTo>
                    <a:pt x="165" y="341"/>
                  </a:lnTo>
                  <a:lnTo>
                    <a:pt x="169" y="337"/>
                  </a:lnTo>
                  <a:lnTo>
                    <a:pt x="170" y="332"/>
                  </a:lnTo>
                  <a:lnTo>
                    <a:pt x="173" y="330"/>
                  </a:lnTo>
                  <a:lnTo>
                    <a:pt x="178" y="327"/>
                  </a:lnTo>
                  <a:close/>
                  <a:moveTo>
                    <a:pt x="201" y="294"/>
                  </a:moveTo>
                  <a:lnTo>
                    <a:pt x="203" y="294"/>
                  </a:lnTo>
                  <a:lnTo>
                    <a:pt x="203" y="295"/>
                  </a:lnTo>
                  <a:lnTo>
                    <a:pt x="201" y="295"/>
                  </a:lnTo>
                  <a:lnTo>
                    <a:pt x="201" y="294"/>
                  </a:lnTo>
                  <a:close/>
                  <a:moveTo>
                    <a:pt x="88" y="266"/>
                  </a:moveTo>
                  <a:lnTo>
                    <a:pt x="89" y="266"/>
                  </a:lnTo>
                  <a:lnTo>
                    <a:pt x="91" y="267"/>
                  </a:lnTo>
                  <a:lnTo>
                    <a:pt x="92" y="267"/>
                  </a:lnTo>
                  <a:lnTo>
                    <a:pt x="94" y="266"/>
                  </a:lnTo>
                  <a:lnTo>
                    <a:pt x="95" y="266"/>
                  </a:lnTo>
                  <a:lnTo>
                    <a:pt x="99" y="269"/>
                  </a:lnTo>
                  <a:lnTo>
                    <a:pt x="103" y="269"/>
                  </a:lnTo>
                  <a:lnTo>
                    <a:pt x="103" y="267"/>
                  </a:lnTo>
                  <a:lnTo>
                    <a:pt x="105" y="269"/>
                  </a:lnTo>
                  <a:lnTo>
                    <a:pt x="106" y="269"/>
                  </a:lnTo>
                  <a:lnTo>
                    <a:pt x="106" y="270"/>
                  </a:lnTo>
                  <a:lnTo>
                    <a:pt x="109" y="272"/>
                  </a:lnTo>
                  <a:lnTo>
                    <a:pt x="109" y="276"/>
                  </a:lnTo>
                  <a:lnTo>
                    <a:pt x="107" y="277"/>
                  </a:lnTo>
                  <a:lnTo>
                    <a:pt x="107" y="279"/>
                  </a:lnTo>
                  <a:lnTo>
                    <a:pt x="110" y="279"/>
                  </a:lnTo>
                  <a:lnTo>
                    <a:pt x="111" y="281"/>
                  </a:lnTo>
                  <a:lnTo>
                    <a:pt x="111" y="283"/>
                  </a:lnTo>
                  <a:lnTo>
                    <a:pt x="110" y="285"/>
                  </a:lnTo>
                  <a:lnTo>
                    <a:pt x="112" y="285"/>
                  </a:lnTo>
                  <a:lnTo>
                    <a:pt x="113" y="287"/>
                  </a:lnTo>
                  <a:lnTo>
                    <a:pt x="113" y="288"/>
                  </a:lnTo>
                  <a:lnTo>
                    <a:pt x="114" y="289"/>
                  </a:lnTo>
                  <a:lnTo>
                    <a:pt x="114" y="290"/>
                  </a:lnTo>
                  <a:lnTo>
                    <a:pt x="117" y="292"/>
                  </a:lnTo>
                  <a:lnTo>
                    <a:pt x="117" y="294"/>
                  </a:lnTo>
                  <a:lnTo>
                    <a:pt x="118" y="295"/>
                  </a:lnTo>
                  <a:lnTo>
                    <a:pt x="118" y="297"/>
                  </a:lnTo>
                  <a:lnTo>
                    <a:pt x="119" y="298"/>
                  </a:lnTo>
                  <a:lnTo>
                    <a:pt x="120" y="298"/>
                  </a:lnTo>
                  <a:lnTo>
                    <a:pt x="118" y="296"/>
                  </a:lnTo>
                  <a:lnTo>
                    <a:pt x="119" y="295"/>
                  </a:lnTo>
                  <a:lnTo>
                    <a:pt x="120" y="295"/>
                  </a:lnTo>
                  <a:lnTo>
                    <a:pt x="123" y="297"/>
                  </a:lnTo>
                  <a:lnTo>
                    <a:pt x="123" y="302"/>
                  </a:lnTo>
                  <a:lnTo>
                    <a:pt x="122" y="303"/>
                  </a:lnTo>
                  <a:lnTo>
                    <a:pt x="122" y="304"/>
                  </a:lnTo>
                  <a:lnTo>
                    <a:pt x="120" y="304"/>
                  </a:lnTo>
                  <a:lnTo>
                    <a:pt x="117" y="306"/>
                  </a:lnTo>
                  <a:lnTo>
                    <a:pt x="114" y="308"/>
                  </a:lnTo>
                  <a:lnTo>
                    <a:pt x="113" y="310"/>
                  </a:lnTo>
                  <a:lnTo>
                    <a:pt x="113" y="313"/>
                  </a:lnTo>
                  <a:lnTo>
                    <a:pt x="114" y="313"/>
                  </a:lnTo>
                  <a:lnTo>
                    <a:pt x="116" y="312"/>
                  </a:lnTo>
                  <a:lnTo>
                    <a:pt x="116" y="310"/>
                  </a:lnTo>
                  <a:lnTo>
                    <a:pt x="117" y="310"/>
                  </a:lnTo>
                  <a:lnTo>
                    <a:pt x="119" y="308"/>
                  </a:lnTo>
                  <a:lnTo>
                    <a:pt x="128" y="308"/>
                  </a:lnTo>
                  <a:lnTo>
                    <a:pt x="129" y="309"/>
                  </a:lnTo>
                  <a:lnTo>
                    <a:pt x="130" y="309"/>
                  </a:lnTo>
                  <a:lnTo>
                    <a:pt x="130" y="314"/>
                  </a:lnTo>
                  <a:lnTo>
                    <a:pt x="131" y="315"/>
                  </a:lnTo>
                  <a:lnTo>
                    <a:pt x="132" y="315"/>
                  </a:lnTo>
                  <a:lnTo>
                    <a:pt x="132" y="320"/>
                  </a:lnTo>
                  <a:lnTo>
                    <a:pt x="134" y="321"/>
                  </a:lnTo>
                  <a:lnTo>
                    <a:pt x="134" y="324"/>
                  </a:lnTo>
                  <a:lnTo>
                    <a:pt x="132" y="326"/>
                  </a:lnTo>
                  <a:lnTo>
                    <a:pt x="132" y="330"/>
                  </a:lnTo>
                  <a:lnTo>
                    <a:pt x="131" y="330"/>
                  </a:lnTo>
                  <a:lnTo>
                    <a:pt x="131" y="331"/>
                  </a:lnTo>
                  <a:lnTo>
                    <a:pt x="132" y="331"/>
                  </a:lnTo>
                  <a:lnTo>
                    <a:pt x="130" y="333"/>
                  </a:lnTo>
                  <a:lnTo>
                    <a:pt x="130" y="332"/>
                  </a:lnTo>
                  <a:lnTo>
                    <a:pt x="129" y="331"/>
                  </a:lnTo>
                  <a:lnTo>
                    <a:pt x="129" y="330"/>
                  </a:lnTo>
                  <a:lnTo>
                    <a:pt x="128" y="328"/>
                  </a:lnTo>
                  <a:lnTo>
                    <a:pt x="128" y="326"/>
                  </a:lnTo>
                  <a:lnTo>
                    <a:pt x="129" y="325"/>
                  </a:lnTo>
                  <a:lnTo>
                    <a:pt x="129" y="320"/>
                  </a:lnTo>
                  <a:lnTo>
                    <a:pt x="124" y="315"/>
                  </a:lnTo>
                  <a:lnTo>
                    <a:pt x="123" y="315"/>
                  </a:lnTo>
                  <a:lnTo>
                    <a:pt x="123" y="318"/>
                  </a:lnTo>
                  <a:lnTo>
                    <a:pt x="122" y="318"/>
                  </a:lnTo>
                  <a:lnTo>
                    <a:pt x="123" y="319"/>
                  </a:lnTo>
                  <a:lnTo>
                    <a:pt x="125" y="319"/>
                  </a:lnTo>
                  <a:lnTo>
                    <a:pt x="125" y="320"/>
                  </a:lnTo>
                  <a:lnTo>
                    <a:pt x="124" y="320"/>
                  </a:lnTo>
                  <a:lnTo>
                    <a:pt x="125" y="321"/>
                  </a:lnTo>
                  <a:lnTo>
                    <a:pt x="125" y="325"/>
                  </a:lnTo>
                  <a:lnTo>
                    <a:pt x="124" y="328"/>
                  </a:lnTo>
                  <a:lnTo>
                    <a:pt x="124" y="330"/>
                  </a:lnTo>
                  <a:lnTo>
                    <a:pt x="122" y="332"/>
                  </a:lnTo>
                  <a:lnTo>
                    <a:pt x="124" y="331"/>
                  </a:lnTo>
                  <a:lnTo>
                    <a:pt x="125" y="330"/>
                  </a:lnTo>
                  <a:lnTo>
                    <a:pt x="128" y="330"/>
                  </a:lnTo>
                  <a:lnTo>
                    <a:pt x="129" y="331"/>
                  </a:lnTo>
                  <a:lnTo>
                    <a:pt x="129" y="335"/>
                  </a:lnTo>
                  <a:lnTo>
                    <a:pt x="128" y="337"/>
                  </a:lnTo>
                  <a:lnTo>
                    <a:pt x="126" y="339"/>
                  </a:lnTo>
                  <a:lnTo>
                    <a:pt x="125" y="338"/>
                  </a:lnTo>
                  <a:lnTo>
                    <a:pt x="125" y="340"/>
                  </a:lnTo>
                  <a:lnTo>
                    <a:pt x="124" y="340"/>
                  </a:lnTo>
                  <a:lnTo>
                    <a:pt x="123" y="339"/>
                  </a:lnTo>
                  <a:lnTo>
                    <a:pt x="119" y="339"/>
                  </a:lnTo>
                  <a:lnTo>
                    <a:pt x="117" y="340"/>
                  </a:lnTo>
                  <a:lnTo>
                    <a:pt x="116" y="340"/>
                  </a:lnTo>
                  <a:lnTo>
                    <a:pt x="116" y="346"/>
                  </a:lnTo>
                  <a:lnTo>
                    <a:pt x="114" y="349"/>
                  </a:lnTo>
                  <a:lnTo>
                    <a:pt x="114" y="350"/>
                  </a:lnTo>
                  <a:lnTo>
                    <a:pt x="113" y="350"/>
                  </a:lnTo>
                  <a:lnTo>
                    <a:pt x="109" y="355"/>
                  </a:lnTo>
                  <a:lnTo>
                    <a:pt x="106" y="355"/>
                  </a:lnTo>
                  <a:lnTo>
                    <a:pt x="105" y="353"/>
                  </a:lnTo>
                  <a:lnTo>
                    <a:pt x="106" y="353"/>
                  </a:lnTo>
                  <a:lnTo>
                    <a:pt x="103" y="352"/>
                  </a:lnTo>
                  <a:lnTo>
                    <a:pt x="103" y="351"/>
                  </a:lnTo>
                  <a:lnTo>
                    <a:pt x="101" y="350"/>
                  </a:lnTo>
                  <a:lnTo>
                    <a:pt x="95" y="350"/>
                  </a:lnTo>
                  <a:lnTo>
                    <a:pt x="95" y="349"/>
                  </a:lnTo>
                  <a:lnTo>
                    <a:pt x="94" y="350"/>
                  </a:lnTo>
                  <a:lnTo>
                    <a:pt x="94" y="352"/>
                  </a:lnTo>
                  <a:lnTo>
                    <a:pt x="93" y="352"/>
                  </a:lnTo>
                  <a:lnTo>
                    <a:pt x="92" y="353"/>
                  </a:lnTo>
                  <a:lnTo>
                    <a:pt x="91" y="352"/>
                  </a:lnTo>
                  <a:lnTo>
                    <a:pt x="89" y="352"/>
                  </a:lnTo>
                  <a:lnTo>
                    <a:pt x="86" y="353"/>
                  </a:lnTo>
                  <a:lnTo>
                    <a:pt x="85" y="353"/>
                  </a:lnTo>
                  <a:lnTo>
                    <a:pt x="83" y="355"/>
                  </a:lnTo>
                  <a:lnTo>
                    <a:pt x="83" y="353"/>
                  </a:lnTo>
                  <a:lnTo>
                    <a:pt x="82" y="352"/>
                  </a:lnTo>
                  <a:lnTo>
                    <a:pt x="81" y="352"/>
                  </a:lnTo>
                  <a:lnTo>
                    <a:pt x="82" y="350"/>
                  </a:lnTo>
                  <a:lnTo>
                    <a:pt x="81" y="349"/>
                  </a:lnTo>
                  <a:lnTo>
                    <a:pt x="83" y="346"/>
                  </a:lnTo>
                  <a:lnTo>
                    <a:pt x="82" y="345"/>
                  </a:lnTo>
                  <a:lnTo>
                    <a:pt x="82" y="344"/>
                  </a:lnTo>
                  <a:lnTo>
                    <a:pt x="81" y="343"/>
                  </a:lnTo>
                  <a:lnTo>
                    <a:pt x="80" y="343"/>
                  </a:lnTo>
                  <a:lnTo>
                    <a:pt x="79" y="344"/>
                  </a:lnTo>
                  <a:lnTo>
                    <a:pt x="78" y="343"/>
                  </a:lnTo>
                  <a:lnTo>
                    <a:pt x="76" y="343"/>
                  </a:lnTo>
                  <a:lnTo>
                    <a:pt x="75" y="341"/>
                  </a:lnTo>
                  <a:lnTo>
                    <a:pt x="75" y="339"/>
                  </a:lnTo>
                  <a:lnTo>
                    <a:pt x="73" y="337"/>
                  </a:lnTo>
                  <a:lnTo>
                    <a:pt x="74" y="335"/>
                  </a:lnTo>
                  <a:lnTo>
                    <a:pt x="74" y="334"/>
                  </a:lnTo>
                  <a:lnTo>
                    <a:pt x="73" y="333"/>
                  </a:lnTo>
                  <a:lnTo>
                    <a:pt x="73" y="332"/>
                  </a:lnTo>
                  <a:lnTo>
                    <a:pt x="72" y="332"/>
                  </a:lnTo>
                  <a:lnTo>
                    <a:pt x="72" y="331"/>
                  </a:lnTo>
                  <a:lnTo>
                    <a:pt x="70" y="330"/>
                  </a:lnTo>
                  <a:lnTo>
                    <a:pt x="68" y="328"/>
                  </a:lnTo>
                  <a:lnTo>
                    <a:pt x="67" y="327"/>
                  </a:lnTo>
                  <a:lnTo>
                    <a:pt x="66" y="327"/>
                  </a:lnTo>
                  <a:lnTo>
                    <a:pt x="64" y="328"/>
                  </a:lnTo>
                  <a:lnTo>
                    <a:pt x="62" y="332"/>
                  </a:lnTo>
                  <a:lnTo>
                    <a:pt x="61" y="333"/>
                  </a:lnTo>
                  <a:lnTo>
                    <a:pt x="60" y="333"/>
                  </a:lnTo>
                  <a:lnTo>
                    <a:pt x="60" y="335"/>
                  </a:lnTo>
                  <a:lnTo>
                    <a:pt x="58" y="335"/>
                  </a:lnTo>
                  <a:lnTo>
                    <a:pt x="60" y="337"/>
                  </a:lnTo>
                  <a:lnTo>
                    <a:pt x="60" y="338"/>
                  </a:lnTo>
                  <a:lnTo>
                    <a:pt x="62" y="339"/>
                  </a:lnTo>
                  <a:lnTo>
                    <a:pt x="61" y="339"/>
                  </a:lnTo>
                  <a:lnTo>
                    <a:pt x="61" y="340"/>
                  </a:lnTo>
                  <a:lnTo>
                    <a:pt x="60" y="341"/>
                  </a:lnTo>
                  <a:lnTo>
                    <a:pt x="58" y="341"/>
                  </a:lnTo>
                  <a:lnTo>
                    <a:pt x="56" y="344"/>
                  </a:lnTo>
                  <a:lnTo>
                    <a:pt x="57" y="344"/>
                  </a:lnTo>
                  <a:lnTo>
                    <a:pt x="57" y="345"/>
                  </a:lnTo>
                  <a:lnTo>
                    <a:pt x="56" y="345"/>
                  </a:lnTo>
                  <a:lnTo>
                    <a:pt x="56" y="347"/>
                  </a:lnTo>
                  <a:lnTo>
                    <a:pt x="55" y="349"/>
                  </a:lnTo>
                  <a:lnTo>
                    <a:pt x="55" y="345"/>
                  </a:lnTo>
                  <a:lnTo>
                    <a:pt x="54" y="346"/>
                  </a:lnTo>
                  <a:lnTo>
                    <a:pt x="55" y="349"/>
                  </a:lnTo>
                  <a:lnTo>
                    <a:pt x="51" y="349"/>
                  </a:lnTo>
                  <a:lnTo>
                    <a:pt x="51" y="347"/>
                  </a:lnTo>
                  <a:lnTo>
                    <a:pt x="50" y="347"/>
                  </a:lnTo>
                  <a:lnTo>
                    <a:pt x="50" y="346"/>
                  </a:lnTo>
                  <a:lnTo>
                    <a:pt x="49" y="346"/>
                  </a:lnTo>
                  <a:lnTo>
                    <a:pt x="48" y="347"/>
                  </a:lnTo>
                  <a:lnTo>
                    <a:pt x="42" y="347"/>
                  </a:lnTo>
                  <a:lnTo>
                    <a:pt x="42" y="345"/>
                  </a:lnTo>
                  <a:lnTo>
                    <a:pt x="41" y="345"/>
                  </a:lnTo>
                  <a:lnTo>
                    <a:pt x="38" y="343"/>
                  </a:lnTo>
                  <a:lnTo>
                    <a:pt x="32" y="343"/>
                  </a:lnTo>
                  <a:lnTo>
                    <a:pt x="31" y="341"/>
                  </a:lnTo>
                  <a:lnTo>
                    <a:pt x="31" y="337"/>
                  </a:lnTo>
                  <a:lnTo>
                    <a:pt x="30" y="335"/>
                  </a:lnTo>
                  <a:lnTo>
                    <a:pt x="27" y="335"/>
                  </a:lnTo>
                  <a:lnTo>
                    <a:pt x="26" y="334"/>
                  </a:lnTo>
                  <a:lnTo>
                    <a:pt x="26" y="333"/>
                  </a:lnTo>
                  <a:lnTo>
                    <a:pt x="25" y="331"/>
                  </a:lnTo>
                  <a:lnTo>
                    <a:pt x="23" y="331"/>
                  </a:lnTo>
                  <a:lnTo>
                    <a:pt x="22" y="330"/>
                  </a:lnTo>
                  <a:lnTo>
                    <a:pt x="20" y="327"/>
                  </a:lnTo>
                  <a:lnTo>
                    <a:pt x="19" y="326"/>
                  </a:lnTo>
                  <a:lnTo>
                    <a:pt x="19" y="324"/>
                  </a:lnTo>
                  <a:lnTo>
                    <a:pt x="22" y="322"/>
                  </a:lnTo>
                  <a:lnTo>
                    <a:pt x="23" y="322"/>
                  </a:lnTo>
                  <a:lnTo>
                    <a:pt x="23" y="321"/>
                  </a:lnTo>
                  <a:lnTo>
                    <a:pt x="24" y="320"/>
                  </a:lnTo>
                  <a:lnTo>
                    <a:pt x="24" y="319"/>
                  </a:lnTo>
                  <a:lnTo>
                    <a:pt x="25" y="318"/>
                  </a:lnTo>
                  <a:lnTo>
                    <a:pt x="29" y="319"/>
                  </a:lnTo>
                  <a:lnTo>
                    <a:pt x="30" y="319"/>
                  </a:lnTo>
                  <a:lnTo>
                    <a:pt x="32" y="318"/>
                  </a:lnTo>
                  <a:lnTo>
                    <a:pt x="36" y="314"/>
                  </a:lnTo>
                  <a:lnTo>
                    <a:pt x="38" y="313"/>
                  </a:lnTo>
                  <a:lnTo>
                    <a:pt x="38" y="312"/>
                  </a:lnTo>
                  <a:lnTo>
                    <a:pt x="37" y="312"/>
                  </a:lnTo>
                  <a:lnTo>
                    <a:pt x="36" y="313"/>
                  </a:lnTo>
                  <a:lnTo>
                    <a:pt x="35" y="313"/>
                  </a:lnTo>
                  <a:lnTo>
                    <a:pt x="33" y="312"/>
                  </a:lnTo>
                  <a:lnTo>
                    <a:pt x="33" y="310"/>
                  </a:lnTo>
                  <a:lnTo>
                    <a:pt x="32" y="312"/>
                  </a:lnTo>
                  <a:lnTo>
                    <a:pt x="31" y="310"/>
                  </a:lnTo>
                  <a:lnTo>
                    <a:pt x="31" y="309"/>
                  </a:lnTo>
                  <a:lnTo>
                    <a:pt x="30" y="309"/>
                  </a:lnTo>
                  <a:lnTo>
                    <a:pt x="29" y="308"/>
                  </a:lnTo>
                  <a:lnTo>
                    <a:pt x="30" y="307"/>
                  </a:lnTo>
                  <a:lnTo>
                    <a:pt x="29" y="307"/>
                  </a:lnTo>
                  <a:lnTo>
                    <a:pt x="31" y="306"/>
                  </a:lnTo>
                  <a:lnTo>
                    <a:pt x="32" y="304"/>
                  </a:lnTo>
                  <a:lnTo>
                    <a:pt x="33" y="306"/>
                  </a:lnTo>
                  <a:lnTo>
                    <a:pt x="37" y="306"/>
                  </a:lnTo>
                  <a:lnTo>
                    <a:pt x="39" y="303"/>
                  </a:lnTo>
                  <a:lnTo>
                    <a:pt x="44" y="303"/>
                  </a:lnTo>
                  <a:lnTo>
                    <a:pt x="44" y="300"/>
                  </a:lnTo>
                  <a:lnTo>
                    <a:pt x="49" y="295"/>
                  </a:lnTo>
                  <a:lnTo>
                    <a:pt x="49" y="289"/>
                  </a:lnTo>
                  <a:lnTo>
                    <a:pt x="50" y="289"/>
                  </a:lnTo>
                  <a:lnTo>
                    <a:pt x="50" y="284"/>
                  </a:lnTo>
                  <a:lnTo>
                    <a:pt x="51" y="282"/>
                  </a:lnTo>
                  <a:lnTo>
                    <a:pt x="52" y="282"/>
                  </a:lnTo>
                  <a:lnTo>
                    <a:pt x="55" y="281"/>
                  </a:lnTo>
                  <a:lnTo>
                    <a:pt x="56" y="281"/>
                  </a:lnTo>
                  <a:lnTo>
                    <a:pt x="56" y="279"/>
                  </a:lnTo>
                  <a:lnTo>
                    <a:pt x="57" y="279"/>
                  </a:lnTo>
                  <a:lnTo>
                    <a:pt x="57" y="281"/>
                  </a:lnTo>
                  <a:lnTo>
                    <a:pt x="62" y="281"/>
                  </a:lnTo>
                  <a:lnTo>
                    <a:pt x="63" y="282"/>
                  </a:lnTo>
                  <a:lnTo>
                    <a:pt x="64" y="281"/>
                  </a:lnTo>
                  <a:lnTo>
                    <a:pt x="66" y="281"/>
                  </a:lnTo>
                  <a:lnTo>
                    <a:pt x="67" y="279"/>
                  </a:lnTo>
                  <a:lnTo>
                    <a:pt x="67" y="277"/>
                  </a:lnTo>
                  <a:lnTo>
                    <a:pt x="68" y="276"/>
                  </a:lnTo>
                  <a:lnTo>
                    <a:pt x="68" y="275"/>
                  </a:lnTo>
                  <a:lnTo>
                    <a:pt x="69" y="275"/>
                  </a:lnTo>
                  <a:lnTo>
                    <a:pt x="69" y="270"/>
                  </a:lnTo>
                  <a:lnTo>
                    <a:pt x="70" y="270"/>
                  </a:lnTo>
                  <a:lnTo>
                    <a:pt x="72" y="271"/>
                  </a:lnTo>
                  <a:lnTo>
                    <a:pt x="78" y="271"/>
                  </a:lnTo>
                  <a:lnTo>
                    <a:pt x="82" y="269"/>
                  </a:lnTo>
                  <a:lnTo>
                    <a:pt x="86" y="269"/>
                  </a:lnTo>
                  <a:lnTo>
                    <a:pt x="88" y="266"/>
                  </a:lnTo>
                  <a:close/>
                  <a:moveTo>
                    <a:pt x="98" y="261"/>
                  </a:moveTo>
                  <a:lnTo>
                    <a:pt x="103" y="261"/>
                  </a:lnTo>
                  <a:lnTo>
                    <a:pt x="103" y="264"/>
                  </a:lnTo>
                  <a:lnTo>
                    <a:pt x="101" y="264"/>
                  </a:lnTo>
                  <a:lnTo>
                    <a:pt x="101" y="263"/>
                  </a:lnTo>
                  <a:lnTo>
                    <a:pt x="98" y="263"/>
                  </a:lnTo>
                  <a:lnTo>
                    <a:pt x="98" y="261"/>
                  </a:lnTo>
                  <a:close/>
                  <a:moveTo>
                    <a:pt x="140" y="230"/>
                  </a:moveTo>
                  <a:lnTo>
                    <a:pt x="141" y="230"/>
                  </a:lnTo>
                  <a:lnTo>
                    <a:pt x="143" y="232"/>
                  </a:lnTo>
                  <a:lnTo>
                    <a:pt x="145" y="234"/>
                  </a:lnTo>
                  <a:lnTo>
                    <a:pt x="145" y="235"/>
                  </a:lnTo>
                  <a:lnTo>
                    <a:pt x="147" y="240"/>
                  </a:lnTo>
                  <a:lnTo>
                    <a:pt x="148" y="242"/>
                  </a:lnTo>
                  <a:lnTo>
                    <a:pt x="148" y="245"/>
                  </a:lnTo>
                  <a:lnTo>
                    <a:pt x="147" y="245"/>
                  </a:lnTo>
                  <a:lnTo>
                    <a:pt x="147" y="246"/>
                  </a:lnTo>
                  <a:lnTo>
                    <a:pt x="148" y="246"/>
                  </a:lnTo>
                  <a:lnTo>
                    <a:pt x="149" y="247"/>
                  </a:lnTo>
                  <a:lnTo>
                    <a:pt x="148" y="247"/>
                  </a:lnTo>
                  <a:lnTo>
                    <a:pt x="148" y="248"/>
                  </a:lnTo>
                  <a:lnTo>
                    <a:pt x="149" y="249"/>
                  </a:lnTo>
                  <a:lnTo>
                    <a:pt x="149" y="251"/>
                  </a:lnTo>
                  <a:lnTo>
                    <a:pt x="148" y="252"/>
                  </a:lnTo>
                  <a:lnTo>
                    <a:pt x="143" y="252"/>
                  </a:lnTo>
                  <a:lnTo>
                    <a:pt x="141" y="251"/>
                  </a:lnTo>
                  <a:lnTo>
                    <a:pt x="140" y="251"/>
                  </a:lnTo>
                  <a:lnTo>
                    <a:pt x="137" y="248"/>
                  </a:lnTo>
                  <a:lnTo>
                    <a:pt x="137" y="244"/>
                  </a:lnTo>
                  <a:lnTo>
                    <a:pt x="136" y="242"/>
                  </a:lnTo>
                  <a:lnTo>
                    <a:pt x="136" y="241"/>
                  </a:lnTo>
                  <a:lnTo>
                    <a:pt x="135" y="239"/>
                  </a:lnTo>
                  <a:lnTo>
                    <a:pt x="136" y="236"/>
                  </a:lnTo>
                  <a:lnTo>
                    <a:pt x="136" y="235"/>
                  </a:lnTo>
                  <a:lnTo>
                    <a:pt x="137" y="233"/>
                  </a:lnTo>
                  <a:lnTo>
                    <a:pt x="138" y="232"/>
                  </a:lnTo>
                  <a:lnTo>
                    <a:pt x="140" y="232"/>
                  </a:lnTo>
                  <a:lnTo>
                    <a:pt x="140" y="230"/>
                  </a:lnTo>
                  <a:close/>
                  <a:moveTo>
                    <a:pt x="150" y="229"/>
                  </a:moveTo>
                  <a:lnTo>
                    <a:pt x="151" y="229"/>
                  </a:lnTo>
                  <a:lnTo>
                    <a:pt x="151" y="230"/>
                  </a:lnTo>
                  <a:lnTo>
                    <a:pt x="150" y="230"/>
                  </a:lnTo>
                  <a:lnTo>
                    <a:pt x="150" y="229"/>
                  </a:lnTo>
                  <a:close/>
                  <a:moveTo>
                    <a:pt x="143" y="216"/>
                  </a:moveTo>
                  <a:lnTo>
                    <a:pt x="145" y="216"/>
                  </a:lnTo>
                  <a:lnTo>
                    <a:pt x="148" y="218"/>
                  </a:lnTo>
                  <a:lnTo>
                    <a:pt x="149" y="218"/>
                  </a:lnTo>
                  <a:lnTo>
                    <a:pt x="149" y="221"/>
                  </a:lnTo>
                  <a:lnTo>
                    <a:pt x="150" y="221"/>
                  </a:lnTo>
                  <a:lnTo>
                    <a:pt x="150" y="223"/>
                  </a:lnTo>
                  <a:lnTo>
                    <a:pt x="151" y="224"/>
                  </a:lnTo>
                  <a:lnTo>
                    <a:pt x="151" y="228"/>
                  </a:lnTo>
                  <a:lnTo>
                    <a:pt x="150" y="229"/>
                  </a:lnTo>
                  <a:lnTo>
                    <a:pt x="147" y="226"/>
                  </a:lnTo>
                  <a:lnTo>
                    <a:pt x="147" y="222"/>
                  </a:lnTo>
                  <a:lnTo>
                    <a:pt x="144" y="221"/>
                  </a:lnTo>
                  <a:lnTo>
                    <a:pt x="144" y="218"/>
                  </a:lnTo>
                  <a:lnTo>
                    <a:pt x="143" y="217"/>
                  </a:lnTo>
                  <a:lnTo>
                    <a:pt x="143" y="216"/>
                  </a:lnTo>
                  <a:close/>
                  <a:moveTo>
                    <a:pt x="103" y="215"/>
                  </a:moveTo>
                  <a:lnTo>
                    <a:pt x="105" y="215"/>
                  </a:lnTo>
                  <a:lnTo>
                    <a:pt x="105" y="222"/>
                  </a:lnTo>
                  <a:lnTo>
                    <a:pt x="106" y="224"/>
                  </a:lnTo>
                  <a:lnTo>
                    <a:pt x="106" y="227"/>
                  </a:lnTo>
                  <a:lnTo>
                    <a:pt x="107" y="227"/>
                  </a:lnTo>
                  <a:lnTo>
                    <a:pt x="107" y="230"/>
                  </a:lnTo>
                  <a:lnTo>
                    <a:pt x="109" y="230"/>
                  </a:lnTo>
                  <a:lnTo>
                    <a:pt x="109" y="234"/>
                  </a:lnTo>
                  <a:lnTo>
                    <a:pt x="107" y="234"/>
                  </a:lnTo>
                  <a:lnTo>
                    <a:pt x="107" y="235"/>
                  </a:lnTo>
                  <a:lnTo>
                    <a:pt x="106" y="236"/>
                  </a:lnTo>
                  <a:lnTo>
                    <a:pt x="105" y="236"/>
                  </a:lnTo>
                  <a:lnTo>
                    <a:pt x="104" y="238"/>
                  </a:lnTo>
                  <a:lnTo>
                    <a:pt x="100" y="238"/>
                  </a:lnTo>
                  <a:lnTo>
                    <a:pt x="100" y="240"/>
                  </a:lnTo>
                  <a:lnTo>
                    <a:pt x="99" y="241"/>
                  </a:lnTo>
                  <a:lnTo>
                    <a:pt x="97" y="241"/>
                  </a:lnTo>
                  <a:lnTo>
                    <a:pt x="97" y="238"/>
                  </a:lnTo>
                  <a:lnTo>
                    <a:pt x="99" y="235"/>
                  </a:lnTo>
                  <a:lnTo>
                    <a:pt x="99" y="233"/>
                  </a:lnTo>
                  <a:lnTo>
                    <a:pt x="98" y="232"/>
                  </a:lnTo>
                  <a:lnTo>
                    <a:pt x="97" y="232"/>
                  </a:lnTo>
                  <a:lnTo>
                    <a:pt x="97" y="230"/>
                  </a:lnTo>
                  <a:lnTo>
                    <a:pt x="98" y="228"/>
                  </a:lnTo>
                  <a:lnTo>
                    <a:pt x="99" y="227"/>
                  </a:lnTo>
                  <a:lnTo>
                    <a:pt x="98" y="226"/>
                  </a:lnTo>
                  <a:lnTo>
                    <a:pt x="95" y="226"/>
                  </a:lnTo>
                  <a:lnTo>
                    <a:pt x="95" y="227"/>
                  </a:lnTo>
                  <a:lnTo>
                    <a:pt x="94" y="229"/>
                  </a:lnTo>
                  <a:lnTo>
                    <a:pt x="92" y="232"/>
                  </a:lnTo>
                  <a:lnTo>
                    <a:pt x="91" y="234"/>
                  </a:lnTo>
                  <a:lnTo>
                    <a:pt x="88" y="234"/>
                  </a:lnTo>
                  <a:lnTo>
                    <a:pt x="88" y="233"/>
                  </a:lnTo>
                  <a:lnTo>
                    <a:pt x="89" y="232"/>
                  </a:lnTo>
                  <a:lnTo>
                    <a:pt x="88" y="230"/>
                  </a:lnTo>
                  <a:lnTo>
                    <a:pt x="89" y="229"/>
                  </a:lnTo>
                  <a:lnTo>
                    <a:pt x="91" y="227"/>
                  </a:lnTo>
                  <a:lnTo>
                    <a:pt x="89" y="226"/>
                  </a:lnTo>
                  <a:lnTo>
                    <a:pt x="91" y="224"/>
                  </a:lnTo>
                  <a:lnTo>
                    <a:pt x="91" y="221"/>
                  </a:lnTo>
                  <a:lnTo>
                    <a:pt x="95" y="218"/>
                  </a:lnTo>
                  <a:lnTo>
                    <a:pt x="97" y="218"/>
                  </a:lnTo>
                  <a:lnTo>
                    <a:pt x="95" y="221"/>
                  </a:lnTo>
                  <a:lnTo>
                    <a:pt x="95" y="223"/>
                  </a:lnTo>
                  <a:lnTo>
                    <a:pt x="97" y="223"/>
                  </a:lnTo>
                  <a:lnTo>
                    <a:pt x="97" y="222"/>
                  </a:lnTo>
                  <a:lnTo>
                    <a:pt x="98" y="220"/>
                  </a:lnTo>
                  <a:lnTo>
                    <a:pt x="101" y="216"/>
                  </a:lnTo>
                  <a:lnTo>
                    <a:pt x="103" y="216"/>
                  </a:lnTo>
                  <a:lnTo>
                    <a:pt x="103" y="215"/>
                  </a:lnTo>
                  <a:close/>
                  <a:moveTo>
                    <a:pt x="103" y="201"/>
                  </a:moveTo>
                  <a:lnTo>
                    <a:pt x="104" y="201"/>
                  </a:lnTo>
                  <a:lnTo>
                    <a:pt x="104" y="202"/>
                  </a:lnTo>
                  <a:lnTo>
                    <a:pt x="103" y="204"/>
                  </a:lnTo>
                  <a:lnTo>
                    <a:pt x="103" y="206"/>
                  </a:lnTo>
                  <a:lnTo>
                    <a:pt x="101" y="208"/>
                  </a:lnTo>
                  <a:lnTo>
                    <a:pt x="99" y="208"/>
                  </a:lnTo>
                  <a:lnTo>
                    <a:pt x="99" y="205"/>
                  </a:lnTo>
                  <a:lnTo>
                    <a:pt x="101" y="203"/>
                  </a:lnTo>
                  <a:lnTo>
                    <a:pt x="101" y="202"/>
                  </a:lnTo>
                  <a:lnTo>
                    <a:pt x="103" y="202"/>
                  </a:lnTo>
                  <a:lnTo>
                    <a:pt x="103" y="201"/>
                  </a:lnTo>
                  <a:close/>
                  <a:moveTo>
                    <a:pt x="122" y="198"/>
                  </a:moveTo>
                  <a:lnTo>
                    <a:pt x="123" y="198"/>
                  </a:lnTo>
                  <a:lnTo>
                    <a:pt x="123" y="202"/>
                  </a:lnTo>
                  <a:lnTo>
                    <a:pt x="120" y="204"/>
                  </a:lnTo>
                  <a:lnTo>
                    <a:pt x="119" y="208"/>
                  </a:lnTo>
                  <a:lnTo>
                    <a:pt x="116" y="215"/>
                  </a:lnTo>
                  <a:lnTo>
                    <a:pt x="114" y="218"/>
                  </a:lnTo>
                  <a:lnTo>
                    <a:pt x="113" y="220"/>
                  </a:lnTo>
                  <a:lnTo>
                    <a:pt x="112" y="220"/>
                  </a:lnTo>
                  <a:lnTo>
                    <a:pt x="112" y="223"/>
                  </a:lnTo>
                  <a:lnTo>
                    <a:pt x="111" y="224"/>
                  </a:lnTo>
                  <a:lnTo>
                    <a:pt x="111" y="226"/>
                  </a:lnTo>
                  <a:lnTo>
                    <a:pt x="109" y="226"/>
                  </a:lnTo>
                  <a:lnTo>
                    <a:pt x="107" y="224"/>
                  </a:lnTo>
                  <a:lnTo>
                    <a:pt x="106" y="222"/>
                  </a:lnTo>
                  <a:lnTo>
                    <a:pt x="106" y="216"/>
                  </a:lnTo>
                  <a:lnTo>
                    <a:pt x="107" y="216"/>
                  </a:lnTo>
                  <a:lnTo>
                    <a:pt x="110" y="214"/>
                  </a:lnTo>
                  <a:lnTo>
                    <a:pt x="113" y="212"/>
                  </a:lnTo>
                  <a:lnTo>
                    <a:pt x="114" y="211"/>
                  </a:lnTo>
                  <a:lnTo>
                    <a:pt x="113" y="211"/>
                  </a:lnTo>
                  <a:lnTo>
                    <a:pt x="112" y="212"/>
                  </a:lnTo>
                  <a:lnTo>
                    <a:pt x="111" y="212"/>
                  </a:lnTo>
                  <a:lnTo>
                    <a:pt x="110" y="211"/>
                  </a:lnTo>
                  <a:lnTo>
                    <a:pt x="111" y="209"/>
                  </a:lnTo>
                  <a:lnTo>
                    <a:pt x="112" y="208"/>
                  </a:lnTo>
                  <a:lnTo>
                    <a:pt x="113" y="205"/>
                  </a:lnTo>
                  <a:lnTo>
                    <a:pt x="116" y="204"/>
                  </a:lnTo>
                  <a:lnTo>
                    <a:pt x="122" y="198"/>
                  </a:lnTo>
                  <a:close/>
                  <a:moveTo>
                    <a:pt x="123" y="195"/>
                  </a:moveTo>
                  <a:lnTo>
                    <a:pt x="124" y="196"/>
                  </a:lnTo>
                  <a:lnTo>
                    <a:pt x="123" y="197"/>
                  </a:lnTo>
                  <a:lnTo>
                    <a:pt x="122" y="197"/>
                  </a:lnTo>
                  <a:lnTo>
                    <a:pt x="120" y="198"/>
                  </a:lnTo>
                  <a:lnTo>
                    <a:pt x="120" y="197"/>
                  </a:lnTo>
                  <a:lnTo>
                    <a:pt x="123" y="195"/>
                  </a:lnTo>
                  <a:close/>
                  <a:moveTo>
                    <a:pt x="125" y="190"/>
                  </a:moveTo>
                  <a:lnTo>
                    <a:pt x="126" y="190"/>
                  </a:lnTo>
                  <a:lnTo>
                    <a:pt x="126" y="192"/>
                  </a:lnTo>
                  <a:lnTo>
                    <a:pt x="125" y="193"/>
                  </a:lnTo>
                  <a:lnTo>
                    <a:pt x="125" y="195"/>
                  </a:lnTo>
                  <a:lnTo>
                    <a:pt x="124" y="193"/>
                  </a:lnTo>
                  <a:lnTo>
                    <a:pt x="124" y="192"/>
                  </a:lnTo>
                  <a:lnTo>
                    <a:pt x="125" y="191"/>
                  </a:lnTo>
                  <a:lnTo>
                    <a:pt x="125" y="190"/>
                  </a:lnTo>
                  <a:close/>
                  <a:moveTo>
                    <a:pt x="129" y="178"/>
                  </a:moveTo>
                  <a:lnTo>
                    <a:pt x="131" y="178"/>
                  </a:lnTo>
                  <a:lnTo>
                    <a:pt x="129" y="180"/>
                  </a:lnTo>
                  <a:lnTo>
                    <a:pt x="128" y="180"/>
                  </a:lnTo>
                  <a:lnTo>
                    <a:pt x="128" y="179"/>
                  </a:lnTo>
                  <a:lnTo>
                    <a:pt x="129" y="178"/>
                  </a:lnTo>
                  <a:close/>
                  <a:moveTo>
                    <a:pt x="99" y="172"/>
                  </a:moveTo>
                  <a:lnTo>
                    <a:pt x="101" y="172"/>
                  </a:lnTo>
                  <a:lnTo>
                    <a:pt x="103" y="173"/>
                  </a:lnTo>
                  <a:lnTo>
                    <a:pt x="103" y="174"/>
                  </a:lnTo>
                  <a:lnTo>
                    <a:pt x="100" y="174"/>
                  </a:lnTo>
                  <a:lnTo>
                    <a:pt x="99" y="173"/>
                  </a:lnTo>
                  <a:lnTo>
                    <a:pt x="99" y="172"/>
                  </a:lnTo>
                  <a:close/>
                  <a:moveTo>
                    <a:pt x="78" y="168"/>
                  </a:moveTo>
                  <a:lnTo>
                    <a:pt x="79" y="168"/>
                  </a:lnTo>
                  <a:lnTo>
                    <a:pt x="79" y="171"/>
                  </a:lnTo>
                  <a:lnTo>
                    <a:pt x="76" y="171"/>
                  </a:lnTo>
                  <a:lnTo>
                    <a:pt x="76" y="172"/>
                  </a:lnTo>
                  <a:lnTo>
                    <a:pt x="75" y="173"/>
                  </a:lnTo>
                  <a:lnTo>
                    <a:pt x="73" y="173"/>
                  </a:lnTo>
                  <a:lnTo>
                    <a:pt x="73" y="177"/>
                  </a:lnTo>
                  <a:lnTo>
                    <a:pt x="72" y="177"/>
                  </a:lnTo>
                  <a:lnTo>
                    <a:pt x="69" y="175"/>
                  </a:lnTo>
                  <a:lnTo>
                    <a:pt x="69" y="174"/>
                  </a:lnTo>
                  <a:lnTo>
                    <a:pt x="68" y="173"/>
                  </a:lnTo>
                  <a:lnTo>
                    <a:pt x="68" y="172"/>
                  </a:lnTo>
                  <a:lnTo>
                    <a:pt x="69" y="171"/>
                  </a:lnTo>
                  <a:lnTo>
                    <a:pt x="73" y="171"/>
                  </a:lnTo>
                  <a:lnTo>
                    <a:pt x="74" y="169"/>
                  </a:lnTo>
                  <a:lnTo>
                    <a:pt x="75" y="169"/>
                  </a:lnTo>
                  <a:lnTo>
                    <a:pt x="78" y="168"/>
                  </a:lnTo>
                  <a:close/>
                  <a:moveTo>
                    <a:pt x="104" y="160"/>
                  </a:moveTo>
                  <a:lnTo>
                    <a:pt x="105" y="160"/>
                  </a:lnTo>
                  <a:lnTo>
                    <a:pt x="107" y="161"/>
                  </a:lnTo>
                  <a:lnTo>
                    <a:pt x="107" y="162"/>
                  </a:lnTo>
                  <a:lnTo>
                    <a:pt x="109" y="162"/>
                  </a:lnTo>
                  <a:lnTo>
                    <a:pt x="110" y="165"/>
                  </a:lnTo>
                  <a:lnTo>
                    <a:pt x="111" y="168"/>
                  </a:lnTo>
                  <a:lnTo>
                    <a:pt x="111" y="169"/>
                  </a:lnTo>
                  <a:lnTo>
                    <a:pt x="116" y="169"/>
                  </a:lnTo>
                  <a:lnTo>
                    <a:pt x="117" y="171"/>
                  </a:lnTo>
                  <a:lnTo>
                    <a:pt x="119" y="171"/>
                  </a:lnTo>
                  <a:lnTo>
                    <a:pt x="119" y="172"/>
                  </a:lnTo>
                  <a:lnTo>
                    <a:pt x="120" y="173"/>
                  </a:lnTo>
                  <a:lnTo>
                    <a:pt x="122" y="173"/>
                  </a:lnTo>
                  <a:lnTo>
                    <a:pt x="123" y="174"/>
                  </a:lnTo>
                  <a:lnTo>
                    <a:pt x="123" y="175"/>
                  </a:lnTo>
                  <a:lnTo>
                    <a:pt x="125" y="175"/>
                  </a:lnTo>
                  <a:lnTo>
                    <a:pt x="124" y="178"/>
                  </a:lnTo>
                  <a:lnTo>
                    <a:pt x="124" y="177"/>
                  </a:lnTo>
                  <a:lnTo>
                    <a:pt x="123" y="177"/>
                  </a:lnTo>
                  <a:lnTo>
                    <a:pt x="123" y="178"/>
                  </a:lnTo>
                  <a:lnTo>
                    <a:pt x="124" y="178"/>
                  </a:lnTo>
                  <a:lnTo>
                    <a:pt x="124" y="180"/>
                  </a:lnTo>
                  <a:lnTo>
                    <a:pt x="122" y="180"/>
                  </a:lnTo>
                  <a:lnTo>
                    <a:pt x="122" y="178"/>
                  </a:lnTo>
                  <a:lnTo>
                    <a:pt x="120" y="178"/>
                  </a:lnTo>
                  <a:lnTo>
                    <a:pt x="120" y="180"/>
                  </a:lnTo>
                  <a:lnTo>
                    <a:pt x="119" y="181"/>
                  </a:lnTo>
                  <a:lnTo>
                    <a:pt x="123" y="181"/>
                  </a:lnTo>
                  <a:lnTo>
                    <a:pt x="123" y="183"/>
                  </a:lnTo>
                  <a:lnTo>
                    <a:pt x="122" y="183"/>
                  </a:lnTo>
                  <a:lnTo>
                    <a:pt x="118" y="186"/>
                  </a:lnTo>
                  <a:lnTo>
                    <a:pt x="116" y="186"/>
                  </a:lnTo>
                  <a:lnTo>
                    <a:pt x="114" y="185"/>
                  </a:lnTo>
                  <a:lnTo>
                    <a:pt x="116" y="185"/>
                  </a:lnTo>
                  <a:lnTo>
                    <a:pt x="116" y="183"/>
                  </a:lnTo>
                  <a:lnTo>
                    <a:pt x="114" y="183"/>
                  </a:lnTo>
                  <a:lnTo>
                    <a:pt x="114" y="184"/>
                  </a:lnTo>
                  <a:lnTo>
                    <a:pt x="113" y="184"/>
                  </a:lnTo>
                  <a:lnTo>
                    <a:pt x="113" y="185"/>
                  </a:lnTo>
                  <a:lnTo>
                    <a:pt x="112" y="185"/>
                  </a:lnTo>
                  <a:lnTo>
                    <a:pt x="109" y="186"/>
                  </a:lnTo>
                  <a:lnTo>
                    <a:pt x="107" y="187"/>
                  </a:lnTo>
                  <a:lnTo>
                    <a:pt x="105" y="187"/>
                  </a:lnTo>
                  <a:lnTo>
                    <a:pt x="104" y="189"/>
                  </a:lnTo>
                  <a:lnTo>
                    <a:pt x="99" y="189"/>
                  </a:lnTo>
                  <a:lnTo>
                    <a:pt x="99" y="190"/>
                  </a:lnTo>
                  <a:lnTo>
                    <a:pt x="97" y="190"/>
                  </a:lnTo>
                  <a:lnTo>
                    <a:pt x="95" y="189"/>
                  </a:lnTo>
                  <a:lnTo>
                    <a:pt x="95" y="187"/>
                  </a:lnTo>
                  <a:lnTo>
                    <a:pt x="94" y="187"/>
                  </a:lnTo>
                  <a:lnTo>
                    <a:pt x="94" y="184"/>
                  </a:lnTo>
                  <a:lnTo>
                    <a:pt x="98" y="184"/>
                  </a:lnTo>
                  <a:lnTo>
                    <a:pt x="98" y="185"/>
                  </a:lnTo>
                  <a:lnTo>
                    <a:pt x="99" y="185"/>
                  </a:lnTo>
                  <a:lnTo>
                    <a:pt x="99" y="186"/>
                  </a:lnTo>
                  <a:lnTo>
                    <a:pt x="100" y="186"/>
                  </a:lnTo>
                  <a:lnTo>
                    <a:pt x="100" y="185"/>
                  </a:lnTo>
                  <a:lnTo>
                    <a:pt x="99" y="185"/>
                  </a:lnTo>
                  <a:lnTo>
                    <a:pt x="100" y="184"/>
                  </a:lnTo>
                  <a:lnTo>
                    <a:pt x="101" y="185"/>
                  </a:lnTo>
                  <a:lnTo>
                    <a:pt x="103" y="184"/>
                  </a:lnTo>
                  <a:lnTo>
                    <a:pt x="104" y="184"/>
                  </a:lnTo>
                  <a:lnTo>
                    <a:pt x="109" y="181"/>
                  </a:lnTo>
                  <a:lnTo>
                    <a:pt x="109" y="180"/>
                  </a:lnTo>
                  <a:lnTo>
                    <a:pt x="107" y="180"/>
                  </a:lnTo>
                  <a:lnTo>
                    <a:pt x="105" y="183"/>
                  </a:lnTo>
                  <a:lnTo>
                    <a:pt x="103" y="183"/>
                  </a:lnTo>
                  <a:lnTo>
                    <a:pt x="101" y="181"/>
                  </a:lnTo>
                  <a:lnTo>
                    <a:pt x="101" y="180"/>
                  </a:lnTo>
                  <a:lnTo>
                    <a:pt x="104" y="178"/>
                  </a:lnTo>
                  <a:lnTo>
                    <a:pt x="104" y="177"/>
                  </a:lnTo>
                  <a:lnTo>
                    <a:pt x="105" y="175"/>
                  </a:lnTo>
                  <a:lnTo>
                    <a:pt x="106" y="175"/>
                  </a:lnTo>
                  <a:lnTo>
                    <a:pt x="109" y="174"/>
                  </a:lnTo>
                  <a:lnTo>
                    <a:pt x="110" y="174"/>
                  </a:lnTo>
                  <a:lnTo>
                    <a:pt x="110" y="172"/>
                  </a:lnTo>
                  <a:lnTo>
                    <a:pt x="109" y="172"/>
                  </a:lnTo>
                  <a:lnTo>
                    <a:pt x="106" y="173"/>
                  </a:lnTo>
                  <a:lnTo>
                    <a:pt x="105" y="173"/>
                  </a:lnTo>
                  <a:lnTo>
                    <a:pt x="105" y="174"/>
                  </a:lnTo>
                  <a:lnTo>
                    <a:pt x="104" y="173"/>
                  </a:lnTo>
                  <a:lnTo>
                    <a:pt x="104" y="172"/>
                  </a:lnTo>
                  <a:lnTo>
                    <a:pt x="101" y="169"/>
                  </a:lnTo>
                  <a:lnTo>
                    <a:pt x="97" y="169"/>
                  </a:lnTo>
                  <a:lnTo>
                    <a:pt x="97" y="168"/>
                  </a:lnTo>
                  <a:lnTo>
                    <a:pt x="95" y="168"/>
                  </a:lnTo>
                  <a:lnTo>
                    <a:pt x="98" y="166"/>
                  </a:lnTo>
                  <a:lnTo>
                    <a:pt x="97" y="166"/>
                  </a:lnTo>
                  <a:lnTo>
                    <a:pt x="97" y="163"/>
                  </a:lnTo>
                  <a:lnTo>
                    <a:pt x="98" y="163"/>
                  </a:lnTo>
                  <a:lnTo>
                    <a:pt x="99" y="162"/>
                  </a:lnTo>
                  <a:lnTo>
                    <a:pt x="99" y="163"/>
                  </a:lnTo>
                  <a:lnTo>
                    <a:pt x="100" y="163"/>
                  </a:lnTo>
                  <a:lnTo>
                    <a:pt x="100" y="161"/>
                  </a:lnTo>
                  <a:lnTo>
                    <a:pt x="101" y="161"/>
                  </a:lnTo>
                  <a:lnTo>
                    <a:pt x="104" y="160"/>
                  </a:lnTo>
                  <a:close/>
                  <a:moveTo>
                    <a:pt x="88" y="158"/>
                  </a:moveTo>
                  <a:lnTo>
                    <a:pt x="91" y="158"/>
                  </a:lnTo>
                  <a:lnTo>
                    <a:pt x="91" y="159"/>
                  </a:lnTo>
                  <a:lnTo>
                    <a:pt x="89" y="159"/>
                  </a:lnTo>
                  <a:lnTo>
                    <a:pt x="89" y="161"/>
                  </a:lnTo>
                  <a:lnTo>
                    <a:pt x="88" y="161"/>
                  </a:lnTo>
                  <a:lnTo>
                    <a:pt x="88" y="162"/>
                  </a:lnTo>
                  <a:lnTo>
                    <a:pt x="87" y="162"/>
                  </a:lnTo>
                  <a:lnTo>
                    <a:pt x="86" y="165"/>
                  </a:lnTo>
                  <a:lnTo>
                    <a:pt x="83" y="166"/>
                  </a:lnTo>
                  <a:lnTo>
                    <a:pt x="81" y="166"/>
                  </a:lnTo>
                  <a:lnTo>
                    <a:pt x="81" y="167"/>
                  </a:lnTo>
                  <a:lnTo>
                    <a:pt x="80" y="166"/>
                  </a:lnTo>
                  <a:lnTo>
                    <a:pt x="80" y="165"/>
                  </a:lnTo>
                  <a:lnTo>
                    <a:pt x="81" y="165"/>
                  </a:lnTo>
                  <a:lnTo>
                    <a:pt x="85" y="161"/>
                  </a:lnTo>
                  <a:lnTo>
                    <a:pt x="85" y="160"/>
                  </a:lnTo>
                  <a:lnTo>
                    <a:pt x="86" y="159"/>
                  </a:lnTo>
                  <a:lnTo>
                    <a:pt x="87" y="159"/>
                  </a:lnTo>
                  <a:lnTo>
                    <a:pt x="88" y="158"/>
                  </a:lnTo>
                  <a:close/>
                  <a:moveTo>
                    <a:pt x="129" y="156"/>
                  </a:moveTo>
                  <a:lnTo>
                    <a:pt x="125" y="158"/>
                  </a:lnTo>
                  <a:lnTo>
                    <a:pt x="128" y="158"/>
                  </a:lnTo>
                  <a:lnTo>
                    <a:pt x="129" y="156"/>
                  </a:lnTo>
                  <a:close/>
                  <a:moveTo>
                    <a:pt x="94" y="129"/>
                  </a:moveTo>
                  <a:lnTo>
                    <a:pt x="97" y="129"/>
                  </a:lnTo>
                  <a:lnTo>
                    <a:pt x="99" y="131"/>
                  </a:lnTo>
                  <a:lnTo>
                    <a:pt x="99" y="135"/>
                  </a:lnTo>
                  <a:lnTo>
                    <a:pt x="98" y="137"/>
                  </a:lnTo>
                  <a:lnTo>
                    <a:pt x="97" y="137"/>
                  </a:lnTo>
                  <a:lnTo>
                    <a:pt x="95" y="138"/>
                  </a:lnTo>
                  <a:lnTo>
                    <a:pt x="94" y="137"/>
                  </a:lnTo>
                  <a:lnTo>
                    <a:pt x="94" y="136"/>
                  </a:lnTo>
                  <a:lnTo>
                    <a:pt x="91" y="132"/>
                  </a:lnTo>
                  <a:lnTo>
                    <a:pt x="94" y="129"/>
                  </a:lnTo>
                  <a:close/>
                  <a:moveTo>
                    <a:pt x="49" y="129"/>
                  </a:moveTo>
                  <a:lnTo>
                    <a:pt x="50" y="129"/>
                  </a:lnTo>
                  <a:lnTo>
                    <a:pt x="50" y="130"/>
                  </a:lnTo>
                  <a:lnTo>
                    <a:pt x="49" y="131"/>
                  </a:lnTo>
                  <a:lnTo>
                    <a:pt x="50" y="132"/>
                  </a:lnTo>
                  <a:lnTo>
                    <a:pt x="51" y="132"/>
                  </a:lnTo>
                  <a:lnTo>
                    <a:pt x="51" y="135"/>
                  </a:lnTo>
                  <a:lnTo>
                    <a:pt x="50" y="135"/>
                  </a:lnTo>
                  <a:lnTo>
                    <a:pt x="50" y="136"/>
                  </a:lnTo>
                  <a:lnTo>
                    <a:pt x="49" y="136"/>
                  </a:lnTo>
                  <a:lnTo>
                    <a:pt x="49" y="137"/>
                  </a:lnTo>
                  <a:lnTo>
                    <a:pt x="48" y="137"/>
                  </a:lnTo>
                  <a:lnTo>
                    <a:pt x="48" y="138"/>
                  </a:lnTo>
                  <a:lnTo>
                    <a:pt x="45" y="137"/>
                  </a:lnTo>
                  <a:lnTo>
                    <a:pt x="44" y="137"/>
                  </a:lnTo>
                  <a:lnTo>
                    <a:pt x="44" y="136"/>
                  </a:lnTo>
                  <a:lnTo>
                    <a:pt x="47" y="134"/>
                  </a:lnTo>
                  <a:lnTo>
                    <a:pt x="45" y="134"/>
                  </a:lnTo>
                  <a:lnTo>
                    <a:pt x="45" y="132"/>
                  </a:lnTo>
                  <a:lnTo>
                    <a:pt x="47" y="131"/>
                  </a:lnTo>
                  <a:lnTo>
                    <a:pt x="48" y="131"/>
                  </a:lnTo>
                  <a:lnTo>
                    <a:pt x="49" y="129"/>
                  </a:lnTo>
                  <a:close/>
                  <a:moveTo>
                    <a:pt x="86" y="128"/>
                  </a:moveTo>
                  <a:lnTo>
                    <a:pt x="87" y="128"/>
                  </a:lnTo>
                  <a:lnTo>
                    <a:pt x="88" y="129"/>
                  </a:lnTo>
                  <a:lnTo>
                    <a:pt x="87" y="130"/>
                  </a:lnTo>
                  <a:lnTo>
                    <a:pt x="86" y="130"/>
                  </a:lnTo>
                  <a:lnTo>
                    <a:pt x="85" y="129"/>
                  </a:lnTo>
                  <a:lnTo>
                    <a:pt x="86" y="128"/>
                  </a:lnTo>
                  <a:close/>
                  <a:moveTo>
                    <a:pt x="131" y="124"/>
                  </a:moveTo>
                  <a:lnTo>
                    <a:pt x="130" y="125"/>
                  </a:lnTo>
                  <a:lnTo>
                    <a:pt x="135" y="125"/>
                  </a:lnTo>
                  <a:lnTo>
                    <a:pt x="135" y="124"/>
                  </a:lnTo>
                  <a:lnTo>
                    <a:pt x="131" y="124"/>
                  </a:lnTo>
                  <a:close/>
                  <a:moveTo>
                    <a:pt x="110" y="109"/>
                  </a:moveTo>
                  <a:lnTo>
                    <a:pt x="112" y="109"/>
                  </a:lnTo>
                  <a:lnTo>
                    <a:pt x="113" y="110"/>
                  </a:lnTo>
                  <a:lnTo>
                    <a:pt x="113" y="111"/>
                  </a:lnTo>
                  <a:lnTo>
                    <a:pt x="111" y="111"/>
                  </a:lnTo>
                  <a:lnTo>
                    <a:pt x="110" y="110"/>
                  </a:lnTo>
                  <a:lnTo>
                    <a:pt x="110" y="109"/>
                  </a:lnTo>
                  <a:close/>
                  <a:moveTo>
                    <a:pt x="103" y="101"/>
                  </a:moveTo>
                  <a:lnTo>
                    <a:pt x="101" y="103"/>
                  </a:lnTo>
                  <a:lnTo>
                    <a:pt x="103" y="103"/>
                  </a:lnTo>
                  <a:lnTo>
                    <a:pt x="103" y="101"/>
                  </a:lnTo>
                  <a:close/>
                  <a:moveTo>
                    <a:pt x="52" y="101"/>
                  </a:moveTo>
                  <a:lnTo>
                    <a:pt x="56" y="104"/>
                  </a:lnTo>
                  <a:lnTo>
                    <a:pt x="56" y="105"/>
                  </a:lnTo>
                  <a:lnTo>
                    <a:pt x="55" y="104"/>
                  </a:lnTo>
                  <a:lnTo>
                    <a:pt x="55" y="105"/>
                  </a:lnTo>
                  <a:lnTo>
                    <a:pt x="56" y="105"/>
                  </a:lnTo>
                  <a:lnTo>
                    <a:pt x="57" y="106"/>
                  </a:lnTo>
                  <a:lnTo>
                    <a:pt x="58" y="106"/>
                  </a:lnTo>
                  <a:lnTo>
                    <a:pt x="58" y="107"/>
                  </a:lnTo>
                  <a:lnTo>
                    <a:pt x="56" y="107"/>
                  </a:lnTo>
                  <a:lnTo>
                    <a:pt x="52" y="104"/>
                  </a:lnTo>
                  <a:lnTo>
                    <a:pt x="52" y="103"/>
                  </a:lnTo>
                  <a:lnTo>
                    <a:pt x="51" y="104"/>
                  </a:lnTo>
                  <a:lnTo>
                    <a:pt x="51" y="105"/>
                  </a:lnTo>
                  <a:lnTo>
                    <a:pt x="52" y="106"/>
                  </a:lnTo>
                  <a:lnTo>
                    <a:pt x="54" y="106"/>
                  </a:lnTo>
                  <a:lnTo>
                    <a:pt x="55" y="107"/>
                  </a:lnTo>
                  <a:lnTo>
                    <a:pt x="56" y="107"/>
                  </a:lnTo>
                  <a:lnTo>
                    <a:pt x="58" y="110"/>
                  </a:lnTo>
                  <a:lnTo>
                    <a:pt x="60" y="110"/>
                  </a:lnTo>
                  <a:lnTo>
                    <a:pt x="60" y="111"/>
                  </a:lnTo>
                  <a:lnTo>
                    <a:pt x="58" y="111"/>
                  </a:lnTo>
                  <a:lnTo>
                    <a:pt x="57" y="112"/>
                  </a:lnTo>
                  <a:lnTo>
                    <a:pt x="57" y="115"/>
                  </a:lnTo>
                  <a:lnTo>
                    <a:pt x="56" y="116"/>
                  </a:lnTo>
                  <a:lnTo>
                    <a:pt x="52" y="115"/>
                  </a:lnTo>
                  <a:lnTo>
                    <a:pt x="55" y="116"/>
                  </a:lnTo>
                  <a:lnTo>
                    <a:pt x="56" y="117"/>
                  </a:lnTo>
                  <a:lnTo>
                    <a:pt x="56" y="118"/>
                  </a:lnTo>
                  <a:lnTo>
                    <a:pt x="57" y="119"/>
                  </a:lnTo>
                  <a:lnTo>
                    <a:pt x="56" y="120"/>
                  </a:lnTo>
                  <a:lnTo>
                    <a:pt x="56" y="123"/>
                  </a:lnTo>
                  <a:lnTo>
                    <a:pt x="57" y="123"/>
                  </a:lnTo>
                  <a:lnTo>
                    <a:pt x="57" y="124"/>
                  </a:lnTo>
                  <a:lnTo>
                    <a:pt x="58" y="124"/>
                  </a:lnTo>
                  <a:lnTo>
                    <a:pt x="57" y="125"/>
                  </a:lnTo>
                  <a:lnTo>
                    <a:pt x="52" y="125"/>
                  </a:lnTo>
                  <a:lnTo>
                    <a:pt x="51" y="124"/>
                  </a:lnTo>
                  <a:lnTo>
                    <a:pt x="51" y="123"/>
                  </a:lnTo>
                  <a:lnTo>
                    <a:pt x="50" y="119"/>
                  </a:lnTo>
                  <a:lnTo>
                    <a:pt x="50" y="117"/>
                  </a:lnTo>
                  <a:lnTo>
                    <a:pt x="49" y="116"/>
                  </a:lnTo>
                  <a:lnTo>
                    <a:pt x="49" y="113"/>
                  </a:lnTo>
                  <a:lnTo>
                    <a:pt x="50" y="112"/>
                  </a:lnTo>
                  <a:lnTo>
                    <a:pt x="50" y="110"/>
                  </a:lnTo>
                  <a:lnTo>
                    <a:pt x="51" y="110"/>
                  </a:lnTo>
                  <a:lnTo>
                    <a:pt x="51" y="109"/>
                  </a:lnTo>
                  <a:lnTo>
                    <a:pt x="50" y="106"/>
                  </a:lnTo>
                  <a:lnTo>
                    <a:pt x="50" y="103"/>
                  </a:lnTo>
                  <a:lnTo>
                    <a:pt x="52" y="101"/>
                  </a:lnTo>
                  <a:close/>
                  <a:moveTo>
                    <a:pt x="51" y="95"/>
                  </a:moveTo>
                  <a:lnTo>
                    <a:pt x="56" y="95"/>
                  </a:lnTo>
                  <a:lnTo>
                    <a:pt x="56" y="97"/>
                  </a:lnTo>
                  <a:lnTo>
                    <a:pt x="58" y="97"/>
                  </a:lnTo>
                  <a:lnTo>
                    <a:pt x="60" y="98"/>
                  </a:lnTo>
                  <a:lnTo>
                    <a:pt x="56" y="98"/>
                  </a:lnTo>
                  <a:lnTo>
                    <a:pt x="57" y="99"/>
                  </a:lnTo>
                  <a:lnTo>
                    <a:pt x="58" y="99"/>
                  </a:lnTo>
                  <a:lnTo>
                    <a:pt x="58" y="100"/>
                  </a:lnTo>
                  <a:lnTo>
                    <a:pt x="55" y="101"/>
                  </a:lnTo>
                  <a:lnTo>
                    <a:pt x="54" y="101"/>
                  </a:lnTo>
                  <a:lnTo>
                    <a:pt x="51" y="99"/>
                  </a:lnTo>
                  <a:lnTo>
                    <a:pt x="50" y="99"/>
                  </a:lnTo>
                  <a:lnTo>
                    <a:pt x="50" y="97"/>
                  </a:lnTo>
                  <a:lnTo>
                    <a:pt x="51" y="95"/>
                  </a:lnTo>
                  <a:close/>
                  <a:moveTo>
                    <a:pt x="109" y="94"/>
                  </a:moveTo>
                  <a:lnTo>
                    <a:pt x="111" y="94"/>
                  </a:lnTo>
                  <a:lnTo>
                    <a:pt x="111" y="95"/>
                  </a:lnTo>
                  <a:lnTo>
                    <a:pt x="109" y="100"/>
                  </a:lnTo>
                  <a:lnTo>
                    <a:pt x="109" y="103"/>
                  </a:lnTo>
                  <a:lnTo>
                    <a:pt x="110" y="104"/>
                  </a:lnTo>
                  <a:lnTo>
                    <a:pt x="110" y="107"/>
                  </a:lnTo>
                  <a:lnTo>
                    <a:pt x="107" y="107"/>
                  </a:lnTo>
                  <a:lnTo>
                    <a:pt x="107" y="106"/>
                  </a:lnTo>
                  <a:lnTo>
                    <a:pt x="106" y="106"/>
                  </a:lnTo>
                  <a:lnTo>
                    <a:pt x="106" y="105"/>
                  </a:lnTo>
                  <a:lnTo>
                    <a:pt x="107" y="99"/>
                  </a:lnTo>
                  <a:lnTo>
                    <a:pt x="107" y="98"/>
                  </a:lnTo>
                  <a:lnTo>
                    <a:pt x="109" y="98"/>
                  </a:lnTo>
                  <a:lnTo>
                    <a:pt x="109" y="94"/>
                  </a:lnTo>
                  <a:close/>
                  <a:moveTo>
                    <a:pt x="111" y="88"/>
                  </a:moveTo>
                  <a:lnTo>
                    <a:pt x="112" y="88"/>
                  </a:lnTo>
                  <a:lnTo>
                    <a:pt x="111" y="92"/>
                  </a:lnTo>
                  <a:lnTo>
                    <a:pt x="111" y="93"/>
                  </a:lnTo>
                  <a:lnTo>
                    <a:pt x="110" y="92"/>
                  </a:lnTo>
                  <a:lnTo>
                    <a:pt x="111" y="91"/>
                  </a:lnTo>
                  <a:lnTo>
                    <a:pt x="111" y="88"/>
                  </a:lnTo>
                  <a:close/>
                  <a:moveTo>
                    <a:pt x="56" y="88"/>
                  </a:moveTo>
                  <a:lnTo>
                    <a:pt x="55" y="91"/>
                  </a:lnTo>
                  <a:lnTo>
                    <a:pt x="57" y="91"/>
                  </a:lnTo>
                  <a:lnTo>
                    <a:pt x="57" y="88"/>
                  </a:lnTo>
                  <a:lnTo>
                    <a:pt x="56" y="88"/>
                  </a:lnTo>
                  <a:close/>
                  <a:moveTo>
                    <a:pt x="54" y="80"/>
                  </a:moveTo>
                  <a:lnTo>
                    <a:pt x="54" y="81"/>
                  </a:lnTo>
                  <a:lnTo>
                    <a:pt x="56" y="82"/>
                  </a:lnTo>
                  <a:lnTo>
                    <a:pt x="56" y="81"/>
                  </a:lnTo>
                  <a:lnTo>
                    <a:pt x="57" y="81"/>
                  </a:lnTo>
                  <a:lnTo>
                    <a:pt x="58" y="80"/>
                  </a:lnTo>
                  <a:lnTo>
                    <a:pt x="61" y="80"/>
                  </a:lnTo>
                  <a:lnTo>
                    <a:pt x="61" y="81"/>
                  </a:lnTo>
                  <a:lnTo>
                    <a:pt x="60" y="82"/>
                  </a:lnTo>
                  <a:lnTo>
                    <a:pt x="64" y="82"/>
                  </a:lnTo>
                  <a:lnTo>
                    <a:pt x="64" y="85"/>
                  </a:lnTo>
                  <a:lnTo>
                    <a:pt x="63" y="86"/>
                  </a:lnTo>
                  <a:lnTo>
                    <a:pt x="62" y="85"/>
                  </a:lnTo>
                  <a:lnTo>
                    <a:pt x="61" y="85"/>
                  </a:lnTo>
                  <a:lnTo>
                    <a:pt x="61" y="83"/>
                  </a:lnTo>
                  <a:lnTo>
                    <a:pt x="60" y="83"/>
                  </a:lnTo>
                  <a:lnTo>
                    <a:pt x="60" y="86"/>
                  </a:lnTo>
                  <a:lnTo>
                    <a:pt x="61" y="86"/>
                  </a:lnTo>
                  <a:lnTo>
                    <a:pt x="61" y="87"/>
                  </a:lnTo>
                  <a:lnTo>
                    <a:pt x="63" y="87"/>
                  </a:lnTo>
                  <a:lnTo>
                    <a:pt x="61" y="89"/>
                  </a:lnTo>
                  <a:lnTo>
                    <a:pt x="58" y="89"/>
                  </a:lnTo>
                  <a:lnTo>
                    <a:pt x="58" y="91"/>
                  </a:lnTo>
                  <a:lnTo>
                    <a:pt x="62" y="91"/>
                  </a:lnTo>
                  <a:lnTo>
                    <a:pt x="62" y="92"/>
                  </a:lnTo>
                  <a:lnTo>
                    <a:pt x="61" y="93"/>
                  </a:lnTo>
                  <a:lnTo>
                    <a:pt x="58" y="93"/>
                  </a:lnTo>
                  <a:lnTo>
                    <a:pt x="57" y="94"/>
                  </a:lnTo>
                  <a:lnTo>
                    <a:pt x="57" y="93"/>
                  </a:lnTo>
                  <a:lnTo>
                    <a:pt x="55" y="94"/>
                  </a:lnTo>
                  <a:lnTo>
                    <a:pt x="55" y="93"/>
                  </a:lnTo>
                  <a:lnTo>
                    <a:pt x="54" y="93"/>
                  </a:lnTo>
                  <a:lnTo>
                    <a:pt x="54" y="91"/>
                  </a:lnTo>
                  <a:lnTo>
                    <a:pt x="52" y="91"/>
                  </a:lnTo>
                  <a:lnTo>
                    <a:pt x="50" y="88"/>
                  </a:lnTo>
                  <a:lnTo>
                    <a:pt x="49" y="88"/>
                  </a:lnTo>
                  <a:lnTo>
                    <a:pt x="49" y="89"/>
                  </a:lnTo>
                  <a:lnTo>
                    <a:pt x="48" y="89"/>
                  </a:lnTo>
                  <a:lnTo>
                    <a:pt x="48" y="88"/>
                  </a:lnTo>
                  <a:lnTo>
                    <a:pt x="47" y="88"/>
                  </a:lnTo>
                  <a:lnTo>
                    <a:pt x="44" y="87"/>
                  </a:lnTo>
                  <a:lnTo>
                    <a:pt x="47" y="85"/>
                  </a:lnTo>
                  <a:lnTo>
                    <a:pt x="47" y="83"/>
                  </a:lnTo>
                  <a:lnTo>
                    <a:pt x="48" y="81"/>
                  </a:lnTo>
                  <a:lnTo>
                    <a:pt x="49" y="82"/>
                  </a:lnTo>
                  <a:lnTo>
                    <a:pt x="51" y="81"/>
                  </a:lnTo>
                  <a:lnTo>
                    <a:pt x="51" y="82"/>
                  </a:lnTo>
                  <a:lnTo>
                    <a:pt x="50" y="82"/>
                  </a:lnTo>
                  <a:lnTo>
                    <a:pt x="51" y="83"/>
                  </a:lnTo>
                  <a:lnTo>
                    <a:pt x="52" y="82"/>
                  </a:lnTo>
                  <a:lnTo>
                    <a:pt x="54" y="80"/>
                  </a:lnTo>
                  <a:close/>
                  <a:moveTo>
                    <a:pt x="95" y="79"/>
                  </a:moveTo>
                  <a:lnTo>
                    <a:pt x="97" y="79"/>
                  </a:lnTo>
                  <a:lnTo>
                    <a:pt x="100" y="82"/>
                  </a:lnTo>
                  <a:lnTo>
                    <a:pt x="100" y="83"/>
                  </a:lnTo>
                  <a:lnTo>
                    <a:pt x="103" y="86"/>
                  </a:lnTo>
                  <a:lnTo>
                    <a:pt x="103" y="87"/>
                  </a:lnTo>
                  <a:lnTo>
                    <a:pt x="104" y="87"/>
                  </a:lnTo>
                  <a:lnTo>
                    <a:pt x="104" y="101"/>
                  </a:lnTo>
                  <a:lnTo>
                    <a:pt x="105" y="101"/>
                  </a:lnTo>
                  <a:lnTo>
                    <a:pt x="105" y="103"/>
                  </a:lnTo>
                  <a:lnTo>
                    <a:pt x="104" y="104"/>
                  </a:lnTo>
                  <a:lnTo>
                    <a:pt x="104" y="105"/>
                  </a:lnTo>
                  <a:lnTo>
                    <a:pt x="105" y="106"/>
                  </a:lnTo>
                  <a:lnTo>
                    <a:pt x="105" y="107"/>
                  </a:lnTo>
                  <a:lnTo>
                    <a:pt x="106" y="107"/>
                  </a:lnTo>
                  <a:lnTo>
                    <a:pt x="105" y="109"/>
                  </a:lnTo>
                  <a:lnTo>
                    <a:pt x="104" y="109"/>
                  </a:lnTo>
                  <a:lnTo>
                    <a:pt x="104" y="110"/>
                  </a:lnTo>
                  <a:lnTo>
                    <a:pt x="107" y="109"/>
                  </a:lnTo>
                  <a:lnTo>
                    <a:pt x="107" y="110"/>
                  </a:lnTo>
                  <a:lnTo>
                    <a:pt x="109" y="110"/>
                  </a:lnTo>
                  <a:lnTo>
                    <a:pt x="107" y="111"/>
                  </a:lnTo>
                  <a:lnTo>
                    <a:pt x="106" y="111"/>
                  </a:lnTo>
                  <a:lnTo>
                    <a:pt x="106" y="112"/>
                  </a:lnTo>
                  <a:lnTo>
                    <a:pt x="107" y="112"/>
                  </a:lnTo>
                  <a:lnTo>
                    <a:pt x="109" y="111"/>
                  </a:lnTo>
                  <a:lnTo>
                    <a:pt x="110" y="111"/>
                  </a:lnTo>
                  <a:lnTo>
                    <a:pt x="111" y="112"/>
                  </a:lnTo>
                  <a:lnTo>
                    <a:pt x="113" y="112"/>
                  </a:lnTo>
                  <a:lnTo>
                    <a:pt x="113" y="115"/>
                  </a:lnTo>
                  <a:lnTo>
                    <a:pt x="114" y="115"/>
                  </a:lnTo>
                  <a:lnTo>
                    <a:pt x="116" y="113"/>
                  </a:lnTo>
                  <a:lnTo>
                    <a:pt x="117" y="113"/>
                  </a:lnTo>
                  <a:lnTo>
                    <a:pt x="118" y="112"/>
                  </a:lnTo>
                  <a:lnTo>
                    <a:pt x="120" y="112"/>
                  </a:lnTo>
                  <a:lnTo>
                    <a:pt x="122" y="113"/>
                  </a:lnTo>
                  <a:lnTo>
                    <a:pt x="125" y="113"/>
                  </a:lnTo>
                  <a:lnTo>
                    <a:pt x="124" y="115"/>
                  </a:lnTo>
                  <a:lnTo>
                    <a:pt x="124" y="117"/>
                  </a:lnTo>
                  <a:lnTo>
                    <a:pt x="123" y="118"/>
                  </a:lnTo>
                  <a:lnTo>
                    <a:pt x="122" y="120"/>
                  </a:lnTo>
                  <a:lnTo>
                    <a:pt x="119" y="120"/>
                  </a:lnTo>
                  <a:lnTo>
                    <a:pt x="118" y="123"/>
                  </a:lnTo>
                  <a:lnTo>
                    <a:pt x="118" y="124"/>
                  </a:lnTo>
                  <a:lnTo>
                    <a:pt x="117" y="124"/>
                  </a:lnTo>
                  <a:lnTo>
                    <a:pt x="117" y="125"/>
                  </a:lnTo>
                  <a:lnTo>
                    <a:pt x="116" y="125"/>
                  </a:lnTo>
                  <a:lnTo>
                    <a:pt x="116" y="126"/>
                  </a:lnTo>
                  <a:lnTo>
                    <a:pt x="112" y="130"/>
                  </a:lnTo>
                  <a:lnTo>
                    <a:pt x="112" y="131"/>
                  </a:lnTo>
                  <a:lnTo>
                    <a:pt x="109" y="131"/>
                  </a:lnTo>
                  <a:lnTo>
                    <a:pt x="109" y="129"/>
                  </a:lnTo>
                  <a:lnTo>
                    <a:pt x="110" y="126"/>
                  </a:lnTo>
                  <a:lnTo>
                    <a:pt x="110" y="124"/>
                  </a:lnTo>
                  <a:lnTo>
                    <a:pt x="111" y="124"/>
                  </a:lnTo>
                  <a:lnTo>
                    <a:pt x="111" y="123"/>
                  </a:lnTo>
                  <a:lnTo>
                    <a:pt x="112" y="122"/>
                  </a:lnTo>
                  <a:lnTo>
                    <a:pt x="117" y="119"/>
                  </a:lnTo>
                  <a:lnTo>
                    <a:pt x="110" y="119"/>
                  </a:lnTo>
                  <a:lnTo>
                    <a:pt x="110" y="118"/>
                  </a:lnTo>
                  <a:lnTo>
                    <a:pt x="109" y="117"/>
                  </a:lnTo>
                  <a:lnTo>
                    <a:pt x="109" y="119"/>
                  </a:lnTo>
                  <a:lnTo>
                    <a:pt x="107" y="120"/>
                  </a:lnTo>
                  <a:lnTo>
                    <a:pt x="109" y="120"/>
                  </a:lnTo>
                  <a:lnTo>
                    <a:pt x="107" y="122"/>
                  </a:lnTo>
                  <a:lnTo>
                    <a:pt x="107" y="123"/>
                  </a:lnTo>
                  <a:lnTo>
                    <a:pt x="105" y="123"/>
                  </a:lnTo>
                  <a:lnTo>
                    <a:pt x="105" y="118"/>
                  </a:lnTo>
                  <a:lnTo>
                    <a:pt x="103" y="118"/>
                  </a:lnTo>
                  <a:lnTo>
                    <a:pt x="103" y="119"/>
                  </a:lnTo>
                  <a:lnTo>
                    <a:pt x="97" y="120"/>
                  </a:lnTo>
                  <a:lnTo>
                    <a:pt x="97" y="119"/>
                  </a:lnTo>
                  <a:lnTo>
                    <a:pt x="98" y="118"/>
                  </a:lnTo>
                  <a:lnTo>
                    <a:pt x="95" y="118"/>
                  </a:lnTo>
                  <a:lnTo>
                    <a:pt x="95" y="119"/>
                  </a:lnTo>
                  <a:lnTo>
                    <a:pt x="94" y="117"/>
                  </a:lnTo>
                  <a:lnTo>
                    <a:pt x="94" y="116"/>
                  </a:lnTo>
                  <a:lnTo>
                    <a:pt x="95" y="115"/>
                  </a:lnTo>
                  <a:lnTo>
                    <a:pt x="93" y="115"/>
                  </a:lnTo>
                  <a:lnTo>
                    <a:pt x="91" y="112"/>
                  </a:lnTo>
                  <a:lnTo>
                    <a:pt x="91" y="111"/>
                  </a:lnTo>
                  <a:lnTo>
                    <a:pt x="89" y="110"/>
                  </a:lnTo>
                  <a:lnTo>
                    <a:pt x="89" y="109"/>
                  </a:lnTo>
                  <a:lnTo>
                    <a:pt x="92" y="107"/>
                  </a:lnTo>
                  <a:lnTo>
                    <a:pt x="93" y="107"/>
                  </a:lnTo>
                  <a:lnTo>
                    <a:pt x="95" y="110"/>
                  </a:lnTo>
                  <a:lnTo>
                    <a:pt x="97" y="110"/>
                  </a:lnTo>
                  <a:lnTo>
                    <a:pt x="97" y="109"/>
                  </a:lnTo>
                  <a:lnTo>
                    <a:pt x="93" y="107"/>
                  </a:lnTo>
                  <a:lnTo>
                    <a:pt x="93" y="106"/>
                  </a:lnTo>
                  <a:lnTo>
                    <a:pt x="91" y="106"/>
                  </a:lnTo>
                  <a:lnTo>
                    <a:pt x="91" y="104"/>
                  </a:lnTo>
                  <a:lnTo>
                    <a:pt x="89" y="104"/>
                  </a:lnTo>
                  <a:lnTo>
                    <a:pt x="89" y="103"/>
                  </a:lnTo>
                  <a:lnTo>
                    <a:pt x="88" y="104"/>
                  </a:lnTo>
                  <a:lnTo>
                    <a:pt x="88" y="101"/>
                  </a:lnTo>
                  <a:lnTo>
                    <a:pt x="87" y="101"/>
                  </a:lnTo>
                  <a:lnTo>
                    <a:pt x="87" y="103"/>
                  </a:lnTo>
                  <a:lnTo>
                    <a:pt x="86" y="103"/>
                  </a:lnTo>
                  <a:lnTo>
                    <a:pt x="86" y="107"/>
                  </a:lnTo>
                  <a:lnTo>
                    <a:pt x="81" y="106"/>
                  </a:lnTo>
                  <a:lnTo>
                    <a:pt x="80" y="105"/>
                  </a:lnTo>
                  <a:lnTo>
                    <a:pt x="80" y="104"/>
                  </a:lnTo>
                  <a:lnTo>
                    <a:pt x="79" y="103"/>
                  </a:lnTo>
                  <a:lnTo>
                    <a:pt x="79" y="101"/>
                  </a:lnTo>
                  <a:lnTo>
                    <a:pt x="78" y="99"/>
                  </a:lnTo>
                  <a:lnTo>
                    <a:pt x="76" y="98"/>
                  </a:lnTo>
                  <a:lnTo>
                    <a:pt x="79" y="98"/>
                  </a:lnTo>
                  <a:lnTo>
                    <a:pt x="79" y="93"/>
                  </a:lnTo>
                  <a:lnTo>
                    <a:pt x="80" y="93"/>
                  </a:lnTo>
                  <a:lnTo>
                    <a:pt x="82" y="97"/>
                  </a:lnTo>
                  <a:lnTo>
                    <a:pt x="82" y="98"/>
                  </a:lnTo>
                  <a:lnTo>
                    <a:pt x="83" y="99"/>
                  </a:lnTo>
                  <a:lnTo>
                    <a:pt x="85" y="99"/>
                  </a:lnTo>
                  <a:lnTo>
                    <a:pt x="83" y="98"/>
                  </a:lnTo>
                  <a:lnTo>
                    <a:pt x="85" y="97"/>
                  </a:lnTo>
                  <a:lnTo>
                    <a:pt x="83" y="95"/>
                  </a:lnTo>
                  <a:lnTo>
                    <a:pt x="83" y="93"/>
                  </a:lnTo>
                  <a:lnTo>
                    <a:pt x="85" y="93"/>
                  </a:lnTo>
                  <a:lnTo>
                    <a:pt x="86" y="94"/>
                  </a:lnTo>
                  <a:lnTo>
                    <a:pt x="86" y="93"/>
                  </a:lnTo>
                  <a:lnTo>
                    <a:pt x="83" y="91"/>
                  </a:lnTo>
                  <a:lnTo>
                    <a:pt x="82" y="91"/>
                  </a:lnTo>
                  <a:lnTo>
                    <a:pt x="82" y="89"/>
                  </a:lnTo>
                  <a:lnTo>
                    <a:pt x="83" y="88"/>
                  </a:lnTo>
                  <a:lnTo>
                    <a:pt x="83" y="87"/>
                  </a:lnTo>
                  <a:lnTo>
                    <a:pt x="82" y="87"/>
                  </a:lnTo>
                  <a:lnTo>
                    <a:pt x="82" y="86"/>
                  </a:lnTo>
                  <a:lnTo>
                    <a:pt x="83" y="86"/>
                  </a:lnTo>
                  <a:lnTo>
                    <a:pt x="86" y="88"/>
                  </a:lnTo>
                  <a:lnTo>
                    <a:pt x="86" y="91"/>
                  </a:lnTo>
                  <a:lnTo>
                    <a:pt x="87" y="91"/>
                  </a:lnTo>
                  <a:lnTo>
                    <a:pt x="88" y="92"/>
                  </a:lnTo>
                  <a:lnTo>
                    <a:pt x="89" y="92"/>
                  </a:lnTo>
                  <a:lnTo>
                    <a:pt x="89" y="93"/>
                  </a:lnTo>
                  <a:lnTo>
                    <a:pt x="92" y="93"/>
                  </a:lnTo>
                  <a:lnTo>
                    <a:pt x="91" y="95"/>
                  </a:lnTo>
                  <a:lnTo>
                    <a:pt x="92" y="95"/>
                  </a:lnTo>
                  <a:lnTo>
                    <a:pt x="92" y="94"/>
                  </a:lnTo>
                  <a:lnTo>
                    <a:pt x="93" y="93"/>
                  </a:lnTo>
                  <a:lnTo>
                    <a:pt x="97" y="98"/>
                  </a:lnTo>
                  <a:lnTo>
                    <a:pt x="97" y="94"/>
                  </a:lnTo>
                  <a:lnTo>
                    <a:pt x="93" y="91"/>
                  </a:lnTo>
                  <a:lnTo>
                    <a:pt x="93" y="89"/>
                  </a:lnTo>
                  <a:lnTo>
                    <a:pt x="94" y="88"/>
                  </a:lnTo>
                  <a:lnTo>
                    <a:pt x="94" y="87"/>
                  </a:lnTo>
                  <a:lnTo>
                    <a:pt x="93" y="87"/>
                  </a:lnTo>
                  <a:lnTo>
                    <a:pt x="93" y="85"/>
                  </a:lnTo>
                  <a:lnTo>
                    <a:pt x="92" y="83"/>
                  </a:lnTo>
                  <a:lnTo>
                    <a:pt x="92" y="82"/>
                  </a:lnTo>
                  <a:lnTo>
                    <a:pt x="93" y="82"/>
                  </a:lnTo>
                  <a:lnTo>
                    <a:pt x="95" y="80"/>
                  </a:lnTo>
                  <a:lnTo>
                    <a:pt x="95" y="79"/>
                  </a:lnTo>
                  <a:close/>
                  <a:moveTo>
                    <a:pt x="61" y="75"/>
                  </a:moveTo>
                  <a:lnTo>
                    <a:pt x="61" y="77"/>
                  </a:lnTo>
                  <a:lnTo>
                    <a:pt x="58" y="77"/>
                  </a:lnTo>
                  <a:lnTo>
                    <a:pt x="61" y="75"/>
                  </a:lnTo>
                  <a:close/>
                  <a:moveTo>
                    <a:pt x="0" y="69"/>
                  </a:moveTo>
                  <a:lnTo>
                    <a:pt x="2" y="69"/>
                  </a:lnTo>
                  <a:lnTo>
                    <a:pt x="1" y="70"/>
                  </a:lnTo>
                  <a:lnTo>
                    <a:pt x="0" y="70"/>
                  </a:lnTo>
                  <a:lnTo>
                    <a:pt x="0" y="69"/>
                  </a:lnTo>
                  <a:close/>
                  <a:moveTo>
                    <a:pt x="67" y="61"/>
                  </a:moveTo>
                  <a:lnTo>
                    <a:pt x="68" y="62"/>
                  </a:lnTo>
                  <a:lnTo>
                    <a:pt x="68" y="63"/>
                  </a:lnTo>
                  <a:lnTo>
                    <a:pt x="66" y="63"/>
                  </a:lnTo>
                  <a:lnTo>
                    <a:pt x="66" y="64"/>
                  </a:lnTo>
                  <a:lnTo>
                    <a:pt x="64" y="64"/>
                  </a:lnTo>
                  <a:lnTo>
                    <a:pt x="64" y="63"/>
                  </a:lnTo>
                  <a:lnTo>
                    <a:pt x="67" y="61"/>
                  </a:lnTo>
                  <a:close/>
                  <a:moveTo>
                    <a:pt x="136" y="60"/>
                  </a:moveTo>
                  <a:lnTo>
                    <a:pt x="136" y="61"/>
                  </a:lnTo>
                  <a:lnTo>
                    <a:pt x="135" y="61"/>
                  </a:lnTo>
                  <a:lnTo>
                    <a:pt x="136" y="60"/>
                  </a:lnTo>
                  <a:close/>
                  <a:moveTo>
                    <a:pt x="81" y="50"/>
                  </a:moveTo>
                  <a:lnTo>
                    <a:pt x="81" y="51"/>
                  </a:lnTo>
                  <a:lnTo>
                    <a:pt x="83" y="51"/>
                  </a:lnTo>
                  <a:lnTo>
                    <a:pt x="85" y="50"/>
                  </a:lnTo>
                  <a:lnTo>
                    <a:pt x="81" y="50"/>
                  </a:lnTo>
                  <a:close/>
                  <a:moveTo>
                    <a:pt x="73" y="37"/>
                  </a:moveTo>
                  <a:lnTo>
                    <a:pt x="74" y="38"/>
                  </a:lnTo>
                  <a:lnTo>
                    <a:pt x="73" y="38"/>
                  </a:lnTo>
                  <a:lnTo>
                    <a:pt x="73" y="37"/>
                  </a:lnTo>
                  <a:close/>
                  <a:moveTo>
                    <a:pt x="73" y="34"/>
                  </a:moveTo>
                  <a:lnTo>
                    <a:pt x="74" y="34"/>
                  </a:lnTo>
                  <a:lnTo>
                    <a:pt x="76" y="37"/>
                  </a:lnTo>
                  <a:lnTo>
                    <a:pt x="76" y="38"/>
                  </a:lnTo>
                  <a:lnTo>
                    <a:pt x="74" y="38"/>
                  </a:lnTo>
                  <a:lnTo>
                    <a:pt x="74" y="37"/>
                  </a:lnTo>
                  <a:lnTo>
                    <a:pt x="73" y="37"/>
                  </a:lnTo>
                  <a:lnTo>
                    <a:pt x="73" y="34"/>
                  </a:lnTo>
                  <a:close/>
                  <a:moveTo>
                    <a:pt x="99" y="14"/>
                  </a:moveTo>
                  <a:lnTo>
                    <a:pt x="100" y="14"/>
                  </a:lnTo>
                  <a:lnTo>
                    <a:pt x="101" y="17"/>
                  </a:lnTo>
                  <a:lnTo>
                    <a:pt x="101" y="19"/>
                  </a:lnTo>
                  <a:lnTo>
                    <a:pt x="103" y="20"/>
                  </a:lnTo>
                  <a:lnTo>
                    <a:pt x="103" y="21"/>
                  </a:lnTo>
                  <a:lnTo>
                    <a:pt x="101" y="23"/>
                  </a:lnTo>
                  <a:lnTo>
                    <a:pt x="100" y="25"/>
                  </a:lnTo>
                  <a:lnTo>
                    <a:pt x="101" y="26"/>
                  </a:lnTo>
                  <a:lnTo>
                    <a:pt x="103" y="26"/>
                  </a:lnTo>
                  <a:lnTo>
                    <a:pt x="103" y="27"/>
                  </a:lnTo>
                  <a:lnTo>
                    <a:pt x="101" y="27"/>
                  </a:lnTo>
                  <a:lnTo>
                    <a:pt x="99" y="30"/>
                  </a:lnTo>
                  <a:lnTo>
                    <a:pt x="99" y="31"/>
                  </a:lnTo>
                  <a:lnTo>
                    <a:pt x="98" y="32"/>
                  </a:lnTo>
                  <a:lnTo>
                    <a:pt x="98" y="33"/>
                  </a:lnTo>
                  <a:lnTo>
                    <a:pt x="97" y="33"/>
                  </a:lnTo>
                  <a:lnTo>
                    <a:pt x="97" y="36"/>
                  </a:lnTo>
                  <a:lnTo>
                    <a:pt x="94" y="36"/>
                  </a:lnTo>
                  <a:lnTo>
                    <a:pt x="97" y="38"/>
                  </a:lnTo>
                  <a:lnTo>
                    <a:pt x="98" y="38"/>
                  </a:lnTo>
                  <a:lnTo>
                    <a:pt x="101" y="34"/>
                  </a:lnTo>
                  <a:lnTo>
                    <a:pt x="103" y="34"/>
                  </a:lnTo>
                  <a:lnTo>
                    <a:pt x="103" y="37"/>
                  </a:lnTo>
                  <a:lnTo>
                    <a:pt x="101" y="38"/>
                  </a:lnTo>
                  <a:lnTo>
                    <a:pt x="101" y="39"/>
                  </a:lnTo>
                  <a:lnTo>
                    <a:pt x="100" y="39"/>
                  </a:lnTo>
                  <a:lnTo>
                    <a:pt x="100" y="40"/>
                  </a:lnTo>
                  <a:lnTo>
                    <a:pt x="99" y="40"/>
                  </a:lnTo>
                  <a:lnTo>
                    <a:pt x="98" y="39"/>
                  </a:lnTo>
                  <a:lnTo>
                    <a:pt x="95" y="39"/>
                  </a:lnTo>
                  <a:lnTo>
                    <a:pt x="93" y="38"/>
                  </a:lnTo>
                  <a:lnTo>
                    <a:pt x="94" y="40"/>
                  </a:lnTo>
                  <a:lnTo>
                    <a:pt x="94" y="44"/>
                  </a:lnTo>
                  <a:lnTo>
                    <a:pt x="91" y="44"/>
                  </a:lnTo>
                  <a:lnTo>
                    <a:pt x="89" y="46"/>
                  </a:lnTo>
                  <a:lnTo>
                    <a:pt x="88" y="46"/>
                  </a:lnTo>
                  <a:lnTo>
                    <a:pt x="87" y="48"/>
                  </a:lnTo>
                  <a:lnTo>
                    <a:pt x="83" y="48"/>
                  </a:lnTo>
                  <a:lnTo>
                    <a:pt x="83" y="49"/>
                  </a:lnTo>
                  <a:lnTo>
                    <a:pt x="85" y="49"/>
                  </a:lnTo>
                  <a:lnTo>
                    <a:pt x="91" y="48"/>
                  </a:lnTo>
                  <a:lnTo>
                    <a:pt x="92" y="46"/>
                  </a:lnTo>
                  <a:lnTo>
                    <a:pt x="93" y="46"/>
                  </a:lnTo>
                  <a:lnTo>
                    <a:pt x="93" y="48"/>
                  </a:lnTo>
                  <a:lnTo>
                    <a:pt x="94" y="49"/>
                  </a:lnTo>
                  <a:lnTo>
                    <a:pt x="94" y="51"/>
                  </a:lnTo>
                  <a:lnTo>
                    <a:pt x="95" y="51"/>
                  </a:lnTo>
                  <a:lnTo>
                    <a:pt x="93" y="54"/>
                  </a:lnTo>
                  <a:lnTo>
                    <a:pt x="93" y="55"/>
                  </a:lnTo>
                  <a:lnTo>
                    <a:pt x="92" y="55"/>
                  </a:lnTo>
                  <a:lnTo>
                    <a:pt x="88" y="54"/>
                  </a:lnTo>
                  <a:lnTo>
                    <a:pt x="87" y="54"/>
                  </a:lnTo>
                  <a:lnTo>
                    <a:pt x="87" y="55"/>
                  </a:lnTo>
                  <a:lnTo>
                    <a:pt x="88" y="55"/>
                  </a:lnTo>
                  <a:lnTo>
                    <a:pt x="91" y="57"/>
                  </a:lnTo>
                  <a:lnTo>
                    <a:pt x="89" y="58"/>
                  </a:lnTo>
                  <a:lnTo>
                    <a:pt x="89" y="60"/>
                  </a:lnTo>
                  <a:lnTo>
                    <a:pt x="87" y="60"/>
                  </a:lnTo>
                  <a:lnTo>
                    <a:pt x="87" y="61"/>
                  </a:lnTo>
                  <a:lnTo>
                    <a:pt x="86" y="62"/>
                  </a:lnTo>
                  <a:lnTo>
                    <a:pt x="85" y="61"/>
                  </a:lnTo>
                  <a:lnTo>
                    <a:pt x="85" y="60"/>
                  </a:lnTo>
                  <a:lnTo>
                    <a:pt x="83" y="58"/>
                  </a:lnTo>
                  <a:lnTo>
                    <a:pt x="83" y="62"/>
                  </a:lnTo>
                  <a:lnTo>
                    <a:pt x="81" y="60"/>
                  </a:lnTo>
                  <a:lnTo>
                    <a:pt x="80" y="57"/>
                  </a:lnTo>
                  <a:lnTo>
                    <a:pt x="80" y="52"/>
                  </a:lnTo>
                  <a:lnTo>
                    <a:pt x="78" y="55"/>
                  </a:lnTo>
                  <a:lnTo>
                    <a:pt x="79" y="57"/>
                  </a:lnTo>
                  <a:lnTo>
                    <a:pt x="81" y="60"/>
                  </a:lnTo>
                  <a:lnTo>
                    <a:pt x="81" y="61"/>
                  </a:lnTo>
                  <a:lnTo>
                    <a:pt x="80" y="61"/>
                  </a:lnTo>
                  <a:lnTo>
                    <a:pt x="82" y="63"/>
                  </a:lnTo>
                  <a:lnTo>
                    <a:pt x="82" y="64"/>
                  </a:lnTo>
                  <a:lnTo>
                    <a:pt x="79" y="63"/>
                  </a:lnTo>
                  <a:lnTo>
                    <a:pt x="76" y="63"/>
                  </a:lnTo>
                  <a:lnTo>
                    <a:pt x="76" y="64"/>
                  </a:lnTo>
                  <a:lnTo>
                    <a:pt x="79" y="67"/>
                  </a:lnTo>
                  <a:lnTo>
                    <a:pt x="79" y="68"/>
                  </a:lnTo>
                  <a:lnTo>
                    <a:pt x="78" y="69"/>
                  </a:lnTo>
                  <a:lnTo>
                    <a:pt x="76" y="69"/>
                  </a:lnTo>
                  <a:lnTo>
                    <a:pt x="74" y="68"/>
                  </a:lnTo>
                  <a:lnTo>
                    <a:pt x="74" y="72"/>
                  </a:lnTo>
                  <a:lnTo>
                    <a:pt x="73" y="72"/>
                  </a:lnTo>
                  <a:lnTo>
                    <a:pt x="73" y="73"/>
                  </a:lnTo>
                  <a:lnTo>
                    <a:pt x="72" y="74"/>
                  </a:lnTo>
                  <a:lnTo>
                    <a:pt x="69" y="75"/>
                  </a:lnTo>
                  <a:lnTo>
                    <a:pt x="69" y="76"/>
                  </a:lnTo>
                  <a:lnTo>
                    <a:pt x="68" y="76"/>
                  </a:lnTo>
                  <a:lnTo>
                    <a:pt x="67" y="73"/>
                  </a:lnTo>
                  <a:lnTo>
                    <a:pt x="66" y="73"/>
                  </a:lnTo>
                  <a:lnTo>
                    <a:pt x="63" y="70"/>
                  </a:lnTo>
                  <a:lnTo>
                    <a:pt x="63" y="69"/>
                  </a:lnTo>
                  <a:lnTo>
                    <a:pt x="62" y="68"/>
                  </a:lnTo>
                  <a:lnTo>
                    <a:pt x="64" y="68"/>
                  </a:lnTo>
                  <a:lnTo>
                    <a:pt x="64" y="69"/>
                  </a:lnTo>
                  <a:lnTo>
                    <a:pt x="68" y="67"/>
                  </a:lnTo>
                  <a:lnTo>
                    <a:pt x="68" y="66"/>
                  </a:lnTo>
                  <a:lnTo>
                    <a:pt x="72" y="66"/>
                  </a:lnTo>
                  <a:lnTo>
                    <a:pt x="69" y="63"/>
                  </a:lnTo>
                  <a:lnTo>
                    <a:pt x="72" y="62"/>
                  </a:lnTo>
                  <a:lnTo>
                    <a:pt x="74" y="62"/>
                  </a:lnTo>
                  <a:lnTo>
                    <a:pt x="74" y="60"/>
                  </a:lnTo>
                  <a:lnTo>
                    <a:pt x="72" y="60"/>
                  </a:lnTo>
                  <a:lnTo>
                    <a:pt x="70" y="58"/>
                  </a:lnTo>
                  <a:lnTo>
                    <a:pt x="66" y="58"/>
                  </a:lnTo>
                  <a:lnTo>
                    <a:pt x="66" y="57"/>
                  </a:lnTo>
                  <a:lnTo>
                    <a:pt x="64" y="57"/>
                  </a:lnTo>
                  <a:lnTo>
                    <a:pt x="63" y="56"/>
                  </a:lnTo>
                  <a:lnTo>
                    <a:pt x="63" y="55"/>
                  </a:lnTo>
                  <a:lnTo>
                    <a:pt x="64" y="55"/>
                  </a:lnTo>
                  <a:lnTo>
                    <a:pt x="64" y="54"/>
                  </a:lnTo>
                  <a:lnTo>
                    <a:pt x="66" y="54"/>
                  </a:lnTo>
                  <a:lnTo>
                    <a:pt x="66" y="52"/>
                  </a:lnTo>
                  <a:lnTo>
                    <a:pt x="68" y="52"/>
                  </a:lnTo>
                  <a:lnTo>
                    <a:pt x="70" y="50"/>
                  </a:lnTo>
                  <a:lnTo>
                    <a:pt x="67" y="51"/>
                  </a:lnTo>
                  <a:lnTo>
                    <a:pt x="66" y="51"/>
                  </a:lnTo>
                  <a:lnTo>
                    <a:pt x="66" y="50"/>
                  </a:lnTo>
                  <a:lnTo>
                    <a:pt x="67" y="49"/>
                  </a:lnTo>
                  <a:lnTo>
                    <a:pt x="64" y="50"/>
                  </a:lnTo>
                  <a:lnTo>
                    <a:pt x="63" y="48"/>
                  </a:lnTo>
                  <a:lnTo>
                    <a:pt x="63" y="45"/>
                  </a:lnTo>
                  <a:lnTo>
                    <a:pt x="62" y="45"/>
                  </a:lnTo>
                  <a:lnTo>
                    <a:pt x="62" y="44"/>
                  </a:lnTo>
                  <a:lnTo>
                    <a:pt x="63" y="43"/>
                  </a:lnTo>
                  <a:lnTo>
                    <a:pt x="63" y="40"/>
                  </a:lnTo>
                  <a:lnTo>
                    <a:pt x="66" y="40"/>
                  </a:lnTo>
                  <a:lnTo>
                    <a:pt x="67" y="39"/>
                  </a:lnTo>
                  <a:lnTo>
                    <a:pt x="66" y="39"/>
                  </a:lnTo>
                  <a:lnTo>
                    <a:pt x="66" y="36"/>
                  </a:lnTo>
                  <a:lnTo>
                    <a:pt x="67" y="36"/>
                  </a:lnTo>
                  <a:lnTo>
                    <a:pt x="68" y="37"/>
                  </a:lnTo>
                  <a:lnTo>
                    <a:pt x="72" y="37"/>
                  </a:lnTo>
                  <a:lnTo>
                    <a:pt x="72" y="38"/>
                  </a:lnTo>
                  <a:lnTo>
                    <a:pt x="70" y="38"/>
                  </a:lnTo>
                  <a:lnTo>
                    <a:pt x="70" y="39"/>
                  </a:lnTo>
                  <a:lnTo>
                    <a:pt x="72" y="40"/>
                  </a:lnTo>
                  <a:lnTo>
                    <a:pt x="72" y="43"/>
                  </a:lnTo>
                  <a:lnTo>
                    <a:pt x="73" y="44"/>
                  </a:lnTo>
                  <a:lnTo>
                    <a:pt x="73" y="45"/>
                  </a:lnTo>
                  <a:lnTo>
                    <a:pt x="74" y="46"/>
                  </a:lnTo>
                  <a:lnTo>
                    <a:pt x="74" y="44"/>
                  </a:lnTo>
                  <a:lnTo>
                    <a:pt x="73" y="44"/>
                  </a:lnTo>
                  <a:lnTo>
                    <a:pt x="73" y="39"/>
                  </a:lnTo>
                  <a:lnTo>
                    <a:pt x="75" y="39"/>
                  </a:lnTo>
                  <a:lnTo>
                    <a:pt x="76" y="38"/>
                  </a:lnTo>
                  <a:lnTo>
                    <a:pt x="79" y="40"/>
                  </a:lnTo>
                  <a:lnTo>
                    <a:pt x="79" y="42"/>
                  </a:lnTo>
                  <a:lnTo>
                    <a:pt x="80" y="39"/>
                  </a:lnTo>
                  <a:lnTo>
                    <a:pt x="79" y="39"/>
                  </a:lnTo>
                  <a:lnTo>
                    <a:pt x="79" y="38"/>
                  </a:lnTo>
                  <a:lnTo>
                    <a:pt x="78" y="37"/>
                  </a:lnTo>
                  <a:lnTo>
                    <a:pt x="76" y="37"/>
                  </a:lnTo>
                  <a:lnTo>
                    <a:pt x="76" y="34"/>
                  </a:lnTo>
                  <a:lnTo>
                    <a:pt x="75" y="34"/>
                  </a:lnTo>
                  <a:lnTo>
                    <a:pt x="75" y="33"/>
                  </a:lnTo>
                  <a:lnTo>
                    <a:pt x="76" y="33"/>
                  </a:lnTo>
                  <a:lnTo>
                    <a:pt x="76" y="32"/>
                  </a:lnTo>
                  <a:lnTo>
                    <a:pt x="75" y="32"/>
                  </a:lnTo>
                  <a:lnTo>
                    <a:pt x="80" y="27"/>
                  </a:lnTo>
                  <a:lnTo>
                    <a:pt x="82" y="27"/>
                  </a:lnTo>
                  <a:lnTo>
                    <a:pt x="83" y="26"/>
                  </a:lnTo>
                  <a:lnTo>
                    <a:pt x="86" y="25"/>
                  </a:lnTo>
                  <a:lnTo>
                    <a:pt x="87" y="25"/>
                  </a:lnTo>
                  <a:lnTo>
                    <a:pt x="88" y="24"/>
                  </a:lnTo>
                  <a:lnTo>
                    <a:pt x="95" y="18"/>
                  </a:lnTo>
                  <a:lnTo>
                    <a:pt x="99" y="14"/>
                  </a:lnTo>
                  <a:close/>
                  <a:moveTo>
                    <a:pt x="221" y="0"/>
                  </a:moveTo>
                  <a:lnTo>
                    <a:pt x="222" y="1"/>
                  </a:lnTo>
                  <a:lnTo>
                    <a:pt x="222" y="2"/>
                  </a:lnTo>
                  <a:lnTo>
                    <a:pt x="227" y="2"/>
                  </a:lnTo>
                  <a:lnTo>
                    <a:pt x="228" y="1"/>
                  </a:lnTo>
                  <a:lnTo>
                    <a:pt x="230" y="3"/>
                  </a:lnTo>
                  <a:lnTo>
                    <a:pt x="231" y="3"/>
                  </a:lnTo>
                  <a:lnTo>
                    <a:pt x="234" y="2"/>
                  </a:lnTo>
                  <a:lnTo>
                    <a:pt x="236" y="3"/>
                  </a:lnTo>
                  <a:lnTo>
                    <a:pt x="235" y="5"/>
                  </a:lnTo>
                  <a:lnTo>
                    <a:pt x="235" y="8"/>
                  </a:lnTo>
                  <a:lnTo>
                    <a:pt x="234" y="8"/>
                  </a:lnTo>
                  <a:lnTo>
                    <a:pt x="234" y="9"/>
                  </a:lnTo>
                  <a:lnTo>
                    <a:pt x="231" y="12"/>
                  </a:lnTo>
                  <a:lnTo>
                    <a:pt x="231" y="15"/>
                  </a:lnTo>
                  <a:lnTo>
                    <a:pt x="232" y="17"/>
                  </a:lnTo>
                  <a:lnTo>
                    <a:pt x="234" y="17"/>
                  </a:lnTo>
                  <a:lnTo>
                    <a:pt x="234" y="19"/>
                  </a:lnTo>
                  <a:lnTo>
                    <a:pt x="232" y="21"/>
                  </a:lnTo>
                  <a:lnTo>
                    <a:pt x="231" y="25"/>
                  </a:lnTo>
                  <a:lnTo>
                    <a:pt x="229" y="29"/>
                  </a:lnTo>
                  <a:lnTo>
                    <a:pt x="227" y="31"/>
                  </a:lnTo>
                  <a:lnTo>
                    <a:pt x="225" y="31"/>
                  </a:lnTo>
                  <a:lnTo>
                    <a:pt x="222" y="33"/>
                  </a:lnTo>
                  <a:lnTo>
                    <a:pt x="221" y="33"/>
                  </a:lnTo>
                  <a:lnTo>
                    <a:pt x="217" y="37"/>
                  </a:lnTo>
                  <a:lnTo>
                    <a:pt x="217" y="39"/>
                  </a:lnTo>
                  <a:lnTo>
                    <a:pt x="215" y="42"/>
                  </a:lnTo>
                  <a:lnTo>
                    <a:pt x="205" y="49"/>
                  </a:lnTo>
                  <a:lnTo>
                    <a:pt x="203" y="51"/>
                  </a:lnTo>
                  <a:lnTo>
                    <a:pt x="201" y="51"/>
                  </a:lnTo>
                  <a:lnTo>
                    <a:pt x="201" y="52"/>
                  </a:lnTo>
                  <a:lnTo>
                    <a:pt x="200" y="54"/>
                  </a:lnTo>
                  <a:lnTo>
                    <a:pt x="200" y="55"/>
                  </a:lnTo>
                  <a:lnTo>
                    <a:pt x="199" y="56"/>
                  </a:lnTo>
                  <a:lnTo>
                    <a:pt x="198" y="56"/>
                  </a:lnTo>
                  <a:lnTo>
                    <a:pt x="196" y="57"/>
                  </a:lnTo>
                  <a:lnTo>
                    <a:pt x="194" y="58"/>
                  </a:lnTo>
                  <a:lnTo>
                    <a:pt x="194" y="60"/>
                  </a:lnTo>
                  <a:lnTo>
                    <a:pt x="193" y="60"/>
                  </a:lnTo>
                  <a:lnTo>
                    <a:pt x="193" y="58"/>
                  </a:lnTo>
                  <a:lnTo>
                    <a:pt x="192" y="58"/>
                  </a:lnTo>
                  <a:lnTo>
                    <a:pt x="191" y="57"/>
                  </a:lnTo>
                  <a:lnTo>
                    <a:pt x="191" y="60"/>
                  </a:lnTo>
                  <a:lnTo>
                    <a:pt x="193" y="60"/>
                  </a:lnTo>
                  <a:lnTo>
                    <a:pt x="193" y="61"/>
                  </a:lnTo>
                  <a:lnTo>
                    <a:pt x="194" y="61"/>
                  </a:lnTo>
                  <a:lnTo>
                    <a:pt x="194" y="63"/>
                  </a:lnTo>
                  <a:lnTo>
                    <a:pt x="193" y="64"/>
                  </a:lnTo>
                  <a:lnTo>
                    <a:pt x="194" y="66"/>
                  </a:lnTo>
                  <a:lnTo>
                    <a:pt x="193" y="66"/>
                  </a:lnTo>
                  <a:lnTo>
                    <a:pt x="192" y="64"/>
                  </a:lnTo>
                  <a:lnTo>
                    <a:pt x="191" y="64"/>
                  </a:lnTo>
                  <a:lnTo>
                    <a:pt x="191" y="66"/>
                  </a:lnTo>
                  <a:lnTo>
                    <a:pt x="190" y="66"/>
                  </a:lnTo>
                  <a:lnTo>
                    <a:pt x="190" y="67"/>
                  </a:lnTo>
                  <a:lnTo>
                    <a:pt x="188" y="67"/>
                  </a:lnTo>
                  <a:lnTo>
                    <a:pt x="186" y="66"/>
                  </a:lnTo>
                  <a:lnTo>
                    <a:pt x="185" y="64"/>
                  </a:lnTo>
                  <a:lnTo>
                    <a:pt x="181" y="66"/>
                  </a:lnTo>
                  <a:lnTo>
                    <a:pt x="179" y="63"/>
                  </a:lnTo>
                  <a:lnTo>
                    <a:pt x="179" y="62"/>
                  </a:lnTo>
                  <a:lnTo>
                    <a:pt x="178" y="62"/>
                  </a:lnTo>
                  <a:lnTo>
                    <a:pt x="180" y="66"/>
                  </a:lnTo>
                  <a:lnTo>
                    <a:pt x="181" y="67"/>
                  </a:lnTo>
                  <a:lnTo>
                    <a:pt x="182" y="67"/>
                  </a:lnTo>
                  <a:lnTo>
                    <a:pt x="185" y="66"/>
                  </a:lnTo>
                  <a:lnTo>
                    <a:pt x="187" y="68"/>
                  </a:lnTo>
                  <a:lnTo>
                    <a:pt x="188" y="68"/>
                  </a:lnTo>
                  <a:lnTo>
                    <a:pt x="188" y="67"/>
                  </a:lnTo>
                  <a:lnTo>
                    <a:pt x="191" y="69"/>
                  </a:lnTo>
                  <a:lnTo>
                    <a:pt x="192" y="69"/>
                  </a:lnTo>
                  <a:lnTo>
                    <a:pt x="194" y="67"/>
                  </a:lnTo>
                  <a:lnTo>
                    <a:pt x="197" y="68"/>
                  </a:lnTo>
                  <a:lnTo>
                    <a:pt x="197" y="69"/>
                  </a:lnTo>
                  <a:lnTo>
                    <a:pt x="198" y="70"/>
                  </a:lnTo>
                  <a:lnTo>
                    <a:pt x="203" y="66"/>
                  </a:lnTo>
                  <a:lnTo>
                    <a:pt x="204" y="67"/>
                  </a:lnTo>
                  <a:lnTo>
                    <a:pt x="204" y="68"/>
                  </a:lnTo>
                  <a:lnTo>
                    <a:pt x="203" y="68"/>
                  </a:lnTo>
                  <a:lnTo>
                    <a:pt x="197" y="76"/>
                  </a:lnTo>
                  <a:lnTo>
                    <a:pt x="196" y="79"/>
                  </a:lnTo>
                  <a:lnTo>
                    <a:pt x="193" y="79"/>
                  </a:lnTo>
                  <a:lnTo>
                    <a:pt x="193" y="76"/>
                  </a:lnTo>
                  <a:lnTo>
                    <a:pt x="192" y="75"/>
                  </a:lnTo>
                  <a:lnTo>
                    <a:pt x="191" y="76"/>
                  </a:lnTo>
                  <a:lnTo>
                    <a:pt x="187" y="79"/>
                  </a:lnTo>
                  <a:lnTo>
                    <a:pt x="187" y="80"/>
                  </a:lnTo>
                  <a:lnTo>
                    <a:pt x="181" y="80"/>
                  </a:lnTo>
                  <a:lnTo>
                    <a:pt x="181" y="82"/>
                  </a:lnTo>
                  <a:lnTo>
                    <a:pt x="180" y="82"/>
                  </a:lnTo>
                  <a:lnTo>
                    <a:pt x="180" y="83"/>
                  </a:lnTo>
                  <a:lnTo>
                    <a:pt x="178" y="86"/>
                  </a:lnTo>
                  <a:lnTo>
                    <a:pt x="176" y="86"/>
                  </a:lnTo>
                  <a:lnTo>
                    <a:pt x="176" y="88"/>
                  </a:lnTo>
                  <a:lnTo>
                    <a:pt x="178" y="87"/>
                  </a:lnTo>
                  <a:lnTo>
                    <a:pt x="179" y="87"/>
                  </a:lnTo>
                  <a:lnTo>
                    <a:pt x="179" y="86"/>
                  </a:lnTo>
                  <a:lnTo>
                    <a:pt x="180" y="85"/>
                  </a:lnTo>
                  <a:lnTo>
                    <a:pt x="182" y="83"/>
                  </a:lnTo>
                  <a:lnTo>
                    <a:pt x="184" y="81"/>
                  </a:lnTo>
                  <a:lnTo>
                    <a:pt x="187" y="81"/>
                  </a:lnTo>
                  <a:lnTo>
                    <a:pt x="190" y="82"/>
                  </a:lnTo>
                  <a:lnTo>
                    <a:pt x="191" y="81"/>
                  </a:lnTo>
                  <a:lnTo>
                    <a:pt x="193" y="80"/>
                  </a:lnTo>
                  <a:lnTo>
                    <a:pt x="194" y="80"/>
                  </a:lnTo>
                  <a:lnTo>
                    <a:pt x="193" y="82"/>
                  </a:lnTo>
                  <a:lnTo>
                    <a:pt x="191" y="85"/>
                  </a:lnTo>
                  <a:lnTo>
                    <a:pt x="190" y="87"/>
                  </a:lnTo>
                  <a:lnTo>
                    <a:pt x="190" y="88"/>
                  </a:lnTo>
                  <a:lnTo>
                    <a:pt x="187" y="88"/>
                  </a:lnTo>
                  <a:lnTo>
                    <a:pt x="186" y="89"/>
                  </a:lnTo>
                  <a:lnTo>
                    <a:pt x="187" y="91"/>
                  </a:lnTo>
                  <a:lnTo>
                    <a:pt x="185" y="91"/>
                  </a:lnTo>
                  <a:lnTo>
                    <a:pt x="186" y="92"/>
                  </a:lnTo>
                  <a:lnTo>
                    <a:pt x="184" y="94"/>
                  </a:lnTo>
                  <a:lnTo>
                    <a:pt x="185" y="95"/>
                  </a:lnTo>
                  <a:lnTo>
                    <a:pt x="186" y="95"/>
                  </a:lnTo>
                  <a:lnTo>
                    <a:pt x="188" y="93"/>
                  </a:lnTo>
                  <a:lnTo>
                    <a:pt x="190" y="93"/>
                  </a:lnTo>
                  <a:lnTo>
                    <a:pt x="190" y="92"/>
                  </a:lnTo>
                  <a:lnTo>
                    <a:pt x="191" y="91"/>
                  </a:lnTo>
                  <a:lnTo>
                    <a:pt x="192" y="91"/>
                  </a:lnTo>
                  <a:lnTo>
                    <a:pt x="193" y="89"/>
                  </a:lnTo>
                  <a:lnTo>
                    <a:pt x="192" y="89"/>
                  </a:lnTo>
                  <a:lnTo>
                    <a:pt x="191" y="87"/>
                  </a:lnTo>
                  <a:lnTo>
                    <a:pt x="201" y="87"/>
                  </a:lnTo>
                  <a:lnTo>
                    <a:pt x="207" y="82"/>
                  </a:lnTo>
                  <a:lnTo>
                    <a:pt x="210" y="81"/>
                  </a:lnTo>
                  <a:lnTo>
                    <a:pt x="210" y="82"/>
                  </a:lnTo>
                  <a:lnTo>
                    <a:pt x="209" y="83"/>
                  </a:lnTo>
                  <a:lnTo>
                    <a:pt x="211" y="83"/>
                  </a:lnTo>
                  <a:lnTo>
                    <a:pt x="211" y="81"/>
                  </a:lnTo>
                  <a:lnTo>
                    <a:pt x="212" y="81"/>
                  </a:lnTo>
                  <a:lnTo>
                    <a:pt x="213" y="82"/>
                  </a:lnTo>
                  <a:lnTo>
                    <a:pt x="213" y="81"/>
                  </a:lnTo>
                  <a:lnTo>
                    <a:pt x="215" y="81"/>
                  </a:lnTo>
                  <a:lnTo>
                    <a:pt x="215" y="80"/>
                  </a:lnTo>
                  <a:lnTo>
                    <a:pt x="216" y="79"/>
                  </a:lnTo>
                  <a:lnTo>
                    <a:pt x="216" y="77"/>
                  </a:lnTo>
                  <a:lnTo>
                    <a:pt x="217" y="77"/>
                  </a:lnTo>
                  <a:lnTo>
                    <a:pt x="218" y="76"/>
                  </a:lnTo>
                  <a:lnTo>
                    <a:pt x="219" y="76"/>
                  </a:lnTo>
                  <a:lnTo>
                    <a:pt x="224" y="77"/>
                  </a:lnTo>
                  <a:lnTo>
                    <a:pt x="228" y="79"/>
                  </a:lnTo>
                  <a:lnTo>
                    <a:pt x="232" y="81"/>
                  </a:lnTo>
                  <a:lnTo>
                    <a:pt x="236" y="81"/>
                  </a:lnTo>
                  <a:lnTo>
                    <a:pt x="240" y="79"/>
                  </a:lnTo>
                  <a:lnTo>
                    <a:pt x="247" y="79"/>
                  </a:lnTo>
                  <a:lnTo>
                    <a:pt x="247" y="80"/>
                  </a:lnTo>
                  <a:lnTo>
                    <a:pt x="248" y="80"/>
                  </a:lnTo>
                  <a:lnTo>
                    <a:pt x="248" y="79"/>
                  </a:lnTo>
                  <a:lnTo>
                    <a:pt x="249" y="79"/>
                  </a:lnTo>
                  <a:lnTo>
                    <a:pt x="249" y="80"/>
                  </a:lnTo>
                  <a:lnTo>
                    <a:pt x="250" y="79"/>
                  </a:lnTo>
                  <a:lnTo>
                    <a:pt x="254" y="80"/>
                  </a:lnTo>
                  <a:lnTo>
                    <a:pt x="255" y="80"/>
                  </a:lnTo>
                  <a:lnTo>
                    <a:pt x="256" y="81"/>
                  </a:lnTo>
                  <a:lnTo>
                    <a:pt x="257" y="80"/>
                  </a:lnTo>
                  <a:lnTo>
                    <a:pt x="259" y="80"/>
                  </a:lnTo>
                  <a:lnTo>
                    <a:pt x="260" y="81"/>
                  </a:lnTo>
                  <a:lnTo>
                    <a:pt x="262" y="81"/>
                  </a:lnTo>
                  <a:lnTo>
                    <a:pt x="263" y="80"/>
                  </a:lnTo>
                  <a:lnTo>
                    <a:pt x="265" y="81"/>
                  </a:lnTo>
                  <a:lnTo>
                    <a:pt x="265" y="80"/>
                  </a:lnTo>
                  <a:lnTo>
                    <a:pt x="266" y="80"/>
                  </a:lnTo>
                  <a:lnTo>
                    <a:pt x="266" y="79"/>
                  </a:lnTo>
                  <a:lnTo>
                    <a:pt x="267" y="79"/>
                  </a:lnTo>
                  <a:lnTo>
                    <a:pt x="269" y="80"/>
                  </a:lnTo>
                  <a:lnTo>
                    <a:pt x="269" y="81"/>
                  </a:lnTo>
                  <a:lnTo>
                    <a:pt x="271" y="80"/>
                  </a:lnTo>
                  <a:lnTo>
                    <a:pt x="273" y="79"/>
                  </a:lnTo>
                  <a:lnTo>
                    <a:pt x="279" y="79"/>
                  </a:lnTo>
                  <a:lnTo>
                    <a:pt x="279" y="80"/>
                  </a:lnTo>
                  <a:lnTo>
                    <a:pt x="280" y="81"/>
                  </a:lnTo>
                  <a:lnTo>
                    <a:pt x="281" y="80"/>
                  </a:lnTo>
                  <a:lnTo>
                    <a:pt x="283" y="81"/>
                  </a:lnTo>
                  <a:lnTo>
                    <a:pt x="286" y="86"/>
                  </a:lnTo>
                  <a:lnTo>
                    <a:pt x="286" y="89"/>
                  </a:lnTo>
                  <a:lnTo>
                    <a:pt x="287" y="91"/>
                  </a:lnTo>
                  <a:lnTo>
                    <a:pt x="287" y="93"/>
                  </a:lnTo>
                  <a:lnTo>
                    <a:pt x="288" y="94"/>
                  </a:lnTo>
                  <a:lnTo>
                    <a:pt x="287" y="95"/>
                  </a:lnTo>
                  <a:lnTo>
                    <a:pt x="288" y="97"/>
                  </a:lnTo>
                  <a:lnTo>
                    <a:pt x="287" y="98"/>
                  </a:lnTo>
                  <a:lnTo>
                    <a:pt x="286" y="100"/>
                  </a:lnTo>
                  <a:lnTo>
                    <a:pt x="285" y="101"/>
                  </a:lnTo>
                  <a:lnTo>
                    <a:pt x="285" y="103"/>
                  </a:lnTo>
                  <a:lnTo>
                    <a:pt x="279" y="109"/>
                  </a:lnTo>
                  <a:lnTo>
                    <a:pt x="275" y="119"/>
                  </a:lnTo>
                  <a:lnTo>
                    <a:pt x="275" y="123"/>
                  </a:lnTo>
                  <a:lnTo>
                    <a:pt x="277" y="123"/>
                  </a:lnTo>
                  <a:lnTo>
                    <a:pt x="277" y="124"/>
                  </a:lnTo>
                  <a:lnTo>
                    <a:pt x="275" y="125"/>
                  </a:lnTo>
                  <a:lnTo>
                    <a:pt x="272" y="131"/>
                  </a:lnTo>
                  <a:lnTo>
                    <a:pt x="271" y="135"/>
                  </a:lnTo>
                  <a:lnTo>
                    <a:pt x="271" y="141"/>
                  </a:lnTo>
                  <a:lnTo>
                    <a:pt x="269" y="142"/>
                  </a:lnTo>
                  <a:lnTo>
                    <a:pt x="269" y="143"/>
                  </a:lnTo>
                  <a:lnTo>
                    <a:pt x="266" y="147"/>
                  </a:lnTo>
                  <a:lnTo>
                    <a:pt x="265" y="149"/>
                  </a:lnTo>
                  <a:lnTo>
                    <a:pt x="262" y="152"/>
                  </a:lnTo>
                  <a:lnTo>
                    <a:pt x="261" y="152"/>
                  </a:lnTo>
                  <a:lnTo>
                    <a:pt x="261" y="153"/>
                  </a:lnTo>
                  <a:lnTo>
                    <a:pt x="260" y="154"/>
                  </a:lnTo>
                  <a:lnTo>
                    <a:pt x="260" y="158"/>
                  </a:lnTo>
                  <a:lnTo>
                    <a:pt x="259" y="158"/>
                  </a:lnTo>
                  <a:lnTo>
                    <a:pt x="259" y="159"/>
                  </a:lnTo>
                  <a:lnTo>
                    <a:pt x="257" y="160"/>
                  </a:lnTo>
                  <a:lnTo>
                    <a:pt x="257" y="161"/>
                  </a:lnTo>
                  <a:lnTo>
                    <a:pt x="259" y="161"/>
                  </a:lnTo>
                  <a:lnTo>
                    <a:pt x="259" y="162"/>
                  </a:lnTo>
                  <a:lnTo>
                    <a:pt x="257" y="162"/>
                  </a:lnTo>
                  <a:lnTo>
                    <a:pt x="257" y="163"/>
                  </a:lnTo>
                  <a:lnTo>
                    <a:pt x="256" y="165"/>
                  </a:lnTo>
                  <a:lnTo>
                    <a:pt x="256" y="166"/>
                  </a:lnTo>
                  <a:lnTo>
                    <a:pt x="253" y="168"/>
                  </a:lnTo>
                  <a:lnTo>
                    <a:pt x="252" y="171"/>
                  </a:lnTo>
                  <a:lnTo>
                    <a:pt x="250" y="171"/>
                  </a:lnTo>
                  <a:lnTo>
                    <a:pt x="249" y="172"/>
                  </a:lnTo>
                  <a:lnTo>
                    <a:pt x="248" y="174"/>
                  </a:lnTo>
                  <a:lnTo>
                    <a:pt x="244" y="174"/>
                  </a:lnTo>
                  <a:lnTo>
                    <a:pt x="234" y="175"/>
                  </a:lnTo>
                  <a:lnTo>
                    <a:pt x="231" y="178"/>
                  </a:lnTo>
                  <a:lnTo>
                    <a:pt x="227" y="181"/>
                  </a:lnTo>
                  <a:lnTo>
                    <a:pt x="224" y="183"/>
                  </a:lnTo>
                  <a:lnTo>
                    <a:pt x="227" y="183"/>
                  </a:lnTo>
                  <a:lnTo>
                    <a:pt x="229" y="181"/>
                  </a:lnTo>
                  <a:lnTo>
                    <a:pt x="230" y="181"/>
                  </a:lnTo>
                  <a:lnTo>
                    <a:pt x="238" y="177"/>
                  </a:lnTo>
                  <a:lnTo>
                    <a:pt x="240" y="175"/>
                  </a:lnTo>
                  <a:lnTo>
                    <a:pt x="242" y="175"/>
                  </a:lnTo>
                  <a:lnTo>
                    <a:pt x="243" y="177"/>
                  </a:lnTo>
                  <a:lnTo>
                    <a:pt x="244" y="177"/>
                  </a:lnTo>
                  <a:lnTo>
                    <a:pt x="244" y="181"/>
                  </a:lnTo>
                  <a:lnTo>
                    <a:pt x="243" y="183"/>
                  </a:lnTo>
                  <a:lnTo>
                    <a:pt x="244" y="183"/>
                  </a:lnTo>
                  <a:lnTo>
                    <a:pt x="244" y="184"/>
                  </a:lnTo>
                  <a:lnTo>
                    <a:pt x="246" y="184"/>
                  </a:lnTo>
                  <a:lnTo>
                    <a:pt x="246" y="185"/>
                  </a:lnTo>
                  <a:lnTo>
                    <a:pt x="250" y="185"/>
                  </a:lnTo>
                  <a:lnTo>
                    <a:pt x="253" y="186"/>
                  </a:lnTo>
                  <a:lnTo>
                    <a:pt x="253" y="187"/>
                  </a:lnTo>
                  <a:lnTo>
                    <a:pt x="254" y="189"/>
                  </a:lnTo>
                  <a:lnTo>
                    <a:pt x="252" y="191"/>
                  </a:lnTo>
                  <a:lnTo>
                    <a:pt x="252" y="192"/>
                  </a:lnTo>
                  <a:lnTo>
                    <a:pt x="250" y="193"/>
                  </a:lnTo>
                  <a:lnTo>
                    <a:pt x="248" y="193"/>
                  </a:lnTo>
                  <a:lnTo>
                    <a:pt x="246" y="196"/>
                  </a:lnTo>
                  <a:lnTo>
                    <a:pt x="243" y="196"/>
                  </a:lnTo>
                  <a:lnTo>
                    <a:pt x="238" y="193"/>
                  </a:lnTo>
                  <a:lnTo>
                    <a:pt x="238" y="195"/>
                  </a:lnTo>
                  <a:lnTo>
                    <a:pt x="237" y="195"/>
                  </a:lnTo>
                  <a:lnTo>
                    <a:pt x="237" y="196"/>
                  </a:lnTo>
                  <a:lnTo>
                    <a:pt x="235" y="197"/>
                  </a:lnTo>
                  <a:lnTo>
                    <a:pt x="230" y="202"/>
                  </a:lnTo>
                  <a:lnTo>
                    <a:pt x="230" y="204"/>
                  </a:lnTo>
                  <a:lnTo>
                    <a:pt x="229" y="205"/>
                  </a:lnTo>
                  <a:lnTo>
                    <a:pt x="225" y="205"/>
                  </a:lnTo>
                  <a:lnTo>
                    <a:pt x="225" y="206"/>
                  </a:lnTo>
                  <a:lnTo>
                    <a:pt x="224" y="206"/>
                  </a:lnTo>
                  <a:lnTo>
                    <a:pt x="222" y="208"/>
                  </a:lnTo>
                  <a:lnTo>
                    <a:pt x="218" y="208"/>
                  </a:lnTo>
                  <a:lnTo>
                    <a:pt x="212" y="205"/>
                  </a:lnTo>
                  <a:lnTo>
                    <a:pt x="207" y="206"/>
                  </a:lnTo>
                  <a:lnTo>
                    <a:pt x="203" y="202"/>
                  </a:lnTo>
                  <a:lnTo>
                    <a:pt x="201" y="202"/>
                  </a:lnTo>
                  <a:lnTo>
                    <a:pt x="206" y="206"/>
                  </a:lnTo>
                  <a:lnTo>
                    <a:pt x="206" y="208"/>
                  </a:lnTo>
                  <a:lnTo>
                    <a:pt x="207" y="208"/>
                  </a:lnTo>
                  <a:lnTo>
                    <a:pt x="207" y="209"/>
                  </a:lnTo>
                  <a:lnTo>
                    <a:pt x="212" y="209"/>
                  </a:lnTo>
                  <a:lnTo>
                    <a:pt x="219" y="210"/>
                  </a:lnTo>
                  <a:lnTo>
                    <a:pt x="223" y="210"/>
                  </a:lnTo>
                  <a:lnTo>
                    <a:pt x="223" y="211"/>
                  </a:lnTo>
                  <a:lnTo>
                    <a:pt x="224" y="211"/>
                  </a:lnTo>
                  <a:lnTo>
                    <a:pt x="231" y="212"/>
                  </a:lnTo>
                  <a:lnTo>
                    <a:pt x="232" y="214"/>
                  </a:lnTo>
                  <a:lnTo>
                    <a:pt x="236" y="214"/>
                  </a:lnTo>
                  <a:lnTo>
                    <a:pt x="238" y="212"/>
                  </a:lnTo>
                  <a:lnTo>
                    <a:pt x="241" y="210"/>
                  </a:lnTo>
                  <a:lnTo>
                    <a:pt x="241" y="209"/>
                  </a:lnTo>
                  <a:lnTo>
                    <a:pt x="242" y="209"/>
                  </a:lnTo>
                  <a:lnTo>
                    <a:pt x="242" y="206"/>
                  </a:lnTo>
                  <a:lnTo>
                    <a:pt x="244" y="205"/>
                  </a:lnTo>
                  <a:lnTo>
                    <a:pt x="253" y="205"/>
                  </a:lnTo>
                  <a:lnTo>
                    <a:pt x="254" y="208"/>
                  </a:lnTo>
                  <a:lnTo>
                    <a:pt x="255" y="208"/>
                  </a:lnTo>
                  <a:lnTo>
                    <a:pt x="254" y="209"/>
                  </a:lnTo>
                  <a:lnTo>
                    <a:pt x="254" y="210"/>
                  </a:lnTo>
                  <a:lnTo>
                    <a:pt x="256" y="210"/>
                  </a:lnTo>
                  <a:lnTo>
                    <a:pt x="256" y="209"/>
                  </a:lnTo>
                  <a:lnTo>
                    <a:pt x="257" y="209"/>
                  </a:lnTo>
                  <a:lnTo>
                    <a:pt x="257" y="210"/>
                  </a:lnTo>
                  <a:lnTo>
                    <a:pt x="260" y="211"/>
                  </a:lnTo>
                  <a:lnTo>
                    <a:pt x="261" y="211"/>
                  </a:lnTo>
                  <a:lnTo>
                    <a:pt x="263" y="214"/>
                  </a:lnTo>
                  <a:lnTo>
                    <a:pt x="266" y="215"/>
                  </a:lnTo>
                  <a:lnTo>
                    <a:pt x="272" y="216"/>
                  </a:lnTo>
                  <a:lnTo>
                    <a:pt x="273" y="216"/>
                  </a:lnTo>
                  <a:lnTo>
                    <a:pt x="273" y="218"/>
                  </a:lnTo>
                  <a:lnTo>
                    <a:pt x="274" y="218"/>
                  </a:lnTo>
                  <a:lnTo>
                    <a:pt x="275" y="220"/>
                  </a:lnTo>
                  <a:lnTo>
                    <a:pt x="278" y="224"/>
                  </a:lnTo>
                  <a:lnTo>
                    <a:pt x="278" y="226"/>
                  </a:lnTo>
                  <a:lnTo>
                    <a:pt x="284" y="233"/>
                  </a:lnTo>
                  <a:lnTo>
                    <a:pt x="285" y="234"/>
                  </a:lnTo>
                  <a:lnTo>
                    <a:pt x="285" y="235"/>
                  </a:lnTo>
                  <a:lnTo>
                    <a:pt x="286" y="236"/>
                  </a:lnTo>
                  <a:lnTo>
                    <a:pt x="286" y="238"/>
                  </a:lnTo>
                  <a:lnTo>
                    <a:pt x="287" y="236"/>
                  </a:lnTo>
                  <a:lnTo>
                    <a:pt x="288" y="236"/>
                  </a:lnTo>
                  <a:lnTo>
                    <a:pt x="288" y="238"/>
                  </a:lnTo>
                  <a:lnTo>
                    <a:pt x="290" y="239"/>
                  </a:lnTo>
                  <a:lnTo>
                    <a:pt x="291" y="239"/>
                  </a:lnTo>
                  <a:lnTo>
                    <a:pt x="294" y="241"/>
                  </a:lnTo>
                  <a:lnTo>
                    <a:pt x="294" y="245"/>
                  </a:lnTo>
                  <a:lnTo>
                    <a:pt x="296" y="246"/>
                  </a:lnTo>
                  <a:lnTo>
                    <a:pt x="294" y="247"/>
                  </a:lnTo>
                  <a:lnTo>
                    <a:pt x="296" y="247"/>
                  </a:lnTo>
                  <a:lnTo>
                    <a:pt x="296" y="258"/>
                  </a:lnTo>
                  <a:lnTo>
                    <a:pt x="297" y="260"/>
                  </a:lnTo>
                  <a:lnTo>
                    <a:pt x="297" y="265"/>
                  </a:lnTo>
                  <a:lnTo>
                    <a:pt x="299" y="267"/>
                  </a:lnTo>
                  <a:lnTo>
                    <a:pt x="298" y="269"/>
                  </a:lnTo>
                  <a:lnTo>
                    <a:pt x="299" y="269"/>
                  </a:lnTo>
                  <a:lnTo>
                    <a:pt x="299" y="273"/>
                  </a:lnTo>
                  <a:lnTo>
                    <a:pt x="300" y="275"/>
                  </a:lnTo>
                  <a:lnTo>
                    <a:pt x="300" y="278"/>
                  </a:lnTo>
                  <a:lnTo>
                    <a:pt x="302" y="278"/>
                  </a:lnTo>
                  <a:lnTo>
                    <a:pt x="302" y="279"/>
                  </a:lnTo>
                  <a:lnTo>
                    <a:pt x="303" y="282"/>
                  </a:lnTo>
                  <a:lnTo>
                    <a:pt x="303" y="284"/>
                  </a:lnTo>
                  <a:lnTo>
                    <a:pt x="304" y="284"/>
                  </a:lnTo>
                  <a:lnTo>
                    <a:pt x="304" y="285"/>
                  </a:lnTo>
                  <a:lnTo>
                    <a:pt x="305" y="287"/>
                  </a:lnTo>
                  <a:lnTo>
                    <a:pt x="305" y="290"/>
                  </a:lnTo>
                  <a:lnTo>
                    <a:pt x="306" y="290"/>
                  </a:lnTo>
                  <a:lnTo>
                    <a:pt x="305" y="291"/>
                  </a:lnTo>
                  <a:lnTo>
                    <a:pt x="309" y="301"/>
                  </a:lnTo>
                  <a:lnTo>
                    <a:pt x="309" y="303"/>
                  </a:lnTo>
                  <a:lnTo>
                    <a:pt x="311" y="304"/>
                  </a:lnTo>
                  <a:lnTo>
                    <a:pt x="311" y="306"/>
                  </a:lnTo>
                  <a:lnTo>
                    <a:pt x="314" y="306"/>
                  </a:lnTo>
                  <a:lnTo>
                    <a:pt x="314" y="307"/>
                  </a:lnTo>
                  <a:lnTo>
                    <a:pt x="312" y="307"/>
                  </a:lnTo>
                  <a:lnTo>
                    <a:pt x="314" y="308"/>
                  </a:lnTo>
                  <a:lnTo>
                    <a:pt x="314" y="310"/>
                  </a:lnTo>
                  <a:lnTo>
                    <a:pt x="312" y="312"/>
                  </a:lnTo>
                  <a:lnTo>
                    <a:pt x="314" y="312"/>
                  </a:lnTo>
                  <a:lnTo>
                    <a:pt x="314" y="313"/>
                  </a:lnTo>
                  <a:lnTo>
                    <a:pt x="315" y="313"/>
                  </a:lnTo>
                  <a:lnTo>
                    <a:pt x="315" y="310"/>
                  </a:lnTo>
                  <a:lnTo>
                    <a:pt x="316" y="312"/>
                  </a:lnTo>
                  <a:lnTo>
                    <a:pt x="317" y="312"/>
                  </a:lnTo>
                  <a:lnTo>
                    <a:pt x="319" y="313"/>
                  </a:lnTo>
                  <a:lnTo>
                    <a:pt x="321" y="314"/>
                  </a:lnTo>
                  <a:lnTo>
                    <a:pt x="330" y="316"/>
                  </a:lnTo>
                  <a:lnTo>
                    <a:pt x="340" y="322"/>
                  </a:lnTo>
                  <a:lnTo>
                    <a:pt x="341" y="324"/>
                  </a:lnTo>
                  <a:lnTo>
                    <a:pt x="341" y="327"/>
                  </a:lnTo>
                  <a:lnTo>
                    <a:pt x="343" y="328"/>
                  </a:lnTo>
                  <a:lnTo>
                    <a:pt x="345" y="330"/>
                  </a:lnTo>
                  <a:lnTo>
                    <a:pt x="345" y="332"/>
                  </a:lnTo>
                  <a:lnTo>
                    <a:pt x="346" y="333"/>
                  </a:lnTo>
                  <a:lnTo>
                    <a:pt x="346" y="338"/>
                  </a:lnTo>
                  <a:lnTo>
                    <a:pt x="347" y="338"/>
                  </a:lnTo>
                  <a:lnTo>
                    <a:pt x="347" y="339"/>
                  </a:lnTo>
                  <a:lnTo>
                    <a:pt x="348" y="339"/>
                  </a:lnTo>
                  <a:lnTo>
                    <a:pt x="349" y="340"/>
                  </a:lnTo>
                  <a:lnTo>
                    <a:pt x="350" y="340"/>
                  </a:lnTo>
                  <a:lnTo>
                    <a:pt x="352" y="341"/>
                  </a:lnTo>
                  <a:lnTo>
                    <a:pt x="352" y="344"/>
                  </a:lnTo>
                  <a:lnTo>
                    <a:pt x="353" y="345"/>
                  </a:lnTo>
                  <a:lnTo>
                    <a:pt x="359" y="347"/>
                  </a:lnTo>
                  <a:lnTo>
                    <a:pt x="360" y="349"/>
                  </a:lnTo>
                  <a:lnTo>
                    <a:pt x="356" y="351"/>
                  </a:lnTo>
                  <a:lnTo>
                    <a:pt x="355" y="352"/>
                  </a:lnTo>
                  <a:lnTo>
                    <a:pt x="354" y="356"/>
                  </a:lnTo>
                  <a:lnTo>
                    <a:pt x="354" y="357"/>
                  </a:lnTo>
                  <a:lnTo>
                    <a:pt x="355" y="362"/>
                  </a:lnTo>
                  <a:lnTo>
                    <a:pt x="356" y="364"/>
                  </a:lnTo>
                  <a:lnTo>
                    <a:pt x="368" y="382"/>
                  </a:lnTo>
                  <a:lnTo>
                    <a:pt x="370" y="384"/>
                  </a:lnTo>
                  <a:lnTo>
                    <a:pt x="368" y="387"/>
                  </a:lnTo>
                  <a:lnTo>
                    <a:pt x="367" y="388"/>
                  </a:lnTo>
                  <a:lnTo>
                    <a:pt x="368" y="386"/>
                  </a:lnTo>
                  <a:lnTo>
                    <a:pt x="368" y="384"/>
                  </a:lnTo>
                  <a:lnTo>
                    <a:pt x="367" y="384"/>
                  </a:lnTo>
                  <a:lnTo>
                    <a:pt x="365" y="382"/>
                  </a:lnTo>
                  <a:lnTo>
                    <a:pt x="364" y="382"/>
                  </a:lnTo>
                  <a:lnTo>
                    <a:pt x="362" y="383"/>
                  </a:lnTo>
                  <a:lnTo>
                    <a:pt x="358" y="383"/>
                  </a:lnTo>
                  <a:lnTo>
                    <a:pt x="358" y="382"/>
                  </a:lnTo>
                  <a:lnTo>
                    <a:pt x="352" y="376"/>
                  </a:lnTo>
                  <a:lnTo>
                    <a:pt x="350" y="376"/>
                  </a:lnTo>
                  <a:lnTo>
                    <a:pt x="345" y="377"/>
                  </a:lnTo>
                  <a:lnTo>
                    <a:pt x="340" y="377"/>
                  </a:lnTo>
                  <a:lnTo>
                    <a:pt x="339" y="376"/>
                  </a:lnTo>
                  <a:lnTo>
                    <a:pt x="335" y="376"/>
                  </a:lnTo>
                  <a:lnTo>
                    <a:pt x="333" y="378"/>
                  </a:lnTo>
                  <a:lnTo>
                    <a:pt x="334" y="378"/>
                  </a:lnTo>
                  <a:lnTo>
                    <a:pt x="335" y="377"/>
                  </a:lnTo>
                  <a:lnTo>
                    <a:pt x="337" y="377"/>
                  </a:lnTo>
                  <a:lnTo>
                    <a:pt x="340" y="378"/>
                  </a:lnTo>
                  <a:lnTo>
                    <a:pt x="340" y="380"/>
                  </a:lnTo>
                  <a:lnTo>
                    <a:pt x="341" y="380"/>
                  </a:lnTo>
                  <a:lnTo>
                    <a:pt x="342" y="378"/>
                  </a:lnTo>
                  <a:lnTo>
                    <a:pt x="350" y="377"/>
                  </a:lnTo>
                  <a:lnTo>
                    <a:pt x="352" y="377"/>
                  </a:lnTo>
                  <a:lnTo>
                    <a:pt x="352" y="380"/>
                  </a:lnTo>
                  <a:lnTo>
                    <a:pt x="355" y="384"/>
                  </a:lnTo>
                  <a:lnTo>
                    <a:pt x="356" y="384"/>
                  </a:lnTo>
                  <a:lnTo>
                    <a:pt x="358" y="387"/>
                  </a:lnTo>
                  <a:lnTo>
                    <a:pt x="360" y="387"/>
                  </a:lnTo>
                  <a:lnTo>
                    <a:pt x="361" y="388"/>
                  </a:lnTo>
                  <a:lnTo>
                    <a:pt x="362" y="390"/>
                  </a:lnTo>
                  <a:lnTo>
                    <a:pt x="367" y="394"/>
                  </a:lnTo>
                  <a:lnTo>
                    <a:pt x="370" y="394"/>
                  </a:lnTo>
                  <a:lnTo>
                    <a:pt x="370" y="395"/>
                  </a:lnTo>
                  <a:lnTo>
                    <a:pt x="371" y="395"/>
                  </a:lnTo>
                  <a:lnTo>
                    <a:pt x="371" y="398"/>
                  </a:lnTo>
                  <a:lnTo>
                    <a:pt x="372" y="399"/>
                  </a:lnTo>
                  <a:lnTo>
                    <a:pt x="373" y="399"/>
                  </a:lnTo>
                  <a:lnTo>
                    <a:pt x="373" y="400"/>
                  </a:lnTo>
                  <a:lnTo>
                    <a:pt x="374" y="401"/>
                  </a:lnTo>
                  <a:lnTo>
                    <a:pt x="374" y="402"/>
                  </a:lnTo>
                  <a:lnTo>
                    <a:pt x="378" y="412"/>
                  </a:lnTo>
                  <a:lnTo>
                    <a:pt x="378" y="418"/>
                  </a:lnTo>
                  <a:lnTo>
                    <a:pt x="377" y="421"/>
                  </a:lnTo>
                  <a:lnTo>
                    <a:pt x="375" y="423"/>
                  </a:lnTo>
                  <a:lnTo>
                    <a:pt x="374" y="423"/>
                  </a:lnTo>
                  <a:lnTo>
                    <a:pt x="370" y="427"/>
                  </a:lnTo>
                  <a:lnTo>
                    <a:pt x="366" y="432"/>
                  </a:lnTo>
                  <a:lnTo>
                    <a:pt x="366" y="433"/>
                  </a:lnTo>
                  <a:lnTo>
                    <a:pt x="364" y="433"/>
                  </a:lnTo>
                  <a:lnTo>
                    <a:pt x="364" y="436"/>
                  </a:lnTo>
                  <a:lnTo>
                    <a:pt x="367" y="436"/>
                  </a:lnTo>
                  <a:lnTo>
                    <a:pt x="368" y="437"/>
                  </a:lnTo>
                  <a:lnTo>
                    <a:pt x="371" y="437"/>
                  </a:lnTo>
                  <a:lnTo>
                    <a:pt x="372" y="441"/>
                  </a:lnTo>
                  <a:lnTo>
                    <a:pt x="373" y="442"/>
                  </a:lnTo>
                  <a:lnTo>
                    <a:pt x="378" y="442"/>
                  </a:lnTo>
                  <a:lnTo>
                    <a:pt x="379" y="444"/>
                  </a:lnTo>
                  <a:lnTo>
                    <a:pt x="379" y="443"/>
                  </a:lnTo>
                  <a:lnTo>
                    <a:pt x="380" y="441"/>
                  </a:lnTo>
                  <a:lnTo>
                    <a:pt x="381" y="439"/>
                  </a:lnTo>
                  <a:lnTo>
                    <a:pt x="381" y="437"/>
                  </a:lnTo>
                  <a:lnTo>
                    <a:pt x="383" y="436"/>
                  </a:lnTo>
                  <a:lnTo>
                    <a:pt x="383" y="433"/>
                  </a:lnTo>
                  <a:lnTo>
                    <a:pt x="385" y="431"/>
                  </a:lnTo>
                  <a:lnTo>
                    <a:pt x="387" y="430"/>
                  </a:lnTo>
                  <a:lnTo>
                    <a:pt x="391" y="430"/>
                  </a:lnTo>
                  <a:lnTo>
                    <a:pt x="391" y="429"/>
                  </a:lnTo>
                  <a:lnTo>
                    <a:pt x="392" y="429"/>
                  </a:lnTo>
                  <a:lnTo>
                    <a:pt x="393" y="430"/>
                  </a:lnTo>
                  <a:lnTo>
                    <a:pt x="399" y="430"/>
                  </a:lnTo>
                  <a:lnTo>
                    <a:pt x="402" y="431"/>
                  </a:lnTo>
                  <a:lnTo>
                    <a:pt x="405" y="431"/>
                  </a:lnTo>
                  <a:lnTo>
                    <a:pt x="405" y="430"/>
                  </a:lnTo>
                  <a:lnTo>
                    <a:pt x="417" y="432"/>
                  </a:lnTo>
                  <a:lnTo>
                    <a:pt x="422" y="436"/>
                  </a:lnTo>
                  <a:lnTo>
                    <a:pt x="433" y="443"/>
                  </a:lnTo>
                  <a:lnTo>
                    <a:pt x="434" y="445"/>
                  </a:lnTo>
                  <a:lnTo>
                    <a:pt x="435" y="447"/>
                  </a:lnTo>
                  <a:lnTo>
                    <a:pt x="435" y="450"/>
                  </a:lnTo>
                  <a:lnTo>
                    <a:pt x="436" y="453"/>
                  </a:lnTo>
                  <a:lnTo>
                    <a:pt x="436" y="461"/>
                  </a:lnTo>
                  <a:lnTo>
                    <a:pt x="437" y="463"/>
                  </a:lnTo>
                  <a:lnTo>
                    <a:pt x="437" y="464"/>
                  </a:lnTo>
                  <a:lnTo>
                    <a:pt x="436" y="468"/>
                  </a:lnTo>
                  <a:lnTo>
                    <a:pt x="436" y="470"/>
                  </a:lnTo>
                  <a:lnTo>
                    <a:pt x="433" y="478"/>
                  </a:lnTo>
                  <a:lnTo>
                    <a:pt x="432" y="479"/>
                  </a:lnTo>
                  <a:lnTo>
                    <a:pt x="432" y="485"/>
                  </a:lnTo>
                  <a:lnTo>
                    <a:pt x="430" y="487"/>
                  </a:lnTo>
                  <a:lnTo>
                    <a:pt x="430" y="491"/>
                  </a:lnTo>
                  <a:lnTo>
                    <a:pt x="429" y="492"/>
                  </a:lnTo>
                  <a:lnTo>
                    <a:pt x="427" y="493"/>
                  </a:lnTo>
                  <a:lnTo>
                    <a:pt x="426" y="494"/>
                  </a:lnTo>
                  <a:lnTo>
                    <a:pt x="426" y="493"/>
                  </a:lnTo>
                  <a:lnTo>
                    <a:pt x="424" y="494"/>
                  </a:lnTo>
                  <a:lnTo>
                    <a:pt x="424" y="496"/>
                  </a:lnTo>
                  <a:lnTo>
                    <a:pt x="420" y="500"/>
                  </a:lnTo>
                  <a:lnTo>
                    <a:pt x="420" y="501"/>
                  </a:lnTo>
                  <a:lnTo>
                    <a:pt x="417" y="499"/>
                  </a:lnTo>
                  <a:lnTo>
                    <a:pt x="417" y="500"/>
                  </a:lnTo>
                  <a:lnTo>
                    <a:pt x="414" y="500"/>
                  </a:lnTo>
                  <a:lnTo>
                    <a:pt x="412" y="499"/>
                  </a:lnTo>
                  <a:lnTo>
                    <a:pt x="411" y="499"/>
                  </a:lnTo>
                  <a:lnTo>
                    <a:pt x="409" y="500"/>
                  </a:lnTo>
                  <a:lnTo>
                    <a:pt x="416" y="501"/>
                  </a:lnTo>
                  <a:lnTo>
                    <a:pt x="417" y="500"/>
                  </a:lnTo>
                  <a:lnTo>
                    <a:pt x="417" y="501"/>
                  </a:lnTo>
                  <a:lnTo>
                    <a:pt x="414" y="505"/>
                  </a:lnTo>
                  <a:lnTo>
                    <a:pt x="414" y="506"/>
                  </a:lnTo>
                  <a:lnTo>
                    <a:pt x="417" y="506"/>
                  </a:lnTo>
                  <a:lnTo>
                    <a:pt x="417" y="507"/>
                  </a:lnTo>
                  <a:lnTo>
                    <a:pt x="415" y="510"/>
                  </a:lnTo>
                  <a:lnTo>
                    <a:pt x="412" y="511"/>
                  </a:lnTo>
                  <a:lnTo>
                    <a:pt x="411" y="512"/>
                  </a:lnTo>
                  <a:lnTo>
                    <a:pt x="406" y="512"/>
                  </a:lnTo>
                  <a:lnTo>
                    <a:pt x="406" y="511"/>
                  </a:lnTo>
                  <a:lnTo>
                    <a:pt x="404" y="509"/>
                  </a:lnTo>
                  <a:lnTo>
                    <a:pt x="404" y="510"/>
                  </a:lnTo>
                  <a:lnTo>
                    <a:pt x="402" y="511"/>
                  </a:lnTo>
                  <a:lnTo>
                    <a:pt x="401" y="512"/>
                  </a:lnTo>
                  <a:lnTo>
                    <a:pt x="401" y="513"/>
                  </a:lnTo>
                  <a:lnTo>
                    <a:pt x="399" y="515"/>
                  </a:lnTo>
                  <a:lnTo>
                    <a:pt x="398" y="515"/>
                  </a:lnTo>
                  <a:lnTo>
                    <a:pt x="398" y="516"/>
                  </a:lnTo>
                  <a:lnTo>
                    <a:pt x="397" y="515"/>
                  </a:lnTo>
                  <a:lnTo>
                    <a:pt x="396" y="515"/>
                  </a:lnTo>
                  <a:lnTo>
                    <a:pt x="393" y="516"/>
                  </a:lnTo>
                  <a:lnTo>
                    <a:pt x="392" y="516"/>
                  </a:lnTo>
                  <a:lnTo>
                    <a:pt x="393" y="517"/>
                  </a:lnTo>
                  <a:lnTo>
                    <a:pt x="395" y="517"/>
                  </a:lnTo>
                  <a:lnTo>
                    <a:pt x="395" y="518"/>
                  </a:lnTo>
                  <a:lnTo>
                    <a:pt x="396" y="517"/>
                  </a:lnTo>
                  <a:lnTo>
                    <a:pt x="399" y="516"/>
                  </a:lnTo>
                  <a:lnTo>
                    <a:pt x="401" y="516"/>
                  </a:lnTo>
                  <a:lnTo>
                    <a:pt x="402" y="515"/>
                  </a:lnTo>
                  <a:lnTo>
                    <a:pt x="403" y="516"/>
                  </a:lnTo>
                  <a:lnTo>
                    <a:pt x="403" y="522"/>
                  </a:lnTo>
                  <a:lnTo>
                    <a:pt x="402" y="522"/>
                  </a:lnTo>
                  <a:lnTo>
                    <a:pt x="402" y="523"/>
                  </a:lnTo>
                  <a:lnTo>
                    <a:pt x="403" y="523"/>
                  </a:lnTo>
                  <a:lnTo>
                    <a:pt x="402" y="525"/>
                  </a:lnTo>
                  <a:lnTo>
                    <a:pt x="399" y="527"/>
                  </a:lnTo>
                  <a:lnTo>
                    <a:pt x="397" y="529"/>
                  </a:lnTo>
                  <a:lnTo>
                    <a:pt x="390" y="529"/>
                  </a:lnTo>
                  <a:lnTo>
                    <a:pt x="390" y="530"/>
                  </a:lnTo>
                  <a:lnTo>
                    <a:pt x="385" y="530"/>
                  </a:lnTo>
                  <a:lnTo>
                    <a:pt x="383" y="531"/>
                  </a:lnTo>
                  <a:lnTo>
                    <a:pt x="381" y="531"/>
                  </a:lnTo>
                  <a:lnTo>
                    <a:pt x="381" y="534"/>
                  </a:lnTo>
                  <a:lnTo>
                    <a:pt x="380" y="534"/>
                  </a:lnTo>
                  <a:lnTo>
                    <a:pt x="379" y="535"/>
                  </a:lnTo>
                  <a:lnTo>
                    <a:pt x="381" y="534"/>
                  </a:lnTo>
                  <a:lnTo>
                    <a:pt x="383" y="534"/>
                  </a:lnTo>
                  <a:lnTo>
                    <a:pt x="383" y="533"/>
                  </a:lnTo>
                  <a:lnTo>
                    <a:pt x="385" y="531"/>
                  </a:lnTo>
                  <a:lnTo>
                    <a:pt x="392" y="533"/>
                  </a:lnTo>
                  <a:lnTo>
                    <a:pt x="393" y="534"/>
                  </a:lnTo>
                  <a:lnTo>
                    <a:pt x="393" y="535"/>
                  </a:lnTo>
                  <a:lnTo>
                    <a:pt x="390" y="535"/>
                  </a:lnTo>
                  <a:lnTo>
                    <a:pt x="389" y="536"/>
                  </a:lnTo>
                  <a:lnTo>
                    <a:pt x="387" y="536"/>
                  </a:lnTo>
                  <a:lnTo>
                    <a:pt x="386" y="537"/>
                  </a:lnTo>
                  <a:lnTo>
                    <a:pt x="387" y="539"/>
                  </a:lnTo>
                  <a:lnTo>
                    <a:pt x="392" y="539"/>
                  </a:lnTo>
                  <a:lnTo>
                    <a:pt x="392" y="536"/>
                  </a:lnTo>
                  <a:lnTo>
                    <a:pt x="393" y="536"/>
                  </a:lnTo>
                  <a:lnTo>
                    <a:pt x="393" y="537"/>
                  </a:lnTo>
                  <a:lnTo>
                    <a:pt x="395" y="535"/>
                  </a:lnTo>
                  <a:lnTo>
                    <a:pt x="396" y="535"/>
                  </a:lnTo>
                  <a:lnTo>
                    <a:pt x="401" y="536"/>
                  </a:lnTo>
                  <a:lnTo>
                    <a:pt x="401" y="537"/>
                  </a:lnTo>
                  <a:lnTo>
                    <a:pt x="402" y="537"/>
                  </a:lnTo>
                  <a:lnTo>
                    <a:pt x="402" y="539"/>
                  </a:lnTo>
                  <a:lnTo>
                    <a:pt x="403" y="539"/>
                  </a:lnTo>
                  <a:lnTo>
                    <a:pt x="403" y="540"/>
                  </a:lnTo>
                  <a:lnTo>
                    <a:pt x="402" y="541"/>
                  </a:lnTo>
                  <a:lnTo>
                    <a:pt x="397" y="540"/>
                  </a:lnTo>
                  <a:lnTo>
                    <a:pt x="396" y="540"/>
                  </a:lnTo>
                  <a:lnTo>
                    <a:pt x="395" y="539"/>
                  </a:lnTo>
                  <a:lnTo>
                    <a:pt x="395" y="540"/>
                  </a:lnTo>
                  <a:lnTo>
                    <a:pt x="396" y="541"/>
                  </a:lnTo>
                  <a:lnTo>
                    <a:pt x="404" y="541"/>
                  </a:lnTo>
                  <a:lnTo>
                    <a:pt x="409" y="540"/>
                  </a:lnTo>
                  <a:lnTo>
                    <a:pt x="423" y="539"/>
                  </a:lnTo>
                  <a:lnTo>
                    <a:pt x="424" y="539"/>
                  </a:lnTo>
                  <a:lnTo>
                    <a:pt x="423" y="541"/>
                  </a:lnTo>
                  <a:lnTo>
                    <a:pt x="423" y="542"/>
                  </a:lnTo>
                  <a:lnTo>
                    <a:pt x="421" y="542"/>
                  </a:lnTo>
                  <a:lnTo>
                    <a:pt x="421" y="544"/>
                  </a:lnTo>
                  <a:lnTo>
                    <a:pt x="422" y="546"/>
                  </a:lnTo>
                  <a:lnTo>
                    <a:pt x="422" y="553"/>
                  </a:lnTo>
                  <a:lnTo>
                    <a:pt x="421" y="555"/>
                  </a:lnTo>
                  <a:lnTo>
                    <a:pt x="421" y="556"/>
                  </a:lnTo>
                  <a:lnTo>
                    <a:pt x="417" y="558"/>
                  </a:lnTo>
                  <a:lnTo>
                    <a:pt x="415" y="558"/>
                  </a:lnTo>
                  <a:lnTo>
                    <a:pt x="412" y="560"/>
                  </a:lnTo>
                  <a:lnTo>
                    <a:pt x="408" y="560"/>
                  </a:lnTo>
                  <a:lnTo>
                    <a:pt x="406" y="562"/>
                  </a:lnTo>
                  <a:lnTo>
                    <a:pt x="404" y="565"/>
                  </a:lnTo>
                  <a:lnTo>
                    <a:pt x="404" y="571"/>
                  </a:lnTo>
                  <a:lnTo>
                    <a:pt x="403" y="571"/>
                  </a:lnTo>
                  <a:lnTo>
                    <a:pt x="399" y="570"/>
                  </a:lnTo>
                  <a:lnTo>
                    <a:pt x="397" y="568"/>
                  </a:lnTo>
                  <a:lnTo>
                    <a:pt x="395" y="570"/>
                  </a:lnTo>
                  <a:lnTo>
                    <a:pt x="390" y="574"/>
                  </a:lnTo>
                  <a:lnTo>
                    <a:pt x="380" y="577"/>
                  </a:lnTo>
                  <a:lnTo>
                    <a:pt x="378" y="577"/>
                  </a:lnTo>
                  <a:lnTo>
                    <a:pt x="378" y="579"/>
                  </a:lnTo>
                  <a:lnTo>
                    <a:pt x="375" y="579"/>
                  </a:lnTo>
                  <a:lnTo>
                    <a:pt x="374" y="582"/>
                  </a:lnTo>
                  <a:lnTo>
                    <a:pt x="372" y="582"/>
                  </a:lnTo>
                  <a:lnTo>
                    <a:pt x="370" y="580"/>
                  </a:lnTo>
                  <a:lnTo>
                    <a:pt x="367" y="580"/>
                  </a:lnTo>
                  <a:lnTo>
                    <a:pt x="366" y="579"/>
                  </a:lnTo>
                  <a:lnTo>
                    <a:pt x="364" y="579"/>
                  </a:lnTo>
                  <a:lnTo>
                    <a:pt x="355" y="577"/>
                  </a:lnTo>
                  <a:lnTo>
                    <a:pt x="352" y="577"/>
                  </a:lnTo>
                  <a:lnTo>
                    <a:pt x="346" y="578"/>
                  </a:lnTo>
                  <a:lnTo>
                    <a:pt x="339" y="578"/>
                  </a:lnTo>
                  <a:lnTo>
                    <a:pt x="333" y="580"/>
                  </a:lnTo>
                  <a:lnTo>
                    <a:pt x="330" y="580"/>
                  </a:lnTo>
                  <a:lnTo>
                    <a:pt x="330" y="583"/>
                  </a:lnTo>
                  <a:lnTo>
                    <a:pt x="329" y="583"/>
                  </a:lnTo>
                  <a:lnTo>
                    <a:pt x="324" y="580"/>
                  </a:lnTo>
                  <a:lnTo>
                    <a:pt x="324" y="579"/>
                  </a:lnTo>
                  <a:lnTo>
                    <a:pt x="325" y="579"/>
                  </a:lnTo>
                  <a:lnTo>
                    <a:pt x="327" y="578"/>
                  </a:lnTo>
                  <a:lnTo>
                    <a:pt x="325" y="577"/>
                  </a:lnTo>
                  <a:lnTo>
                    <a:pt x="324" y="577"/>
                  </a:lnTo>
                  <a:lnTo>
                    <a:pt x="324" y="576"/>
                  </a:lnTo>
                  <a:lnTo>
                    <a:pt x="319" y="576"/>
                  </a:lnTo>
                  <a:lnTo>
                    <a:pt x="319" y="578"/>
                  </a:lnTo>
                  <a:lnTo>
                    <a:pt x="318" y="579"/>
                  </a:lnTo>
                  <a:lnTo>
                    <a:pt x="316" y="579"/>
                  </a:lnTo>
                  <a:lnTo>
                    <a:pt x="317" y="578"/>
                  </a:lnTo>
                  <a:lnTo>
                    <a:pt x="317" y="577"/>
                  </a:lnTo>
                  <a:lnTo>
                    <a:pt x="318" y="576"/>
                  </a:lnTo>
                  <a:lnTo>
                    <a:pt x="317" y="574"/>
                  </a:lnTo>
                  <a:lnTo>
                    <a:pt x="315" y="576"/>
                  </a:lnTo>
                  <a:lnTo>
                    <a:pt x="314" y="576"/>
                  </a:lnTo>
                  <a:lnTo>
                    <a:pt x="315" y="577"/>
                  </a:lnTo>
                  <a:lnTo>
                    <a:pt x="316" y="577"/>
                  </a:lnTo>
                  <a:lnTo>
                    <a:pt x="316" y="579"/>
                  </a:lnTo>
                  <a:lnTo>
                    <a:pt x="312" y="579"/>
                  </a:lnTo>
                  <a:lnTo>
                    <a:pt x="312" y="578"/>
                  </a:lnTo>
                  <a:lnTo>
                    <a:pt x="310" y="576"/>
                  </a:lnTo>
                  <a:lnTo>
                    <a:pt x="308" y="576"/>
                  </a:lnTo>
                  <a:lnTo>
                    <a:pt x="308" y="574"/>
                  </a:lnTo>
                  <a:lnTo>
                    <a:pt x="306" y="573"/>
                  </a:lnTo>
                  <a:lnTo>
                    <a:pt x="302" y="571"/>
                  </a:lnTo>
                  <a:lnTo>
                    <a:pt x="308" y="577"/>
                  </a:lnTo>
                  <a:lnTo>
                    <a:pt x="308" y="578"/>
                  </a:lnTo>
                  <a:lnTo>
                    <a:pt x="306" y="579"/>
                  </a:lnTo>
                  <a:lnTo>
                    <a:pt x="304" y="579"/>
                  </a:lnTo>
                  <a:lnTo>
                    <a:pt x="304" y="580"/>
                  </a:lnTo>
                  <a:lnTo>
                    <a:pt x="300" y="580"/>
                  </a:lnTo>
                  <a:lnTo>
                    <a:pt x="300" y="582"/>
                  </a:lnTo>
                  <a:lnTo>
                    <a:pt x="298" y="580"/>
                  </a:lnTo>
                  <a:lnTo>
                    <a:pt x="297" y="584"/>
                  </a:lnTo>
                  <a:lnTo>
                    <a:pt x="296" y="583"/>
                  </a:lnTo>
                  <a:lnTo>
                    <a:pt x="291" y="583"/>
                  </a:lnTo>
                  <a:lnTo>
                    <a:pt x="288" y="584"/>
                  </a:lnTo>
                  <a:lnTo>
                    <a:pt x="287" y="584"/>
                  </a:lnTo>
                  <a:lnTo>
                    <a:pt x="286" y="583"/>
                  </a:lnTo>
                  <a:lnTo>
                    <a:pt x="285" y="583"/>
                  </a:lnTo>
                  <a:lnTo>
                    <a:pt x="284" y="584"/>
                  </a:lnTo>
                  <a:lnTo>
                    <a:pt x="283" y="584"/>
                  </a:lnTo>
                  <a:lnTo>
                    <a:pt x="281" y="585"/>
                  </a:lnTo>
                  <a:lnTo>
                    <a:pt x="281" y="584"/>
                  </a:lnTo>
                  <a:lnTo>
                    <a:pt x="278" y="584"/>
                  </a:lnTo>
                  <a:lnTo>
                    <a:pt x="278" y="583"/>
                  </a:lnTo>
                  <a:lnTo>
                    <a:pt x="277" y="583"/>
                  </a:lnTo>
                  <a:lnTo>
                    <a:pt x="275" y="585"/>
                  </a:lnTo>
                  <a:lnTo>
                    <a:pt x="277" y="585"/>
                  </a:lnTo>
                  <a:lnTo>
                    <a:pt x="277" y="584"/>
                  </a:lnTo>
                  <a:lnTo>
                    <a:pt x="279" y="586"/>
                  </a:lnTo>
                  <a:lnTo>
                    <a:pt x="280" y="586"/>
                  </a:lnTo>
                  <a:lnTo>
                    <a:pt x="281" y="587"/>
                  </a:lnTo>
                  <a:lnTo>
                    <a:pt x="280" y="589"/>
                  </a:lnTo>
                  <a:lnTo>
                    <a:pt x="281" y="589"/>
                  </a:lnTo>
                  <a:lnTo>
                    <a:pt x="280" y="590"/>
                  </a:lnTo>
                  <a:lnTo>
                    <a:pt x="280" y="591"/>
                  </a:lnTo>
                  <a:lnTo>
                    <a:pt x="279" y="592"/>
                  </a:lnTo>
                  <a:lnTo>
                    <a:pt x="275" y="592"/>
                  </a:lnTo>
                  <a:lnTo>
                    <a:pt x="272" y="590"/>
                  </a:lnTo>
                  <a:lnTo>
                    <a:pt x="265" y="590"/>
                  </a:lnTo>
                  <a:lnTo>
                    <a:pt x="262" y="589"/>
                  </a:lnTo>
                  <a:lnTo>
                    <a:pt x="260" y="589"/>
                  </a:lnTo>
                  <a:lnTo>
                    <a:pt x="260" y="590"/>
                  </a:lnTo>
                  <a:lnTo>
                    <a:pt x="259" y="591"/>
                  </a:lnTo>
                  <a:lnTo>
                    <a:pt x="259" y="592"/>
                  </a:lnTo>
                  <a:lnTo>
                    <a:pt x="249" y="585"/>
                  </a:lnTo>
                  <a:lnTo>
                    <a:pt x="242" y="583"/>
                  </a:lnTo>
                  <a:lnTo>
                    <a:pt x="238" y="583"/>
                  </a:lnTo>
                  <a:lnTo>
                    <a:pt x="238" y="584"/>
                  </a:lnTo>
                  <a:lnTo>
                    <a:pt x="234" y="584"/>
                  </a:lnTo>
                  <a:lnTo>
                    <a:pt x="231" y="586"/>
                  </a:lnTo>
                  <a:lnTo>
                    <a:pt x="230" y="586"/>
                  </a:lnTo>
                  <a:lnTo>
                    <a:pt x="230" y="585"/>
                  </a:lnTo>
                  <a:lnTo>
                    <a:pt x="229" y="585"/>
                  </a:lnTo>
                  <a:lnTo>
                    <a:pt x="228" y="586"/>
                  </a:lnTo>
                  <a:lnTo>
                    <a:pt x="225" y="586"/>
                  </a:lnTo>
                  <a:lnTo>
                    <a:pt x="225" y="587"/>
                  </a:lnTo>
                  <a:lnTo>
                    <a:pt x="224" y="589"/>
                  </a:lnTo>
                  <a:lnTo>
                    <a:pt x="221" y="590"/>
                  </a:lnTo>
                  <a:lnTo>
                    <a:pt x="218" y="590"/>
                  </a:lnTo>
                  <a:lnTo>
                    <a:pt x="218" y="589"/>
                  </a:lnTo>
                  <a:lnTo>
                    <a:pt x="217" y="587"/>
                  </a:lnTo>
                  <a:lnTo>
                    <a:pt x="218" y="590"/>
                  </a:lnTo>
                  <a:lnTo>
                    <a:pt x="218" y="591"/>
                  </a:lnTo>
                  <a:lnTo>
                    <a:pt x="217" y="591"/>
                  </a:lnTo>
                  <a:lnTo>
                    <a:pt x="217" y="592"/>
                  </a:lnTo>
                  <a:lnTo>
                    <a:pt x="216" y="593"/>
                  </a:lnTo>
                  <a:lnTo>
                    <a:pt x="216" y="595"/>
                  </a:lnTo>
                  <a:lnTo>
                    <a:pt x="215" y="597"/>
                  </a:lnTo>
                  <a:lnTo>
                    <a:pt x="215" y="598"/>
                  </a:lnTo>
                  <a:lnTo>
                    <a:pt x="216" y="601"/>
                  </a:lnTo>
                  <a:lnTo>
                    <a:pt x="213" y="601"/>
                  </a:lnTo>
                  <a:lnTo>
                    <a:pt x="213" y="604"/>
                  </a:lnTo>
                  <a:lnTo>
                    <a:pt x="216" y="604"/>
                  </a:lnTo>
                  <a:lnTo>
                    <a:pt x="216" y="605"/>
                  </a:lnTo>
                  <a:lnTo>
                    <a:pt x="215" y="605"/>
                  </a:lnTo>
                  <a:lnTo>
                    <a:pt x="215" y="608"/>
                  </a:lnTo>
                  <a:lnTo>
                    <a:pt x="213" y="609"/>
                  </a:lnTo>
                  <a:lnTo>
                    <a:pt x="213" y="608"/>
                  </a:lnTo>
                  <a:lnTo>
                    <a:pt x="212" y="608"/>
                  </a:lnTo>
                  <a:lnTo>
                    <a:pt x="212" y="609"/>
                  </a:lnTo>
                  <a:lnTo>
                    <a:pt x="211" y="610"/>
                  </a:lnTo>
                  <a:lnTo>
                    <a:pt x="210" y="610"/>
                  </a:lnTo>
                  <a:lnTo>
                    <a:pt x="210" y="611"/>
                  </a:lnTo>
                  <a:lnTo>
                    <a:pt x="209" y="613"/>
                  </a:lnTo>
                  <a:lnTo>
                    <a:pt x="209" y="616"/>
                  </a:lnTo>
                  <a:lnTo>
                    <a:pt x="206" y="617"/>
                  </a:lnTo>
                  <a:lnTo>
                    <a:pt x="205" y="617"/>
                  </a:lnTo>
                  <a:lnTo>
                    <a:pt x="204" y="616"/>
                  </a:lnTo>
                  <a:lnTo>
                    <a:pt x="203" y="617"/>
                  </a:lnTo>
                  <a:lnTo>
                    <a:pt x="201" y="616"/>
                  </a:lnTo>
                  <a:lnTo>
                    <a:pt x="199" y="613"/>
                  </a:lnTo>
                  <a:lnTo>
                    <a:pt x="197" y="610"/>
                  </a:lnTo>
                  <a:lnTo>
                    <a:pt x="194" y="610"/>
                  </a:lnTo>
                  <a:lnTo>
                    <a:pt x="194" y="611"/>
                  </a:lnTo>
                  <a:lnTo>
                    <a:pt x="191" y="611"/>
                  </a:lnTo>
                  <a:lnTo>
                    <a:pt x="191" y="610"/>
                  </a:lnTo>
                  <a:lnTo>
                    <a:pt x="190" y="609"/>
                  </a:lnTo>
                  <a:lnTo>
                    <a:pt x="190" y="607"/>
                  </a:lnTo>
                  <a:lnTo>
                    <a:pt x="187" y="607"/>
                  </a:lnTo>
                  <a:lnTo>
                    <a:pt x="187" y="605"/>
                  </a:lnTo>
                  <a:lnTo>
                    <a:pt x="186" y="604"/>
                  </a:lnTo>
                  <a:lnTo>
                    <a:pt x="186" y="603"/>
                  </a:lnTo>
                  <a:lnTo>
                    <a:pt x="187" y="602"/>
                  </a:lnTo>
                  <a:lnTo>
                    <a:pt x="185" y="602"/>
                  </a:lnTo>
                  <a:lnTo>
                    <a:pt x="185" y="605"/>
                  </a:lnTo>
                  <a:lnTo>
                    <a:pt x="182" y="605"/>
                  </a:lnTo>
                  <a:lnTo>
                    <a:pt x="182" y="607"/>
                  </a:lnTo>
                  <a:lnTo>
                    <a:pt x="185" y="605"/>
                  </a:lnTo>
                  <a:lnTo>
                    <a:pt x="186" y="607"/>
                  </a:lnTo>
                  <a:lnTo>
                    <a:pt x="185" y="607"/>
                  </a:lnTo>
                  <a:lnTo>
                    <a:pt x="186" y="608"/>
                  </a:lnTo>
                  <a:lnTo>
                    <a:pt x="186" y="610"/>
                  </a:lnTo>
                  <a:lnTo>
                    <a:pt x="185" y="610"/>
                  </a:lnTo>
                  <a:lnTo>
                    <a:pt x="185" y="608"/>
                  </a:lnTo>
                  <a:lnTo>
                    <a:pt x="184" y="608"/>
                  </a:lnTo>
                  <a:lnTo>
                    <a:pt x="180" y="607"/>
                  </a:lnTo>
                  <a:lnTo>
                    <a:pt x="178" y="607"/>
                  </a:lnTo>
                  <a:lnTo>
                    <a:pt x="175" y="609"/>
                  </a:lnTo>
                  <a:lnTo>
                    <a:pt x="173" y="609"/>
                  </a:lnTo>
                  <a:lnTo>
                    <a:pt x="167" y="610"/>
                  </a:lnTo>
                  <a:lnTo>
                    <a:pt x="166" y="610"/>
                  </a:lnTo>
                  <a:lnTo>
                    <a:pt x="166" y="609"/>
                  </a:lnTo>
                  <a:lnTo>
                    <a:pt x="162" y="609"/>
                  </a:lnTo>
                  <a:lnTo>
                    <a:pt x="162" y="611"/>
                  </a:lnTo>
                  <a:lnTo>
                    <a:pt x="161" y="613"/>
                  </a:lnTo>
                  <a:lnTo>
                    <a:pt x="161" y="616"/>
                  </a:lnTo>
                  <a:lnTo>
                    <a:pt x="157" y="616"/>
                  </a:lnTo>
                  <a:lnTo>
                    <a:pt x="156" y="617"/>
                  </a:lnTo>
                  <a:lnTo>
                    <a:pt x="154" y="619"/>
                  </a:lnTo>
                  <a:lnTo>
                    <a:pt x="151" y="622"/>
                  </a:lnTo>
                  <a:lnTo>
                    <a:pt x="151" y="619"/>
                  </a:lnTo>
                  <a:lnTo>
                    <a:pt x="150" y="619"/>
                  </a:lnTo>
                  <a:lnTo>
                    <a:pt x="150" y="620"/>
                  </a:lnTo>
                  <a:lnTo>
                    <a:pt x="149" y="621"/>
                  </a:lnTo>
                  <a:lnTo>
                    <a:pt x="150" y="622"/>
                  </a:lnTo>
                  <a:lnTo>
                    <a:pt x="149" y="622"/>
                  </a:lnTo>
                  <a:lnTo>
                    <a:pt x="149" y="623"/>
                  </a:lnTo>
                  <a:lnTo>
                    <a:pt x="148" y="625"/>
                  </a:lnTo>
                  <a:lnTo>
                    <a:pt x="148" y="626"/>
                  </a:lnTo>
                  <a:lnTo>
                    <a:pt x="149" y="626"/>
                  </a:lnTo>
                  <a:lnTo>
                    <a:pt x="149" y="628"/>
                  </a:lnTo>
                  <a:lnTo>
                    <a:pt x="148" y="630"/>
                  </a:lnTo>
                  <a:lnTo>
                    <a:pt x="145" y="630"/>
                  </a:lnTo>
                  <a:lnTo>
                    <a:pt x="144" y="632"/>
                  </a:lnTo>
                  <a:lnTo>
                    <a:pt x="144" y="634"/>
                  </a:lnTo>
                  <a:lnTo>
                    <a:pt x="143" y="634"/>
                  </a:lnTo>
                  <a:lnTo>
                    <a:pt x="143" y="633"/>
                  </a:lnTo>
                  <a:lnTo>
                    <a:pt x="142" y="632"/>
                  </a:lnTo>
                  <a:lnTo>
                    <a:pt x="142" y="629"/>
                  </a:lnTo>
                  <a:lnTo>
                    <a:pt x="140" y="627"/>
                  </a:lnTo>
                  <a:lnTo>
                    <a:pt x="140" y="626"/>
                  </a:lnTo>
                  <a:lnTo>
                    <a:pt x="138" y="626"/>
                  </a:lnTo>
                  <a:lnTo>
                    <a:pt x="134" y="623"/>
                  </a:lnTo>
                  <a:lnTo>
                    <a:pt x="132" y="623"/>
                  </a:lnTo>
                  <a:lnTo>
                    <a:pt x="132" y="622"/>
                  </a:lnTo>
                  <a:lnTo>
                    <a:pt x="131" y="622"/>
                  </a:lnTo>
                  <a:lnTo>
                    <a:pt x="130" y="623"/>
                  </a:lnTo>
                  <a:lnTo>
                    <a:pt x="129" y="623"/>
                  </a:lnTo>
                  <a:lnTo>
                    <a:pt x="129" y="625"/>
                  </a:lnTo>
                  <a:lnTo>
                    <a:pt x="130" y="626"/>
                  </a:lnTo>
                  <a:lnTo>
                    <a:pt x="128" y="628"/>
                  </a:lnTo>
                  <a:lnTo>
                    <a:pt x="123" y="628"/>
                  </a:lnTo>
                  <a:lnTo>
                    <a:pt x="122" y="626"/>
                  </a:lnTo>
                  <a:lnTo>
                    <a:pt x="123" y="626"/>
                  </a:lnTo>
                  <a:lnTo>
                    <a:pt x="123" y="625"/>
                  </a:lnTo>
                  <a:lnTo>
                    <a:pt x="122" y="623"/>
                  </a:lnTo>
                  <a:lnTo>
                    <a:pt x="122" y="622"/>
                  </a:lnTo>
                  <a:lnTo>
                    <a:pt x="123" y="622"/>
                  </a:lnTo>
                  <a:lnTo>
                    <a:pt x="123" y="621"/>
                  </a:lnTo>
                  <a:lnTo>
                    <a:pt x="124" y="620"/>
                  </a:lnTo>
                  <a:lnTo>
                    <a:pt x="125" y="620"/>
                  </a:lnTo>
                  <a:lnTo>
                    <a:pt x="128" y="619"/>
                  </a:lnTo>
                  <a:lnTo>
                    <a:pt x="130" y="616"/>
                  </a:lnTo>
                  <a:lnTo>
                    <a:pt x="131" y="616"/>
                  </a:lnTo>
                  <a:lnTo>
                    <a:pt x="132" y="619"/>
                  </a:lnTo>
                  <a:lnTo>
                    <a:pt x="134" y="619"/>
                  </a:lnTo>
                  <a:lnTo>
                    <a:pt x="135" y="617"/>
                  </a:lnTo>
                  <a:lnTo>
                    <a:pt x="135" y="616"/>
                  </a:lnTo>
                  <a:lnTo>
                    <a:pt x="136" y="616"/>
                  </a:lnTo>
                  <a:lnTo>
                    <a:pt x="136" y="615"/>
                  </a:lnTo>
                  <a:lnTo>
                    <a:pt x="138" y="615"/>
                  </a:lnTo>
                  <a:lnTo>
                    <a:pt x="143" y="609"/>
                  </a:lnTo>
                  <a:lnTo>
                    <a:pt x="145" y="608"/>
                  </a:lnTo>
                  <a:lnTo>
                    <a:pt x="145" y="604"/>
                  </a:lnTo>
                  <a:lnTo>
                    <a:pt x="147" y="604"/>
                  </a:lnTo>
                  <a:lnTo>
                    <a:pt x="150" y="603"/>
                  </a:lnTo>
                  <a:lnTo>
                    <a:pt x="150" y="598"/>
                  </a:lnTo>
                  <a:lnTo>
                    <a:pt x="151" y="597"/>
                  </a:lnTo>
                  <a:lnTo>
                    <a:pt x="151" y="596"/>
                  </a:lnTo>
                  <a:lnTo>
                    <a:pt x="153" y="595"/>
                  </a:lnTo>
                  <a:lnTo>
                    <a:pt x="154" y="595"/>
                  </a:lnTo>
                  <a:lnTo>
                    <a:pt x="154" y="593"/>
                  </a:lnTo>
                  <a:lnTo>
                    <a:pt x="155" y="595"/>
                  </a:lnTo>
                  <a:lnTo>
                    <a:pt x="155" y="596"/>
                  </a:lnTo>
                  <a:lnTo>
                    <a:pt x="156" y="597"/>
                  </a:lnTo>
                  <a:lnTo>
                    <a:pt x="159" y="597"/>
                  </a:lnTo>
                  <a:lnTo>
                    <a:pt x="159" y="596"/>
                  </a:lnTo>
                  <a:lnTo>
                    <a:pt x="156" y="596"/>
                  </a:lnTo>
                  <a:lnTo>
                    <a:pt x="155" y="595"/>
                  </a:lnTo>
                  <a:lnTo>
                    <a:pt x="155" y="592"/>
                  </a:lnTo>
                  <a:lnTo>
                    <a:pt x="161" y="592"/>
                  </a:lnTo>
                  <a:lnTo>
                    <a:pt x="161" y="591"/>
                  </a:lnTo>
                  <a:lnTo>
                    <a:pt x="162" y="590"/>
                  </a:lnTo>
                  <a:lnTo>
                    <a:pt x="162" y="586"/>
                  </a:lnTo>
                  <a:lnTo>
                    <a:pt x="163" y="586"/>
                  </a:lnTo>
                  <a:lnTo>
                    <a:pt x="167" y="584"/>
                  </a:lnTo>
                  <a:lnTo>
                    <a:pt x="167" y="583"/>
                  </a:lnTo>
                  <a:lnTo>
                    <a:pt x="169" y="580"/>
                  </a:lnTo>
                  <a:lnTo>
                    <a:pt x="170" y="578"/>
                  </a:lnTo>
                  <a:lnTo>
                    <a:pt x="170" y="572"/>
                  </a:lnTo>
                  <a:lnTo>
                    <a:pt x="172" y="568"/>
                  </a:lnTo>
                  <a:lnTo>
                    <a:pt x="172" y="564"/>
                  </a:lnTo>
                  <a:lnTo>
                    <a:pt x="176" y="564"/>
                  </a:lnTo>
                  <a:lnTo>
                    <a:pt x="178" y="565"/>
                  </a:lnTo>
                  <a:lnTo>
                    <a:pt x="181" y="565"/>
                  </a:lnTo>
                  <a:lnTo>
                    <a:pt x="185" y="561"/>
                  </a:lnTo>
                  <a:lnTo>
                    <a:pt x="185" y="560"/>
                  </a:lnTo>
                  <a:lnTo>
                    <a:pt x="186" y="560"/>
                  </a:lnTo>
                  <a:lnTo>
                    <a:pt x="185" y="559"/>
                  </a:lnTo>
                  <a:lnTo>
                    <a:pt x="185" y="556"/>
                  </a:lnTo>
                  <a:lnTo>
                    <a:pt x="184" y="555"/>
                  </a:lnTo>
                  <a:lnTo>
                    <a:pt x="185" y="555"/>
                  </a:lnTo>
                  <a:lnTo>
                    <a:pt x="185" y="552"/>
                  </a:lnTo>
                  <a:lnTo>
                    <a:pt x="187" y="550"/>
                  </a:lnTo>
                  <a:lnTo>
                    <a:pt x="196" y="550"/>
                  </a:lnTo>
                  <a:lnTo>
                    <a:pt x="197" y="549"/>
                  </a:lnTo>
                  <a:lnTo>
                    <a:pt x="201" y="549"/>
                  </a:lnTo>
                  <a:lnTo>
                    <a:pt x="203" y="548"/>
                  </a:lnTo>
                  <a:lnTo>
                    <a:pt x="204" y="548"/>
                  </a:lnTo>
                  <a:lnTo>
                    <a:pt x="210" y="549"/>
                  </a:lnTo>
                  <a:lnTo>
                    <a:pt x="212" y="549"/>
                  </a:lnTo>
                  <a:lnTo>
                    <a:pt x="218" y="550"/>
                  </a:lnTo>
                  <a:lnTo>
                    <a:pt x="221" y="553"/>
                  </a:lnTo>
                  <a:lnTo>
                    <a:pt x="225" y="552"/>
                  </a:lnTo>
                  <a:lnTo>
                    <a:pt x="228" y="552"/>
                  </a:lnTo>
                  <a:lnTo>
                    <a:pt x="230" y="550"/>
                  </a:lnTo>
                  <a:lnTo>
                    <a:pt x="232" y="552"/>
                  </a:lnTo>
                  <a:lnTo>
                    <a:pt x="234" y="550"/>
                  </a:lnTo>
                  <a:lnTo>
                    <a:pt x="235" y="550"/>
                  </a:lnTo>
                  <a:lnTo>
                    <a:pt x="235" y="552"/>
                  </a:lnTo>
                  <a:lnTo>
                    <a:pt x="236" y="550"/>
                  </a:lnTo>
                  <a:lnTo>
                    <a:pt x="236" y="544"/>
                  </a:lnTo>
                  <a:lnTo>
                    <a:pt x="235" y="543"/>
                  </a:lnTo>
                  <a:lnTo>
                    <a:pt x="237" y="543"/>
                  </a:lnTo>
                  <a:lnTo>
                    <a:pt x="237" y="541"/>
                  </a:lnTo>
                  <a:lnTo>
                    <a:pt x="238" y="540"/>
                  </a:lnTo>
                  <a:lnTo>
                    <a:pt x="237" y="539"/>
                  </a:lnTo>
                  <a:lnTo>
                    <a:pt x="240" y="539"/>
                  </a:lnTo>
                  <a:lnTo>
                    <a:pt x="241" y="537"/>
                  </a:lnTo>
                  <a:lnTo>
                    <a:pt x="244" y="533"/>
                  </a:lnTo>
                  <a:lnTo>
                    <a:pt x="246" y="531"/>
                  </a:lnTo>
                  <a:lnTo>
                    <a:pt x="248" y="531"/>
                  </a:lnTo>
                  <a:lnTo>
                    <a:pt x="249" y="530"/>
                  </a:lnTo>
                  <a:lnTo>
                    <a:pt x="253" y="524"/>
                  </a:lnTo>
                  <a:lnTo>
                    <a:pt x="254" y="523"/>
                  </a:lnTo>
                  <a:lnTo>
                    <a:pt x="254" y="522"/>
                  </a:lnTo>
                  <a:lnTo>
                    <a:pt x="255" y="522"/>
                  </a:lnTo>
                  <a:lnTo>
                    <a:pt x="255" y="521"/>
                  </a:lnTo>
                  <a:lnTo>
                    <a:pt x="257" y="518"/>
                  </a:lnTo>
                  <a:lnTo>
                    <a:pt x="259" y="516"/>
                  </a:lnTo>
                  <a:lnTo>
                    <a:pt x="260" y="516"/>
                  </a:lnTo>
                  <a:lnTo>
                    <a:pt x="261" y="515"/>
                  </a:lnTo>
                  <a:lnTo>
                    <a:pt x="262" y="515"/>
                  </a:lnTo>
                  <a:lnTo>
                    <a:pt x="262" y="512"/>
                  </a:lnTo>
                  <a:lnTo>
                    <a:pt x="260" y="515"/>
                  </a:lnTo>
                  <a:lnTo>
                    <a:pt x="259" y="515"/>
                  </a:lnTo>
                  <a:lnTo>
                    <a:pt x="254" y="519"/>
                  </a:lnTo>
                  <a:lnTo>
                    <a:pt x="253" y="519"/>
                  </a:lnTo>
                  <a:lnTo>
                    <a:pt x="250" y="523"/>
                  </a:lnTo>
                  <a:lnTo>
                    <a:pt x="248" y="525"/>
                  </a:lnTo>
                  <a:lnTo>
                    <a:pt x="247" y="525"/>
                  </a:lnTo>
                  <a:lnTo>
                    <a:pt x="244" y="527"/>
                  </a:lnTo>
                  <a:lnTo>
                    <a:pt x="244" y="528"/>
                  </a:lnTo>
                  <a:lnTo>
                    <a:pt x="238" y="528"/>
                  </a:lnTo>
                  <a:lnTo>
                    <a:pt x="237" y="527"/>
                  </a:lnTo>
                  <a:lnTo>
                    <a:pt x="237" y="528"/>
                  </a:lnTo>
                  <a:lnTo>
                    <a:pt x="236" y="529"/>
                  </a:lnTo>
                  <a:lnTo>
                    <a:pt x="234" y="530"/>
                  </a:lnTo>
                  <a:lnTo>
                    <a:pt x="231" y="533"/>
                  </a:lnTo>
                  <a:lnTo>
                    <a:pt x="230" y="533"/>
                  </a:lnTo>
                  <a:lnTo>
                    <a:pt x="230" y="534"/>
                  </a:lnTo>
                  <a:lnTo>
                    <a:pt x="229" y="534"/>
                  </a:lnTo>
                  <a:lnTo>
                    <a:pt x="229" y="535"/>
                  </a:lnTo>
                  <a:lnTo>
                    <a:pt x="230" y="536"/>
                  </a:lnTo>
                  <a:lnTo>
                    <a:pt x="229" y="537"/>
                  </a:lnTo>
                  <a:lnTo>
                    <a:pt x="229" y="539"/>
                  </a:lnTo>
                  <a:lnTo>
                    <a:pt x="228" y="537"/>
                  </a:lnTo>
                  <a:lnTo>
                    <a:pt x="224" y="539"/>
                  </a:lnTo>
                  <a:lnTo>
                    <a:pt x="213" y="539"/>
                  </a:lnTo>
                  <a:lnTo>
                    <a:pt x="213" y="537"/>
                  </a:lnTo>
                  <a:lnTo>
                    <a:pt x="209" y="533"/>
                  </a:lnTo>
                  <a:lnTo>
                    <a:pt x="206" y="533"/>
                  </a:lnTo>
                  <a:lnTo>
                    <a:pt x="205" y="531"/>
                  </a:lnTo>
                  <a:lnTo>
                    <a:pt x="205" y="529"/>
                  </a:lnTo>
                  <a:lnTo>
                    <a:pt x="204" y="528"/>
                  </a:lnTo>
                  <a:lnTo>
                    <a:pt x="204" y="527"/>
                  </a:lnTo>
                  <a:lnTo>
                    <a:pt x="201" y="524"/>
                  </a:lnTo>
                  <a:lnTo>
                    <a:pt x="201" y="523"/>
                  </a:lnTo>
                  <a:lnTo>
                    <a:pt x="196" y="523"/>
                  </a:lnTo>
                  <a:lnTo>
                    <a:pt x="194" y="524"/>
                  </a:lnTo>
                  <a:lnTo>
                    <a:pt x="194" y="525"/>
                  </a:lnTo>
                  <a:lnTo>
                    <a:pt x="196" y="527"/>
                  </a:lnTo>
                  <a:lnTo>
                    <a:pt x="192" y="527"/>
                  </a:lnTo>
                  <a:lnTo>
                    <a:pt x="192" y="528"/>
                  </a:lnTo>
                  <a:lnTo>
                    <a:pt x="191" y="528"/>
                  </a:lnTo>
                  <a:lnTo>
                    <a:pt x="191" y="527"/>
                  </a:lnTo>
                  <a:lnTo>
                    <a:pt x="188" y="527"/>
                  </a:lnTo>
                  <a:lnTo>
                    <a:pt x="188" y="528"/>
                  </a:lnTo>
                  <a:lnTo>
                    <a:pt x="186" y="528"/>
                  </a:lnTo>
                  <a:lnTo>
                    <a:pt x="186" y="529"/>
                  </a:lnTo>
                  <a:lnTo>
                    <a:pt x="185" y="529"/>
                  </a:lnTo>
                  <a:lnTo>
                    <a:pt x="182" y="528"/>
                  </a:lnTo>
                  <a:lnTo>
                    <a:pt x="181" y="527"/>
                  </a:lnTo>
                  <a:lnTo>
                    <a:pt x="182" y="525"/>
                  </a:lnTo>
                  <a:lnTo>
                    <a:pt x="182" y="523"/>
                  </a:lnTo>
                  <a:lnTo>
                    <a:pt x="184" y="523"/>
                  </a:lnTo>
                  <a:lnTo>
                    <a:pt x="184" y="522"/>
                  </a:lnTo>
                  <a:lnTo>
                    <a:pt x="185" y="522"/>
                  </a:lnTo>
                  <a:lnTo>
                    <a:pt x="185" y="523"/>
                  </a:lnTo>
                  <a:lnTo>
                    <a:pt x="186" y="522"/>
                  </a:lnTo>
                  <a:lnTo>
                    <a:pt x="191" y="522"/>
                  </a:lnTo>
                  <a:lnTo>
                    <a:pt x="191" y="519"/>
                  </a:lnTo>
                  <a:lnTo>
                    <a:pt x="190" y="519"/>
                  </a:lnTo>
                  <a:lnTo>
                    <a:pt x="190" y="521"/>
                  </a:lnTo>
                  <a:lnTo>
                    <a:pt x="188" y="519"/>
                  </a:lnTo>
                  <a:lnTo>
                    <a:pt x="186" y="518"/>
                  </a:lnTo>
                  <a:lnTo>
                    <a:pt x="185" y="519"/>
                  </a:lnTo>
                  <a:lnTo>
                    <a:pt x="181" y="519"/>
                  </a:lnTo>
                  <a:lnTo>
                    <a:pt x="178" y="516"/>
                  </a:lnTo>
                  <a:lnTo>
                    <a:pt x="180" y="516"/>
                  </a:lnTo>
                  <a:lnTo>
                    <a:pt x="180" y="515"/>
                  </a:lnTo>
                  <a:lnTo>
                    <a:pt x="179" y="515"/>
                  </a:lnTo>
                  <a:lnTo>
                    <a:pt x="179" y="512"/>
                  </a:lnTo>
                  <a:lnTo>
                    <a:pt x="178" y="512"/>
                  </a:lnTo>
                  <a:lnTo>
                    <a:pt x="178" y="513"/>
                  </a:lnTo>
                  <a:lnTo>
                    <a:pt x="176" y="513"/>
                  </a:lnTo>
                  <a:lnTo>
                    <a:pt x="176" y="512"/>
                  </a:lnTo>
                  <a:lnTo>
                    <a:pt x="175" y="512"/>
                  </a:lnTo>
                  <a:lnTo>
                    <a:pt x="175" y="513"/>
                  </a:lnTo>
                  <a:lnTo>
                    <a:pt x="176" y="515"/>
                  </a:lnTo>
                  <a:lnTo>
                    <a:pt x="175" y="515"/>
                  </a:lnTo>
                  <a:lnTo>
                    <a:pt x="173" y="516"/>
                  </a:lnTo>
                  <a:lnTo>
                    <a:pt x="170" y="515"/>
                  </a:lnTo>
                  <a:lnTo>
                    <a:pt x="169" y="515"/>
                  </a:lnTo>
                  <a:lnTo>
                    <a:pt x="167" y="516"/>
                  </a:lnTo>
                  <a:lnTo>
                    <a:pt x="166" y="516"/>
                  </a:lnTo>
                  <a:lnTo>
                    <a:pt x="166" y="518"/>
                  </a:lnTo>
                  <a:lnTo>
                    <a:pt x="165" y="518"/>
                  </a:lnTo>
                  <a:lnTo>
                    <a:pt x="165" y="521"/>
                  </a:lnTo>
                  <a:lnTo>
                    <a:pt x="163" y="521"/>
                  </a:lnTo>
                  <a:lnTo>
                    <a:pt x="162" y="522"/>
                  </a:lnTo>
                  <a:lnTo>
                    <a:pt x="156" y="522"/>
                  </a:lnTo>
                  <a:lnTo>
                    <a:pt x="156" y="523"/>
                  </a:lnTo>
                  <a:lnTo>
                    <a:pt x="155" y="524"/>
                  </a:lnTo>
                  <a:lnTo>
                    <a:pt x="154" y="524"/>
                  </a:lnTo>
                  <a:lnTo>
                    <a:pt x="151" y="523"/>
                  </a:lnTo>
                  <a:lnTo>
                    <a:pt x="150" y="523"/>
                  </a:lnTo>
                  <a:lnTo>
                    <a:pt x="150" y="521"/>
                  </a:lnTo>
                  <a:lnTo>
                    <a:pt x="148" y="519"/>
                  </a:lnTo>
                  <a:lnTo>
                    <a:pt x="147" y="519"/>
                  </a:lnTo>
                  <a:lnTo>
                    <a:pt x="147" y="518"/>
                  </a:lnTo>
                  <a:lnTo>
                    <a:pt x="150" y="519"/>
                  </a:lnTo>
                  <a:lnTo>
                    <a:pt x="150" y="518"/>
                  </a:lnTo>
                  <a:lnTo>
                    <a:pt x="153" y="518"/>
                  </a:lnTo>
                  <a:lnTo>
                    <a:pt x="155" y="517"/>
                  </a:lnTo>
                  <a:lnTo>
                    <a:pt x="157" y="517"/>
                  </a:lnTo>
                  <a:lnTo>
                    <a:pt x="157" y="516"/>
                  </a:lnTo>
                  <a:lnTo>
                    <a:pt x="159" y="517"/>
                  </a:lnTo>
                  <a:lnTo>
                    <a:pt x="159" y="516"/>
                  </a:lnTo>
                  <a:lnTo>
                    <a:pt x="157" y="515"/>
                  </a:lnTo>
                  <a:lnTo>
                    <a:pt x="157" y="512"/>
                  </a:lnTo>
                  <a:lnTo>
                    <a:pt x="160" y="511"/>
                  </a:lnTo>
                  <a:lnTo>
                    <a:pt x="159" y="511"/>
                  </a:lnTo>
                  <a:lnTo>
                    <a:pt x="157" y="512"/>
                  </a:lnTo>
                  <a:lnTo>
                    <a:pt x="156" y="512"/>
                  </a:lnTo>
                  <a:lnTo>
                    <a:pt x="156" y="516"/>
                  </a:lnTo>
                  <a:lnTo>
                    <a:pt x="153" y="517"/>
                  </a:lnTo>
                  <a:lnTo>
                    <a:pt x="151" y="517"/>
                  </a:lnTo>
                  <a:lnTo>
                    <a:pt x="145" y="516"/>
                  </a:lnTo>
                  <a:lnTo>
                    <a:pt x="145" y="518"/>
                  </a:lnTo>
                  <a:lnTo>
                    <a:pt x="144" y="518"/>
                  </a:lnTo>
                  <a:lnTo>
                    <a:pt x="144" y="517"/>
                  </a:lnTo>
                  <a:lnTo>
                    <a:pt x="142" y="516"/>
                  </a:lnTo>
                  <a:lnTo>
                    <a:pt x="143" y="515"/>
                  </a:lnTo>
                  <a:lnTo>
                    <a:pt x="144" y="515"/>
                  </a:lnTo>
                  <a:lnTo>
                    <a:pt x="144" y="513"/>
                  </a:lnTo>
                  <a:lnTo>
                    <a:pt x="147" y="513"/>
                  </a:lnTo>
                  <a:lnTo>
                    <a:pt x="148" y="512"/>
                  </a:lnTo>
                  <a:lnTo>
                    <a:pt x="148" y="511"/>
                  </a:lnTo>
                  <a:lnTo>
                    <a:pt x="147" y="510"/>
                  </a:lnTo>
                  <a:lnTo>
                    <a:pt x="147" y="506"/>
                  </a:lnTo>
                  <a:lnTo>
                    <a:pt x="145" y="507"/>
                  </a:lnTo>
                  <a:lnTo>
                    <a:pt x="145" y="506"/>
                  </a:lnTo>
                  <a:lnTo>
                    <a:pt x="143" y="506"/>
                  </a:lnTo>
                  <a:lnTo>
                    <a:pt x="143" y="505"/>
                  </a:lnTo>
                  <a:lnTo>
                    <a:pt x="142" y="506"/>
                  </a:lnTo>
                  <a:lnTo>
                    <a:pt x="140" y="506"/>
                  </a:lnTo>
                  <a:lnTo>
                    <a:pt x="140" y="503"/>
                  </a:lnTo>
                  <a:lnTo>
                    <a:pt x="142" y="503"/>
                  </a:lnTo>
                  <a:lnTo>
                    <a:pt x="144" y="500"/>
                  </a:lnTo>
                  <a:lnTo>
                    <a:pt x="147" y="500"/>
                  </a:lnTo>
                  <a:lnTo>
                    <a:pt x="148" y="499"/>
                  </a:lnTo>
                  <a:lnTo>
                    <a:pt x="148" y="497"/>
                  </a:lnTo>
                  <a:lnTo>
                    <a:pt x="149" y="497"/>
                  </a:lnTo>
                  <a:lnTo>
                    <a:pt x="149" y="496"/>
                  </a:lnTo>
                  <a:lnTo>
                    <a:pt x="151" y="496"/>
                  </a:lnTo>
                  <a:lnTo>
                    <a:pt x="154" y="497"/>
                  </a:lnTo>
                  <a:lnTo>
                    <a:pt x="155" y="497"/>
                  </a:lnTo>
                  <a:lnTo>
                    <a:pt x="156" y="496"/>
                  </a:lnTo>
                  <a:lnTo>
                    <a:pt x="159" y="496"/>
                  </a:lnTo>
                  <a:lnTo>
                    <a:pt x="159" y="493"/>
                  </a:lnTo>
                  <a:lnTo>
                    <a:pt x="161" y="493"/>
                  </a:lnTo>
                  <a:lnTo>
                    <a:pt x="163" y="491"/>
                  </a:lnTo>
                  <a:lnTo>
                    <a:pt x="163" y="490"/>
                  </a:lnTo>
                  <a:lnTo>
                    <a:pt x="165" y="490"/>
                  </a:lnTo>
                  <a:lnTo>
                    <a:pt x="166" y="491"/>
                  </a:lnTo>
                  <a:lnTo>
                    <a:pt x="166" y="488"/>
                  </a:lnTo>
                  <a:lnTo>
                    <a:pt x="167" y="487"/>
                  </a:lnTo>
                  <a:lnTo>
                    <a:pt x="173" y="488"/>
                  </a:lnTo>
                  <a:lnTo>
                    <a:pt x="173" y="487"/>
                  </a:lnTo>
                  <a:lnTo>
                    <a:pt x="174" y="486"/>
                  </a:lnTo>
                  <a:lnTo>
                    <a:pt x="175" y="486"/>
                  </a:lnTo>
                  <a:lnTo>
                    <a:pt x="179" y="482"/>
                  </a:lnTo>
                  <a:lnTo>
                    <a:pt x="181" y="482"/>
                  </a:lnTo>
                  <a:lnTo>
                    <a:pt x="186" y="478"/>
                  </a:lnTo>
                  <a:lnTo>
                    <a:pt x="188" y="474"/>
                  </a:lnTo>
                  <a:lnTo>
                    <a:pt x="190" y="472"/>
                  </a:lnTo>
                  <a:lnTo>
                    <a:pt x="190" y="470"/>
                  </a:lnTo>
                  <a:lnTo>
                    <a:pt x="191" y="468"/>
                  </a:lnTo>
                  <a:lnTo>
                    <a:pt x="191" y="464"/>
                  </a:lnTo>
                  <a:lnTo>
                    <a:pt x="192" y="463"/>
                  </a:lnTo>
                  <a:lnTo>
                    <a:pt x="192" y="461"/>
                  </a:lnTo>
                  <a:lnTo>
                    <a:pt x="194" y="461"/>
                  </a:lnTo>
                  <a:lnTo>
                    <a:pt x="197" y="460"/>
                  </a:lnTo>
                  <a:lnTo>
                    <a:pt x="197" y="458"/>
                  </a:lnTo>
                  <a:lnTo>
                    <a:pt x="196" y="458"/>
                  </a:lnTo>
                  <a:lnTo>
                    <a:pt x="193" y="460"/>
                  </a:lnTo>
                  <a:lnTo>
                    <a:pt x="191" y="460"/>
                  </a:lnTo>
                  <a:lnTo>
                    <a:pt x="190" y="456"/>
                  </a:lnTo>
                  <a:lnTo>
                    <a:pt x="188" y="455"/>
                  </a:lnTo>
                  <a:lnTo>
                    <a:pt x="190" y="454"/>
                  </a:lnTo>
                  <a:lnTo>
                    <a:pt x="190" y="453"/>
                  </a:lnTo>
                  <a:lnTo>
                    <a:pt x="191" y="450"/>
                  </a:lnTo>
                  <a:lnTo>
                    <a:pt x="192" y="450"/>
                  </a:lnTo>
                  <a:lnTo>
                    <a:pt x="192" y="449"/>
                  </a:lnTo>
                  <a:lnTo>
                    <a:pt x="194" y="447"/>
                  </a:lnTo>
                  <a:lnTo>
                    <a:pt x="193" y="447"/>
                  </a:lnTo>
                  <a:lnTo>
                    <a:pt x="192" y="448"/>
                  </a:lnTo>
                  <a:lnTo>
                    <a:pt x="188" y="443"/>
                  </a:lnTo>
                  <a:lnTo>
                    <a:pt x="188" y="441"/>
                  </a:lnTo>
                  <a:lnTo>
                    <a:pt x="190" y="439"/>
                  </a:lnTo>
                  <a:lnTo>
                    <a:pt x="190" y="438"/>
                  </a:lnTo>
                  <a:lnTo>
                    <a:pt x="188" y="437"/>
                  </a:lnTo>
                  <a:lnTo>
                    <a:pt x="188" y="436"/>
                  </a:lnTo>
                  <a:lnTo>
                    <a:pt x="192" y="433"/>
                  </a:lnTo>
                  <a:lnTo>
                    <a:pt x="185" y="433"/>
                  </a:lnTo>
                  <a:lnTo>
                    <a:pt x="181" y="435"/>
                  </a:lnTo>
                  <a:lnTo>
                    <a:pt x="180" y="436"/>
                  </a:lnTo>
                  <a:lnTo>
                    <a:pt x="176" y="436"/>
                  </a:lnTo>
                  <a:lnTo>
                    <a:pt x="173" y="439"/>
                  </a:lnTo>
                  <a:lnTo>
                    <a:pt x="173" y="441"/>
                  </a:lnTo>
                  <a:lnTo>
                    <a:pt x="174" y="442"/>
                  </a:lnTo>
                  <a:lnTo>
                    <a:pt x="173" y="442"/>
                  </a:lnTo>
                  <a:lnTo>
                    <a:pt x="173" y="443"/>
                  </a:lnTo>
                  <a:lnTo>
                    <a:pt x="172" y="443"/>
                  </a:lnTo>
                  <a:lnTo>
                    <a:pt x="172" y="442"/>
                  </a:lnTo>
                  <a:lnTo>
                    <a:pt x="170" y="442"/>
                  </a:lnTo>
                  <a:lnTo>
                    <a:pt x="169" y="441"/>
                  </a:lnTo>
                  <a:lnTo>
                    <a:pt x="168" y="441"/>
                  </a:lnTo>
                  <a:lnTo>
                    <a:pt x="168" y="442"/>
                  </a:lnTo>
                  <a:lnTo>
                    <a:pt x="163" y="442"/>
                  </a:lnTo>
                  <a:lnTo>
                    <a:pt x="163" y="443"/>
                  </a:lnTo>
                  <a:lnTo>
                    <a:pt x="162" y="443"/>
                  </a:lnTo>
                  <a:lnTo>
                    <a:pt x="162" y="441"/>
                  </a:lnTo>
                  <a:lnTo>
                    <a:pt x="169" y="433"/>
                  </a:lnTo>
                  <a:lnTo>
                    <a:pt x="169" y="432"/>
                  </a:lnTo>
                  <a:lnTo>
                    <a:pt x="172" y="432"/>
                  </a:lnTo>
                  <a:lnTo>
                    <a:pt x="176" y="427"/>
                  </a:lnTo>
                  <a:lnTo>
                    <a:pt x="179" y="426"/>
                  </a:lnTo>
                  <a:lnTo>
                    <a:pt x="179" y="425"/>
                  </a:lnTo>
                  <a:lnTo>
                    <a:pt x="180" y="424"/>
                  </a:lnTo>
                  <a:lnTo>
                    <a:pt x="180" y="420"/>
                  </a:lnTo>
                  <a:lnTo>
                    <a:pt x="181" y="420"/>
                  </a:lnTo>
                  <a:lnTo>
                    <a:pt x="181" y="419"/>
                  </a:lnTo>
                  <a:lnTo>
                    <a:pt x="184" y="417"/>
                  </a:lnTo>
                  <a:lnTo>
                    <a:pt x="185" y="417"/>
                  </a:lnTo>
                  <a:lnTo>
                    <a:pt x="185" y="415"/>
                  </a:lnTo>
                  <a:lnTo>
                    <a:pt x="187" y="413"/>
                  </a:lnTo>
                  <a:lnTo>
                    <a:pt x="187" y="412"/>
                  </a:lnTo>
                  <a:lnTo>
                    <a:pt x="190" y="412"/>
                  </a:lnTo>
                  <a:lnTo>
                    <a:pt x="191" y="411"/>
                  </a:lnTo>
                  <a:lnTo>
                    <a:pt x="191" y="412"/>
                  </a:lnTo>
                  <a:lnTo>
                    <a:pt x="192" y="412"/>
                  </a:lnTo>
                  <a:lnTo>
                    <a:pt x="193" y="411"/>
                  </a:lnTo>
                  <a:lnTo>
                    <a:pt x="194" y="411"/>
                  </a:lnTo>
                  <a:lnTo>
                    <a:pt x="196" y="410"/>
                  </a:lnTo>
                  <a:lnTo>
                    <a:pt x="200" y="407"/>
                  </a:lnTo>
                  <a:lnTo>
                    <a:pt x="201" y="407"/>
                  </a:lnTo>
                  <a:lnTo>
                    <a:pt x="199" y="405"/>
                  </a:lnTo>
                  <a:lnTo>
                    <a:pt x="199" y="404"/>
                  </a:lnTo>
                  <a:lnTo>
                    <a:pt x="200" y="405"/>
                  </a:lnTo>
                  <a:lnTo>
                    <a:pt x="201" y="405"/>
                  </a:lnTo>
                  <a:lnTo>
                    <a:pt x="203" y="406"/>
                  </a:lnTo>
                  <a:lnTo>
                    <a:pt x="203" y="405"/>
                  </a:lnTo>
                  <a:lnTo>
                    <a:pt x="204" y="406"/>
                  </a:lnTo>
                  <a:lnTo>
                    <a:pt x="205" y="406"/>
                  </a:lnTo>
                  <a:lnTo>
                    <a:pt x="205" y="407"/>
                  </a:lnTo>
                  <a:lnTo>
                    <a:pt x="212" y="407"/>
                  </a:lnTo>
                  <a:lnTo>
                    <a:pt x="221" y="404"/>
                  </a:lnTo>
                  <a:lnTo>
                    <a:pt x="224" y="404"/>
                  </a:lnTo>
                  <a:lnTo>
                    <a:pt x="225" y="405"/>
                  </a:lnTo>
                  <a:lnTo>
                    <a:pt x="225" y="406"/>
                  </a:lnTo>
                  <a:lnTo>
                    <a:pt x="231" y="410"/>
                  </a:lnTo>
                  <a:lnTo>
                    <a:pt x="231" y="411"/>
                  </a:lnTo>
                  <a:lnTo>
                    <a:pt x="232" y="411"/>
                  </a:lnTo>
                  <a:lnTo>
                    <a:pt x="232" y="407"/>
                  </a:lnTo>
                  <a:lnTo>
                    <a:pt x="230" y="405"/>
                  </a:lnTo>
                  <a:lnTo>
                    <a:pt x="229" y="402"/>
                  </a:lnTo>
                  <a:lnTo>
                    <a:pt x="229" y="400"/>
                  </a:lnTo>
                  <a:lnTo>
                    <a:pt x="230" y="399"/>
                  </a:lnTo>
                  <a:lnTo>
                    <a:pt x="232" y="399"/>
                  </a:lnTo>
                  <a:lnTo>
                    <a:pt x="234" y="398"/>
                  </a:lnTo>
                  <a:lnTo>
                    <a:pt x="235" y="398"/>
                  </a:lnTo>
                  <a:lnTo>
                    <a:pt x="236" y="399"/>
                  </a:lnTo>
                  <a:lnTo>
                    <a:pt x="238" y="405"/>
                  </a:lnTo>
                  <a:lnTo>
                    <a:pt x="240" y="406"/>
                  </a:lnTo>
                  <a:lnTo>
                    <a:pt x="240" y="407"/>
                  </a:lnTo>
                  <a:lnTo>
                    <a:pt x="246" y="407"/>
                  </a:lnTo>
                  <a:lnTo>
                    <a:pt x="247" y="406"/>
                  </a:lnTo>
                  <a:lnTo>
                    <a:pt x="247" y="404"/>
                  </a:lnTo>
                  <a:lnTo>
                    <a:pt x="246" y="404"/>
                  </a:lnTo>
                  <a:lnTo>
                    <a:pt x="246" y="405"/>
                  </a:lnTo>
                  <a:lnTo>
                    <a:pt x="241" y="405"/>
                  </a:lnTo>
                  <a:lnTo>
                    <a:pt x="240" y="404"/>
                  </a:lnTo>
                  <a:lnTo>
                    <a:pt x="238" y="401"/>
                  </a:lnTo>
                  <a:lnTo>
                    <a:pt x="237" y="400"/>
                  </a:lnTo>
                  <a:lnTo>
                    <a:pt x="232" y="389"/>
                  </a:lnTo>
                  <a:lnTo>
                    <a:pt x="232" y="387"/>
                  </a:lnTo>
                  <a:lnTo>
                    <a:pt x="235" y="382"/>
                  </a:lnTo>
                  <a:lnTo>
                    <a:pt x="237" y="378"/>
                  </a:lnTo>
                  <a:lnTo>
                    <a:pt x="238" y="378"/>
                  </a:lnTo>
                  <a:lnTo>
                    <a:pt x="238" y="377"/>
                  </a:lnTo>
                  <a:lnTo>
                    <a:pt x="240" y="376"/>
                  </a:lnTo>
                  <a:lnTo>
                    <a:pt x="237" y="376"/>
                  </a:lnTo>
                  <a:lnTo>
                    <a:pt x="235" y="374"/>
                  </a:lnTo>
                  <a:lnTo>
                    <a:pt x="234" y="371"/>
                  </a:lnTo>
                  <a:lnTo>
                    <a:pt x="235" y="365"/>
                  </a:lnTo>
                  <a:lnTo>
                    <a:pt x="234" y="364"/>
                  </a:lnTo>
                  <a:lnTo>
                    <a:pt x="236" y="362"/>
                  </a:lnTo>
                  <a:lnTo>
                    <a:pt x="240" y="361"/>
                  </a:lnTo>
                  <a:lnTo>
                    <a:pt x="241" y="361"/>
                  </a:lnTo>
                  <a:lnTo>
                    <a:pt x="242" y="359"/>
                  </a:lnTo>
                  <a:lnTo>
                    <a:pt x="242" y="358"/>
                  </a:lnTo>
                  <a:lnTo>
                    <a:pt x="243" y="357"/>
                  </a:lnTo>
                  <a:lnTo>
                    <a:pt x="243" y="356"/>
                  </a:lnTo>
                  <a:lnTo>
                    <a:pt x="242" y="357"/>
                  </a:lnTo>
                  <a:lnTo>
                    <a:pt x="241" y="357"/>
                  </a:lnTo>
                  <a:lnTo>
                    <a:pt x="240" y="355"/>
                  </a:lnTo>
                  <a:lnTo>
                    <a:pt x="242" y="352"/>
                  </a:lnTo>
                  <a:lnTo>
                    <a:pt x="242" y="351"/>
                  </a:lnTo>
                  <a:lnTo>
                    <a:pt x="243" y="351"/>
                  </a:lnTo>
                  <a:lnTo>
                    <a:pt x="244" y="350"/>
                  </a:lnTo>
                  <a:lnTo>
                    <a:pt x="244" y="347"/>
                  </a:lnTo>
                  <a:lnTo>
                    <a:pt x="243" y="345"/>
                  </a:lnTo>
                  <a:lnTo>
                    <a:pt x="243" y="344"/>
                  </a:lnTo>
                  <a:lnTo>
                    <a:pt x="242" y="343"/>
                  </a:lnTo>
                  <a:lnTo>
                    <a:pt x="243" y="343"/>
                  </a:lnTo>
                  <a:lnTo>
                    <a:pt x="246" y="340"/>
                  </a:lnTo>
                  <a:lnTo>
                    <a:pt x="244" y="339"/>
                  </a:lnTo>
                  <a:lnTo>
                    <a:pt x="244" y="341"/>
                  </a:lnTo>
                  <a:lnTo>
                    <a:pt x="243" y="341"/>
                  </a:lnTo>
                  <a:lnTo>
                    <a:pt x="241" y="343"/>
                  </a:lnTo>
                  <a:lnTo>
                    <a:pt x="241" y="344"/>
                  </a:lnTo>
                  <a:lnTo>
                    <a:pt x="240" y="344"/>
                  </a:lnTo>
                  <a:lnTo>
                    <a:pt x="240" y="345"/>
                  </a:lnTo>
                  <a:lnTo>
                    <a:pt x="238" y="346"/>
                  </a:lnTo>
                  <a:lnTo>
                    <a:pt x="237" y="346"/>
                  </a:lnTo>
                  <a:lnTo>
                    <a:pt x="236" y="345"/>
                  </a:lnTo>
                  <a:lnTo>
                    <a:pt x="236" y="341"/>
                  </a:lnTo>
                  <a:lnTo>
                    <a:pt x="235" y="341"/>
                  </a:lnTo>
                  <a:lnTo>
                    <a:pt x="235" y="343"/>
                  </a:lnTo>
                  <a:lnTo>
                    <a:pt x="234" y="344"/>
                  </a:lnTo>
                  <a:lnTo>
                    <a:pt x="234" y="345"/>
                  </a:lnTo>
                  <a:lnTo>
                    <a:pt x="232" y="347"/>
                  </a:lnTo>
                  <a:lnTo>
                    <a:pt x="230" y="350"/>
                  </a:lnTo>
                  <a:lnTo>
                    <a:pt x="230" y="352"/>
                  </a:lnTo>
                  <a:lnTo>
                    <a:pt x="229" y="350"/>
                  </a:lnTo>
                  <a:lnTo>
                    <a:pt x="227" y="350"/>
                  </a:lnTo>
                  <a:lnTo>
                    <a:pt x="227" y="345"/>
                  </a:lnTo>
                  <a:lnTo>
                    <a:pt x="225" y="345"/>
                  </a:lnTo>
                  <a:lnTo>
                    <a:pt x="228" y="344"/>
                  </a:lnTo>
                  <a:lnTo>
                    <a:pt x="228" y="338"/>
                  </a:lnTo>
                  <a:lnTo>
                    <a:pt x="227" y="338"/>
                  </a:lnTo>
                  <a:lnTo>
                    <a:pt x="227" y="343"/>
                  </a:lnTo>
                  <a:lnTo>
                    <a:pt x="223" y="343"/>
                  </a:lnTo>
                  <a:lnTo>
                    <a:pt x="221" y="339"/>
                  </a:lnTo>
                  <a:lnTo>
                    <a:pt x="219" y="338"/>
                  </a:lnTo>
                  <a:lnTo>
                    <a:pt x="219" y="332"/>
                  </a:lnTo>
                  <a:lnTo>
                    <a:pt x="218" y="332"/>
                  </a:lnTo>
                  <a:lnTo>
                    <a:pt x="216" y="328"/>
                  </a:lnTo>
                  <a:lnTo>
                    <a:pt x="216" y="327"/>
                  </a:lnTo>
                  <a:lnTo>
                    <a:pt x="211" y="322"/>
                  </a:lnTo>
                  <a:lnTo>
                    <a:pt x="211" y="321"/>
                  </a:lnTo>
                  <a:lnTo>
                    <a:pt x="210" y="320"/>
                  </a:lnTo>
                  <a:lnTo>
                    <a:pt x="210" y="319"/>
                  </a:lnTo>
                  <a:lnTo>
                    <a:pt x="211" y="319"/>
                  </a:lnTo>
                  <a:lnTo>
                    <a:pt x="211" y="316"/>
                  </a:lnTo>
                  <a:lnTo>
                    <a:pt x="212" y="310"/>
                  </a:lnTo>
                  <a:lnTo>
                    <a:pt x="215" y="307"/>
                  </a:lnTo>
                  <a:lnTo>
                    <a:pt x="215" y="304"/>
                  </a:lnTo>
                  <a:lnTo>
                    <a:pt x="216" y="304"/>
                  </a:lnTo>
                  <a:lnTo>
                    <a:pt x="218" y="302"/>
                  </a:lnTo>
                  <a:lnTo>
                    <a:pt x="218" y="300"/>
                  </a:lnTo>
                  <a:lnTo>
                    <a:pt x="219" y="295"/>
                  </a:lnTo>
                  <a:lnTo>
                    <a:pt x="221" y="292"/>
                  </a:lnTo>
                  <a:lnTo>
                    <a:pt x="221" y="291"/>
                  </a:lnTo>
                  <a:lnTo>
                    <a:pt x="222" y="291"/>
                  </a:lnTo>
                  <a:lnTo>
                    <a:pt x="223" y="292"/>
                  </a:lnTo>
                  <a:lnTo>
                    <a:pt x="224" y="292"/>
                  </a:lnTo>
                  <a:lnTo>
                    <a:pt x="225" y="291"/>
                  </a:lnTo>
                  <a:lnTo>
                    <a:pt x="223" y="290"/>
                  </a:lnTo>
                  <a:lnTo>
                    <a:pt x="224" y="289"/>
                  </a:lnTo>
                  <a:lnTo>
                    <a:pt x="228" y="288"/>
                  </a:lnTo>
                  <a:lnTo>
                    <a:pt x="229" y="289"/>
                  </a:lnTo>
                  <a:lnTo>
                    <a:pt x="231" y="289"/>
                  </a:lnTo>
                  <a:lnTo>
                    <a:pt x="235" y="288"/>
                  </a:lnTo>
                  <a:lnTo>
                    <a:pt x="232" y="288"/>
                  </a:lnTo>
                  <a:lnTo>
                    <a:pt x="234" y="287"/>
                  </a:lnTo>
                  <a:lnTo>
                    <a:pt x="235" y="287"/>
                  </a:lnTo>
                  <a:lnTo>
                    <a:pt x="235" y="285"/>
                  </a:lnTo>
                  <a:lnTo>
                    <a:pt x="234" y="285"/>
                  </a:lnTo>
                  <a:lnTo>
                    <a:pt x="230" y="287"/>
                  </a:lnTo>
                  <a:lnTo>
                    <a:pt x="217" y="285"/>
                  </a:lnTo>
                  <a:lnTo>
                    <a:pt x="215" y="285"/>
                  </a:lnTo>
                  <a:lnTo>
                    <a:pt x="215" y="287"/>
                  </a:lnTo>
                  <a:lnTo>
                    <a:pt x="212" y="284"/>
                  </a:lnTo>
                  <a:lnTo>
                    <a:pt x="212" y="292"/>
                  </a:lnTo>
                  <a:lnTo>
                    <a:pt x="211" y="294"/>
                  </a:lnTo>
                  <a:lnTo>
                    <a:pt x="207" y="292"/>
                  </a:lnTo>
                  <a:lnTo>
                    <a:pt x="206" y="292"/>
                  </a:lnTo>
                  <a:lnTo>
                    <a:pt x="205" y="295"/>
                  </a:lnTo>
                  <a:lnTo>
                    <a:pt x="203" y="294"/>
                  </a:lnTo>
                  <a:lnTo>
                    <a:pt x="201" y="292"/>
                  </a:lnTo>
                  <a:lnTo>
                    <a:pt x="201" y="294"/>
                  </a:lnTo>
                  <a:lnTo>
                    <a:pt x="200" y="294"/>
                  </a:lnTo>
                  <a:lnTo>
                    <a:pt x="201" y="295"/>
                  </a:lnTo>
                  <a:lnTo>
                    <a:pt x="200" y="295"/>
                  </a:lnTo>
                  <a:lnTo>
                    <a:pt x="200" y="296"/>
                  </a:lnTo>
                  <a:lnTo>
                    <a:pt x="201" y="297"/>
                  </a:lnTo>
                  <a:lnTo>
                    <a:pt x="199" y="298"/>
                  </a:lnTo>
                  <a:lnTo>
                    <a:pt x="196" y="301"/>
                  </a:lnTo>
                  <a:lnTo>
                    <a:pt x="192" y="301"/>
                  </a:lnTo>
                  <a:lnTo>
                    <a:pt x="192" y="296"/>
                  </a:lnTo>
                  <a:lnTo>
                    <a:pt x="191" y="297"/>
                  </a:lnTo>
                  <a:lnTo>
                    <a:pt x="191" y="301"/>
                  </a:lnTo>
                  <a:lnTo>
                    <a:pt x="190" y="301"/>
                  </a:lnTo>
                  <a:lnTo>
                    <a:pt x="187" y="300"/>
                  </a:lnTo>
                  <a:lnTo>
                    <a:pt x="185" y="297"/>
                  </a:lnTo>
                  <a:lnTo>
                    <a:pt x="186" y="294"/>
                  </a:lnTo>
                  <a:lnTo>
                    <a:pt x="184" y="296"/>
                  </a:lnTo>
                  <a:lnTo>
                    <a:pt x="182" y="296"/>
                  </a:lnTo>
                  <a:lnTo>
                    <a:pt x="180" y="295"/>
                  </a:lnTo>
                  <a:lnTo>
                    <a:pt x="179" y="294"/>
                  </a:lnTo>
                  <a:lnTo>
                    <a:pt x="179" y="292"/>
                  </a:lnTo>
                  <a:lnTo>
                    <a:pt x="178" y="291"/>
                  </a:lnTo>
                  <a:lnTo>
                    <a:pt x="176" y="291"/>
                  </a:lnTo>
                  <a:lnTo>
                    <a:pt x="176" y="296"/>
                  </a:lnTo>
                  <a:lnTo>
                    <a:pt x="178" y="297"/>
                  </a:lnTo>
                  <a:lnTo>
                    <a:pt x="179" y="297"/>
                  </a:lnTo>
                  <a:lnTo>
                    <a:pt x="180" y="298"/>
                  </a:lnTo>
                  <a:lnTo>
                    <a:pt x="180" y="300"/>
                  </a:lnTo>
                  <a:lnTo>
                    <a:pt x="179" y="300"/>
                  </a:lnTo>
                  <a:lnTo>
                    <a:pt x="179" y="301"/>
                  </a:lnTo>
                  <a:lnTo>
                    <a:pt x="180" y="302"/>
                  </a:lnTo>
                  <a:lnTo>
                    <a:pt x="179" y="303"/>
                  </a:lnTo>
                  <a:lnTo>
                    <a:pt x="179" y="304"/>
                  </a:lnTo>
                  <a:lnTo>
                    <a:pt x="180" y="306"/>
                  </a:lnTo>
                  <a:lnTo>
                    <a:pt x="179" y="307"/>
                  </a:lnTo>
                  <a:lnTo>
                    <a:pt x="179" y="308"/>
                  </a:lnTo>
                  <a:lnTo>
                    <a:pt x="178" y="308"/>
                  </a:lnTo>
                  <a:lnTo>
                    <a:pt x="176" y="307"/>
                  </a:lnTo>
                  <a:lnTo>
                    <a:pt x="175" y="307"/>
                  </a:lnTo>
                  <a:lnTo>
                    <a:pt x="175" y="306"/>
                  </a:lnTo>
                  <a:lnTo>
                    <a:pt x="173" y="306"/>
                  </a:lnTo>
                  <a:lnTo>
                    <a:pt x="170" y="302"/>
                  </a:lnTo>
                  <a:lnTo>
                    <a:pt x="169" y="301"/>
                  </a:lnTo>
                  <a:lnTo>
                    <a:pt x="165" y="297"/>
                  </a:lnTo>
                  <a:lnTo>
                    <a:pt x="162" y="297"/>
                  </a:lnTo>
                  <a:lnTo>
                    <a:pt x="161" y="296"/>
                  </a:lnTo>
                  <a:lnTo>
                    <a:pt x="161" y="295"/>
                  </a:lnTo>
                  <a:lnTo>
                    <a:pt x="160" y="294"/>
                  </a:lnTo>
                  <a:lnTo>
                    <a:pt x="157" y="294"/>
                  </a:lnTo>
                  <a:lnTo>
                    <a:pt x="157" y="295"/>
                  </a:lnTo>
                  <a:lnTo>
                    <a:pt x="156" y="295"/>
                  </a:lnTo>
                  <a:lnTo>
                    <a:pt x="155" y="296"/>
                  </a:lnTo>
                  <a:lnTo>
                    <a:pt x="155" y="297"/>
                  </a:lnTo>
                  <a:lnTo>
                    <a:pt x="154" y="297"/>
                  </a:lnTo>
                  <a:lnTo>
                    <a:pt x="154" y="301"/>
                  </a:lnTo>
                  <a:lnTo>
                    <a:pt x="155" y="301"/>
                  </a:lnTo>
                  <a:lnTo>
                    <a:pt x="155" y="302"/>
                  </a:lnTo>
                  <a:lnTo>
                    <a:pt x="156" y="304"/>
                  </a:lnTo>
                  <a:lnTo>
                    <a:pt x="156" y="306"/>
                  </a:lnTo>
                  <a:lnTo>
                    <a:pt x="157" y="307"/>
                  </a:lnTo>
                  <a:lnTo>
                    <a:pt x="157" y="310"/>
                  </a:lnTo>
                  <a:lnTo>
                    <a:pt x="155" y="310"/>
                  </a:lnTo>
                  <a:lnTo>
                    <a:pt x="154" y="309"/>
                  </a:lnTo>
                  <a:lnTo>
                    <a:pt x="154" y="304"/>
                  </a:lnTo>
                  <a:lnTo>
                    <a:pt x="153" y="304"/>
                  </a:lnTo>
                  <a:lnTo>
                    <a:pt x="153" y="302"/>
                  </a:lnTo>
                  <a:lnTo>
                    <a:pt x="150" y="300"/>
                  </a:lnTo>
                  <a:lnTo>
                    <a:pt x="147" y="295"/>
                  </a:lnTo>
                  <a:lnTo>
                    <a:pt x="145" y="294"/>
                  </a:lnTo>
                  <a:lnTo>
                    <a:pt x="144" y="290"/>
                  </a:lnTo>
                  <a:lnTo>
                    <a:pt x="144" y="284"/>
                  </a:lnTo>
                  <a:lnTo>
                    <a:pt x="145" y="283"/>
                  </a:lnTo>
                  <a:lnTo>
                    <a:pt x="147" y="283"/>
                  </a:lnTo>
                  <a:lnTo>
                    <a:pt x="147" y="282"/>
                  </a:lnTo>
                  <a:lnTo>
                    <a:pt x="148" y="283"/>
                  </a:lnTo>
                  <a:lnTo>
                    <a:pt x="148" y="284"/>
                  </a:lnTo>
                  <a:lnTo>
                    <a:pt x="149" y="284"/>
                  </a:lnTo>
                  <a:lnTo>
                    <a:pt x="149" y="289"/>
                  </a:lnTo>
                  <a:lnTo>
                    <a:pt x="150" y="290"/>
                  </a:lnTo>
                  <a:lnTo>
                    <a:pt x="150" y="291"/>
                  </a:lnTo>
                  <a:lnTo>
                    <a:pt x="151" y="291"/>
                  </a:lnTo>
                  <a:lnTo>
                    <a:pt x="153" y="290"/>
                  </a:lnTo>
                  <a:lnTo>
                    <a:pt x="153" y="289"/>
                  </a:lnTo>
                  <a:lnTo>
                    <a:pt x="151" y="287"/>
                  </a:lnTo>
                  <a:lnTo>
                    <a:pt x="150" y="285"/>
                  </a:lnTo>
                  <a:lnTo>
                    <a:pt x="150" y="279"/>
                  </a:lnTo>
                  <a:lnTo>
                    <a:pt x="151" y="278"/>
                  </a:lnTo>
                  <a:lnTo>
                    <a:pt x="151" y="273"/>
                  </a:lnTo>
                  <a:lnTo>
                    <a:pt x="153" y="273"/>
                  </a:lnTo>
                  <a:lnTo>
                    <a:pt x="157" y="269"/>
                  </a:lnTo>
                  <a:lnTo>
                    <a:pt x="157" y="266"/>
                  </a:lnTo>
                  <a:lnTo>
                    <a:pt x="159" y="264"/>
                  </a:lnTo>
                  <a:lnTo>
                    <a:pt x="159" y="260"/>
                  </a:lnTo>
                  <a:lnTo>
                    <a:pt x="161" y="258"/>
                  </a:lnTo>
                  <a:lnTo>
                    <a:pt x="161" y="257"/>
                  </a:lnTo>
                  <a:lnTo>
                    <a:pt x="162" y="257"/>
                  </a:lnTo>
                  <a:lnTo>
                    <a:pt x="162" y="254"/>
                  </a:lnTo>
                  <a:lnTo>
                    <a:pt x="163" y="252"/>
                  </a:lnTo>
                  <a:lnTo>
                    <a:pt x="167" y="251"/>
                  </a:lnTo>
                  <a:lnTo>
                    <a:pt x="168" y="249"/>
                  </a:lnTo>
                  <a:lnTo>
                    <a:pt x="168" y="246"/>
                  </a:lnTo>
                  <a:lnTo>
                    <a:pt x="166" y="244"/>
                  </a:lnTo>
                  <a:lnTo>
                    <a:pt x="166" y="241"/>
                  </a:lnTo>
                  <a:lnTo>
                    <a:pt x="163" y="239"/>
                  </a:lnTo>
                  <a:lnTo>
                    <a:pt x="161" y="238"/>
                  </a:lnTo>
                  <a:lnTo>
                    <a:pt x="160" y="238"/>
                  </a:lnTo>
                  <a:lnTo>
                    <a:pt x="160" y="236"/>
                  </a:lnTo>
                  <a:lnTo>
                    <a:pt x="155" y="232"/>
                  </a:lnTo>
                  <a:lnTo>
                    <a:pt x="157" y="229"/>
                  </a:lnTo>
                  <a:lnTo>
                    <a:pt x="157" y="223"/>
                  </a:lnTo>
                  <a:lnTo>
                    <a:pt x="156" y="220"/>
                  </a:lnTo>
                  <a:lnTo>
                    <a:pt x="156" y="216"/>
                  </a:lnTo>
                  <a:lnTo>
                    <a:pt x="159" y="214"/>
                  </a:lnTo>
                  <a:lnTo>
                    <a:pt x="160" y="214"/>
                  </a:lnTo>
                  <a:lnTo>
                    <a:pt x="161" y="212"/>
                  </a:lnTo>
                  <a:lnTo>
                    <a:pt x="163" y="215"/>
                  </a:lnTo>
                  <a:lnTo>
                    <a:pt x="165" y="215"/>
                  </a:lnTo>
                  <a:lnTo>
                    <a:pt x="165" y="214"/>
                  </a:lnTo>
                  <a:lnTo>
                    <a:pt x="166" y="215"/>
                  </a:lnTo>
                  <a:lnTo>
                    <a:pt x="173" y="216"/>
                  </a:lnTo>
                  <a:lnTo>
                    <a:pt x="174" y="215"/>
                  </a:lnTo>
                  <a:lnTo>
                    <a:pt x="169" y="214"/>
                  </a:lnTo>
                  <a:lnTo>
                    <a:pt x="168" y="214"/>
                  </a:lnTo>
                  <a:lnTo>
                    <a:pt x="166" y="212"/>
                  </a:lnTo>
                  <a:lnTo>
                    <a:pt x="162" y="209"/>
                  </a:lnTo>
                  <a:lnTo>
                    <a:pt x="161" y="209"/>
                  </a:lnTo>
                  <a:lnTo>
                    <a:pt x="161" y="208"/>
                  </a:lnTo>
                  <a:lnTo>
                    <a:pt x="160" y="206"/>
                  </a:lnTo>
                  <a:lnTo>
                    <a:pt x="160" y="204"/>
                  </a:lnTo>
                  <a:lnTo>
                    <a:pt x="159" y="204"/>
                  </a:lnTo>
                  <a:lnTo>
                    <a:pt x="159" y="206"/>
                  </a:lnTo>
                  <a:lnTo>
                    <a:pt x="161" y="209"/>
                  </a:lnTo>
                  <a:lnTo>
                    <a:pt x="161" y="211"/>
                  </a:lnTo>
                  <a:lnTo>
                    <a:pt x="159" y="211"/>
                  </a:lnTo>
                  <a:lnTo>
                    <a:pt x="157" y="210"/>
                  </a:lnTo>
                  <a:lnTo>
                    <a:pt x="157" y="205"/>
                  </a:lnTo>
                  <a:lnTo>
                    <a:pt x="162" y="196"/>
                  </a:lnTo>
                  <a:lnTo>
                    <a:pt x="162" y="195"/>
                  </a:lnTo>
                  <a:lnTo>
                    <a:pt x="161" y="196"/>
                  </a:lnTo>
                  <a:lnTo>
                    <a:pt x="159" y="201"/>
                  </a:lnTo>
                  <a:lnTo>
                    <a:pt x="159" y="202"/>
                  </a:lnTo>
                  <a:lnTo>
                    <a:pt x="157" y="202"/>
                  </a:lnTo>
                  <a:lnTo>
                    <a:pt x="157" y="197"/>
                  </a:lnTo>
                  <a:lnTo>
                    <a:pt x="155" y="197"/>
                  </a:lnTo>
                  <a:lnTo>
                    <a:pt x="156" y="198"/>
                  </a:lnTo>
                  <a:lnTo>
                    <a:pt x="156" y="211"/>
                  </a:lnTo>
                  <a:lnTo>
                    <a:pt x="155" y="210"/>
                  </a:lnTo>
                  <a:lnTo>
                    <a:pt x="154" y="210"/>
                  </a:lnTo>
                  <a:lnTo>
                    <a:pt x="156" y="212"/>
                  </a:lnTo>
                  <a:lnTo>
                    <a:pt x="155" y="214"/>
                  </a:lnTo>
                  <a:lnTo>
                    <a:pt x="155" y="215"/>
                  </a:lnTo>
                  <a:lnTo>
                    <a:pt x="154" y="216"/>
                  </a:lnTo>
                  <a:lnTo>
                    <a:pt x="154" y="218"/>
                  </a:lnTo>
                  <a:lnTo>
                    <a:pt x="153" y="220"/>
                  </a:lnTo>
                  <a:lnTo>
                    <a:pt x="151" y="220"/>
                  </a:lnTo>
                  <a:lnTo>
                    <a:pt x="150" y="218"/>
                  </a:lnTo>
                  <a:lnTo>
                    <a:pt x="149" y="216"/>
                  </a:lnTo>
                  <a:lnTo>
                    <a:pt x="149" y="212"/>
                  </a:lnTo>
                  <a:lnTo>
                    <a:pt x="148" y="210"/>
                  </a:lnTo>
                  <a:lnTo>
                    <a:pt x="147" y="210"/>
                  </a:lnTo>
                  <a:lnTo>
                    <a:pt x="147" y="211"/>
                  </a:lnTo>
                  <a:lnTo>
                    <a:pt x="148" y="215"/>
                  </a:lnTo>
                  <a:lnTo>
                    <a:pt x="149" y="216"/>
                  </a:lnTo>
                  <a:lnTo>
                    <a:pt x="148" y="217"/>
                  </a:lnTo>
                  <a:lnTo>
                    <a:pt x="144" y="215"/>
                  </a:lnTo>
                  <a:lnTo>
                    <a:pt x="144" y="212"/>
                  </a:lnTo>
                  <a:lnTo>
                    <a:pt x="143" y="214"/>
                  </a:lnTo>
                  <a:lnTo>
                    <a:pt x="143" y="216"/>
                  </a:lnTo>
                  <a:lnTo>
                    <a:pt x="142" y="218"/>
                  </a:lnTo>
                  <a:lnTo>
                    <a:pt x="143" y="220"/>
                  </a:lnTo>
                  <a:lnTo>
                    <a:pt x="143" y="222"/>
                  </a:lnTo>
                  <a:lnTo>
                    <a:pt x="141" y="221"/>
                  </a:lnTo>
                  <a:lnTo>
                    <a:pt x="140" y="221"/>
                  </a:lnTo>
                  <a:lnTo>
                    <a:pt x="138" y="218"/>
                  </a:lnTo>
                  <a:lnTo>
                    <a:pt x="138" y="217"/>
                  </a:lnTo>
                  <a:lnTo>
                    <a:pt x="137" y="217"/>
                  </a:lnTo>
                  <a:lnTo>
                    <a:pt x="137" y="215"/>
                  </a:lnTo>
                  <a:lnTo>
                    <a:pt x="138" y="215"/>
                  </a:lnTo>
                  <a:lnTo>
                    <a:pt x="138" y="212"/>
                  </a:lnTo>
                  <a:lnTo>
                    <a:pt x="137" y="210"/>
                  </a:lnTo>
                  <a:lnTo>
                    <a:pt x="138" y="209"/>
                  </a:lnTo>
                  <a:lnTo>
                    <a:pt x="143" y="201"/>
                  </a:lnTo>
                  <a:lnTo>
                    <a:pt x="148" y="198"/>
                  </a:lnTo>
                  <a:lnTo>
                    <a:pt x="149" y="195"/>
                  </a:lnTo>
                  <a:lnTo>
                    <a:pt x="151" y="192"/>
                  </a:lnTo>
                  <a:lnTo>
                    <a:pt x="153" y="192"/>
                  </a:lnTo>
                  <a:lnTo>
                    <a:pt x="155" y="191"/>
                  </a:lnTo>
                  <a:lnTo>
                    <a:pt x="155" y="190"/>
                  </a:lnTo>
                  <a:lnTo>
                    <a:pt x="153" y="191"/>
                  </a:lnTo>
                  <a:lnTo>
                    <a:pt x="150" y="191"/>
                  </a:lnTo>
                  <a:lnTo>
                    <a:pt x="150" y="192"/>
                  </a:lnTo>
                  <a:lnTo>
                    <a:pt x="149" y="192"/>
                  </a:lnTo>
                  <a:lnTo>
                    <a:pt x="149" y="193"/>
                  </a:lnTo>
                  <a:lnTo>
                    <a:pt x="148" y="196"/>
                  </a:lnTo>
                  <a:lnTo>
                    <a:pt x="148" y="197"/>
                  </a:lnTo>
                  <a:lnTo>
                    <a:pt x="142" y="201"/>
                  </a:lnTo>
                  <a:lnTo>
                    <a:pt x="138" y="205"/>
                  </a:lnTo>
                  <a:lnTo>
                    <a:pt x="137" y="205"/>
                  </a:lnTo>
                  <a:lnTo>
                    <a:pt x="137" y="208"/>
                  </a:lnTo>
                  <a:lnTo>
                    <a:pt x="136" y="209"/>
                  </a:lnTo>
                  <a:lnTo>
                    <a:pt x="134" y="209"/>
                  </a:lnTo>
                  <a:lnTo>
                    <a:pt x="132" y="214"/>
                  </a:lnTo>
                  <a:lnTo>
                    <a:pt x="134" y="214"/>
                  </a:lnTo>
                  <a:lnTo>
                    <a:pt x="135" y="215"/>
                  </a:lnTo>
                  <a:lnTo>
                    <a:pt x="135" y="218"/>
                  </a:lnTo>
                  <a:lnTo>
                    <a:pt x="136" y="220"/>
                  </a:lnTo>
                  <a:lnTo>
                    <a:pt x="135" y="220"/>
                  </a:lnTo>
                  <a:lnTo>
                    <a:pt x="137" y="222"/>
                  </a:lnTo>
                  <a:lnTo>
                    <a:pt x="138" y="224"/>
                  </a:lnTo>
                  <a:lnTo>
                    <a:pt x="138" y="227"/>
                  </a:lnTo>
                  <a:lnTo>
                    <a:pt x="137" y="228"/>
                  </a:lnTo>
                  <a:lnTo>
                    <a:pt x="136" y="228"/>
                  </a:lnTo>
                  <a:lnTo>
                    <a:pt x="134" y="230"/>
                  </a:lnTo>
                  <a:lnTo>
                    <a:pt x="134" y="232"/>
                  </a:lnTo>
                  <a:lnTo>
                    <a:pt x="132" y="233"/>
                  </a:lnTo>
                  <a:lnTo>
                    <a:pt x="132" y="236"/>
                  </a:lnTo>
                  <a:lnTo>
                    <a:pt x="131" y="236"/>
                  </a:lnTo>
                  <a:lnTo>
                    <a:pt x="131" y="239"/>
                  </a:lnTo>
                  <a:lnTo>
                    <a:pt x="132" y="240"/>
                  </a:lnTo>
                  <a:lnTo>
                    <a:pt x="132" y="241"/>
                  </a:lnTo>
                  <a:lnTo>
                    <a:pt x="131" y="242"/>
                  </a:lnTo>
                  <a:lnTo>
                    <a:pt x="131" y="245"/>
                  </a:lnTo>
                  <a:lnTo>
                    <a:pt x="130" y="246"/>
                  </a:lnTo>
                  <a:lnTo>
                    <a:pt x="130" y="248"/>
                  </a:lnTo>
                  <a:lnTo>
                    <a:pt x="129" y="251"/>
                  </a:lnTo>
                  <a:lnTo>
                    <a:pt x="129" y="252"/>
                  </a:lnTo>
                  <a:lnTo>
                    <a:pt x="128" y="252"/>
                  </a:lnTo>
                  <a:lnTo>
                    <a:pt x="129" y="253"/>
                  </a:lnTo>
                  <a:lnTo>
                    <a:pt x="129" y="254"/>
                  </a:lnTo>
                  <a:lnTo>
                    <a:pt x="130" y="255"/>
                  </a:lnTo>
                  <a:lnTo>
                    <a:pt x="130" y="258"/>
                  </a:lnTo>
                  <a:lnTo>
                    <a:pt x="129" y="260"/>
                  </a:lnTo>
                  <a:lnTo>
                    <a:pt x="128" y="260"/>
                  </a:lnTo>
                  <a:lnTo>
                    <a:pt x="126" y="261"/>
                  </a:lnTo>
                  <a:lnTo>
                    <a:pt x="123" y="261"/>
                  </a:lnTo>
                  <a:lnTo>
                    <a:pt x="122" y="263"/>
                  </a:lnTo>
                  <a:lnTo>
                    <a:pt x="119" y="263"/>
                  </a:lnTo>
                  <a:lnTo>
                    <a:pt x="119" y="261"/>
                  </a:lnTo>
                  <a:lnTo>
                    <a:pt x="118" y="258"/>
                  </a:lnTo>
                  <a:lnTo>
                    <a:pt x="118" y="254"/>
                  </a:lnTo>
                  <a:lnTo>
                    <a:pt x="119" y="254"/>
                  </a:lnTo>
                  <a:lnTo>
                    <a:pt x="122" y="252"/>
                  </a:lnTo>
                  <a:lnTo>
                    <a:pt x="122" y="241"/>
                  </a:lnTo>
                  <a:lnTo>
                    <a:pt x="123" y="240"/>
                  </a:lnTo>
                  <a:lnTo>
                    <a:pt x="124" y="236"/>
                  </a:lnTo>
                  <a:lnTo>
                    <a:pt x="124" y="235"/>
                  </a:lnTo>
                  <a:lnTo>
                    <a:pt x="123" y="234"/>
                  </a:lnTo>
                  <a:lnTo>
                    <a:pt x="125" y="233"/>
                  </a:lnTo>
                  <a:lnTo>
                    <a:pt x="126" y="232"/>
                  </a:lnTo>
                  <a:lnTo>
                    <a:pt x="126" y="229"/>
                  </a:lnTo>
                  <a:lnTo>
                    <a:pt x="129" y="227"/>
                  </a:lnTo>
                  <a:lnTo>
                    <a:pt x="131" y="226"/>
                  </a:lnTo>
                  <a:lnTo>
                    <a:pt x="132" y="223"/>
                  </a:lnTo>
                  <a:lnTo>
                    <a:pt x="132" y="221"/>
                  </a:lnTo>
                  <a:lnTo>
                    <a:pt x="129" y="226"/>
                  </a:lnTo>
                  <a:lnTo>
                    <a:pt x="126" y="228"/>
                  </a:lnTo>
                  <a:lnTo>
                    <a:pt x="126" y="227"/>
                  </a:lnTo>
                  <a:lnTo>
                    <a:pt x="125" y="226"/>
                  </a:lnTo>
                  <a:lnTo>
                    <a:pt x="124" y="226"/>
                  </a:lnTo>
                  <a:lnTo>
                    <a:pt x="124" y="221"/>
                  </a:lnTo>
                  <a:lnTo>
                    <a:pt x="125" y="218"/>
                  </a:lnTo>
                  <a:lnTo>
                    <a:pt x="126" y="217"/>
                  </a:lnTo>
                  <a:lnTo>
                    <a:pt x="126" y="216"/>
                  </a:lnTo>
                  <a:lnTo>
                    <a:pt x="128" y="216"/>
                  </a:lnTo>
                  <a:lnTo>
                    <a:pt x="128" y="215"/>
                  </a:lnTo>
                  <a:lnTo>
                    <a:pt x="126" y="215"/>
                  </a:lnTo>
                  <a:lnTo>
                    <a:pt x="125" y="217"/>
                  </a:lnTo>
                  <a:lnTo>
                    <a:pt x="124" y="217"/>
                  </a:lnTo>
                  <a:lnTo>
                    <a:pt x="124" y="218"/>
                  </a:lnTo>
                  <a:lnTo>
                    <a:pt x="123" y="218"/>
                  </a:lnTo>
                  <a:lnTo>
                    <a:pt x="123" y="216"/>
                  </a:lnTo>
                  <a:lnTo>
                    <a:pt x="128" y="209"/>
                  </a:lnTo>
                  <a:lnTo>
                    <a:pt x="128" y="206"/>
                  </a:lnTo>
                  <a:lnTo>
                    <a:pt x="126" y="206"/>
                  </a:lnTo>
                  <a:lnTo>
                    <a:pt x="126" y="208"/>
                  </a:lnTo>
                  <a:lnTo>
                    <a:pt x="125" y="208"/>
                  </a:lnTo>
                  <a:lnTo>
                    <a:pt x="125" y="209"/>
                  </a:lnTo>
                  <a:lnTo>
                    <a:pt x="124" y="211"/>
                  </a:lnTo>
                  <a:lnTo>
                    <a:pt x="124" y="214"/>
                  </a:lnTo>
                  <a:lnTo>
                    <a:pt x="123" y="215"/>
                  </a:lnTo>
                  <a:lnTo>
                    <a:pt x="122" y="214"/>
                  </a:lnTo>
                  <a:lnTo>
                    <a:pt x="123" y="214"/>
                  </a:lnTo>
                  <a:lnTo>
                    <a:pt x="123" y="211"/>
                  </a:lnTo>
                  <a:lnTo>
                    <a:pt x="124" y="208"/>
                  </a:lnTo>
                  <a:lnTo>
                    <a:pt x="128" y="203"/>
                  </a:lnTo>
                  <a:lnTo>
                    <a:pt x="130" y="203"/>
                  </a:lnTo>
                  <a:lnTo>
                    <a:pt x="129" y="202"/>
                  </a:lnTo>
                  <a:lnTo>
                    <a:pt x="129" y="199"/>
                  </a:lnTo>
                  <a:lnTo>
                    <a:pt x="130" y="197"/>
                  </a:lnTo>
                  <a:lnTo>
                    <a:pt x="130" y="196"/>
                  </a:lnTo>
                  <a:lnTo>
                    <a:pt x="129" y="196"/>
                  </a:lnTo>
                  <a:lnTo>
                    <a:pt x="129" y="197"/>
                  </a:lnTo>
                  <a:lnTo>
                    <a:pt x="126" y="199"/>
                  </a:lnTo>
                  <a:lnTo>
                    <a:pt x="126" y="198"/>
                  </a:lnTo>
                  <a:lnTo>
                    <a:pt x="128" y="196"/>
                  </a:lnTo>
                  <a:lnTo>
                    <a:pt x="128" y="195"/>
                  </a:lnTo>
                  <a:lnTo>
                    <a:pt x="129" y="193"/>
                  </a:lnTo>
                  <a:lnTo>
                    <a:pt x="129" y="192"/>
                  </a:lnTo>
                  <a:lnTo>
                    <a:pt x="130" y="191"/>
                  </a:lnTo>
                  <a:lnTo>
                    <a:pt x="131" y="191"/>
                  </a:lnTo>
                  <a:lnTo>
                    <a:pt x="131" y="190"/>
                  </a:lnTo>
                  <a:lnTo>
                    <a:pt x="129" y="190"/>
                  </a:lnTo>
                  <a:lnTo>
                    <a:pt x="128" y="191"/>
                  </a:lnTo>
                  <a:lnTo>
                    <a:pt x="126" y="190"/>
                  </a:lnTo>
                  <a:lnTo>
                    <a:pt x="128" y="187"/>
                  </a:lnTo>
                  <a:lnTo>
                    <a:pt x="128" y="186"/>
                  </a:lnTo>
                  <a:lnTo>
                    <a:pt x="126" y="186"/>
                  </a:lnTo>
                  <a:lnTo>
                    <a:pt x="126" y="189"/>
                  </a:lnTo>
                  <a:lnTo>
                    <a:pt x="125" y="189"/>
                  </a:lnTo>
                  <a:lnTo>
                    <a:pt x="125" y="185"/>
                  </a:lnTo>
                  <a:lnTo>
                    <a:pt x="128" y="185"/>
                  </a:lnTo>
                  <a:lnTo>
                    <a:pt x="129" y="184"/>
                  </a:lnTo>
                  <a:lnTo>
                    <a:pt x="129" y="183"/>
                  </a:lnTo>
                  <a:lnTo>
                    <a:pt x="130" y="184"/>
                  </a:lnTo>
                  <a:lnTo>
                    <a:pt x="131" y="184"/>
                  </a:lnTo>
                  <a:lnTo>
                    <a:pt x="134" y="183"/>
                  </a:lnTo>
                  <a:lnTo>
                    <a:pt x="129" y="183"/>
                  </a:lnTo>
                  <a:lnTo>
                    <a:pt x="130" y="180"/>
                  </a:lnTo>
                  <a:lnTo>
                    <a:pt x="130" y="179"/>
                  </a:lnTo>
                  <a:lnTo>
                    <a:pt x="132" y="179"/>
                  </a:lnTo>
                  <a:lnTo>
                    <a:pt x="131" y="178"/>
                  </a:lnTo>
                  <a:lnTo>
                    <a:pt x="134" y="175"/>
                  </a:lnTo>
                  <a:lnTo>
                    <a:pt x="138" y="175"/>
                  </a:lnTo>
                  <a:lnTo>
                    <a:pt x="142" y="177"/>
                  </a:lnTo>
                  <a:lnTo>
                    <a:pt x="143" y="175"/>
                  </a:lnTo>
                  <a:lnTo>
                    <a:pt x="144" y="175"/>
                  </a:lnTo>
                  <a:lnTo>
                    <a:pt x="145" y="173"/>
                  </a:lnTo>
                  <a:lnTo>
                    <a:pt x="145" y="172"/>
                  </a:lnTo>
                  <a:lnTo>
                    <a:pt x="148" y="169"/>
                  </a:lnTo>
                  <a:lnTo>
                    <a:pt x="148" y="168"/>
                  </a:lnTo>
                  <a:lnTo>
                    <a:pt x="149" y="167"/>
                  </a:lnTo>
                  <a:lnTo>
                    <a:pt x="148" y="167"/>
                  </a:lnTo>
                  <a:lnTo>
                    <a:pt x="148" y="168"/>
                  </a:lnTo>
                  <a:lnTo>
                    <a:pt x="147" y="171"/>
                  </a:lnTo>
                  <a:lnTo>
                    <a:pt x="145" y="172"/>
                  </a:lnTo>
                  <a:lnTo>
                    <a:pt x="145" y="173"/>
                  </a:lnTo>
                  <a:lnTo>
                    <a:pt x="144" y="174"/>
                  </a:lnTo>
                  <a:lnTo>
                    <a:pt x="143" y="174"/>
                  </a:lnTo>
                  <a:lnTo>
                    <a:pt x="142" y="175"/>
                  </a:lnTo>
                  <a:lnTo>
                    <a:pt x="137" y="174"/>
                  </a:lnTo>
                  <a:lnTo>
                    <a:pt x="136" y="175"/>
                  </a:lnTo>
                  <a:lnTo>
                    <a:pt x="136" y="174"/>
                  </a:lnTo>
                  <a:lnTo>
                    <a:pt x="135" y="172"/>
                  </a:lnTo>
                  <a:lnTo>
                    <a:pt x="134" y="172"/>
                  </a:lnTo>
                  <a:lnTo>
                    <a:pt x="134" y="173"/>
                  </a:lnTo>
                  <a:lnTo>
                    <a:pt x="132" y="174"/>
                  </a:lnTo>
                  <a:lnTo>
                    <a:pt x="134" y="169"/>
                  </a:lnTo>
                  <a:lnTo>
                    <a:pt x="135" y="169"/>
                  </a:lnTo>
                  <a:lnTo>
                    <a:pt x="136" y="171"/>
                  </a:lnTo>
                  <a:lnTo>
                    <a:pt x="137" y="171"/>
                  </a:lnTo>
                  <a:lnTo>
                    <a:pt x="137" y="169"/>
                  </a:lnTo>
                  <a:lnTo>
                    <a:pt x="140" y="168"/>
                  </a:lnTo>
                  <a:lnTo>
                    <a:pt x="137" y="168"/>
                  </a:lnTo>
                  <a:lnTo>
                    <a:pt x="137" y="169"/>
                  </a:lnTo>
                  <a:lnTo>
                    <a:pt x="136" y="169"/>
                  </a:lnTo>
                  <a:lnTo>
                    <a:pt x="135" y="168"/>
                  </a:lnTo>
                  <a:lnTo>
                    <a:pt x="135" y="167"/>
                  </a:lnTo>
                  <a:lnTo>
                    <a:pt x="136" y="167"/>
                  </a:lnTo>
                  <a:lnTo>
                    <a:pt x="136" y="166"/>
                  </a:lnTo>
                  <a:lnTo>
                    <a:pt x="138" y="161"/>
                  </a:lnTo>
                  <a:lnTo>
                    <a:pt x="140" y="161"/>
                  </a:lnTo>
                  <a:lnTo>
                    <a:pt x="138" y="160"/>
                  </a:lnTo>
                  <a:lnTo>
                    <a:pt x="140" y="159"/>
                  </a:lnTo>
                  <a:lnTo>
                    <a:pt x="142" y="159"/>
                  </a:lnTo>
                  <a:lnTo>
                    <a:pt x="143" y="158"/>
                  </a:lnTo>
                  <a:lnTo>
                    <a:pt x="147" y="158"/>
                  </a:lnTo>
                  <a:lnTo>
                    <a:pt x="148" y="156"/>
                  </a:lnTo>
                  <a:lnTo>
                    <a:pt x="151" y="156"/>
                  </a:lnTo>
                  <a:lnTo>
                    <a:pt x="153" y="155"/>
                  </a:lnTo>
                  <a:lnTo>
                    <a:pt x="145" y="156"/>
                  </a:lnTo>
                  <a:lnTo>
                    <a:pt x="142" y="155"/>
                  </a:lnTo>
                  <a:lnTo>
                    <a:pt x="142" y="154"/>
                  </a:lnTo>
                  <a:lnTo>
                    <a:pt x="147" y="149"/>
                  </a:lnTo>
                  <a:lnTo>
                    <a:pt x="147" y="148"/>
                  </a:lnTo>
                  <a:lnTo>
                    <a:pt x="144" y="149"/>
                  </a:lnTo>
                  <a:lnTo>
                    <a:pt x="144" y="150"/>
                  </a:lnTo>
                  <a:lnTo>
                    <a:pt x="143" y="152"/>
                  </a:lnTo>
                  <a:lnTo>
                    <a:pt x="142" y="152"/>
                  </a:lnTo>
                  <a:lnTo>
                    <a:pt x="142" y="154"/>
                  </a:lnTo>
                  <a:lnTo>
                    <a:pt x="140" y="156"/>
                  </a:lnTo>
                  <a:lnTo>
                    <a:pt x="138" y="156"/>
                  </a:lnTo>
                  <a:lnTo>
                    <a:pt x="137" y="158"/>
                  </a:lnTo>
                  <a:lnTo>
                    <a:pt x="137" y="159"/>
                  </a:lnTo>
                  <a:lnTo>
                    <a:pt x="136" y="160"/>
                  </a:lnTo>
                  <a:lnTo>
                    <a:pt x="135" y="160"/>
                  </a:lnTo>
                  <a:lnTo>
                    <a:pt x="134" y="161"/>
                  </a:lnTo>
                  <a:lnTo>
                    <a:pt x="134" y="162"/>
                  </a:lnTo>
                  <a:lnTo>
                    <a:pt x="132" y="162"/>
                  </a:lnTo>
                  <a:lnTo>
                    <a:pt x="131" y="163"/>
                  </a:lnTo>
                  <a:lnTo>
                    <a:pt x="130" y="166"/>
                  </a:lnTo>
                  <a:lnTo>
                    <a:pt x="124" y="172"/>
                  </a:lnTo>
                  <a:lnTo>
                    <a:pt x="123" y="172"/>
                  </a:lnTo>
                  <a:lnTo>
                    <a:pt x="123" y="171"/>
                  </a:lnTo>
                  <a:lnTo>
                    <a:pt x="122" y="171"/>
                  </a:lnTo>
                  <a:lnTo>
                    <a:pt x="120" y="169"/>
                  </a:lnTo>
                  <a:lnTo>
                    <a:pt x="119" y="169"/>
                  </a:lnTo>
                  <a:lnTo>
                    <a:pt x="120" y="168"/>
                  </a:lnTo>
                  <a:lnTo>
                    <a:pt x="120" y="166"/>
                  </a:lnTo>
                  <a:lnTo>
                    <a:pt x="118" y="168"/>
                  </a:lnTo>
                  <a:lnTo>
                    <a:pt x="116" y="168"/>
                  </a:lnTo>
                  <a:lnTo>
                    <a:pt x="110" y="162"/>
                  </a:lnTo>
                  <a:lnTo>
                    <a:pt x="110" y="160"/>
                  </a:lnTo>
                  <a:lnTo>
                    <a:pt x="114" y="160"/>
                  </a:lnTo>
                  <a:lnTo>
                    <a:pt x="117" y="162"/>
                  </a:lnTo>
                  <a:lnTo>
                    <a:pt x="117" y="161"/>
                  </a:lnTo>
                  <a:lnTo>
                    <a:pt x="116" y="161"/>
                  </a:lnTo>
                  <a:lnTo>
                    <a:pt x="116" y="160"/>
                  </a:lnTo>
                  <a:lnTo>
                    <a:pt x="120" y="156"/>
                  </a:lnTo>
                  <a:lnTo>
                    <a:pt x="124" y="158"/>
                  </a:lnTo>
                  <a:lnTo>
                    <a:pt x="122" y="156"/>
                  </a:lnTo>
                  <a:lnTo>
                    <a:pt x="120" y="155"/>
                  </a:lnTo>
                  <a:lnTo>
                    <a:pt x="116" y="158"/>
                  </a:lnTo>
                  <a:lnTo>
                    <a:pt x="114" y="159"/>
                  </a:lnTo>
                  <a:lnTo>
                    <a:pt x="113" y="159"/>
                  </a:lnTo>
                  <a:lnTo>
                    <a:pt x="112" y="158"/>
                  </a:lnTo>
                  <a:lnTo>
                    <a:pt x="109" y="158"/>
                  </a:lnTo>
                  <a:lnTo>
                    <a:pt x="106" y="156"/>
                  </a:lnTo>
                  <a:lnTo>
                    <a:pt x="105" y="156"/>
                  </a:lnTo>
                  <a:lnTo>
                    <a:pt x="103" y="159"/>
                  </a:lnTo>
                  <a:lnTo>
                    <a:pt x="100" y="156"/>
                  </a:lnTo>
                  <a:lnTo>
                    <a:pt x="100" y="154"/>
                  </a:lnTo>
                  <a:lnTo>
                    <a:pt x="101" y="153"/>
                  </a:lnTo>
                  <a:lnTo>
                    <a:pt x="103" y="153"/>
                  </a:lnTo>
                  <a:lnTo>
                    <a:pt x="109" y="152"/>
                  </a:lnTo>
                  <a:lnTo>
                    <a:pt x="110" y="152"/>
                  </a:lnTo>
                  <a:lnTo>
                    <a:pt x="111" y="150"/>
                  </a:lnTo>
                  <a:lnTo>
                    <a:pt x="112" y="150"/>
                  </a:lnTo>
                  <a:lnTo>
                    <a:pt x="113" y="152"/>
                  </a:lnTo>
                  <a:lnTo>
                    <a:pt x="116" y="153"/>
                  </a:lnTo>
                  <a:lnTo>
                    <a:pt x="116" y="150"/>
                  </a:lnTo>
                  <a:lnTo>
                    <a:pt x="117" y="150"/>
                  </a:lnTo>
                  <a:lnTo>
                    <a:pt x="117" y="149"/>
                  </a:lnTo>
                  <a:lnTo>
                    <a:pt x="118" y="149"/>
                  </a:lnTo>
                  <a:lnTo>
                    <a:pt x="120" y="150"/>
                  </a:lnTo>
                  <a:lnTo>
                    <a:pt x="119" y="149"/>
                  </a:lnTo>
                  <a:lnTo>
                    <a:pt x="118" y="149"/>
                  </a:lnTo>
                  <a:lnTo>
                    <a:pt x="117" y="148"/>
                  </a:lnTo>
                  <a:lnTo>
                    <a:pt x="116" y="148"/>
                  </a:lnTo>
                  <a:lnTo>
                    <a:pt x="116" y="147"/>
                  </a:lnTo>
                  <a:lnTo>
                    <a:pt x="117" y="146"/>
                  </a:lnTo>
                  <a:lnTo>
                    <a:pt x="120" y="146"/>
                  </a:lnTo>
                  <a:lnTo>
                    <a:pt x="123" y="144"/>
                  </a:lnTo>
                  <a:lnTo>
                    <a:pt x="124" y="143"/>
                  </a:lnTo>
                  <a:lnTo>
                    <a:pt x="122" y="143"/>
                  </a:lnTo>
                  <a:lnTo>
                    <a:pt x="122" y="144"/>
                  </a:lnTo>
                  <a:lnTo>
                    <a:pt x="119" y="144"/>
                  </a:lnTo>
                  <a:lnTo>
                    <a:pt x="119" y="143"/>
                  </a:lnTo>
                  <a:lnTo>
                    <a:pt x="120" y="142"/>
                  </a:lnTo>
                  <a:lnTo>
                    <a:pt x="119" y="141"/>
                  </a:lnTo>
                  <a:lnTo>
                    <a:pt x="114" y="142"/>
                  </a:lnTo>
                  <a:lnTo>
                    <a:pt x="113" y="142"/>
                  </a:lnTo>
                  <a:lnTo>
                    <a:pt x="114" y="141"/>
                  </a:lnTo>
                  <a:lnTo>
                    <a:pt x="116" y="141"/>
                  </a:lnTo>
                  <a:lnTo>
                    <a:pt x="114" y="140"/>
                  </a:lnTo>
                  <a:lnTo>
                    <a:pt x="116" y="138"/>
                  </a:lnTo>
                  <a:lnTo>
                    <a:pt x="116" y="137"/>
                  </a:lnTo>
                  <a:lnTo>
                    <a:pt x="117" y="135"/>
                  </a:lnTo>
                  <a:lnTo>
                    <a:pt x="117" y="134"/>
                  </a:lnTo>
                  <a:lnTo>
                    <a:pt x="119" y="131"/>
                  </a:lnTo>
                  <a:lnTo>
                    <a:pt x="122" y="131"/>
                  </a:lnTo>
                  <a:lnTo>
                    <a:pt x="122" y="132"/>
                  </a:lnTo>
                  <a:lnTo>
                    <a:pt x="124" y="135"/>
                  </a:lnTo>
                  <a:lnTo>
                    <a:pt x="128" y="135"/>
                  </a:lnTo>
                  <a:lnTo>
                    <a:pt x="130" y="134"/>
                  </a:lnTo>
                  <a:lnTo>
                    <a:pt x="130" y="132"/>
                  </a:lnTo>
                  <a:lnTo>
                    <a:pt x="129" y="134"/>
                  </a:lnTo>
                  <a:lnTo>
                    <a:pt x="124" y="134"/>
                  </a:lnTo>
                  <a:lnTo>
                    <a:pt x="124" y="132"/>
                  </a:lnTo>
                  <a:lnTo>
                    <a:pt x="123" y="132"/>
                  </a:lnTo>
                  <a:lnTo>
                    <a:pt x="123" y="130"/>
                  </a:lnTo>
                  <a:lnTo>
                    <a:pt x="119" y="130"/>
                  </a:lnTo>
                  <a:lnTo>
                    <a:pt x="119" y="129"/>
                  </a:lnTo>
                  <a:lnTo>
                    <a:pt x="118" y="129"/>
                  </a:lnTo>
                  <a:lnTo>
                    <a:pt x="119" y="128"/>
                  </a:lnTo>
                  <a:lnTo>
                    <a:pt x="120" y="125"/>
                  </a:lnTo>
                  <a:lnTo>
                    <a:pt x="122" y="124"/>
                  </a:lnTo>
                  <a:lnTo>
                    <a:pt x="124" y="124"/>
                  </a:lnTo>
                  <a:lnTo>
                    <a:pt x="125" y="123"/>
                  </a:lnTo>
                  <a:lnTo>
                    <a:pt x="125" y="124"/>
                  </a:lnTo>
                  <a:lnTo>
                    <a:pt x="128" y="125"/>
                  </a:lnTo>
                  <a:lnTo>
                    <a:pt x="129" y="125"/>
                  </a:lnTo>
                  <a:lnTo>
                    <a:pt x="128" y="123"/>
                  </a:lnTo>
                  <a:lnTo>
                    <a:pt x="124" y="122"/>
                  </a:lnTo>
                  <a:lnTo>
                    <a:pt x="123" y="120"/>
                  </a:lnTo>
                  <a:lnTo>
                    <a:pt x="125" y="118"/>
                  </a:lnTo>
                  <a:lnTo>
                    <a:pt x="125" y="116"/>
                  </a:lnTo>
                  <a:lnTo>
                    <a:pt x="126" y="113"/>
                  </a:lnTo>
                  <a:lnTo>
                    <a:pt x="128" y="112"/>
                  </a:lnTo>
                  <a:lnTo>
                    <a:pt x="129" y="112"/>
                  </a:lnTo>
                  <a:lnTo>
                    <a:pt x="131" y="115"/>
                  </a:lnTo>
                  <a:lnTo>
                    <a:pt x="134" y="116"/>
                  </a:lnTo>
                  <a:lnTo>
                    <a:pt x="135" y="116"/>
                  </a:lnTo>
                  <a:lnTo>
                    <a:pt x="135" y="115"/>
                  </a:lnTo>
                  <a:lnTo>
                    <a:pt x="132" y="115"/>
                  </a:lnTo>
                  <a:lnTo>
                    <a:pt x="132" y="113"/>
                  </a:lnTo>
                  <a:lnTo>
                    <a:pt x="131" y="112"/>
                  </a:lnTo>
                  <a:lnTo>
                    <a:pt x="131" y="111"/>
                  </a:lnTo>
                  <a:lnTo>
                    <a:pt x="134" y="109"/>
                  </a:lnTo>
                  <a:lnTo>
                    <a:pt x="131" y="109"/>
                  </a:lnTo>
                  <a:lnTo>
                    <a:pt x="131" y="110"/>
                  </a:lnTo>
                  <a:lnTo>
                    <a:pt x="130" y="111"/>
                  </a:lnTo>
                  <a:lnTo>
                    <a:pt x="129" y="111"/>
                  </a:lnTo>
                  <a:lnTo>
                    <a:pt x="128" y="112"/>
                  </a:lnTo>
                  <a:lnTo>
                    <a:pt x="126" y="112"/>
                  </a:lnTo>
                  <a:lnTo>
                    <a:pt x="125" y="111"/>
                  </a:lnTo>
                  <a:lnTo>
                    <a:pt x="122" y="111"/>
                  </a:lnTo>
                  <a:lnTo>
                    <a:pt x="122" y="110"/>
                  </a:lnTo>
                  <a:lnTo>
                    <a:pt x="123" y="107"/>
                  </a:lnTo>
                  <a:lnTo>
                    <a:pt x="124" y="106"/>
                  </a:lnTo>
                  <a:lnTo>
                    <a:pt x="125" y="106"/>
                  </a:lnTo>
                  <a:lnTo>
                    <a:pt x="125" y="107"/>
                  </a:lnTo>
                  <a:lnTo>
                    <a:pt x="126" y="106"/>
                  </a:lnTo>
                  <a:lnTo>
                    <a:pt x="131" y="105"/>
                  </a:lnTo>
                  <a:lnTo>
                    <a:pt x="134" y="100"/>
                  </a:lnTo>
                  <a:lnTo>
                    <a:pt x="132" y="100"/>
                  </a:lnTo>
                  <a:lnTo>
                    <a:pt x="129" y="104"/>
                  </a:lnTo>
                  <a:lnTo>
                    <a:pt x="129" y="105"/>
                  </a:lnTo>
                  <a:lnTo>
                    <a:pt x="126" y="105"/>
                  </a:lnTo>
                  <a:lnTo>
                    <a:pt x="125" y="104"/>
                  </a:lnTo>
                  <a:lnTo>
                    <a:pt x="126" y="104"/>
                  </a:lnTo>
                  <a:lnTo>
                    <a:pt x="126" y="101"/>
                  </a:lnTo>
                  <a:lnTo>
                    <a:pt x="125" y="101"/>
                  </a:lnTo>
                  <a:lnTo>
                    <a:pt x="122" y="105"/>
                  </a:lnTo>
                  <a:lnTo>
                    <a:pt x="122" y="106"/>
                  </a:lnTo>
                  <a:lnTo>
                    <a:pt x="118" y="106"/>
                  </a:lnTo>
                  <a:lnTo>
                    <a:pt x="117" y="103"/>
                  </a:lnTo>
                  <a:lnTo>
                    <a:pt x="118" y="103"/>
                  </a:lnTo>
                  <a:lnTo>
                    <a:pt x="118" y="101"/>
                  </a:lnTo>
                  <a:lnTo>
                    <a:pt x="117" y="101"/>
                  </a:lnTo>
                  <a:lnTo>
                    <a:pt x="117" y="99"/>
                  </a:lnTo>
                  <a:lnTo>
                    <a:pt x="116" y="98"/>
                  </a:lnTo>
                  <a:lnTo>
                    <a:pt x="116" y="89"/>
                  </a:lnTo>
                  <a:lnTo>
                    <a:pt x="117" y="89"/>
                  </a:lnTo>
                  <a:lnTo>
                    <a:pt x="117" y="88"/>
                  </a:lnTo>
                  <a:lnTo>
                    <a:pt x="119" y="88"/>
                  </a:lnTo>
                  <a:lnTo>
                    <a:pt x="123" y="92"/>
                  </a:lnTo>
                  <a:lnTo>
                    <a:pt x="123" y="93"/>
                  </a:lnTo>
                  <a:lnTo>
                    <a:pt x="125" y="93"/>
                  </a:lnTo>
                  <a:lnTo>
                    <a:pt x="124" y="92"/>
                  </a:lnTo>
                  <a:lnTo>
                    <a:pt x="130" y="92"/>
                  </a:lnTo>
                  <a:lnTo>
                    <a:pt x="130" y="91"/>
                  </a:lnTo>
                  <a:lnTo>
                    <a:pt x="129" y="89"/>
                  </a:lnTo>
                  <a:lnTo>
                    <a:pt x="125" y="89"/>
                  </a:lnTo>
                  <a:lnTo>
                    <a:pt x="124" y="91"/>
                  </a:lnTo>
                  <a:lnTo>
                    <a:pt x="123" y="89"/>
                  </a:lnTo>
                  <a:lnTo>
                    <a:pt x="123" y="88"/>
                  </a:lnTo>
                  <a:lnTo>
                    <a:pt x="122" y="88"/>
                  </a:lnTo>
                  <a:lnTo>
                    <a:pt x="122" y="87"/>
                  </a:lnTo>
                  <a:lnTo>
                    <a:pt x="120" y="85"/>
                  </a:lnTo>
                  <a:lnTo>
                    <a:pt x="119" y="83"/>
                  </a:lnTo>
                  <a:lnTo>
                    <a:pt x="118" y="83"/>
                  </a:lnTo>
                  <a:lnTo>
                    <a:pt x="118" y="81"/>
                  </a:lnTo>
                  <a:lnTo>
                    <a:pt x="119" y="80"/>
                  </a:lnTo>
                  <a:lnTo>
                    <a:pt x="118" y="80"/>
                  </a:lnTo>
                  <a:lnTo>
                    <a:pt x="118" y="79"/>
                  </a:lnTo>
                  <a:lnTo>
                    <a:pt x="120" y="77"/>
                  </a:lnTo>
                  <a:lnTo>
                    <a:pt x="123" y="80"/>
                  </a:lnTo>
                  <a:lnTo>
                    <a:pt x="123" y="79"/>
                  </a:lnTo>
                  <a:lnTo>
                    <a:pt x="124" y="77"/>
                  </a:lnTo>
                  <a:lnTo>
                    <a:pt x="123" y="77"/>
                  </a:lnTo>
                  <a:lnTo>
                    <a:pt x="123" y="76"/>
                  </a:lnTo>
                  <a:lnTo>
                    <a:pt x="122" y="76"/>
                  </a:lnTo>
                  <a:lnTo>
                    <a:pt x="118" y="75"/>
                  </a:lnTo>
                  <a:lnTo>
                    <a:pt x="118" y="67"/>
                  </a:lnTo>
                  <a:lnTo>
                    <a:pt x="120" y="64"/>
                  </a:lnTo>
                  <a:lnTo>
                    <a:pt x="122" y="64"/>
                  </a:lnTo>
                  <a:lnTo>
                    <a:pt x="123" y="66"/>
                  </a:lnTo>
                  <a:lnTo>
                    <a:pt x="124" y="66"/>
                  </a:lnTo>
                  <a:lnTo>
                    <a:pt x="123" y="67"/>
                  </a:lnTo>
                  <a:lnTo>
                    <a:pt x="124" y="68"/>
                  </a:lnTo>
                  <a:lnTo>
                    <a:pt x="124" y="72"/>
                  </a:lnTo>
                  <a:lnTo>
                    <a:pt x="125" y="73"/>
                  </a:lnTo>
                  <a:lnTo>
                    <a:pt x="126" y="73"/>
                  </a:lnTo>
                  <a:lnTo>
                    <a:pt x="125" y="72"/>
                  </a:lnTo>
                  <a:lnTo>
                    <a:pt x="128" y="72"/>
                  </a:lnTo>
                  <a:lnTo>
                    <a:pt x="128" y="68"/>
                  </a:lnTo>
                  <a:lnTo>
                    <a:pt x="124" y="64"/>
                  </a:lnTo>
                  <a:lnTo>
                    <a:pt x="125" y="63"/>
                  </a:lnTo>
                  <a:lnTo>
                    <a:pt x="124" y="63"/>
                  </a:lnTo>
                  <a:lnTo>
                    <a:pt x="125" y="62"/>
                  </a:lnTo>
                  <a:lnTo>
                    <a:pt x="125" y="61"/>
                  </a:lnTo>
                  <a:lnTo>
                    <a:pt x="126" y="61"/>
                  </a:lnTo>
                  <a:lnTo>
                    <a:pt x="128" y="62"/>
                  </a:lnTo>
                  <a:lnTo>
                    <a:pt x="129" y="62"/>
                  </a:lnTo>
                  <a:lnTo>
                    <a:pt x="129" y="63"/>
                  </a:lnTo>
                  <a:lnTo>
                    <a:pt x="130" y="66"/>
                  </a:lnTo>
                  <a:lnTo>
                    <a:pt x="131" y="67"/>
                  </a:lnTo>
                  <a:lnTo>
                    <a:pt x="132" y="67"/>
                  </a:lnTo>
                  <a:lnTo>
                    <a:pt x="132" y="66"/>
                  </a:lnTo>
                  <a:lnTo>
                    <a:pt x="134" y="66"/>
                  </a:lnTo>
                  <a:lnTo>
                    <a:pt x="134" y="62"/>
                  </a:lnTo>
                  <a:lnTo>
                    <a:pt x="135" y="62"/>
                  </a:lnTo>
                  <a:lnTo>
                    <a:pt x="136" y="63"/>
                  </a:lnTo>
                  <a:lnTo>
                    <a:pt x="137" y="63"/>
                  </a:lnTo>
                  <a:lnTo>
                    <a:pt x="140" y="66"/>
                  </a:lnTo>
                  <a:lnTo>
                    <a:pt x="143" y="67"/>
                  </a:lnTo>
                  <a:lnTo>
                    <a:pt x="141" y="64"/>
                  </a:lnTo>
                  <a:lnTo>
                    <a:pt x="136" y="62"/>
                  </a:lnTo>
                  <a:lnTo>
                    <a:pt x="136" y="61"/>
                  </a:lnTo>
                  <a:lnTo>
                    <a:pt x="137" y="60"/>
                  </a:lnTo>
                  <a:lnTo>
                    <a:pt x="138" y="62"/>
                  </a:lnTo>
                  <a:lnTo>
                    <a:pt x="143" y="62"/>
                  </a:lnTo>
                  <a:lnTo>
                    <a:pt x="143" y="63"/>
                  </a:lnTo>
                  <a:lnTo>
                    <a:pt x="145" y="64"/>
                  </a:lnTo>
                  <a:lnTo>
                    <a:pt x="147" y="66"/>
                  </a:lnTo>
                  <a:lnTo>
                    <a:pt x="148" y="68"/>
                  </a:lnTo>
                  <a:lnTo>
                    <a:pt x="149" y="68"/>
                  </a:lnTo>
                  <a:lnTo>
                    <a:pt x="149" y="67"/>
                  </a:lnTo>
                  <a:lnTo>
                    <a:pt x="143" y="61"/>
                  </a:lnTo>
                  <a:lnTo>
                    <a:pt x="144" y="60"/>
                  </a:lnTo>
                  <a:lnTo>
                    <a:pt x="144" y="58"/>
                  </a:lnTo>
                  <a:lnTo>
                    <a:pt x="143" y="58"/>
                  </a:lnTo>
                  <a:lnTo>
                    <a:pt x="143" y="57"/>
                  </a:lnTo>
                  <a:lnTo>
                    <a:pt x="141" y="57"/>
                  </a:lnTo>
                  <a:lnTo>
                    <a:pt x="140" y="56"/>
                  </a:lnTo>
                  <a:lnTo>
                    <a:pt x="138" y="54"/>
                  </a:lnTo>
                  <a:lnTo>
                    <a:pt x="137" y="54"/>
                  </a:lnTo>
                  <a:lnTo>
                    <a:pt x="136" y="52"/>
                  </a:lnTo>
                  <a:lnTo>
                    <a:pt x="134" y="52"/>
                  </a:lnTo>
                  <a:lnTo>
                    <a:pt x="135" y="51"/>
                  </a:lnTo>
                  <a:lnTo>
                    <a:pt x="135" y="50"/>
                  </a:lnTo>
                  <a:lnTo>
                    <a:pt x="134" y="48"/>
                  </a:lnTo>
                  <a:lnTo>
                    <a:pt x="134" y="46"/>
                  </a:lnTo>
                  <a:lnTo>
                    <a:pt x="136" y="48"/>
                  </a:lnTo>
                  <a:lnTo>
                    <a:pt x="137" y="50"/>
                  </a:lnTo>
                  <a:lnTo>
                    <a:pt x="137" y="49"/>
                  </a:lnTo>
                  <a:lnTo>
                    <a:pt x="140" y="49"/>
                  </a:lnTo>
                  <a:lnTo>
                    <a:pt x="141" y="48"/>
                  </a:lnTo>
                  <a:lnTo>
                    <a:pt x="141" y="46"/>
                  </a:lnTo>
                  <a:lnTo>
                    <a:pt x="140" y="45"/>
                  </a:lnTo>
                  <a:lnTo>
                    <a:pt x="141" y="45"/>
                  </a:lnTo>
                  <a:lnTo>
                    <a:pt x="141" y="44"/>
                  </a:lnTo>
                  <a:lnTo>
                    <a:pt x="140" y="44"/>
                  </a:lnTo>
                  <a:lnTo>
                    <a:pt x="141" y="43"/>
                  </a:lnTo>
                  <a:lnTo>
                    <a:pt x="140" y="43"/>
                  </a:lnTo>
                  <a:lnTo>
                    <a:pt x="140" y="40"/>
                  </a:lnTo>
                  <a:lnTo>
                    <a:pt x="138" y="40"/>
                  </a:lnTo>
                  <a:lnTo>
                    <a:pt x="138" y="38"/>
                  </a:lnTo>
                  <a:lnTo>
                    <a:pt x="137" y="38"/>
                  </a:lnTo>
                  <a:lnTo>
                    <a:pt x="136" y="36"/>
                  </a:lnTo>
                  <a:lnTo>
                    <a:pt x="136" y="33"/>
                  </a:lnTo>
                  <a:lnTo>
                    <a:pt x="138" y="36"/>
                  </a:lnTo>
                  <a:lnTo>
                    <a:pt x="141" y="36"/>
                  </a:lnTo>
                  <a:lnTo>
                    <a:pt x="143" y="33"/>
                  </a:lnTo>
                  <a:lnTo>
                    <a:pt x="144" y="34"/>
                  </a:lnTo>
                  <a:lnTo>
                    <a:pt x="145" y="34"/>
                  </a:lnTo>
                  <a:lnTo>
                    <a:pt x="145" y="33"/>
                  </a:lnTo>
                  <a:lnTo>
                    <a:pt x="148" y="33"/>
                  </a:lnTo>
                  <a:lnTo>
                    <a:pt x="149" y="34"/>
                  </a:lnTo>
                  <a:lnTo>
                    <a:pt x="151" y="34"/>
                  </a:lnTo>
                  <a:lnTo>
                    <a:pt x="155" y="37"/>
                  </a:lnTo>
                  <a:lnTo>
                    <a:pt x="153" y="34"/>
                  </a:lnTo>
                  <a:lnTo>
                    <a:pt x="155" y="34"/>
                  </a:lnTo>
                  <a:lnTo>
                    <a:pt x="155" y="33"/>
                  </a:lnTo>
                  <a:lnTo>
                    <a:pt x="151" y="33"/>
                  </a:lnTo>
                  <a:lnTo>
                    <a:pt x="150" y="34"/>
                  </a:lnTo>
                  <a:lnTo>
                    <a:pt x="147" y="31"/>
                  </a:lnTo>
                  <a:lnTo>
                    <a:pt x="147" y="30"/>
                  </a:lnTo>
                  <a:lnTo>
                    <a:pt x="145" y="29"/>
                  </a:lnTo>
                  <a:lnTo>
                    <a:pt x="145" y="27"/>
                  </a:lnTo>
                  <a:lnTo>
                    <a:pt x="144" y="27"/>
                  </a:lnTo>
                  <a:lnTo>
                    <a:pt x="144" y="26"/>
                  </a:lnTo>
                  <a:lnTo>
                    <a:pt x="145" y="26"/>
                  </a:lnTo>
                  <a:lnTo>
                    <a:pt x="145" y="21"/>
                  </a:lnTo>
                  <a:lnTo>
                    <a:pt x="147" y="21"/>
                  </a:lnTo>
                  <a:lnTo>
                    <a:pt x="147" y="23"/>
                  </a:lnTo>
                  <a:lnTo>
                    <a:pt x="149" y="24"/>
                  </a:lnTo>
                  <a:lnTo>
                    <a:pt x="151" y="24"/>
                  </a:lnTo>
                  <a:lnTo>
                    <a:pt x="150" y="23"/>
                  </a:lnTo>
                  <a:lnTo>
                    <a:pt x="150" y="21"/>
                  </a:lnTo>
                  <a:lnTo>
                    <a:pt x="148" y="21"/>
                  </a:lnTo>
                  <a:lnTo>
                    <a:pt x="148" y="20"/>
                  </a:lnTo>
                  <a:lnTo>
                    <a:pt x="150" y="19"/>
                  </a:lnTo>
                  <a:lnTo>
                    <a:pt x="151" y="19"/>
                  </a:lnTo>
                  <a:lnTo>
                    <a:pt x="148" y="15"/>
                  </a:lnTo>
                  <a:lnTo>
                    <a:pt x="148" y="13"/>
                  </a:lnTo>
                  <a:lnTo>
                    <a:pt x="150" y="12"/>
                  </a:lnTo>
                  <a:lnTo>
                    <a:pt x="150" y="11"/>
                  </a:lnTo>
                  <a:lnTo>
                    <a:pt x="151" y="9"/>
                  </a:lnTo>
                  <a:lnTo>
                    <a:pt x="151" y="5"/>
                  </a:lnTo>
                  <a:lnTo>
                    <a:pt x="153" y="5"/>
                  </a:lnTo>
                  <a:lnTo>
                    <a:pt x="157" y="6"/>
                  </a:lnTo>
                  <a:lnTo>
                    <a:pt x="159" y="6"/>
                  </a:lnTo>
                  <a:lnTo>
                    <a:pt x="160" y="7"/>
                  </a:lnTo>
                  <a:lnTo>
                    <a:pt x="160" y="13"/>
                  </a:lnTo>
                  <a:lnTo>
                    <a:pt x="161" y="12"/>
                  </a:lnTo>
                  <a:lnTo>
                    <a:pt x="161" y="8"/>
                  </a:lnTo>
                  <a:lnTo>
                    <a:pt x="162" y="7"/>
                  </a:lnTo>
                  <a:lnTo>
                    <a:pt x="161" y="6"/>
                  </a:lnTo>
                  <a:lnTo>
                    <a:pt x="163" y="8"/>
                  </a:lnTo>
                  <a:lnTo>
                    <a:pt x="165" y="8"/>
                  </a:lnTo>
                  <a:lnTo>
                    <a:pt x="166" y="9"/>
                  </a:lnTo>
                  <a:lnTo>
                    <a:pt x="166" y="11"/>
                  </a:lnTo>
                  <a:lnTo>
                    <a:pt x="167" y="11"/>
                  </a:lnTo>
                  <a:lnTo>
                    <a:pt x="166" y="12"/>
                  </a:lnTo>
                  <a:lnTo>
                    <a:pt x="166" y="13"/>
                  </a:lnTo>
                  <a:lnTo>
                    <a:pt x="165" y="14"/>
                  </a:lnTo>
                  <a:lnTo>
                    <a:pt x="163" y="17"/>
                  </a:lnTo>
                  <a:lnTo>
                    <a:pt x="162" y="18"/>
                  </a:lnTo>
                  <a:lnTo>
                    <a:pt x="162" y="19"/>
                  </a:lnTo>
                  <a:lnTo>
                    <a:pt x="163" y="19"/>
                  </a:lnTo>
                  <a:lnTo>
                    <a:pt x="166" y="15"/>
                  </a:lnTo>
                  <a:lnTo>
                    <a:pt x="166" y="14"/>
                  </a:lnTo>
                  <a:lnTo>
                    <a:pt x="167" y="14"/>
                  </a:lnTo>
                  <a:lnTo>
                    <a:pt x="169" y="12"/>
                  </a:lnTo>
                  <a:lnTo>
                    <a:pt x="169" y="8"/>
                  </a:lnTo>
                  <a:lnTo>
                    <a:pt x="173" y="8"/>
                  </a:lnTo>
                  <a:lnTo>
                    <a:pt x="174" y="9"/>
                  </a:lnTo>
                  <a:lnTo>
                    <a:pt x="176" y="11"/>
                  </a:lnTo>
                  <a:lnTo>
                    <a:pt x="176" y="13"/>
                  </a:lnTo>
                  <a:lnTo>
                    <a:pt x="174" y="15"/>
                  </a:lnTo>
                  <a:lnTo>
                    <a:pt x="174" y="17"/>
                  </a:lnTo>
                  <a:lnTo>
                    <a:pt x="173" y="19"/>
                  </a:lnTo>
                  <a:lnTo>
                    <a:pt x="174" y="19"/>
                  </a:lnTo>
                  <a:lnTo>
                    <a:pt x="176" y="17"/>
                  </a:lnTo>
                  <a:lnTo>
                    <a:pt x="176" y="14"/>
                  </a:lnTo>
                  <a:lnTo>
                    <a:pt x="178" y="13"/>
                  </a:lnTo>
                  <a:lnTo>
                    <a:pt x="180" y="12"/>
                  </a:lnTo>
                  <a:lnTo>
                    <a:pt x="181" y="11"/>
                  </a:lnTo>
                  <a:lnTo>
                    <a:pt x="184" y="13"/>
                  </a:lnTo>
                  <a:lnTo>
                    <a:pt x="185" y="13"/>
                  </a:lnTo>
                  <a:lnTo>
                    <a:pt x="184" y="12"/>
                  </a:lnTo>
                  <a:lnTo>
                    <a:pt x="185" y="12"/>
                  </a:lnTo>
                  <a:lnTo>
                    <a:pt x="185" y="11"/>
                  </a:lnTo>
                  <a:lnTo>
                    <a:pt x="187" y="11"/>
                  </a:lnTo>
                  <a:lnTo>
                    <a:pt x="187" y="9"/>
                  </a:lnTo>
                  <a:lnTo>
                    <a:pt x="191" y="9"/>
                  </a:lnTo>
                  <a:lnTo>
                    <a:pt x="192" y="8"/>
                  </a:lnTo>
                  <a:lnTo>
                    <a:pt x="192" y="7"/>
                  </a:lnTo>
                  <a:lnTo>
                    <a:pt x="193" y="7"/>
                  </a:lnTo>
                  <a:lnTo>
                    <a:pt x="194" y="8"/>
                  </a:lnTo>
                  <a:lnTo>
                    <a:pt x="194" y="9"/>
                  </a:lnTo>
                  <a:lnTo>
                    <a:pt x="196" y="8"/>
                  </a:lnTo>
                  <a:lnTo>
                    <a:pt x="199" y="9"/>
                  </a:lnTo>
                  <a:lnTo>
                    <a:pt x="203" y="8"/>
                  </a:lnTo>
                  <a:lnTo>
                    <a:pt x="204" y="8"/>
                  </a:lnTo>
                  <a:lnTo>
                    <a:pt x="207" y="6"/>
                  </a:lnTo>
                  <a:lnTo>
                    <a:pt x="209" y="5"/>
                  </a:lnTo>
                  <a:lnTo>
                    <a:pt x="213" y="5"/>
                  </a:lnTo>
                  <a:lnTo>
                    <a:pt x="213" y="7"/>
                  </a:lnTo>
                  <a:lnTo>
                    <a:pt x="215" y="6"/>
                  </a:lnTo>
                  <a:lnTo>
                    <a:pt x="217" y="6"/>
                  </a:lnTo>
                  <a:lnTo>
                    <a:pt x="219" y="7"/>
                  </a:lnTo>
                  <a:lnTo>
                    <a:pt x="221" y="7"/>
                  </a:lnTo>
                  <a:lnTo>
                    <a:pt x="222" y="5"/>
                  </a:lnTo>
                  <a:lnTo>
                    <a:pt x="221" y="5"/>
                  </a:lnTo>
                  <a:lnTo>
                    <a:pt x="221" y="3"/>
                  </a:lnTo>
                  <a:lnTo>
                    <a:pt x="219" y="3"/>
                  </a:lnTo>
                  <a:lnTo>
                    <a:pt x="219" y="1"/>
                  </a:lnTo>
                  <a:lnTo>
                    <a:pt x="221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40">
              <a:extLst>
                <a:ext uri="{FF2B5EF4-FFF2-40B4-BE49-F238E27FC236}">
                  <a16:creationId xmlns:a16="http://schemas.microsoft.com/office/drawing/2014/main" id="{0383E168-D662-4FBF-9012-1C55F2237A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16413" y="3163888"/>
              <a:ext cx="179388" cy="282575"/>
            </a:xfrm>
            <a:custGeom>
              <a:avLst/>
              <a:gdLst/>
              <a:ahLst/>
              <a:cxnLst>
                <a:cxn ang="0">
                  <a:pos x="22" y="171"/>
                </a:cxn>
                <a:cxn ang="0">
                  <a:pos x="17" y="170"/>
                </a:cxn>
                <a:cxn ang="0">
                  <a:pos x="11" y="171"/>
                </a:cxn>
                <a:cxn ang="0">
                  <a:pos x="0" y="164"/>
                </a:cxn>
                <a:cxn ang="0">
                  <a:pos x="32" y="147"/>
                </a:cxn>
                <a:cxn ang="0">
                  <a:pos x="16" y="153"/>
                </a:cxn>
                <a:cxn ang="0">
                  <a:pos x="23" y="158"/>
                </a:cxn>
                <a:cxn ang="0">
                  <a:pos x="26" y="159"/>
                </a:cxn>
                <a:cxn ang="0">
                  <a:pos x="28" y="163"/>
                </a:cxn>
                <a:cxn ang="0">
                  <a:pos x="17" y="160"/>
                </a:cxn>
                <a:cxn ang="0">
                  <a:pos x="9" y="157"/>
                </a:cxn>
                <a:cxn ang="0">
                  <a:pos x="4" y="158"/>
                </a:cxn>
                <a:cxn ang="0">
                  <a:pos x="37" y="146"/>
                </a:cxn>
                <a:cxn ang="0">
                  <a:pos x="35" y="145"/>
                </a:cxn>
                <a:cxn ang="0">
                  <a:pos x="19" y="145"/>
                </a:cxn>
                <a:cxn ang="0">
                  <a:pos x="29" y="136"/>
                </a:cxn>
                <a:cxn ang="0">
                  <a:pos x="26" y="142"/>
                </a:cxn>
                <a:cxn ang="0">
                  <a:pos x="23" y="135"/>
                </a:cxn>
                <a:cxn ang="0">
                  <a:pos x="36" y="138"/>
                </a:cxn>
                <a:cxn ang="0">
                  <a:pos x="34" y="136"/>
                </a:cxn>
                <a:cxn ang="0">
                  <a:pos x="38" y="130"/>
                </a:cxn>
                <a:cxn ang="0">
                  <a:pos x="16" y="129"/>
                </a:cxn>
                <a:cxn ang="0">
                  <a:pos x="24" y="134"/>
                </a:cxn>
                <a:cxn ang="0">
                  <a:pos x="17" y="132"/>
                </a:cxn>
                <a:cxn ang="0">
                  <a:pos x="75" y="114"/>
                </a:cxn>
                <a:cxn ang="0">
                  <a:pos x="88" y="64"/>
                </a:cxn>
                <a:cxn ang="0">
                  <a:pos x="100" y="59"/>
                </a:cxn>
                <a:cxn ang="0">
                  <a:pos x="105" y="42"/>
                </a:cxn>
                <a:cxn ang="0">
                  <a:pos x="111" y="19"/>
                </a:cxn>
                <a:cxn ang="0">
                  <a:pos x="106" y="23"/>
                </a:cxn>
                <a:cxn ang="0">
                  <a:pos x="90" y="29"/>
                </a:cxn>
                <a:cxn ang="0">
                  <a:pos x="87" y="39"/>
                </a:cxn>
                <a:cxn ang="0">
                  <a:pos x="93" y="31"/>
                </a:cxn>
                <a:cxn ang="0">
                  <a:pos x="93" y="39"/>
                </a:cxn>
                <a:cxn ang="0">
                  <a:pos x="101" y="35"/>
                </a:cxn>
                <a:cxn ang="0">
                  <a:pos x="97" y="45"/>
                </a:cxn>
                <a:cxn ang="0">
                  <a:pos x="96" y="49"/>
                </a:cxn>
                <a:cxn ang="0">
                  <a:pos x="94" y="58"/>
                </a:cxn>
                <a:cxn ang="0">
                  <a:pos x="94" y="64"/>
                </a:cxn>
                <a:cxn ang="0">
                  <a:pos x="94" y="73"/>
                </a:cxn>
                <a:cxn ang="0">
                  <a:pos x="92" y="84"/>
                </a:cxn>
                <a:cxn ang="0">
                  <a:pos x="90" y="77"/>
                </a:cxn>
                <a:cxn ang="0">
                  <a:pos x="92" y="64"/>
                </a:cxn>
                <a:cxn ang="0">
                  <a:pos x="92" y="53"/>
                </a:cxn>
                <a:cxn ang="0">
                  <a:pos x="87" y="53"/>
                </a:cxn>
                <a:cxn ang="0">
                  <a:pos x="84" y="60"/>
                </a:cxn>
                <a:cxn ang="0">
                  <a:pos x="81" y="52"/>
                </a:cxn>
                <a:cxn ang="0">
                  <a:pos x="75" y="47"/>
                </a:cxn>
                <a:cxn ang="0">
                  <a:pos x="82" y="46"/>
                </a:cxn>
                <a:cxn ang="0">
                  <a:pos x="88" y="43"/>
                </a:cxn>
                <a:cxn ang="0">
                  <a:pos x="85" y="34"/>
                </a:cxn>
                <a:cxn ang="0">
                  <a:pos x="78" y="33"/>
                </a:cxn>
                <a:cxn ang="0">
                  <a:pos x="86" y="29"/>
                </a:cxn>
                <a:cxn ang="0">
                  <a:pos x="87" y="21"/>
                </a:cxn>
                <a:cxn ang="0">
                  <a:pos x="104" y="13"/>
                </a:cxn>
                <a:cxn ang="0">
                  <a:pos x="101" y="18"/>
                </a:cxn>
                <a:cxn ang="0">
                  <a:pos x="99" y="30"/>
                </a:cxn>
                <a:cxn ang="0">
                  <a:pos x="97" y="17"/>
                </a:cxn>
                <a:cxn ang="0">
                  <a:pos x="107" y="5"/>
                </a:cxn>
                <a:cxn ang="0">
                  <a:pos x="113" y="4"/>
                </a:cxn>
                <a:cxn ang="0">
                  <a:pos x="105" y="15"/>
                </a:cxn>
                <a:cxn ang="0">
                  <a:pos x="106" y="4"/>
                </a:cxn>
              </a:cxnLst>
              <a:rect l="0" t="0" r="r" b="b"/>
              <a:pathLst>
                <a:path w="113" h="178">
                  <a:moveTo>
                    <a:pt x="12" y="171"/>
                  </a:moveTo>
                  <a:lnTo>
                    <a:pt x="13" y="172"/>
                  </a:lnTo>
                  <a:lnTo>
                    <a:pt x="12" y="173"/>
                  </a:lnTo>
                  <a:lnTo>
                    <a:pt x="10" y="173"/>
                  </a:lnTo>
                  <a:lnTo>
                    <a:pt x="12" y="171"/>
                  </a:lnTo>
                  <a:close/>
                  <a:moveTo>
                    <a:pt x="20" y="169"/>
                  </a:moveTo>
                  <a:lnTo>
                    <a:pt x="23" y="169"/>
                  </a:lnTo>
                  <a:lnTo>
                    <a:pt x="23" y="171"/>
                  </a:lnTo>
                  <a:lnTo>
                    <a:pt x="22" y="171"/>
                  </a:lnTo>
                  <a:lnTo>
                    <a:pt x="22" y="177"/>
                  </a:lnTo>
                  <a:lnTo>
                    <a:pt x="20" y="178"/>
                  </a:lnTo>
                  <a:lnTo>
                    <a:pt x="19" y="176"/>
                  </a:lnTo>
                  <a:lnTo>
                    <a:pt x="19" y="173"/>
                  </a:lnTo>
                  <a:lnTo>
                    <a:pt x="18" y="171"/>
                  </a:lnTo>
                  <a:lnTo>
                    <a:pt x="19" y="172"/>
                  </a:lnTo>
                  <a:lnTo>
                    <a:pt x="19" y="171"/>
                  </a:lnTo>
                  <a:lnTo>
                    <a:pt x="17" y="171"/>
                  </a:lnTo>
                  <a:lnTo>
                    <a:pt x="17" y="170"/>
                  </a:lnTo>
                  <a:lnTo>
                    <a:pt x="18" y="170"/>
                  </a:lnTo>
                  <a:lnTo>
                    <a:pt x="20" y="169"/>
                  </a:lnTo>
                  <a:close/>
                  <a:moveTo>
                    <a:pt x="4" y="162"/>
                  </a:moveTo>
                  <a:lnTo>
                    <a:pt x="6" y="164"/>
                  </a:lnTo>
                  <a:lnTo>
                    <a:pt x="9" y="164"/>
                  </a:lnTo>
                  <a:lnTo>
                    <a:pt x="10" y="168"/>
                  </a:lnTo>
                  <a:lnTo>
                    <a:pt x="10" y="169"/>
                  </a:lnTo>
                  <a:lnTo>
                    <a:pt x="11" y="170"/>
                  </a:lnTo>
                  <a:lnTo>
                    <a:pt x="11" y="171"/>
                  </a:lnTo>
                  <a:lnTo>
                    <a:pt x="10" y="171"/>
                  </a:lnTo>
                  <a:lnTo>
                    <a:pt x="7" y="173"/>
                  </a:lnTo>
                  <a:lnTo>
                    <a:pt x="5" y="173"/>
                  </a:lnTo>
                  <a:lnTo>
                    <a:pt x="5" y="171"/>
                  </a:lnTo>
                  <a:lnTo>
                    <a:pt x="4" y="170"/>
                  </a:lnTo>
                  <a:lnTo>
                    <a:pt x="3" y="168"/>
                  </a:lnTo>
                  <a:lnTo>
                    <a:pt x="3" y="166"/>
                  </a:lnTo>
                  <a:lnTo>
                    <a:pt x="0" y="166"/>
                  </a:lnTo>
                  <a:lnTo>
                    <a:pt x="0" y="164"/>
                  </a:lnTo>
                  <a:lnTo>
                    <a:pt x="1" y="164"/>
                  </a:lnTo>
                  <a:lnTo>
                    <a:pt x="1" y="163"/>
                  </a:lnTo>
                  <a:lnTo>
                    <a:pt x="4" y="162"/>
                  </a:lnTo>
                  <a:close/>
                  <a:moveTo>
                    <a:pt x="32" y="147"/>
                  </a:moveTo>
                  <a:lnTo>
                    <a:pt x="34" y="147"/>
                  </a:lnTo>
                  <a:lnTo>
                    <a:pt x="34" y="148"/>
                  </a:lnTo>
                  <a:lnTo>
                    <a:pt x="32" y="150"/>
                  </a:lnTo>
                  <a:lnTo>
                    <a:pt x="31" y="148"/>
                  </a:lnTo>
                  <a:lnTo>
                    <a:pt x="32" y="147"/>
                  </a:lnTo>
                  <a:close/>
                  <a:moveTo>
                    <a:pt x="6" y="144"/>
                  </a:moveTo>
                  <a:lnTo>
                    <a:pt x="11" y="144"/>
                  </a:lnTo>
                  <a:lnTo>
                    <a:pt x="13" y="146"/>
                  </a:lnTo>
                  <a:lnTo>
                    <a:pt x="16" y="146"/>
                  </a:lnTo>
                  <a:lnTo>
                    <a:pt x="16" y="148"/>
                  </a:lnTo>
                  <a:lnTo>
                    <a:pt x="18" y="150"/>
                  </a:lnTo>
                  <a:lnTo>
                    <a:pt x="18" y="151"/>
                  </a:lnTo>
                  <a:lnTo>
                    <a:pt x="16" y="152"/>
                  </a:lnTo>
                  <a:lnTo>
                    <a:pt x="16" y="153"/>
                  </a:lnTo>
                  <a:lnTo>
                    <a:pt x="13" y="156"/>
                  </a:lnTo>
                  <a:lnTo>
                    <a:pt x="14" y="157"/>
                  </a:lnTo>
                  <a:lnTo>
                    <a:pt x="17" y="157"/>
                  </a:lnTo>
                  <a:lnTo>
                    <a:pt x="17" y="156"/>
                  </a:lnTo>
                  <a:lnTo>
                    <a:pt x="18" y="154"/>
                  </a:lnTo>
                  <a:lnTo>
                    <a:pt x="19" y="156"/>
                  </a:lnTo>
                  <a:lnTo>
                    <a:pt x="22" y="156"/>
                  </a:lnTo>
                  <a:lnTo>
                    <a:pt x="23" y="157"/>
                  </a:lnTo>
                  <a:lnTo>
                    <a:pt x="23" y="158"/>
                  </a:lnTo>
                  <a:lnTo>
                    <a:pt x="25" y="158"/>
                  </a:lnTo>
                  <a:lnTo>
                    <a:pt x="25" y="157"/>
                  </a:lnTo>
                  <a:lnTo>
                    <a:pt x="28" y="157"/>
                  </a:lnTo>
                  <a:lnTo>
                    <a:pt x="28" y="158"/>
                  </a:lnTo>
                  <a:lnTo>
                    <a:pt x="25" y="160"/>
                  </a:lnTo>
                  <a:lnTo>
                    <a:pt x="25" y="162"/>
                  </a:lnTo>
                  <a:lnTo>
                    <a:pt x="28" y="162"/>
                  </a:lnTo>
                  <a:lnTo>
                    <a:pt x="28" y="160"/>
                  </a:lnTo>
                  <a:lnTo>
                    <a:pt x="26" y="159"/>
                  </a:lnTo>
                  <a:lnTo>
                    <a:pt x="28" y="159"/>
                  </a:lnTo>
                  <a:lnTo>
                    <a:pt x="29" y="158"/>
                  </a:lnTo>
                  <a:lnTo>
                    <a:pt x="30" y="158"/>
                  </a:lnTo>
                  <a:lnTo>
                    <a:pt x="30" y="159"/>
                  </a:lnTo>
                  <a:lnTo>
                    <a:pt x="31" y="159"/>
                  </a:lnTo>
                  <a:lnTo>
                    <a:pt x="31" y="162"/>
                  </a:lnTo>
                  <a:lnTo>
                    <a:pt x="30" y="162"/>
                  </a:lnTo>
                  <a:lnTo>
                    <a:pt x="30" y="163"/>
                  </a:lnTo>
                  <a:lnTo>
                    <a:pt x="28" y="163"/>
                  </a:lnTo>
                  <a:lnTo>
                    <a:pt x="26" y="165"/>
                  </a:lnTo>
                  <a:lnTo>
                    <a:pt x="25" y="165"/>
                  </a:lnTo>
                  <a:lnTo>
                    <a:pt x="22" y="164"/>
                  </a:lnTo>
                  <a:lnTo>
                    <a:pt x="20" y="163"/>
                  </a:lnTo>
                  <a:lnTo>
                    <a:pt x="19" y="160"/>
                  </a:lnTo>
                  <a:lnTo>
                    <a:pt x="19" y="159"/>
                  </a:lnTo>
                  <a:lnTo>
                    <a:pt x="18" y="159"/>
                  </a:lnTo>
                  <a:lnTo>
                    <a:pt x="18" y="160"/>
                  </a:lnTo>
                  <a:lnTo>
                    <a:pt x="17" y="160"/>
                  </a:lnTo>
                  <a:lnTo>
                    <a:pt x="16" y="162"/>
                  </a:lnTo>
                  <a:lnTo>
                    <a:pt x="16" y="160"/>
                  </a:lnTo>
                  <a:lnTo>
                    <a:pt x="14" y="160"/>
                  </a:lnTo>
                  <a:lnTo>
                    <a:pt x="16" y="162"/>
                  </a:lnTo>
                  <a:lnTo>
                    <a:pt x="13" y="162"/>
                  </a:lnTo>
                  <a:lnTo>
                    <a:pt x="13" y="163"/>
                  </a:lnTo>
                  <a:lnTo>
                    <a:pt x="10" y="163"/>
                  </a:lnTo>
                  <a:lnTo>
                    <a:pt x="9" y="162"/>
                  </a:lnTo>
                  <a:lnTo>
                    <a:pt x="9" y="157"/>
                  </a:lnTo>
                  <a:lnTo>
                    <a:pt x="10" y="156"/>
                  </a:lnTo>
                  <a:lnTo>
                    <a:pt x="10" y="154"/>
                  </a:lnTo>
                  <a:lnTo>
                    <a:pt x="9" y="154"/>
                  </a:lnTo>
                  <a:lnTo>
                    <a:pt x="9" y="156"/>
                  </a:lnTo>
                  <a:lnTo>
                    <a:pt x="7" y="154"/>
                  </a:lnTo>
                  <a:lnTo>
                    <a:pt x="7" y="158"/>
                  </a:lnTo>
                  <a:lnTo>
                    <a:pt x="6" y="159"/>
                  </a:lnTo>
                  <a:lnTo>
                    <a:pt x="6" y="160"/>
                  </a:lnTo>
                  <a:lnTo>
                    <a:pt x="4" y="158"/>
                  </a:lnTo>
                  <a:lnTo>
                    <a:pt x="3" y="154"/>
                  </a:lnTo>
                  <a:lnTo>
                    <a:pt x="4" y="152"/>
                  </a:lnTo>
                  <a:lnTo>
                    <a:pt x="4" y="148"/>
                  </a:lnTo>
                  <a:lnTo>
                    <a:pt x="6" y="144"/>
                  </a:lnTo>
                  <a:close/>
                  <a:moveTo>
                    <a:pt x="35" y="142"/>
                  </a:moveTo>
                  <a:lnTo>
                    <a:pt x="35" y="144"/>
                  </a:lnTo>
                  <a:lnTo>
                    <a:pt x="36" y="144"/>
                  </a:lnTo>
                  <a:lnTo>
                    <a:pt x="36" y="146"/>
                  </a:lnTo>
                  <a:lnTo>
                    <a:pt x="37" y="146"/>
                  </a:lnTo>
                  <a:lnTo>
                    <a:pt x="37" y="147"/>
                  </a:lnTo>
                  <a:lnTo>
                    <a:pt x="38" y="148"/>
                  </a:lnTo>
                  <a:lnTo>
                    <a:pt x="38" y="150"/>
                  </a:lnTo>
                  <a:lnTo>
                    <a:pt x="36" y="150"/>
                  </a:lnTo>
                  <a:lnTo>
                    <a:pt x="35" y="148"/>
                  </a:lnTo>
                  <a:lnTo>
                    <a:pt x="35" y="147"/>
                  </a:lnTo>
                  <a:lnTo>
                    <a:pt x="34" y="147"/>
                  </a:lnTo>
                  <a:lnTo>
                    <a:pt x="35" y="146"/>
                  </a:lnTo>
                  <a:lnTo>
                    <a:pt x="35" y="145"/>
                  </a:lnTo>
                  <a:lnTo>
                    <a:pt x="32" y="144"/>
                  </a:lnTo>
                  <a:lnTo>
                    <a:pt x="35" y="142"/>
                  </a:lnTo>
                  <a:close/>
                  <a:moveTo>
                    <a:pt x="14" y="140"/>
                  </a:moveTo>
                  <a:lnTo>
                    <a:pt x="17" y="140"/>
                  </a:lnTo>
                  <a:lnTo>
                    <a:pt x="17" y="141"/>
                  </a:lnTo>
                  <a:lnTo>
                    <a:pt x="19" y="140"/>
                  </a:lnTo>
                  <a:lnTo>
                    <a:pt x="20" y="141"/>
                  </a:lnTo>
                  <a:lnTo>
                    <a:pt x="19" y="142"/>
                  </a:lnTo>
                  <a:lnTo>
                    <a:pt x="19" y="145"/>
                  </a:lnTo>
                  <a:lnTo>
                    <a:pt x="18" y="146"/>
                  </a:lnTo>
                  <a:lnTo>
                    <a:pt x="17" y="145"/>
                  </a:lnTo>
                  <a:lnTo>
                    <a:pt x="14" y="145"/>
                  </a:lnTo>
                  <a:lnTo>
                    <a:pt x="13" y="142"/>
                  </a:lnTo>
                  <a:lnTo>
                    <a:pt x="13" y="141"/>
                  </a:lnTo>
                  <a:lnTo>
                    <a:pt x="14" y="140"/>
                  </a:lnTo>
                  <a:close/>
                  <a:moveTo>
                    <a:pt x="28" y="135"/>
                  </a:moveTo>
                  <a:lnTo>
                    <a:pt x="29" y="135"/>
                  </a:lnTo>
                  <a:lnTo>
                    <a:pt x="29" y="136"/>
                  </a:lnTo>
                  <a:lnTo>
                    <a:pt x="30" y="136"/>
                  </a:lnTo>
                  <a:lnTo>
                    <a:pt x="30" y="139"/>
                  </a:lnTo>
                  <a:lnTo>
                    <a:pt x="29" y="140"/>
                  </a:lnTo>
                  <a:lnTo>
                    <a:pt x="29" y="144"/>
                  </a:lnTo>
                  <a:lnTo>
                    <a:pt x="30" y="144"/>
                  </a:lnTo>
                  <a:lnTo>
                    <a:pt x="29" y="145"/>
                  </a:lnTo>
                  <a:lnTo>
                    <a:pt x="28" y="145"/>
                  </a:lnTo>
                  <a:lnTo>
                    <a:pt x="28" y="142"/>
                  </a:lnTo>
                  <a:lnTo>
                    <a:pt x="26" y="142"/>
                  </a:lnTo>
                  <a:lnTo>
                    <a:pt x="26" y="141"/>
                  </a:lnTo>
                  <a:lnTo>
                    <a:pt x="25" y="141"/>
                  </a:lnTo>
                  <a:lnTo>
                    <a:pt x="25" y="140"/>
                  </a:lnTo>
                  <a:lnTo>
                    <a:pt x="28" y="140"/>
                  </a:lnTo>
                  <a:lnTo>
                    <a:pt x="28" y="135"/>
                  </a:lnTo>
                  <a:close/>
                  <a:moveTo>
                    <a:pt x="23" y="135"/>
                  </a:moveTo>
                  <a:lnTo>
                    <a:pt x="24" y="135"/>
                  </a:lnTo>
                  <a:lnTo>
                    <a:pt x="23" y="136"/>
                  </a:lnTo>
                  <a:lnTo>
                    <a:pt x="23" y="135"/>
                  </a:lnTo>
                  <a:close/>
                  <a:moveTo>
                    <a:pt x="43" y="130"/>
                  </a:moveTo>
                  <a:lnTo>
                    <a:pt x="44" y="132"/>
                  </a:lnTo>
                  <a:lnTo>
                    <a:pt x="44" y="133"/>
                  </a:lnTo>
                  <a:lnTo>
                    <a:pt x="41" y="133"/>
                  </a:lnTo>
                  <a:lnTo>
                    <a:pt x="41" y="134"/>
                  </a:lnTo>
                  <a:lnTo>
                    <a:pt x="39" y="136"/>
                  </a:lnTo>
                  <a:lnTo>
                    <a:pt x="38" y="136"/>
                  </a:lnTo>
                  <a:lnTo>
                    <a:pt x="38" y="135"/>
                  </a:lnTo>
                  <a:lnTo>
                    <a:pt x="36" y="138"/>
                  </a:lnTo>
                  <a:lnTo>
                    <a:pt x="36" y="136"/>
                  </a:lnTo>
                  <a:lnTo>
                    <a:pt x="35" y="136"/>
                  </a:lnTo>
                  <a:lnTo>
                    <a:pt x="32" y="139"/>
                  </a:lnTo>
                  <a:lnTo>
                    <a:pt x="32" y="140"/>
                  </a:lnTo>
                  <a:lnTo>
                    <a:pt x="31" y="140"/>
                  </a:lnTo>
                  <a:lnTo>
                    <a:pt x="31" y="138"/>
                  </a:lnTo>
                  <a:lnTo>
                    <a:pt x="32" y="138"/>
                  </a:lnTo>
                  <a:lnTo>
                    <a:pt x="32" y="136"/>
                  </a:lnTo>
                  <a:lnTo>
                    <a:pt x="34" y="136"/>
                  </a:lnTo>
                  <a:lnTo>
                    <a:pt x="34" y="135"/>
                  </a:lnTo>
                  <a:lnTo>
                    <a:pt x="35" y="135"/>
                  </a:lnTo>
                  <a:lnTo>
                    <a:pt x="35" y="134"/>
                  </a:lnTo>
                  <a:lnTo>
                    <a:pt x="37" y="134"/>
                  </a:lnTo>
                  <a:lnTo>
                    <a:pt x="39" y="132"/>
                  </a:lnTo>
                  <a:lnTo>
                    <a:pt x="42" y="132"/>
                  </a:lnTo>
                  <a:lnTo>
                    <a:pt x="43" y="130"/>
                  </a:lnTo>
                  <a:close/>
                  <a:moveTo>
                    <a:pt x="37" y="130"/>
                  </a:moveTo>
                  <a:lnTo>
                    <a:pt x="38" y="130"/>
                  </a:lnTo>
                  <a:lnTo>
                    <a:pt x="38" y="132"/>
                  </a:lnTo>
                  <a:lnTo>
                    <a:pt x="36" y="134"/>
                  </a:lnTo>
                  <a:lnTo>
                    <a:pt x="36" y="133"/>
                  </a:lnTo>
                  <a:lnTo>
                    <a:pt x="35" y="132"/>
                  </a:lnTo>
                  <a:lnTo>
                    <a:pt x="36" y="132"/>
                  </a:lnTo>
                  <a:lnTo>
                    <a:pt x="37" y="130"/>
                  </a:lnTo>
                  <a:close/>
                  <a:moveTo>
                    <a:pt x="16" y="128"/>
                  </a:moveTo>
                  <a:lnTo>
                    <a:pt x="17" y="129"/>
                  </a:lnTo>
                  <a:lnTo>
                    <a:pt x="16" y="129"/>
                  </a:lnTo>
                  <a:lnTo>
                    <a:pt x="16" y="128"/>
                  </a:lnTo>
                  <a:close/>
                  <a:moveTo>
                    <a:pt x="19" y="126"/>
                  </a:moveTo>
                  <a:lnTo>
                    <a:pt x="20" y="127"/>
                  </a:lnTo>
                  <a:lnTo>
                    <a:pt x="20" y="129"/>
                  </a:lnTo>
                  <a:lnTo>
                    <a:pt x="19" y="129"/>
                  </a:lnTo>
                  <a:lnTo>
                    <a:pt x="22" y="130"/>
                  </a:lnTo>
                  <a:lnTo>
                    <a:pt x="23" y="130"/>
                  </a:lnTo>
                  <a:lnTo>
                    <a:pt x="24" y="133"/>
                  </a:lnTo>
                  <a:lnTo>
                    <a:pt x="24" y="134"/>
                  </a:lnTo>
                  <a:lnTo>
                    <a:pt x="25" y="134"/>
                  </a:lnTo>
                  <a:lnTo>
                    <a:pt x="25" y="135"/>
                  </a:lnTo>
                  <a:lnTo>
                    <a:pt x="24" y="135"/>
                  </a:lnTo>
                  <a:lnTo>
                    <a:pt x="20" y="132"/>
                  </a:lnTo>
                  <a:lnTo>
                    <a:pt x="19" y="132"/>
                  </a:lnTo>
                  <a:lnTo>
                    <a:pt x="19" y="134"/>
                  </a:lnTo>
                  <a:lnTo>
                    <a:pt x="18" y="134"/>
                  </a:lnTo>
                  <a:lnTo>
                    <a:pt x="18" y="133"/>
                  </a:lnTo>
                  <a:lnTo>
                    <a:pt x="17" y="132"/>
                  </a:lnTo>
                  <a:lnTo>
                    <a:pt x="17" y="129"/>
                  </a:lnTo>
                  <a:lnTo>
                    <a:pt x="19" y="127"/>
                  </a:lnTo>
                  <a:lnTo>
                    <a:pt x="19" y="126"/>
                  </a:lnTo>
                  <a:close/>
                  <a:moveTo>
                    <a:pt x="76" y="110"/>
                  </a:moveTo>
                  <a:lnTo>
                    <a:pt x="78" y="110"/>
                  </a:lnTo>
                  <a:lnTo>
                    <a:pt x="78" y="113"/>
                  </a:lnTo>
                  <a:lnTo>
                    <a:pt x="76" y="113"/>
                  </a:lnTo>
                  <a:lnTo>
                    <a:pt x="76" y="114"/>
                  </a:lnTo>
                  <a:lnTo>
                    <a:pt x="75" y="114"/>
                  </a:lnTo>
                  <a:lnTo>
                    <a:pt x="75" y="111"/>
                  </a:lnTo>
                  <a:lnTo>
                    <a:pt x="76" y="110"/>
                  </a:lnTo>
                  <a:close/>
                  <a:moveTo>
                    <a:pt x="88" y="64"/>
                  </a:moveTo>
                  <a:lnTo>
                    <a:pt x="90" y="64"/>
                  </a:lnTo>
                  <a:lnTo>
                    <a:pt x="90" y="67"/>
                  </a:lnTo>
                  <a:lnTo>
                    <a:pt x="87" y="70"/>
                  </a:lnTo>
                  <a:lnTo>
                    <a:pt x="87" y="68"/>
                  </a:lnTo>
                  <a:lnTo>
                    <a:pt x="88" y="67"/>
                  </a:lnTo>
                  <a:lnTo>
                    <a:pt x="88" y="64"/>
                  </a:lnTo>
                  <a:close/>
                  <a:moveTo>
                    <a:pt x="56" y="60"/>
                  </a:moveTo>
                  <a:lnTo>
                    <a:pt x="59" y="60"/>
                  </a:lnTo>
                  <a:lnTo>
                    <a:pt x="59" y="62"/>
                  </a:lnTo>
                  <a:lnTo>
                    <a:pt x="57" y="62"/>
                  </a:lnTo>
                  <a:lnTo>
                    <a:pt x="56" y="61"/>
                  </a:lnTo>
                  <a:lnTo>
                    <a:pt x="56" y="60"/>
                  </a:lnTo>
                  <a:close/>
                  <a:moveTo>
                    <a:pt x="97" y="58"/>
                  </a:moveTo>
                  <a:lnTo>
                    <a:pt x="99" y="58"/>
                  </a:lnTo>
                  <a:lnTo>
                    <a:pt x="100" y="59"/>
                  </a:lnTo>
                  <a:lnTo>
                    <a:pt x="100" y="62"/>
                  </a:lnTo>
                  <a:lnTo>
                    <a:pt x="99" y="64"/>
                  </a:lnTo>
                  <a:lnTo>
                    <a:pt x="98" y="62"/>
                  </a:lnTo>
                  <a:lnTo>
                    <a:pt x="98" y="60"/>
                  </a:lnTo>
                  <a:lnTo>
                    <a:pt x="97" y="59"/>
                  </a:lnTo>
                  <a:lnTo>
                    <a:pt x="97" y="58"/>
                  </a:lnTo>
                  <a:close/>
                  <a:moveTo>
                    <a:pt x="106" y="40"/>
                  </a:moveTo>
                  <a:lnTo>
                    <a:pt x="106" y="41"/>
                  </a:lnTo>
                  <a:lnTo>
                    <a:pt x="105" y="42"/>
                  </a:lnTo>
                  <a:lnTo>
                    <a:pt x="104" y="45"/>
                  </a:lnTo>
                  <a:lnTo>
                    <a:pt x="101" y="45"/>
                  </a:lnTo>
                  <a:lnTo>
                    <a:pt x="101" y="42"/>
                  </a:lnTo>
                  <a:lnTo>
                    <a:pt x="103" y="42"/>
                  </a:lnTo>
                  <a:lnTo>
                    <a:pt x="103" y="41"/>
                  </a:lnTo>
                  <a:lnTo>
                    <a:pt x="105" y="41"/>
                  </a:lnTo>
                  <a:lnTo>
                    <a:pt x="106" y="40"/>
                  </a:lnTo>
                  <a:close/>
                  <a:moveTo>
                    <a:pt x="105" y="19"/>
                  </a:moveTo>
                  <a:lnTo>
                    <a:pt x="111" y="19"/>
                  </a:lnTo>
                  <a:lnTo>
                    <a:pt x="111" y="21"/>
                  </a:lnTo>
                  <a:lnTo>
                    <a:pt x="113" y="21"/>
                  </a:lnTo>
                  <a:lnTo>
                    <a:pt x="113" y="23"/>
                  </a:lnTo>
                  <a:lnTo>
                    <a:pt x="112" y="24"/>
                  </a:lnTo>
                  <a:lnTo>
                    <a:pt x="111" y="23"/>
                  </a:lnTo>
                  <a:lnTo>
                    <a:pt x="109" y="23"/>
                  </a:lnTo>
                  <a:lnTo>
                    <a:pt x="109" y="24"/>
                  </a:lnTo>
                  <a:lnTo>
                    <a:pt x="107" y="24"/>
                  </a:lnTo>
                  <a:lnTo>
                    <a:pt x="106" y="23"/>
                  </a:lnTo>
                  <a:lnTo>
                    <a:pt x="105" y="19"/>
                  </a:lnTo>
                  <a:close/>
                  <a:moveTo>
                    <a:pt x="90" y="18"/>
                  </a:moveTo>
                  <a:lnTo>
                    <a:pt x="91" y="19"/>
                  </a:lnTo>
                  <a:lnTo>
                    <a:pt x="91" y="22"/>
                  </a:lnTo>
                  <a:lnTo>
                    <a:pt x="90" y="23"/>
                  </a:lnTo>
                  <a:lnTo>
                    <a:pt x="90" y="27"/>
                  </a:lnTo>
                  <a:lnTo>
                    <a:pt x="88" y="28"/>
                  </a:lnTo>
                  <a:lnTo>
                    <a:pt x="88" y="29"/>
                  </a:lnTo>
                  <a:lnTo>
                    <a:pt x="90" y="29"/>
                  </a:lnTo>
                  <a:lnTo>
                    <a:pt x="88" y="31"/>
                  </a:lnTo>
                  <a:lnTo>
                    <a:pt x="90" y="31"/>
                  </a:lnTo>
                  <a:lnTo>
                    <a:pt x="90" y="30"/>
                  </a:lnTo>
                  <a:lnTo>
                    <a:pt x="91" y="31"/>
                  </a:lnTo>
                  <a:lnTo>
                    <a:pt x="90" y="33"/>
                  </a:lnTo>
                  <a:lnTo>
                    <a:pt x="90" y="34"/>
                  </a:lnTo>
                  <a:lnTo>
                    <a:pt x="88" y="34"/>
                  </a:lnTo>
                  <a:lnTo>
                    <a:pt x="88" y="37"/>
                  </a:lnTo>
                  <a:lnTo>
                    <a:pt x="87" y="39"/>
                  </a:lnTo>
                  <a:lnTo>
                    <a:pt x="90" y="39"/>
                  </a:lnTo>
                  <a:lnTo>
                    <a:pt x="90" y="36"/>
                  </a:lnTo>
                  <a:lnTo>
                    <a:pt x="91" y="36"/>
                  </a:lnTo>
                  <a:lnTo>
                    <a:pt x="93" y="35"/>
                  </a:lnTo>
                  <a:lnTo>
                    <a:pt x="91" y="34"/>
                  </a:lnTo>
                  <a:lnTo>
                    <a:pt x="91" y="31"/>
                  </a:lnTo>
                  <a:lnTo>
                    <a:pt x="92" y="31"/>
                  </a:lnTo>
                  <a:lnTo>
                    <a:pt x="92" y="33"/>
                  </a:lnTo>
                  <a:lnTo>
                    <a:pt x="93" y="31"/>
                  </a:lnTo>
                  <a:lnTo>
                    <a:pt x="93" y="30"/>
                  </a:lnTo>
                  <a:lnTo>
                    <a:pt x="94" y="31"/>
                  </a:lnTo>
                  <a:lnTo>
                    <a:pt x="94" y="33"/>
                  </a:lnTo>
                  <a:lnTo>
                    <a:pt x="96" y="33"/>
                  </a:lnTo>
                  <a:lnTo>
                    <a:pt x="96" y="36"/>
                  </a:lnTo>
                  <a:lnTo>
                    <a:pt x="94" y="36"/>
                  </a:lnTo>
                  <a:lnTo>
                    <a:pt x="94" y="37"/>
                  </a:lnTo>
                  <a:lnTo>
                    <a:pt x="93" y="37"/>
                  </a:lnTo>
                  <a:lnTo>
                    <a:pt x="93" y="39"/>
                  </a:lnTo>
                  <a:lnTo>
                    <a:pt x="94" y="39"/>
                  </a:lnTo>
                  <a:lnTo>
                    <a:pt x="94" y="37"/>
                  </a:lnTo>
                  <a:lnTo>
                    <a:pt x="96" y="37"/>
                  </a:lnTo>
                  <a:lnTo>
                    <a:pt x="97" y="39"/>
                  </a:lnTo>
                  <a:lnTo>
                    <a:pt x="98" y="39"/>
                  </a:lnTo>
                  <a:lnTo>
                    <a:pt x="98" y="36"/>
                  </a:lnTo>
                  <a:lnTo>
                    <a:pt x="99" y="36"/>
                  </a:lnTo>
                  <a:lnTo>
                    <a:pt x="99" y="35"/>
                  </a:lnTo>
                  <a:lnTo>
                    <a:pt x="101" y="35"/>
                  </a:lnTo>
                  <a:lnTo>
                    <a:pt x="100" y="36"/>
                  </a:lnTo>
                  <a:lnTo>
                    <a:pt x="98" y="40"/>
                  </a:lnTo>
                  <a:lnTo>
                    <a:pt x="98" y="41"/>
                  </a:lnTo>
                  <a:lnTo>
                    <a:pt x="99" y="40"/>
                  </a:lnTo>
                  <a:lnTo>
                    <a:pt x="100" y="40"/>
                  </a:lnTo>
                  <a:lnTo>
                    <a:pt x="100" y="42"/>
                  </a:lnTo>
                  <a:lnTo>
                    <a:pt x="99" y="42"/>
                  </a:lnTo>
                  <a:lnTo>
                    <a:pt x="96" y="43"/>
                  </a:lnTo>
                  <a:lnTo>
                    <a:pt x="97" y="45"/>
                  </a:lnTo>
                  <a:lnTo>
                    <a:pt x="98" y="45"/>
                  </a:lnTo>
                  <a:lnTo>
                    <a:pt x="99" y="46"/>
                  </a:lnTo>
                  <a:lnTo>
                    <a:pt x="98" y="48"/>
                  </a:lnTo>
                  <a:lnTo>
                    <a:pt x="97" y="48"/>
                  </a:lnTo>
                  <a:lnTo>
                    <a:pt x="97" y="49"/>
                  </a:lnTo>
                  <a:lnTo>
                    <a:pt x="99" y="49"/>
                  </a:lnTo>
                  <a:lnTo>
                    <a:pt x="97" y="52"/>
                  </a:lnTo>
                  <a:lnTo>
                    <a:pt x="96" y="52"/>
                  </a:lnTo>
                  <a:lnTo>
                    <a:pt x="96" y="49"/>
                  </a:lnTo>
                  <a:lnTo>
                    <a:pt x="94" y="49"/>
                  </a:lnTo>
                  <a:lnTo>
                    <a:pt x="94" y="52"/>
                  </a:lnTo>
                  <a:lnTo>
                    <a:pt x="93" y="53"/>
                  </a:lnTo>
                  <a:lnTo>
                    <a:pt x="96" y="53"/>
                  </a:lnTo>
                  <a:lnTo>
                    <a:pt x="94" y="54"/>
                  </a:lnTo>
                  <a:lnTo>
                    <a:pt x="94" y="55"/>
                  </a:lnTo>
                  <a:lnTo>
                    <a:pt x="96" y="54"/>
                  </a:lnTo>
                  <a:lnTo>
                    <a:pt x="94" y="56"/>
                  </a:lnTo>
                  <a:lnTo>
                    <a:pt x="94" y="58"/>
                  </a:lnTo>
                  <a:lnTo>
                    <a:pt x="96" y="56"/>
                  </a:lnTo>
                  <a:lnTo>
                    <a:pt x="97" y="56"/>
                  </a:lnTo>
                  <a:lnTo>
                    <a:pt x="96" y="59"/>
                  </a:lnTo>
                  <a:lnTo>
                    <a:pt x="98" y="60"/>
                  </a:lnTo>
                  <a:lnTo>
                    <a:pt x="97" y="60"/>
                  </a:lnTo>
                  <a:lnTo>
                    <a:pt x="97" y="61"/>
                  </a:lnTo>
                  <a:lnTo>
                    <a:pt x="96" y="61"/>
                  </a:lnTo>
                  <a:lnTo>
                    <a:pt x="96" y="62"/>
                  </a:lnTo>
                  <a:lnTo>
                    <a:pt x="94" y="64"/>
                  </a:lnTo>
                  <a:lnTo>
                    <a:pt x="94" y="65"/>
                  </a:lnTo>
                  <a:lnTo>
                    <a:pt x="96" y="65"/>
                  </a:lnTo>
                  <a:lnTo>
                    <a:pt x="94" y="66"/>
                  </a:lnTo>
                  <a:lnTo>
                    <a:pt x="94" y="67"/>
                  </a:lnTo>
                  <a:lnTo>
                    <a:pt x="96" y="67"/>
                  </a:lnTo>
                  <a:lnTo>
                    <a:pt x="96" y="70"/>
                  </a:lnTo>
                  <a:lnTo>
                    <a:pt x="93" y="70"/>
                  </a:lnTo>
                  <a:lnTo>
                    <a:pt x="93" y="71"/>
                  </a:lnTo>
                  <a:lnTo>
                    <a:pt x="94" y="73"/>
                  </a:lnTo>
                  <a:lnTo>
                    <a:pt x="94" y="74"/>
                  </a:lnTo>
                  <a:lnTo>
                    <a:pt x="93" y="74"/>
                  </a:lnTo>
                  <a:lnTo>
                    <a:pt x="92" y="73"/>
                  </a:lnTo>
                  <a:lnTo>
                    <a:pt x="92" y="79"/>
                  </a:lnTo>
                  <a:lnTo>
                    <a:pt x="91" y="79"/>
                  </a:lnTo>
                  <a:lnTo>
                    <a:pt x="92" y="80"/>
                  </a:lnTo>
                  <a:lnTo>
                    <a:pt x="92" y="82"/>
                  </a:lnTo>
                  <a:lnTo>
                    <a:pt x="91" y="83"/>
                  </a:lnTo>
                  <a:lnTo>
                    <a:pt x="92" y="84"/>
                  </a:lnTo>
                  <a:lnTo>
                    <a:pt x="92" y="85"/>
                  </a:lnTo>
                  <a:lnTo>
                    <a:pt x="91" y="85"/>
                  </a:lnTo>
                  <a:lnTo>
                    <a:pt x="91" y="84"/>
                  </a:lnTo>
                  <a:lnTo>
                    <a:pt x="90" y="84"/>
                  </a:lnTo>
                  <a:lnTo>
                    <a:pt x="90" y="82"/>
                  </a:lnTo>
                  <a:lnTo>
                    <a:pt x="87" y="82"/>
                  </a:lnTo>
                  <a:lnTo>
                    <a:pt x="87" y="78"/>
                  </a:lnTo>
                  <a:lnTo>
                    <a:pt x="88" y="77"/>
                  </a:lnTo>
                  <a:lnTo>
                    <a:pt x="90" y="77"/>
                  </a:lnTo>
                  <a:lnTo>
                    <a:pt x="88" y="76"/>
                  </a:lnTo>
                  <a:lnTo>
                    <a:pt x="88" y="74"/>
                  </a:lnTo>
                  <a:lnTo>
                    <a:pt x="90" y="74"/>
                  </a:lnTo>
                  <a:lnTo>
                    <a:pt x="88" y="73"/>
                  </a:lnTo>
                  <a:lnTo>
                    <a:pt x="90" y="72"/>
                  </a:lnTo>
                  <a:lnTo>
                    <a:pt x="90" y="71"/>
                  </a:lnTo>
                  <a:lnTo>
                    <a:pt x="91" y="66"/>
                  </a:lnTo>
                  <a:lnTo>
                    <a:pt x="91" y="65"/>
                  </a:lnTo>
                  <a:lnTo>
                    <a:pt x="92" y="64"/>
                  </a:lnTo>
                  <a:lnTo>
                    <a:pt x="92" y="61"/>
                  </a:lnTo>
                  <a:lnTo>
                    <a:pt x="91" y="60"/>
                  </a:lnTo>
                  <a:lnTo>
                    <a:pt x="91" y="59"/>
                  </a:lnTo>
                  <a:lnTo>
                    <a:pt x="92" y="58"/>
                  </a:lnTo>
                  <a:lnTo>
                    <a:pt x="90" y="58"/>
                  </a:lnTo>
                  <a:lnTo>
                    <a:pt x="90" y="56"/>
                  </a:lnTo>
                  <a:lnTo>
                    <a:pt x="91" y="54"/>
                  </a:lnTo>
                  <a:lnTo>
                    <a:pt x="91" y="53"/>
                  </a:lnTo>
                  <a:lnTo>
                    <a:pt x="92" y="53"/>
                  </a:lnTo>
                  <a:lnTo>
                    <a:pt x="92" y="52"/>
                  </a:lnTo>
                  <a:lnTo>
                    <a:pt x="91" y="52"/>
                  </a:lnTo>
                  <a:lnTo>
                    <a:pt x="90" y="53"/>
                  </a:lnTo>
                  <a:lnTo>
                    <a:pt x="88" y="55"/>
                  </a:lnTo>
                  <a:lnTo>
                    <a:pt x="88" y="54"/>
                  </a:lnTo>
                  <a:lnTo>
                    <a:pt x="87" y="52"/>
                  </a:lnTo>
                  <a:lnTo>
                    <a:pt x="86" y="50"/>
                  </a:lnTo>
                  <a:lnTo>
                    <a:pt x="86" y="52"/>
                  </a:lnTo>
                  <a:lnTo>
                    <a:pt x="87" y="53"/>
                  </a:lnTo>
                  <a:lnTo>
                    <a:pt x="87" y="54"/>
                  </a:lnTo>
                  <a:lnTo>
                    <a:pt x="88" y="55"/>
                  </a:lnTo>
                  <a:lnTo>
                    <a:pt x="87" y="56"/>
                  </a:lnTo>
                  <a:lnTo>
                    <a:pt x="87" y="55"/>
                  </a:lnTo>
                  <a:lnTo>
                    <a:pt x="86" y="55"/>
                  </a:lnTo>
                  <a:lnTo>
                    <a:pt x="86" y="58"/>
                  </a:lnTo>
                  <a:lnTo>
                    <a:pt x="85" y="58"/>
                  </a:lnTo>
                  <a:lnTo>
                    <a:pt x="85" y="59"/>
                  </a:lnTo>
                  <a:lnTo>
                    <a:pt x="84" y="60"/>
                  </a:lnTo>
                  <a:lnTo>
                    <a:pt x="82" y="59"/>
                  </a:lnTo>
                  <a:lnTo>
                    <a:pt x="81" y="59"/>
                  </a:lnTo>
                  <a:lnTo>
                    <a:pt x="81" y="58"/>
                  </a:lnTo>
                  <a:lnTo>
                    <a:pt x="80" y="56"/>
                  </a:lnTo>
                  <a:lnTo>
                    <a:pt x="81" y="55"/>
                  </a:lnTo>
                  <a:lnTo>
                    <a:pt x="82" y="55"/>
                  </a:lnTo>
                  <a:lnTo>
                    <a:pt x="84" y="54"/>
                  </a:lnTo>
                  <a:lnTo>
                    <a:pt x="82" y="54"/>
                  </a:lnTo>
                  <a:lnTo>
                    <a:pt x="81" y="52"/>
                  </a:lnTo>
                  <a:lnTo>
                    <a:pt x="81" y="54"/>
                  </a:lnTo>
                  <a:lnTo>
                    <a:pt x="80" y="55"/>
                  </a:lnTo>
                  <a:lnTo>
                    <a:pt x="80" y="53"/>
                  </a:lnTo>
                  <a:lnTo>
                    <a:pt x="79" y="54"/>
                  </a:lnTo>
                  <a:lnTo>
                    <a:pt x="76" y="54"/>
                  </a:lnTo>
                  <a:lnTo>
                    <a:pt x="76" y="53"/>
                  </a:lnTo>
                  <a:lnTo>
                    <a:pt x="74" y="53"/>
                  </a:lnTo>
                  <a:lnTo>
                    <a:pt x="74" y="47"/>
                  </a:lnTo>
                  <a:lnTo>
                    <a:pt x="75" y="47"/>
                  </a:lnTo>
                  <a:lnTo>
                    <a:pt x="76" y="46"/>
                  </a:lnTo>
                  <a:lnTo>
                    <a:pt x="78" y="46"/>
                  </a:lnTo>
                  <a:lnTo>
                    <a:pt x="78" y="47"/>
                  </a:lnTo>
                  <a:lnTo>
                    <a:pt x="79" y="48"/>
                  </a:lnTo>
                  <a:lnTo>
                    <a:pt x="80" y="48"/>
                  </a:lnTo>
                  <a:lnTo>
                    <a:pt x="79" y="47"/>
                  </a:lnTo>
                  <a:lnTo>
                    <a:pt x="80" y="47"/>
                  </a:lnTo>
                  <a:lnTo>
                    <a:pt x="80" y="46"/>
                  </a:lnTo>
                  <a:lnTo>
                    <a:pt x="82" y="46"/>
                  </a:lnTo>
                  <a:lnTo>
                    <a:pt x="84" y="47"/>
                  </a:lnTo>
                  <a:lnTo>
                    <a:pt x="84" y="46"/>
                  </a:lnTo>
                  <a:lnTo>
                    <a:pt x="86" y="46"/>
                  </a:lnTo>
                  <a:lnTo>
                    <a:pt x="87" y="47"/>
                  </a:lnTo>
                  <a:lnTo>
                    <a:pt x="87" y="48"/>
                  </a:lnTo>
                  <a:lnTo>
                    <a:pt x="88" y="48"/>
                  </a:lnTo>
                  <a:lnTo>
                    <a:pt x="88" y="47"/>
                  </a:lnTo>
                  <a:lnTo>
                    <a:pt x="87" y="46"/>
                  </a:lnTo>
                  <a:lnTo>
                    <a:pt x="88" y="43"/>
                  </a:lnTo>
                  <a:lnTo>
                    <a:pt x="90" y="42"/>
                  </a:lnTo>
                  <a:lnTo>
                    <a:pt x="88" y="41"/>
                  </a:lnTo>
                  <a:lnTo>
                    <a:pt x="88" y="40"/>
                  </a:lnTo>
                  <a:lnTo>
                    <a:pt x="87" y="40"/>
                  </a:lnTo>
                  <a:lnTo>
                    <a:pt x="87" y="41"/>
                  </a:lnTo>
                  <a:lnTo>
                    <a:pt x="86" y="41"/>
                  </a:lnTo>
                  <a:lnTo>
                    <a:pt x="86" y="37"/>
                  </a:lnTo>
                  <a:lnTo>
                    <a:pt x="85" y="37"/>
                  </a:lnTo>
                  <a:lnTo>
                    <a:pt x="85" y="34"/>
                  </a:lnTo>
                  <a:lnTo>
                    <a:pt x="84" y="31"/>
                  </a:lnTo>
                  <a:lnTo>
                    <a:pt x="84" y="33"/>
                  </a:lnTo>
                  <a:lnTo>
                    <a:pt x="82" y="34"/>
                  </a:lnTo>
                  <a:lnTo>
                    <a:pt x="81" y="33"/>
                  </a:lnTo>
                  <a:lnTo>
                    <a:pt x="82" y="33"/>
                  </a:lnTo>
                  <a:lnTo>
                    <a:pt x="82" y="31"/>
                  </a:lnTo>
                  <a:lnTo>
                    <a:pt x="80" y="31"/>
                  </a:lnTo>
                  <a:lnTo>
                    <a:pt x="79" y="33"/>
                  </a:lnTo>
                  <a:lnTo>
                    <a:pt x="78" y="33"/>
                  </a:lnTo>
                  <a:lnTo>
                    <a:pt x="76" y="31"/>
                  </a:lnTo>
                  <a:lnTo>
                    <a:pt x="78" y="30"/>
                  </a:lnTo>
                  <a:lnTo>
                    <a:pt x="78" y="29"/>
                  </a:lnTo>
                  <a:lnTo>
                    <a:pt x="80" y="29"/>
                  </a:lnTo>
                  <a:lnTo>
                    <a:pt x="80" y="25"/>
                  </a:lnTo>
                  <a:lnTo>
                    <a:pt x="81" y="25"/>
                  </a:lnTo>
                  <a:lnTo>
                    <a:pt x="81" y="27"/>
                  </a:lnTo>
                  <a:lnTo>
                    <a:pt x="85" y="30"/>
                  </a:lnTo>
                  <a:lnTo>
                    <a:pt x="86" y="29"/>
                  </a:lnTo>
                  <a:lnTo>
                    <a:pt x="84" y="29"/>
                  </a:lnTo>
                  <a:lnTo>
                    <a:pt x="84" y="27"/>
                  </a:lnTo>
                  <a:lnTo>
                    <a:pt x="82" y="27"/>
                  </a:lnTo>
                  <a:lnTo>
                    <a:pt x="84" y="25"/>
                  </a:lnTo>
                  <a:lnTo>
                    <a:pt x="84" y="24"/>
                  </a:lnTo>
                  <a:lnTo>
                    <a:pt x="86" y="23"/>
                  </a:lnTo>
                  <a:lnTo>
                    <a:pt x="85" y="23"/>
                  </a:lnTo>
                  <a:lnTo>
                    <a:pt x="85" y="21"/>
                  </a:lnTo>
                  <a:lnTo>
                    <a:pt x="87" y="21"/>
                  </a:lnTo>
                  <a:lnTo>
                    <a:pt x="88" y="22"/>
                  </a:lnTo>
                  <a:lnTo>
                    <a:pt x="90" y="22"/>
                  </a:lnTo>
                  <a:lnTo>
                    <a:pt x="90" y="18"/>
                  </a:lnTo>
                  <a:close/>
                  <a:moveTo>
                    <a:pt x="99" y="10"/>
                  </a:moveTo>
                  <a:lnTo>
                    <a:pt x="100" y="11"/>
                  </a:lnTo>
                  <a:lnTo>
                    <a:pt x="101" y="10"/>
                  </a:lnTo>
                  <a:lnTo>
                    <a:pt x="103" y="10"/>
                  </a:lnTo>
                  <a:lnTo>
                    <a:pt x="103" y="13"/>
                  </a:lnTo>
                  <a:lnTo>
                    <a:pt x="104" y="13"/>
                  </a:lnTo>
                  <a:lnTo>
                    <a:pt x="103" y="15"/>
                  </a:lnTo>
                  <a:lnTo>
                    <a:pt x="104" y="17"/>
                  </a:lnTo>
                  <a:lnTo>
                    <a:pt x="104" y="18"/>
                  </a:lnTo>
                  <a:lnTo>
                    <a:pt x="103" y="18"/>
                  </a:lnTo>
                  <a:lnTo>
                    <a:pt x="101" y="17"/>
                  </a:lnTo>
                  <a:lnTo>
                    <a:pt x="101" y="16"/>
                  </a:lnTo>
                  <a:lnTo>
                    <a:pt x="100" y="16"/>
                  </a:lnTo>
                  <a:lnTo>
                    <a:pt x="100" y="17"/>
                  </a:lnTo>
                  <a:lnTo>
                    <a:pt x="101" y="18"/>
                  </a:lnTo>
                  <a:lnTo>
                    <a:pt x="103" y="21"/>
                  </a:lnTo>
                  <a:lnTo>
                    <a:pt x="100" y="21"/>
                  </a:lnTo>
                  <a:lnTo>
                    <a:pt x="100" y="22"/>
                  </a:lnTo>
                  <a:lnTo>
                    <a:pt x="101" y="22"/>
                  </a:lnTo>
                  <a:lnTo>
                    <a:pt x="101" y="23"/>
                  </a:lnTo>
                  <a:lnTo>
                    <a:pt x="103" y="24"/>
                  </a:lnTo>
                  <a:lnTo>
                    <a:pt x="101" y="25"/>
                  </a:lnTo>
                  <a:lnTo>
                    <a:pt x="101" y="30"/>
                  </a:lnTo>
                  <a:lnTo>
                    <a:pt x="99" y="30"/>
                  </a:lnTo>
                  <a:lnTo>
                    <a:pt x="99" y="29"/>
                  </a:lnTo>
                  <a:lnTo>
                    <a:pt x="98" y="29"/>
                  </a:lnTo>
                  <a:lnTo>
                    <a:pt x="98" y="30"/>
                  </a:lnTo>
                  <a:lnTo>
                    <a:pt x="99" y="30"/>
                  </a:lnTo>
                  <a:lnTo>
                    <a:pt x="99" y="31"/>
                  </a:lnTo>
                  <a:lnTo>
                    <a:pt x="97" y="30"/>
                  </a:lnTo>
                  <a:lnTo>
                    <a:pt x="96" y="28"/>
                  </a:lnTo>
                  <a:lnTo>
                    <a:pt x="96" y="18"/>
                  </a:lnTo>
                  <a:lnTo>
                    <a:pt x="97" y="17"/>
                  </a:lnTo>
                  <a:lnTo>
                    <a:pt x="97" y="21"/>
                  </a:lnTo>
                  <a:lnTo>
                    <a:pt x="98" y="21"/>
                  </a:lnTo>
                  <a:lnTo>
                    <a:pt x="98" y="11"/>
                  </a:lnTo>
                  <a:lnTo>
                    <a:pt x="99" y="10"/>
                  </a:lnTo>
                  <a:close/>
                  <a:moveTo>
                    <a:pt x="107" y="0"/>
                  </a:moveTo>
                  <a:lnTo>
                    <a:pt x="109" y="0"/>
                  </a:lnTo>
                  <a:lnTo>
                    <a:pt x="109" y="4"/>
                  </a:lnTo>
                  <a:lnTo>
                    <a:pt x="107" y="4"/>
                  </a:lnTo>
                  <a:lnTo>
                    <a:pt x="107" y="5"/>
                  </a:lnTo>
                  <a:lnTo>
                    <a:pt x="109" y="5"/>
                  </a:lnTo>
                  <a:lnTo>
                    <a:pt x="109" y="4"/>
                  </a:lnTo>
                  <a:lnTo>
                    <a:pt x="110" y="2"/>
                  </a:lnTo>
                  <a:lnTo>
                    <a:pt x="110" y="0"/>
                  </a:lnTo>
                  <a:lnTo>
                    <a:pt x="111" y="0"/>
                  </a:lnTo>
                  <a:lnTo>
                    <a:pt x="111" y="2"/>
                  </a:lnTo>
                  <a:lnTo>
                    <a:pt x="112" y="2"/>
                  </a:lnTo>
                  <a:lnTo>
                    <a:pt x="112" y="3"/>
                  </a:lnTo>
                  <a:lnTo>
                    <a:pt x="113" y="4"/>
                  </a:lnTo>
                  <a:lnTo>
                    <a:pt x="111" y="6"/>
                  </a:lnTo>
                  <a:lnTo>
                    <a:pt x="111" y="7"/>
                  </a:lnTo>
                  <a:lnTo>
                    <a:pt x="110" y="7"/>
                  </a:lnTo>
                  <a:lnTo>
                    <a:pt x="111" y="9"/>
                  </a:lnTo>
                  <a:lnTo>
                    <a:pt x="110" y="11"/>
                  </a:lnTo>
                  <a:lnTo>
                    <a:pt x="109" y="11"/>
                  </a:lnTo>
                  <a:lnTo>
                    <a:pt x="110" y="12"/>
                  </a:lnTo>
                  <a:lnTo>
                    <a:pt x="110" y="15"/>
                  </a:lnTo>
                  <a:lnTo>
                    <a:pt x="105" y="15"/>
                  </a:lnTo>
                  <a:lnTo>
                    <a:pt x="104" y="13"/>
                  </a:lnTo>
                  <a:lnTo>
                    <a:pt x="104" y="11"/>
                  </a:lnTo>
                  <a:lnTo>
                    <a:pt x="105" y="11"/>
                  </a:lnTo>
                  <a:lnTo>
                    <a:pt x="105" y="9"/>
                  </a:lnTo>
                  <a:lnTo>
                    <a:pt x="106" y="7"/>
                  </a:lnTo>
                  <a:lnTo>
                    <a:pt x="106" y="6"/>
                  </a:lnTo>
                  <a:lnTo>
                    <a:pt x="105" y="5"/>
                  </a:lnTo>
                  <a:lnTo>
                    <a:pt x="105" y="4"/>
                  </a:lnTo>
                  <a:lnTo>
                    <a:pt x="106" y="4"/>
                  </a:lnTo>
                  <a:lnTo>
                    <a:pt x="106" y="3"/>
                  </a:lnTo>
                  <a:lnTo>
                    <a:pt x="107" y="3"/>
                  </a:lnTo>
                  <a:lnTo>
                    <a:pt x="107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41">
              <a:extLst>
                <a:ext uri="{FF2B5EF4-FFF2-40B4-BE49-F238E27FC236}">
                  <a16:creationId xmlns:a16="http://schemas.microsoft.com/office/drawing/2014/main" id="{2355EF19-F393-46C6-9A11-63527C673F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38713" y="3895725"/>
              <a:ext cx="612775" cy="835025"/>
            </a:xfrm>
            <a:custGeom>
              <a:avLst/>
              <a:gdLst/>
              <a:ahLst/>
              <a:cxnLst>
                <a:cxn ang="0">
                  <a:pos x="96" y="98"/>
                </a:cxn>
                <a:cxn ang="0">
                  <a:pos x="85" y="92"/>
                </a:cxn>
                <a:cxn ang="0">
                  <a:pos x="319" y="59"/>
                </a:cxn>
                <a:cxn ang="0">
                  <a:pos x="277" y="51"/>
                </a:cxn>
                <a:cxn ang="0">
                  <a:pos x="220" y="40"/>
                </a:cxn>
                <a:cxn ang="0">
                  <a:pos x="125" y="43"/>
                </a:cxn>
                <a:cxn ang="0">
                  <a:pos x="332" y="55"/>
                </a:cxn>
                <a:cxn ang="0">
                  <a:pos x="313" y="45"/>
                </a:cxn>
                <a:cxn ang="0">
                  <a:pos x="322" y="42"/>
                </a:cxn>
                <a:cxn ang="0">
                  <a:pos x="305" y="41"/>
                </a:cxn>
                <a:cxn ang="0">
                  <a:pos x="313" y="30"/>
                </a:cxn>
                <a:cxn ang="0">
                  <a:pos x="148" y="19"/>
                </a:cxn>
                <a:cxn ang="0">
                  <a:pos x="174" y="28"/>
                </a:cxn>
                <a:cxn ang="0">
                  <a:pos x="181" y="53"/>
                </a:cxn>
                <a:cxn ang="0">
                  <a:pos x="212" y="71"/>
                </a:cxn>
                <a:cxn ang="0">
                  <a:pos x="237" y="78"/>
                </a:cxn>
                <a:cxn ang="0">
                  <a:pos x="271" y="58"/>
                </a:cxn>
                <a:cxn ang="0">
                  <a:pos x="288" y="48"/>
                </a:cxn>
                <a:cxn ang="0">
                  <a:pos x="314" y="61"/>
                </a:cxn>
                <a:cxn ang="0">
                  <a:pos x="333" y="76"/>
                </a:cxn>
                <a:cxn ang="0">
                  <a:pos x="345" y="82"/>
                </a:cxn>
                <a:cxn ang="0">
                  <a:pos x="334" y="65"/>
                </a:cxn>
                <a:cxn ang="0">
                  <a:pos x="352" y="97"/>
                </a:cxn>
                <a:cxn ang="0">
                  <a:pos x="360" y="134"/>
                </a:cxn>
                <a:cxn ang="0">
                  <a:pos x="370" y="185"/>
                </a:cxn>
                <a:cxn ang="0">
                  <a:pos x="375" y="246"/>
                </a:cxn>
                <a:cxn ang="0">
                  <a:pos x="373" y="298"/>
                </a:cxn>
                <a:cxn ang="0">
                  <a:pos x="353" y="294"/>
                </a:cxn>
                <a:cxn ang="0">
                  <a:pos x="313" y="314"/>
                </a:cxn>
                <a:cxn ang="0">
                  <a:pos x="273" y="336"/>
                </a:cxn>
                <a:cxn ang="0">
                  <a:pos x="270" y="349"/>
                </a:cxn>
                <a:cxn ang="0">
                  <a:pos x="284" y="384"/>
                </a:cxn>
                <a:cxn ang="0">
                  <a:pos x="321" y="421"/>
                </a:cxn>
                <a:cxn ang="0">
                  <a:pos x="329" y="447"/>
                </a:cxn>
                <a:cxn ang="0">
                  <a:pos x="291" y="476"/>
                </a:cxn>
                <a:cxn ang="0">
                  <a:pos x="292" y="506"/>
                </a:cxn>
                <a:cxn ang="0">
                  <a:pos x="268" y="501"/>
                </a:cxn>
                <a:cxn ang="0">
                  <a:pos x="216" y="518"/>
                </a:cxn>
                <a:cxn ang="0">
                  <a:pos x="192" y="513"/>
                </a:cxn>
                <a:cxn ang="0">
                  <a:pos x="173" y="512"/>
                </a:cxn>
                <a:cxn ang="0">
                  <a:pos x="123" y="500"/>
                </a:cxn>
                <a:cxn ang="0">
                  <a:pos x="111" y="503"/>
                </a:cxn>
                <a:cxn ang="0">
                  <a:pos x="74" y="508"/>
                </a:cxn>
                <a:cxn ang="0">
                  <a:pos x="78" y="461"/>
                </a:cxn>
                <a:cxn ang="0">
                  <a:pos x="85" y="415"/>
                </a:cxn>
                <a:cxn ang="0">
                  <a:pos x="49" y="410"/>
                </a:cxn>
                <a:cxn ang="0">
                  <a:pos x="21" y="380"/>
                </a:cxn>
                <a:cxn ang="0">
                  <a:pos x="11" y="353"/>
                </a:cxn>
                <a:cxn ang="0">
                  <a:pos x="15" y="320"/>
                </a:cxn>
                <a:cxn ang="0">
                  <a:pos x="5" y="288"/>
                </a:cxn>
                <a:cxn ang="0">
                  <a:pos x="10" y="243"/>
                </a:cxn>
                <a:cxn ang="0">
                  <a:pos x="22" y="230"/>
                </a:cxn>
                <a:cxn ang="0">
                  <a:pos x="43" y="207"/>
                </a:cxn>
                <a:cxn ang="0">
                  <a:pos x="50" y="162"/>
                </a:cxn>
                <a:cxn ang="0">
                  <a:pos x="54" y="109"/>
                </a:cxn>
                <a:cxn ang="0">
                  <a:pos x="102" y="120"/>
                </a:cxn>
                <a:cxn ang="0">
                  <a:pos x="112" y="95"/>
                </a:cxn>
                <a:cxn ang="0">
                  <a:pos x="168" y="110"/>
                </a:cxn>
                <a:cxn ang="0">
                  <a:pos x="131" y="77"/>
                </a:cxn>
                <a:cxn ang="0">
                  <a:pos x="121" y="56"/>
                </a:cxn>
                <a:cxn ang="0">
                  <a:pos x="118" y="19"/>
                </a:cxn>
                <a:cxn ang="0">
                  <a:pos x="106" y="3"/>
                </a:cxn>
              </a:cxnLst>
              <a:rect l="0" t="0" r="r" b="b"/>
              <a:pathLst>
                <a:path w="386" h="526">
                  <a:moveTo>
                    <a:pt x="111" y="117"/>
                  </a:moveTo>
                  <a:lnTo>
                    <a:pt x="111" y="122"/>
                  </a:lnTo>
                  <a:lnTo>
                    <a:pt x="112" y="123"/>
                  </a:lnTo>
                  <a:lnTo>
                    <a:pt x="112" y="122"/>
                  </a:lnTo>
                  <a:lnTo>
                    <a:pt x="111" y="117"/>
                  </a:lnTo>
                  <a:close/>
                  <a:moveTo>
                    <a:pt x="37" y="105"/>
                  </a:moveTo>
                  <a:lnTo>
                    <a:pt x="40" y="105"/>
                  </a:lnTo>
                  <a:lnTo>
                    <a:pt x="40" y="107"/>
                  </a:lnTo>
                  <a:lnTo>
                    <a:pt x="36" y="107"/>
                  </a:lnTo>
                  <a:lnTo>
                    <a:pt x="36" y="109"/>
                  </a:lnTo>
                  <a:lnTo>
                    <a:pt x="35" y="109"/>
                  </a:lnTo>
                  <a:lnTo>
                    <a:pt x="35" y="108"/>
                  </a:lnTo>
                  <a:lnTo>
                    <a:pt x="34" y="108"/>
                  </a:lnTo>
                  <a:lnTo>
                    <a:pt x="34" y="107"/>
                  </a:lnTo>
                  <a:lnTo>
                    <a:pt x="35" y="107"/>
                  </a:lnTo>
                  <a:lnTo>
                    <a:pt x="37" y="105"/>
                  </a:lnTo>
                  <a:close/>
                  <a:moveTo>
                    <a:pt x="50" y="99"/>
                  </a:moveTo>
                  <a:lnTo>
                    <a:pt x="52" y="101"/>
                  </a:lnTo>
                  <a:lnTo>
                    <a:pt x="43" y="102"/>
                  </a:lnTo>
                  <a:lnTo>
                    <a:pt x="44" y="101"/>
                  </a:lnTo>
                  <a:lnTo>
                    <a:pt x="50" y="99"/>
                  </a:lnTo>
                  <a:close/>
                  <a:moveTo>
                    <a:pt x="96" y="97"/>
                  </a:moveTo>
                  <a:lnTo>
                    <a:pt x="98" y="97"/>
                  </a:lnTo>
                  <a:lnTo>
                    <a:pt x="97" y="98"/>
                  </a:lnTo>
                  <a:lnTo>
                    <a:pt x="96" y="98"/>
                  </a:lnTo>
                  <a:lnTo>
                    <a:pt x="96" y="97"/>
                  </a:lnTo>
                  <a:close/>
                  <a:moveTo>
                    <a:pt x="65" y="97"/>
                  </a:moveTo>
                  <a:lnTo>
                    <a:pt x="67" y="97"/>
                  </a:lnTo>
                  <a:lnTo>
                    <a:pt x="66" y="98"/>
                  </a:lnTo>
                  <a:lnTo>
                    <a:pt x="65" y="97"/>
                  </a:lnTo>
                  <a:close/>
                  <a:moveTo>
                    <a:pt x="56" y="97"/>
                  </a:moveTo>
                  <a:lnTo>
                    <a:pt x="63" y="97"/>
                  </a:lnTo>
                  <a:lnTo>
                    <a:pt x="63" y="98"/>
                  </a:lnTo>
                  <a:lnTo>
                    <a:pt x="61" y="98"/>
                  </a:lnTo>
                  <a:lnTo>
                    <a:pt x="55" y="99"/>
                  </a:lnTo>
                  <a:lnTo>
                    <a:pt x="54" y="98"/>
                  </a:lnTo>
                  <a:lnTo>
                    <a:pt x="56" y="97"/>
                  </a:lnTo>
                  <a:close/>
                  <a:moveTo>
                    <a:pt x="68" y="95"/>
                  </a:moveTo>
                  <a:lnTo>
                    <a:pt x="74" y="95"/>
                  </a:lnTo>
                  <a:lnTo>
                    <a:pt x="74" y="96"/>
                  </a:lnTo>
                  <a:lnTo>
                    <a:pt x="69" y="96"/>
                  </a:lnTo>
                  <a:lnTo>
                    <a:pt x="69" y="97"/>
                  </a:lnTo>
                  <a:lnTo>
                    <a:pt x="68" y="97"/>
                  </a:lnTo>
                  <a:lnTo>
                    <a:pt x="68" y="95"/>
                  </a:lnTo>
                  <a:close/>
                  <a:moveTo>
                    <a:pt x="78" y="93"/>
                  </a:moveTo>
                  <a:lnTo>
                    <a:pt x="83" y="93"/>
                  </a:lnTo>
                  <a:lnTo>
                    <a:pt x="81" y="95"/>
                  </a:lnTo>
                  <a:lnTo>
                    <a:pt x="77" y="95"/>
                  </a:lnTo>
                  <a:lnTo>
                    <a:pt x="78" y="93"/>
                  </a:lnTo>
                  <a:close/>
                  <a:moveTo>
                    <a:pt x="85" y="92"/>
                  </a:moveTo>
                  <a:lnTo>
                    <a:pt x="87" y="92"/>
                  </a:lnTo>
                  <a:lnTo>
                    <a:pt x="88" y="93"/>
                  </a:lnTo>
                  <a:lnTo>
                    <a:pt x="85" y="93"/>
                  </a:lnTo>
                  <a:lnTo>
                    <a:pt x="85" y="92"/>
                  </a:lnTo>
                  <a:close/>
                  <a:moveTo>
                    <a:pt x="236" y="76"/>
                  </a:moveTo>
                  <a:lnTo>
                    <a:pt x="237" y="77"/>
                  </a:lnTo>
                  <a:lnTo>
                    <a:pt x="236" y="80"/>
                  </a:lnTo>
                  <a:lnTo>
                    <a:pt x="236" y="78"/>
                  </a:lnTo>
                  <a:lnTo>
                    <a:pt x="235" y="78"/>
                  </a:lnTo>
                  <a:lnTo>
                    <a:pt x="235" y="80"/>
                  </a:lnTo>
                  <a:lnTo>
                    <a:pt x="234" y="80"/>
                  </a:lnTo>
                  <a:lnTo>
                    <a:pt x="233" y="79"/>
                  </a:lnTo>
                  <a:lnTo>
                    <a:pt x="236" y="76"/>
                  </a:lnTo>
                  <a:close/>
                  <a:moveTo>
                    <a:pt x="242" y="71"/>
                  </a:moveTo>
                  <a:lnTo>
                    <a:pt x="240" y="73"/>
                  </a:lnTo>
                  <a:lnTo>
                    <a:pt x="240" y="72"/>
                  </a:lnTo>
                  <a:lnTo>
                    <a:pt x="242" y="71"/>
                  </a:lnTo>
                  <a:close/>
                  <a:moveTo>
                    <a:pt x="243" y="70"/>
                  </a:moveTo>
                  <a:lnTo>
                    <a:pt x="242" y="71"/>
                  </a:lnTo>
                  <a:lnTo>
                    <a:pt x="243" y="70"/>
                  </a:lnTo>
                  <a:close/>
                  <a:moveTo>
                    <a:pt x="316" y="58"/>
                  </a:moveTo>
                  <a:lnTo>
                    <a:pt x="316" y="60"/>
                  </a:lnTo>
                  <a:lnTo>
                    <a:pt x="317" y="60"/>
                  </a:lnTo>
                  <a:lnTo>
                    <a:pt x="317" y="59"/>
                  </a:lnTo>
                  <a:lnTo>
                    <a:pt x="319" y="59"/>
                  </a:lnTo>
                  <a:lnTo>
                    <a:pt x="320" y="60"/>
                  </a:lnTo>
                  <a:lnTo>
                    <a:pt x="320" y="61"/>
                  </a:lnTo>
                  <a:lnTo>
                    <a:pt x="316" y="61"/>
                  </a:lnTo>
                  <a:lnTo>
                    <a:pt x="315" y="60"/>
                  </a:lnTo>
                  <a:lnTo>
                    <a:pt x="315" y="59"/>
                  </a:lnTo>
                  <a:lnTo>
                    <a:pt x="316" y="58"/>
                  </a:lnTo>
                  <a:close/>
                  <a:moveTo>
                    <a:pt x="330" y="55"/>
                  </a:moveTo>
                  <a:lnTo>
                    <a:pt x="332" y="55"/>
                  </a:lnTo>
                  <a:lnTo>
                    <a:pt x="332" y="56"/>
                  </a:lnTo>
                  <a:lnTo>
                    <a:pt x="329" y="56"/>
                  </a:lnTo>
                  <a:lnTo>
                    <a:pt x="330" y="55"/>
                  </a:lnTo>
                  <a:close/>
                  <a:moveTo>
                    <a:pt x="308" y="55"/>
                  </a:moveTo>
                  <a:lnTo>
                    <a:pt x="309" y="56"/>
                  </a:lnTo>
                  <a:lnTo>
                    <a:pt x="308" y="56"/>
                  </a:lnTo>
                  <a:lnTo>
                    <a:pt x="308" y="55"/>
                  </a:lnTo>
                  <a:close/>
                  <a:moveTo>
                    <a:pt x="277" y="52"/>
                  </a:moveTo>
                  <a:lnTo>
                    <a:pt x="277" y="53"/>
                  </a:lnTo>
                  <a:lnTo>
                    <a:pt x="276" y="53"/>
                  </a:lnTo>
                  <a:lnTo>
                    <a:pt x="277" y="52"/>
                  </a:lnTo>
                  <a:close/>
                  <a:moveTo>
                    <a:pt x="277" y="51"/>
                  </a:moveTo>
                  <a:lnTo>
                    <a:pt x="277" y="52"/>
                  </a:lnTo>
                  <a:lnTo>
                    <a:pt x="277" y="51"/>
                  </a:lnTo>
                  <a:close/>
                  <a:moveTo>
                    <a:pt x="278" y="49"/>
                  </a:moveTo>
                  <a:lnTo>
                    <a:pt x="278" y="51"/>
                  </a:lnTo>
                  <a:lnTo>
                    <a:pt x="277" y="51"/>
                  </a:lnTo>
                  <a:lnTo>
                    <a:pt x="278" y="49"/>
                  </a:lnTo>
                  <a:close/>
                  <a:moveTo>
                    <a:pt x="282" y="42"/>
                  </a:moveTo>
                  <a:lnTo>
                    <a:pt x="282" y="43"/>
                  </a:lnTo>
                  <a:lnTo>
                    <a:pt x="284" y="46"/>
                  </a:lnTo>
                  <a:lnTo>
                    <a:pt x="297" y="46"/>
                  </a:lnTo>
                  <a:lnTo>
                    <a:pt x="298" y="47"/>
                  </a:lnTo>
                  <a:lnTo>
                    <a:pt x="297" y="48"/>
                  </a:lnTo>
                  <a:lnTo>
                    <a:pt x="296" y="48"/>
                  </a:lnTo>
                  <a:lnTo>
                    <a:pt x="291" y="47"/>
                  </a:lnTo>
                  <a:lnTo>
                    <a:pt x="288" y="47"/>
                  </a:lnTo>
                  <a:lnTo>
                    <a:pt x="288" y="48"/>
                  </a:lnTo>
                  <a:lnTo>
                    <a:pt x="286" y="48"/>
                  </a:lnTo>
                  <a:lnTo>
                    <a:pt x="285" y="47"/>
                  </a:lnTo>
                  <a:lnTo>
                    <a:pt x="285" y="48"/>
                  </a:lnTo>
                  <a:lnTo>
                    <a:pt x="284" y="48"/>
                  </a:lnTo>
                  <a:lnTo>
                    <a:pt x="284" y="49"/>
                  </a:lnTo>
                  <a:lnTo>
                    <a:pt x="283" y="49"/>
                  </a:lnTo>
                  <a:lnTo>
                    <a:pt x="282" y="51"/>
                  </a:lnTo>
                  <a:lnTo>
                    <a:pt x="280" y="51"/>
                  </a:lnTo>
                  <a:lnTo>
                    <a:pt x="280" y="49"/>
                  </a:lnTo>
                  <a:lnTo>
                    <a:pt x="278" y="49"/>
                  </a:lnTo>
                  <a:lnTo>
                    <a:pt x="278" y="48"/>
                  </a:lnTo>
                  <a:lnTo>
                    <a:pt x="280" y="43"/>
                  </a:lnTo>
                  <a:lnTo>
                    <a:pt x="282" y="42"/>
                  </a:lnTo>
                  <a:close/>
                  <a:moveTo>
                    <a:pt x="220" y="40"/>
                  </a:moveTo>
                  <a:lnTo>
                    <a:pt x="222" y="40"/>
                  </a:lnTo>
                  <a:lnTo>
                    <a:pt x="226" y="41"/>
                  </a:lnTo>
                  <a:lnTo>
                    <a:pt x="228" y="43"/>
                  </a:lnTo>
                  <a:lnTo>
                    <a:pt x="230" y="48"/>
                  </a:lnTo>
                  <a:lnTo>
                    <a:pt x="226" y="47"/>
                  </a:lnTo>
                  <a:lnTo>
                    <a:pt x="224" y="48"/>
                  </a:lnTo>
                  <a:lnTo>
                    <a:pt x="222" y="48"/>
                  </a:lnTo>
                  <a:lnTo>
                    <a:pt x="221" y="47"/>
                  </a:lnTo>
                  <a:lnTo>
                    <a:pt x="222" y="46"/>
                  </a:lnTo>
                  <a:lnTo>
                    <a:pt x="221" y="46"/>
                  </a:lnTo>
                  <a:lnTo>
                    <a:pt x="221" y="45"/>
                  </a:lnTo>
                  <a:lnTo>
                    <a:pt x="220" y="45"/>
                  </a:lnTo>
                  <a:lnTo>
                    <a:pt x="220" y="46"/>
                  </a:lnTo>
                  <a:lnTo>
                    <a:pt x="218" y="46"/>
                  </a:lnTo>
                  <a:lnTo>
                    <a:pt x="218" y="45"/>
                  </a:lnTo>
                  <a:lnTo>
                    <a:pt x="217" y="45"/>
                  </a:lnTo>
                  <a:lnTo>
                    <a:pt x="218" y="41"/>
                  </a:lnTo>
                  <a:lnTo>
                    <a:pt x="220" y="40"/>
                  </a:lnTo>
                  <a:close/>
                  <a:moveTo>
                    <a:pt x="128" y="40"/>
                  </a:moveTo>
                  <a:lnTo>
                    <a:pt x="131" y="40"/>
                  </a:lnTo>
                  <a:lnTo>
                    <a:pt x="131" y="41"/>
                  </a:lnTo>
                  <a:lnTo>
                    <a:pt x="128" y="45"/>
                  </a:lnTo>
                  <a:lnTo>
                    <a:pt x="125" y="45"/>
                  </a:lnTo>
                  <a:lnTo>
                    <a:pt x="124" y="43"/>
                  </a:lnTo>
                  <a:lnTo>
                    <a:pt x="125" y="43"/>
                  </a:lnTo>
                  <a:lnTo>
                    <a:pt x="125" y="42"/>
                  </a:lnTo>
                  <a:lnTo>
                    <a:pt x="124" y="42"/>
                  </a:lnTo>
                  <a:lnTo>
                    <a:pt x="127" y="41"/>
                  </a:lnTo>
                  <a:lnTo>
                    <a:pt x="128" y="40"/>
                  </a:lnTo>
                  <a:close/>
                  <a:moveTo>
                    <a:pt x="119" y="37"/>
                  </a:moveTo>
                  <a:lnTo>
                    <a:pt x="119" y="40"/>
                  </a:lnTo>
                  <a:lnTo>
                    <a:pt x="118" y="42"/>
                  </a:lnTo>
                  <a:lnTo>
                    <a:pt x="116" y="42"/>
                  </a:lnTo>
                  <a:lnTo>
                    <a:pt x="116" y="40"/>
                  </a:lnTo>
                  <a:lnTo>
                    <a:pt x="117" y="39"/>
                  </a:lnTo>
                  <a:lnTo>
                    <a:pt x="119" y="37"/>
                  </a:lnTo>
                  <a:close/>
                  <a:moveTo>
                    <a:pt x="327" y="35"/>
                  </a:moveTo>
                  <a:lnTo>
                    <a:pt x="330" y="39"/>
                  </a:lnTo>
                  <a:lnTo>
                    <a:pt x="329" y="41"/>
                  </a:lnTo>
                  <a:lnTo>
                    <a:pt x="327" y="42"/>
                  </a:lnTo>
                  <a:lnTo>
                    <a:pt x="326" y="43"/>
                  </a:lnTo>
                  <a:lnTo>
                    <a:pt x="326" y="47"/>
                  </a:lnTo>
                  <a:lnTo>
                    <a:pt x="327" y="47"/>
                  </a:lnTo>
                  <a:lnTo>
                    <a:pt x="327" y="48"/>
                  </a:lnTo>
                  <a:lnTo>
                    <a:pt x="328" y="48"/>
                  </a:lnTo>
                  <a:lnTo>
                    <a:pt x="330" y="49"/>
                  </a:lnTo>
                  <a:lnTo>
                    <a:pt x="332" y="52"/>
                  </a:lnTo>
                  <a:lnTo>
                    <a:pt x="333" y="53"/>
                  </a:lnTo>
                  <a:lnTo>
                    <a:pt x="333" y="54"/>
                  </a:lnTo>
                  <a:lnTo>
                    <a:pt x="332" y="55"/>
                  </a:lnTo>
                  <a:lnTo>
                    <a:pt x="332" y="54"/>
                  </a:lnTo>
                  <a:lnTo>
                    <a:pt x="328" y="54"/>
                  </a:lnTo>
                  <a:lnTo>
                    <a:pt x="329" y="53"/>
                  </a:lnTo>
                  <a:lnTo>
                    <a:pt x="322" y="53"/>
                  </a:lnTo>
                  <a:lnTo>
                    <a:pt x="322" y="54"/>
                  </a:lnTo>
                  <a:lnTo>
                    <a:pt x="320" y="55"/>
                  </a:lnTo>
                  <a:lnTo>
                    <a:pt x="319" y="56"/>
                  </a:lnTo>
                  <a:lnTo>
                    <a:pt x="319" y="58"/>
                  </a:lnTo>
                  <a:lnTo>
                    <a:pt x="315" y="58"/>
                  </a:lnTo>
                  <a:lnTo>
                    <a:pt x="315" y="59"/>
                  </a:lnTo>
                  <a:lnTo>
                    <a:pt x="311" y="59"/>
                  </a:lnTo>
                  <a:lnTo>
                    <a:pt x="310" y="58"/>
                  </a:lnTo>
                  <a:lnTo>
                    <a:pt x="310" y="56"/>
                  </a:lnTo>
                  <a:lnTo>
                    <a:pt x="309" y="56"/>
                  </a:lnTo>
                  <a:lnTo>
                    <a:pt x="309" y="55"/>
                  </a:lnTo>
                  <a:lnTo>
                    <a:pt x="307" y="54"/>
                  </a:lnTo>
                  <a:lnTo>
                    <a:pt x="307" y="52"/>
                  </a:lnTo>
                  <a:lnTo>
                    <a:pt x="308" y="51"/>
                  </a:lnTo>
                  <a:lnTo>
                    <a:pt x="313" y="51"/>
                  </a:lnTo>
                  <a:lnTo>
                    <a:pt x="311" y="49"/>
                  </a:lnTo>
                  <a:lnTo>
                    <a:pt x="311" y="48"/>
                  </a:lnTo>
                  <a:lnTo>
                    <a:pt x="310" y="47"/>
                  </a:lnTo>
                  <a:lnTo>
                    <a:pt x="308" y="47"/>
                  </a:lnTo>
                  <a:lnTo>
                    <a:pt x="310" y="45"/>
                  </a:lnTo>
                  <a:lnTo>
                    <a:pt x="313" y="45"/>
                  </a:lnTo>
                  <a:lnTo>
                    <a:pt x="313" y="43"/>
                  </a:lnTo>
                  <a:lnTo>
                    <a:pt x="311" y="42"/>
                  </a:lnTo>
                  <a:lnTo>
                    <a:pt x="311" y="41"/>
                  </a:lnTo>
                  <a:lnTo>
                    <a:pt x="309" y="41"/>
                  </a:lnTo>
                  <a:lnTo>
                    <a:pt x="308" y="40"/>
                  </a:lnTo>
                  <a:lnTo>
                    <a:pt x="308" y="39"/>
                  </a:lnTo>
                  <a:lnTo>
                    <a:pt x="309" y="39"/>
                  </a:lnTo>
                  <a:lnTo>
                    <a:pt x="311" y="37"/>
                  </a:lnTo>
                  <a:lnTo>
                    <a:pt x="313" y="37"/>
                  </a:lnTo>
                  <a:lnTo>
                    <a:pt x="313" y="39"/>
                  </a:lnTo>
                  <a:lnTo>
                    <a:pt x="314" y="39"/>
                  </a:lnTo>
                  <a:lnTo>
                    <a:pt x="314" y="40"/>
                  </a:lnTo>
                  <a:lnTo>
                    <a:pt x="315" y="40"/>
                  </a:lnTo>
                  <a:lnTo>
                    <a:pt x="314" y="39"/>
                  </a:lnTo>
                  <a:lnTo>
                    <a:pt x="315" y="37"/>
                  </a:lnTo>
                  <a:lnTo>
                    <a:pt x="315" y="36"/>
                  </a:lnTo>
                  <a:lnTo>
                    <a:pt x="317" y="36"/>
                  </a:lnTo>
                  <a:lnTo>
                    <a:pt x="316" y="37"/>
                  </a:lnTo>
                  <a:lnTo>
                    <a:pt x="316" y="40"/>
                  </a:lnTo>
                  <a:lnTo>
                    <a:pt x="317" y="40"/>
                  </a:lnTo>
                  <a:lnTo>
                    <a:pt x="317" y="39"/>
                  </a:lnTo>
                  <a:lnTo>
                    <a:pt x="319" y="39"/>
                  </a:lnTo>
                  <a:lnTo>
                    <a:pt x="319" y="41"/>
                  </a:lnTo>
                  <a:lnTo>
                    <a:pt x="320" y="42"/>
                  </a:lnTo>
                  <a:lnTo>
                    <a:pt x="322" y="42"/>
                  </a:lnTo>
                  <a:lnTo>
                    <a:pt x="323" y="41"/>
                  </a:lnTo>
                  <a:lnTo>
                    <a:pt x="323" y="39"/>
                  </a:lnTo>
                  <a:lnTo>
                    <a:pt x="322" y="39"/>
                  </a:lnTo>
                  <a:lnTo>
                    <a:pt x="322" y="37"/>
                  </a:lnTo>
                  <a:lnTo>
                    <a:pt x="323" y="37"/>
                  </a:lnTo>
                  <a:lnTo>
                    <a:pt x="323" y="36"/>
                  </a:lnTo>
                  <a:lnTo>
                    <a:pt x="322" y="37"/>
                  </a:lnTo>
                  <a:lnTo>
                    <a:pt x="320" y="37"/>
                  </a:lnTo>
                  <a:lnTo>
                    <a:pt x="320" y="36"/>
                  </a:lnTo>
                  <a:lnTo>
                    <a:pt x="321" y="36"/>
                  </a:lnTo>
                  <a:lnTo>
                    <a:pt x="327" y="35"/>
                  </a:lnTo>
                  <a:close/>
                  <a:moveTo>
                    <a:pt x="317" y="34"/>
                  </a:moveTo>
                  <a:lnTo>
                    <a:pt x="319" y="34"/>
                  </a:lnTo>
                  <a:lnTo>
                    <a:pt x="319" y="35"/>
                  </a:lnTo>
                  <a:lnTo>
                    <a:pt x="320" y="36"/>
                  </a:lnTo>
                  <a:lnTo>
                    <a:pt x="319" y="36"/>
                  </a:lnTo>
                  <a:lnTo>
                    <a:pt x="317" y="35"/>
                  </a:lnTo>
                  <a:lnTo>
                    <a:pt x="317" y="34"/>
                  </a:lnTo>
                  <a:close/>
                  <a:moveTo>
                    <a:pt x="307" y="34"/>
                  </a:moveTo>
                  <a:lnTo>
                    <a:pt x="308" y="34"/>
                  </a:lnTo>
                  <a:lnTo>
                    <a:pt x="308" y="35"/>
                  </a:lnTo>
                  <a:lnTo>
                    <a:pt x="307" y="35"/>
                  </a:lnTo>
                  <a:lnTo>
                    <a:pt x="307" y="39"/>
                  </a:lnTo>
                  <a:lnTo>
                    <a:pt x="305" y="40"/>
                  </a:lnTo>
                  <a:lnTo>
                    <a:pt x="305" y="41"/>
                  </a:lnTo>
                  <a:lnTo>
                    <a:pt x="304" y="41"/>
                  </a:lnTo>
                  <a:lnTo>
                    <a:pt x="305" y="36"/>
                  </a:lnTo>
                  <a:lnTo>
                    <a:pt x="305" y="35"/>
                  </a:lnTo>
                  <a:lnTo>
                    <a:pt x="307" y="34"/>
                  </a:lnTo>
                  <a:close/>
                  <a:moveTo>
                    <a:pt x="317" y="28"/>
                  </a:moveTo>
                  <a:lnTo>
                    <a:pt x="319" y="28"/>
                  </a:lnTo>
                  <a:lnTo>
                    <a:pt x="320" y="29"/>
                  </a:lnTo>
                  <a:lnTo>
                    <a:pt x="320" y="30"/>
                  </a:lnTo>
                  <a:lnTo>
                    <a:pt x="319" y="30"/>
                  </a:lnTo>
                  <a:lnTo>
                    <a:pt x="317" y="31"/>
                  </a:lnTo>
                  <a:lnTo>
                    <a:pt x="317" y="34"/>
                  </a:lnTo>
                  <a:lnTo>
                    <a:pt x="316" y="34"/>
                  </a:lnTo>
                  <a:lnTo>
                    <a:pt x="316" y="35"/>
                  </a:lnTo>
                  <a:lnTo>
                    <a:pt x="315" y="35"/>
                  </a:lnTo>
                  <a:lnTo>
                    <a:pt x="315" y="36"/>
                  </a:lnTo>
                  <a:lnTo>
                    <a:pt x="314" y="37"/>
                  </a:lnTo>
                  <a:lnTo>
                    <a:pt x="313" y="37"/>
                  </a:lnTo>
                  <a:lnTo>
                    <a:pt x="311" y="36"/>
                  </a:lnTo>
                  <a:lnTo>
                    <a:pt x="313" y="35"/>
                  </a:lnTo>
                  <a:lnTo>
                    <a:pt x="313" y="34"/>
                  </a:lnTo>
                  <a:lnTo>
                    <a:pt x="314" y="33"/>
                  </a:lnTo>
                  <a:lnTo>
                    <a:pt x="314" y="31"/>
                  </a:lnTo>
                  <a:lnTo>
                    <a:pt x="311" y="31"/>
                  </a:lnTo>
                  <a:lnTo>
                    <a:pt x="311" y="30"/>
                  </a:lnTo>
                  <a:lnTo>
                    <a:pt x="313" y="30"/>
                  </a:lnTo>
                  <a:lnTo>
                    <a:pt x="317" y="28"/>
                  </a:lnTo>
                  <a:close/>
                  <a:moveTo>
                    <a:pt x="104" y="28"/>
                  </a:moveTo>
                  <a:lnTo>
                    <a:pt x="106" y="31"/>
                  </a:lnTo>
                  <a:lnTo>
                    <a:pt x="108" y="33"/>
                  </a:lnTo>
                  <a:lnTo>
                    <a:pt x="104" y="33"/>
                  </a:lnTo>
                  <a:lnTo>
                    <a:pt x="104" y="31"/>
                  </a:lnTo>
                  <a:lnTo>
                    <a:pt x="103" y="30"/>
                  </a:lnTo>
                  <a:lnTo>
                    <a:pt x="104" y="28"/>
                  </a:lnTo>
                  <a:close/>
                  <a:moveTo>
                    <a:pt x="110" y="23"/>
                  </a:moveTo>
                  <a:lnTo>
                    <a:pt x="114" y="23"/>
                  </a:lnTo>
                  <a:lnTo>
                    <a:pt x="116" y="25"/>
                  </a:lnTo>
                  <a:lnTo>
                    <a:pt x="115" y="27"/>
                  </a:lnTo>
                  <a:lnTo>
                    <a:pt x="115" y="28"/>
                  </a:lnTo>
                  <a:lnTo>
                    <a:pt x="110" y="28"/>
                  </a:lnTo>
                  <a:lnTo>
                    <a:pt x="108" y="27"/>
                  </a:lnTo>
                  <a:lnTo>
                    <a:pt x="108" y="24"/>
                  </a:lnTo>
                  <a:lnTo>
                    <a:pt x="109" y="24"/>
                  </a:lnTo>
                  <a:lnTo>
                    <a:pt x="110" y="23"/>
                  </a:lnTo>
                  <a:close/>
                  <a:moveTo>
                    <a:pt x="124" y="12"/>
                  </a:moveTo>
                  <a:lnTo>
                    <a:pt x="129" y="12"/>
                  </a:lnTo>
                  <a:lnTo>
                    <a:pt x="131" y="15"/>
                  </a:lnTo>
                  <a:lnTo>
                    <a:pt x="141" y="16"/>
                  </a:lnTo>
                  <a:lnTo>
                    <a:pt x="142" y="17"/>
                  </a:lnTo>
                  <a:lnTo>
                    <a:pt x="142" y="19"/>
                  </a:lnTo>
                  <a:lnTo>
                    <a:pt x="148" y="19"/>
                  </a:lnTo>
                  <a:lnTo>
                    <a:pt x="148" y="18"/>
                  </a:lnTo>
                  <a:lnTo>
                    <a:pt x="149" y="18"/>
                  </a:lnTo>
                  <a:lnTo>
                    <a:pt x="149" y="19"/>
                  </a:lnTo>
                  <a:lnTo>
                    <a:pt x="152" y="19"/>
                  </a:lnTo>
                  <a:lnTo>
                    <a:pt x="154" y="18"/>
                  </a:lnTo>
                  <a:lnTo>
                    <a:pt x="155" y="17"/>
                  </a:lnTo>
                  <a:lnTo>
                    <a:pt x="156" y="17"/>
                  </a:lnTo>
                  <a:lnTo>
                    <a:pt x="156" y="16"/>
                  </a:lnTo>
                  <a:lnTo>
                    <a:pt x="158" y="15"/>
                  </a:lnTo>
                  <a:lnTo>
                    <a:pt x="158" y="18"/>
                  </a:lnTo>
                  <a:lnTo>
                    <a:pt x="162" y="18"/>
                  </a:lnTo>
                  <a:lnTo>
                    <a:pt x="164" y="19"/>
                  </a:lnTo>
                  <a:lnTo>
                    <a:pt x="165" y="19"/>
                  </a:lnTo>
                  <a:lnTo>
                    <a:pt x="167" y="22"/>
                  </a:lnTo>
                  <a:lnTo>
                    <a:pt x="167" y="23"/>
                  </a:lnTo>
                  <a:lnTo>
                    <a:pt x="168" y="23"/>
                  </a:lnTo>
                  <a:lnTo>
                    <a:pt x="171" y="22"/>
                  </a:lnTo>
                  <a:lnTo>
                    <a:pt x="171" y="21"/>
                  </a:lnTo>
                  <a:lnTo>
                    <a:pt x="173" y="22"/>
                  </a:lnTo>
                  <a:lnTo>
                    <a:pt x="173" y="23"/>
                  </a:lnTo>
                  <a:lnTo>
                    <a:pt x="174" y="25"/>
                  </a:lnTo>
                  <a:lnTo>
                    <a:pt x="174" y="27"/>
                  </a:lnTo>
                  <a:lnTo>
                    <a:pt x="175" y="27"/>
                  </a:lnTo>
                  <a:lnTo>
                    <a:pt x="175" y="28"/>
                  </a:lnTo>
                  <a:lnTo>
                    <a:pt x="174" y="28"/>
                  </a:lnTo>
                  <a:lnTo>
                    <a:pt x="173" y="27"/>
                  </a:lnTo>
                  <a:lnTo>
                    <a:pt x="173" y="28"/>
                  </a:lnTo>
                  <a:lnTo>
                    <a:pt x="172" y="28"/>
                  </a:lnTo>
                  <a:lnTo>
                    <a:pt x="172" y="29"/>
                  </a:lnTo>
                  <a:lnTo>
                    <a:pt x="174" y="29"/>
                  </a:lnTo>
                  <a:lnTo>
                    <a:pt x="175" y="30"/>
                  </a:lnTo>
                  <a:lnTo>
                    <a:pt x="175" y="29"/>
                  </a:lnTo>
                  <a:lnTo>
                    <a:pt x="177" y="29"/>
                  </a:lnTo>
                  <a:lnTo>
                    <a:pt x="177" y="36"/>
                  </a:lnTo>
                  <a:lnTo>
                    <a:pt x="175" y="37"/>
                  </a:lnTo>
                  <a:lnTo>
                    <a:pt x="175" y="40"/>
                  </a:lnTo>
                  <a:lnTo>
                    <a:pt x="174" y="40"/>
                  </a:lnTo>
                  <a:lnTo>
                    <a:pt x="172" y="42"/>
                  </a:lnTo>
                  <a:lnTo>
                    <a:pt x="170" y="43"/>
                  </a:lnTo>
                  <a:lnTo>
                    <a:pt x="168" y="43"/>
                  </a:lnTo>
                  <a:lnTo>
                    <a:pt x="170" y="45"/>
                  </a:lnTo>
                  <a:lnTo>
                    <a:pt x="180" y="42"/>
                  </a:lnTo>
                  <a:lnTo>
                    <a:pt x="181" y="42"/>
                  </a:lnTo>
                  <a:lnTo>
                    <a:pt x="184" y="45"/>
                  </a:lnTo>
                  <a:lnTo>
                    <a:pt x="183" y="46"/>
                  </a:lnTo>
                  <a:lnTo>
                    <a:pt x="183" y="51"/>
                  </a:lnTo>
                  <a:lnTo>
                    <a:pt x="180" y="51"/>
                  </a:lnTo>
                  <a:lnTo>
                    <a:pt x="181" y="52"/>
                  </a:lnTo>
                  <a:lnTo>
                    <a:pt x="180" y="52"/>
                  </a:lnTo>
                  <a:lnTo>
                    <a:pt x="181" y="53"/>
                  </a:lnTo>
                  <a:lnTo>
                    <a:pt x="181" y="54"/>
                  </a:lnTo>
                  <a:lnTo>
                    <a:pt x="183" y="53"/>
                  </a:lnTo>
                  <a:lnTo>
                    <a:pt x="184" y="51"/>
                  </a:lnTo>
                  <a:lnTo>
                    <a:pt x="184" y="48"/>
                  </a:lnTo>
                  <a:lnTo>
                    <a:pt x="186" y="48"/>
                  </a:lnTo>
                  <a:lnTo>
                    <a:pt x="187" y="47"/>
                  </a:lnTo>
                  <a:lnTo>
                    <a:pt x="187" y="46"/>
                  </a:lnTo>
                  <a:lnTo>
                    <a:pt x="190" y="46"/>
                  </a:lnTo>
                  <a:lnTo>
                    <a:pt x="191" y="47"/>
                  </a:lnTo>
                  <a:lnTo>
                    <a:pt x="201" y="52"/>
                  </a:lnTo>
                  <a:lnTo>
                    <a:pt x="204" y="55"/>
                  </a:lnTo>
                  <a:lnTo>
                    <a:pt x="208" y="55"/>
                  </a:lnTo>
                  <a:lnTo>
                    <a:pt x="211" y="52"/>
                  </a:lnTo>
                  <a:lnTo>
                    <a:pt x="212" y="52"/>
                  </a:lnTo>
                  <a:lnTo>
                    <a:pt x="215" y="51"/>
                  </a:lnTo>
                  <a:lnTo>
                    <a:pt x="217" y="51"/>
                  </a:lnTo>
                  <a:lnTo>
                    <a:pt x="218" y="52"/>
                  </a:lnTo>
                  <a:lnTo>
                    <a:pt x="222" y="49"/>
                  </a:lnTo>
                  <a:lnTo>
                    <a:pt x="223" y="51"/>
                  </a:lnTo>
                  <a:lnTo>
                    <a:pt x="221" y="52"/>
                  </a:lnTo>
                  <a:lnTo>
                    <a:pt x="221" y="64"/>
                  </a:lnTo>
                  <a:lnTo>
                    <a:pt x="220" y="64"/>
                  </a:lnTo>
                  <a:lnTo>
                    <a:pt x="220" y="65"/>
                  </a:lnTo>
                  <a:lnTo>
                    <a:pt x="215" y="68"/>
                  </a:lnTo>
                  <a:lnTo>
                    <a:pt x="212" y="71"/>
                  </a:lnTo>
                  <a:lnTo>
                    <a:pt x="209" y="71"/>
                  </a:lnTo>
                  <a:lnTo>
                    <a:pt x="206" y="74"/>
                  </a:lnTo>
                  <a:lnTo>
                    <a:pt x="208" y="76"/>
                  </a:lnTo>
                  <a:lnTo>
                    <a:pt x="208" y="77"/>
                  </a:lnTo>
                  <a:lnTo>
                    <a:pt x="209" y="78"/>
                  </a:lnTo>
                  <a:lnTo>
                    <a:pt x="211" y="78"/>
                  </a:lnTo>
                  <a:lnTo>
                    <a:pt x="212" y="79"/>
                  </a:lnTo>
                  <a:lnTo>
                    <a:pt x="212" y="80"/>
                  </a:lnTo>
                  <a:lnTo>
                    <a:pt x="215" y="80"/>
                  </a:lnTo>
                  <a:lnTo>
                    <a:pt x="217" y="78"/>
                  </a:lnTo>
                  <a:lnTo>
                    <a:pt x="220" y="77"/>
                  </a:lnTo>
                  <a:lnTo>
                    <a:pt x="226" y="77"/>
                  </a:lnTo>
                  <a:lnTo>
                    <a:pt x="226" y="79"/>
                  </a:lnTo>
                  <a:lnTo>
                    <a:pt x="228" y="79"/>
                  </a:lnTo>
                  <a:lnTo>
                    <a:pt x="227" y="82"/>
                  </a:lnTo>
                  <a:lnTo>
                    <a:pt x="228" y="83"/>
                  </a:lnTo>
                  <a:lnTo>
                    <a:pt x="229" y="83"/>
                  </a:lnTo>
                  <a:lnTo>
                    <a:pt x="232" y="80"/>
                  </a:lnTo>
                  <a:lnTo>
                    <a:pt x="232" y="82"/>
                  </a:lnTo>
                  <a:lnTo>
                    <a:pt x="233" y="83"/>
                  </a:lnTo>
                  <a:lnTo>
                    <a:pt x="234" y="83"/>
                  </a:lnTo>
                  <a:lnTo>
                    <a:pt x="236" y="85"/>
                  </a:lnTo>
                  <a:lnTo>
                    <a:pt x="236" y="83"/>
                  </a:lnTo>
                  <a:lnTo>
                    <a:pt x="237" y="82"/>
                  </a:lnTo>
                  <a:lnTo>
                    <a:pt x="237" y="78"/>
                  </a:lnTo>
                  <a:lnTo>
                    <a:pt x="239" y="77"/>
                  </a:lnTo>
                  <a:lnTo>
                    <a:pt x="239" y="76"/>
                  </a:lnTo>
                  <a:lnTo>
                    <a:pt x="241" y="76"/>
                  </a:lnTo>
                  <a:lnTo>
                    <a:pt x="242" y="73"/>
                  </a:lnTo>
                  <a:lnTo>
                    <a:pt x="243" y="73"/>
                  </a:lnTo>
                  <a:lnTo>
                    <a:pt x="243" y="70"/>
                  </a:lnTo>
                  <a:lnTo>
                    <a:pt x="245" y="67"/>
                  </a:lnTo>
                  <a:lnTo>
                    <a:pt x="246" y="67"/>
                  </a:lnTo>
                  <a:lnTo>
                    <a:pt x="248" y="66"/>
                  </a:lnTo>
                  <a:lnTo>
                    <a:pt x="252" y="67"/>
                  </a:lnTo>
                  <a:lnTo>
                    <a:pt x="261" y="65"/>
                  </a:lnTo>
                  <a:lnTo>
                    <a:pt x="262" y="64"/>
                  </a:lnTo>
                  <a:lnTo>
                    <a:pt x="264" y="66"/>
                  </a:lnTo>
                  <a:lnTo>
                    <a:pt x="262" y="68"/>
                  </a:lnTo>
                  <a:lnTo>
                    <a:pt x="262" y="70"/>
                  </a:lnTo>
                  <a:lnTo>
                    <a:pt x="264" y="71"/>
                  </a:lnTo>
                  <a:lnTo>
                    <a:pt x="264" y="66"/>
                  </a:lnTo>
                  <a:lnTo>
                    <a:pt x="265" y="66"/>
                  </a:lnTo>
                  <a:lnTo>
                    <a:pt x="265" y="65"/>
                  </a:lnTo>
                  <a:lnTo>
                    <a:pt x="264" y="65"/>
                  </a:lnTo>
                  <a:lnTo>
                    <a:pt x="265" y="62"/>
                  </a:lnTo>
                  <a:lnTo>
                    <a:pt x="266" y="62"/>
                  </a:lnTo>
                  <a:lnTo>
                    <a:pt x="267" y="60"/>
                  </a:lnTo>
                  <a:lnTo>
                    <a:pt x="268" y="60"/>
                  </a:lnTo>
                  <a:lnTo>
                    <a:pt x="271" y="58"/>
                  </a:lnTo>
                  <a:lnTo>
                    <a:pt x="273" y="56"/>
                  </a:lnTo>
                  <a:lnTo>
                    <a:pt x="276" y="53"/>
                  </a:lnTo>
                  <a:lnTo>
                    <a:pt x="276" y="55"/>
                  </a:lnTo>
                  <a:lnTo>
                    <a:pt x="274" y="55"/>
                  </a:lnTo>
                  <a:lnTo>
                    <a:pt x="274" y="56"/>
                  </a:lnTo>
                  <a:lnTo>
                    <a:pt x="276" y="58"/>
                  </a:lnTo>
                  <a:lnTo>
                    <a:pt x="274" y="59"/>
                  </a:lnTo>
                  <a:lnTo>
                    <a:pt x="277" y="60"/>
                  </a:lnTo>
                  <a:lnTo>
                    <a:pt x="278" y="60"/>
                  </a:lnTo>
                  <a:lnTo>
                    <a:pt x="278" y="59"/>
                  </a:lnTo>
                  <a:lnTo>
                    <a:pt x="277" y="59"/>
                  </a:lnTo>
                  <a:lnTo>
                    <a:pt x="277" y="56"/>
                  </a:lnTo>
                  <a:lnTo>
                    <a:pt x="278" y="56"/>
                  </a:lnTo>
                  <a:lnTo>
                    <a:pt x="278" y="55"/>
                  </a:lnTo>
                  <a:lnTo>
                    <a:pt x="279" y="55"/>
                  </a:lnTo>
                  <a:lnTo>
                    <a:pt x="279" y="54"/>
                  </a:lnTo>
                  <a:lnTo>
                    <a:pt x="280" y="53"/>
                  </a:lnTo>
                  <a:lnTo>
                    <a:pt x="283" y="52"/>
                  </a:lnTo>
                  <a:lnTo>
                    <a:pt x="282" y="52"/>
                  </a:lnTo>
                  <a:lnTo>
                    <a:pt x="282" y="51"/>
                  </a:lnTo>
                  <a:lnTo>
                    <a:pt x="284" y="51"/>
                  </a:lnTo>
                  <a:lnTo>
                    <a:pt x="284" y="52"/>
                  </a:lnTo>
                  <a:lnTo>
                    <a:pt x="285" y="51"/>
                  </a:lnTo>
                  <a:lnTo>
                    <a:pt x="288" y="49"/>
                  </a:lnTo>
                  <a:lnTo>
                    <a:pt x="288" y="48"/>
                  </a:lnTo>
                  <a:lnTo>
                    <a:pt x="290" y="48"/>
                  </a:lnTo>
                  <a:lnTo>
                    <a:pt x="289" y="49"/>
                  </a:lnTo>
                  <a:lnTo>
                    <a:pt x="290" y="49"/>
                  </a:lnTo>
                  <a:lnTo>
                    <a:pt x="290" y="51"/>
                  </a:lnTo>
                  <a:lnTo>
                    <a:pt x="292" y="51"/>
                  </a:lnTo>
                  <a:lnTo>
                    <a:pt x="293" y="52"/>
                  </a:lnTo>
                  <a:lnTo>
                    <a:pt x="296" y="52"/>
                  </a:lnTo>
                  <a:lnTo>
                    <a:pt x="297" y="51"/>
                  </a:lnTo>
                  <a:lnTo>
                    <a:pt x="297" y="49"/>
                  </a:lnTo>
                  <a:lnTo>
                    <a:pt x="298" y="48"/>
                  </a:lnTo>
                  <a:lnTo>
                    <a:pt x="301" y="47"/>
                  </a:lnTo>
                  <a:lnTo>
                    <a:pt x="302" y="46"/>
                  </a:lnTo>
                  <a:lnTo>
                    <a:pt x="303" y="47"/>
                  </a:lnTo>
                  <a:lnTo>
                    <a:pt x="302" y="47"/>
                  </a:lnTo>
                  <a:lnTo>
                    <a:pt x="302" y="48"/>
                  </a:lnTo>
                  <a:lnTo>
                    <a:pt x="303" y="49"/>
                  </a:lnTo>
                  <a:lnTo>
                    <a:pt x="305" y="51"/>
                  </a:lnTo>
                  <a:lnTo>
                    <a:pt x="304" y="53"/>
                  </a:lnTo>
                  <a:lnTo>
                    <a:pt x="307" y="55"/>
                  </a:lnTo>
                  <a:lnTo>
                    <a:pt x="307" y="58"/>
                  </a:lnTo>
                  <a:lnTo>
                    <a:pt x="309" y="58"/>
                  </a:lnTo>
                  <a:lnTo>
                    <a:pt x="309" y="59"/>
                  </a:lnTo>
                  <a:lnTo>
                    <a:pt x="311" y="60"/>
                  </a:lnTo>
                  <a:lnTo>
                    <a:pt x="313" y="60"/>
                  </a:lnTo>
                  <a:lnTo>
                    <a:pt x="314" y="61"/>
                  </a:lnTo>
                  <a:lnTo>
                    <a:pt x="315" y="64"/>
                  </a:lnTo>
                  <a:lnTo>
                    <a:pt x="316" y="65"/>
                  </a:lnTo>
                  <a:lnTo>
                    <a:pt x="315" y="65"/>
                  </a:lnTo>
                  <a:lnTo>
                    <a:pt x="315" y="66"/>
                  </a:lnTo>
                  <a:lnTo>
                    <a:pt x="316" y="66"/>
                  </a:lnTo>
                  <a:lnTo>
                    <a:pt x="317" y="65"/>
                  </a:lnTo>
                  <a:lnTo>
                    <a:pt x="319" y="66"/>
                  </a:lnTo>
                  <a:lnTo>
                    <a:pt x="317" y="66"/>
                  </a:lnTo>
                  <a:lnTo>
                    <a:pt x="317" y="67"/>
                  </a:lnTo>
                  <a:lnTo>
                    <a:pt x="320" y="67"/>
                  </a:lnTo>
                  <a:lnTo>
                    <a:pt x="320" y="68"/>
                  </a:lnTo>
                  <a:lnTo>
                    <a:pt x="321" y="70"/>
                  </a:lnTo>
                  <a:lnTo>
                    <a:pt x="321" y="71"/>
                  </a:lnTo>
                  <a:lnTo>
                    <a:pt x="322" y="71"/>
                  </a:lnTo>
                  <a:lnTo>
                    <a:pt x="322" y="68"/>
                  </a:lnTo>
                  <a:lnTo>
                    <a:pt x="327" y="68"/>
                  </a:lnTo>
                  <a:lnTo>
                    <a:pt x="328" y="67"/>
                  </a:lnTo>
                  <a:lnTo>
                    <a:pt x="330" y="66"/>
                  </a:lnTo>
                  <a:lnTo>
                    <a:pt x="330" y="67"/>
                  </a:lnTo>
                  <a:lnTo>
                    <a:pt x="332" y="67"/>
                  </a:lnTo>
                  <a:lnTo>
                    <a:pt x="335" y="71"/>
                  </a:lnTo>
                  <a:lnTo>
                    <a:pt x="335" y="72"/>
                  </a:lnTo>
                  <a:lnTo>
                    <a:pt x="334" y="73"/>
                  </a:lnTo>
                  <a:lnTo>
                    <a:pt x="334" y="74"/>
                  </a:lnTo>
                  <a:lnTo>
                    <a:pt x="333" y="76"/>
                  </a:lnTo>
                  <a:lnTo>
                    <a:pt x="334" y="77"/>
                  </a:lnTo>
                  <a:lnTo>
                    <a:pt x="335" y="77"/>
                  </a:lnTo>
                  <a:lnTo>
                    <a:pt x="335" y="78"/>
                  </a:lnTo>
                  <a:lnTo>
                    <a:pt x="336" y="79"/>
                  </a:lnTo>
                  <a:lnTo>
                    <a:pt x="338" y="79"/>
                  </a:lnTo>
                  <a:lnTo>
                    <a:pt x="338" y="82"/>
                  </a:lnTo>
                  <a:lnTo>
                    <a:pt x="340" y="82"/>
                  </a:lnTo>
                  <a:lnTo>
                    <a:pt x="340" y="84"/>
                  </a:lnTo>
                  <a:lnTo>
                    <a:pt x="339" y="84"/>
                  </a:lnTo>
                  <a:lnTo>
                    <a:pt x="335" y="88"/>
                  </a:lnTo>
                  <a:lnTo>
                    <a:pt x="336" y="89"/>
                  </a:lnTo>
                  <a:lnTo>
                    <a:pt x="336" y="88"/>
                  </a:lnTo>
                  <a:lnTo>
                    <a:pt x="338" y="86"/>
                  </a:lnTo>
                  <a:lnTo>
                    <a:pt x="339" y="86"/>
                  </a:lnTo>
                  <a:lnTo>
                    <a:pt x="340" y="85"/>
                  </a:lnTo>
                  <a:lnTo>
                    <a:pt x="341" y="85"/>
                  </a:lnTo>
                  <a:lnTo>
                    <a:pt x="341" y="83"/>
                  </a:lnTo>
                  <a:lnTo>
                    <a:pt x="340" y="80"/>
                  </a:lnTo>
                  <a:lnTo>
                    <a:pt x="340" y="78"/>
                  </a:lnTo>
                  <a:lnTo>
                    <a:pt x="341" y="78"/>
                  </a:lnTo>
                  <a:lnTo>
                    <a:pt x="342" y="79"/>
                  </a:lnTo>
                  <a:lnTo>
                    <a:pt x="342" y="82"/>
                  </a:lnTo>
                  <a:lnTo>
                    <a:pt x="344" y="80"/>
                  </a:lnTo>
                  <a:lnTo>
                    <a:pt x="345" y="80"/>
                  </a:lnTo>
                  <a:lnTo>
                    <a:pt x="345" y="82"/>
                  </a:lnTo>
                  <a:lnTo>
                    <a:pt x="346" y="79"/>
                  </a:lnTo>
                  <a:lnTo>
                    <a:pt x="346" y="78"/>
                  </a:lnTo>
                  <a:lnTo>
                    <a:pt x="344" y="76"/>
                  </a:lnTo>
                  <a:lnTo>
                    <a:pt x="344" y="74"/>
                  </a:lnTo>
                  <a:lnTo>
                    <a:pt x="342" y="74"/>
                  </a:lnTo>
                  <a:lnTo>
                    <a:pt x="342" y="73"/>
                  </a:lnTo>
                  <a:lnTo>
                    <a:pt x="340" y="73"/>
                  </a:lnTo>
                  <a:lnTo>
                    <a:pt x="340" y="77"/>
                  </a:lnTo>
                  <a:lnTo>
                    <a:pt x="339" y="77"/>
                  </a:lnTo>
                  <a:lnTo>
                    <a:pt x="338" y="78"/>
                  </a:lnTo>
                  <a:lnTo>
                    <a:pt x="338" y="77"/>
                  </a:lnTo>
                  <a:lnTo>
                    <a:pt x="339" y="76"/>
                  </a:lnTo>
                  <a:lnTo>
                    <a:pt x="338" y="74"/>
                  </a:lnTo>
                  <a:lnTo>
                    <a:pt x="336" y="76"/>
                  </a:lnTo>
                  <a:lnTo>
                    <a:pt x="335" y="76"/>
                  </a:lnTo>
                  <a:lnTo>
                    <a:pt x="335" y="77"/>
                  </a:lnTo>
                  <a:lnTo>
                    <a:pt x="334" y="77"/>
                  </a:lnTo>
                  <a:lnTo>
                    <a:pt x="334" y="74"/>
                  </a:lnTo>
                  <a:lnTo>
                    <a:pt x="335" y="72"/>
                  </a:lnTo>
                  <a:lnTo>
                    <a:pt x="336" y="71"/>
                  </a:lnTo>
                  <a:lnTo>
                    <a:pt x="335" y="70"/>
                  </a:lnTo>
                  <a:lnTo>
                    <a:pt x="334" y="67"/>
                  </a:lnTo>
                  <a:lnTo>
                    <a:pt x="333" y="67"/>
                  </a:lnTo>
                  <a:lnTo>
                    <a:pt x="334" y="66"/>
                  </a:lnTo>
                  <a:lnTo>
                    <a:pt x="334" y="65"/>
                  </a:lnTo>
                  <a:lnTo>
                    <a:pt x="335" y="65"/>
                  </a:lnTo>
                  <a:lnTo>
                    <a:pt x="336" y="66"/>
                  </a:lnTo>
                  <a:lnTo>
                    <a:pt x="338" y="68"/>
                  </a:lnTo>
                  <a:lnTo>
                    <a:pt x="338" y="70"/>
                  </a:lnTo>
                  <a:lnTo>
                    <a:pt x="339" y="71"/>
                  </a:lnTo>
                  <a:lnTo>
                    <a:pt x="344" y="73"/>
                  </a:lnTo>
                  <a:lnTo>
                    <a:pt x="345" y="73"/>
                  </a:lnTo>
                  <a:lnTo>
                    <a:pt x="352" y="82"/>
                  </a:lnTo>
                  <a:lnTo>
                    <a:pt x="352" y="84"/>
                  </a:lnTo>
                  <a:lnTo>
                    <a:pt x="351" y="85"/>
                  </a:lnTo>
                  <a:lnTo>
                    <a:pt x="352" y="85"/>
                  </a:lnTo>
                  <a:lnTo>
                    <a:pt x="352" y="86"/>
                  </a:lnTo>
                  <a:lnTo>
                    <a:pt x="347" y="88"/>
                  </a:lnTo>
                  <a:lnTo>
                    <a:pt x="346" y="88"/>
                  </a:lnTo>
                  <a:lnTo>
                    <a:pt x="346" y="86"/>
                  </a:lnTo>
                  <a:lnTo>
                    <a:pt x="344" y="89"/>
                  </a:lnTo>
                  <a:lnTo>
                    <a:pt x="338" y="89"/>
                  </a:lnTo>
                  <a:lnTo>
                    <a:pt x="338" y="90"/>
                  </a:lnTo>
                  <a:lnTo>
                    <a:pt x="339" y="91"/>
                  </a:lnTo>
                  <a:lnTo>
                    <a:pt x="340" y="91"/>
                  </a:lnTo>
                  <a:lnTo>
                    <a:pt x="342" y="93"/>
                  </a:lnTo>
                  <a:lnTo>
                    <a:pt x="345" y="95"/>
                  </a:lnTo>
                  <a:lnTo>
                    <a:pt x="345" y="96"/>
                  </a:lnTo>
                  <a:lnTo>
                    <a:pt x="348" y="96"/>
                  </a:lnTo>
                  <a:lnTo>
                    <a:pt x="352" y="97"/>
                  </a:lnTo>
                  <a:lnTo>
                    <a:pt x="353" y="96"/>
                  </a:lnTo>
                  <a:lnTo>
                    <a:pt x="353" y="95"/>
                  </a:lnTo>
                  <a:lnTo>
                    <a:pt x="354" y="95"/>
                  </a:lnTo>
                  <a:lnTo>
                    <a:pt x="354" y="96"/>
                  </a:lnTo>
                  <a:lnTo>
                    <a:pt x="355" y="97"/>
                  </a:lnTo>
                  <a:lnTo>
                    <a:pt x="354" y="97"/>
                  </a:lnTo>
                  <a:lnTo>
                    <a:pt x="353" y="98"/>
                  </a:lnTo>
                  <a:lnTo>
                    <a:pt x="353" y="99"/>
                  </a:lnTo>
                  <a:lnTo>
                    <a:pt x="354" y="99"/>
                  </a:lnTo>
                  <a:lnTo>
                    <a:pt x="354" y="103"/>
                  </a:lnTo>
                  <a:lnTo>
                    <a:pt x="355" y="104"/>
                  </a:lnTo>
                  <a:lnTo>
                    <a:pt x="357" y="107"/>
                  </a:lnTo>
                  <a:lnTo>
                    <a:pt x="357" y="113"/>
                  </a:lnTo>
                  <a:lnTo>
                    <a:pt x="358" y="115"/>
                  </a:lnTo>
                  <a:lnTo>
                    <a:pt x="358" y="116"/>
                  </a:lnTo>
                  <a:lnTo>
                    <a:pt x="359" y="117"/>
                  </a:lnTo>
                  <a:lnTo>
                    <a:pt x="359" y="121"/>
                  </a:lnTo>
                  <a:lnTo>
                    <a:pt x="360" y="126"/>
                  </a:lnTo>
                  <a:lnTo>
                    <a:pt x="360" y="129"/>
                  </a:lnTo>
                  <a:lnTo>
                    <a:pt x="361" y="129"/>
                  </a:lnTo>
                  <a:lnTo>
                    <a:pt x="361" y="131"/>
                  </a:lnTo>
                  <a:lnTo>
                    <a:pt x="363" y="132"/>
                  </a:lnTo>
                  <a:lnTo>
                    <a:pt x="361" y="133"/>
                  </a:lnTo>
                  <a:lnTo>
                    <a:pt x="361" y="134"/>
                  </a:lnTo>
                  <a:lnTo>
                    <a:pt x="360" y="134"/>
                  </a:lnTo>
                  <a:lnTo>
                    <a:pt x="360" y="135"/>
                  </a:lnTo>
                  <a:lnTo>
                    <a:pt x="359" y="136"/>
                  </a:lnTo>
                  <a:lnTo>
                    <a:pt x="360" y="138"/>
                  </a:lnTo>
                  <a:lnTo>
                    <a:pt x="360" y="140"/>
                  </a:lnTo>
                  <a:lnTo>
                    <a:pt x="359" y="144"/>
                  </a:lnTo>
                  <a:lnTo>
                    <a:pt x="358" y="145"/>
                  </a:lnTo>
                  <a:lnTo>
                    <a:pt x="357" y="147"/>
                  </a:lnTo>
                  <a:lnTo>
                    <a:pt x="352" y="150"/>
                  </a:lnTo>
                  <a:lnTo>
                    <a:pt x="350" y="152"/>
                  </a:lnTo>
                  <a:lnTo>
                    <a:pt x="350" y="153"/>
                  </a:lnTo>
                  <a:lnTo>
                    <a:pt x="351" y="156"/>
                  </a:lnTo>
                  <a:lnTo>
                    <a:pt x="351" y="158"/>
                  </a:lnTo>
                  <a:lnTo>
                    <a:pt x="350" y="158"/>
                  </a:lnTo>
                  <a:lnTo>
                    <a:pt x="348" y="159"/>
                  </a:lnTo>
                  <a:lnTo>
                    <a:pt x="351" y="162"/>
                  </a:lnTo>
                  <a:lnTo>
                    <a:pt x="353" y="162"/>
                  </a:lnTo>
                  <a:lnTo>
                    <a:pt x="355" y="164"/>
                  </a:lnTo>
                  <a:lnTo>
                    <a:pt x="360" y="168"/>
                  </a:lnTo>
                  <a:lnTo>
                    <a:pt x="361" y="171"/>
                  </a:lnTo>
                  <a:lnTo>
                    <a:pt x="363" y="171"/>
                  </a:lnTo>
                  <a:lnTo>
                    <a:pt x="364" y="174"/>
                  </a:lnTo>
                  <a:lnTo>
                    <a:pt x="367" y="175"/>
                  </a:lnTo>
                  <a:lnTo>
                    <a:pt x="371" y="178"/>
                  </a:lnTo>
                  <a:lnTo>
                    <a:pt x="370" y="181"/>
                  </a:lnTo>
                  <a:lnTo>
                    <a:pt x="370" y="185"/>
                  </a:lnTo>
                  <a:lnTo>
                    <a:pt x="366" y="189"/>
                  </a:lnTo>
                  <a:lnTo>
                    <a:pt x="366" y="191"/>
                  </a:lnTo>
                  <a:lnTo>
                    <a:pt x="367" y="195"/>
                  </a:lnTo>
                  <a:lnTo>
                    <a:pt x="369" y="197"/>
                  </a:lnTo>
                  <a:lnTo>
                    <a:pt x="369" y="199"/>
                  </a:lnTo>
                  <a:lnTo>
                    <a:pt x="370" y="199"/>
                  </a:lnTo>
                  <a:lnTo>
                    <a:pt x="371" y="200"/>
                  </a:lnTo>
                  <a:lnTo>
                    <a:pt x="372" y="200"/>
                  </a:lnTo>
                  <a:lnTo>
                    <a:pt x="373" y="201"/>
                  </a:lnTo>
                  <a:lnTo>
                    <a:pt x="373" y="208"/>
                  </a:lnTo>
                  <a:lnTo>
                    <a:pt x="372" y="209"/>
                  </a:lnTo>
                  <a:lnTo>
                    <a:pt x="376" y="213"/>
                  </a:lnTo>
                  <a:lnTo>
                    <a:pt x="375" y="214"/>
                  </a:lnTo>
                  <a:lnTo>
                    <a:pt x="375" y="217"/>
                  </a:lnTo>
                  <a:lnTo>
                    <a:pt x="373" y="218"/>
                  </a:lnTo>
                  <a:lnTo>
                    <a:pt x="373" y="222"/>
                  </a:lnTo>
                  <a:lnTo>
                    <a:pt x="372" y="224"/>
                  </a:lnTo>
                  <a:lnTo>
                    <a:pt x="372" y="225"/>
                  </a:lnTo>
                  <a:lnTo>
                    <a:pt x="369" y="228"/>
                  </a:lnTo>
                  <a:lnTo>
                    <a:pt x="369" y="232"/>
                  </a:lnTo>
                  <a:lnTo>
                    <a:pt x="371" y="234"/>
                  </a:lnTo>
                  <a:lnTo>
                    <a:pt x="371" y="238"/>
                  </a:lnTo>
                  <a:lnTo>
                    <a:pt x="372" y="238"/>
                  </a:lnTo>
                  <a:lnTo>
                    <a:pt x="375" y="240"/>
                  </a:lnTo>
                  <a:lnTo>
                    <a:pt x="375" y="246"/>
                  </a:lnTo>
                  <a:lnTo>
                    <a:pt x="373" y="248"/>
                  </a:lnTo>
                  <a:lnTo>
                    <a:pt x="373" y="250"/>
                  </a:lnTo>
                  <a:lnTo>
                    <a:pt x="375" y="251"/>
                  </a:lnTo>
                  <a:lnTo>
                    <a:pt x="377" y="252"/>
                  </a:lnTo>
                  <a:lnTo>
                    <a:pt x="378" y="252"/>
                  </a:lnTo>
                  <a:lnTo>
                    <a:pt x="379" y="254"/>
                  </a:lnTo>
                  <a:lnTo>
                    <a:pt x="380" y="254"/>
                  </a:lnTo>
                  <a:lnTo>
                    <a:pt x="382" y="255"/>
                  </a:lnTo>
                  <a:lnTo>
                    <a:pt x="383" y="255"/>
                  </a:lnTo>
                  <a:lnTo>
                    <a:pt x="384" y="256"/>
                  </a:lnTo>
                  <a:lnTo>
                    <a:pt x="384" y="264"/>
                  </a:lnTo>
                  <a:lnTo>
                    <a:pt x="386" y="267"/>
                  </a:lnTo>
                  <a:lnTo>
                    <a:pt x="386" y="271"/>
                  </a:lnTo>
                  <a:lnTo>
                    <a:pt x="385" y="273"/>
                  </a:lnTo>
                  <a:lnTo>
                    <a:pt x="385" y="279"/>
                  </a:lnTo>
                  <a:lnTo>
                    <a:pt x="384" y="279"/>
                  </a:lnTo>
                  <a:lnTo>
                    <a:pt x="384" y="281"/>
                  </a:lnTo>
                  <a:lnTo>
                    <a:pt x="382" y="286"/>
                  </a:lnTo>
                  <a:lnTo>
                    <a:pt x="380" y="292"/>
                  </a:lnTo>
                  <a:lnTo>
                    <a:pt x="378" y="293"/>
                  </a:lnTo>
                  <a:lnTo>
                    <a:pt x="378" y="295"/>
                  </a:lnTo>
                  <a:lnTo>
                    <a:pt x="377" y="297"/>
                  </a:lnTo>
                  <a:lnTo>
                    <a:pt x="377" y="299"/>
                  </a:lnTo>
                  <a:lnTo>
                    <a:pt x="375" y="299"/>
                  </a:lnTo>
                  <a:lnTo>
                    <a:pt x="373" y="298"/>
                  </a:lnTo>
                  <a:lnTo>
                    <a:pt x="371" y="297"/>
                  </a:lnTo>
                  <a:lnTo>
                    <a:pt x="370" y="297"/>
                  </a:lnTo>
                  <a:lnTo>
                    <a:pt x="370" y="293"/>
                  </a:lnTo>
                  <a:lnTo>
                    <a:pt x="371" y="292"/>
                  </a:lnTo>
                  <a:lnTo>
                    <a:pt x="370" y="292"/>
                  </a:lnTo>
                  <a:lnTo>
                    <a:pt x="370" y="291"/>
                  </a:lnTo>
                  <a:lnTo>
                    <a:pt x="367" y="292"/>
                  </a:lnTo>
                  <a:lnTo>
                    <a:pt x="367" y="286"/>
                  </a:lnTo>
                  <a:lnTo>
                    <a:pt x="365" y="286"/>
                  </a:lnTo>
                  <a:lnTo>
                    <a:pt x="365" y="285"/>
                  </a:lnTo>
                  <a:lnTo>
                    <a:pt x="359" y="285"/>
                  </a:lnTo>
                  <a:lnTo>
                    <a:pt x="359" y="283"/>
                  </a:lnTo>
                  <a:lnTo>
                    <a:pt x="355" y="283"/>
                  </a:lnTo>
                  <a:lnTo>
                    <a:pt x="354" y="285"/>
                  </a:lnTo>
                  <a:lnTo>
                    <a:pt x="354" y="286"/>
                  </a:lnTo>
                  <a:lnTo>
                    <a:pt x="353" y="287"/>
                  </a:lnTo>
                  <a:lnTo>
                    <a:pt x="355" y="287"/>
                  </a:lnTo>
                  <a:lnTo>
                    <a:pt x="357" y="288"/>
                  </a:lnTo>
                  <a:lnTo>
                    <a:pt x="355" y="288"/>
                  </a:lnTo>
                  <a:lnTo>
                    <a:pt x="355" y="289"/>
                  </a:lnTo>
                  <a:lnTo>
                    <a:pt x="357" y="291"/>
                  </a:lnTo>
                  <a:lnTo>
                    <a:pt x="360" y="291"/>
                  </a:lnTo>
                  <a:lnTo>
                    <a:pt x="359" y="293"/>
                  </a:lnTo>
                  <a:lnTo>
                    <a:pt x="358" y="294"/>
                  </a:lnTo>
                  <a:lnTo>
                    <a:pt x="353" y="294"/>
                  </a:lnTo>
                  <a:lnTo>
                    <a:pt x="352" y="295"/>
                  </a:lnTo>
                  <a:lnTo>
                    <a:pt x="352" y="297"/>
                  </a:lnTo>
                  <a:lnTo>
                    <a:pt x="345" y="299"/>
                  </a:lnTo>
                  <a:lnTo>
                    <a:pt x="341" y="299"/>
                  </a:lnTo>
                  <a:lnTo>
                    <a:pt x="341" y="300"/>
                  </a:lnTo>
                  <a:lnTo>
                    <a:pt x="339" y="300"/>
                  </a:lnTo>
                  <a:lnTo>
                    <a:pt x="339" y="304"/>
                  </a:lnTo>
                  <a:lnTo>
                    <a:pt x="338" y="304"/>
                  </a:lnTo>
                  <a:lnTo>
                    <a:pt x="336" y="305"/>
                  </a:lnTo>
                  <a:lnTo>
                    <a:pt x="334" y="304"/>
                  </a:lnTo>
                  <a:lnTo>
                    <a:pt x="333" y="305"/>
                  </a:lnTo>
                  <a:lnTo>
                    <a:pt x="324" y="305"/>
                  </a:lnTo>
                  <a:lnTo>
                    <a:pt x="323" y="306"/>
                  </a:lnTo>
                  <a:lnTo>
                    <a:pt x="323" y="310"/>
                  </a:lnTo>
                  <a:lnTo>
                    <a:pt x="322" y="310"/>
                  </a:lnTo>
                  <a:lnTo>
                    <a:pt x="322" y="311"/>
                  </a:lnTo>
                  <a:lnTo>
                    <a:pt x="321" y="312"/>
                  </a:lnTo>
                  <a:lnTo>
                    <a:pt x="321" y="313"/>
                  </a:lnTo>
                  <a:lnTo>
                    <a:pt x="320" y="313"/>
                  </a:lnTo>
                  <a:lnTo>
                    <a:pt x="317" y="311"/>
                  </a:lnTo>
                  <a:lnTo>
                    <a:pt x="316" y="311"/>
                  </a:lnTo>
                  <a:lnTo>
                    <a:pt x="315" y="312"/>
                  </a:lnTo>
                  <a:lnTo>
                    <a:pt x="315" y="313"/>
                  </a:lnTo>
                  <a:lnTo>
                    <a:pt x="314" y="314"/>
                  </a:lnTo>
                  <a:lnTo>
                    <a:pt x="313" y="314"/>
                  </a:lnTo>
                  <a:lnTo>
                    <a:pt x="313" y="313"/>
                  </a:lnTo>
                  <a:lnTo>
                    <a:pt x="311" y="313"/>
                  </a:lnTo>
                  <a:lnTo>
                    <a:pt x="310" y="318"/>
                  </a:lnTo>
                  <a:lnTo>
                    <a:pt x="309" y="318"/>
                  </a:lnTo>
                  <a:lnTo>
                    <a:pt x="308" y="319"/>
                  </a:lnTo>
                  <a:lnTo>
                    <a:pt x="302" y="319"/>
                  </a:lnTo>
                  <a:lnTo>
                    <a:pt x="302" y="324"/>
                  </a:lnTo>
                  <a:lnTo>
                    <a:pt x="301" y="324"/>
                  </a:lnTo>
                  <a:lnTo>
                    <a:pt x="299" y="325"/>
                  </a:lnTo>
                  <a:lnTo>
                    <a:pt x="298" y="325"/>
                  </a:lnTo>
                  <a:lnTo>
                    <a:pt x="293" y="323"/>
                  </a:lnTo>
                  <a:lnTo>
                    <a:pt x="292" y="324"/>
                  </a:lnTo>
                  <a:lnTo>
                    <a:pt x="290" y="324"/>
                  </a:lnTo>
                  <a:lnTo>
                    <a:pt x="289" y="325"/>
                  </a:lnTo>
                  <a:lnTo>
                    <a:pt x="289" y="326"/>
                  </a:lnTo>
                  <a:lnTo>
                    <a:pt x="280" y="326"/>
                  </a:lnTo>
                  <a:lnTo>
                    <a:pt x="279" y="328"/>
                  </a:lnTo>
                  <a:lnTo>
                    <a:pt x="279" y="330"/>
                  </a:lnTo>
                  <a:lnTo>
                    <a:pt x="278" y="330"/>
                  </a:lnTo>
                  <a:lnTo>
                    <a:pt x="277" y="331"/>
                  </a:lnTo>
                  <a:lnTo>
                    <a:pt x="276" y="331"/>
                  </a:lnTo>
                  <a:lnTo>
                    <a:pt x="274" y="334"/>
                  </a:lnTo>
                  <a:lnTo>
                    <a:pt x="274" y="335"/>
                  </a:lnTo>
                  <a:lnTo>
                    <a:pt x="273" y="335"/>
                  </a:lnTo>
                  <a:lnTo>
                    <a:pt x="273" y="336"/>
                  </a:lnTo>
                  <a:lnTo>
                    <a:pt x="272" y="337"/>
                  </a:lnTo>
                  <a:lnTo>
                    <a:pt x="272" y="342"/>
                  </a:lnTo>
                  <a:lnTo>
                    <a:pt x="271" y="342"/>
                  </a:lnTo>
                  <a:lnTo>
                    <a:pt x="271" y="340"/>
                  </a:lnTo>
                  <a:lnTo>
                    <a:pt x="270" y="338"/>
                  </a:lnTo>
                  <a:lnTo>
                    <a:pt x="270" y="337"/>
                  </a:lnTo>
                  <a:lnTo>
                    <a:pt x="268" y="337"/>
                  </a:lnTo>
                  <a:lnTo>
                    <a:pt x="268" y="336"/>
                  </a:lnTo>
                  <a:lnTo>
                    <a:pt x="270" y="336"/>
                  </a:lnTo>
                  <a:lnTo>
                    <a:pt x="270" y="335"/>
                  </a:lnTo>
                  <a:lnTo>
                    <a:pt x="267" y="335"/>
                  </a:lnTo>
                  <a:lnTo>
                    <a:pt x="266" y="334"/>
                  </a:lnTo>
                  <a:lnTo>
                    <a:pt x="266" y="331"/>
                  </a:lnTo>
                  <a:lnTo>
                    <a:pt x="262" y="331"/>
                  </a:lnTo>
                  <a:lnTo>
                    <a:pt x="264" y="332"/>
                  </a:lnTo>
                  <a:lnTo>
                    <a:pt x="264" y="336"/>
                  </a:lnTo>
                  <a:lnTo>
                    <a:pt x="262" y="336"/>
                  </a:lnTo>
                  <a:lnTo>
                    <a:pt x="262" y="337"/>
                  </a:lnTo>
                  <a:lnTo>
                    <a:pt x="265" y="338"/>
                  </a:lnTo>
                  <a:lnTo>
                    <a:pt x="266" y="340"/>
                  </a:lnTo>
                  <a:lnTo>
                    <a:pt x="266" y="341"/>
                  </a:lnTo>
                  <a:lnTo>
                    <a:pt x="267" y="341"/>
                  </a:lnTo>
                  <a:lnTo>
                    <a:pt x="267" y="346"/>
                  </a:lnTo>
                  <a:lnTo>
                    <a:pt x="270" y="348"/>
                  </a:lnTo>
                  <a:lnTo>
                    <a:pt x="270" y="349"/>
                  </a:lnTo>
                  <a:lnTo>
                    <a:pt x="276" y="353"/>
                  </a:lnTo>
                  <a:lnTo>
                    <a:pt x="277" y="353"/>
                  </a:lnTo>
                  <a:lnTo>
                    <a:pt x="278" y="354"/>
                  </a:lnTo>
                  <a:lnTo>
                    <a:pt x="279" y="354"/>
                  </a:lnTo>
                  <a:lnTo>
                    <a:pt x="279" y="356"/>
                  </a:lnTo>
                  <a:lnTo>
                    <a:pt x="280" y="357"/>
                  </a:lnTo>
                  <a:lnTo>
                    <a:pt x="282" y="357"/>
                  </a:lnTo>
                  <a:lnTo>
                    <a:pt x="282" y="360"/>
                  </a:lnTo>
                  <a:lnTo>
                    <a:pt x="280" y="361"/>
                  </a:lnTo>
                  <a:lnTo>
                    <a:pt x="280" y="362"/>
                  </a:lnTo>
                  <a:lnTo>
                    <a:pt x="278" y="365"/>
                  </a:lnTo>
                  <a:lnTo>
                    <a:pt x="278" y="367"/>
                  </a:lnTo>
                  <a:lnTo>
                    <a:pt x="276" y="368"/>
                  </a:lnTo>
                  <a:lnTo>
                    <a:pt x="276" y="371"/>
                  </a:lnTo>
                  <a:lnTo>
                    <a:pt x="277" y="372"/>
                  </a:lnTo>
                  <a:lnTo>
                    <a:pt x="278" y="372"/>
                  </a:lnTo>
                  <a:lnTo>
                    <a:pt x="278" y="373"/>
                  </a:lnTo>
                  <a:lnTo>
                    <a:pt x="279" y="373"/>
                  </a:lnTo>
                  <a:lnTo>
                    <a:pt x="280" y="374"/>
                  </a:lnTo>
                  <a:lnTo>
                    <a:pt x="280" y="378"/>
                  </a:lnTo>
                  <a:lnTo>
                    <a:pt x="282" y="378"/>
                  </a:lnTo>
                  <a:lnTo>
                    <a:pt x="283" y="379"/>
                  </a:lnTo>
                  <a:lnTo>
                    <a:pt x="283" y="383"/>
                  </a:lnTo>
                  <a:lnTo>
                    <a:pt x="284" y="383"/>
                  </a:lnTo>
                  <a:lnTo>
                    <a:pt x="284" y="384"/>
                  </a:lnTo>
                  <a:lnTo>
                    <a:pt x="285" y="384"/>
                  </a:lnTo>
                  <a:lnTo>
                    <a:pt x="285" y="387"/>
                  </a:lnTo>
                  <a:lnTo>
                    <a:pt x="286" y="389"/>
                  </a:lnTo>
                  <a:lnTo>
                    <a:pt x="286" y="390"/>
                  </a:lnTo>
                  <a:lnTo>
                    <a:pt x="288" y="390"/>
                  </a:lnTo>
                  <a:lnTo>
                    <a:pt x="290" y="392"/>
                  </a:lnTo>
                  <a:lnTo>
                    <a:pt x="291" y="394"/>
                  </a:lnTo>
                  <a:lnTo>
                    <a:pt x="292" y="396"/>
                  </a:lnTo>
                  <a:lnTo>
                    <a:pt x="296" y="397"/>
                  </a:lnTo>
                  <a:lnTo>
                    <a:pt x="296" y="396"/>
                  </a:lnTo>
                  <a:lnTo>
                    <a:pt x="299" y="396"/>
                  </a:lnTo>
                  <a:lnTo>
                    <a:pt x="299" y="397"/>
                  </a:lnTo>
                  <a:lnTo>
                    <a:pt x="301" y="398"/>
                  </a:lnTo>
                  <a:lnTo>
                    <a:pt x="302" y="398"/>
                  </a:lnTo>
                  <a:lnTo>
                    <a:pt x="302" y="399"/>
                  </a:lnTo>
                  <a:lnTo>
                    <a:pt x="303" y="402"/>
                  </a:lnTo>
                  <a:lnTo>
                    <a:pt x="304" y="402"/>
                  </a:lnTo>
                  <a:lnTo>
                    <a:pt x="308" y="408"/>
                  </a:lnTo>
                  <a:lnTo>
                    <a:pt x="308" y="409"/>
                  </a:lnTo>
                  <a:lnTo>
                    <a:pt x="309" y="410"/>
                  </a:lnTo>
                  <a:lnTo>
                    <a:pt x="314" y="410"/>
                  </a:lnTo>
                  <a:lnTo>
                    <a:pt x="314" y="411"/>
                  </a:lnTo>
                  <a:lnTo>
                    <a:pt x="317" y="415"/>
                  </a:lnTo>
                  <a:lnTo>
                    <a:pt x="317" y="417"/>
                  </a:lnTo>
                  <a:lnTo>
                    <a:pt x="321" y="421"/>
                  </a:lnTo>
                  <a:lnTo>
                    <a:pt x="322" y="421"/>
                  </a:lnTo>
                  <a:lnTo>
                    <a:pt x="322" y="420"/>
                  </a:lnTo>
                  <a:lnTo>
                    <a:pt x="324" y="420"/>
                  </a:lnTo>
                  <a:lnTo>
                    <a:pt x="326" y="421"/>
                  </a:lnTo>
                  <a:lnTo>
                    <a:pt x="327" y="421"/>
                  </a:lnTo>
                  <a:lnTo>
                    <a:pt x="327" y="422"/>
                  </a:lnTo>
                  <a:lnTo>
                    <a:pt x="328" y="423"/>
                  </a:lnTo>
                  <a:lnTo>
                    <a:pt x="328" y="424"/>
                  </a:lnTo>
                  <a:lnTo>
                    <a:pt x="329" y="424"/>
                  </a:lnTo>
                  <a:lnTo>
                    <a:pt x="329" y="426"/>
                  </a:lnTo>
                  <a:lnTo>
                    <a:pt x="332" y="426"/>
                  </a:lnTo>
                  <a:lnTo>
                    <a:pt x="333" y="427"/>
                  </a:lnTo>
                  <a:lnTo>
                    <a:pt x="335" y="432"/>
                  </a:lnTo>
                  <a:lnTo>
                    <a:pt x="336" y="432"/>
                  </a:lnTo>
                  <a:lnTo>
                    <a:pt x="334" y="435"/>
                  </a:lnTo>
                  <a:lnTo>
                    <a:pt x="335" y="435"/>
                  </a:lnTo>
                  <a:lnTo>
                    <a:pt x="335" y="436"/>
                  </a:lnTo>
                  <a:lnTo>
                    <a:pt x="336" y="436"/>
                  </a:lnTo>
                  <a:lnTo>
                    <a:pt x="335" y="437"/>
                  </a:lnTo>
                  <a:lnTo>
                    <a:pt x="335" y="442"/>
                  </a:lnTo>
                  <a:lnTo>
                    <a:pt x="334" y="445"/>
                  </a:lnTo>
                  <a:lnTo>
                    <a:pt x="333" y="445"/>
                  </a:lnTo>
                  <a:lnTo>
                    <a:pt x="332" y="446"/>
                  </a:lnTo>
                  <a:lnTo>
                    <a:pt x="332" y="447"/>
                  </a:lnTo>
                  <a:lnTo>
                    <a:pt x="329" y="447"/>
                  </a:lnTo>
                  <a:lnTo>
                    <a:pt x="329" y="446"/>
                  </a:lnTo>
                  <a:lnTo>
                    <a:pt x="328" y="446"/>
                  </a:lnTo>
                  <a:lnTo>
                    <a:pt x="328" y="445"/>
                  </a:lnTo>
                  <a:lnTo>
                    <a:pt x="323" y="443"/>
                  </a:lnTo>
                  <a:lnTo>
                    <a:pt x="322" y="443"/>
                  </a:lnTo>
                  <a:lnTo>
                    <a:pt x="321" y="445"/>
                  </a:lnTo>
                  <a:lnTo>
                    <a:pt x="320" y="445"/>
                  </a:lnTo>
                  <a:lnTo>
                    <a:pt x="320" y="447"/>
                  </a:lnTo>
                  <a:lnTo>
                    <a:pt x="321" y="447"/>
                  </a:lnTo>
                  <a:lnTo>
                    <a:pt x="321" y="448"/>
                  </a:lnTo>
                  <a:lnTo>
                    <a:pt x="320" y="449"/>
                  </a:lnTo>
                  <a:lnTo>
                    <a:pt x="320" y="455"/>
                  </a:lnTo>
                  <a:lnTo>
                    <a:pt x="315" y="460"/>
                  </a:lnTo>
                  <a:lnTo>
                    <a:pt x="313" y="461"/>
                  </a:lnTo>
                  <a:lnTo>
                    <a:pt x="307" y="463"/>
                  </a:lnTo>
                  <a:lnTo>
                    <a:pt x="303" y="464"/>
                  </a:lnTo>
                  <a:lnTo>
                    <a:pt x="299" y="467"/>
                  </a:lnTo>
                  <a:lnTo>
                    <a:pt x="298" y="467"/>
                  </a:lnTo>
                  <a:lnTo>
                    <a:pt x="296" y="469"/>
                  </a:lnTo>
                  <a:lnTo>
                    <a:pt x="295" y="469"/>
                  </a:lnTo>
                  <a:lnTo>
                    <a:pt x="295" y="470"/>
                  </a:lnTo>
                  <a:lnTo>
                    <a:pt x="291" y="473"/>
                  </a:lnTo>
                  <a:lnTo>
                    <a:pt x="290" y="473"/>
                  </a:lnTo>
                  <a:lnTo>
                    <a:pt x="290" y="475"/>
                  </a:lnTo>
                  <a:lnTo>
                    <a:pt x="291" y="476"/>
                  </a:lnTo>
                  <a:lnTo>
                    <a:pt x="291" y="477"/>
                  </a:lnTo>
                  <a:lnTo>
                    <a:pt x="295" y="479"/>
                  </a:lnTo>
                  <a:lnTo>
                    <a:pt x="295" y="483"/>
                  </a:lnTo>
                  <a:lnTo>
                    <a:pt x="296" y="483"/>
                  </a:lnTo>
                  <a:lnTo>
                    <a:pt x="298" y="485"/>
                  </a:lnTo>
                  <a:lnTo>
                    <a:pt x="299" y="489"/>
                  </a:lnTo>
                  <a:lnTo>
                    <a:pt x="301" y="490"/>
                  </a:lnTo>
                  <a:lnTo>
                    <a:pt x="298" y="495"/>
                  </a:lnTo>
                  <a:lnTo>
                    <a:pt x="298" y="496"/>
                  </a:lnTo>
                  <a:lnTo>
                    <a:pt x="297" y="497"/>
                  </a:lnTo>
                  <a:lnTo>
                    <a:pt x="297" y="498"/>
                  </a:lnTo>
                  <a:lnTo>
                    <a:pt x="299" y="500"/>
                  </a:lnTo>
                  <a:lnTo>
                    <a:pt x="301" y="500"/>
                  </a:lnTo>
                  <a:lnTo>
                    <a:pt x="302" y="498"/>
                  </a:lnTo>
                  <a:lnTo>
                    <a:pt x="304" y="501"/>
                  </a:lnTo>
                  <a:lnTo>
                    <a:pt x="304" y="506"/>
                  </a:lnTo>
                  <a:lnTo>
                    <a:pt x="303" y="507"/>
                  </a:lnTo>
                  <a:lnTo>
                    <a:pt x="303" y="513"/>
                  </a:lnTo>
                  <a:lnTo>
                    <a:pt x="302" y="514"/>
                  </a:lnTo>
                  <a:lnTo>
                    <a:pt x="298" y="514"/>
                  </a:lnTo>
                  <a:lnTo>
                    <a:pt x="296" y="513"/>
                  </a:lnTo>
                  <a:lnTo>
                    <a:pt x="295" y="510"/>
                  </a:lnTo>
                  <a:lnTo>
                    <a:pt x="295" y="509"/>
                  </a:lnTo>
                  <a:lnTo>
                    <a:pt x="292" y="509"/>
                  </a:lnTo>
                  <a:lnTo>
                    <a:pt x="292" y="506"/>
                  </a:lnTo>
                  <a:lnTo>
                    <a:pt x="293" y="506"/>
                  </a:lnTo>
                  <a:lnTo>
                    <a:pt x="291" y="503"/>
                  </a:lnTo>
                  <a:lnTo>
                    <a:pt x="291" y="502"/>
                  </a:lnTo>
                  <a:lnTo>
                    <a:pt x="289" y="501"/>
                  </a:lnTo>
                  <a:lnTo>
                    <a:pt x="286" y="501"/>
                  </a:lnTo>
                  <a:lnTo>
                    <a:pt x="285" y="502"/>
                  </a:lnTo>
                  <a:lnTo>
                    <a:pt x="284" y="502"/>
                  </a:lnTo>
                  <a:lnTo>
                    <a:pt x="282" y="504"/>
                  </a:lnTo>
                  <a:lnTo>
                    <a:pt x="280" y="504"/>
                  </a:lnTo>
                  <a:lnTo>
                    <a:pt x="279" y="503"/>
                  </a:lnTo>
                  <a:lnTo>
                    <a:pt x="278" y="503"/>
                  </a:lnTo>
                  <a:lnTo>
                    <a:pt x="278" y="502"/>
                  </a:lnTo>
                  <a:lnTo>
                    <a:pt x="277" y="501"/>
                  </a:lnTo>
                  <a:lnTo>
                    <a:pt x="277" y="500"/>
                  </a:lnTo>
                  <a:lnTo>
                    <a:pt x="274" y="501"/>
                  </a:lnTo>
                  <a:lnTo>
                    <a:pt x="272" y="500"/>
                  </a:lnTo>
                  <a:lnTo>
                    <a:pt x="271" y="501"/>
                  </a:lnTo>
                  <a:lnTo>
                    <a:pt x="268" y="501"/>
                  </a:lnTo>
                  <a:lnTo>
                    <a:pt x="268" y="498"/>
                  </a:lnTo>
                  <a:lnTo>
                    <a:pt x="270" y="498"/>
                  </a:lnTo>
                  <a:lnTo>
                    <a:pt x="270" y="497"/>
                  </a:lnTo>
                  <a:lnTo>
                    <a:pt x="268" y="498"/>
                  </a:lnTo>
                  <a:lnTo>
                    <a:pt x="267" y="498"/>
                  </a:lnTo>
                  <a:lnTo>
                    <a:pt x="267" y="501"/>
                  </a:lnTo>
                  <a:lnTo>
                    <a:pt x="268" y="501"/>
                  </a:lnTo>
                  <a:lnTo>
                    <a:pt x="268" y="503"/>
                  </a:lnTo>
                  <a:lnTo>
                    <a:pt x="266" y="506"/>
                  </a:lnTo>
                  <a:lnTo>
                    <a:pt x="253" y="506"/>
                  </a:lnTo>
                  <a:lnTo>
                    <a:pt x="252" y="507"/>
                  </a:lnTo>
                  <a:lnTo>
                    <a:pt x="243" y="507"/>
                  </a:lnTo>
                  <a:lnTo>
                    <a:pt x="242" y="508"/>
                  </a:lnTo>
                  <a:lnTo>
                    <a:pt x="241" y="508"/>
                  </a:lnTo>
                  <a:lnTo>
                    <a:pt x="241" y="510"/>
                  </a:lnTo>
                  <a:lnTo>
                    <a:pt x="240" y="512"/>
                  </a:lnTo>
                  <a:lnTo>
                    <a:pt x="234" y="512"/>
                  </a:lnTo>
                  <a:lnTo>
                    <a:pt x="233" y="514"/>
                  </a:lnTo>
                  <a:lnTo>
                    <a:pt x="234" y="514"/>
                  </a:lnTo>
                  <a:lnTo>
                    <a:pt x="234" y="515"/>
                  </a:lnTo>
                  <a:lnTo>
                    <a:pt x="233" y="515"/>
                  </a:lnTo>
                  <a:lnTo>
                    <a:pt x="233" y="516"/>
                  </a:lnTo>
                  <a:lnTo>
                    <a:pt x="229" y="516"/>
                  </a:lnTo>
                  <a:lnTo>
                    <a:pt x="229" y="518"/>
                  </a:lnTo>
                  <a:lnTo>
                    <a:pt x="228" y="519"/>
                  </a:lnTo>
                  <a:lnTo>
                    <a:pt x="226" y="519"/>
                  </a:lnTo>
                  <a:lnTo>
                    <a:pt x="226" y="516"/>
                  </a:lnTo>
                  <a:lnTo>
                    <a:pt x="224" y="516"/>
                  </a:lnTo>
                  <a:lnTo>
                    <a:pt x="222" y="519"/>
                  </a:lnTo>
                  <a:lnTo>
                    <a:pt x="216" y="519"/>
                  </a:lnTo>
                  <a:lnTo>
                    <a:pt x="215" y="518"/>
                  </a:lnTo>
                  <a:lnTo>
                    <a:pt x="216" y="518"/>
                  </a:lnTo>
                  <a:lnTo>
                    <a:pt x="216" y="516"/>
                  </a:lnTo>
                  <a:lnTo>
                    <a:pt x="215" y="516"/>
                  </a:lnTo>
                  <a:lnTo>
                    <a:pt x="214" y="514"/>
                  </a:lnTo>
                  <a:lnTo>
                    <a:pt x="211" y="513"/>
                  </a:lnTo>
                  <a:lnTo>
                    <a:pt x="212" y="512"/>
                  </a:lnTo>
                  <a:lnTo>
                    <a:pt x="211" y="510"/>
                  </a:lnTo>
                  <a:lnTo>
                    <a:pt x="210" y="510"/>
                  </a:lnTo>
                  <a:lnTo>
                    <a:pt x="208" y="512"/>
                  </a:lnTo>
                  <a:lnTo>
                    <a:pt x="206" y="512"/>
                  </a:lnTo>
                  <a:lnTo>
                    <a:pt x="206" y="510"/>
                  </a:lnTo>
                  <a:lnTo>
                    <a:pt x="201" y="508"/>
                  </a:lnTo>
                  <a:lnTo>
                    <a:pt x="199" y="508"/>
                  </a:lnTo>
                  <a:lnTo>
                    <a:pt x="199" y="509"/>
                  </a:lnTo>
                  <a:lnTo>
                    <a:pt x="198" y="510"/>
                  </a:lnTo>
                  <a:lnTo>
                    <a:pt x="196" y="510"/>
                  </a:lnTo>
                  <a:lnTo>
                    <a:pt x="195" y="509"/>
                  </a:lnTo>
                  <a:lnTo>
                    <a:pt x="193" y="509"/>
                  </a:lnTo>
                  <a:lnTo>
                    <a:pt x="195" y="508"/>
                  </a:lnTo>
                  <a:lnTo>
                    <a:pt x="195" y="507"/>
                  </a:lnTo>
                  <a:lnTo>
                    <a:pt x="193" y="507"/>
                  </a:lnTo>
                  <a:lnTo>
                    <a:pt x="192" y="508"/>
                  </a:lnTo>
                  <a:lnTo>
                    <a:pt x="192" y="509"/>
                  </a:lnTo>
                  <a:lnTo>
                    <a:pt x="193" y="509"/>
                  </a:lnTo>
                  <a:lnTo>
                    <a:pt x="193" y="510"/>
                  </a:lnTo>
                  <a:lnTo>
                    <a:pt x="192" y="513"/>
                  </a:lnTo>
                  <a:lnTo>
                    <a:pt x="193" y="513"/>
                  </a:lnTo>
                  <a:lnTo>
                    <a:pt x="193" y="519"/>
                  </a:lnTo>
                  <a:lnTo>
                    <a:pt x="192" y="520"/>
                  </a:lnTo>
                  <a:lnTo>
                    <a:pt x="191" y="520"/>
                  </a:lnTo>
                  <a:lnTo>
                    <a:pt x="190" y="521"/>
                  </a:lnTo>
                  <a:lnTo>
                    <a:pt x="190" y="522"/>
                  </a:lnTo>
                  <a:lnTo>
                    <a:pt x="186" y="526"/>
                  </a:lnTo>
                  <a:lnTo>
                    <a:pt x="181" y="526"/>
                  </a:lnTo>
                  <a:lnTo>
                    <a:pt x="181" y="525"/>
                  </a:lnTo>
                  <a:lnTo>
                    <a:pt x="183" y="525"/>
                  </a:lnTo>
                  <a:lnTo>
                    <a:pt x="183" y="523"/>
                  </a:lnTo>
                  <a:lnTo>
                    <a:pt x="184" y="521"/>
                  </a:lnTo>
                  <a:lnTo>
                    <a:pt x="184" y="520"/>
                  </a:lnTo>
                  <a:lnTo>
                    <a:pt x="179" y="520"/>
                  </a:lnTo>
                  <a:lnTo>
                    <a:pt x="179" y="521"/>
                  </a:lnTo>
                  <a:lnTo>
                    <a:pt x="178" y="521"/>
                  </a:lnTo>
                  <a:lnTo>
                    <a:pt x="178" y="519"/>
                  </a:lnTo>
                  <a:lnTo>
                    <a:pt x="177" y="518"/>
                  </a:lnTo>
                  <a:lnTo>
                    <a:pt x="178" y="518"/>
                  </a:lnTo>
                  <a:lnTo>
                    <a:pt x="178" y="516"/>
                  </a:lnTo>
                  <a:lnTo>
                    <a:pt x="175" y="513"/>
                  </a:lnTo>
                  <a:lnTo>
                    <a:pt x="175" y="514"/>
                  </a:lnTo>
                  <a:lnTo>
                    <a:pt x="174" y="514"/>
                  </a:lnTo>
                  <a:lnTo>
                    <a:pt x="174" y="513"/>
                  </a:lnTo>
                  <a:lnTo>
                    <a:pt x="173" y="512"/>
                  </a:lnTo>
                  <a:lnTo>
                    <a:pt x="173" y="509"/>
                  </a:lnTo>
                  <a:lnTo>
                    <a:pt x="172" y="510"/>
                  </a:lnTo>
                  <a:lnTo>
                    <a:pt x="171" y="510"/>
                  </a:lnTo>
                  <a:lnTo>
                    <a:pt x="168" y="509"/>
                  </a:lnTo>
                  <a:lnTo>
                    <a:pt x="168" y="510"/>
                  </a:lnTo>
                  <a:lnTo>
                    <a:pt x="167" y="509"/>
                  </a:lnTo>
                  <a:lnTo>
                    <a:pt x="167" y="507"/>
                  </a:lnTo>
                  <a:lnTo>
                    <a:pt x="165" y="507"/>
                  </a:lnTo>
                  <a:lnTo>
                    <a:pt x="162" y="509"/>
                  </a:lnTo>
                  <a:lnTo>
                    <a:pt x="162" y="510"/>
                  </a:lnTo>
                  <a:lnTo>
                    <a:pt x="155" y="510"/>
                  </a:lnTo>
                  <a:lnTo>
                    <a:pt x="145" y="503"/>
                  </a:lnTo>
                  <a:lnTo>
                    <a:pt x="142" y="502"/>
                  </a:lnTo>
                  <a:lnTo>
                    <a:pt x="139" y="502"/>
                  </a:lnTo>
                  <a:lnTo>
                    <a:pt x="134" y="501"/>
                  </a:lnTo>
                  <a:lnTo>
                    <a:pt x="133" y="501"/>
                  </a:lnTo>
                  <a:lnTo>
                    <a:pt x="131" y="502"/>
                  </a:lnTo>
                  <a:lnTo>
                    <a:pt x="128" y="502"/>
                  </a:lnTo>
                  <a:lnTo>
                    <a:pt x="127" y="501"/>
                  </a:lnTo>
                  <a:lnTo>
                    <a:pt x="125" y="501"/>
                  </a:lnTo>
                  <a:lnTo>
                    <a:pt x="127" y="500"/>
                  </a:lnTo>
                  <a:lnTo>
                    <a:pt x="125" y="500"/>
                  </a:lnTo>
                  <a:lnTo>
                    <a:pt x="124" y="498"/>
                  </a:lnTo>
                  <a:lnTo>
                    <a:pt x="123" y="498"/>
                  </a:lnTo>
                  <a:lnTo>
                    <a:pt x="123" y="500"/>
                  </a:lnTo>
                  <a:lnTo>
                    <a:pt x="121" y="500"/>
                  </a:lnTo>
                  <a:lnTo>
                    <a:pt x="121" y="498"/>
                  </a:lnTo>
                  <a:lnTo>
                    <a:pt x="119" y="498"/>
                  </a:lnTo>
                  <a:lnTo>
                    <a:pt x="121" y="497"/>
                  </a:lnTo>
                  <a:lnTo>
                    <a:pt x="121" y="496"/>
                  </a:lnTo>
                  <a:lnTo>
                    <a:pt x="119" y="496"/>
                  </a:lnTo>
                  <a:lnTo>
                    <a:pt x="119" y="495"/>
                  </a:lnTo>
                  <a:lnTo>
                    <a:pt x="118" y="495"/>
                  </a:lnTo>
                  <a:lnTo>
                    <a:pt x="118" y="494"/>
                  </a:lnTo>
                  <a:lnTo>
                    <a:pt x="117" y="494"/>
                  </a:lnTo>
                  <a:lnTo>
                    <a:pt x="117" y="496"/>
                  </a:lnTo>
                  <a:lnTo>
                    <a:pt x="116" y="496"/>
                  </a:lnTo>
                  <a:lnTo>
                    <a:pt x="116" y="494"/>
                  </a:lnTo>
                  <a:lnTo>
                    <a:pt x="114" y="494"/>
                  </a:lnTo>
                  <a:lnTo>
                    <a:pt x="114" y="495"/>
                  </a:lnTo>
                  <a:lnTo>
                    <a:pt x="110" y="495"/>
                  </a:lnTo>
                  <a:lnTo>
                    <a:pt x="110" y="496"/>
                  </a:lnTo>
                  <a:lnTo>
                    <a:pt x="109" y="497"/>
                  </a:lnTo>
                  <a:lnTo>
                    <a:pt x="109" y="498"/>
                  </a:lnTo>
                  <a:lnTo>
                    <a:pt x="108" y="500"/>
                  </a:lnTo>
                  <a:lnTo>
                    <a:pt x="106" y="500"/>
                  </a:lnTo>
                  <a:lnTo>
                    <a:pt x="108" y="501"/>
                  </a:lnTo>
                  <a:lnTo>
                    <a:pt x="108" y="502"/>
                  </a:lnTo>
                  <a:lnTo>
                    <a:pt x="109" y="503"/>
                  </a:lnTo>
                  <a:lnTo>
                    <a:pt x="111" y="503"/>
                  </a:lnTo>
                  <a:lnTo>
                    <a:pt x="112" y="502"/>
                  </a:lnTo>
                  <a:lnTo>
                    <a:pt x="116" y="502"/>
                  </a:lnTo>
                  <a:lnTo>
                    <a:pt x="116" y="503"/>
                  </a:lnTo>
                  <a:lnTo>
                    <a:pt x="115" y="503"/>
                  </a:lnTo>
                  <a:lnTo>
                    <a:pt x="115" y="507"/>
                  </a:lnTo>
                  <a:lnTo>
                    <a:pt x="112" y="504"/>
                  </a:lnTo>
                  <a:lnTo>
                    <a:pt x="111" y="504"/>
                  </a:lnTo>
                  <a:lnTo>
                    <a:pt x="110" y="506"/>
                  </a:lnTo>
                  <a:lnTo>
                    <a:pt x="110" y="507"/>
                  </a:lnTo>
                  <a:lnTo>
                    <a:pt x="103" y="507"/>
                  </a:lnTo>
                  <a:lnTo>
                    <a:pt x="103" y="504"/>
                  </a:lnTo>
                  <a:lnTo>
                    <a:pt x="98" y="504"/>
                  </a:lnTo>
                  <a:lnTo>
                    <a:pt x="98" y="506"/>
                  </a:lnTo>
                  <a:lnTo>
                    <a:pt x="97" y="506"/>
                  </a:lnTo>
                  <a:lnTo>
                    <a:pt x="96" y="507"/>
                  </a:lnTo>
                  <a:lnTo>
                    <a:pt x="94" y="507"/>
                  </a:lnTo>
                  <a:lnTo>
                    <a:pt x="94" y="508"/>
                  </a:lnTo>
                  <a:lnTo>
                    <a:pt x="86" y="508"/>
                  </a:lnTo>
                  <a:lnTo>
                    <a:pt x="86" y="507"/>
                  </a:lnTo>
                  <a:lnTo>
                    <a:pt x="84" y="507"/>
                  </a:lnTo>
                  <a:lnTo>
                    <a:pt x="83" y="506"/>
                  </a:lnTo>
                  <a:lnTo>
                    <a:pt x="83" y="507"/>
                  </a:lnTo>
                  <a:lnTo>
                    <a:pt x="80" y="509"/>
                  </a:lnTo>
                  <a:lnTo>
                    <a:pt x="75" y="509"/>
                  </a:lnTo>
                  <a:lnTo>
                    <a:pt x="74" y="508"/>
                  </a:lnTo>
                  <a:lnTo>
                    <a:pt x="75" y="508"/>
                  </a:lnTo>
                  <a:lnTo>
                    <a:pt x="77" y="506"/>
                  </a:lnTo>
                  <a:lnTo>
                    <a:pt x="75" y="506"/>
                  </a:lnTo>
                  <a:lnTo>
                    <a:pt x="73" y="507"/>
                  </a:lnTo>
                  <a:lnTo>
                    <a:pt x="73" y="504"/>
                  </a:lnTo>
                  <a:lnTo>
                    <a:pt x="72" y="502"/>
                  </a:lnTo>
                  <a:lnTo>
                    <a:pt x="71" y="502"/>
                  </a:lnTo>
                  <a:lnTo>
                    <a:pt x="71" y="501"/>
                  </a:lnTo>
                  <a:lnTo>
                    <a:pt x="69" y="501"/>
                  </a:lnTo>
                  <a:lnTo>
                    <a:pt x="69" y="498"/>
                  </a:lnTo>
                  <a:lnTo>
                    <a:pt x="71" y="498"/>
                  </a:lnTo>
                  <a:lnTo>
                    <a:pt x="71" y="491"/>
                  </a:lnTo>
                  <a:lnTo>
                    <a:pt x="72" y="491"/>
                  </a:lnTo>
                  <a:lnTo>
                    <a:pt x="72" y="488"/>
                  </a:lnTo>
                  <a:lnTo>
                    <a:pt x="73" y="488"/>
                  </a:lnTo>
                  <a:lnTo>
                    <a:pt x="73" y="484"/>
                  </a:lnTo>
                  <a:lnTo>
                    <a:pt x="74" y="483"/>
                  </a:lnTo>
                  <a:lnTo>
                    <a:pt x="74" y="480"/>
                  </a:lnTo>
                  <a:lnTo>
                    <a:pt x="73" y="477"/>
                  </a:lnTo>
                  <a:lnTo>
                    <a:pt x="73" y="472"/>
                  </a:lnTo>
                  <a:lnTo>
                    <a:pt x="74" y="471"/>
                  </a:lnTo>
                  <a:lnTo>
                    <a:pt x="74" y="470"/>
                  </a:lnTo>
                  <a:lnTo>
                    <a:pt x="77" y="466"/>
                  </a:lnTo>
                  <a:lnTo>
                    <a:pt x="78" y="465"/>
                  </a:lnTo>
                  <a:lnTo>
                    <a:pt x="78" y="461"/>
                  </a:lnTo>
                  <a:lnTo>
                    <a:pt x="80" y="459"/>
                  </a:lnTo>
                  <a:lnTo>
                    <a:pt x="80" y="458"/>
                  </a:lnTo>
                  <a:lnTo>
                    <a:pt x="79" y="457"/>
                  </a:lnTo>
                  <a:lnTo>
                    <a:pt x="79" y="455"/>
                  </a:lnTo>
                  <a:lnTo>
                    <a:pt x="80" y="453"/>
                  </a:lnTo>
                  <a:lnTo>
                    <a:pt x="80" y="451"/>
                  </a:lnTo>
                  <a:lnTo>
                    <a:pt x="81" y="449"/>
                  </a:lnTo>
                  <a:lnTo>
                    <a:pt x="81" y="448"/>
                  </a:lnTo>
                  <a:lnTo>
                    <a:pt x="83" y="448"/>
                  </a:lnTo>
                  <a:lnTo>
                    <a:pt x="83" y="442"/>
                  </a:lnTo>
                  <a:lnTo>
                    <a:pt x="84" y="439"/>
                  </a:lnTo>
                  <a:lnTo>
                    <a:pt x="85" y="439"/>
                  </a:lnTo>
                  <a:lnTo>
                    <a:pt x="88" y="435"/>
                  </a:lnTo>
                  <a:lnTo>
                    <a:pt x="88" y="433"/>
                  </a:lnTo>
                  <a:lnTo>
                    <a:pt x="91" y="433"/>
                  </a:lnTo>
                  <a:lnTo>
                    <a:pt x="92" y="432"/>
                  </a:lnTo>
                  <a:lnTo>
                    <a:pt x="92" y="430"/>
                  </a:lnTo>
                  <a:lnTo>
                    <a:pt x="94" y="429"/>
                  </a:lnTo>
                  <a:lnTo>
                    <a:pt x="97" y="423"/>
                  </a:lnTo>
                  <a:lnTo>
                    <a:pt x="98" y="421"/>
                  </a:lnTo>
                  <a:lnTo>
                    <a:pt x="99" y="420"/>
                  </a:lnTo>
                  <a:lnTo>
                    <a:pt x="98" y="420"/>
                  </a:lnTo>
                  <a:lnTo>
                    <a:pt x="94" y="418"/>
                  </a:lnTo>
                  <a:lnTo>
                    <a:pt x="87" y="415"/>
                  </a:lnTo>
                  <a:lnTo>
                    <a:pt x="85" y="415"/>
                  </a:lnTo>
                  <a:lnTo>
                    <a:pt x="81" y="414"/>
                  </a:lnTo>
                  <a:lnTo>
                    <a:pt x="80" y="414"/>
                  </a:lnTo>
                  <a:lnTo>
                    <a:pt x="79" y="415"/>
                  </a:lnTo>
                  <a:lnTo>
                    <a:pt x="74" y="415"/>
                  </a:lnTo>
                  <a:lnTo>
                    <a:pt x="74" y="414"/>
                  </a:lnTo>
                  <a:lnTo>
                    <a:pt x="73" y="412"/>
                  </a:lnTo>
                  <a:lnTo>
                    <a:pt x="71" y="412"/>
                  </a:lnTo>
                  <a:lnTo>
                    <a:pt x="71" y="411"/>
                  </a:lnTo>
                  <a:lnTo>
                    <a:pt x="69" y="411"/>
                  </a:lnTo>
                  <a:lnTo>
                    <a:pt x="68" y="410"/>
                  </a:lnTo>
                  <a:lnTo>
                    <a:pt x="68" y="408"/>
                  </a:lnTo>
                  <a:lnTo>
                    <a:pt x="67" y="408"/>
                  </a:lnTo>
                  <a:lnTo>
                    <a:pt x="66" y="406"/>
                  </a:lnTo>
                  <a:lnTo>
                    <a:pt x="63" y="406"/>
                  </a:lnTo>
                  <a:lnTo>
                    <a:pt x="63" y="408"/>
                  </a:lnTo>
                  <a:lnTo>
                    <a:pt x="62" y="408"/>
                  </a:lnTo>
                  <a:lnTo>
                    <a:pt x="62" y="409"/>
                  </a:lnTo>
                  <a:lnTo>
                    <a:pt x="61" y="409"/>
                  </a:lnTo>
                  <a:lnTo>
                    <a:pt x="60" y="410"/>
                  </a:lnTo>
                  <a:lnTo>
                    <a:pt x="54" y="410"/>
                  </a:lnTo>
                  <a:lnTo>
                    <a:pt x="54" y="409"/>
                  </a:lnTo>
                  <a:lnTo>
                    <a:pt x="52" y="408"/>
                  </a:lnTo>
                  <a:lnTo>
                    <a:pt x="52" y="409"/>
                  </a:lnTo>
                  <a:lnTo>
                    <a:pt x="50" y="410"/>
                  </a:lnTo>
                  <a:lnTo>
                    <a:pt x="49" y="410"/>
                  </a:lnTo>
                  <a:lnTo>
                    <a:pt x="49" y="405"/>
                  </a:lnTo>
                  <a:lnTo>
                    <a:pt x="48" y="405"/>
                  </a:lnTo>
                  <a:lnTo>
                    <a:pt x="46" y="404"/>
                  </a:lnTo>
                  <a:lnTo>
                    <a:pt x="41" y="404"/>
                  </a:lnTo>
                  <a:lnTo>
                    <a:pt x="41" y="405"/>
                  </a:lnTo>
                  <a:lnTo>
                    <a:pt x="42" y="406"/>
                  </a:lnTo>
                  <a:lnTo>
                    <a:pt x="41" y="408"/>
                  </a:lnTo>
                  <a:lnTo>
                    <a:pt x="37" y="408"/>
                  </a:lnTo>
                  <a:lnTo>
                    <a:pt x="36" y="406"/>
                  </a:lnTo>
                  <a:lnTo>
                    <a:pt x="36" y="403"/>
                  </a:lnTo>
                  <a:lnTo>
                    <a:pt x="35" y="404"/>
                  </a:lnTo>
                  <a:lnTo>
                    <a:pt x="35" y="403"/>
                  </a:lnTo>
                  <a:lnTo>
                    <a:pt x="34" y="402"/>
                  </a:lnTo>
                  <a:lnTo>
                    <a:pt x="34" y="399"/>
                  </a:lnTo>
                  <a:lnTo>
                    <a:pt x="30" y="397"/>
                  </a:lnTo>
                  <a:lnTo>
                    <a:pt x="30" y="396"/>
                  </a:lnTo>
                  <a:lnTo>
                    <a:pt x="29" y="396"/>
                  </a:lnTo>
                  <a:lnTo>
                    <a:pt x="30" y="394"/>
                  </a:lnTo>
                  <a:lnTo>
                    <a:pt x="30" y="393"/>
                  </a:lnTo>
                  <a:lnTo>
                    <a:pt x="28" y="392"/>
                  </a:lnTo>
                  <a:lnTo>
                    <a:pt x="28" y="390"/>
                  </a:lnTo>
                  <a:lnTo>
                    <a:pt x="27" y="389"/>
                  </a:lnTo>
                  <a:lnTo>
                    <a:pt x="23" y="387"/>
                  </a:lnTo>
                  <a:lnTo>
                    <a:pt x="21" y="387"/>
                  </a:lnTo>
                  <a:lnTo>
                    <a:pt x="21" y="380"/>
                  </a:lnTo>
                  <a:lnTo>
                    <a:pt x="23" y="378"/>
                  </a:lnTo>
                  <a:lnTo>
                    <a:pt x="23" y="377"/>
                  </a:lnTo>
                  <a:lnTo>
                    <a:pt x="24" y="377"/>
                  </a:lnTo>
                  <a:lnTo>
                    <a:pt x="24" y="375"/>
                  </a:lnTo>
                  <a:lnTo>
                    <a:pt x="23" y="375"/>
                  </a:lnTo>
                  <a:lnTo>
                    <a:pt x="23" y="374"/>
                  </a:lnTo>
                  <a:lnTo>
                    <a:pt x="24" y="374"/>
                  </a:lnTo>
                  <a:lnTo>
                    <a:pt x="27" y="372"/>
                  </a:lnTo>
                  <a:lnTo>
                    <a:pt x="27" y="368"/>
                  </a:lnTo>
                  <a:lnTo>
                    <a:pt x="28" y="366"/>
                  </a:lnTo>
                  <a:lnTo>
                    <a:pt x="27" y="366"/>
                  </a:lnTo>
                  <a:lnTo>
                    <a:pt x="25" y="365"/>
                  </a:lnTo>
                  <a:lnTo>
                    <a:pt x="22" y="365"/>
                  </a:lnTo>
                  <a:lnTo>
                    <a:pt x="21" y="363"/>
                  </a:lnTo>
                  <a:lnTo>
                    <a:pt x="21" y="362"/>
                  </a:lnTo>
                  <a:lnTo>
                    <a:pt x="18" y="362"/>
                  </a:lnTo>
                  <a:lnTo>
                    <a:pt x="18" y="361"/>
                  </a:lnTo>
                  <a:lnTo>
                    <a:pt x="17" y="361"/>
                  </a:lnTo>
                  <a:lnTo>
                    <a:pt x="16" y="360"/>
                  </a:lnTo>
                  <a:lnTo>
                    <a:pt x="15" y="356"/>
                  </a:lnTo>
                  <a:lnTo>
                    <a:pt x="13" y="355"/>
                  </a:lnTo>
                  <a:lnTo>
                    <a:pt x="13" y="356"/>
                  </a:lnTo>
                  <a:lnTo>
                    <a:pt x="12" y="355"/>
                  </a:lnTo>
                  <a:lnTo>
                    <a:pt x="12" y="354"/>
                  </a:lnTo>
                  <a:lnTo>
                    <a:pt x="11" y="353"/>
                  </a:lnTo>
                  <a:lnTo>
                    <a:pt x="11" y="349"/>
                  </a:lnTo>
                  <a:lnTo>
                    <a:pt x="10" y="349"/>
                  </a:lnTo>
                  <a:lnTo>
                    <a:pt x="11" y="348"/>
                  </a:lnTo>
                  <a:lnTo>
                    <a:pt x="10" y="348"/>
                  </a:lnTo>
                  <a:lnTo>
                    <a:pt x="11" y="346"/>
                  </a:lnTo>
                  <a:lnTo>
                    <a:pt x="11" y="341"/>
                  </a:lnTo>
                  <a:lnTo>
                    <a:pt x="13" y="341"/>
                  </a:lnTo>
                  <a:lnTo>
                    <a:pt x="13" y="338"/>
                  </a:lnTo>
                  <a:lnTo>
                    <a:pt x="12" y="338"/>
                  </a:lnTo>
                  <a:lnTo>
                    <a:pt x="12" y="337"/>
                  </a:lnTo>
                  <a:lnTo>
                    <a:pt x="13" y="337"/>
                  </a:lnTo>
                  <a:lnTo>
                    <a:pt x="15" y="336"/>
                  </a:lnTo>
                  <a:lnTo>
                    <a:pt x="17" y="335"/>
                  </a:lnTo>
                  <a:lnTo>
                    <a:pt x="17" y="334"/>
                  </a:lnTo>
                  <a:lnTo>
                    <a:pt x="18" y="332"/>
                  </a:lnTo>
                  <a:lnTo>
                    <a:pt x="22" y="332"/>
                  </a:lnTo>
                  <a:lnTo>
                    <a:pt x="22" y="330"/>
                  </a:lnTo>
                  <a:lnTo>
                    <a:pt x="21" y="328"/>
                  </a:lnTo>
                  <a:lnTo>
                    <a:pt x="21" y="323"/>
                  </a:lnTo>
                  <a:lnTo>
                    <a:pt x="19" y="322"/>
                  </a:lnTo>
                  <a:lnTo>
                    <a:pt x="19" y="320"/>
                  </a:lnTo>
                  <a:lnTo>
                    <a:pt x="18" y="320"/>
                  </a:lnTo>
                  <a:lnTo>
                    <a:pt x="17" y="319"/>
                  </a:lnTo>
                  <a:lnTo>
                    <a:pt x="16" y="320"/>
                  </a:lnTo>
                  <a:lnTo>
                    <a:pt x="15" y="320"/>
                  </a:lnTo>
                  <a:lnTo>
                    <a:pt x="15" y="319"/>
                  </a:lnTo>
                  <a:lnTo>
                    <a:pt x="13" y="319"/>
                  </a:lnTo>
                  <a:lnTo>
                    <a:pt x="15" y="318"/>
                  </a:lnTo>
                  <a:lnTo>
                    <a:pt x="13" y="318"/>
                  </a:lnTo>
                  <a:lnTo>
                    <a:pt x="13" y="316"/>
                  </a:lnTo>
                  <a:lnTo>
                    <a:pt x="17" y="312"/>
                  </a:lnTo>
                  <a:lnTo>
                    <a:pt x="13" y="312"/>
                  </a:lnTo>
                  <a:lnTo>
                    <a:pt x="13" y="311"/>
                  </a:lnTo>
                  <a:lnTo>
                    <a:pt x="12" y="310"/>
                  </a:lnTo>
                  <a:lnTo>
                    <a:pt x="13" y="310"/>
                  </a:lnTo>
                  <a:lnTo>
                    <a:pt x="10" y="306"/>
                  </a:lnTo>
                  <a:lnTo>
                    <a:pt x="10" y="305"/>
                  </a:lnTo>
                  <a:lnTo>
                    <a:pt x="6" y="305"/>
                  </a:lnTo>
                  <a:lnTo>
                    <a:pt x="6" y="301"/>
                  </a:lnTo>
                  <a:lnTo>
                    <a:pt x="5" y="301"/>
                  </a:lnTo>
                  <a:lnTo>
                    <a:pt x="5" y="300"/>
                  </a:lnTo>
                  <a:lnTo>
                    <a:pt x="6" y="299"/>
                  </a:lnTo>
                  <a:lnTo>
                    <a:pt x="6" y="297"/>
                  </a:lnTo>
                  <a:lnTo>
                    <a:pt x="7" y="297"/>
                  </a:lnTo>
                  <a:lnTo>
                    <a:pt x="9" y="295"/>
                  </a:lnTo>
                  <a:lnTo>
                    <a:pt x="9" y="292"/>
                  </a:lnTo>
                  <a:lnTo>
                    <a:pt x="7" y="292"/>
                  </a:lnTo>
                  <a:lnTo>
                    <a:pt x="6" y="291"/>
                  </a:lnTo>
                  <a:lnTo>
                    <a:pt x="6" y="288"/>
                  </a:lnTo>
                  <a:lnTo>
                    <a:pt x="5" y="288"/>
                  </a:lnTo>
                  <a:lnTo>
                    <a:pt x="4" y="287"/>
                  </a:lnTo>
                  <a:lnTo>
                    <a:pt x="3" y="287"/>
                  </a:lnTo>
                  <a:lnTo>
                    <a:pt x="1" y="288"/>
                  </a:lnTo>
                  <a:lnTo>
                    <a:pt x="0" y="288"/>
                  </a:lnTo>
                  <a:lnTo>
                    <a:pt x="0" y="283"/>
                  </a:lnTo>
                  <a:lnTo>
                    <a:pt x="1" y="282"/>
                  </a:lnTo>
                  <a:lnTo>
                    <a:pt x="3" y="283"/>
                  </a:lnTo>
                  <a:lnTo>
                    <a:pt x="4" y="283"/>
                  </a:lnTo>
                  <a:lnTo>
                    <a:pt x="5" y="281"/>
                  </a:lnTo>
                  <a:lnTo>
                    <a:pt x="10" y="277"/>
                  </a:lnTo>
                  <a:lnTo>
                    <a:pt x="12" y="276"/>
                  </a:lnTo>
                  <a:lnTo>
                    <a:pt x="11" y="275"/>
                  </a:lnTo>
                  <a:lnTo>
                    <a:pt x="12" y="274"/>
                  </a:lnTo>
                  <a:lnTo>
                    <a:pt x="10" y="275"/>
                  </a:lnTo>
                  <a:lnTo>
                    <a:pt x="9" y="274"/>
                  </a:lnTo>
                  <a:lnTo>
                    <a:pt x="9" y="270"/>
                  </a:lnTo>
                  <a:lnTo>
                    <a:pt x="10" y="269"/>
                  </a:lnTo>
                  <a:lnTo>
                    <a:pt x="10" y="268"/>
                  </a:lnTo>
                  <a:lnTo>
                    <a:pt x="12" y="264"/>
                  </a:lnTo>
                  <a:lnTo>
                    <a:pt x="13" y="263"/>
                  </a:lnTo>
                  <a:lnTo>
                    <a:pt x="15" y="263"/>
                  </a:lnTo>
                  <a:lnTo>
                    <a:pt x="15" y="251"/>
                  </a:lnTo>
                  <a:lnTo>
                    <a:pt x="12" y="250"/>
                  </a:lnTo>
                  <a:lnTo>
                    <a:pt x="10" y="245"/>
                  </a:lnTo>
                  <a:lnTo>
                    <a:pt x="10" y="243"/>
                  </a:lnTo>
                  <a:lnTo>
                    <a:pt x="7" y="242"/>
                  </a:lnTo>
                  <a:lnTo>
                    <a:pt x="6" y="240"/>
                  </a:lnTo>
                  <a:lnTo>
                    <a:pt x="7" y="238"/>
                  </a:lnTo>
                  <a:lnTo>
                    <a:pt x="6" y="238"/>
                  </a:lnTo>
                  <a:lnTo>
                    <a:pt x="5" y="237"/>
                  </a:lnTo>
                  <a:lnTo>
                    <a:pt x="4" y="237"/>
                  </a:lnTo>
                  <a:lnTo>
                    <a:pt x="4" y="236"/>
                  </a:lnTo>
                  <a:lnTo>
                    <a:pt x="5" y="234"/>
                  </a:lnTo>
                  <a:lnTo>
                    <a:pt x="5" y="233"/>
                  </a:lnTo>
                  <a:lnTo>
                    <a:pt x="3" y="231"/>
                  </a:lnTo>
                  <a:lnTo>
                    <a:pt x="4" y="230"/>
                  </a:lnTo>
                  <a:lnTo>
                    <a:pt x="6" y="230"/>
                  </a:lnTo>
                  <a:lnTo>
                    <a:pt x="7" y="228"/>
                  </a:lnTo>
                  <a:lnTo>
                    <a:pt x="12" y="228"/>
                  </a:lnTo>
                  <a:lnTo>
                    <a:pt x="11" y="226"/>
                  </a:lnTo>
                  <a:lnTo>
                    <a:pt x="10" y="226"/>
                  </a:lnTo>
                  <a:lnTo>
                    <a:pt x="11" y="225"/>
                  </a:lnTo>
                  <a:lnTo>
                    <a:pt x="12" y="226"/>
                  </a:lnTo>
                  <a:lnTo>
                    <a:pt x="15" y="227"/>
                  </a:lnTo>
                  <a:lnTo>
                    <a:pt x="17" y="227"/>
                  </a:lnTo>
                  <a:lnTo>
                    <a:pt x="18" y="228"/>
                  </a:lnTo>
                  <a:lnTo>
                    <a:pt x="19" y="228"/>
                  </a:lnTo>
                  <a:lnTo>
                    <a:pt x="21" y="230"/>
                  </a:lnTo>
                  <a:lnTo>
                    <a:pt x="21" y="231"/>
                  </a:lnTo>
                  <a:lnTo>
                    <a:pt x="22" y="230"/>
                  </a:lnTo>
                  <a:lnTo>
                    <a:pt x="23" y="230"/>
                  </a:lnTo>
                  <a:lnTo>
                    <a:pt x="22" y="227"/>
                  </a:lnTo>
                  <a:lnTo>
                    <a:pt x="25" y="228"/>
                  </a:lnTo>
                  <a:lnTo>
                    <a:pt x="27" y="228"/>
                  </a:lnTo>
                  <a:lnTo>
                    <a:pt x="29" y="226"/>
                  </a:lnTo>
                  <a:lnTo>
                    <a:pt x="32" y="225"/>
                  </a:lnTo>
                  <a:lnTo>
                    <a:pt x="37" y="225"/>
                  </a:lnTo>
                  <a:lnTo>
                    <a:pt x="38" y="224"/>
                  </a:lnTo>
                  <a:lnTo>
                    <a:pt x="40" y="221"/>
                  </a:lnTo>
                  <a:lnTo>
                    <a:pt x="41" y="221"/>
                  </a:lnTo>
                  <a:lnTo>
                    <a:pt x="41" y="220"/>
                  </a:lnTo>
                  <a:lnTo>
                    <a:pt x="40" y="220"/>
                  </a:lnTo>
                  <a:lnTo>
                    <a:pt x="40" y="219"/>
                  </a:lnTo>
                  <a:lnTo>
                    <a:pt x="38" y="218"/>
                  </a:lnTo>
                  <a:lnTo>
                    <a:pt x="36" y="217"/>
                  </a:lnTo>
                  <a:lnTo>
                    <a:pt x="35" y="217"/>
                  </a:lnTo>
                  <a:lnTo>
                    <a:pt x="35" y="214"/>
                  </a:lnTo>
                  <a:lnTo>
                    <a:pt x="36" y="214"/>
                  </a:lnTo>
                  <a:lnTo>
                    <a:pt x="36" y="213"/>
                  </a:lnTo>
                  <a:lnTo>
                    <a:pt x="37" y="212"/>
                  </a:lnTo>
                  <a:lnTo>
                    <a:pt x="37" y="211"/>
                  </a:lnTo>
                  <a:lnTo>
                    <a:pt x="41" y="211"/>
                  </a:lnTo>
                  <a:lnTo>
                    <a:pt x="42" y="209"/>
                  </a:lnTo>
                  <a:lnTo>
                    <a:pt x="42" y="208"/>
                  </a:lnTo>
                  <a:lnTo>
                    <a:pt x="43" y="207"/>
                  </a:lnTo>
                  <a:lnTo>
                    <a:pt x="46" y="206"/>
                  </a:lnTo>
                  <a:lnTo>
                    <a:pt x="47" y="203"/>
                  </a:lnTo>
                  <a:lnTo>
                    <a:pt x="48" y="203"/>
                  </a:lnTo>
                  <a:lnTo>
                    <a:pt x="49" y="202"/>
                  </a:lnTo>
                  <a:lnTo>
                    <a:pt x="49" y="197"/>
                  </a:lnTo>
                  <a:lnTo>
                    <a:pt x="50" y="195"/>
                  </a:lnTo>
                  <a:lnTo>
                    <a:pt x="50" y="193"/>
                  </a:lnTo>
                  <a:lnTo>
                    <a:pt x="49" y="191"/>
                  </a:lnTo>
                  <a:lnTo>
                    <a:pt x="47" y="187"/>
                  </a:lnTo>
                  <a:lnTo>
                    <a:pt x="47" y="188"/>
                  </a:lnTo>
                  <a:lnTo>
                    <a:pt x="41" y="188"/>
                  </a:lnTo>
                  <a:lnTo>
                    <a:pt x="37" y="187"/>
                  </a:lnTo>
                  <a:lnTo>
                    <a:pt x="36" y="187"/>
                  </a:lnTo>
                  <a:lnTo>
                    <a:pt x="35" y="185"/>
                  </a:lnTo>
                  <a:lnTo>
                    <a:pt x="35" y="181"/>
                  </a:lnTo>
                  <a:lnTo>
                    <a:pt x="37" y="179"/>
                  </a:lnTo>
                  <a:lnTo>
                    <a:pt x="36" y="178"/>
                  </a:lnTo>
                  <a:lnTo>
                    <a:pt x="36" y="175"/>
                  </a:lnTo>
                  <a:lnTo>
                    <a:pt x="37" y="175"/>
                  </a:lnTo>
                  <a:lnTo>
                    <a:pt x="38" y="174"/>
                  </a:lnTo>
                  <a:lnTo>
                    <a:pt x="42" y="174"/>
                  </a:lnTo>
                  <a:lnTo>
                    <a:pt x="44" y="175"/>
                  </a:lnTo>
                  <a:lnTo>
                    <a:pt x="49" y="175"/>
                  </a:lnTo>
                  <a:lnTo>
                    <a:pt x="50" y="174"/>
                  </a:lnTo>
                  <a:lnTo>
                    <a:pt x="50" y="162"/>
                  </a:lnTo>
                  <a:lnTo>
                    <a:pt x="52" y="160"/>
                  </a:lnTo>
                  <a:lnTo>
                    <a:pt x="52" y="159"/>
                  </a:lnTo>
                  <a:lnTo>
                    <a:pt x="55" y="153"/>
                  </a:lnTo>
                  <a:lnTo>
                    <a:pt x="56" y="151"/>
                  </a:lnTo>
                  <a:lnTo>
                    <a:pt x="56" y="140"/>
                  </a:lnTo>
                  <a:lnTo>
                    <a:pt x="55" y="140"/>
                  </a:lnTo>
                  <a:lnTo>
                    <a:pt x="55" y="139"/>
                  </a:lnTo>
                  <a:lnTo>
                    <a:pt x="56" y="136"/>
                  </a:lnTo>
                  <a:lnTo>
                    <a:pt x="56" y="132"/>
                  </a:lnTo>
                  <a:lnTo>
                    <a:pt x="59" y="129"/>
                  </a:lnTo>
                  <a:lnTo>
                    <a:pt x="57" y="128"/>
                  </a:lnTo>
                  <a:lnTo>
                    <a:pt x="60" y="126"/>
                  </a:lnTo>
                  <a:lnTo>
                    <a:pt x="61" y="126"/>
                  </a:lnTo>
                  <a:lnTo>
                    <a:pt x="63" y="127"/>
                  </a:lnTo>
                  <a:lnTo>
                    <a:pt x="62" y="126"/>
                  </a:lnTo>
                  <a:lnTo>
                    <a:pt x="61" y="126"/>
                  </a:lnTo>
                  <a:lnTo>
                    <a:pt x="52" y="125"/>
                  </a:lnTo>
                  <a:lnTo>
                    <a:pt x="50" y="125"/>
                  </a:lnTo>
                  <a:lnTo>
                    <a:pt x="49" y="122"/>
                  </a:lnTo>
                  <a:lnTo>
                    <a:pt x="49" y="116"/>
                  </a:lnTo>
                  <a:lnTo>
                    <a:pt x="50" y="114"/>
                  </a:lnTo>
                  <a:lnTo>
                    <a:pt x="50" y="113"/>
                  </a:lnTo>
                  <a:lnTo>
                    <a:pt x="53" y="113"/>
                  </a:lnTo>
                  <a:lnTo>
                    <a:pt x="54" y="111"/>
                  </a:lnTo>
                  <a:lnTo>
                    <a:pt x="54" y="109"/>
                  </a:lnTo>
                  <a:lnTo>
                    <a:pt x="53" y="109"/>
                  </a:lnTo>
                  <a:lnTo>
                    <a:pt x="52" y="108"/>
                  </a:lnTo>
                  <a:lnTo>
                    <a:pt x="57" y="102"/>
                  </a:lnTo>
                  <a:lnTo>
                    <a:pt x="61" y="101"/>
                  </a:lnTo>
                  <a:lnTo>
                    <a:pt x="67" y="99"/>
                  </a:lnTo>
                  <a:lnTo>
                    <a:pt x="68" y="99"/>
                  </a:lnTo>
                  <a:lnTo>
                    <a:pt x="68" y="101"/>
                  </a:lnTo>
                  <a:lnTo>
                    <a:pt x="69" y="101"/>
                  </a:lnTo>
                  <a:lnTo>
                    <a:pt x="75" y="99"/>
                  </a:lnTo>
                  <a:lnTo>
                    <a:pt x="88" y="98"/>
                  </a:lnTo>
                  <a:lnTo>
                    <a:pt x="92" y="98"/>
                  </a:lnTo>
                  <a:lnTo>
                    <a:pt x="92" y="102"/>
                  </a:lnTo>
                  <a:lnTo>
                    <a:pt x="94" y="107"/>
                  </a:lnTo>
                  <a:lnTo>
                    <a:pt x="96" y="107"/>
                  </a:lnTo>
                  <a:lnTo>
                    <a:pt x="96" y="109"/>
                  </a:lnTo>
                  <a:lnTo>
                    <a:pt x="97" y="109"/>
                  </a:lnTo>
                  <a:lnTo>
                    <a:pt x="98" y="110"/>
                  </a:lnTo>
                  <a:lnTo>
                    <a:pt x="96" y="113"/>
                  </a:lnTo>
                  <a:lnTo>
                    <a:pt x="93" y="113"/>
                  </a:lnTo>
                  <a:lnTo>
                    <a:pt x="93" y="116"/>
                  </a:lnTo>
                  <a:lnTo>
                    <a:pt x="94" y="116"/>
                  </a:lnTo>
                  <a:lnTo>
                    <a:pt x="94" y="117"/>
                  </a:lnTo>
                  <a:lnTo>
                    <a:pt x="97" y="117"/>
                  </a:lnTo>
                  <a:lnTo>
                    <a:pt x="99" y="120"/>
                  </a:lnTo>
                  <a:lnTo>
                    <a:pt x="102" y="120"/>
                  </a:lnTo>
                  <a:lnTo>
                    <a:pt x="104" y="115"/>
                  </a:lnTo>
                  <a:lnTo>
                    <a:pt x="104" y="113"/>
                  </a:lnTo>
                  <a:lnTo>
                    <a:pt x="103" y="111"/>
                  </a:lnTo>
                  <a:lnTo>
                    <a:pt x="100" y="111"/>
                  </a:lnTo>
                  <a:lnTo>
                    <a:pt x="100" y="107"/>
                  </a:lnTo>
                  <a:lnTo>
                    <a:pt x="102" y="107"/>
                  </a:lnTo>
                  <a:lnTo>
                    <a:pt x="102" y="105"/>
                  </a:lnTo>
                  <a:lnTo>
                    <a:pt x="105" y="105"/>
                  </a:lnTo>
                  <a:lnTo>
                    <a:pt x="106" y="107"/>
                  </a:lnTo>
                  <a:lnTo>
                    <a:pt x="106" y="108"/>
                  </a:lnTo>
                  <a:lnTo>
                    <a:pt x="109" y="109"/>
                  </a:lnTo>
                  <a:lnTo>
                    <a:pt x="112" y="110"/>
                  </a:lnTo>
                  <a:lnTo>
                    <a:pt x="114" y="110"/>
                  </a:lnTo>
                  <a:lnTo>
                    <a:pt x="114" y="111"/>
                  </a:lnTo>
                  <a:lnTo>
                    <a:pt x="112" y="111"/>
                  </a:lnTo>
                  <a:lnTo>
                    <a:pt x="112" y="113"/>
                  </a:lnTo>
                  <a:lnTo>
                    <a:pt x="111" y="115"/>
                  </a:lnTo>
                  <a:lnTo>
                    <a:pt x="114" y="113"/>
                  </a:lnTo>
                  <a:lnTo>
                    <a:pt x="115" y="110"/>
                  </a:lnTo>
                  <a:lnTo>
                    <a:pt x="114" y="107"/>
                  </a:lnTo>
                  <a:lnTo>
                    <a:pt x="112" y="107"/>
                  </a:lnTo>
                  <a:lnTo>
                    <a:pt x="112" y="104"/>
                  </a:lnTo>
                  <a:lnTo>
                    <a:pt x="111" y="103"/>
                  </a:lnTo>
                  <a:lnTo>
                    <a:pt x="111" y="98"/>
                  </a:lnTo>
                  <a:lnTo>
                    <a:pt x="112" y="95"/>
                  </a:lnTo>
                  <a:lnTo>
                    <a:pt x="114" y="90"/>
                  </a:lnTo>
                  <a:lnTo>
                    <a:pt x="115" y="88"/>
                  </a:lnTo>
                  <a:lnTo>
                    <a:pt x="116" y="86"/>
                  </a:lnTo>
                  <a:lnTo>
                    <a:pt x="117" y="86"/>
                  </a:lnTo>
                  <a:lnTo>
                    <a:pt x="118" y="85"/>
                  </a:lnTo>
                  <a:lnTo>
                    <a:pt x="122" y="89"/>
                  </a:lnTo>
                  <a:lnTo>
                    <a:pt x="123" y="89"/>
                  </a:lnTo>
                  <a:lnTo>
                    <a:pt x="127" y="90"/>
                  </a:lnTo>
                  <a:lnTo>
                    <a:pt x="129" y="90"/>
                  </a:lnTo>
                  <a:lnTo>
                    <a:pt x="131" y="89"/>
                  </a:lnTo>
                  <a:lnTo>
                    <a:pt x="134" y="90"/>
                  </a:lnTo>
                  <a:lnTo>
                    <a:pt x="134" y="89"/>
                  </a:lnTo>
                  <a:lnTo>
                    <a:pt x="137" y="88"/>
                  </a:lnTo>
                  <a:lnTo>
                    <a:pt x="145" y="88"/>
                  </a:lnTo>
                  <a:lnTo>
                    <a:pt x="146" y="89"/>
                  </a:lnTo>
                  <a:lnTo>
                    <a:pt x="149" y="96"/>
                  </a:lnTo>
                  <a:lnTo>
                    <a:pt x="153" y="99"/>
                  </a:lnTo>
                  <a:lnTo>
                    <a:pt x="153" y="101"/>
                  </a:lnTo>
                  <a:lnTo>
                    <a:pt x="154" y="102"/>
                  </a:lnTo>
                  <a:lnTo>
                    <a:pt x="156" y="107"/>
                  </a:lnTo>
                  <a:lnTo>
                    <a:pt x="158" y="107"/>
                  </a:lnTo>
                  <a:lnTo>
                    <a:pt x="158" y="108"/>
                  </a:lnTo>
                  <a:lnTo>
                    <a:pt x="160" y="108"/>
                  </a:lnTo>
                  <a:lnTo>
                    <a:pt x="165" y="110"/>
                  </a:lnTo>
                  <a:lnTo>
                    <a:pt x="168" y="110"/>
                  </a:lnTo>
                  <a:lnTo>
                    <a:pt x="167" y="109"/>
                  </a:lnTo>
                  <a:lnTo>
                    <a:pt x="166" y="109"/>
                  </a:lnTo>
                  <a:lnTo>
                    <a:pt x="162" y="108"/>
                  </a:lnTo>
                  <a:lnTo>
                    <a:pt x="160" y="108"/>
                  </a:lnTo>
                  <a:lnTo>
                    <a:pt x="156" y="104"/>
                  </a:lnTo>
                  <a:lnTo>
                    <a:pt x="155" y="102"/>
                  </a:lnTo>
                  <a:lnTo>
                    <a:pt x="155" y="98"/>
                  </a:lnTo>
                  <a:lnTo>
                    <a:pt x="153" y="97"/>
                  </a:lnTo>
                  <a:lnTo>
                    <a:pt x="152" y="97"/>
                  </a:lnTo>
                  <a:lnTo>
                    <a:pt x="150" y="96"/>
                  </a:lnTo>
                  <a:lnTo>
                    <a:pt x="150" y="93"/>
                  </a:lnTo>
                  <a:lnTo>
                    <a:pt x="149" y="91"/>
                  </a:lnTo>
                  <a:lnTo>
                    <a:pt x="149" y="90"/>
                  </a:lnTo>
                  <a:lnTo>
                    <a:pt x="148" y="90"/>
                  </a:lnTo>
                  <a:lnTo>
                    <a:pt x="146" y="88"/>
                  </a:lnTo>
                  <a:lnTo>
                    <a:pt x="143" y="86"/>
                  </a:lnTo>
                  <a:lnTo>
                    <a:pt x="142" y="86"/>
                  </a:lnTo>
                  <a:lnTo>
                    <a:pt x="136" y="85"/>
                  </a:lnTo>
                  <a:lnTo>
                    <a:pt x="133" y="85"/>
                  </a:lnTo>
                  <a:lnTo>
                    <a:pt x="130" y="84"/>
                  </a:lnTo>
                  <a:lnTo>
                    <a:pt x="129" y="83"/>
                  </a:lnTo>
                  <a:lnTo>
                    <a:pt x="125" y="76"/>
                  </a:lnTo>
                  <a:lnTo>
                    <a:pt x="128" y="74"/>
                  </a:lnTo>
                  <a:lnTo>
                    <a:pt x="129" y="74"/>
                  </a:lnTo>
                  <a:lnTo>
                    <a:pt x="131" y="77"/>
                  </a:lnTo>
                  <a:lnTo>
                    <a:pt x="133" y="76"/>
                  </a:lnTo>
                  <a:lnTo>
                    <a:pt x="133" y="74"/>
                  </a:lnTo>
                  <a:lnTo>
                    <a:pt x="134" y="73"/>
                  </a:lnTo>
                  <a:lnTo>
                    <a:pt x="134" y="71"/>
                  </a:lnTo>
                  <a:lnTo>
                    <a:pt x="131" y="68"/>
                  </a:lnTo>
                  <a:lnTo>
                    <a:pt x="131" y="67"/>
                  </a:lnTo>
                  <a:lnTo>
                    <a:pt x="129" y="67"/>
                  </a:lnTo>
                  <a:lnTo>
                    <a:pt x="128" y="68"/>
                  </a:lnTo>
                  <a:lnTo>
                    <a:pt x="127" y="68"/>
                  </a:lnTo>
                  <a:lnTo>
                    <a:pt x="125" y="67"/>
                  </a:lnTo>
                  <a:lnTo>
                    <a:pt x="125" y="65"/>
                  </a:lnTo>
                  <a:lnTo>
                    <a:pt x="124" y="65"/>
                  </a:lnTo>
                  <a:lnTo>
                    <a:pt x="125" y="64"/>
                  </a:lnTo>
                  <a:lnTo>
                    <a:pt x="125" y="62"/>
                  </a:lnTo>
                  <a:lnTo>
                    <a:pt x="127" y="61"/>
                  </a:lnTo>
                  <a:lnTo>
                    <a:pt x="125" y="60"/>
                  </a:lnTo>
                  <a:lnTo>
                    <a:pt x="127" y="59"/>
                  </a:lnTo>
                  <a:lnTo>
                    <a:pt x="129" y="59"/>
                  </a:lnTo>
                  <a:lnTo>
                    <a:pt x="129" y="58"/>
                  </a:lnTo>
                  <a:lnTo>
                    <a:pt x="130" y="58"/>
                  </a:lnTo>
                  <a:lnTo>
                    <a:pt x="130" y="56"/>
                  </a:lnTo>
                  <a:lnTo>
                    <a:pt x="131" y="55"/>
                  </a:lnTo>
                  <a:lnTo>
                    <a:pt x="130" y="55"/>
                  </a:lnTo>
                  <a:lnTo>
                    <a:pt x="129" y="56"/>
                  </a:lnTo>
                  <a:lnTo>
                    <a:pt x="121" y="56"/>
                  </a:lnTo>
                  <a:lnTo>
                    <a:pt x="119" y="59"/>
                  </a:lnTo>
                  <a:lnTo>
                    <a:pt x="116" y="55"/>
                  </a:lnTo>
                  <a:lnTo>
                    <a:pt x="116" y="53"/>
                  </a:lnTo>
                  <a:lnTo>
                    <a:pt x="117" y="52"/>
                  </a:lnTo>
                  <a:lnTo>
                    <a:pt x="119" y="52"/>
                  </a:lnTo>
                  <a:lnTo>
                    <a:pt x="118" y="51"/>
                  </a:lnTo>
                  <a:lnTo>
                    <a:pt x="117" y="52"/>
                  </a:lnTo>
                  <a:lnTo>
                    <a:pt x="117" y="49"/>
                  </a:lnTo>
                  <a:lnTo>
                    <a:pt x="118" y="48"/>
                  </a:lnTo>
                  <a:lnTo>
                    <a:pt x="118" y="49"/>
                  </a:lnTo>
                  <a:lnTo>
                    <a:pt x="122" y="48"/>
                  </a:lnTo>
                  <a:lnTo>
                    <a:pt x="128" y="48"/>
                  </a:lnTo>
                  <a:lnTo>
                    <a:pt x="130" y="46"/>
                  </a:lnTo>
                  <a:lnTo>
                    <a:pt x="133" y="45"/>
                  </a:lnTo>
                  <a:lnTo>
                    <a:pt x="133" y="40"/>
                  </a:lnTo>
                  <a:lnTo>
                    <a:pt x="128" y="35"/>
                  </a:lnTo>
                  <a:lnTo>
                    <a:pt x="128" y="34"/>
                  </a:lnTo>
                  <a:lnTo>
                    <a:pt x="125" y="34"/>
                  </a:lnTo>
                  <a:lnTo>
                    <a:pt x="127" y="33"/>
                  </a:lnTo>
                  <a:lnTo>
                    <a:pt x="125" y="29"/>
                  </a:lnTo>
                  <a:lnTo>
                    <a:pt x="124" y="28"/>
                  </a:lnTo>
                  <a:lnTo>
                    <a:pt x="123" y="28"/>
                  </a:lnTo>
                  <a:lnTo>
                    <a:pt x="119" y="24"/>
                  </a:lnTo>
                  <a:lnTo>
                    <a:pt x="119" y="22"/>
                  </a:lnTo>
                  <a:lnTo>
                    <a:pt x="118" y="19"/>
                  </a:lnTo>
                  <a:lnTo>
                    <a:pt x="118" y="18"/>
                  </a:lnTo>
                  <a:lnTo>
                    <a:pt x="117" y="17"/>
                  </a:lnTo>
                  <a:lnTo>
                    <a:pt x="118" y="15"/>
                  </a:lnTo>
                  <a:lnTo>
                    <a:pt x="118" y="13"/>
                  </a:lnTo>
                  <a:lnTo>
                    <a:pt x="122" y="13"/>
                  </a:lnTo>
                  <a:lnTo>
                    <a:pt x="124" y="12"/>
                  </a:lnTo>
                  <a:close/>
                  <a:moveTo>
                    <a:pt x="108" y="0"/>
                  </a:moveTo>
                  <a:lnTo>
                    <a:pt x="110" y="2"/>
                  </a:lnTo>
                  <a:lnTo>
                    <a:pt x="108" y="2"/>
                  </a:lnTo>
                  <a:lnTo>
                    <a:pt x="109" y="3"/>
                  </a:lnTo>
                  <a:lnTo>
                    <a:pt x="109" y="4"/>
                  </a:lnTo>
                  <a:lnTo>
                    <a:pt x="106" y="5"/>
                  </a:lnTo>
                  <a:lnTo>
                    <a:pt x="105" y="6"/>
                  </a:lnTo>
                  <a:lnTo>
                    <a:pt x="105" y="11"/>
                  </a:lnTo>
                  <a:lnTo>
                    <a:pt x="106" y="13"/>
                  </a:lnTo>
                  <a:lnTo>
                    <a:pt x="111" y="13"/>
                  </a:lnTo>
                  <a:lnTo>
                    <a:pt x="110" y="15"/>
                  </a:lnTo>
                  <a:lnTo>
                    <a:pt x="104" y="15"/>
                  </a:lnTo>
                  <a:lnTo>
                    <a:pt x="103" y="16"/>
                  </a:lnTo>
                  <a:lnTo>
                    <a:pt x="103" y="24"/>
                  </a:lnTo>
                  <a:lnTo>
                    <a:pt x="102" y="23"/>
                  </a:lnTo>
                  <a:lnTo>
                    <a:pt x="102" y="21"/>
                  </a:lnTo>
                  <a:lnTo>
                    <a:pt x="103" y="13"/>
                  </a:lnTo>
                  <a:lnTo>
                    <a:pt x="103" y="12"/>
                  </a:lnTo>
                  <a:lnTo>
                    <a:pt x="106" y="3"/>
                  </a:lnTo>
                  <a:lnTo>
                    <a:pt x="108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42">
              <a:extLst>
                <a:ext uri="{FF2B5EF4-FFF2-40B4-BE49-F238E27FC236}">
                  <a16:creationId xmlns:a16="http://schemas.microsoft.com/office/drawing/2014/main" id="{18535831-AF3D-4E7F-B2F0-0D1BB387972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24713" y="5083175"/>
              <a:ext cx="449263" cy="230188"/>
            </a:xfrm>
            <a:custGeom>
              <a:avLst/>
              <a:gdLst/>
              <a:ahLst/>
              <a:cxnLst>
                <a:cxn ang="0">
                  <a:pos x="26" y="2"/>
                </a:cxn>
                <a:cxn ang="0">
                  <a:pos x="43" y="12"/>
                </a:cxn>
                <a:cxn ang="0">
                  <a:pos x="60" y="17"/>
                </a:cxn>
                <a:cxn ang="0">
                  <a:pos x="73" y="22"/>
                </a:cxn>
                <a:cxn ang="0">
                  <a:pos x="103" y="20"/>
                </a:cxn>
                <a:cxn ang="0">
                  <a:pos x="112" y="24"/>
                </a:cxn>
                <a:cxn ang="0">
                  <a:pos x="126" y="30"/>
                </a:cxn>
                <a:cxn ang="0">
                  <a:pos x="143" y="41"/>
                </a:cxn>
                <a:cxn ang="0">
                  <a:pos x="161" y="48"/>
                </a:cxn>
                <a:cxn ang="0">
                  <a:pos x="161" y="57"/>
                </a:cxn>
                <a:cxn ang="0">
                  <a:pos x="169" y="56"/>
                </a:cxn>
                <a:cxn ang="0">
                  <a:pos x="181" y="50"/>
                </a:cxn>
                <a:cxn ang="0">
                  <a:pos x="200" y="51"/>
                </a:cxn>
                <a:cxn ang="0">
                  <a:pos x="204" y="50"/>
                </a:cxn>
                <a:cxn ang="0">
                  <a:pos x="217" y="50"/>
                </a:cxn>
                <a:cxn ang="0">
                  <a:pos x="229" y="61"/>
                </a:cxn>
                <a:cxn ang="0">
                  <a:pos x="237" y="78"/>
                </a:cxn>
                <a:cxn ang="0">
                  <a:pos x="250" y="90"/>
                </a:cxn>
                <a:cxn ang="0">
                  <a:pos x="256" y="91"/>
                </a:cxn>
                <a:cxn ang="0">
                  <a:pos x="266" y="94"/>
                </a:cxn>
                <a:cxn ang="0">
                  <a:pos x="266" y="105"/>
                </a:cxn>
                <a:cxn ang="0">
                  <a:pos x="263" y="113"/>
                </a:cxn>
                <a:cxn ang="0">
                  <a:pos x="269" y="121"/>
                </a:cxn>
                <a:cxn ang="0">
                  <a:pos x="280" y="128"/>
                </a:cxn>
                <a:cxn ang="0">
                  <a:pos x="280" y="141"/>
                </a:cxn>
                <a:cxn ang="0">
                  <a:pos x="272" y="142"/>
                </a:cxn>
                <a:cxn ang="0">
                  <a:pos x="253" y="137"/>
                </a:cxn>
                <a:cxn ang="0">
                  <a:pos x="241" y="129"/>
                </a:cxn>
                <a:cxn ang="0">
                  <a:pos x="228" y="123"/>
                </a:cxn>
                <a:cxn ang="0">
                  <a:pos x="210" y="131"/>
                </a:cxn>
                <a:cxn ang="0">
                  <a:pos x="205" y="134"/>
                </a:cxn>
                <a:cxn ang="0">
                  <a:pos x="192" y="137"/>
                </a:cxn>
                <a:cxn ang="0">
                  <a:pos x="187" y="137"/>
                </a:cxn>
                <a:cxn ang="0">
                  <a:pos x="178" y="134"/>
                </a:cxn>
                <a:cxn ang="0">
                  <a:pos x="170" y="137"/>
                </a:cxn>
                <a:cxn ang="0">
                  <a:pos x="151" y="140"/>
                </a:cxn>
                <a:cxn ang="0">
                  <a:pos x="141" y="136"/>
                </a:cxn>
                <a:cxn ang="0">
                  <a:pos x="131" y="133"/>
                </a:cxn>
                <a:cxn ang="0">
                  <a:pos x="130" y="128"/>
                </a:cxn>
                <a:cxn ang="0">
                  <a:pos x="122" y="119"/>
                </a:cxn>
                <a:cxn ang="0">
                  <a:pos x="118" y="117"/>
                </a:cxn>
                <a:cxn ang="0">
                  <a:pos x="109" y="118"/>
                </a:cxn>
                <a:cxn ang="0">
                  <a:pos x="93" y="119"/>
                </a:cxn>
                <a:cxn ang="0">
                  <a:pos x="78" y="123"/>
                </a:cxn>
                <a:cxn ang="0">
                  <a:pos x="72" y="119"/>
                </a:cxn>
                <a:cxn ang="0">
                  <a:pos x="72" y="110"/>
                </a:cxn>
                <a:cxn ang="0">
                  <a:pos x="73" y="87"/>
                </a:cxn>
                <a:cxn ang="0">
                  <a:pos x="64" y="54"/>
                </a:cxn>
                <a:cxn ang="0">
                  <a:pos x="49" y="45"/>
                </a:cxn>
                <a:cxn ang="0">
                  <a:pos x="37" y="30"/>
                </a:cxn>
                <a:cxn ang="0">
                  <a:pos x="16" y="24"/>
                </a:cxn>
                <a:cxn ang="0">
                  <a:pos x="11" y="16"/>
                </a:cxn>
                <a:cxn ang="0">
                  <a:pos x="1" y="11"/>
                </a:cxn>
                <a:cxn ang="0">
                  <a:pos x="7" y="0"/>
                </a:cxn>
              </a:cxnLst>
              <a:rect l="0" t="0" r="r" b="b"/>
              <a:pathLst>
                <a:path w="283" h="145">
                  <a:moveTo>
                    <a:pt x="7" y="0"/>
                  </a:moveTo>
                  <a:lnTo>
                    <a:pt x="11" y="0"/>
                  </a:lnTo>
                  <a:lnTo>
                    <a:pt x="20" y="4"/>
                  </a:lnTo>
                  <a:lnTo>
                    <a:pt x="23" y="5"/>
                  </a:lnTo>
                  <a:lnTo>
                    <a:pt x="24" y="4"/>
                  </a:lnTo>
                  <a:lnTo>
                    <a:pt x="26" y="2"/>
                  </a:lnTo>
                  <a:lnTo>
                    <a:pt x="29" y="2"/>
                  </a:lnTo>
                  <a:lnTo>
                    <a:pt x="30" y="4"/>
                  </a:lnTo>
                  <a:lnTo>
                    <a:pt x="32" y="5"/>
                  </a:lnTo>
                  <a:lnTo>
                    <a:pt x="36" y="6"/>
                  </a:lnTo>
                  <a:lnTo>
                    <a:pt x="37" y="7"/>
                  </a:lnTo>
                  <a:lnTo>
                    <a:pt x="43" y="12"/>
                  </a:lnTo>
                  <a:lnTo>
                    <a:pt x="50" y="12"/>
                  </a:lnTo>
                  <a:lnTo>
                    <a:pt x="51" y="13"/>
                  </a:lnTo>
                  <a:lnTo>
                    <a:pt x="53" y="13"/>
                  </a:lnTo>
                  <a:lnTo>
                    <a:pt x="55" y="14"/>
                  </a:lnTo>
                  <a:lnTo>
                    <a:pt x="60" y="14"/>
                  </a:lnTo>
                  <a:lnTo>
                    <a:pt x="60" y="17"/>
                  </a:lnTo>
                  <a:lnTo>
                    <a:pt x="61" y="17"/>
                  </a:lnTo>
                  <a:lnTo>
                    <a:pt x="63" y="18"/>
                  </a:lnTo>
                  <a:lnTo>
                    <a:pt x="67" y="22"/>
                  </a:lnTo>
                  <a:lnTo>
                    <a:pt x="69" y="22"/>
                  </a:lnTo>
                  <a:lnTo>
                    <a:pt x="72" y="20"/>
                  </a:lnTo>
                  <a:lnTo>
                    <a:pt x="73" y="22"/>
                  </a:lnTo>
                  <a:lnTo>
                    <a:pt x="82" y="22"/>
                  </a:lnTo>
                  <a:lnTo>
                    <a:pt x="85" y="23"/>
                  </a:lnTo>
                  <a:lnTo>
                    <a:pt x="88" y="23"/>
                  </a:lnTo>
                  <a:lnTo>
                    <a:pt x="92" y="22"/>
                  </a:lnTo>
                  <a:lnTo>
                    <a:pt x="93" y="20"/>
                  </a:lnTo>
                  <a:lnTo>
                    <a:pt x="103" y="20"/>
                  </a:lnTo>
                  <a:lnTo>
                    <a:pt x="105" y="22"/>
                  </a:lnTo>
                  <a:lnTo>
                    <a:pt x="107" y="24"/>
                  </a:lnTo>
                  <a:lnTo>
                    <a:pt x="110" y="25"/>
                  </a:lnTo>
                  <a:lnTo>
                    <a:pt x="111" y="26"/>
                  </a:lnTo>
                  <a:lnTo>
                    <a:pt x="112" y="25"/>
                  </a:lnTo>
                  <a:lnTo>
                    <a:pt x="112" y="24"/>
                  </a:lnTo>
                  <a:lnTo>
                    <a:pt x="120" y="24"/>
                  </a:lnTo>
                  <a:lnTo>
                    <a:pt x="123" y="26"/>
                  </a:lnTo>
                  <a:lnTo>
                    <a:pt x="124" y="26"/>
                  </a:lnTo>
                  <a:lnTo>
                    <a:pt x="128" y="27"/>
                  </a:lnTo>
                  <a:lnTo>
                    <a:pt x="128" y="29"/>
                  </a:lnTo>
                  <a:lnTo>
                    <a:pt x="126" y="30"/>
                  </a:lnTo>
                  <a:lnTo>
                    <a:pt x="126" y="31"/>
                  </a:lnTo>
                  <a:lnTo>
                    <a:pt x="128" y="31"/>
                  </a:lnTo>
                  <a:lnTo>
                    <a:pt x="134" y="37"/>
                  </a:lnTo>
                  <a:lnTo>
                    <a:pt x="135" y="37"/>
                  </a:lnTo>
                  <a:lnTo>
                    <a:pt x="136" y="38"/>
                  </a:lnTo>
                  <a:lnTo>
                    <a:pt x="143" y="41"/>
                  </a:lnTo>
                  <a:lnTo>
                    <a:pt x="148" y="42"/>
                  </a:lnTo>
                  <a:lnTo>
                    <a:pt x="149" y="42"/>
                  </a:lnTo>
                  <a:lnTo>
                    <a:pt x="151" y="43"/>
                  </a:lnTo>
                  <a:lnTo>
                    <a:pt x="155" y="47"/>
                  </a:lnTo>
                  <a:lnTo>
                    <a:pt x="159" y="48"/>
                  </a:lnTo>
                  <a:lnTo>
                    <a:pt x="161" y="48"/>
                  </a:lnTo>
                  <a:lnTo>
                    <a:pt x="161" y="51"/>
                  </a:lnTo>
                  <a:lnTo>
                    <a:pt x="159" y="53"/>
                  </a:lnTo>
                  <a:lnTo>
                    <a:pt x="157" y="54"/>
                  </a:lnTo>
                  <a:lnTo>
                    <a:pt x="157" y="55"/>
                  </a:lnTo>
                  <a:lnTo>
                    <a:pt x="159" y="56"/>
                  </a:lnTo>
                  <a:lnTo>
                    <a:pt x="161" y="57"/>
                  </a:lnTo>
                  <a:lnTo>
                    <a:pt x="165" y="57"/>
                  </a:lnTo>
                  <a:lnTo>
                    <a:pt x="167" y="60"/>
                  </a:lnTo>
                  <a:lnTo>
                    <a:pt x="168" y="60"/>
                  </a:lnTo>
                  <a:lnTo>
                    <a:pt x="168" y="59"/>
                  </a:lnTo>
                  <a:lnTo>
                    <a:pt x="169" y="57"/>
                  </a:lnTo>
                  <a:lnTo>
                    <a:pt x="169" y="56"/>
                  </a:lnTo>
                  <a:lnTo>
                    <a:pt x="172" y="56"/>
                  </a:lnTo>
                  <a:lnTo>
                    <a:pt x="175" y="55"/>
                  </a:lnTo>
                  <a:lnTo>
                    <a:pt x="178" y="55"/>
                  </a:lnTo>
                  <a:lnTo>
                    <a:pt x="179" y="54"/>
                  </a:lnTo>
                  <a:lnTo>
                    <a:pt x="180" y="51"/>
                  </a:lnTo>
                  <a:lnTo>
                    <a:pt x="181" y="50"/>
                  </a:lnTo>
                  <a:lnTo>
                    <a:pt x="186" y="50"/>
                  </a:lnTo>
                  <a:lnTo>
                    <a:pt x="190" y="48"/>
                  </a:lnTo>
                  <a:lnTo>
                    <a:pt x="194" y="48"/>
                  </a:lnTo>
                  <a:lnTo>
                    <a:pt x="197" y="49"/>
                  </a:lnTo>
                  <a:lnTo>
                    <a:pt x="198" y="49"/>
                  </a:lnTo>
                  <a:lnTo>
                    <a:pt x="200" y="51"/>
                  </a:lnTo>
                  <a:lnTo>
                    <a:pt x="200" y="53"/>
                  </a:lnTo>
                  <a:lnTo>
                    <a:pt x="201" y="55"/>
                  </a:lnTo>
                  <a:lnTo>
                    <a:pt x="201" y="56"/>
                  </a:lnTo>
                  <a:lnTo>
                    <a:pt x="203" y="56"/>
                  </a:lnTo>
                  <a:lnTo>
                    <a:pt x="203" y="53"/>
                  </a:lnTo>
                  <a:lnTo>
                    <a:pt x="204" y="50"/>
                  </a:lnTo>
                  <a:lnTo>
                    <a:pt x="205" y="49"/>
                  </a:lnTo>
                  <a:lnTo>
                    <a:pt x="205" y="48"/>
                  </a:lnTo>
                  <a:lnTo>
                    <a:pt x="207" y="48"/>
                  </a:lnTo>
                  <a:lnTo>
                    <a:pt x="212" y="51"/>
                  </a:lnTo>
                  <a:lnTo>
                    <a:pt x="216" y="51"/>
                  </a:lnTo>
                  <a:lnTo>
                    <a:pt x="217" y="50"/>
                  </a:lnTo>
                  <a:lnTo>
                    <a:pt x="219" y="53"/>
                  </a:lnTo>
                  <a:lnTo>
                    <a:pt x="223" y="57"/>
                  </a:lnTo>
                  <a:lnTo>
                    <a:pt x="224" y="59"/>
                  </a:lnTo>
                  <a:lnTo>
                    <a:pt x="224" y="60"/>
                  </a:lnTo>
                  <a:lnTo>
                    <a:pt x="225" y="61"/>
                  </a:lnTo>
                  <a:lnTo>
                    <a:pt x="229" y="61"/>
                  </a:lnTo>
                  <a:lnTo>
                    <a:pt x="231" y="60"/>
                  </a:lnTo>
                  <a:lnTo>
                    <a:pt x="234" y="60"/>
                  </a:lnTo>
                  <a:lnTo>
                    <a:pt x="241" y="62"/>
                  </a:lnTo>
                  <a:lnTo>
                    <a:pt x="243" y="65"/>
                  </a:lnTo>
                  <a:lnTo>
                    <a:pt x="242" y="66"/>
                  </a:lnTo>
                  <a:lnTo>
                    <a:pt x="237" y="78"/>
                  </a:lnTo>
                  <a:lnTo>
                    <a:pt x="241" y="81"/>
                  </a:lnTo>
                  <a:lnTo>
                    <a:pt x="246" y="84"/>
                  </a:lnTo>
                  <a:lnTo>
                    <a:pt x="249" y="85"/>
                  </a:lnTo>
                  <a:lnTo>
                    <a:pt x="249" y="86"/>
                  </a:lnTo>
                  <a:lnTo>
                    <a:pt x="250" y="88"/>
                  </a:lnTo>
                  <a:lnTo>
                    <a:pt x="250" y="90"/>
                  </a:lnTo>
                  <a:lnTo>
                    <a:pt x="253" y="90"/>
                  </a:lnTo>
                  <a:lnTo>
                    <a:pt x="253" y="88"/>
                  </a:lnTo>
                  <a:lnTo>
                    <a:pt x="254" y="88"/>
                  </a:lnTo>
                  <a:lnTo>
                    <a:pt x="254" y="90"/>
                  </a:lnTo>
                  <a:lnTo>
                    <a:pt x="256" y="90"/>
                  </a:lnTo>
                  <a:lnTo>
                    <a:pt x="256" y="91"/>
                  </a:lnTo>
                  <a:lnTo>
                    <a:pt x="258" y="92"/>
                  </a:lnTo>
                  <a:lnTo>
                    <a:pt x="259" y="92"/>
                  </a:lnTo>
                  <a:lnTo>
                    <a:pt x="261" y="91"/>
                  </a:lnTo>
                  <a:lnTo>
                    <a:pt x="263" y="91"/>
                  </a:lnTo>
                  <a:lnTo>
                    <a:pt x="265" y="92"/>
                  </a:lnTo>
                  <a:lnTo>
                    <a:pt x="266" y="94"/>
                  </a:lnTo>
                  <a:lnTo>
                    <a:pt x="267" y="94"/>
                  </a:lnTo>
                  <a:lnTo>
                    <a:pt x="269" y="96"/>
                  </a:lnTo>
                  <a:lnTo>
                    <a:pt x="271" y="96"/>
                  </a:lnTo>
                  <a:lnTo>
                    <a:pt x="272" y="97"/>
                  </a:lnTo>
                  <a:lnTo>
                    <a:pt x="271" y="100"/>
                  </a:lnTo>
                  <a:lnTo>
                    <a:pt x="266" y="105"/>
                  </a:lnTo>
                  <a:lnTo>
                    <a:pt x="263" y="104"/>
                  </a:lnTo>
                  <a:lnTo>
                    <a:pt x="262" y="105"/>
                  </a:lnTo>
                  <a:lnTo>
                    <a:pt x="261" y="108"/>
                  </a:lnTo>
                  <a:lnTo>
                    <a:pt x="261" y="110"/>
                  </a:lnTo>
                  <a:lnTo>
                    <a:pt x="262" y="112"/>
                  </a:lnTo>
                  <a:lnTo>
                    <a:pt x="263" y="113"/>
                  </a:lnTo>
                  <a:lnTo>
                    <a:pt x="263" y="112"/>
                  </a:lnTo>
                  <a:lnTo>
                    <a:pt x="265" y="112"/>
                  </a:lnTo>
                  <a:lnTo>
                    <a:pt x="266" y="115"/>
                  </a:lnTo>
                  <a:lnTo>
                    <a:pt x="266" y="118"/>
                  </a:lnTo>
                  <a:lnTo>
                    <a:pt x="267" y="119"/>
                  </a:lnTo>
                  <a:lnTo>
                    <a:pt x="269" y="121"/>
                  </a:lnTo>
                  <a:lnTo>
                    <a:pt x="271" y="122"/>
                  </a:lnTo>
                  <a:lnTo>
                    <a:pt x="273" y="123"/>
                  </a:lnTo>
                  <a:lnTo>
                    <a:pt x="277" y="125"/>
                  </a:lnTo>
                  <a:lnTo>
                    <a:pt x="279" y="127"/>
                  </a:lnTo>
                  <a:lnTo>
                    <a:pt x="279" y="128"/>
                  </a:lnTo>
                  <a:lnTo>
                    <a:pt x="280" y="128"/>
                  </a:lnTo>
                  <a:lnTo>
                    <a:pt x="281" y="129"/>
                  </a:lnTo>
                  <a:lnTo>
                    <a:pt x="283" y="131"/>
                  </a:lnTo>
                  <a:lnTo>
                    <a:pt x="283" y="134"/>
                  </a:lnTo>
                  <a:lnTo>
                    <a:pt x="281" y="135"/>
                  </a:lnTo>
                  <a:lnTo>
                    <a:pt x="280" y="137"/>
                  </a:lnTo>
                  <a:lnTo>
                    <a:pt x="280" y="141"/>
                  </a:lnTo>
                  <a:lnTo>
                    <a:pt x="279" y="142"/>
                  </a:lnTo>
                  <a:lnTo>
                    <a:pt x="275" y="142"/>
                  </a:lnTo>
                  <a:lnTo>
                    <a:pt x="275" y="143"/>
                  </a:lnTo>
                  <a:lnTo>
                    <a:pt x="274" y="145"/>
                  </a:lnTo>
                  <a:lnTo>
                    <a:pt x="273" y="145"/>
                  </a:lnTo>
                  <a:lnTo>
                    <a:pt x="272" y="142"/>
                  </a:lnTo>
                  <a:lnTo>
                    <a:pt x="271" y="142"/>
                  </a:lnTo>
                  <a:lnTo>
                    <a:pt x="268" y="141"/>
                  </a:lnTo>
                  <a:lnTo>
                    <a:pt x="263" y="136"/>
                  </a:lnTo>
                  <a:lnTo>
                    <a:pt x="258" y="136"/>
                  </a:lnTo>
                  <a:lnTo>
                    <a:pt x="256" y="137"/>
                  </a:lnTo>
                  <a:lnTo>
                    <a:pt x="253" y="137"/>
                  </a:lnTo>
                  <a:lnTo>
                    <a:pt x="246" y="135"/>
                  </a:lnTo>
                  <a:lnTo>
                    <a:pt x="244" y="134"/>
                  </a:lnTo>
                  <a:lnTo>
                    <a:pt x="243" y="134"/>
                  </a:lnTo>
                  <a:lnTo>
                    <a:pt x="242" y="133"/>
                  </a:lnTo>
                  <a:lnTo>
                    <a:pt x="241" y="130"/>
                  </a:lnTo>
                  <a:lnTo>
                    <a:pt x="241" y="129"/>
                  </a:lnTo>
                  <a:lnTo>
                    <a:pt x="243" y="129"/>
                  </a:lnTo>
                  <a:lnTo>
                    <a:pt x="243" y="128"/>
                  </a:lnTo>
                  <a:lnTo>
                    <a:pt x="240" y="128"/>
                  </a:lnTo>
                  <a:lnTo>
                    <a:pt x="234" y="125"/>
                  </a:lnTo>
                  <a:lnTo>
                    <a:pt x="231" y="123"/>
                  </a:lnTo>
                  <a:lnTo>
                    <a:pt x="228" y="123"/>
                  </a:lnTo>
                  <a:lnTo>
                    <a:pt x="225" y="122"/>
                  </a:lnTo>
                  <a:lnTo>
                    <a:pt x="222" y="122"/>
                  </a:lnTo>
                  <a:lnTo>
                    <a:pt x="216" y="128"/>
                  </a:lnTo>
                  <a:lnTo>
                    <a:pt x="212" y="130"/>
                  </a:lnTo>
                  <a:lnTo>
                    <a:pt x="211" y="131"/>
                  </a:lnTo>
                  <a:lnTo>
                    <a:pt x="210" y="131"/>
                  </a:lnTo>
                  <a:lnTo>
                    <a:pt x="210" y="133"/>
                  </a:lnTo>
                  <a:lnTo>
                    <a:pt x="207" y="133"/>
                  </a:lnTo>
                  <a:lnTo>
                    <a:pt x="204" y="131"/>
                  </a:lnTo>
                  <a:lnTo>
                    <a:pt x="203" y="133"/>
                  </a:lnTo>
                  <a:lnTo>
                    <a:pt x="204" y="134"/>
                  </a:lnTo>
                  <a:lnTo>
                    <a:pt x="205" y="134"/>
                  </a:lnTo>
                  <a:lnTo>
                    <a:pt x="205" y="135"/>
                  </a:lnTo>
                  <a:lnTo>
                    <a:pt x="194" y="135"/>
                  </a:lnTo>
                  <a:lnTo>
                    <a:pt x="194" y="136"/>
                  </a:lnTo>
                  <a:lnTo>
                    <a:pt x="193" y="136"/>
                  </a:lnTo>
                  <a:lnTo>
                    <a:pt x="193" y="137"/>
                  </a:lnTo>
                  <a:lnTo>
                    <a:pt x="192" y="137"/>
                  </a:lnTo>
                  <a:lnTo>
                    <a:pt x="192" y="136"/>
                  </a:lnTo>
                  <a:lnTo>
                    <a:pt x="191" y="135"/>
                  </a:lnTo>
                  <a:lnTo>
                    <a:pt x="191" y="136"/>
                  </a:lnTo>
                  <a:lnTo>
                    <a:pt x="190" y="136"/>
                  </a:lnTo>
                  <a:lnTo>
                    <a:pt x="188" y="137"/>
                  </a:lnTo>
                  <a:lnTo>
                    <a:pt x="187" y="137"/>
                  </a:lnTo>
                  <a:lnTo>
                    <a:pt x="187" y="136"/>
                  </a:lnTo>
                  <a:lnTo>
                    <a:pt x="185" y="135"/>
                  </a:lnTo>
                  <a:lnTo>
                    <a:pt x="184" y="135"/>
                  </a:lnTo>
                  <a:lnTo>
                    <a:pt x="182" y="136"/>
                  </a:lnTo>
                  <a:lnTo>
                    <a:pt x="180" y="136"/>
                  </a:lnTo>
                  <a:lnTo>
                    <a:pt x="178" y="134"/>
                  </a:lnTo>
                  <a:lnTo>
                    <a:pt x="176" y="134"/>
                  </a:lnTo>
                  <a:lnTo>
                    <a:pt x="176" y="136"/>
                  </a:lnTo>
                  <a:lnTo>
                    <a:pt x="175" y="136"/>
                  </a:lnTo>
                  <a:lnTo>
                    <a:pt x="174" y="137"/>
                  </a:lnTo>
                  <a:lnTo>
                    <a:pt x="172" y="136"/>
                  </a:lnTo>
                  <a:lnTo>
                    <a:pt x="170" y="137"/>
                  </a:lnTo>
                  <a:lnTo>
                    <a:pt x="168" y="137"/>
                  </a:lnTo>
                  <a:lnTo>
                    <a:pt x="167" y="139"/>
                  </a:lnTo>
                  <a:lnTo>
                    <a:pt x="162" y="139"/>
                  </a:lnTo>
                  <a:lnTo>
                    <a:pt x="160" y="141"/>
                  </a:lnTo>
                  <a:lnTo>
                    <a:pt x="157" y="141"/>
                  </a:lnTo>
                  <a:lnTo>
                    <a:pt x="151" y="140"/>
                  </a:lnTo>
                  <a:lnTo>
                    <a:pt x="149" y="140"/>
                  </a:lnTo>
                  <a:lnTo>
                    <a:pt x="147" y="141"/>
                  </a:lnTo>
                  <a:lnTo>
                    <a:pt x="145" y="141"/>
                  </a:lnTo>
                  <a:lnTo>
                    <a:pt x="147" y="140"/>
                  </a:lnTo>
                  <a:lnTo>
                    <a:pt x="143" y="136"/>
                  </a:lnTo>
                  <a:lnTo>
                    <a:pt x="141" y="136"/>
                  </a:lnTo>
                  <a:lnTo>
                    <a:pt x="137" y="137"/>
                  </a:lnTo>
                  <a:lnTo>
                    <a:pt x="136" y="137"/>
                  </a:lnTo>
                  <a:lnTo>
                    <a:pt x="135" y="135"/>
                  </a:lnTo>
                  <a:lnTo>
                    <a:pt x="135" y="134"/>
                  </a:lnTo>
                  <a:lnTo>
                    <a:pt x="132" y="134"/>
                  </a:lnTo>
                  <a:lnTo>
                    <a:pt x="131" y="133"/>
                  </a:lnTo>
                  <a:lnTo>
                    <a:pt x="134" y="131"/>
                  </a:lnTo>
                  <a:lnTo>
                    <a:pt x="135" y="131"/>
                  </a:lnTo>
                  <a:lnTo>
                    <a:pt x="135" y="130"/>
                  </a:lnTo>
                  <a:lnTo>
                    <a:pt x="134" y="130"/>
                  </a:lnTo>
                  <a:lnTo>
                    <a:pt x="132" y="129"/>
                  </a:lnTo>
                  <a:lnTo>
                    <a:pt x="130" y="128"/>
                  </a:lnTo>
                  <a:lnTo>
                    <a:pt x="128" y="125"/>
                  </a:lnTo>
                  <a:lnTo>
                    <a:pt x="126" y="125"/>
                  </a:lnTo>
                  <a:lnTo>
                    <a:pt x="125" y="123"/>
                  </a:lnTo>
                  <a:lnTo>
                    <a:pt x="125" y="122"/>
                  </a:lnTo>
                  <a:lnTo>
                    <a:pt x="124" y="122"/>
                  </a:lnTo>
                  <a:lnTo>
                    <a:pt x="122" y="119"/>
                  </a:lnTo>
                  <a:lnTo>
                    <a:pt x="120" y="119"/>
                  </a:lnTo>
                  <a:lnTo>
                    <a:pt x="120" y="121"/>
                  </a:lnTo>
                  <a:lnTo>
                    <a:pt x="119" y="121"/>
                  </a:lnTo>
                  <a:lnTo>
                    <a:pt x="117" y="118"/>
                  </a:lnTo>
                  <a:lnTo>
                    <a:pt x="118" y="118"/>
                  </a:lnTo>
                  <a:lnTo>
                    <a:pt x="118" y="117"/>
                  </a:lnTo>
                  <a:lnTo>
                    <a:pt x="119" y="117"/>
                  </a:lnTo>
                  <a:lnTo>
                    <a:pt x="119" y="115"/>
                  </a:lnTo>
                  <a:lnTo>
                    <a:pt x="113" y="113"/>
                  </a:lnTo>
                  <a:lnTo>
                    <a:pt x="111" y="115"/>
                  </a:lnTo>
                  <a:lnTo>
                    <a:pt x="109" y="115"/>
                  </a:lnTo>
                  <a:lnTo>
                    <a:pt x="109" y="118"/>
                  </a:lnTo>
                  <a:lnTo>
                    <a:pt x="105" y="122"/>
                  </a:lnTo>
                  <a:lnTo>
                    <a:pt x="105" y="123"/>
                  </a:lnTo>
                  <a:lnTo>
                    <a:pt x="104" y="123"/>
                  </a:lnTo>
                  <a:lnTo>
                    <a:pt x="97" y="119"/>
                  </a:lnTo>
                  <a:lnTo>
                    <a:pt x="94" y="121"/>
                  </a:lnTo>
                  <a:lnTo>
                    <a:pt x="93" y="119"/>
                  </a:lnTo>
                  <a:lnTo>
                    <a:pt x="86" y="119"/>
                  </a:lnTo>
                  <a:lnTo>
                    <a:pt x="82" y="118"/>
                  </a:lnTo>
                  <a:lnTo>
                    <a:pt x="81" y="119"/>
                  </a:lnTo>
                  <a:lnTo>
                    <a:pt x="80" y="119"/>
                  </a:lnTo>
                  <a:lnTo>
                    <a:pt x="79" y="122"/>
                  </a:lnTo>
                  <a:lnTo>
                    <a:pt x="78" y="123"/>
                  </a:lnTo>
                  <a:lnTo>
                    <a:pt x="76" y="123"/>
                  </a:lnTo>
                  <a:lnTo>
                    <a:pt x="75" y="122"/>
                  </a:lnTo>
                  <a:lnTo>
                    <a:pt x="74" y="122"/>
                  </a:lnTo>
                  <a:lnTo>
                    <a:pt x="73" y="121"/>
                  </a:lnTo>
                  <a:lnTo>
                    <a:pt x="73" y="119"/>
                  </a:lnTo>
                  <a:lnTo>
                    <a:pt x="72" y="119"/>
                  </a:lnTo>
                  <a:lnTo>
                    <a:pt x="72" y="121"/>
                  </a:lnTo>
                  <a:lnTo>
                    <a:pt x="69" y="121"/>
                  </a:lnTo>
                  <a:lnTo>
                    <a:pt x="64" y="118"/>
                  </a:lnTo>
                  <a:lnTo>
                    <a:pt x="68" y="113"/>
                  </a:lnTo>
                  <a:lnTo>
                    <a:pt x="69" y="111"/>
                  </a:lnTo>
                  <a:lnTo>
                    <a:pt x="72" y="110"/>
                  </a:lnTo>
                  <a:lnTo>
                    <a:pt x="72" y="109"/>
                  </a:lnTo>
                  <a:lnTo>
                    <a:pt x="74" y="105"/>
                  </a:lnTo>
                  <a:lnTo>
                    <a:pt x="74" y="103"/>
                  </a:lnTo>
                  <a:lnTo>
                    <a:pt x="75" y="102"/>
                  </a:lnTo>
                  <a:lnTo>
                    <a:pt x="75" y="91"/>
                  </a:lnTo>
                  <a:lnTo>
                    <a:pt x="73" y="87"/>
                  </a:lnTo>
                  <a:lnTo>
                    <a:pt x="72" y="85"/>
                  </a:lnTo>
                  <a:lnTo>
                    <a:pt x="70" y="85"/>
                  </a:lnTo>
                  <a:lnTo>
                    <a:pt x="70" y="79"/>
                  </a:lnTo>
                  <a:lnTo>
                    <a:pt x="68" y="70"/>
                  </a:lnTo>
                  <a:lnTo>
                    <a:pt x="66" y="68"/>
                  </a:lnTo>
                  <a:lnTo>
                    <a:pt x="64" y="54"/>
                  </a:lnTo>
                  <a:lnTo>
                    <a:pt x="63" y="51"/>
                  </a:lnTo>
                  <a:lnTo>
                    <a:pt x="61" y="49"/>
                  </a:lnTo>
                  <a:lnTo>
                    <a:pt x="56" y="47"/>
                  </a:lnTo>
                  <a:lnTo>
                    <a:pt x="55" y="47"/>
                  </a:lnTo>
                  <a:lnTo>
                    <a:pt x="55" y="45"/>
                  </a:lnTo>
                  <a:lnTo>
                    <a:pt x="49" y="45"/>
                  </a:lnTo>
                  <a:lnTo>
                    <a:pt x="48" y="43"/>
                  </a:lnTo>
                  <a:lnTo>
                    <a:pt x="47" y="39"/>
                  </a:lnTo>
                  <a:lnTo>
                    <a:pt x="44" y="36"/>
                  </a:lnTo>
                  <a:lnTo>
                    <a:pt x="44" y="35"/>
                  </a:lnTo>
                  <a:lnTo>
                    <a:pt x="39" y="35"/>
                  </a:lnTo>
                  <a:lnTo>
                    <a:pt x="37" y="30"/>
                  </a:lnTo>
                  <a:lnTo>
                    <a:pt x="33" y="29"/>
                  </a:lnTo>
                  <a:lnTo>
                    <a:pt x="25" y="29"/>
                  </a:lnTo>
                  <a:lnTo>
                    <a:pt x="23" y="26"/>
                  </a:lnTo>
                  <a:lnTo>
                    <a:pt x="20" y="26"/>
                  </a:lnTo>
                  <a:lnTo>
                    <a:pt x="18" y="24"/>
                  </a:lnTo>
                  <a:lnTo>
                    <a:pt x="16" y="24"/>
                  </a:lnTo>
                  <a:lnTo>
                    <a:pt x="14" y="25"/>
                  </a:lnTo>
                  <a:lnTo>
                    <a:pt x="13" y="24"/>
                  </a:lnTo>
                  <a:lnTo>
                    <a:pt x="13" y="23"/>
                  </a:lnTo>
                  <a:lnTo>
                    <a:pt x="12" y="22"/>
                  </a:lnTo>
                  <a:lnTo>
                    <a:pt x="12" y="18"/>
                  </a:lnTo>
                  <a:lnTo>
                    <a:pt x="11" y="16"/>
                  </a:lnTo>
                  <a:lnTo>
                    <a:pt x="10" y="16"/>
                  </a:lnTo>
                  <a:lnTo>
                    <a:pt x="8" y="14"/>
                  </a:lnTo>
                  <a:lnTo>
                    <a:pt x="6" y="14"/>
                  </a:lnTo>
                  <a:lnTo>
                    <a:pt x="5" y="12"/>
                  </a:lnTo>
                  <a:lnTo>
                    <a:pt x="2" y="12"/>
                  </a:lnTo>
                  <a:lnTo>
                    <a:pt x="1" y="11"/>
                  </a:lnTo>
                  <a:lnTo>
                    <a:pt x="0" y="11"/>
                  </a:lnTo>
                  <a:lnTo>
                    <a:pt x="0" y="10"/>
                  </a:lnTo>
                  <a:lnTo>
                    <a:pt x="4" y="2"/>
                  </a:lnTo>
                  <a:lnTo>
                    <a:pt x="4" y="1"/>
                  </a:lnTo>
                  <a:lnTo>
                    <a:pt x="5" y="1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43">
              <a:extLst>
                <a:ext uri="{FF2B5EF4-FFF2-40B4-BE49-F238E27FC236}">
                  <a16:creationId xmlns:a16="http://schemas.microsoft.com/office/drawing/2014/main" id="{F648D488-9547-4C46-914C-7F9C019C80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3700" y="4340225"/>
              <a:ext cx="982663" cy="944563"/>
            </a:xfrm>
            <a:custGeom>
              <a:avLst/>
              <a:gdLst/>
              <a:ahLst/>
              <a:cxnLst>
                <a:cxn ang="0">
                  <a:pos x="613" y="561"/>
                </a:cxn>
                <a:cxn ang="0">
                  <a:pos x="600" y="590"/>
                </a:cxn>
                <a:cxn ang="0">
                  <a:pos x="582" y="574"/>
                </a:cxn>
                <a:cxn ang="0">
                  <a:pos x="585" y="555"/>
                </a:cxn>
                <a:cxn ang="0">
                  <a:pos x="581" y="533"/>
                </a:cxn>
                <a:cxn ang="0">
                  <a:pos x="610" y="501"/>
                </a:cxn>
                <a:cxn ang="0">
                  <a:pos x="167" y="329"/>
                </a:cxn>
                <a:cxn ang="0">
                  <a:pos x="151" y="309"/>
                </a:cxn>
                <a:cxn ang="0">
                  <a:pos x="87" y="242"/>
                </a:cxn>
                <a:cxn ang="0">
                  <a:pos x="3" y="172"/>
                </a:cxn>
                <a:cxn ang="0">
                  <a:pos x="330" y="20"/>
                </a:cxn>
                <a:cxn ang="0">
                  <a:pos x="363" y="40"/>
                </a:cxn>
                <a:cxn ang="0">
                  <a:pos x="391" y="64"/>
                </a:cxn>
                <a:cxn ang="0">
                  <a:pos x="422" y="77"/>
                </a:cxn>
                <a:cxn ang="0">
                  <a:pos x="453" y="104"/>
                </a:cxn>
                <a:cxn ang="0">
                  <a:pos x="493" y="116"/>
                </a:cxn>
                <a:cxn ang="0">
                  <a:pos x="529" y="126"/>
                </a:cxn>
                <a:cxn ang="0">
                  <a:pos x="546" y="162"/>
                </a:cxn>
                <a:cxn ang="0">
                  <a:pos x="534" y="222"/>
                </a:cxn>
                <a:cxn ang="0">
                  <a:pos x="509" y="236"/>
                </a:cxn>
                <a:cxn ang="0">
                  <a:pos x="487" y="272"/>
                </a:cxn>
                <a:cxn ang="0">
                  <a:pos x="468" y="316"/>
                </a:cxn>
                <a:cxn ang="0">
                  <a:pos x="506" y="318"/>
                </a:cxn>
                <a:cxn ang="0">
                  <a:pos x="518" y="362"/>
                </a:cxn>
                <a:cxn ang="0">
                  <a:pos x="509" y="393"/>
                </a:cxn>
                <a:cxn ang="0">
                  <a:pos x="524" y="435"/>
                </a:cxn>
                <a:cxn ang="0">
                  <a:pos x="525" y="462"/>
                </a:cxn>
                <a:cxn ang="0">
                  <a:pos x="497" y="484"/>
                </a:cxn>
                <a:cxn ang="0">
                  <a:pos x="474" y="497"/>
                </a:cxn>
                <a:cxn ang="0">
                  <a:pos x="442" y="487"/>
                </a:cxn>
                <a:cxn ang="0">
                  <a:pos x="423" y="478"/>
                </a:cxn>
                <a:cxn ang="0">
                  <a:pos x="385" y="469"/>
                </a:cxn>
                <a:cxn ang="0">
                  <a:pos x="348" y="529"/>
                </a:cxn>
                <a:cxn ang="0">
                  <a:pos x="305" y="537"/>
                </a:cxn>
                <a:cxn ang="0">
                  <a:pos x="264" y="518"/>
                </a:cxn>
                <a:cxn ang="0">
                  <a:pos x="219" y="518"/>
                </a:cxn>
                <a:cxn ang="0">
                  <a:pos x="183" y="504"/>
                </a:cxn>
                <a:cxn ang="0">
                  <a:pos x="155" y="487"/>
                </a:cxn>
                <a:cxn ang="0">
                  <a:pos x="157" y="454"/>
                </a:cxn>
                <a:cxn ang="0">
                  <a:pos x="183" y="365"/>
                </a:cxn>
                <a:cxn ang="0">
                  <a:pos x="164" y="338"/>
                </a:cxn>
                <a:cxn ang="0">
                  <a:pos x="169" y="316"/>
                </a:cxn>
                <a:cxn ang="0">
                  <a:pos x="139" y="289"/>
                </a:cxn>
                <a:cxn ang="0">
                  <a:pos x="122" y="253"/>
                </a:cxn>
                <a:cxn ang="0">
                  <a:pos x="114" y="247"/>
                </a:cxn>
                <a:cxn ang="0">
                  <a:pos x="103" y="230"/>
                </a:cxn>
                <a:cxn ang="0">
                  <a:pos x="91" y="223"/>
                </a:cxn>
                <a:cxn ang="0">
                  <a:pos x="81" y="222"/>
                </a:cxn>
                <a:cxn ang="0">
                  <a:pos x="51" y="209"/>
                </a:cxn>
                <a:cxn ang="0">
                  <a:pos x="20" y="199"/>
                </a:cxn>
                <a:cxn ang="0">
                  <a:pos x="23" y="179"/>
                </a:cxn>
                <a:cxn ang="0">
                  <a:pos x="20" y="179"/>
                </a:cxn>
                <a:cxn ang="0">
                  <a:pos x="33" y="157"/>
                </a:cxn>
                <a:cxn ang="0">
                  <a:pos x="60" y="156"/>
                </a:cxn>
                <a:cxn ang="0">
                  <a:pos x="87" y="148"/>
                </a:cxn>
                <a:cxn ang="0">
                  <a:pos x="118" y="157"/>
                </a:cxn>
                <a:cxn ang="0">
                  <a:pos x="131" y="159"/>
                </a:cxn>
                <a:cxn ang="0">
                  <a:pos x="150" y="135"/>
                </a:cxn>
                <a:cxn ang="0">
                  <a:pos x="137" y="104"/>
                </a:cxn>
                <a:cxn ang="0">
                  <a:pos x="161" y="101"/>
                </a:cxn>
                <a:cxn ang="0">
                  <a:pos x="236" y="107"/>
                </a:cxn>
                <a:cxn ang="0">
                  <a:pos x="279" y="60"/>
                </a:cxn>
                <a:cxn ang="0">
                  <a:pos x="306" y="5"/>
                </a:cxn>
              </a:cxnLst>
              <a:rect l="0" t="0" r="r" b="b"/>
              <a:pathLst>
                <a:path w="619" h="595">
                  <a:moveTo>
                    <a:pt x="299" y="531"/>
                  </a:moveTo>
                  <a:lnTo>
                    <a:pt x="298" y="533"/>
                  </a:lnTo>
                  <a:lnTo>
                    <a:pt x="299" y="534"/>
                  </a:lnTo>
                  <a:lnTo>
                    <a:pt x="300" y="534"/>
                  </a:lnTo>
                  <a:lnTo>
                    <a:pt x="300" y="533"/>
                  </a:lnTo>
                  <a:lnTo>
                    <a:pt x="299" y="531"/>
                  </a:lnTo>
                  <a:close/>
                  <a:moveTo>
                    <a:pt x="613" y="500"/>
                  </a:moveTo>
                  <a:lnTo>
                    <a:pt x="613" y="501"/>
                  </a:lnTo>
                  <a:lnTo>
                    <a:pt x="615" y="501"/>
                  </a:lnTo>
                  <a:lnTo>
                    <a:pt x="615" y="504"/>
                  </a:lnTo>
                  <a:lnTo>
                    <a:pt x="616" y="505"/>
                  </a:lnTo>
                  <a:lnTo>
                    <a:pt x="616" y="513"/>
                  </a:lnTo>
                  <a:lnTo>
                    <a:pt x="615" y="518"/>
                  </a:lnTo>
                  <a:lnTo>
                    <a:pt x="615" y="524"/>
                  </a:lnTo>
                  <a:lnTo>
                    <a:pt x="616" y="524"/>
                  </a:lnTo>
                  <a:lnTo>
                    <a:pt x="616" y="527"/>
                  </a:lnTo>
                  <a:lnTo>
                    <a:pt x="617" y="527"/>
                  </a:lnTo>
                  <a:lnTo>
                    <a:pt x="617" y="525"/>
                  </a:lnTo>
                  <a:lnTo>
                    <a:pt x="618" y="527"/>
                  </a:lnTo>
                  <a:lnTo>
                    <a:pt x="618" y="538"/>
                  </a:lnTo>
                  <a:lnTo>
                    <a:pt x="619" y="541"/>
                  </a:lnTo>
                  <a:lnTo>
                    <a:pt x="619" y="553"/>
                  </a:lnTo>
                  <a:lnTo>
                    <a:pt x="618" y="553"/>
                  </a:lnTo>
                  <a:lnTo>
                    <a:pt x="617" y="554"/>
                  </a:lnTo>
                  <a:lnTo>
                    <a:pt x="617" y="555"/>
                  </a:lnTo>
                  <a:lnTo>
                    <a:pt x="616" y="556"/>
                  </a:lnTo>
                  <a:lnTo>
                    <a:pt x="613" y="560"/>
                  </a:lnTo>
                  <a:lnTo>
                    <a:pt x="613" y="561"/>
                  </a:lnTo>
                  <a:lnTo>
                    <a:pt x="612" y="561"/>
                  </a:lnTo>
                  <a:lnTo>
                    <a:pt x="612" y="577"/>
                  </a:lnTo>
                  <a:lnTo>
                    <a:pt x="611" y="578"/>
                  </a:lnTo>
                  <a:lnTo>
                    <a:pt x="611" y="579"/>
                  </a:lnTo>
                  <a:lnTo>
                    <a:pt x="610" y="579"/>
                  </a:lnTo>
                  <a:lnTo>
                    <a:pt x="610" y="580"/>
                  </a:lnTo>
                  <a:lnTo>
                    <a:pt x="608" y="580"/>
                  </a:lnTo>
                  <a:lnTo>
                    <a:pt x="608" y="581"/>
                  </a:lnTo>
                  <a:lnTo>
                    <a:pt x="611" y="581"/>
                  </a:lnTo>
                  <a:lnTo>
                    <a:pt x="610" y="583"/>
                  </a:lnTo>
                  <a:lnTo>
                    <a:pt x="610" y="584"/>
                  </a:lnTo>
                  <a:lnTo>
                    <a:pt x="609" y="584"/>
                  </a:lnTo>
                  <a:lnTo>
                    <a:pt x="608" y="585"/>
                  </a:lnTo>
                  <a:lnTo>
                    <a:pt x="608" y="586"/>
                  </a:lnTo>
                  <a:lnTo>
                    <a:pt x="606" y="586"/>
                  </a:lnTo>
                  <a:lnTo>
                    <a:pt x="608" y="587"/>
                  </a:lnTo>
                  <a:lnTo>
                    <a:pt x="605" y="590"/>
                  </a:lnTo>
                  <a:lnTo>
                    <a:pt x="605" y="591"/>
                  </a:lnTo>
                  <a:lnTo>
                    <a:pt x="606" y="591"/>
                  </a:lnTo>
                  <a:lnTo>
                    <a:pt x="606" y="592"/>
                  </a:lnTo>
                  <a:lnTo>
                    <a:pt x="605" y="593"/>
                  </a:lnTo>
                  <a:lnTo>
                    <a:pt x="605" y="595"/>
                  </a:lnTo>
                  <a:lnTo>
                    <a:pt x="604" y="595"/>
                  </a:lnTo>
                  <a:lnTo>
                    <a:pt x="603" y="593"/>
                  </a:lnTo>
                  <a:lnTo>
                    <a:pt x="600" y="593"/>
                  </a:lnTo>
                  <a:lnTo>
                    <a:pt x="599" y="592"/>
                  </a:lnTo>
                  <a:lnTo>
                    <a:pt x="600" y="591"/>
                  </a:lnTo>
                  <a:lnTo>
                    <a:pt x="600" y="590"/>
                  </a:lnTo>
                  <a:lnTo>
                    <a:pt x="599" y="590"/>
                  </a:lnTo>
                  <a:lnTo>
                    <a:pt x="598" y="589"/>
                  </a:lnTo>
                  <a:lnTo>
                    <a:pt x="599" y="589"/>
                  </a:lnTo>
                  <a:lnTo>
                    <a:pt x="599" y="587"/>
                  </a:lnTo>
                  <a:lnTo>
                    <a:pt x="598" y="589"/>
                  </a:lnTo>
                  <a:lnTo>
                    <a:pt x="596" y="589"/>
                  </a:lnTo>
                  <a:lnTo>
                    <a:pt x="596" y="587"/>
                  </a:lnTo>
                  <a:lnTo>
                    <a:pt x="592" y="587"/>
                  </a:lnTo>
                  <a:lnTo>
                    <a:pt x="592" y="586"/>
                  </a:lnTo>
                  <a:lnTo>
                    <a:pt x="591" y="586"/>
                  </a:lnTo>
                  <a:lnTo>
                    <a:pt x="591" y="585"/>
                  </a:lnTo>
                  <a:lnTo>
                    <a:pt x="590" y="585"/>
                  </a:lnTo>
                  <a:lnTo>
                    <a:pt x="588" y="584"/>
                  </a:lnTo>
                  <a:lnTo>
                    <a:pt x="587" y="584"/>
                  </a:lnTo>
                  <a:lnTo>
                    <a:pt x="587" y="581"/>
                  </a:lnTo>
                  <a:lnTo>
                    <a:pt x="586" y="581"/>
                  </a:lnTo>
                  <a:lnTo>
                    <a:pt x="587" y="580"/>
                  </a:lnTo>
                  <a:lnTo>
                    <a:pt x="587" y="579"/>
                  </a:lnTo>
                  <a:lnTo>
                    <a:pt x="588" y="579"/>
                  </a:lnTo>
                  <a:lnTo>
                    <a:pt x="591" y="578"/>
                  </a:lnTo>
                  <a:lnTo>
                    <a:pt x="591" y="577"/>
                  </a:lnTo>
                  <a:lnTo>
                    <a:pt x="592" y="577"/>
                  </a:lnTo>
                  <a:lnTo>
                    <a:pt x="592" y="576"/>
                  </a:lnTo>
                  <a:lnTo>
                    <a:pt x="587" y="576"/>
                  </a:lnTo>
                  <a:lnTo>
                    <a:pt x="586" y="574"/>
                  </a:lnTo>
                  <a:lnTo>
                    <a:pt x="586" y="573"/>
                  </a:lnTo>
                  <a:lnTo>
                    <a:pt x="584" y="574"/>
                  </a:lnTo>
                  <a:lnTo>
                    <a:pt x="582" y="574"/>
                  </a:lnTo>
                  <a:lnTo>
                    <a:pt x="584" y="573"/>
                  </a:lnTo>
                  <a:lnTo>
                    <a:pt x="581" y="573"/>
                  </a:lnTo>
                  <a:lnTo>
                    <a:pt x="582" y="572"/>
                  </a:lnTo>
                  <a:lnTo>
                    <a:pt x="584" y="572"/>
                  </a:lnTo>
                  <a:lnTo>
                    <a:pt x="584" y="570"/>
                  </a:lnTo>
                  <a:lnTo>
                    <a:pt x="585" y="570"/>
                  </a:lnTo>
                  <a:lnTo>
                    <a:pt x="586" y="568"/>
                  </a:lnTo>
                  <a:lnTo>
                    <a:pt x="586" y="567"/>
                  </a:lnTo>
                  <a:lnTo>
                    <a:pt x="587" y="567"/>
                  </a:lnTo>
                  <a:lnTo>
                    <a:pt x="586" y="566"/>
                  </a:lnTo>
                  <a:lnTo>
                    <a:pt x="587" y="565"/>
                  </a:lnTo>
                  <a:lnTo>
                    <a:pt x="587" y="564"/>
                  </a:lnTo>
                  <a:lnTo>
                    <a:pt x="586" y="564"/>
                  </a:lnTo>
                  <a:lnTo>
                    <a:pt x="586" y="562"/>
                  </a:lnTo>
                  <a:lnTo>
                    <a:pt x="585" y="562"/>
                  </a:lnTo>
                  <a:lnTo>
                    <a:pt x="584" y="564"/>
                  </a:lnTo>
                  <a:lnTo>
                    <a:pt x="580" y="564"/>
                  </a:lnTo>
                  <a:lnTo>
                    <a:pt x="579" y="565"/>
                  </a:lnTo>
                  <a:lnTo>
                    <a:pt x="579" y="564"/>
                  </a:lnTo>
                  <a:lnTo>
                    <a:pt x="580" y="562"/>
                  </a:lnTo>
                  <a:lnTo>
                    <a:pt x="579" y="562"/>
                  </a:lnTo>
                  <a:lnTo>
                    <a:pt x="578" y="560"/>
                  </a:lnTo>
                  <a:lnTo>
                    <a:pt x="581" y="560"/>
                  </a:lnTo>
                  <a:lnTo>
                    <a:pt x="581" y="558"/>
                  </a:lnTo>
                  <a:lnTo>
                    <a:pt x="584" y="558"/>
                  </a:lnTo>
                  <a:lnTo>
                    <a:pt x="584" y="556"/>
                  </a:lnTo>
                  <a:lnTo>
                    <a:pt x="585" y="556"/>
                  </a:lnTo>
                  <a:lnTo>
                    <a:pt x="585" y="555"/>
                  </a:lnTo>
                  <a:lnTo>
                    <a:pt x="584" y="555"/>
                  </a:lnTo>
                  <a:lnTo>
                    <a:pt x="584" y="553"/>
                  </a:lnTo>
                  <a:lnTo>
                    <a:pt x="581" y="553"/>
                  </a:lnTo>
                  <a:lnTo>
                    <a:pt x="581" y="552"/>
                  </a:lnTo>
                  <a:lnTo>
                    <a:pt x="578" y="552"/>
                  </a:lnTo>
                  <a:lnTo>
                    <a:pt x="579" y="550"/>
                  </a:lnTo>
                  <a:lnTo>
                    <a:pt x="578" y="550"/>
                  </a:lnTo>
                  <a:lnTo>
                    <a:pt x="578" y="546"/>
                  </a:lnTo>
                  <a:lnTo>
                    <a:pt x="577" y="546"/>
                  </a:lnTo>
                  <a:lnTo>
                    <a:pt x="577" y="544"/>
                  </a:lnTo>
                  <a:lnTo>
                    <a:pt x="581" y="544"/>
                  </a:lnTo>
                  <a:lnTo>
                    <a:pt x="581" y="543"/>
                  </a:lnTo>
                  <a:lnTo>
                    <a:pt x="582" y="543"/>
                  </a:lnTo>
                  <a:lnTo>
                    <a:pt x="582" y="542"/>
                  </a:lnTo>
                  <a:lnTo>
                    <a:pt x="581" y="542"/>
                  </a:lnTo>
                  <a:lnTo>
                    <a:pt x="580" y="541"/>
                  </a:lnTo>
                  <a:lnTo>
                    <a:pt x="579" y="541"/>
                  </a:lnTo>
                  <a:lnTo>
                    <a:pt x="579" y="540"/>
                  </a:lnTo>
                  <a:lnTo>
                    <a:pt x="580" y="540"/>
                  </a:lnTo>
                  <a:lnTo>
                    <a:pt x="579" y="538"/>
                  </a:lnTo>
                  <a:lnTo>
                    <a:pt x="577" y="540"/>
                  </a:lnTo>
                  <a:lnTo>
                    <a:pt x="577" y="537"/>
                  </a:lnTo>
                  <a:lnTo>
                    <a:pt x="578" y="537"/>
                  </a:lnTo>
                  <a:lnTo>
                    <a:pt x="578" y="536"/>
                  </a:lnTo>
                  <a:lnTo>
                    <a:pt x="579" y="537"/>
                  </a:lnTo>
                  <a:lnTo>
                    <a:pt x="579" y="535"/>
                  </a:lnTo>
                  <a:lnTo>
                    <a:pt x="581" y="535"/>
                  </a:lnTo>
                  <a:lnTo>
                    <a:pt x="581" y="533"/>
                  </a:lnTo>
                  <a:lnTo>
                    <a:pt x="582" y="531"/>
                  </a:lnTo>
                  <a:lnTo>
                    <a:pt x="581" y="531"/>
                  </a:lnTo>
                  <a:lnTo>
                    <a:pt x="581" y="530"/>
                  </a:lnTo>
                  <a:lnTo>
                    <a:pt x="582" y="529"/>
                  </a:lnTo>
                  <a:lnTo>
                    <a:pt x="584" y="529"/>
                  </a:lnTo>
                  <a:lnTo>
                    <a:pt x="584" y="527"/>
                  </a:lnTo>
                  <a:lnTo>
                    <a:pt x="587" y="527"/>
                  </a:lnTo>
                  <a:lnTo>
                    <a:pt x="587" y="524"/>
                  </a:lnTo>
                  <a:lnTo>
                    <a:pt x="588" y="524"/>
                  </a:lnTo>
                  <a:lnTo>
                    <a:pt x="592" y="523"/>
                  </a:lnTo>
                  <a:lnTo>
                    <a:pt x="597" y="522"/>
                  </a:lnTo>
                  <a:lnTo>
                    <a:pt x="598" y="521"/>
                  </a:lnTo>
                  <a:lnTo>
                    <a:pt x="598" y="519"/>
                  </a:lnTo>
                  <a:lnTo>
                    <a:pt x="600" y="517"/>
                  </a:lnTo>
                  <a:lnTo>
                    <a:pt x="605" y="517"/>
                  </a:lnTo>
                  <a:lnTo>
                    <a:pt x="606" y="518"/>
                  </a:lnTo>
                  <a:lnTo>
                    <a:pt x="608" y="518"/>
                  </a:lnTo>
                  <a:lnTo>
                    <a:pt x="608" y="521"/>
                  </a:lnTo>
                  <a:lnTo>
                    <a:pt x="610" y="518"/>
                  </a:lnTo>
                  <a:lnTo>
                    <a:pt x="610" y="512"/>
                  </a:lnTo>
                  <a:lnTo>
                    <a:pt x="609" y="512"/>
                  </a:lnTo>
                  <a:lnTo>
                    <a:pt x="609" y="511"/>
                  </a:lnTo>
                  <a:lnTo>
                    <a:pt x="610" y="510"/>
                  </a:lnTo>
                  <a:lnTo>
                    <a:pt x="610" y="506"/>
                  </a:lnTo>
                  <a:lnTo>
                    <a:pt x="611" y="506"/>
                  </a:lnTo>
                  <a:lnTo>
                    <a:pt x="611" y="505"/>
                  </a:lnTo>
                  <a:lnTo>
                    <a:pt x="610" y="504"/>
                  </a:lnTo>
                  <a:lnTo>
                    <a:pt x="610" y="501"/>
                  </a:lnTo>
                  <a:lnTo>
                    <a:pt x="612" y="501"/>
                  </a:lnTo>
                  <a:lnTo>
                    <a:pt x="613" y="500"/>
                  </a:lnTo>
                  <a:close/>
                  <a:moveTo>
                    <a:pt x="478" y="500"/>
                  </a:moveTo>
                  <a:lnTo>
                    <a:pt x="480" y="500"/>
                  </a:lnTo>
                  <a:lnTo>
                    <a:pt x="480" y="501"/>
                  </a:lnTo>
                  <a:lnTo>
                    <a:pt x="479" y="501"/>
                  </a:lnTo>
                  <a:lnTo>
                    <a:pt x="479" y="503"/>
                  </a:lnTo>
                  <a:lnTo>
                    <a:pt x="478" y="503"/>
                  </a:lnTo>
                  <a:lnTo>
                    <a:pt x="476" y="501"/>
                  </a:lnTo>
                  <a:lnTo>
                    <a:pt x="478" y="501"/>
                  </a:lnTo>
                  <a:lnTo>
                    <a:pt x="478" y="500"/>
                  </a:lnTo>
                  <a:close/>
                  <a:moveTo>
                    <a:pt x="473" y="499"/>
                  </a:moveTo>
                  <a:lnTo>
                    <a:pt x="475" y="499"/>
                  </a:lnTo>
                  <a:lnTo>
                    <a:pt x="473" y="500"/>
                  </a:lnTo>
                  <a:lnTo>
                    <a:pt x="473" y="499"/>
                  </a:lnTo>
                  <a:close/>
                  <a:moveTo>
                    <a:pt x="414" y="468"/>
                  </a:moveTo>
                  <a:lnTo>
                    <a:pt x="416" y="470"/>
                  </a:lnTo>
                  <a:lnTo>
                    <a:pt x="416" y="469"/>
                  </a:lnTo>
                  <a:lnTo>
                    <a:pt x="414" y="468"/>
                  </a:lnTo>
                  <a:close/>
                  <a:moveTo>
                    <a:pt x="163" y="405"/>
                  </a:moveTo>
                  <a:lnTo>
                    <a:pt x="163" y="407"/>
                  </a:lnTo>
                  <a:lnTo>
                    <a:pt x="163" y="405"/>
                  </a:lnTo>
                  <a:close/>
                  <a:moveTo>
                    <a:pt x="157" y="321"/>
                  </a:moveTo>
                  <a:lnTo>
                    <a:pt x="158" y="321"/>
                  </a:lnTo>
                  <a:lnTo>
                    <a:pt x="162" y="325"/>
                  </a:lnTo>
                  <a:lnTo>
                    <a:pt x="164" y="325"/>
                  </a:lnTo>
                  <a:lnTo>
                    <a:pt x="164" y="328"/>
                  </a:lnTo>
                  <a:lnTo>
                    <a:pt x="167" y="329"/>
                  </a:lnTo>
                  <a:lnTo>
                    <a:pt x="167" y="333"/>
                  </a:lnTo>
                  <a:lnTo>
                    <a:pt x="165" y="334"/>
                  </a:lnTo>
                  <a:lnTo>
                    <a:pt x="165" y="335"/>
                  </a:lnTo>
                  <a:lnTo>
                    <a:pt x="164" y="335"/>
                  </a:lnTo>
                  <a:lnTo>
                    <a:pt x="164" y="333"/>
                  </a:lnTo>
                  <a:lnTo>
                    <a:pt x="163" y="332"/>
                  </a:lnTo>
                  <a:lnTo>
                    <a:pt x="161" y="328"/>
                  </a:lnTo>
                  <a:lnTo>
                    <a:pt x="159" y="328"/>
                  </a:lnTo>
                  <a:lnTo>
                    <a:pt x="158" y="327"/>
                  </a:lnTo>
                  <a:lnTo>
                    <a:pt x="158" y="323"/>
                  </a:lnTo>
                  <a:lnTo>
                    <a:pt x="157" y="321"/>
                  </a:lnTo>
                  <a:close/>
                  <a:moveTo>
                    <a:pt x="152" y="308"/>
                  </a:moveTo>
                  <a:lnTo>
                    <a:pt x="153" y="308"/>
                  </a:lnTo>
                  <a:lnTo>
                    <a:pt x="153" y="309"/>
                  </a:lnTo>
                  <a:lnTo>
                    <a:pt x="155" y="309"/>
                  </a:lnTo>
                  <a:lnTo>
                    <a:pt x="153" y="310"/>
                  </a:lnTo>
                  <a:lnTo>
                    <a:pt x="156" y="310"/>
                  </a:lnTo>
                  <a:lnTo>
                    <a:pt x="157" y="312"/>
                  </a:lnTo>
                  <a:lnTo>
                    <a:pt x="161" y="312"/>
                  </a:lnTo>
                  <a:lnTo>
                    <a:pt x="162" y="313"/>
                  </a:lnTo>
                  <a:lnTo>
                    <a:pt x="163" y="313"/>
                  </a:lnTo>
                  <a:lnTo>
                    <a:pt x="163" y="314"/>
                  </a:lnTo>
                  <a:lnTo>
                    <a:pt x="162" y="315"/>
                  </a:lnTo>
                  <a:lnTo>
                    <a:pt x="162" y="314"/>
                  </a:lnTo>
                  <a:lnTo>
                    <a:pt x="159" y="314"/>
                  </a:lnTo>
                  <a:lnTo>
                    <a:pt x="156" y="312"/>
                  </a:lnTo>
                  <a:lnTo>
                    <a:pt x="152" y="312"/>
                  </a:lnTo>
                  <a:lnTo>
                    <a:pt x="151" y="309"/>
                  </a:lnTo>
                  <a:lnTo>
                    <a:pt x="150" y="309"/>
                  </a:lnTo>
                  <a:lnTo>
                    <a:pt x="152" y="308"/>
                  </a:lnTo>
                  <a:close/>
                  <a:moveTo>
                    <a:pt x="115" y="279"/>
                  </a:moveTo>
                  <a:lnTo>
                    <a:pt x="118" y="279"/>
                  </a:lnTo>
                  <a:lnTo>
                    <a:pt x="119" y="280"/>
                  </a:lnTo>
                  <a:lnTo>
                    <a:pt x="120" y="280"/>
                  </a:lnTo>
                  <a:lnTo>
                    <a:pt x="120" y="282"/>
                  </a:lnTo>
                  <a:lnTo>
                    <a:pt x="116" y="282"/>
                  </a:lnTo>
                  <a:lnTo>
                    <a:pt x="115" y="280"/>
                  </a:lnTo>
                  <a:lnTo>
                    <a:pt x="115" y="279"/>
                  </a:lnTo>
                  <a:close/>
                  <a:moveTo>
                    <a:pt x="124" y="265"/>
                  </a:moveTo>
                  <a:lnTo>
                    <a:pt x="125" y="265"/>
                  </a:lnTo>
                  <a:lnTo>
                    <a:pt x="126" y="266"/>
                  </a:lnTo>
                  <a:lnTo>
                    <a:pt x="126" y="269"/>
                  </a:lnTo>
                  <a:lnTo>
                    <a:pt x="125" y="269"/>
                  </a:lnTo>
                  <a:lnTo>
                    <a:pt x="125" y="267"/>
                  </a:lnTo>
                  <a:lnTo>
                    <a:pt x="124" y="265"/>
                  </a:lnTo>
                  <a:close/>
                  <a:moveTo>
                    <a:pt x="120" y="261"/>
                  </a:moveTo>
                  <a:lnTo>
                    <a:pt x="124" y="261"/>
                  </a:lnTo>
                  <a:lnTo>
                    <a:pt x="124" y="265"/>
                  </a:lnTo>
                  <a:lnTo>
                    <a:pt x="121" y="265"/>
                  </a:lnTo>
                  <a:lnTo>
                    <a:pt x="120" y="264"/>
                  </a:lnTo>
                  <a:lnTo>
                    <a:pt x="120" y="261"/>
                  </a:lnTo>
                  <a:close/>
                  <a:moveTo>
                    <a:pt x="78" y="239"/>
                  </a:moveTo>
                  <a:lnTo>
                    <a:pt x="80" y="239"/>
                  </a:lnTo>
                  <a:lnTo>
                    <a:pt x="82" y="240"/>
                  </a:lnTo>
                  <a:lnTo>
                    <a:pt x="84" y="242"/>
                  </a:lnTo>
                  <a:lnTo>
                    <a:pt x="87" y="242"/>
                  </a:lnTo>
                  <a:lnTo>
                    <a:pt x="87" y="245"/>
                  </a:lnTo>
                  <a:lnTo>
                    <a:pt x="82" y="245"/>
                  </a:lnTo>
                  <a:lnTo>
                    <a:pt x="80" y="243"/>
                  </a:lnTo>
                  <a:lnTo>
                    <a:pt x="80" y="241"/>
                  </a:lnTo>
                  <a:lnTo>
                    <a:pt x="78" y="240"/>
                  </a:lnTo>
                  <a:lnTo>
                    <a:pt x="78" y="239"/>
                  </a:lnTo>
                  <a:close/>
                  <a:moveTo>
                    <a:pt x="84" y="229"/>
                  </a:moveTo>
                  <a:lnTo>
                    <a:pt x="84" y="234"/>
                  </a:lnTo>
                  <a:lnTo>
                    <a:pt x="83" y="232"/>
                  </a:lnTo>
                  <a:lnTo>
                    <a:pt x="83" y="230"/>
                  </a:lnTo>
                  <a:lnTo>
                    <a:pt x="84" y="229"/>
                  </a:lnTo>
                  <a:close/>
                  <a:moveTo>
                    <a:pt x="99" y="224"/>
                  </a:moveTo>
                  <a:lnTo>
                    <a:pt x="101" y="224"/>
                  </a:lnTo>
                  <a:lnTo>
                    <a:pt x="102" y="226"/>
                  </a:lnTo>
                  <a:lnTo>
                    <a:pt x="101" y="226"/>
                  </a:lnTo>
                  <a:lnTo>
                    <a:pt x="99" y="224"/>
                  </a:lnTo>
                  <a:close/>
                  <a:moveTo>
                    <a:pt x="41" y="206"/>
                  </a:moveTo>
                  <a:lnTo>
                    <a:pt x="41" y="208"/>
                  </a:lnTo>
                  <a:lnTo>
                    <a:pt x="43" y="208"/>
                  </a:lnTo>
                  <a:lnTo>
                    <a:pt x="41" y="206"/>
                  </a:lnTo>
                  <a:close/>
                  <a:moveTo>
                    <a:pt x="38" y="180"/>
                  </a:moveTo>
                  <a:lnTo>
                    <a:pt x="35" y="183"/>
                  </a:lnTo>
                  <a:lnTo>
                    <a:pt x="39" y="181"/>
                  </a:lnTo>
                  <a:lnTo>
                    <a:pt x="38" y="181"/>
                  </a:lnTo>
                  <a:lnTo>
                    <a:pt x="38" y="180"/>
                  </a:lnTo>
                  <a:close/>
                  <a:moveTo>
                    <a:pt x="2" y="169"/>
                  </a:moveTo>
                  <a:lnTo>
                    <a:pt x="3" y="171"/>
                  </a:lnTo>
                  <a:lnTo>
                    <a:pt x="3" y="172"/>
                  </a:lnTo>
                  <a:lnTo>
                    <a:pt x="0" y="172"/>
                  </a:lnTo>
                  <a:lnTo>
                    <a:pt x="2" y="169"/>
                  </a:lnTo>
                  <a:close/>
                  <a:moveTo>
                    <a:pt x="85" y="149"/>
                  </a:moveTo>
                  <a:lnTo>
                    <a:pt x="84" y="150"/>
                  </a:lnTo>
                  <a:lnTo>
                    <a:pt x="84" y="153"/>
                  </a:lnTo>
                  <a:lnTo>
                    <a:pt x="84" y="150"/>
                  </a:lnTo>
                  <a:lnTo>
                    <a:pt x="85" y="150"/>
                  </a:lnTo>
                  <a:lnTo>
                    <a:pt x="85" y="149"/>
                  </a:lnTo>
                  <a:close/>
                  <a:moveTo>
                    <a:pt x="88" y="148"/>
                  </a:moveTo>
                  <a:lnTo>
                    <a:pt x="89" y="148"/>
                  </a:lnTo>
                  <a:lnTo>
                    <a:pt x="89" y="149"/>
                  </a:lnTo>
                  <a:lnTo>
                    <a:pt x="88" y="149"/>
                  </a:lnTo>
                  <a:lnTo>
                    <a:pt x="88" y="148"/>
                  </a:lnTo>
                  <a:close/>
                  <a:moveTo>
                    <a:pt x="323" y="0"/>
                  </a:moveTo>
                  <a:lnTo>
                    <a:pt x="323" y="1"/>
                  </a:lnTo>
                  <a:lnTo>
                    <a:pt x="324" y="5"/>
                  </a:lnTo>
                  <a:lnTo>
                    <a:pt x="324" y="6"/>
                  </a:lnTo>
                  <a:lnTo>
                    <a:pt x="326" y="8"/>
                  </a:lnTo>
                  <a:lnTo>
                    <a:pt x="326" y="11"/>
                  </a:lnTo>
                  <a:lnTo>
                    <a:pt x="325" y="12"/>
                  </a:lnTo>
                  <a:lnTo>
                    <a:pt x="325" y="17"/>
                  </a:lnTo>
                  <a:lnTo>
                    <a:pt x="326" y="17"/>
                  </a:lnTo>
                  <a:lnTo>
                    <a:pt x="326" y="18"/>
                  </a:lnTo>
                  <a:lnTo>
                    <a:pt x="327" y="19"/>
                  </a:lnTo>
                  <a:lnTo>
                    <a:pt x="329" y="18"/>
                  </a:lnTo>
                  <a:lnTo>
                    <a:pt x="329" y="19"/>
                  </a:lnTo>
                  <a:lnTo>
                    <a:pt x="330" y="19"/>
                  </a:lnTo>
                  <a:lnTo>
                    <a:pt x="330" y="20"/>
                  </a:lnTo>
                  <a:lnTo>
                    <a:pt x="332" y="21"/>
                  </a:lnTo>
                  <a:lnTo>
                    <a:pt x="332" y="24"/>
                  </a:lnTo>
                  <a:lnTo>
                    <a:pt x="333" y="25"/>
                  </a:lnTo>
                  <a:lnTo>
                    <a:pt x="337" y="26"/>
                  </a:lnTo>
                  <a:lnTo>
                    <a:pt x="338" y="26"/>
                  </a:lnTo>
                  <a:lnTo>
                    <a:pt x="339" y="24"/>
                  </a:lnTo>
                  <a:lnTo>
                    <a:pt x="341" y="23"/>
                  </a:lnTo>
                  <a:lnTo>
                    <a:pt x="342" y="23"/>
                  </a:lnTo>
                  <a:lnTo>
                    <a:pt x="346" y="20"/>
                  </a:lnTo>
                  <a:lnTo>
                    <a:pt x="348" y="20"/>
                  </a:lnTo>
                  <a:lnTo>
                    <a:pt x="349" y="21"/>
                  </a:lnTo>
                  <a:lnTo>
                    <a:pt x="349" y="23"/>
                  </a:lnTo>
                  <a:lnTo>
                    <a:pt x="350" y="24"/>
                  </a:lnTo>
                  <a:lnTo>
                    <a:pt x="350" y="25"/>
                  </a:lnTo>
                  <a:lnTo>
                    <a:pt x="351" y="25"/>
                  </a:lnTo>
                  <a:lnTo>
                    <a:pt x="352" y="26"/>
                  </a:lnTo>
                  <a:lnTo>
                    <a:pt x="352" y="31"/>
                  </a:lnTo>
                  <a:lnTo>
                    <a:pt x="354" y="34"/>
                  </a:lnTo>
                  <a:lnTo>
                    <a:pt x="354" y="37"/>
                  </a:lnTo>
                  <a:lnTo>
                    <a:pt x="355" y="38"/>
                  </a:lnTo>
                  <a:lnTo>
                    <a:pt x="355" y="39"/>
                  </a:lnTo>
                  <a:lnTo>
                    <a:pt x="357" y="39"/>
                  </a:lnTo>
                  <a:lnTo>
                    <a:pt x="357" y="40"/>
                  </a:lnTo>
                  <a:lnTo>
                    <a:pt x="358" y="39"/>
                  </a:lnTo>
                  <a:lnTo>
                    <a:pt x="361" y="39"/>
                  </a:lnTo>
                  <a:lnTo>
                    <a:pt x="361" y="38"/>
                  </a:lnTo>
                  <a:lnTo>
                    <a:pt x="363" y="38"/>
                  </a:lnTo>
                  <a:lnTo>
                    <a:pt x="363" y="40"/>
                  </a:lnTo>
                  <a:lnTo>
                    <a:pt x="368" y="40"/>
                  </a:lnTo>
                  <a:lnTo>
                    <a:pt x="369" y="42"/>
                  </a:lnTo>
                  <a:lnTo>
                    <a:pt x="369" y="43"/>
                  </a:lnTo>
                  <a:lnTo>
                    <a:pt x="370" y="45"/>
                  </a:lnTo>
                  <a:lnTo>
                    <a:pt x="370" y="51"/>
                  </a:lnTo>
                  <a:lnTo>
                    <a:pt x="372" y="52"/>
                  </a:lnTo>
                  <a:lnTo>
                    <a:pt x="373" y="52"/>
                  </a:lnTo>
                  <a:lnTo>
                    <a:pt x="373" y="51"/>
                  </a:lnTo>
                  <a:lnTo>
                    <a:pt x="374" y="50"/>
                  </a:lnTo>
                  <a:lnTo>
                    <a:pt x="374" y="49"/>
                  </a:lnTo>
                  <a:lnTo>
                    <a:pt x="376" y="49"/>
                  </a:lnTo>
                  <a:lnTo>
                    <a:pt x="377" y="50"/>
                  </a:lnTo>
                  <a:lnTo>
                    <a:pt x="380" y="50"/>
                  </a:lnTo>
                  <a:lnTo>
                    <a:pt x="380" y="51"/>
                  </a:lnTo>
                  <a:lnTo>
                    <a:pt x="381" y="51"/>
                  </a:lnTo>
                  <a:lnTo>
                    <a:pt x="383" y="50"/>
                  </a:lnTo>
                  <a:lnTo>
                    <a:pt x="386" y="50"/>
                  </a:lnTo>
                  <a:lnTo>
                    <a:pt x="388" y="52"/>
                  </a:lnTo>
                  <a:lnTo>
                    <a:pt x="389" y="52"/>
                  </a:lnTo>
                  <a:lnTo>
                    <a:pt x="389" y="55"/>
                  </a:lnTo>
                  <a:lnTo>
                    <a:pt x="391" y="56"/>
                  </a:lnTo>
                  <a:lnTo>
                    <a:pt x="391" y="55"/>
                  </a:lnTo>
                  <a:lnTo>
                    <a:pt x="393" y="55"/>
                  </a:lnTo>
                  <a:lnTo>
                    <a:pt x="393" y="57"/>
                  </a:lnTo>
                  <a:lnTo>
                    <a:pt x="392" y="57"/>
                  </a:lnTo>
                  <a:lnTo>
                    <a:pt x="392" y="58"/>
                  </a:lnTo>
                  <a:lnTo>
                    <a:pt x="391" y="58"/>
                  </a:lnTo>
                  <a:lnTo>
                    <a:pt x="391" y="64"/>
                  </a:lnTo>
                  <a:lnTo>
                    <a:pt x="392" y="63"/>
                  </a:lnTo>
                  <a:lnTo>
                    <a:pt x="392" y="64"/>
                  </a:lnTo>
                  <a:lnTo>
                    <a:pt x="393" y="67"/>
                  </a:lnTo>
                  <a:lnTo>
                    <a:pt x="394" y="68"/>
                  </a:lnTo>
                  <a:lnTo>
                    <a:pt x="393" y="68"/>
                  </a:lnTo>
                  <a:lnTo>
                    <a:pt x="393" y="69"/>
                  </a:lnTo>
                  <a:lnTo>
                    <a:pt x="392" y="69"/>
                  </a:lnTo>
                  <a:lnTo>
                    <a:pt x="391" y="70"/>
                  </a:lnTo>
                  <a:lnTo>
                    <a:pt x="391" y="74"/>
                  </a:lnTo>
                  <a:lnTo>
                    <a:pt x="393" y="75"/>
                  </a:lnTo>
                  <a:lnTo>
                    <a:pt x="397" y="75"/>
                  </a:lnTo>
                  <a:lnTo>
                    <a:pt x="403" y="76"/>
                  </a:lnTo>
                  <a:lnTo>
                    <a:pt x="405" y="76"/>
                  </a:lnTo>
                  <a:lnTo>
                    <a:pt x="412" y="73"/>
                  </a:lnTo>
                  <a:lnTo>
                    <a:pt x="413" y="73"/>
                  </a:lnTo>
                  <a:lnTo>
                    <a:pt x="413" y="67"/>
                  </a:lnTo>
                  <a:lnTo>
                    <a:pt x="418" y="62"/>
                  </a:lnTo>
                  <a:lnTo>
                    <a:pt x="419" y="62"/>
                  </a:lnTo>
                  <a:lnTo>
                    <a:pt x="419" y="63"/>
                  </a:lnTo>
                  <a:lnTo>
                    <a:pt x="422" y="62"/>
                  </a:lnTo>
                  <a:lnTo>
                    <a:pt x="422" y="67"/>
                  </a:lnTo>
                  <a:lnTo>
                    <a:pt x="420" y="67"/>
                  </a:lnTo>
                  <a:lnTo>
                    <a:pt x="419" y="68"/>
                  </a:lnTo>
                  <a:lnTo>
                    <a:pt x="419" y="70"/>
                  </a:lnTo>
                  <a:lnTo>
                    <a:pt x="418" y="74"/>
                  </a:lnTo>
                  <a:lnTo>
                    <a:pt x="418" y="76"/>
                  </a:lnTo>
                  <a:lnTo>
                    <a:pt x="420" y="76"/>
                  </a:lnTo>
                  <a:lnTo>
                    <a:pt x="422" y="77"/>
                  </a:lnTo>
                  <a:lnTo>
                    <a:pt x="422" y="79"/>
                  </a:lnTo>
                  <a:lnTo>
                    <a:pt x="420" y="80"/>
                  </a:lnTo>
                  <a:lnTo>
                    <a:pt x="420" y="86"/>
                  </a:lnTo>
                  <a:lnTo>
                    <a:pt x="426" y="86"/>
                  </a:lnTo>
                  <a:lnTo>
                    <a:pt x="429" y="88"/>
                  </a:lnTo>
                  <a:lnTo>
                    <a:pt x="430" y="88"/>
                  </a:lnTo>
                  <a:lnTo>
                    <a:pt x="431" y="89"/>
                  </a:lnTo>
                  <a:lnTo>
                    <a:pt x="432" y="92"/>
                  </a:lnTo>
                  <a:lnTo>
                    <a:pt x="433" y="92"/>
                  </a:lnTo>
                  <a:lnTo>
                    <a:pt x="433" y="93"/>
                  </a:lnTo>
                  <a:lnTo>
                    <a:pt x="435" y="93"/>
                  </a:lnTo>
                  <a:lnTo>
                    <a:pt x="437" y="92"/>
                  </a:lnTo>
                  <a:lnTo>
                    <a:pt x="438" y="92"/>
                  </a:lnTo>
                  <a:lnTo>
                    <a:pt x="438" y="93"/>
                  </a:lnTo>
                  <a:lnTo>
                    <a:pt x="439" y="94"/>
                  </a:lnTo>
                  <a:lnTo>
                    <a:pt x="439" y="98"/>
                  </a:lnTo>
                  <a:lnTo>
                    <a:pt x="441" y="98"/>
                  </a:lnTo>
                  <a:lnTo>
                    <a:pt x="441" y="97"/>
                  </a:lnTo>
                  <a:lnTo>
                    <a:pt x="442" y="97"/>
                  </a:lnTo>
                  <a:lnTo>
                    <a:pt x="443" y="98"/>
                  </a:lnTo>
                  <a:lnTo>
                    <a:pt x="444" y="98"/>
                  </a:lnTo>
                  <a:lnTo>
                    <a:pt x="445" y="101"/>
                  </a:lnTo>
                  <a:lnTo>
                    <a:pt x="447" y="103"/>
                  </a:lnTo>
                  <a:lnTo>
                    <a:pt x="445" y="104"/>
                  </a:lnTo>
                  <a:lnTo>
                    <a:pt x="447" y="105"/>
                  </a:lnTo>
                  <a:lnTo>
                    <a:pt x="448" y="105"/>
                  </a:lnTo>
                  <a:lnTo>
                    <a:pt x="449" y="104"/>
                  </a:lnTo>
                  <a:lnTo>
                    <a:pt x="453" y="104"/>
                  </a:lnTo>
                  <a:lnTo>
                    <a:pt x="453" y="103"/>
                  </a:lnTo>
                  <a:lnTo>
                    <a:pt x="454" y="101"/>
                  </a:lnTo>
                  <a:lnTo>
                    <a:pt x="455" y="103"/>
                  </a:lnTo>
                  <a:lnTo>
                    <a:pt x="457" y="103"/>
                  </a:lnTo>
                  <a:lnTo>
                    <a:pt x="457" y="101"/>
                  </a:lnTo>
                  <a:lnTo>
                    <a:pt x="459" y="101"/>
                  </a:lnTo>
                  <a:lnTo>
                    <a:pt x="460" y="103"/>
                  </a:lnTo>
                  <a:lnTo>
                    <a:pt x="462" y="104"/>
                  </a:lnTo>
                  <a:lnTo>
                    <a:pt x="462" y="105"/>
                  </a:lnTo>
                  <a:lnTo>
                    <a:pt x="463" y="105"/>
                  </a:lnTo>
                  <a:lnTo>
                    <a:pt x="466" y="106"/>
                  </a:lnTo>
                  <a:lnTo>
                    <a:pt x="467" y="107"/>
                  </a:lnTo>
                  <a:lnTo>
                    <a:pt x="467" y="109"/>
                  </a:lnTo>
                  <a:lnTo>
                    <a:pt x="472" y="109"/>
                  </a:lnTo>
                  <a:lnTo>
                    <a:pt x="473" y="107"/>
                  </a:lnTo>
                  <a:lnTo>
                    <a:pt x="473" y="106"/>
                  </a:lnTo>
                  <a:lnTo>
                    <a:pt x="475" y="106"/>
                  </a:lnTo>
                  <a:lnTo>
                    <a:pt x="475" y="105"/>
                  </a:lnTo>
                  <a:lnTo>
                    <a:pt x="480" y="105"/>
                  </a:lnTo>
                  <a:lnTo>
                    <a:pt x="481" y="107"/>
                  </a:lnTo>
                  <a:lnTo>
                    <a:pt x="486" y="107"/>
                  </a:lnTo>
                  <a:lnTo>
                    <a:pt x="490" y="109"/>
                  </a:lnTo>
                  <a:lnTo>
                    <a:pt x="491" y="110"/>
                  </a:lnTo>
                  <a:lnTo>
                    <a:pt x="491" y="112"/>
                  </a:lnTo>
                  <a:lnTo>
                    <a:pt x="493" y="113"/>
                  </a:lnTo>
                  <a:lnTo>
                    <a:pt x="493" y="114"/>
                  </a:lnTo>
                  <a:lnTo>
                    <a:pt x="492" y="116"/>
                  </a:lnTo>
                  <a:lnTo>
                    <a:pt x="493" y="116"/>
                  </a:lnTo>
                  <a:lnTo>
                    <a:pt x="493" y="117"/>
                  </a:lnTo>
                  <a:lnTo>
                    <a:pt x="497" y="119"/>
                  </a:lnTo>
                  <a:lnTo>
                    <a:pt x="497" y="122"/>
                  </a:lnTo>
                  <a:lnTo>
                    <a:pt x="498" y="123"/>
                  </a:lnTo>
                  <a:lnTo>
                    <a:pt x="498" y="124"/>
                  </a:lnTo>
                  <a:lnTo>
                    <a:pt x="499" y="123"/>
                  </a:lnTo>
                  <a:lnTo>
                    <a:pt x="499" y="126"/>
                  </a:lnTo>
                  <a:lnTo>
                    <a:pt x="500" y="128"/>
                  </a:lnTo>
                  <a:lnTo>
                    <a:pt x="504" y="128"/>
                  </a:lnTo>
                  <a:lnTo>
                    <a:pt x="505" y="126"/>
                  </a:lnTo>
                  <a:lnTo>
                    <a:pt x="504" y="125"/>
                  </a:lnTo>
                  <a:lnTo>
                    <a:pt x="504" y="124"/>
                  </a:lnTo>
                  <a:lnTo>
                    <a:pt x="509" y="124"/>
                  </a:lnTo>
                  <a:lnTo>
                    <a:pt x="511" y="125"/>
                  </a:lnTo>
                  <a:lnTo>
                    <a:pt x="512" y="125"/>
                  </a:lnTo>
                  <a:lnTo>
                    <a:pt x="512" y="130"/>
                  </a:lnTo>
                  <a:lnTo>
                    <a:pt x="513" y="130"/>
                  </a:lnTo>
                  <a:lnTo>
                    <a:pt x="515" y="129"/>
                  </a:lnTo>
                  <a:lnTo>
                    <a:pt x="515" y="128"/>
                  </a:lnTo>
                  <a:lnTo>
                    <a:pt x="517" y="129"/>
                  </a:lnTo>
                  <a:lnTo>
                    <a:pt x="517" y="130"/>
                  </a:lnTo>
                  <a:lnTo>
                    <a:pt x="523" y="130"/>
                  </a:lnTo>
                  <a:lnTo>
                    <a:pt x="524" y="129"/>
                  </a:lnTo>
                  <a:lnTo>
                    <a:pt x="525" y="129"/>
                  </a:lnTo>
                  <a:lnTo>
                    <a:pt x="525" y="128"/>
                  </a:lnTo>
                  <a:lnTo>
                    <a:pt x="526" y="128"/>
                  </a:lnTo>
                  <a:lnTo>
                    <a:pt x="526" y="126"/>
                  </a:lnTo>
                  <a:lnTo>
                    <a:pt x="529" y="126"/>
                  </a:lnTo>
                  <a:lnTo>
                    <a:pt x="530" y="128"/>
                  </a:lnTo>
                  <a:lnTo>
                    <a:pt x="531" y="128"/>
                  </a:lnTo>
                  <a:lnTo>
                    <a:pt x="531" y="130"/>
                  </a:lnTo>
                  <a:lnTo>
                    <a:pt x="532" y="131"/>
                  </a:lnTo>
                  <a:lnTo>
                    <a:pt x="534" y="131"/>
                  </a:lnTo>
                  <a:lnTo>
                    <a:pt x="534" y="132"/>
                  </a:lnTo>
                  <a:lnTo>
                    <a:pt x="536" y="132"/>
                  </a:lnTo>
                  <a:lnTo>
                    <a:pt x="537" y="134"/>
                  </a:lnTo>
                  <a:lnTo>
                    <a:pt x="537" y="135"/>
                  </a:lnTo>
                  <a:lnTo>
                    <a:pt x="542" y="135"/>
                  </a:lnTo>
                  <a:lnTo>
                    <a:pt x="543" y="134"/>
                  </a:lnTo>
                  <a:lnTo>
                    <a:pt x="544" y="134"/>
                  </a:lnTo>
                  <a:lnTo>
                    <a:pt x="548" y="135"/>
                  </a:lnTo>
                  <a:lnTo>
                    <a:pt x="550" y="135"/>
                  </a:lnTo>
                  <a:lnTo>
                    <a:pt x="557" y="138"/>
                  </a:lnTo>
                  <a:lnTo>
                    <a:pt x="561" y="140"/>
                  </a:lnTo>
                  <a:lnTo>
                    <a:pt x="562" y="140"/>
                  </a:lnTo>
                  <a:lnTo>
                    <a:pt x="561" y="141"/>
                  </a:lnTo>
                  <a:lnTo>
                    <a:pt x="560" y="143"/>
                  </a:lnTo>
                  <a:lnTo>
                    <a:pt x="557" y="149"/>
                  </a:lnTo>
                  <a:lnTo>
                    <a:pt x="555" y="150"/>
                  </a:lnTo>
                  <a:lnTo>
                    <a:pt x="555" y="152"/>
                  </a:lnTo>
                  <a:lnTo>
                    <a:pt x="554" y="153"/>
                  </a:lnTo>
                  <a:lnTo>
                    <a:pt x="551" y="153"/>
                  </a:lnTo>
                  <a:lnTo>
                    <a:pt x="551" y="155"/>
                  </a:lnTo>
                  <a:lnTo>
                    <a:pt x="548" y="159"/>
                  </a:lnTo>
                  <a:lnTo>
                    <a:pt x="547" y="159"/>
                  </a:lnTo>
                  <a:lnTo>
                    <a:pt x="546" y="162"/>
                  </a:lnTo>
                  <a:lnTo>
                    <a:pt x="546" y="168"/>
                  </a:lnTo>
                  <a:lnTo>
                    <a:pt x="544" y="168"/>
                  </a:lnTo>
                  <a:lnTo>
                    <a:pt x="544" y="169"/>
                  </a:lnTo>
                  <a:lnTo>
                    <a:pt x="543" y="171"/>
                  </a:lnTo>
                  <a:lnTo>
                    <a:pt x="543" y="173"/>
                  </a:lnTo>
                  <a:lnTo>
                    <a:pt x="542" y="175"/>
                  </a:lnTo>
                  <a:lnTo>
                    <a:pt x="542" y="177"/>
                  </a:lnTo>
                  <a:lnTo>
                    <a:pt x="543" y="178"/>
                  </a:lnTo>
                  <a:lnTo>
                    <a:pt x="543" y="179"/>
                  </a:lnTo>
                  <a:lnTo>
                    <a:pt x="541" y="181"/>
                  </a:lnTo>
                  <a:lnTo>
                    <a:pt x="541" y="185"/>
                  </a:lnTo>
                  <a:lnTo>
                    <a:pt x="540" y="186"/>
                  </a:lnTo>
                  <a:lnTo>
                    <a:pt x="537" y="190"/>
                  </a:lnTo>
                  <a:lnTo>
                    <a:pt x="537" y="191"/>
                  </a:lnTo>
                  <a:lnTo>
                    <a:pt x="536" y="192"/>
                  </a:lnTo>
                  <a:lnTo>
                    <a:pt x="536" y="197"/>
                  </a:lnTo>
                  <a:lnTo>
                    <a:pt x="537" y="200"/>
                  </a:lnTo>
                  <a:lnTo>
                    <a:pt x="537" y="203"/>
                  </a:lnTo>
                  <a:lnTo>
                    <a:pt x="536" y="204"/>
                  </a:lnTo>
                  <a:lnTo>
                    <a:pt x="536" y="208"/>
                  </a:lnTo>
                  <a:lnTo>
                    <a:pt x="535" y="208"/>
                  </a:lnTo>
                  <a:lnTo>
                    <a:pt x="535" y="211"/>
                  </a:lnTo>
                  <a:lnTo>
                    <a:pt x="534" y="211"/>
                  </a:lnTo>
                  <a:lnTo>
                    <a:pt x="534" y="218"/>
                  </a:lnTo>
                  <a:lnTo>
                    <a:pt x="532" y="218"/>
                  </a:lnTo>
                  <a:lnTo>
                    <a:pt x="532" y="221"/>
                  </a:lnTo>
                  <a:lnTo>
                    <a:pt x="534" y="221"/>
                  </a:lnTo>
                  <a:lnTo>
                    <a:pt x="534" y="222"/>
                  </a:lnTo>
                  <a:lnTo>
                    <a:pt x="535" y="222"/>
                  </a:lnTo>
                  <a:lnTo>
                    <a:pt x="536" y="224"/>
                  </a:lnTo>
                  <a:lnTo>
                    <a:pt x="536" y="227"/>
                  </a:lnTo>
                  <a:lnTo>
                    <a:pt x="535" y="227"/>
                  </a:lnTo>
                  <a:lnTo>
                    <a:pt x="534" y="228"/>
                  </a:lnTo>
                  <a:lnTo>
                    <a:pt x="531" y="229"/>
                  </a:lnTo>
                  <a:lnTo>
                    <a:pt x="532" y="230"/>
                  </a:lnTo>
                  <a:lnTo>
                    <a:pt x="532" y="232"/>
                  </a:lnTo>
                  <a:lnTo>
                    <a:pt x="531" y="232"/>
                  </a:lnTo>
                  <a:lnTo>
                    <a:pt x="531" y="233"/>
                  </a:lnTo>
                  <a:lnTo>
                    <a:pt x="529" y="233"/>
                  </a:lnTo>
                  <a:lnTo>
                    <a:pt x="529" y="236"/>
                  </a:lnTo>
                  <a:lnTo>
                    <a:pt x="523" y="236"/>
                  </a:lnTo>
                  <a:lnTo>
                    <a:pt x="522" y="238"/>
                  </a:lnTo>
                  <a:lnTo>
                    <a:pt x="520" y="238"/>
                  </a:lnTo>
                  <a:lnTo>
                    <a:pt x="520" y="236"/>
                  </a:lnTo>
                  <a:lnTo>
                    <a:pt x="519" y="236"/>
                  </a:lnTo>
                  <a:lnTo>
                    <a:pt x="518" y="235"/>
                  </a:lnTo>
                  <a:lnTo>
                    <a:pt x="519" y="233"/>
                  </a:lnTo>
                  <a:lnTo>
                    <a:pt x="512" y="233"/>
                  </a:lnTo>
                  <a:lnTo>
                    <a:pt x="512" y="232"/>
                  </a:lnTo>
                  <a:lnTo>
                    <a:pt x="511" y="233"/>
                  </a:lnTo>
                  <a:lnTo>
                    <a:pt x="510" y="233"/>
                  </a:lnTo>
                  <a:lnTo>
                    <a:pt x="510" y="234"/>
                  </a:lnTo>
                  <a:lnTo>
                    <a:pt x="511" y="234"/>
                  </a:lnTo>
                  <a:lnTo>
                    <a:pt x="511" y="235"/>
                  </a:lnTo>
                  <a:lnTo>
                    <a:pt x="510" y="236"/>
                  </a:lnTo>
                  <a:lnTo>
                    <a:pt x="509" y="236"/>
                  </a:lnTo>
                  <a:lnTo>
                    <a:pt x="509" y="238"/>
                  </a:lnTo>
                  <a:lnTo>
                    <a:pt x="506" y="240"/>
                  </a:lnTo>
                  <a:lnTo>
                    <a:pt x="506" y="241"/>
                  </a:lnTo>
                  <a:lnTo>
                    <a:pt x="511" y="241"/>
                  </a:lnTo>
                  <a:lnTo>
                    <a:pt x="511" y="240"/>
                  </a:lnTo>
                  <a:lnTo>
                    <a:pt x="513" y="242"/>
                  </a:lnTo>
                  <a:lnTo>
                    <a:pt x="512" y="243"/>
                  </a:lnTo>
                  <a:lnTo>
                    <a:pt x="511" y="243"/>
                  </a:lnTo>
                  <a:lnTo>
                    <a:pt x="511" y="245"/>
                  </a:lnTo>
                  <a:lnTo>
                    <a:pt x="510" y="245"/>
                  </a:lnTo>
                  <a:lnTo>
                    <a:pt x="510" y="248"/>
                  </a:lnTo>
                  <a:lnTo>
                    <a:pt x="506" y="249"/>
                  </a:lnTo>
                  <a:lnTo>
                    <a:pt x="505" y="252"/>
                  </a:lnTo>
                  <a:lnTo>
                    <a:pt x="505" y="253"/>
                  </a:lnTo>
                  <a:lnTo>
                    <a:pt x="501" y="255"/>
                  </a:lnTo>
                  <a:lnTo>
                    <a:pt x="500" y="255"/>
                  </a:lnTo>
                  <a:lnTo>
                    <a:pt x="500" y="257"/>
                  </a:lnTo>
                  <a:lnTo>
                    <a:pt x="499" y="258"/>
                  </a:lnTo>
                  <a:lnTo>
                    <a:pt x="498" y="258"/>
                  </a:lnTo>
                  <a:lnTo>
                    <a:pt x="498" y="260"/>
                  </a:lnTo>
                  <a:lnTo>
                    <a:pt x="494" y="264"/>
                  </a:lnTo>
                  <a:lnTo>
                    <a:pt x="490" y="265"/>
                  </a:lnTo>
                  <a:lnTo>
                    <a:pt x="488" y="266"/>
                  </a:lnTo>
                  <a:lnTo>
                    <a:pt x="487" y="269"/>
                  </a:lnTo>
                  <a:lnTo>
                    <a:pt x="487" y="270"/>
                  </a:lnTo>
                  <a:lnTo>
                    <a:pt x="488" y="270"/>
                  </a:lnTo>
                  <a:lnTo>
                    <a:pt x="488" y="272"/>
                  </a:lnTo>
                  <a:lnTo>
                    <a:pt x="487" y="272"/>
                  </a:lnTo>
                  <a:lnTo>
                    <a:pt x="487" y="278"/>
                  </a:lnTo>
                  <a:lnTo>
                    <a:pt x="486" y="279"/>
                  </a:lnTo>
                  <a:lnTo>
                    <a:pt x="485" y="279"/>
                  </a:lnTo>
                  <a:lnTo>
                    <a:pt x="484" y="280"/>
                  </a:lnTo>
                  <a:lnTo>
                    <a:pt x="484" y="282"/>
                  </a:lnTo>
                  <a:lnTo>
                    <a:pt x="480" y="283"/>
                  </a:lnTo>
                  <a:lnTo>
                    <a:pt x="474" y="289"/>
                  </a:lnTo>
                  <a:lnTo>
                    <a:pt x="474" y="290"/>
                  </a:lnTo>
                  <a:lnTo>
                    <a:pt x="475" y="291"/>
                  </a:lnTo>
                  <a:lnTo>
                    <a:pt x="474" y="292"/>
                  </a:lnTo>
                  <a:lnTo>
                    <a:pt x="473" y="295"/>
                  </a:lnTo>
                  <a:lnTo>
                    <a:pt x="472" y="296"/>
                  </a:lnTo>
                  <a:lnTo>
                    <a:pt x="472" y="298"/>
                  </a:lnTo>
                  <a:lnTo>
                    <a:pt x="474" y="300"/>
                  </a:lnTo>
                  <a:lnTo>
                    <a:pt x="474" y="301"/>
                  </a:lnTo>
                  <a:lnTo>
                    <a:pt x="475" y="302"/>
                  </a:lnTo>
                  <a:lnTo>
                    <a:pt x="474" y="304"/>
                  </a:lnTo>
                  <a:lnTo>
                    <a:pt x="474" y="306"/>
                  </a:lnTo>
                  <a:lnTo>
                    <a:pt x="473" y="306"/>
                  </a:lnTo>
                  <a:lnTo>
                    <a:pt x="473" y="309"/>
                  </a:lnTo>
                  <a:lnTo>
                    <a:pt x="470" y="309"/>
                  </a:lnTo>
                  <a:lnTo>
                    <a:pt x="468" y="310"/>
                  </a:lnTo>
                  <a:lnTo>
                    <a:pt x="467" y="312"/>
                  </a:lnTo>
                  <a:lnTo>
                    <a:pt x="467" y="313"/>
                  </a:lnTo>
                  <a:lnTo>
                    <a:pt x="468" y="313"/>
                  </a:lnTo>
                  <a:lnTo>
                    <a:pt x="468" y="315"/>
                  </a:lnTo>
                  <a:lnTo>
                    <a:pt x="467" y="316"/>
                  </a:lnTo>
                  <a:lnTo>
                    <a:pt x="468" y="316"/>
                  </a:lnTo>
                  <a:lnTo>
                    <a:pt x="470" y="315"/>
                  </a:lnTo>
                  <a:lnTo>
                    <a:pt x="472" y="315"/>
                  </a:lnTo>
                  <a:lnTo>
                    <a:pt x="474" y="316"/>
                  </a:lnTo>
                  <a:lnTo>
                    <a:pt x="481" y="309"/>
                  </a:lnTo>
                  <a:lnTo>
                    <a:pt x="481" y="308"/>
                  </a:lnTo>
                  <a:lnTo>
                    <a:pt x="479" y="308"/>
                  </a:lnTo>
                  <a:lnTo>
                    <a:pt x="479" y="306"/>
                  </a:lnTo>
                  <a:lnTo>
                    <a:pt x="478" y="306"/>
                  </a:lnTo>
                  <a:lnTo>
                    <a:pt x="479" y="304"/>
                  </a:lnTo>
                  <a:lnTo>
                    <a:pt x="479" y="303"/>
                  </a:lnTo>
                  <a:lnTo>
                    <a:pt x="480" y="302"/>
                  </a:lnTo>
                  <a:lnTo>
                    <a:pt x="482" y="301"/>
                  </a:lnTo>
                  <a:lnTo>
                    <a:pt x="484" y="300"/>
                  </a:lnTo>
                  <a:lnTo>
                    <a:pt x="486" y="300"/>
                  </a:lnTo>
                  <a:lnTo>
                    <a:pt x="490" y="297"/>
                  </a:lnTo>
                  <a:lnTo>
                    <a:pt x="492" y="296"/>
                  </a:lnTo>
                  <a:lnTo>
                    <a:pt x="495" y="296"/>
                  </a:lnTo>
                  <a:lnTo>
                    <a:pt x="501" y="298"/>
                  </a:lnTo>
                  <a:lnTo>
                    <a:pt x="503" y="300"/>
                  </a:lnTo>
                  <a:lnTo>
                    <a:pt x="503" y="301"/>
                  </a:lnTo>
                  <a:lnTo>
                    <a:pt x="500" y="303"/>
                  </a:lnTo>
                  <a:lnTo>
                    <a:pt x="501" y="304"/>
                  </a:lnTo>
                  <a:lnTo>
                    <a:pt x="503" y="307"/>
                  </a:lnTo>
                  <a:lnTo>
                    <a:pt x="504" y="308"/>
                  </a:lnTo>
                  <a:lnTo>
                    <a:pt x="501" y="313"/>
                  </a:lnTo>
                  <a:lnTo>
                    <a:pt x="501" y="316"/>
                  </a:lnTo>
                  <a:lnTo>
                    <a:pt x="505" y="316"/>
                  </a:lnTo>
                  <a:lnTo>
                    <a:pt x="506" y="318"/>
                  </a:lnTo>
                  <a:lnTo>
                    <a:pt x="505" y="319"/>
                  </a:lnTo>
                  <a:lnTo>
                    <a:pt x="505" y="321"/>
                  </a:lnTo>
                  <a:lnTo>
                    <a:pt x="507" y="321"/>
                  </a:lnTo>
                  <a:lnTo>
                    <a:pt x="511" y="325"/>
                  </a:lnTo>
                  <a:lnTo>
                    <a:pt x="511" y="327"/>
                  </a:lnTo>
                  <a:lnTo>
                    <a:pt x="512" y="328"/>
                  </a:lnTo>
                  <a:lnTo>
                    <a:pt x="512" y="329"/>
                  </a:lnTo>
                  <a:lnTo>
                    <a:pt x="511" y="329"/>
                  </a:lnTo>
                  <a:lnTo>
                    <a:pt x="511" y="331"/>
                  </a:lnTo>
                  <a:lnTo>
                    <a:pt x="507" y="334"/>
                  </a:lnTo>
                  <a:lnTo>
                    <a:pt x="506" y="334"/>
                  </a:lnTo>
                  <a:lnTo>
                    <a:pt x="505" y="333"/>
                  </a:lnTo>
                  <a:lnTo>
                    <a:pt x="505" y="334"/>
                  </a:lnTo>
                  <a:lnTo>
                    <a:pt x="503" y="334"/>
                  </a:lnTo>
                  <a:lnTo>
                    <a:pt x="503" y="341"/>
                  </a:lnTo>
                  <a:lnTo>
                    <a:pt x="505" y="344"/>
                  </a:lnTo>
                  <a:lnTo>
                    <a:pt x="506" y="344"/>
                  </a:lnTo>
                  <a:lnTo>
                    <a:pt x="507" y="345"/>
                  </a:lnTo>
                  <a:lnTo>
                    <a:pt x="510" y="346"/>
                  </a:lnTo>
                  <a:lnTo>
                    <a:pt x="510" y="353"/>
                  </a:lnTo>
                  <a:lnTo>
                    <a:pt x="511" y="353"/>
                  </a:lnTo>
                  <a:lnTo>
                    <a:pt x="512" y="355"/>
                  </a:lnTo>
                  <a:lnTo>
                    <a:pt x="515" y="356"/>
                  </a:lnTo>
                  <a:lnTo>
                    <a:pt x="515" y="358"/>
                  </a:lnTo>
                  <a:lnTo>
                    <a:pt x="516" y="358"/>
                  </a:lnTo>
                  <a:lnTo>
                    <a:pt x="516" y="359"/>
                  </a:lnTo>
                  <a:lnTo>
                    <a:pt x="518" y="359"/>
                  </a:lnTo>
                  <a:lnTo>
                    <a:pt x="518" y="362"/>
                  </a:lnTo>
                  <a:lnTo>
                    <a:pt x="517" y="363"/>
                  </a:lnTo>
                  <a:lnTo>
                    <a:pt x="516" y="365"/>
                  </a:lnTo>
                  <a:lnTo>
                    <a:pt x="516" y="369"/>
                  </a:lnTo>
                  <a:lnTo>
                    <a:pt x="513" y="371"/>
                  </a:lnTo>
                  <a:lnTo>
                    <a:pt x="511" y="371"/>
                  </a:lnTo>
                  <a:lnTo>
                    <a:pt x="510" y="372"/>
                  </a:lnTo>
                  <a:lnTo>
                    <a:pt x="509" y="372"/>
                  </a:lnTo>
                  <a:lnTo>
                    <a:pt x="509" y="374"/>
                  </a:lnTo>
                  <a:lnTo>
                    <a:pt x="507" y="375"/>
                  </a:lnTo>
                  <a:lnTo>
                    <a:pt x="506" y="375"/>
                  </a:lnTo>
                  <a:lnTo>
                    <a:pt x="506" y="376"/>
                  </a:lnTo>
                  <a:lnTo>
                    <a:pt x="505" y="377"/>
                  </a:lnTo>
                  <a:lnTo>
                    <a:pt x="503" y="376"/>
                  </a:lnTo>
                  <a:lnTo>
                    <a:pt x="501" y="375"/>
                  </a:lnTo>
                  <a:lnTo>
                    <a:pt x="500" y="375"/>
                  </a:lnTo>
                  <a:lnTo>
                    <a:pt x="499" y="376"/>
                  </a:lnTo>
                  <a:lnTo>
                    <a:pt x="497" y="376"/>
                  </a:lnTo>
                  <a:lnTo>
                    <a:pt x="494" y="378"/>
                  </a:lnTo>
                  <a:lnTo>
                    <a:pt x="495" y="380"/>
                  </a:lnTo>
                  <a:lnTo>
                    <a:pt x="495" y="381"/>
                  </a:lnTo>
                  <a:lnTo>
                    <a:pt x="497" y="382"/>
                  </a:lnTo>
                  <a:lnTo>
                    <a:pt x="497" y="383"/>
                  </a:lnTo>
                  <a:lnTo>
                    <a:pt x="499" y="383"/>
                  </a:lnTo>
                  <a:lnTo>
                    <a:pt x="500" y="386"/>
                  </a:lnTo>
                  <a:lnTo>
                    <a:pt x="500" y="390"/>
                  </a:lnTo>
                  <a:lnTo>
                    <a:pt x="501" y="392"/>
                  </a:lnTo>
                  <a:lnTo>
                    <a:pt x="505" y="393"/>
                  </a:lnTo>
                  <a:lnTo>
                    <a:pt x="509" y="393"/>
                  </a:lnTo>
                  <a:lnTo>
                    <a:pt x="511" y="394"/>
                  </a:lnTo>
                  <a:lnTo>
                    <a:pt x="511" y="396"/>
                  </a:lnTo>
                  <a:lnTo>
                    <a:pt x="512" y="398"/>
                  </a:lnTo>
                  <a:lnTo>
                    <a:pt x="512" y="400"/>
                  </a:lnTo>
                  <a:lnTo>
                    <a:pt x="513" y="402"/>
                  </a:lnTo>
                  <a:lnTo>
                    <a:pt x="513" y="404"/>
                  </a:lnTo>
                  <a:lnTo>
                    <a:pt x="511" y="402"/>
                  </a:lnTo>
                  <a:lnTo>
                    <a:pt x="509" y="405"/>
                  </a:lnTo>
                  <a:lnTo>
                    <a:pt x="509" y="407"/>
                  </a:lnTo>
                  <a:lnTo>
                    <a:pt x="507" y="409"/>
                  </a:lnTo>
                  <a:lnTo>
                    <a:pt x="505" y="412"/>
                  </a:lnTo>
                  <a:lnTo>
                    <a:pt x="504" y="412"/>
                  </a:lnTo>
                  <a:lnTo>
                    <a:pt x="505" y="414"/>
                  </a:lnTo>
                  <a:lnTo>
                    <a:pt x="505" y="415"/>
                  </a:lnTo>
                  <a:lnTo>
                    <a:pt x="507" y="418"/>
                  </a:lnTo>
                  <a:lnTo>
                    <a:pt x="506" y="419"/>
                  </a:lnTo>
                  <a:lnTo>
                    <a:pt x="506" y="423"/>
                  </a:lnTo>
                  <a:lnTo>
                    <a:pt x="507" y="424"/>
                  </a:lnTo>
                  <a:lnTo>
                    <a:pt x="507" y="426"/>
                  </a:lnTo>
                  <a:lnTo>
                    <a:pt x="509" y="426"/>
                  </a:lnTo>
                  <a:lnTo>
                    <a:pt x="510" y="427"/>
                  </a:lnTo>
                  <a:lnTo>
                    <a:pt x="510" y="429"/>
                  </a:lnTo>
                  <a:lnTo>
                    <a:pt x="511" y="430"/>
                  </a:lnTo>
                  <a:lnTo>
                    <a:pt x="513" y="430"/>
                  </a:lnTo>
                  <a:lnTo>
                    <a:pt x="516" y="431"/>
                  </a:lnTo>
                  <a:lnTo>
                    <a:pt x="517" y="431"/>
                  </a:lnTo>
                  <a:lnTo>
                    <a:pt x="522" y="435"/>
                  </a:lnTo>
                  <a:lnTo>
                    <a:pt x="524" y="435"/>
                  </a:lnTo>
                  <a:lnTo>
                    <a:pt x="524" y="436"/>
                  </a:lnTo>
                  <a:lnTo>
                    <a:pt x="528" y="436"/>
                  </a:lnTo>
                  <a:lnTo>
                    <a:pt x="535" y="435"/>
                  </a:lnTo>
                  <a:lnTo>
                    <a:pt x="536" y="435"/>
                  </a:lnTo>
                  <a:lnTo>
                    <a:pt x="537" y="433"/>
                  </a:lnTo>
                  <a:lnTo>
                    <a:pt x="538" y="433"/>
                  </a:lnTo>
                  <a:lnTo>
                    <a:pt x="538" y="436"/>
                  </a:lnTo>
                  <a:lnTo>
                    <a:pt x="541" y="438"/>
                  </a:lnTo>
                  <a:lnTo>
                    <a:pt x="541" y="439"/>
                  </a:lnTo>
                  <a:lnTo>
                    <a:pt x="538" y="442"/>
                  </a:lnTo>
                  <a:lnTo>
                    <a:pt x="538" y="444"/>
                  </a:lnTo>
                  <a:lnTo>
                    <a:pt x="537" y="445"/>
                  </a:lnTo>
                  <a:lnTo>
                    <a:pt x="535" y="447"/>
                  </a:lnTo>
                  <a:lnTo>
                    <a:pt x="534" y="448"/>
                  </a:lnTo>
                  <a:lnTo>
                    <a:pt x="532" y="450"/>
                  </a:lnTo>
                  <a:lnTo>
                    <a:pt x="531" y="451"/>
                  </a:lnTo>
                  <a:lnTo>
                    <a:pt x="531" y="452"/>
                  </a:lnTo>
                  <a:lnTo>
                    <a:pt x="532" y="456"/>
                  </a:lnTo>
                  <a:lnTo>
                    <a:pt x="531" y="456"/>
                  </a:lnTo>
                  <a:lnTo>
                    <a:pt x="531" y="457"/>
                  </a:lnTo>
                  <a:lnTo>
                    <a:pt x="530" y="457"/>
                  </a:lnTo>
                  <a:lnTo>
                    <a:pt x="530" y="458"/>
                  </a:lnTo>
                  <a:lnTo>
                    <a:pt x="529" y="457"/>
                  </a:lnTo>
                  <a:lnTo>
                    <a:pt x="528" y="457"/>
                  </a:lnTo>
                  <a:lnTo>
                    <a:pt x="526" y="458"/>
                  </a:lnTo>
                  <a:lnTo>
                    <a:pt x="526" y="460"/>
                  </a:lnTo>
                  <a:lnTo>
                    <a:pt x="525" y="461"/>
                  </a:lnTo>
                  <a:lnTo>
                    <a:pt x="525" y="462"/>
                  </a:lnTo>
                  <a:lnTo>
                    <a:pt x="524" y="462"/>
                  </a:lnTo>
                  <a:lnTo>
                    <a:pt x="523" y="461"/>
                  </a:lnTo>
                  <a:lnTo>
                    <a:pt x="522" y="462"/>
                  </a:lnTo>
                  <a:lnTo>
                    <a:pt x="520" y="462"/>
                  </a:lnTo>
                  <a:lnTo>
                    <a:pt x="520" y="464"/>
                  </a:lnTo>
                  <a:lnTo>
                    <a:pt x="519" y="464"/>
                  </a:lnTo>
                  <a:lnTo>
                    <a:pt x="519" y="463"/>
                  </a:lnTo>
                  <a:lnTo>
                    <a:pt x="518" y="463"/>
                  </a:lnTo>
                  <a:lnTo>
                    <a:pt x="517" y="464"/>
                  </a:lnTo>
                  <a:lnTo>
                    <a:pt x="517" y="470"/>
                  </a:lnTo>
                  <a:lnTo>
                    <a:pt x="516" y="469"/>
                  </a:lnTo>
                  <a:lnTo>
                    <a:pt x="513" y="469"/>
                  </a:lnTo>
                  <a:lnTo>
                    <a:pt x="513" y="470"/>
                  </a:lnTo>
                  <a:lnTo>
                    <a:pt x="510" y="470"/>
                  </a:lnTo>
                  <a:lnTo>
                    <a:pt x="509" y="472"/>
                  </a:lnTo>
                  <a:lnTo>
                    <a:pt x="509" y="473"/>
                  </a:lnTo>
                  <a:lnTo>
                    <a:pt x="510" y="473"/>
                  </a:lnTo>
                  <a:lnTo>
                    <a:pt x="507" y="475"/>
                  </a:lnTo>
                  <a:lnTo>
                    <a:pt x="507" y="476"/>
                  </a:lnTo>
                  <a:lnTo>
                    <a:pt x="505" y="476"/>
                  </a:lnTo>
                  <a:lnTo>
                    <a:pt x="505" y="478"/>
                  </a:lnTo>
                  <a:lnTo>
                    <a:pt x="500" y="478"/>
                  </a:lnTo>
                  <a:lnTo>
                    <a:pt x="500" y="480"/>
                  </a:lnTo>
                  <a:lnTo>
                    <a:pt x="499" y="480"/>
                  </a:lnTo>
                  <a:lnTo>
                    <a:pt x="499" y="481"/>
                  </a:lnTo>
                  <a:lnTo>
                    <a:pt x="498" y="481"/>
                  </a:lnTo>
                  <a:lnTo>
                    <a:pt x="497" y="482"/>
                  </a:lnTo>
                  <a:lnTo>
                    <a:pt x="497" y="484"/>
                  </a:lnTo>
                  <a:lnTo>
                    <a:pt x="495" y="485"/>
                  </a:lnTo>
                  <a:lnTo>
                    <a:pt x="494" y="485"/>
                  </a:lnTo>
                  <a:lnTo>
                    <a:pt x="494" y="486"/>
                  </a:lnTo>
                  <a:lnTo>
                    <a:pt x="499" y="486"/>
                  </a:lnTo>
                  <a:lnTo>
                    <a:pt x="498" y="487"/>
                  </a:lnTo>
                  <a:lnTo>
                    <a:pt x="498" y="488"/>
                  </a:lnTo>
                  <a:lnTo>
                    <a:pt x="497" y="488"/>
                  </a:lnTo>
                  <a:lnTo>
                    <a:pt x="498" y="490"/>
                  </a:lnTo>
                  <a:lnTo>
                    <a:pt x="497" y="491"/>
                  </a:lnTo>
                  <a:lnTo>
                    <a:pt x="495" y="491"/>
                  </a:lnTo>
                  <a:lnTo>
                    <a:pt x="494" y="492"/>
                  </a:lnTo>
                  <a:lnTo>
                    <a:pt x="494" y="491"/>
                  </a:lnTo>
                  <a:lnTo>
                    <a:pt x="492" y="491"/>
                  </a:lnTo>
                  <a:lnTo>
                    <a:pt x="492" y="492"/>
                  </a:lnTo>
                  <a:lnTo>
                    <a:pt x="491" y="493"/>
                  </a:lnTo>
                  <a:lnTo>
                    <a:pt x="486" y="493"/>
                  </a:lnTo>
                  <a:lnTo>
                    <a:pt x="485" y="494"/>
                  </a:lnTo>
                  <a:lnTo>
                    <a:pt x="485" y="497"/>
                  </a:lnTo>
                  <a:lnTo>
                    <a:pt x="484" y="497"/>
                  </a:lnTo>
                  <a:lnTo>
                    <a:pt x="481" y="494"/>
                  </a:lnTo>
                  <a:lnTo>
                    <a:pt x="479" y="494"/>
                  </a:lnTo>
                  <a:lnTo>
                    <a:pt x="478" y="495"/>
                  </a:lnTo>
                  <a:lnTo>
                    <a:pt x="476" y="495"/>
                  </a:lnTo>
                  <a:lnTo>
                    <a:pt x="476" y="497"/>
                  </a:lnTo>
                  <a:lnTo>
                    <a:pt x="475" y="498"/>
                  </a:lnTo>
                  <a:lnTo>
                    <a:pt x="475" y="499"/>
                  </a:lnTo>
                  <a:lnTo>
                    <a:pt x="474" y="498"/>
                  </a:lnTo>
                  <a:lnTo>
                    <a:pt x="474" y="497"/>
                  </a:lnTo>
                  <a:lnTo>
                    <a:pt x="470" y="497"/>
                  </a:lnTo>
                  <a:lnTo>
                    <a:pt x="469" y="495"/>
                  </a:lnTo>
                  <a:lnTo>
                    <a:pt x="467" y="495"/>
                  </a:lnTo>
                  <a:lnTo>
                    <a:pt x="467" y="494"/>
                  </a:lnTo>
                  <a:lnTo>
                    <a:pt x="464" y="494"/>
                  </a:lnTo>
                  <a:lnTo>
                    <a:pt x="464" y="495"/>
                  </a:lnTo>
                  <a:lnTo>
                    <a:pt x="466" y="497"/>
                  </a:lnTo>
                  <a:lnTo>
                    <a:pt x="467" y="497"/>
                  </a:lnTo>
                  <a:lnTo>
                    <a:pt x="467" y="498"/>
                  </a:lnTo>
                  <a:lnTo>
                    <a:pt x="463" y="498"/>
                  </a:lnTo>
                  <a:lnTo>
                    <a:pt x="463" y="499"/>
                  </a:lnTo>
                  <a:lnTo>
                    <a:pt x="461" y="499"/>
                  </a:lnTo>
                  <a:lnTo>
                    <a:pt x="460" y="498"/>
                  </a:lnTo>
                  <a:lnTo>
                    <a:pt x="460" y="497"/>
                  </a:lnTo>
                  <a:lnTo>
                    <a:pt x="461" y="497"/>
                  </a:lnTo>
                  <a:lnTo>
                    <a:pt x="461" y="495"/>
                  </a:lnTo>
                  <a:lnTo>
                    <a:pt x="460" y="495"/>
                  </a:lnTo>
                  <a:lnTo>
                    <a:pt x="460" y="494"/>
                  </a:lnTo>
                  <a:lnTo>
                    <a:pt x="459" y="494"/>
                  </a:lnTo>
                  <a:lnTo>
                    <a:pt x="456" y="493"/>
                  </a:lnTo>
                  <a:lnTo>
                    <a:pt x="456" y="492"/>
                  </a:lnTo>
                  <a:lnTo>
                    <a:pt x="455" y="491"/>
                  </a:lnTo>
                  <a:lnTo>
                    <a:pt x="454" y="491"/>
                  </a:lnTo>
                  <a:lnTo>
                    <a:pt x="454" y="492"/>
                  </a:lnTo>
                  <a:lnTo>
                    <a:pt x="451" y="492"/>
                  </a:lnTo>
                  <a:lnTo>
                    <a:pt x="449" y="490"/>
                  </a:lnTo>
                  <a:lnTo>
                    <a:pt x="442" y="490"/>
                  </a:lnTo>
                  <a:lnTo>
                    <a:pt x="442" y="487"/>
                  </a:lnTo>
                  <a:lnTo>
                    <a:pt x="443" y="486"/>
                  </a:lnTo>
                  <a:lnTo>
                    <a:pt x="442" y="486"/>
                  </a:lnTo>
                  <a:lnTo>
                    <a:pt x="442" y="485"/>
                  </a:lnTo>
                  <a:lnTo>
                    <a:pt x="441" y="482"/>
                  </a:lnTo>
                  <a:lnTo>
                    <a:pt x="439" y="481"/>
                  </a:lnTo>
                  <a:lnTo>
                    <a:pt x="437" y="482"/>
                  </a:lnTo>
                  <a:lnTo>
                    <a:pt x="429" y="482"/>
                  </a:lnTo>
                  <a:lnTo>
                    <a:pt x="428" y="481"/>
                  </a:lnTo>
                  <a:lnTo>
                    <a:pt x="428" y="478"/>
                  </a:lnTo>
                  <a:lnTo>
                    <a:pt x="433" y="478"/>
                  </a:lnTo>
                  <a:lnTo>
                    <a:pt x="436" y="475"/>
                  </a:lnTo>
                  <a:lnTo>
                    <a:pt x="436" y="473"/>
                  </a:lnTo>
                  <a:lnTo>
                    <a:pt x="435" y="473"/>
                  </a:lnTo>
                  <a:lnTo>
                    <a:pt x="433" y="474"/>
                  </a:lnTo>
                  <a:lnTo>
                    <a:pt x="432" y="474"/>
                  </a:lnTo>
                  <a:lnTo>
                    <a:pt x="432" y="473"/>
                  </a:lnTo>
                  <a:lnTo>
                    <a:pt x="431" y="472"/>
                  </a:lnTo>
                  <a:lnTo>
                    <a:pt x="431" y="470"/>
                  </a:lnTo>
                  <a:lnTo>
                    <a:pt x="429" y="470"/>
                  </a:lnTo>
                  <a:lnTo>
                    <a:pt x="429" y="469"/>
                  </a:lnTo>
                  <a:lnTo>
                    <a:pt x="428" y="469"/>
                  </a:lnTo>
                  <a:lnTo>
                    <a:pt x="428" y="473"/>
                  </a:lnTo>
                  <a:lnTo>
                    <a:pt x="430" y="475"/>
                  </a:lnTo>
                  <a:lnTo>
                    <a:pt x="428" y="478"/>
                  </a:lnTo>
                  <a:lnTo>
                    <a:pt x="426" y="478"/>
                  </a:lnTo>
                  <a:lnTo>
                    <a:pt x="424" y="476"/>
                  </a:lnTo>
                  <a:lnTo>
                    <a:pt x="423" y="476"/>
                  </a:lnTo>
                  <a:lnTo>
                    <a:pt x="423" y="478"/>
                  </a:lnTo>
                  <a:lnTo>
                    <a:pt x="420" y="478"/>
                  </a:lnTo>
                  <a:lnTo>
                    <a:pt x="420" y="479"/>
                  </a:lnTo>
                  <a:lnTo>
                    <a:pt x="422" y="480"/>
                  </a:lnTo>
                  <a:lnTo>
                    <a:pt x="423" y="480"/>
                  </a:lnTo>
                  <a:lnTo>
                    <a:pt x="420" y="482"/>
                  </a:lnTo>
                  <a:lnTo>
                    <a:pt x="420" y="480"/>
                  </a:lnTo>
                  <a:lnTo>
                    <a:pt x="418" y="479"/>
                  </a:lnTo>
                  <a:lnTo>
                    <a:pt x="417" y="478"/>
                  </a:lnTo>
                  <a:lnTo>
                    <a:pt x="416" y="475"/>
                  </a:lnTo>
                  <a:lnTo>
                    <a:pt x="416" y="478"/>
                  </a:lnTo>
                  <a:lnTo>
                    <a:pt x="417" y="479"/>
                  </a:lnTo>
                  <a:lnTo>
                    <a:pt x="418" y="479"/>
                  </a:lnTo>
                  <a:lnTo>
                    <a:pt x="419" y="480"/>
                  </a:lnTo>
                  <a:lnTo>
                    <a:pt x="419" y="481"/>
                  </a:lnTo>
                  <a:lnTo>
                    <a:pt x="410" y="481"/>
                  </a:lnTo>
                  <a:lnTo>
                    <a:pt x="408" y="480"/>
                  </a:lnTo>
                  <a:lnTo>
                    <a:pt x="408" y="479"/>
                  </a:lnTo>
                  <a:lnTo>
                    <a:pt x="410" y="479"/>
                  </a:lnTo>
                  <a:lnTo>
                    <a:pt x="410" y="476"/>
                  </a:lnTo>
                  <a:lnTo>
                    <a:pt x="408" y="476"/>
                  </a:lnTo>
                  <a:lnTo>
                    <a:pt x="406" y="475"/>
                  </a:lnTo>
                  <a:lnTo>
                    <a:pt x="392" y="475"/>
                  </a:lnTo>
                  <a:lnTo>
                    <a:pt x="392" y="474"/>
                  </a:lnTo>
                  <a:lnTo>
                    <a:pt x="391" y="474"/>
                  </a:lnTo>
                  <a:lnTo>
                    <a:pt x="389" y="472"/>
                  </a:lnTo>
                  <a:lnTo>
                    <a:pt x="391" y="470"/>
                  </a:lnTo>
                  <a:lnTo>
                    <a:pt x="389" y="469"/>
                  </a:lnTo>
                  <a:lnTo>
                    <a:pt x="385" y="469"/>
                  </a:lnTo>
                  <a:lnTo>
                    <a:pt x="382" y="470"/>
                  </a:lnTo>
                  <a:lnTo>
                    <a:pt x="374" y="478"/>
                  </a:lnTo>
                  <a:lnTo>
                    <a:pt x="369" y="480"/>
                  </a:lnTo>
                  <a:lnTo>
                    <a:pt x="368" y="481"/>
                  </a:lnTo>
                  <a:lnTo>
                    <a:pt x="364" y="486"/>
                  </a:lnTo>
                  <a:lnTo>
                    <a:pt x="363" y="486"/>
                  </a:lnTo>
                  <a:lnTo>
                    <a:pt x="362" y="485"/>
                  </a:lnTo>
                  <a:lnTo>
                    <a:pt x="358" y="485"/>
                  </a:lnTo>
                  <a:lnTo>
                    <a:pt x="356" y="486"/>
                  </a:lnTo>
                  <a:lnTo>
                    <a:pt x="351" y="491"/>
                  </a:lnTo>
                  <a:lnTo>
                    <a:pt x="351" y="492"/>
                  </a:lnTo>
                  <a:lnTo>
                    <a:pt x="350" y="492"/>
                  </a:lnTo>
                  <a:lnTo>
                    <a:pt x="350" y="493"/>
                  </a:lnTo>
                  <a:lnTo>
                    <a:pt x="349" y="494"/>
                  </a:lnTo>
                  <a:lnTo>
                    <a:pt x="348" y="494"/>
                  </a:lnTo>
                  <a:lnTo>
                    <a:pt x="348" y="495"/>
                  </a:lnTo>
                  <a:lnTo>
                    <a:pt x="346" y="497"/>
                  </a:lnTo>
                  <a:lnTo>
                    <a:pt x="346" y="499"/>
                  </a:lnTo>
                  <a:lnTo>
                    <a:pt x="345" y="500"/>
                  </a:lnTo>
                  <a:lnTo>
                    <a:pt x="345" y="501"/>
                  </a:lnTo>
                  <a:lnTo>
                    <a:pt x="344" y="504"/>
                  </a:lnTo>
                  <a:lnTo>
                    <a:pt x="344" y="505"/>
                  </a:lnTo>
                  <a:lnTo>
                    <a:pt x="345" y="506"/>
                  </a:lnTo>
                  <a:lnTo>
                    <a:pt x="345" y="507"/>
                  </a:lnTo>
                  <a:lnTo>
                    <a:pt x="344" y="510"/>
                  </a:lnTo>
                  <a:lnTo>
                    <a:pt x="344" y="528"/>
                  </a:lnTo>
                  <a:lnTo>
                    <a:pt x="346" y="528"/>
                  </a:lnTo>
                  <a:lnTo>
                    <a:pt x="348" y="529"/>
                  </a:lnTo>
                  <a:lnTo>
                    <a:pt x="349" y="529"/>
                  </a:lnTo>
                  <a:lnTo>
                    <a:pt x="349" y="531"/>
                  </a:lnTo>
                  <a:lnTo>
                    <a:pt x="350" y="533"/>
                  </a:lnTo>
                  <a:lnTo>
                    <a:pt x="350" y="534"/>
                  </a:lnTo>
                  <a:lnTo>
                    <a:pt x="349" y="535"/>
                  </a:lnTo>
                  <a:lnTo>
                    <a:pt x="346" y="535"/>
                  </a:lnTo>
                  <a:lnTo>
                    <a:pt x="345" y="534"/>
                  </a:lnTo>
                  <a:lnTo>
                    <a:pt x="344" y="534"/>
                  </a:lnTo>
                  <a:lnTo>
                    <a:pt x="344" y="533"/>
                  </a:lnTo>
                  <a:lnTo>
                    <a:pt x="338" y="533"/>
                  </a:lnTo>
                  <a:lnTo>
                    <a:pt x="338" y="534"/>
                  </a:lnTo>
                  <a:lnTo>
                    <a:pt x="336" y="534"/>
                  </a:lnTo>
                  <a:lnTo>
                    <a:pt x="335" y="535"/>
                  </a:lnTo>
                  <a:lnTo>
                    <a:pt x="330" y="535"/>
                  </a:lnTo>
                  <a:lnTo>
                    <a:pt x="330" y="536"/>
                  </a:lnTo>
                  <a:lnTo>
                    <a:pt x="327" y="537"/>
                  </a:lnTo>
                  <a:lnTo>
                    <a:pt x="327" y="538"/>
                  </a:lnTo>
                  <a:lnTo>
                    <a:pt x="329" y="540"/>
                  </a:lnTo>
                  <a:lnTo>
                    <a:pt x="326" y="540"/>
                  </a:lnTo>
                  <a:lnTo>
                    <a:pt x="324" y="538"/>
                  </a:lnTo>
                  <a:lnTo>
                    <a:pt x="323" y="538"/>
                  </a:lnTo>
                  <a:lnTo>
                    <a:pt x="323" y="540"/>
                  </a:lnTo>
                  <a:lnTo>
                    <a:pt x="320" y="540"/>
                  </a:lnTo>
                  <a:lnTo>
                    <a:pt x="317" y="536"/>
                  </a:lnTo>
                  <a:lnTo>
                    <a:pt x="313" y="535"/>
                  </a:lnTo>
                  <a:lnTo>
                    <a:pt x="306" y="535"/>
                  </a:lnTo>
                  <a:lnTo>
                    <a:pt x="305" y="536"/>
                  </a:lnTo>
                  <a:lnTo>
                    <a:pt x="305" y="537"/>
                  </a:lnTo>
                  <a:lnTo>
                    <a:pt x="304" y="537"/>
                  </a:lnTo>
                  <a:lnTo>
                    <a:pt x="304" y="538"/>
                  </a:lnTo>
                  <a:lnTo>
                    <a:pt x="300" y="538"/>
                  </a:lnTo>
                  <a:lnTo>
                    <a:pt x="299" y="537"/>
                  </a:lnTo>
                  <a:lnTo>
                    <a:pt x="298" y="535"/>
                  </a:lnTo>
                  <a:lnTo>
                    <a:pt x="298" y="534"/>
                  </a:lnTo>
                  <a:lnTo>
                    <a:pt x="295" y="534"/>
                  </a:lnTo>
                  <a:lnTo>
                    <a:pt x="293" y="531"/>
                  </a:lnTo>
                  <a:lnTo>
                    <a:pt x="289" y="531"/>
                  </a:lnTo>
                  <a:lnTo>
                    <a:pt x="288" y="530"/>
                  </a:lnTo>
                  <a:lnTo>
                    <a:pt x="288" y="528"/>
                  </a:lnTo>
                  <a:lnTo>
                    <a:pt x="289" y="527"/>
                  </a:lnTo>
                  <a:lnTo>
                    <a:pt x="290" y="527"/>
                  </a:lnTo>
                  <a:lnTo>
                    <a:pt x="290" y="525"/>
                  </a:lnTo>
                  <a:lnTo>
                    <a:pt x="288" y="525"/>
                  </a:lnTo>
                  <a:lnTo>
                    <a:pt x="288" y="524"/>
                  </a:lnTo>
                  <a:lnTo>
                    <a:pt x="283" y="523"/>
                  </a:lnTo>
                  <a:lnTo>
                    <a:pt x="281" y="522"/>
                  </a:lnTo>
                  <a:lnTo>
                    <a:pt x="277" y="522"/>
                  </a:lnTo>
                  <a:lnTo>
                    <a:pt x="277" y="524"/>
                  </a:lnTo>
                  <a:lnTo>
                    <a:pt x="276" y="525"/>
                  </a:lnTo>
                  <a:lnTo>
                    <a:pt x="276" y="524"/>
                  </a:lnTo>
                  <a:lnTo>
                    <a:pt x="275" y="522"/>
                  </a:lnTo>
                  <a:lnTo>
                    <a:pt x="274" y="521"/>
                  </a:lnTo>
                  <a:lnTo>
                    <a:pt x="274" y="519"/>
                  </a:lnTo>
                  <a:lnTo>
                    <a:pt x="273" y="519"/>
                  </a:lnTo>
                  <a:lnTo>
                    <a:pt x="273" y="518"/>
                  </a:lnTo>
                  <a:lnTo>
                    <a:pt x="264" y="518"/>
                  </a:lnTo>
                  <a:lnTo>
                    <a:pt x="263" y="517"/>
                  </a:lnTo>
                  <a:lnTo>
                    <a:pt x="263" y="516"/>
                  </a:lnTo>
                  <a:lnTo>
                    <a:pt x="262" y="515"/>
                  </a:lnTo>
                  <a:lnTo>
                    <a:pt x="257" y="515"/>
                  </a:lnTo>
                  <a:lnTo>
                    <a:pt x="256" y="513"/>
                  </a:lnTo>
                  <a:lnTo>
                    <a:pt x="254" y="513"/>
                  </a:lnTo>
                  <a:lnTo>
                    <a:pt x="252" y="512"/>
                  </a:lnTo>
                  <a:lnTo>
                    <a:pt x="250" y="511"/>
                  </a:lnTo>
                  <a:lnTo>
                    <a:pt x="244" y="511"/>
                  </a:lnTo>
                  <a:lnTo>
                    <a:pt x="244" y="513"/>
                  </a:lnTo>
                  <a:lnTo>
                    <a:pt x="243" y="515"/>
                  </a:lnTo>
                  <a:lnTo>
                    <a:pt x="244" y="516"/>
                  </a:lnTo>
                  <a:lnTo>
                    <a:pt x="243" y="516"/>
                  </a:lnTo>
                  <a:lnTo>
                    <a:pt x="243" y="517"/>
                  </a:lnTo>
                  <a:lnTo>
                    <a:pt x="244" y="517"/>
                  </a:lnTo>
                  <a:lnTo>
                    <a:pt x="244" y="519"/>
                  </a:lnTo>
                  <a:lnTo>
                    <a:pt x="232" y="519"/>
                  </a:lnTo>
                  <a:lnTo>
                    <a:pt x="231" y="518"/>
                  </a:lnTo>
                  <a:lnTo>
                    <a:pt x="230" y="518"/>
                  </a:lnTo>
                  <a:lnTo>
                    <a:pt x="230" y="519"/>
                  </a:lnTo>
                  <a:lnTo>
                    <a:pt x="228" y="521"/>
                  </a:lnTo>
                  <a:lnTo>
                    <a:pt x="227" y="521"/>
                  </a:lnTo>
                  <a:lnTo>
                    <a:pt x="227" y="519"/>
                  </a:lnTo>
                  <a:lnTo>
                    <a:pt x="226" y="518"/>
                  </a:lnTo>
                  <a:lnTo>
                    <a:pt x="225" y="518"/>
                  </a:lnTo>
                  <a:lnTo>
                    <a:pt x="223" y="517"/>
                  </a:lnTo>
                  <a:lnTo>
                    <a:pt x="221" y="518"/>
                  </a:lnTo>
                  <a:lnTo>
                    <a:pt x="219" y="518"/>
                  </a:lnTo>
                  <a:lnTo>
                    <a:pt x="215" y="519"/>
                  </a:lnTo>
                  <a:lnTo>
                    <a:pt x="212" y="519"/>
                  </a:lnTo>
                  <a:lnTo>
                    <a:pt x="212" y="518"/>
                  </a:lnTo>
                  <a:lnTo>
                    <a:pt x="211" y="518"/>
                  </a:lnTo>
                  <a:lnTo>
                    <a:pt x="211" y="517"/>
                  </a:lnTo>
                  <a:lnTo>
                    <a:pt x="209" y="516"/>
                  </a:lnTo>
                  <a:lnTo>
                    <a:pt x="209" y="513"/>
                  </a:lnTo>
                  <a:lnTo>
                    <a:pt x="208" y="513"/>
                  </a:lnTo>
                  <a:lnTo>
                    <a:pt x="207" y="515"/>
                  </a:lnTo>
                  <a:lnTo>
                    <a:pt x="203" y="511"/>
                  </a:lnTo>
                  <a:lnTo>
                    <a:pt x="202" y="511"/>
                  </a:lnTo>
                  <a:lnTo>
                    <a:pt x="202" y="512"/>
                  </a:lnTo>
                  <a:lnTo>
                    <a:pt x="201" y="512"/>
                  </a:lnTo>
                  <a:lnTo>
                    <a:pt x="201" y="511"/>
                  </a:lnTo>
                  <a:lnTo>
                    <a:pt x="199" y="513"/>
                  </a:lnTo>
                  <a:lnTo>
                    <a:pt x="196" y="513"/>
                  </a:lnTo>
                  <a:lnTo>
                    <a:pt x="194" y="512"/>
                  </a:lnTo>
                  <a:lnTo>
                    <a:pt x="193" y="515"/>
                  </a:lnTo>
                  <a:lnTo>
                    <a:pt x="192" y="515"/>
                  </a:lnTo>
                  <a:lnTo>
                    <a:pt x="192" y="513"/>
                  </a:lnTo>
                  <a:lnTo>
                    <a:pt x="190" y="513"/>
                  </a:lnTo>
                  <a:lnTo>
                    <a:pt x="190" y="512"/>
                  </a:lnTo>
                  <a:lnTo>
                    <a:pt x="189" y="510"/>
                  </a:lnTo>
                  <a:lnTo>
                    <a:pt x="188" y="510"/>
                  </a:lnTo>
                  <a:lnTo>
                    <a:pt x="187" y="509"/>
                  </a:lnTo>
                  <a:lnTo>
                    <a:pt x="184" y="509"/>
                  </a:lnTo>
                  <a:lnTo>
                    <a:pt x="184" y="505"/>
                  </a:lnTo>
                  <a:lnTo>
                    <a:pt x="183" y="504"/>
                  </a:lnTo>
                  <a:lnTo>
                    <a:pt x="180" y="505"/>
                  </a:lnTo>
                  <a:lnTo>
                    <a:pt x="176" y="505"/>
                  </a:lnTo>
                  <a:lnTo>
                    <a:pt x="175" y="504"/>
                  </a:lnTo>
                  <a:lnTo>
                    <a:pt x="172" y="503"/>
                  </a:lnTo>
                  <a:lnTo>
                    <a:pt x="171" y="503"/>
                  </a:lnTo>
                  <a:lnTo>
                    <a:pt x="170" y="501"/>
                  </a:lnTo>
                  <a:lnTo>
                    <a:pt x="168" y="501"/>
                  </a:lnTo>
                  <a:lnTo>
                    <a:pt x="167" y="500"/>
                  </a:lnTo>
                  <a:lnTo>
                    <a:pt x="164" y="499"/>
                  </a:lnTo>
                  <a:lnTo>
                    <a:pt x="162" y="499"/>
                  </a:lnTo>
                  <a:lnTo>
                    <a:pt x="162" y="498"/>
                  </a:lnTo>
                  <a:lnTo>
                    <a:pt x="161" y="498"/>
                  </a:lnTo>
                  <a:lnTo>
                    <a:pt x="161" y="495"/>
                  </a:lnTo>
                  <a:lnTo>
                    <a:pt x="159" y="495"/>
                  </a:lnTo>
                  <a:lnTo>
                    <a:pt x="159" y="497"/>
                  </a:lnTo>
                  <a:lnTo>
                    <a:pt x="158" y="498"/>
                  </a:lnTo>
                  <a:lnTo>
                    <a:pt x="158" y="500"/>
                  </a:lnTo>
                  <a:lnTo>
                    <a:pt x="157" y="500"/>
                  </a:lnTo>
                  <a:lnTo>
                    <a:pt x="156" y="499"/>
                  </a:lnTo>
                  <a:lnTo>
                    <a:pt x="155" y="499"/>
                  </a:lnTo>
                  <a:lnTo>
                    <a:pt x="153" y="498"/>
                  </a:lnTo>
                  <a:lnTo>
                    <a:pt x="153" y="497"/>
                  </a:lnTo>
                  <a:lnTo>
                    <a:pt x="156" y="494"/>
                  </a:lnTo>
                  <a:lnTo>
                    <a:pt x="157" y="492"/>
                  </a:lnTo>
                  <a:lnTo>
                    <a:pt x="157" y="487"/>
                  </a:lnTo>
                  <a:lnTo>
                    <a:pt x="156" y="486"/>
                  </a:lnTo>
                  <a:lnTo>
                    <a:pt x="155" y="486"/>
                  </a:lnTo>
                  <a:lnTo>
                    <a:pt x="155" y="487"/>
                  </a:lnTo>
                  <a:lnTo>
                    <a:pt x="152" y="486"/>
                  </a:lnTo>
                  <a:lnTo>
                    <a:pt x="151" y="485"/>
                  </a:lnTo>
                  <a:lnTo>
                    <a:pt x="150" y="485"/>
                  </a:lnTo>
                  <a:lnTo>
                    <a:pt x="150" y="486"/>
                  </a:lnTo>
                  <a:lnTo>
                    <a:pt x="149" y="487"/>
                  </a:lnTo>
                  <a:lnTo>
                    <a:pt x="146" y="487"/>
                  </a:lnTo>
                  <a:lnTo>
                    <a:pt x="146" y="485"/>
                  </a:lnTo>
                  <a:lnTo>
                    <a:pt x="145" y="484"/>
                  </a:lnTo>
                  <a:lnTo>
                    <a:pt x="144" y="485"/>
                  </a:lnTo>
                  <a:lnTo>
                    <a:pt x="141" y="485"/>
                  </a:lnTo>
                  <a:lnTo>
                    <a:pt x="141" y="482"/>
                  </a:lnTo>
                  <a:lnTo>
                    <a:pt x="140" y="482"/>
                  </a:lnTo>
                  <a:lnTo>
                    <a:pt x="140" y="480"/>
                  </a:lnTo>
                  <a:lnTo>
                    <a:pt x="141" y="480"/>
                  </a:lnTo>
                  <a:lnTo>
                    <a:pt x="143" y="479"/>
                  </a:lnTo>
                  <a:lnTo>
                    <a:pt x="146" y="479"/>
                  </a:lnTo>
                  <a:lnTo>
                    <a:pt x="146" y="478"/>
                  </a:lnTo>
                  <a:lnTo>
                    <a:pt x="147" y="476"/>
                  </a:lnTo>
                  <a:lnTo>
                    <a:pt x="149" y="476"/>
                  </a:lnTo>
                  <a:lnTo>
                    <a:pt x="149" y="475"/>
                  </a:lnTo>
                  <a:lnTo>
                    <a:pt x="150" y="474"/>
                  </a:lnTo>
                  <a:lnTo>
                    <a:pt x="150" y="473"/>
                  </a:lnTo>
                  <a:lnTo>
                    <a:pt x="152" y="470"/>
                  </a:lnTo>
                  <a:lnTo>
                    <a:pt x="152" y="469"/>
                  </a:lnTo>
                  <a:lnTo>
                    <a:pt x="153" y="468"/>
                  </a:lnTo>
                  <a:lnTo>
                    <a:pt x="153" y="466"/>
                  </a:lnTo>
                  <a:lnTo>
                    <a:pt x="155" y="463"/>
                  </a:lnTo>
                  <a:lnTo>
                    <a:pt x="157" y="454"/>
                  </a:lnTo>
                  <a:lnTo>
                    <a:pt x="158" y="450"/>
                  </a:lnTo>
                  <a:lnTo>
                    <a:pt x="159" y="443"/>
                  </a:lnTo>
                  <a:lnTo>
                    <a:pt x="163" y="418"/>
                  </a:lnTo>
                  <a:lnTo>
                    <a:pt x="163" y="411"/>
                  </a:lnTo>
                  <a:lnTo>
                    <a:pt x="164" y="409"/>
                  </a:lnTo>
                  <a:lnTo>
                    <a:pt x="164" y="408"/>
                  </a:lnTo>
                  <a:lnTo>
                    <a:pt x="165" y="406"/>
                  </a:lnTo>
                  <a:lnTo>
                    <a:pt x="165" y="405"/>
                  </a:lnTo>
                  <a:lnTo>
                    <a:pt x="171" y="405"/>
                  </a:lnTo>
                  <a:lnTo>
                    <a:pt x="171" y="401"/>
                  </a:lnTo>
                  <a:lnTo>
                    <a:pt x="168" y="399"/>
                  </a:lnTo>
                  <a:lnTo>
                    <a:pt x="168" y="398"/>
                  </a:lnTo>
                  <a:lnTo>
                    <a:pt x="167" y="398"/>
                  </a:lnTo>
                  <a:lnTo>
                    <a:pt x="167" y="399"/>
                  </a:lnTo>
                  <a:lnTo>
                    <a:pt x="165" y="399"/>
                  </a:lnTo>
                  <a:lnTo>
                    <a:pt x="164" y="402"/>
                  </a:lnTo>
                  <a:lnTo>
                    <a:pt x="163" y="405"/>
                  </a:lnTo>
                  <a:lnTo>
                    <a:pt x="165" y="377"/>
                  </a:lnTo>
                  <a:lnTo>
                    <a:pt x="167" y="368"/>
                  </a:lnTo>
                  <a:lnTo>
                    <a:pt x="168" y="355"/>
                  </a:lnTo>
                  <a:lnTo>
                    <a:pt x="170" y="351"/>
                  </a:lnTo>
                  <a:lnTo>
                    <a:pt x="170" y="350"/>
                  </a:lnTo>
                  <a:lnTo>
                    <a:pt x="171" y="350"/>
                  </a:lnTo>
                  <a:lnTo>
                    <a:pt x="171" y="353"/>
                  </a:lnTo>
                  <a:lnTo>
                    <a:pt x="172" y="355"/>
                  </a:lnTo>
                  <a:lnTo>
                    <a:pt x="177" y="357"/>
                  </a:lnTo>
                  <a:lnTo>
                    <a:pt x="182" y="363"/>
                  </a:lnTo>
                  <a:lnTo>
                    <a:pt x="183" y="365"/>
                  </a:lnTo>
                  <a:lnTo>
                    <a:pt x="184" y="366"/>
                  </a:lnTo>
                  <a:lnTo>
                    <a:pt x="184" y="370"/>
                  </a:lnTo>
                  <a:lnTo>
                    <a:pt x="186" y="376"/>
                  </a:lnTo>
                  <a:lnTo>
                    <a:pt x="187" y="380"/>
                  </a:lnTo>
                  <a:lnTo>
                    <a:pt x="193" y="386"/>
                  </a:lnTo>
                  <a:lnTo>
                    <a:pt x="193" y="384"/>
                  </a:lnTo>
                  <a:lnTo>
                    <a:pt x="192" y="383"/>
                  </a:lnTo>
                  <a:lnTo>
                    <a:pt x="194" y="383"/>
                  </a:lnTo>
                  <a:lnTo>
                    <a:pt x="193" y="382"/>
                  </a:lnTo>
                  <a:lnTo>
                    <a:pt x="190" y="381"/>
                  </a:lnTo>
                  <a:lnTo>
                    <a:pt x="188" y="378"/>
                  </a:lnTo>
                  <a:lnTo>
                    <a:pt x="188" y="376"/>
                  </a:lnTo>
                  <a:lnTo>
                    <a:pt x="186" y="365"/>
                  </a:lnTo>
                  <a:lnTo>
                    <a:pt x="186" y="363"/>
                  </a:lnTo>
                  <a:lnTo>
                    <a:pt x="184" y="359"/>
                  </a:lnTo>
                  <a:lnTo>
                    <a:pt x="183" y="357"/>
                  </a:lnTo>
                  <a:lnTo>
                    <a:pt x="182" y="356"/>
                  </a:lnTo>
                  <a:lnTo>
                    <a:pt x="181" y="353"/>
                  </a:lnTo>
                  <a:lnTo>
                    <a:pt x="175" y="350"/>
                  </a:lnTo>
                  <a:lnTo>
                    <a:pt x="175" y="349"/>
                  </a:lnTo>
                  <a:lnTo>
                    <a:pt x="174" y="347"/>
                  </a:lnTo>
                  <a:lnTo>
                    <a:pt x="172" y="347"/>
                  </a:lnTo>
                  <a:lnTo>
                    <a:pt x="169" y="344"/>
                  </a:lnTo>
                  <a:lnTo>
                    <a:pt x="168" y="344"/>
                  </a:lnTo>
                  <a:lnTo>
                    <a:pt x="165" y="341"/>
                  </a:lnTo>
                  <a:lnTo>
                    <a:pt x="164" y="343"/>
                  </a:lnTo>
                  <a:lnTo>
                    <a:pt x="163" y="341"/>
                  </a:lnTo>
                  <a:lnTo>
                    <a:pt x="164" y="338"/>
                  </a:lnTo>
                  <a:lnTo>
                    <a:pt x="164" y="337"/>
                  </a:lnTo>
                  <a:lnTo>
                    <a:pt x="167" y="335"/>
                  </a:lnTo>
                  <a:lnTo>
                    <a:pt x="170" y="339"/>
                  </a:lnTo>
                  <a:lnTo>
                    <a:pt x="171" y="339"/>
                  </a:lnTo>
                  <a:lnTo>
                    <a:pt x="171" y="340"/>
                  </a:lnTo>
                  <a:lnTo>
                    <a:pt x="175" y="341"/>
                  </a:lnTo>
                  <a:lnTo>
                    <a:pt x="174" y="340"/>
                  </a:lnTo>
                  <a:lnTo>
                    <a:pt x="170" y="338"/>
                  </a:lnTo>
                  <a:lnTo>
                    <a:pt x="169" y="335"/>
                  </a:lnTo>
                  <a:lnTo>
                    <a:pt x="168" y="335"/>
                  </a:lnTo>
                  <a:lnTo>
                    <a:pt x="168" y="332"/>
                  </a:lnTo>
                  <a:lnTo>
                    <a:pt x="169" y="332"/>
                  </a:lnTo>
                  <a:lnTo>
                    <a:pt x="169" y="331"/>
                  </a:lnTo>
                  <a:lnTo>
                    <a:pt x="170" y="331"/>
                  </a:lnTo>
                  <a:lnTo>
                    <a:pt x="171" y="329"/>
                  </a:lnTo>
                  <a:lnTo>
                    <a:pt x="171" y="328"/>
                  </a:lnTo>
                  <a:lnTo>
                    <a:pt x="170" y="328"/>
                  </a:lnTo>
                  <a:lnTo>
                    <a:pt x="170" y="327"/>
                  </a:lnTo>
                  <a:lnTo>
                    <a:pt x="171" y="326"/>
                  </a:lnTo>
                  <a:lnTo>
                    <a:pt x="170" y="326"/>
                  </a:lnTo>
                  <a:lnTo>
                    <a:pt x="170" y="325"/>
                  </a:lnTo>
                  <a:lnTo>
                    <a:pt x="169" y="323"/>
                  </a:lnTo>
                  <a:lnTo>
                    <a:pt x="171" y="323"/>
                  </a:lnTo>
                  <a:lnTo>
                    <a:pt x="171" y="321"/>
                  </a:lnTo>
                  <a:lnTo>
                    <a:pt x="170" y="321"/>
                  </a:lnTo>
                  <a:lnTo>
                    <a:pt x="170" y="318"/>
                  </a:lnTo>
                  <a:lnTo>
                    <a:pt x="168" y="318"/>
                  </a:lnTo>
                  <a:lnTo>
                    <a:pt x="169" y="316"/>
                  </a:lnTo>
                  <a:lnTo>
                    <a:pt x="168" y="316"/>
                  </a:lnTo>
                  <a:lnTo>
                    <a:pt x="168" y="315"/>
                  </a:lnTo>
                  <a:lnTo>
                    <a:pt x="165" y="315"/>
                  </a:lnTo>
                  <a:lnTo>
                    <a:pt x="165" y="313"/>
                  </a:lnTo>
                  <a:lnTo>
                    <a:pt x="167" y="313"/>
                  </a:lnTo>
                  <a:lnTo>
                    <a:pt x="165" y="312"/>
                  </a:lnTo>
                  <a:lnTo>
                    <a:pt x="169" y="308"/>
                  </a:lnTo>
                  <a:lnTo>
                    <a:pt x="169" y="306"/>
                  </a:lnTo>
                  <a:lnTo>
                    <a:pt x="168" y="304"/>
                  </a:lnTo>
                  <a:lnTo>
                    <a:pt x="167" y="304"/>
                  </a:lnTo>
                  <a:lnTo>
                    <a:pt x="164" y="306"/>
                  </a:lnTo>
                  <a:lnTo>
                    <a:pt x="165" y="307"/>
                  </a:lnTo>
                  <a:lnTo>
                    <a:pt x="164" y="307"/>
                  </a:lnTo>
                  <a:lnTo>
                    <a:pt x="162" y="304"/>
                  </a:lnTo>
                  <a:lnTo>
                    <a:pt x="159" y="304"/>
                  </a:lnTo>
                  <a:lnTo>
                    <a:pt x="158" y="303"/>
                  </a:lnTo>
                  <a:lnTo>
                    <a:pt x="155" y="303"/>
                  </a:lnTo>
                  <a:lnTo>
                    <a:pt x="155" y="301"/>
                  </a:lnTo>
                  <a:lnTo>
                    <a:pt x="152" y="298"/>
                  </a:lnTo>
                  <a:lnTo>
                    <a:pt x="147" y="298"/>
                  </a:lnTo>
                  <a:lnTo>
                    <a:pt x="147" y="297"/>
                  </a:lnTo>
                  <a:lnTo>
                    <a:pt x="145" y="296"/>
                  </a:lnTo>
                  <a:lnTo>
                    <a:pt x="144" y="295"/>
                  </a:lnTo>
                  <a:lnTo>
                    <a:pt x="141" y="295"/>
                  </a:lnTo>
                  <a:lnTo>
                    <a:pt x="141" y="294"/>
                  </a:lnTo>
                  <a:lnTo>
                    <a:pt x="140" y="292"/>
                  </a:lnTo>
                  <a:lnTo>
                    <a:pt x="140" y="294"/>
                  </a:lnTo>
                  <a:lnTo>
                    <a:pt x="139" y="289"/>
                  </a:lnTo>
                  <a:lnTo>
                    <a:pt x="139" y="288"/>
                  </a:lnTo>
                  <a:lnTo>
                    <a:pt x="138" y="288"/>
                  </a:lnTo>
                  <a:lnTo>
                    <a:pt x="138" y="285"/>
                  </a:lnTo>
                  <a:lnTo>
                    <a:pt x="137" y="285"/>
                  </a:lnTo>
                  <a:lnTo>
                    <a:pt x="137" y="284"/>
                  </a:lnTo>
                  <a:lnTo>
                    <a:pt x="136" y="284"/>
                  </a:lnTo>
                  <a:lnTo>
                    <a:pt x="136" y="282"/>
                  </a:lnTo>
                  <a:lnTo>
                    <a:pt x="133" y="282"/>
                  </a:lnTo>
                  <a:lnTo>
                    <a:pt x="133" y="280"/>
                  </a:lnTo>
                  <a:lnTo>
                    <a:pt x="132" y="278"/>
                  </a:lnTo>
                  <a:lnTo>
                    <a:pt x="128" y="275"/>
                  </a:lnTo>
                  <a:lnTo>
                    <a:pt x="126" y="275"/>
                  </a:lnTo>
                  <a:lnTo>
                    <a:pt x="126" y="269"/>
                  </a:lnTo>
                  <a:lnTo>
                    <a:pt x="127" y="269"/>
                  </a:lnTo>
                  <a:lnTo>
                    <a:pt x="127" y="267"/>
                  </a:lnTo>
                  <a:lnTo>
                    <a:pt x="128" y="266"/>
                  </a:lnTo>
                  <a:lnTo>
                    <a:pt x="130" y="266"/>
                  </a:lnTo>
                  <a:lnTo>
                    <a:pt x="130" y="265"/>
                  </a:lnTo>
                  <a:lnTo>
                    <a:pt x="131" y="263"/>
                  </a:lnTo>
                  <a:lnTo>
                    <a:pt x="131" y="261"/>
                  </a:lnTo>
                  <a:lnTo>
                    <a:pt x="132" y="261"/>
                  </a:lnTo>
                  <a:lnTo>
                    <a:pt x="132" y="259"/>
                  </a:lnTo>
                  <a:lnTo>
                    <a:pt x="131" y="258"/>
                  </a:lnTo>
                  <a:lnTo>
                    <a:pt x="127" y="255"/>
                  </a:lnTo>
                  <a:lnTo>
                    <a:pt x="122" y="255"/>
                  </a:lnTo>
                  <a:lnTo>
                    <a:pt x="121" y="254"/>
                  </a:lnTo>
                  <a:lnTo>
                    <a:pt x="122" y="254"/>
                  </a:lnTo>
                  <a:lnTo>
                    <a:pt x="122" y="253"/>
                  </a:lnTo>
                  <a:lnTo>
                    <a:pt x="125" y="253"/>
                  </a:lnTo>
                  <a:lnTo>
                    <a:pt x="125" y="246"/>
                  </a:lnTo>
                  <a:lnTo>
                    <a:pt x="126" y="246"/>
                  </a:lnTo>
                  <a:lnTo>
                    <a:pt x="130" y="245"/>
                  </a:lnTo>
                  <a:lnTo>
                    <a:pt x="132" y="245"/>
                  </a:lnTo>
                  <a:lnTo>
                    <a:pt x="134" y="246"/>
                  </a:lnTo>
                  <a:lnTo>
                    <a:pt x="136" y="246"/>
                  </a:lnTo>
                  <a:lnTo>
                    <a:pt x="136" y="247"/>
                  </a:lnTo>
                  <a:lnTo>
                    <a:pt x="137" y="248"/>
                  </a:lnTo>
                  <a:lnTo>
                    <a:pt x="139" y="248"/>
                  </a:lnTo>
                  <a:lnTo>
                    <a:pt x="140" y="249"/>
                  </a:lnTo>
                  <a:lnTo>
                    <a:pt x="140" y="248"/>
                  </a:lnTo>
                  <a:lnTo>
                    <a:pt x="138" y="247"/>
                  </a:lnTo>
                  <a:lnTo>
                    <a:pt x="136" y="245"/>
                  </a:lnTo>
                  <a:lnTo>
                    <a:pt x="133" y="245"/>
                  </a:lnTo>
                  <a:lnTo>
                    <a:pt x="133" y="243"/>
                  </a:lnTo>
                  <a:lnTo>
                    <a:pt x="125" y="243"/>
                  </a:lnTo>
                  <a:lnTo>
                    <a:pt x="124" y="245"/>
                  </a:lnTo>
                  <a:lnTo>
                    <a:pt x="124" y="246"/>
                  </a:lnTo>
                  <a:lnTo>
                    <a:pt x="122" y="246"/>
                  </a:lnTo>
                  <a:lnTo>
                    <a:pt x="121" y="247"/>
                  </a:lnTo>
                  <a:lnTo>
                    <a:pt x="120" y="247"/>
                  </a:lnTo>
                  <a:lnTo>
                    <a:pt x="120" y="248"/>
                  </a:lnTo>
                  <a:lnTo>
                    <a:pt x="119" y="248"/>
                  </a:lnTo>
                  <a:lnTo>
                    <a:pt x="115" y="245"/>
                  </a:lnTo>
                  <a:lnTo>
                    <a:pt x="115" y="246"/>
                  </a:lnTo>
                  <a:lnTo>
                    <a:pt x="114" y="246"/>
                  </a:lnTo>
                  <a:lnTo>
                    <a:pt x="114" y="247"/>
                  </a:lnTo>
                  <a:lnTo>
                    <a:pt x="113" y="247"/>
                  </a:lnTo>
                  <a:lnTo>
                    <a:pt x="108" y="245"/>
                  </a:lnTo>
                  <a:lnTo>
                    <a:pt x="108" y="243"/>
                  </a:lnTo>
                  <a:lnTo>
                    <a:pt x="109" y="245"/>
                  </a:lnTo>
                  <a:lnTo>
                    <a:pt x="113" y="245"/>
                  </a:lnTo>
                  <a:lnTo>
                    <a:pt x="113" y="243"/>
                  </a:lnTo>
                  <a:lnTo>
                    <a:pt x="112" y="242"/>
                  </a:lnTo>
                  <a:lnTo>
                    <a:pt x="112" y="241"/>
                  </a:lnTo>
                  <a:lnTo>
                    <a:pt x="110" y="241"/>
                  </a:lnTo>
                  <a:lnTo>
                    <a:pt x="109" y="240"/>
                  </a:lnTo>
                  <a:lnTo>
                    <a:pt x="108" y="240"/>
                  </a:lnTo>
                  <a:lnTo>
                    <a:pt x="112" y="238"/>
                  </a:lnTo>
                  <a:lnTo>
                    <a:pt x="115" y="238"/>
                  </a:lnTo>
                  <a:lnTo>
                    <a:pt x="115" y="236"/>
                  </a:lnTo>
                  <a:lnTo>
                    <a:pt x="113" y="236"/>
                  </a:lnTo>
                  <a:lnTo>
                    <a:pt x="113" y="235"/>
                  </a:lnTo>
                  <a:lnTo>
                    <a:pt x="110" y="235"/>
                  </a:lnTo>
                  <a:lnTo>
                    <a:pt x="112" y="234"/>
                  </a:lnTo>
                  <a:lnTo>
                    <a:pt x="110" y="233"/>
                  </a:lnTo>
                  <a:lnTo>
                    <a:pt x="112" y="233"/>
                  </a:lnTo>
                  <a:lnTo>
                    <a:pt x="114" y="232"/>
                  </a:lnTo>
                  <a:lnTo>
                    <a:pt x="110" y="230"/>
                  </a:lnTo>
                  <a:lnTo>
                    <a:pt x="106" y="230"/>
                  </a:lnTo>
                  <a:lnTo>
                    <a:pt x="107" y="229"/>
                  </a:lnTo>
                  <a:lnTo>
                    <a:pt x="106" y="229"/>
                  </a:lnTo>
                  <a:lnTo>
                    <a:pt x="106" y="232"/>
                  </a:lnTo>
                  <a:lnTo>
                    <a:pt x="105" y="230"/>
                  </a:lnTo>
                  <a:lnTo>
                    <a:pt x="103" y="230"/>
                  </a:lnTo>
                  <a:lnTo>
                    <a:pt x="103" y="232"/>
                  </a:lnTo>
                  <a:lnTo>
                    <a:pt x="99" y="232"/>
                  </a:lnTo>
                  <a:lnTo>
                    <a:pt x="97" y="233"/>
                  </a:lnTo>
                  <a:lnTo>
                    <a:pt x="97" y="232"/>
                  </a:lnTo>
                  <a:lnTo>
                    <a:pt x="96" y="232"/>
                  </a:lnTo>
                  <a:lnTo>
                    <a:pt x="95" y="230"/>
                  </a:lnTo>
                  <a:lnTo>
                    <a:pt x="95" y="229"/>
                  </a:lnTo>
                  <a:lnTo>
                    <a:pt x="94" y="229"/>
                  </a:lnTo>
                  <a:lnTo>
                    <a:pt x="93" y="228"/>
                  </a:lnTo>
                  <a:lnTo>
                    <a:pt x="95" y="228"/>
                  </a:lnTo>
                  <a:lnTo>
                    <a:pt x="96" y="229"/>
                  </a:lnTo>
                  <a:lnTo>
                    <a:pt x="97" y="229"/>
                  </a:lnTo>
                  <a:lnTo>
                    <a:pt x="97" y="228"/>
                  </a:lnTo>
                  <a:lnTo>
                    <a:pt x="99" y="229"/>
                  </a:lnTo>
                  <a:lnTo>
                    <a:pt x="100" y="229"/>
                  </a:lnTo>
                  <a:lnTo>
                    <a:pt x="101" y="228"/>
                  </a:lnTo>
                  <a:lnTo>
                    <a:pt x="102" y="226"/>
                  </a:lnTo>
                  <a:lnTo>
                    <a:pt x="102" y="224"/>
                  </a:lnTo>
                  <a:lnTo>
                    <a:pt x="101" y="224"/>
                  </a:lnTo>
                  <a:lnTo>
                    <a:pt x="100" y="223"/>
                  </a:lnTo>
                  <a:lnTo>
                    <a:pt x="99" y="223"/>
                  </a:lnTo>
                  <a:lnTo>
                    <a:pt x="97" y="224"/>
                  </a:lnTo>
                  <a:lnTo>
                    <a:pt x="95" y="224"/>
                  </a:lnTo>
                  <a:lnTo>
                    <a:pt x="95" y="226"/>
                  </a:lnTo>
                  <a:lnTo>
                    <a:pt x="91" y="226"/>
                  </a:lnTo>
                  <a:lnTo>
                    <a:pt x="91" y="224"/>
                  </a:lnTo>
                  <a:lnTo>
                    <a:pt x="93" y="223"/>
                  </a:lnTo>
                  <a:lnTo>
                    <a:pt x="91" y="223"/>
                  </a:lnTo>
                  <a:lnTo>
                    <a:pt x="90" y="222"/>
                  </a:lnTo>
                  <a:lnTo>
                    <a:pt x="90" y="226"/>
                  </a:lnTo>
                  <a:lnTo>
                    <a:pt x="91" y="226"/>
                  </a:lnTo>
                  <a:lnTo>
                    <a:pt x="91" y="227"/>
                  </a:lnTo>
                  <a:lnTo>
                    <a:pt x="93" y="228"/>
                  </a:lnTo>
                  <a:lnTo>
                    <a:pt x="91" y="228"/>
                  </a:lnTo>
                  <a:lnTo>
                    <a:pt x="90" y="227"/>
                  </a:lnTo>
                  <a:lnTo>
                    <a:pt x="89" y="227"/>
                  </a:lnTo>
                  <a:lnTo>
                    <a:pt x="89" y="226"/>
                  </a:lnTo>
                  <a:lnTo>
                    <a:pt x="88" y="226"/>
                  </a:lnTo>
                  <a:lnTo>
                    <a:pt x="89" y="227"/>
                  </a:lnTo>
                  <a:lnTo>
                    <a:pt x="85" y="227"/>
                  </a:lnTo>
                  <a:lnTo>
                    <a:pt x="84" y="226"/>
                  </a:lnTo>
                  <a:lnTo>
                    <a:pt x="84" y="227"/>
                  </a:lnTo>
                  <a:lnTo>
                    <a:pt x="81" y="223"/>
                  </a:lnTo>
                  <a:lnTo>
                    <a:pt x="81" y="222"/>
                  </a:lnTo>
                  <a:lnTo>
                    <a:pt x="82" y="221"/>
                  </a:lnTo>
                  <a:lnTo>
                    <a:pt x="84" y="220"/>
                  </a:lnTo>
                  <a:lnTo>
                    <a:pt x="84" y="218"/>
                  </a:lnTo>
                  <a:lnTo>
                    <a:pt x="83" y="218"/>
                  </a:lnTo>
                  <a:lnTo>
                    <a:pt x="83" y="217"/>
                  </a:lnTo>
                  <a:lnTo>
                    <a:pt x="82" y="217"/>
                  </a:lnTo>
                  <a:lnTo>
                    <a:pt x="82" y="216"/>
                  </a:lnTo>
                  <a:lnTo>
                    <a:pt x="81" y="217"/>
                  </a:lnTo>
                  <a:lnTo>
                    <a:pt x="82" y="217"/>
                  </a:lnTo>
                  <a:lnTo>
                    <a:pt x="82" y="220"/>
                  </a:lnTo>
                  <a:lnTo>
                    <a:pt x="81" y="220"/>
                  </a:lnTo>
                  <a:lnTo>
                    <a:pt x="81" y="222"/>
                  </a:lnTo>
                  <a:lnTo>
                    <a:pt x="80" y="222"/>
                  </a:lnTo>
                  <a:lnTo>
                    <a:pt x="78" y="221"/>
                  </a:lnTo>
                  <a:lnTo>
                    <a:pt x="77" y="221"/>
                  </a:lnTo>
                  <a:lnTo>
                    <a:pt x="75" y="218"/>
                  </a:lnTo>
                  <a:lnTo>
                    <a:pt x="75" y="217"/>
                  </a:lnTo>
                  <a:lnTo>
                    <a:pt x="76" y="217"/>
                  </a:lnTo>
                  <a:lnTo>
                    <a:pt x="76" y="216"/>
                  </a:lnTo>
                  <a:lnTo>
                    <a:pt x="77" y="215"/>
                  </a:lnTo>
                  <a:lnTo>
                    <a:pt x="77" y="214"/>
                  </a:lnTo>
                  <a:lnTo>
                    <a:pt x="76" y="215"/>
                  </a:lnTo>
                  <a:lnTo>
                    <a:pt x="76" y="216"/>
                  </a:lnTo>
                  <a:lnTo>
                    <a:pt x="74" y="217"/>
                  </a:lnTo>
                  <a:lnTo>
                    <a:pt x="74" y="218"/>
                  </a:lnTo>
                  <a:lnTo>
                    <a:pt x="70" y="220"/>
                  </a:lnTo>
                  <a:lnTo>
                    <a:pt x="70" y="218"/>
                  </a:lnTo>
                  <a:lnTo>
                    <a:pt x="68" y="216"/>
                  </a:lnTo>
                  <a:lnTo>
                    <a:pt x="68" y="215"/>
                  </a:lnTo>
                  <a:lnTo>
                    <a:pt x="63" y="215"/>
                  </a:lnTo>
                  <a:lnTo>
                    <a:pt x="62" y="214"/>
                  </a:lnTo>
                  <a:lnTo>
                    <a:pt x="59" y="214"/>
                  </a:lnTo>
                  <a:lnTo>
                    <a:pt x="59" y="212"/>
                  </a:lnTo>
                  <a:lnTo>
                    <a:pt x="57" y="214"/>
                  </a:lnTo>
                  <a:lnTo>
                    <a:pt x="53" y="214"/>
                  </a:lnTo>
                  <a:lnTo>
                    <a:pt x="53" y="212"/>
                  </a:lnTo>
                  <a:lnTo>
                    <a:pt x="52" y="211"/>
                  </a:lnTo>
                  <a:lnTo>
                    <a:pt x="52" y="210"/>
                  </a:lnTo>
                  <a:lnTo>
                    <a:pt x="51" y="210"/>
                  </a:lnTo>
                  <a:lnTo>
                    <a:pt x="51" y="209"/>
                  </a:lnTo>
                  <a:lnTo>
                    <a:pt x="49" y="206"/>
                  </a:lnTo>
                  <a:lnTo>
                    <a:pt x="47" y="206"/>
                  </a:lnTo>
                  <a:lnTo>
                    <a:pt x="49" y="208"/>
                  </a:lnTo>
                  <a:lnTo>
                    <a:pt x="47" y="209"/>
                  </a:lnTo>
                  <a:lnTo>
                    <a:pt x="46" y="209"/>
                  </a:lnTo>
                  <a:lnTo>
                    <a:pt x="46" y="210"/>
                  </a:lnTo>
                  <a:lnTo>
                    <a:pt x="45" y="209"/>
                  </a:lnTo>
                  <a:lnTo>
                    <a:pt x="41" y="209"/>
                  </a:lnTo>
                  <a:lnTo>
                    <a:pt x="40" y="210"/>
                  </a:lnTo>
                  <a:lnTo>
                    <a:pt x="40" y="209"/>
                  </a:lnTo>
                  <a:lnTo>
                    <a:pt x="39" y="209"/>
                  </a:lnTo>
                  <a:lnTo>
                    <a:pt x="40" y="210"/>
                  </a:lnTo>
                  <a:lnTo>
                    <a:pt x="39" y="210"/>
                  </a:lnTo>
                  <a:lnTo>
                    <a:pt x="39" y="211"/>
                  </a:lnTo>
                  <a:lnTo>
                    <a:pt x="40" y="211"/>
                  </a:lnTo>
                  <a:lnTo>
                    <a:pt x="38" y="214"/>
                  </a:lnTo>
                  <a:lnTo>
                    <a:pt x="32" y="212"/>
                  </a:lnTo>
                  <a:lnTo>
                    <a:pt x="32" y="211"/>
                  </a:lnTo>
                  <a:lnTo>
                    <a:pt x="33" y="211"/>
                  </a:lnTo>
                  <a:lnTo>
                    <a:pt x="33" y="209"/>
                  </a:lnTo>
                  <a:lnTo>
                    <a:pt x="32" y="208"/>
                  </a:lnTo>
                  <a:lnTo>
                    <a:pt x="32" y="206"/>
                  </a:lnTo>
                  <a:lnTo>
                    <a:pt x="31" y="205"/>
                  </a:lnTo>
                  <a:lnTo>
                    <a:pt x="28" y="202"/>
                  </a:lnTo>
                  <a:lnTo>
                    <a:pt x="25" y="199"/>
                  </a:lnTo>
                  <a:lnTo>
                    <a:pt x="23" y="200"/>
                  </a:lnTo>
                  <a:lnTo>
                    <a:pt x="22" y="199"/>
                  </a:lnTo>
                  <a:lnTo>
                    <a:pt x="20" y="199"/>
                  </a:lnTo>
                  <a:lnTo>
                    <a:pt x="16" y="198"/>
                  </a:lnTo>
                  <a:lnTo>
                    <a:pt x="18" y="197"/>
                  </a:lnTo>
                  <a:lnTo>
                    <a:pt x="19" y="197"/>
                  </a:lnTo>
                  <a:lnTo>
                    <a:pt x="32" y="193"/>
                  </a:lnTo>
                  <a:lnTo>
                    <a:pt x="34" y="195"/>
                  </a:lnTo>
                  <a:lnTo>
                    <a:pt x="35" y="193"/>
                  </a:lnTo>
                  <a:lnTo>
                    <a:pt x="35" y="191"/>
                  </a:lnTo>
                  <a:lnTo>
                    <a:pt x="34" y="190"/>
                  </a:lnTo>
                  <a:lnTo>
                    <a:pt x="34" y="187"/>
                  </a:lnTo>
                  <a:lnTo>
                    <a:pt x="32" y="187"/>
                  </a:lnTo>
                  <a:lnTo>
                    <a:pt x="32" y="186"/>
                  </a:lnTo>
                  <a:lnTo>
                    <a:pt x="31" y="186"/>
                  </a:lnTo>
                  <a:lnTo>
                    <a:pt x="28" y="185"/>
                  </a:lnTo>
                  <a:lnTo>
                    <a:pt x="27" y="185"/>
                  </a:lnTo>
                  <a:lnTo>
                    <a:pt x="26" y="186"/>
                  </a:lnTo>
                  <a:lnTo>
                    <a:pt x="26" y="189"/>
                  </a:lnTo>
                  <a:lnTo>
                    <a:pt x="25" y="190"/>
                  </a:lnTo>
                  <a:lnTo>
                    <a:pt x="23" y="190"/>
                  </a:lnTo>
                  <a:lnTo>
                    <a:pt x="23" y="189"/>
                  </a:lnTo>
                  <a:lnTo>
                    <a:pt x="25" y="187"/>
                  </a:lnTo>
                  <a:lnTo>
                    <a:pt x="23" y="187"/>
                  </a:lnTo>
                  <a:lnTo>
                    <a:pt x="23" y="184"/>
                  </a:lnTo>
                  <a:lnTo>
                    <a:pt x="21" y="184"/>
                  </a:lnTo>
                  <a:lnTo>
                    <a:pt x="21" y="183"/>
                  </a:lnTo>
                  <a:lnTo>
                    <a:pt x="23" y="183"/>
                  </a:lnTo>
                  <a:lnTo>
                    <a:pt x="23" y="181"/>
                  </a:lnTo>
                  <a:lnTo>
                    <a:pt x="22" y="181"/>
                  </a:lnTo>
                  <a:lnTo>
                    <a:pt x="23" y="179"/>
                  </a:lnTo>
                  <a:lnTo>
                    <a:pt x="25" y="179"/>
                  </a:lnTo>
                  <a:lnTo>
                    <a:pt x="25" y="181"/>
                  </a:lnTo>
                  <a:lnTo>
                    <a:pt x="26" y="183"/>
                  </a:lnTo>
                  <a:lnTo>
                    <a:pt x="29" y="181"/>
                  </a:lnTo>
                  <a:lnTo>
                    <a:pt x="29" y="183"/>
                  </a:lnTo>
                  <a:lnTo>
                    <a:pt x="32" y="183"/>
                  </a:lnTo>
                  <a:lnTo>
                    <a:pt x="33" y="181"/>
                  </a:lnTo>
                  <a:lnTo>
                    <a:pt x="35" y="181"/>
                  </a:lnTo>
                  <a:lnTo>
                    <a:pt x="35" y="180"/>
                  </a:lnTo>
                  <a:lnTo>
                    <a:pt x="34" y="180"/>
                  </a:lnTo>
                  <a:lnTo>
                    <a:pt x="34" y="179"/>
                  </a:lnTo>
                  <a:lnTo>
                    <a:pt x="35" y="179"/>
                  </a:lnTo>
                  <a:lnTo>
                    <a:pt x="35" y="178"/>
                  </a:lnTo>
                  <a:lnTo>
                    <a:pt x="34" y="179"/>
                  </a:lnTo>
                  <a:lnTo>
                    <a:pt x="28" y="179"/>
                  </a:lnTo>
                  <a:lnTo>
                    <a:pt x="31" y="177"/>
                  </a:lnTo>
                  <a:lnTo>
                    <a:pt x="31" y="175"/>
                  </a:lnTo>
                  <a:lnTo>
                    <a:pt x="33" y="174"/>
                  </a:lnTo>
                  <a:lnTo>
                    <a:pt x="34" y="174"/>
                  </a:lnTo>
                  <a:lnTo>
                    <a:pt x="35" y="173"/>
                  </a:lnTo>
                  <a:lnTo>
                    <a:pt x="33" y="174"/>
                  </a:lnTo>
                  <a:lnTo>
                    <a:pt x="32" y="174"/>
                  </a:lnTo>
                  <a:lnTo>
                    <a:pt x="29" y="175"/>
                  </a:lnTo>
                  <a:lnTo>
                    <a:pt x="28" y="175"/>
                  </a:lnTo>
                  <a:lnTo>
                    <a:pt x="25" y="178"/>
                  </a:lnTo>
                  <a:lnTo>
                    <a:pt x="23" y="178"/>
                  </a:lnTo>
                  <a:lnTo>
                    <a:pt x="22" y="179"/>
                  </a:lnTo>
                  <a:lnTo>
                    <a:pt x="20" y="179"/>
                  </a:lnTo>
                  <a:lnTo>
                    <a:pt x="19" y="178"/>
                  </a:lnTo>
                  <a:lnTo>
                    <a:pt x="18" y="178"/>
                  </a:lnTo>
                  <a:lnTo>
                    <a:pt x="18" y="179"/>
                  </a:lnTo>
                  <a:lnTo>
                    <a:pt x="15" y="179"/>
                  </a:lnTo>
                  <a:lnTo>
                    <a:pt x="14" y="178"/>
                  </a:lnTo>
                  <a:lnTo>
                    <a:pt x="14" y="177"/>
                  </a:lnTo>
                  <a:lnTo>
                    <a:pt x="15" y="177"/>
                  </a:lnTo>
                  <a:lnTo>
                    <a:pt x="14" y="174"/>
                  </a:lnTo>
                  <a:lnTo>
                    <a:pt x="14" y="172"/>
                  </a:lnTo>
                  <a:lnTo>
                    <a:pt x="15" y="171"/>
                  </a:lnTo>
                  <a:lnTo>
                    <a:pt x="14" y="169"/>
                  </a:lnTo>
                  <a:lnTo>
                    <a:pt x="15" y="168"/>
                  </a:lnTo>
                  <a:lnTo>
                    <a:pt x="16" y="166"/>
                  </a:lnTo>
                  <a:lnTo>
                    <a:pt x="16" y="165"/>
                  </a:lnTo>
                  <a:lnTo>
                    <a:pt x="18" y="165"/>
                  </a:lnTo>
                  <a:lnTo>
                    <a:pt x="19" y="163"/>
                  </a:lnTo>
                  <a:lnTo>
                    <a:pt x="20" y="163"/>
                  </a:lnTo>
                  <a:lnTo>
                    <a:pt x="21" y="165"/>
                  </a:lnTo>
                  <a:lnTo>
                    <a:pt x="22" y="165"/>
                  </a:lnTo>
                  <a:lnTo>
                    <a:pt x="22" y="163"/>
                  </a:lnTo>
                  <a:lnTo>
                    <a:pt x="21" y="162"/>
                  </a:lnTo>
                  <a:lnTo>
                    <a:pt x="23" y="162"/>
                  </a:lnTo>
                  <a:lnTo>
                    <a:pt x="23" y="161"/>
                  </a:lnTo>
                  <a:lnTo>
                    <a:pt x="27" y="161"/>
                  </a:lnTo>
                  <a:lnTo>
                    <a:pt x="29" y="160"/>
                  </a:lnTo>
                  <a:lnTo>
                    <a:pt x="29" y="159"/>
                  </a:lnTo>
                  <a:lnTo>
                    <a:pt x="32" y="159"/>
                  </a:lnTo>
                  <a:lnTo>
                    <a:pt x="33" y="157"/>
                  </a:lnTo>
                  <a:lnTo>
                    <a:pt x="34" y="157"/>
                  </a:lnTo>
                  <a:lnTo>
                    <a:pt x="34" y="160"/>
                  </a:lnTo>
                  <a:lnTo>
                    <a:pt x="35" y="160"/>
                  </a:lnTo>
                  <a:lnTo>
                    <a:pt x="37" y="159"/>
                  </a:lnTo>
                  <a:lnTo>
                    <a:pt x="38" y="159"/>
                  </a:lnTo>
                  <a:lnTo>
                    <a:pt x="39" y="160"/>
                  </a:lnTo>
                  <a:lnTo>
                    <a:pt x="39" y="157"/>
                  </a:lnTo>
                  <a:lnTo>
                    <a:pt x="40" y="156"/>
                  </a:lnTo>
                  <a:lnTo>
                    <a:pt x="44" y="156"/>
                  </a:lnTo>
                  <a:lnTo>
                    <a:pt x="44" y="157"/>
                  </a:lnTo>
                  <a:lnTo>
                    <a:pt x="45" y="157"/>
                  </a:lnTo>
                  <a:lnTo>
                    <a:pt x="45" y="155"/>
                  </a:lnTo>
                  <a:lnTo>
                    <a:pt x="47" y="155"/>
                  </a:lnTo>
                  <a:lnTo>
                    <a:pt x="49" y="154"/>
                  </a:lnTo>
                  <a:lnTo>
                    <a:pt x="49" y="157"/>
                  </a:lnTo>
                  <a:lnTo>
                    <a:pt x="50" y="157"/>
                  </a:lnTo>
                  <a:lnTo>
                    <a:pt x="49" y="159"/>
                  </a:lnTo>
                  <a:lnTo>
                    <a:pt x="50" y="159"/>
                  </a:lnTo>
                  <a:lnTo>
                    <a:pt x="50" y="157"/>
                  </a:lnTo>
                  <a:lnTo>
                    <a:pt x="52" y="157"/>
                  </a:lnTo>
                  <a:lnTo>
                    <a:pt x="51" y="159"/>
                  </a:lnTo>
                  <a:lnTo>
                    <a:pt x="52" y="159"/>
                  </a:lnTo>
                  <a:lnTo>
                    <a:pt x="53" y="160"/>
                  </a:lnTo>
                  <a:lnTo>
                    <a:pt x="53" y="157"/>
                  </a:lnTo>
                  <a:lnTo>
                    <a:pt x="54" y="159"/>
                  </a:lnTo>
                  <a:lnTo>
                    <a:pt x="54" y="155"/>
                  </a:lnTo>
                  <a:lnTo>
                    <a:pt x="59" y="155"/>
                  </a:lnTo>
                  <a:lnTo>
                    <a:pt x="60" y="156"/>
                  </a:lnTo>
                  <a:lnTo>
                    <a:pt x="63" y="156"/>
                  </a:lnTo>
                  <a:lnTo>
                    <a:pt x="63" y="157"/>
                  </a:lnTo>
                  <a:lnTo>
                    <a:pt x="65" y="157"/>
                  </a:lnTo>
                  <a:lnTo>
                    <a:pt x="65" y="154"/>
                  </a:lnTo>
                  <a:lnTo>
                    <a:pt x="66" y="154"/>
                  </a:lnTo>
                  <a:lnTo>
                    <a:pt x="65" y="152"/>
                  </a:lnTo>
                  <a:lnTo>
                    <a:pt x="65" y="150"/>
                  </a:lnTo>
                  <a:lnTo>
                    <a:pt x="68" y="148"/>
                  </a:lnTo>
                  <a:lnTo>
                    <a:pt x="68" y="147"/>
                  </a:lnTo>
                  <a:lnTo>
                    <a:pt x="69" y="148"/>
                  </a:lnTo>
                  <a:lnTo>
                    <a:pt x="71" y="148"/>
                  </a:lnTo>
                  <a:lnTo>
                    <a:pt x="71" y="149"/>
                  </a:lnTo>
                  <a:lnTo>
                    <a:pt x="74" y="149"/>
                  </a:lnTo>
                  <a:lnTo>
                    <a:pt x="74" y="148"/>
                  </a:lnTo>
                  <a:lnTo>
                    <a:pt x="77" y="147"/>
                  </a:lnTo>
                  <a:lnTo>
                    <a:pt x="78" y="147"/>
                  </a:lnTo>
                  <a:lnTo>
                    <a:pt x="80" y="146"/>
                  </a:lnTo>
                  <a:lnTo>
                    <a:pt x="81" y="146"/>
                  </a:lnTo>
                  <a:lnTo>
                    <a:pt x="81" y="149"/>
                  </a:lnTo>
                  <a:lnTo>
                    <a:pt x="80" y="149"/>
                  </a:lnTo>
                  <a:lnTo>
                    <a:pt x="80" y="150"/>
                  </a:lnTo>
                  <a:lnTo>
                    <a:pt x="81" y="149"/>
                  </a:lnTo>
                  <a:lnTo>
                    <a:pt x="82" y="147"/>
                  </a:lnTo>
                  <a:lnTo>
                    <a:pt x="83" y="147"/>
                  </a:lnTo>
                  <a:lnTo>
                    <a:pt x="83" y="146"/>
                  </a:lnTo>
                  <a:lnTo>
                    <a:pt x="85" y="146"/>
                  </a:lnTo>
                  <a:lnTo>
                    <a:pt x="85" y="148"/>
                  </a:lnTo>
                  <a:lnTo>
                    <a:pt x="87" y="148"/>
                  </a:lnTo>
                  <a:lnTo>
                    <a:pt x="88" y="149"/>
                  </a:lnTo>
                  <a:lnTo>
                    <a:pt x="88" y="152"/>
                  </a:lnTo>
                  <a:lnTo>
                    <a:pt x="93" y="152"/>
                  </a:lnTo>
                  <a:lnTo>
                    <a:pt x="93" y="154"/>
                  </a:lnTo>
                  <a:lnTo>
                    <a:pt x="91" y="154"/>
                  </a:lnTo>
                  <a:lnTo>
                    <a:pt x="96" y="159"/>
                  </a:lnTo>
                  <a:lnTo>
                    <a:pt x="97" y="161"/>
                  </a:lnTo>
                  <a:lnTo>
                    <a:pt x="97" y="163"/>
                  </a:lnTo>
                  <a:lnTo>
                    <a:pt x="99" y="163"/>
                  </a:lnTo>
                  <a:lnTo>
                    <a:pt x="101" y="165"/>
                  </a:lnTo>
                  <a:lnTo>
                    <a:pt x="101" y="167"/>
                  </a:lnTo>
                  <a:lnTo>
                    <a:pt x="102" y="167"/>
                  </a:lnTo>
                  <a:lnTo>
                    <a:pt x="102" y="168"/>
                  </a:lnTo>
                  <a:lnTo>
                    <a:pt x="103" y="168"/>
                  </a:lnTo>
                  <a:lnTo>
                    <a:pt x="103" y="167"/>
                  </a:lnTo>
                  <a:lnTo>
                    <a:pt x="105" y="167"/>
                  </a:lnTo>
                  <a:lnTo>
                    <a:pt x="106" y="166"/>
                  </a:lnTo>
                  <a:lnTo>
                    <a:pt x="107" y="163"/>
                  </a:lnTo>
                  <a:lnTo>
                    <a:pt x="108" y="163"/>
                  </a:lnTo>
                  <a:lnTo>
                    <a:pt x="109" y="162"/>
                  </a:lnTo>
                  <a:lnTo>
                    <a:pt x="112" y="161"/>
                  </a:lnTo>
                  <a:lnTo>
                    <a:pt x="112" y="160"/>
                  </a:lnTo>
                  <a:lnTo>
                    <a:pt x="110" y="160"/>
                  </a:lnTo>
                  <a:lnTo>
                    <a:pt x="113" y="159"/>
                  </a:lnTo>
                  <a:lnTo>
                    <a:pt x="114" y="159"/>
                  </a:lnTo>
                  <a:lnTo>
                    <a:pt x="114" y="160"/>
                  </a:lnTo>
                  <a:lnTo>
                    <a:pt x="115" y="160"/>
                  </a:lnTo>
                  <a:lnTo>
                    <a:pt x="118" y="157"/>
                  </a:lnTo>
                  <a:lnTo>
                    <a:pt x="118" y="156"/>
                  </a:lnTo>
                  <a:lnTo>
                    <a:pt x="119" y="157"/>
                  </a:lnTo>
                  <a:lnTo>
                    <a:pt x="120" y="157"/>
                  </a:lnTo>
                  <a:lnTo>
                    <a:pt x="120" y="159"/>
                  </a:lnTo>
                  <a:lnTo>
                    <a:pt x="119" y="159"/>
                  </a:lnTo>
                  <a:lnTo>
                    <a:pt x="119" y="160"/>
                  </a:lnTo>
                  <a:lnTo>
                    <a:pt x="118" y="161"/>
                  </a:lnTo>
                  <a:lnTo>
                    <a:pt x="119" y="161"/>
                  </a:lnTo>
                  <a:lnTo>
                    <a:pt x="120" y="160"/>
                  </a:lnTo>
                  <a:lnTo>
                    <a:pt x="121" y="160"/>
                  </a:lnTo>
                  <a:lnTo>
                    <a:pt x="121" y="161"/>
                  </a:lnTo>
                  <a:lnTo>
                    <a:pt x="122" y="162"/>
                  </a:lnTo>
                  <a:lnTo>
                    <a:pt x="122" y="163"/>
                  </a:lnTo>
                  <a:lnTo>
                    <a:pt x="125" y="163"/>
                  </a:lnTo>
                  <a:lnTo>
                    <a:pt x="125" y="161"/>
                  </a:lnTo>
                  <a:lnTo>
                    <a:pt x="126" y="161"/>
                  </a:lnTo>
                  <a:lnTo>
                    <a:pt x="126" y="160"/>
                  </a:lnTo>
                  <a:lnTo>
                    <a:pt x="130" y="160"/>
                  </a:lnTo>
                  <a:lnTo>
                    <a:pt x="131" y="161"/>
                  </a:lnTo>
                  <a:lnTo>
                    <a:pt x="131" y="165"/>
                  </a:lnTo>
                  <a:lnTo>
                    <a:pt x="132" y="166"/>
                  </a:lnTo>
                  <a:lnTo>
                    <a:pt x="132" y="168"/>
                  </a:lnTo>
                  <a:lnTo>
                    <a:pt x="133" y="168"/>
                  </a:lnTo>
                  <a:lnTo>
                    <a:pt x="134" y="167"/>
                  </a:lnTo>
                  <a:lnTo>
                    <a:pt x="132" y="165"/>
                  </a:lnTo>
                  <a:lnTo>
                    <a:pt x="132" y="162"/>
                  </a:lnTo>
                  <a:lnTo>
                    <a:pt x="131" y="161"/>
                  </a:lnTo>
                  <a:lnTo>
                    <a:pt x="131" y="159"/>
                  </a:lnTo>
                  <a:lnTo>
                    <a:pt x="132" y="159"/>
                  </a:lnTo>
                  <a:lnTo>
                    <a:pt x="132" y="156"/>
                  </a:lnTo>
                  <a:lnTo>
                    <a:pt x="134" y="156"/>
                  </a:lnTo>
                  <a:lnTo>
                    <a:pt x="138" y="155"/>
                  </a:lnTo>
                  <a:lnTo>
                    <a:pt x="138" y="161"/>
                  </a:lnTo>
                  <a:lnTo>
                    <a:pt x="140" y="161"/>
                  </a:lnTo>
                  <a:lnTo>
                    <a:pt x="143" y="162"/>
                  </a:lnTo>
                  <a:lnTo>
                    <a:pt x="146" y="161"/>
                  </a:lnTo>
                  <a:lnTo>
                    <a:pt x="149" y="160"/>
                  </a:lnTo>
                  <a:lnTo>
                    <a:pt x="158" y="160"/>
                  </a:lnTo>
                  <a:lnTo>
                    <a:pt x="158" y="159"/>
                  </a:lnTo>
                  <a:lnTo>
                    <a:pt x="155" y="159"/>
                  </a:lnTo>
                  <a:lnTo>
                    <a:pt x="155" y="157"/>
                  </a:lnTo>
                  <a:lnTo>
                    <a:pt x="153" y="157"/>
                  </a:lnTo>
                  <a:lnTo>
                    <a:pt x="152" y="156"/>
                  </a:lnTo>
                  <a:lnTo>
                    <a:pt x="152" y="155"/>
                  </a:lnTo>
                  <a:lnTo>
                    <a:pt x="150" y="153"/>
                  </a:lnTo>
                  <a:lnTo>
                    <a:pt x="150" y="148"/>
                  </a:lnTo>
                  <a:lnTo>
                    <a:pt x="149" y="147"/>
                  </a:lnTo>
                  <a:lnTo>
                    <a:pt x="150" y="146"/>
                  </a:lnTo>
                  <a:lnTo>
                    <a:pt x="150" y="142"/>
                  </a:lnTo>
                  <a:lnTo>
                    <a:pt x="151" y="142"/>
                  </a:lnTo>
                  <a:lnTo>
                    <a:pt x="151" y="141"/>
                  </a:lnTo>
                  <a:lnTo>
                    <a:pt x="150" y="141"/>
                  </a:lnTo>
                  <a:lnTo>
                    <a:pt x="150" y="140"/>
                  </a:lnTo>
                  <a:lnTo>
                    <a:pt x="151" y="136"/>
                  </a:lnTo>
                  <a:lnTo>
                    <a:pt x="151" y="135"/>
                  </a:lnTo>
                  <a:lnTo>
                    <a:pt x="150" y="135"/>
                  </a:lnTo>
                  <a:lnTo>
                    <a:pt x="150" y="136"/>
                  </a:lnTo>
                  <a:lnTo>
                    <a:pt x="149" y="136"/>
                  </a:lnTo>
                  <a:lnTo>
                    <a:pt x="149" y="129"/>
                  </a:lnTo>
                  <a:lnTo>
                    <a:pt x="150" y="128"/>
                  </a:lnTo>
                  <a:lnTo>
                    <a:pt x="149" y="128"/>
                  </a:lnTo>
                  <a:lnTo>
                    <a:pt x="149" y="124"/>
                  </a:lnTo>
                  <a:lnTo>
                    <a:pt x="147" y="123"/>
                  </a:lnTo>
                  <a:lnTo>
                    <a:pt x="150" y="123"/>
                  </a:lnTo>
                  <a:lnTo>
                    <a:pt x="149" y="122"/>
                  </a:lnTo>
                  <a:lnTo>
                    <a:pt x="147" y="122"/>
                  </a:lnTo>
                  <a:lnTo>
                    <a:pt x="147" y="123"/>
                  </a:lnTo>
                  <a:lnTo>
                    <a:pt x="146" y="122"/>
                  </a:lnTo>
                  <a:lnTo>
                    <a:pt x="146" y="118"/>
                  </a:lnTo>
                  <a:lnTo>
                    <a:pt x="145" y="118"/>
                  </a:lnTo>
                  <a:lnTo>
                    <a:pt x="144" y="117"/>
                  </a:lnTo>
                  <a:lnTo>
                    <a:pt x="144" y="116"/>
                  </a:lnTo>
                  <a:lnTo>
                    <a:pt x="145" y="116"/>
                  </a:lnTo>
                  <a:lnTo>
                    <a:pt x="144" y="114"/>
                  </a:lnTo>
                  <a:lnTo>
                    <a:pt x="144" y="116"/>
                  </a:lnTo>
                  <a:lnTo>
                    <a:pt x="141" y="113"/>
                  </a:lnTo>
                  <a:lnTo>
                    <a:pt x="141" y="112"/>
                  </a:lnTo>
                  <a:lnTo>
                    <a:pt x="140" y="112"/>
                  </a:lnTo>
                  <a:lnTo>
                    <a:pt x="140" y="113"/>
                  </a:lnTo>
                  <a:lnTo>
                    <a:pt x="139" y="113"/>
                  </a:lnTo>
                  <a:lnTo>
                    <a:pt x="139" y="107"/>
                  </a:lnTo>
                  <a:lnTo>
                    <a:pt x="138" y="106"/>
                  </a:lnTo>
                  <a:lnTo>
                    <a:pt x="138" y="105"/>
                  </a:lnTo>
                  <a:lnTo>
                    <a:pt x="137" y="104"/>
                  </a:lnTo>
                  <a:lnTo>
                    <a:pt x="137" y="101"/>
                  </a:lnTo>
                  <a:lnTo>
                    <a:pt x="138" y="101"/>
                  </a:lnTo>
                  <a:lnTo>
                    <a:pt x="138" y="94"/>
                  </a:lnTo>
                  <a:lnTo>
                    <a:pt x="136" y="94"/>
                  </a:lnTo>
                  <a:lnTo>
                    <a:pt x="134" y="93"/>
                  </a:lnTo>
                  <a:lnTo>
                    <a:pt x="134" y="91"/>
                  </a:lnTo>
                  <a:lnTo>
                    <a:pt x="139" y="91"/>
                  </a:lnTo>
                  <a:lnTo>
                    <a:pt x="139" y="92"/>
                  </a:lnTo>
                  <a:lnTo>
                    <a:pt x="140" y="92"/>
                  </a:lnTo>
                  <a:lnTo>
                    <a:pt x="141" y="93"/>
                  </a:lnTo>
                  <a:lnTo>
                    <a:pt x="144" y="93"/>
                  </a:lnTo>
                  <a:lnTo>
                    <a:pt x="147" y="94"/>
                  </a:lnTo>
                  <a:lnTo>
                    <a:pt x="147" y="95"/>
                  </a:lnTo>
                  <a:lnTo>
                    <a:pt x="149" y="95"/>
                  </a:lnTo>
                  <a:lnTo>
                    <a:pt x="149" y="94"/>
                  </a:lnTo>
                  <a:lnTo>
                    <a:pt x="153" y="94"/>
                  </a:lnTo>
                  <a:lnTo>
                    <a:pt x="153" y="92"/>
                  </a:lnTo>
                  <a:lnTo>
                    <a:pt x="155" y="92"/>
                  </a:lnTo>
                  <a:lnTo>
                    <a:pt x="157" y="91"/>
                  </a:lnTo>
                  <a:lnTo>
                    <a:pt x="162" y="92"/>
                  </a:lnTo>
                  <a:lnTo>
                    <a:pt x="163" y="92"/>
                  </a:lnTo>
                  <a:lnTo>
                    <a:pt x="163" y="94"/>
                  </a:lnTo>
                  <a:lnTo>
                    <a:pt x="164" y="95"/>
                  </a:lnTo>
                  <a:lnTo>
                    <a:pt x="164" y="97"/>
                  </a:lnTo>
                  <a:lnTo>
                    <a:pt x="163" y="98"/>
                  </a:lnTo>
                  <a:lnTo>
                    <a:pt x="163" y="99"/>
                  </a:lnTo>
                  <a:lnTo>
                    <a:pt x="161" y="99"/>
                  </a:lnTo>
                  <a:lnTo>
                    <a:pt x="161" y="101"/>
                  </a:lnTo>
                  <a:lnTo>
                    <a:pt x="162" y="103"/>
                  </a:lnTo>
                  <a:lnTo>
                    <a:pt x="162" y="104"/>
                  </a:lnTo>
                  <a:lnTo>
                    <a:pt x="163" y="105"/>
                  </a:lnTo>
                  <a:lnTo>
                    <a:pt x="167" y="110"/>
                  </a:lnTo>
                  <a:lnTo>
                    <a:pt x="167" y="113"/>
                  </a:lnTo>
                  <a:lnTo>
                    <a:pt x="168" y="113"/>
                  </a:lnTo>
                  <a:lnTo>
                    <a:pt x="168" y="114"/>
                  </a:lnTo>
                  <a:lnTo>
                    <a:pt x="169" y="114"/>
                  </a:lnTo>
                  <a:lnTo>
                    <a:pt x="169" y="112"/>
                  </a:lnTo>
                  <a:lnTo>
                    <a:pt x="170" y="112"/>
                  </a:lnTo>
                  <a:lnTo>
                    <a:pt x="171" y="111"/>
                  </a:lnTo>
                  <a:lnTo>
                    <a:pt x="181" y="113"/>
                  </a:lnTo>
                  <a:lnTo>
                    <a:pt x="188" y="114"/>
                  </a:lnTo>
                  <a:lnTo>
                    <a:pt x="199" y="114"/>
                  </a:lnTo>
                  <a:lnTo>
                    <a:pt x="200" y="116"/>
                  </a:lnTo>
                  <a:lnTo>
                    <a:pt x="201" y="116"/>
                  </a:lnTo>
                  <a:lnTo>
                    <a:pt x="202" y="117"/>
                  </a:lnTo>
                  <a:lnTo>
                    <a:pt x="207" y="119"/>
                  </a:lnTo>
                  <a:lnTo>
                    <a:pt x="208" y="118"/>
                  </a:lnTo>
                  <a:lnTo>
                    <a:pt x="214" y="117"/>
                  </a:lnTo>
                  <a:lnTo>
                    <a:pt x="217" y="116"/>
                  </a:lnTo>
                  <a:lnTo>
                    <a:pt x="218" y="114"/>
                  </a:lnTo>
                  <a:lnTo>
                    <a:pt x="219" y="114"/>
                  </a:lnTo>
                  <a:lnTo>
                    <a:pt x="220" y="112"/>
                  </a:lnTo>
                  <a:lnTo>
                    <a:pt x="223" y="110"/>
                  </a:lnTo>
                  <a:lnTo>
                    <a:pt x="228" y="109"/>
                  </a:lnTo>
                  <a:lnTo>
                    <a:pt x="233" y="107"/>
                  </a:lnTo>
                  <a:lnTo>
                    <a:pt x="236" y="107"/>
                  </a:lnTo>
                  <a:lnTo>
                    <a:pt x="236" y="106"/>
                  </a:lnTo>
                  <a:lnTo>
                    <a:pt x="237" y="105"/>
                  </a:lnTo>
                  <a:lnTo>
                    <a:pt x="233" y="107"/>
                  </a:lnTo>
                  <a:lnTo>
                    <a:pt x="227" y="107"/>
                  </a:lnTo>
                  <a:lnTo>
                    <a:pt x="224" y="106"/>
                  </a:lnTo>
                  <a:lnTo>
                    <a:pt x="221" y="106"/>
                  </a:lnTo>
                  <a:lnTo>
                    <a:pt x="220" y="105"/>
                  </a:lnTo>
                  <a:lnTo>
                    <a:pt x="220" y="104"/>
                  </a:lnTo>
                  <a:lnTo>
                    <a:pt x="219" y="104"/>
                  </a:lnTo>
                  <a:lnTo>
                    <a:pt x="219" y="103"/>
                  </a:lnTo>
                  <a:lnTo>
                    <a:pt x="221" y="98"/>
                  </a:lnTo>
                  <a:lnTo>
                    <a:pt x="224" y="92"/>
                  </a:lnTo>
                  <a:lnTo>
                    <a:pt x="226" y="89"/>
                  </a:lnTo>
                  <a:lnTo>
                    <a:pt x="227" y="89"/>
                  </a:lnTo>
                  <a:lnTo>
                    <a:pt x="232" y="87"/>
                  </a:lnTo>
                  <a:lnTo>
                    <a:pt x="233" y="86"/>
                  </a:lnTo>
                  <a:lnTo>
                    <a:pt x="238" y="83"/>
                  </a:lnTo>
                  <a:lnTo>
                    <a:pt x="239" y="82"/>
                  </a:lnTo>
                  <a:lnTo>
                    <a:pt x="244" y="80"/>
                  </a:lnTo>
                  <a:lnTo>
                    <a:pt x="248" y="80"/>
                  </a:lnTo>
                  <a:lnTo>
                    <a:pt x="265" y="75"/>
                  </a:lnTo>
                  <a:lnTo>
                    <a:pt x="267" y="74"/>
                  </a:lnTo>
                  <a:lnTo>
                    <a:pt x="268" y="74"/>
                  </a:lnTo>
                  <a:lnTo>
                    <a:pt x="269" y="71"/>
                  </a:lnTo>
                  <a:lnTo>
                    <a:pt x="275" y="67"/>
                  </a:lnTo>
                  <a:lnTo>
                    <a:pt x="277" y="64"/>
                  </a:lnTo>
                  <a:lnTo>
                    <a:pt x="277" y="63"/>
                  </a:lnTo>
                  <a:lnTo>
                    <a:pt x="279" y="60"/>
                  </a:lnTo>
                  <a:lnTo>
                    <a:pt x="280" y="58"/>
                  </a:lnTo>
                  <a:lnTo>
                    <a:pt x="282" y="58"/>
                  </a:lnTo>
                  <a:lnTo>
                    <a:pt x="286" y="60"/>
                  </a:lnTo>
                  <a:lnTo>
                    <a:pt x="286" y="57"/>
                  </a:lnTo>
                  <a:lnTo>
                    <a:pt x="283" y="57"/>
                  </a:lnTo>
                  <a:lnTo>
                    <a:pt x="283" y="55"/>
                  </a:lnTo>
                  <a:lnTo>
                    <a:pt x="281" y="55"/>
                  </a:lnTo>
                  <a:lnTo>
                    <a:pt x="281" y="49"/>
                  </a:lnTo>
                  <a:lnTo>
                    <a:pt x="282" y="48"/>
                  </a:lnTo>
                  <a:lnTo>
                    <a:pt x="283" y="48"/>
                  </a:lnTo>
                  <a:lnTo>
                    <a:pt x="282" y="45"/>
                  </a:lnTo>
                  <a:lnTo>
                    <a:pt x="282" y="37"/>
                  </a:lnTo>
                  <a:lnTo>
                    <a:pt x="283" y="36"/>
                  </a:lnTo>
                  <a:lnTo>
                    <a:pt x="283" y="34"/>
                  </a:lnTo>
                  <a:lnTo>
                    <a:pt x="282" y="33"/>
                  </a:lnTo>
                  <a:lnTo>
                    <a:pt x="282" y="25"/>
                  </a:lnTo>
                  <a:lnTo>
                    <a:pt x="283" y="23"/>
                  </a:lnTo>
                  <a:lnTo>
                    <a:pt x="283" y="15"/>
                  </a:lnTo>
                  <a:lnTo>
                    <a:pt x="282" y="15"/>
                  </a:lnTo>
                  <a:lnTo>
                    <a:pt x="282" y="14"/>
                  </a:lnTo>
                  <a:lnTo>
                    <a:pt x="285" y="14"/>
                  </a:lnTo>
                  <a:lnTo>
                    <a:pt x="286" y="13"/>
                  </a:lnTo>
                  <a:lnTo>
                    <a:pt x="287" y="13"/>
                  </a:lnTo>
                  <a:lnTo>
                    <a:pt x="288" y="11"/>
                  </a:lnTo>
                  <a:lnTo>
                    <a:pt x="289" y="9"/>
                  </a:lnTo>
                  <a:lnTo>
                    <a:pt x="296" y="6"/>
                  </a:lnTo>
                  <a:lnTo>
                    <a:pt x="299" y="6"/>
                  </a:lnTo>
                  <a:lnTo>
                    <a:pt x="306" y="5"/>
                  </a:lnTo>
                  <a:lnTo>
                    <a:pt x="313" y="2"/>
                  </a:lnTo>
                  <a:lnTo>
                    <a:pt x="317" y="2"/>
                  </a:lnTo>
                  <a:lnTo>
                    <a:pt x="320" y="1"/>
                  </a:lnTo>
                  <a:lnTo>
                    <a:pt x="321" y="1"/>
                  </a:lnTo>
                  <a:lnTo>
                    <a:pt x="323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44">
              <a:extLst>
                <a:ext uri="{FF2B5EF4-FFF2-40B4-BE49-F238E27FC236}">
                  <a16:creationId xmlns:a16="http://schemas.microsoft.com/office/drawing/2014/main" id="{DC9262F2-3D12-476C-BCFC-CFAA8831F6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3113" y="1657350"/>
              <a:ext cx="808038" cy="1647825"/>
            </a:xfrm>
            <a:custGeom>
              <a:avLst/>
              <a:gdLst/>
              <a:ahLst/>
              <a:cxnLst>
                <a:cxn ang="0">
                  <a:pos x="39" y="1022"/>
                </a:cxn>
                <a:cxn ang="0">
                  <a:pos x="40" y="1019"/>
                </a:cxn>
                <a:cxn ang="0">
                  <a:pos x="27" y="1022"/>
                </a:cxn>
                <a:cxn ang="0">
                  <a:pos x="32" y="1013"/>
                </a:cxn>
                <a:cxn ang="0">
                  <a:pos x="98" y="1009"/>
                </a:cxn>
                <a:cxn ang="0">
                  <a:pos x="77" y="1007"/>
                </a:cxn>
                <a:cxn ang="0">
                  <a:pos x="89" y="1001"/>
                </a:cxn>
                <a:cxn ang="0">
                  <a:pos x="259" y="1004"/>
                </a:cxn>
                <a:cxn ang="0">
                  <a:pos x="125" y="1022"/>
                </a:cxn>
                <a:cxn ang="0">
                  <a:pos x="111" y="995"/>
                </a:cxn>
                <a:cxn ang="0">
                  <a:pos x="51" y="995"/>
                </a:cxn>
                <a:cxn ang="0">
                  <a:pos x="26" y="994"/>
                </a:cxn>
                <a:cxn ang="0">
                  <a:pos x="21" y="1003"/>
                </a:cxn>
                <a:cxn ang="0">
                  <a:pos x="11" y="996"/>
                </a:cxn>
                <a:cxn ang="0">
                  <a:pos x="296" y="989"/>
                </a:cxn>
                <a:cxn ang="0">
                  <a:pos x="66" y="982"/>
                </a:cxn>
                <a:cxn ang="0">
                  <a:pos x="74" y="977"/>
                </a:cxn>
                <a:cxn ang="0">
                  <a:pos x="76" y="939"/>
                </a:cxn>
                <a:cxn ang="0">
                  <a:pos x="69" y="731"/>
                </a:cxn>
                <a:cxn ang="0">
                  <a:pos x="104" y="730"/>
                </a:cxn>
                <a:cxn ang="0">
                  <a:pos x="73" y="725"/>
                </a:cxn>
                <a:cxn ang="0">
                  <a:pos x="234" y="558"/>
                </a:cxn>
                <a:cxn ang="0">
                  <a:pos x="379" y="36"/>
                </a:cxn>
                <a:cxn ang="0">
                  <a:pos x="428" y="265"/>
                </a:cxn>
                <a:cxn ang="0">
                  <a:pos x="443" y="470"/>
                </a:cxn>
                <a:cxn ang="0">
                  <a:pos x="430" y="579"/>
                </a:cxn>
                <a:cxn ang="0">
                  <a:pos x="466" y="647"/>
                </a:cxn>
                <a:cxn ang="0">
                  <a:pos x="502" y="780"/>
                </a:cxn>
                <a:cxn ang="0">
                  <a:pos x="412" y="909"/>
                </a:cxn>
                <a:cxn ang="0">
                  <a:pos x="343" y="979"/>
                </a:cxn>
                <a:cxn ang="0">
                  <a:pos x="317" y="978"/>
                </a:cxn>
                <a:cxn ang="0">
                  <a:pos x="306" y="973"/>
                </a:cxn>
                <a:cxn ang="0">
                  <a:pos x="279" y="994"/>
                </a:cxn>
                <a:cxn ang="0">
                  <a:pos x="260" y="994"/>
                </a:cxn>
                <a:cxn ang="0">
                  <a:pos x="230" y="1009"/>
                </a:cxn>
                <a:cxn ang="0">
                  <a:pos x="205" y="1020"/>
                </a:cxn>
                <a:cxn ang="0">
                  <a:pos x="166" y="1026"/>
                </a:cxn>
                <a:cxn ang="0">
                  <a:pos x="161" y="1020"/>
                </a:cxn>
                <a:cxn ang="0">
                  <a:pos x="142" y="1007"/>
                </a:cxn>
                <a:cxn ang="0">
                  <a:pos x="125" y="988"/>
                </a:cxn>
                <a:cxn ang="0">
                  <a:pos x="89" y="980"/>
                </a:cxn>
                <a:cxn ang="0">
                  <a:pos x="77" y="945"/>
                </a:cxn>
                <a:cxn ang="0">
                  <a:pos x="85" y="911"/>
                </a:cxn>
                <a:cxn ang="0">
                  <a:pos x="82" y="869"/>
                </a:cxn>
                <a:cxn ang="0">
                  <a:pos x="75" y="817"/>
                </a:cxn>
                <a:cxn ang="0">
                  <a:pos x="70" y="776"/>
                </a:cxn>
                <a:cxn ang="0">
                  <a:pos x="85" y="738"/>
                </a:cxn>
                <a:cxn ang="0">
                  <a:pos x="118" y="731"/>
                </a:cxn>
                <a:cxn ang="0">
                  <a:pos x="127" y="696"/>
                </a:cxn>
                <a:cxn ang="0">
                  <a:pos x="148" y="683"/>
                </a:cxn>
                <a:cxn ang="0">
                  <a:pos x="186" y="636"/>
                </a:cxn>
                <a:cxn ang="0">
                  <a:pos x="212" y="583"/>
                </a:cxn>
                <a:cxn ang="0">
                  <a:pos x="250" y="568"/>
                </a:cxn>
                <a:cxn ang="0">
                  <a:pos x="236" y="505"/>
                </a:cxn>
                <a:cxn ang="0">
                  <a:pos x="203" y="482"/>
                </a:cxn>
                <a:cxn ang="0">
                  <a:pos x="181" y="406"/>
                </a:cxn>
                <a:cxn ang="0">
                  <a:pos x="179" y="315"/>
                </a:cxn>
                <a:cxn ang="0">
                  <a:pos x="151" y="216"/>
                </a:cxn>
                <a:cxn ang="0">
                  <a:pos x="82" y="166"/>
                </a:cxn>
                <a:cxn ang="0">
                  <a:pos x="112" y="135"/>
                </a:cxn>
                <a:cxn ang="0">
                  <a:pos x="231" y="175"/>
                </a:cxn>
                <a:cxn ang="0">
                  <a:pos x="267" y="80"/>
                </a:cxn>
                <a:cxn ang="0">
                  <a:pos x="329" y="18"/>
                </a:cxn>
              </a:cxnLst>
              <a:rect l="0" t="0" r="r" b="b"/>
              <a:pathLst>
                <a:path w="509" h="1038">
                  <a:moveTo>
                    <a:pt x="126" y="1032"/>
                  </a:moveTo>
                  <a:lnTo>
                    <a:pt x="126" y="1033"/>
                  </a:lnTo>
                  <a:lnTo>
                    <a:pt x="124" y="1034"/>
                  </a:lnTo>
                  <a:lnTo>
                    <a:pt x="123" y="1034"/>
                  </a:lnTo>
                  <a:lnTo>
                    <a:pt x="123" y="1033"/>
                  </a:lnTo>
                  <a:lnTo>
                    <a:pt x="125" y="1033"/>
                  </a:lnTo>
                  <a:lnTo>
                    <a:pt x="126" y="1032"/>
                  </a:lnTo>
                  <a:close/>
                  <a:moveTo>
                    <a:pt x="57" y="1027"/>
                  </a:moveTo>
                  <a:lnTo>
                    <a:pt x="60" y="1027"/>
                  </a:lnTo>
                  <a:lnTo>
                    <a:pt x="60" y="1029"/>
                  </a:lnTo>
                  <a:lnTo>
                    <a:pt x="57" y="1029"/>
                  </a:lnTo>
                  <a:lnTo>
                    <a:pt x="57" y="1027"/>
                  </a:lnTo>
                  <a:close/>
                  <a:moveTo>
                    <a:pt x="60" y="1026"/>
                  </a:moveTo>
                  <a:lnTo>
                    <a:pt x="63" y="1026"/>
                  </a:lnTo>
                  <a:lnTo>
                    <a:pt x="63" y="1027"/>
                  </a:lnTo>
                  <a:lnTo>
                    <a:pt x="62" y="1027"/>
                  </a:lnTo>
                  <a:lnTo>
                    <a:pt x="63" y="1028"/>
                  </a:lnTo>
                  <a:lnTo>
                    <a:pt x="62" y="1028"/>
                  </a:lnTo>
                  <a:lnTo>
                    <a:pt x="60" y="1027"/>
                  </a:lnTo>
                  <a:lnTo>
                    <a:pt x="60" y="1026"/>
                  </a:lnTo>
                  <a:close/>
                  <a:moveTo>
                    <a:pt x="185" y="1023"/>
                  </a:moveTo>
                  <a:lnTo>
                    <a:pt x="186" y="1025"/>
                  </a:lnTo>
                  <a:lnTo>
                    <a:pt x="186" y="1026"/>
                  </a:lnTo>
                  <a:lnTo>
                    <a:pt x="184" y="1026"/>
                  </a:lnTo>
                  <a:lnTo>
                    <a:pt x="184" y="1025"/>
                  </a:lnTo>
                  <a:lnTo>
                    <a:pt x="185" y="1023"/>
                  </a:lnTo>
                  <a:close/>
                  <a:moveTo>
                    <a:pt x="131" y="1022"/>
                  </a:moveTo>
                  <a:lnTo>
                    <a:pt x="131" y="1023"/>
                  </a:lnTo>
                  <a:lnTo>
                    <a:pt x="130" y="1023"/>
                  </a:lnTo>
                  <a:lnTo>
                    <a:pt x="131" y="1022"/>
                  </a:lnTo>
                  <a:close/>
                  <a:moveTo>
                    <a:pt x="35" y="1020"/>
                  </a:moveTo>
                  <a:lnTo>
                    <a:pt x="36" y="1020"/>
                  </a:lnTo>
                  <a:lnTo>
                    <a:pt x="38" y="1021"/>
                  </a:lnTo>
                  <a:lnTo>
                    <a:pt x="39" y="1021"/>
                  </a:lnTo>
                  <a:lnTo>
                    <a:pt x="39" y="1022"/>
                  </a:lnTo>
                  <a:lnTo>
                    <a:pt x="38" y="1023"/>
                  </a:lnTo>
                  <a:lnTo>
                    <a:pt x="35" y="1023"/>
                  </a:lnTo>
                  <a:lnTo>
                    <a:pt x="35" y="1025"/>
                  </a:lnTo>
                  <a:lnTo>
                    <a:pt x="33" y="1026"/>
                  </a:lnTo>
                  <a:lnTo>
                    <a:pt x="32" y="1026"/>
                  </a:lnTo>
                  <a:lnTo>
                    <a:pt x="32" y="1023"/>
                  </a:lnTo>
                  <a:lnTo>
                    <a:pt x="33" y="1022"/>
                  </a:lnTo>
                  <a:lnTo>
                    <a:pt x="35" y="1020"/>
                  </a:lnTo>
                  <a:close/>
                  <a:moveTo>
                    <a:pt x="142" y="1019"/>
                  </a:moveTo>
                  <a:lnTo>
                    <a:pt x="143" y="1019"/>
                  </a:lnTo>
                  <a:lnTo>
                    <a:pt x="143" y="1020"/>
                  </a:lnTo>
                  <a:lnTo>
                    <a:pt x="142" y="1021"/>
                  </a:lnTo>
                  <a:lnTo>
                    <a:pt x="141" y="1020"/>
                  </a:lnTo>
                  <a:lnTo>
                    <a:pt x="142" y="1019"/>
                  </a:lnTo>
                  <a:close/>
                  <a:moveTo>
                    <a:pt x="43" y="1017"/>
                  </a:moveTo>
                  <a:lnTo>
                    <a:pt x="46" y="1017"/>
                  </a:lnTo>
                  <a:lnTo>
                    <a:pt x="46" y="1021"/>
                  </a:lnTo>
                  <a:lnTo>
                    <a:pt x="45" y="1021"/>
                  </a:lnTo>
                  <a:lnTo>
                    <a:pt x="44" y="1020"/>
                  </a:lnTo>
                  <a:lnTo>
                    <a:pt x="44" y="1021"/>
                  </a:lnTo>
                  <a:lnTo>
                    <a:pt x="42" y="1021"/>
                  </a:lnTo>
                  <a:lnTo>
                    <a:pt x="42" y="1020"/>
                  </a:lnTo>
                  <a:lnTo>
                    <a:pt x="43" y="1019"/>
                  </a:lnTo>
                  <a:lnTo>
                    <a:pt x="43" y="1017"/>
                  </a:lnTo>
                  <a:close/>
                  <a:moveTo>
                    <a:pt x="142" y="1016"/>
                  </a:moveTo>
                  <a:lnTo>
                    <a:pt x="144" y="1016"/>
                  </a:lnTo>
                  <a:lnTo>
                    <a:pt x="144" y="1017"/>
                  </a:lnTo>
                  <a:lnTo>
                    <a:pt x="143" y="1019"/>
                  </a:lnTo>
                  <a:lnTo>
                    <a:pt x="143" y="1017"/>
                  </a:lnTo>
                  <a:lnTo>
                    <a:pt x="142" y="1017"/>
                  </a:lnTo>
                  <a:lnTo>
                    <a:pt x="142" y="1016"/>
                  </a:lnTo>
                  <a:close/>
                  <a:moveTo>
                    <a:pt x="42" y="1016"/>
                  </a:moveTo>
                  <a:lnTo>
                    <a:pt x="43" y="1016"/>
                  </a:lnTo>
                  <a:lnTo>
                    <a:pt x="43" y="1019"/>
                  </a:lnTo>
                  <a:lnTo>
                    <a:pt x="40" y="1019"/>
                  </a:lnTo>
                  <a:lnTo>
                    <a:pt x="40" y="1017"/>
                  </a:lnTo>
                  <a:lnTo>
                    <a:pt x="42" y="1016"/>
                  </a:lnTo>
                  <a:close/>
                  <a:moveTo>
                    <a:pt x="39" y="1016"/>
                  </a:moveTo>
                  <a:lnTo>
                    <a:pt x="40" y="1016"/>
                  </a:lnTo>
                  <a:lnTo>
                    <a:pt x="39" y="1019"/>
                  </a:lnTo>
                  <a:lnTo>
                    <a:pt x="39" y="1020"/>
                  </a:lnTo>
                  <a:lnTo>
                    <a:pt x="37" y="1020"/>
                  </a:lnTo>
                  <a:lnTo>
                    <a:pt x="38" y="1019"/>
                  </a:lnTo>
                  <a:lnTo>
                    <a:pt x="38" y="1017"/>
                  </a:lnTo>
                  <a:lnTo>
                    <a:pt x="39" y="1016"/>
                  </a:lnTo>
                  <a:close/>
                  <a:moveTo>
                    <a:pt x="120" y="1015"/>
                  </a:moveTo>
                  <a:lnTo>
                    <a:pt x="122" y="1015"/>
                  </a:lnTo>
                  <a:lnTo>
                    <a:pt x="122" y="1017"/>
                  </a:lnTo>
                  <a:lnTo>
                    <a:pt x="123" y="1017"/>
                  </a:lnTo>
                  <a:lnTo>
                    <a:pt x="122" y="1015"/>
                  </a:lnTo>
                  <a:lnTo>
                    <a:pt x="123" y="1015"/>
                  </a:lnTo>
                  <a:lnTo>
                    <a:pt x="124" y="1016"/>
                  </a:lnTo>
                  <a:lnTo>
                    <a:pt x="124" y="1022"/>
                  </a:lnTo>
                  <a:lnTo>
                    <a:pt x="123" y="1021"/>
                  </a:lnTo>
                  <a:lnTo>
                    <a:pt x="122" y="1021"/>
                  </a:lnTo>
                  <a:lnTo>
                    <a:pt x="122" y="1022"/>
                  </a:lnTo>
                  <a:lnTo>
                    <a:pt x="120" y="1021"/>
                  </a:lnTo>
                  <a:lnTo>
                    <a:pt x="120" y="1015"/>
                  </a:lnTo>
                  <a:close/>
                  <a:moveTo>
                    <a:pt x="214" y="1014"/>
                  </a:moveTo>
                  <a:lnTo>
                    <a:pt x="216" y="1014"/>
                  </a:lnTo>
                  <a:lnTo>
                    <a:pt x="214" y="1014"/>
                  </a:lnTo>
                  <a:close/>
                  <a:moveTo>
                    <a:pt x="25" y="1014"/>
                  </a:moveTo>
                  <a:lnTo>
                    <a:pt x="26" y="1015"/>
                  </a:lnTo>
                  <a:lnTo>
                    <a:pt x="27" y="1015"/>
                  </a:lnTo>
                  <a:lnTo>
                    <a:pt x="29" y="1016"/>
                  </a:lnTo>
                  <a:lnTo>
                    <a:pt x="30" y="1019"/>
                  </a:lnTo>
                  <a:lnTo>
                    <a:pt x="30" y="1022"/>
                  </a:lnTo>
                  <a:lnTo>
                    <a:pt x="29" y="1023"/>
                  </a:lnTo>
                  <a:lnTo>
                    <a:pt x="29" y="1022"/>
                  </a:lnTo>
                  <a:lnTo>
                    <a:pt x="27" y="1022"/>
                  </a:lnTo>
                  <a:lnTo>
                    <a:pt x="26" y="1023"/>
                  </a:lnTo>
                  <a:lnTo>
                    <a:pt x="25" y="1022"/>
                  </a:lnTo>
                  <a:lnTo>
                    <a:pt x="26" y="1021"/>
                  </a:lnTo>
                  <a:lnTo>
                    <a:pt x="25" y="1020"/>
                  </a:lnTo>
                  <a:lnTo>
                    <a:pt x="24" y="1020"/>
                  </a:lnTo>
                  <a:lnTo>
                    <a:pt x="24" y="1019"/>
                  </a:lnTo>
                  <a:lnTo>
                    <a:pt x="21" y="1019"/>
                  </a:lnTo>
                  <a:lnTo>
                    <a:pt x="23" y="1016"/>
                  </a:lnTo>
                  <a:lnTo>
                    <a:pt x="24" y="1016"/>
                  </a:lnTo>
                  <a:lnTo>
                    <a:pt x="25" y="1014"/>
                  </a:lnTo>
                  <a:close/>
                  <a:moveTo>
                    <a:pt x="143" y="1011"/>
                  </a:moveTo>
                  <a:lnTo>
                    <a:pt x="145" y="1011"/>
                  </a:lnTo>
                  <a:lnTo>
                    <a:pt x="145" y="1015"/>
                  </a:lnTo>
                  <a:lnTo>
                    <a:pt x="141" y="1015"/>
                  </a:lnTo>
                  <a:lnTo>
                    <a:pt x="142" y="1014"/>
                  </a:lnTo>
                  <a:lnTo>
                    <a:pt x="142" y="1013"/>
                  </a:lnTo>
                  <a:lnTo>
                    <a:pt x="143" y="1011"/>
                  </a:lnTo>
                  <a:close/>
                  <a:moveTo>
                    <a:pt x="102" y="1010"/>
                  </a:moveTo>
                  <a:lnTo>
                    <a:pt x="104" y="1010"/>
                  </a:lnTo>
                  <a:lnTo>
                    <a:pt x="105" y="1011"/>
                  </a:lnTo>
                  <a:lnTo>
                    <a:pt x="106" y="1011"/>
                  </a:lnTo>
                  <a:lnTo>
                    <a:pt x="106" y="1013"/>
                  </a:lnTo>
                  <a:lnTo>
                    <a:pt x="102" y="1013"/>
                  </a:lnTo>
                  <a:lnTo>
                    <a:pt x="102" y="1010"/>
                  </a:lnTo>
                  <a:close/>
                  <a:moveTo>
                    <a:pt x="48" y="1009"/>
                  </a:moveTo>
                  <a:lnTo>
                    <a:pt x="49" y="1009"/>
                  </a:lnTo>
                  <a:lnTo>
                    <a:pt x="49" y="1010"/>
                  </a:lnTo>
                  <a:lnTo>
                    <a:pt x="50" y="1010"/>
                  </a:lnTo>
                  <a:lnTo>
                    <a:pt x="50" y="1013"/>
                  </a:lnTo>
                  <a:lnTo>
                    <a:pt x="49" y="1013"/>
                  </a:lnTo>
                  <a:lnTo>
                    <a:pt x="48" y="1010"/>
                  </a:lnTo>
                  <a:lnTo>
                    <a:pt x="48" y="1009"/>
                  </a:lnTo>
                  <a:close/>
                  <a:moveTo>
                    <a:pt x="30" y="1009"/>
                  </a:moveTo>
                  <a:lnTo>
                    <a:pt x="31" y="1011"/>
                  </a:lnTo>
                  <a:lnTo>
                    <a:pt x="32" y="1013"/>
                  </a:lnTo>
                  <a:lnTo>
                    <a:pt x="32" y="1011"/>
                  </a:lnTo>
                  <a:lnTo>
                    <a:pt x="31" y="1010"/>
                  </a:lnTo>
                  <a:lnTo>
                    <a:pt x="31" y="1009"/>
                  </a:lnTo>
                  <a:lnTo>
                    <a:pt x="33" y="1011"/>
                  </a:lnTo>
                  <a:lnTo>
                    <a:pt x="33" y="1013"/>
                  </a:lnTo>
                  <a:lnTo>
                    <a:pt x="32" y="1015"/>
                  </a:lnTo>
                  <a:lnTo>
                    <a:pt x="32" y="1016"/>
                  </a:lnTo>
                  <a:lnTo>
                    <a:pt x="31" y="1016"/>
                  </a:lnTo>
                  <a:lnTo>
                    <a:pt x="31" y="1015"/>
                  </a:lnTo>
                  <a:lnTo>
                    <a:pt x="30" y="1015"/>
                  </a:lnTo>
                  <a:lnTo>
                    <a:pt x="29" y="1013"/>
                  </a:lnTo>
                  <a:lnTo>
                    <a:pt x="30" y="1011"/>
                  </a:lnTo>
                  <a:lnTo>
                    <a:pt x="30" y="1009"/>
                  </a:lnTo>
                  <a:close/>
                  <a:moveTo>
                    <a:pt x="86" y="1008"/>
                  </a:moveTo>
                  <a:lnTo>
                    <a:pt x="89" y="1008"/>
                  </a:lnTo>
                  <a:lnTo>
                    <a:pt x="91" y="1009"/>
                  </a:lnTo>
                  <a:lnTo>
                    <a:pt x="89" y="1010"/>
                  </a:lnTo>
                  <a:lnTo>
                    <a:pt x="89" y="1013"/>
                  </a:lnTo>
                  <a:lnTo>
                    <a:pt x="87" y="1013"/>
                  </a:lnTo>
                  <a:lnTo>
                    <a:pt x="86" y="1014"/>
                  </a:lnTo>
                  <a:lnTo>
                    <a:pt x="85" y="1014"/>
                  </a:lnTo>
                  <a:lnTo>
                    <a:pt x="85" y="1013"/>
                  </a:lnTo>
                  <a:lnTo>
                    <a:pt x="83" y="1013"/>
                  </a:lnTo>
                  <a:lnTo>
                    <a:pt x="85" y="1011"/>
                  </a:lnTo>
                  <a:lnTo>
                    <a:pt x="87" y="1011"/>
                  </a:lnTo>
                  <a:lnTo>
                    <a:pt x="86" y="1010"/>
                  </a:lnTo>
                  <a:lnTo>
                    <a:pt x="83" y="1010"/>
                  </a:lnTo>
                  <a:lnTo>
                    <a:pt x="86" y="1008"/>
                  </a:lnTo>
                  <a:close/>
                  <a:moveTo>
                    <a:pt x="94" y="1005"/>
                  </a:moveTo>
                  <a:lnTo>
                    <a:pt x="99" y="1005"/>
                  </a:lnTo>
                  <a:lnTo>
                    <a:pt x="100" y="1007"/>
                  </a:lnTo>
                  <a:lnTo>
                    <a:pt x="99" y="1007"/>
                  </a:lnTo>
                  <a:lnTo>
                    <a:pt x="99" y="1008"/>
                  </a:lnTo>
                  <a:lnTo>
                    <a:pt x="100" y="1009"/>
                  </a:lnTo>
                  <a:lnTo>
                    <a:pt x="98" y="1009"/>
                  </a:lnTo>
                  <a:lnTo>
                    <a:pt x="96" y="1010"/>
                  </a:lnTo>
                  <a:lnTo>
                    <a:pt x="96" y="1011"/>
                  </a:lnTo>
                  <a:lnTo>
                    <a:pt x="94" y="1013"/>
                  </a:lnTo>
                  <a:lnTo>
                    <a:pt x="93" y="1013"/>
                  </a:lnTo>
                  <a:lnTo>
                    <a:pt x="92" y="1011"/>
                  </a:lnTo>
                  <a:lnTo>
                    <a:pt x="93" y="1011"/>
                  </a:lnTo>
                  <a:lnTo>
                    <a:pt x="93" y="1007"/>
                  </a:lnTo>
                  <a:lnTo>
                    <a:pt x="94" y="1005"/>
                  </a:lnTo>
                  <a:close/>
                  <a:moveTo>
                    <a:pt x="122" y="1004"/>
                  </a:moveTo>
                  <a:lnTo>
                    <a:pt x="122" y="1005"/>
                  </a:lnTo>
                  <a:lnTo>
                    <a:pt x="119" y="1008"/>
                  </a:lnTo>
                  <a:lnTo>
                    <a:pt x="119" y="1009"/>
                  </a:lnTo>
                  <a:lnTo>
                    <a:pt x="118" y="1009"/>
                  </a:lnTo>
                  <a:lnTo>
                    <a:pt x="118" y="1005"/>
                  </a:lnTo>
                  <a:lnTo>
                    <a:pt x="122" y="1004"/>
                  </a:lnTo>
                  <a:close/>
                  <a:moveTo>
                    <a:pt x="106" y="1004"/>
                  </a:moveTo>
                  <a:lnTo>
                    <a:pt x="107" y="1004"/>
                  </a:lnTo>
                  <a:lnTo>
                    <a:pt x="108" y="1005"/>
                  </a:lnTo>
                  <a:lnTo>
                    <a:pt x="106" y="1008"/>
                  </a:lnTo>
                  <a:lnTo>
                    <a:pt x="107" y="1009"/>
                  </a:lnTo>
                  <a:lnTo>
                    <a:pt x="106" y="1010"/>
                  </a:lnTo>
                  <a:lnTo>
                    <a:pt x="104" y="1010"/>
                  </a:lnTo>
                  <a:lnTo>
                    <a:pt x="102" y="1009"/>
                  </a:lnTo>
                  <a:lnTo>
                    <a:pt x="102" y="1007"/>
                  </a:lnTo>
                  <a:lnTo>
                    <a:pt x="105" y="1005"/>
                  </a:lnTo>
                  <a:lnTo>
                    <a:pt x="106" y="1004"/>
                  </a:lnTo>
                  <a:close/>
                  <a:moveTo>
                    <a:pt x="75" y="1004"/>
                  </a:moveTo>
                  <a:lnTo>
                    <a:pt x="77" y="1004"/>
                  </a:lnTo>
                  <a:lnTo>
                    <a:pt x="79" y="1005"/>
                  </a:lnTo>
                  <a:lnTo>
                    <a:pt x="82" y="1005"/>
                  </a:lnTo>
                  <a:lnTo>
                    <a:pt x="82" y="1007"/>
                  </a:lnTo>
                  <a:lnTo>
                    <a:pt x="80" y="1007"/>
                  </a:lnTo>
                  <a:lnTo>
                    <a:pt x="80" y="1008"/>
                  </a:lnTo>
                  <a:lnTo>
                    <a:pt x="79" y="1008"/>
                  </a:lnTo>
                  <a:lnTo>
                    <a:pt x="77" y="1007"/>
                  </a:lnTo>
                  <a:lnTo>
                    <a:pt x="75" y="1007"/>
                  </a:lnTo>
                  <a:lnTo>
                    <a:pt x="75" y="1005"/>
                  </a:lnTo>
                  <a:lnTo>
                    <a:pt x="74" y="1005"/>
                  </a:lnTo>
                  <a:lnTo>
                    <a:pt x="75" y="1004"/>
                  </a:lnTo>
                  <a:close/>
                  <a:moveTo>
                    <a:pt x="267" y="1003"/>
                  </a:moveTo>
                  <a:lnTo>
                    <a:pt x="268" y="1003"/>
                  </a:lnTo>
                  <a:lnTo>
                    <a:pt x="268" y="1005"/>
                  </a:lnTo>
                  <a:lnTo>
                    <a:pt x="266" y="1005"/>
                  </a:lnTo>
                  <a:lnTo>
                    <a:pt x="266" y="1004"/>
                  </a:lnTo>
                  <a:lnTo>
                    <a:pt x="267" y="1003"/>
                  </a:lnTo>
                  <a:close/>
                  <a:moveTo>
                    <a:pt x="124" y="1003"/>
                  </a:moveTo>
                  <a:lnTo>
                    <a:pt x="125" y="1003"/>
                  </a:lnTo>
                  <a:lnTo>
                    <a:pt x="124" y="1005"/>
                  </a:lnTo>
                  <a:lnTo>
                    <a:pt x="124" y="1003"/>
                  </a:lnTo>
                  <a:close/>
                  <a:moveTo>
                    <a:pt x="24" y="1003"/>
                  </a:moveTo>
                  <a:lnTo>
                    <a:pt x="24" y="1005"/>
                  </a:lnTo>
                  <a:lnTo>
                    <a:pt x="23" y="1005"/>
                  </a:lnTo>
                  <a:lnTo>
                    <a:pt x="24" y="1003"/>
                  </a:lnTo>
                  <a:close/>
                  <a:moveTo>
                    <a:pt x="50" y="1002"/>
                  </a:moveTo>
                  <a:lnTo>
                    <a:pt x="50" y="1003"/>
                  </a:lnTo>
                  <a:lnTo>
                    <a:pt x="51" y="1004"/>
                  </a:lnTo>
                  <a:lnTo>
                    <a:pt x="51" y="1005"/>
                  </a:lnTo>
                  <a:lnTo>
                    <a:pt x="49" y="1005"/>
                  </a:lnTo>
                  <a:lnTo>
                    <a:pt x="49" y="1003"/>
                  </a:lnTo>
                  <a:lnTo>
                    <a:pt x="50" y="1002"/>
                  </a:lnTo>
                  <a:close/>
                  <a:moveTo>
                    <a:pt x="116" y="1001"/>
                  </a:moveTo>
                  <a:lnTo>
                    <a:pt x="118" y="1001"/>
                  </a:lnTo>
                  <a:lnTo>
                    <a:pt x="118" y="1003"/>
                  </a:lnTo>
                  <a:lnTo>
                    <a:pt x="117" y="1005"/>
                  </a:lnTo>
                  <a:lnTo>
                    <a:pt x="114" y="1007"/>
                  </a:lnTo>
                  <a:lnTo>
                    <a:pt x="114" y="1003"/>
                  </a:lnTo>
                  <a:lnTo>
                    <a:pt x="116" y="1001"/>
                  </a:lnTo>
                  <a:close/>
                  <a:moveTo>
                    <a:pt x="88" y="999"/>
                  </a:moveTo>
                  <a:lnTo>
                    <a:pt x="88" y="1001"/>
                  </a:lnTo>
                  <a:lnTo>
                    <a:pt x="89" y="1001"/>
                  </a:lnTo>
                  <a:lnTo>
                    <a:pt x="88" y="1002"/>
                  </a:lnTo>
                  <a:lnTo>
                    <a:pt x="88" y="1003"/>
                  </a:lnTo>
                  <a:lnTo>
                    <a:pt x="87" y="1003"/>
                  </a:lnTo>
                  <a:lnTo>
                    <a:pt x="87" y="1001"/>
                  </a:lnTo>
                  <a:lnTo>
                    <a:pt x="88" y="999"/>
                  </a:lnTo>
                  <a:close/>
                  <a:moveTo>
                    <a:pt x="36" y="999"/>
                  </a:moveTo>
                  <a:lnTo>
                    <a:pt x="39" y="999"/>
                  </a:lnTo>
                  <a:lnTo>
                    <a:pt x="39" y="1001"/>
                  </a:lnTo>
                  <a:lnTo>
                    <a:pt x="37" y="1005"/>
                  </a:lnTo>
                  <a:lnTo>
                    <a:pt x="37" y="1002"/>
                  </a:lnTo>
                  <a:lnTo>
                    <a:pt x="36" y="1003"/>
                  </a:lnTo>
                  <a:lnTo>
                    <a:pt x="36" y="999"/>
                  </a:lnTo>
                  <a:close/>
                  <a:moveTo>
                    <a:pt x="4" y="999"/>
                  </a:moveTo>
                  <a:lnTo>
                    <a:pt x="6" y="1002"/>
                  </a:lnTo>
                  <a:lnTo>
                    <a:pt x="6" y="1004"/>
                  </a:lnTo>
                  <a:lnTo>
                    <a:pt x="7" y="1005"/>
                  </a:lnTo>
                  <a:lnTo>
                    <a:pt x="7" y="1009"/>
                  </a:lnTo>
                  <a:lnTo>
                    <a:pt x="6" y="1009"/>
                  </a:lnTo>
                  <a:lnTo>
                    <a:pt x="5" y="1008"/>
                  </a:lnTo>
                  <a:lnTo>
                    <a:pt x="5" y="1005"/>
                  </a:lnTo>
                  <a:lnTo>
                    <a:pt x="4" y="1005"/>
                  </a:lnTo>
                  <a:lnTo>
                    <a:pt x="4" y="1010"/>
                  </a:lnTo>
                  <a:lnTo>
                    <a:pt x="2" y="1011"/>
                  </a:lnTo>
                  <a:lnTo>
                    <a:pt x="1" y="1010"/>
                  </a:lnTo>
                  <a:lnTo>
                    <a:pt x="1" y="1009"/>
                  </a:lnTo>
                  <a:lnTo>
                    <a:pt x="0" y="1008"/>
                  </a:lnTo>
                  <a:lnTo>
                    <a:pt x="0" y="1005"/>
                  </a:lnTo>
                  <a:lnTo>
                    <a:pt x="1" y="1005"/>
                  </a:lnTo>
                  <a:lnTo>
                    <a:pt x="1" y="1002"/>
                  </a:lnTo>
                  <a:lnTo>
                    <a:pt x="4" y="999"/>
                  </a:lnTo>
                  <a:close/>
                  <a:moveTo>
                    <a:pt x="256" y="997"/>
                  </a:moveTo>
                  <a:lnTo>
                    <a:pt x="257" y="997"/>
                  </a:lnTo>
                  <a:lnTo>
                    <a:pt x="261" y="1001"/>
                  </a:lnTo>
                  <a:lnTo>
                    <a:pt x="259" y="1003"/>
                  </a:lnTo>
                  <a:lnTo>
                    <a:pt x="259" y="1004"/>
                  </a:lnTo>
                  <a:lnTo>
                    <a:pt x="257" y="1004"/>
                  </a:lnTo>
                  <a:lnTo>
                    <a:pt x="257" y="1002"/>
                  </a:lnTo>
                  <a:lnTo>
                    <a:pt x="256" y="1002"/>
                  </a:lnTo>
                  <a:lnTo>
                    <a:pt x="256" y="999"/>
                  </a:lnTo>
                  <a:lnTo>
                    <a:pt x="255" y="998"/>
                  </a:lnTo>
                  <a:lnTo>
                    <a:pt x="256" y="997"/>
                  </a:lnTo>
                  <a:close/>
                  <a:moveTo>
                    <a:pt x="143" y="997"/>
                  </a:moveTo>
                  <a:lnTo>
                    <a:pt x="145" y="997"/>
                  </a:lnTo>
                  <a:lnTo>
                    <a:pt x="145" y="999"/>
                  </a:lnTo>
                  <a:lnTo>
                    <a:pt x="144" y="999"/>
                  </a:lnTo>
                  <a:lnTo>
                    <a:pt x="143" y="1001"/>
                  </a:lnTo>
                  <a:lnTo>
                    <a:pt x="143" y="1002"/>
                  </a:lnTo>
                  <a:lnTo>
                    <a:pt x="142" y="1003"/>
                  </a:lnTo>
                  <a:lnTo>
                    <a:pt x="142" y="1004"/>
                  </a:lnTo>
                  <a:lnTo>
                    <a:pt x="141" y="1004"/>
                  </a:lnTo>
                  <a:lnTo>
                    <a:pt x="141" y="1008"/>
                  </a:lnTo>
                  <a:lnTo>
                    <a:pt x="139" y="1008"/>
                  </a:lnTo>
                  <a:lnTo>
                    <a:pt x="141" y="1009"/>
                  </a:lnTo>
                  <a:lnTo>
                    <a:pt x="141" y="1013"/>
                  </a:lnTo>
                  <a:lnTo>
                    <a:pt x="139" y="1015"/>
                  </a:lnTo>
                  <a:lnTo>
                    <a:pt x="136" y="1017"/>
                  </a:lnTo>
                  <a:lnTo>
                    <a:pt x="136" y="1019"/>
                  </a:lnTo>
                  <a:lnTo>
                    <a:pt x="137" y="1019"/>
                  </a:lnTo>
                  <a:lnTo>
                    <a:pt x="137" y="1020"/>
                  </a:lnTo>
                  <a:lnTo>
                    <a:pt x="136" y="1021"/>
                  </a:lnTo>
                  <a:lnTo>
                    <a:pt x="135" y="1021"/>
                  </a:lnTo>
                  <a:lnTo>
                    <a:pt x="133" y="1022"/>
                  </a:lnTo>
                  <a:lnTo>
                    <a:pt x="133" y="1021"/>
                  </a:lnTo>
                  <a:lnTo>
                    <a:pt x="132" y="1019"/>
                  </a:lnTo>
                  <a:lnTo>
                    <a:pt x="132" y="1020"/>
                  </a:lnTo>
                  <a:lnTo>
                    <a:pt x="131" y="1022"/>
                  </a:lnTo>
                  <a:lnTo>
                    <a:pt x="130" y="1021"/>
                  </a:lnTo>
                  <a:lnTo>
                    <a:pt x="130" y="1019"/>
                  </a:lnTo>
                  <a:lnTo>
                    <a:pt x="127" y="1021"/>
                  </a:lnTo>
                  <a:lnTo>
                    <a:pt x="125" y="1022"/>
                  </a:lnTo>
                  <a:lnTo>
                    <a:pt x="125" y="1014"/>
                  </a:lnTo>
                  <a:lnTo>
                    <a:pt x="124" y="1013"/>
                  </a:lnTo>
                  <a:lnTo>
                    <a:pt x="123" y="1013"/>
                  </a:lnTo>
                  <a:lnTo>
                    <a:pt x="125" y="1010"/>
                  </a:lnTo>
                  <a:lnTo>
                    <a:pt x="130" y="1010"/>
                  </a:lnTo>
                  <a:lnTo>
                    <a:pt x="123" y="1009"/>
                  </a:lnTo>
                  <a:lnTo>
                    <a:pt x="123" y="1008"/>
                  </a:lnTo>
                  <a:lnTo>
                    <a:pt x="124" y="1005"/>
                  </a:lnTo>
                  <a:lnTo>
                    <a:pt x="125" y="1007"/>
                  </a:lnTo>
                  <a:lnTo>
                    <a:pt x="129" y="1005"/>
                  </a:lnTo>
                  <a:lnTo>
                    <a:pt x="131" y="1004"/>
                  </a:lnTo>
                  <a:lnTo>
                    <a:pt x="139" y="1003"/>
                  </a:lnTo>
                  <a:lnTo>
                    <a:pt x="141" y="1002"/>
                  </a:lnTo>
                  <a:lnTo>
                    <a:pt x="143" y="997"/>
                  </a:lnTo>
                  <a:close/>
                  <a:moveTo>
                    <a:pt x="54" y="997"/>
                  </a:moveTo>
                  <a:lnTo>
                    <a:pt x="55" y="997"/>
                  </a:lnTo>
                  <a:lnTo>
                    <a:pt x="55" y="998"/>
                  </a:lnTo>
                  <a:lnTo>
                    <a:pt x="56" y="999"/>
                  </a:lnTo>
                  <a:lnTo>
                    <a:pt x="57" y="999"/>
                  </a:lnTo>
                  <a:lnTo>
                    <a:pt x="57" y="1001"/>
                  </a:lnTo>
                  <a:lnTo>
                    <a:pt x="55" y="1001"/>
                  </a:lnTo>
                  <a:lnTo>
                    <a:pt x="55" y="1002"/>
                  </a:lnTo>
                  <a:lnTo>
                    <a:pt x="54" y="1002"/>
                  </a:lnTo>
                  <a:lnTo>
                    <a:pt x="54" y="997"/>
                  </a:lnTo>
                  <a:close/>
                  <a:moveTo>
                    <a:pt x="100" y="996"/>
                  </a:moveTo>
                  <a:lnTo>
                    <a:pt x="104" y="996"/>
                  </a:lnTo>
                  <a:lnTo>
                    <a:pt x="104" y="997"/>
                  </a:lnTo>
                  <a:lnTo>
                    <a:pt x="105" y="997"/>
                  </a:lnTo>
                  <a:lnTo>
                    <a:pt x="104" y="998"/>
                  </a:lnTo>
                  <a:lnTo>
                    <a:pt x="101" y="998"/>
                  </a:lnTo>
                  <a:lnTo>
                    <a:pt x="101" y="997"/>
                  </a:lnTo>
                  <a:lnTo>
                    <a:pt x="100" y="997"/>
                  </a:lnTo>
                  <a:lnTo>
                    <a:pt x="100" y="996"/>
                  </a:lnTo>
                  <a:close/>
                  <a:moveTo>
                    <a:pt x="110" y="995"/>
                  </a:moveTo>
                  <a:lnTo>
                    <a:pt x="111" y="995"/>
                  </a:lnTo>
                  <a:lnTo>
                    <a:pt x="116" y="996"/>
                  </a:lnTo>
                  <a:lnTo>
                    <a:pt x="119" y="997"/>
                  </a:lnTo>
                  <a:lnTo>
                    <a:pt x="119" y="999"/>
                  </a:lnTo>
                  <a:lnTo>
                    <a:pt x="118" y="999"/>
                  </a:lnTo>
                  <a:lnTo>
                    <a:pt x="118" y="998"/>
                  </a:lnTo>
                  <a:lnTo>
                    <a:pt x="117" y="999"/>
                  </a:lnTo>
                  <a:lnTo>
                    <a:pt x="116" y="999"/>
                  </a:lnTo>
                  <a:lnTo>
                    <a:pt x="114" y="1001"/>
                  </a:lnTo>
                  <a:lnTo>
                    <a:pt x="113" y="1001"/>
                  </a:lnTo>
                  <a:lnTo>
                    <a:pt x="114" y="999"/>
                  </a:lnTo>
                  <a:lnTo>
                    <a:pt x="113" y="998"/>
                  </a:lnTo>
                  <a:lnTo>
                    <a:pt x="112" y="999"/>
                  </a:lnTo>
                  <a:lnTo>
                    <a:pt x="111" y="999"/>
                  </a:lnTo>
                  <a:lnTo>
                    <a:pt x="110" y="998"/>
                  </a:lnTo>
                  <a:lnTo>
                    <a:pt x="108" y="999"/>
                  </a:lnTo>
                  <a:lnTo>
                    <a:pt x="108" y="996"/>
                  </a:lnTo>
                  <a:lnTo>
                    <a:pt x="110" y="995"/>
                  </a:lnTo>
                  <a:close/>
                  <a:moveTo>
                    <a:pt x="122" y="991"/>
                  </a:moveTo>
                  <a:lnTo>
                    <a:pt x="122" y="992"/>
                  </a:lnTo>
                  <a:lnTo>
                    <a:pt x="123" y="994"/>
                  </a:lnTo>
                  <a:lnTo>
                    <a:pt x="125" y="994"/>
                  </a:lnTo>
                  <a:lnTo>
                    <a:pt x="125" y="995"/>
                  </a:lnTo>
                  <a:lnTo>
                    <a:pt x="124" y="996"/>
                  </a:lnTo>
                  <a:lnTo>
                    <a:pt x="123" y="996"/>
                  </a:lnTo>
                  <a:lnTo>
                    <a:pt x="122" y="997"/>
                  </a:lnTo>
                  <a:lnTo>
                    <a:pt x="120" y="997"/>
                  </a:lnTo>
                  <a:lnTo>
                    <a:pt x="122" y="996"/>
                  </a:lnTo>
                  <a:lnTo>
                    <a:pt x="122" y="995"/>
                  </a:lnTo>
                  <a:lnTo>
                    <a:pt x="118" y="995"/>
                  </a:lnTo>
                  <a:lnTo>
                    <a:pt x="122" y="991"/>
                  </a:lnTo>
                  <a:close/>
                  <a:moveTo>
                    <a:pt x="52" y="991"/>
                  </a:moveTo>
                  <a:lnTo>
                    <a:pt x="54" y="991"/>
                  </a:lnTo>
                  <a:lnTo>
                    <a:pt x="54" y="995"/>
                  </a:lnTo>
                  <a:lnTo>
                    <a:pt x="52" y="996"/>
                  </a:lnTo>
                  <a:lnTo>
                    <a:pt x="51" y="995"/>
                  </a:lnTo>
                  <a:lnTo>
                    <a:pt x="51" y="994"/>
                  </a:lnTo>
                  <a:lnTo>
                    <a:pt x="52" y="992"/>
                  </a:lnTo>
                  <a:lnTo>
                    <a:pt x="52" y="991"/>
                  </a:lnTo>
                  <a:close/>
                  <a:moveTo>
                    <a:pt x="116" y="990"/>
                  </a:moveTo>
                  <a:lnTo>
                    <a:pt x="117" y="990"/>
                  </a:lnTo>
                  <a:lnTo>
                    <a:pt x="118" y="991"/>
                  </a:lnTo>
                  <a:lnTo>
                    <a:pt x="117" y="991"/>
                  </a:lnTo>
                  <a:lnTo>
                    <a:pt x="113" y="992"/>
                  </a:lnTo>
                  <a:lnTo>
                    <a:pt x="112" y="992"/>
                  </a:lnTo>
                  <a:lnTo>
                    <a:pt x="112" y="991"/>
                  </a:lnTo>
                  <a:lnTo>
                    <a:pt x="116" y="990"/>
                  </a:lnTo>
                  <a:close/>
                  <a:moveTo>
                    <a:pt x="111" y="990"/>
                  </a:moveTo>
                  <a:lnTo>
                    <a:pt x="114" y="990"/>
                  </a:lnTo>
                  <a:lnTo>
                    <a:pt x="110" y="992"/>
                  </a:lnTo>
                  <a:lnTo>
                    <a:pt x="111" y="990"/>
                  </a:lnTo>
                  <a:close/>
                  <a:moveTo>
                    <a:pt x="76" y="989"/>
                  </a:moveTo>
                  <a:lnTo>
                    <a:pt x="77" y="989"/>
                  </a:lnTo>
                  <a:lnTo>
                    <a:pt x="77" y="991"/>
                  </a:lnTo>
                  <a:lnTo>
                    <a:pt x="76" y="991"/>
                  </a:lnTo>
                  <a:lnTo>
                    <a:pt x="75" y="990"/>
                  </a:lnTo>
                  <a:lnTo>
                    <a:pt x="76" y="989"/>
                  </a:lnTo>
                  <a:close/>
                  <a:moveTo>
                    <a:pt x="14" y="988"/>
                  </a:moveTo>
                  <a:lnTo>
                    <a:pt x="17" y="988"/>
                  </a:lnTo>
                  <a:lnTo>
                    <a:pt x="17" y="989"/>
                  </a:lnTo>
                  <a:lnTo>
                    <a:pt x="18" y="990"/>
                  </a:lnTo>
                  <a:lnTo>
                    <a:pt x="18" y="991"/>
                  </a:lnTo>
                  <a:lnTo>
                    <a:pt x="20" y="991"/>
                  </a:lnTo>
                  <a:lnTo>
                    <a:pt x="23" y="994"/>
                  </a:lnTo>
                  <a:lnTo>
                    <a:pt x="21" y="992"/>
                  </a:lnTo>
                  <a:lnTo>
                    <a:pt x="21" y="991"/>
                  </a:lnTo>
                  <a:lnTo>
                    <a:pt x="23" y="991"/>
                  </a:lnTo>
                  <a:lnTo>
                    <a:pt x="24" y="992"/>
                  </a:lnTo>
                  <a:lnTo>
                    <a:pt x="25" y="991"/>
                  </a:lnTo>
                  <a:lnTo>
                    <a:pt x="25" y="992"/>
                  </a:lnTo>
                  <a:lnTo>
                    <a:pt x="26" y="994"/>
                  </a:lnTo>
                  <a:lnTo>
                    <a:pt x="29" y="995"/>
                  </a:lnTo>
                  <a:lnTo>
                    <a:pt x="29" y="997"/>
                  </a:lnTo>
                  <a:lnTo>
                    <a:pt x="30" y="997"/>
                  </a:lnTo>
                  <a:lnTo>
                    <a:pt x="31" y="998"/>
                  </a:lnTo>
                  <a:lnTo>
                    <a:pt x="32" y="998"/>
                  </a:lnTo>
                  <a:lnTo>
                    <a:pt x="31" y="1001"/>
                  </a:lnTo>
                  <a:lnTo>
                    <a:pt x="31" y="1002"/>
                  </a:lnTo>
                  <a:lnTo>
                    <a:pt x="30" y="1003"/>
                  </a:lnTo>
                  <a:lnTo>
                    <a:pt x="30" y="1005"/>
                  </a:lnTo>
                  <a:lnTo>
                    <a:pt x="29" y="1005"/>
                  </a:lnTo>
                  <a:lnTo>
                    <a:pt x="29" y="1008"/>
                  </a:lnTo>
                  <a:lnTo>
                    <a:pt x="27" y="1008"/>
                  </a:lnTo>
                  <a:lnTo>
                    <a:pt x="27" y="1007"/>
                  </a:lnTo>
                  <a:lnTo>
                    <a:pt x="25" y="1007"/>
                  </a:lnTo>
                  <a:lnTo>
                    <a:pt x="25" y="1003"/>
                  </a:lnTo>
                  <a:lnTo>
                    <a:pt x="26" y="1002"/>
                  </a:lnTo>
                  <a:lnTo>
                    <a:pt x="29" y="1002"/>
                  </a:lnTo>
                  <a:lnTo>
                    <a:pt x="29" y="1001"/>
                  </a:lnTo>
                  <a:lnTo>
                    <a:pt x="27" y="1001"/>
                  </a:lnTo>
                  <a:lnTo>
                    <a:pt x="25" y="1002"/>
                  </a:lnTo>
                  <a:lnTo>
                    <a:pt x="24" y="1003"/>
                  </a:lnTo>
                  <a:lnTo>
                    <a:pt x="23" y="1003"/>
                  </a:lnTo>
                  <a:lnTo>
                    <a:pt x="23" y="1002"/>
                  </a:lnTo>
                  <a:lnTo>
                    <a:pt x="21" y="1001"/>
                  </a:lnTo>
                  <a:lnTo>
                    <a:pt x="23" y="998"/>
                  </a:lnTo>
                  <a:lnTo>
                    <a:pt x="23" y="997"/>
                  </a:lnTo>
                  <a:lnTo>
                    <a:pt x="24" y="996"/>
                  </a:lnTo>
                  <a:lnTo>
                    <a:pt x="21" y="995"/>
                  </a:lnTo>
                  <a:lnTo>
                    <a:pt x="21" y="996"/>
                  </a:lnTo>
                  <a:lnTo>
                    <a:pt x="23" y="997"/>
                  </a:lnTo>
                  <a:lnTo>
                    <a:pt x="21" y="998"/>
                  </a:lnTo>
                  <a:lnTo>
                    <a:pt x="21" y="999"/>
                  </a:lnTo>
                  <a:lnTo>
                    <a:pt x="20" y="998"/>
                  </a:lnTo>
                  <a:lnTo>
                    <a:pt x="20" y="1002"/>
                  </a:lnTo>
                  <a:lnTo>
                    <a:pt x="21" y="1003"/>
                  </a:lnTo>
                  <a:lnTo>
                    <a:pt x="23" y="1003"/>
                  </a:lnTo>
                  <a:lnTo>
                    <a:pt x="21" y="1004"/>
                  </a:lnTo>
                  <a:lnTo>
                    <a:pt x="21" y="1007"/>
                  </a:lnTo>
                  <a:lnTo>
                    <a:pt x="19" y="1005"/>
                  </a:lnTo>
                  <a:lnTo>
                    <a:pt x="19" y="1003"/>
                  </a:lnTo>
                  <a:lnTo>
                    <a:pt x="17" y="1003"/>
                  </a:lnTo>
                  <a:lnTo>
                    <a:pt x="18" y="1004"/>
                  </a:lnTo>
                  <a:lnTo>
                    <a:pt x="18" y="1007"/>
                  </a:lnTo>
                  <a:lnTo>
                    <a:pt x="20" y="1007"/>
                  </a:lnTo>
                  <a:lnTo>
                    <a:pt x="20" y="1008"/>
                  </a:lnTo>
                  <a:lnTo>
                    <a:pt x="23" y="1008"/>
                  </a:lnTo>
                  <a:lnTo>
                    <a:pt x="23" y="1015"/>
                  </a:lnTo>
                  <a:lnTo>
                    <a:pt x="21" y="1014"/>
                  </a:lnTo>
                  <a:lnTo>
                    <a:pt x="19" y="1014"/>
                  </a:lnTo>
                  <a:lnTo>
                    <a:pt x="19" y="1017"/>
                  </a:lnTo>
                  <a:lnTo>
                    <a:pt x="18" y="1017"/>
                  </a:lnTo>
                  <a:lnTo>
                    <a:pt x="18" y="1014"/>
                  </a:lnTo>
                  <a:lnTo>
                    <a:pt x="15" y="1014"/>
                  </a:lnTo>
                  <a:lnTo>
                    <a:pt x="15" y="1015"/>
                  </a:lnTo>
                  <a:lnTo>
                    <a:pt x="13" y="1015"/>
                  </a:lnTo>
                  <a:lnTo>
                    <a:pt x="13" y="1014"/>
                  </a:lnTo>
                  <a:lnTo>
                    <a:pt x="12" y="1014"/>
                  </a:lnTo>
                  <a:lnTo>
                    <a:pt x="11" y="1015"/>
                  </a:lnTo>
                  <a:lnTo>
                    <a:pt x="11" y="1014"/>
                  </a:lnTo>
                  <a:lnTo>
                    <a:pt x="8" y="1009"/>
                  </a:lnTo>
                  <a:lnTo>
                    <a:pt x="8" y="1008"/>
                  </a:lnTo>
                  <a:lnTo>
                    <a:pt x="7" y="1005"/>
                  </a:lnTo>
                  <a:lnTo>
                    <a:pt x="7" y="1003"/>
                  </a:lnTo>
                  <a:lnTo>
                    <a:pt x="6" y="999"/>
                  </a:lnTo>
                  <a:lnTo>
                    <a:pt x="7" y="999"/>
                  </a:lnTo>
                  <a:lnTo>
                    <a:pt x="8" y="1001"/>
                  </a:lnTo>
                  <a:lnTo>
                    <a:pt x="8" y="998"/>
                  </a:lnTo>
                  <a:lnTo>
                    <a:pt x="9" y="998"/>
                  </a:lnTo>
                  <a:lnTo>
                    <a:pt x="11" y="997"/>
                  </a:lnTo>
                  <a:lnTo>
                    <a:pt x="11" y="996"/>
                  </a:lnTo>
                  <a:lnTo>
                    <a:pt x="12" y="996"/>
                  </a:lnTo>
                  <a:lnTo>
                    <a:pt x="12" y="998"/>
                  </a:lnTo>
                  <a:lnTo>
                    <a:pt x="11" y="1001"/>
                  </a:lnTo>
                  <a:lnTo>
                    <a:pt x="11" y="1002"/>
                  </a:lnTo>
                  <a:lnTo>
                    <a:pt x="12" y="1002"/>
                  </a:lnTo>
                  <a:lnTo>
                    <a:pt x="12" y="1005"/>
                  </a:lnTo>
                  <a:lnTo>
                    <a:pt x="13" y="1005"/>
                  </a:lnTo>
                  <a:lnTo>
                    <a:pt x="13" y="1002"/>
                  </a:lnTo>
                  <a:lnTo>
                    <a:pt x="14" y="1003"/>
                  </a:lnTo>
                  <a:lnTo>
                    <a:pt x="14" y="1001"/>
                  </a:lnTo>
                  <a:lnTo>
                    <a:pt x="15" y="999"/>
                  </a:lnTo>
                  <a:lnTo>
                    <a:pt x="15" y="997"/>
                  </a:lnTo>
                  <a:lnTo>
                    <a:pt x="17" y="996"/>
                  </a:lnTo>
                  <a:lnTo>
                    <a:pt x="17" y="998"/>
                  </a:lnTo>
                  <a:lnTo>
                    <a:pt x="18" y="998"/>
                  </a:lnTo>
                  <a:lnTo>
                    <a:pt x="18" y="995"/>
                  </a:lnTo>
                  <a:lnTo>
                    <a:pt x="17" y="995"/>
                  </a:lnTo>
                  <a:lnTo>
                    <a:pt x="17" y="992"/>
                  </a:lnTo>
                  <a:lnTo>
                    <a:pt x="15" y="992"/>
                  </a:lnTo>
                  <a:lnTo>
                    <a:pt x="15" y="995"/>
                  </a:lnTo>
                  <a:lnTo>
                    <a:pt x="14" y="995"/>
                  </a:lnTo>
                  <a:lnTo>
                    <a:pt x="14" y="994"/>
                  </a:lnTo>
                  <a:lnTo>
                    <a:pt x="13" y="992"/>
                  </a:lnTo>
                  <a:lnTo>
                    <a:pt x="12" y="992"/>
                  </a:lnTo>
                  <a:lnTo>
                    <a:pt x="12" y="991"/>
                  </a:lnTo>
                  <a:lnTo>
                    <a:pt x="13" y="990"/>
                  </a:lnTo>
                  <a:lnTo>
                    <a:pt x="13" y="989"/>
                  </a:lnTo>
                  <a:lnTo>
                    <a:pt x="14" y="988"/>
                  </a:lnTo>
                  <a:close/>
                  <a:moveTo>
                    <a:pt x="299" y="984"/>
                  </a:moveTo>
                  <a:lnTo>
                    <a:pt x="301" y="985"/>
                  </a:lnTo>
                  <a:lnTo>
                    <a:pt x="301" y="986"/>
                  </a:lnTo>
                  <a:lnTo>
                    <a:pt x="300" y="986"/>
                  </a:lnTo>
                  <a:lnTo>
                    <a:pt x="298" y="988"/>
                  </a:lnTo>
                  <a:lnTo>
                    <a:pt x="297" y="990"/>
                  </a:lnTo>
                  <a:lnTo>
                    <a:pt x="296" y="989"/>
                  </a:lnTo>
                  <a:lnTo>
                    <a:pt x="296" y="986"/>
                  </a:lnTo>
                  <a:lnTo>
                    <a:pt x="298" y="986"/>
                  </a:lnTo>
                  <a:lnTo>
                    <a:pt x="298" y="985"/>
                  </a:lnTo>
                  <a:lnTo>
                    <a:pt x="299" y="984"/>
                  </a:lnTo>
                  <a:close/>
                  <a:moveTo>
                    <a:pt x="98" y="982"/>
                  </a:moveTo>
                  <a:lnTo>
                    <a:pt x="100" y="984"/>
                  </a:lnTo>
                  <a:lnTo>
                    <a:pt x="101" y="984"/>
                  </a:lnTo>
                  <a:lnTo>
                    <a:pt x="101" y="985"/>
                  </a:lnTo>
                  <a:lnTo>
                    <a:pt x="102" y="986"/>
                  </a:lnTo>
                  <a:lnTo>
                    <a:pt x="102" y="989"/>
                  </a:lnTo>
                  <a:lnTo>
                    <a:pt x="101" y="988"/>
                  </a:lnTo>
                  <a:lnTo>
                    <a:pt x="101" y="989"/>
                  </a:lnTo>
                  <a:lnTo>
                    <a:pt x="102" y="990"/>
                  </a:lnTo>
                  <a:lnTo>
                    <a:pt x="102" y="991"/>
                  </a:lnTo>
                  <a:lnTo>
                    <a:pt x="104" y="990"/>
                  </a:lnTo>
                  <a:lnTo>
                    <a:pt x="105" y="991"/>
                  </a:lnTo>
                  <a:lnTo>
                    <a:pt x="104" y="992"/>
                  </a:lnTo>
                  <a:lnTo>
                    <a:pt x="105" y="992"/>
                  </a:lnTo>
                  <a:lnTo>
                    <a:pt x="105" y="994"/>
                  </a:lnTo>
                  <a:lnTo>
                    <a:pt x="101" y="994"/>
                  </a:lnTo>
                  <a:lnTo>
                    <a:pt x="101" y="992"/>
                  </a:lnTo>
                  <a:lnTo>
                    <a:pt x="100" y="992"/>
                  </a:lnTo>
                  <a:lnTo>
                    <a:pt x="98" y="991"/>
                  </a:lnTo>
                  <a:lnTo>
                    <a:pt x="96" y="990"/>
                  </a:lnTo>
                  <a:lnTo>
                    <a:pt x="96" y="988"/>
                  </a:lnTo>
                  <a:lnTo>
                    <a:pt x="99" y="988"/>
                  </a:lnTo>
                  <a:lnTo>
                    <a:pt x="99" y="986"/>
                  </a:lnTo>
                  <a:lnTo>
                    <a:pt x="96" y="984"/>
                  </a:lnTo>
                  <a:lnTo>
                    <a:pt x="96" y="983"/>
                  </a:lnTo>
                  <a:lnTo>
                    <a:pt x="98" y="982"/>
                  </a:lnTo>
                  <a:close/>
                  <a:moveTo>
                    <a:pt x="66" y="982"/>
                  </a:moveTo>
                  <a:lnTo>
                    <a:pt x="67" y="982"/>
                  </a:lnTo>
                  <a:lnTo>
                    <a:pt x="67" y="984"/>
                  </a:lnTo>
                  <a:lnTo>
                    <a:pt x="66" y="983"/>
                  </a:lnTo>
                  <a:lnTo>
                    <a:pt x="66" y="982"/>
                  </a:lnTo>
                  <a:close/>
                  <a:moveTo>
                    <a:pt x="94" y="977"/>
                  </a:moveTo>
                  <a:lnTo>
                    <a:pt x="95" y="977"/>
                  </a:lnTo>
                  <a:lnTo>
                    <a:pt x="95" y="978"/>
                  </a:lnTo>
                  <a:lnTo>
                    <a:pt x="94" y="979"/>
                  </a:lnTo>
                  <a:lnTo>
                    <a:pt x="94" y="980"/>
                  </a:lnTo>
                  <a:lnTo>
                    <a:pt x="93" y="982"/>
                  </a:lnTo>
                  <a:lnTo>
                    <a:pt x="93" y="983"/>
                  </a:lnTo>
                  <a:lnTo>
                    <a:pt x="92" y="983"/>
                  </a:lnTo>
                  <a:lnTo>
                    <a:pt x="92" y="980"/>
                  </a:lnTo>
                  <a:lnTo>
                    <a:pt x="93" y="979"/>
                  </a:lnTo>
                  <a:lnTo>
                    <a:pt x="94" y="977"/>
                  </a:lnTo>
                  <a:close/>
                  <a:moveTo>
                    <a:pt x="77" y="974"/>
                  </a:moveTo>
                  <a:lnTo>
                    <a:pt x="80" y="974"/>
                  </a:lnTo>
                  <a:lnTo>
                    <a:pt x="80" y="976"/>
                  </a:lnTo>
                  <a:lnTo>
                    <a:pt x="82" y="976"/>
                  </a:lnTo>
                  <a:lnTo>
                    <a:pt x="83" y="977"/>
                  </a:lnTo>
                  <a:lnTo>
                    <a:pt x="82" y="977"/>
                  </a:lnTo>
                  <a:lnTo>
                    <a:pt x="82" y="980"/>
                  </a:lnTo>
                  <a:lnTo>
                    <a:pt x="81" y="980"/>
                  </a:lnTo>
                  <a:lnTo>
                    <a:pt x="82" y="982"/>
                  </a:lnTo>
                  <a:lnTo>
                    <a:pt x="81" y="982"/>
                  </a:lnTo>
                  <a:lnTo>
                    <a:pt x="79" y="979"/>
                  </a:lnTo>
                  <a:lnTo>
                    <a:pt x="79" y="977"/>
                  </a:lnTo>
                  <a:lnTo>
                    <a:pt x="77" y="977"/>
                  </a:lnTo>
                  <a:lnTo>
                    <a:pt x="77" y="978"/>
                  </a:lnTo>
                  <a:lnTo>
                    <a:pt x="76" y="977"/>
                  </a:lnTo>
                  <a:lnTo>
                    <a:pt x="76" y="976"/>
                  </a:lnTo>
                  <a:lnTo>
                    <a:pt x="77" y="974"/>
                  </a:lnTo>
                  <a:close/>
                  <a:moveTo>
                    <a:pt x="73" y="974"/>
                  </a:moveTo>
                  <a:lnTo>
                    <a:pt x="74" y="974"/>
                  </a:lnTo>
                  <a:lnTo>
                    <a:pt x="75" y="976"/>
                  </a:lnTo>
                  <a:lnTo>
                    <a:pt x="76" y="978"/>
                  </a:lnTo>
                  <a:lnTo>
                    <a:pt x="76" y="980"/>
                  </a:lnTo>
                  <a:lnTo>
                    <a:pt x="74" y="980"/>
                  </a:lnTo>
                  <a:lnTo>
                    <a:pt x="74" y="977"/>
                  </a:lnTo>
                  <a:lnTo>
                    <a:pt x="73" y="976"/>
                  </a:lnTo>
                  <a:lnTo>
                    <a:pt x="73" y="974"/>
                  </a:lnTo>
                  <a:close/>
                  <a:moveTo>
                    <a:pt x="86" y="973"/>
                  </a:moveTo>
                  <a:lnTo>
                    <a:pt x="87" y="974"/>
                  </a:lnTo>
                  <a:lnTo>
                    <a:pt x="87" y="973"/>
                  </a:lnTo>
                  <a:lnTo>
                    <a:pt x="86" y="973"/>
                  </a:lnTo>
                  <a:close/>
                  <a:moveTo>
                    <a:pt x="74" y="967"/>
                  </a:moveTo>
                  <a:lnTo>
                    <a:pt x="75" y="968"/>
                  </a:lnTo>
                  <a:lnTo>
                    <a:pt x="75" y="973"/>
                  </a:lnTo>
                  <a:lnTo>
                    <a:pt x="74" y="972"/>
                  </a:lnTo>
                  <a:lnTo>
                    <a:pt x="73" y="972"/>
                  </a:lnTo>
                  <a:lnTo>
                    <a:pt x="73" y="971"/>
                  </a:lnTo>
                  <a:lnTo>
                    <a:pt x="71" y="970"/>
                  </a:lnTo>
                  <a:lnTo>
                    <a:pt x="74" y="967"/>
                  </a:lnTo>
                  <a:close/>
                  <a:moveTo>
                    <a:pt x="70" y="948"/>
                  </a:moveTo>
                  <a:lnTo>
                    <a:pt x="73" y="948"/>
                  </a:lnTo>
                  <a:lnTo>
                    <a:pt x="73" y="949"/>
                  </a:lnTo>
                  <a:lnTo>
                    <a:pt x="74" y="949"/>
                  </a:lnTo>
                  <a:lnTo>
                    <a:pt x="74" y="951"/>
                  </a:lnTo>
                  <a:lnTo>
                    <a:pt x="71" y="949"/>
                  </a:lnTo>
                  <a:lnTo>
                    <a:pt x="70" y="948"/>
                  </a:lnTo>
                  <a:close/>
                  <a:moveTo>
                    <a:pt x="73" y="945"/>
                  </a:moveTo>
                  <a:lnTo>
                    <a:pt x="75" y="946"/>
                  </a:lnTo>
                  <a:lnTo>
                    <a:pt x="74" y="947"/>
                  </a:lnTo>
                  <a:lnTo>
                    <a:pt x="73" y="947"/>
                  </a:lnTo>
                  <a:lnTo>
                    <a:pt x="73" y="946"/>
                  </a:lnTo>
                  <a:lnTo>
                    <a:pt x="71" y="946"/>
                  </a:lnTo>
                  <a:lnTo>
                    <a:pt x="73" y="945"/>
                  </a:lnTo>
                  <a:close/>
                  <a:moveTo>
                    <a:pt x="75" y="943"/>
                  </a:moveTo>
                  <a:lnTo>
                    <a:pt x="76" y="943"/>
                  </a:lnTo>
                  <a:lnTo>
                    <a:pt x="76" y="947"/>
                  </a:lnTo>
                  <a:lnTo>
                    <a:pt x="75" y="947"/>
                  </a:lnTo>
                  <a:lnTo>
                    <a:pt x="75" y="943"/>
                  </a:lnTo>
                  <a:close/>
                  <a:moveTo>
                    <a:pt x="74" y="939"/>
                  </a:moveTo>
                  <a:lnTo>
                    <a:pt x="76" y="939"/>
                  </a:lnTo>
                  <a:lnTo>
                    <a:pt x="76" y="940"/>
                  </a:lnTo>
                  <a:lnTo>
                    <a:pt x="79" y="942"/>
                  </a:lnTo>
                  <a:lnTo>
                    <a:pt x="77" y="943"/>
                  </a:lnTo>
                  <a:lnTo>
                    <a:pt x="76" y="943"/>
                  </a:lnTo>
                  <a:lnTo>
                    <a:pt x="75" y="941"/>
                  </a:lnTo>
                  <a:lnTo>
                    <a:pt x="73" y="941"/>
                  </a:lnTo>
                  <a:lnTo>
                    <a:pt x="74" y="939"/>
                  </a:lnTo>
                  <a:close/>
                  <a:moveTo>
                    <a:pt x="77" y="918"/>
                  </a:moveTo>
                  <a:lnTo>
                    <a:pt x="79" y="918"/>
                  </a:lnTo>
                  <a:lnTo>
                    <a:pt x="81" y="921"/>
                  </a:lnTo>
                  <a:lnTo>
                    <a:pt x="77" y="921"/>
                  </a:lnTo>
                  <a:lnTo>
                    <a:pt x="77" y="918"/>
                  </a:lnTo>
                  <a:close/>
                  <a:moveTo>
                    <a:pt x="79" y="917"/>
                  </a:moveTo>
                  <a:lnTo>
                    <a:pt x="80" y="918"/>
                  </a:lnTo>
                  <a:lnTo>
                    <a:pt x="79" y="918"/>
                  </a:lnTo>
                  <a:lnTo>
                    <a:pt x="79" y="917"/>
                  </a:lnTo>
                  <a:close/>
                  <a:moveTo>
                    <a:pt x="83" y="880"/>
                  </a:moveTo>
                  <a:lnTo>
                    <a:pt x="85" y="880"/>
                  </a:lnTo>
                  <a:lnTo>
                    <a:pt x="85" y="881"/>
                  </a:lnTo>
                  <a:lnTo>
                    <a:pt x="83" y="881"/>
                  </a:lnTo>
                  <a:lnTo>
                    <a:pt x="83" y="880"/>
                  </a:lnTo>
                  <a:close/>
                  <a:moveTo>
                    <a:pt x="68" y="756"/>
                  </a:moveTo>
                  <a:lnTo>
                    <a:pt x="70" y="756"/>
                  </a:lnTo>
                  <a:lnTo>
                    <a:pt x="71" y="757"/>
                  </a:lnTo>
                  <a:lnTo>
                    <a:pt x="71" y="758"/>
                  </a:lnTo>
                  <a:lnTo>
                    <a:pt x="73" y="759"/>
                  </a:lnTo>
                  <a:lnTo>
                    <a:pt x="73" y="761"/>
                  </a:lnTo>
                  <a:lnTo>
                    <a:pt x="70" y="761"/>
                  </a:lnTo>
                  <a:lnTo>
                    <a:pt x="70" y="762"/>
                  </a:lnTo>
                  <a:lnTo>
                    <a:pt x="69" y="761"/>
                  </a:lnTo>
                  <a:lnTo>
                    <a:pt x="69" y="757"/>
                  </a:lnTo>
                  <a:lnTo>
                    <a:pt x="68" y="756"/>
                  </a:lnTo>
                  <a:close/>
                  <a:moveTo>
                    <a:pt x="67" y="730"/>
                  </a:moveTo>
                  <a:lnTo>
                    <a:pt x="68" y="731"/>
                  </a:lnTo>
                  <a:lnTo>
                    <a:pt x="69" y="731"/>
                  </a:lnTo>
                  <a:lnTo>
                    <a:pt x="71" y="730"/>
                  </a:lnTo>
                  <a:lnTo>
                    <a:pt x="73" y="730"/>
                  </a:lnTo>
                  <a:lnTo>
                    <a:pt x="73" y="731"/>
                  </a:lnTo>
                  <a:lnTo>
                    <a:pt x="71" y="732"/>
                  </a:lnTo>
                  <a:lnTo>
                    <a:pt x="71" y="736"/>
                  </a:lnTo>
                  <a:lnTo>
                    <a:pt x="74" y="736"/>
                  </a:lnTo>
                  <a:lnTo>
                    <a:pt x="75" y="737"/>
                  </a:lnTo>
                  <a:lnTo>
                    <a:pt x="75" y="734"/>
                  </a:lnTo>
                  <a:lnTo>
                    <a:pt x="77" y="732"/>
                  </a:lnTo>
                  <a:lnTo>
                    <a:pt x="80" y="732"/>
                  </a:lnTo>
                  <a:lnTo>
                    <a:pt x="81" y="733"/>
                  </a:lnTo>
                  <a:lnTo>
                    <a:pt x="81" y="738"/>
                  </a:lnTo>
                  <a:lnTo>
                    <a:pt x="79" y="738"/>
                  </a:lnTo>
                  <a:lnTo>
                    <a:pt x="79" y="737"/>
                  </a:lnTo>
                  <a:lnTo>
                    <a:pt x="75" y="739"/>
                  </a:lnTo>
                  <a:lnTo>
                    <a:pt x="75" y="740"/>
                  </a:lnTo>
                  <a:lnTo>
                    <a:pt x="76" y="740"/>
                  </a:lnTo>
                  <a:lnTo>
                    <a:pt x="76" y="741"/>
                  </a:lnTo>
                  <a:lnTo>
                    <a:pt x="75" y="741"/>
                  </a:lnTo>
                  <a:lnTo>
                    <a:pt x="73" y="743"/>
                  </a:lnTo>
                  <a:lnTo>
                    <a:pt x="73" y="740"/>
                  </a:lnTo>
                  <a:lnTo>
                    <a:pt x="71" y="739"/>
                  </a:lnTo>
                  <a:lnTo>
                    <a:pt x="71" y="738"/>
                  </a:lnTo>
                  <a:lnTo>
                    <a:pt x="70" y="739"/>
                  </a:lnTo>
                  <a:lnTo>
                    <a:pt x="69" y="739"/>
                  </a:lnTo>
                  <a:lnTo>
                    <a:pt x="69" y="737"/>
                  </a:lnTo>
                  <a:lnTo>
                    <a:pt x="67" y="734"/>
                  </a:lnTo>
                  <a:lnTo>
                    <a:pt x="67" y="730"/>
                  </a:lnTo>
                  <a:close/>
                  <a:moveTo>
                    <a:pt x="106" y="726"/>
                  </a:moveTo>
                  <a:lnTo>
                    <a:pt x="107" y="728"/>
                  </a:lnTo>
                  <a:lnTo>
                    <a:pt x="107" y="730"/>
                  </a:lnTo>
                  <a:lnTo>
                    <a:pt x="106" y="731"/>
                  </a:lnTo>
                  <a:lnTo>
                    <a:pt x="105" y="730"/>
                  </a:lnTo>
                  <a:lnTo>
                    <a:pt x="105" y="731"/>
                  </a:lnTo>
                  <a:lnTo>
                    <a:pt x="104" y="730"/>
                  </a:lnTo>
                  <a:lnTo>
                    <a:pt x="104" y="728"/>
                  </a:lnTo>
                  <a:lnTo>
                    <a:pt x="105" y="727"/>
                  </a:lnTo>
                  <a:lnTo>
                    <a:pt x="106" y="727"/>
                  </a:lnTo>
                  <a:lnTo>
                    <a:pt x="106" y="726"/>
                  </a:lnTo>
                  <a:close/>
                  <a:moveTo>
                    <a:pt x="114" y="725"/>
                  </a:moveTo>
                  <a:lnTo>
                    <a:pt x="116" y="725"/>
                  </a:lnTo>
                  <a:lnTo>
                    <a:pt x="116" y="728"/>
                  </a:lnTo>
                  <a:lnTo>
                    <a:pt x="114" y="730"/>
                  </a:lnTo>
                  <a:lnTo>
                    <a:pt x="114" y="731"/>
                  </a:lnTo>
                  <a:lnTo>
                    <a:pt x="113" y="731"/>
                  </a:lnTo>
                  <a:lnTo>
                    <a:pt x="112" y="730"/>
                  </a:lnTo>
                  <a:lnTo>
                    <a:pt x="111" y="730"/>
                  </a:lnTo>
                  <a:lnTo>
                    <a:pt x="112" y="731"/>
                  </a:lnTo>
                  <a:lnTo>
                    <a:pt x="112" y="732"/>
                  </a:lnTo>
                  <a:lnTo>
                    <a:pt x="111" y="732"/>
                  </a:lnTo>
                  <a:lnTo>
                    <a:pt x="111" y="733"/>
                  </a:lnTo>
                  <a:lnTo>
                    <a:pt x="108" y="732"/>
                  </a:lnTo>
                  <a:lnTo>
                    <a:pt x="108" y="726"/>
                  </a:lnTo>
                  <a:lnTo>
                    <a:pt x="111" y="726"/>
                  </a:lnTo>
                  <a:lnTo>
                    <a:pt x="111" y="727"/>
                  </a:lnTo>
                  <a:lnTo>
                    <a:pt x="112" y="727"/>
                  </a:lnTo>
                  <a:lnTo>
                    <a:pt x="112" y="726"/>
                  </a:lnTo>
                  <a:lnTo>
                    <a:pt x="113" y="726"/>
                  </a:lnTo>
                  <a:lnTo>
                    <a:pt x="113" y="727"/>
                  </a:lnTo>
                  <a:lnTo>
                    <a:pt x="114" y="726"/>
                  </a:lnTo>
                  <a:lnTo>
                    <a:pt x="114" y="725"/>
                  </a:lnTo>
                  <a:close/>
                  <a:moveTo>
                    <a:pt x="76" y="722"/>
                  </a:moveTo>
                  <a:lnTo>
                    <a:pt x="77" y="722"/>
                  </a:lnTo>
                  <a:lnTo>
                    <a:pt x="79" y="724"/>
                  </a:lnTo>
                  <a:lnTo>
                    <a:pt x="79" y="727"/>
                  </a:lnTo>
                  <a:lnTo>
                    <a:pt x="76" y="730"/>
                  </a:lnTo>
                  <a:lnTo>
                    <a:pt x="76" y="727"/>
                  </a:lnTo>
                  <a:lnTo>
                    <a:pt x="75" y="728"/>
                  </a:lnTo>
                  <a:lnTo>
                    <a:pt x="73" y="726"/>
                  </a:lnTo>
                  <a:lnTo>
                    <a:pt x="73" y="725"/>
                  </a:lnTo>
                  <a:lnTo>
                    <a:pt x="75" y="725"/>
                  </a:lnTo>
                  <a:lnTo>
                    <a:pt x="76" y="722"/>
                  </a:lnTo>
                  <a:close/>
                  <a:moveTo>
                    <a:pt x="105" y="720"/>
                  </a:moveTo>
                  <a:lnTo>
                    <a:pt x="110" y="720"/>
                  </a:lnTo>
                  <a:lnTo>
                    <a:pt x="110" y="721"/>
                  </a:lnTo>
                  <a:lnTo>
                    <a:pt x="108" y="721"/>
                  </a:lnTo>
                  <a:lnTo>
                    <a:pt x="108" y="722"/>
                  </a:lnTo>
                  <a:lnTo>
                    <a:pt x="106" y="722"/>
                  </a:lnTo>
                  <a:lnTo>
                    <a:pt x="105" y="724"/>
                  </a:lnTo>
                  <a:lnTo>
                    <a:pt x="105" y="725"/>
                  </a:lnTo>
                  <a:lnTo>
                    <a:pt x="102" y="725"/>
                  </a:lnTo>
                  <a:lnTo>
                    <a:pt x="104" y="724"/>
                  </a:lnTo>
                  <a:lnTo>
                    <a:pt x="104" y="721"/>
                  </a:lnTo>
                  <a:lnTo>
                    <a:pt x="105" y="721"/>
                  </a:lnTo>
                  <a:lnTo>
                    <a:pt x="105" y="720"/>
                  </a:lnTo>
                  <a:close/>
                  <a:moveTo>
                    <a:pt x="136" y="682"/>
                  </a:moveTo>
                  <a:lnTo>
                    <a:pt x="138" y="682"/>
                  </a:lnTo>
                  <a:lnTo>
                    <a:pt x="138" y="683"/>
                  </a:lnTo>
                  <a:lnTo>
                    <a:pt x="139" y="683"/>
                  </a:lnTo>
                  <a:lnTo>
                    <a:pt x="139" y="687"/>
                  </a:lnTo>
                  <a:lnTo>
                    <a:pt x="138" y="687"/>
                  </a:lnTo>
                  <a:lnTo>
                    <a:pt x="138" y="688"/>
                  </a:lnTo>
                  <a:lnTo>
                    <a:pt x="136" y="688"/>
                  </a:lnTo>
                  <a:lnTo>
                    <a:pt x="135" y="687"/>
                  </a:lnTo>
                  <a:lnTo>
                    <a:pt x="135" y="685"/>
                  </a:lnTo>
                  <a:lnTo>
                    <a:pt x="133" y="684"/>
                  </a:lnTo>
                  <a:lnTo>
                    <a:pt x="135" y="684"/>
                  </a:lnTo>
                  <a:lnTo>
                    <a:pt x="135" y="683"/>
                  </a:lnTo>
                  <a:lnTo>
                    <a:pt x="136" y="683"/>
                  </a:lnTo>
                  <a:lnTo>
                    <a:pt x="136" y="682"/>
                  </a:lnTo>
                  <a:close/>
                  <a:moveTo>
                    <a:pt x="225" y="554"/>
                  </a:moveTo>
                  <a:lnTo>
                    <a:pt x="228" y="556"/>
                  </a:lnTo>
                  <a:lnTo>
                    <a:pt x="226" y="556"/>
                  </a:lnTo>
                  <a:lnTo>
                    <a:pt x="226" y="558"/>
                  </a:lnTo>
                  <a:lnTo>
                    <a:pt x="234" y="558"/>
                  </a:lnTo>
                  <a:lnTo>
                    <a:pt x="235" y="559"/>
                  </a:lnTo>
                  <a:lnTo>
                    <a:pt x="232" y="560"/>
                  </a:lnTo>
                  <a:lnTo>
                    <a:pt x="230" y="560"/>
                  </a:lnTo>
                  <a:lnTo>
                    <a:pt x="226" y="559"/>
                  </a:lnTo>
                  <a:lnTo>
                    <a:pt x="224" y="559"/>
                  </a:lnTo>
                  <a:lnTo>
                    <a:pt x="223" y="561"/>
                  </a:lnTo>
                  <a:lnTo>
                    <a:pt x="220" y="564"/>
                  </a:lnTo>
                  <a:lnTo>
                    <a:pt x="222" y="566"/>
                  </a:lnTo>
                  <a:lnTo>
                    <a:pt x="224" y="566"/>
                  </a:lnTo>
                  <a:lnTo>
                    <a:pt x="224" y="567"/>
                  </a:lnTo>
                  <a:lnTo>
                    <a:pt x="222" y="567"/>
                  </a:lnTo>
                  <a:lnTo>
                    <a:pt x="222" y="568"/>
                  </a:lnTo>
                  <a:lnTo>
                    <a:pt x="219" y="568"/>
                  </a:lnTo>
                  <a:lnTo>
                    <a:pt x="219" y="565"/>
                  </a:lnTo>
                  <a:lnTo>
                    <a:pt x="218" y="564"/>
                  </a:lnTo>
                  <a:lnTo>
                    <a:pt x="217" y="566"/>
                  </a:lnTo>
                  <a:lnTo>
                    <a:pt x="216" y="567"/>
                  </a:lnTo>
                  <a:lnTo>
                    <a:pt x="214" y="565"/>
                  </a:lnTo>
                  <a:lnTo>
                    <a:pt x="214" y="562"/>
                  </a:lnTo>
                  <a:lnTo>
                    <a:pt x="213" y="561"/>
                  </a:lnTo>
                  <a:lnTo>
                    <a:pt x="213" y="560"/>
                  </a:lnTo>
                  <a:lnTo>
                    <a:pt x="214" y="559"/>
                  </a:lnTo>
                  <a:lnTo>
                    <a:pt x="217" y="555"/>
                  </a:lnTo>
                  <a:lnTo>
                    <a:pt x="220" y="555"/>
                  </a:lnTo>
                  <a:lnTo>
                    <a:pt x="225" y="554"/>
                  </a:lnTo>
                  <a:close/>
                  <a:moveTo>
                    <a:pt x="353" y="0"/>
                  </a:moveTo>
                  <a:lnTo>
                    <a:pt x="355" y="2"/>
                  </a:lnTo>
                  <a:lnTo>
                    <a:pt x="358" y="8"/>
                  </a:lnTo>
                  <a:lnTo>
                    <a:pt x="366" y="22"/>
                  </a:lnTo>
                  <a:lnTo>
                    <a:pt x="366" y="24"/>
                  </a:lnTo>
                  <a:lnTo>
                    <a:pt x="374" y="27"/>
                  </a:lnTo>
                  <a:lnTo>
                    <a:pt x="374" y="31"/>
                  </a:lnTo>
                  <a:lnTo>
                    <a:pt x="375" y="33"/>
                  </a:lnTo>
                  <a:lnTo>
                    <a:pt x="377" y="34"/>
                  </a:lnTo>
                  <a:lnTo>
                    <a:pt x="379" y="36"/>
                  </a:lnTo>
                  <a:lnTo>
                    <a:pt x="392" y="43"/>
                  </a:lnTo>
                  <a:lnTo>
                    <a:pt x="406" y="49"/>
                  </a:lnTo>
                  <a:lnTo>
                    <a:pt x="406" y="50"/>
                  </a:lnTo>
                  <a:lnTo>
                    <a:pt x="409" y="60"/>
                  </a:lnTo>
                  <a:lnTo>
                    <a:pt x="415" y="75"/>
                  </a:lnTo>
                  <a:lnTo>
                    <a:pt x="410" y="86"/>
                  </a:lnTo>
                  <a:lnTo>
                    <a:pt x="394" y="105"/>
                  </a:lnTo>
                  <a:lnTo>
                    <a:pt x="394" y="108"/>
                  </a:lnTo>
                  <a:lnTo>
                    <a:pt x="393" y="117"/>
                  </a:lnTo>
                  <a:lnTo>
                    <a:pt x="393" y="120"/>
                  </a:lnTo>
                  <a:lnTo>
                    <a:pt x="398" y="126"/>
                  </a:lnTo>
                  <a:lnTo>
                    <a:pt x="393" y="132"/>
                  </a:lnTo>
                  <a:lnTo>
                    <a:pt x="389" y="134"/>
                  </a:lnTo>
                  <a:lnTo>
                    <a:pt x="378" y="142"/>
                  </a:lnTo>
                  <a:lnTo>
                    <a:pt x="375" y="142"/>
                  </a:lnTo>
                  <a:lnTo>
                    <a:pt x="375" y="144"/>
                  </a:lnTo>
                  <a:lnTo>
                    <a:pt x="377" y="145"/>
                  </a:lnTo>
                  <a:lnTo>
                    <a:pt x="389" y="145"/>
                  </a:lnTo>
                  <a:lnTo>
                    <a:pt x="392" y="149"/>
                  </a:lnTo>
                  <a:lnTo>
                    <a:pt x="390" y="159"/>
                  </a:lnTo>
                  <a:lnTo>
                    <a:pt x="389" y="162"/>
                  </a:lnTo>
                  <a:lnTo>
                    <a:pt x="378" y="184"/>
                  </a:lnTo>
                  <a:lnTo>
                    <a:pt x="377" y="185"/>
                  </a:lnTo>
                  <a:lnTo>
                    <a:pt x="377" y="186"/>
                  </a:lnTo>
                  <a:lnTo>
                    <a:pt x="378" y="190"/>
                  </a:lnTo>
                  <a:lnTo>
                    <a:pt x="379" y="192"/>
                  </a:lnTo>
                  <a:lnTo>
                    <a:pt x="386" y="222"/>
                  </a:lnTo>
                  <a:lnTo>
                    <a:pt x="387" y="224"/>
                  </a:lnTo>
                  <a:lnTo>
                    <a:pt x="389" y="226"/>
                  </a:lnTo>
                  <a:lnTo>
                    <a:pt x="400" y="230"/>
                  </a:lnTo>
                  <a:lnTo>
                    <a:pt x="414" y="236"/>
                  </a:lnTo>
                  <a:lnTo>
                    <a:pt x="416" y="239"/>
                  </a:lnTo>
                  <a:lnTo>
                    <a:pt x="419" y="246"/>
                  </a:lnTo>
                  <a:lnTo>
                    <a:pt x="421" y="249"/>
                  </a:lnTo>
                  <a:lnTo>
                    <a:pt x="428" y="265"/>
                  </a:lnTo>
                  <a:lnTo>
                    <a:pt x="430" y="269"/>
                  </a:lnTo>
                  <a:lnTo>
                    <a:pt x="443" y="280"/>
                  </a:lnTo>
                  <a:lnTo>
                    <a:pt x="442" y="282"/>
                  </a:lnTo>
                  <a:lnTo>
                    <a:pt x="442" y="283"/>
                  </a:lnTo>
                  <a:lnTo>
                    <a:pt x="441" y="284"/>
                  </a:lnTo>
                  <a:lnTo>
                    <a:pt x="441" y="294"/>
                  </a:lnTo>
                  <a:lnTo>
                    <a:pt x="440" y="298"/>
                  </a:lnTo>
                  <a:lnTo>
                    <a:pt x="439" y="300"/>
                  </a:lnTo>
                  <a:lnTo>
                    <a:pt x="422" y="323"/>
                  </a:lnTo>
                  <a:lnTo>
                    <a:pt x="422" y="326"/>
                  </a:lnTo>
                  <a:lnTo>
                    <a:pt x="421" y="327"/>
                  </a:lnTo>
                  <a:lnTo>
                    <a:pt x="421" y="328"/>
                  </a:lnTo>
                  <a:lnTo>
                    <a:pt x="418" y="331"/>
                  </a:lnTo>
                  <a:lnTo>
                    <a:pt x="405" y="357"/>
                  </a:lnTo>
                  <a:lnTo>
                    <a:pt x="403" y="365"/>
                  </a:lnTo>
                  <a:lnTo>
                    <a:pt x="404" y="374"/>
                  </a:lnTo>
                  <a:lnTo>
                    <a:pt x="414" y="390"/>
                  </a:lnTo>
                  <a:lnTo>
                    <a:pt x="416" y="396"/>
                  </a:lnTo>
                  <a:lnTo>
                    <a:pt x="417" y="398"/>
                  </a:lnTo>
                  <a:lnTo>
                    <a:pt x="417" y="401"/>
                  </a:lnTo>
                  <a:lnTo>
                    <a:pt x="418" y="402"/>
                  </a:lnTo>
                  <a:lnTo>
                    <a:pt x="423" y="411"/>
                  </a:lnTo>
                  <a:lnTo>
                    <a:pt x="423" y="417"/>
                  </a:lnTo>
                  <a:lnTo>
                    <a:pt x="424" y="418"/>
                  </a:lnTo>
                  <a:lnTo>
                    <a:pt x="424" y="423"/>
                  </a:lnTo>
                  <a:lnTo>
                    <a:pt x="425" y="425"/>
                  </a:lnTo>
                  <a:lnTo>
                    <a:pt x="428" y="431"/>
                  </a:lnTo>
                  <a:lnTo>
                    <a:pt x="434" y="443"/>
                  </a:lnTo>
                  <a:lnTo>
                    <a:pt x="437" y="448"/>
                  </a:lnTo>
                  <a:lnTo>
                    <a:pt x="439" y="450"/>
                  </a:lnTo>
                  <a:lnTo>
                    <a:pt x="440" y="455"/>
                  </a:lnTo>
                  <a:lnTo>
                    <a:pt x="441" y="462"/>
                  </a:lnTo>
                  <a:lnTo>
                    <a:pt x="441" y="464"/>
                  </a:lnTo>
                  <a:lnTo>
                    <a:pt x="442" y="469"/>
                  </a:lnTo>
                  <a:lnTo>
                    <a:pt x="443" y="470"/>
                  </a:lnTo>
                  <a:lnTo>
                    <a:pt x="446" y="480"/>
                  </a:lnTo>
                  <a:lnTo>
                    <a:pt x="446" y="482"/>
                  </a:lnTo>
                  <a:lnTo>
                    <a:pt x="447" y="492"/>
                  </a:lnTo>
                  <a:lnTo>
                    <a:pt x="448" y="494"/>
                  </a:lnTo>
                  <a:lnTo>
                    <a:pt x="447" y="497"/>
                  </a:lnTo>
                  <a:lnTo>
                    <a:pt x="446" y="497"/>
                  </a:lnTo>
                  <a:lnTo>
                    <a:pt x="443" y="494"/>
                  </a:lnTo>
                  <a:lnTo>
                    <a:pt x="433" y="498"/>
                  </a:lnTo>
                  <a:lnTo>
                    <a:pt x="430" y="500"/>
                  </a:lnTo>
                  <a:lnTo>
                    <a:pt x="431" y="501"/>
                  </a:lnTo>
                  <a:lnTo>
                    <a:pt x="435" y="504"/>
                  </a:lnTo>
                  <a:lnTo>
                    <a:pt x="436" y="506"/>
                  </a:lnTo>
                  <a:lnTo>
                    <a:pt x="435" y="507"/>
                  </a:lnTo>
                  <a:lnTo>
                    <a:pt x="431" y="512"/>
                  </a:lnTo>
                  <a:lnTo>
                    <a:pt x="431" y="513"/>
                  </a:lnTo>
                  <a:lnTo>
                    <a:pt x="430" y="518"/>
                  </a:lnTo>
                  <a:lnTo>
                    <a:pt x="431" y="527"/>
                  </a:lnTo>
                  <a:lnTo>
                    <a:pt x="431" y="530"/>
                  </a:lnTo>
                  <a:lnTo>
                    <a:pt x="427" y="536"/>
                  </a:lnTo>
                  <a:lnTo>
                    <a:pt x="425" y="540"/>
                  </a:lnTo>
                  <a:lnTo>
                    <a:pt x="427" y="542"/>
                  </a:lnTo>
                  <a:lnTo>
                    <a:pt x="433" y="542"/>
                  </a:lnTo>
                  <a:lnTo>
                    <a:pt x="436" y="543"/>
                  </a:lnTo>
                  <a:lnTo>
                    <a:pt x="436" y="547"/>
                  </a:lnTo>
                  <a:lnTo>
                    <a:pt x="435" y="548"/>
                  </a:lnTo>
                  <a:lnTo>
                    <a:pt x="435" y="550"/>
                  </a:lnTo>
                  <a:lnTo>
                    <a:pt x="436" y="550"/>
                  </a:lnTo>
                  <a:lnTo>
                    <a:pt x="436" y="553"/>
                  </a:lnTo>
                  <a:lnTo>
                    <a:pt x="435" y="554"/>
                  </a:lnTo>
                  <a:lnTo>
                    <a:pt x="429" y="555"/>
                  </a:lnTo>
                  <a:lnTo>
                    <a:pt x="427" y="558"/>
                  </a:lnTo>
                  <a:lnTo>
                    <a:pt x="425" y="560"/>
                  </a:lnTo>
                  <a:lnTo>
                    <a:pt x="425" y="565"/>
                  </a:lnTo>
                  <a:lnTo>
                    <a:pt x="427" y="573"/>
                  </a:lnTo>
                  <a:lnTo>
                    <a:pt x="430" y="579"/>
                  </a:lnTo>
                  <a:lnTo>
                    <a:pt x="434" y="584"/>
                  </a:lnTo>
                  <a:lnTo>
                    <a:pt x="437" y="585"/>
                  </a:lnTo>
                  <a:lnTo>
                    <a:pt x="446" y="585"/>
                  </a:lnTo>
                  <a:lnTo>
                    <a:pt x="447" y="586"/>
                  </a:lnTo>
                  <a:lnTo>
                    <a:pt x="448" y="586"/>
                  </a:lnTo>
                  <a:lnTo>
                    <a:pt x="448" y="587"/>
                  </a:lnTo>
                  <a:lnTo>
                    <a:pt x="447" y="589"/>
                  </a:lnTo>
                  <a:lnTo>
                    <a:pt x="447" y="591"/>
                  </a:lnTo>
                  <a:lnTo>
                    <a:pt x="448" y="592"/>
                  </a:lnTo>
                  <a:lnTo>
                    <a:pt x="448" y="593"/>
                  </a:lnTo>
                  <a:lnTo>
                    <a:pt x="449" y="595"/>
                  </a:lnTo>
                  <a:lnTo>
                    <a:pt x="450" y="597"/>
                  </a:lnTo>
                  <a:lnTo>
                    <a:pt x="450" y="599"/>
                  </a:lnTo>
                  <a:lnTo>
                    <a:pt x="448" y="602"/>
                  </a:lnTo>
                  <a:lnTo>
                    <a:pt x="441" y="605"/>
                  </a:lnTo>
                  <a:lnTo>
                    <a:pt x="441" y="609"/>
                  </a:lnTo>
                  <a:lnTo>
                    <a:pt x="442" y="609"/>
                  </a:lnTo>
                  <a:lnTo>
                    <a:pt x="442" y="612"/>
                  </a:lnTo>
                  <a:lnTo>
                    <a:pt x="445" y="614"/>
                  </a:lnTo>
                  <a:lnTo>
                    <a:pt x="446" y="616"/>
                  </a:lnTo>
                  <a:lnTo>
                    <a:pt x="446" y="618"/>
                  </a:lnTo>
                  <a:lnTo>
                    <a:pt x="445" y="621"/>
                  </a:lnTo>
                  <a:lnTo>
                    <a:pt x="445" y="624"/>
                  </a:lnTo>
                  <a:lnTo>
                    <a:pt x="447" y="627"/>
                  </a:lnTo>
                  <a:lnTo>
                    <a:pt x="449" y="628"/>
                  </a:lnTo>
                  <a:lnTo>
                    <a:pt x="456" y="630"/>
                  </a:lnTo>
                  <a:lnTo>
                    <a:pt x="460" y="634"/>
                  </a:lnTo>
                  <a:lnTo>
                    <a:pt x="460" y="636"/>
                  </a:lnTo>
                  <a:lnTo>
                    <a:pt x="461" y="638"/>
                  </a:lnTo>
                  <a:lnTo>
                    <a:pt x="464" y="638"/>
                  </a:lnTo>
                  <a:lnTo>
                    <a:pt x="466" y="640"/>
                  </a:lnTo>
                  <a:lnTo>
                    <a:pt x="466" y="642"/>
                  </a:lnTo>
                  <a:lnTo>
                    <a:pt x="465" y="645"/>
                  </a:lnTo>
                  <a:lnTo>
                    <a:pt x="465" y="646"/>
                  </a:lnTo>
                  <a:lnTo>
                    <a:pt x="466" y="647"/>
                  </a:lnTo>
                  <a:lnTo>
                    <a:pt x="466" y="650"/>
                  </a:lnTo>
                  <a:lnTo>
                    <a:pt x="467" y="653"/>
                  </a:lnTo>
                  <a:lnTo>
                    <a:pt x="467" y="657"/>
                  </a:lnTo>
                  <a:lnTo>
                    <a:pt x="466" y="659"/>
                  </a:lnTo>
                  <a:lnTo>
                    <a:pt x="464" y="663"/>
                  </a:lnTo>
                  <a:lnTo>
                    <a:pt x="456" y="671"/>
                  </a:lnTo>
                  <a:lnTo>
                    <a:pt x="454" y="678"/>
                  </a:lnTo>
                  <a:lnTo>
                    <a:pt x="452" y="682"/>
                  </a:lnTo>
                  <a:lnTo>
                    <a:pt x="445" y="684"/>
                  </a:lnTo>
                  <a:lnTo>
                    <a:pt x="442" y="685"/>
                  </a:lnTo>
                  <a:lnTo>
                    <a:pt x="442" y="689"/>
                  </a:lnTo>
                  <a:lnTo>
                    <a:pt x="453" y="702"/>
                  </a:lnTo>
                  <a:lnTo>
                    <a:pt x="459" y="706"/>
                  </a:lnTo>
                  <a:lnTo>
                    <a:pt x="461" y="710"/>
                  </a:lnTo>
                  <a:lnTo>
                    <a:pt x="464" y="713"/>
                  </a:lnTo>
                  <a:lnTo>
                    <a:pt x="477" y="721"/>
                  </a:lnTo>
                  <a:lnTo>
                    <a:pt x="484" y="730"/>
                  </a:lnTo>
                  <a:lnTo>
                    <a:pt x="492" y="736"/>
                  </a:lnTo>
                  <a:lnTo>
                    <a:pt x="495" y="738"/>
                  </a:lnTo>
                  <a:lnTo>
                    <a:pt x="495" y="744"/>
                  </a:lnTo>
                  <a:lnTo>
                    <a:pt x="496" y="745"/>
                  </a:lnTo>
                  <a:lnTo>
                    <a:pt x="496" y="746"/>
                  </a:lnTo>
                  <a:lnTo>
                    <a:pt x="497" y="749"/>
                  </a:lnTo>
                  <a:lnTo>
                    <a:pt x="499" y="750"/>
                  </a:lnTo>
                  <a:lnTo>
                    <a:pt x="501" y="752"/>
                  </a:lnTo>
                  <a:lnTo>
                    <a:pt x="504" y="756"/>
                  </a:lnTo>
                  <a:lnTo>
                    <a:pt x="504" y="757"/>
                  </a:lnTo>
                  <a:lnTo>
                    <a:pt x="505" y="757"/>
                  </a:lnTo>
                  <a:lnTo>
                    <a:pt x="507" y="759"/>
                  </a:lnTo>
                  <a:lnTo>
                    <a:pt x="507" y="762"/>
                  </a:lnTo>
                  <a:lnTo>
                    <a:pt x="508" y="764"/>
                  </a:lnTo>
                  <a:lnTo>
                    <a:pt x="509" y="765"/>
                  </a:lnTo>
                  <a:lnTo>
                    <a:pt x="505" y="773"/>
                  </a:lnTo>
                  <a:lnTo>
                    <a:pt x="503" y="776"/>
                  </a:lnTo>
                  <a:lnTo>
                    <a:pt x="502" y="780"/>
                  </a:lnTo>
                  <a:lnTo>
                    <a:pt x="501" y="788"/>
                  </a:lnTo>
                  <a:lnTo>
                    <a:pt x="499" y="790"/>
                  </a:lnTo>
                  <a:lnTo>
                    <a:pt x="498" y="794"/>
                  </a:lnTo>
                  <a:lnTo>
                    <a:pt x="497" y="795"/>
                  </a:lnTo>
                  <a:lnTo>
                    <a:pt x="496" y="800"/>
                  </a:lnTo>
                  <a:lnTo>
                    <a:pt x="495" y="802"/>
                  </a:lnTo>
                  <a:lnTo>
                    <a:pt x="495" y="804"/>
                  </a:lnTo>
                  <a:lnTo>
                    <a:pt x="492" y="805"/>
                  </a:lnTo>
                  <a:lnTo>
                    <a:pt x="491" y="805"/>
                  </a:lnTo>
                  <a:lnTo>
                    <a:pt x="491" y="806"/>
                  </a:lnTo>
                  <a:lnTo>
                    <a:pt x="490" y="808"/>
                  </a:lnTo>
                  <a:lnTo>
                    <a:pt x="484" y="816"/>
                  </a:lnTo>
                  <a:lnTo>
                    <a:pt x="484" y="817"/>
                  </a:lnTo>
                  <a:lnTo>
                    <a:pt x="483" y="819"/>
                  </a:lnTo>
                  <a:lnTo>
                    <a:pt x="481" y="820"/>
                  </a:lnTo>
                  <a:lnTo>
                    <a:pt x="481" y="822"/>
                  </a:lnTo>
                  <a:lnTo>
                    <a:pt x="472" y="829"/>
                  </a:lnTo>
                  <a:lnTo>
                    <a:pt x="471" y="830"/>
                  </a:lnTo>
                  <a:lnTo>
                    <a:pt x="470" y="830"/>
                  </a:lnTo>
                  <a:lnTo>
                    <a:pt x="470" y="831"/>
                  </a:lnTo>
                  <a:lnTo>
                    <a:pt x="468" y="833"/>
                  </a:lnTo>
                  <a:lnTo>
                    <a:pt x="462" y="842"/>
                  </a:lnTo>
                  <a:lnTo>
                    <a:pt x="456" y="848"/>
                  </a:lnTo>
                  <a:lnTo>
                    <a:pt x="449" y="861"/>
                  </a:lnTo>
                  <a:lnTo>
                    <a:pt x="442" y="872"/>
                  </a:lnTo>
                  <a:lnTo>
                    <a:pt x="435" y="879"/>
                  </a:lnTo>
                  <a:lnTo>
                    <a:pt x="434" y="882"/>
                  </a:lnTo>
                  <a:lnTo>
                    <a:pt x="434" y="884"/>
                  </a:lnTo>
                  <a:lnTo>
                    <a:pt x="428" y="891"/>
                  </a:lnTo>
                  <a:lnTo>
                    <a:pt x="423" y="893"/>
                  </a:lnTo>
                  <a:lnTo>
                    <a:pt x="422" y="894"/>
                  </a:lnTo>
                  <a:lnTo>
                    <a:pt x="422" y="896"/>
                  </a:lnTo>
                  <a:lnTo>
                    <a:pt x="419" y="900"/>
                  </a:lnTo>
                  <a:lnTo>
                    <a:pt x="414" y="906"/>
                  </a:lnTo>
                  <a:lnTo>
                    <a:pt x="412" y="909"/>
                  </a:lnTo>
                  <a:lnTo>
                    <a:pt x="412" y="910"/>
                  </a:lnTo>
                  <a:lnTo>
                    <a:pt x="411" y="911"/>
                  </a:lnTo>
                  <a:lnTo>
                    <a:pt x="409" y="915"/>
                  </a:lnTo>
                  <a:lnTo>
                    <a:pt x="406" y="917"/>
                  </a:lnTo>
                  <a:lnTo>
                    <a:pt x="399" y="922"/>
                  </a:lnTo>
                  <a:lnTo>
                    <a:pt x="397" y="923"/>
                  </a:lnTo>
                  <a:lnTo>
                    <a:pt x="394" y="927"/>
                  </a:lnTo>
                  <a:lnTo>
                    <a:pt x="392" y="928"/>
                  </a:lnTo>
                  <a:lnTo>
                    <a:pt x="390" y="930"/>
                  </a:lnTo>
                  <a:lnTo>
                    <a:pt x="387" y="934"/>
                  </a:lnTo>
                  <a:lnTo>
                    <a:pt x="386" y="935"/>
                  </a:lnTo>
                  <a:lnTo>
                    <a:pt x="386" y="937"/>
                  </a:lnTo>
                  <a:lnTo>
                    <a:pt x="384" y="940"/>
                  </a:lnTo>
                  <a:lnTo>
                    <a:pt x="380" y="941"/>
                  </a:lnTo>
                  <a:lnTo>
                    <a:pt x="373" y="948"/>
                  </a:lnTo>
                  <a:lnTo>
                    <a:pt x="368" y="954"/>
                  </a:lnTo>
                  <a:lnTo>
                    <a:pt x="365" y="958"/>
                  </a:lnTo>
                  <a:lnTo>
                    <a:pt x="359" y="965"/>
                  </a:lnTo>
                  <a:lnTo>
                    <a:pt x="358" y="966"/>
                  </a:lnTo>
                  <a:lnTo>
                    <a:pt x="354" y="971"/>
                  </a:lnTo>
                  <a:lnTo>
                    <a:pt x="350" y="974"/>
                  </a:lnTo>
                  <a:lnTo>
                    <a:pt x="349" y="974"/>
                  </a:lnTo>
                  <a:lnTo>
                    <a:pt x="349" y="973"/>
                  </a:lnTo>
                  <a:lnTo>
                    <a:pt x="348" y="972"/>
                  </a:lnTo>
                  <a:lnTo>
                    <a:pt x="347" y="973"/>
                  </a:lnTo>
                  <a:lnTo>
                    <a:pt x="348" y="973"/>
                  </a:lnTo>
                  <a:lnTo>
                    <a:pt x="348" y="974"/>
                  </a:lnTo>
                  <a:lnTo>
                    <a:pt x="347" y="974"/>
                  </a:lnTo>
                  <a:lnTo>
                    <a:pt x="347" y="977"/>
                  </a:lnTo>
                  <a:lnTo>
                    <a:pt x="348" y="978"/>
                  </a:lnTo>
                  <a:lnTo>
                    <a:pt x="347" y="978"/>
                  </a:lnTo>
                  <a:lnTo>
                    <a:pt x="348" y="979"/>
                  </a:lnTo>
                  <a:lnTo>
                    <a:pt x="347" y="980"/>
                  </a:lnTo>
                  <a:lnTo>
                    <a:pt x="343" y="980"/>
                  </a:lnTo>
                  <a:lnTo>
                    <a:pt x="343" y="979"/>
                  </a:lnTo>
                  <a:lnTo>
                    <a:pt x="344" y="978"/>
                  </a:lnTo>
                  <a:lnTo>
                    <a:pt x="346" y="978"/>
                  </a:lnTo>
                  <a:lnTo>
                    <a:pt x="343" y="977"/>
                  </a:lnTo>
                  <a:lnTo>
                    <a:pt x="343" y="978"/>
                  </a:lnTo>
                  <a:lnTo>
                    <a:pt x="342" y="978"/>
                  </a:lnTo>
                  <a:lnTo>
                    <a:pt x="342" y="980"/>
                  </a:lnTo>
                  <a:lnTo>
                    <a:pt x="343" y="982"/>
                  </a:lnTo>
                  <a:lnTo>
                    <a:pt x="341" y="982"/>
                  </a:lnTo>
                  <a:lnTo>
                    <a:pt x="337" y="978"/>
                  </a:lnTo>
                  <a:lnTo>
                    <a:pt x="336" y="979"/>
                  </a:lnTo>
                  <a:lnTo>
                    <a:pt x="337" y="980"/>
                  </a:lnTo>
                  <a:lnTo>
                    <a:pt x="336" y="980"/>
                  </a:lnTo>
                  <a:lnTo>
                    <a:pt x="336" y="982"/>
                  </a:lnTo>
                  <a:lnTo>
                    <a:pt x="337" y="982"/>
                  </a:lnTo>
                  <a:lnTo>
                    <a:pt x="337" y="983"/>
                  </a:lnTo>
                  <a:lnTo>
                    <a:pt x="335" y="983"/>
                  </a:lnTo>
                  <a:lnTo>
                    <a:pt x="331" y="979"/>
                  </a:lnTo>
                  <a:lnTo>
                    <a:pt x="327" y="979"/>
                  </a:lnTo>
                  <a:lnTo>
                    <a:pt x="325" y="978"/>
                  </a:lnTo>
                  <a:lnTo>
                    <a:pt x="325" y="977"/>
                  </a:lnTo>
                  <a:lnTo>
                    <a:pt x="329" y="977"/>
                  </a:lnTo>
                  <a:lnTo>
                    <a:pt x="328" y="976"/>
                  </a:lnTo>
                  <a:lnTo>
                    <a:pt x="325" y="974"/>
                  </a:lnTo>
                  <a:lnTo>
                    <a:pt x="325" y="972"/>
                  </a:lnTo>
                  <a:lnTo>
                    <a:pt x="324" y="972"/>
                  </a:lnTo>
                  <a:lnTo>
                    <a:pt x="324" y="978"/>
                  </a:lnTo>
                  <a:lnTo>
                    <a:pt x="323" y="977"/>
                  </a:lnTo>
                  <a:lnTo>
                    <a:pt x="322" y="977"/>
                  </a:lnTo>
                  <a:lnTo>
                    <a:pt x="322" y="976"/>
                  </a:lnTo>
                  <a:lnTo>
                    <a:pt x="321" y="976"/>
                  </a:lnTo>
                  <a:lnTo>
                    <a:pt x="321" y="977"/>
                  </a:lnTo>
                  <a:lnTo>
                    <a:pt x="319" y="977"/>
                  </a:lnTo>
                  <a:lnTo>
                    <a:pt x="318" y="976"/>
                  </a:lnTo>
                  <a:lnTo>
                    <a:pt x="317" y="976"/>
                  </a:lnTo>
                  <a:lnTo>
                    <a:pt x="317" y="978"/>
                  </a:lnTo>
                  <a:lnTo>
                    <a:pt x="316" y="980"/>
                  </a:lnTo>
                  <a:lnTo>
                    <a:pt x="313" y="980"/>
                  </a:lnTo>
                  <a:lnTo>
                    <a:pt x="315" y="982"/>
                  </a:lnTo>
                  <a:lnTo>
                    <a:pt x="315" y="984"/>
                  </a:lnTo>
                  <a:lnTo>
                    <a:pt x="313" y="982"/>
                  </a:lnTo>
                  <a:lnTo>
                    <a:pt x="312" y="982"/>
                  </a:lnTo>
                  <a:lnTo>
                    <a:pt x="309" y="983"/>
                  </a:lnTo>
                  <a:lnTo>
                    <a:pt x="307" y="983"/>
                  </a:lnTo>
                  <a:lnTo>
                    <a:pt x="307" y="982"/>
                  </a:lnTo>
                  <a:lnTo>
                    <a:pt x="309" y="980"/>
                  </a:lnTo>
                  <a:lnTo>
                    <a:pt x="306" y="980"/>
                  </a:lnTo>
                  <a:lnTo>
                    <a:pt x="306" y="982"/>
                  </a:lnTo>
                  <a:lnTo>
                    <a:pt x="305" y="982"/>
                  </a:lnTo>
                  <a:lnTo>
                    <a:pt x="305" y="985"/>
                  </a:lnTo>
                  <a:lnTo>
                    <a:pt x="304" y="985"/>
                  </a:lnTo>
                  <a:lnTo>
                    <a:pt x="304" y="986"/>
                  </a:lnTo>
                  <a:lnTo>
                    <a:pt x="303" y="986"/>
                  </a:lnTo>
                  <a:lnTo>
                    <a:pt x="303" y="985"/>
                  </a:lnTo>
                  <a:lnTo>
                    <a:pt x="301" y="984"/>
                  </a:lnTo>
                  <a:lnTo>
                    <a:pt x="300" y="984"/>
                  </a:lnTo>
                  <a:lnTo>
                    <a:pt x="300" y="983"/>
                  </a:lnTo>
                  <a:lnTo>
                    <a:pt x="299" y="984"/>
                  </a:lnTo>
                  <a:lnTo>
                    <a:pt x="298" y="984"/>
                  </a:lnTo>
                  <a:lnTo>
                    <a:pt x="298" y="985"/>
                  </a:lnTo>
                  <a:lnTo>
                    <a:pt x="297" y="985"/>
                  </a:lnTo>
                  <a:lnTo>
                    <a:pt x="297" y="984"/>
                  </a:lnTo>
                  <a:lnTo>
                    <a:pt x="294" y="982"/>
                  </a:lnTo>
                  <a:lnTo>
                    <a:pt x="294" y="979"/>
                  </a:lnTo>
                  <a:lnTo>
                    <a:pt x="296" y="979"/>
                  </a:lnTo>
                  <a:lnTo>
                    <a:pt x="297" y="978"/>
                  </a:lnTo>
                  <a:lnTo>
                    <a:pt x="298" y="976"/>
                  </a:lnTo>
                  <a:lnTo>
                    <a:pt x="298" y="972"/>
                  </a:lnTo>
                  <a:lnTo>
                    <a:pt x="300" y="970"/>
                  </a:lnTo>
                  <a:lnTo>
                    <a:pt x="301" y="970"/>
                  </a:lnTo>
                  <a:lnTo>
                    <a:pt x="306" y="973"/>
                  </a:lnTo>
                  <a:lnTo>
                    <a:pt x="305" y="970"/>
                  </a:lnTo>
                  <a:lnTo>
                    <a:pt x="304" y="967"/>
                  </a:lnTo>
                  <a:lnTo>
                    <a:pt x="301" y="966"/>
                  </a:lnTo>
                  <a:lnTo>
                    <a:pt x="299" y="968"/>
                  </a:lnTo>
                  <a:lnTo>
                    <a:pt x="297" y="972"/>
                  </a:lnTo>
                  <a:lnTo>
                    <a:pt x="293" y="979"/>
                  </a:lnTo>
                  <a:lnTo>
                    <a:pt x="293" y="982"/>
                  </a:lnTo>
                  <a:lnTo>
                    <a:pt x="294" y="984"/>
                  </a:lnTo>
                  <a:lnTo>
                    <a:pt x="293" y="985"/>
                  </a:lnTo>
                  <a:lnTo>
                    <a:pt x="293" y="986"/>
                  </a:lnTo>
                  <a:lnTo>
                    <a:pt x="292" y="986"/>
                  </a:lnTo>
                  <a:lnTo>
                    <a:pt x="292" y="989"/>
                  </a:lnTo>
                  <a:lnTo>
                    <a:pt x="290" y="986"/>
                  </a:lnTo>
                  <a:lnTo>
                    <a:pt x="290" y="989"/>
                  </a:lnTo>
                  <a:lnTo>
                    <a:pt x="288" y="989"/>
                  </a:lnTo>
                  <a:lnTo>
                    <a:pt x="288" y="990"/>
                  </a:lnTo>
                  <a:lnTo>
                    <a:pt x="287" y="989"/>
                  </a:lnTo>
                  <a:lnTo>
                    <a:pt x="287" y="988"/>
                  </a:lnTo>
                  <a:lnTo>
                    <a:pt x="286" y="986"/>
                  </a:lnTo>
                  <a:lnTo>
                    <a:pt x="286" y="985"/>
                  </a:lnTo>
                  <a:lnTo>
                    <a:pt x="285" y="984"/>
                  </a:lnTo>
                  <a:lnTo>
                    <a:pt x="284" y="984"/>
                  </a:lnTo>
                  <a:lnTo>
                    <a:pt x="284" y="986"/>
                  </a:lnTo>
                  <a:lnTo>
                    <a:pt x="286" y="988"/>
                  </a:lnTo>
                  <a:lnTo>
                    <a:pt x="280" y="988"/>
                  </a:lnTo>
                  <a:lnTo>
                    <a:pt x="278" y="986"/>
                  </a:lnTo>
                  <a:lnTo>
                    <a:pt x="272" y="980"/>
                  </a:lnTo>
                  <a:lnTo>
                    <a:pt x="271" y="980"/>
                  </a:lnTo>
                  <a:lnTo>
                    <a:pt x="271" y="982"/>
                  </a:lnTo>
                  <a:lnTo>
                    <a:pt x="273" y="983"/>
                  </a:lnTo>
                  <a:lnTo>
                    <a:pt x="275" y="985"/>
                  </a:lnTo>
                  <a:lnTo>
                    <a:pt x="275" y="988"/>
                  </a:lnTo>
                  <a:lnTo>
                    <a:pt x="274" y="988"/>
                  </a:lnTo>
                  <a:lnTo>
                    <a:pt x="274" y="989"/>
                  </a:lnTo>
                  <a:lnTo>
                    <a:pt x="279" y="994"/>
                  </a:lnTo>
                  <a:lnTo>
                    <a:pt x="279" y="995"/>
                  </a:lnTo>
                  <a:lnTo>
                    <a:pt x="278" y="996"/>
                  </a:lnTo>
                  <a:lnTo>
                    <a:pt x="275" y="996"/>
                  </a:lnTo>
                  <a:lnTo>
                    <a:pt x="275" y="995"/>
                  </a:lnTo>
                  <a:lnTo>
                    <a:pt x="274" y="992"/>
                  </a:lnTo>
                  <a:lnTo>
                    <a:pt x="274" y="991"/>
                  </a:lnTo>
                  <a:lnTo>
                    <a:pt x="272" y="991"/>
                  </a:lnTo>
                  <a:lnTo>
                    <a:pt x="268" y="988"/>
                  </a:lnTo>
                  <a:lnTo>
                    <a:pt x="267" y="988"/>
                  </a:lnTo>
                  <a:lnTo>
                    <a:pt x="269" y="990"/>
                  </a:lnTo>
                  <a:lnTo>
                    <a:pt x="269" y="991"/>
                  </a:lnTo>
                  <a:lnTo>
                    <a:pt x="271" y="991"/>
                  </a:lnTo>
                  <a:lnTo>
                    <a:pt x="271" y="994"/>
                  </a:lnTo>
                  <a:lnTo>
                    <a:pt x="269" y="995"/>
                  </a:lnTo>
                  <a:lnTo>
                    <a:pt x="269" y="997"/>
                  </a:lnTo>
                  <a:lnTo>
                    <a:pt x="271" y="999"/>
                  </a:lnTo>
                  <a:lnTo>
                    <a:pt x="271" y="1001"/>
                  </a:lnTo>
                  <a:lnTo>
                    <a:pt x="269" y="1001"/>
                  </a:lnTo>
                  <a:lnTo>
                    <a:pt x="268" y="999"/>
                  </a:lnTo>
                  <a:lnTo>
                    <a:pt x="268" y="998"/>
                  </a:lnTo>
                  <a:lnTo>
                    <a:pt x="267" y="997"/>
                  </a:lnTo>
                  <a:lnTo>
                    <a:pt x="266" y="997"/>
                  </a:lnTo>
                  <a:lnTo>
                    <a:pt x="265" y="995"/>
                  </a:lnTo>
                  <a:lnTo>
                    <a:pt x="263" y="995"/>
                  </a:lnTo>
                  <a:lnTo>
                    <a:pt x="263" y="997"/>
                  </a:lnTo>
                  <a:lnTo>
                    <a:pt x="265" y="998"/>
                  </a:lnTo>
                  <a:lnTo>
                    <a:pt x="267" y="999"/>
                  </a:lnTo>
                  <a:lnTo>
                    <a:pt x="265" y="1001"/>
                  </a:lnTo>
                  <a:lnTo>
                    <a:pt x="263" y="1002"/>
                  </a:lnTo>
                  <a:lnTo>
                    <a:pt x="262" y="1001"/>
                  </a:lnTo>
                  <a:lnTo>
                    <a:pt x="260" y="997"/>
                  </a:lnTo>
                  <a:lnTo>
                    <a:pt x="259" y="996"/>
                  </a:lnTo>
                  <a:lnTo>
                    <a:pt x="259" y="995"/>
                  </a:lnTo>
                  <a:lnTo>
                    <a:pt x="260" y="995"/>
                  </a:lnTo>
                  <a:lnTo>
                    <a:pt x="260" y="994"/>
                  </a:lnTo>
                  <a:lnTo>
                    <a:pt x="259" y="994"/>
                  </a:lnTo>
                  <a:lnTo>
                    <a:pt x="259" y="992"/>
                  </a:lnTo>
                  <a:lnTo>
                    <a:pt x="261" y="992"/>
                  </a:lnTo>
                  <a:lnTo>
                    <a:pt x="261" y="991"/>
                  </a:lnTo>
                  <a:lnTo>
                    <a:pt x="259" y="991"/>
                  </a:lnTo>
                  <a:lnTo>
                    <a:pt x="259" y="992"/>
                  </a:lnTo>
                  <a:lnTo>
                    <a:pt x="257" y="994"/>
                  </a:lnTo>
                  <a:lnTo>
                    <a:pt x="254" y="994"/>
                  </a:lnTo>
                  <a:lnTo>
                    <a:pt x="254" y="995"/>
                  </a:lnTo>
                  <a:lnTo>
                    <a:pt x="255" y="995"/>
                  </a:lnTo>
                  <a:lnTo>
                    <a:pt x="255" y="998"/>
                  </a:lnTo>
                  <a:lnTo>
                    <a:pt x="254" y="998"/>
                  </a:lnTo>
                  <a:lnTo>
                    <a:pt x="254" y="1001"/>
                  </a:lnTo>
                  <a:lnTo>
                    <a:pt x="247" y="1001"/>
                  </a:lnTo>
                  <a:lnTo>
                    <a:pt x="247" y="999"/>
                  </a:lnTo>
                  <a:lnTo>
                    <a:pt x="245" y="998"/>
                  </a:lnTo>
                  <a:lnTo>
                    <a:pt x="245" y="1001"/>
                  </a:lnTo>
                  <a:lnTo>
                    <a:pt x="240" y="1001"/>
                  </a:lnTo>
                  <a:lnTo>
                    <a:pt x="240" y="1003"/>
                  </a:lnTo>
                  <a:lnTo>
                    <a:pt x="238" y="1002"/>
                  </a:lnTo>
                  <a:lnTo>
                    <a:pt x="238" y="1003"/>
                  </a:lnTo>
                  <a:lnTo>
                    <a:pt x="240" y="1004"/>
                  </a:lnTo>
                  <a:lnTo>
                    <a:pt x="240" y="1007"/>
                  </a:lnTo>
                  <a:lnTo>
                    <a:pt x="236" y="1007"/>
                  </a:lnTo>
                  <a:lnTo>
                    <a:pt x="236" y="1005"/>
                  </a:lnTo>
                  <a:lnTo>
                    <a:pt x="234" y="1008"/>
                  </a:lnTo>
                  <a:lnTo>
                    <a:pt x="235" y="1008"/>
                  </a:lnTo>
                  <a:lnTo>
                    <a:pt x="235" y="1009"/>
                  </a:lnTo>
                  <a:lnTo>
                    <a:pt x="232" y="1009"/>
                  </a:lnTo>
                  <a:lnTo>
                    <a:pt x="231" y="1008"/>
                  </a:lnTo>
                  <a:lnTo>
                    <a:pt x="232" y="1008"/>
                  </a:lnTo>
                  <a:lnTo>
                    <a:pt x="232" y="1004"/>
                  </a:lnTo>
                  <a:lnTo>
                    <a:pt x="231" y="1004"/>
                  </a:lnTo>
                  <a:lnTo>
                    <a:pt x="231" y="1005"/>
                  </a:lnTo>
                  <a:lnTo>
                    <a:pt x="230" y="1009"/>
                  </a:lnTo>
                  <a:lnTo>
                    <a:pt x="230" y="1010"/>
                  </a:lnTo>
                  <a:lnTo>
                    <a:pt x="225" y="1010"/>
                  </a:lnTo>
                  <a:lnTo>
                    <a:pt x="225" y="1009"/>
                  </a:lnTo>
                  <a:lnTo>
                    <a:pt x="226" y="1008"/>
                  </a:lnTo>
                  <a:lnTo>
                    <a:pt x="226" y="1007"/>
                  </a:lnTo>
                  <a:lnTo>
                    <a:pt x="225" y="1005"/>
                  </a:lnTo>
                  <a:lnTo>
                    <a:pt x="224" y="1005"/>
                  </a:lnTo>
                  <a:lnTo>
                    <a:pt x="224" y="1009"/>
                  </a:lnTo>
                  <a:lnTo>
                    <a:pt x="223" y="1009"/>
                  </a:lnTo>
                  <a:lnTo>
                    <a:pt x="222" y="1010"/>
                  </a:lnTo>
                  <a:lnTo>
                    <a:pt x="218" y="1010"/>
                  </a:lnTo>
                  <a:lnTo>
                    <a:pt x="218" y="1014"/>
                  </a:lnTo>
                  <a:lnTo>
                    <a:pt x="217" y="1014"/>
                  </a:lnTo>
                  <a:lnTo>
                    <a:pt x="217" y="1011"/>
                  </a:lnTo>
                  <a:lnTo>
                    <a:pt x="216" y="1010"/>
                  </a:lnTo>
                  <a:lnTo>
                    <a:pt x="213" y="1009"/>
                  </a:lnTo>
                  <a:lnTo>
                    <a:pt x="212" y="1009"/>
                  </a:lnTo>
                  <a:lnTo>
                    <a:pt x="213" y="1010"/>
                  </a:lnTo>
                  <a:lnTo>
                    <a:pt x="214" y="1010"/>
                  </a:lnTo>
                  <a:lnTo>
                    <a:pt x="214" y="1013"/>
                  </a:lnTo>
                  <a:lnTo>
                    <a:pt x="213" y="1013"/>
                  </a:lnTo>
                  <a:lnTo>
                    <a:pt x="212" y="1014"/>
                  </a:lnTo>
                  <a:lnTo>
                    <a:pt x="212" y="1015"/>
                  </a:lnTo>
                  <a:lnTo>
                    <a:pt x="214" y="1014"/>
                  </a:lnTo>
                  <a:lnTo>
                    <a:pt x="214" y="1015"/>
                  </a:lnTo>
                  <a:lnTo>
                    <a:pt x="213" y="1015"/>
                  </a:lnTo>
                  <a:lnTo>
                    <a:pt x="214" y="1016"/>
                  </a:lnTo>
                  <a:lnTo>
                    <a:pt x="210" y="1021"/>
                  </a:lnTo>
                  <a:lnTo>
                    <a:pt x="210" y="1022"/>
                  </a:lnTo>
                  <a:lnTo>
                    <a:pt x="207" y="1022"/>
                  </a:lnTo>
                  <a:lnTo>
                    <a:pt x="207" y="1021"/>
                  </a:lnTo>
                  <a:lnTo>
                    <a:pt x="209" y="1019"/>
                  </a:lnTo>
                  <a:lnTo>
                    <a:pt x="209" y="1017"/>
                  </a:lnTo>
                  <a:lnTo>
                    <a:pt x="205" y="1021"/>
                  </a:lnTo>
                  <a:lnTo>
                    <a:pt x="205" y="1020"/>
                  </a:lnTo>
                  <a:lnTo>
                    <a:pt x="203" y="1022"/>
                  </a:lnTo>
                  <a:lnTo>
                    <a:pt x="203" y="1021"/>
                  </a:lnTo>
                  <a:lnTo>
                    <a:pt x="205" y="1019"/>
                  </a:lnTo>
                  <a:lnTo>
                    <a:pt x="205" y="1015"/>
                  </a:lnTo>
                  <a:lnTo>
                    <a:pt x="203" y="1015"/>
                  </a:lnTo>
                  <a:lnTo>
                    <a:pt x="203" y="1016"/>
                  </a:lnTo>
                  <a:lnTo>
                    <a:pt x="201" y="1016"/>
                  </a:lnTo>
                  <a:lnTo>
                    <a:pt x="201" y="1017"/>
                  </a:lnTo>
                  <a:lnTo>
                    <a:pt x="200" y="1019"/>
                  </a:lnTo>
                  <a:lnTo>
                    <a:pt x="198" y="1017"/>
                  </a:lnTo>
                  <a:lnTo>
                    <a:pt x="197" y="1017"/>
                  </a:lnTo>
                  <a:lnTo>
                    <a:pt x="197" y="1019"/>
                  </a:lnTo>
                  <a:lnTo>
                    <a:pt x="198" y="1020"/>
                  </a:lnTo>
                  <a:lnTo>
                    <a:pt x="195" y="1020"/>
                  </a:lnTo>
                  <a:lnTo>
                    <a:pt x="194" y="1019"/>
                  </a:lnTo>
                  <a:lnTo>
                    <a:pt x="192" y="1020"/>
                  </a:lnTo>
                  <a:lnTo>
                    <a:pt x="191" y="1021"/>
                  </a:lnTo>
                  <a:lnTo>
                    <a:pt x="189" y="1021"/>
                  </a:lnTo>
                  <a:lnTo>
                    <a:pt x="189" y="1020"/>
                  </a:lnTo>
                  <a:lnTo>
                    <a:pt x="191" y="1019"/>
                  </a:lnTo>
                  <a:lnTo>
                    <a:pt x="189" y="1019"/>
                  </a:lnTo>
                  <a:lnTo>
                    <a:pt x="188" y="1020"/>
                  </a:lnTo>
                  <a:lnTo>
                    <a:pt x="188" y="1021"/>
                  </a:lnTo>
                  <a:lnTo>
                    <a:pt x="187" y="1021"/>
                  </a:lnTo>
                  <a:lnTo>
                    <a:pt x="187" y="1022"/>
                  </a:lnTo>
                  <a:lnTo>
                    <a:pt x="185" y="1022"/>
                  </a:lnTo>
                  <a:lnTo>
                    <a:pt x="181" y="1026"/>
                  </a:lnTo>
                  <a:lnTo>
                    <a:pt x="180" y="1025"/>
                  </a:lnTo>
                  <a:lnTo>
                    <a:pt x="173" y="1026"/>
                  </a:lnTo>
                  <a:lnTo>
                    <a:pt x="173" y="1025"/>
                  </a:lnTo>
                  <a:lnTo>
                    <a:pt x="172" y="1025"/>
                  </a:lnTo>
                  <a:lnTo>
                    <a:pt x="172" y="1023"/>
                  </a:lnTo>
                  <a:lnTo>
                    <a:pt x="168" y="1025"/>
                  </a:lnTo>
                  <a:lnTo>
                    <a:pt x="167" y="1026"/>
                  </a:lnTo>
                  <a:lnTo>
                    <a:pt x="166" y="1026"/>
                  </a:lnTo>
                  <a:lnTo>
                    <a:pt x="166" y="1025"/>
                  </a:lnTo>
                  <a:lnTo>
                    <a:pt x="168" y="1021"/>
                  </a:lnTo>
                  <a:lnTo>
                    <a:pt x="168" y="1020"/>
                  </a:lnTo>
                  <a:lnTo>
                    <a:pt x="170" y="1020"/>
                  </a:lnTo>
                  <a:lnTo>
                    <a:pt x="170" y="1015"/>
                  </a:lnTo>
                  <a:lnTo>
                    <a:pt x="169" y="1016"/>
                  </a:lnTo>
                  <a:lnTo>
                    <a:pt x="168" y="1016"/>
                  </a:lnTo>
                  <a:lnTo>
                    <a:pt x="168" y="1019"/>
                  </a:lnTo>
                  <a:lnTo>
                    <a:pt x="167" y="1019"/>
                  </a:lnTo>
                  <a:lnTo>
                    <a:pt x="167" y="1020"/>
                  </a:lnTo>
                  <a:lnTo>
                    <a:pt x="166" y="1021"/>
                  </a:lnTo>
                  <a:lnTo>
                    <a:pt x="166" y="1023"/>
                  </a:lnTo>
                  <a:lnTo>
                    <a:pt x="164" y="1023"/>
                  </a:lnTo>
                  <a:lnTo>
                    <a:pt x="164" y="1025"/>
                  </a:lnTo>
                  <a:lnTo>
                    <a:pt x="163" y="1027"/>
                  </a:lnTo>
                  <a:lnTo>
                    <a:pt x="161" y="1028"/>
                  </a:lnTo>
                  <a:lnTo>
                    <a:pt x="157" y="1031"/>
                  </a:lnTo>
                  <a:lnTo>
                    <a:pt x="157" y="1034"/>
                  </a:lnTo>
                  <a:lnTo>
                    <a:pt x="158" y="1034"/>
                  </a:lnTo>
                  <a:lnTo>
                    <a:pt x="158" y="1035"/>
                  </a:lnTo>
                  <a:lnTo>
                    <a:pt x="150" y="1036"/>
                  </a:lnTo>
                  <a:lnTo>
                    <a:pt x="147" y="1036"/>
                  </a:lnTo>
                  <a:lnTo>
                    <a:pt x="145" y="1038"/>
                  </a:lnTo>
                  <a:lnTo>
                    <a:pt x="143" y="1038"/>
                  </a:lnTo>
                  <a:lnTo>
                    <a:pt x="143" y="1036"/>
                  </a:lnTo>
                  <a:lnTo>
                    <a:pt x="145" y="1034"/>
                  </a:lnTo>
                  <a:lnTo>
                    <a:pt x="147" y="1034"/>
                  </a:lnTo>
                  <a:lnTo>
                    <a:pt x="153" y="1032"/>
                  </a:lnTo>
                  <a:lnTo>
                    <a:pt x="155" y="1032"/>
                  </a:lnTo>
                  <a:lnTo>
                    <a:pt x="154" y="1029"/>
                  </a:lnTo>
                  <a:lnTo>
                    <a:pt x="157" y="1029"/>
                  </a:lnTo>
                  <a:lnTo>
                    <a:pt x="157" y="1028"/>
                  </a:lnTo>
                  <a:lnTo>
                    <a:pt x="160" y="1026"/>
                  </a:lnTo>
                  <a:lnTo>
                    <a:pt x="161" y="1023"/>
                  </a:lnTo>
                  <a:lnTo>
                    <a:pt x="161" y="1020"/>
                  </a:lnTo>
                  <a:lnTo>
                    <a:pt x="157" y="1026"/>
                  </a:lnTo>
                  <a:lnTo>
                    <a:pt x="157" y="1028"/>
                  </a:lnTo>
                  <a:lnTo>
                    <a:pt x="156" y="1028"/>
                  </a:lnTo>
                  <a:lnTo>
                    <a:pt x="156" y="1026"/>
                  </a:lnTo>
                  <a:lnTo>
                    <a:pt x="155" y="1026"/>
                  </a:lnTo>
                  <a:lnTo>
                    <a:pt x="155" y="1027"/>
                  </a:lnTo>
                  <a:lnTo>
                    <a:pt x="153" y="1027"/>
                  </a:lnTo>
                  <a:lnTo>
                    <a:pt x="153" y="1028"/>
                  </a:lnTo>
                  <a:lnTo>
                    <a:pt x="151" y="1028"/>
                  </a:lnTo>
                  <a:lnTo>
                    <a:pt x="151" y="1027"/>
                  </a:lnTo>
                  <a:lnTo>
                    <a:pt x="153" y="1025"/>
                  </a:lnTo>
                  <a:lnTo>
                    <a:pt x="153" y="1023"/>
                  </a:lnTo>
                  <a:lnTo>
                    <a:pt x="156" y="1022"/>
                  </a:lnTo>
                  <a:lnTo>
                    <a:pt x="156" y="1021"/>
                  </a:lnTo>
                  <a:lnTo>
                    <a:pt x="157" y="1019"/>
                  </a:lnTo>
                  <a:lnTo>
                    <a:pt x="158" y="1019"/>
                  </a:lnTo>
                  <a:lnTo>
                    <a:pt x="156" y="1017"/>
                  </a:lnTo>
                  <a:lnTo>
                    <a:pt x="151" y="1019"/>
                  </a:lnTo>
                  <a:lnTo>
                    <a:pt x="149" y="1019"/>
                  </a:lnTo>
                  <a:lnTo>
                    <a:pt x="148" y="1017"/>
                  </a:lnTo>
                  <a:lnTo>
                    <a:pt x="148" y="1016"/>
                  </a:lnTo>
                  <a:lnTo>
                    <a:pt x="147" y="1015"/>
                  </a:lnTo>
                  <a:lnTo>
                    <a:pt x="148" y="1014"/>
                  </a:lnTo>
                  <a:lnTo>
                    <a:pt x="149" y="1011"/>
                  </a:lnTo>
                  <a:lnTo>
                    <a:pt x="149" y="1010"/>
                  </a:lnTo>
                  <a:lnTo>
                    <a:pt x="148" y="1011"/>
                  </a:lnTo>
                  <a:lnTo>
                    <a:pt x="148" y="1013"/>
                  </a:lnTo>
                  <a:lnTo>
                    <a:pt x="147" y="1014"/>
                  </a:lnTo>
                  <a:lnTo>
                    <a:pt x="147" y="1013"/>
                  </a:lnTo>
                  <a:lnTo>
                    <a:pt x="145" y="1011"/>
                  </a:lnTo>
                  <a:lnTo>
                    <a:pt x="143" y="1010"/>
                  </a:lnTo>
                  <a:lnTo>
                    <a:pt x="143" y="1009"/>
                  </a:lnTo>
                  <a:lnTo>
                    <a:pt x="142" y="1009"/>
                  </a:lnTo>
                  <a:lnTo>
                    <a:pt x="143" y="1008"/>
                  </a:lnTo>
                  <a:lnTo>
                    <a:pt x="142" y="1007"/>
                  </a:lnTo>
                  <a:lnTo>
                    <a:pt x="144" y="1002"/>
                  </a:lnTo>
                  <a:lnTo>
                    <a:pt x="149" y="997"/>
                  </a:lnTo>
                  <a:lnTo>
                    <a:pt x="149" y="994"/>
                  </a:lnTo>
                  <a:lnTo>
                    <a:pt x="150" y="994"/>
                  </a:lnTo>
                  <a:lnTo>
                    <a:pt x="151" y="992"/>
                  </a:lnTo>
                  <a:lnTo>
                    <a:pt x="150" y="991"/>
                  </a:lnTo>
                  <a:lnTo>
                    <a:pt x="149" y="992"/>
                  </a:lnTo>
                  <a:lnTo>
                    <a:pt x="148" y="995"/>
                  </a:lnTo>
                  <a:lnTo>
                    <a:pt x="148" y="996"/>
                  </a:lnTo>
                  <a:lnTo>
                    <a:pt x="145" y="995"/>
                  </a:lnTo>
                  <a:lnTo>
                    <a:pt x="142" y="996"/>
                  </a:lnTo>
                  <a:lnTo>
                    <a:pt x="136" y="1002"/>
                  </a:lnTo>
                  <a:lnTo>
                    <a:pt x="131" y="1003"/>
                  </a:lnTo>
                  <a:lnTo>
                    <a:pt x="129" y="1004"/>
                  </a:lnTo>
                  <a:lnTo>
                    <a:pt x="127" y="1004"/>
                  </a:lnTo>
                  <a:lnTo>
                    <a:pt x="130" y="1002"/>
                  </a:lnTo>
                  <a:lnTo>
                    <a:pt x="129" y="1002"/>
                  </a:lnTo>
                  <a:lnTo>
                    <a:pt x="130" y="999"/>
                  </a:lnTo>
                  <a:lnTo>
                    <a:pt x="131" y="999"/>
                  </a:lnTo>
                  <a:lnTo>
                    <a:pt x="132" y="998"/>
                  </a:lnTo>
                  <a:lnTo>
                    <a:pt x="130" y="998"/>
                  </a:lnTo>
                  <a:lnTo>
                    <a:pt x="130" y="999"/>
                  </a:lnTo>
                  <a:lnTo>
                    <a:pt x="127" y="1001"/>
                  </a:lnTo>
                  <a:lnTo>
                    <a:pt x="124" y="1001"/>
                  </a:lnTo>
                  <a:lnTo>
                    <a:pt x="125" y="999"/>
                  </a:lnTo>
                  <a:lnTo>
                    <a:pt x="125" y="998"/>
                  </a:lnTo>
                  <a:lnTo>
                    <a:pt x="126" y="997"/>
                  </a:lnTo>
                  <a:lnTo>
                    <a:pt x="126" y="996"/>
                  </a:lnTo>
                  <a:lnTo>
                    <a:pt x="129" y="994"/>
                  </a:lnTo>
                  <a:lnTo>
                    <a:pt x="130" y="991"/>
                  </a:lnTo>
                  <a:lnTo>
                    <a:pt x="132" y="989"/>
                  </a:lnTo>
                  <a:lnTo>
                    <a:pt x="131" y="988"/>
                  </a:lnTo>
                  <a:lnTo>
                    <a:pt x="130" y="990"/>
                  </a:lnTo>
                  <a:lnTo>
                    <a:pt x="125" y="990"/>
                  </a:lnTo>
                  <a:lnTo>
                    <a:pt x="125" y="988"/>
                  </a:lnTo>
                  <a:lnTo>
                    <a:pt x="119" y="990"/>
                  </a:lnTo>
                  <a:lnTo>
                    <a:pt x="118" y="990"/>
                  </a:lnTo>
                  <a:lnTo>
                    <a:pt x="113" y="985"/>
                  </a:lnTo>
                  <a:lnTo>
                    <a:pt x="110" y="985"/>
                  </a:lnTo>
                  <a:lnTo>
                    <a:pt x="110" y="983"/>
                  </a:lnTo>
                  <a:lnTo>
                    <a:pt x="108" y="984"/>
                  </a:lnTo>
                  <a:lnTo>
                    <a:pt x="108" y="985"/>
                  </a:lnTo>
                  <a:lnTo>
                    <a:pt x="107" y="985"/>
                  </a:lnTo>
                  <a:lnTo>
                    <a:pt x="106" y="983"/>
                  </a:lnTo>
                  <a:lnTo>
                    <a:pt x="106" y="982"/>
                  </a:lnTo>
                  <a:lnTo>
                    <a:pt x="105" y="982"/>
                  </a:lnTo>
                  <a:lnTo>
                    <a:pt x="105" y="980"/>
                  </a:lnTo>
                  <a:lnTo>
                    <a:pt x="102" y="980"/>
                  </a:lnTo>
                  <a:lnTo>
                    <a:pt x="102" y="977"/>
                  </a:lnTo>
                  <a:lnTo>
                    <a:pt x="99" y="977"/>
                  </a:lnTo>
                  <a:lnTo>
                    <a:pt x="99" y="979"/>
                  </a:lnTo>
                  <a:lnTo>
                    <a:pt x="100" y="982"/>
                  </a:lnTo>
                  <a:lnTo>
                    <a:pt x="98" y="980"/>
                  </a:lnTo>
                  <a:lnTo>
                    <a:pt x="96" y="980"/>
                  </a:lnTo>
                  <a:lnTo>
                    <a:pt x="96" y="973"/>
                  </a:lnTo>
                  <a:lnTo>
                    <a:pt x="98" y="972"/>
                  </a:lnTo>
                  <a:lnTo>
                    <a:pt x="99" y="972"/>
                  </a:lnTo>
                  <a:lnTo>
                    <a:pt x="98" y="971"/>
                  </a:lnTo>
                  <a:lnTo>
                    <a:pt x="98" y="970"/>
                  </a:lnTo>
                  <a:lnTo>
                    <a:pt x="99" y="968"/>
                  </a:lnTo>
                  <a:lnTo>
                    <a:pt x="95" y="971"/>
                  </a:lnTo>
                  <a:lnTo>
                    <a:pt x="95" y="972"/>
                  </a:lnTo>
                  <a:lnTo>
                    <a:pt x="94" y="972"/>
                  </a:lnTo>
                  <a:lnTo>
                    <a:pt x="92" y="973"/>
                  </a:lnTo>
                  <a:lnTo>
                    <a:pt x="91" y="973"/>
                  </a:lnTo>
                  <a:lnTo>
                    <a:pt x="91" y="974"/>
                  </a:lnTo>
                  <a:lnTo>
                    <a:pt x="92" y="976"/>
                  </a:lnTo>
                  <a:lnTo>
                    <a:pt x="91" y="977"/>
                  </a:lnTo>
                  <a:lnTo>
                    <a:pt x="91" y="979"/>
                  </a:lnTo>
                  <a:lnTo>
                    <a:pt x="89" y="980"/>
                  </a:lnTo>
                  <a:lnTo>
                    <a:pt x="87" y="980"/>
                  </a:lnTo>
                  <a:lnTo>
                    <a:pt x="88" y="979"/>
                  </a:lnTo>
                  <a:lnTo>
                    <a:pt x="87" y="977"/>
                  </a:lnTo>
                  <a:lnTo>
                    <a:pt x="85" y="973"/>
                  </a:lnTo>
                  <a:lnTo>
                    <a:pt x="81" y="973"/>
                  </a:lnTo>
                  <a:lnTo>
                    <a:pt x="81" y="970"/>
                  </a:lnTo>
                  <a:lnTo>
                    <a:pt x="82" y="971"/>
                  </a:lnTo>
                  <a:lnTo>
                    <a:pt x="82" y="970"/>
                  </a:lnTo>
                  <a:lnTo>
                    <a:pt x="80" y="967"/>
                  </a:lnTo>
                  <a:lnTo>
                    <a:pt x="79" y="967"/>
                  </a:lnTo>
                  <a:lnTo>
                    <a:pt x="79" y="965"/>
                  </a:lnTo>
                  <a:lnTo>
                    <a:pt x="77" y="964"/>
                  </a:lnTo>
                  <a:lnTo>
                    <a:pt x="77" y="962"/>
                  </a:lnTo>
                  <a:lnTo>
                    <a:pt x="81" y="964"/>
                  </a:lnTo>
                  <a:lnTo>
                    <a:pt x="82" y="962"/>
                  </a:lnTo>
                  <a:lnTo>
                    <a:pt x="81" y="962"/>
                  </a:lnTo>
                  <a:lnTo>
                    <a:pt x="81" y="960"/>
                  </a:lnTo>
                  <a:lnTo>
                    <a:pt x="82" y="960"/>
                  </a:lnTo>
                  <a:lnTo>
                    <a:pt x="82" y="959"/>
                  </a:lnTo>
                  <a:lnTo>
                    <a:pt x="80" y="959"/>
                  </a:lnTo>
                  <a:lnTo>
                    <a:pt x="80" y="956"/>
                  </a:lnTo>
                  <a:lnTo>
                    <a:pt x="81" y="956"/>
                  </a:lnTo>
                  <a:lnTo>
                    <a:pt x="80" y="955"/>
                  </a:lnTo>
                  <a:lnTo>
                    <a:pt x="79" y="955"/>
                  </a:lnTo>
                  <a:lnTo>
                    <a:pt x="79" y="952"/>
                  </a:lnTo>
                  <a:lnTo>
                    <a:pt x="77" y="953"/>
                  </a:lnTo>
                  <a:lnTo>
                    <a:pt x="77" y="952"/>
                  </a:lnTo>
                  <a:lnTo>
                    <a:pt x="76" y="951"/>
                  </a:lnTo>
                  <a:lnTo>
                    <a:pt x="77" y="949"/>
                  </a:lnTo>
                  <a:lnTo>
                    <a:pt x="76" y="948"/>
                  </a:lnTo>
                  <a:lnTo>
                    <a:pt x="80" y="948"/>
                  </a:lnTo>
                  <a:lnTo>
                    <a:pt x="81" y="947"/>
                  </a:lnTo>
                  <a:lnTo>
                    <a:pt x="79" y="947"/>
                  </a:lnTo>
                  <a:lnTo>
                    <a:pt x="79" y="946"/>
                  </a:lnTo>
                  <a:lnTo>
                    <a:pt x="77" y="945"/>
                  </a:lnTo>
                  <a:lnTo>
                    <a:pt x="79" y="945"/>
                  </a:lnTo>
                  <a:lnTo>
                    <a:pt x="79" y="943"/>
                  </a:lnTo>
                  <a:lnTo>
                    <a:pt x="80" y="943"/>
                  </a:lnTo>
                  <a:lnTo>
                    <a:pt x="80" y="945"/>
                  </a:lnTo>
                  <a:lnTo>
                    <a:pt x="81" y="945"/>
                  </a:lnTo>
                  <a:lnTo>
                    <a:pt x="81" y="942"/>
                  </a:lnTo>
                  <a:lnTo>
                    <a:pt x="80" y="942"/>
                  </a:lnTo>
                  <a:lnTo>
                    <a:pt x="80" y="941"/>
                  </a:lnTo>
                  <a:lnTo>
                    <a:pt x="79" y="941"/>
                  </a:lnTo>
                  <a:lnTo>
                    <a:pt x="79" y="940"/>
                  </a:lnTo>
                  <a:lnTo>
                    <a:pt x="77" y="936"/>
                  </a:lnTo>
                  <a:lnTo>
                    <a:pt x="76" y="935"/>
                  </a:lnTo>
                  <a:lnTo>
                    <a:pt x="77" y="934"/>
                  </a:lnTo>
                  <a:lnTo>
                    <a:pt x="75" y="931"/>
                  </a:lnTo>
                  <a:lnTo>
                    <a:pt x="76" y="931"/>
                  </a:lnTo>
                  <a:lnTo>
                    <a:pt x="79" y="933"/>
                  </a:lnTo>
                  <a:lnTo>
                    <a:pt x="80" y="933"/>
                  </a:lnTo>
                  <a:lnTo>
                    <a:pt x="80" y="931"/>
                  </a:lnTo>
                  <a:lnTo>
                    <a:pt x="79" y="931"/>
                  </a:lnTo>
                  <a:lnTo>
                    <a:pt x="80" y="930"/>
                  </a:lnTo>
                  <a:lnTo>
                    <a:pt x="82" y="931"/>
                  </a:lnTo>
                  <a:lnTo>
                    <a:pt x="83" y="931"/>
                  </a:lnTo>
                  <a:lnTo>
                    <a:pt x="82" y="930"/>
                  </a:lnTo>
                  <a:lnTo>
                    <a:pt x="82" y="921"/>
                  </a:lnTo>
                  <a:lnTo>
                    <a:pt x="85" y="921"/>
                  </a:lnTo>
                  <a:lnTo>
                    <a:pt x="85" y="919"/>
                  </a:lnTo>
                  <a:lnTo>
                    <a:pt x="83" y="919"/>
                  </a:lnTo>
                  <a:lnTo>
                    <a:pt x="85" y="918"/>
                  </a:lnTo>
                  <a:lnTo>
                    <a:pt x="87" y="918"/>
                  </a:lnTo>
                  <a:lnTo>
                    <a:pt x="86" y="916"/>
                  </a:lnTo>
                  <a:lnTo>
                    <a:pt x="85" y="916"/>
                  </a:lnTo>
                  <a:lnTo>
                    <a:pt x="83" y="915"/>
                  </a:lnTo>
                  <a:lnTo>
                    <a:pt x="83" y="913"/>
                  </a:lnTo>
                  <a:lnTo>
                    <a:pt x="85" y="913"/>
                  </a:lnTo>
                  <a:lnTo>
                    <a:pt x="85" y="911"/>
                  </a:lnTo>
                  <a:lnTo>
                    <a:pt x="86" y="911"/>
                  </a:lnTo>
                  <a:lnTo>
                    <a:pt x="86" y="905"/>
                  </a:lnTo>
                  <a:lnTo>
                    <a:pt x="85" y="903"/>
                  </a:lnTo>
                  <a:lnTo>
                    <a:pt x="85" y="902"/>
                  </a:lnTo>
                  <a:lnTo>
                    <a:pt x="82" y="902"/>
                  </a:lnTo>
                  <a:lnTo>
                    <a:pt x="82" y="900"/>
                  </a:lnTo>
                  <a:lnTo>
                    <a:pt x="86" y="900"/>
                  </a:lnTo>
                  <a:lnTo>
                    <a:pt x="87" y="899"/>
                  </a:lnTo>
                  <a:lnTo>
                    <a:pt x="87" y="898"/>
                  </a:lnTo>
                  <a:lnTo>
                    <a:pt x="85" y="896"/>
                  </a:lnTo>
                  <a:lnTo>
                    <a:pt x="81" y="894"/>
                  </a:lnTo>
                  <a:lnTo>
                    <a:pt x="81" y="893"/>
                  </a:lnTo>
                  <a:lnTo>
                    <a:pt x="87" y="894"/>
                  </a:lnTo>
                  <a:lnTo>
                    <a:pt x="88" y="893"/>
                  </a:lnTo>
                  <a:lnTo>
                    <a:pt x="87" y="891"/>
                  </a:lnTo>
                  <a:lnTo>
                    <a:pt x="85" y="891"/>
                  </a:lnTo>
                  <a:lnTo>
                    <a:pt x="82" y="888"/>
                  </a:lnTo>
                  <a:lnTo>
                    <a:pt x="82" y="886"/>
                  </a:lnTo>
                  <a:lnTo>
                    <a:pt x="85" y="886"/>
                  </a:lnTo>
                  <a:lnTo>
                    <a:pt x="92" y="890"/>
                  </a:lnTo>
                  <a:lnTo>
                    <a:pt x="93" y="891"/>
                  </a:lnTo>
                  <a:lnTo>
                    <a:pt x="93" y="890"/>
                  </a:lnTo>
                  <a:lnTo>
                    <a:pt x="91" y="887"/>
                  </a:lnTo>
                  <a:lnTo>
                    <a:pt x="89" y="885"/>
                  </a:lnTo>
                  <a:lnTo>
                    <a:pt x="88" y="881"/>
                  </a:lnTo>
                  <a:lnTo>
                    <a:pt x="87" y="880"/>
                  </a:lnTo>
                  <a:lnTo>
                    <a:pt x="86" y="880"/>
                  </a:lnTo>
                  <a:lnTo>
                    <a:pt x="86" y="876"/>
                  </a:lnTo>
                  <a:lnTo>
                    <a:pt x="85" y="874"/>
                  </a:lnTo>
                  <a:lnTo>
                    <a:pt x="86" y="874"/>
                  </a:lnTo>
                  <a:lnTo>
                    <a:pt x="87" y="875"/>
                  </a:lnTo>
                  <a:lnTo>
                    <a:pt x="88" y="875"/>
                  </a:lnTo>
                  <a:lnTo>
                    <a:pt x="87" y="873"/>
                  </a:lnTo>
                  <a:lnTo>
                    <a:pt x="83" y="872"/>
                  </a:lnTo>
                  <a:lnTo>
                    <a:pt x="82" y="869"/>
                  </a:lnTo>
                  <a:lnTo>
                    <a:pt x="83" y="868"/>
                  </a:lnTo>
                  <a:lnTo>
                    <a:pt x="83" y="865"/>
                  </a:lnTo>
                  <a:lnTo>
                    <a:pt x="82" y="863"/>
                  </a:lnTo>
                  <a:lnTo>
                    <a:pt x="82" y="862"/>
                  </a:lnTo>
                  <a:lnTo>
                    <a:pt x="81" y="860"/>
                  </a:lnTo>
                  <a:lnTo>
                    <a:pt x="80" y="859"/>
                  </a:lnTo>
                  <a:lnTo>
                    <a:pt x="80" y="856"/>
                  </a:lnTo>
                  <a:lnTo>
                    <a:pt x="81" y="856"/>
                  </a:lnTo>
                  <a:lnTo>
                    <a:pt x="80" y="855"/>
                  </a:lnTo>
                  <a:lnTo>
                    <a:pt x="80" y="854"/>
                  </a:lnTo>
                  <a:lnTo>
                    <a:pt x="79" y="854"/>
                  </a:lnTo>
                  <a:lnTo>
                    <a:pt x="79" y="853"/>
                  </a:lnTo>
                  <a:lnTo>
                    <a:pt x="76" y="854"/>
                  </a:lnTo>
                  <a:lnTo>
                    <a:pt x="76" y="853"/>
                  </a:lnTo>
                  <a:lnTo>
                    <a:pt x="75" y="853"/>
                  </a:lnTo>
                  <a:lnTo>
                    <a:pt x="75" y="849"/>
                  </a:lnTo>
                  <a:lnTo>
                    <a:pt x="73" y="849"/>
                  </a:lnTo>
                  <a:lnTo>
                    <a:pt x="75" y="843"/>
                  </a:lnTo>
                  <a:lnTo>
                    <a:pt x="75" y="836"/>
                  </a:lnTo>
                  <a:lnTo>
                    <a:pt x="76" y="838"/>
                  </a:lnTo>
                  <a:lnTo>
                    <a:pt x="76" y="835"/>
                  </a:lnTo>
                  <a:lnTo>
                    <a:pt x="77" y="833"/>
                  </a:lnTo>
                  <a:lnTo>
                    <a:pt x="76" y="833"/>
                  </a:lnTo>
                  <a:lnTo>
                    <a:pt x="79" y="831"/>
                  </a:lnTo>
                  <a:lnTo>
                    <a:pt x="79" y="830"/>
                  </a:lnTo>
                  <a:lnTo>
                    <a:pt x="80" y="829"/>
                  </a:lnTo>
                  <a:lnTo>
                    <a:pt x="77" y="826"/>
                  </a:lnTo>
                  <a:lnTo>
                    <a:pt x="79" y="824"/>
                  </a:lnTo>
                  <a:lnTo>
                    <a:pt x="77" y="824"/>
                  </a:lnTo>
                  <a:lnTo>
                    <a:pt x="77" y="826"/>
                  </a:lnTo>
                  <a:lnTo>
                    <a:pt x="76" y="826"/>
                  </a:lnTo>
                  <a:lnTo>
                    <a:pt x="76" y="823"/>
                  </a:lnTo>
                  <a:lnTo>
                    <a:pt x="77" y="822"/>
                  </a:lnTo>
                  <a:lnTo>
                    <a:pt x="77" y="816"/>
                  </a:lnTo>
                  <a:lnTo>
                    <a:pt x="75" y="817"/>
                  </a:lnTo>
                  <a:lnTo>
                    <a:pt x="74" y="816"/>
                  </a:lnTo>
                  <a:lnTo>
                    <a:pt x="74" y="813"/>
                  </a:lnTo>
                  <a:lnTo>
                    <a:pt x="75" y="812"/>
                  </a:lnTo>
                  <a:lnTo>
                    <a:pt x="74" y="811"/>
                  </a:lnTo>
                  <a:lnTo>
                    <a:pt x="71" y="816"/>
                  </a:lnTo>
                  <a:lnTo>
                    <a:pt x="71" y="812"/>
                  </a:lnTo>
                  <a:lnTo>
                    <a:pt x="70" y="812"/>
                  </a:lnTo>
                  <a:lnTo>
                    <a:pt x="71" y="811"/>
                  </a:lnTo>
                  <a:lnTo>
                    <a:pt x="71" y="810"/>
                  </a:lnTo>
                  <a:lnTo>
                    <a:pt x="70" y="810"/>
                  </a:lnTo>
                  <a:lnTo>
                    <a:pt x="69" y="811"/>
                  </a:lnTo>
                  <a:lnTo>
                    <a:pt x="68" y="810"/>
                  </a:lnTo>
                  <a:lnTo>
                    <a:pt x="69" y="807"/>
                  </a:lnTo>
                  <a:lnTo>
                    <a:pt x="69" y="806"/>
                  </a:lnTo>
                  <a:lnTo>
                    <a:pt x="68" y="806"/>
                  </a:lnTo>
                  <a:lnTo>
                    <a:pt x="68" y="801"/>
                  </a:lnTo>
                  <a:lnTo>
                    <a:pt x="69" y="800"/>
                  </a:lnTo>
                  <a:lnTo>
                    <a:pt x="69" y="799"/>
                  </a:lnTo>
                  <a:lnTo>
                    <a:pt x="68" y="798"/>
                  </a:lnTo>
                  <a:lnTo>
                    <a:pt x="71" y="794"/>
                  </a:lnTo>
                  <a:lnTo>
                    <a:pt x="71" y="793"/>
                  </a:lnTo>
                  <a:lnTo>
                    <a:pt x="68" y="793"/>
                  </a:lnTo>
                  <a:lnTo>
                    <a:pt x="68" y="790"/>
                  </a:lnTo>
                  <a:lnTo>
                    <a:pt x="67" y="792"/>
                  </a:lnTo>
                  <a:lnTo>
                    <a:pt x="66" y="794"/>
                  </a:lnTo>
                  <a:lnTo>
                    <a:pt x="66" y="792"/>
                  </a:lnTo>
                  <a:lnTo>
                    <a:pt x="67" y="788"/>
                  </a:lnTo>
                  <a:lnTo>
                    <a:pt x="67" y="786"/>
                  </a:lnTo>
                  <a:lnTo>
                    <a:pt x="70" y="782"/>
                  </a:lnTo>
                  <a:lnTo>
                    <a:pt x="70" y="781"/>
                  </a:lnTo>
                  <a:lnTo>
                    <a:pt x="69" y="781"/>
                  </a:lnTo>
                  <a:lnTo>
                    <a:pt x="68" y="780"/>
                  </a:lnTo>
                  <a:lnTo>
                    <a:pt x="68" y="776"/>
                  </a:lnTo>
                  <a:lnTo>
                    <a:pt x="69" y="775"/>
                  </a:lnTo>
                  <a:lnTo>
                    <a:pt x="70" y="776"/>
                  </a:lnTo>
                  <a:lnTo>
                    <a:pt x="71" y="776"/>
                  </a:lnTo>
                  <a:lnTo>
                    <a:pt x="71" y="774"/>
                  </a:lnTo>
                  <a:lnTo>
                    <a:pt x="73" y="771"/>
                  </a:lnTo>
                  <a:lnTo>
                    <a:pt x="73" y="768"/>
                  </a:lnTo>
                  <a:lnTo>
                    <a:pt x="74" y="768"/>
                  </a:lnTo>
                  <a:lnTo>
                    <a:pt x="77" y="770"/>
                  </a:lnTo>
                  <a:lnTo>
                    <a:pt x="77" y="769"/>
                  </a:lnTo>
                  <a:lnTo>
                    <a:pt x="79" y="769"/>
                  </a:lnTo>
                  <a:lnTo>
                    <a:pt x="79" y="768"/>
                  </a:lnTo>
                  <a:lnTo>
                    <a:pt x="80" y="768"/>
                  </a:lnTo>
                  <a:lnTo>
                    <a:pt x="80" y="764"/>
                  </a:lnTo>
                  <a:lnTo>
                    <a:pt x="81" y="762"/>
                  </a:lnTo>
                  <a:lnTo>
                    <a:pt x="82" y="761"/>
                  </a:lnTo>
                  <a:lnTo>
                    <a:pt x="82" y="753"/>
                  </a:lnTo>
                  <a:lnTo>
                    <a:pt x="81" y="753"/>
                  </a:lnTo>
                  <a:lnTo>
                    <a:pt x="81" y="752"/>
                  </a:lnTo>
                  <a:lnTo>
                    <a:pt x="83" y="752"/>
                  </a:lnTo>
                  <a:lnTo>
                    <a:pt x="83" y="750"/>
                  </a:lnTo>
                  <a:lnTo>
                    <a:pt x="85" y="750"/>
                  </a:lnTo>
                  <a:lnTo>
                    <a:pt x="88" y="753"/>
                  </a:lnTo>
                  <a:lnTo>
                    <a:pt x="89" y="753"/>
                  </a:lnTo>
                  <a:lnTo>
                    <a:pt x="91" y="755"/>
                  </a:lnTo>
                  <a:lnTo>
                    <a:pt x="92" y="753"/>
                  </a:lnTo>
                  <a:lnTo>
                    <a:pt x="91" y="751"/>
                  </a:lnTo>
                  <a:lnTo>
                    <a:pt x="87" y="749"/>
                  </a:lnTo>
                  <a:lnTo>
                    <a:pt x="87" y="747"/>
                  </a:lnTo>
                  <a:lnTo>
                    <a:pt x="86" y="746"/>
                  </a:lnTo>
                  <a:lnTo>
                    <a:pt x="87" y="745"/>
                  </a:lnTo>
                  <a:lnTo>
                    <a:pt x="86" y="745"/>
                  </a:lnTo>
                  <a:lnTo>
                    <a:pt x="85" y="744"/>
                  </a:lnTo>
                  <a:lnTo>
                    <a:pt x="85" y="740"/>
                  </a:lnTo>
                  <a:lnTo>
                    <a:pt x="86" y="740"/>
                  </a:lnTo>
                  <a:lnTo>
                    <a:pt x="86" y="739"/>
                  </a:lnTo>
                  <a:lnTo>
                    <a:pt x="85" y="739"/>
                  </a:lnTo>
                  <a:lnTo>
                    <a:pt x="85" y="738"/>
                  </a:lnTo>
                  <a:lnTo>
                    <a:pt x="83" y="737"/>
                  </a:lnTo>
                  <a:lnTo>
                    <a:pt x="86" y="734"/>
                  </a:lnTo>
                  <a:lnTo>
                    <a:pt x="87" y="734"/>
                  </a:lnTo>
                  <a:lnTo>
                    <a:pt x="91" y="738"/>
                  </a:lnTo>
                  <a:lnTo>
                    <a:pt x="91" y="736"/>
                  </a:lnTo>
                  <a:lnTo>
                    <a:pt x="92" y="737"/>
                  </a:lnTo>
                  <a:lnTo>
                    <a:pt x="93" y="737"/>
                  </a:lnTo>
                  <a:lnTo>
                    <a:pt x="94" y="738"/>
                  </a:lnTo>
                  <a:lnTo>
                    <a:pt x="95" y="737"/>
                  </a:lnTo>
                  <a:lnTo>
                    <a:pt x="94" y="737"/>
                  </a:lnTo>
                  <a:lnTo>
                    <a:pt x="93" y="736"/>
                  </a:lnTo>
                  <a:lnTo>
                    <a:pt x="95" y="733"/>
                  </a:lnTo>
                  <a:lnTo>
                    <a:pt x="96" y="734"/>
                  </a:lnTo>
                  <a:lnTo>
                    <a:pt x="98" y="733"/>
                  </a:lnTo>
                  <a:lnTo>
                    <a:pt x="100" y="732"/>
                  </a:lnTo>
                  <a:lnTo>
                    <a:pt x="101" y="732"/>
                  </a:lnTo>
                  <a:lnTo>
                    <a:pt x="100" y="733"/>
                  </a:lnTo>
                  <a:lnTo>
                    <a:pt x="100" y="739"/>
                  </a:lnTo>
                  <a:lnTo>
                    <a:pt x="101" y="740"/>
                  </a:lnTo>
                  <a:lnTo>
                    <a:pt x="105" y="743"/>
                  </a:lnTo>
                  <a:lnTo>
                    <a:pt x="104" y="740"/>
                  </a:lnTo>
                  <a:lnTo>
                    <a:pt x="104" y="739"/>
                  </a:lnTo>
                  <a:lnTo>
                    <a:pt x="105" y="738"/>
                  </a:lnTo>
                  <a:lnTo>
                    <a:pt x="105" y="737"/>
                  </a:lnTo>
                  <a:lnTo>
                    <a:pt x="106" y="736"/>
                  </a:lnTo>
                  <a:lnTo>
                    <a:pt x="106" y="734"/>
                  </a:lnTo>
                  <a:lnTo>
                    <a:pt x="107" y="733"/>
                  </a:lnTo>
                  <a:lnTo>
                    <a:pt x="107" y="734"/>
                  </a:lnTo>
                  <a:lnTo>
                    <a:pt x="108" y="736"/>
                  </a:lnTo>
                  <a:lnTo>
                    <a:pt x="110" y="734"/>
                  </a:lnTo>
                  <a:lnTo>
                    <a:pt x="113" y="734"/>
                  </a:lnTo>
                  <a:lnTo>
                    <a:pt x="116" y="731"/>
                  </a:lnTo>
                  <a:lnTo>
                    <a:pt x="117" y="730"/>
                  </a:lnTo>
                  <a:lnTo>
                    <a:pt x="117" y="728"/>
                  </a:lnTo>
                  <a:lnTo>
                    <a:pt x="118" y="731"/>
                  </a:lnTo>
                  <a:lnTo>
                    <a:pt x="119" y="730"/>
                  </a:lnTo>
                  <a:lnTo>
                    <a:pt x="120" y="727"/>
                  </a:lnTo>
                  <a:lnTo>
                    <a:pt x="120" y="724"/>
                  </a:lnTo>
                  <a:lnTo>
                    <a:pt x="118" y="721"/>
                  </a:lnTo>
                  <a:lnTo>
                    <a:pt x="116" y="718"/>
                  </a:lnTo>
                  <a:lnTo>
                    <a:pt x="114" y="718"/>
                  </a:lnTo>
                  <a:lnTo>
                    <a:pt x="114" y="716"/>
                  </a:lnTo>
                  <a:lnTo>
                    <a:pt x="113" y="715"/>
                  </a:lnTo>
                  <a:lnTo>
                    <a:pt x="113" y="713"/>
                  </a:lnTo>
                  <a:lnTo>
                    <a:pt x="114" y="712"/>
                  </a:lnTo>
                  <a:lnTo>
                    <a:pt x="116" y="712"/>
                  </a:lnTo>
                  <a:lnTo>
                    <a:pt x="117" y="714"/>
                  </a:lnTo>
                  <a:lnTo>
                    <a:pt x="119" y="716"/>
                  </a:lnTo>
                  <a:lnTo>
                    <a:pt x="120" y="716"/>
                  </a:lnTo>
                  <a:lnTo>
                    <a:pt x="122" y="718"/>
                  </a:lnTo>
                  <a:lnTo>
                    <a:pt x="119" y="713"/>
                  </a:lnTo>
                  <a:lnTo>
                    <a:pt x="117" y="710"/>
                  </a:lnTo>
                  <a:lnTo>
                    <a:pt x="117" y="707"/>
                  </a:lnTo>
                  <a:lnTo>
                    <a:pt x="119" y="707"/>
                  </a:lnTo>
                  <a:lnTo>
                    <a:pt x="119" y="710"/>
                  </a:lnTo>
                  <a:lnTo>
                    <a:pt x="122" y="710"/>
                  </a:lnTo>
                  <a:lnTo>
                    <a:pt x="122" y="714"/>
                  </a:lnTo>
                  <a:lnTo>
                    <a:pt x="124" y="712"/>
                  </a:lnTo>
                  <a:lnTo>
                    <a:pt x="123" y="710"/>
                  </a:lnTo>
                  <a:lnTo>
                    <a:pt x="124" y="709"/>
                  </a:lnTo>
                  <a:lnTo>
                    <a:pt x="124" y="708"/>
                  </a:lnTo>
                  <a:lnTo>
                    <a:pt x="125" y="704"/>
                  </a:lnTo>
                  <a:lnTo>
                    <a:pt x="125" y="703"/>
                  </a:lnTo>
                  <a:lnTo>
                    <a:pt x="126" y="702"/>
                  </a:lnTo>
                  <a:lnTo>
                    <a:pt x="126" y="701"/>
                  </a:lnTo>
                  <a:lnTo>
                    <a:pt x="129" y="702"/>
                  </a:lnTo>
                  <a:lnTo>
                    <a:pt x="127" y="701"/>
                  </a:lnTo>
                  <a:lnTo>
                    <a:pt x="126" y="697"/>
                  </a:lnTo>
                  <a:lnTo>
                    <a:pt x="126" y="696"/>
                  </a:lnTo>
                  <a:lnTo>
                    <a:pt x="127" y="696"/>
                  </a:lnTo>
                  <a:lnTo>
                    <a:pt x="127" y="695"/>
                  </a:lnTo>
                  <a:lnTo>
                    <a:pt x="130" y="695"/>
                  </a:lnTo>
                  <a:lnTo>
                    <a:pt x="130" y="690"/>
                  </a:lnTo>
                  <a:lnTo>
                    <a:pt x="131" y="690"/>
                  </a:lnTo>
                  <a:lnTo>
                    <a:pt x="131" y="691"/>
                  </a:lnTo>
                  <a:lnTo>
                    <a:pt x="132" y="691"/>
                  </a:lnTo>
                  <a:lnTo>
                    <a:pt x="132" y="690"/>
                  </a:lnTo>
                  <a:lnTo>
                    <a:pt x="133" y="690"/>
                  </a:lnTo>
                  <a:lnTo>
                    <a:pt x="135" y="691"/>
                  </a:lnTo>
                  <a:lnTo>
                    <a:pt x="135" y="695"/>
                  </a:lnTo>
                  <a:lnTo>
                    <a:pt x="136" y="697"/>
                  </a:lnTo>
                  <a:lnTo>
                    <a:pt x="138" y="697"/>
                  </a:lnTo>
                  <a:lnTo>
                    <a:pt x="138" y="696"/>
                  </a:lnTo>
                  <a:lnTo>
                    <a:pt x="139" y="696"/>
                  </a:lnTo>
                  <a:lnTo>
                    <a:pt x="141" y="695"/>
                  </a:lnTo>
                  <a:lnTo>
                    <a:pt x="141" y="693"/>
                  </a:lnTo>
                  <a:lnTo>
                    <a:pt x="142" y="691"/>
                  </a:lnTo>
                  <a:lnTo>
                    <a:pt x="143" y="691"/>
                  </a:lnTo>
                  <a:lnTo>
                    <a:pt x="143" y="689"/>
                  </a:lnTo>
                  <a:lnTo>
                    <a:pt x="141" y="688"/>
                  </a:lnTo>
                  <a:lnTo>
                    <a:pt x="143" y="688"/>
                  </a:lnTo>
                  <a:lnTo>
                    <a:pt x="142" y="687"/>
                  </a:lnTo>
                  <a:lnTo>
                    <a:pt x="142" y="685"/>
                  </a:lnTo>
                  <a:lnTo>
                    <a:pt x="143" y="687"/>
                  </a:lnTo>
                  <a:lnTo>
                    <a:pt x="144" y="687"/>
                  </a:lnTo>
                  <a:lnTo>
                    <a:pt x="144" y="684"/>
                  </a:lnTo>
                  <a:lnTo>
                    <a:pt x="143" y="683"/>
                  </a:lnTo>
                  <a:lnTo>
                    <a:pt x="143" y="682"/>
                  </a:lnTo>
                  <a:lnTo>
                    <a:pt x="144" y="681"/>
                  </a:lnTo>
                  <a:lnTo>
                    <a:pt x="145" y="681"/>
                  </a:lnTo>
                  <a:lnTo>
                    <a:pt x="145" y="682"/>
                  </a:lnTo>
                  <a:lnTo>
                    <a:pt x="147" y="683"/>
                  </a:lnTo>
                  <a:lnTo>
                    <a:pt x="147" y="684"/>
                  </a:lnTo>
                  <a:lnTo>
                    <a:pt x="148" y="684"/>
                  </a:lnTo>
                  <a:lnTo>
                    <a:pt x="148" y="683"/>
                  </a:lnTo>
                  <a:lnTo>
                    <a:pt x="147" y="682"/>
                  </a:lnTo>
                  <a:lnTo>
                    <a:pt x="147" y="679"/>
                  </a:lnTo>
                  <a:lnTo>
                    <a:pt x="150" y="676"/>
                  </a:lnTo>
                  <a:lnTo>
                    <a:pt x="153" y="676"/>
                  </a:lnTo>
                  <a:lnTo>
                    <a:pt x="154" y="675"/>
                  </a:lnTo>
                  <a:lnTo>
                    <a:pt x="154" y="672"/>
                  </a:lnTo>
                  <a:lnTo>
                    <a:pt x="160" y="672"/>
                  </a:lnTo>
                  <a:lnTo>
                    <a:pt x="161" y="670"/>
                  </a:lnTo>
                  <a:lnTo>
                    <a:pt x="162" y="671"/>
                  </a:lnTo>
                  <a:lnTo>
                    <a:pt x="163" y="671"/>
                  </a:lnTo>
                  <a:lnTo>
                    <a:pt x="164" y="670"/>
                  </a:lnTo>
                  <a:lnTo>
                    <a:pt x="164" y="669"/>
                  </a:lnTo>
                  <a:lnTo>
                    <a:pt x="163" y="667"/>
                  </a:lnTo>
                  <a:lnTo>
                    <a:pt x="163" y="657"/>
                  </a:lnTo>
                  <a:lnTo>
                    <a:pt x="167" y="657"/>
                  </a:lnTo>
                  <a:lnTo>
                    <a:pt x="167" y="658"/>
                  </a:lnTo>
                  <a:lnTo>
                    <a:pt x="170" y="658"/>
                  </a:lnTo>
                  <a:lnTo>
                    <a:pt x="173" y="659"/>
                  </a:lnTo>
                  <a:lnTo>
                    <a:pt x="174" y="658"/>
                  </a:lnTo>
                  <a:lnTo>
                    <a:pt x="172" y="653"/>
                  </a:lnTo>
                  <a:lnTo>
                    <a:pt x="172" y="651"/>
                  </a:lnTo>
                  <a:lnTo>
                    <a:pt x="173" y="652"/>
                  </a:lnTo>
                  <a:lnTo>
                    <a:pt x="174" y="651"/>
                  </a:lnTo>
                  <a:lnTo>
                    <a:pt x="174" y="650"/>
                  </a:lnTo>
                  <a:lnTo>
                    <a:pt x="175" y="650"/>
                  </a:lnTo>
                  <a:lnTo>
                    <a:pt x="175" y="647"/>
                  </a:lnTo>
                  <a:lnTo>
                    <a:pt x="176" y="647"/>
                  </a:lnTo>
                  <a:lnTo>
                    <a:pt x="178" y="646"/>
                  </a:lnTo>
                  <a:lnTo>
                    <a:pt x="178" y="641"/>
                  </a:lnTo>
                  <a:lnTo>
                    <a:pt x="180" y="641"/>
                  </a:lnTo>
                  <a:lnTo>
                    <a:pt x="182" y="640"/>
                  </a:lnTo>
                  <a:lnTo>
                    <a:pt x="182" y="639"/>
                  </a:lnTo>
                  <a:lnTo>
                    <a:pt x="184" y="635"/>
                  </a:lnTo>
                  <a:lnTo>
                    <a:pt x="185" y="636"/>
                  </a:lnTo>
                  <a:lnTo>
                    <a:pt x="186" y="636"/>
                  </a:lnTo>
                  <a:lnTo>
                    <a:pt x="187" y="638"/>
                  </a:lnTo>
                  <a:lnTo>
                    <a:pt x="187" y="636"/>
                  </a:lnTo>
                  <a:lnTo>
                    <a:pt x="186" y="635"/>
                  </a:lnTo>
                  <a:lnTo>
                    <a:pt x="186" y="634"/>
                  </a:lnTo>
                  <a:lnTo>
                    <a:pt x="187" y="633"/>
                  </a:lnTo>
                  <a:lnTo>
                    <a:pt x="187" y="630"/>
                  </a:lnTo>
                  <a:lnTo>
                    <a:pt x="188" y="629"/>
                  </a:lnTo>
                  <a:lnTo>
                    <a:pt x="188" y="628"/>
                  </a:lnTo>
                  <a:lnTo>
                    <a:pt x="189" y="624"/>
                  </a:lnTo>
                  <a:lnTo>
                    <a:pt x="189" y="623"/>
                  </a:lnTo>
                  <a:lnTo>
                    <a:pt x="191" y="623"/>
                  </a:lnTo>
                  <a:lnTo>
                    <a:pt x="193" y="621"/>
                  </a:lnTo>
                  <a:lnTo>
                    <a:pt x="193" y="620"/>
                  </a:lnTo>
                  <a:lnTo>
                    <a:pt x="194" y="620"/>
                  </a:lnTo>
                  <a:lnTo>
                    <a:pt x="194" y="618"/>
                  </a:lnTo>
                  <a:lnTo>
                    <a:pt x="195" y="618"/>
                  </a:lnTo>
                  <a:lnTo>
                    <a:pt x="197" y="617"/>
                  </a:lnTo>
                  <a:lnTo>
                    <a:pt x="199" y="617"/>
                  </a:lnTo>
                  <a:lnTo>
                    <a:pt x="198" y="616"/>
                  </a:lnTo>
                  <a:lnTo>
                    <a:pt x="199" y="615"/>
                  </a:lnTo>
                  <a:lnTo>
                    <a:pt x="199" y="614"/>
                  </a:lnTo>
                  <a:lnTo>
                    <a:pt x="200" y="615"/>
                  </a:lnTo>
                  <a:lnTo>
                    <a:pt x="201" y="614"/>
                  </a:lnTo>
                  <a:lnTo>
                    <a:pt x="201" y="611"/>
                  </a:lnTo>
                  <a:lnTo>
                    <a:pt x="203" y="611"/>
                  </a:lnTo>
                  <a:lnTo>
                    <a:pt x="204" y="610"/>
                  </a:lnTo>
                  <a:lnTo>
                    <a:pt x="205" y="608"/>
                  </a:lnTo>
                  <a:lnTo>
                    <a:pt x="205" y="602"/>
                  </a:lnTo>
                  <a:lnTo>
                    <a:pt x="206" y="601"/>
                  </a:lnTo>
                  <a:lnTo>
                    <a:pt x="207" y="598"/>
                  </a:lnTo>
                  <a:lnTo>
                    <a:pt x="207" y="596"/>
                  </a:lnTo>
                  <a:lnTo>
                    <a:pt x="212" y="591"/>
                  </a:lnTo>
                  <a:lnTo>
                    <a:pt x="212" y="587"/>
                  </a:lnTo>
                  <a:lnTo>
                    <a:pt x="214" y="585"/>
                  </a:lnTo>
                  <a:lnTo>
                    <a:pt x="212" y="583"/>
                  </a:lnTo>
                  <a:lnTo>
                    <a:pt x="214" y="583"/>
                  </a:lnTo>
                  <a:lnTo>
                    <a:pt x="217" y="585"/>
                  </a:lnTo>
                  <a:lnTo>
                    <a:pt x="218" y="585"/>
                  </a:lnTo>
                  <a:lnTo>
                    <a:pt x="218" y="580"/>
                  </a:lnTo>
                  <a:lnTo>
                    <a:pt x="220" y="580"/>
                  </a:lnTo>
                  <a:lnTo>
                    <a:pt x="220" y="578"/>
                  </a:lnTo>
                  <a:lnTo>
                    <a:pt x="222" y="577"/>
                  </a:lnTo>
                  <a:lnTo>
                    <a:pt x="228" y="577"/>
                  </a:lnTo>
                  <a:lnTo>
                    <a:pt x="235" y="572"/>
                  </a:lnTo>
                  <a:lnTo>
                    <a:pt x="236" y="572"/>
                  </a:lnTo>
                  <a:lnTo>
                    <a:pt x="237" y="573"/>
                  </a:lnTo>
                  <a:lnTo>
                    <a:pt x="237" y="574"/>
                  </a:lnTo>
                  <a:lnTo>
                    <a:pt x="238" y="575"/>
                  </a:lnTo>
                  <a:lnTo>
                    <a:pt x="238" y="574"/>
                  </a:lnTo>
                  <a:lnTo>
                    <a:pt x="240" y="575"/>
                  </a:lnTo>
                  <a:lnTo>
                    <a:pt x="240" y="578"/>
                  </a:lnTo>
                  <a:lnTo>
                    <a:pt x="242" y="580"/>
                  </a:lnTo>
                  <a:lnTo>
                    <a:pt x="241" y="581"/>
                  </a:lnTo>
                  <a:lnTo>
                    <a:pt x="243" y="581"/>
                  </a:lnTo>
                  <a:lnTo>
                    <a:pt x="247" y="580"/>
                  </a:lnTo>
                  <a:lnTo>
                    <a:pt x="247" y="572"/>
                  </a:lnTo>
                  <a:lnTo>
                    <a:pt x="245" y="573"/>
                  </a:lnTo>
                  <a:lnTo>
                    <a:pt x="244" y="573"/>
                  </a:lnTo>
                  <a:lnTo>
                    <a:pt x="243" y="571"/>
                  </a:lnTo>
                  <a:lnTo>
                    <a:pt x="242" y="571"/>
                  </a:lnTo>
                  <a:lnTo>
                    <a:pt x="241" y="570"/>
                  </a:lnTo>
                  <a:lnTo>
                    <a:pt x="240" y="567"/>
                  </a:lnTo>
                  <a:lnTo>
                    <a:pt x="240" y="566"/>
                  </a:lnTo>
                  <a:lnTo>
                    <a:pt x="241" y="566"/>
                  </a:lnTo>
                  <a:lnTo>
                    <a:pt x="241" y="565"/>
                  </a:lnTo>
                  <a:lnTo>
                    <a:pt x="245" y="565"/>
                  </a:lnTo>
                  <a:lnTo>
                    <a:pt x="245" y="566"/>
                  </a:lnTo>
                  <a:lnTo>
                    <a:pt x="248" y="567"/>
                  </a:lnTo>
                  <a:lnTo>
                    <a:pt x="249" y="568"/>
                  </a:lnTo>
                  <a:lnTo>
                    <a:pt x="250" y="568"/>
                  </a:lnTo>
                  <a:lnTo>
                    <a:pt x="250" y="566"/>
                  </a:lnTo>
                  <a:lnTo>
                    <a:pt x="249" y="565"/>
                  </a:lnTo>
                  <a:lnTo>
                    <a:pt x="249" y="560"/>
                  </a:lnTo>
                  <a:lnTo>
                    <a:pt x="248" y="559"/>
                  </a:lnTo>
                  <a:lnTo>
                    <a:pt x="248" y="555"/>
                  </a:lnTo>
                  <a:lnTo>
                    <a:pt x="245" y="553"/>
                  </a:lnTo>
                  <a:lnTo>
                    <a:pt x="241" y="552"/>
                  </a:lnTo>
                  <a:lnTo>
                    <a:pt x="241" y="548"/>
                  </a:lnTo>
                  <a:lnTo>
                    <a:pt x="243" y="546"/>
                  </a:lnTo>
                  <a:lnTo>
                    <a:pt x="243" y="544"/>
                  </a:lnTo>
                  <a:lnTo>
                    <a:pt x="244" y="543"/>
                  </a:lnTo>
                  <a:lnTo>
                    <a:pt x="243" y="541"/>
                  </a:lnTo>
                  <a:lnTo>
                    <a:pt x="244" y="542"/>
                  </a:lnTo>
                  <a:lnTo>
                    <a:pt x="244" y="541"/>
                  </a:lnTo>
                  <a:lnTo>
                    <a:pt x="245" y="541"/>
                  </a:lnTo>
                  <a:lnTo>
                    <a:pt x="244" y="540"/>
                  </a:lnTo>
                  <a:lnTo>
                    <a:pt x="244" y="538"/>
                  </a:lnTo>
                  <a:lnTo>
                    <a:pt x="245" y="538"/>
                  </a:lnTo>
                  <a:lnTo>
                    <a:pt x="244" y="537"/>
                  </a:lnTo>
                  <a:lnTo>
                    <a:pt x="243" y="537"/>
                  </a:lnTo>
                  <a:lnTo>
                    <a:pt x="244" y="536"/>
                  </a:lnTo>
                  <a:lnTo>
                    <a:pt x="244" y="534"/>
                  </a:lnTo>
                  <a:lnTo>
                    <a:pt x="245" y="531"/>
                  </a:lnTo>
                  <a:lnTo>
                    <a:pt x="244" y="530"/>
                  </a:lnTo>
                  <a:lnTo>
                    <a:pt x="245" y="530"/>
                  </a:lnTo>
                  <a:lnTo>
                    <a:pt x="245" y="529"/>
                  </a:lnTo>
                  <a:lnTo>
                    <a:pt x="243" y="525"/>
                  </a:lnTo>
                  <a:lnTo>
                    <a:pt x="244" y="525"/>
                  </a:lnTo>
                  <a:lnTo>
                    <a:pt x="247" y="523"/>
                  </a:lnTo>
                  <a:lnTo>
                    <a:pt x="247" y="515"/>
                  </a:lnTo>
                  <a:lnTo>
                    <a:pt x="245" y="512"/>
                  </a:lnTo>
                  <a:lnTo>
                    <a:pt x="240" y="506"/>
                  </a:lnTo>
                  <a:lnTo>
                    <a:pt x="238" y="506"/>
                  </a:lnTo>
                  <a:lnTo>
                    <a:pt x="238" y="507"/>
                  </a:lnTo>
                  <a:lnTo>
                    <a:pt x="236" y="505"/>
                  </a:lnTo>
                  <a:lnTo>
                    <a:pt x="236" y="504"/>
                  </a:lnTo>
                  <a:lnTo>
                    <a:pt x="235" y="503"/>
                  </a:lnTo>
                  <a:lnTo>
                    <a:pt x="235" y="501"/>
                  </a:lnTo>
                  <a:lnTo>
                    <a:pt x="234" y="501"/>
                  </a:lnTo>
                  <a:lnTo>
                    <a:pt x="232" y="500"/>
                  </a:lnTo>
                  <a:lnTo>
                    <a:pt x="229" y="500"/>
                  </a:lnTo>
                  <a:lnTo>
                    <a:pt x="228" y="498"/>
                  </a:lnTo>
                  <a:lnTo>
                    <a:pt x="225" y="497"/>
                  </a:lnTo>
                  <a:lnTo>
                    <a:pt x="223" y="497"/>
                  </a:lnTo>
                  <a:lnTo>
                    <a:pt x="220" y="498"/>
                  </a:lnTo>
                  <a:lnTo>
                    <a:pt x="219" y="499"/>
                  </a:lnTo>
                  <a:lnTo>
                    <a:pt x="218" y="499"/>
                  </a:lnTo>
                  <a:lnTo>
                    <a:pt x="218" y="493"/>
                  </a:lnTo>
                  <a:lnTo>
                    <a:pt x="217" y="493"/>
                  </a:lnTo>
                  <a:lnTo>
                    <a:pt x="214" y="492"/>
                  </a:lnTo>
                  <a:lnTo>
                    <a:pt x="214" y="491"/>
                  </a:lnTo>
                  <a:lnTo>
                    <a:pt x="213" y="489"/>
                  </a:lnTo>
                  <a:lnTo>
                    <a:pt x="213" y="481"/>
                  </a:lnTo>
                  <a:lnTo>
                    <a:pt x="217" y="474"/>
                  </a:lnTo>
                  <a:lnTo>
                    <a:pt x="218" y="473"/>
                  </a:lnTo>
                  <a:lnTo>
                    <a:pt x="219" y="473"/>
                  </a:lnTo>
                  <a:lnTo>
                    <a:pt x="219" y="472"/>
                  </a:lnTo>
                  <a:lnTo>
                    <a:pt x="217" y="473"/>
                  </a:lnTo>
                  <a:lnTo>
                    <a:pt x="216" y="473"/>
                  </a:lnTo>
                  <a:lnTo>
                    <a:pt x="216" y="475"/>
                  </a:lnTo>
                  <a:lnTo>
                    <a:pt x="214" y="476"/>
                  </a:lnTo>
                  <a:lnTo>
                    <a:pt x="212" y="481"/>
                  </a:lnTo>
                  <a:lnTo>
                    <a:pt x="211" y="482"/>
                  </a:lnTo>
                  <a:lnTo>
                    <a:pt x="209" y="482"/>
                  </a:lnTo>
                  <a:lnTo>
                    <a:pt x="207" y="484"/>
                  </a:lnTo>
                  <a:lnTo>
                    <a:pt x="207" y="485"/>
                  </a:lnTo>
                  <a:lnTo>
                    <a:pt x="206" y="486"/>
                  </a:lnTo>
                  <a:lnTo>
                    <a:pt x="205" y="485"/>
                  </a:lnTo>
                  <a:lnTo>
                    <a:pt x="204" y="482"/>
                  </a:lnTo>
                  <a:lnTo>
                    <a:pt x="203" y="482"/>
                  </a:lnTo>
                  <a:lnTo>
                    <a:pt x="201" y="481"/>
                  </a:lnTo>
                  <a:lnTo>
                    <a:pt x="199" y="480"/>
                  </a:lnTo>
                  <a:lnTo>
                    <a:pt x="200" y="481"/>
                  </a:lnTo>
                  <a:lnTo>
                    <a:pt x="200" y="485"/>
                  </a:lnTo>
                  <a:lnTo>
                    <a:pt x="198" y="485"/>
                  </a:lnTo>
                  <a:lnTo>
                    <a:pt x="198" y="484"/>
                  </a:lnTo>
                  <a:lnTo>
                    <a:pt x="197" y="482"/>
                  </a:lnTo>
                  <a:lnTo>
                    <a:pt x="197" y="478"/>
                  </a:lnTo>
                  <a:lnTo>
                    <a:pt x="194" y="475"/>
                  </a:lnTo>
                  <a:lnTo>
                    <a:pt x="194" y="472"/>
                  </a:lnTo>
                  <a:lnTo>
                    <a:pt x="192" y="467"/>
                  </a:lnTo>
                  <a:lnTo>
                    <a:pt x="192" y="463"/>
                  </a:lnTo>
                  <a:lnTo>
                    <a:pt x="191" y="458"/>
                  </a:lnTo>
                  <a:lnTo>
                    <a:pt x="191" y="456"/>
                  </a:lnTo>
                  <a:lnTo>
                    <a:pt x="189" y="456"/>
                  </a:lnTo>
                  <a:lnTo>
                    <a:pt x="189" y="455"/>
                  </a:lnTo>
                  <a:lnTo>
                    <a:pt x="188" y="454"/>
                  </a:lnTo>
                  <a:lnTo>
                    <a:pt x="186" y="446"/>
                  </a:lnTo>
                  <a:lnTo>
                    <a:pt x="185" y="445"/>
                  </a:lnTo>
                  <a:lnTo>
                    <a:pt x="180" y="443"/>
                  </a:lnTo>
                  <a:lnTo>
                    <a:pt x="178" y="441"/>
                  </a:lnTo>
                  <a:lnTo>
                    <a:pt x="176" y="435"/>
                  </a:lnTo>
                  <a:lnTo>
                    <a:pt x="176" y="432"/>
                  </a:lnTo>
                  <a:lnTo>
                    <a:pt x="175" y="430"/>
                  </a:lnTo>
                  <a:lnTo>
                    <a:pt x="175" y="426"/>
                  </a:lnTo>
                  <a:lnTo>
                    <a:pt x="176" y="425"/>
                  </a:lnTo>
                  <a:lnTo>
                    <a:pt x="176" y="424"/>
                  </a:lnTo>
                  <a:lnTo>
                    <a:pt x="175" y="421"/>
                  </a:lnTo>
                  <a:lnTo>
                    <a:pt x="175" y="417"/>
                  </a:lnTo>
                  <a:lnTo>
                    <a:pt x="174" y="415"/>
                  </a:lnTo>
                  <a:lnTo>
                    <a:pt x="175" y="413"/>
                  </a:lnTo>
                  <a:lnTo>
                    <a:pt x="178" y="411"/>
                  </a:lnTo>
                  <a:lnTo>
                    <a:pt x="179" y="411"/>
                  </a:lnTo>
                  <a:lnTo>
                    <a:pt x="179" y="408"/>
                  </a:lnTo>
                  <a:lnTo>
                    <a:pt x="181" y="406"/>
                  </a:lnTo>
                  <a:lnTo>
                    <a:pt x="181" y="405"/>
                  </a:lnTo>
                  <a:lnTo>
                    <a:pt x="184" y="403"/>
                  </a:lnTo>
                  <a:lnTo>
                    <a:pt x="185" y="402"/>
                  </a:lnTo>
                  <a:lnTo>
                    <a:pt x="185" y="392"/>
                  </a:lnTo>
                  <a:lnTo>
                    <a:pt x="186" y="389"/>
                  </a:lnTo>
                  <a:lnTo>
                    <a:pt x="186" y="387"/>
                  </a:lnTo>
                  <a:lnTo>
                    <a:pt x="185" y="383"/>
                  </a:lnTo>
                  <a:lnTo>
                    <a:pt x="185" y="382"/>
                  </a:lnTo>
                  <a:lnTo>
                    <a:pt x="186" y="380"/>
                  </a:lnTo>
                  <a:lnTo>
                    <a:pt x="187" y="378"/>
                  </a:lnTo>
                  <a:lnTo>
                    <a:pt x="188" y="378"/>
                  </a:lnTo>
                  <a:lnTo>
                    <a:pt x="189" y="377"/>
                  </a:lnTo>
                  <a:lnTo>
                    <a:pt x="189" y="376"/>
                  </a:lnTo>
                  <a:lnTo>
                    <a:pt x="188" y="370"/>
                  </a:lnTo>
                  <a:lnTo>
                    <a:pt x="187" y="368"/>
                  </a:lnTo>
                  <a:lnTo>
                    <a:pt x="186" y="366"/>
                  </a:lnTo>
                  <a:lnTo>
                    <a:pt x="185" y="364"/>
                  </a:lnTo>
                  <a:lnTo>
                    <a:pt x="182" y="358"/>
                  </a:lnTo>
                  <a:lnTo>
                    <a:pt x="180" y="356"/>
                  </a:lnTo>
                  <a:lnTo>
                    <a:pt x="179" y="356"/>
                  </a:lnTo>
                  <a:lnTo>
                    <a:pt x="178" y="353"/>
                  </a:lnTo>
                  <a:lnTo>
                    <a:pt x="176" y="350"/>
                  </a:lnTo>
                  <a:lnTo>
                    <a:pt x="175" y="349"/>
                  </a:lnTo>
                  <a:lnTo>
                    <a:pt x="175" y="344"/>
                  </a:lnTo>
                  <a:lnTo>
                    <a:pt x="174" y="341"/>
                  </a:lnTo>
                  <a:lnTo>
                    <a:pt x="172" y="339"/>
                  </a:lnTo>
                  <a:lnTo>
                    <a:pt x="172" y="337"/>
                  </a:lnTo>
                  <a:lnTo>
                    <a:pt x="173" y="335"/>
                  </a:lnTo>
                  <a:lnTo>
                    <a:pt x="173" y="327"/>
                  </a:lnTo>
                  <a:lnTo>
                    <a:pt x="174" y="326"/>
                  </a:lnTo>
                  <a:lnTo>
                    <a:pt x="179" y="325"/>
                  </a:lnTo>
                  <a:lnTo>
                    <a:pt x="180" y="322"/>
                  </a:lnTo>
                  <a:lnTo>
                    <a:pt x="180" y="319"/>
                  </a:lnTo>
                  <a:lnTo>
                    <a:pt x="179" y="317"/>
                  </a:lnTo>
                  <a:lnTo>
                    <a:pt x="179" y="315"/>
                  </a:lnTo>
                  <a:lnTo>
                    <a:pt x="180" y="313"/>
                  </a:lnTo>
                  <a:lnTo>
                    <a:pt x="180" y="310"/>
                  </a:lnTo>
                  <a:lnTo>
                    <a:pt x="179" y="309"/>
                  </a:lnTo>
                  <a:lnTo>
                    <a:pt x="175" y="308"/>
                  </a:lnTo>
                  <a:lnTo>
                    <a:pt x="173" y="307"/>
                  </a:lnTo>
                  <a:lnTo>
                    <a:pt x="168" y="307"/>
                  </a:lnTo>
                  <a:lnTo>
                    <a:pt x="166" y="306"/>
                  </a:lnTo>
                  <a:lnTo>
                    <a:pt x="166" y="301"/>
                  </a:lnTo>
                  <a:lnTo>
                    <a:pt x="168" y="296"/>
                  </a:lnTo>
                  <a:lnTo>
                    <a:pt x="167" y="295"/>
                  </a:lnTo>
                  <a:lnTo>
                    <a:pt x="168" y="294"/>
                  </a:lnTo>
                  <a:lnTo>
                    <a:pt x="170" y="292"/>
                  </a:lnTo>
                  <a:lnTo>
                    <a:pt x="170" y="288"/>
                  </a:lnTo>
                  <a:lnTo>
                    <a:pt x="169" y="284"/>
                  </a:lnTo>
                  <a:lnTo>
                    <a:pt x="169" y="283"/>
                  </a:lnTo>
                  <a:lnTo>
                    <a:pt x="168" y="278"/>
                  </a:lnTo>
                  <a:lnTo>
                    <a:pt x="168" y="259"/>
                  </a:lnTo>
                  <a:lnTo>
                    <a:pt x="169" y="258"/>
                  </a:lnTo>
                  <a:lnTo>
                    <a:pt x="173" y="257"/>
                  </a:lnTo>
                  <a:lnTo>
                    <a:pt x="174" y="255"/>
                  </a:lnTo>
                  <a:lnTo>
                    <a:pt x="175" y="253"/>
                  </a:lnTo>
                  <a:lnTo>
                    <a:pt x="175" y="251"/>
                  </a:lnTo>
                  <a:lnTo>
                    <a:pt x="174" y="249"/>
                  </a:lnTo>
                  <a:lnTo>
                    <a:pt x="172" y="248"/>
                  </a:lnTo>
                  <a:lnTo>
                    <a:pt x="168" y="243"/>
                  </a:lnTo>
                  <a:lnTo>
                    <a:pt x="167" y="242"/>
                  </a:lnTo>
                  <a:lnTo>
                    <a:pt x="163" y="240"/>
                  </a:lnTo>
                  <a:lnTo>
                    <a:pt x="163" y="237"/>
                  </a:lnTo>
                  <a:lnTo>
                    <a:pt x="161" y="230"/>
                  </a:lnTo>
                  <a:lnTo>
                    <a:pt x="161" y="229"/>
                  </a:lnTo>
                  <a:lnTo>
                    <a:pt x="158" y="229"/>
                  </a:lnTo>
                  <a:lnTo>
                    <a:pt x="155" y="231"/>
                  </a:lnTo>
                  <a:lnTo>
                    <a:pt x="154" y="230"/>
                  </a:lnTo>
                  <a:lnTo>
                    <a:pt x="154" y="218"/>
                  </a:lnTo>
                  <a:lnTo>
                    <a:pt x="151" y="216"/>
                  </a:lnTo>
                  <a:lnTo>
                    <a:pt x="151" y="215"/>
                  </a:lnTo>
                  <a:lnTo>
                    <a:pt x="150" y="215"/>
                  </a:lnTo>
                  <a:lnTo>
                    <a:pt x="150" y="212"/>
                  </a:lnTo>
                  <a:lnTo>
                    <a:pt x="149" y="211"/>
                  </a:lnTo>
                  <a:lnTo>
                    <a:pt x="143" y="208"/>
                  </a:lnTo>
                  <a:lnTo>
                    <a:pt x="142" y="205"/>
                  </a:lnTo>
                  <a:lnTo>
                    <a:pt x="141" y="202"/>
                  </a:lnTo>
                  <a:lnTo>
                    <a:pt x="139" y="200"/>
                  </a:lnTo>
                  <a:lnTo>
                    <a:pt x="137" y="202"/>
                  </a:lnTo>
                  <a:lnTo>
                    <a:pt x="136" y="200"/>
                  </a:lnTo>
                  <a:lnTo>
                    <a:pt x="135" y="198"/>
                  </a:lnTo>
                  <a:lnTo>
                    <a:pt x="133" y="197"/>
                  </a:lnTo>
                  <a:lnTo>
                    <a:pt x="131" y="197"/>
                  </a:lnTo>
                  <a:lnTo>
                    <a:pt x="129" y="196"/>
                  </a:lnTo>
                  <a:lnTo>
                    <a:pt x="127" y="196"/>
                  </a:lnTo>
                  <a:lnTo>
                    <a:pt x="124" y="193"/>
                  </a:lnTo>
                  <a:lnTo>
                    <a:pt x="120" y="193"/>
                  </a:lnTo>
                  <a:lnTo>
                    <a:pt x="122" y="192"/>
                  </a:lnTo>
                  <a:lnTo>
                    <a:pt x="120" y="192"/>
                  </a:lnTo>
                  <a:lnTo>
                    <a:pt x="118" y="191"/>
                  </a:lnTo>
                  <a:lnTo>
                    <a:pt x="108" y="191"/>
                  </a:lnTo>
                  <a:lnTo>
                    <a:pt x="107" y="190"/>
                  </a:lnTo>
                  <a:lnTo>
                    <a:pt x="107" y="187"/>
                  </a:lnTo>
                  <a:lnTo>
                    <a:pt x="106" y="187"/>
                  </a:lnTo>
                  <a:lnTo>
                    <a:pt x="106" y="186"/>
                  </a:lnTo>
                  <a:lnTo>
                    <a:pt x="104" y="184"/>
                  </a:lnTo>
                  <a:lnTo>
                    <a:pt x="104" y="183"/>
                  </a:lnTo>
                  <a:lnTo>
                    <a:pt x="101" y="180"/>
                  </a:lnTo>
                  <a:lnTo>
                    <a:pt x="94" y="178"/>
                  </a:lnTo>
                  <a:lnTo>
                    <a:pt x="93" y="174"/>
                  </a:lnTo>
                  <a:lnTo>
                    <a:pt x="91" y="173"/>
                  </a:lnTo>
                  <a:lnTo>
                    <a:pt x="87" y="169"/>
                  </a:lnTo>
                  <a:lnTo>
                    <a:pt x="83" y="168"/>
                  </a:lnTo>
                  <a:lnTo>
                    <a:pt x="82" y="167"/>
                  </a:lnTo>
                  <a:lnTo>
                    <a:pt x="82" y="166"/>
                  </a:lnTo>
                  <a:lnTo>
                    <a:pt x="81" y="162"/>
                  </a:lnTo>
                  <a:lnTo>
                    <a:pt x="81" y="161"/>
                  </a:lnTo>
                  <a:lnTo>
                    <a:pt x="80" y="160"/>
                  </a:lnTo>
                  <a:lnTo>
                    <a:pt x="80" y="159"/>
                  </a:lnTo>
                  <a:lnTo>
                    <a:pt x="75" y="159"/>
                  </a:lnTo>
                  <a:lnTo>
                    <a:pt x="75" y="156"/>
                  </a:lnTo>
                  <a:lnTo>
                    <a:pt x="73" y="151"/>
                  </a:lnTo>
                  <a:lnTo>
                    <a:pt x="69" y="149"/>
                  </a:lnTo>
                  <a:lnTo>
                    <a:pt x="66" y="145"/>
                  </a:lnTo>
                  <a:lnTo>
                    <a:pt x="60" y="142"/>
                  </a:lnTo>
                  <a:lnTo>
                    <a:pt x="58" y="141"/>
                  </a:lnTo>
                  <a:lnTo>
                    <a:pt x="58" y="138"/>
                  </a:lnTo>
                  <a:lnTo>
                    <a:pt x="60" y="138"/>
                  </a:lnTo>
                  <a:lnTo>
                    <a:pt x="61" y="136"/>
                  </a:lnTo>
                  <a:lnTo>
                    <a:pt x="61" y="134"/>
                  </a:lnTo>
                  <a:lnTo>
                    <a:pt x="60" y="132"/>
                  </a:lnTo>
                  <a:lnTo>
                    <a:pt x="57" y="131"/>
                  </a:lnTo>
                  <a:lnTo>
                    <a:pt x="55" y="129"/>
                  </a:lnTo>
                  <a:lnTo>
                    <a:pt x="49" y="128"/>
                  </a:lnTo>
                  <a:lnTo>
                    <a:pt x="48" y="125"/>
                  </a:lnTo>
                  <a:lnTo>
                    <a:pt x="51" y="118"/>
                  </a:lnTo>
                  <a:lnTo>
                    <a:pt x="52" y="118"/>
                  </a:lnTo>
                  <a:lnTo>
                    <a:pt x="64" y="125"/>
                  </a:lnTo>
                  <a:lnTo>
                    <a:pt x="67" y="125"/>
                  </a:lnTo>
                  <a:lnTo>
                    <a:pt x="69" y="119"/>
                  </a:lnTo>
                  <a:lnTo>
                    <a:pt x="64" y="108"/>
                  </a:lnTo>
                  <a:lnTo>
                    <a:pt x="66" y="105"/>
                  </a:lnTo>
                  <a:lnTo>
                    <a:pt x="67" y="103"/>
                  </a:lnTo>
                  <a:lnTo>
                    <a:pt x="67" y="101"/>
                  </a:lnTo>
                  <a:lnTo>
                    <a:pt x="76" y="95"/>
                  </a:lnTo>
                  <a:lnTo>
                    <a:pt x="89" y="98"/>
                  </a:lnTo>
                  <a:lnTo>
                    <a:pt x="91" y="99"/>
                  </a:lnTo>
                  <a:lnTo>
                    <a:pt x="102" y="123"/>
                  </a:lnTo>
                  <a:lnTo>
                    <a:pt x="106" y="129"/>
                  </a:lnTo>
                  <a:lnTo>
                    <a:pt x="112" y="135"/>
                  </a:lnTo>
                  <a:lnTo>
                    <a:pt x="112" y="137"/>
                  </a:lnTo>
                  <a:lnTo>
                    <a:pt x="113" y="140"/>
                  </a:lnTo>
                  <a:lnTo>
                    <a:pt x="113" y="141"/>
                  </a:lnTo>
                  <a:lnTo>
                    <a:pt x="117" y="147"/>
                  </a:lnTo>
                  <a:lnTo>
                    <a:pt x="120" y="149"/>
                  </a:lnTo>
                  <a:lnTo>
                    <a:pt x="120" y="150"/>
                  </a:lnTo>
                  <a:lnTo>
                    <a:pt x="122" y="161"/>
                  </a:lnTo>
                  <a:lnTo>
                    <a:pt x="123" y="163"/>
                  </a:lnTo>
                  <a:lnTo>
                    <a:pt x="127" y="162"/>
                  </a:lnTo>
                  <a:lnTo>
                    <a:pt x="130" y="162"/>
                  </a:lnTo>
                  <a:lnTo>
                    <a:pt x="141" y="168"/>
                  </a:lnTo>
                  <a:lnTo>
                    <a:pt x="148" y="167"/>
                  </a:lnTo>
                  <a:lnTo>
                    <a:pt x="150" y="167"/>
                  </a:lnTo>
                  <a:lnTo>
                    <a:pt x="151" y="168"/>
                  </a:lnTo>
                  <a:lnTo>
                    <a:pt x="155" y="174"/>
                  </a:lnTo>
                  <a:lnTo>
                    <a:pt x="156" y="174"/>
                  </a:lnTo>
                  <a:lnTo>
                    <a:pt x="168" y="167"/>
                  </a:lnTo>
                  <a:lnTo>
                    <a:pt x="174" y="166"/>
                  </a:lnTo>
                  <a:lnTo>
                    <a:pt x="179" y="163"/>
                  </a:lnTo>
                  <a:lnTo>
                    <a:pt x="181" y="154"/>
                  </a:lnTo>
                  <a:lnTo>
                    <a:pt x="184" y="151"/>
                  </a:lnTo>
                  <a:lnTo>
                    <a:pt x="187" y="151"/>
                  </a:lnTo>
                  <a:lnTo>
                    <a:pt x="195" y="156"/>
                  </a:lnTo>
                  <a:lnTo>
                    <a:pt x="197" y="159"/>
                  </a:lnTo>
                  <a:lnTo>
                    <a:pt x="198" y="160"/>
                  </a:lnTo>
                  <a:lnTo>
                    <a:pt x="204" y="165"/>
                  </a:lnTo>
                  <a:lnTo>
                    <a:pt x="210" y="166"/>
                  </a:lnTo>
                  <a:lnTo>
                    <a:pt x="218" y="169"/>
                  </a:lnTo>
                  <a:lnTo>
                    <a:pt x="222" y="172"/>
                  </a:lnTo>
                  <a:lnTo>
                    <a:pt x="224" y="178"/>
                  </a:lnTo>
                  <a:lnTo>
                    <a:pt x="226" y="181"/>
                  </a:lnTo>
                  <a:lnTo>
                    <a:pt x="226" y="183"/>
                  </a:lnTo>
                  <a:lnTo>
                    <a:pt x="229" y="180"/>
                  </a:lnTo>
                  <a:lnTo>
                    <a:pt x="229" y="178"/>
                  </a:lnTo>
                  <a:lnTo>
                    <a:pt x="231" y="175"/>
                  </a:lnTo>
                  <a:lnTo>
                    <a:pt x="232" y="175"/>
                  </a:lnTo>
                  <a:lnTo>
                    <a:pt x="235" y="173"/>
                  </a:lnTo>
                  <a:lnTo>
                    <a:pt x="236" y="173"/>
                  </a:lnTo>
                  <a:lnTo>
                    <a:pt x="237" y="172"/>
                  </a:lnTo>
                  <a:lnTo>
                    <a:pt x="238" y="169"/>
                  </a:lnTo>
                  <a:lnTo>
                    <a:pt x="237" y="168"/>
                  </a:lnTo>
                  <a:lnTo>
                    <a:pt x="237" y="167"/>
                  </a:lnTo>
                  <a:lnTo>
                    <a:pt x="238" y="166"/>
                  </a:lnTo>
                  <a:lnTo>
                    <a:pt x="238" y="155"/>
                  </a:lnTo>
                  <a:lnTo>
                    <a:pt x="241" y="151"/>
                  </a:lnTo>
                  <a:lnTo>
                    <a:pt x="248" y="144"/>
                  </a:lnTo>
                  <a:lnTo>
                    <a:pt x="250" y="143"/>
                  </a:lnTo>
                  <a:lnTo>
                    <a:pt x="251" y="143"/>
                  </a:lnTo>
                  <a:lnTo>
                    <a:pt x="257" y="145"/>
                  </a:lnTo>
                  <a:lnTo>
                    <a:pt x="260" y="143"/>
                  </a:lnTo>
                  <a:lnTo>
                    <a:pt x="260" y="141"/>
                  </a:lnTo>
                  <a:lnTo>
                    <a:pt x="261" y="138"/>
                  </a:lnTo>
                  <a:lnTo>
                    <a:pt x="263" y="136"/>
                  </a:lnTo>
                  <a:lnTo>
                    <a:pt x="263" y="132"/>
                  </a:lnTo>
                  <a:lnTo>
                    <a:pt x="266" y="131"/>
                  </a:lnTo>
                  <a:lnTo>
                    <a:pt x="266" y="128"/>
                  </a:lnTo>
                  <a:lnTo>
                    <a:pt x="265" y="128"/>
                  </a:lnTo>
                  <a:lnTo>
                    <a:pt x="265" y="125"/>
                  </a:lnTo>
                  <a:lnTo>
                    <a:pt x="263" y="123"/>
                  </a:lnTo>
                  <a:lnTo>
                    <a:pt x="263" y="116"/>
                  </a:lnTo>
                  <a:lnTo>
                    <a:pt x="265" y="116"/>
                  </a:lnTo>
                  <a:lnTo>
                    <a:pt x="265" y="113"/>
                  </a:lnTo>
                  <a:lnTo>
                    <a:pt x="263" y="111"/>
                  </a:lnTo>
                  <a:lnTo>
                    <a:pt x="262" y="107"/>
                  </a:lnTo>
                  <a:lnTo>
                    <a:pt x="263" y="104"/>
                  </a:lnTo>
                  <a:lnTo>
                    <a:pt x="265" y="94"/>
                  </a:lnTo>
                  <a:lnTo>
                    <a:pt x="265" y="93"/>
                  </a:lnTo>
                  <a:lnTo>
                    <a:pt x="268" y="86"/>
                  </a:lnTo>
                  <a:lnTo>
                    <a:pt x="268" y="85"/>
                  </a:lnTo>
                  <a:lnTo>
                    <a:pt x="267" y="80"/>
                  </a:lnTo>
                  <a:lnTo>
                    <a:pt x="268" y="77"/>
                  </a:lnTo>
                  <a:lnTo>
                    <a:pt x="269" y="76"/>
                  </a:lnTo>
                  <a:lnTo>
                    <a:pt x="269" y="71"/>
                  </a:lnTo>
                  <a:lnTo>
                    <a:pt x="271" y="70"/>
                  </a:lnTo>
                  <a:lnTo>
                    <a:pt x="269" y="69"/>
                  </a:lnTo>
                  <a:lnTo>
                    <a:pt x="269" y="67"/>
                  </a:lnTo>
                  <a:lnTo>
                    <a:pt x="272" y="64"/>
                  </a:lnTo>
                  <a:lnTo>
                    <a:pt x="274" y="60"/>
                  </a:lnTo>
                  <a:lnTo>
                    <a:pt x="274" y="57"/>
                  </a:lnTo>
                  <a:lnTo>
                    <a:pt x="273" y="55"/>
                  </a:lnTo>
                  <a:lnTo>
                    <a:pt x="273" y="54"/>
                  </a:lnTo>
                  <a:lnTo>
                    <a:pt x="272" y="52"/>
                  </a:lnTo>
                  <a:lnTo>
                    <a:pt x="273" y="51"/>
                  </a:lnTo>
                  <a:lnTo>
                    <a:pt x="273" y="49"/>
                  </a:lnTo>
                  <a:lnTo>
                    <a:pt x="275" y="46"/>
                  </a:lnTo>
                  <a:lnTo>
                    <a:pt x="281" y="45"/>
                  </a:lnTo>
                  <a:lnTo>
                    <a:pt x="282" y="44"/>
                  </a:lnTo>
                  <a:lnTo>
                    <a:pt x="282" y="43"/>
                  </a:lnTo>
                  <a:lnTo>
                    <a:pt x="284" y="43"/>
                  </a:lnTo>
                  <a:lnTo>
                    <a:pt x="285" y="39"/>
                  </a:lnTo>
                  <a:lnTo>
                    <a:pt x="287" y="34"/>
                  </a:lnTo>
                  <a:lnTo>
                    <a:pt x="292" y="30"/>
                  </a:lnTo>
                  <a:lnTo>
                    <a:pt x="293" y="27"/>
                  </a:lnTo>
                  <a:lnTo>
                    <a:pt x="292" y="25"/>
                  </a:lnTo>
                  <a:lnTo>
                    <a:pt x="293" y="24"/>
                  </a:lnTo>
                  <a:lnTo>
                    <a:pt x="296" y="19"/>
                  </a:lnTo>
                  <a:lnTo>
                    <a:pt x="297" y="19"/>
                  </a:lnTo>
                  <a:lnTo>
                    <a:pt x="304" y="18"/>
                  </a:lnTo>
                  <a:lnTo>
                    <a:pt x="306" y="18"/>
                  </a:lnTo>
                  <a:lnTo>
                    <a:pt x="310" y="17"/>
                  </a:lnTo>
                  <a:lnTo>
                    <a:pt x="315" y="19"/>
                  </a:lnTo>
                  <a:lnTo>
                    <a:pt x="317" y="19"/>
                  </a:lnTo>
                  <a:lnTo>
                    <a:pt x="319" y="21"/>
                  </a:lnTo>
                  <a:lnTo>
                    <a:pt x="321" y="21"/>
                  </a:lnTo>
                  <a:lnTo>
                    <a:pt x="329" y="18"/>
                  </a:lnTo>
                  <a:lnTo>
                    <a:pt x="331" y="15"/>
                  </a:lnTo>
                  <a:lnTo>
                    <a:pt x="330" y="15"/>
                  </a:lnTo>
                  <a:lnTo>
                    <a:pt x="330" y="13"/>
                  </a:lnTo>
                  <a:lnTo>
                    <a:pt x="332" y="13"/>
                  </a:lnTo>
                  <a:lnTo>
                    <a:pt x="335" y="9"/>
                  </a:lnTo>
                  <a:lnTo>
                    <a:pt x="340" y="7"/>
                  </a:lnTo>
                  <a:lnTo>
                    <a:pt x="340" y="5"/>
                  </a:lnTo>
                  <a:lnTo>
                    <a:pt x="342" y="2"/>
                  </a:lnTo>
                  <a:lnTo>
                    <a:pt x="344" y="1"/>
                  </a:lnTo>
                  <a:lnTo>
                    <a:pt x="349" y="2"/>
                  </a:lnTo>
                  <a:lnTo>
                    <a:pt x="353" y="0"/>
                  </a:lnTo>
                  <a:close/>
                </a:path>
              </a:pathLst>
            </a:custGeom>
            <a:solidFill>
              <a:schemeClr val="accent6">
                <a:lumMod val="95000"/>
              </a:schemeClr>
            </a:solidFill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45">
              <a:extLst>
                <a:ext uri="{FF2B5EF4-FFF2-40B4-BE49-F238E27FC236}">
                  <a16:creationId xmlns:a16="http://schemas.microsoft.com/office/drawing/2014/main" id="{832E57C8-FB86-462F-9D6C-512EE983C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35425" y="2946400"/>
              <a:ext cx="90488" cy="142875"/>
            </a:xfrm>
            <a:custGeom>
              <a:avLst/>
              <a:gdLst/>
              <a:ahLst/>
              <a:cxnLst>
                <a:cxn ang="0">
                  <a:pos x="41" y="90"/>
                </a:cxn>
                <a:cxn ang="0">
                  <a:pos x="38" y="85"/>
                </a:cxn>
                <a:cxn ang="0">
                  <a:pos x="35" y="84"/>
                </a:cxn>
                <a:cxn ang="0">
                  <a:pos x="32" y="69"/>
                </a:cxn>
                <a:cxn ang="0">
                  <a:pos x="39" y="74"/>
                </a:cxn>
                <a:cxn ang="0">
                  <a:pos x="37" y="76"/>
                </a:cxn>
                <a:cxn ang="0">
                  <a:pos x="40" y="82"/>
                </a:cxn>
                <a:cxn ang="0">
                  <a:pos x="32" y="80"/>
                </a:cxn>
                <a:cxn ang="0">
                  <a:pos x="28" y="70"/>
                </a:cxn>
                <a:cxn ang="0">
                  <a:pos x="31" y="67"/>
                </a:cxn>
                <a:cxn ang="0">
                  <a:pos x="37" y="45"/>
                </a:cxn>
                <a:cxn ang="0">
                  <a:pos x="41" y="50"/>
                </a:cxn>
                <a:cxn ang="0">
                  <a:pos x="40" y="58"/>
                </a:cxn>
                <a:cxn ang="0">
                  <a:pos x="32" y="50"/>
                </a:cxn>
                <a:cxn ang="0">
                  <a:pos x="2" y="25"/>
                </a:cxn>
                <a:cxn ang="0">
                  <a:pos x="1" y="25"/>
                </a:cxn>
                <a:cxn ang="0">
                  <a:pos x="21" y="25"/>
                </a:cxn>
                <a:cxn ang="0">
                  <a:pos x="20" y="31"/>
                </a:cxn>
                <a:cxn ang="0">
                  <a:pos x="17" y="30"/>
                </a:cxn>
                <a:cxn ang="0">
                  <a:pos x="10" y="30"/>
                </a:cxn>
                <a:cxn ang="0">
                  <a:pos x="9" y="26"/>
                </a:cxn>
                <a:cxn ang="0">
                  <a:pos x="13" y="24"/>
                </a:cxn>
                <a:cxn ang="0">
                  <a:pos x="57" y="8"/>
                </a:cxn>
                <a:cxn ang="0">
                  <a:pos x="52" y="11"/>
                </a:cxn>
                <a:cxn ang="0">
                  <a:pos x="22" y="8"/>
                </a:cxn>
                <a:cxn ang="0">
                  <a:pos x="28" y="19"/>
                </a:cxn>
                <a:cxn ang="0">
                  <a:pos x="34" y="26"/>
                </a:cxn>
                <a:cxn ang="0">
                  <a:pos x="38" y="31"/>
                </a:cxn>
                <a:cxn ang="0">
                  <a:pos x="39" y="41"/>
                </a:cxn>
                <a:cxn ang="0">
                  <a:pos x="29" y="31"/>
                </a:cxn>
                <a:cxn ang="0">
                  <a:pos x="26" y="25"/>
                </a:cxn>
                <a:cxn ang="0">
                  <a:pos x="19" y="23"/>
                </a:cxn>
                <a:cxn ang="0">
                  <a:pos x="17" y="18"/>
                </a:cxn>
                <a:cxn ang="0">
                  <a:pos x="19" y="7"/>
                </a:cxn>
                <a:cxn ang="0">
                  <a:pos x="31" y="8"/>
                </a:cxn>
                <a:cxn ang="0">
                  <a:pos x="33" y="10"/>
                </a:cxn>
                <a:cxn ang="0">
                  <a:pos x="38" y="13"/>
                </a:cxn>
                <a:cxn ang="0">
                  <a:pos x="38" y="18"/>
                </a:cxn>
                <a:cxn ang="0">
                  <a:pos x="41" y="23"/>
                </a:cxn>
                <a:cxn ang="0">
                  <a:pos x="39" y="27"/>
                </a:cxn>
                <a:cxn ang="0">
                  <a:pos x="34" y="18"/>
                </a:cxn>
                <a:cxn ang="0">
                  <a:pos x="33" y="21"/>
                </a:cxn>
                <a:cxn ang="0">
                  <a:pos x="26" y="14"/>
                </a:cxn>
                <a:cxn ang="0">
                  <a:pos x="27" y="6"/>
                </a:cxn>
                <a:cxn ang="0">
                  <a:pos x="52" y="12"/>
                </a:cxn>
                <a:cxn ang="0">
                  <a:pos x="47" y="13"/>
                </a:cxn>
                <a:cxn ang="0">
                  <a:pos x="51" y="19"/>
                </a:cxn>
                <a:cxn ang="0">
                  <a:pos x="47" y="18"/>
                </a:cxn>
                <a:cxn ang="0">
                  <a:pos x="45" y="13"/>
                </a:cxn>
                <a:cxn ang="0">
                  <a:pos x="46" y="2"/>
                </a:cxn>
                <a:cxn ang="0">
                  <a:pos x="44" y="10"/>
                </a:cxn>
                <a:cxn ang="0">
                  <a:pos x="41" y="10"/>
                </a:cxn>
                <a:cxn ang="0">
                  <a:pos x="38" y="6"/>
                </a:cxn>
                <a:cxn ang="0">
                  <a:pos x="39" y="12"/>
                </a:cxn>
                <a:cxn ang="0">
                  <a:pos x="35" y="4"/>
                </a:cxn>
                <a:cxn ang="0">
                  <a:pos x="48" y="4"/>
                </a:cxn>
                <a:cxn ang="0">
                  <a:pos x="52" y="6"/>
                </a:cxn>
                <a:cxn ang="0">
                  <a:pos x="46" y="2"/>
                </a:cxn>
              </a:cxnLst>
              <a:rect l="0" t="0" r="r" b="b"/>
              <a:pathLst>
                <a:path w="57" h="90">
                  <a:moveTo>
                    <a:pt x="38" y="84"/>
                  </a:moveTo>
                  <a:lnTo>
                    <a:pt x="40" y="84"/>
                  </a:lnTo>
                  <a:lnTo>
                    <a:pt x="40" y="86"/>
                  </a:lnTo>
                  <a:lnTo>
                    <a:pt x="41" y="87"/>
                  </a:lnTo>
                  <a:lnTo>
                    <a:pt x="41" y="90"/>
                  </a:lnTo>
                  <a:lnTo>
                    <a:pt x="40" y="90"/>
                  </a:lnTo>
                  <a:lnTo>
                    <a:pt x="39" y="88"/>
                  </a:lnTo>
                  <a:lnTo>
                    <a:pt x="38" y="86"/>
                  </a:lnTo>
                  <a:lnTo>
                    <a:pt x="37" y="85"/>
                  </a:lnTo>
                  <a:lnTo>
                    <a:pt x="38" y="85"/>
                  </a:lnTo>
                  <a:lnTo>
                    <a:pt x="38" y="84"/>
                  </a:lnTo>
                  <a:close/>
                  <a:moveTo>
                    <a:pt x="35" y="84"/>
                  </a:moveTo>
                  <a:lnTo>
                    <a:pt x="37" y="84"/>
                  </a:lnTo>
                  <a:lnTo>
                    <a:pt x="37" y="85"/>
                  </a:lnTo>
                  <a:lnTo>
                    <a:pt x="35" y="84"/>
                  </a:lnTo>
                  <a:close/>
                  <a:moveTo>
                    <a:pt x="31" y="67"/>
                  </a:moveTo>
                  <a:lnTo>
                    <a:pt x="32" y="68"/>
                  </a:lnTo>
                  <a:lnTo>
                    <a:pt x="31" y="68"/>
                  </a:lnTo>
                  <a:lnTo>
                    <a:pt x="31" y="69"/>
                  </a:lnTo>
                  <a:lnTo>
                    <a:pt x="32" y="69"/>
                  </a:lnTo>
                  <a:lnTo>
                    <a:pt x="31" y="72"/>
                  </a:lnTo>
                  <a:lnTo>
                    <a:pt x="34" y="72"/>
                  </a:lnTo>
                  <a:lnTo>
                    <a:pt x="35" y="73"/>
                  </a:lnTo>
                  <a:lnTo>
                    <a:pt x="38" y="73"/>
                  </a:lnTo>
                  <a:lnTo>
                    <a:pt x="39" y="74"/>
                  </a:lnTo>
                  <a:lnTo>
                    <a:pt x="39" y="75"/>
                  </a:lnTo>
                  <a:lnTo>
                    <a:pt x="38" y="76"/>
                  </a:lnTo>
                  <a:lnTo>
                    <a:pt x="37" y="75"/>
                  </a:lnTo>
                  <a:lnTo>
                    <a:pt x="35" y="75"/>
                  </a:lnTo>
                  <a:lnTo>
                    <a:pt x="37" y="76"/>
                  </a:lnTo>
                  <a:lnTo>
                    <a:pt x="37" y="78"/>
                  </a:lnTo>
                  <a:lnTo>
                    <a:pt x="39" y="78"/>
                  </a:lnTo>
                  <a:lnTo>
                    <a:pt x="39" y="80"/>
                  </a:lnTo>
                  <a:lnTo>
                    <a:pt x="40" y="81"/>
                  </a:lnTo>
                  <a:lnTo>
                    <a:pt x="40" y="82"/>
                  </a:lnTo>
                  <a:lnTo>
                    <a:pt x="38" y="82"/>
                  </a:lnTo>
                  <a:lnTo>
                    <a:pt x="37" y="84"/>
                  </a:lnTo>
                  <a:lnTo>
                    <a:pt x="35" y="82"/>
                  </a:lnTo>
                  <a:lnTo>
                    <a:pt x="35" y="84"/>
                  </a:lnTo>
                  <a:lnTo>
                    <a:pt x="32" y="80"/>
                  </a:lnTo>
                  <a:lnTo>
                    <a:pt x="32" y="78"/>
                  </a:lnTo>
                  <a:lnTo>
                    <a:pt x="31" y="76"/>
                  </a:lnTo>
                  <a:lnTo>
                    <a:pt x="29" y="74"/>
                  </a:lnTo>
                  <a:lnTo>
                    <a:pt x="29" y="72"/>
                  </a:lnTo>
                  <a:lnTo>
                    <a:pt x="28" y="70"/>
                  </a:lnTo>
                  <a:lnTo>
                    <a:pt x="28" y="69"/>
                  </a:lnTo>
                  <a:lnTo>
                    <a:pt x="29" y="69"/>
                  </a:lnTo>
                  <a:lnTo>
                    <a:pt x="29" y="68"/>
                  </a:lnTo>
                  <a:lnTo>
                    <a:pt x="28" y="68"/>
                  </a:lnTo>
                  <a:lnTo>
                    <a:pt x="31" y="67"/>
                  </a:lnTo>
                  <a:close/>
                  <a:moveTo>
                    <a:pt x="31" y="44"/>
                  </a:moveTo>
                  <a:lnTo>
                    <a:pt x="33" y="44"/>
                  </a:lnTo>
                  <a:lnTo>
                    <a:pt x="34" y="45"/>
                  </a:lnTo>
                  <a:lnTo>
                    <a:pt x="35" y="44"/>
                  </a:lnTo>
                  <a:lnTo>
                    <a:pt x="37" y="45"/>
                  </a:lnTo>
                  <a:lnTo>
                    <a:pt x="37" y="47"/>
                  </a:lnTo>
                  <a:lnTo>
                    <a:pt x="38" y="47"/>
                  </a:lnTo>
                  <a:lnTo>
                    <a:pt x="40" y="48"/>
                  </a:lnTo>
                  <a:lnTo>
                    <a:pt x="41" y="48"/>
                  </a:lnTo>
                  <a:lnTo>
                    <a:pt x="41" y="50"/>
                  </a:lnTo>
                  <a:lnTo>
                    <a:pt x="42" y="51"/>
                  </a:lnTo>
                  <a:lnTo>
                    <a:pt x="42" y="57"/>
                  </a:lnTo>
                  <a:lnTo>
                    <a:pt x="41" y="57"/>
                  </a:lnTo>
                  <a:lnTo>
                    <a:pt x="41" y="58"/>
                  </a:lnTo>
                  <a:lnTo>
                    <a:pt x="40" y="58"/>
                  </a:lnTo>
                  <a:lnTo>
                    <a:pt x="38" y="53"/>
                  </a:lnTo>
                  <a:lnTo>
                    <a:pt x="38" y="51"/>
                  </a:lnTo>
                  <a:lnTo>
                    <a:pt x="33" y="51"/>
                  </a:lnTo>
                  <a:lnTo>
                    <a:pt x="33" y="50"/>
                  </a:lnTo>
                  <a:lnTo>
                    <a:pt x="32" y="50"/>
                  </a:lnTo>
                  <a:lnTo>
                    <a:pt x="32" y="48"/>
                  </a:lnTo>
                  <a:lnTo>
                    <a:pt x="31" y="45"/>
                  </a:lnTo>
                  <a:lnTo>
                    <a:pt x="31" y="44"/>
                  </a:lnTo>
                  <a:close/>
                  <a:moveTo>
                    <a:pt x="1" y="25"/>
                  </a:moveTo>
                  <a:lnTo>
                    <a:pt x="2" y="25"/>
                  </a:lnTo>
                  <a:lnTo>
                    <a:pt x="3" y="26"/>
                  </a:lnTo>
                  <a:lnTo>
                    <a:pt x="4" y="26"/>
                  </a:lnTo>
                  <a:lnTo>
                    <a:pt x="3" y="27"/>
                  </a:lnTo>
                  <a:lnTo>
                    <a:pt x="0" y="26"/>
                  </a:lnTo>
                  <a:lnTo>
                    <a:pt x="1" y="25"/>
                  </a:lnTo>
                  <a:close/>
                  <a:moveTo>
                    <a:pt x="15" y="21"/>
                  </a:moveTo>
                  <a:lnTo>
                    <a:pt x="17" y="21"/>
                  </a:lnTo>
                  <a:lnTo>
                    <a:pt x="17" y="23"/>
                  </a:lnTo>
                  <a:lnTo>
                    <a:pt x="19" y="23"/>
                  </a:lnTo>
                  <a:lnTo>
                    <a:pt x="21" y="25"/>
                  </a:lnTo>
                  <a:lnTo>
                    <a:pt x="21" y="26"/>
                  </a:lnTo>
                  <a:lnTo>
                    <a:pt x="25" y="26"/>
                  </a:lnTo>
                  <a:lnTo>
                    <a:pt x="25" y="30"/>
                  </a:lnTo>
                  <a:lnTo>
                    <a:pt x="23" y="31"/>
                  </a:lnTo>
                  <a:lnTo>
                    <a:pt x="20" y="31"/>
                  </a:lnTo>
                  <a:lnTo>
                    <a:pt x="20" y="32"/>
                  </a:lnTo>
                  <a:lnTo>
                    <a:pt x="21" y="32"/>
                  </a:lnTo>
                  <a:lnTo>
                    <a:pt x="19" y="33"/>
                  </a:lnTo>
                  <a:lnTo>
                    <a:pt x="19" y="31"/>
                  </a:lnTo>
                  <a:lnTo>
                    <a:pt x="17" y="30"/>
                  </a:lnTo>
                  <a:lnTo>
                    <a:pt x="17" y="32"/>
                  </a:lnTo>
                  <a:lnTo>
                    <a:pt x="15" y="31"/>
                  </a:lnTo>
                  <a:lnTo>
                    <a:pt x="13" y="31"/>
                  </a:lnTo>
                  <a:lnTo>
                    <a:pt x="11" y="30"/>
                  </a:lnTo>
                  <a:lnTo>
                    <a:pt x="10" y="30"/>
                  </a:lnTo>
                  <a:lnTo>
                    <a:pt x="10" y="29"/>
                  </a:lnTo>
                  <a:lnTo>
                    <a:pt x="14" y="29"/>
                  </a:lnTo>
                  <a:lnTo>
                    <a:pt x="13" y="27"/>
                  </a:lnTo>
                  <a:lnTo>
                    <a:pt x="10" y="27"/>
                  </a:lnTo>
                  <a:lnTo>
                    <a:pt x="9" y="26"/>
                  </a:lnTo>
                  <a:lnTo>
                    <a:pt x="8" y="24"/>
                  </a:lnTo>
                  <a:lnTo>
                    <a:pt x="8" y="23"/>
                  </a:lnTo>
                  <a:lnTo>
                    <a:pt x="9" y="23"/>
                  </a:lnTo>
                  <a:lnTo>
                    <a:pt x="10" y="24"/>
                  </a:lnTo>
                  <a:lnTo>
                    <a:pt x="13" y="24"/>
                  </a:lnTo>
                  <a:lnTo>
                    <a:pt x="13" y="23"/>
                  </a:lnTo>
                  <a:lnTo>
                    <a:pt x="14" y="23"/>
                  </a:lnTo>
                  <a:lnTo>
                    <a:pt x="15" y="21"/>
                  </a:lnTo>
                  <a:close/>
                  <a:moveTo>
                    <a:pt x="56" y="8"/>
                  </a:moveTo>
                  <a:lnTo>
                    <a:pt x="57" y="8"/>
                  </a:lnTo>
                  <a:lnTo>
                    <a:pt x="56" y="11"/>
                  </a:lnTo>
                  <a:lnTo>
                    <a:pt x="56" y="13"/>
                  </a:lnTo>
                  <a:lnTo>
                    <a:pt x="53" y="13"/>
                  </a:lnTo>
                  <a:lnTo>
                    <a:pt x="53" y="12"/>
                  </a:lnTo>
                  <a:lnTo>
                    <a:pt x="52" y="11"/>
                  </a:lnTo>
                  <a:lnTo>
                    <a:pt x="53" y="10"/>
                  </a:lnTo>
                  <a:lnTo>
                    <a:pt x="56" y="8"/>
                  </a:lnTo>
                  <a:close/>
                  <a:moveTo>
                    <a:pt x="19" y="7"/>
                  </a:moveTo>
                  <a:lnTo>
                    <a:pt x="19" y="8"/>
                  </a:lnTo>
                  <a:lnTo>
                    <a:pt x="22" y="8"/>
                  </a:lnTo>
                  <a:lnTo>
                    <a:pt x="25" y="11"/>
                  </a:lnTo>
                  <a:lnTo>
                    <a:pt x="25" y="13"/>
                  </a:lnTo>
                  <a:lnTo>
                    <a:pt x="27" y="17"/>
                  </a:lnTo>
                  <a:lnTo>
                    <a:pt x="27" y="19"/>
                  </a:lnTo>
                  <a:lnTo>
                    <a:pt x="28" y="19"/>
                  </a:lnTo>
                  <a:lnTo>
                    <a:pt x="31" y="21"/>
                  </a:lnTo>
                  <a:lnTo>
                    <a:pt x="33" y="23"/>
                  </a:lnTo>
                  <a:lnTo>
                    <a:pt x="33" y="25"/>
                  </a:lnTo>
                  <a:lnTo>
                    <a:pt x="32" y="26"/>
                  </a:lnTo>
                  <a:lnTo>
                    <a:pt x="34" y="26"/>
                  </a:lnTo>
                  <a:lnTo>
                    <a:pt x="35" y="27"/>
                  </a:lnTo>
                  <a:lnTo>
                    <a:pt x="35" y="30"/>
                  </a:lnTo>
                  <a:lnTo>
                    <a:pt x="33" y="30"/>
                  </a:lnTo>
                  <a:lnTo>
                    <a:pt x="33" y="31"/>
                  </a:lnTo>
                  <a:lnTo>
                    <a:pt x="38" y="31"/>
                  </a:lnTo>
                  <a:lnTo>
                    <a:pt x="39" y="32"/>
                  </a:lnTo>
                  <a:lnTo>
                    <a:pt x="38" y="33"/>
                  </a:lnTo>
                  <a:lnTo>
                    <a:pt x="38" y="37"/>
                  </a:lnTo>
                  <a:lnTo>
                    <a:pt x="39" y="37"/>
                  </a:lnTo>
                  <a:lnTo>
                    <a:pt x="39" y="41"/>
                  </a:lnTo>
                  <a:lnTo>
                    <a:pt x="38" y="42"/>
                  </a:lnTo>
                  <a:lnTo>
                    <a:pt x="37" y="39"/>
                  </a:lnTo>
                  <a:lnTo>
                    <a:pt x="33" y="36"/>
                  </a:lnTo>
                  <a:lnTo>
                    <a:pt x="31" y="32"/>
                  </a:lnTo>
                  <a:lnTo>
                    <a:pt x="29" y="31"/>
                  </a:lnTo>
                  <a:lnTo>
                    <a:pt x="28" y="31"/>
                  </a:lnTo>
                  <a:lnTo>
                    <a:pt x="28" y="27"/>
                  </a:lnTo>
                  <a:lnTo>
                    <a:pt x="27" y="27"/>
                  </a:lnTo>
                  <a:lnTo>
                    <a:pt x="27" y="26"/>
                  </a:lnTo>
                  <a:lnTo>
                    <a:pt x="26" y="25"/>
                  </a:lnTo>
                  <a:lnTo>
                    <a:pt x="22" y="25"/>
                  </a:lnTo>
                  <a:lnTo>
                    <a:pt x="21" y="24"/>
                  </a:lnTo>
                  <a:lnTo>
                    <a:pt x="21" y="21"/>
                  </a:lnTo>
                  <a:lnTo>
                    <a:pt x="20" y="21"/>
                  </a:lnTo>
                  <a:lnTo>
                    <a:pt x="19" y="23"/>
                  </a:lnTo>
                  <a:lnTo>
                    <a:pt x="19" y="21"/>
                  </a:lnTo>
                  <a:lnTo>
                    <a:pt x="17" y="20"/>
                  </a:lnTo>
                  <a:lnTo>
                    <a:pt x="16" y="20"/>
                  </a:lnTo>
                  <a:lnTo>
                    <a:pt x="16" y="18"/>
                  </a:lnTo>
                  <a:lnTo>
                    <a:pt x="17" y="18"/>
                  </a:lnTo>
                  <a:lnTo>
                    <a:pt x="17" y="14"/>
                  </a:lnTo>
                  <a:lnTo>
                    <a:pt x="19" y="14"/>
                  </a:lnTo>
                  <a:lnTo>
                    <a:pt x="17" y="13"/>
                  </a:lnTo>
                  <a:lnTo>
                    <a:pt x="17" y="11"/>
                  </a:lnTo>
                  <a:lnTo>
                    <a:pt x="19" y="7"/>
                  </a:lnTo>
                  <a:close/>
                  <a:moveTo>
                    <a:pt x="29" y="5"/>
                  </a:moveTo>
                  <a:lnTo>
                    <a:pt x="29" y="6"/>
                  </a:lnTo>
                  <a:lnTo>
                    <a:pt x="31" y="6"/>
                  </a:lnTo>
                  <a:lnTo>
                    <a:pt x="32" y="7"/>
                  </a:lnTo>
                  <a:lnTo>
                    <a:pt x="31" y="8"/>
                  </a:lnTo>
                  <a:lnTo>
                    <a:pt x="29" y="8"/>
                  </a:lnTo>
                  <a:lnTo>
                    <a:pt x="29" y="13"/>
                  </a:lnTo>
                  <a:lnTo>
                    <a:pt x="31" y="14"/>
                  </a:lnTo>
                  <a:lnTo>
                    <a:pt x="31" y="11"/>
                  </a:lnTo>
                  <a:lnTo>
                    <a:pt x="33" y="10"/>
                  </a:lnTo>
                  <a:lnTo>
                    <a:pt x="34" y="10"/>
                  </a:lnTo>
                  <a:lnTo>
                    <a:pt x="35" y="11"/>
                  </a:lnTo>
                  <a:lnTo>
                    <a:pt x="34" y="11"/>
                  </a:lnTo>
                  <a:lnTo>
                    <a:pt x="38" y="12"/>
                  </a:lnTo>
                  <a:lnTo>
                    <a:pt x="38" y="13"/>
                  </a:lnTo>
                  <a:lnTo>
                    <a:pt x="37" y="14"/>
                  </a:lnTo>
                  <a:lnTo>
                    <a:pt x="37" y="15"/>
                  </a:lnTo>
                  <a:lnTo>
                    <a:pt x="39" y="15"/>
                  </a:lnTo>
                  <a:lnTo>
                    <a:pt x="44" y="18"/>
                  </a:lnTo>
                  <a:lnTo>
                    <a:pt x="38" y="18"/>
                  </a:lnTo>
                  <a:lnTo>
                    <a:pt x="38" y="19"/>
                  </a:lnTo>
                  <a:lnTo>
                    <a:pt x="44" y="21"/>
                  </a:lnTo>
                  <a:lnTo>
                    <a:pt x="45" y="24"/>
                  </a:lnTo>
                  <a:lnTo>
                    <a:pt x="42" y="23"/>
                  </a:lnTo>
                  <a:lnTo>
                    <a:pt x="41" y="23"/>
                  </a:lnTo>
                  <a:lnTo>
                    <a:pt x="44" y="25"/>
                  </a:lnTo>
                  <a:lnTo>
                    <a:pt x="44" y="26"/>
                  </a:lnTo>
                  <a:lnTo>
                    <a:pt x="41" y="26"/>
                  </a:lnTo>
                  <a:lnTo>
                    <a:pt x="41" y="30"/>
                  </a:lnTo>
                  <a:lnTo>
                    <a:pt x="39" y="27"/>
                  </a:lnTo>
                  <a:lnTo>
                    <a:pt x="39" y="23"/>
                  </a:lnTo>
                  <a:lnTo>
                    <a:pt x="38" y="21"/>
                  </a:lnTo>
                  <a:lnTo>
                    <a:pt x="37" y="19"/>
                  </a:lnTo>
                  <a:lnTo>
                    <a:pt x="35" y="18"/>
                  </a:lnTo>
                  <a:lnTo>
                    <a:pt x="34" y="18"/>
                  </a:lnTo>
                  <a:lnTo>
                    <a:pt x="37" y="20"/>
                  </a:lnTo>
                  <a:lnTo>
                    <a:pt x="38" y="23"/>
                  </a:lnTo>
                  <a:lnTo>
                    <a:pt x="38" y="26"/>
                  </a:lnTo>
                  <a:lnTo>
                    <a:pt x="35" y="25"/>
                  </a:lnTo>
                  <a:lnTo>
                    <a:pt x="33" y="21"/>
                  </a:lnTo>
                  <a:lnTo>
                    <a:pt x="31" y="21"/>
                  </a:lnTo>
                  <a:lnTo>
                    <a:pt x="31" y="20"/>
                  </a:lnTo>
                  <a:lnTo>
                    <a:pt x="29" y="19"/>
                  </a:lnTo>
                  <a:lnTo>
                    <a:pt x="28" y="19"/>
                  </a:lnTo>
                  <a:lnTo>
                    <a:pt x="26" y="14"/>
                  </a:lnTo>
                  <a:lnTo>
                    <a:pt x="25" y="10"/>
                  </a:lnTo>
                  <a:lnTo>
                    <a:pt x="23" y="8"/>
                  </a:lnTo>
                  <a:lnTo>
                    <a:pt x="23" y="7"/>
                  </a:lnTo>
                  <a:lnTo>
                    <a:pt x="26" y="7"/>
                  </a:lnTo>
                  <a:lnTo>
                    <a:pt x="27" y="6"/>
                  </a:lnTo>
                  <a:lnTo>
                    <a:pt x="29" y="5"/>
                  </a:lnTo>
                  <a:close/>
                  <a:moveTo>
                    <a:pt x="46" y="2"/>
                  </a:moveTo>
                  <a:lnTo>
                    <a:pt x="48" y="10"/>
                  </a:lnTo>
                  <a:lnTo>
                    <a:pt x="50" y="11"/>
                  </a:lnTo>
                  <a:lnTo>
                    <a:pt x="52" y="12"/>
                  </a:lnTo>
                  <a:lnTo>
                    <a:pt x="52" y="13"/>
                  </a:lnTo>
                  <a:lnTo>
                    <a:pt x="51" y="14"/>
                  </a:lnTo>
                  <a:lnTo>
                    <a:pt x="48" y="13"/>
                  </a:lnTo>
                  <a:lnTo>
                    <a:pt x="48" y="12"/>
                  </a:lnTo>
                  <a:lnTo>
                    <a:pt x="47" y="13"/>
                  </a:lnTo>
                  <a:lnTo>
                    <a:pt x="50" y="15"/>
                  </a:lnTo>
                  <a:lnTo>
                    <a:pt x="51" y="15"/>
                  </a:lnTo>
                  <a:lnTo>
                    <a:pt x="51" y="18"/>
                  </a:lnTo>
                  <a:lnTo>
                    <a:pt x="52" y="18"/>
                  </a:lnTo>
                  <a:lnTo>
                    <a:pt x="51" y="19"/>
                  </a:lnTo>
                  <a:lnTo>
                    <a:pt x="50" y="19"/>
                  </a:lnTo>
                  <a:lnTo>
                    <a:pt x="48" y="18"/>
                  </a:lnTo>
                  <a:lnTo>
                    <a:pt x="47" y="15"/>
                  </a:lnTo>
                  <a:lnTo>
                    <a:pt x="46" y="15"/>
                  </a:lnTo>
                  <a:lnTo>
                    <a:pt x="47" y="18"/>
                  </a:lnTo>
                  <a:lnTo>
                    <a:pt x="47" y="20"/>
                  </a:lnTo>
                  <a:lnTo>
                    <a:pt x="46" y="19"/>
                  </a:lnTo>
                  <a:lnTo>
                    <a:pt x="46" y="18"/>
                  </a:lnTo>
                  <a:lnTo>
                    <a:pt x="44" y="15"/>
                  </a:lnTo>
                  <a:lnTo>
                    <a:pt x="45" y="13"/>
                  </a:lnTo>
                  <a:lnTo>
                    <a:pt x="46" y="13"/>
                  </a:lnTo>
                  <a:lnTo>
                    <a:pt x="46" y="8"/>
                  </a:lnTo>
                  <a:lnTo>
                    <a:pt x="45" y="6"/>
                  </a:lnTo>
                  <a:lnTo>
                    <a:pt x="45" y="4"/>
                  </a:lnTo>
                  <a:lnTo>
                    <a:pt x="46" y="2"/>
                  </a:lnTo>
                  <a:close/>
                  <a:moveTo>
                    <a:pt x="40" y="2"/>
                  </a:moveTo>
                  <a:lnTo>
                    <a:pt x="41" y="2"/>
                  </a:lnTo>
                  <a:lnTo>
                    <a:pt x="41" y="4"/>
                  </a:lnTo>
                  <a:lnTo>
                    <a:pt x="44" y="8"/>
                  </a:lnTo>
                  <a:lnTo>
                    <a:pt x="44" y="10"/>
                  </a:lnTo>
                  <a:lnTo>
                    <a:pt x="45" y="11"/>
                  </a:lnTo>
                  <a:lnTo>
                    <a:pt x="45" y="12"/>
                  </a:lnTo>
                  <a:lnTo>
                    <a:pt x="42" y="12"/>
                  </a:lnTo>
                  <a:lnTo>
                    <a:pt x="42" y="11"/>
                  </a:lnTo>
                  <a:lnTo>
                    <a:pt x="41" y="10"/>
                  </a:lnTo>
                  <a:lnTo>
                    <a:pt x="40" y="7"/>
                  </a:lnTo>
                  <a:lnTo>
                    <a:pt x="40" y="2"/>
                  </a:lnTo>
                  <a:close/>
                  <a:moveTo>
                    <a:pt x="35" y="1"/>
                  </a:moveTo>
                  <a:lnTo>
                    <a:pt x="37" y="2"/>
                  </a:lnTo>
                  <a:lnTo>
                    <a:pt x="38" y="6"/>
                  </a:lnTo>
                  <a:lnTo>
                    <a:pt x="41" y="12"/>
                  </a:lnTo>
                  <a:lnTo>
                    <a:pt x="41" y="14"/>
                  </a:lnTo>
                  <a:lnTo>
                    <a:pt x="40" y="14"/>
                  </a:lnTo>
                  <a:lnTo>
                    <a:pt x="40" y="13"/>
                  </a:lnTo>
                  <a:lnTo>
                    <a:pt x="39" y="12"/>
                  </a:lnTo>
                  <a:lnTo>
                    <a:pt x="39" y="10"/>
                  </a:lnTo>
                  <a:lnTo>
                    <a:pt x="38" y="8"/>
                  </a:lnTo>
                  <a:lnTo>
                    <a:pt x="37" y="6"/>
                  </a:lnTo>
                  <a:lnTo>
                    <a:pt x="37" y="5"/>
                  </a:lnTo>
                  <a:lnTo>
                    <a:pt x="35" y="4"/>
                  </a:lnTo>
                  <a:lnTo>
                    <a:pt x="35" y="1"/>
                  </a:lnTo>
                  <a:close/>
                  <a:moveTo>
                    <a:pt x="45" y="0"/>
                  </a:moveTo>
                  <a:lnTo>
                    <a:pt x="47" y="0"/>
                  </a:lnTo>
                  <a:lnTo>
                    <a:pt x="48" y="1"/>
                  </a:lnTo>
                  <a:lnTo>
                    <a:pt x="48" y="4"/>
                  </a:lnTo>
                  <a:lnTo>
                    <a:pt x="50" y="5"/>
                  </a:lnTo>
                  <a:lnTo>
                    <a:pt x="50" y="7"/>
                  </a:lnTo>
                  <a:lnTo>
                    <a:pt x="51" y="7"/>
                  </a:lnTo>
                  <a:lnTo>
                    <a:pt x="51" y="6"/>
                  </a:lnTo>
                  <a:lnTo>
                    <a:pt x="52" y="6"/>
                  </a:lnTo>
                  <a:lnTo>
                    <a:pt x="52" y="10"/>
                  </a:lnTo>
                  <a:lnTo>
                    <a:pt x="51" y="10"/>
                  </a:lnTo>
                  <a:lnTo>
                    <a:pt x="47" y="6"/>
                  </a:lnTo>
                  <a:lnTo>
                    <a:pt x="47" y="5"/>
                  </a:lnTo>
                  <a:lnTo>
                    <a:pt x="46" y="2"/>
                  </a:lnTo>
                  <a:lnTo>
                    <a:pt x="46" y="1"/>
                  </a:lnTo>
                  <a:lnTo>
                    <a:pt x="45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46">
              <a:extLst>
                <a:ext uri="{FF2B5EF4-FFF2-40B4-BE49-F238E27FC236}">
                  <a16:creationId xmlns:a16="http://schemas.microsoft.com/office/drawing/2014/main" id="{D984584D-5C93-49F3-80F1-2F83812133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08688" y="3324225"/>
              <a:ext cx="427038" cy="277813"/>
            </a:xfrm>
            <a:custGeom>
              <a:avLst/>
              <a:gdLst/>
              <a:ahLst/>
              <a:cxnLst>
                <a:cxn ang="0">
                  <a:pos x="91" y="127"/>
                </a:cxn>
                <a:cxn ang="0">
                  <a:pos x="34" y="89"/>
                </a:cxn>
                <a:cxn ang="0">
                  <a:pos x="55" y="93"/>
                </a:cxn>
                <a:cxn ang="0">
                  <a:pos x="58" y="100"/>
                </a:cxn>
                <a:cxn ang="0">
                  <a:pos x="53" y="105"/>
                </a:cxn>
                <a:cxn ang="0">
                  <a:pos x="41" y="114"/>
                </a:cxn>
                <a:cxn ang="0">
                  <a:pos x="31" y="115"/>
                </a:cxn>
                <a:cxn ang="0">
                  <a:pos x="18" y="129"/>
                </a:cxn>
                <a:cxn ang="0">
                  <a:pos x="6" y="137"/>
                </a:cxn>
                <a:cxn ang="0">
                  <a:pos x="15" y="124"/>
                </a:cxn>
                <a:cxn ang="0">
                  <a:pos x="3" y="111"/>
                </a:cxn>
                <a:cxn ang="0">
                  <a:pos x="4" y="101"/>
                </a:cxn>
                <a:cxn ang="0">
                  <a:pos x="10" y="99"/>
                </a:cxn>
                <a:cxn ang="0">
                  <a:pos x="21" y="89"/>
                </a:cxn>
                <a:cxn ang="0">
                  <a:pos x="66" y="92"/>
                </a:cxn>
                <a:cxn ang="0">
                  <a:pos x="55" y="86"/>
                </a:cxn>
                <a:cxn ang="0">
                  <a:pos x="65" y="52"/>
                </a:cxn>
                <a:cxn ang="0">
                  <a:pos x="56" y="57"/>
                </a:cxn>
                <a:cxn ang="0">
                  <a:pos x="35" y="49"/>
                </a:cxn>
                <a:cxn ang="0">
                  <a:pos x="49" y="62"/>
                </a:cxn>
                <a:cxn ang="0">
                  <a:pos x="46" y="68"/>
                </a:cxn>
                <a:cxn ang="0">
                  <a:pos x="40" y="71"/>
                </a:cxn>
                <a:cxn ang="0">
                  <a:pos x="28" y="80"/>
                </a:cxn>
                <a:cxn ang="0">
                  <a:pos x="22" y="64"/>
                </a:cxn>
                <a:cxn ang="0">
                  <a:pos x="28" y="53"/>
                </a:cxn>
                <a:cxn ang="0">
                  <a:pos x="112" y="7"/>
                </a:cxn>
                <a:cxn ang="0">
                  <a:pos x="165" y="4"/>
                </a:cxn>
                <a:cxn ang="0">
                  <a:pos x="171" y="4"/>
                </a:cxn>
                <a:cxn ang="0">
                  <a:pos x="192" y="8"/>
                </a:cxn>
                <a:cxn ang="0">
                  <a:pos x="214" y="18"/>
                </a:cxn>
                <a:cxn ang="0">
                  <a:pos x="261" y="20"/>
                </a:cxn>
                <a:cxn ang="0">
                  <a:pos x="268" y="27"/>
                </a:cxn>
                <a:cxn ang="0">
                  <a:pos x="257" y="35"/>
                </a:cxn>
                <a:cxn ang="0">
                  <a:pos x="237" y="80"/>
                </a:cxn>
                <a:cxn ang="0">
                  <a:pos x="245" y="138"/>
                </a:cxn>
                <a:cxn ang="0">
                  <a:pos x="239" y="154"/>
                </a:cxn>
                <a:cxn ang="0">
                  <a:pos x="232" y="168"/>
                </a:cxn>
                <a:cxn ang="0">
                  <a:pos x="214" y="167"/>
                </a:cxn>
                <a:cxn ang="0">
                  <a:pos x="200" y="174"/>
                </a:cxn>
                <a:cxn ang="0">
                  <a:pos x="181" y="157"/>
                </a:cxn>
                <a:cxn ang="0">
                  <a:pos x="164" y="144"/>
                </a:cxn>
                <a:cxn ang="0">
                  <a:pos x="150" y="133"/>
                </a:cxn>
                <a:cxn ang="0">
                  <a:pos x="143" y="137"/>
                </a:cxn>
                <a:cxn ang="0">
                  <a:pos x="126" y="137"/>
                </a:cxn>
                <a:cxn ang="0">
                  <a:pos x="107" y="145"/>
                </a:cxn>
                <a:cxn ang="0">
                  <a:pos x="112" y="113"/>
                </a:cxn>
                <a:cxn ang="0">
                  <a:pos x="103" y="110"/>
                </a:cxn>
                <a:cxn ang="0">
                  <a:pos x="95" y="114"/>
                </a:cxn>
                <a:cxn ang="0">
                  <a:pos x="80" y="102"/>
                </a:cxn>
                <a:cxn ang="0">
                  <a:pos x="72" y="88"/>
                </a:cxn>
                <a:cxn ang="0">
                  <a:pos x="72" y="77"/>
                </a:cxn>
                <a:cxn ang="0">
                  <a:pos x="83" y="74"/>
                </a:cxn>
                <a:cxn ang="0">
                  <a:pos x="74" y="70"/>
                </a:cxn>
                <a:cxn ang="0">
                  <a:pos x="68" y="59"/>
                </a:cxn>
                <a:cxn ang="0">
                  <a:pos x="74" y="56"/>
                </a:cxn>
                <a:cxn ang="0">
                  <a:pos x="72" y="47"/>
                </a:cxn>
                <a:cxn ang="0">
                  <a:pos x="82" y="34"/>
                </a:cxn>
                <a:cxn ang="0">
                  <a:pos x="96" y="32"/>
                </a:cxn>
                <a:cxn ang="0">
                  <a:pos x="101" y="20"/>
                </a:cxn>
                <a:cxn ang="0">
                  <a:pos x="116" y="16"/>
                </a:cxn>
                <a:cxn ang="0">
                  <a:pos x="124" y="18"/>
                </a:cxn>
                <a:cxn ang="0">
                  <a:pos x="132" y="13"/>
                </a:cxn>
                <a:cxn ang="0">
                  <a:pos x="153" y="10"/>
                </a:cxn>
              </a:cxnLst>
              <a:rect l="0" t="0" r="r" b="b"/>
              <a:pathLst>
                <a:path w="269" h="175">
                  <a:moveTo>
                    <a:pt x="58" y="150"/>
                  </a:moveTo>
                  <a:lnTo>
                    <a:pt x="60" y="150"/>
                  </a:lnTo>
                  <a:lnTo>
                    <a:pt x="60" y="153"/>
                  </a:lnTo>
                  <a:lnTo>
                    <a:pt x="59" y="153"/>
                  </a:lnTo>
                  <a:lnTo>
                    <a:pt x="58" y="151"/>
                  </a:lnTo>
                  <a:lnTo>
                    <a:pt x="58" y="150"/>
                  </a:lnTo>
                  <a:close/>
                  <a:moveTo>
                    <a:pt x="90" y="123"/>
                  </a:moveTo>
                  <a:lnTo>
                    <a:pt x="93" y="124"/>
                  </a:lnTo>
                  <a:lnTo>
                    <a:pt x="93" y="125"/>
                  </a:lnTo>
                  <a:lnTo>
                    <a:pt x="91" y="127"/>
                  </a:lnTo>
                  <a:lnTo>
                    <a:pt x="90" y="127"/>
                  </a:lnTo>
                  <a:lnTo>
                    <a:pt x="89" y="126"/>
                  </a:lnTo>
                  <a:lnTo>
                    <a:pt x="89" y="124"/>
                  </a:lnTo>
                  <a:lnTo>
                    <a:pt x="90" y="123"/>
                  </a:lnTo>
                  <a:close/>
                  <a:moveTo>
                    <a:pt x="32" y="84"/>
                  </a:moveTo>
                  <a:lnTo>
                    <a:pt x="32" y="86"/>
                  </a:lnTo>
                  <a:lnTo>
                    <a:pt x="33" y="87"/>
                  </a:lnTo>
                  <a:lnTo>
                    <a:pt x="33" y="88"/>
                  </a:lnTo>
                  <a:lnTo>
                    <a:pt x="34" y="88"/>
                  </a:lnTo>
                  <a:lnTo>
                    <a:pt x="34" y="89"/>
                  </a:lnTo>
                  <a:lnTo>
                    <a:pt x="35" y="88"/>
                  </a:lnTo>
                  <a:lnTo>
                    <a:pt x="39" y="88"/>
                  </a:lnTo>
                  <a:lnTo>
                    <a:pt x="41" y="86"/>
                  </a:lnTo>
                  <a:lnTo>
                    <a:pt x="43" y="87"/>
                  </a:lnTo>
                  <a:lnTo>
                    <a:pt x="45" y="86"/>
                  </a:lnTo>
                  <a:lnTo>
                    <a:pt x="46" y="86"/>
                  </a:lnTo>
                  <a:lnTo>
                    <a:pt x="49" y="88"/>
                  </a:lnTo>
                  <a:lnTo>
                    <a:pt x="53" y="90"/>
                  </a:lnTo>
                  <a:lnTo>
                    <a:pt x="55" y="92"/>
                  </a:lnTo>
                  <a:lnTo>
                    <a:pt x="55" y="93"/>
                  </a:lnTo>
                  <a:lnTo>
                    <a:pt x="57" y="95"/>
                  </a:lnTo>
                  <a:lnTo>
                    <a:pt x="60" y="95"/>
                  </a:lnTo>
                  <a:lnTo>
                    <a:pt x="63" y="98"/>
                  </a:lnTo>
                  <a:lnTo>
                    <a:pt x="63" y="100"/>
                  </a:lnTo>
                  <a:lnTo>
                    <a:pt x="60" y="99"/>
                  </a:lnTo>
                  <a:lnTo>
                    <a:pt x="59" y="99"/>
                  </a:lnTo>
                  <a:lnTo>
                    <a:pt x="60" y="100"/>
                  </a:lnTo>
                  <a:lnTo>
                    <a:pt x="60" y="101"/>
                  </a:lnTo>
                  <a:lnTo>
                    <a:pt x="59" y="100"/>
                  </a:lnTo>
                  <a:lnTo>
                    <a:pt x="58" y="100"/>
                  </a:lnTo>
                  <a:lnTo>
                    <a:pt x="58" y="99"/>
                  </a:lnTo>
                  <a:lnTo>
                    <a:pt x="57" y="99"/>
                  </a:lnTo>
                  <a:lnTo>
                    <a:pt x="57" y="98"/>
                  </a:lnTo>
                  <a:lnTo>
                    <a:pt x="56" y="98"/>
                  </a:lnTo>
                  <a:lnTo>
                    <a:pt x="56" y="100"/>
                  </a:lnTo>
                  <a:lnTo>
                    <a:pt x="55" y="101"/>
                  </a:lnTo>
                  <a:lnTo>
                    <a:pt x="53" y="101"/>
                  </a:lnTo>
                  <a:lnTo>
                    <a:pt x="52" y="102"/>
                  </a:lnTo>
                  <a:lnTo>
                    <a:pt x="53" y="102"/>
                  </a:lnTo>
                  <a:lnTo>
                    <a:pt x="53" y="105"/>
                  </a:lnTo>
                  <a:lnTo>
                    <a:pt x="52" y="105"/>
                  </a:lnTo>
                  <a:lnTo>
                    <a:pt x="50" y="107"/>
                  </a:lnTo>
                  <a:lnTo>
                    <a:pt x="49" y="105"/>
                  </a:lnTo>
                  <a:lnTo>
                    <a:pt x="47" y="105"/>
                  </a:lnTo>
                  <a:lnTo>
                    <a:pt x="47" y="106"/>
                  </a:lnTo>
                  <a:lnTo>
                    <a:pt x="49" y="107"/>
                  </a:lnTo>
                  <a:lnTo>
                    <a:pt x="44" y="112"/>
                  </a:lnTo>
                  <a:lnTo>
                    <a:pt x="43" y="112"/>
                  </a:lnTo>
                  <a:lnTo>
                    <a:pt x="41" y="113"/>
                  </a:lnTo>
                  <a:lnTo>
                    <a:pt x="41" y="114"/>
                  </a:lnTo>
                  <a:lnTo>
                    <a:pt x="38" y="114"/>
                  </a:lnTo>
                  <a:lnTo>
                    <a:pt x="37" y="115"/>
                  </a:lnTo>
                  <a:lnTo>
                    <a:pt x="39" y="117"/>
                  </a:lnTo>
                  <a:lnTo>
                    <a:pt x="38" y="118"/>
                  </a:lnTo>
                  <a:lnTo>
                    <a:pt x="35" y="118"/>
                  </a:lnTo>
                  <a:lnTo>
                    <a:pt x="34" y="117"/>
                  </a:lnTo>
                  <a:lnTo>
                    <a:pt x="34" y="115"/>
                  </a:lnTo>
                  <a:lnTo>
                    <a:pt x="32" y="115"/>
                  </a:lnTo>
                  <a:lnTo>
                    <a:pt x="31" y="117"/>
                  </a:lnTo>
                  <a:lnTo>
                    <a:pt x="31" y="115"/>
                  </a:lnTo>
                  <a:lnTo>
                    <a:pt x="29" y="115"/>
                  </a:lnTo>
                  <a:lnTo>
                    <a:pt x="29" y="118"/>
                  </a:lnTo>
                  <a:lnTo>
                    <a:pt x="28" y="118"/>
                  </a:lnTo>
                  <a:lnTo>
                    <a:pt x="28" y="117"/>
                  </a:lnTo>
                  <a:lnTo>
                    <a:pt x="26" y="117"/>
                  </a:lnTo>
                  <a:lnTo>
                    <a:pt x="26" y="118"/>
                  </a:lnTo>
                  <a:lnTo>
                    <a:pt x="22" y="118"/>
                  </a:lnTo>
                  <a:lnTo>
                    <a:pt x="19" y="121"/>
                  </a:lnTo>
                  <a:lnTo>
                    <a:pt x="19" y="126"/>
                  </a:lnTo>
                  <a:lnTo>
                    <a:pt x="18" y="129"/>
                  </a:lnTo>
                  <a:lnTo>
                    <a:pt x="16" y="132"/>
                  </a:lnTo>
                  <a:lnTo>
                    <a:pt x="16" y="133"/>
                  </a:lnTo>
                  <a:lnTo>
                    <a:pt x="15" y="133"/>
                  </a:lnTo>
                  <a:lnTo>
                    <a:pt x="15" y="137"/>
                  </a:lnTo>
                  <a:lnTo>
                    <a:pt x="9" y="143"/>
                  </a:lnTo>
                  <a:lnTo>
                    <a:pt x="8" y="143"/>
                  </a:lnTo>
                  <a:lnTo>
                    <a:pt x="7" y="141"/>
                  </a:lnTo>
                  <a:lnTo>
                    <a:pt x="7" y="138"/>
                  </a:lnTo>
                  <a:lnTo>
                    <a:pt x="6" y="138"/>
                  </a:lnTo>
                  <a:lnTo>
                    <a:pt x="6" y="137"/>
                  </a:lnTo>
                  <a:lnTo>
                    <a:pt x="7" y="137"/>
                  </a:lnTo>
                  <a:lnTo>
                    <a:pt x="8" y="135"/>
                  </a:lnTo>
                  <a:lnTo>
                    <a:pt x="9" y="131"/>
                  </a:lnTo>
                  <a:lnTo>
                    <a:pt x="10" y="130"/>
                  </a:lnTo>
                  <a:lnTo>
                    <a:pt x="10" y="129"/>
                  </a:lnTo>
                  <a:lnTo>
                    <a:pt x="12" y="129"/>
                  </a:lnTo>
                  <a:lnTo>
                    <a:pt x="13" y="130"/>
                  </a:lnTo>
                  <a:lnTo>
                    <a:pt x="14" y="129"/>
                  </a:lnTo>
                  <a:lnTo>
                    <a:pt x="14" y="126"/>
                  </a:lnTo>
                  <a:lnTo>
                    <a:pt x="15" y="124"/>
                  </a:lnTo>
                  <a:lnTo>
                    <a:pt x="15" y="123"/>
                  </a:lnTo>
                  <a:lnTo>
                    <a:pt x="13" y="123"/>
                  </a:lnTo>
                  <a:lnTo>
                    <a:pt x="10" y="121"/>
                  </a:lnTo>
                  <a:lnTo>
                    <a:pt x="9" y="121"/>
                  </a:lnTo>
                  <a:lnTo>
                    <a:pt x="8" y="117"/>
                  </a:lnTo>
                  <a:lnTo>
                    <a:pt x="4" y="117"/>
                  </a:lnTo>
                  <a:lnTo>
                    <a:pt x="1" y="113"/>
                  </a:lnTo>
                  <a:lnTo>
                    <a:pt x="1" y="111"/>
                  </a:lnTo>
                  <a:lnTo>
                    <a:pt x="3" y="112"/>
                  </a:lnTo>
                  <a:lnTo>
                    <a:pt x="3" y="111"/>
                  </a:lnTo>
                  <a:lnTo>
                    <a:pt x="2" y="110"/>
                  </a:lnTo>
                  <a:lnTo>
                    <a:pt x="2" y="108"/>
                  </a:lnTo>
                  <a:lnTo>
                    <a:pt x="3" y="108"/>
                  </a:lnTo>
                  <a:lnTo>
                    <a:pt x="4" y="110"/>
                  </a:lnTo>
                  <a:lnTo>
                    <a:pt x="4" y="111"/>
                  </a:lnTo>
                  <a:lnTo>
                    <a:pt x="6" y="110"/>
                  </a:lnTo>
                  <a:lnTo>
                    <a:pt x="6" y="107"/>
                  </a:lnTo>
                  <a:lnTo>
                    <a:pt x="7" y="107"/>
                  </a:lnTo>
                  <a:lnTo>
                    <a:pt x="7" y="105"/>
                  </a:lnTo>
                  <a:lnTo>
                    <a:pt x="4" y="101"/>
                  </a:lnTo>
                  <a:lnTo>
                    <a:pt x="4" y="100"/>
                  </a:lnTo>
                  <a:lnTo>
                    <a:pt x="0" y="95"/>
                  </a:lnTo>
                  <a:lnTo>
                    <a:pt x="2" y="96"/>
                  </a:lnTo>
                  <a:lnTo>
                    <a:pt x="3" y="96"/>
                  </a:lnTo>
                  <a:lnTo>
                    <a:pt x="3" y="95"/>
                  </a:lnTo>
                  <a:lnTo>
                    <a:pt x="4" y="94"/>
                  </a:lnTo>
                  <a:lnTo>
                    <a:pt x="6" y="94"/>
                  </a:lnTo>
                  <a:lnTo>
                    <a:pt x="7" y="95"/>
                  </a:lnTo>
                  <a:lnTo>
                    <a:pt x="8" y="95"/>
                  </a:lnTo>
                  <a:lnTo>
                    <a:pt x="10" y="99"/>
                  </a:lnTo>
                  <a:lnTo>
                    <a:pt x="10" y="102"/>
                  </a:lnTo>
                  <a:lnTo>
                    <a:pt x="12" y="101"/>
                  </a:lnTo>
                  <a:lnTo>
                    <a:pt x="12" y="96"/>
                  </a:lnTo>
                  <a:lnTo>
                    <a:pt x="15" y="93"/>
                  </a:lnTo>
                  <a:lnTo>
                    <a:pt x="15" y="92"/>
                  </a:lnTo>
                  <a:lnTo>
                    <a:pt x="16" y="92"/>
                  </a:lnTo>
                  <a:lnTo>
                    <a:pt x="16" y="95"/>
                  </a:lnTo>
                  <a:lnTo>
                    <a:pt x="19" y="95"/>
                  </a:lnTo>
                  <a:lnTo>
                    <a:pt x="19" y="90"/>
                  </a:lnTo>
                  <a:lnTo>
                    <a:pt x="21" y="89"/>
                  </a:lnTo>
                  <a:lnTo>
                    <a:pt x="27" y="88"/>
                  </a:lnTo>
                  <a:lnTo>
                    <a:pt x="31" y="86"/>
                  </a:lnTo>
                  <a:lnTo>
                    <a:pt x="32" y="84"/>
                  </a:lnTo>
                  <a:close/>
                  <a:moveTo>
                    <a:pt x="56" y="81"/>
                  </a:moveTo>
                  <a:lnTo>
                    <a:pt x="58" y="81"/>
                  </a:lnTo>
                  <a:lnTo>
                    <a:pt x="62" y="82"/>
                  </a:lnTo>
                  <a:lnTo>
                    <a:pt x="64" y="84"/>
                  </a:lnTo>
                  <a:lnTo>
                    <a:pt x="64" y="88"/>
                  </a:lnTo>
                  <a:lnTo>
                    <a:pt x="66" y="90"/>
                  </a:lnTo>
                  <a:lnTo>
                    <a:pt x="66" y="92"/>
                  </a:lnTo>
                  <a:lnTo>
                    <a:pt x="65" y="92"/>
                  </a:lnTo>
                  <a:lnTo>
                    <a:pt x="65" y="93"/>
                  </a:lnTo>
                  <a:lnTo>
                    <a:pt x="63" y="93"/>
                  </a:lnTo>
                  <a:lnTo>
                    <a:pt x="63" y="92"/>
                  </a:lnTo>
                  <a:lnTo>
                    <a:pt x="60" y="92"/>
                  </a:lnTo>
                  <a:lnTo>
                    <a:pt x="59" y="93"/>
                  </a:lnTo>
                  <a:lnTo>
                    <a:pt x="55" y="89"/>
                  </a:lnTo>
                  <a:lnTo>
                    <a:pt x="52" y="87"/>
                  </a:lnTo>
                  <a:lnTo>
                    <a:pt x="52" y="86"/>
                  </a:lnTo>
                  <a:lnTo>
                    <a:pt x="55" y="86"/>
                  </a:lnTo>
                  <a:lnTo>
                    <a:pt x="55" y="82"/>
                  </a:lnTo>
                  <a:lnTo>
                    <a:pt x="56" y="81"/>
                  </a:lnTo>
                  <a:close/>
                  <a:moveTo>
                    <a:pt x="26" y="56"/>
                  </a:moveTo>
                  <a:lnTo>
                    <a:pt x="27" y="57"/>
                  </a:lnTo>
                  <a:lnTo>
                    <a:pt x="26" y="57"/>
                  </a:lnTo>
                  <a:lnTo>
                    <a:pt x="26" y="56"/>
                  </a:lnTo>
                  <a:close/>
                  <a:moveTo>
                    <a:pt x="56" y="51"/>
                  </a:moveTo>
                  <a:lnTo>
                    <a:pt x="58" y="51"/>
                  </a:lnTo>
                  <a:lnTo>
                    <a:pt x="60" y="52"/>
                  </a:lnTo>
                  <a:lnTo>
                    <a:pt x="65" y="52"/>
                  </a:lnTo>
                  <a:lnTo>
                    <a:pt x="65" y="55"/>
                  </a:lnTo>
                  <a:lnTo>
                    <a:pt x="66" y="56"/>
                  </a:lnTo>
                  <a:lnTo>
                    <a:pt x="65" y="57"/>
                  </a:lnTo>
                  <a:lnTo>
                    <a:pt x="64" y="57"/>
                  </a:lnTo>
                  <a:lnTo>
                    <a:pt x="64" y="56"/>
                  </a:lnTo>
                  <a:lnTo>
                    <a:pt x="63" y="57"/>
                  </a:lnTo>
                  <a:lnTo>
                    <a:pt x="59" y="57"/>
                  </a:lnTo>
                  <a:lnTo>
                    <a:pt x="59" y="56"/>
                  </a:lnTo>
                  <a:lnTo>
                    <a:pt x="57" y="58"/>
                  </a:lnTo>
                  <a:lnTo>
                    <a:pt x="56" y="57"/>
                  </a:lnTo>
                  <a:lnTo>
                    <a:pt x="55" y="53"/>
                  </a:lnTo>
                  <a:lnTo>
                    <a:pt x="55" y="52"/>
                  </a:lnTo>
                  <a:lnTo>
                    <a:pt x="56" y="51"/>
                  </a:lnTo>
                  <a:close/>
                  <a:moveTo>
                    <a:pt x="74" y="49"/>
                  </a:moveTo>
                  <a:lnTo>
                    <a:pt x="74" y="50"/>
                  </a:lnTo>
                  <a:lnTo>
                    <a:pt x="76" y="51"/>
                  </a:lnTo>
                  <a:lnTo>
                    <a:pt x="74" y="49"/>
                  </a:lnTo>
                  <a:close/>
                  <a:moveTo>
                    <a:pt x="32" y="47"/>
                  </a:moveTo>
                  <a:lnTo>
                    <a:pt x="34" y="47"/>
                  </a:lnTo>
                  <a:lnTo>
                    <a:pt x="35" y="49"/>
                  </a:lnTo>
                  <a:lnTo>
                    <a:pt x="37" y="49"/>
                  </a:lnTo>
                  <a:lnTo>
                    <a:pt x="38" y="50"/>
                  </a:lnTo>
                  <a:lnTo>
                    <a:pt x="37" y="52"/>
                  </a:lnTo>
                  <a:lnTo>
                    <a:pt x="37" y="53"/>
                  </a:lnTo>
                  <a:lnTo>
                    <a:pt x="38" y="55"/>
                  </a:lnTo>
                  <a:lnTo>
                    <a:pt x="43" y="55"/>
                  </a:lnTo>
                  <a:lnTo>
                    <a:pt x="46" y="56"/>
                  </a:lnTo>
                  <a:lnTo>
                    <a:pt x="47" y="57"/>
                  </a:lnTo>
                  <a:lnTo>
                    <a:pt x="47" y="61"/>
                  </a:lnTo>
                  <a:lnTo>
                    <a:pt x="49" y="62"/>
                  </a:lnTo>
                  <a:lnTo>
                    <a:pt x="49" y="63"/>
                  </a:lnTo>
                  <a:lnTo>
                    <a:pt x="50" y="63"/>
                  </a:lnTo>
                  <a:lnTo>
                    <a:pt x="50" y="67"/>
                  </a:lnTo>
                  <a:lnTo>
                    <a:pt x="51" y="67"/>
                  </a:lnTo>
                  <a:lnTo>
                    <a:pt x="51" y="69"/>
                  </a:lnTo>
                  <a:lnTo>
                    <a:pt x="50" y="69"/>
                  </a:lnTo>
                  <a:lnTo>
                    <a:pt x="49" y="68"/>
                  </a:lnTo>
                  <a:lnTo>
                    <a:pt x="47" y="68"/>
                  </a:lnTo>
                  <a:lnTo>
                    <a:pt x="47" y="69"/>
                  </a:lnTo>
                  <a:lnTo>
                    <a:pt x="46" y="68"/>
                  </a:lnTo>
                  <a:lnTo>
                    <a:pt x="46" y="69"/>
                  </a:lnTo>
                  <a:lnTo>
                    <a:pt x="44" y="69"/>
                  </a:lnTo>
                  <a:lnTo>
                    <a:pt x="44" y="70"/>
                  </a:lnTo>
                  <a:lnTo>
                    <a:pt x="45" y="70"/>
                  </a:lnTo>
                  <a:lnTo>
                    <a:pt x="45" y="72"/>
                  </a:lnTo>
                  <a:lnTo>
                    <a:pt x="44" y="72"/>
                  </a:lnTo>
                  <a:lnTo>
                    <a:pt x="43" y="74"/>
                  </a:lnTo>
                  <a:lnTo>
                    <a:pt x="41" y="74"/>
                  </a:lnTo>
                  <a:lnTo>
                    <a:pt x="40" y="72"/>
                  </a:lnTo>
                  <a:lnTo>
                    <a:pt x="40" y="71"/>
                  </a:lnTo>
                  <a:lnTo>
                    <a:pt x="41" y="70"/>
                  </a:lnTo>
                  <a:lnTo>
                    <a:pt x="43" y="70"/>
                  </a:lnTo>
                  <a:lnTo>
                    <a:pt x="41" y="69"/>
                  </a:lnTo>
                  <a:lnTo>
                    <a:pt x="40" y="69"/>
                  </a:lnTo>
                  <a:lnTo>
                    <a:pt x="38" y="71"/>
                  </a:lnTo>
                  <a:lnTo>
                    <a:pt x="38" y="72"/>
                  </a:lnTo>
                  <a:lnTo>
                    <a:pt x="34" y="80"/>
                  </a:lnTo>
                  <a:lnTo>
                    <a:pt x="33" y="81"/>
                  </a:lnTo>
                  <a:lnTo>
                    <a:pt x="31" y="81"/>
                  </a:lnTo>
                  <a:lnTo>
                    <a:pt x="28" y="80"/>
                  </a:lnTo>
                  <a:lnTo>
                    <a:pt x="27" y="78"/>
                  </a:lnTo>
                  <a:lnTo>
                    <a:pt x="27" y="77"/>
                  </a:lnTo>
                  <a:lnTo>
                    <a:pt x="28" y="76"/>
                  </a:lnTo>
                  <a:lnTo>
                    <a:pt x="27" y="76"/>
                  </a:lnTo>
                  <a:lnTo>
                    <a:pt x="27" y="74"/>
                  </a:lnTo>
                  <a:lnTo>
                    <a:pt x="26" y="72"/>
                  </a:lnTo>
                  <a:lnTo>
                    <a:pt x="26" y="68"/>
                  </a:lnTo>
                  <a:lnTo>
                    <a:pt x="25" y="67"/>
                  </a:lnTo>
                  <a:lnTo>
                    <a:pt x="24" y="64"/>
                  </a:lnTo>
                  <a:lnTo>
                    <a:pt x="22" y="64"/>
                  </a:lnTo>
                  <a:lnTo>
                    <a:pt x="21" y="63"/>
                  </a:lnTo>
                  <a:lnTo>
                    <a:pt x="20" y="64"/>
                  </a:lnTo>
                  <a:lnTo>
                    <a:pt x="15" y="64"/>
                  </a:lnTo>
                  <a:lnTo>
                    <a:pt x="9" y="61"/>
                  </a:lnTo>
                  <a:lnTo>
                    <a:pt x="9" y="59"/>
                  </a:lnTo>
                  <a:lnTo>
                    <a:pt x="12" y="58"/>
                  </a:lnTo>
                  <a:lnTo>
                    <a:pt x="14" y="59"/>
                  </a:lnTo>
                  <a:lnTo>
                    <a:pt x="27" y="57"/>
                  </a:lnTo>
                  <a:lnTo>
                    <a:pt x="28" y="57"/>
                  </a:lnTo>
                  <a:lnTo>
                    <a:pt x="28" y="53"/>
                  </a:lnTo>
                  <a:lnTo>
                    <a:pt x="29" y="53"/>
                  </a:lnTo>
                  <a:lnTo>
                    <a:pt x="32" y="51"/>
                  </a:lnTo>
                  <a:lnTo>
                    <a:pt x="32" y="47"/>
                  </a:lnTo>
                  <a:close/>
                  <a:moveTo>
                    <a:pt x="113" y="6"/>
                  </a:moveTo>
                  <a:lnTo>
                    <a:pt x="114" y="7"/>
                  </a:lnTo>
                  <a:lnTo>
                    <a:pt x="115" y="9"/>
                  </a:lnTo>
                  <a:lnTo>
                    <a:pt x="114" y="9"/>
                  </a:lnTo>
                  <a:lnTo>
                    <a:pt x="113" y="10"/>
                  </a:lnTo>
                  <a:lnTo>
                    <a:pt x="112" y="9"/>
                  </a:lnTo>
                  <a:lnTo>
                    <a:pt x="112" y="7"/>
                  </a:lnTo>
                  <a:lnTo>
                    <a:pt x="113" y="6"/>
                  </a:lnTo>
                  <a:close/>
                  <a:moveTo>
                    <a:pt x="156" y="0"/>
                  </a:moveTo>
                  <a:lnTo>
                    <a:pt x="157" y="0"/>
                  </a:lnTo>
                  <a:lnTo>
                    <a:pt x="158" y="3"/>
                  </a:lnTo>
                  <a:lnTo>
                    <a:pt x="159" y="4"/>
                  </a:lnTo>
                  <a:lnTo>
                    <a:pt x="161" y="4"/>
                  </a:lnTo>
                  <a:lnTo>
                    <a:pt x="162" y="7"/>
                  </a:lnTo>
                  <a:lnTo>
                    <a:pt x="163" y="8"/>
                  </a:lnTo>
                  <a:lnTo>
                    <a:pt x="165" y="8"/>
                  </a:lnTo>
                  <a:lnTo>
                    <a:pt x="165" y="4"/>
                  </a:lnTo>
                  <a:lnTo>
                    <a:pt x="164" y="4"/>
                  </a:lnTo>
                  <a:lnTo>
                    <a:pt x="164" y="0"/>
                  </a:lnTo>
                  <a:lnTo>
                    <a:pt x="165" y="0"/>
                  </a:lnTo>
                  <a:lnTo>
                    <a:pt x="168" y="2"/>
                  </a:lnTo>
                  <a:lnTo>
                    <a:pt x="168" y="3"/>
                  </a:lnTo>
                  <a:lnTo>
                    <a:pt x="169" y="4"/>
                  </a:lnTo>
                  <a:lnTo>
                    <a:pt x="169" y="7"/>
                  </a:lnTo>
                  <a:lnTo>
                    <a:pt x="170" y="8"/>
                  </a:lnTo>
                  <a:lnTo>
                    <a:pt x="173" y="6"/>
                  </a:lnTo>
                  <a:lnTo>
                    <a:pt x="171" y="4"/>
                  </a:lnTo>
                  <a:lnTo>
                    <a:pt x="173" y="3"/>
                  </a:lnTo>
                  <a:lnTo>
                    <a:pt x="174" y="3"/>
                  </a:lnTo>
                  <a:lnTo>
                    <a:pt x="175" y="6"/>
                  </a:lnTo>
                  <a:lnTo>
                    <a:pt x="176" y="6"/>
                  </a:lnTo>
                  <a:lnTo>
                    <a:pt x="176" y="3"/>
                  </a:lnTo>
                  <a:lnTo>
                    <a:pt x="178" y="3"/>
                  </a:lnTo>
                  <a:lnTo>
                    <a:pt x="181" y="6"/>
                  </a:lnTo>
                  <a:lnTo>
                    <a:pt x="181" y="7"/>
                  </a:lnTo>
                  <a:lnTo>
                    <a:pt x="190" y="7"/>
                  </a:lnTo>
                  <a:lnTo>
                    <a:pt x="192" y="8"/>
                  </a:lnTo>
                  <a:lnTo>
                    <a:pt x="196" y="10"/>
                  </a:lnTo>
                  <a:lnTo>
                    <a:pt x="199" y="10"/>
                  </a:lnTo>
                  <a:lnTo>
                    <a:pt x="199" y="12"/>
                  </a:lnTo>
                  <a:lnTo>
                    <a:pt x="201" y="9"/>
                  </a:lnTo>
                  <a:lnTo>
                    <a:pt x="203" y="9"/>
                  </a:lnTo>
                  <a:lnTo>
                    <a:pt x="206" y="10"/>
                  </a:lnTo>
                  <a:lnTo>
                    <a:pt x="208" y="13"/>
                  </a:lnTo>
                  <a:lnTo>
                    <a:pt x="211" y="14"/>
                  </a:lnTo>
                  <a:lnTo>
                    <a:pt x="212" y="16"/>
                  </a:lnTo>
                  <a:lnTo>
                    <a:pt x="214" y="18"/>
                  </a:lnTo>
                  <a:lnTo>
                    <a:pt x="215" y="19"/>
                  </a:lnTo>
                  <a:lnTo>
                    <a:pt x="217" y="19"/>
                  </a:lnTo>
                  <a:lnTo>
                    <a:pt x="224" y="20"/>
                  </a:lnTo>
                  <a:lnTo>
                    <a:pt x="231" y="19"/>
                  </a:lnTo>
                  <a:lnTo>
                    <a:pt x="237" y="19"/>
                  </a:lnTo>
                  <a:lnTo>
                    <a:pt x="243" y="21"/>
                  </a:lnTo>
                  <a:lnTo>
                    <a:pt x="250" y="21"/>
                  </a:lnTo>
                  <a:lnTo>
                    <a:pt x="256" y="24"/>
                  </a:lnTo>
                  <a:lnTo>
                    <a:pt x="258" y="22"/>
                  </a:lnTo>
                  <a:lnTo>
                    <a:pt x="261" y="20"/>
                  </a:lnTo>
                  <a:lnTo>
                    <a:pt x="262" y="18"/>
                  </a:lnTo>
                  <a:lnTo>
                    <a:pt x="263" y="19"/>
                  </a:lnTo>
                  <a:lnTo>
                    <a:pt x="265" y="20"/>
                  </a:lnTo>
                  <a:lnTo>
                    <a:pt x="265" y="21"/>
                  </a:lnTo>
                  <a:lnTo>
                    <a:pt x="267" y="24"/>
                  </a:lnTo>
                  <a:lnTo>
                    <a:pt x="268" y="24"/>
                  </a:lnTo>
                  <a:lnTo>
                    <a:pt x="268" y="25"/>
                  </a:lnTo>
                  <a:lnTo>
                    <a:pt x="269" y="26"/>
                  </a:lnTo>
                  <a:lnTo>
                    <a:pt x="269" y="27"/>
                  </a:lnTo>
                  <a:lnTo>
                    <a:pt x="268" y="27"/>
                  </a:lnTo>
                  <a:lnTo>
                    <a:pt x="267" y="28"/>
                  </a:lnTo>
                  <a:lnTo>
                    <a:pt x="263" y="28"/>
                  </a:lnTo>
                  <a:lnTo>
                    <a:pt x="262" y="29"/>
                  </a:lnTo>
                  <a:lnTo>
                    <a:pt x="264" y="31"/>
                  </a:lnTo>
                  <a:lnTo>
                    <a:pt x="265" y="31"/>
                  </a:lnTo>
                  <a:lnTo>
                    <a:pt x="264" y="32"/>
                  </a:lnTo>
                  <a:lnTo>
                    <a:pt x="260" y="32"/>
                  </a:lnTo>
                  <a:lnTo>
                    <a:pt x="257" y="33"/>
                  </a:lnTo>
                  <a:lnTo>
                    <a:pt x="256" y="34"/>
                  </a:lnTo>
                  <a:lnTo>
                    <a:pt x="257" y="35"/>
                  </a:lnTo>
                  <a:lnTo>
                    <a:pt x="256" y="37"/>
                  </a:lnTo>
                  <a:lnTo>
                    <a:pt x="255" y="44"/>
                  </a:lnTo>
                  <a:lnTo>
                    <a:pt x="252" y="50"/>
                  </a:lnTo>
                  <a:lnTo>
                    <a:pt x="251" y="52"/>
                  </a:lnTo>
                  <a:lnTo>
                    <a:pt x="249" y="56"/>
                  </a:lnTo>
                  <a:lnTo>
                    <a:pt x="249" y="57"/>
                  </a:lnTo>
                  <a:lnTo>
                    <a:pt x="244" y="62"/>
                  </a:lnTo>
                  <a:lnTo>
                    <a:pt x="238" y="67"/>
                  </a:lnTo>
                  <a:lnTo>
                    <a:pt x="236" y="76"/>
                  </a:lnTo>
                  <a:lnTo>
                    <a:pt x="237" y="80"/>
                  </a:lnTo>
                  <a:lnTo>
                    <a:pt x="237" y="84"/>
                  </a:lnTo>
                  <a:lnTo>
                    <a:pt x="239" y="94"/>
                  </a:lnTo>
                  <a:lnTo>
                    <a:pt x="242" y="106"/>
                  </a:lnTo>
                  <a:lnTo>
                    <a:pt x="238" y="112"/>
                  </a:lnTo>
                  <a:lnTo>
                    <a:pt x="238" y="119"/>
                  </a:lnTo>
                  <a:lnTo>
                    <a:pt x="240" y="124"/>
                  </a:lnTo>
                  <a:lnTo>
                    <a:pt x="242" y="127"/>
                  </a:lnTo>
                  <a:lnTo>
                    <a:pt x="244" y="130"/>
                  </a:lnTo>
                  <a:lnTo>
                    <a:pt x="244" y="137"/>
                  </a:lnTo>
                  <a:lnTo>
                    <a:pt x="245" y="138"/>
                  </a:lnTo>
                  <a:lnTo>
                    <a:pt x="245" y="144"/>
                  </a:lnTo>
                  <a:lnTo>
                    <a:pt x="250" y="147"/>
                  </a:lnTo>
                  <a:lnTo>
                    <a:pt x="251" y="149"/>
                  </a:lnTo>
                  <a:lnTo>
                    <a:pt x="250" y="149"/>
                  </a:lnTo>
                  <a:lnTo>
                    <a:pt x="249" y="150"/>
                  </a:lnTo>
                  <a:lnTo>
                    <a:pt x="246" y="151"/>
                  </a:lnTo>
                  <a:lnTo>
                    <a:pt x="240" y="153"/>
                  </a:lnTo>
                  <a:lnTo>
                    <a:pt x="239" y="153"/>
                  </a:lnTo>
                  <a:lnTo>
                    <a:pt x="240" y="154"/>
                  </a:lnTo>
                  <a:lnTo>
                    <a:pt x="239" y="154"/>
                  </a:lnTo>
                  <a:lnTo>
                    <a:pt x="238" y="155"/>
                  </a:lnTo>
                  <a:lnTo>
                    <a:pt x="238" y="160"/>
                  </a:lnTo>
                  <a:lnTo>
                    <a:pt x="237" y="161"/>
                  </a:lnTo>
                  <a:lnTo>
                    <a:pt x="233" y="162"/>
                  </a:lnTo>
                  <a:lnTo>
                    <a:pt x="233" y="163"/>
                  </a:lnTo>
                  <a:lnTo>
                    <a:pt x="232" y="163"/>
                  </a:lnTo>
                  <a:lnTo>
                    <a:pt x="232" y="164"/>
                  </a:lnTo>
                  <a:lnTo>
                    <a:pt x="233" y="166"/>
                  </a:lnTo>
                  <a:lnTo>
                    <a:pt x="233" y="168"/>
                  </a:lnTo>
                  <a:lnTo>
                    <a:pt x="232" y="168"/>
                  </a:lnTo>
                  <a:lnTo>
                    <a:pt x="232" y="169"/>
                  </a:lnTo>
                  <a:lnTo>
                    <a:pt x="231" y="169"/>
                  </a:lnTo>
                  <a:lnTo>
                    <a:pt x="231" y="174"/>
                  </a:lnTo>
                  <a:lnTo>
                    <a:pt x="230" y="175"/>
                  </a:lnTo>
                  <a:lnTo>
                    <a:pt x="224" y="173"/>
                  </a:lnTo>
                  <a:lnTo>
                    <a:pt x="220" y="173"/>
                  </a:lnTo>
                  <a:lnTo>
                    <a:pt x="218" y="170"/>
                  </a:lnTo>
                  <a:lnTo>
                    <a:pt x="217" y="168"/>
                  </a:lnTo>
                  <a:lnTo>
                    <a:pt x="215" y="168"/>
                  </a:lnTo>
                  <a:lnTo>
                    <a:pt x="214" y="167"/>
                  </a:lnTo>
                  <a:lnTo>
                    <a:pt x="212" y="167"/>
                  </a:lnTo>
                  <a:lnTo>
                    <a:pt x="211" y="166"/>
                  </a:lnTo>
                  <a:lnTo>
                    <a:pt x="211" y="167"/>
                  </a:lnTo>
                  <a:lnTo>
                    <a:pt x="209" y="168"/>
                  </a:lnTo>
                  <a:lnTo>
                    <a:pt x="209" y="169"/>
                  </a:lnTo>
                  <a:lnTo>
                    <a:pt x="208" y="169"/>
                  </a:lnTo>
                  <a:lnTo>
                    <a:pt x="208" y="170"/>
                  </a:lnTo>
                  <a:lnTo>
                    <a:pt x="202" y="170"/>
                  </a:lnTo>
                  <a:lnTo>
                    <a:pt x="200" y="173"/>
                  </a:lnTo>
                  <a:lnTo>
                    <a:pt x="200" y="174"/>
                  </a:lnTo>
                  <a:lnTo>
                    <a:pt x="196" y="174"/>
                  </a:lnTo>
                  <a:lnTo>
                    <a:pt x="195" y="175"/>
                  </a:lnTo>
                  <a:lnTo>
                    <a:pt x="194" y="174"/>
                  </a:lnTo>
                  <a:lnTo>
                    <a:pt x="193" y="172"/>
                  </a:lnTo>
                  <a:lnTo>
                    <a:pt x="193" y="170"/>
                  </a:lnTo>
                  <a:lnTo>
                    <a:pt x="189" y="169"/>
                  </a:lnTo>
                  <a:lnTo>
                    <a:pt x="187" y="168"/>
                  </a:lnTo>
                  <a:lnTo>
                    <a:pt x="186" y="166"/>
                  </a:lnTo>
                  <a:lnTo>
                    <a:pt x="182" y="160"/>
                  </a:lnTo>
                  <a:lnTo>
                    <a:pt x="181" y="157"/>
                  </a:lnTo>
                  <a:lnTo>
                    <a:pt x="176" y="154"/>
                  </a:lnTo>
                  <a:lnTo>
                    <a:pt x="175" y="153"/>
                  </a:lnTo>
                  <a:lnTo>
                    <a:pt x="175" y="150"/>
                  </a:lnTo>
                  <a:lnTo>
                    <a:pt x="176" y="150"/>
                  </a:lnTo>
                  <a:lnTo>
                    <a:pt x="176" y="149"/>
                  </a:lnTo>
                  <a:lnTo>
                    <a:pt x="175" y="149"/>
                  </a:lnTo>
                  <a:lnTo>
                    <a:pt x="175" y="148"/>
                  </a:lnTo>
                  <a:lnTo>
                    <a:pt x="167" y="148"/>
                  </a:lnTo>
                  <a:lnTo>
                    <a:pt x="165" y="147"/>
                  </a:lnTo>
                  <a:lnTo>
                    <a:pt x="164" y="144"/>
                  </a:lnTo>
                  <a:lnTo>
                    <a:pt x="164" y="143"/>
                  </a:lnTo>
                  <a:lnTo>
                    <a:pt x="163" y="142"/>
                  </a:lnTo>
                  <a:lnTo>
                    <a:pt x="162" y="142"/>
                  </a:lnTo>
                  <a:lnTo>
                    <a:pt x="161" y="143"/>
                  </a:lnTo>
                  <a:lnTo>
                    <a:pt x="158" y="143"/>
                  </a:lnTo>
                  <a:lnTo>
                    <a:pt x="156" y="141"/>
                  </a:lnTo>
                  <a:lnTo>
                    <a:pt x="156" y="138"/>
                  </a:lnTo>
                  <a:lnTo>
                    <a:pt x="153" y="138"/>
                  </a:lnTo>
                  <a:lnTo>
                    <a:pt x="152" y="137"/>
                  </a:lnTo>
                  <a:lnTo>
                    <a:pt x="150" y="133"/>
                  </a:lnTo>
                  <a:lnTo>
                    <a:pt x="147" y="132"/>
                  </a:lnTo>
                  <a:lnTo>
                    <a:pt x="147" y="133"/>
                  </a:lnTo>
                  <a:lnTo>
                    <a:pt x="146" y="132"/>
                  </a:lnTo>
                  <a:lnTo>
                    <a:pt x="146" y="131"/>
                  </a:lnTo>
                  <a:lnTo>
                    <a:pt x="145" y="130"/>
                  </a:lnTo>
                  <a:lnTo>
                    <a:pt x="144" y="130"/>
                  </a:lnTo>
                  <a:lnTo>
                    <a:pt x="144" y="131"/>
                  </a:lnTo>
                  <a:lnTo>
                    <a:pt x="145" y="133"/>
                  </a:lnTo>
                  <a:lnTo>
                    <a:pt x="145" y="135"/>
                  </a:lnTo>
                  <a:lnTo>
                    <a:pt x="143" y="137"/>
                  </a:lnTo>
                  <a:lnTo>
                    <a:pt x="142" y="137"/>
                  </a:lnTo>
                  <a:lnTo>
                    <a:pt x="142" y="136"/>
                  </a:lnTo>
                  <a:lnTo>
                    <a:pt x="140" y="135"/>
                  </a:lnTo>
                  <a:lnTo>
                    <a:pt x="140" y="131"/>
                  </a:lnTo>
                  <a:lnTo>
                    <a:pt x="139" y="130"/>
                  </a:lnTo>
                  <a:lnTo>
                    <a:pt x="136" y="130"/>
                  </a:lnTo>
                  <a:lnTo>
                    <a:pt x="131" y="135"/>
                  </a:lnTo>
                  <a:lnTo>
                    <a:pt x="127" y="135"/>
                  </a:lnTo>
                  <a:lnTo>
                    <a:pt x="126" y="136"/>
                  </a:lnTo>
                  <a:lnTo>
                    <a:pt x="126" y="137"/>
                  </a:lnTo>
                  <a:lnTo>
                    <a:pt x="124" y="137"/>
                  </a:lnTo>
                  <a:lnTo>
                    <a:pt x="122" y="136"/>
                  </a:lnTo>
                  <a:lnTo>
                    <a:pt x="121" y="136"/>
                  </a:lnTo>
                  <a:lnTo>
                    <a:pt x="120" y="138"/>
                  </a:lnTo>
                  <a:lnTo>
                    <a:pt x="119" y="139"/>
                  </a:lnTo>
                  <a:lnTo>
                    <a:pt x="113" y="139"/>
                  </a:lnTo>
                  <a:lnTo>
                    <a:pt x="111" y="141"/>
                  </a:lnTo>
                  <a:lnTo>
                    <a:pt x="108" y="143"/>
                  </a:lnTo>
                  <a:lnTo>
                    <a:pt x="108" y="144"/>
                  </a:lnTo>
                  <a:lnTo>
                    <a:pt x="107" y="145"/>
                  </a:lnTo>
                  <a:lnTo>
                    <a:pt x="103" y="145"/>
                  </a:lnTo>
                  <a:lnTo>
                    <a:pt x="103" y="144"/>
                  </a:lnTo>
                  <a:lnTo>
                    <a:pt x="105" y="144"/>
                  </a:lnTo>
                  <a:lnTo>
                    <a:pt x="105" y="141"/>
                  </a:lnTo>
                  <a:lnTo>
                    <a:pt x="107" y="136"/>
                  </a:lnTo>
                  <a:lnTo>
                    <a:pt x="107" y="133"/>
                  </a:lnTo>
                  <a:lnTo>
                    <a:pt x="109" y="130"/>
                  </a:lnTo>
                  <a:lnTo>
                    <a:pt x="111" y="129"/>
                  </a:lnTo>
                  <a:lnTo>
                    <a:pt x="111" y="114"/>
                  </a:lnTo>
                  <a:lnTo>
                    <a:pt x="112" y="113"/>
                  </a:lnTo>
                  <a:lnTo>
                    <a:pt x="113" y="113"/>
                  </a:lnTo>
                  <a:lnTo>
                    <a:pt x="114" y="112"/>
                  </a:lnTo>
                  <a:lnTo>
                    <a:pt x="115" y="110"/>
                  </a:lnTo>
                  <a:lnTo>
                    <a:pt x="109" y="104"/>
                  </a:lnTo>
                  <a:lnTo>
                    <a:pt x="108" y="104"/>
                  </a:lnTo>
                  <a:lnTo>
                    <a:pt x="107" y="102"/>
                  </a:lnTo>
                  <a:lnTo>
                    <a:pt x="105" y="104"/>
                  </a:lnTo>
                  <a:lnTo>
                    <a:pt x="105" y="105"/>
                  </a:lnTo>
                  <a:lnTo>
                    <a:pt x="103" y="106"/>
                  </a:lnTo>
                  <a:lnTo>
                    <a:pt x="103" y="110"/>
                  </a:lnTo>
                  <a:lnTo>
                    <a:pt x="102" y="112"/>
                  </a:lnTo>
                  <a:lnTo>
                    <a:pt x="101" y="112"/>
                  </a:lnTo>
                  <a:lnTo>
                    <a:pt x="101" y="113"/>
                  </a:lnTo>
                  <a:lnTo>
                    <a:pt x="100" y="113"/>
                  </a:lnTo>
                  <a:lnTo>
                    <a:pt x="99" y="112"/>
                  </a:lnTo>
                  <a:lnTo>
                    <a:pt x="97" y="112"/>
                  </a:lnTo>
                  <a:lnTo>
                    <a:pt x="97" y="113"/>
                  </a:lnTo>
                  <a:lnTo>
                    <a:pt x="96" y="114"/>
                  </a:lnTo>
                  <a:lnTo>
                    <a:pt x="96" y="115"/>
                  </a:lnTo>
                  <a:lnTo>
                    <a:pt x="95" y="114"/>
                  </a:lnTo>
                  <a:lnTo>
                    <a:pt x="94" y="112"/>
                  </a:lnTo>
                  <a:lnTo>
                    <a:pt x="91" y="111"/>
                  </a:lnTo>
                  <a:lnTo>
                    <a:pt x="90" y="108"/>
                  </a:lnTo>
                  <a:lnTo>
                    <a:pt x="88" y="107"/>
                  </a:lnTo>
                  <a:lnTo>
                    <a:pt x="84" y="107"/>
                  </a:lnTo>
                  <a:lnTo>
                    <a:pt x="84" y="106"/>
                  </a:lnTo>
                  <a:lnTo>
                    <a:pt x="82" y="106"/>
                  </a:lnTo>
                  <a:lnTo>
                    <a:pt x="81" y="107"/>
                  </a:lnTo>
                  <a:lnTo>
                    <a:pt x="80" y="106"/>
                  </a:lnTo>
                  <a:lnTo>
                    <a:pt x="80" y="102"/>
                  </a:lnTo>
                  <a:lnTo>
                    <a:pt x="78" y="101"/>
                  </a:lnTo>
                  <a:lnTo>
                    <a:pt x="78" y="100"/>
                  </a:lnTo>
                  <a:lnTo>
                    <a:pt x="77" y="99"/>
                  </a:lnTo>
                  <a:lnTo>
                    <a:pt x="78" y="96"/>
                  </a:lnTo>
                  <a:lnTo>
                    <a:pt x="78" y="92"/>
                  </a:lnTo>
                  <a:lnTo>
                    <a:pt x="75" y="92"/>
                  </a:lnTo>
                  <a:lnTo>
                    <a:pt x="74" y="90"/>
                  </a:lnTo>
                  <a:lnTo>
                    <a:pt x="74" y="88"/>
                  </a:lnTo>
                  <a:lnTo>
                    <a:pt x="72" y="87"/>
                  </a:lnTo>
                  <a:lnTo>
                    <a:pt x="72" y="88"/>
                  </a:lnTo>
                  <a:lnTo>
                    <a:pt x="71" y="88"/>
                  </a:lnTo>
                  <a:lnTo>
                    <a:pt x="71" y="89"/>
                  </a:lnTo>
                  <a:lnTo>
                    <a:pt x="70" y="89"/>
                  </a:lnTo>
                  <a:lnTo>
                    <a:pt x="70" y="87"/>
                  </a:lnTo>
                  <a:lnTo>
                    <a:pt x="71" y="87"/>
                  </a:lnTo>
                  <a:lnTo>
                    <a:pt x="71" y="84"/>
                  </a:lnTo>
                  <a:lnTo>
                    <a:pt x="70" y="82"/>
                  </a:lnTo>
                  <a:lnTo>
                    <a:pt x="70" y="78"/>
                  </a:lnTo>
                  <a:lnTo>
                    <a:pt x="71" y="77"/>
                  </a:lnTo>
                  <a:lnTo>
                    <a:pt x="72" y="77"/>
                  </a:lnTo>
                  <a:lnTo>
                    <a:pt x="72" y="76"/>
                  </a:lnTo>
                  <a:lnTo>
                    <a:pt x="71" y="75"/>
                  </a:lnTo>
                  <a:lnTo>
                    <a:pt x="72" y="74"/>
                  </a:lnTo>
                  <a:lnTo>
                    <a:pt x="75" y="75"/>
                  </a:lnTo>
                  <a:lnTo>
                    <a:pt x="76" y="75"/>
                  </a:lnTo>
                  <a:lnTo>
                    <a:pt x="77" y="74"/>
                  </a:lnTo>
                  <a:lnTo>
                    <a:pt x="80" y="74"/>
                  </a:lnTo>
                  <a:lnTo>
                    <a:pt x="82" y="75"/>
                  </a:lnTo>
                  <a:lnTo>
                    <a:pt x="83" y="75"/>
                  </a:lnTo>
                  <a:lnTo>
                    <a:pt x="83" y="74"/>
                  </a:lnTo>
                  <a:lnTo>
                    <a:pt x="82" y="72"/>
                  </a:lnTo>
                  <a:lnTo>
                    <a:pt x="83" y="71"/>
                  </a:lnTo>
                  <a:lnTo>
                    <a:pt x="84" y="71"/>
                  </a:lnTo>
                  <a:lnTo>
                    <a:pt x="86" y="72"/>
                  </a:lnTo>
                  <a:lnTo>
                    <a:pt x="87" y="72"/>
                  </a:lnTo>
                  <a:lnTo>
                    <a:pt x="84" y="70"/>
                  </a:lnTo>
                  <a:lnTo>
                    <a:pt x="83" y="70"/>
                  </a:lnTo>
                  <a:lnTo>
                    <a:pt x="82" y="71"/>
                  </a:lnTo>
                  <a:lnTo>
                    <a:pt x="81" y="70"/>
                  </a:lnTo>
                  <a:lnTo>
                    <a:pt x="74" y="70"/>
                  </a:lnTo>
                  <a:lnTo>
                    <a:pt x="74" y="71"/>
                  </a:lnTo>
                  <a:lnTo>
                    <a:pt x="70" y="71"/>
                  </a:lnTo>
                  <a:lnTo>
                    <a:pt x="68" y="72"/>
                  </a:lnTo>
                  <a:lnTo>
                    <a:pt x="69" y="69"/>
                  </a:lnTo>
                  <a:lnTo>
                    <a:pt x="71" y="69"/>
                  </a:lnTo>
                  <a:lnTo>
                    <a:pt x="72" y="68"/>
                  </a:lnTo>
                  <a:lnTo>
                    <a:pt x="69" y="64"/>
                  </a:lnTo>
                  <a:lnTo>
                    <a:pt x="69" y="63"/>
                  </a:lnTo>
                  <a:lnTo>
                    <a:pt x="68" y="61"/>
                  </a:lnTo>
                  <a:lnTo>
                    <a:pt x="68" y="59"/>
                  </a:lnTo>
                  <a:lnTo>
                    <a:pt x="69" y="58"/>
                  </a:lnTo>
                  <a:lnTo>
                    <a:pt x="71" y="58"/>
                  </a:lnTo>
                  <a:lnTo>
                    <a:pt x="72" y="57"/>
                  </a:lnTo>
                  <a:lnTo>
                    <a:pt x="75" y="57"/>
                  </a:lnTo>
                  <a:lnTo>
                    <a:pt x="76" y="56"/>
                  </a:lnTo>
                  <a:lnTo>
                    <a:pt x="76" y="52"/>
                  </a:lnTo>
                  <a:lnTo>
                    <a:pt x="75" y="52"/>
                  </a:lnTo>
                  <a:lnTo>
                    <a:pt x="75" y="53"/>
                  </a:lnTo>
                  <a:lnTo>
                    <a:pt x="74" y="53"/>
                  </a:lnTo>
                  <a:lnTo>
                    <a:pt x="74" y="56"/>
                  </a:lnTo>
                  <a:lnTo>
                    <a:pt x="72" y="56"/>
                  </a:lnTo>
                  <a:lnTo>
                    <a:pt x="72" y="55"/>
                  </a:lnTo>
                  <a:lnTo>
                    <a:pt x="69" y="53"/>
                  </a:lnTo>
                  <a:lnTo>
                    <a:pt x="68" y="51"/>
                  </a:lnTo>
                  <a:lnTo>
                    <a:pt x="69" y="51"/>
                  </a:lnTo>
                  <a:lnTo>
                    <a:pt x="68" y="50"/>
                  </a:lnTo>
                  <a:lnTo>
                    <a:pt x="69" y="49"/>
                  </a:lnTo>
                  <a:lnTo>
                    <a:pt x="70" y="46"/>
                  </a:lnTo>
                  <a:lnTo>
                    <a:pt x="71" y="46"/>
                  </a:lnTo>
                  <a:lnTo>
                    <a:pt x="72" y="47"/>
                  </a:lnTo>
                  <a:lnTo>
                    <a:pt x="72" y="43"/>
                  </a:lnTo>
                  <a:lnTo>
                    <a:pt x="70" y="35"/>
                  </a:lnTo>
                  <a:lnTo>
                    <a:pt x="72" y="34"/>
                  </a:lnTo>
                  <a:lnTo>
                    <a:pt x="75" y="34"/>
                  </a:lnTo>
                  <a:lnTo>
                    <a:pt x="76" y="33"/>
                  </a:lnTo>
                  <a:lnTo>
                    <a:pt x="77" y="33"/>
                  </a:lnTo>
                  <a:lnTo>
                    <a:pt x="77" y="32"/>
                  </a:lnTo>
                  <a:lnTo>
                    <a:pt x="78" y="32"/>
                  </a:lnTo>
                  <a:lnTo>
                    <a:pt x="81" y="34"/>
                  </a:lnTo>
                  <a:lnTo>
                    <a:pt x="82" y="34"/>
                  </a:lnTo>
                  <a:lnTo>
                    <a:pt x="82" y="32"/>
                  </a:lnTo>
                  <a:lnTo>
                    <a:pt x="81" y="32"/>
                  </a:lnTo>
                  <a:lnTo>
                    <a:pt x="82" y="31"/>
                  </a:lnTo>
                  <a:lnTo>
                    <a:pt x="82" y="29"/>
                  </a:lnTo>
                  <a:lnTo>
                    <a:pt x="86" y="29"/>
                  </a:lnTo>
                  <a:lnTo>
                    <a:pt x="88" y="31"/>
                  </a:lnTo>
                  <a:lnTo>
                    <a:pt x="90" y="31"/>
                  </a:lnTo>
                  <a:lnTo>
                    <a:pt x="91" y="29"/>
                  </a:lnTo>
                  <a:lnTo>
                    <a:pt x="94" y="29"/>
                  </a:lnTo>
                  <a:lnTo>
                    <a:pt x="96" y="32"/>
                  </a:lnTo>
                  <a:lnTo>
                    <a:pt x="96" y="28"/>
                  </a:lnTo>
                  <a:lnTo>
                    <a:pt x="94" y="25"/>
                  </a:lnTo>
                  <a:lnTo>
                    <a:pt x="94" y="21"/>
                  </a:lnTo>
                  <a:lnTo>
                    <a:pt x="96" y="21"/>
                  </a:lnTo>
                  <a:lnTo>
                    <a:pt x="100" y="25"/>
                  </a:lnTo>
                  <a:lnTo>
                    <a:pt x="102" y="25"/>
                  </a:lnTo>
                  <a:lnTo>
                    <a:pt x="102" y="24"/>
                  </a:lnTo>
                  <a:lnTo>
                    <a:pt x="101" y="21"/>
                  </a:lnTo>
                  <a:lnTo>
                    <a:pt x="100" y="21"/>
                  </a:lnTo>
                  <a:lnTo>
                    <a:pt x="101" y="20"/>
                  </a:lnTo>
                  <a:lnTo>
                    <a:pt x="105" y="20"/>
                  </a:lnTo>
                  <a:lnTo>
                    <a:pt x="106" y="19"/>
                  </a:lnTo>
                  <a:lnTo>
                    <a:pt x="107" y="15"/>
                  </a:lnTo>
                  <a:lnTo>
                    <a:pt x="109" y="14"/>
                  </a:lnTo>
                  <a:lnTo>
                    <a:pt x="111" y="14"/>
                  </a:lnTo>
                  <a:lnTo>
                    <a:pt x="112" y="15"/>
                  </a:lnTo>
                  <a:lnTo>
                    <a:pt x="113" y="18"/>
                  </a:lnTo>
                  <a:lnTo>
                    <a:pt x="114" y="18"/>
                  </a:lnTo>
                  <a:lnTo>
                    <a:pt x="115" y="16"/>
                  </a:lnTo>
                  <a:lnTo>
                    <a:pt x="116" y="16"/>
                  </a:lnTo>
                  <a:lnTo>
                    <a:pt x="119" y="18"/>
                  </a:lnTo>
                  <a:lnTo>
                    <a:pt x="120" y="18"/>
                  </a:lnTo>
                  <a:lnTo>
                    <a:pt x="120" y="16"/>
                  </a:lnTo>
                  <a:lnTo>
                    <a:pt x="119" y="16"/>
                  </a:lnTo>
                  <a:lnTo>
                    <a:pt x="119" y="15"/>
                  </a:lnTo>
                  <a:lnTo>
                    <a:pt x="120" y="15"/>
                  </a:lnTo>
                  <a:lnTo>
                    <a:pt x="121" y="14"/>
                  </a:lnTo>
                  <a:lnTo>
                    <a:pt x="121" y="13"/>
                  </a:lnTo>
                  <a:lnTo>
                    <a:pt x="124" y="15"/>
                  </a:lnTo>
                  <a:lnTo>
                    <a:pt x="124" y="18"/>
                  </a:lnTo>
                  <a:lnTo>
                    <a:pt x="125" y="18"/>
                  </a:lnTo>
                  <a:lnTo>
                    <a:pt x="126" y="16"/>
                  </a:lnTo>
                  <a:lnTo>
                    <a:pt x="127" y="14"/>
                  </a:lnTo>
                  <a:lnTo>
                    <a:pt x="127" y="12"/>
                  </a:lnTo>
                  <a:lnTo>
                    <a:pt x="126" y="12"/>
                  </a:lnTo>
                  <a:lnTo>
                    <a:pt x="126" y="8"/>
                  </a:lnTo>
                  <a:lnTo>
                    <a:pt x="127" y="7"/>
                  </a:lnTo>
                  <a:lnTo>
                    <a:pt x="128" y="8"/>
                  </a:lnTo>
                  <a:lnTo>
                    <a:pt x="131" y="12"/>
                  </a:lnTo>
                  <a:lnTo>
                    <a:pt x="132" y="13"/>
                  </a:lnTo>
                  <a:lnTo>
                    <a:pt x="136" y="12"/>
                  </a:lnTo>
                  <a:lnTo>
                    <a:pt x="137" y="12"/>
                  </a:lnTo>
                  <a:lnTo>
                    <a:pt x="138" y="13"/>
                  </a:lnTo>
                  <a:lnTo>
                    <a:pt x="140" y="13"/>
                  </a:lnTo>
                  <a:lnTo>
                    <a:pt x="139" y="10"/>
                  </a:lnTo>
                  <a:lnTo>
                    <a:pt x="142" y="10"/>
                  </a:lnTo>
                  <a:lnTo>
                    <a:pt x="143" y="12"/>
                  </a:lnTo>
                  <a:lnTo>
                    <a:pt x="152" y="14"/>
                  </a:lnTo>
                  <a:lnTo>
                    <a:pt x="152" y="12"/>
                  </a:lnTo>
                  <a:lnTo>
                    <a:pt x="153" y="10"/>
                  </a:lnTo>
                  <a:lnTo>
                    <a:pt x="158" y="10"/>
                  </a:lnTo>
                  <a:lnTo>
                    <a:pt x="158" y="9"/>
                  </a:lnTo>
                  <a:lnTo>
                    <a:pt x="157" y="9"/>
                  </a:lnTo>
                  <a:lnTo>
                    <a:pt x="156" y="8"/>
                  </a:lnTo>
                  <a:lnTo>
                    <a:pt x="156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47">
              <a:extLst>
                <a:ext uri="{FF2B5EF4-FFF2-40B4-BE49-F238E27FC236}">
                  <a16:creationId xmlns:a16="http://schemas.microsoft.com/office/drawing/2014/main" id="{87E7C8A9-BF2C-4CED-A2D6-9E2DEDA521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87938" y="3571875"/>
              <a:ext cx="473075" cy="382588"/>
            </a:xfrm>
            <a:custGeom>
              <a:avLst/>
              <a:gdLst/>
              <a:ahLst/>
              <a:cxnLst>
                <a:cxn ang="0">
                  <a:pos x="101" y="217"/>
                </a:cxn>
                <a:cxn ang="0">
                  <a:pos x="186" y="213"/>
                </a:cxn>
                <a:cxn ang="0">
                  <a:pos x="176" y="204"/>
                </a:cxn>
                <a:cxn ang="0">
                  <a:pos x="71" y="210"/>
                </a:cxn>
                <a:cxn ang="0">
                  <a:pos x="23" y="198"/>
                </a:cxn>
                <a:cxn ang="0">
                  <a:pos x="117" y="206"/>
                </a:cxn>
                <a:cxn ang="0">
                  <a:pos x="20" y="203"/>
                </a:cxn>
                <a:cxn ang="0">
                  <a:pos x="296" y="206"/>
                </a:cxn>
                <a:cxn ang="0">
                  <a:pos x="68" y="176"/>
                </a:cxn>
                <a:cxn ang="0">
                  <a:pos x="102" y="169"/>
                </a:cxn>
                <a:cxn ang="0">
                  <a:pos x="111" y="171"/>
                </a:cxn>
                <a:cxn ang="0">
                  <a:pos x="115" y="196"/>
                </a:cxn>
                <a:cxn ang="0">
                  <a:pos x="87" y="198"/>
                </a:cxn>
                <a:cxn ang="0">
                  <a:pos x="73" y="180"/>
                </a:cxn>
                <a:cxn ang="0">
                  <a:pos x="190" y="167"/>
                </a:cxn>
                <a:cxn ang="0">
                  <a:pos x="108" y="151"/>
                </a:cxn>
                <a:cxn ang="0">
                  <a:pos x="183" y="127"/>
                </a:cxn>
                <a:cxn ang="0">
                  <a:pos x="186" y="163"/>
                </a:cxn>
                <a:cxn ang="0">
                  <a:pos x="170" y="197"/>
                </a:cxn>
                <a:cxn ang="0">
                  <a:pos x="163" y="209"/>
                </a:cxn>
                <a:cxn ang="0">
                  <a:pos x="164" y="240"/>
                </a:cxn>
                <a:cxn ang="0">
                  <a:pos x="142" y="237"/>
                </a:cxn>
                <a:cxn ang="0">
                  <a:pos x="140" y="219"/>
                </a:cxn>
                <a:cxn ang="0">
                  <a:pos x="153" y="213"/>
                </a:cxn>
                <a:cxn ang="0">
                  <a:pos x="153" y="194"/>
                </a:cxn>
                <a:cxn ang="0">
                  <a:pos x="132" y="184"/>
                </a:cxn>
                <a:cxn ang="0">
                  <a:pos x="127" y="163"/>
                </a:cxn>
                <a:cxn ang="0">
                  <a:pos x="139" y="153"/>
                </a:cxn>
                <a:cxn ang="0">
                  <a:pos x="153" y="142"/>
                </a:cxn>
                <a:cxn ang="0">
                  <a:pos x="155" y="160"/>
                </a:cxn>
                <a:cxn ang="0">
                  <a:pos x="161" y="160"/>
                </a:cxn>
                <a:cxn ang="0">
                  <a:pos x="45" y="85"/>
                </a:cxn>
                <a:cxn ang="0">
                  <a:pos x="147" y="83"/>
                </a:cxn>
                <a:cxn ang="0">
                  <a:pos x="33" y="69"/>
                </a:cxn>
                <a:cxn ang="0">
                  <a:pos x="20" y="74"/>
                </a:cxn>
                <a:cxn ang="0">
                  <a:pos x="79" y="54"/>
                </a:cxn>
                <a:cxn ang="0">
                  <a:pos x="127" y="38"/>
                </a:cxn>
                <a:cxn ang="0">
                  <a:pos x="99" y="13"/>
                </a:cxn>
                <a:cxn ang="0">
                  <a:pos x="95" y="81"/>
                </a:cxn>
                <a:cxn ang="0">
                  <a:pos x="96" y="90"/>
                </a:cxn>
                <a:cxn ang="0">
                  <a:pos x="109" y="117"/>
                </a:cxn>
                <a:cxn ang="0">
                  <a:pos x="101" y="114"/>
                </a:cxn>
                <a:cxn ang="0">
                  <a:pos x="89" y="143"/>
                </a:cxn>
                <a:cxn ang="0">
                  <a:pos x="76" y="158"/>
                </a:cxn>
                <a:cxn ang="0">
                  <a:pos x="60" y="173"/>
                </a:cxn>
                <a:cxn ang="0">
                  <a:pos x="61" y="196"/>
                </a:cxn>
                <a:cxn ang="0">
                  <a:pos x="70" y="210"/>
                </a:cxn>
                <a:cxn ang="0">
                  <a:pos x="60" y="219"/>
                </a:cxn>
                <a:cxn ang="0">
                  <a:pos x="24" y="203"/>
                </a:cxn>
                <a:cxn ang="0">
                  <a:pos x="8" y="171"/>
                </a:cxn>
                <a:cxn ang="0">
                  <a:pos x="9" y="146"/>
                </a:cxn>
                <a:cxn ang="0">
                  <a:pos x="5" y="85"/>
                </a:cxn>
                <a:cxn ang="0">
                  <a:pos x="28" y="92"/>
                </a:cxn>
                <a:cxn ang="0">
                  <a:pos x="43" y="77"/>
                </a:cxn>
                <a:cxn ang="0">
                  <a:pos x="49" y="92"/>
                </a:cxn>
                <a:cxn ang="0">
                  <a:pos x="48" y="80"/>
                </a:cxn>
                <a:cxn ang="0">
                  <a:pos x="64" y="61"/>
                </a:cxn>
                <a:cxn ang="0">
                  <a:pos x="48" y="57"/>
                </a:cxn>
                <a:cxn ang="0">
                  <a:pos x="25" y="62"/>
                </a:cxn>
                <a:cxn ang="0">
                  <a:pos x="17" y="84"/>
                </a:cxn>
                <a:cxn ang="0">
                  <a:pos x="16" y="57"/>
                </a:cxn>
                <a:cxn ang="0">
                  <a:pos x="79" y="12"/>
                </a:cxn>
              </a:cxnLst>
              <a:rect l="0" t="0" r="r" b="b"/>
              <a:pathLst>
                <a:path w="298" h="241">
                  <a:moveTo>
                    <a:pt x="77" y="216"/>
                  </a:moveTo>
                  <a:lnTo>
                    <a:pt x="79" y="219"/>
                  </a:lnTo>
                  <a:lnTo>
                    <a:pt x="80" y="219"/>
                  </a:lnTo>
                  <a:lnTo>
                    <a:pt x="79" y="220"/>
                  </a:lnTo>
                  <a:lnTo>
                    <a:pt x="78" y="219"/>
                  </a:lnTo>
                  <a:lnTo>
                    <a:pt x="77" y="219"/>
                  </a:lnTo>
                  <a:lnTo>
                    <a:pt x="76" y="217"/>
                  </a:lnTo>
                  <a:lnTo>
                    <a:pt x="77" y="216"/>
                  </a:lnTo>
                  <a:close/>
                  <a:moveTo>
                    <a:pt x="89" y="212"/>
                  </a:moveTo>
                  <a:lnTo>
                    <a:pt x="90" y="212"/>
                  </a:lnTo>
                  <a:lnTo>
                    <a:pt x="93" y="214"/>
                  </a:lnTo>
                  <a:lnTo>
                    <a:pt x="95" y="215"/>
                  </a:lnTo>
                  <a:lnTo>
                    <a:pt x="95" y="216"/>
                  </a:lnTo>
                  <a:lnTo>
                    <a:pt x="96" y="216"/>
                  </a:lnTo>
                  <a:lnTo>
                    <a:pt x="96" y="217"/>
                  </a:lnTo>
                  <a:lnTo>
                    <a:pt x="97" y="217"/>
                  </a:lnTo>
                  <a:lnTo>
                    <a:pt x="97" y="215"/>
                  </a:lnTo>
                  <a:lnTo>
                    <a:pt x="98" y="216"/>
                  </a:lnTo>
                  <a:lnTo>
                    <a:pt x="98" y="219"/>
                  </a:lnTo>
                  <a:lnTo>
                    <a:pt x="101" y="219"/>
                  </a:lnTo>
                  <a:lnTo>
                    <a:pt x="101" y="217"/>
                  </a:lnTo>
                  <a:lnTo>
                    <a:pt x="102" y="217"/>
                  </a:lnTo>
                  <a:lnTo>
                    <a:pt x="102" y="220"/>
                  </a:lnTo>
                  <a:lnTo>
                    <a:pt x="103" y="220"/>
                  </a:lnTo>
                  <a:lnTo>
                    <a:pt x="99" y="221"/>
                  </a:lnTo>
                  <a:lnTo>
                    <a:pt x="98" y="222"/>
                  </a:lnTo>
                  <a:lnTo>
                    <a:pt x="97" y="222"/>
                  </a:lnTo>
                  <a:lnTo>
                    <a:pt x="90" y="214"/>
                  </a:lnTo>
                  <a:lnTo>
                    <a:pt x="89" y="212"/>
                  </a:lnTo>
                  <a:close/>
                  <a:moveTo>
                    <a:pt x="154" y="204"/>
                  </a:moveTo>
                  <a:lnTo>
                    <a:pt x="155" y="206"/>
                  </a:lnTo>
                  <a:lnTo>
                    <a:pt x="154" y="206"/>
                  </a:lnTo>
                  <a:lnTo>
                    <a:pt x="154" y="204"/>
                  </a:lnTo>
                  <a:close/>
                  <a:moveTo>
                    <a:pt x="176" y="204"/>
                  </a:moveTo>
                  <a:lnTo>
                    <a:pt x="177" y="204"/>
                  </a:lnTo>
                  <a:lnTo>
                    <a:pt x="178" y="207"/>
                  </a:lnTo>
                  <a:lnTo>
                    <a:pt x="183" y="207"/>
                  </a:lnTo>
                  <a:lnTo>
                    <a:pt x="186" y="208"/>
                  </a:lnTo>
                  <a:lnTo>
                    <a:pt x="188" y="209"/>
                  </a:lnTo>
                  <a:lnTo>
                    <a:pt x="189" y="212"/>
                  </a:lnTo>
                  <a:lnTo>
                    <a:pt x="189" y="213"/>
                  </a:lnTo>
                  <a:lnTo>
                    <a:pt x="186" y="213"/>
                  </a:lnTo>
                  <a:lnTo>
                    <a:pt x="182" y="212"/>
                  </a:lnTo>
                  <a:lnTo>
                    <a:pt x="180" y="213"/>
                  </a:lnTo>
                  <a:lnTo>
                    <a:pt x="178" y="213"/>
                  </a:lnTo>
                  <a:lnTo>
                    <a:pt x="177" y="214"/>
                  </a:lnTo>
                  <a:lnTo>
                    <a:pt x="174" y="217"/>
                  </a:lnTo>
                  <a:lnTo>
                    <a:pt x="173" y="217"/>
                  </a:lnTo>
                  <a:lnTo>
                    <a:pt x="170" y="216"/>
                  </a:lnTo>
                  <a:lnTo>
                    <a:pt x="170" y="215"/>
                  </a:lnTo>
                  <a:lnTo>
                    <a:pt x="171" y="215"/>
                  </a:lnTo>
                  <a:lnTo>
                    <a:pt x="171" y="213"/>
                  </a:lnTo>
                  <a:lnTo>
                    <a:pt x="172" y="212"/>
                  </a:lnTo>
                  <a:lnTo>
                    <a:pt x="173" y="212"/>
                  </a:lnTo>
                  <a:lnTo>
                    <a:pt x="173" y="210"/>
                  </a:lnTo>
                  <a:lnTo>
                    <a:pt x="174" y="210"/>
                  </a:lnTo>
                  <a:lnTo>
                    <a:pt x="174" y="212"/>
                  </a:lnTo>
                  <a:lnTo>
                    <a:pt x="176" y="212"/>
                  </a:lnTo>
                  <a:lnTo>
                    <a:pt x="177" y="210"/>
                  </a:lnTo>
                  <a:lnTo>
                    <a:pt x="177" y="208"/>
                  </a:lnTo>
                  <a:lnTo>
                    <a:pt x="178" y="208"/>
                  </a:lnTo>
                  <a:lnTo>
                    <a:pt x="176" y="206"/>
                  </a:lnTo>
                  <a:lnTo>
                    <a:pt x="176" y="204"/>
                  </a:lnTo>
                  <a:close/>
                  <a:moveTo>
                    <a:pt x="153" y="204"/>
                  </a:moveTo>
                  <a:lnTo>
                    <a:pt x="154" y="204"/>
                  </a:lnTo>
                  <a:lnTo>
                    <a:pt x="153" y="204"/>
                  </a:lnTo>
                  <a:close/>
                  <a:moveTo>
                    <a:pt x="68" y="203"/>
                  </a:moveTo>
                  <a:lnTo>
                    <a:pt x="72" y="203"/>
                  </a:lnTo>
                  <a:lnTo>
                    <a:pt x="74" y="207"/>
                  </a:lnTo>
                  <a:lnTo>
                    <a:pt x="76" y="207"/>
                  </a:lnTo>
                  <a:lnTo>
                    <a:pt x="78" y="208"/>
                  </a:lnTo>
                  <a:lnTo>
                    <a:pt x="79" y="208"/>
                  </a:lnTo>
                  <a:lnTo>
                    <a:pt x="80" y="209"/>
                  </a:lnTo>
                  <a:lnTo>
                    <a:pt x="81" y="212"/>
                  </a:lnTo>
                  <a:lnTo>
                    <a:pt x="81" y="213"/>
                  </a:lnTo>
                  <a:lnTo>
                    <a:pt x="84" y="217"/>
                  </a:lnTo>
                  <a:lnTo>
                    <a:pt x="83" y="219"/>
                  </a:lnTo>
                  <a:lnTo>
                    <a:pt x="80" y="219"/>
                  </a:lnTo>
                  <a:lnTo>
                    <a:pt x="77" y="215"/>
                  </a:lnTo>
                  <a:lnTo>
                    <a:pt x="76" y="215"/>
                  </a:lnTo>
                  <a:lnTo>
                    <a:pt x="76" y="216"/>
                  </a:lnTo>
                  <a:lnTo>
                    <a:pt x="73" y="216"/>
                  </a:lnTo>
                  <a:lnTo>
                    <a:pt x="71" y="214"/>
                  </a:lnTo>
                  <a:lnTo>
                    <a:pt x="71" y="210"/>
                  </a:lnTo>
                  <a:lnTo>
                    <a:pt x="73" y="213"/>
                  </a:lnTo>
                  <a:lnTo>
                    <a:pt x="74" y="213"/>
                  </a:lnTo>
                  <a:lnTo>
                    <a:pt x="74" y="212"/>
                  </a:lnTo>
                  <a:lnTo>
                    <a:pt x="72" y="210"/>
                  </a:lnTo>
                  <a:lnTo>
                    <a:pt x="72" y="208"/>
                  </a:lnTo>
                  <a:lnTo>
                    <a:pt x="67" y="208"/>
                  </a:lnTo>
                  <a:lnTo>
                    <a:pt x="67" y="207"/>
                  </a:lnTo>
                  <a:lnTo>
                    <a:pt x="68" y="206"/>
                  </a:lnTo>
                  <a:lnTo>
                    <a:pt x="65" y="206"/>
                  </a:lnTo>
                  <a:lnTo>
                    <a:pt x="68" y="203"/>
                  </a:lnTo>
                  <a:close/>
                  <a:moveTo>
                    <a:pt x="149" y="202"/>
                  </a:moveTo>
                  <a:lnTo>
                    <a:pt x="152" y="203"/>
                  </a:lnTo>
                  <a:lnTo>
                    <a:pt x="153" y="204"/>
                  </a:lnTo>
                  <a:lnTo>
                    <a:pt x="151" y="204"/>
                  </a:lnTo>
                  <a:lnTo>
                    <a:pt x="149" y="203"/>
                  </a:lnTo>
                  <a:lnTo>
                    <a:pt x="149" y="202"/>
                  </a:lnTo>
                  <a:close/>
                  <a:moveTo>
                    <a:pt x="23" y="198"/>
                  </a:moveTo>
                  <a:lnTo>
                    <a:pt x="24" y="200"/>
                  </a:lnTo>
                  <a:lnTo>
                    <a:pt x="23" y="198"/>
                  </a:lnTo>
                  <a:close/>
                  <a:moveTo>
                    <a:pt x="21" y="198"/>
                  </a:moveTo>
                  <a:lnTo>
                    <a:pt x="23" y="198"/>
                  </a:lnTo>
                  <a:lnTo>
                    <a:pt x="21" y="198"/>
                  </a:lnTo>
                  <a:close/>
                  <a:moveTo>
                    <a:pt x="121" y="197"/>
                  </a:moveTo>
                  <a:lnTo>
                    <a:pt x="121" y="198"/>
                  </a:lnTo>
                  <a:lnTo>
                    <a:pt x="120" y="207"/>
                  </a:lnTo>
                  <a:lnTo>
                    <a:pt x="116" y="214"/>
                  </a:lnTo>
                  <a:lnTo>
                    <a:pt x="112" y="227"/>
                  </a:lnTo>
                  <a:lnTo>
                    <a:pt x="111" y="228"/>
                  </a:lnTo>
                  <a:lnTo>
                    <a:pt x="110" y="228"/>
                  </a:lnTo>
                  <a:lnTo>
                    <a:pt x="109" y="223"/>
                  </a:lnTo>
                  <a:lnTo>
                    <a:pt x="108" y="223"/>
                  </a:lnTo>
                  <a:lnTo>
                    <a:pt x="108" y="222"/>
                  </a:lnTo>
                  <a:lnTo>
                    <a:pt x="107" y="221"/>
                  </a:lnTo>
                  <a:lnTo>
                    <a:pt x="108" y="221"/>
                  </a:lnTo>
                  <a:lnTo>
                    <a:pt x="109" y="220"/>
                  </a:lnTo>
                  <a:lnTo>
                    <a:pt x="109" y="217"/>
                  </a:lnTo>
                  <a:lnTo>
                    <a:pt x="111" y="217"/>
                  </a:lnTo>
                  <a:lnTo>
                    <a:pt x="111" y="216"/>
                  </a:lnTo>
                  <a:lnTo>
                    <a:pt x="110" y="216"/>
                  </a:lnTo>
                  <a:lnTo>
                    <a:pt x="110" y="214"/>
                  </a:lnTo>
                  <a:lnTo>
                    <a:pt x="115" y="209"/>
                  </a:lnTo>
                  <a:lnTo>
                    <a:pt x="117" y="206"/>
                  </a:lnTo>
                  <a:lnTo>
                    <a:pt x="117" y="204"/>
                  </a:lnTo>
                  <a:lnTo>
                    <a:pt x="118" y="201"/>
                  </a:lnTo>
                  <a:lnTo>
                    <a:pt x="121" y="197"/>
                  </a:lnTo>
                  <a:close/>
                  <a:moveTo>
                    <a:pt x="80" y="196"/>
                  </a:moveTo>
                  <a:lnTo>
                    <a:pt x="81" y="198"/>
                  </a:lnTo>
                  <a:lnTo>
                    <a:pt x="81" y="200"/>
                  </a:lnTo>
                  <a:lnTo>
                    <a:pt x="80" y="200"/>
                  </a:lnTo>
                  <a:lnTo>
                    <a:pt x="80" y="196"/>
                  </a:lnTo>
                  <a:close/>
                  <a:moveTo>
                    <a:pt x="80" y="195"/>
                  </a:moveTo>
                  <a:lnTo>
                    <a:pt x="80" y="196"/>
                  </a:lnTo>
                  <a:lnTo>
                    <a:pt x="79" y="196"/>
                  </a:lnTo>
                  <a:lnTo>
                    <a:pt x="80" y="195"/>
                  </a:lnTo>
                  <a:close/>
                  <a:moveTo>
                    <a:pt x="17" y="195"/>
                  </a:moveTo>
                  <a:lnTo>
                    <a:pt x="21" y="195"/>
                  </a:lnTo>
                  <a:lnTo>
                    <a:pt x="22" y="196"/>
                  </a:lnTo>
                  <a:lnTo>
                    <a:pt x="21" y="196"/>
                  </a:lnTo>
                  <a:lnTo>
                    <a:pt x="20" y="197"/>
                  </a:lnTo>
                  <a:lnTo>
                    <a:pt x="20" y="198"/>
                  </a:lnTo>
                  <a:lnTo>
                    <a:pt x="21" y="198"/>
                  </a:lnTo>
                  <a:lnTo>
                    <a:pt x="20" y="200"/>
                  </a:lnTo>
                  <a:lnTo>
                    <a:pt x="20" y="203"/>
                  </a:lnTo>
                  <a:lnTo>
                    <a:pt x="18" y="203"/>
                  </a:lnTo>
                  <a:lnTo>
                    <a:pt x="18" y="204"/>
                  </a:lnTo>
                  <a:lnTo>
                    <a:pt x="17" y="204"/>
                  </a:lnTo>
                  <a:lnTo>
                    <a:pt x="16" y="203"/>
                  </a:lnTo>
                  <a:lnTo>
                    <a:pt x="16" y="196"/>
                  </a:lnTo>
                  <a:lnTo>
                    <a:pt x="17" y="195"/>
                  </a:lnTo>
                  <a:close/>
                  <a:moveTo>
                    <a:pt x="282" y="186"/>
                  </a:moveTo>
                  <a:lnTo>
                    <a:pt x="284" y="189"/>
                  </a:lnTo>
                  <a:lnTo>
                    <a:pt x="284" y="190"/>
                  </a:lnTo>
                  <a:lnTo>
                    <a:pt x="285" y="191"/>
                  </a:lnTo>
                  <a:lnTo>
                    <a:pt x="288" y="192"/>
                  </a:lnTo>
                  <a:lnTo>
                    <a:pt x="289" y="194"/>
                  </a:lnTo>
                  <a:lnTo>
                    <a:pt x="291" y="194"/>
                  </a:lnTo>
                  <a:lnTo>
                    <a:pt x="291" y="195"/>
                  </a:lnTo>
                  <a:lnTo>
                    <a:pt x="295" y="198"/>
                  </a:lnTo>
                  <a:lnTo>
                    <a:pt x="297" y="198"/>
                  </a:lnTo>
                  <a:lnTo>
                    <a:pt x="298" y="200"/>
                  </a:lnTo>
                  <a:lnTo>
                    <a:pt x="297" y="201"/>
                  </a:lnTo>
                  <a:lnTo>
                    <a:pt x="298" y="202"/>
                  </a:lnTo>
                  <a:lnTo>
                    <a:pt x="298" y="203"/>
                  </a:lnTo>
                  <a:lnTo>
                    <a:pt x="296" y="206"/>
                  </a:lnTo>
                  <a:lnTo>
                    <a:pt x="296" y="209"/>
                  </a:lnTo>
                  <a:lnTo>
                    <a:pt x="295" y="210"/>
                  </a:lnTo>
                  <a:lnTo>
                    <a:pt x="292" y="209"/>
                  </a:lnTo>
                  <a:lnTo>
                    <a:pt x="291" y="209"/>
                  </a:lnTo>
                  <a:lnTo>
                    <a:pt x="289" y="208"/>
                  </a:lnTo>
                  <a:lnTo>
                    <a:pt x="285" y="207"/>
                  </a:lnTo>
                  <a:lnTo>
                    <a:pt x="283" y="206"/>
                  </a:lnTo>
                  <a:lnTo>
                    <a:pt x="279" y="203"/>
                  </a:lnTo>
                  <a:lnTo>
                    <a:pt x="278" y="202"/>
                  </a:lnTo>
                  <a:lnTo>
                    <a:pt x="279" y="201"/>
                  </a:lnTo>
                  <a:lnTo>
                    <a:pt x="279" y="191"/>
                  </a:lnTo>
                  <a:lnTo>
                    <a:pt x="281" y="190"/>
                  </a:lnTo>
                  <a:lnTo>
                    <a:pt x="281" y="189"/>
                  </a:lnTo>
                  <a:lnTo>
                    <a:pt x="282" y="188"/>
                  </a:lnTo>
                  <a:lnTo>
                    <a:pt x="282" y="186"/>
                  </a:lnTo>
                  <a:close/>
                  <a:moveTo>
                    <a:pt x="68" y="174"/>
                  </a:moveTo>
                  <a:lnTo>
                    <a:pt x="70" y="176"/>
                  </a:lnTo>
                  <a:lnTo>
                    <a:pt x="71" y="176"/>
                  </a:lnTo>
                  <a:lnTo>
                    <a:pt x="72" y="177"/>
                  </a:lnTo>
                  <a:lnTo>
                    <a:pt x="70" y="177"/>
                  </a:lnTo>
                  <a:lnTo>
                    <a:pt x="68" y="176"/>
                  </a:lnTo>
                  <a:lnTo>
                    <a:pt x="68" y="174"/>
                  </a:lnTo>
                  <a:close/>
                  <a:moveTo>
                    <a:pt x="12" y="174"/>
                  </a:moveTo>
                  <a:lnTo>
                    <a:pt x="14" y="174"/>
                  </a:lnTo>
                  <a:lnTo>
                    <a:pt x="14" y="177"/>
                  </a:lnTo>
                  <a:lnTo>
                    <a:pt x="16" y="177"/>
                  </a:lnTo>
                  <a:lnTo>
                    <a:pt x="16" y="183"/>
                  </a:lnTo>
                  <a:lnTo>
                    <a:pt x="17" y="184"/>
                  </a:lnTo>
                  <a:lnTo>
                    <a:pt x="16" y="184"/>
                  </a:lnTo>
                  <a:lnTo>
                    <a:pt x="14" y="182"/>
                  </a:lnTo>
                  <a:lnTo>
                    <a:pt x="12" y="177"/>
                  </a:lnTo>
                  <a:lnTo>
                    <a:pt x="12" y="174"/>
                  </a:lnTo>
                  <a:close/>
                  <a:moveTo>
                    <a:pt x="92" y="164"/>
                  </a:moveTo>
                  <a:lnTo>
                    <a:pt x="92" y="166"/>
                  </a:lnTo>
                  <a:lnTo>
                    <a:pt x="93" y="166"/>
                  </a:lnTo>
                  <a:lnTo>
                    <a:pt x="93" y="164"/>
                  </a:lnTo>
                  <a:lnTo>
                    <a:pt x="95" y="164"/>
                  </a:lnTo>
                  <a:lnTo>
                    <a:pt x="98" y="166"/>
                  </a:lnTo>
                  <a:lnTo>
                    <a:pt x="98" y="167"/>
                  </a:lnTo>
                  <a:lnTo>
                    <a:pt x="99" y="167"/>
                  </a:lnTo>
                  <a:lnTo>
                    <a:pt x="99" y="169"/>
                  </a:lnTo>
                  <a:lnTo>
                    <a:pt x="102" y="169"/>
                  </a:lnTo>
                  <a:lnTo>
                    <a:pt x="103" y="170"/>
                  </a:lnTo>
                  <a:lnTo>
                    <a:pt x="101" y="170"/>
                  </a:lnTo>
                  <a:lnTo>
                    <a:pt x="101" y="171"/>
                  </a:lnTo>
                  <a:lnTo>
                    <a:pt x="102" y="172"/>
                  </a:lnTo>
                  <a:lnTo>
                    <a:pt x="98" y="176"/>
                  </a:lnTo>
                  <a:lnTo>
                    <a:pt x="99" y="177"/>
                  </a:lnTo>
                  <a:lnTo>
                    <a:pt x="101" y="177"/>
                  </a:lnTo>
                  <a:lnTo>
                    <a:pt x="102" y="174"/>
                  </a:lnTo>
                  <a:lnTo>
                    <a:pt x="105" y="173"/>
                  </a:lnTo>
                  <a:lnTo>
                    <a:pt x="107" y="173"/>
                  </a:lnTo>
                  <a:lnTo>
                    <a:pt x="107" y="172"/>
                  </a:lnTo>
                  <a:lnTo>
                    <a:pt x="105" y="171"/>
                  </a:lnTo>
                  <a:lnTo>
                    <a:pt x="105" y="170"/>
                  </a:lnTo>
                  <a:lnTo>
                    <a:pt x="107" y="171"/>
                  </a:lnTo>
                  <a:lnTo>
                    <a:pt x="107" y="164"/>
                  </a:lnTo>
                  <a:lnTo>
                    <a:pt x="108" y="164"/>
                  </a:lnTo>
                  <a:lnTo>
                    <a:pt x="109" y="165"/>
                  </a:lnTo>
                  <a:lnTo>
                    <a:pt x="110" y="169"/>
                  </a:lnTo>
                  <a:lnTo>
                    <a:pt x="110" y="170"/>
                  </a:lnTo>
                  <a:lnTo>
                    <a:pt x="111" y="170"/>
                  </a:lnTo>
                  <a:lnTo>
                    <a:pt x="111" y="171"/>
                  </a:lnTo>
                  <a:lnTo>
                    <a:pt x="112" y="172"/>
                  </a:lnTo>
                  <a:lnTo>
                    <a:pt x="112" y="173"/>
                  </a:lnTo>
                  <a:lnTo>
                    <a:pt x="111" y="173"/>
                  </a:lnTo>
                  <a:lnTo>
                    <a:pt x="109" y="176"/>
                  </a:lnTo>
                  <a:lnTo>
                    <a:pt x="105" y="174"/>
                  </a:lnTo>
                  <a:lnTo>
                    <a:pt x="105" y="176"/>
                  </a:lnTo>
                  <a:lnTo>
                    <a:pt x="104" y="176"/>
                  </a:lnTo>
                  <a:lnTo>
                    <a:pt x="104" y="177"/>
                  </a:lnTo>
                  <a:lnTo>
                    <a:pt x="105" y="177"/>
                  </a:lnTo>
                  <a:lnTo>
                    <a:pt x="105" y="176"/>
                  </a:lnTo>
                  <a:lnTo>
                    <a:pt x="110" y="176"/>
                  </a:lnTo>
                  <a:lnTo>
                    <a:pt x="110" y="177"/>
                  </a:lnTo>
                  <a:lnTo>
                    <a:pt x="115" y="183"/>
                  </a:lnTo>
                  <a:lnTo>
                    <a:pt x="116" y="186"/>
                  </a:lnTo>
                  <a:lnTo>
                    <a:pt x="116" y="188"/>
                  </a:lnTo>
                  <a:lnTo>
                    <a:pt x="115" y="188"/>
                  </a:lnTo>
                  <a:lnTo>
                    <a:pt x="115" y="186"/>
                  </a:lnTo>
                  <a:lnTo>
                    <a:pt x="114" y="186"/>
                  </a:lnTo>
                  <a:lnTo>
                    <a:pt x="114" y="189"/>
                  </a:lnTo>
                  <a:lnTo>
                    <a:pt x="115" y="191"/>
                  </a:lnTo>
                  <a:lnTo>
                    <a:pt x="115" y="196"/>
                  </a:lnTo>
                  <a:lnTo>
                    <a:pt x="114" y="197"/>
                  </a:lnTo>
                  <a:lnTo>
                    <a:pt x="114" y="200"/>
                  </a:lnTo>
                  <a:lnTo>
                    <a:pt x="112" y="202"/>
                  </a:lnTo>
                  <a:lnTo>
                    <a:pt x="112" y="203"/>
                  </a:lnTo>
                  <a:lnTo>
                    <a:pt x="111" y="204"/>
                  </a:lnTo>
                  <a:lnTo>
                    <a:pt x="107" y="204"/>
                  </a:lnTo>
                  <a:lnTo>
                    <a:pt x="104" y="207"/>
                  </a:lnTo>
                  <a:lnTo>
                    <a:pt x="103" y="207"/>
                  </a:lnTo>
                  <a:lnTo>
                    <a:pt x="101" y="206"/>
                  </a:lnTo>
                  <a:lnTo>
                    <a:pt x="97" y="206"/>
                  </a:lnTo>
                  <a:lnTo>
                    <a:pt x="97" y="204"/>
                  </a:lnTo>
                  <a:lnTo>
                    <a:pt x="95" y="204"/>
                  </a:lnTo>
                  <a:lnTo>
                    <a:pt x="91" y="202"/>
                  </a:lnTo>
                  <a:lnTo>
                    <a:pt x="90" y="202"/>
                  </a:lnTo>
                  <a:lnTo>
                    <a:pt x="89" y="203"/>
                  </a:lnTo>
                  <a:lnTo>
                    <a:pt x="89" y="204"/>
                  </a:lnTo>
                  <a:lnTo>
                    <a:pt x="86" y="202"/>
                  </a:lnTo>
                  <a:lnTo>
                    <a:pt x="84" y="203"/>
                  </a:lnTo>
                  <a:lnTo>
                    <a:pt x="84" y="202"/>
                  </a:lnTo>
                  <a:lnTo>
                    <a:pt x="87" y="200"/>
                  </a:lnTo>
                  <a:lnTo>
                    <a:pt x="87" y="198"/>
                  </a:lnTo>
                  <a:lnTo>
                    <a:pt x="86" y="198"/>
                  </a:lnTo>
                  <a:lnTo>
                    <a:pt x="86" y="197"/>
                  </a:lnTo>
                  <a:lnTo>
                    <a:pt x="85" y="196"/>
                  </a:lnTo>
                  <a:lnTo>
                    <a:pt x="85" y="195"/>
                  </a:lnTo>
                  <a:lnTo>
                    <a:pt x="84" y="196"/>
                  </a:lnTo>
                  <a:lnTo>
                    <a:pt x="83" y="196"/>
                  </a:lnTo>
                  <a:lnTo>
                    <a:pt x="81" y="195"/>
                  </a:lnTo>
                  <a:lnTo>
                    <a:pt x="80" y="195"/>
                  </a:lnTo>
                  <a:lnTo>
                    <a:pt x="80" y="194"/>
                  </a:lnTo>
                  <a:lnTo>
                    <a:pt x="79" y="194"/>
                  </a:lnTo>
                  <a:lnTo>
                    <a:pt x="78" y="192"/>
                  </a:lnTo>
                  <a:lnTo>
                    <a:pt x="77" y="192"/>
                  </a:lnTo>
                  <a:lnTo>
                    <a:pt x="77" y="191"/>
                  </a:lnTo>
                  <a:lnTo>
                    <a:pt x="76" y="190"/>
                  </a:lnTo>
                  <a:lnTo>
                    <a:pt x="77" y="189"/>
                  </a:lnTo>
                  <a:lnTo>
                    <a:pt x="77" y="188"/>
                  </a:lnTo>
                  <a:lnTo>
                    <a:pt x="76" y="186"/>
                  </a:lnTo>
                  <a:lnTo>
                    <a:pt x="76" y="183"/>
                  </a:lnTo>
                  <a:lnTo>
                    <a:pt x="72" y="183"/>
                  </a:lnTo>
                  <a:lnTo>
                    <a:pt x="72" y="180"/>
                  </a:lnTo>
                  <a:lnTo>
                    <a:pt x="73" y="180"/>
                  </a:lnTo>
                  <a:lnTo>
                    <a:pt x="74" y="179"/>
                  </a:lnTo>
                  <a:lnTo>
                    <a:pt x="73" y="179"/>
                  </a:lnTo>
                  <a:lnTo>
                    <a:pt x="73" y="177"/>
                  </a:lnTo>
                  <a:lnTo>
                    <a:pt x="68" y="173"/>
                  </a:lnTo>
                  <a:lnTo>
                    <a:pt x="67" y="172"/>
                  </a:lnTo>
                  <a:lnTo>
                    <a:pt x="68" y="172"/>
                  </a:lnTo>
                  <a:lnTo>
                    <a:pt x="68" y="171"/>
                  </a:lnTo>
                  <a:lnTo>
                    <a:pt x="71" y="169"/>
                  </a:lnTo>
                  <a:lnTo>
                    <a:pt x="73" y="169"/>
                  </a:lnTo>
                  <a:lnTo>
                    <a:pt x="73" y="170"/>
                  </a:lnTo>
                  <a:lnTo>
                    <a:pt x="76" y="172"/>
                  </a:lnTo>
                  <a:lnTo>
                    <a:pt x="90" y="165"/>
                  </a:lnTo>
                  <a:lnTo>
                    <a:pt x="91" y="165"/>
                  </a:lnTo>
                  <a:lnTo>
                    <a:pt x="92" y="164"/>
                  </a:lnTo>
                  <a:close/>
                  <a:moveTo>
                    <a:pt x="190" y="158"/>
                  </a:moveTo>
                  <a:lnTo>
                    <a:pt x="191" y="158"/>
                  </a:lnTo>
                  <a:lnTo>
                    <a:pt x="194" y="165"/>
                  </a:lnTo>
                  <a:lnTo>
                    <a:pt x="192" y="166"/>
                  </a:lnTo>
                  <a:lnTo>
                    <a:pt x="191" y="166"/>
                  </a:lnTo>
                  <a:lnTo>
                    <a:pt x="191" y="167"/>
                  </a:lnTo>
                  <a:lnTo>
                    <a:pt x="190" y="167"/>
                  </a:lnTo>
                  <a:lnTo>
                    <a:pt x="190" y="169"/>
                  </a:lnTo>
                  <a:lnTo>
                    <a:pt x="189" y="169"/>
                  </a:lnTo>
                  <a:lnTo>
                    <a:pt x="188" y="167"/>
                  </a:lnTo>
                  <a:lnTo>
                    <a:pt x="188" y="163"/>
                  </a:lnTo>
                  <a:lnTo>
                    <a:pt x="190" y="160"/>
                  </a:lnTo>
                  <a:lnTo>
                    <a:pt x="190" y="158"/>
                  </a:lnTo>
                  <a:close/>
                  <a:moveTo>
                    <a:pt x="165" y="158"/>
                  </a:moveTo>
                  <a:lnTo>
                    <a:pt x="166" y="158"/>
                  </a:lnTo>
                  <a:lnTo>
                    <a:pt x="167" y="159"/>
                  </a:lnTo>
                  <a:lnTo>
                    <a:pt x="165" y="159"/>
                  </a:lnTo>
                  <a:lnTo>
                    <a:pt x="165" y="158"/>
                  </a:lnTo>
                  <a:close/>
                  <a:moveTo>
                    <a:pt x="105" y="140"/>
                  </a:moveTo>
                  <a:lnTo>
                    <a:pt x="107" y="140"/>
                  </a:lnTo>
                  <a:lnTo>
                    <a:pt x="108" y="141"/>
                  </a:lnTo>
                  <a:lnTo>
                    <a:pt x="107" y="141"/>
                  </a:lnTo>
                  <a:lnTo>
                    <a:pt x="107" y="143"/>
                  </a:lnTo>
                  <a:lnTo>
                    <a:pt x="108" y="145"/>
                  </a:lnTo>
                  <a:lnTo>
                    <a:pt x="109" y="143"/>
                  </a:lnTo>
                  <a:lnTo>
                    <a:pt x="109" y="145"/>
                  </a:lnTo>
                  <a:lnTo>
                    <a:pt x="108" y="146"/>
                  </a:lnTo>
                  <a:lnTo>
                    <a:pt x="108" y="151"/>
                  </a:lnTo>
                  <a:lnTo>
                    <a:pt x="105" y="153"/>
                  </a:lnTo>
                  <a:lnTo>
                    <a:pt x="104" y="153"/>
                  </a:lnTo>
                  <a:lnTo>
                    <a:pt x="103" y="151"/>
                  </a:lnTo>
                  <a:lnTo>
                    <a:pt x="103" y="146"/>
                  </a:lnTo>
                  <a:lnTo>
                    <a:pt x="104" y="146"/>
                  </a:lnTo>
                  <a:lnTo>
                    <a:pt x="104" y="145"/>
                  </a:lnTo>
                  <a:lnTo>
                    <a:pt x="105" y="143"/>
                  </a:lnTo>
                  <a:lnTo>
                    <a:pt x="105" y="140"/>
                  </a:lnTo>
                  <a:close/>
                  <a:moveTo>
                    <a:pt x="103" y="135"/>
                  </a:moveTo>
                  <a:lnTo>
                    <a:pt x="104" y="135"/>
                  </a:lnTo>
                  <a:lnTo>
                    <a:pt x="104" y="139"/>
                  </a:lnTo>
                  <a:lnTo>
                    <a:pt x="105" y="140"/>
                  </a:lnTo>
                  <a:lnTo>
                    <a:pt x="103" y="140"/>
                  </a:lnTo>
                  <a:lnTo>
                    <a:pt x="103" y="135"/>
                  </a:lnTo>
                  <a:close/>
                  <a:moveTo>
                    <a:pt x="2" y="134"/>
                  </a:moveTo>
                  <a:lnTo>
                    <a:pt x="3" y="135"/>
                  </a:lnTo>
                  <a:lnTo>
                    <a:pt x="2" y="135"/>
                  </a:lnTo>
                  <a:lnTo>
                    <a:pt x="2" y="134"/>
                  </a:lnTo>
                  <a:close/>
                  <a:moveTo>
                    <a:pt x="176" y="126"/>
                  </a:moveTo>
                  <a:lnTo>
                    <a:pt x="179" y="126"/>
                  </a:lnTo>
                  <a:lnTo>
                    <a:pt x="183" y="127"/>
                  </a:lnTo>
                  <a:lnTo>
                    <a:pt x="185" y="127"/>
                  </a:lnTo>
                  <a:lnTo>
                    <a:pt x="188" y="129"/>
                  </a:lnTo>
                  <a:lnTo>
                    <a:pt x="189" y="129"/>
                  </a:lnTo>
                  <a:lnTo>
                    <a:pt x="191" y="131"/>
                  </a:lnTo>
                  <a:lnTo>
                    <a:pt x="191" y="133"/>
                  </a:lnTo>
                  <a:lnTo>
                    <a:pt x="189" y="135"/>
                  </a:lnTo>
                  <a:lnTo>
                    <a:pt x="189" y="136"/>
                  </a:lnTo>
                  <a:lnTo>
                    <a:pt x="188" y="140"/>
                  </a:lnTo>
                  <a:lnTo>
                    <a:pt x="186" y="140"/>
                  </a:lnTo>
                  <a:lnTo>
                    <a:pt x="186" y="141"/>
                  </a:lnTo>
                  <a:lnTo>
                    <a:pt x="189" y="143"/>
                  </a:lnTo>
                  <a:lnTo>
                    <a:pt x="189" y="146"/>
                  </a:lnTo>
                  <a:lnTo>
                    <a:pt x="190" y="148"/>
                  </a:lnTo>
                  <a:lnTo>
                    <a:pt x="190" y="149"/>
                  </a:lnTo>
                  <a:lnTo>
                    <a:pt x="191" y="151"/>
                  </a:lnTo>
                  <a:lnTo>
                    <a:pt x="190" y="151"/>
                  </a:lnTo>
                  <a:lnTo>
                    <a:pt x="190" y="155"/>
                  </a:lnTo>
                  <a:lnTo>
                    <a:pt x="191" y="157"/>
                  </a:lnTo>
                  <a:lnTo>
                    <a:pt x="190" y="158"/>
                  </a:lnTo>
                  <a:lnTo>
                    <a:pt x="188" y="161"/>
                  </a:lnTo>
                  <a:lnTo>
                    <a:pt x="186" y="163"/>
                  </a:lnTo>
                  <a:lnTo>
                    <a:pt x="186" y="164"/>
                  </a:lnTo>
                  <a:lnTo>
                    <a:pt x="185" y="164"/>
                  </a:lnTo>
                  <a:lnTo>
                    <a:pt x="185" y="165"/>
                  </a:lnTo>
                  <a:lnTo>
                    <a:pt x="184" y="164"/>
                  </a:lnTo>
                  <a:lnTo>
                    <a:pt x="183" y="164"/>
                  </a:lnTo>
                  <a:lnTo>
                    <a:pt x="179" y="165"/>
                  </a:lnTo>
                  <a:lnTo>
                    <a:pt x="176" y="169"/>
                  </a:lnTo>
                  <a:lnTo>
                    <a:pt x="173" y="173"/>
                  </a:lnTo>
                  <a:lnTo>
                    <a:pt x="174" y="177"/>
                  </a:lnTo>
                  <a:lnTo>
                    <a:pt x="177" y="179"/>
                  </a:lnTo>
                  <a:lnTo>
                    <a:pt x="180" y="179"/>
                  </a:lnTo>
                  <a:lnTo>
                    <a:pt x="184" y="183"/>
                  </a:lnTo>
                  <a:lnTo>
                    <a:pt x="184" y="186"/>
                  </a:lnTo>
                  <a:lnTo>
                    <a:pt x="185" y="188"/>
                  </a:lnTo>
                  <a:lnTo>
                    <a:pt x="184" y="189"/>
                  </a:lnTo>
                  <a:lnTo>
                    <a:pt x="182" y="190"/>
                  </a:lnTo>
                  <a:lnTo>
                    <a:pt x="173" y="192"/>
                  </a:lnTo>
                  <a:lnTo>
                    <a:pt x="172" y="194"/>
                  </a:lnTo>
                  <a:lnTo>
                    <a:pt x="171" y="194"/>
                  </a:lnTo>
                  <a:lnTo>
                    <a:pt x="171" y="195"/>
                  </a:lnTo>
                  <a:lnTo>
                    <a:pt x="170" y="197"/>
                  </a:lnTo>
                  <a:lnTo>
                    <a:pt x="170" y="198"/>
                  </a:lnTo>
                  <a:lnTo>
                    <a:pt x="168" y="198"/>
                  </a:lnTo>
                  <a:lnTo>
                    <a:pt x="168" y="196"/>
                  </a:lnTo>
                  <a:lnTo>
                    <a:pt x="166" y="196"/>
                  </a:lnTo>
                  <a:lnTo>
                    <a:pt x="166" y="198"/>
                  </a:lnTo>
                  <a:lnTo>
                    <a:pt x="167" y="198"/>
                  </a:lnTo>
                  <a:lnTo>
                    <a:pt x="171" y="200"/>
                  </a:lnTo>
                  <a:lnTo>
                    <a:pt x="172" y="200"/>
                  </a:lnTo>
                  <a:lnTo>
                    <a:pt x="173" y="202"/>
                  </a:lnTo>
                  <a:lnTo>
                    <a:pt x="172" y="202"/>
                  </a:lnTo>
                  <a:lnTo>
                    <a:pt x="172" y="203"/>
                  </a:lnTo>
                  <a:lnTo>
                    <a:pt x="171" y="203"/>
                  </a:lnTo>
                  <a:lnTo>
                    <a:pt x="170" y="204"/>
                  </a:lnTo>
                  <a:lnTo>
                    <a:pt x="171" y="204"/>
                  </a:lnTo>
                  <a:lnTo>
                    <a:pt x="172" y="208"/>
                  </a:lnTo>
                  <a:lnTo>
                    <a:pt x="172" y="209"/>
                  </a:lnTo>
                  <a:lnTo>
                    <a:pt x="171" y="210"/>
                  </a:lnTo>
                  <a:lnTo>
                    <a:pt x="168" y="210"/>
                  </a:lnTo>
                  <a:lnTo>
                    <a:pt x="167" y="212"/>
                  </a:lnTo>
                  <a:lnTo>
                    <a:pt x="165" y="212"/>
                  </a:lnTo>
                  <a:lnTo>
                    <a:pt x="163" y="209"/>
                  </a:lnTo>
                  <a:lnTo>
                    <a:pt x="161" y="209"/>
                  </a:lnTo>
                  <a:lnTo>
                    <a:pt x="161" y="212"/>
                  </a:lnTo>
                  <a:lnTo>
                    <a:pt x="160" y="213"/>
                  </a:lnTo>
                  <a:lnTo>
                    <a:pt x="160" y="214"/>
                  </a:lnTo>
                  <a:lnTo>
                    <a:pt x="161" y="215"/>
                  </a:lnTo>
                  <a:lnTo>
                    <a:pt x="163" y="215"/>
                  </a:lnTo>
                  <a:lnTo>
                    <a:pt x="163" y="214"/>
                  </a:lnTo>
                  <a:lnTo>
                    <a:pt x="164" y="213"/>
                  </a:lnTo>
                  <a:lnTo>
                    <a:pt x="164" y="214"/>
                  </a:lnTo>
                  <a:lnTo>
                    <a:pt x="167" y="217"/>
                  </a:lnTo>
                  <a:lnTo>
                    <a:pt x="168" y="216"/>
                  </a:lnTo>
                  <a:lnTo>
                    <a:pt x="170" y="216"/>
                  </a:lnTo>
                  <a:lnTo>
                    <a:pt x="170" y="217"/>
                  </a:lnTo>
                  <a:lnTo>
                    <a:pt x="171" y="219"/>
                  </a:lnTo>
                  <a:lnTo>
                    <a:pt x="172" y="221"/>
                  </a:lnTo>
                  <a:lnTo>
                    <a:pt x="168" y="225"/>
                  </a:lnTo>
                  <a:lnTo>
                    <a:pt x="166" y="228"/>
                  </a:lnTo>
                  <a:lnTo>
                    <a:pt x="166" y="229"/>
                  </a:lnTo>
                  <a:lnTo>
                    <a:pt x="165" y="231"/>
                  </a:lnTo>
                  <a:lnTo>
                    <a:pt x="164" y="231"/>
                  </a:lnTo>
                  <a:lnTo>
                    <a:pt x="164" y="240"/>
                  </a:lnTo>
                  <a:lnTo>
                    <a:pt x="163" y="241"/>
                  </a:lnTo>
                  <a:lnTo>
                    <a:pt x="163" y="239"/>
                  </a:lnTo>
                  <a:lnTo>
                    <a:pt x="161" y="238"/>
                  </a:lnTo>
                  <a:lnTo>
                    <a:pt x="160" y="235"/>
                  </a:lnTo>
                  <a:lnTo>
                    <a:pt x="160" y="232"/>
                  </a:lnTo>
                  <a:lnTo>
                    <a:pt x="161" y="229"/>
                  </a:lnTo>
                  <a:lnTo>
                    <a:pt x="160" y="229"/>
                  </a:lnTo>
                  <a:lnTo>
                    <a:pt x="160" y="227"/>
                  </a:lnTo>
                  <a:lnTo>
                    <a:pt x="159" y="227"/>
                  </a:lnTo>
                  <a:lnTo>
                    <a:pt x="159" y="229"/>
                  </a:lnTo>
                  <a:lnTo>
                    <a:pt x="158" y="229"/>
                  </a:lnTo>
                  <a:lnTo>
                    <a:pt x="157" y="231"/>
                  </a:lnTo>
                  <a:lnTo>
                    <a:pt x="159" y="232"/>
                  </a:lnTo>
                  <a:lnTo>
                    <a:pt x="159" y="233"/>
                  </a:lnTo>
                  <a:lnTo>
                    <a:pt x="158" y="234"/>
                  </a:lnTo>
                  <a:lnTo>
                    <a:pt x="155" y="235"/>
                  </a:lnTo>
                  <a:lnTo>
                    <a:pt x="148" y="234"/>
                  </a:lnTo>
                  <a:lnTo>
                    <a:pt x="147" y="234"/>
                  </a:lnTo>
                  <a:lnTo>
                    <a:pt x="145" y="235"/>
                  </a:lnTo>
                  <a:lnTo>
                    <a:pt x="143" y="237"/>
                  </a:lnTo>
                  <a:lnTo>
                    <a:pt x="142" y="237"/>
                  </a:lnTo>
                  <a:lnTo>
                    <a:pt x="135" y="232"/>
                  </a:lnTo>
                  <a:lnTo>
                    <a:pt x="130" y="229"/>
                  </a:lnTo>
                  <a:lnTo>
                    <a:pt x="129" y="228"/>
                  </a:lnTo>
                  <a:lnTo>
                    <a:pt x="127" y="227"/>
                  </a:lnTo>
                  <a:lnTo>
                    <a:pt x="124" y="227"/>
                  </a:lnTo>
                  <a:lnTo>
                    <a:pt x="123" y="226"/>
                  </a:lnTo>
                  <a:lnTo>
                    <a:pt x="123" y="223"/>
                  </a:lnTo>
                  <a:lnTo>
                    <a:pt x="127" y="223"/>
                  </a:lnTo>
                  <a:lnTo>
                    <a:pt x="128" y="221"/>
                  </a:lnTo>
                  <a:lnTo>
                    <a:pt x="127" y="221"/>
                  </a:lnTo>
                  <a:lnTo>
                    <a:pt x="124" y="219"/>
                  </a:lnTo>
                  <a:lnTo>
                    <a:pt x="124" y="215"/>
                  </a:lnTo>
                  <a:lnTo>
                    <a:pt x="126" y="213"/>
                  </a:lnTo>
                  <a:lnTo>
                    <a:pt x="127" y="214"/>
                  </a:lnTo>
                  <a:lnTo>
                    <a:pt x="133" y="213"/>
                  </a:lnTo>
                  <a:lnTo>
                    <a:pt x="134" y="213"/>
                  </a:lnTo>
                  <a:lnTo>
                    <a:pt x="136" y="214"/>
                  </a:lnTo>
                  <a:lnTo>
                    <a:pt x="136" y="215"/>
                  </a:lnTo>
                  <a:lnTo>
                    <a:pt x="138" y="215"/>
                  </a:lnTo>
                  <a:lnTo>
                    <a:pt x="139" y="217"/>
                  </a:lnTo>
                  <a:lnTo>
                    <a:pt x="140" y="219"/>
                  </a:lnTo>
                  <a:lnTo>
                    <a:pt x="141" y="219"/>
                  </a:lnTo>
                  <a:lnTo>
                    <a:pt x="148" y="223"/>
                  </a:lnTo>
                  <a:lnTo>
                    <a:pt x="148" y="222"/>
                  </a:lnTo>
                  <a:lnTo>
                    <a:pt x="147" y="221"/>
                  </a:lnTo>
                  <a:lnTo>
                    <a:pt x="147" y="220"/>
                  </a:lnTo>
                  <a:lnTo>
                    <a:pt x="149" y="220"/>
                  </a:lnTo>
                  <a:lnTo>
                    <a:pt x="151" y="219"/>
                  </a:lnTo>
                  <a:lnTo>
                    <a:pt x="151" y="215"/>
                  </a:lnTo>
                  <a:lnTo>
                    <a:pt x="154" y="219"/>
                  </a:lnTo>
                  <a:lnTo>
                    <a:pt x="154" y="220"/>
                  </a:lnTo>
                  <a:lnTo>
                    <a:pt x="155" y="221"/>
                  </a:lnTo>
                  <a:lnTo>
                    <a:pt x="157" y="221"/>
                  </a:lnTo>
                  <a:lnTo>
                    <a:pt x="155" y="222"/>
                  </a:lnTo>
                  <a:lnTo>
                    <a:pt x="159" y="226"/>
                  </a:lnTo>
                  <a:lnTo>
                    <a:pt x="159" y="225"/>
                  </a:lnTo>
                  <a:lnTo>
                    <a:pt x="157" y="223"/>
                  </a:lnTo>
                  <a:lnTo>
                    <a:pt x="157" y="221"/>
                  </a:lnTo>
                  <a:lnTo>
                    <a:pt x="154" y="219"/>
                  </a:lnTo>
                  <a:lnTo>
                    <a:pt x="154" y="214"/>
                  </a:lnTo>
                  <a:lnTo>
                    <a:pt x="153" y="214"/>
                  </a:lnTo>
                  <a:lnTo>
                    <a:pt x="153" y="213"/>
                  </a:lnTo>
                  <a:lnTo>
                    <a:pt x="154" y="212"/>
                  </a:lnTo>
                  <a:lnTo>
                    <a:pt x="155" y="212"/>
                  </a:lnTo>
                  <a:lnTo>
                    <a:pt x="157" y="213"/>
                  </a:lnTo>
                  <a:lnTo>
                    <a:pt x="158" y="213"/>
                  </a:lnTo>
                  <a:lnTo>
                    <a:pt x="159" y="212"/>
                  </a:lnTo>
                  <a:lnTo>
                    <a:pt x="160" y="212"/>
                  </a:lnTo>
                  <a:lnTo>
                    <a:pt x="160" y="210"/>
                  </a:lnTo>
                  <a:lnTo>
                    <a:pt x="159" y="208"/>
                  </a:lnTo>
                  <a:lnTo>
                    <a:pt x="159" y="207"/>
                  </a:lnTo>
                  <a:lnTo>
                    <a:pt x="155" y="206"/>
                  </a:lnTo>
                  <a:lnTo>
                    <a:pt x="158" y="206"/>
                  </a:lnTo>
                  <a:lnTo>
                    <a:pt x="154" y="202"/>
                  </a:lnTo>
                  <a:lnTo>
                    <a:pt x="153" y="200"/>
                  </a:lnTo>
                  <a:lnTo>
                    <a:pt x="158" y="200"/>
                  </a:lnTo>
                  <a:lnTo>
                    <a:pt x="157" y="198"/>
                  </a:lnTo>
                  <a:lnTo>
                    <a:pt x="157" y="197"/>
                  </a:lnTo>
                  <a:lnTo>
                    <a:pt x="154" y="198"/>
                  </a:lnTo>
                  <a:lnTo>
                    <a:pt x="153" y="197"/>
                  </a:lnTo>
                  <a:lnTo>
                    <a:pt x="154" y="196"/>
                  </a:lnTo>
                  <a:lnTo>
                    <a:pt x="154" y="195"/>
                  </a:lnTo>
                  <a:lnTo>
                    <a:pt x="153" y="194"/>
                  </a:lnTo>
                  <a:lnTo>
                    <a:pt x="152" y="194"/>
                  </a:lnTo>
                  <a:lnTo>
                    <a:pt x="152" y="195"/>
                  </a:lnTo>
                  <a:lnTo>
                    <a:pt x="151" y="196"/>
                  </a:lnTo>
                  <a:lnTo>
                    <a:pt x="149" y="196"/>
                  </a:lnTo>
                  <a:lnTo>
                    <a:pt x="148" y="195"/>
                  </a:lnTo>
                  <a:lnTo>
                    <a:pt x="145" y="195"/>
                  </a:lnTo>
                  <a:lnTo>
                    <a:pt x="145" y="194"/>
                  </a:lnTo>
                  <a:lnTo>
                    <a:pt x="143" y="195"/>
                  </a:lnTo>
                  <a:lnTo>
                    <a:pt x="141" y="192"/>
                  </a:lnTo>
                  <a:lnTo>
                    <a:pt x="140" y="194"/>
                  </a:lnTo>
                  <a:lnTo>
                    <a:pt x="135" y="194"/>
                  </a:lnTo>
                  <a:lnTo>
                    <a:pt x="135" y="195"/>
                  </a:lnTo>
                  <a:lnTo>
                    <a:pt x="134" y="195"/>
                  </a:lnTo>
                  <a:lnTo>
                    <a:pt x="134" y="194"/>
                  </a:lnTo>
                  <a:lnTo>
                    <a:pt x="133" y="191"/>
                  </a:lnTo>
                  <a:lnTo>
                    <a:pt x="134" y="192"/>
                  </a:lnTo>
                  <a:lnTo>
                    <a:pt x="135" y="191"/>
                  </a:lnTo>
                  <a:lnTo>
                    <a:pt x="133" y="191"/>
                  </a:lnTo>
                  <a:lnTo>
                    <a:pt x="133" y="188"/>
                  </a:lnTo>
                  <a:lnTo>
                    <a:pt x="130" y="185"/>
                  </a:lnTo>
                  <a:lnTo>
                    <a:pt x="132" y="184"/>
                  </a:lnTo>
                  <a:lnTo>
                    <a:pt x="130" y="183"/>
                  </a:lnTo>
                  <a:lnTo>
                    <a:pt x="129" y="183"/>
                  </a:lnTo>
                  <a:lnTo>
                    <a:pt x="129" y="184"/>
                  </a:lnTo>
                  <a:lnTo>
                    <a:pt x="128" y="184"/>
                  </a:lnTo>
                  <a:lnTo>
                    <a:pt x="128" y="185"/>
                  </a:lnTo>
                  <a:lnTo>
                    <a:pt x="127" y="184"/>
                  </a:lnTo>
                  <a:lnTo>
                    <a:pt x="127" y="182"/>
                  </a:lnTo>
                  <a:lnTo>
                    <a:pt x="128" y="183"/>
                  </a:lnTo>
                  <a:lnTo>
                    <a:pt x="130" y="180"/>
                  </a:lnTo>
                  <a:lnTo>
                    <a:pt x="132" y="180"/>
                  </a:lnTo>
                  <a:lnTo>
                    <a:pt x="132" y="176"/>
                  </a:lnTo>
                  <a:lnTo>
                    <a:pt x="130" y="173"/>
                  </a:lnTo>
                  <a:lnTo>
                    <a:pt x="130" y="172"/>
                  </a:lnTo>
                  <a:lnTo>
                    <a:pt x="129" y="171"/>
                  </a:lnTo>
                  <a:lnTo>
                    <a:pt x="128" y="171"/>
                  </a:lnTo>
                  <a:lnTo>
                    <a:pt x="127" y="172"/>
                  </a:lnTo>
                  <a:lnTo>
                    <a:pt x="127" y="170"/>
                  </a:lnTo>
                  <a:lnTo>
                    <a:pt x="128" y="170"/>
                  </a:lnTo>
                  <a:lnTo>
                    <a:pt x="129" y="169"/>
                  </a:lnTo>
                  <a:lnTo>
                    <a:pt x="129" y="165"/>
                  </a:lnTo>
                  <a:lnTo>
                    <a:pt x="127" y="163"/>
                  </a:lnTo>
                  <a:lnTo>
                    <a:pt x="124" y="161"/>
                  </a:lnTo>
                  <a:lnTo>
                    <a:pt x="120" y="160"/>
                  </a:lnTo>
                  <a:lnTo>
                    <a:pt x="127" y="160"/>
                  </a:lnTo>
                  <a:lnTo>
                    <a:pt x="126" y="159"/>
                  </a:lnTo>
                  <a:lnTo>
                    <a:pt x="123" y="158"/>
                  </a:lnTo>
                  <a:lnTo>
                    <a:pt x="122" y="158"/>
                  </a:lnTo>
                  <a:lnTo>
                    <a:pt x="122" y="155"/>
                  </a:lnTo>
                  <a:lnTo>
                    <a:pt x="118" y="155"/>
                  </a:lnTo>
                  <a:lnTo>
                    <a:pt x="117" y="154"/>
                  </a:lnTo>
                  <a:lnTo>
                    <a:pt x="124" y="155"/>
                  </a:lnTo>
                  <a:lnTo>
                    <a:pt x="126" y="155"/>
                  </a:lnTo>
                  <a:lnTo>
                    <a:pt x="128" y="154"/>
                  </a:lnTo>
                  <a:lnTo>
                    <a:pt x="132" y="158"/>
                  </a:lnTo>
                  <a:lnTo>
                    <a:pt x="133" y="157"/>
                  </a:lnTo>
                  <a:lnTo>
                    <a:pt x="130" y="155"/>
                  </a:lnTo>
                  <a:lnTo>
                    <a:pt x="132" y="154"/>
                  </a:lnTo>
                  <a:lnTo>
                    <a:pt x="132" y="155"/>
                  </a:lnTo>
                  <a:lnTo>
                    <a:pt x="134" y="155"/>
                  </a:lnTo>
                  <a:lnTo>
                    <a:pt x="136" y="154"/>
                  </a:lnTo>
                  <a:lnTo>
                    <a:pt x="138" y="153"/>
                  </a:lnTo>
                  <a:lnTo>
                    <a:pt x="139" y="153"/>
                  </a:lnTo>
                  <a:lnTo>
                    <a:pt x="139" y="148"/>
                  </a:lnTo>
                  <a:lnTo>
                    <a:pt x="140" y="148"/>
                  </a:lnTo>
                  <a:lnTo>
                    <a:pt x="142" y="146"/>
                  </a:lnTo>
                  <a:lnTo>
                    <a:pt x="143" y="147"/>
                  </a:lnTo>
                  <a:lnTo>
                    <a:pt x="145" y="145"/>
                  </a:lnTo>
                  <a:lnTo>
                    <a:pt x="145" y="142"/>
                  </a:lnTo>
                  <a:lnTo>
                    <a:pt x="143" y="139"/>
                  </a:lnTo>
                  <a:lnTo>
                    <a:pt x="139" y="139"/>
                  </a:lnTo>
                  <a:lnTo>
                    <a:pt x="136" y="137"/>
                  </a:lnTo>
                  <a:lnTo>
                    <a:pt x="135" y="136"/>
                  </a:lnTo>
                  <a:lnTo>
                    <a:pt x="135" y="135"/>
                  </a:lnTo>
                  <a:lnTo>
                    <a:pt x="140" y="137"/>
                  </a:lnTo>
                  <a:lnTo>
                    <a:pt x="141" y="137"/>
                  </a:lnTo>
                  <a:lnTo>
                    <a:pt x="147" y="139"/>
                  </a:lnTo>
                  <a:lnTo>
                    <a:pt x="153" y="139"/>
                  </a:lnTo>
                  <a:lnTo>
                    <a:pt x="154" y="137"/>
                  </a:lnTo>
                  <a:lnTo>
                    <a:pt x="155" y="137"/>
                  </a:lnTo>
                  <a:lnTo>
                    <a:pt x="155" y="139"/>
                  </a:lnTo>
                  <a:lnTo>
                    <a:pt x="154" y="140"/>
                  </a:lnTo>
                  <a:lnTo>
                    <a:pt x="154" y="142"/>
                  </a:lnTo>
                  <a:lnTo>
                    <a:pt x="153" y="142"/>
                  </a:lnTo>
                  <a:lnTo>
                    <a:pt x="153" y="141"/>
                  </a:lnTo>
                  <a:lnTo>
                    <a:pt x="152" y="141"/>
                  </a:lnTo>
                  <a:lnTo>
                    <a:pt x="151" y="142"/>
                  </a:lnTo>
                  <a:lnTo>
                    <a:pt x="153" y="146"/>
                  </a:lnTo>
                  <a:lnTo>
                    <a:pt x="154" y="147"/>
                  </a:lnTo>
                  <a:lnTo>
                    <a:pt x="153" y="149"/>
                  </a:lnTo>
                  <a:lnTo>
                    <a:pt x="152" y="148"/>
                  </a:lnTo>
                  <a:lnTo>
                    <a:pt x="149" y="151"/>
                  </a:lnTo>
                  <a:lnTo>
                    <a:pt x="148" y="151"/>
                  </a:lnTo>
                  <a:lnTo>
                    <a:pt x="149" y="152"/>
                  </a:lnTo>
                  <a:lnTo>
                    <a:pt x="152" y="151"/>
                  </a:lnTo>
                  <a:lnTo>
                    <a:pt x="153" y="151"/>
                  </a:lnTo>
                  <a:lnTo>
                    <a:pt x="153" y="149"/>
                  </a:lnTo>
                  <a:lnTo>
                    <a:pt x="155" y="152"/>
                  </a:lnTo>
                  <a:lnTo>
                    <a:pt x="155" y="154"/>
                  </a:lnTo>
                  <a:lnTo>
                    <a:pt x="151" y="154"/>
                  </a:lnTo>
                  <a:lnTo>
                    <a:pt x="151" y="155"/>
                  </a:lnTo>
                  <a:lnTo>
                    <a:pt x="155" y="155"/>
                  </a:lnTo>
                  <a:lnTo>
                    <a:pt x="157" y="158"/>
                  </a:lnTo>
                  <a:lnTo>
                    <a:pt x="157" y="159"/>
                  </a:lnTo>
                  <a:lnTo>
                    <a:pt x="155" y="160"/>
                  </a:lnTo>
                  <a:lnTo>
                    <a:pt x="157" y="160"/>
                  </a:lnTo>
                  <a:lnTo>
                    <a:pt x="158" y="159"/>
                  </a:lnTo>
                  <a:lnTo>
                    <a:pt x="159" y="155"/>
                  </a:lnTo>
                  <a:lnTo>
                    <a:pt x="159" y="151"/>
                  </a:lnTo>
                  <a:lnTo>
                    <a:pt x="161" y="148"/>
                  </a:lnTo>
                  <a:lnTo>
                    <a:pt x="163" y="148"/>
                  </a:lnTo>
                  <a:lnTo>
                    <a:pt x="164" y="146"/>
                  </a:lnTo>
                  <a:lnTo>
                    <a:pt x="161" y="141"/>
                  </a:lnTo>
                  <a:lnTo>
                    <a:pt x="161" y="140"/>
                  </a:lnTo>
                  <a:lnTo>
                    <a:pt x="163" y="140"/>
                  </a:lnTo>
                  <a:lnTo>
                    <a:pt x="165" y="142"/>
                  </a:lnTo>
                  <a:lnTo>
                    <a:pt x="165" y="146"/>
                  </a:lnTo>
                  <a:lnTo>
                    <a:pt x="166" y="146"/>
                  </a:lnTo>
                  <a:lnTo>
                    <a:pt x="166" y="148"/>
                  </a:lnTo>
                  <a:lnTo>
                    <a:pt x="167" y="152"/>
                  </a:lnTo>
                  <a:lnTo>
                    <a:pt x="167" y="154"/>
                  </a:lnTo>
                  <a:lnTo>
                    <a:pt x="166" y="157"/>
                  </a:lnTo>
                  <a:lnTo>
                    <a:pt x="165" y="155"/>
                  </a:lnTo>
                  <a:lnTo>
                    <a:pt x="164" y="155"/>
                  </a:lnTo>
                  <a:lnTo>
                    <a:pt x="164" y="158"/>
                  </a:lnTo>
                  <a:lnTo>
                    <a:pt x="161" y="160"/>
                  </a:lnTo>
                  <a:lnTo>
                    <a:pt x="164" y="160"/>
                  </a:lnTo>
                  <a:lnTo>
                    <a:pt x="165" y="159"/>
                  </a:lnTo>
                  <a:lnTo>
                    <a:pt x="167" y="161"/>
                  </a:lnTo>
                  <a:lnTo>
                    <a:pt x="170" y="157"/>
                  </a:lnTo>
                  <a:lnTo>
                    <a:pt x="170" y="155"/>
                  </a:lnTo>
                  <a:lnTo>
                    <a:pt x="167" y="147"/>
                  </a:lnTo>
                  <a:lnTo>
                    <a:pt x="167" y="143"/>
                  </a:lnTo>
                  <a:lnTo>
                    <a:pt x="166" y="139"/>
                  </a:lnTo>
                  <a:lnTo>
                    <a:pt x="165" y="137"/>
                  </a:lnTo>
                  <a:lnTo>
                    <a:pt x="164" y="137"/>
                  </a:lnTo>
                  <a:lnTo>
                    <a:pt x="159" y="140"/>
                  </a:lnTo>
                  <a:lnTo>
                    <a:pt x="159" y="136"/>
                  </a:lnTo>
                  <a:lnTo>
                    <a:pt x="166" y="133"/>
                  </a:lnTo>
                  <a:lnTo>
                    <a:pt x="172" y="127"/>
                  </a:lnTo>
                  <a:lnTo>
                    <a:pt x="176" y="126"/>
                  </a:lnTo>
                  <a:close/>
                  <a:moveTo>
                    <a:pt x="89" y="98"/>
                  </a:moveTo>
                  <a:lnTo>
                    <a:pt x="89" y="99"/>
                  </a:lnTo>
                  <a:lnTo>
                    <a:pt x="90" y="99"/>
                  </a:lnTo>
                  <a:lnTo>
                    <a:pt x="90" y="98"/>
                  </a:lnTo>
                  <a:lnTo>
                    <a:pt x="89" y="98"/>
                  </a:lnTo>
                  <a:close/>
                  <a:moveTo>
                    <a:pt x="45" y="85"/>
                  </a:moveTo>
                  <a:lnTo>
                    <a:pt x="46" y="85"/>
                  </a:lnTo>
                  <a:lnTo>
                    <a:pt x="45" y="86"/>
                  </a:lnTo>
                  <a:lnTo>
                    <a:pt x="45" y="85"/>
                  </a:lnTo>
                  <a:close/>
                  <a:moveTo>
                    <a:pt x="86" y="80"/>
                  </a:moveTo>
                  <a:lnTo>
                    <a:pt x="85" y="81"/>
                  </a:lnTo>
                  <a:lnTo>
                    <a:pt x="84" y="81"/>
                  </a:lnTo>
                  <a:lnTo>
                    <a:pt x="81" y="83"/>
                  </a:lnTo>
                  <a:lnTo>
                    <a:pt x="79" y="85"/>
                  </a:lnTo>
                  <a:lnTo>
                    <a:pt x="73" y="86"/>
                  </a:lnTo>
                  <a:lnTo>
                    <a:pt x="74" y="86"/>
                  </a:lnTo>
                  <a:lnTo>
                    <a:pt x="81" y="85"/>
                  </a:lnTo>
                  <a:lnTo>
                    <a:pt x="83" y="84"/>
                  </a:lnTo>
                  <a:lnTo>
                    <a:pt x="83" y="83"/>
                  </a:lnTo>
                  <a:lnTo>
                    <a:pt x="86" y="83"/>
                  </a:lnTo>
                  <a:lnTo>
                    <a:pt x="86" y="80"/>
                  </a:lnTo>
                  <a:close/>
                  <a:moveTo>
                    <a:pt x="151" y="79"/>
                  </a:moveTo>
                  <a:lnTo>
                    <a:pt x="151" y="80"/>
                  </a:lnTo>
                  <a:lnTo>
                    <a:pt x="149" y="80"/>
                  </a:lnTo>
                  <a:lnTo>
                    <a:pt x="148" y="81"/>
                  </a:lnTo>
                  <a:lnTo>
                    <a:pt x="148" y="83"/>
                  </a:lnTo>
                  <a:lnTo>
                    <a:pt x="147" y="83"/>
                  </a:lnTo>
                  <a:lnTo>
                    <a:pt x="147" y="84"/>
                  </a:lnTo>
                  <a:lnTo>
                    <a:pt x="146" y="84"/>
                  </a:lnTo>
                  <a:lnTo>
                    <a:pt x="145" y="83"/>
                  </a:lnTo>
                  <a:lnTo>
                    <a:pt x="145" y="80"/>
                  </a:lnTo>
                  <a:lnTo>
                    <a:pt x="148" y="80"/>
                  </a:lnTo>
                  <a:lnTo>
                    <a:pt x="151" y="79"/>
                  </a:lnTo>
                  <a:close/>
                  <a:moveTo>
                    <a:pt x="6" y="75"/>
                  </a:moveTo>
                  <a:lnTo>
                    <a:pt x="8" y="79"/>
                  </a:lnTo>
                  <a:lnTo>
                    <a:pt x="8" y="81"/>
                  </a:lnTo>
                  <a:lnTo>
                    <a:pt x="6" y="81"/>
                  </a:lnTo>
                  <a:lnTo>
                    <a:pt x="6" y="75"/>
                  </a:lnTo>
                  <a:close/>
                  <a:moveTo>
                    <a:pt x="33" y="61"/>
                  </a:moveTo>
                  <a:lnTo>
                    <a:pt x="34" y="62"/>
                  </a:lnTo>
                  <a:lnTo>
                    <a:pt x="35" y="61"/>
                  </a:lnTo>
                  <a:lnTo>
                    <a:pt x="35" y="68"/>
                  </a:lnTo>
                  <a:lnTo>
                    <a:pt x="34" y="68"/>
                  </a:lnTo>
                  <a:lnTo>
                    <a:pt x="34" y="67"/>
                  </a:lnTo>
                  <a:lnTo>
                    <a:pt x="33" y="67"/>
                  </a:lnTo>
                  <a:lnTo>
                    <a:pt x="31" y="68"/>
                  </a:lnTo>
                  <a:lnTo>
                    <a:pt x="31" y="69"/>
                  </a:lnTo>
                  <a:lnTo>
                    <a:pt x="33" y="69"/>
                  </a:lnTo>
                  <a:lnTo>
                    <a:pt x="33" y="73"/>
                  </a:lnTo>
                  <a:lnTo>
                    <a:pt x="34" y="73"/>
                  </a:lnTo>
                  <a:lnTo>
                    <a:pt x="34" y="74"/>
                  </a:lnTo>
                  <a:lnTo>
                    <a:pt x="33" y="74"/>
                  </a:lnTo>
                  <a:lnTo>
                    <a:pt x="33" y="75"/>
                  </a:lnTo>
                  <a:lnTo>
                    <a:pt x="31" y="77"/>
                  </a:lnTo>
                  <a:lnTo>
                    <a:pt x="31" y="78"/>
                  </a:lnTo>
                  <a:lnTo>
                    <a:pt x="29" y="80"/>
                  </a:lnTo>
                  <a:lnTo>
                    <a:pt x="29" y="81"/>
                  </a:lnTo>
                  <a:lnTo>
                    <a:pt x="25" y="83"/>
                  </a:lnTo>
                  <a:lnTo>
                    <a:pt x="24" y="84"/>
                  </a:lnTo>
                  <a:lnTo>
                    <a:pt x="24" y="83"/>
                  </a:lnTo>
                  <a:lnTo>
                    <a:pt x="23" y="80"/>
                  </a:lnTo>
                  <a:lnTo>
                    <a:pt x="22" y="80"/>
                  </a:lnTo>
                  <a:lnTo>
                    <a:pt x="21" y="79"/>
                  </a:lnTo>
                  <a:lnTo>
                    <a:pt x="21" y="78"/>
                  </a:lnTo>
                  <a:lnTo>
                    <a:pt x="20" y="78"/>
                  </a:lnTo>
                  <a:lnTo>
                    <a:pt x="18" y="79"/>
                  </a:lnTo>
                  <a:lnTo>
                    <a:pt x="18" y="77"/>
                  </a:lnTo>
                  <a:lnTo>
                    <a:pt x="20" y="77"/>
                  </a:lnTo>
                  <a:lnTo>
                    <a:pt x="20" y="74"/>
                  </a:lnTo>
                  <a:lnTo>
                    <a:pt x="21" y="74"/>
                  </a:lnTo>
                  <a:lnTo>
                    <a:pt x="23" y="73"/>
                  </a:lnTo>
                  <a:lnTo>
                    <a:pt x="24" y="72"/>
                  </a:lnTo>
                  <a:lnTo>
                    <a:pt x="23" y="72"/>
                  </a:lnTo>
                  <a:lnTo>
                    <a:pt x="23" y="71"/>
                  </a:lnTo>
                  <a:lnTo>
                    <a:pt x="24" y="69"/>
                  </a:lnTo>
                  <a:lnTo>
                    <a:pt x="24" y="67"/>
                  </a:lnTo>
                  <a:lnTo>
                    <a:pt x="25" y="67"/>
                  </a:lnTo>
                  <a:lnTo>
                    <a:pt x="27" y="66"/>
                  </a:lnTo>
                  <a:lnTo>
                    <a:pt x="29" y="66"/>
                  </a:lnTo>
                  <a:lnTo>
                    <a:pt x="30" y="65"/>
                  </a:lnTo>
                  <a:lnTo>
                    <a:pt x="30" y="66"/>
                  </a:lnTo>
                  <a:lnTo>
                    <a:pt x="31" y="65"/>
                  </a:lnTo>
                  <a:lnTo>
                    <a:pt x="33" y="61"/>
                  </a:lnTo>
                  <a:close/>
                  <a:moveTo>
                    <a:pt x="35" y="60"/>
                  </a:moveTo>
                  <a:lnTo>
                    <a:pt x="36" y="60"/>
                  </a:lnTo>
                  <a:lnTo>
                    <a:pt x="35" y="61"/>
                  </a:lnTo>
                  <a:lnTo>
                    <a:pt x="35" y="60"/>
                  </a:lnTo>
                  <a:close/>
                  <a:moveTo>
                    <a:pt x="80" y="51"/>
                  </a:moveTo>
                  <a:lnTo>
                    <a:pt x="79" y="53"/>
                  </a:lnTo>
                  <a:lnTo>
                    <a:pt x="79" y="54"/>
                  </a:lnTo>
                  <a:lnTo>
                    <a:pt x="79" y="53"/>
                  </a:lnTo>
                  <a:lnTo>
                    <a:pt x="80" y="53"/>
                  </a:lnTo>
                  <a:lnTo>
                    <a:pt x="81" y="51"/>
                  </a:lnTo>
                  <a:lnTo>
                    <a:pt x="81" y="53"/>
                  </a:lnTo>
                  <a:lnTo>
                    <a:pt x="86" y="56"/>
                  </a:lnTo>
                  <a:lnTo>
                    <a:pt x="89" y="59"/>
                  </a:lnTo>
                  <a:lnTo>
                    <a:pt x="91" y="59"/>
                  </a:lnTo>
                  <a:lnTo>
                    <a:pt x="87" y="56"/>
                  </a:lnTo>
                  <a:lnTo>
                    <a:pt x="85" y="54"/>
                  </a:lnTo>
                  <a:lnTo>
                    <a:pt x="83" y="53"/>
                  </a:lnTo>
                  <a:lnTo>
                    <a:pt x="81" y="51"/>
                  </a:lnTo>
                  <a:lnTo>
                    <a:pt x="80" y="51"/>
                  </a:lnTo>
                  <a:close/>
                  <a:moveTo>
                    <a:pt x="129" y="32"/>
                  </a:moveTo>
                  <a:lnTo>
                    <a:pt x="130" y="32"/>
                  </a:lnTo>
                  <a:lnTo>
                    <a:pt x="132" y="34"/>
                  </a:lnTo>
                  <a:lnTo>
                    <a:pt x="132" y="36"/>
                  </a:lnTo>
                  <a:lnTo>
                    <a:pt x="130" y="35"/>
                  </a:lnTo>
                  <a:lnTo>
                    <a:pt x="129" y="35"/>
                  </a:lnTo>
                  <a:lnTo>
                    <a:pt x="126" y="36"/>
                  </a:lnTo>
                  <a:lnTo>
                    <a:pt x="127" y="36"/>
                  </a:lnTo>
                  <a:lnTo>
                    <a:pt x="127" y="38"/>
                  </a:lnTo>
                  <a:lnTo>
                    <a:pt x="126" y="40"/>
                  </a:lnTo>
                  <a:lnTo>
                    <a:pt x="126" y="41"/>
                  </a:lnTo>
                  <a:lnTo>
                    <a:pt x="124" y="42"/>
                  </a:lnTo>
                  <a:lnTo>
                    <a:pt x="124" y="43"/>
                  </a:lnTo>
                  <a:lnTo>
                    <a:pt x="123" y="43"/>
                  </a:lnTo>
                  <a:lnTo>
                    <a:pt x="120" y="40"/>
                  </a:lnTo>
                  <a:lnTo>
                    <a:pt x="118" y="40"/>
                  </a:lnTo>
                  <a:lnTo>
                    <a:pt x="117" y="38"/>
                  </a:lnTo>
                  <a:lnTo>
                    <a:pt x="117" y="37"/>
                  </a:lnTo>
                  <a:lnTo>
                    <a:pt x="118" y="37"/>
                  </a:lnTo>
                  <a:lnTo>
                    <a:pt x="121" y="35"/>
                  </a:lnTo>
                  <a:lnTo>
                    <a:pt x="123" y="35"/>
                  </a:lnTo>
                  <a:lnTo>
                    <a:pt x="124" y="34"/>
                  </a:lnTo>
                  <a:lnTo>
                    <a:pt x="127" y="34"/>
                  </a:lnTo>
                  <a:lnTo>
                    <a:pt x="129" y="32"/>
                  </a:lnTo>
                  <a:close/>
                  <a:moveTo>
                    <a:pt x="104" y="0"/>
                  </a:moveTo>
                  <a:lnTo>
                    <a:pt x="108" y="0"/>
                  </a:lnTo>
                  <a:lnTo>
                    <a:pt x="105" y="1"/>
                  </a:lnTo>
                  <a:lnTo>
                    <a:pt x="104" y="4"/>
                  </a:lnTo>
                  <a:lnTo>
                    <a:pt x="101" y="8"/>
                  </a:lnTo>
                  <a:lnTo>
                    <a:pt x="99" y="13"/>
                  </a:lnTo>
                  <a:lnTo>
                    <a:pt x="102" y="20"/>
                  </a:lnTo>
                  <a:lnTo>
                    <a:pt x="104" y="24"/>
                  </a:lnTo>
                  <a:lnTo>
                    <a:pt x="103" y="28"/>
                  </a:lnTo>
                  <a:lnTo>
                    <a:pt x="103" y="32"/>
                  </a:lnTo>
                  <a:lnTo>
                    <a:pt x="104" y="40"/>
                  </a:lnTo>
                  <a:lnTo>
                    <a:pt x="99" y="44"/>
                  </a:lnTo>
                  <a:lnTo>
                    <a:pt x="97" y="49"/>
                  </a:lnTo>
                  <a:lnTo>
                    <a:pt x="97" y="53"/>
                  </a:lnTo>
                  <a:lnTo>
                    <a:pt x="96" y="56"/>
                  </a:lnTo>
                  <a:lnTo>
                    <a:pt x="96" y="57"/>
                  </a:lnTo>
                  <a:lnTo>
                    <a:pt x="95" y="59"/>
                  </a:lnTo>
                  <a:lnTo>
                    <a:pt x="93" y="59"/>
                  </a:lnTo>
                  <a:lnTo>
                    <a:pt x="95" y="60"/>
                  </a:lnTo>
                  <a:lnTo>
                    <a:pt x="92" y="62"/>
                  </a:lnTo>
                  <a:lnTo>
                    <a:pt x="92" y="67"/>
                  </a:lnTo>
                  <a:lnTo>
                    <a:pt x="93" y="71"/>
                  </a:lnTo>
                  <a:lnTo>
                    <a:pt x="93" y="75"/>
                  </a:lnTo>
                  <a:lnTo>
                    <a:pt x="95" y="79"/>
                  </a:lnTo>
                  <a:lnTo>
                    <a:pt x="95" y="80"/>
                  </a:lnTo>
                  <a:lnTo>
                    <a:pt x="96" y="80"/>
                  </a:lnTo>
                  <a:lnTo>
                    <a:pt x="95" y="81"/>
                  </a:lnTo>
                  <a:lnTo>
                    <a:pt x="93" y="80"/>
                  </a:lnTo>
                  <a:lnTo>
                    <a:pt x="90" y="80"/>
                  </a:lnTo>
                  <a:lnTo>
                    <a:pt x="90" y="81"/>
                  </a:lnTo>
                  <a:lnTo>
                    <a:pt x="89" y="80"/>
                  </a:lnTo>
                  <a:lnTo>
                    <a:pt x="87" y="80"/>
                  </a:lnTo>
                  <a:lnTo>
                    <a:pt x="89" y="81"/>
                  </a:lnTo>
                  <a:lnTo>
                    <a:pt x="89" y="83"/>
                  </a:lnTo>
                  <a:lnTo>
                    <a:pt x="92" y="83"/>
                  </a:lnTo>
                  <a:lnTo>
                    <a:pt x="93" y="81"/>
                  </a:lnTo>
                  <a:lnTo>
                    <a:pt x="95" y="81"/>
                  </a:lnTo>
                  <a:lnTo>
                    <a:pt x="96" y="83"/>
                  </a:lnTo>
                  <a:lnTo>
                    <a:pt x="96" y="87"/>
                  </a:lnTo>
                  <a:lnTo>
                    <a:pt x="92" y="90"/>
                  </a:lnTo>
                  <a:lnTo>
                    <a:pt x="90" y="92"/>
                  </a:lnTo>
                  <a:lnTo>
                    <a:pt x="90" y="96"/>
                  </a:lnTo>
                  <a:lnTo>
                    <a:pt x="91" y="93"/>
                  </a:lnTo>
                  <a:lnTo>
                    <a:pt x="91" y="92"/>
                  </a:lnTo>
                  <a:lnTo>
                    <a:pt x="92" y="91"/>
                  </a:lnTo>
                  <a:lnTo>
                    <a:pt x="95" y="90"/>
                  </a:lnTo>
                  <a:lnTo>
                    <a:pt x="95" y="88"/>
                  </a:lnTo>
                  <a:lnTo>
                    <a:pt x="96" y="90"/>
                  </a:lnTo>
                  <a:lnTo>
                    <a:pt x="96" y="92"/>
                  </a:lnTo>
                  <a:lnTo>
                    <a:pt x="97" y="93"/>
                  </a:lnTo>
                  <a:lnTo>
                    <a:pt x="101" y="96"/>
                  </a:lnTo>
                  <a:lnTo>
                    <a:pt x="104" y="96"/>
                  </a:lnTo>
                  <a:lnTo>
                    <a:pt x="114" y="94"/>
                  </a:lnTo>
                  <a:lnTo>
                    <a:pt x="117" y="94"/>
                  </a:lnTo>
                  <a:lnTo>
                    <a:pt x="117" y="96"/>
                  </a:lnTo>
                  <a:lnTo>
                    <a:pt x="118" y="98"/>
                  </a:lnTo>
                  <a:lnTo>
                    <a:pt x="122" y="100"/>
                  </a:lnTo>
                  <a:lnTo>
                    <a:pt x="122" y="102"/>
                  </a:lnTo>
                  <a:lnTo>
                    <a:pt x="121" y="102"/>
                  </a:lnTo>
                  <a:lnTo>
                    <a:pt x="120" y="104"/>
                  </a:lnTo>
                  <a:lnTo>
                    <a:pt x="120" y="110"/>
                  </a:lnTo>
                  <a:lnTo>
                    <a:pt x="112" y="117"/>
                  </a:lnTo>
                  <a:lnTo>
                    <a:pt x="112" y="123"/>
                  </a:lnTo>
                  <a:lnTo>
                    <a:pt x="110" y="123"/>
                  </a:lnTo>
                  <a:lnTo>
                    <a:pt x="108" y="121"/>
                  </a:lnTo>
                  <a:lnTo>
                    <a:pt x="109" y="121"/>
                  </a:lnTo>
                  <a:lnTo>
                    <a:pt x="110" y="120"/>
                  </a:lnTo>
                  <a:lnTo>
                    <a:pt x="110" y="118"/>
                  </a:lnTo>
                  <a:lnTo>
                    <a:pt x="109" y="117"/>
                  </a:lnTo>
                  <a:lnTo>
                    <a:pt x="108" y="117"/>
                  </a:lnTo>
                  <a:lnTo>
                    <a:pt x="104" y="121"/>
                  </a:lnTo>
                  <a:lnTo>
                    <a:pt x="104" y="123"/>
                  </a:lnTo>
                  <a:lnTo>
                    <a:pt x="105" y="126"/>
                  </a:lnTo>
                  <a:lnTo>
                    <a:pt x="105" y="127"/>
                  </a:lnTo>
                  <a:lnTo>
                    <a:pt x="102" y="127"/>
                  </a:lnTo>
                  <a:lnTo>
                    <a:pt x="102" y="124"/>
                  </a:lnTo>
                  <a:lnTo>
                    <a:pt x="103" y="123"/>
                  </a:lnTo>
                  <a:lnTo>
                    <a:pt x="103" y="122"/>
                  </a:lnTo>
                  <a:lnTo>
                    <a:pt x="97" y="122"/>
                  </a:lnTo>
                  <a:lnTo>
                    <a:pt x="97" y="121"/>
                  </a:lnTo>
                  <a:lnTo>
                    <a:pt x="96" y="120"/>
                  </a:lnTo>
                  <a:lnTo>
                    <a:pt x="97" y="120"/>
                  </a:lnTo>
                  <a:lnTo>
                    <a:pt x="98" y="118"/>
                  </a:lnTo>
                  <a:lnTo>
                    <a:pt x="99" y="118"/>
                  </a:lnTo>
                  <a:lnTo>
                    <a:pt x="101" y="120"/>
                  </a:lnTo>
                  <a:lnTo>
                    <a:pt x="102" y="118"/>
                  </a:lnTo>
                  <a:lnTo>
                    <a:pt x="101" y="117"/>
                  </a:lnTo>
                  <a:lnTo>
                    <a:pt x="101" y="116"/>
                  </a:lnTo>
                  <a:lnTo>
                    <a:pt x="102" y="114"/>
                  </a:lnTo>
                  <a:lnTo>
                    <a:pt x="101" y="114"/>
                  </a:lnTo>
                  <a:lnTo>
                    <a:pt x="101" y="112"/>
                  </a:lnTo>
                  <a:lnTo>
                    <a:pt x="98" y="112"/>
                  </a:lnTo>
                  <a:lnTo>
                    <a:pt x="98" y="114"/>
                  </a:lnTo>
                  <a:lnTo>
                    <a:pt x="97" y="114"/>
                  </a:lnTo>
                  <a:lnTo>
                    <a:pt x="97" y="115"/>
                  </a:lnTo>
                  <a:lnTo>
                    <a:pt x="96" y="115"/>
                  </a:lnTo>
                  <a:lnTo>
                    <a:pt x="95" y="117"/>
                  </a:lnTo>
                  <a:lnTo>
                    <a:pt x="95" y="118"/>
                  </a:lnTo>
                  <a:lnTo>
                    <a:pt x="90" y="123"/>
                  </a:lnTo>
                  <a:lnTo>
                    <a:pt x="90" y="124"/>
                  </a:lnTo>
                  <a:lnTo>
                    <a:pt x="92" y="127"/>
                  </a:lnTo>
                  <a:lnTo>
                    <a:pt x="92" y="130"/>
                  </a:lnTo>
                  <a:lnTo>
                    <a:pt x="91" y="131"/>
                  </a:lnTo>
                  <a:lnTo>
                    <a:pt x="91" y="133"/>
                  </a:lnTo>
                  <a:lnTo>
                    <a:pt x="92" y="133"/>
                  </a:lnTo>
                  <a:lnTo>
                    <a:pt x="92" y="134"/>
                  </a:lnTo>
                  <a:lnTo>
                    <a:pt x="91" y="136"/>
                  </a:lnTo>
                  <a:lnTo>
                    <a:pt x="91" y="141"/>
                  </a:lnTo>
                  <a:lnTo>
                    <a:pt x="90" y="142"/>
                  </a:lnTo>
                  <a:lnTo>
                    <a:pt x="90" y="143"/>
                  </a:lnTo>
                  <a:lnTo>
                    <a:pt x="89" y="143"/>
                  </a:lnTo>
                  <a:lnTo>
                    <a:pt x="89" y="146"/>
                  </a:lnTo>
                  <a:lnTo>
                    <a:pt x="90" y="146"/>
                  </a:lnTo>
                  <a:lnTo>
                    <a:pt x="89" y="147"/>
                  </a:lnTo>
                  <a:lnTo>
                    <a:pt x="87" y="147"/>
                  </a:lnTo>
                  <a:lnTo>
                    <a:pt x="86" y="146"/>
                  </a:lnTo>
                  <a:lnTo>
                    <a:pt x="86" y="143"/>
                  </a:lnTo>
                  <a:lnTo>
                    <a:pt x="80" y="143"/>
                  </a:lnTo>
                  <a:lnTo>
                    <a:pt x="80" y="145"/>
                  </a:lnTo>
                  <a:lnTo>
                    <a:pt x="79" y="146"/>
                  </a:lnTo>
                  <a:lnTo>
                    <a:pt x="76" y="146"/>
                  </a:lnTo>
                  <a:lnTo>
                    <a:pt x="77" y="147"/>
                  </a:lnTo>
                  <a:lnTo>
                    <a:pt x="83" y="148"/>
                  </a:lnTo>
                  <a:lnTo>
                    <a:pt x="83" y="149"/>
                  </a:lnTo>
                  <a:lnTo>
                    <a:pt x="81" y="151"/>
                  </a:lnTo>
                  <a:lnTo>
                    <a:pt x="81" y="153"/>
                  </a:lnTo>
                  <a:lnTo>
                    <a:pt x="84" y="153"/>
                  </a:lnTo>
                  <a:lnTo>
                    <a:pt x="84" y="154"/>
                  </a:lnTo>
                  <a:lnTo>
                    <a:pt x="81" y="154"/>
                  </a:lnTo>
                  <a:lnTo>
                    <a:pt x="81" y="158"/>
                  </a:lnTo>
                  <a:lnTo>
                    <a:pt x="80" y="157"/>
                  </a:lnTo>
                  <a:lnTo>
                    <a:pt x="76" y="158"/>
                  </a:lnTo>
                  <a:lnTo>
                    <a:pt x="73" y="159"/>
                  </a:lnTo>
                  <a:lnTo>
                    <a:pt x="72" y="159"/>
                  </a:lnTo>
                  <a:lnTo>
                    <a:pt x="70" y="158"/>
                  </a:lnTo>
                  <a:lnTo>
                    <a:pt x="68" y="157"/>
                  </a:lnTo>
                  <a:lnTo>
                    <a:pt x="62" y="157"/>
                  </a:lnTo>
                  <a:lnTo>
                    <a:pt x="62" y="158"/>
                  </a:lnTo>
                  <a:lnTo>
                    <a:pt x="66" y="158"/>
                  </a:lnTo>
                  <a:lnTo>
                    <a:pt x="70" y="161"/>
                  </a:lnTo>
                  <a:lnTo>
                    <a:pt x="70" y="163"/>
                  </a:lnTo>
                  <a:lnTo>
                    <a:pt x="74" y="163"/>
                  </a:lnTo>
                  <a:lnTo>
                    <a:pt x="74" y="164"/>
                  </a:lnTo>
                  <a:lnTo>
                    <a:pt x="72" y="165"/>
                  </a:lnTo>
                  <a:lnTo>
                    <a:pt x="71" y="167"/>
                  </a:lnTo>
                  <a:lnTo>
                    <a:pt x="68" y="167"/>
                  </a:lnTo>
                  <a:lnTo>
                    <a:pt x="68" y="170"/>
                  </a:lnTo>
                  <a:lnTo>
                    <a:pt x="66" y="170"/>
                  </a:lnTo>
                  <a:lnTo>
                    <a:pt x="65" y="171"/>
                  </a:lnTo>
                  <a:lnTo>
                    <a:pt x="62" y="171"/>
                  </a:lnTo>
                  <a:lnTo>
                    <a:pt x="62" y="172"/>
                  </a:lnTo>
                  <a:lnTo>
                    <a:pt x="60" y="172"/>
                  </a:lnTo>
                  <a:lnTo>
                    <a:pt x="60" y="173"/>
                  </a:lnTo>
                  <a:lnTo>
                    <a:pt x="64" y="173"/>
                  </a:lnTo>
                  <a:lnTo>
                    <a:pt x="64" y="172"/>
                  </a:lnTo>
                  <a:lnTo>
                    <a:pt x="66" y="174"/>
                  </a:lnTo>
                  <a:lnTo>
                    <a:pt x="67" y="174"/>
                  </a:lnTo>
                  <a:lnTo>
                    <a:pt x="66" y="176"/>
                  </a:lnTo>
                  <a:lnTo>
                    <a:pt x="66" y="177"/>
                  </a:lnTo>
                  <a:lnTo>
                    <a:pt x="64" y="177"/>
                  </a:lnTo>
                  <a:lnTo>
                    <a:pt x="64" y="179"/>
                  </a:lnTo>
                  <a:lnTo>
                    <a:pt x="65" y="180"/>
                  </a:lnTo>
                  <a:lnTo>
                    <a:pt x="64" y="180"/>
                  </a:lnTo>
                  <a:lnTo>
                    <a:pt x="64" y="182"/>
                  </a:lnTo>
                  <a:lnTo>
                    <a:pt x="66" y="184"/>
                  </a:lnTo>
                  <a:lnTo>
                    <a:pt x="66" y="186"/>
                  </a:lnTo>
                  <a:lnTo>
                    <a:pt x="67" y="189"/>
                  </a:lnTo>
                  <a:lnTo>
                    <a:pt x="68" y="189"/>
                  </a:lnTo>
                  <a:lnTo>
                    <a:pt x="68" y="192"/>
                  </a:lnTo>
                  <a:lnTo>
                    <a:pt x="67" y="194"/>
                  </a:lnTo>
                  <a:lnTo>
                    <a:pt x="67" y="195"/>
                  </a:lnTo>
                  <a:lnTo>
                    <a:pt x="62" y="195"/>
                  </a:lnTo>
                  <a:lnTo>
                    <a:pt x="62" y="196"/>
                  </a:lnTo>
                  <a:lnTo>
                    <a:pt x="61" y="196"/>
                  </a:lnTo>
                  <a:lnTo>
                    <a:pt x="61" y="197"/>
                  </a:lnTo>
                  <a:lnTo>
                    <a:pt x="59" y="197"/>
                  </a:lnTo>
                  <a:lnTo>
                    <a:pt x="59" y="198"/>
                  </a:lnTo>
                  <a:lnTo>
                    <a:pt x="60" y="198"/>
                  </a:lnTo>
                  <a:lnTo>
                    <a:pt x="60" y="200"/>
                  </a:lnTo>
                  <a:lnTo>
                    <a:pt x="58" y="200"/>
                  </a:lnTo>
                  <a:lnTo>
                    <a:pt x="59" y="201"/>
                  </a:lnTo>
                  <a:lnTo>
                    <a:pt x="61" y="201"/>
                  </a:lnTo>
                  <a:lnTo>
                    <a:pt x="61" y="202"/>
                  </a:lnTo>
                  <a:lnTo>
                    <a:pt x="62" y="203"/>
                  </a:lnTo>
                  <a:lnTo>
                    <a:pt x="60" y="206"/>
                  </a:lnTo>
                  <a:lnTo>
                    <a:pt x="58" y="206"/>
                  </a:lnTo>
                  <a:lnTo>
                    <a:pt x="56" y="207"/>
                  </a:lnTo>
                  <a:lnTo>
                    <a:pt x="58" y="208"/>
                  </a:lnTo>
                  <a:lnTo>
                    <a:pt x="60" y="207"/>
                  </a:lnTo>
                  <a:lnTo>
                    <a:pt x="62" y="207"/>
                  </a:lnTo>
                  <a:lnTo>
                    <a:pt x="62" y="206"/>
                  </a:lnTo>
                  <a:lnTo>
                    <a:pt x="64" y="206"/>
                  </a:lnTo>
                  <a:lnTo>
                    <a:pt x="67" y="209"/>
                  </a:lnTo>
                  <a:lnTo>
                    <a:pt x="70" y="209"/>
                  </a:lnTo>
                  <a:lnTo>
                    <a:pt x="70" y="210"/>
                  </a:lnTo>
                  <a:lnTo>
                    <a:pt x="71" y="216"/>
                  </a:lnTo>
                  <a:lnTo>
                    <a:pt x="71" y="217"/>
                  </a:lnTo>
                  <a:lnTo>
                    <a:pt x="70" y="217"/>
                  </a:lnTo>
                  <a:lnTo>
                    <a:pt x="70" y="216"/>
                  </a:lnTo>
                  <a:lnTo>
                    <a:pt x="68" y="216"/>
                  </a:lnTo>
                  <a:lnTo>
                    <a:pt x="68" y="217"/>
                  </a:lnTo>
                  <a:lnTo>
                    <a:pt x="71" y="220"/>
                  </a:lnTo>
                  <a:lnTo>
                    <a:pt x="71" y="221"/>
                  </a:lnTo>
                  <a:lnTo>
                    <a:pt x="70" y="221"/>
                  </a:lnTo>
                  <a:lnTo>
                    <a:pt x="68" y="220"/>
                  </a:lnTo>
                  <a:lnTo>
                    <a:pt x="66" y="220"/>
                  </a:lnTo>
                  <a:lnTo>
                    <a:pt x="65" y="219"/>
                  </a:lnTo>
                  <a:lnTo>
                    <a:pt x="66" y="219"/>
                  </a:lnTo>
                  <a:lnTo>
                    <a:pt x="65" y="217"/>
                  </a:lnTo>
                  <a:lnTo>
                    <a:pt x="65" y="216"/>
                  </a:lnTo>
                  <a:lnTo>
                    <a:pt x="66" y="215"/>
                  </a:lnTo>
                  <a:lnTo>
                    <a:pt x="65" y="214"/>
                  </a:lnTo>
                  <a:lnTo>
                    <a:pt x="62" y="216"/>
                  </a:lnTo>
                  <a:lnTo>
                    <a:pt x="62" y="217"/>
                  </a:lnTo>
                  <a:lnTo>
                    <a:pt x="61" y="219"/>
                  </a:lnTo>
                  <a:lnTo>
                    <a:pt x="60" y="219"/>
                  </a:lnTo>
                  <a:lnTo>
                    <a:pt x="58" y="221"/>
                  </a:lnTo>
                  <a:lnTo>
                    <a:pt x="58" y="223"/>
                  </a:lnTo>
                  <a:lnTo>
                    <a:pt x="55" y="223"/>
                  </a:lnTo>
                  <a:lnTo>
                    <a:pt x="55" y="222"/>
                  </a:lnTo>
                  <a:lnTo>
                    <a:pt x="54" y="222"/>
                  </a:lnTo>
                  <a:lnTo>
                    <a:pt x="54" y="223"/>
                  </a:lnTo>
                  <a:lnTo>
                    <a:pt x="48" y="223"/>
                  </a:lnTo>
                  <a:lnTo>
                    <a:pt x="48" y="221"/>
                  </a:lnTo>
                  <a:lnTo>
                    <a:pt x="47" y="220"/>
                  </a:lnTo>
                  <a:lnTo>
                    <a:pt x="37" y="219"/>
                  </a:lnTo>
                  <a:lnTo>
                    <a:pt x="35" y="216"/>
                  </a:lnTo>
                  <a:lnTo>
                    <a:pt x="30" y="216"/>
                  </a:lnTo>
                  <a:lnTo>
                    <a:pt x="28" y="217"/>
                  </a:lnTo>
                  <a:lnTo>
                    <a:pt x="24" y="217"/>
                  </a:lnTo>
                  <a:lnTo>
                    <a:pt x="24" y="215"/>
                  </a:lnTo>
                  <a:lnTo>
                    <a:pt x="25" y="213"/>
                  </a:lnTo>
                  <a:lnTo>
                    <a:pt x="24" y="212"/>
                  </a:lnTo>
                  <a:lnTo>
                    <a:pt x="24" y="209"/>
                  </a:lnTo>
                  <a:lnTo>
                    <a:pt x="23" y="208"/>
                  </a:lnTo>
                  <a:lnTo>
                    <a:pt x="23" y="206"/>
                  </a:lnTo>
                  <a:lnTo>
                    <a:pt x="24" y="203"/>
                  </a:lnTo>
                  <a:lnTo>
                    <a:pt x="24" y="202"/>
                  </a:lnTo>
                  <a:lnTo>
                    <a:pt x="25" y="200"/>
                  </a:lnTo>
                  <a:lnTo>
                    <a:pt x="24" y="200"/>
                  </a:lnTo>
                  <a:lnTo>
                    <a:pt x="25" y="198"/>
                  </a:lnTo>
                  <a:lnTo>
                    <a:pt x="25" y="197"/>
                  </a:lnTo>
                  <a:lnTo>
                    <a:pt x="24" y="195"/>
                  </a:lnTo>
                  <a:lnTo>
                    <a:pt x="24" y="183"/>
                  </a:lnTo>
                  <a:lnTo>
                    <a:pt x="23" y="180"/>
                  </a:lnTo>
                  <a:lnTo>
                    <a:pt x="23" y="177"/>
                  </a:lnTo>
                  <a:lnTo>
                    <a:pt x="22" y="176"/>
                  </a:lnTo>
                  <a:lnTo>
                    <a:pt x="17" y="176"/>
                  </a:lnTo>
                  <a:lnTo>
                    <a:pt x="15" y="174"/>
                  </a:lnTo>
                  <a:lnTo>
                    <a:pt x="14" y="173"/>
                  </a:lnTo>
                  <a:lnTo>
                    <a:pt x="10" y="167"/>
                  </a:lnTo>
                  <a:lnTo>
                    <a:pt x="10" y="166"/>
                  </a:lnTo>
                  <a:lnTo>
                    <a:pt x="8" y="166"/>
                  </a:lnTo>
                  <a:lnTo>
                    <a:pt x="8" y="167"/>
                  </a:lnTo>
                  <a:lnTo>
                    <a:pt x="6" y="169"/>
                  </a:lnTo>
                  <a:lnTo>
                    <a:pt x="8" y="170"/>
                  </a:lnTo>
                  <a:lnTo>
                    <a:pt x="6" y="171"/>
                  </a:lnTo>
                  <a:lnTo>
                    <a:pt x="8" y="171"/>
                  </a:lnTo>
                  <a:lnTo>
                    <a:pt x="10" y="173"/>
                  </a:lnTo>
                  <a:lnTo>
                    <a:pt x="10" y="174"/>
                  </a:lnTo>
                  <a:lnTo>
                    <a:pt x="5" y="171"/>
                  </a:lnTo>
                  <a:lnTo>
                    <a:pt x="4" y="170"/>
                  </a:lnTo>
                  <a:lnTo>
                    <a:pt x="2" y="170"/>
                  </a:lnTo>
                  <a:lnTo>
                    <a:pt x="0" y="169"/>
                  </a:lnTo>
                  <a:lnTo>
                    <a:pt x="0" y="167"/>
                  </a:lnTo>
                  <a:lnTo>
                    <a:pt x="3" y="161"/>
                  </a:lnTo>
                  <a:lnTo>
                    <a:pt x="4" y="158"/>
                  </a:lnTo>
                  <a:lnTo>
                    <a:pt x="4" y="152"/>
                  </a:lnTo>
                  <a:lnTo>
                    <a:pt x="2" y="137"/>
                  </a:lnTo>
                  <a:lnTo>
                    <a:pt x="2" y="135"/>
                  </a:lnTo>
                  <a:lnTo>
                    <a:pt x="3" y="136"/>
                  </a:lnTo>
                  <a:lnTo>
                    <a:pt x="4" y="142"/>
                  </a:lnTo>
                  <a:lnTo>
                    <a:pt x="4" y="145"/>
                  </a:lnTo>
                  <a:lnTo>
                    <a:pt x="5" y="145"/>
                  </a:lnTo>
                  <a:lnTo>
                    <a:pt x="5" y="146"/>
                  </a:lnTo>
                  <a:lnTo>
                    <a:pt x="4" y="147"/>
                  </a:lnTo>
                  <a:lnTo>
                    <a:pt x="4" y="148"/>
                  </a:lnTo>
                  <a:lnTo>
                    <a:pt x="5" y="149"/>
                  </a:lnTo>
                  <a:lnTo>
                    <a:pt x="9" y="146"/>
                  </a:lnTo>
                  <a:lnTo>
                    <a:pt x="10" y="146"/>
                  </a:lnTo>
                  <a:lnTo>
                    <a:pt x="12" y="143"/>
                  </a:lnTo>
                  <a:lnTo>
                    <a:pt x="14" y="141"/>
                  </a:lnTo>
                  <a:lnTo>
                    <a:pt x="12" y="140"/>
                  </a:lnTo>
                  <a:lnTo>
                    <a:pt x="12" y="139"/>
                  </a:lnTo>
                  <a:lnTo>
                    <a:pt x="10" y="136"/>
                  </a:lnTo>
                  <a:lnTo>
                    <a:pt x="10" y="130"/>
                  </a:lnTo>
                  <a:lnTo>
                    <a:pt x="9" y="129"/>
                  </a:lnTo>
                  <a:lnTo>
                    <a:pt x="4" y="127"/>
                  </a:lnTo>
                  <a:lnTo>
                    <a:pt x="3" y="127"/>
                  </a:lnTo>
                  <a:lnTo>
                    <a:pt x="3" y="131"/>
                  </a:lnTo>
                  <a:lnTo>
                    <a:pt x="2" y="134"/>
                  </a:lnTo>
                  <a:lnTo>
                    <a:pt x="0" y="133"/>
                  </a:lnTo>
                  <a:lnTo>
                    <a:pt x="0" y="126"/>
                  </a:lnTo>
                  <a:lnTo>
                    <a:pt x="2" y="121"/>
                  </a:lnTo>
                  <a:lnTo>
                    <a:pt x="2" y="90"/>
                  </a:lnTo>
                  <a:lnTo>
                    <a:pt x="4" y="84"/>
                  </a:lnTo>
                  <a:lnTo>
                    <a:pt x="5" y="81"/>
                  </a:lnTo>
                  <a:lnTo>
                    <a:pt x="6" y="81"/>
                  </a:lnTo>
                  <a:lnTo>
                    <a:pt x="6" y="83"/>
                  </a:lnTo>
                  <a:lnTo>
                    <a:pt x="5" y="85"/>
                  </a:lnTo>
                  <a:lnTo>
                    <a:pt x="5" y="86"/>
                  </a:lnTo>
                  <a:lnTo>
                    <a:pt x="6" y="86"/>
                  </a:lnTo>
                  <a:lnTo>
                    <a:pt x="6" y="88"/>
                  </a:lnTo>
                  <a:lnTo>
                    <a:pt x="9" y="88"/>
                  </a:lnTo>
                  <a:lnTo>
                    <a:pt x="9" y="92"/>
                  </a:lnTo>
                  <a:lnTo>
                    <a:pt x="10" y="92"/>
                  </a:lnTo>
                  <a:lnTo>
                    <a:pt x="10" y="91"/>
                  </a:lnTo>
                  <a:lnTo>
                    <a:pt x="15" y="91"/>
                  </a:lnTo>
                  <a:lnTo>
                    <a:pt x="16" y="92"/>
                  </a:lnTo>
                  <a:lnTo>
                    <a:pt x="18" y="93"/>
                  </a:lnTo>
                  <a:lnTo>
                    <a:pt x="20" y="92"/>
                  </a:lnTo>
                  <a:lnTo>
                    <a:pt x="20" y="91"/>
                  </a:lnTo>
                  <a:lnTo>
                    <a:pt x="21" y="91"/>
                  </a:lnTo>
                  <a:lnTo>
                    <a:pt x="22" y="94"/>
                  </a:lnTo>
                  <a:lnTo>
                    <a:pt x="22" y="97"/>
                  </a:lnTo>
                  <a:lnTo>
                    <a:pt x="23" y="97"/>
                  </a:lnTo>
                  <a:lnTo>
                    <a:pt x="23" y="98"/>
                  </a:lnTo>
                  <a:lnTo>
                    <a:pt x="24" y="99"/>
                  </a:lnTo>
                  <a:lnTo>
                    <a:pt x="27" y="98"/>
                  </a:lnTo>
                  <a:lnTo>
                    <a:pt x="28" y="98"/>
                  </a:lnTo>
                  <a:lnTo>
                    <a:pt x="28" y="92"/>
                  </a:lnTo>
                  <a:lnTo>
                    <a:pt x="29" y="92"/>
                  </a:lnTo>
                  <a:lnTo>
                    <a:pt x="27" y="90"/>
                  </a:lnTo>
                  <a:lnTo>
                    <a:pt x="27" y="88"/>
                  </a:lnTo>
                  <a:lnTo>
                    <a:pt x="25" y="88"/>
                  </a:lnTo>
                  <a:lnTo>
                    <a:pt x="25" y="86"/>
                  </a:lnTo>
                  <a:lnTo>
                    <a:pt x="28" y="86"/>
                  </a:lnTo>
                  <a:lnTo>
                    <a:pt x="30" y="81"/>
                  </a:lnTo>
                  <a:lnTo>
                    <a:pt x="35" y="81"/>
                  </a:lnTo>
                  <a:lnTo>
                    <a:pt x="35" y="80"/>
                  </a:lnTo>
                  <a:lnTo>
                    <a:pt x="31" y="80"/>
                  </a:lnTo>
                  <a:lnTo>
                    <a:pt x="33" y="79"/>
                  </a:lnTo>
                  <a:lnTo>
                    <a:pt x="33" y="78"/>
                  </a:lnTo>
                  <a:lnTo>
                    <a:pt x="35" y="75"/>
                  </a:lnTo>
                  <a:lnTo>
                    <a:pt x="36" y="73"/>
                  </a:lnTo>
                  <a:lnTo>
                    <a:pt x="39" y="73"/>
                  </a:lnTo>
                  <a:lnTo>
                    <a:pt x="39" y="74"/>
                  </a:lnTo>
                  <a:lnTo>
                    <a:pt x="40" y="74"/>
                  </a:lnTo>
                  <a:lnTo>
                    <a:pt x="40" y="73"/>
                  </a:lnTo>
                  <a:lnTo>
                    <a:pt x="42" y="73"/>
                  </a:lnTo>
                  <a:lnTo>
                    <a:pt x="43" y="74"/>
                  </a:lnTo>
                  <a:lnTo>
                    <a:pt x="43" y="77"/>
                  </a:lnTo>
                  <a:lnTo>
                    <a:pt x="46" y="79"/>
                  </a:lnTo>
                  <a:lnTo>
                    <a:pt x="46" y="81"/>
                  </a:lnTo>
                  <a:lnTo>
                    <a:pt x="45" y="81"/>
                  </a:lnTo>
                  <a:lnTo>
                    <a:pt x="42" y="84"/>
                  </a:lnTo>
                  <a:lnTo>
                    <a:pt x="43" y="85"/>
                  </a:lnTo>
                  <a:lnTo>
                    <a:pt x="42" y="85"/>
                  </a:lnTo>
                  <a:lnTo>
                    <a:pt x="41" y="86"/>
                  </a:lnTo>
                  <a:lnTo>
                    <a:pt x="41" y="92"/>
                  </a:lnTo>
                  <a:lnTo>
                    <a:pt x="42" y="92"/>
                  </a:lnTo>
                  <a:lnTo>
                    <a:pt x="42" y="91"/>
                  </a:lnTo>
                  <a:lnTo>
                    <a:pt x="43" y="88"/>
                  </a:lnTo>
                  <a:lnTo>
                    <a:pt x="46" y="88"/>
                  </a:lnTo>
                  <a:lnTo>
                    <a:pt x="45" y="87"/>
                  </a:lnTo>
                  <a:lnTo>
                    <a:pt x="45" y="86"/>
                  </a:lnTo>
                  <a:lnTo>
                    <a:pt x="48" y="86"/>
                  </a:lnTo>
                  <a:lnTo>
                    <a:pt x="49" y="87"/>
                  </a:lnTo>
                  <a:lnTo>
                    <a:pt x="49" y="86"/>
                  </a:lnTo>
                  <a:lnTo>
                    <a:pt x="51" y="86"/>
                  </a:lnTo>
                  <a:lnTo>
                    <a:pt x="51" y="88"/>
                  </a:lnTo>
                  <a:lnTo>
                    <a:pt x="49" y="90"/>
                  </a:lnTo>
                  <a:lnTo>
                    <a:pt x="49" y="92"/>
                  </a:lnTo>
                  <a:lnTo>
                    <a:pt x="51" y="92"/>
                  </a:lnTo>
                  <a:lnTo>
                    <a:pt x="51" y="93"/>
                  </a:lnTo>
                  <a:lnTo>
                    <a:pt x="52" y="93"/>
                  </a:lnTo>
                  <a:lnTo>
                    <a:pt x="52" y="94"/>
                  </a:lnTo>
                  <a:lnTo>
                    <a:pt x="53" y="94"/>
                  </a:lnTo>
                  <a:lnTo>
                    <a:pt x="53" y="93"/>
                  </a:lnTo>
                  <a:lnTo>
                    <a:pt x="54" y="93"/>
                  </a:lnTo>
                  <a:lnTo>
                    <a:pt x="54" y="92"/>
                  </a:lnTo>
                  <a:lnTo>
                    <a:pt x="53" y="91"/>
                  </a:lnTo>
                  <a:lnTo>
                    <a:pt x="52" y="92"/>
                  </a:lnTo>
                  <a:lnTo>
                    <a:pt x="51" y="92"/>
                  </a:lnTo>
                  <a:lnTo>
                    <a:pt x="52" y="91"/>
                  </a:lnTo>
                  <a:lnTo>
                    <a:pt x="52" y="86"/>
                  </a:lnTo>
                  <a:lnTo>
                    <a:pt x="53" y="84"/>
                  </a:lnTo>
                  <a:lnTo>
                    <a:pt x="52" y="81"/>
                  </a:lnTo>
                  <a:lnTo>
                    <a:pt x="51" y="81"/>
                  </a:lnTo>
                  <a:lnTo>
                    <a:pt x="48" y="83"/>
                  </a:lnTo>
                  <a:lnTo>
                    <a:pt x="47" y="84"/>
                  </a:lnTo>
                  <a:lnTo>
                    <a:pt x="46" y="84"/>
                  </a:lnTo>
                  <a:lnTo>
                    <a:pt x="46" y="81"/>
                  </a:lnTo>
                  <a:lnTo>
                    <a:pt x="48" y="80"/>
                  </a:lnTo>
                  <a:lnTo>
                    <a:pt x="48" y="79"/>
                  </a:lnTo>
                  <a:lnTo>
                    <a:pt x="49" y="78"/>
                  </a:lnTo>
                  <a:lnTo>
                    <a:pt x="48" y="77"/>
                  </a:lnTo>
                  <a:lnTo>
                    <a:pt x="47" y="77"/>
                  </a:lnTo>
                  <a:lnTo>
                    <a:pt x="47" y="75"/>
                  </a:lnTo>
                  <a:lnTo>
                    <a:pt x="46" y="74"/>
                  </a:lnTo>
                  <a:lnTo>
                    <a:pt x="46" y="72"/>
                  </a:lnTo>
                  <a:lnTo>
                    <a:pt x="48" y="69"/>
                  </a:lnTo>
                  <a:lnTo>
                    <a:pt x="47" y="68"/>
                  </a:lnTo>
                  <a:lnTo>
                    <a:pt x="47" y="67"/>
                  </a:lnTo>
                  <a:lnTo>
                    <a:pt x="46" y="67"/>
                  </a:lnTo>
                  <a:lnTo>
                    <a:pt x="46" y="65"/>
                  </a:lnTo>
                  <a:lnTo>
                    <a:pt x="49" y="61"/>
                  </a:lnTo>
                  <a:lnTo>
                    <a:pt x="49" y="60"/>
                  </a:lnTo>
                  <a:lnTo>
                    <a:pt x="51" y="60"/>
                  </a:lnTo>
                  <a:lnTo>
                    <a:pt x="51" y="59"/>
                  </a:lnTo>
                  <a:lnTo>
                    <a:pt x="58" y="56"/>
                  </a:lnTo>
                  <a:lnTo>
                    <a:pt x="59" y="56"/>
                  </a:lnTo>
                  <a:lnTo>
                    <a:pt x="64" y="59"/>
                  </a:lnTo>
                  <a:lnTo>
                    <a:pt x="62" y="60"/>
                  </a:lnTo>
                  <a:lnTo>
                    <a:pt x="64" y="61"/>
                  </a:lnTo>
                  <a:lnTo>
                    <a:pt x="65" y="61"/>
                  </a:lnTo>
                  <a:lnTo>
                    <a:pt x="65" y="60"/>
                  </a:lnTo>
                  <a:lnTo>
                    <a:pt x="66" y="57"/>
                  </a:lnTo>
                  <a:lnTo>
                    <a:pt x="67" y="56"/>
                  </a:lnTo>
                  <a:lnTo>
                    <a:pt x="67" y="55"/>
                  </a:lnTo>
                  <a:lnTo>
                    <a:pt x="70" y="55"/>
                  </a:lnTo>
                  <a:lnTo>
                    <a:pt x="71" y="54"/>
                  </a:lnTo>
                  <a:lnTo>
                    <a:pt x="77" y="54"/>
                  </a:lnTo>
                  <a:lnTo>
                    <a:pt x="74" y="51"/>
                  </a:lnTo>
                  <a:lnTo>
                    <a:pt x="73" y="51"/>
                  </a:lnTo>
                  <a:lnTo>
                    <a:pt x="73" y="50"/>
                  </a:lnTo>
                  <a:lnTo>
                    <a:pt x="72" y="50"/>
                  </a:lnTo>
                  <a:lnTo>
                    <a:pt x="71" y="53"/>
                  </a:lnTo>
                  <a:lnTo>
                    <a:pt x="70" y="53"/>
                  </a:lnTo>
                  <a:lnTo>
                    <a:pt x="68" y="54"/>
                  </a:lnTo>
                  <a:lnTo>
                    <a:pt x="68" y="53"/>
                  </a:lnTo>
                  <a:lnTo>
                    <a:pt x="66" y="53"/>
                  </a:lnTo>
                  <a:lnTo>
                    <a:pt x="64" y="55"/>
                  </a:lnTo>
                  <a:lnTo>
                    <a:pt x="60" y="55"/>
                  </a:lnTo>
                  <a:lnTo>
                    <a:pt x="49" y="59"/>
                  </a:lnTo>
                  <a:lnTo>
                    <a:pt x="48" y="57"/>
                  </a:lnTo>
                  <a:lnTo>
                    <a:pt x="43" y="54"/>
                  </a:lnTo>
                  <a:lnTo>
                    <a:pt x="43" y="55"/>
                  </a:lnTo>
                  <a:lnTo>
                    <a:pt x="42" y="56"/>
                  </a:lnTo>
                  <a:lnTo>
                    <a:pt x="41" y="56"/>
                  </a:lnTo>
                  <a:lnTo>
                    <a:pt x="41" y="57"/>
                  </a:lnTo>
                  <a:lnTo>
                    <a:pt x="40" y="57"/>
                  </a:lnTo>
                  <a:lnTo>
                    <a:pt x="40" y="56"/>
                  </a:lnTo>
                  <a:lnTo>
                    <a:pt x="37" y="56"/>
                  </a:lnTo>
                  <a:lnTo>
                    <a:pt x="37" y="57"/>
                  </a:lnTo>
                  <a:lnTo>
                    <a:pt x="36" y="57"/>
                  </a:lnTo>
                  <a:lnTo>
                    <a:pt x="35" y="59"/>
                  </a:lnTo>
                  <a:lnTo>
                    <a:pt x="35" y="60"/>
                  </a:lnTo>
                  <a:lnTo>
                    <a:pt x="34" y="59"/>
                  </a:lnTo>
                  <a:lnTo>
                    <a:pt x="34" y="57"/>
                  </a:lnTo>
                  <a:lnTo>
                    <a:pt x="33" y="59"/>
                  </a:lnTo>
                  <a:lnTo>
                    <a:pt x="31" y="59"/>
                  </a:lnTo>
                  <a:lnTo>
                    <a:pt x="33" y="60"/>
                  </a:lnTo>
                  <a:lnTo>
                    <a:pt x="30" y="61"/>
                  </a:lnTo>
                  <a:lnTo>
                    <a:pt x="29" y="62"/>
                  </a:lnTo>
                  <a:lnTo>
                    <a:pt x="27" y="61"/>
                  </a:lnTo>
                  <a:lnTo>
                    <a:pt x="25" y="62"/>
                  </a:lnTo>
                  <a:lnTo>
                    <a:pt x="24" y="62"/>
                  </a:lnTo>
                  <a:lnTo>
                    <a:pt x="24" y="65"/>
                  </a:lnTo>
                  <a:lnTo>
                    <a:pt x="23" y="66"/>
                  </a:lnTo>
                  <a:lnTo>
                    <a:pt x="23" y="67"/>
                  </a:lnTo>
                  <a:lnTo>
                    <a:pt x="22" y="68"/>
                  </a:lnTo>
                  <a:lnTo>
                    <a:pt x="22" y="71"/>
                  </a:lnTo>
                  <a:lnTo>
                    <a:pt x="21" y="73"/>
                  </a:lnTo>
                  <a:lnTo>
                    <a:pt x="18" y="73"/>
                  </a:lnTo>
                  <a:lnTo>
                    <a:pt x="18" y="74"/>
                  </a:lnTo>
                  <a:lnTo>
                    <a:pt x="17" y="74"/>
                  </a:lnTo>
                  <a:lnTo>
                    <a:pt x="17" y="80"/>
                  </a:lnTo>
                  <a:lnTo>
                    <a:pt x="18" y="80"/>
                  </a:lnTo>
                  <a:lnTo>
                    <a:pt x="20" y="81"/>
                  </a:lnTo>
                  <a:lnTo>
                    <a:pt x="18" y="81"/>
                  </a:lnTo>
                  <a:lnTo>
                    <a:pt x="18" y="83"/>
                  </a:lnTo>
                  <a:lnTo>
                    <a:pt x="17" y="83"/>
                  </a:lnTo>
                  <a:lnTo>
                    <a:pt x="16" y="81"/>
                  </a:lnTo>
                  <a:lnTo>
                    <a:pt x="15" y="81"/>
                  </a:lnTo>
                  <a:lnTo>
                    <a:pt x="15" y="83"/>
                  </a:lnTo>
                  <a:lnTo>
                    <a:pt x="16" y="83"/>
                  </a:lnTo>
                  <a:lnTo>
                    <a:pt x="17" y="84"/>
                  </a:lnTo>
                  <a:lnTo>
                    <a:pt x="21" y="83"/>
                  </a:lnTo>
                  <a:lnTo>
                    <a:pt x="22" y="83"/>
                  </a:lnTo>
                  <a:lnTo>
                    <a:pt x="21" y="85"/>
                  </a:lnTo>
                  <a:lnTo>
                    <a:pt x="22" y="86"/>
                  </a:lnTo>
                  <a:lnTo>
                    <a:pt x="22" y="88"/>
                  </a:lnTo>
                  <a:lnTo>
                    <a:pt x="20" y="88"/>
                  </a:lnTo>
                  <a:lnTo>
                    <a:pt x="20" y="90"/>
                  </a:lnTo>
                  <a:lnTo>
                    <a:pt x="17" y="87"/>
                  </a:lnTo>
                  <a:lnTo>
                    <a:pt x="17" y="86"/>
                  </a:lnTo>
                  <a:lnTo>
                    <a:pt x="15" y="84"/>
                  </a:lnTo>
                  <a:lnTo>
                    <a:pt x="14" y="84"/>
                  </a:lnTo>
                  <a:lnTo>
                    <a:pt x="12" y="83"/>
                  </a:lnTo>
                  <a:lnTo>
                    <a:pt x="11" y="83"/>
                  </a:lnTo>
                  <a:lnTo>
                    <a:pt x="10" y="81"/>
                  </a:lnTo>
                  <a:lnTo>
                    <a:pt x="10" y="77"/>
                  </a:lnTo>
                  <a:lnTo>
                    <a:pt x="9" y="77"/>
                  </a:lnTo>
                  <a:lnTo>
                    <a:pt x="8" y="75"/>
                  </a:lnTo>
                  <a:lnTo>
                    <a:pt x="6" y="75"/>
                  </a:lnTo>
                  <a:lnTo>
                    <a:pt x="6" y="73"/>
                  </a:lnTo>
                  <a:lnTo>
                    <a:pt x="8" y="71"/>
                  </a:lnTo>
                  <a:lnTo>
                    <a:pt x="16" y="57"/>
                  </a:lnTo>
                  <a:lnTo>
                    <a:pt x="17" y="56"/>
                  </a:lnTo>
                  <a:lnTo>
                    <a:pt x="21" y="50"/>
                  </a:lnTo>
                  <a:lnTo>
                    <a:pt x="23" y="49"/>
                  </a:lnTo>
                  <a:lnTo>
                    <a:pt x="24" y="49"/>
                  </a:lnTo>
                  <a:lnTo>
                    <a:pt x="28" y="50"/>
                  </a:lnTo>
                  <a:lnTo>
                    <a:pt x="29" y="50"/>
                  </a:lnTo>
                  <a:lnTo>
                    <a:pt x="34" y="49"/>
                  </a:lnTo>
                  <a:lnTo>
                    <a:pt x="35" y="48"/>
                  </a:lnTo>
                  <a:lnTo>
                    <a:pt x="37" y="47"/>
                  </a:lnTo>
                  <a:lnTo>
                    <a:pt x="37" y="45"/>
                  </a:lnTo>
                  <a:lnTo>
                    <a:pt x="48" y="48"/>
                  </a:lnTo>
                  <a:lnTo>
                    <a:pt x="52" y="47"/>
                  </a:lnTo>
                  <a:lnTo>
                    <a:pt x="56" y="45"/>
                  </a:lnTo>
                  <a:lnTo>
                    <a:pt x="60" y="43"/>
                  </a:lnTo>
                  <a:lnTo>
                    <a:pt x="62" y="40"/>
                  </a:lnTo>
                  <a:lnTo>
                    <a:pt x="72" y="23"/>
                  </a:lnTo>
                  <a:lnTo>
                    <a:pt x="73" y="20"/>
                  </a:lnTo>
                  <a:lnTo>
                    <a:pt x="77" y="17"/>
                  </a:lnTo>
                  <a:lnTo>
                    <a:pt x="78" y="14"/>
                  </a:lnTo>
                  <a:lnTo>
                    <a:pt x="78" y="13"/>
                  </a:lnTo>
                  <a:lnTo>
                    <a:pt x="79" y="12"/>
                  </a:lnTo>
                  <a:lnTo>
                    <a:pt x="85" y="12"/>
                  </a:lnTo>
                  <a:lnTo>
                    <a:pt x="92" y="10"/>
                  </a:lnTo>
                  <a:lnTo>
                    <a:pt x="96" y="7"/>
                  </a:lnTo>
                  <a:lnTo>
                    <a:pt x="101" y="2"/>
                  </a:lnTo>
                  <a:lnTo>
                    <a:pt x="104" y="0"/>
                  </a:lnTo>
                  <a:close/>
                </a:path>
              </a:pathLst>
            </a:custGeom>
            <a:solidFill>
              <a:schemeClr val="accent5">
                <a:lumMod val="95000"/>
              </a:schemeClr>
            </a:solidFill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48">
              <a:extLst>
                <a:ext uri="{FF2B5EF4-FFF2-40B4-BE49-F238E27FC236}">
                  <a16:creationId xmlns:a16="http://schemas.microsoft.com/office/drawing/2014/main" id="{E2065C67-0C66-4830-BF37-FD7509E8006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4638" y="4344988"/>
              <a:ext cx="452438" cy="258763"/>
            </a:xfrm>
            <a:custGeom>
              <a:avLst/>
              <a:gdLst/>
              <a:ahLst/>
              <a:cxnLst>
                <a:cxn ang="0">
                  <a:pos x="108" y="8"/>
                </a:cxn>
                <a:cxn ang="0">
                  <a:pos x="115" y="16"/>
                </a:cxn>
                <a:cxn ang="0">
                  <a:pos x="123" y="2"/>
                </a:cxn>
                <a:cxn ang="0">
                  <a:pos x="130" y="4"/>
                </a:cxn>
                <a:cxn ang="0">
                  <a:pos x="136" y="14"/>
                </a:cxn>
                <a:cxn ang="0">
                  <a:pos x="152" y="20"/>
                </a:cxn>
                <a:cxn ang="0">
                  <a:pos x="164" y="24"/>
                </a:cxn>
                <a:cxn ang="0">
                  <a:pos x="170" y="27"/>
                </a:cxn>
                <a:cxn ang="0">
                  <a:pos x="184" y="31"/>
                </a:cxn>
                <a:cxn ang="0">
                  <a:pos x="176" y="39"/>
                </a:cxn>
                <a:cxn ang="0">
                  <a:pos x="182" y="48"/>
                </a:cxn>
                <a:cxn ang="0">
                  <a:pos x="192" y="63"/>
                </a:cxn>
                <a:cxn ang="0">
                  <a:pos x="207" y="54"/>
                </a:cxn>
                <a:cxn ang="0">
                  <a:pos x="205" y="49"/>
                </a:cxn>
                <a:cxn ang="0">
                  <a:pos x="208" y="42"/>
                </a:cxn>
                <a:cxn ang="0">
                  <a:pos x="222" y="48"/>
                </a:cxn>
                <a:cxn ang="0">
                  <a:pos x="235" y="52"/>
                </a:cxn>
                <a:cxn ang="0">
                  <a:pos x="239" y="57"/>
                </a:cxn>
                <a:cxn ang="0">
                  <a:pos x="240" y="65"/>
                </a:cxn>
                <a:cxn ang="0">
                  <a:pos x="251" y="67"/>
                </a:cxn>
                <a:cxn ang="0">
                  <a:pos x="260" y="72"/>
                </a:cxn>
                <a:cxn ang="0">
                  <a:pos x="266" y="73"/>
                </a:cxn>
                <a:cxn ang="0">
                  <a:pos x="276" y="79"/>
                </a:cxn>
                <a:cxn ang="0">
                  <a:pos x="281" y="90"/>
                </a:cxn>
                <a:cxn ang="0">
                  <a:pos x="285" y="101"/>
                </a:cxn>
                <a:cxn ang="0">
                  <a:pos x="272" y="103"/>
                </a:cxn>
                <a:cxn ang="0">
                  <a:pos x="256" y="121"/>
                </a:cxn>
                <a:cxn ang="0">
                  <a:pos x="245" y="139"/>
                </a:cxn>
                <a:cxn ang="0">
                  <a:pos x="226" y="145"/>
                </a:cxn>
                <a:cxn ang="0">
                  <a:pos x="210" y="149"/>
                </a:cxn>
                <a:cxn ang="0">
                  <a:pos x="201" y="152"/>
                </a:cxn>
                <a:cxn ang="0">
                  <a:pos x="189" y="146"/>
                </a:cxn>
                <a:cxn ang="0">
                  <a:pos x="167" y="150"/>
                </a:cxn>
                <a:cxn ang="0">
                  <a:pos x="155" y="144"/>
                </a:cxn>
                <a:cxn ang="0">
                  <a:pos x="139" y="135"/>
                </a:cxn>
                <a:cxn ang="0">
                  <a:pos x="127" y="134"/>
                </a:cxn>
                <a:cxn ang="0">
                  <a:pos x="122" y="149"/>
                </a:cxn>
                <a:cxn ang="0">
                  <a:pos x="110" y="162"/>
                </a:cxn>
                <a:cxn ang="0">
                  <a:pos x="99" y="160"/>
                </a:cxn>
                <a:cxn ang="0">
                  <a:pos x="83" y="159"/>
                </a:cxn>
                <a:cxn ang="0">
                  <a:pos x="80" y="153"/>
                </a:cxn>
                <a:cxn ang="0">
                  <a:pos x="70" y="143"/>
                </a:cxn>
                <a:cxn ang="0">
                  <a:pos x="62" y="137"/>
                </a:cxn>
                <a:cxn ang="0">
                  <a:pos x="47" y="127"/>
                </a:cxn>
                <a:cxn ang="0">
                  <a:pos x="37" y="114"/>
                </a:cxn>
                <a:cxn ang="0">
                  <a:pos x="24" y="107"/>
                </a:cxn>
                <a:cxn ang="0">
                  <a:pos x="20" y="95"/>
                </a:cxn>
                <a:cxn ang="0">
                  <a:pos x="14" y="85"/>
                </a:cxn>
                <a:cxn ang="0">
                  <a:pos x="17" y="73"/>
                </a:cxn>
                <a:cxn ang="0">
                  <a:pos x="5" y="58"/>
                </a:cxn>
                <a:cxn ang="0">
                  <a:pos x="0" y="48"/>
                </a:cxn>
                <a:cxn ang="0">
                  <a:pos x="8" y="54"/>
                </a:cxn>
                <a:cxn ang="0">
                  <a:pos x="12" y="52"/>
                </a:cxn>
                <a:cxn ang="0">
                  <a:pos x="27" y="43"/>
                </a:cxn>
                <a:cxn ang="0">
                  <a:pos x="40" y="41"/>
                </a:cxn>
                <a:cxn ang="0">
                  <a:pos x="52" y="31"/>
                </a:cxn>
                <a:cxn ang="0">
                  <a:pos x="60" y="28"/>
                </a:cxn>
                <a:cxn ang="0">
                  <a:pos x="76" y="21"/>
                </a:cxn>
                <a:cxn ang="0">
                  <a:pos x="91" y="11"/>
                </a:cxn>
                <a:cxn ang="0">
                  <a:pos x="93" y="4"/>
                </a:cxn>
              </a:cxnLst>
              <a:rect l="0" t="0" r="r" b="b"/>
              <a:pathLst>
                <a:path w="285" h="163">
                  <a:moveTo>
                    <a:pt x="93" y="0"/>
                  </a:moveTo>
                  <a:lnTo>
                    <a:pt x="97" y="0"/>
                  </a:lnTo>
                  <a:lnTo>
                    <a:pt x="97" y="2"/>
                  </a:lnTo>
                  <a:lnTo>
                    <a:pt x="103" y="2"/>
                  </a:lnTo>
                  <a:lnTo>
                    <a:pt x="103" y="3"/>
                  </a:lnTo>
                  <a:lnTo>
                    <a:pt x="105" y="3"/>
                  </a:lnTo>
                  <a:lnTo>
                    <a:pt x="105" y="9"/>
                  </a:lnTo>
                  <a:lnTo>
                    <a:pt x="108" y="8"/>
                  </a:lnTo>
                  <a:lnTo>
                    <a:pt x="108" y="9"/>
                  </a:lnTo>
                  <a:lnTo>
                    <a:pt x="109" y="9"/>
                  </a:lnTo>
                  <a:lnTo>
                    <a:pt x="108" y="10"/>
                  </a:lnTo>
                  <a:lnTo>
                    <a:pt x="108" y="14"/>
                  </a:lnTo>
                  <a:lnTo>
                    <a:pt x="109" y="14"/>
                  </a:lnTo>
                  <a:lnTo>
                    <a:pt x="111" y="15"/>
                  </a:lnTo>
                  <a:lnTo>
                    <a:pt x="113" y="16"/>
                  </a:lnTo>
                  <a:lnTo>
                    <a:pt x="115" y="16"/>
                  </a:lnTo>
                  <a:lnTo>
                    <a:pt x="115" y="14"/>
                  </a:lnTo>
                  <a:lnTo>
                    <a:pt x="116" y="12"/>
                  </a:lnTo>
                  <a:lnTo>
                    <a:pt x="123" y="12"/>
                  </a:lnTo>
                  <a:lnTo>
                    <a:pt x="123" y="5"/>
                  </a:lnTo>
                  <a:lnTo>
                    <a:pt x="122" y="4"/>
                  </a:lnTo>
                  <a:lnTo>
                    <a:pt x="122" y="3"/>
                  </a:lnTo>
                  <a:lnTo>
                    <a:pt x="123" y="3"/>
                  </a:lnTo>
                  <a:lnTo>
                    <a:pt x="123" y="2"/>
                  </a:lnTo>
                  <a:lnTo>
                    <a:pt x="124" y="2"/>
                  </a:lnTo>
                  <a:lnTo>
                    <a:pt x="124" y="3"/>
                  </a:lnTo>
                  <a:lnTo>
                    <a:pt x="127" y="3"/>
                  </a:lnTo>
                  <a:lnTo>
                    <a:pt x="128" y="4"/>
                  </a:lnTo>
                  <a:lnTo>
                    <a:pt x="129" y="4"/>
                  </a:lnTo>
                  <a:lnTo>
                    <a:pt x="129" y="3"/>
                  </a:lnTo>
                  <a:lnTo>
                    <a:pt x="130" y="2"/>
                  </a:lnTo>
                  <a:lnTo>
                    <a:pt x="130" y="4"/>
                  </a:lnTo>
                  <a:lnTo>
                    <a:pt x="133" y="4"/>
                  </a:lnTo>
                  <a:lnTo>
                    <a:pt x="135" y="6"/>
                  </a:lnTo>
                  <a:lnTo>
                    <a:pt x="135" y="8"/>
                  </a:lnTo>
                  <a:lnTo>
                    <a:pt x="134" y="9"/>
                  </a:lnTo>
                  <a:lnTo>
                    <a:pt x="135" y="10"/>
                  </a:lnTo>
                  <a:lnTo>
                    <a:pt x="135" y="12"/>
                  </a:lnTo>
                  <a:lnTo>
                    <a:pt x="136" y="12"/>
                  </a:lnTo>
                  <a:lnTo>
                    <a:pt x="136" y="14"/>
                  </a:lnTo>
                  <a:lnTo>
                    <a:pt x="139" y="14"/>
                  </a:lnTo>
                  <a:lnTo>
                    <a:pt x="139" y="18"/>
                  </a:lnTo>
                  <a:lnTo>
                    <a:pt x="140" y="18"/>
                  </a:lnTo>
                  <a:lnTo>
                    <a:pt x="140" y="17"/>
                  </a:lnTo>
                  <a:lnTo>
                    <a:pt x="141" y="16"/>
                  </a:lnTo>
                  <a:lnTo>
                    <a:pt x="142" y="16"/>
                  </a:lnTo>
                  <a:lnTo>
                    <a:pt x="151" y="20"/>
                  </a:lnTo>
                  <a:lnTo>
                    <a:pt x="152" y="20"/>
                  </a:lnTo>
                  <a:lnTo>
                    <a:pt x="152" y="21"/>
                  </a:lnTo>
                  <a:lnTo>
                    <a:pt x="153" y="21"/>
                  </a:lnTo>
                  <a:lnTo>
                    <a:pt x="157" y="20"/>
                  </a:lnTo>
                  <a:lnTo>
                    <a:pt x="158" y="21"/>
                  </a:lnTo>
                  <a:lnTo>
                    <a:pt x="159" y="24"/>
                  </a:lnTo>
                  <a:lnTo>
                    <a:pt x="161" y="24"/>
                  </a:lnTo>
                  <a:lnTo>
                    <a:pt x="164" y="23"/>
                  </a:lnTo>
                  <a:lnTo>
                    <a:pt x="164" y="24"/>
                  </a:lnTo>
                  <a:lnTo>
                    <a:pt x="165" y="24"/>
                  </a:lnTo>
                  <a:lnTo>
                    <a:pt x="165" y="25"/>
                  </a:lnTo>
                  <a:lnTo>
                    <a:pt x="166" y="27"/>
                  </a:lnTo>
                  <a:lnTo>
                    <a:pt x="166" y="28"/>
                  </a:lnTo>
                  <a:lnTo>
                    <a:pt x="165" y="28"/>
                  </a:lnTo>
                  <a:lnTo>
                    <a:pt x="165" y="29"/>
                  </a:lnTo>
                  <a:lnTo>
                    <a:pt x="167" y="29"/>
                  </a:lnTo>
                  <a:lnTo>
                    <a:pt x="170" y="27"/>
                  </a:lnTo>
                  <a:lnTo>
                    <a:pt x="171" y="27"/>
                  </a:lnTo>
                  <a:lnTo>
                    <a:pt x="173" y="28"/>
                  </a:lnTo>
                  <a:lnTo>
                    <a:pt x="175" y="28"/>
                  </a:lnTo>
                  <a:lnTo>
                    <a:pt x="175" y="27"/>
                  </a:lnTo>
                  <a:lnTo>
                    <a:pt x="176" y="25"/>
                  </a:lnTo>
                  <a:lnTo>
                    <a:pt x="179" y="25"/>
                  </a:lnTo>
                  <a:lnTo>
                    <a:pt x="184" y="30"/>
                  </a:lnTo>
                  <a:lnTo>
                    <a:pt x="184" y="31"/>
                  </a:lnTo>
                  <a:lnTo>
                    <a:pt x="183" y="33"/>
                  </a:lnTo>
                  <a:lnTo>
                    <a:pt x="183" y="35"/>
                  </a:lnTo>
                  <a:lnTo>
                    <a:pt x="182" y="35"/>
                  </a:lnTo>
                  <a:lnTo>
                    <a:pt x="182" y="36"/>
                  </a:lnTo>
                  <a:lnTo>
                    <a:pt x="178" y="36"/>
                  </a:lnTo>
                  <a:lnTo>
                    <a:pt x="178" y="37"/>
                  </a:lnTo>
                  <a:lnTo>
                    <a:pt x="177" y="39"/>
                  </a:lnTo>
                  <a:lnTo>
                    <a:pt x="176" y="39"/>
                  </a:lnTo>
                  <a:lnTo>
                    <a:pt x="176" y="40"/>
                  </a:lnTo>
                  <a:lnTo>
                    <a:pt x="175" y="40"/>
                  </a:lnTo>
                  <a:lnTo>
                    <a:pt x="175" y="42"/>
                  </a:lnTo>
                  <a:lnTo>
                    <a:pt x="176" y="42"/>
                  </a:lnTo>
                  <a:lnTo>
                    <a:pt x="177" y="45"/>
                  </a:lnTo>
                  <a:lnTo>
                    <a:pt x="180" y="45"/>
                  </a:lnTo>
                  <a:lnTo>
                    <a:pt x="180" y="47"/>
                  </a:lnTo>
                  <a:lnTo>
                    <a:pt x="182" y="48"/>
                  </a:lnTo>
                  <a:lnTo>
                    <a:pt x="184" y="49"/>
                  </a:lnTo>
                  <a:lnTo>
                    <a:pt x="185" y="51"/>
                  </a:lnTo>
                  <a:lnTo>
                    <a:pt x="186" y="53"/>
                  </a:lnTo>
                  <a:lnTo>
                    <a:pt x="189" y="55"/>
                  </a:lnTo>
                  <a:lnTo>
                    <a:pt x="189" y="57"/>
                  </a:lnTo>
                  <a:lnTo>
                    <a:pt x="190" y="59"/>
                  </a:lnTo>
                  <a:lnTo>
                    <a:pt x="190" y="60"/>
                  </a:lnTo>
                  <a:lnTo>
                    <a:pt x="192" y="63"/>
                  </a:lnTo>
                  <a:lnTo>
                    <a:pt x="196" y="63"/>
                  </a:lnTo>
                  <a:lnTo>
                    <a:pt x="198" y="60"/>
                  </a:lnTo>
                  <a:lnTo>
                    <a:pt x="198" y="59"/>
                  </a:lnTo>
                  <a:lnTo>
                    <a:pt x="201" y="57"/>
                  </a:lnTo>
                  <a:lnTo>
                    <a:pt x="203" y="57"/>
                  </a:lnTo>
                  <a:lnTo>
                    <a:pt x="204" y="55"/>
                  </a:lnTo>
                  <a:lnTo>
                    <a:pt x="207" y="55"/>
                  </a:lnTo>
                  <a:lnTo>
                    <a:pt x="207" y="54"/>
                  </a:lnTo>
                  <a:lnTo>
                    <a:pt x="208" y="54"/>
                  </a:lnTo>
                  <a:lnTo>
                    <a:pt x="208" y="55"/>
                  </a:lnTo>
                  <a:lnTo>
                    <a:pt x="209" y="55"/>
                  </a:lnTo>
                  <a:lnTo>
                    <a:pt x="209" y="54"/>
                  </a:lnTo>
                  <a:lnTo>
                    <a:pt x="208" y="53"/>
                  </a:lnTo>
                  <a:lnTo>
                    <a:pt x="208" y="51"/>
                  </a:lnTo>
                  <a:lnTo>
                    <a:pt x="207" y="49"/>
                  </a:lnTo>
                  <a:lnTo>
                    <a:pt x="205" y="49"/>
                  </a:lnTo>
                  <a:lnTo>
                    <a:pt x="205" y="48"/>
                  </a:lnTo>
                  <a:lnTo>
                    <a:pt x="204" y="47"/>
                  </a:lnTo>
                  <a:lnTo>
                    <a:pt x="204" y="45"/>
                  </a:lnTo>
                  <a:lnTo>
                    <a:pt x="203" y="42"/>
                  </a:lnTo>
                  <a:lnTo>
                    <a:pt x="202" y="41"/>
                  </a:lnTo>
                  <a:lnTo>
                    <a:pt x="205" y="41"/>
                  </a:lnTo>
                  <a:lnTo>
                    <a:pt x="207" y="42"/>
                  </a:lnTo>
                  <a:lnTo>
                    <a:pt x="208" y="42"/>
                  </a:lnTo>
                  <a:lnTo>
                    <a:pt x="211" y="43"/>
                  </a:lnTo>
                  <a:lnTo>
                    <a:pt x="213" y="43"/>
                  </a:lnTo>
                  <a:lnTo>
                    <a:pt x="213" y="45"/>
                  </a:lnTo>
                  <a:lnTo>
                    <a:pt x="216" y="45"/>
                  </a:lnTo>
                  <a:lnTo>
                    <a:pt x="216" y="47"/>
                  </a:lnTo>
                  <a:lnTo>
                    <a:pt x="217" y="47"/>
                  </a:lnTo>
                  <a:lnTo>
                    <a:pt x="219" y="48"/>
                  </a:lnTo>
                  <a:lnTo>
                    <a:pt x="222" y="48"/>
                  </a:lnTo>
                  <a:lnTo>
                    <a:pt x="222" y="52"/>
                  </a:lnTo>
                  <a:lnTo>
                    <a:pt x="223" y="53"/>
                  </a:lnTo>
                  <a:lnTo>
                    <a:pt x="223" y="52"/>
                  </a:lnTo>
                  <a:lnTo>
                    <a:pt x="226" y="52"/>
                  </a:lnTo>
                  <a:lnTo>
                    <a:pt x="226" y="53"/>
                  </a:lnTo>
                  <a:lnTo>
                    <a:pt x="227" y="53"/>
                  </a:lnTo>
                  <a:lnTo>
                    <a:pt x="228" y="52"/>
                  </a:lnTo>
                  <a:lnTo>
                    <a:pt x="235" y="52"/>
                  </a:lnTo>
                  <a:lnTo>
                    <a:pt x="236" y="49"/>
                  </a:lnTo>
                  <a:lnTo>
                    <a:pt x="236" y="48"/>
                  </a:lnTo>
                  <a:lnTo>
                    <a:pt x="238" y="48"/>
                  </a:lnTo>
                  <a:lnTo>
                    <a:pt x="239" y="49"/>
                  </a:lnTo>
                  <a:lnTo>
                    <a:pt x="239" y="54"/>
                  </a:lnTo>
                  <a:lnTo>
                    <a:pt x="240" y="55"/>
                  </a:lnTo>
                  <a:lnTo>
                    <a:pt x="239" y="55"/>
                  </a:lnTo>
                  <a:lnTo>
                    <a:pt x="239" y="57"/>
                  </a:lnTo>
                  <a:lnTo>
                    <a:pt x="236" y="58"/>
                  </a:lnTo>
                  <a:lnTo>
                    <a:pt x="234" y="58"/>
                  </a:lnTo>
                  <a:lnTo>
                    <a:pt x="233" y="59"/>
                  </a:lnTo>
                  <a:lnTo>
                    <a:pt x="233" y="60"/>
                  </a:lnTo>
                  <a:lnTo>
                    <a:pt x="235" y="63"/>
                  </a:lnTo>
                  <a:lnTo>
                    <a:pt x="239" y="63"/>
                  </a:lnTo>
                  <a:lnTo>
                    <a:pt x="239" y="65"/>
                  </a:lnTo>
                  <a:lnTo>
                    <a:pt x="240" y="65"/>
                  </a:lnTo>
                  <a:lnTo>
                    <a:pt x="240" y="67"/>
                  </a:lnTo>
                  <a:lnTo>
                    <a:pt x="244" y="71"/>
                  </a:lnTo>
                  <a:lnTo>
                    <a:pt x="247" y="71"/>
                  </a:lnTo>
                  <a:lnTo>
                    <a:pt x="248" y="70"/>
                  </a:lnTo>
                  <a:lnTo>
                    <a:pt x="251" y="70"/>
                  </a:lnTo>
                  <a:lnTo>
                    <a:pt x="252" y="68"/>
                  </a:lnTo>
                  <a:lnTo>
                    <a:pt x="252" y="67"/>
                  </a:lnTo>
                  <a:lnTo>
                    <a:pt x="251" y="67"/>
                  </a:lnTo>
                  <a:lnTo>
                    <a:pt x="251" y="66"/>
                  </a:lnTo>
                  <a:lnTo>
                    <a:pt x="252" y="66"/>
                  </a:lnTo>
                  <a:lnTo>
                    <a:pt x="254" y="68"/>
                  </a:lnTo>
                  <a:lnTo>
                    <a:pt x="254" y="70"/>
                  </a:lnTo>
                  <a:lnTo>
                    <a:pt x="257" y="71"/>
                  </a:lnTo>
                  <a:lnTo>
                    <a:pt x="258" y="71"/>
                  </a:lnTo>
                  <a:lnTo>
                    <a:pt x="259" y="72"/>
                  </a:lnTo>
                  <a:lnTo>
                    <a:pt x="260" y="72"/>
                  </a:lnTo>
                  <a:lnTo>
                    <a:pt x="262" y="73"/>
                  </a:lnTo>
                  <a:lnTo>
                    <a:pt x="262" y="74"/>
                  </a:lnTo>
                  <a:lnTo>
                    <a:pt x="263" y="76"/>
                  </a:lnTo>
                  <a:lnTo>
                    <a:pt x="264" y="76"/>
                  </a:lnTo>
                  <a:lnTo>
                    <a:pt x="265" y="74"/>
                  </a:lnTo>
                  <a:lnTo>
                    <a:pt x="264" y="74"/>
                  </a:lnTo>
                  <a:lnTo>
                    <a:pt x="264" y="73"/>
                  </a:lnTo>
                  <a:lnTo>
                    <a:pt x="266" y="73"/>
                  </a:lnTo>
                  <a:lnTo>
                    <a:pt x="267" y="74"/>
                  </a:lnTo>
                  <a:lnTo>
                    <a:pt x="271" y="76"/>
                  </a:lnTo>
                  <a:lnTo>
                    <a:pt x="272" y="76"/>
                  </a:lnTo>
                  <a:lnTo>
                    <a:pt x="273" y="74"/>
                  </a:lnTo>
                  <a:lnTo>
                    <a:pt x="273" y="76"/>
                  </a:lnTo>
                  <a:lnTo>
                    <a:pt x="275" y="77"/>
                  </a:lnTo>
                  <a:lnTo>
                    <a:pt x="275" y="78"/>
                  </a:lnTo>
                  <a:lnTo>
                    <a:pt x="276" y="79"/>
                  </a:lnTo>
                  <a:lnTo>
                    <a:pt x="275" y="80"/>
                  </a:lnTo>
                  <a:lnTo>
                    <a:pt x="275" y="84"/>
                  </a:lnTo>
                  <a:lnTo>
                    <a:pt x="276" y="86"/>
                  </a:lnTo>
                  <a:lnTo>
                    <a:pt x="277" y="88"/>
                  </a:lnTo>
                  <a:lnTo>
                    <a:pt x="277" y="89"/>
                  </a:lnTo>
                  <a:lnTo>
                    <a:pt x="279" y="89"/>
                  </a:lnTo>
                  <a:lnTo>
                    <a:pt x="279" y="90"/>
                  </a:lnTo>
                  <a:lnTo>
                    <a:pt x="281" y="90"/>
                  </a:lnTo>
                  <a:lnTo>
                    <a:pt x="281" y="91"/>
                  </a:lnTo>
                  <a:lnTo>
                    <a:pt x="282" y="91"/>
                  </a:lnTo>
                  <a:lnTo>
                    <a:pt x="282" y="90"/>
                  </a:lnTo>
                  <a:lnTo>
                    <a:pt x="283" y="90"/>
                  </a:lnTo>
                  <a:lnTo>
                    <a:pt x="284" y="91"/>
                  </a:lnTo>
                  <a:lnTo>
                    <a:pt x="284" y="95"/>
                  </a:lnTo>
                  <a:lnTo>
                    <a:pt x="285" y="95"/>
                  </a:lnTo>
                  <a:lnTo>
                    <a:pt x="285" y="101"/>
                  </a:lnTo>
                  <a:lnTo>
                    <a:pt x="284" y="101"/>
                  </a:lnTo>
                  <a:lnTo>
                    <a:pt x="282" y="103"/>
                  </a:lnTo>
                  <a:lnTo>
                    <a:pt x="279" y="103"/>
                  </a:lnTo>
                  <a:lnTo>
                    <a:pt x="277" y="102"/>
                  </a:lnTo>
                  <a:lnTo>
                    <a:pt x="276" y="103"/>
                  </a:lnTo>
                  <a:lnTo>
                    <a:pt x="273" y="102"/>
                  </a:lnTo>
                  <a:lnTo>
                    <a:pt x="273" y="103"/>
                  </a:lnTo>
                  <a:lnTo>
                    <a:pt x="272" y="103"/>
                  </a:lnTo>
                  <a:lnTo>
                    <a:pt x="272" y="106"/>
                  </a:lnTo>
                  <a:lnTo>
                    <a:pt x="269" y="109"/>
                  </a:lnTo>
                  <a:lnTo>
                    <a:pt x="266" y="109"/>
                  </a:lnTo>
                  <a:lnTo>
                    <a:pt x="266" y="111"/>
                  </a:lnTo>
                  <a:lnTo>
                    <a:pt x="264" y="114"/>
                  </a:lnTo>
                  <a:lnTo>
                    <a:pt x="258" y="116"/>
                  </a:lnTo>
                  <a:lnTo>
                    <a:pt x="256" y="119"/>
                  </a:lnTo>
                  <a:lnTo>
                    <a:pt x="256" y="121"/>
                  </a:lnTo>
                  <a:lnTo>
                    <a:pt x="254" y="123"/>
                  </a:lnTo>
                  <a:lnTo>
                    <a:pt x="254" y="129"/>
                  </a:lnTo>
                  <a:lnTo>
                    <a:pt x="251" y="133"/>
                  </a:lnTo>
                  <a:lnTo>
                    <a:pt x="247" y="133"/>
                  </a:lnTo>
                  <a:lnTo>
                    <a:pt x="246" y="134"/>
                  </a:lnTo>
                  <a:lnTo>
                    <a:pt x="246" y="138"/>
                  </a:lnTo>
                  <a:lnTo>
                    <a:pt x="245" y="138"/>
                  </a:lnTo>
                  <a:lnTo>
                    <a:pt x="245" y="139"/>
                  </a:lnTo>
                  <a:lnTo>
                    <a:pt x="241" y="139"/>
                  </a:lnTo>
                  <a:lnTo>
                    <a:pt x="241" y="140"/>
                  </a:lnTo>
                  <a:lnTo>
                    <a:pt x="240" y="143"/>
                  </a:lnTo>
                  <a:lnTo>
                    <a:pt x="239" y="143"/>
                  </a:lnTo>
                  <a:lnTo>
                    <a:pt x="231" y="146"/>
                  </a:lnTo>
                  <a:lnTo>
                    <a:pt x="229" y="146"/>
                  </a:lnTo>
                  <a:lnTo>
                    <a:pt x="227" y="144"/>
                  </a:lnTo>
                  <a:lnTo>
                    <a:pt x="226" y="145"/>
                  </a:lnTo>
                  <a:lnTo>
                    <a:pt x="225" y="145"/>
                  </a:lnTo>
                  <a:lnTo>
                    <a:pt x="223" y="146"/>
                  </a:lnTo>
                  <a:lnTo>
                    <a:pt x="219" y="144"/>
                  </a:lnTo>
                  <a:lnTo>
                    <a:pt x="217" y="143"/>
                  </a:lnTo>
                  <a:lnTo>
                    <a:pt x="215" y="143"/>
                  </a:lnTo>
                  <a:lnTo>
                    <a:pt x="213" y="145"/>
                  </a:lnTo>
                  <a:lnTo>
                    <a:pt x="213" y="146"/>
                  </a:lnTo>
                  <a:lnTo>
                    <a:pt x="210" y="149"/>
                  </a:lnTo>
                  <a:lnTo>
                    <a:pt x="209" y="151"/>
                  </a:lnTo>
                  <a:lnTo>
                    <a:pt x="207" y="157"/>
                  </a:lnTo>
                  <a:lnTo>
                    <a:pt x="205" y="158"/>
                  </a:lnTo>
                  <a:lnTo>
                    <a:pt x="205" y="159"/>
                  </a:lnTo>
                  <a:lnTo>
                    <a:pt x="204" y="158"/>
                  </a:lnTo>
                  <a:lnTo>
                    <a:pt x="204" y="153"/>
                  </a:lnTo>
                  <a:lnTo>
                    <a:pt x="203" y="152"/>
                  </a:lnTo>
                  <a:lnTo>
                    <a:pt x="201" y="152"/>
                  </a:lnTo>
                  <a:lnTo>
                    <a:pt x="200" y="153"/>
                  </a:lnTo>
                  <a:lnTo>
                    <a:pt x="197" y="151"/>
                  </a:lnTo>
                  <a:lnTo>
                    <a:pt x="194" y="151"/>
                  </a:lnTo>
                  <a:lnTo>
                    <a:pt x="194" y="149"/>
                  </a:lnTo>
                  <a:lnTo>
                    <a:pt x="192" y="149"/>
                  </a:lnTo>
                  <a:lnTo>
                    <a:pt x="191" y="147"/>
                  </a:lnTo>
                  <a:lnTo>
                    <a:pt x="189" y="147"/>
                  </a:lnTo>
                  <a:lnTo>
                    <a:pt x="189" y="146"/>
                  </a:lnTo>
                  <a:lnTo>
                    <a:pt x="188" y="146"/>
                  </a:lnTo>
                  <a:lnTo>
                    <a:pt x="186" y="147"/>
                  </a:lnTo>
                  <a:lnTo>
                    <a:pt x="184" y="147"/>
                  </a:lnTo>
                  <a:lnTo>
                    <a:pt x="182" y="151"/>
                  </a:lnTo>
                  <a:lnTo>
                    <a:pt x="182" y="152"/>
                  </a:lnTo>
                  <a:lnTo>
                    <a:pt x="180" y="151"/>
                  </a:lnTo>
                  <a:lnTo>
                    <a:pt x="170" y="151"/>
                  </a:lnTo>
                  <a:lnTo>
                    <a:pt x="167" y="150"/>
                  </a:lnTo>
                  <a:lnTo>
                    <a:pt x="163" y="146"/>
                  </a:lnTo>
                  <a:lnTo>
                    <a:pt x="163" y="145"/>
                  </a:lnTo>
                  <a:lnTo>
                    <a:pt x="160" y="145"/>
                  </a:lnTo>
                  <a:lnTo>
                    <a:pt x="161" y="144"/>
                  </a:lnTo>
                  <a:lnTo>
                    <a:pt x="159" y="144"/>
                  </a:lnTo>
                  <a:lnTo>
                    <a:pt x="159" y="143"/>
                  </a:lnTo>
                  <a:lnTo>
                    <a:pt x="157" y="143"/>
                  </a:lnTo>
                  <a:lnTo>
                    <a:pt x="155" y="144"/>
                  </a:lnTo>
                  <a:lnTo>
                    <a:pt x="153" y="144"/>
                  </a:lnTo>
                  <a:lnTo>
                    <a:pt x="149" y="141"/>
                  </a:lnTo>
                  <a:lnTo>
                    <a:pt x="147" y="140"/>
                  </a:lnTo>
                  <a:lnTo>
                    <a:pt x="146" y="140"/>
                  </a:lnTo>
                  <a:lnTo>
                    <a:pt x="144" y="138"/>
                  </a:lnTo>
                  <a:lnTo>
                    <a:pt x="142" y="138"/>
                  </a:lnTo>
                  <a:lnTo>
                    <a:pt x="141" y="137"/>
                  </a:lnTo>
                  <a:lnTo>
                    <a:pt x="139" y="135"/>
                  </a:lnTo>
                  <a:lnTo>
                    <a:pt x="135" y="135"/>
                  </a:lnTo>
                  <a:lnTo>
                    <a:pt x="135" y="137"/>
                  </a:lnTo>
                  <a:lnTo>
                    <a:pt x="134" y="137"/>
                  </a:lnTo>
                  <a:lnTo>
                    <a:pt x="134" y="138"/>
                  </a:lnTo>
                  <a:lnTo>
                    <a:pt x="130" y="138"/>
                  </a:lnTo>
                  <a:lnTo>
                    <a:pt x="130" y="135"/>
                  </a:lnTo>
                  <a:lnTo>
                    <a:pt x="129" y="134"/>
                  </a:lnTo>
                  <a:lnTo>
                    <a:pt x="127" y="134"/>
                  </a:lnTo>
                  <a:lnTo>
                    <a:pt x="124" y="133"/>
                  </a:lnTo>
                  <a:lnTo>
                    <a:pt x="123" y="133"/>
                  </a:lnTo>
                  <a:lnTo>
                    <a:pt x="123" y="134"/>
                  </a:lnTo>
                  <a:lnTo>
                    <a:pt x="122" y="135"/>
                  </a:lnTo>
                  <a:lnTo>
                    <a:pt x="122" y="145"/>
                  </a:lnTo>
                  <a:lnTo>
                    <a:pt x="121" y="146"/>
                  </a:lnTo>
                  <a:lnTo>
                    <a:pt x="121" y="147"/>
                  </a:lnTo>
                  <a:lnTo>
                    <a:pt x="122" y="149"/>
                  </a:lnTo>
                  <a:lnTo>
                    <a:pt x="121" y="150"/>
                  </a:lnTo>
                  <a:lnTo>
                    <a:pt x="118" y="149"/>
                  </a:lnTo>
                  <a:lnTo>
                    <a:pt x="115" y="149"/>
                  </a:lnTo>
                  <a:lnTo>
                    <a:pt x="115" y="152"/>
                  </a:lnTo>
                  <a:lnTo>
                    <a:pt x="113" y="153"/>
                  </a:lnTo>
                  <a:lnTo>
                    <a:pt x="111" y="154"/>
                  </a:lnTo>
                  <a:lnTo>
                    <a:pt x="111" y="160"/>
                  </a:lnTo>
                  <a:lnTo>
                    <a:pt x="110" y="162"/>
                  </a:lnTo>
                  <a:lnTo>
                    <a:pt x="109" y="162"/>
                  </a:lnTo>
                  <a:lnTo>
                    <a:pt x="109" y="159"/>
                  </a:lnTo>
                  <a:lnTo>
                    <a:pt x="107" y="159"/>
                  </a:lnTo>
                  <a:lnTo>
                    <a:pt x="107" y="158"/>
                  </a:lnTo>
                  <a:lnTo>
                    <a:pt x="104" y="159"/>
                  </a:lnTo>
                  <a:lnTo>
                    <a:pt x="102" y="158"/>
                  </a:lnTo>
                  <a:lnTo>
                    <a:pt x="101" y="157"/>
                  </a:lnTo>
                  <a:lnTo>
                    <a:pt x="99" y="160"/>
                  </a:lnTo>
                  <a:lnTo>
                    <a:pt x="98" y="160"/>
                  </a:lnTo>
                  <a:lnTo>
                    <a:pt x="97" y="162"/>
                  </a:lnTo>
                  <a:lnTo>
                    <a:pt x="96" y="162"/>
                  </a:lnTo>
                  <a:lnTo>
                    <a:pt x="96" y="163"/>
                  </a:lnTo>
                  <a:lnTo>
                    <a:pt x="95" y="163"/>
                  </a:lnTo>
                  <a:lnTo>
                    <a:pt x="91" y="160"/>
                  </a:lnTo>
                  <a:lnTo>
                    <a:pt x="85" y="160"/>
                  </a:lnTo>
                  <a:lnTo>
                    <a:pt x="83" y="159"/>
                  </a:lnTo>
                  <a:lnTo>
                    <a:pt x="83" y="158"/>
                  </a:lnTo>
                  <a:lnTo>
                    <a:pt x="82" y="158"/>
                  </a:lnTo>
                  <a:lnTo>
                    <a:pt x="82" y="157"/>
                  </a:lnTo>
                  <a:lnTo>
                    <a:pt x="83" y="157"/>
                  </a:lnTo>
                  <a:lnTo>
                    <a:pt x="83" y="154"/>
                  </a:lnTo>
                  <a:lnTo>
                    <a:pt x="82" y="154"/>
                  </a:lnTo>
                  <a:lnTo>
                    <a:pt x="82" y="153"/>
                  </a:lnTo>
                  <a:lnTo>
                    <a:pt x="80" y="153"/>
                  </a:lnTo>
                  <a:lnTo>
                    <a:pt x="78" y="151"/>
                  </a:lnTo>
                  <a:lnTo>
                    <a:pt x="77" y="151"/>
                  </a:lnTo>
                  <a:lnTo>
                    <a:pt x="77" y="150"/>
                  </a:lnTo>
                  <a:lnTo>
                    <a:pt x="76" y="150"/>
                  </a:lnTo>
                  <a:lnTo>
                    <a:pt x="74" y="149"/>
                  </a:lnTo>
                  <a:lnTo>
                    <a:pt x="73" y="149"/>
                  </a:lnTo>
                  <a:lnTo>
                    <a:pt x="71" y="144"/>
                  </a:lnTo>
                  <a:lnTo>
                    <a:pt x="70" y="143"/>
                  </a:lnTo>
                  <a:lnTo>
                    <a:pt x="67" y="143"/>
                  </a:lnTo>
                  <a:lnTo>
                    <a:pt x="67" y="141"/>
                  </a:lnTo>
                  <a:lnTo>
                    <a:pt x="66" y="141"/>
                  </a:lnTo>
                  <a:lnTo>
                    <a:pt x="66" y="140"/>
                  </a:lnTo>
                  <a:lnTo>
                    <a:pt x="65" y="139"/>
                  </a:lnTo>
                  <a:lnTo>
                    <a:pt x="65" y="138"/>
                  </a:lnTo>
                  <a:lnTo>
                    <a:pt x="64" y="138"/>
                  </a:lnTo>
                  <a:lnTo>
                    <a:pt x="62" y="137"/>
                  </a:lnTo>
                  <a:lnTo>
                    <a:pt x="60" y="137"/>
                  </a:lnTo>
                  <a:lnTo>
                    <a:pt x="60" y="138"/>
                  </a:lnTo>
                  <a:lnTo>
                    <a:pt x="59" y="138"/>
                  </a:lnTo>
                  <a:lnTo>
                    <a:pt x="55" y="134"/>
                  </a:lnTo>
                  <a:lnTo>
                    <a:pt x="55" y="132"/>
                  </a:lnTo>
                  <a:lnTo>
                    <a:pt x="52" y="128"/>
                  </a:lnTo>
                  <a:lnTo>
                    <a:pt x="52" y="127"/>
                  </a:lnTo>
                  <a:lnTo>
                    <a:pt x="47" y="127"/>
                  </a:lnTo>
                  <a:lnTo>
                    <a:pt x="46" y="126"/>
                  </a:lnTo>
                  <a:lnTo>
                    <a:pt x="46" y="125"/>
                  </a:lnTo>
                  <a:lnTo>
                    <a:pt x="42" y="119"/>
                  </a:lnTo>
                  <a:lnTo>
                    <a:pt x="41" y="119"/>
                  </a:lnTo>
                  <a:lnTo>
                    <a:pt x="40" y="116"/>
                  </a:lnTo>
                  <a:lnTo>
                    <a:pt x="40" y="115"/>
                  </a:lnTo>
                  <a:lnTo>
                    <a:pt x="39" y="115"/>
                  </a:lnTo>
                  <a:lnTo>
                    <a:pt x="37" y="114"/>
                  </a:lnTo>
                  <a:lnTo>
                    <a:pt x="37" y="113"/>
                  </a:lnTo>
                  <a:lnTo>
                    <a:pt x="34" y="113"/>
                  </a:lnTo>
                  <a:lnTo>
                    <a:pt x="34" y="114"/>
                  </a:lnTo>
                  <a:lnTo>
                    <a:pt x="30" y="113"/>
                  </a:lnTo>
                  <a:lnTo>
                    <a:pt x="29" y="111"/>
                  </a:lnTo>
                  <a:lnTo>
                    <a:pt x="28" y="109"/>
                  </a:lnTo>
                  <a:lnTo>
                    <a:pt x="26" y="107"/>
                  </a:lnTo>
                  <a:lnTo>
                    <a:pt x="24" y="107"/>
                  </a:lnTo>
                  <a:lnTo>
                    <a:pt x="24" y="106"/>
                  </a:lnTo>
                  <a:lnTo>
                    <a:pt x="23" y="104"/>
                  </a:lnTo>
                  <a:lnTo>
                    <a:pt x="23" y="101"/>
                  </a:lnTo>
                  <a:lnTo>
                    <a:pt x="22" y="101"/>
                  </a:lnTo>
                  <a:lnTo>
                    <a:pt x="22" y="100"/>
                  </a:lnTo>
                  <a:lnTo>
                    <a:pt x="21" y="100"/>
                  </a:lnTo>
                  <a:lnTo>
                    <a:pt x="21" y="96"/>
                  </a:lnTo>
                  <a:lnTo>
                    <a:pt x="20" y="95"/>
                  </a:lnTo>
                  <a:lnTo>
                    <a:pt x="18" y="95"/>
                  </a:lnTo>
                  <a:lnTo>
                    <a:pt x="18" y="91"/>
                  </a:lnTo>
                  <a:lnTo>
                    <a:pt x="17" y="90"/>
                  </a:lnTo>
                  <a:lnTo>
                    <a:pt x="16" y="90"/>
                  </a:lnTo>
                  <a:lnTo>
                    <a:pt x="16" y="89"/>
                  </a:lnTo>
                  <a:lnTo>
                    <a:pt x="15" y="89"/>
                  </a:lnTo>
                  <a:lnTo>
                    <a:pt x="14" y="88"/>
                  </a:lnTo>
                  <a:lnTo>
                    <a:pt x="14" y="85"/>
                  </a:lnTo>
                  <a:lnTo>
                    <a:pt x="16" y="84"/>
                  </a:lnTo>
                  <a:lnTo>
                    <a:pt x="16" y="82"/>
                  </a:lnTo>
                  <a:lnTo>
                    <a:pt x="18" y="79"/>
                  </a:lnTo>
                  <a:lnTo>
                    <a:pt x="18" y="78"/>
                  </a:lnTo>
                  <a:lnTo>
                    <a:pt x="20" y="77"/>
                  </a:lnTo>
                  <a:lnTo>
                    <a:pt x="20" y="74"/>
                  </a:lnTo>
                  <a:lnTo>
                    <a:pt x="18" y="74"/>
                  </a:lnTo>
                  <a:lnTo>
                    <a:pt x="17" y="73"/>
                  </a:lnTo>
                  <a:lnTo>
                    <a:pt x="17" y="71"/>
                  </a:lnTo>
                  <a:lnTo>
                    <a:pt x="16" y="71"/>
                  </a:lnTo>
                  <a:lnTo>
                    <a:pt x="15" y="70"/>
                  </a:lnTo>
                  <a:lnTo>
                    <a:pt x="14" y="70"/>
                  </a:lnTo>
                  <a:lnTo>
                    <a:pt x="8" y="66"/>
                  </a:lnTo>
                  <a:lnTo>
                    <a:pt x="8" y="65"/>
                  </a:lnTo>
                  <a:lnTo>
                    <a:pt x="5" y="63"/>
                  </a:lnTo>
                  <a:lnTo>
                    <a:pt x="5" y="58"/>
                  </a:lnTo>
                  <a:lnTo>
                    <a:pt x="4" y="58"/>
                  </a:lnTo>
                  <a:lnTo>
                    <a:pt x="4" y="57"/>
                  </a:lnTo>
                  <a:lnTo>
                    <a:pt x="3" y="55"/>
                  </a:lnTo>
                  <a:lnTo>
                    <a:pt x="0" y="54"/>
                  </a:lnTo>
                  <a:lnTo>
                    <a:pt x="0" y="53"/>
                  </a:lnTo>
                  <a:lnTo>
                    <a:pt x="2" y="53"/>
                  </a:lnTo>
                  <a:lnTo>
                    <a:pt x="2" y="49"/>
                  </a:lnTo>
                  <a:lnTo>
                    <a:pt x="0" y="48"/>
                  </a:lnTo>
                  <a:lnTo>
                    <a:pt x="4" y="48"/>
                  </a:lnTo>
                  <a:lnTo>
                    <a:pt x="4" y="51"/>
                  </a:lnTo>
                  <a:lnTo>
                    <a:pt x="5" y="52"/>
                  </a:lnTo>
                  <a:lnTo>
                    <a:pt x="8" y="52"/>
                  </a:lnTo>
                  <a:lnTo>
                    <a:pt x="8" y="53"/>
                  </a:lnTo>
                  <a:lnTo>
                    <a:pt x="6" y="53"/>
                  </a:lnTo>
                  <a:lnTo>
                    <a:pt x="6" y="54"/>
                  </a:lnTo>
                  <a:lnTo>
                    <a:pt x="8" y="54"/>
                  </a:lnTo>
                  <a:lnTo>
                    <a:pt x="8" y="55"/>
                  </a:lnTo>
                  <a:lnTo>
                    <a:pt x="9" y="57"/>
                  </a:lnTo>
                  <a:lnTo>
                    <a:pt x="9" y="59"/>
                  </a:lnTo>
                  <a:lnTo>
                    <a:pt x="10" y="59"/>
                  </a:lnTo>
                  <a:lnTo>
                    <a:pt x="10" y="54"/>
                  </a:lnTo>
                  <a:lnTo>
                    <a:pt x="11" y="53"/>
                  </a:lnTo>
                  <a:lnTo>
                    <a:pt x="11" y="52"/>
                  </a:lnTo>
                  <a:lnTo>
                    <a:pt x="12" y="52"/>
                  </a:lnTo>
                  <a:lnTo>
                    <a:pt x="12" y="51"/>
                  </a:lnTo>
                  <a:lnTo>
                    <a:pt x="14" y="48"/>
                  </a:lnTo>
                  <a:lnTo>
                    <a:pt x="15" y="48"/>
                  </a:lnTo>
                  <a:lnTo>
                    <a:pt x="16" y="47"/>
                  </a:lnTo>
                  <a:lnTo>
                    <a:pt x="17" y="47"/>
                  </a:lnTo>
                  <a:lnTo>
                    <a:pt x="17" y="45"/>
                  </a:lnTo>
                  <a:lnTo>
                    <a:pt x="18" y="43"/>
                  </a:lnTo>
                  <a:lnTo>
                    <a:pt x="27" y="43"/>
                  </a:lnTo>
                  <a:lnTo>
                    <a:pt x="27" y="42"/>
                  </a:lnTo>
                  <a:lnTo>
                    <a:pt x="28" y="41"/>
                  </a:lnTo>
                  <a:lnTo>
                    <a:pt x="30" y="41"/>
                  </a:lnTo>
                  <a:lnTo>
                    <a:pt x="31" y="40"/>
                  </a:lnTo>
                  <a:lnTo>
                    <a:pt x="36" y="42"/>
                  </a:lnTo>
                  <a:lnTo>
                    <a:pt x="37" y="42"/>
                  </a:lnTo>
                  <a:lnTo>
                    <a:pt x="39" y="41"/>
                  </a:lnTo>
                  <a:lnTo>
                    <a:pt x="40" y="41"/>
                  </a:lnTo>
                  <a:lnTo>
                    <a:pt x="40" y="36"/>
                  </a:lnTo>
                  <a:lnTo>
                    <a:pt x="46" y="36"/>
                  </a:lnTo>
                  <a:lnTo>
                    <a:pt x="47" y="35"/>
                  </a:lnTo>
                  <a:lnTo>
                    <a:pt x="48" y="35"/>
                  </a:lnTo>
                  <a:lnTo>
                    <a:pt x="49" y="30"/>
                  </a:lnTo>
                  <a:lnTo>
                    <a:pt x="51" y="30"/>
                  </a:lnTo>
                  <a:lnTo>
                    <a:pt x="51" y="31"/>
                  </a:lnTo>
                  <a:lnTo>
                    <a:pt x="52" y="31"/>
                  </a:lnTo>
                  <a:lnTo>
                    <a:pt x="53" y="30"/>
                  </a:lnTo>
                  <a:lnTo>
                    <a:pt x="53" y="29"/>
                  </a:lnTo>
                  <a:lnTo>
                    <a:pt x="54" y="28"/>
                  </a:lnTo>
                  <a:lnTo>
                    <a:pt x="55" y="28"/>
                  </a:lnTo>
                  <a:lnTo>
                    <a:pt x="58" y="30"/>
                  </a:lnTo>
                  <a:lnTo>
                    <a:pt x="59" y="30"/>
                  </a:lnTo>
                  <a:lnTo>
                    <a:pt x="59" y="29"/>
                  </a:lnTo>
                  <a:lnTo>
                    <a:pt x="60" y="28"/>
                  </a:lnTo>
                  <a:lnTo>
                    <a:pt x="60" y="27"/>
                  </a:lnTo>
                  <a:lnTo>
                    <a:pt x="61" y="27"/>
                  </a:lnTo>
                  <a:lnTo>
                    <a:pt x="61" y="23"/>
                  </a:lnTo>
                  <a:lnTo>
                    <a:pt x="62" y="22"/>
                  </a:lnTo>
                  <a:lnTo>
                    <a:pt x="71" y="22"/>
                  </a:lnTo>
                  <a:lnTo>
                    <a:pt x="72" y="21"/>
                  </a:lnTo>
                  <a:lnTo>
                    <a:pt x="74" y="22"/>
                  </a:lnTo>
                  <a:lnTo>
                    <a:pt x="76" y="21"/>
                  </a:lnTo>
                  <a:lnTo>
                    <a:pt x="77" y="21"/>
                  </a:lnTo>
                  <a:lnTo>
                    <a:pt x="77" y="17"/>
                  </a:lnTo>
                  <a:lnTo>
                    <a:pt x="79" y="17"/>
                  </a:lnTo>
                  <a:lnTo>
                    <a:pt x="79" y="16"/>
                  </a:lnTo>
                  <a:lnTo>
                    <a:pt x="83" y="16"/>
                  </a:lnTo>
                  <a:lnTo>
                    <a:pt x="90" y="14"/>
                  </a:lnTo>
                  <a:lnTo>
                    <a:pt x="90" y="12"/>
                  </a:lnTo>
                  <a:lnTo>
                    <a:pt x="91" y="11"/>
                  </a:lnTo>
                  <a:lnTo>
                    <a:pt x="96" y="11"/>
                  </a:lnTo>
                  <a:lnTo>
                    <a:pt x="97" y="10"/>
                  </a:lnTo>
                  <a:lnTo>
                    <a:pt x="98" y="8"/>
                  </a:lnTo>
                  <a:lnTo>
                    <a:pt x="95" y="8"/>
                  </a:lnTo>
                  <a:lnTo>
                    <a:pt x="93" y="6"/>
                  </a:lnTo>
                  <a:lnTo>
                    <a:pt x="93" y="5"/>
                  </a:lnTo>
                  <a:lnTo>
                    <a:pt x="95" y="5"/>
                  </a:lnTo>
                  <a:lnTo>
                    <a:pt x="93" y="4"/>
                  </a:lnTo>
                  <a:lnTo>
                    <a:pt x="91" y="4"/>
                  </a:lnTo>
                  <a:lnTo>
                    <a:pt x="92" y="3"/>
                  </a:lnTo>
                  <a:lnTo>
                    <a:pt x="92" y="2"/>
                  </a:lnTo>
                  <a:lnTo>
                    <a:pt x="93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49">
              <a:extLst>
                <a:ext uri="{FF2B5EF4-FFF2-40B4-BE49-F238E27FC236}">
                  <a16:creationId xmlns:a16="http://schemas.microsoft.com/office/drawing/2014/main" id="{76ABD24F-9CB5-4090-9A80-370540B2E6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8775" y="5768975"/>
              <a:ext cx="153988" cy="92075"/>
            </a:xfrm>
            <a:custGeom>
              <a:avLst/>
              <a:gdLst/>
              <a:ahLst/>
              <a:cxnLst>
                <a:cxn ang="0">
                  <a:pos x="97" y="0"/>
                </a:cxn>
                <a:cxn ang="0">
                  <a:pos x="95" y="3"/>
                </a:cxn>
                <a:cxn ang="0">
                  <a:pos x="88" y="9"/>
                </a:cxn>
                <a:cxn ang="0">
                  <a:pos x="75" y="18"/>
                </a:cxn>
                <a:cxn ang="0">
                  <a:pos x="70" y="19"/>
                </a:cxn>
                <a:cxn ang="0">
                  <a:pos x="69" y="23"/>
                </a:cxn>
                <a:cxn ang="0">
                  <a:pos x="69" y="28"/>
                </a:cxn>
                <a:cxn ang="0">
                  <a:pos x="71" y="31"/>
                </a:cxn>
                <a:cxn ang="0">
                  <a:pos x="74" y="33"/>
                </a:cxn>
                <a:cxn ang="0">
                  <a:pos x="75" y="34"/>
                </a:cxn>
                <a:cxn ang="0">
                  <a:pos x="76" y="36"/>
                </a:cxn>
                <a:cxn ang="0">
                  <a:pos x="74" y="37"/>
                </a:cxn>
                <a:cxn ang="0">
                  <a:pos x="72" y="36"/>
                </a:cxn>
                <a:cxn ang="0">
                  <a:pos x="68" y="37"/>
                </a:cxn>
                <a:cxn ang="0">
                  <a:pos x="66" y="39"/>
                </a:cxn>
                <a:cxn ang="0">
                  <a:pos x="59" y="37"/>
                </a:cxn>
                <a:cxn ang="0">
                  <a:pos x="58" y="40"/>
                </a:cxn>
                <a:cxn ang="0">
                  <a:pos x="57" y="43"/>
                </a:cxn>
                <a:cxn ang="0">
                  <a:pos x="56" y="46"/>
                </a:cxn>
                <a:cxn ang="0">
                  <a:pos x="52" y="47"/>
                </a:cxn>
                <a:cxn ang="0">
                  <a:pos x="49" y="48"/>
                </a:cxn>
                <a:cxn ang="0">
                  <a:pos x="47" y="49"/>
                </a:cxn>
                <a:cxn ang="0">
                  <a:pos x="43" y="51"/>
                </a:cxn>
                <a:cxn ang="0">
                  <a:pos x="41" y="52"/>
                </a:cxn>
                <a:cxn ang="0">
                  <a:pos x="38" y="51"/>
                </a:cxn>
                <a:cxn ang="0">
                  <a:pos x="33" y="52"/>
                </a:cxn>
                <a:cxn ang="0">
                  <a:pos x="31" y="54"/>
                </a:cxn>
                <a:cxn ang="0">
                  <a:pos x="32" y="58"/>
                </a:cxn>
                <a:cxn ang="0">
                  <a:pos x="28" y="57"/>
                </a:cxn>
                <a:cxn ang="0">
                  <a:pos x="27" y="53"/>
                </a:cxn>
                <a:cxn ang="0">
                  <a:pos x="20" y="54"/>
                </a:cxn>
                <a:cxn ang="0">
                  <a:pos x="14" y="53"/>
                </a:cxn>
                <a:cxn ang="0">
                  <a:pos x="12" y="52"/>
                </a:cxn>
                <a:cxn ang="0">
                  <a:pos x="7" y="51"/>
                </a:cxn>
                <a:cxn ang="0">
                  <a:pos x="6" y="47"/>
                </a:cxn>
                <a:cxn ang="0">
                  <a:pos x="4" y="43"/>
                </a:cxn>
                <a:cxn ang="0">
                  <a:pos x="3" y="42"/>
                </a:cxn>
                <a:cxn ang="0">
                  <a:pos x="2" y="40"/>
                </a:cxn>
                <a:cxn ang="0">
                  <a:pos x="1" y="36"/>
                </a:cxn>
                <a:cxn ang="0">
                  <a:pos x="0" y="31"/>
                </a:cxn>
                <a:cxn ang="0">
                  <a:pos x="3" y="34"/>
                </a:cxn>
                <a:cxn ang="0">
                  <a:pos x="10" y="29"/>
                </a:cxn>
                <a:cxn ang="0">
                  <a:pos x="12" y="27"/>
                </a:cxn>
                <a:cxn ang="0">
                  <a:pos x="22" y="28"/>
                </a:cxn>
                <a:cxn ang="0">
                  <a:pos x="27" y="25"/>
                </a:cxn>
                <a:cxn ang="0">
                  <a:pos x="28" y="16"/>
                </a:cxn>
                <a:cxn ang="0">
                  <a:pos x="37" y="17"/>
                </a:cxn>
                <a:cxn ang="0">
                  <a:pos x="43" y="18"/>
                </a:cxn>
                <a:cxn ang="0">
                  <a:pos x="58" y="17"/>
                </a:cxn>
                <a:cxn ang="0">
                  <a:pos x="63" y="15"/>
                </a:cxn>
                <a:cxn ang="0">
                  <a:pos x="68" y="14"/>
                </a:cxn>
                <a:cxn ang="0">
                  <a:pos x="76" y="10"/>
                </a:cxn>
                <a:cxn ang="0">
                  <a:pos x="80" y="8"/>
                </a:cxn>
                <a:cxn ang="0">
                  <a:pos x="84" y="6"/>
                </a:cxn>
                <a:cxn ang="0">
                  <a:pos x="95" y="0"/>
                </a:cxn>
              </a:cxnLst>
              <a:rect l="0" t="0" r="r" b="b"/>
              <a:pathLst>
                <a:path w="97" h="58">
                  <a:moveTo>
                    <a:pt x="95" y="0"/>
                  </a:moveTo>
                  <a:lnTo>
                    <a:pt x="97" y="0"/>
                  </a:lnTo>
                  <a:lnTo>
                    <a:pt x="96" y="3"/>
                  </a:lnTo>
                  <a:lnTo>
                    <a:pt x="95" y="3"/>
                  </a:lnTo>
                  <a:lnTo>
                    <a:pt x="91" y="6"/>
                  </a:lnTo>
                  <a:lnTo>
                    <a:pt x="88" y="9"/>
                  </a:lnTo>
                  <a:lnTo>
                    <a:pt x="78" y="15"/>
                  </a:lnTo>
                  <a:lnTo>
                    <a:pt x="75" y="18"/>
                  </a:lnTo>
                  <a:lnTo>
                    <a:pt x="75" y="19"/>
                  </a:lnTo>
                  <a:lnTo>
                    <a:pt x="70" y="19"/>
                  </a:lnTo>
                  <a:lnTo>
                    <a:pt x="69" y="22"/>
                  </a:lnTo>
                  <a:lnTo>
                    <a:pt x="69" y="23"/>
                  </a:lnTo>
                  <a:lnTo>
                    <a:pt x="68" y="28"/>
                  </a:lnTo>
                  <a:lnTo>
                    <a:pt x="69" y="28"/>
                  </a:lnTo>
                  <a:lnTo>
                    <a:pt x="71" y="30"/>
                  </a:lnTo>
                  <a:lnTo>
                    <a:pt x="71" y="31"/>
                  </a:lnTo>
                  <a:lnTo>
                    <a:pt x="72" y="33"/>
                  </a:lnTo>
                  <a:lnTo>
                    <a:pt x="74" y="33"/>
                  </a:lnTo>
                  <a:lnTo>
                    <a:pt x="74" y="34"/>
                  </a:lnTo>
                  <a:lnTo>
                    <a:pt x="75" y="34"/>
                  </a:lnTo>
                  <a:lnTo>
                    <a:pt x="75" y="35"/>
                  </a:lnTo>
                  <a:lnTo>
                    <a:pt x="76" y="36"/>
                  </a:lnTo>
                  <a:lnTo>
                    <a:pt x="76" y="37"/>
                  </a:lnTo>
                  <a:lnTo>
                    <a:pt x="74" y="37"/>
                  </a:lnTo>
                  <a:lnTo>
                    <a:pt x="74" y="36"/>
                  </a:lnTo>
                  <a:lnTo>
                    <a:pt x="72" y="36"/>
                  </a:lnTo>
                  <a:lnTo>
                    <a:pt x="71" y="37"/>
                  </a:lnTo>
                  <a:lnTo>
                    <a:pt x="68" y="37"/>
                  </a:lnTo>
                  <a:lnTo>
                    <a:pt x="68" y="39"/>
                  </a:lnTo>
                  <a:lnTo>
                    <a:pt x="66" y="39"/>
                  </a:lnTo>
                  <a:lnTo>
                    <a:pt x="65" y="37"/>
                  </a:lnTo>
                  <a:lnTo>
                    <a:pt x="59" y="37"/>
                  </a:lnTo>
                  <a:lnTo>
                    <a:pt x="58" y="39"/>
                  </a:lnTo>
                  <a:lnTo>
                    <a:pt x="58" y="40"/>
                  </a:lnTo>
                  <a:lnTo>
                    <a:pt x="57" y="40"/>
                  </a:lnTo>
                  <a:lnTo>
                    <a:pt x="57" y="43"/>
                  </a:lnTo>
                  <a:lnTo>
                    <a:pt x="56" y="43"/>
                  </a:lnTo>
                  <a:lnTo>
                    <a:pt x="56" y="46"/>
                  </a:lnTo>
                  <a:lnTo>
                    <a:pt x="53" y="46"/>
                  </a:lnTo>
                  <a:lnTo>
                    <a:pt x="52" y="47"/>
                  </a:lnTo>
                  <a:lnTo>
                    <a:pt x="50" y="47"/>
                  </a:lnTo>
                  <a:lnTo>
                    <a:pt x="49" y="48"/>
                  </a:lnTo>
                  <a:lnTo>
                    <a:pt x="47" y="48"/>
                  </a:lnTo>
                  <a:lnTo>
                    <a:pt x="47" y="49"/>
                  </a:lnTo>
                  <a:lnTo>
                    <a:pt x="46" y="49"/>
                  </a:lnTo>
                  <a:lnTo>
                    <a:pt x="43" y="51"/>
                  </a:lnTo>
                  <a:lnTo>
                    <a:pt x="41" y="51"/>
                  </a:lnTo>
                  <a:lnTo>
                    <a:pt x="41" y="52"/>
                  </a:lnTo>
                  <a:lnTo>
                    <a:pt x="40" y="52"/>
                  </a:lnTo>
                  <a:lnTo>
                    <a:pt x="38" y="51"/>
                  </a:lnTo>
                  <a:lnTo>
                    <a:pt x="34" y="52"/>
                  </a:lnTo>
                  <a:lnTo>
                    <a:pt x="33" y="52"/>
                  </a:lnTo>
                  <a:lnTo>
                    <a:pt x="32" y="54"/>
                  </a:lnTo>
                  <a:lnTo>
                    <a:pt x="31" y="54"/>
                  </a:lnTo>
                  <a:lnTo>
                    <a:pt x="31" y="57"/>
                  </a:lnTo>
                  <a:lnTo>
                    <a:pt x="32" y="58"/>
                  </a:lnTo>
                  <a:lnTo>
                    <a:pt x="28" y="58"/>
                  </a:lnTo>
                  <a:lnTo>
                    <a:pt x="28" y="57"/>
                  </a:lnTo>
                  <a:lnTo>
                    <a:pt x="27" y="54"/>
                  </a:lnTo>
                  <a:lnTo>
                    <a:pt x="27" y="53"/>
                  </a:lnTo>
                  <a:lnTo>
                    <a:pt x="22" y="53"/>
                  </a:lnTo>
                  <a:lnTo>
                    <a:pt x="20" y="54"/>
                  </a:lnTo>
                  <a:lnTo>
                    <a:pt x="16" y="54"/>
                  </a:lnTo>
                  <a:lnTo>
                    <a:pt x="14" y="53"/>
                  </a:lnTo>
                  <a:lnTo>
                    <a:pt x="13" y="52"/>
                  </a:lnTo>
                  <a:lnTo>
                    <a:pt x="12" y="52"/>
                  </a:lnTo>
                  <a:lnTo>
                    <a:pt x="10" y="51"/>
                  </a:lnTo>
                  <a:lnTo>
                    <a:pt x="7" y="51"/>
                  </a:lnTo>
                  <a:lnTo>
                    <a:pt x="6" y="49"/>
                  </a:lnTo>
                  <a:lnTo>
                    <a:pt x="6" y="47"/>
                  </a:lnTo>
                  <a:lnTo>
                    <a:pt x="4" y="46"/>
                  </a:lnTo>
                  <a:lnTo>
                    <a:pt x="4" y="43"/>
                  </a:lnTo>
                  <a:lnTo>
                    <a:pt x="3" y="43"/>
                  </a:lnTo>
                  <a:lnTo>
                    <a:pt x="3" y="42"/>
                  </a:lnTo>
                  <a:lnTo>
                    <a:pt x="2" y="42"/>
                  </a:lnTo>
                  <a:lnTo>
                    <a:pt x="2" y="40"/>
                  </a:lnTo>
                  <a:lnTo>
                    <a:pt x="1" y="39"/>
                  </a:lnTo>
                  <a:lnTo>
                    <a:pt x="1" y="36"/>
                  </a:lnTo>
                  <a:lnTo>
                    <a:pt x="0" y="34"/>
                  </a:lnTo>
                  <a:lnTo>
                    <a:pt x="0" y="31"/>
                  </a:lnTo>
                  <a:lnTo>
                    <a:pt x="1" y="31"/>
                  </a:lnTo>
                  <a:lnTo>
                    <a:pt x="3" y="34"/>
                  </a:lnTo>
                  <a:lnTo>
                    <a:pt x="6" y="34"/>
                  </a:lnTo>
                  <a:lnTo>
                    <a:pt x="10" y="29"/>
                  </a:lnTo>
                  <a:lnTo>
                    <a:pt x="10" y="28"/>
                  </a:lnTo>
                  <a:lnTo>
                    <a:pt x="12" y="27"/>
                  </a:lnTo>
                  <a:lnTo>
                    <a:pt x="21" y="27"/>
                  </a:lnTo>
                  <a:lnTo>
                    <a:pt x="22" y="28"/>
                  </a:lnTo>
                  <a:lnTo>
                    <a:pt x="25" y="28"/>
                  </a:lnTo>
                  <a:lnTo>
                    <a:pt x="27" y="25"/>
                  </a:lnTo>
                  <a:lnTo>
                    <a:pt x="27" y="16"/>
                  </a:lnTo>
                  <a:lnTo>
                    <a:pt x="28" y="16"/>
                  </a:lnTo>
                  <a:lnTo>
                    <a:pt x="29" y="17"/>
                  </a:lnTo>
                  <a:lnTo>
                    <a:pt x="37" y="17"/>
                  </a:lnTo>
                  <a:lnTo>
                    <a:pt x="41" y="18"/>
                  </a:lnTo>
                  <a:lnTo>
                    <a:pt x="43" y="18"/>
                  </a:lnTo>
                  <a:lnTo>
                    <a:pt x="49" y="19"/>
                  </a:lnTo>
                  <a:lnTo>
                    <a:pt x="58" y="17"/>
                  </a:lnTo>
                  <a:lnTo>
                    <a:pt x="62" y="16"/>
                  </a:lnTo>
                  <a:lnTo>
                    <a:pt x="63" y="15"/>
                  </a:lnTo>
                  <a:lnTo>
                    <a:pt x="65" y="15"/>
                  </a:lnTo>
                  <a:lnTo>
                    <a:pt x="68" y="14"/>
                  </a:lnTo>
                  <a:lnTo>
                    <a:pt x="74" y="11"/>
                  </a:lnTo>
                  <a:lnTo>
                    <a:pt x="76" y="10"/>
                  </a:lnTo>
                  <a:lnTo>
                    <a:pt x="78" y="10"/>
                  </a:lnTo>
                  <a:lnTo>
                    <a:pt x="80" y="8"/>
                  </a:lnTo>
                  <a:lnTo>
                    <a:pt x="81" y="8"/>
                  </a:lnTo>
                  <a:lnTo>
                    <a:pt x="84" y="6"/>
                  </a:lnTo>
                  <a:lnTo>
                    <a:pt x="85" y="5"/>
                  </a:lnTo>
                  <a:lnTo>
                    <a:pt x="95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50">
              <a:extLst>
                <a:ext uri="{FF2B5EF4-FFF2-40B4-BE49-F238E27FC236}">
                  <a16:creationId xmlns:a16="http://schemas.microsoft.com/office/drawing/2014/main" id="{59D2B54A-F2A4-47D7-95E8-7AF1572CC3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49888" y="4802188"/>
              <a:ext cx="395288" cy="387350"/>
            </a:xfrm>
            <a:custGeom>
              <a:avLst/>
              <a:gdLst/>
              <a:ahLst/>
              <a:cxnLst>
                <a:cxn ang="0">
                  <a:pos x="190" y="226"/>
                </a:cxn>
                <a:cxn ang="0">
                  <a:pos x="198" y="232"/>
                </a:cxn>
                <a:cxn ang="0">
                  <a:pos x="165" y="224"/>
                </a:cxn>
                <a:cxn ang="0">
                  <a:pos x="144" y="216"/>
                </a:cxn>
                <a:cxn ang="0">
                  <a:pos x="172" y="215"/>
                </a:cxn>
                <a:cxn ang="0">
                  <a:pos x="185" y="221"/>
                </a:cxn>
                <a:cxn ang="0">
                  <a:pos x="160" y="213"/>
                </a:cxn>
                <a:cxn ang="0">
                  <a:pos x="109" y="208"/>
                </a:cxn>
                <a:cxn ang="0">
                  <a:pos x="135" y="203"/>
                </a:cxn>
                <a:cxn ang="0">
                  <a:pos x="126" y="189"/>
                </a:cxn>
                <a:cxn ang="0">
                  <a:pos x="124" y="189"/>
                </a:cxn>
                <a:cxn ang="0">
                  <a:pos x="122" y="183"/>
                </a:cxn>
                <a:cxn ang="0">
                  <a:pos x="79" y="165"/>
                </a:cxn>
                <a:cxn ang="0">
                  <a:pos x="69" y="158"/>
                </a:cxn>
                <a:cxn ang="0">
                  <a:pos x="73" y="158"/>
                </a:cxn>
                <a:cxn ang="0">
                  <a:pos x="69" y="147"/>
                </a:cxn>
                <a:cxn ang="0">
                  <a:pos x="58" y="144"/>
                </a:cxn>
                <a:cxn ang="0">
                  <a:pos x="72" y="132"/>
                </a:cxn>
                <a:cxn ang="0">
                  <a:pos x="41" y="120"/>
                </a:cxn>
                <a:cxn ang="0">
                  <a:pos x="60" y="116"/>
                </a:cxn>
                <a:cxn ang="0">
                  <a:pos x="67" y="128"/>
                </a:cxn>
                <a:cxn ang="0">
                  <a:pos x="69" y="134"/>
                </a:cxn>
                <a:cxn ang="0">
                  <a:pos x="38" y="116"/>
                </a:cxn>
                <a:cxn ang="0">
                  <a:pos x="18" y="105"/>
                </a:cxn>
                <a:cxn ang="0">
                  <a:pos x="53" y="102"/>
                </a:cxn>
                <a:cxn ang="0">
                  <a:pos x="37" y="84"/>
                </a:cxn>
                <a:cxn ang="0">
                  <a:pos x="42" y="116"/>
                </a:cxn>
                <a:cxn ang="0">
                  <a:pos x="39" y="96"/>
                </a:cxn>
                <a:cxn ang="0">
                  <a:pos x="50" y="89"/>
                </a:cxn>
                <a:cxn ang="0">
                  <a:pos x="39" y="87"/>
                </a:cxn>
                <a:cxn ang="0">
                  <a:pos x="128" y="3"/>
                </a:cxn>
                <a:cxn ang="0">
                  <a:pos x="150" y="23"/>
                </a:cxn>
                <a:cxn ang="0">
                  <a:pos x="182" y="44"/>
                </a:cxn>
                <a:cxn ang="0">
                  <a:pos x="219" y="38"/>
                </a:cxn>
                <a:cxn ang="0">
                  <a:pos x="229" y="60"/>
                </a:cxn>
                <a:cxn ang="0">
                  <a:pos x="236" y="74"/>
                </a:cxn>
                <a:cxn ang="0">
                  <a:pos x="235" y="86"/>
                </a:cxn>
                <a:cxn ang="0">
                  <a:pos x="221" y="92"/>
                </a:cxn>
                <a:cxn ang="0">
                  <a:pos x="190" y="85"/>
                </a:cxn>
                <a:cxn ang="0">
                  <a:pos x="156" y="85"/>
                </a:cxn>
                <a:cxn ang="0">
                  <a:pos x="129" y="80"/>
                </a:cxn>
                <a:cxn ang="0">
                  <a:pos x="107" y="80"/>
                </a:cxn>
                <a:cxn ang="0">
                  <a:pos x="100" y="111"/>
                </a:cxn>
                <a:cxn ang="0">
                  <a:pos x="112" y="127"/>
                </a:cxn>
                <a:cxn ang="0">
                  <a:pos x="124" y="152"/>
                </a:cxn>
                <a:cxn ang="0">
                  <a:pos x="160" y="190"/>
                </a:cxn>
                <a:cxn ang="0">
                  <a:pos x="168" y="209"/>
                </a:cxn>
                <a:cxn ang="0">
                  <a:pos x="149" y="194"/>
                </a:cxn>
                <a:cxn ang="0">
                  <a:pos x="116" y="181"/>
                </a:cxn>
                <a:cxn ang="0">
                  <a:pos x="104" y="171"/>
                </a:cxn>
                <a:cxn ang="0">
                  <a:pos x="85" y="158"/>
                </a:cxn>
                <a:cxn ang="0">
                  <a:pos x="73" y="136"/>
                </a:cxn>
                <a:cxn ang="0">
                  <a:pos x="67" y="121"/>
                </a:cxn>
                <a:cxn ang="0">
                  <a:pos x="54" y="85"/>
                </a:cxn>
                <a:cxn ang="0">
                  <a:pos x="32" y="83"/>
                </a:cxn>
                <a:cxn ang="0">
                  <a:pos x="22" y="99"/>
                </a:cxn>
                <a:cxn ang="0">
                  <a:pos x="6" y="86"/>
                </a:cxn>
                <a:cxn ang="0">
                  <a:pos x="6" y="66"/>
                </a:cxn>
                <a:cxn ang="0">
                  <a:pos x="42" y="62"/>
                </a:cxn>
                <a:cxn ang="0">
                  <a:pos x="63" y="64"/>
                </a:cxn>
                <a:cxn ang="0">
                  <a:pos x="75" y="52"/>
                </a:cxn>
                <a:cxn ang="0">
                  <a:pos x="89" y="23"/>
                </a:cxn>
                <a:cxn ang="0">
                  <a:pos x="118" y="11"/>
                </a:cxn>
              </a:cxnLst>
              <a:rect l="0" t="0" r="r" b="b"/>
              <a:pathLst>
                <a:path w="249" h="244">
                  <a:moveTo>
                    <a:pt x="210" y="243"/>
                  </a:moveTo>
                  <a:lnTo>
                    <a:pt x="211" y="243"/>
                  </a:lnTo>
                  <a:lnTo>
                    <a:pt x="211" y="244"/>
                  </a:lnTo>
                  <a:lnTo>
                    <a:pt x="210" y="243"/>
                  </a:lnTo>
                  <a:close/>
                  <a:moveTo>
                    <a:pt x="141" y="224"/>
                  </a:moveTo>
                  <a:lnTo>
                    <a:pt x="145" y="224"/>
                  </a:lnTo>
                  <a:lnTo>
                    <a:pt x="145" y="226"/>
                  </a:lnTo>
                  <a:lnTo>
                    <a:pt x="143" y="226"/>
                  </a:lnTo>
                  <a:lnTo>
                    <a:pt x="142" y="225"/>
                  </a:lnTo>
                  <a:lnTo>
                    <a:pt x="142" y="226"/>
                  </a:lnTo>
                  <a:lnTo>
                    <a:pt x="141" y="226"/>
                  </a:lnTo>
                  <a:lnTo>
                    <a:pt x="141" y="225"/>
                  </a:lnTo>
                  <a:lnTo>
                    <a:pt x="140" y="225"/>
                  </a:lnTo>
                  <a:lnTo>
                    <a:pt x="141" y="224"/>
                  </a:lnTo>
                  <a:close/>
                  <a:moveTo>
                    <a:pt x="186" y="222"/>
                  </a:moveTo>
                  <a:lnTo>
                    <a:pt x="187" y="222"/>
                  </a:lnTo>
                  <a:lnTo>
                    <a:pt x="190" y="225"/>
                  </a:lnTo>
                  <a:lnTo>
                    <a:pt x="190" y="226"/>
                  </a:lnTo>
                  <a:lnTo>
                    <a:pt x="192" y="227"/>
                  </a:lnTo>
                  <a:lnTo>
                    <a:pt x="200" y="232"/>
                  </a:lnTo>
                  <a:lnTo>
                    <a:pt x="202" y="233"/>
                  </a:lnTo>
                  <a:lnTo>
                    <a:pt x="205" y="233"/>
                  </a:lnTo>
                  <a:lnTo>
                    <a:pt x="205" y="234"/>
                  </a:lnTo>
                  <a:lnTo>
                    <a:pt x="206" y="236"/>
                  </a:lnTo>
                  <a:lnTo>
                    <a:pt x="209" y="236"/>
                  </a:lnTo>
                  <a:lnTo>
                    <a:pt x="209" y="240"/>
                  </a:lnTo>
                  <a:lnTo>
                    <a:pt x="210" y="242"/>
                  </a:lnTo>
                  <a:lnTo>
                    <a:pt x="210" y="243"/>
                  </a:lnTo>
                  <a:lnTo>
                    <a:pt x="209" y="242"/>
                  </a:lnTo>
                  <a:lnTo>
                    <a:pt x="207" y="242"/>
                  </a:lnTo>
                  <a:lnTo>
                    <a:pt x="207" y="240"/>
                  </a:lnTo>
                  <a:lnTo>
                    <a:pt x="200" y="236"/>
                  </a:lnTo>
                  <a:lnTo>
                    <a:pt x="199" y="234"/>
                  </a:lnTo>
                  <a:lnTo>
                    <a:pt x="200" y="233"/>
                  </a:lnTo>
                  <a:lnTo>
                    <a:pt x="199" y="232"/>
                  </a:lnTo>
                  <a:lnTo>
                    <a:pt x="198" y="232"/>
                  </a:lnTo>
                  <a:lnTo>
                    <a:pt x="196" y="231"/>
                  </a:lnTo>
                  <a:lnTo>
                    <a:pt x="193" y="231"/>
                  </a:lnTo>
                  <a:lnTo>
                    <a:pt x="193" y="228"/>
                  </a:lnTo>
                  <a:lnTo>
                    <a:pt x="191" y="228"/>
                  </a:lnTo>
                  <a:lnTo>
                    <a:pt x="188" y="226"/>
                  </a:lnTo>
                  <a:lnTo>
                    <a:pt x="186" y="225"/>
                  </a:lnTo>
                  <a:lnTo>
                    <a:pt x="185" y="224"/>
                  </a:lnTo>
                  <a:lnTo>
                    <a:pt x="186" y="222"/>
                  </a:lnTo>
                  <a:close/>
                  <a:moveTo>
                    <a:pt x="162" y="222"/>
                  </a:moveTo>
                  <a:lnTo>
                    <a:pt x="166" y="222"/>
                  </a:lnTo>
                  <a:lnTo>
                    <a:pt x="167" y="224"/>
                  </a:lnTo>
                  <a:lnTo>
                    <a:pt x="171" y="224"/>
                  </a:lnTo>
                  <a:lnTo>
                    <a:pt x="175" y="226"/>
                  </a:lnTo>
                  <a:lnTo>
                    <a:pt x="176" y="225"/>
                  </a:lnTo>
                  <a:lnTo>
                    <a:pt x="176" y="226"/>
                  </a:lnTo>
                  <a:lnTo>
                    <a:pt x="179" y="227"/>
                  </a:lnTo>
                  <a:lnTo>
                    <a:pt x="180" y="228"/>
                  </a:lnTo>
                  <a:lnTo>
                    <a:pt x="165" y="224"/>
                  </a:lnTo>
                  <a:lnTo>
                    <a:pt x="163" y="225"/>
                  </a:lnTo>
                  <a:lnTo>
                    <a:pt x="163" y="224"/>
                  </a:lnTo>
                  <a:lnTo>
                    <a:pt x="162" y="224"/>
                  </a:lnTo>
                  <a:lnTo>
                    <a:pt x="162" y="222"/>
                  </a:lnTo>
                  <a:close/>
                  <a:moveTo>
                    <a:pt x="134" y="210"/>
                  </a:moveTo>
                  <a:lnTo>
                    <a:pt x="135" y="210"/>
                  </a:lnTo>
                  <a:lnTo>
                    <a:pt x="136" y="212"/>
                  </a:lnTo>
                  <a:lnTo>
                    <a:pt x="138" y="212"/>
                  </a:lnTo>
                  <a:lnTo>
                    <a:pt x="141" y="213"/>
                  </a:lnTo>
                  <a:lnTo>
                    <a:pt x="143" y="213"/>
                  </a:lnTo>
                  <a:lnTo>
                    <a:pt x="144" y="212"/>
                  </a:lnTo>
                  <a:lnTo>
                    <a:pt x="149" y="212"/>
                  </a:lnTo>
                  <a:lnTo>
                    <a:pt x="153" y="213"/>
                  </a:lnTo>
                  <a:lnTo>
                    <a:pt x="155" y="213"/>
                  </a:lnTo>
                  <a:lnTo>
                    <a:pt x="155" y="214"/>
                  </a:lnTo>
                  <a:lnTo>
                    <a:pt x="156" y="215"/>
                  </a:lnTo>
                  <a:lnTo>
                    <a:pt x="147" y="215"/>
                  </a:lnTo>
                  <a:lnTo>
                    <a:pt x="144" y="216"/>
                  </a:lnTo>
                  <a:lnTo>
                    <a:pt x="142" y="216"/>
                  </a:lnTo>
                  <a:lnTo>
                    <a:pt x="137" y="215"/>
                  </a:lnTo>
                  <a:lnTo>
                    <a:pt x="134" y="215"/>
                  </a:lnTo>
                  <a:lnTo>
                    <a:pt x="132" y="214"/>
                  </a:lnTo>
                  <a:lnTo>
                    <a:pt x="136" y="213"/>
                  </a:lnTo>
                  <a:lnTo>
                    <a:pt x="135" y="212"/>
                  </a:lnTo>
                  <a:lnTo>
                    <a:pt x="132" y="212"/>
                  </a:lnTo>
                  <a:lnTo>
                    <a:pt x="134" y="210"/>
                  </a:lnTo>
                  <a:close/>
                  <a:moveTo>
                    <a:pt x="149" y="208"/>
                  </a:moveTo>
                  <a:lnTo>
                    <a:pt x="150" y="209"/>
                  </a:lnTo>
                  <a:lnTo>
                    <a:pt x="159" y="209"/>
                  </a:lnTo>
                  <a:lnTo>
                    <a:pt x="165" y="212"/>
                  </a:lnTo>
                  <a:lnTo>
                    <a:pt x="167" y="214"/>
                  </a:lnTo>
                  <a:lnTo>
                    <a:pt x="167" y="215"/>
                  </a:lnTo>
                  <a:lnTo>
                    <a:pt x="169" y="215"/>
                  </a:lnTo>
                  <a:lnTo>
                    <a:pt x="171" y="216"/>
                  </a:lnTo>
                  <a:lnTo>
                    <a:pt x="171" y="215"/>
                  </a:lnTo>
                  <a:lnTo>
                    <a:pt x="172" y="215"/>
                  </a:lnTo>
                  <a:lnTo>
                    <a:pt x="173" y="216"/>
                  </a:lnTo>
                  <a:lnTo>
                    <a:pt x="174" y="216"/>
                  </a:lnTo>
                  <a:lnTo>
                    <a:pt x="175" y="218"/>
                  </a:lnTo>
                  <a:lnTo>
                    <a:pt x="176" y="218"/>
                  </a:lnTo>
                  <a:lnTo>
                    <a:pt x="179" y="220"/>
                  </a:lnTo>
                  <a:lnTo>
                    <a:pt x="178" y="219"/>
                  </a:lnTo>
                  <a:lnTo>
                    <a:pt x="178" y="218"/>
                  </a:lnTo>
                  <a:lnTo>
                    <a:pt x="176" y="218"/>
                  </a:lnTo>
                  <a:lnTo>
                    <a:pt x="175" y="216"/>
                  </a:lnTo>
                  <a:lnTo>
                    <a:pt x="176" y="216"/>
                  </a:lnTo>
                  <a:lnTo>
                    <a:pt x="176" y="215"/>
                  </a:lnTo>
                  <a:lnTo>
                    <a:pt x="179" y="215"/>
                  </a:lnTo>
                  <a:lnTo>
                    <a:pt x="180" y="216"/>
                  </a:lnTo>
                  <a:lnTo>
                    <a:pt x="181" y="216"/>
                  </a:lnTo>
                  <a:lnTo>
                    <a:pt x="182" y="215"/>
                  </a:lnTo>
                  <a:lnTo>
                    <a:pt x="182" y="219"/>
                  </a:lnTo>
                  <a:lnTo>
                    <a:pt x="184" y="219"/>
                  </a:lnTo>
                  <a:lnTo>
                    <a:pt x="185" y="221"/>
                  </a:lnTo>
                  <a:lnTo>
                    <a:pt x="186" y="222"/>
                  </a:lnTo>
                  <a:lnTo>
                    <a:pt x="185" y="222"/>
                  </a:lnTo>
                  <a:lnTo>
                    <a:pt x="184" y="221"/>
                  </a:lnTo>
                  <a:lnTo>
                    <a:pt x="181" y="221"/>
                  </a:lnTo>
                  <a:lnTo>
                    <a:pt x="181" y="222"/>
                  </a:lnTo>
                  <a:lnTo>
                    <a:pt x="180" y="222"/>
                  </a:lnTo>
                  <a:lnTo>
                    <a:pt x="180" y="221"/>
                  </a:lnTo>
                  <a:lnTo>
                    <a:pt x="179" y="221"/>
                  </a:lnTo>
                  <a:lnTo>
                    <a:pt x="180" y="222"/>
                  </a:lnTo>
                  <a:lnTo>
                    <a:pt x="179" y="222"/>
                  </a:lnTo>
                  <a:lnTo>
                    <a:pt x="176" y="221"/>
                  </a:lnTo>
                  <a:lnTo>
                    <a:pt x="175" y="221"/>
                  </a:lnTo>
                  <a:lnTo>
                    <a:pt x="171" y="219"/>
                  </a:lnTo>
                  <a:lnTo>
                    <a:pt x="167" y="218"/>
                  </a:lnTo>
                  <a:lnTo>
                    <a:pt x="167" y="216"/>
                  </a:lnTo>
                  <a:lnTo>
                    <a:pt x="166" y="215"/>
                  </a:lnTo>
                  <a:lnTo>
                    <a:pt x="163" y="215"/>
                  </a:lnTo>
                  <a:lnTo>
                    <a:pt x="160" y="213"/>
                  </a:lnTo>
                  <a:lnTo>
                    <a:pt x="159" y="213"/>
                  </a:lnTo>
                  <a:lnTo>
                    <a:pt x="157" y="212"/>
                  </a:lnTo>
                  <a:lnTo>
                    <a:pt x="150" y="212"/>
                  </a:lnTo>
                  <a:lnTo>
                    <a:pt x="150" y="210"/>
                  </a:lnTo>
                  <a:lnTo>
                    <a:pt x="149" y="210"/>
                  </a:lnTo>
                  <a:lnTo>
                    <a:pt x="149" y="208"/>
                  </a:lnTo>
                  <a:close/>
                  <a:moveTo>
                    <a:pt x="110" y="206"/>
                  </a:moveTo>
                  <a:lnTo>
                    <a:pt x="116" y="206"/>
                  </a:lnTo>
                  <a:lnTo>
                    <a:pt x="116" y="207"/>
                  </a:lnTo>
                  <a:lnTo>
                    <a:pt x="117" y="206"/>
                  </a:lnTo>
                  <a:lnTo>
                    <a:pt x="117" y="207"/>
                  </a:lnTo>
                  <a:lnTo>
                    <a:pt x="115" y="209"/>
                  </a:lnTo>
                  <a:lnTo>
                    <a:pt x="111" y="209"/>
                  </a:lnTo>
                  <a:lnTo>
                    <a:pt x="110" y="210"/>
                  </a:lnTo>
                  <a:lnTo>
                    <a:pt x="109" y="209"/>
                  </a:lnTo>
                  <a:lnTo>
                    <a:pt x="110" y="209"/>
                  </a:lnTo>
                  <a:lnTo>
                    <a:pt x="110" y="208"/>
                  </a:lnTo>
                  <a:lnTo>
                    <a:pt x="109" y="208"/>
                  </a:lnTo>
                  <a:lnTo>
                    <a:pt x="109" y="207"/>
                  </a:lnTo>
                  <a:lnTo>
                    <a:pt x="110" y="206"/>
                  </a:lnTo>
                  <a:close/>
                  <a:moveTo>
                    <a:pt x="122" y="199"/>
                  </a:moveTo>
                  <a:lnTo>
                    <a:pt x="123" y="199"/>
                  </a:lnTo>
                  <a:lnTo>
                    <a:pt x="123" y="200"/>
                  </a:lnTo>
                  <a:lnTo>
                    <a:pt x="122" y="200"/>
                  </a:lnTo>
                  <a:lnTo>
                    <a:pt x="122" y="199"/>
                  </a:lnTo>
                  <a:close/>
                  <a:moveTo>
                    <a:pt x="131" y="197"/>
                  </a:moveTo>
                  <a:lnTo>
                    <a:pt x="134" y="197"/>
                  </a:lnTo>
                  <a:lnTo>
                    <a:pt x="134" y="199"/>
                  </a:lnTo>
                  <a:lnTo>
                    <a:pt x="135" y="199"/>
                  </a:lnTo>
                  <a:lnTo>
                    <a:pt x="135" y="200"/>
                  </a:lnTo>
                  <a:lnTo>
                    <a:pt x="136" y="201"/>
                  </a:lnTo>
                  <a:lnTo>
                    <a:pt x="143" y="201"/>
                  </a:lnTo>
                  <a:lnTo>
                    <a:pt x="144" y="202"/>
                  </a:lnTo>
                  <a:lnTo>
                    <a:pt x="155" y="202"/>
                  </a:lnTo>
                  <a:lnTo>
                    <a:pt x="156" y="203"/>
                  </a:lnTo>
                  <a:lnTo>
                    <a:pt x="135" y="203"/>
                  </a:lnTo>
                  <a:lnTo>
                    <a:pt x="130" y="202"/>
                  </a:lnTo>
                  <a:lnTo>
                    <a:pt x="126" y="201"/>
                  </a:lnTo>
                  <a:lnTo>
                    <a:pt x="125" y="201"/>
                  </a:lnTo>
                  <a:lnTo>
                    <a:pt x="124" y="200"/>
                  </a:lnTo>
                  <a:lnTo>
                    <a:pt x="124" y="199"/>
                  </a:lnTo>
                  <a:lnTo>
                    <a:pt x="129" y="199"/>
                  </a:lnTo>
                  <a:lnTo>
                    <a:pt x="129" y="200"/>
                  </a:lnTo>
                  <a:lnTo>
                    <a:pt x="130" y="200"/>
                  </a:lnTo>
                  <a:lnTo>
                    <a:pt x="130" y="199"/>
                  </a:lnTo>
                  <a:lnTo>
                    <a:pt x="131" y="199"/>
                  </a:lnTo>
                  <a:lnTo>
                    <a:pt x="131" y="197"/>
                  </a:lnTo>
                  <a:close/>
                  <a:moveTo>
                    <a:pt x="129" y="197"/>
                  </a:moveTo>
                  <a:lnTo>
                    <a:pt x="130" y="197"/>
                  </a:lnTo>
                  <a:lnTo>
                    <a:pt x="130" y="199"/>
                  </a:lnTo>
                  <a:lnTo>
                    <a:pt x="129" y="197"/>
                  </a:lnTo>
                  <a:close/>
                  <a:moveTo>
                    <a:pt x="124" y="188"/>
                  </a:moveTo>
                  <a:lnTo>
                    <a:pt x="125" y="188"/>
                  </a:lnTo>
                  <a:lnTo>
                    <a:pt x="126" y="189"/>
                  </a:lnTo>
                  <a:lnTo>
                    <a:pt x="135" y="189"/>
                  </a:lnTo>
                  <a:lnTo>
                    <a:pt x="141" y="190"/>
                  </a:lnTo>
                  <a:lnTo>
                    <a:pt x="140" y="190"/>
                  </a:lnTo>
                  <a:lnTo>
                    <a:pt x="140" y="191"/>
                  </a:lnTo>
                  <a:lnTo>
                    <a:pt x="141" y="191"/>
                  </a:lnTo>
                  <a:lnTo>
                    <a:pt x="141" y="190"/>
                  </a:lnTo>
                  <a:lnTo>
                    <a:pt x="143" y="193"/>
                  </a:lnTo>
                  <a:lnTo>
                    <a:pt x="143" y="194"/>
                  </a:lnTo>
                  <a:lnTo>
                    <a:pt x="142" y="194"/>
                  </a:lnTo>
                  <a:lnTo>
                    <a:pt x="142" y="195"/>
                  </a:lnTo>
                  <a:lnTo>
                    <a:pt x="130" y="195"/>
                  </a:lnTo>
                  <a:lnTo>
                    <a:pt x="128" y="194"/>
                  </a:lnTo>
                  <a:lnTo>
                    <a:pt x="124" y="193"/>
                  </a:lnTo>
                  <a:lnTo>
                    <a:pt x="123" y="191"/>
                  </a:lnTo>
                  <a:lnTo>
                    <a:pt x="124" y="191"/>
                  </a:lnTo>
                  <a:lnTo>
                    <a:pt x="124" y="190"/>
                  </a:lnTo>
                  <a:lnTo>
                    <a:pt x="125" y="190"/>
                  </a:lnTo>
                  <a:lnTo>
                    <a:pt x="124" y="189"/>
                  </a:lnTo>
                  <a:lnTo>
                    <a:pt x="124" y="188"/>
                  </a:lnTo>
                  <a:close/>
                  <a:moveTo>
                    <a:pt x="115" y="187"/>
                  </a:moveTo>
                  <a:lnTo>
                    <a:pt x="118" y="187"/>
                  </a:lnTo>
                  <a:lnTo>
                    <a:pt x="118" y="188"/>
                  </a:lnTo>
                  <a:lnTo>
                    <a:pt x="120" y="188"/>
                  </a:lnTo>
                  <a:lnTo>
                    <a:pt x="120" y="189"/>
                  </a:lnTo>
                  <a:lnTo>
                    <a:pt x="122" y="190"/>
                  </a:lnTo>
                  <a:lnTo>
                    <a:pt x="123" y="190"/>
                  </a:lnTo>
                  <a:lnTo>
                    <a:pt x="122" y="191"/>
                  </a:lnTo>
                  <a:lnTo>
                    <a:pt x="120" y="191"/>
                  </a:lnTo>
                  <a:lnTo>
                    <a:pt x="118" y="189"/>
                  </a:lnTo>
                  <a:lnTo>
                    <a:pt x="116" y="189"/>
                  </a:lnTo>
                  <a:lnTo>
                    <a:pt x="115" y="188"/>
                  </a:lnTo>
                  <a:lnTo>
                    <a:pt x="115" y="187"/>
                  </a:lnTo>
                  <a:close/>
                  <a:moveTo>
                    <a:pt x="117" y="181"/>
                  </a:moveTo>
                  <a:lnTo>
                    <a:pt x="119" y="182"/>
                  </a:lnTo>
                  <a:lnTo>
                    <a:pt x="122" y="182"/>
                  </a:lnTo>
                  <a:lnTo>
                    <a:pt x="122" y="183"/>
                  </a:lnTo>
                  <a:lnTo>
                    <a:pt x="120" y="183"/>
                  </a:lnTo>
                  <a:lnTo>
                    <a:pt x="118" y="182"/>
                  </a:lnTo>
                  <a:lnTo>
                    <a:pt x="117" y="183"/>
                  </a:lnTo>
                  <a:lnTo>
                    <a:pt x="116" y="183"/>
                  </a:lnTo>
                  <a:lnTo>
                    <a:pt x="115" y="182"/>
                  </a:lnTo>
                  <a:lnTo>
                    <a:pt x="117" y="182"/>
                  </a:lnTo>
                  <a:lnTo>
                    <a:pt x="117" y="181"/>
                  </a:lnTo>
                  <a:close/>
                  <a:moveTo>
                    <a:pt x="92" y="173"/>
                  </a:moveTo>
                  <a:lnTo>
                    <a:pt x="93" y="173"/>
                  </a:lnTo>
                  <a:lnTo>
                    <a:pt x="95" y="175"/>
                  </a:lnTo>
                  <a:lnTo>
                    <a:pt x="92" y="173"/>
                  </a:lnTo>
                  <a:close/>
                  <a:moveTo>
                    <a:pt x="89" y="171"/>
                  </a:moveTo>
                  <a:lnTo>
                    <a:pt x="91" y="171"/>
                  </a:lnTo>
                  <a:lnTo>
                    <a:pt x="92" y="172"/>
                  </a:lnTo>
                  <a:lnTo>
                    <a:pt x="92" y="173"/>
                  </a:lnTo>
                  <a:lnTo>
                    <a:pt x="89" y="172"/>
                  </a:lnTo>
                  <a:lnTo>
                    <a:pt x="89" y="171"/>
                  </a:lnTo>
                  <a:close/>
                  <a:moveTo>
                    <a:pt x="79" y="165"/>
                  </a:moveTo>
                  <a:lnTo>
                    <a:pt x="80" y="165"/>
                  </a:lnTo>
                  <a:lnTo>
                    <a:pt x="80" y="166"/>
                  </a:lnTo>
                  <a:lnTo>
                    <a:pt x="79" y="165"/>
                  </a:lnTo>
                  <a:close/>
                  <a:moveTo>
                    <a:pt x="74" y="159"/>
                  </a:moveTo>
                  <a:lnTo>
                    <a:pt x="79" y="164"/>
                  </a:lnTo>
                  <a:lnTo>
                    <a:pt x="79" y="165"/>
                  </a:lnTo>
                  <a:lnTo>
                    <a:pt x="76" y="164"/>
                  </a:lnTo>
                  <a:lnTo>
                    <a:pt x="76" y="163"/>
                  </a:lnTo>
                  <a:lnTo>
                    <a:pt x="75" y="161"/>
                  </a:lnTo>
                  <a:lnTo>
                    <a:pt x="74" y="161"/>
                  </a:lnTo>
                  <a:lnTo>
                    <a:pt x="74" y="159"/>
                  </a:lnTo>
                  <a:close/>
                  <a:moveTo>
                    <a:pt x="70" y="159"/>
                  </a:moveTo>
                  <a:lnTo>
                    <a:pt x="72" y="159"/>
                  </a:lnTo>
                  <a:lnTo>
                    <a:pt x="70" y="159"/>
                  </a:lnTo>
                  <a:close/>
                  <a:moveTo>
                    <a:pt x="69" y="158"/>
                  </a:moveTo>
                  <a:lnTo>
                    <a:pt x="70" y="158"/>
                  </a:lnTo>
                  <a:lnTo>
                    <a:pt x="70" y="159"/>
                  </a:lnTo>
                  <a:lnTo>
                    <a:pt x="69" y="158"/>
                  </a:lnTo>
                  <a:close/>
                  <a:moveTo>
                    <a:pt x="75" y="152"/>
                  </a:moveTo>
                  <a:lnTo>
                    <a:pt x="76" y="152"/>
                  </a:lnTo>
                  <a:lnTo>
                    <a:pt x="79" y="154"/>
                  </a:lnTo>
                  <a:lnTo>
                    <a:pt x="80" y="154"/>
                  </a:lnTo>
                  <a:lnTo>
                    <a:pt x="80" y="156"/>
                  </a:lnTo>
                  <a:lnTo>
                    <a:pt x="81" y="157"/>
                  </a:lnTo>
                  <a:lnTo>
                    <a:pt x="82" y="157"/>
                  </a:lnTo>
                  <a:lnTo>
                    <a:pt x="82" y="159"/>
                  </a:lnTo>
                  <a:lnTo>
                    <a:pt x="81" y="159"/>
                  </a:lnTo>
                  <a:lnTo>
                    <a:pt x="81" y="158"/>
                  </a:lnTo>
                  <a:lnTo>
                    <a:pt x="80" y="158"/>
                  </a:lnTo>
                  <a:lnTo>
                    <a:pt x="79" y="157"/>
                  </a:lnTo>
                  <a:lnTo>
                    <a:pt x="79" y="156"/>
                  </a:lnTo>
                  <a:lnTo>
                    <a:pt x="76" y="156"/>
                  </a:lnTo>
                  <a:lnTo>
                    <a:pt x="76" y="154"/>
                  </a:lnTo>
                  <a:lnTo>
                    <a:pt x="75" y="152"/>
                  </a:lnTo>
                  <a:close/>
                  <a:moveTo>
                    <a:pt x="64" y="150"/>
                  </a:moveTo>
                  <a:lnTo>
                    <a:pt x="73" y="158"/>
                  </a:lnTo>
                  <a:lnTo>
                    <a:pt x="72" y="159"/>
                  </a:lnTo>
                  <a:lnTo>
                    <a:pt x="70" y="157"/>
                  </a:lnTo>
                  <a:lnTo>
                    <a:pt x="69" y="157"/>
                  </a:lnTo>
                  <a:lnTo>
                    <a:pt x="69" y="158"/>
                  </a:lnTo>
                  <a:lnTo>
                    <a:pt x="68" y="157"/>
                  </a:lnTo>
                  <a:lnTo>
                    <a:pt x="67" y="154"/>
                  </a:lnTo>
                  <a:lnTo>
                    <a:pt x="66" y="153"/>
                  </a:lnTo>
                  <a:lnTo>
                    <a:pt x="64" y="150"/>
                  </a:lnTo>
                  <a:close/>
                  <a:moveTo>
                    <a:pt x="63" y="148"/>
                  </a:moveTo>
                  <a:lnTo>
                    <a:pt x="64" y="148"/>
                  </a:lnTo>
                  <a:lnTo>
                    <a:pt x="64" y="150"/>
                  </a:lnTo>
                  <a:lnTo>
                    <a:pt x="63" y="148"/>
                  </a:lnTo>
                  <a:close/>
                  <a:moveTo>
                    <a:pt x="67" y="144"/>
                  </a:moveTo>
                  <a:lnTo>
                    <a:pt x="73" y="148"/>
                  </a:lnTo>
                  <a:lnTo>
                    <a:pt x="74" y="150"/>
                  </a:lnTo>
                  <a:lnTo>
                    <a:pt x="70" y="150"/>
                  </a:lnTo>
                  <a:lnTo>
                    <a:pt x="70" y="148"/>
                  </a:lnTo>
                  <a:lnTo>
                    <a:pt x="69" y="147"/>
                  </a:lnTo>
                  <a:lnTo>
                    <a:pt x="68" y="145"/>
                  </a:lnTo>
                  <a:lnTo>
                    <a:pt x="67" y="145"/>
                  </a:lnTo>
                  <a:lnTo>
                    <a:pt x="67" y="144"/>
                  </a:lnTo>
                  <a:close/>
                  <a:moveTo>
                    <a:pt x="56" y="144"/>
                  </a:moveTo>
                  <a:lnTo>
                    <a:pt x="58" y="144"/>
                  </a:lnTo>
                  <a:lnTo>
                    <a:pt x="61" y="145"/>
                  </a:lnTo>
                  <a:lnTo>
                    <a:pt x="61" y="146"/>
                  </a:lnTo>
                  <a:lnTo>
                    <a:pt x="62" y="146"/>
                  </a:lnTo>
                  <a:lnTo>
                    <a:pt x="62" y="147"/>
                  </a:lnTo>
                  <a:lnTo>
                    <a:pt x="64" y="147"/>
                  </a:lnTo>
                  <a:lnTo>
                    <a:pt x="63" y="148"/>
                  </a:lnTo>
                  <a:lnTo>
                    <a:pt x="62" y="148"/>
                  </a:lnTo>
                  <a:lnTo>
                    <a:pt x="58" y="145"/>
                  </a:lnTo>
                  <a:lnTo>
                    <a:pt x="57" y="145"/>
                  </a:lnTo>
                  <a:lnTo>
                    <a:pt x="56" y="144"/>
                  </a:lnTo>
                  <a:close/>
                  <a:moveTo>
                    <a:pt x="57" y="142"/>
                  </a:moveTo>
                  <a:lnTo>
                    <a:pt x="58" y="142"/>
                  </a:lnTo>
                  <a:lnTo>
                    <a:pt x="58" y="144"/>
                  </a:lnTo>
                  <a:lnTo>
                    <a:pt x="57" y="142"/>
                  </a:lnTo>
                  <a:close/>
                  <a:moveTo>
                    <a:pt x="53" y="136"/>
                  </a:moveTo>
                  <a:lnTo>
                    <a:pt x="54" y="136"/>
                  </a:lnTo>
                  <a:lnTo>
                    <a:pt x="54" y="138"/>
                  </a:lnTo>
                  <a:lnTo>
                    <a:pt x="53" y="136"/>
                  </a:lnTo>
                  <a:close/>
                  <a:moveTo>
                    <a:pt x="54" y="135"/>
                  </a:moveTo>
                  <a:lnTo>
                    <a:pt x="55" y="136"/>
                  </a:lnTo>
                  <a:lnTo>
                    <a:pt x="54" y="136"/>
                  </a:lnTo>
                  <a:lnTo>
                    <a:pt x="54" y="135"/>
                  </a:lnTo>
                  <a:close/>
                  <a:moveTo>
                    <a:pt x="47" y="132"/>
                  </a:moveTo>
                  <a:lnTo>
                    <a:pt x="48" y="133"/>
                  </a:lnTo>
                  <a:lnTo>
                    <a:pt x="49" y="133"/>
                  </a:lnTo>
                  <a:lnTo>
                    <a:pt x="49" y="134"/>
                  </a:lnTo>
                  <a:lnTo>
                    <a:pt x="47" y="133"/>
                  </a:lnTo>
                  <a:lnTo>
                    <a:pt x="47" y="132"/>
                  </a:lnTo>
                  <a:close/>
                  <a:moveTo>
                    <a:pt x="70" y="130"/>
                  </a:moveTo>
                  <a:lnTo>
                    <a:pt x="70" y="132"/>
                  </a:lnTo>
                  <a:lnTo>
                    <a:pt x="72" y="132"/>
                  </a:lnTo>
                  <a:lnTo>
                    <a:pt x="70" y="130"/>
                  </a:lnTo>
                  <a:close/>
                  <a:moveTo>
                    <a:pt x="54" y="128"/>
                  </a:moveTo>
                  <a:lnTo>
                    <a:pt x="55" y="128"/>
                  </a:lnTo>
                  <a:lnTo>
                    <a:pt x="55" y="130"/>
                  </a:lnTo>
                  <a:lnTo>
                    <a:pt x="56" y="130"/>
                  </a:lnTo>
                  <a:lnTo>
                    <a:pt x="56" y="132"/>
                  </a:lnTo>
                  <a:lnTo>
                    <a:pt x="55" y="133"/>
                  </a:lnTo>
                  <a:lnTo>
                    <a:pt x="55" y="132"/>
                  </a:lnTo>
                  <a:lnTo>
                    <a:pt x="54" y="132"/>
                  </a:lnTo>
                  <a:lnTo>
                    <a:pt x="54" y="128"/>
                  </a:lnTo>
                  <a:close/>
                  <a:moveTo>
                    <a:pt x="41" y="121"/>
                  </a:moveTo>
                  <a:lnTo>
                    <a:pt x="42" y="121"/>
                  </a:lnTo>
                  <a:lnTo>
                    <a:pt x="44" y="123"/>
                  </a:lnTo>
                  <a:lnTo>
                    <a:pt x="44" y="124"/>
                  </a:lnTo>
                  <a:lnTo>
                    <a:pt x="43" y="124"/>
                  </a:lnTo>
                  <a:lnTo>
                    <a:pt x="42" y="123"/>
                  </a:lnTo>
                  <a:lnTo>
                    <a:pt x="41" y="121"/>
                  </a:lnTo>
                  <a:close/>
                  <a:moveTo>
                    <a:pt x="41" y="120"/>
                  </a:moveTo>
                  <a:lnTo>
                    <a:pt x="42" y="121"/>
                  </a:lnTo>
                  <a:lnTo>
                    <a:pt x="41" y="120"/>
                  </a:lnTo>
                  <a:close/>
                  <a:moveTo>
                    <a:pt x="32" y="114"/>
                  </a:moveTo>
                  <a:lnTo>
                    <a:pt x="32" y="116"/>
                  </a:lnTo>
                  <a:lnTo>
                    <a:pt x="31" y="116"/>
                  </a:lnTo>
                  <a:lnTo>
                    <a:pt x="31" y="115"/>
                  </a:lnTo>
                  <a:lnTo>
                    <a:pt x="32" y="114"/>
                  </a:lnTo>
                  <a:close/>
                  <a:moveTo>
                    <a:pt x="32" y="113"/>
                  </a:moveTo>
                  <a:lnTo>
                    <a:pt x="33" y="113"/>
                  </a:lnTo>
                  <a:lnTo>
                    <a:pt x="33" y="114"/>
                  </a:lnTo>
                  <a:lnTo>
                    <a:pt x="32" y="114"/>
                  </a:lnTo>
                  <a:lnTo>
                    <a:pt x="32" y="113"/>
                  </a:lnTo>
                  <a:close/>
                  <a:moveTo>
                    <a:pt x="53" y="111"/>
                  </a:moveTo>
                  <a:lnTo>
                    <a:pt x="55" y="113"/>
                  </a:lnTo>
                  <a:lnTo>
                    <a:pt x="57" y="117"/>
                  </a:lnTo>
                  <a:lnTo>
                    <a:pt x="58" y="118"/>
                  </a:lnTo>
                  <a:lnTo>
                    <a:pt x="58" y="116"/>
                  </a:lnTo>
                  <a:lnTo>
                    <a:pt x="60" y="116"/>
                  </a:lnTo>
                  <a:lnTo>
                    <a:pt x="62" y="118"/>
                  </a:lnTo>
                  <a:lnTo>
                    <a:pt x="63" y="121"/>
                  </a:lnTo>
                  <a:lnTo>
                    <a:pt x="64" y="121"/>
                  </a:lnTo>
                  <a:lnTo>
                    <a:pt x="67" y="123"/>
                  </a:lnTo>
                  <a:lnTo>
                    <a:pt x="67" y="124"/>
                  </a:lnTo>
                  <a:lnTo>
                    <a:pt x="66" y="124"/>
                  </a:lnTo>
                  <a:lnTo>
                    <a:pt x="64" y="123"/>
                  </a:lnTo>
                  <a:lnTo>
                    <a:pt x="64" y="122"/>
                  </a:lnTo>
                  <a:lnTo>
                    <a:pt x="62" y="121"/>
                  </a:lnTo>
                  <a:lnTo>
                    <a:pt x="61" y="121"/>
                  </a:lnTo>
                  <a:lnTo>
                    <a:pt x="61" y="120"/>
                  </a:lnTo>
                  <a:lnTo>
                    <a:pt x="60" y="120"/>
                  </a:lnTo>
                  <a:lnTo>
                    <a:pt x="60" y="121"/>
                  </a:lnTo>
                  <a:lnTo>
                    <a:pt x="62" y="122"/>
                  </a:lnTo>
                  <a:lnTo>
                    <a:pt x="66" y="127"/>
                  </a:lnTo>
                  <a:lnTo>
                    <a:pt x="67" y="128"/>
                  </a:lnTo>
                  <a:lnTo>
                    <a:pt x="68" y="128"/>
                  </a:lnTo>
                  <a:lnTo>
                    <a:pt x="67" y="128"/>
                  </a:lnTo>
                  <a:lnTo>
                    <a:pt x="67" y="127"/>
                  </a:lnTo>
                  <a:lnTo>
                    <a:pt x="66" y="126"/>
                  </a:lnTo>
                  <a:lnTo>
                    <a:pt x="66" y="124"/>
                  </a:lnTo>
                  <a:lnTo>
                    <a:pt x="67" y="126"/>
                  </a:lnTo>
                  <a:lnTo>
                    <a:pt x="72" y="129"/>
                  </a:lnTo>
                  <a:lnTo>
                    <a:pt x="72" y="130"/>
                  </a:lnTo>
                  <a:lnTo>
                    <a:pt x="73" y="130"/>
                  </a:lnTo>
                  <a:lnTo>
                    <a:pt x="74" y="132"/>
                  </a:lnTo>
                  <a:lnTo>
                    <a:pt x="74" y="133"/>
                  </a:lnTo>
                  <a:lnTo>
                    <a:pt x="73" y="132"/>
                  </a:lnTo>
                  <a:lnTo>
                    <a:pt x="73" y="134"/>
                  </a:lnTo>
                  <a:lnTo>
                    <a:pt x="72" y="134"/>
                  </a:lnTo>
                  <a:lnTo>
                    <a:pt x="70" y="133"/>
                  </a:lnTo>
                  <a:lnTo>
                    <a:pt x="69" y="133"/>
                  </a:lnTo>
                  <a:lnTo>
                    <a:pt x="72" y="134"/>
                  </a:lnTo>
                  <a:lnTo>
                    <a:pt x="72" y="135"/>
                  </a:lnTo>
                  <a:lnTo>
                    <a:pt x="70" y="135"/>
                  </a:lnTo>
                  <a:lnTo>
                    <a:pt x="69" y="134"/>
                  </a:lnTo>
                  <a:lnTo>
                    <a:pt x="68" y="134"/>
                  </a:lnTo>
                  <a:lnTo>
                    <a:pt x="68" y="130"/>
                  </a:lnTo>
                  <a:lnTo>
                    <a:pt x="69" y="129"/>
                  </a:lnTo>
                  <a:lnTo>
                    <a:pt x="66" y="129"/>
                  </a:lnTo>
                  <a:lnTo>
                    <a:pt x="64" y="127"/>
                  </a:lnTo>
                  <a:lnTo>
                    <a:pt x="62" y="126"/>
                  </a:lnTo>
                  <a:lnTo>
                    <a:pt x="62" y="124"/>
                  </a:lnTo>
                  <a:lnTo>
                    <a:pt x="60" y="123"/>
                  </a:lnTo>
                  <a:lnTo>
                    <a:pt x="61" y="123"/>
                  </a:lnTo>
                  <a:lnTo>
                    <a:pt x="60" y="122"/>
                  </a:lnTo>
                  <a:lnTo>
                    <a:pt x="58" y="120"/>
                  </a:lnTo>
                  <a:lnTo>
                    <a:pt x="54" y="114"/>
                  </a:lnTo>
                  <a:lnTo>
                    <a:pt x="53" y="113"/>
                  </a:lnTo>
                  <a:lnTo>
                    <a:pt x="53" y="111"/>
                  </a:lnTo>
                  <a:close/>
                  <a:moveTo>
                    <a:pt x="36" y="110"/>
                  </a:moveTo>
                  <a:lnTo>
                    <a:pt x="37" y="111"/>
                  </a:lnTo>
                  <a:lnTo>
                    <a:pt x="38" y="111"/>
                  </a:lnTo>
                  <a:lnTo>
                    <a:pt x="38" y="116"/>
                  </a:lnTo>
                  <a:lnTo>
                    <a:pt x="39" y="117"/>
                  </a:lnTo>
                  <a:lnTo>
                    <a:pt x="41" y="120"/>
                  </a:lnTo>
                  <a:lnTo>
                    <a:pt x="39" y="118"/>
                  </a:lnTo>
                  <a:lnTo>
                    <a:pt x="38" y="118"/>
                  </a:lnTo>
                  <a:lnTo>
                    <a:pt x="38" y="120"/>
                  </a:lnTo>
                  <a:lnTo>
                    <a:pt x="37" y="120"/>
                  </a:lnTo>
                  <a:lnTo>
                    <a:pt x="37" y="118"/>
                  </a:lnTo>
                  <a:lnTo>
                    <a:pt x="38" y="117"/>
                  </a:lnTo>
                  <a:lnTo>
                    <a:pt x="37" y="116"/>
                  </a:lnTo>
                  <a:lnTo>
                    <a:pt x="36" y="114"/>
                  </a:lnTo>
                  <a:lnTo>
                    <a:pt x="36" y="110"/>
                  </a:lnTo>
                  <a:close/>
                  <a:moveTo>
                    <a:pt x="18" y="105"/>
                  </a:moveTo>
                  <a:lnTo>
                    <a:pt x="18" y="107"/>
                  </a:lnTo>
                  <a:lnTo>
                    <a:pt x="17" y="107"/>
                  </a:lnTo>
                  <a:lnTo>
                    <a:pt x="18" y="105"/>
                  </a:lnTo>
                  <a:close/>
                  <a:moveTo>
                    <a:pt x="17" y="104"/>
                  </a:moveTo>
                  <a:lnTo>
                    <a:pt x="18" y="104"/>
                  </a:lnTo>
                  <a:lnTo>
                    <a:pt x="18" y="105"/>
                  </a:lnTo>
                  <a:lnTo>
                    <a:pt x="17" y="104"/>
                  </a:lnTo>
                  <a:close/>
                  <a:moveTo>
                    <a:pt x="53" y="102"/>
                  </a:moveTo>
                  <a:lnTo>
                    <a:pt x="54" y="103"/>
                  </a:lnTo>
                  <a:lnTo>
                    <a:pt x="53" y="104"/>
                  </a:lnTo>
                  <a:lnTo>
                    <a:pt x="54" y="104"/>
                  </a:lnTo>
                  <a:lnTo>
                    <a:pt x="55" y="107"/>
                  </a:lnTo>
                  <a:lnTo>
                    <a:pt x="56" y="107"/>
                  </a:lnTo>
                  <a:lnTo>
                    <a:pt x="57" y="109"/>
                  </a:lnTo>
                  <a:lnTo>
                    <a:pt x="57" y="111"/>
                  </a:lnTo>
                  <a:lnTo>
                    <a:pt x="53" y="107"/>
                  </a:lnTo>
                  <a:lnTo>
                    <a:pt x="53" y="108"/>
                  </a:lnTo>
                  <a:lnTo>
                    <a:pt x="51" y="108"/>
                  </a:lnTo>
                  <a:lnTo>
                    <a:pt x="49" y="105"/>
                  </a:lnTo>
                  <a:lnTo>
                    <a:pt x="53" y="105"/>
                  </a:lnTo>
                  <a:lnTo>
                    <a:pt x="51" y="104"/>
                  </a:lnTo>
                  <a:lnTo>
                    <a:pt x="51" y="103"/>
                  </a:lnTo>
                  <a:lnTo>
                    <a:pt x="53" y="103"/>
                  </a:lnTo>
                  <a:lnTo>
                    <a:pt x="53" y="102"/>
                  </a:lnTo>
                  <a:close/>
                  <a:moveTo>
                    <a:pt x="13" y="101"/>
                  </a:moveTo>
                  <a:lnTo>
                    <a:pt x="14" y="102"/>
                  </a:lnTo>
                  <a:lnTo>
                    <a:pt x="13" y="102"/>
                  </a:lnTo>
                  <a:lnTo>
                    <a:pt x="13" y="101"/>
                  </a:lnTo>
                  <a:close/>
                  <a:moveTo>
                    <a:pt x="25" y="96"/>
                  </a:moveTo>
                  <a:lnTo>
                    <a:pt x="25" y="97"/>
                  </a:lnTo>
                  <a:lnTo>
                    <a:pt x="24" y="97"/>
                  </a:lnTo>
                  <a:lnTo>
                    <a:pt x="25" y="96"/>
                  </a:lnTo>
                  <a:close/>
                  <a:moveTo>
                    <a:pt x="23" y="91"/>
                  </a:moveTo>
                  <a:lnTo>
                    <a:pt x="24" y="92"/>
                  </a:lnTo>
                  <a:lnTo>
                    <a:pt x="23" y="93"/>
                  </a:lnTo>
                  <a:lnTo>
                    <a:pt x="25" y="93"/>
                  </a:lnTo>
                  <a:lnTo>
                    <a:pt x="24" y="92"/>
                  </a:lnTo>
                  <a:lnTo>
                    <a:pt x="24" y="91"/>
                  </a:lnTo>
                  <a:lnTo>
                    <a:pt x="23" y="91"/>
                  </a:lnTo>
                  <a:close/>
                  <a:moveTo>
                    <a:pt x="35" y="83"/>
                  </a:moveTo>
                  <a:lnTo>
                    <a:pt x="36" y="83"/>
                  </a:lnTo>
                  <a:lnTo>
                    <a:pt x="37" y="84"/>
                  </a:lnTo>
                  <a:lnTo>
                    <a:pt x="37" y="89"/>
                  </a:lnTo>
                  <a:lnTo>
                    <a:pt x="39" y="93"/>
                  </a:lnTo>
                  <a:lnTo>
                    <a:pt x="39" y="95"/>
                  </a:lnTo>
                  <a:lnTo>
                    <a:pt x="42" y="95"/>
                  </a:lnTo>
                  <a:lnTo>
                    <a:pt x="42" y="96"/>
                  </a:lnTo>
                  <a:lnTo>
                    <a:pt x="41" y="97"/>
                  </a:lnTo>
                  <a:lnTo>
                    <a:pt x="41" y="102"/>
                  </a:lnTo>
                  <a:lnTo>
                    <a:pt x="42" y="104"/>
                  </a:lnTo>
                  <a:lnTo>
                    <a:pt x="42" y="105"/>
                  </a:lnTo>
                  <a:lnTo>
                    <a:pt x="41" y="105"/>
                  </a:lnTo>
                  <a:lnTo>
                    <a:pt x="41" y="107"/>
                  </a:lnTo>
                  <a:lnTo>
                    <a:pt x="42" y="107"/>
                  </a:lnTo>
                  <a:lnTo>
                    <a:pt x="42" y="111"/>
                  </a:lnTo>
                  <a:lnTo>
                    <a:pt x="43" y="113"/>
                  </a:lnTo>
                  <a:lnTo>
                    <a:pt x="43" y="115"/>
                  </a:lnTo>
                  <a:lnTo>
                    <a:pt x="44" y="115"/>
                  </a:lnTo>
                  <a:lnTo>
                    <a:pt x="44" y="116"/>
                  </a:lnTo>
                  <a:lnTo>
                    <a:pt x="42" y="116"/>
                  </a:lnTo>
                  <a:lnTo>
                    <a:pt x="39" y="114"/>
                  </a:lnTo>
                  <a:lnTo>
                    <a:pt x="38" y="111"/>
                  </a:lnTo>
                  <a:lnTo>
                    <a:pt x="38" y="108"/>
                  </a:lnTo>
                  <a:lnTo>
                    <a:pt x="37" y="108"/>
                  </a:lnTo>
                  <a:lnTo>
                    <a:pt x="37" y="104"/>
                  </a:lnTo>
                  <a:lnTo>
                    <a:pt x="36" y="104"/>
                  </a:lnTo>
                  <a:lnTo>
                    <a:pt x="36" y="103"/>
                  </a:lnTo>
                  <a:lnTo>
                    <a:pt x="35" y="99"/>
                  </a:lnTo>
                  <a:lnTo>
                    <a:pt x="33" y="99"/>
                  </a:lnTo>
                  <a:lnTo>
                    <a:pt x="33" y="98"/>
                  </a:lnTo>
                  <a:lnTo>
                    <a:pt x="35" y="98"/>
                  </a:lnTo>
                  <a:lnTo>
                    <a:pt x="33" y="97"/>
                  </a:lnTo>
                  <a:lnTo>
                    <a:pt x="36" y="97"/>
                  </a:lnTo>
                  <a:lnTo>
                    <a:pt x="36" y="98"/>
                  </a:lnTo>
                  <a:lnTo>
                    <a:pt x="37" y="99"/>
                  </a:lnTo>
                  <a:lnTo>
                    <a:pt x="38" y="99"/>
                  </a:lnTo>
                  <a:lnTo>
                    <a:pt x="38" y="97"/>
                  </a:lnTo>
                  <a:lnTo>
                    <a:pt x="39" y="96"/>
                  </a:lnTo>
                  <a:lnTo>
                    <a:pt x="38" y="96"/>
                  </a:lnTo>
                  <a:lnTo>
                    <a:pt x="37" y="95"/>
                  </a:lnTo>
                  <a:lnTo>
                    <a:pt x="36" y="91"/>
                  </a:lnTo>
                  <a:lnTo>
                    <a:pt x="36" y="90"/>
                  </a:lnTo>
                  <a:lnTo>
                    <a:pt x="33" y="87"/>
                  </a:lnTo>
                  <a:lnTo>
                    <a:pt x="33" y="85"/>
                  </a:lnTo>
                  <a:lnTo>
                    <a:pt x="35" y="84"/>
                  </a:lnTo>
                  <a:lnTo>
                    <a:pt x="35" y="83"/>
                  </a:lnTo>
                  <a:close/>
                  <a:moveTo>
                    <a:pt x="44" y="79"/>
                  </a:moveTo>
                  <a:lnTo>
                    <a:pt x="47" y="79"/>
                  </a:lnTo>
                  <a:lnTo>
                    <a:pt x="47" y="80"/>
                  </a:lnTo>
                  <a:lnTo>
                    <a:pt x="48" y="81"/>
                  </a:lnTo>
                  <a:lnTo>
                    <a:pt x="48" y="83"/>
                  </a:lnTo>
                  <a:lnTo>
                    <a:pt x="47" y="84"/>
                  </a:lnTo>
                  <a:lnTo>
                    <a:pt x="50" y="84"/>
                  </a:lnTo>
                  <a:lnTo>
                    <a:pt x="50" y="85"/>
                  </a:lnTo>
                  <a:lnTo>
                    <a:pt x="49" y="87"/>
                  </a:lnTo>
                  <a:lnTo>
                    <a:pt x="50" y="89"/>
                  </a:lnTo>
                  <a:lnTo>
                    <a:pt x="53" y="89"/>
                  </a:lnTo>
                  <a:lnTo>
                    <a:pt x="53" y="91"/>
                  </a:lnTo>
                  <a:lnTo>
                    <a:pt x="56" y="95"/>
                  </a:lnTo>
                  <a:lnTo>
                    <a:pt x="55" y="95"/>
                  </a:lnTo>
                  <a:lnTo>
                    <a:pt x="55" y="96"/>
                  </a:lnTo>
                  <a:lnTo>
                    <a:pt x="54" y="95"/>
                  </a:lnTo>
                  <a:lnTo>
                    <a:pt x="54" y="97"/>
                  </a:lnTo>
                  <a:lnTo>
                    <a:pt x="51" y="97"/>
                  </a:lnTo>
                  <a:lnTo>
                    <a:pt x="49" y="96"/>
                  </a:lnTo>
                  <a:lnTo>
                    <a:pt x="48" y="95"/>
                  </a:lnTo>
                  <a:lnTo>
                    <a:pt x="48" y="91"/>
                  </a:lnTo>
                  <a:lnTo>
                    <a:pt x="47" y="91"/>
                  </a:lnTo>
                  <a:lnTo>
                    <a:pt x="48" y="92"/>
                  </a:lnTo>
                  <a:lnTo>
                    <a:pt x="47" y="92"/>
                  </a:lnTo>
                  <a:lnTo>
                    <a:pt x="43" y="91"/>
                  </a:lnTo>
                  <a:lnTo>
                    <a:pt x="42" y="91"/>
                  </a:lnTo>
                  <a:lnTo>
                    <a:pt x="39" y="89"/>
                  </a:lnTo>
                  <a:lnTo>
                    <a:pt x="39" y="87"/>
                  </a:lnTo>
                  <a:lnTo>
                    <a:pt x="42" y="87"/>
                  </a:lnTo>
                  <a:lnTo>
                    <a:pt x="42" y="86"/>
                  </a:lnTo>
                  <a:lnTo>
                    <a:pt x="43" y="86"/>
                  </a:lnTo>
                  <a:lnTo>
                    <a:pt x="44" y="85"/>
                  </a:lnTo>
                  <a:lnTo>
                    <a:pt x="44" y="81"/>
                  </a:lnTo>
                  <a:lnTo>
                    <a:pt x="45" y="80"/>
                  </a:lnTo>
                  <a:lnTo>
                    <a:pt x="44" y="80"/>
                  </a:lnTo>
                  <a:lnTo>
                    <a:pt x="44" y="79"/>
                  </a:lnTo>
                  <a:close/>
                  <a:moveTo>
                    <a:pt x="228" y="37"/>
                  </a:moveTo>
                  <a:lnTo>
                    <a:pt x="229" y="37"/>
                  </a:lnTo>
                  <a:lnTo>
                    <a:pt x="229" y="38"/>
                  </a:lnTo>
                  <a:lnTo>
                    <a:pt x="228" y="38"/>
                  </a:lnTo>
                  <a:lnTo>
                    <a:pt x="228" y="37"/>
                  </a:lnTo>
                  <a:close/>
                  <a:moveTo>
                    <a:pt x="120" y="0"/>
                  </a:moveTo>
                  <a:lnTo>
                    <a:pt x="124" y="0"/>
                  </a:lnTo>
                  <a:lnTo>
                    <a:pt x="124" y="1"/>
                  </a:lnTo>
                  <a:lnTo>
                    <a:pt x="126" y="1"/>
                  </a:lnTo>
                  <a:lnTo>
                    <a:pt x="128" y="3"/>
                  </a:lnTo>
                  <a:lnTo>
                    <a:pt x="130" y="4"/>
                  </a:lnTo>
                  <a:lnTo>
                    <a:pt x="130" y="5"/>
                  </a:lnTo>
                  <a:lnTo>
                    <a:pt x="131" y="5"/>
                  </a:lnTo>
                  <a:lnTo>
                    <a:pt x="131" y="4"/>
                  </a:lnTo>
                  <a:lnTo>
                    <a:pt x="132" y="4"/>
                  </a:lnTo>
                  <a:lnTo>
                    <a:pt x="135" y="6"/>
                  </a:lnTo>
                  <a:lnTo>
                    <a:pt x="135" y="7"/>
                  </a:lnTo>
                  <a:lnTo>
                    <a:pt x="136" y="9"/>
                  </a:lnTo>
                  <a:lnTo>
                    <a:pt x="137" y="9"/>
                  </a:lnTo>
                  <a:lnTo>
                    <a:pt x="138" y="10"/>
                  </a:lnTo>
                  <a:lnTo>
                    <a:pt x="142" y="10"/>
                  </a:lnTo>
                  <a:lnTo>
                    <a:pt x="142" y="11"/>
                  </a:lnTo>
                  <a:lnTo>
                    <a:pt x="143" y="12"/>
                  </a:lnTo>
                  <a:lnTo>
                    <a:pt x="143" y="16"/>
                  </a:lnTo>
                  <a:lnTo>
                    <a:pt x="144" y="16"/>
                  </a:lnTo>
                  <a:lnTo>
                    <a:pt x="147" y="21"/>
                  </a:lnTo>
                  <a:lnTo>
                    <a:pt x="149" y="23"/>
                  </a:lnTo>
                  <a:lnTo>
                    <a:pt x="150" y="23"/>
                  </a:lnTo>
                  <a:lnTo>
                    <a:pt x="150" y="24"/>
                  </a:lnTo>
                  <a:lnTo>
                    <a:pt x="153" y="25"/>
                  </a:lnTo>
                  <a:lnTo>
                    <a:pt x="156" y="27"/>
                  </a:lnTo>
                  <a:lnTo>
                    <a:pt x="157" y="27"/>
                  </a:lnTo>
                  <a:lnTo>
                    <a:pt x="160" y="31"/>
                  </a:lnTo>
                  <a:lnTo>
                    <a:pt x="160" y="32"/>
                  </a:lnTo>
                  <a:lnTo>
                    <a:pt x="161" y="32"/>
                  </a:lnTo>
                  <a:lnTo>
                    <a:pt x="161" y="35"/>
                  </a:lnTo>
                  <a:lnTo>
                    <a:pt x="162" y="35"/>
                  </a:lnTo>
                  <a:lnTo>
                    <a:pt x="162" y="36"/>
                  </a:lnTo>
                  <a:lnTo>
                    <a:pt x="165" y="36"/>
                  </a:lnTo>
                  <a:lnTo>
                    <a:pt x="166" y="37"/>
                  </a:lnTo>
                  <a:lnTo>
                    <a:pt x="166" y="36"/>
                  </a:lnTo>
                  <a:lnTo>
                    <a:pt x="172" y="36"/>
                  </a:lnTo>
                  <a:lnTo>
                    <a:pt x="175" y="40"/>
                  </a:lnTo>
                  <a:lnTo>
                    <a:pt x="175" y="43"/>
                  </a:lnTo>
                  <a:lnTo>
                    <a:pt x="178" y="43"/>
                  </a:lnTo>
                  <a:lnTo>
                    <a:pt x="182" y="44"/>
                  </a:lnTo>
                  <a:lnTo>
                    <a:pt x="185" y="47"/>
                  </a:lnTo>
                  <a:lnTo>
                    <a:pt x="185" y="46"/>
                  </a:lnTo>
                  <a:lnTo>
                    <a:pt x="190" y="46"/>
                  </a:lnTo>
                  <a:lnTo>
                    <a:pt x="193" y="47"/>
                  </a:lnTo>
                  <a:lnTo>
                    <a:pt x="200" y="47"/>
                  </a:lnTo>
                  <a:lnTo>
                    <a:pt x="202" y="48"/>
                  </a:lnTo>
                  <a:lnTo>
                    <a:pt x="206" y="48"/>
                  </a:lnTo>
                  <a:lnTo>
                    <a:pt x="206" y="49"/>
                  </a:lnTo>
                  <a:lnTo>
                    <a:pt x="207" y="49"/>
                  </a:lnTo>
                  <a:lnTo>
                    <a:pt x="211" y="46"/>
                  </a:lnTo>
                  <a:lnTo>
                    <a:pt x="211" y="47"/>
                  </a:lnTo>
                  <a:lnTo>
                    <a:pt x="212" y="46"/>
                  </a:lnTo>
                  <a:lnTo>
                    <a:pt x="215" y="44"/>
                  </a:lnTo>
                  <a:lnTo>
                    <a:pt x="215" y="43"/>
                  </a:lnTo>
                  <a:lnTo>
                    <a:pt x="217" y="41"/>
                  </a:lnTo>
                  <a:lnTo>
                    <a:pt x="217" y="40"/>
                  </a:lnTo>
                  <a:lnTo>
                    <a:pt x="218" y="38"/>
                  </a:lnTo>
                  <a:lnTo>
                    <a:pt x="219" y="38"/>
                  </a:lnTo>
                  <a:lnTo>
                    <a:pt x="221" y="40"/>
                  </a:lnTo>
                  <a:lnTo>
                    <a:pt x="223" y="41"/>
                  </a:lnTo>
                  <a:lnTo>
                    <a:pt x="223" y="40"/>
                  </a:lnTo>
                  <a:lnTo>
                    <a:pt x="224" y="40"/>
                  </a:lnTo>
                  <a:lnTo>
                    <a:pt x="224" y="38"/>
                  </a:lnTo>
                  <a:lnTo>
                    <a:pt x="228" y="38"/>
                  </a:lnTo>
                  <a:lnTo>
                    <a:pt x="228" y="41"/>
                  </a:lnTo>
                  <a:lnTo>
                    <a:pt x="229" y="41"/>
                  </a:lnTo>
                  <a:lnTo>
                    <a:pt x="228" y="42"/>
                  </a:lnTo>
                  <a:lnTo>
                    <a:pt x="227" y="42"/>
                  </a:lnTo>
                  <a:lnTo>
                    <a:pt x="227" y="46"/>
                  </a:lnTo>
                  <a:lnTo>
                    <a:pt x="229" y="48"/>
                  </a:lnTo>
                  <a:lnTo>
                    <a:pt x="229" y="52"/>
                  </a:lnTo>
                  <a:lnTo>
                    <a:pt x="230" y="52"/>
                  </a:lnTo>
                  <a:lnTo>
                    <a:pt x="231" y="53"/>
                  </a:lnTo>
                  <a:lnTo>
                    <a:pt x="231" y="54"/>
                  </a:lnTo>
                  <a:lnTo>
                    <a:pt x="229" y="56"/>
                  </a:lnTo>
                  <a:lnTo>
                    <a:pt x="229" y="60"/>
                  </a:lnTo>
                  <a:lnTo>
                    <a:pt x="230" y="61"/>
                  </a:lnTo>
                  <a:lnTo>
                    <a:pt x="231" y="61"/>
                  </a:lnTo>
                  <a:lnTo>
                    <a:pt x="231" y="60"/>
                  </a:lnTo>
                  <a:lnTo>
                    <a:pt x="234" y="60"/>
                  </a:lnTo>
                  <a:lnTo>
                    <a:pt x="234" y="61"/>
                  </a:lnTo>
                  <a:lnTo>
                    <a:pt x="236" y="61"/>
                  </a:lnTo>
                  <a:lnTo>
                    <a:pt x="236" y="62"/>
                  </a:lnTo>
                  <a:lnTo>
                    <a:pt x="237" y="62"/>
                  </a:lnTo>
                  <a:lnTo>
                    <a:pt x="236" y="64"/>
                  </a:lnTo>
                  <a:lnTo>
                    <a:pt x="233" y="64"/>
                  </a:lnTo>
                  <a:lnTo>
                    <a:pt x="233" y="67"/>
                  </a:lnTo>
                  <a:lnTo>
                    <a:pt x="234" y="67"/>
                  </a:lnTo>
                  <a:lnTo>
                    <a:pt x="234" y="68"/>
                  </a:lnTo>
                  <a:lnTo>
                    <a:pt x="231" y="70"/>
                  </a:lnTo>
                  <a:lnTo>
                    <a:pt x="233" y="71"/>
                  </a:lnTo>
                  <a:lnTo>
                    <a:pt x="233" y="72"/>
                  </a:lnTo>
                  <a:lnTo>
                    <a:pt x="236" y="72"/>
                  </a:lnTo>
                  <a:lnTo>
                    <a:pt x="236" y="74"/>
                  </a:lnTo>
                  <a:lnTo>
                    <a:pt x="237" y="74"/>
                  </a:lnTo>
                  <a:lnTo>
                    <a:pt x="237" y="75"/>
                  </a:lnTo>
                  <a:lnTo>
                    <a:pt x="240" y="77"/>
                  </a:lnTo>
                  <a:lnTo>
                    <a:pt x="248" y="79"/>
                  </a:lnTo>
                  <a:lnTo>
                    <a:pt x="248" y="80"/>
                  </a:lnTo>
                  <a:lnTo>
                    <a:pt x="249" y="80"/>
                  </a:lnTo>
                  <a:lnTo>
                    <a:pt x="249" y="84"/>
                  </a:lnTo>
                  <a:lnTo>
                    <a:pt x="246" y="84"/>
                  </a:lnTo>
                  <a:lnTo>
                    <a:pt x="244" y="83"/>
                  </a:lnTo>
                  <a:lnTo>
                    <a:pt x="244" y="84"/>
                  </a:lnTo>
                  <a:lnTo>
                    <a:pt x="241" y="84"/>
                  </a:lnTo>
                  <a:lnTo>
                    <a:pt x="240" y="83"/>
                  </a:lnTo>
                  <a:lnTo>
                    <a:pt x="240" y="81"/>
                  </a:lnTo>
                  <a:lnTo>
                    <a:pt x="237" y="81"/>
                  </a:lnTo>
                  <a:lnTo>
                    <a:pt x="238" y="83"/>
                  </a:lnTo>
                  <a:lnTo>
                    <a:pt x="238" y="85"/>
                  </a:lnTo>
                  <a:lnTo>
                    <a:pt x="235" y="85"/>
                  </a:lnTo>
                  <a:lnTo>
                    <a:pt x="235" y="86"/>
                  </a:lnTo>
                  <a:lnTo>
                    <a:pt x="236" y="87"/>
                  </a:lnTo>
                  <a:lnTo>
                    <a:pt x="236" y="95"/>
                  </a:lnTo>
                  <a:lnTo>
                    <a:pt x="237" y="96"/>
                  </a:lnTo>
                  <a:lnTo>
                    <a:pt x="237" y="95"/>
                  </a:lnTo>
                  <a:lnTo>
                    <a:pt x="238" y="96"/>
                  </a:lnTo>
                  <a:lnTo>
                    <a:pt x="235" y="99"/>
                  </a:lnTo>
                  <a:lnTo>
                    <a:pt x="234" y="98"/>
                  </a:lnTo>
                  <a:lnTo>
                    <a:pt x="233" y="98"/>
                  </a:lnTo>
                  <a:lnTo>
                    <a:pt x="233" y="99"/>
                  </a:lnTo>
                  <a:lnTo>
                    <a:pt x="234" y="102"/>
                  </a:lnTo>
                  <a:lnTo>
                    <a:pt x="227" y="102"/>
                  </a:lnTo>
                  <a:lnTo>
                    <a:pt x="223" y="98"/>
                  </a:lnTo>
                  <a:lnTo>
                    <a:pt x="223" y="96"/>
                  </a:lnTo>
                  <a:lnTo>
                    <a:pt x="224" y="96"/>
                  </a:lnTo>
                  <a:lnTo>
                    <a:pt x="224" y="93"/>
                  </a:lnTo>
                  <a:lnTo>
                    <a:pt x="223" y="93"/>
                  </a:lnTo>
                  <a:lnTo>
                    <a:pt x="222" y="92"/>
                  </a:lnTo>
                  <a:lnTo>
                    <a:pt x="221" y="92"/>
                  </a:lnTo>
                  <a:lnTo>
                    <a:pt x="219" y="89"/>
                  </a:lnTo>
                  <a:lnTo>
                    <a:pt x="218" y="89"/>
                  </a:lnTo>
                  <a:lnTo>
                    <a:pt x="218" y="90"/>
                  </a:lnTo>
                  <a:lnTo>
                    <a:pt x="217" y="90"/>
                  </a:lnTo>
                  <a:lnTo>
                    <a:pt x="217" y="87"/>
                  </a:lnTo>
                  <a:lnTo>
                    <a:pt x="213" y="87"/>
                  </a:lnTo>
                  <a:lnTo>
                    <a:pt x="213" y="90"/>
                  </a:lnTo>
                  <a:lnTo>
                    <a:pt x="211" y="90"/>
                  </a:lnTo>
                  <a:lnTo>
                    <a:pt x="207" y="86"/>
                  </a:lnTo>
                  <a:lnTo>
                    <a:pt x="204" y="86"/>
                  </a:lnTo>
                  <a:lnTo>
                    <a:pt x="202" y="85"/>
                  </a:lnTo>
                  <a:lnTo>
                    <a:pt x="200" y="84"/>
                  </a:lnTo>
                  <a:lnTo>
                    <a:pt x="199" y="84"/>
                  </a:lnTo>
                  <a:lnTo>
                    <a:pt x="199" y="86"/>
                  </a:lnTo>
                  <a:lnTo>
                    <a:pt x="198" y="87"/>
                  </a:lnTo>
                  <a:lnTo>
                    <a:pt x="194" y="87"/>
                  </a:lnTo>
                  <a:lnTo>
                    <a:pt x="192" y="85"/>
                  </a:lnTo>
                  <a:lnTo>
                    <a:pt x="190" y="85"/>
                  </a:lnTo>
                  <a:lnTo>
                    <a:pt x="187" y="87"/>
                  </a:lnTo>
                  <a:lnTo>
                    <a:pt x="187" y="89"/>
                  </a:lnTo>
                  <a:lnTo>
                    <a:pt x="185" y="89"/>
                  </a:lnTo>
                  <a:lnTo>
                    <a:pt x="184" y="90"/>
                  </a:lnTo>
                  <a:lnTo>
                    <a:pt x="182" y="90"/>
                  </a:lnTo>
                  <a:lnTo>
                    <a:pt x="181" y="89"/>
                  </a:lnTo>
                  <a:lnTo>
                    <a:pt x="179" y="85"/>
                  </a:lnTo>
                  <a:lnTo>
                    <a:pt x="179" y="84"/>
                  </a:lnTo>
                  <a:lnTo>
                    <a:pt x="175" y="84"/>
                  </a:lnTo>
                  <a:lnTo>
                    <a:pt x="173" y="86"/>
                  </a:lnTo>
                  <a:lnTo>
                    <a:pt x="168" y="86"/>
                  </a:lnTo>
                  <a:lnTo>
                    <a:pt x="169" y="85"/>
                  </a:lnTo>
                  <a:lnTo>
                    <a:pt x="163" y="85"/>
                  </a:lnTo>
                  <a:lnTo>
                    <a:pt x="161" y="83"/>
                  </a:lnTo>
                  <a:lnTo>
                    <a:pt x="160" y="83"/>
                  </a:lnTo>
                  <a:lnTo>
                    <a:pt x="159" y="84"/>
                  </a:lnTo>
                  <a:lnTo>
                    <a:pt x="156" y="84"/>
                  </a:lnTo>
                  <a:lnTo>
                    <a:pt x="156" y="85"/>
                  </a:lnTo>
                  <a:lnTo>
                    <a:pt x="154" y="84"/>
                  </a:lnTo>
                  <a:lnTo>
                    <a:pt x="153" y="83"/>
                  </a:lnTo>
                  <a:lnTo>
                    <a:pt x="150" y="81"/>
                  </a:lnTo>
                  <a:lnTo>
                    <a:pt x="150" y="80"/>
                  </a:lnTo>
                  <a:lnTo>
                    <a:pt x="149" y="80"/>
                  </a:lnTo>
                  <a:lnTo>
                    <a:pt x="149" y="79"/>
                  </a:lnTo>
                  <a:lnTo>
                    <a:pt x="145" y="79"/>
                  </a:lnTo>
                  <a:lnTo>
                    <a:pt x="145" y="77"/>
                  </a:lnTo>
                  <a:lnTo>
                    <a:pt x="144" y="78"/>
                  </a:lnTo>
                  <a:lnTo>
                    <a:pt x="143" y="78"/>
                  </a:lnTo>
                  <a:lnTo>
                    <a:pt x="143" y="79"/>
                  </a:lnTo>
                  <a:lnTo>
                    <a:pt x="142" y="79"/>
                  </a:lnTo>
                  <a:lnTo>
                    <a:pt x="142" y="80"/>
                  </a:lnTo>
                  <a:lnTo>
                    <a:pt x="141" y="80"/>
                  </a:lnTo>
                  <a:lnTo>
                    <a:pt x="141" y="83"/>
                  </a:lnTo>
                  <a:lnTo>
                    <a:pt x="140" y="83"/>
                  </a:lnTo>
                  <a:lnTo>
                    <a:pt x="131" y="80"/>
                  </a:lnTo>
                  <a:lnTo>
                    <a:pt x="129" y="80"/>
                  </a:lnTo>
                  <a:lnTo>
                    <a:pt x="126" y="81"/>
                  </a:lnTo>
                  <a:lnTo>
                    <a:pt x="125" y="85"/>
                  </a:lnTo>
                  <a:lnTo>
                    <a:pt x="124" y="85"/>
                  </a:lnTo>
                  <a:lnTo>
                    <a:pt x="124" y="86"/>
                  </a:lnTo>
                  <a:lnTo>
                    <a:pt x="123" y="86"/>
                  </a:lnTo>
                  <a:lnTo>
                    <a:pt x="122" y="87"/>
                  </a:lnTo>
                  <a:lnTo>
                    <a:pt x="122" y="89"/>
                  </a:lnTo>
                  <a:lnTo>
                    <a:pt x="120" y="91"/>
                  </a:lnTo>
                  <a:lnTo>
                    <a:pt x="120" y="93"/>
                  </a:lnTo>
                  <a:lnTo>
                    <a:pt x="118" y="93"/>
                  </a:lnTo>
                  <a:lnTo>
                    <a:pt x="116" y="92"/>
                  </a:lnTo>
                  <a:lnTo>
                    <a:pt x="111" y="87"/>
                  </a:lnTo>
                  <a:lnTo>
                    <a:pt x="111" y="86"/>
                  </a:lnTo>
                  <a:lnTo>
                    <a:pt x="110" y="84"/>
                  </a:lnTo>
                  <a:lnTo>
                    <a:pt x="109" y="84"/>
                  </a:lnTo>
                  <a:lnTo>
                    <a:pt x="109" y="83"/>
                  </a:lnTo>
                  <a:lnTo>
                    <a:pt x="107" y="83"/>
                  </a:lnTo>
                  <a:lnTo>
                    <a:pt x="107" y="80"/>
                  </a:lnTo>
                  <a:lnTo>
                    <a:pt x="99" y="80"/>
                  </a:lnTo>
                  <a:lnTo>
                    <a:pt x="97" y="83"/>
                  </a:lnTo>
                  <a:lnTo>
                    <a:pt x="97" y="89"/>
                  </a:lnTo>
                  <a:lnTo>
                    <a:pt x="95" y="91"/>
                  </a:lnTo>
                  <a:lnTo>
                    <a:pt x="95" y="92"/>
                  </a:lnTo>
                  <a:lnTo>
                    <a:pt x="97" y="93"/>
                  </a:lnTo>
                  <a:lnTo>
                    <a:pt x="95" y="95"/>
                  </a:lnTo>
                  <a:lnTo>
                    <a:pt x="95" y="97"/>
                  </a:lnTo>
                  <a:lnTo>
                    <a:pt x="94" y="97"/>
                  </a:lnTo>
                  <a:lnTo>
                    <a:pt x="94" y="99"/>
                  </a:lnTo>
                  <a:lnTo>
                    <a:pt x="95" y="101"/>
                  </a:lnTo>
                  <a:lnTo>
                    <a:pt x="95" y="102"/>
                  </a:lnTo>
                  <a:lnTo>
                    <a:pt x="97" y="103"/>
                  </a:lnTo>
                  <a:lnTo>
                    <a:pt x="97" y="104"/>
                  </a:lnTo>
                  <a:lnTo>
                    <a:pt x="94" y="104"/>
                  </a:lnTo>
                  <a:lnTo>
                    <a:pt x="94" y="108"/>
                  </a:lnTo>
                  <a:lnTo>
                    <a:pt x="98" y="111"/>
                  </a:lnTo>
                  <a:lnTo>
                    <a:pt x="100" y="111"/>
                  </a:lnTo>
                  <a:lnTo>
                    <a:pt x="100" y="110"/>
                  </a:lnTo>
                  <a:lnTo>
                    <a:pt x="101" y="110"/>
                  </a:lnTo>
                  <a:lnTo>
                    <a:pt x="101" y="111"/>
                  </a:lnTo>
                  <a:lnTo>
                    <a:pt x="103" y="111"/>
                  </a:lnTo>
                  <a:lnTo>
                    <a:pt x="104" y="113"/>
                  </a:lnTo>
                  <a:lnTo>
                    <a:pt x="104" y="114"/>
                  </a:lnTo>
                  <a:lnTo>
                    <a:pt x="105" y="115"/>
                  </a:lnTo>
                  <a:lnTo>
                    <a:pt x="106" y="115"/>
                  </a:lnTo>
                  <a:lnTo>
                    <a:pt x="107" y="116"/>
                  </a:lnTo>
                  <a:lnTo>
                    <a:pt x="107" y="118"/>
                  </a:lnTo>
                  <a:lnTo>
                    <a:pt x="106" y="120"/>
                  </a:lnTo>
                  <a:lnTo>
                    <a:pt x="106" y="121"/>
                  </a:lnTo>
                  <a:lnTo>
                    <a:pt x="107" y="122"/>
                  </a:lnTo>
                  <a:lnTo>
                    <a:pt x="109" y="122"/>
                  </a:lnTo>
                  <a:lnTo>
                    <a:pt x="110" y="121"/>
                  </a:lnTo>
                  <a:lnTo>
                    <a:pt x="111" y="121"/>
                  </a:lnTo>
                  <a:lnTo>
                    <a:pt x="111" y="124"/>
                  </a:lnTo>
                  <a:lnTo>
                    <a:pt x="112" y="127"/>
                  </a:lnTo>
                  <a:lnTo>
                    <a:pt x="113" y="128"/>
                  </a:lnTo>
                  <a:lnTo>
                    <a:pt x="113" y="129"/>
                  </a:lnTo>
                  <a:lnTo>
                    <a:pt x="112" y="129"/>
                  </a:lnTo>
                  <a:lnTo>
                    <a:pt x="112" y="130"/>
                  </a:lnTo>
                  <a:lnTo>
                    <a:pt x="115" y="130"/>
                  </a:lnTo>
                  <a:lnTo>
                    <a:pt x="115" y="134"/>
                  </a:lnTo>
                  <a:lnTo>
                    <a:pt x="113" y="135"/>
                  </a:lnTo>
                  <a:lnTo>
                    <a:pt x="113" y="136"/>
                  </a:lnTo>
                  <a:lnTo>
                    <a:pt x="115" y="138"/>
                  </a:lnTo>
                  <a:lnTo>
                    <a:pt x="115" y="140"/>
                  </a:lnTo>
                  <a:lnTo>
                    <a:pt x="118" y="144"/>
                  </a:lnTo>
                  <a:lnTo>
                    <a:pt x="118" y="145"/>
                  </a:lnTo>
                  <a:lnTo>
                    <a:pt x="119" y="147"/>
                  </a:lnTo>
                  <a:lnTo>
                    <a:pt x="120" y="148"/>
                  </a:lnTo>
                  <a:lnTo>
                    <a:pt x="122" y="148"/>
                  </a:lnTo>
                  <a:lnTo>
                    <a:pt x="122" y="150"/>
                  </a:lnTo>
                  <a:lnTo>
                    <a:pt x="124" y="150"/>
                  </a:lnTo>
                  <a:lnTo>
                    <a:pt x="124" y="152"/>
                  </a:lnTo>
                  <a:lnTo>
                    <a:pt x="126" y="152"/>
                  </a:lnTo>
                  <a:lnTo>
                    <a:pt x="129" y="154"/>
                  </a:lnTo>
                  <a:lnTo>
                    <a:pt x="130" y="157"/>
                  </a:lnTo>
                  <a:lnTo>
                    <a:pt x="131" y="158"/>
                  </a:lnTo>
                  <a:lnTo>
                    <a:pt x="132" y="160"/>
                  </a:lnTo>
                  <a:lnTo>
                    <a:pt x="135" y="161"/>
                  </a:lnTo>
                  <a:lnTo>
                    <a:pt x="135" y="164"/>
                  </a:lnTo>
                  <a:lnTo>
                    <a:pt x="136" y="165"/>
                  </a:lnTo>
                  <a:lnTo>
                    <a:pt x="136" y="166"/>
                  </a:lnTo>
                  <a:lnTo>
                    <a:pt x="141" y="170"/>
                  </a:lnTo>
                  <a:lnTo>
                    <a:pt x="148" y="177"/>
                  </a:lnTo>
                  <a:lnTo>
                    <a:pt x="149" y="179"/>
                  </a:lnTo>
                  <a:lnTo>
                    <a:pt x="150" y="181"/>
                  </a:lnTo>
                  <a:lnTo>
                    <a:pt x="151" y="181"/>
                  </a:lnTo>
                  <a:lnTo>
                    <a:pt x="154" y="182"/>
                  </a:lnTo>
                  <a:lnTo>
                    <a:pt x="159" y="183"/>
                  </a:lnTo>
                  <a:lnTo>
                    <a:pt x="160" y="184"/>
                  </a:lnTo>
                  <a:lnTo>
                    <a:pt x="160" y="190"/>
                  </a:lnTo>
                  <a:lnTo>
                    <a:pt x="161" y="193"/>
                  </a:lnTo>
                  <a:lnTo>
                    <a:pt x="162" y="196"/>
                  </a:lnTo>
                  <a:lnTo>
                    <a:pt x="163" y="197"/>
                  </a:lnTo>
                  <a:lnTo>
                    <a:pt x="165" y="197"/>
                  </a:lnTo>
                  <a:lnTo>
                    <a:pt x="165" y="199"/>
                  </a:lnTo>
                  <a:lnTo>
                    <a:pt x="166" y="199"/>
                  </a:lnTo>
                  <a:lnTo>
                    <a:pt x="166" y="201"/>
                  </a:lnTo>
                  <a:lnTo>
                    <a:pt x="167" y="202"/>
                  </a:lnTo>
                  <a:lnTo>
                    <a:pt x="173" y="206"/>
                  </a:lnTo>
                  <a:lnTo>
                    <a:pt x="173" y="207"/>
                  </a:lnTo>
                  <a:lnTo>
                    <a:pt x="176" y="210"/>
                  </a:lnTo>
                  <a:lnTo>
                    <a:pt x="176" y="213"/>
                  </a:lnTo>
                  <a:lnTo>
                    <a:pt x="175" y="214"/>
                  </a:lnTo>
                  <a:lnTo>
                    <a:pt x="173" y="214"/>
                  </a:lnTo>
                  <a:lnTo>
                    <a:pt x="172" y="213"/>
                  </a:lnTo>
                  <a:lnTo>
                    <a:pt x="171" y="213"/>
                  </a:lnTo>
                  <a:lnTo>
                    <a:pt x="168" y="210"/>
                  </a:lnTo>
                  <a:lnTo>
                    <a:pt x="168" y="209"/>
                  </a:lnTo>
                  <a:lnTo>
                    <a:pt x="169" y="209"/>
                  </a:lnTo>
                  <a:lnTo>
                    <a:pt x="169" y="208"/>
                  </a:lnTo>
                  <a:lnTo>
                    <a:pt x="168" y="209"/>
                  </a:lnTo>
                  <a:lnTo>
                    <a:pt x="167" y="209"/>
                  </a:lnTo>
                  <a:lnTo>
                    <a:pt x="167" y="208"/>
                  </a:lnTo>
                  <a:lnTo>
                    <a:pt x="166" y="207"/>
                  </a:lnTo>
                  <a:lnTo>
                    <a:pt x="166" y="208"/>
                  </a:lnTo>
                  <a:lnTo>
                    <a:pt x="163" y="207"/>
                  </a:lnTo>
                  <a:lnTo>
                    <a:pt x="161" y="203"/>
                  </a:lnTo>
                  <a:lnTo>
                    <a:pt x="155" y="200"/>
                  </a:lnTo>
                  <a:lnTo>
                    <a:pt x="154" y="199"/>
                  </a:lnTo>
                  <a:lnTo>
                    <a:pt x="153" y="199"/>
                  </a:lnTo>
                  <a:lnTo>
                    <a:pt x="153" y="197"/>
                  </a:lnTo>
                  <a:lnTo>
                    <a:pt x="151" y="197"/>
                  </a:lnTo>
                  <a:lnTo>
                    <a:pt x="151" y="196"/>
                  </a:lnTo>
                  <a:lnTo>
                    <a:pt x="150" y="196"/>
                  </a:lnTo>
                  <a:lnTo>
                    <a:pt x="150" y="195"/>
                  </a:lnTo>
                  <a:lnTo>
                    <a:pt x="149" y="194"/>
                  </a:lnTo>
                  <a:lnTo>
                    <a:pt x="145" y="189"/>
                  </a:lnTo>
                  <a:lnTo>
                    <a:pt x="144" y="188"/>
                  </a:lnTo>
                  <a:lnTo>
                    <a:pt x="143" y="188"/>
                  </a:lnTo>
                  <a:lnTo>
                    <a:pt x="143" y="187"/>
                  </a:lnTo>
                  <a:lnTo>
                    <a:pt x="137" y="187"/>
                  </a:lnTo>
                  <a:lnTo>
                    <a:pt x="132" y="184"/>
                  </a:lnTo>
                  <a:lnTo>
                    <a:pt x="129" y="182"/>
                  </a:lnTo>
                  <a:lnTo>
                    <a:pt x="129" y="181"/>
                  </a:lnTo>
                  <a:lnTo>
                    <a:pt x="128" y="181"/>
                  </a:lnTo>
                  <a:lnTo>
                    <a:pt x="128" y="182"/>
                  </a:lnTo>
                  <a:lnTo>
                    <a:pt x="125" y="181"/>
                  </a:lnTo>
                  <a:lnTo>
                    <a:pt x="124" y="181"/>
                  </a:lnTo>
                  <a:lnTo>
                    <a:pt x="125" y="179"/>
                  </a:lnTo>
                  <a:lnTo>
                    <a:pt x="124" y="178"/>
                  </a:lnTo>
                  <a:lnTo>
                    <a:pt x="120" y="178"/>
                  </a:lnTo>
                  <a:lnTo>
                    <a:pt x="119" y="179"/>
                  </a:lnTo>
                  <a:lnTo>
                    <a:pt x="118" y="179"/>
                  </a:lnTo>
                  <a:lnTo>
                    <a:pt x="116" y="181"/>
                  </a:lnTo>
                  <a:lnTo>
                    <a:pt x="112" y="181"/>
                  </a:lnTo>
                  <a:lnTo>
                    <a:pt x="113" y="182"/>
                  </a:lnTo>
                  <a:lnTo>
                    <a:pt x="111" y="182"/>
                  </a:lnTo>
                  <a:lnTo>
                    <a:pt x="111" y="183"/>
                  </a:lnTo>
                  <a:lnTo>
                    <a:pt x="110" y="183"/>
                  </a:lnTo>
                  <a:lnTo>
                    <a:pt x="109" y="182"/>
                  </a:lnTo>
                  <a:lnTo>
                    <a:pt x="104" y="182"/>
                  </a:lnTo>
                  <a:lnTo>
                    <a:pt x="104" y="181"/>
                  </a:lnTo>
                  <a:lnTo>
                    <a:pt x="105" y="181"/>
                  </a:lnTo>
                  <a:lnTo>
                    <a:pt x="105" y="179"/>
                  </a:lnTo>
                  <a:lnTo>
                    <a:pt x="104" y="179"/>
                  </a:lnTo>
                  <a:lnTo>
                    <a:pt x="104" y="177"/>
                  </a:lnTo>
                  <a:lnTo>
                    <a:pt x="103" y="177"/>
                  </a:lnTo>
                  <a:lnTo>
                    <a:pt x="103" y="173"/>
                  </a:lnTo>
                  <a:lnTo>
                    <a:pt x="101" y="173"/>
                  </a:lnTo>
                  <a:lnTo>
                    <a:pt x="103" y="172"/>
                  </a:lnTo>
                  <a:lnTo>
                    <a:pt x="104" y="173"/>
                  </a:lnTo>
                  <a:lnTo>
                    <a:pt x="104" y="171"/>
                  </a:lnTo>
                  <a:lnTo>
                    <a:pt x="103" y="171"/>
                  </a:lnTo>
                  <a:lnTo>
                    <a:pt x="101" y="170"/>
                  </a:lnTo>
                  <a:lnTo>
                    <a:pt x="100" y="170"/>
                  </a:lnTo>
                  <a:lnTo>
                    <a:pt x="100" y="169"/>
                  </a:lnTo>
                  <a:lnTo>
                    <a:pt x="99" y="169"/>
                  </a:lnTo>
                  <a:lnTo>
                    <a:pt x="98" y="167"/>
                  </a:lnTo>
                  <a:lnTo>
                    <a:pt x="97" y="167"/>
                  </a:lnTo>
                  <a:lnTo>
                    <a:pt x="97" y="166"/>
                  </a:lnTo>
                  <a:lnTo>
                    <a:pt x="93" y="166"/>
                  </a:lnTo>
                  <a:lnTo>
                    <a:pt x="93" y="164"/>
                  </a:lnTo>
                  <a:lnTo>
                    <a:pt x="92" y="164"/>
                  </a:lnTo>
                  <a:lnTo>
                    <a:pt x="92" y="163"/>
                  </a:lnTo>
                  <a:lnTo>
                    <a:pt x="91" y="163"/>
                  </a:lnTo>
                  <a:lnTo>
                    <a:pt x="88" y="160"/>
                  </a:lnTo>
                  <a:lnTo>
                    <a:pt x="87" y="160"/>
                  </a:lnTo>
                  <a:lnTo>
                    <a:pt x="87" y="159"/>
                  </a:lnTo>
                  <a:lnTo>
                    <a:pt x="86" y="158"/>
                  </a:lnTo>
                  <a:lnTo>
                    <a:pt x="85" y="158"/>
                  </a:lnTo>
                  <a:lnTo>
                    <a:pt x="84" y="157"/>
                  </a:lnTo>
                  <a:lnTo>
                    <a:pt x="82" y="157"/>
                  </a:lnTo>
                  <a:lnTo>
                    <a:pt x="82" y="156"/>
                  </a:lnTo>
                  <a:lnTo>
                    <a:pt x="80" y="153"/>
                  </a:lnTo>
                  <a:lnTo>
                    <a:pt x="79" y="151"/>
                  </a:lnTo>
                  <a:lnTo>
                    <a:pt x="76" y="151"/>
                  </a:lnTo>
                  <a:lnTo>
                    <a:pt x="76" y="150"/>
                  </a:lnTo>
                  <a:lnTo>
                    <a:pt x="75" y="147"/>
                  </a:lnTo>
                  <a:lnTo>
                    <a:pt x="73" y="145"/>
                  </a:lnTo>
                  <a:lnTo>
                    <a:pt x="73" y="144"/>
                  </a:lnTo>
                  <a:lnTo>
                    <a:pt x="72" y="144"/>
                  </a:lnTo>
                  <a:lnTo>
                    <a:pt x="70" y="141"/>
                  </a:lnTo>
                  <a:lnTo>
                    <a:pt x="70" y="139"/>
                  </a:lnTo>
                  <a:lnTo>
                    <a:pt x="68" y="136"/>
                  </a:lnTo>
                  <a:lnTo>
                    <a:pt x="70" y="136"/>
                  </a:lnTo>
                  <a:lnTo>
                    <a:pt x="70" y="138"/>
                  </a:lnTo>
                  <a:lnTo>
                    <a:pt x="72" y="138"/>
                  </a:lnTo>
                  <a:lnTo>
                    <a:pt x="73" y="136"/>
                  </a:lnTo>
                  <a:lnTo>
                    <a:pt x="72" y="135"/>
                  </a:lnTo>
                  <a:lnTo>
                    <a:pt x="74" y="136"/>
                  </a:lnTo>
                  <a:lnTo>
                    <a:pt x="75" y="138"/>
                  </a:lnTo>
                  <a:lnTo>
                    <a:pt x="76" y="138"/>
                  </a:lnTo>
                  <a:lnTo>
                    <a:pt x="75" y="135"/>
                  </a:lnTo>
                  <a:lnTo>
                    <a:pt x="76" y="135"/>
                  </a:lnTo>
                  <a:lnTo>
                    <a:pt x="75" y="134"/>
                  </a:lnTo>
                  <a:lnTo>
                    <a:pt x="75" y="133"/>
                  </a:lnTo>
                  <a:lnTo>
                    <a:pt x="76" y="135"/>
                  </a:lnTo>
                  <a:lnTo>
                    <a:pt x="85" y="138"/>
                  </a:lnTo>
                  <a:lnTo>
                    <a:pt x="86" y="138"/>
                  </a:lnTo>
                  <a:lnTo>
                    <a:pt x="86" y="136"/>
                  </a:lnTo>
                  <a:lnTo>
                    <a:pt x="82" y="135"/>
                  </a:lnTo>
                  <a:lnTo>
                    <a:pt x="81" y="134"/>
                  </a:lnTo>
                  <a:lnTo>
                    <a:pt x="76" y="132"/>
                  </a:lnTo>
                  <a:lnTo>
                    <a:pt x="70" y="126"/>
                  </a:lnTo>
                  <a:lnTo>
                    <a:pt x="68" y="122"/>
                  </a:lnTo>
                  <a:lnTo>
                    <a:pt x="67" y="121"/>
                  </a:lnTo>
                  <a:lnTo>
                    <a:pt x="66" y="121"/>
                  </a:lnTo>
                  <a:lnTo>
                    <a:pt x="66" y="120"/>
                  </a:lnTo>
                  <a:lnTo>
                    <a:pt x="64" y="118"/>
                  </a:lnTo>
                  <a:lnTo>
                    <a:pt x="63" y="118"/>
                  </a:lnTo>
                  <a:lnTo>
                    <a:pt x="60" y="111"/>
                  </a:lnTo>
                  <a:lnTo>
                    <a:pt x="58" y="110"/>
                  </a:lnTo>
                  <a:lnTo>
                    <a:pt x="60" y="109"/>
                  </a:lnTo>
                  <a:lnTo>
                    <a:pt x="60" y="108"/>
                  </a:lnTo>
                  <a:lnTo>
                    <a:pt x="58" y="108"/>
                  </a:lnTo>
                  <a:lnTo>
                    <a:pt x="58" y="102"/>
                  </a:lnTo>
                  <a:lnTo>
                    <a:pt x="60" y="98"/>
                  </a:lnTo>
                  <a:lnTo>
                    <a:pt x="60" y="97"/>
                  </a:lnTo>
                  <a:lnTo>
                    <a:pt x="61" y="96"/>
                  </a:lnTo>
                  <a:lnTo>
                    <a:pt x="60" y="95"/>
                  </a:lnTo>
                  <a:lnTo>
                    <a:pt x="57" y="89"/>
                  </a:lnTo>
                  <a:lnTo>
                    <a:pt x="57" y="87"/>
                  </a:lnTo>
                  <a:lnTo>
                    <a:pt x="56" y="86"/>
                  </a:lnTo>
                  <a:lnTo>
                    <a:pt x="54" y="85"/>
                  </a:lnTo>
                  <a:lnTo>
                    <a:pt x="49" y="81"/>
                  </a:lnTo>
                  <a:lnTo>
                    <a:pt x="48" y="79"/>
                  </a:lnTo>
                  <a:lnTo>
                    <a:pt x="47" y="79"/>
                  </a:lnTo>
                  <a:lnTo>
                    <a:pt x="45" y="78"/>
                  </a:lnTo>
                  <a:lnTo>
                    <a:pt x="45" y="77"/>
                  </a:lnTo>
                  <a:lnTo>
                    <a:pt x="47" y="77"/>
                  </a:lnTo>
                  <a:lnTo>
                    <a:pt x="44" y="74"/>
                  </a:lnTo>
                  <a:lnTo>
                    <a:pt x="45" y="75"/>
                  </a:lnTo>
                  <a:lnTo>
                    <a:pt x="45" y="77"/>
                  </a:lnTo>
                  <a:lnTo>
                    <a:pt x="44" y="77"/>
                  </a:lnTo>
                  <a:lnTo>
                    <a:pt x="43" y="75"/>
                  </a:lnTo>
                  <a:lnTo>
                    <a:pt x="38" y="73"/>
                  </a:lnTo>
                  <a:lnTo>
                    <a:pt x="37" y="73"/>
                  </a:lnTo>
                  <a:lnTo>
                    <a:pt x="36" y="72"/>
                  </a:lnTo>
                  <a:lnTo>
                    <a:pt x="33" y="74"/>
                  </a:lnTo>
                  <a:lnTo>
                    <a:pt x="33" y="77"/>
                  </a:lnTo>
                  <a:lnTo>
                    <a:pt x="32" y="78"/>
                  </a:lnTo>
                  <a:lnTo>
                    <a:pt x="32" y="83"/>
                  </a:lnTo>
                  <a:lnTo>
                    <a:pt x="31" y="84"/>
                  </a:lnTo>
                  <a:lnTo>
                    <a:pt x="31" y="85"/>
                  </a:lnTo>
                  <a:lnTo>
                    <a:pt x="30" y="86"/>
                  </a:lnTo>
                  <a:lnTo>
                    <a:pt x="30" y="87"/>
                  </a:lnTo>
                  <a:lnTo>
                    <a:pt x="29" y="87"/>
                  </a:lnTo>
                  <a:lnTo>
                    <a:pt x="29" y="90"/>
                  </a:lnTo>
                  <a:lnTo>
                    <a:pt x="28" y="90"/>
                  </a:lnTo>
                  <a:lnTo>
                    <a:pt x="29" y="91"/>
                  </a:lnTo>
                  <a:lnTo>
                    <a:pt x="29" y="93"/>
                  </a:lnTo>
                  <a:lnTo>
                    <a:pt x="28" y="95"/>
                  </a:lnTo>
                  <a:lnTo>
                    <a:pt x="26" y="95"/>
                  </a:lnTo>
                  <a:lnTo>
                    <a:pt x="25" y="96"/>
                  </a:lnTo>
                  <a:lnTo>
                    <a:pt x="25" y="95"/>
                  </a:lnTo>
                  <a:lnTo>
                    <a:pt x="24" y="95"/>
                  </a:lnTo>
                  <a:lnTo>
                    <a:pt x="24" y="96"/>
                  </a:lnTo>
                  <a:lnTo>
                    <a:pt x="23" y="96"/>
                  </a:lnTo>
                  <a:lnTo>
                    <a:pt x="23" y="99"/>
                  </a:lnTo>
                  <a:lnTo>
                    <a:pt x="22" y="99"/>
                  </a:lnTo>
                  <a:lnTo>
                    <a:pt x="22" y="102"/>
                  </a:lnTo>
                  <a:lnTo>
                    <a:pt x="20" y="102"/>
                  </a:lnTo>
                  <a:lnTo>
                    <a:pt x="20" y="104"/>
                  </a:lnTo>
                  <a:lnTo>
                    <a:pt x="18" y="104"/>
                  </a:lnTo>
                  <a:lnTo>
                    <a:pt x="18" y="103"/>
                  </a:lnTo>
                  <a:lnTo>
                    <a:pt x="17" y="104"/>
                  </a:lnTo>
                  <a:lnTo>
                    <a:pt x="16" y="104"/>
                  </a:lnTo>
                  <a:lnTo>
                    <a:pt x="16" y="103"/>
                  </a:lnTo>
                  <a:lnTo>
                    <a:pt x="14" y="102"/>
                  </a:lnTo>
                  <a:lnTo>
                    <a:pt x="14" y="101"/>
                  </a:lnTo>
                  <a:lnTo>
                    <a:pt x="13" y="101"/>
                  </a:lnTo>
                  <a:lnTo>
                    <a:pt x="13" y="98"/>
                  </a:lnTo>
                  <a:lnTo>
                    <a:pt x="11" y="93"/>
                  </a:lnTo>
                  <a:lnTo>
                    <a:pt x="7" y="90"/>
                  </a:lnTo>
                  <a:lnTo>
                    <a:pt x="6" y="90"/>
                  </a:lnTo>
                  <a:lnTo>
                    <a:pt x="6" y="87"/>
                  </a:lnTo>
                  <a:lnTo>
                    <a:pt x="5" y="86"/>
                  </a:lnTo>
                  <a:lnTo>
                    <a:pt x="6" y="86"/>
                  </a:lnTo>
                  <a:lnTo>
                    <a:pt x="10" y="85"/>
                  </a:lnTo>
                  <a:lnTo>
                    <a:pt x="5" y="85"/>
                  </a:lnTo>
                  <a:lnTo>
                    <a:pt x="5" y="78"/>
                  </a:lnTo>
                  <a:lnTo>
                    <a:pt x="4" y="78"/>
                  </a:lnTo>
                  <a:lnTo>
                    <a:pt x="4" y="77"/>
                  </a:lnTo>
                  <a:lnTo>
                    <a:pt x="5" y="77"/>
                  </a:lnTo>
                  <a:lnTo>
                    <a:pt x="4" y="75"/>
                  </a:lnTo>
                  <a:lnTo>
                    <a:pt x="5" y="74"/>
                  </a:lnTo>
                  <a:lnTo>
                    <a:pt x="4" y="74"/>
                  </a:lnTo>
                  <a:lnTo>
                    <a:pt x="2" y="73"/>
                  </a:lnTo>
                  <a:lnTo>
                    <a:pt x="2" y="71"/>
                  </a:lnTo>
                  <a:lnTo>
                    <a:pt x="1" y="67"/>
                  </a:lnTo>
                  <a:lnTo>
                    <a:pt x="1" y="65"/>
                  </a:lnTo>
                  <a:lnTo>
                    <a:pt x="0" y="64"/>
                  </a:lnTo>
                  <a:lnTo>
                    <a:pt x="1" y="62"/>
                  </a:lnTo>
                  <a:lnTo>
                    <a:pt x="1" y="64"/>
                  </a:lnTo>
                  <a:lnTo>
                    <a:pt x="4" y="64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3" y="67"/>
                  </a:lnTo>
                  <a:lnTo>
                    <a:pt x="14" y="67"/>
                  </a:lnTo>
                  <a:lnTo>
                    <a:pt x="14" y="68"/>
                  </a:lnTo>
                  <a:lnTo>
                    <a:pt x="17" y="68"/>
                  </a:lnTo>
                  <a:lnTo>
                    <a:pt x="18" y="67"/>
                  </a:lnTo>
                  <a:lnTo>
                    <a:pt x="20" y="66"/>
                  </a:lnTo>
                  <a:lnTo>
                    <a:pt x="20" y="62"/>
                  </a:lnTo>
                  <a:lnTo>
                    <a:pt x="22" y="62"/>
                  </a:lnTo>
                  <a:lnTo>
                    <a:pt x="23" y="64"/>
                  </a:lnTo>
                  <a:lnTo>
                    <a:pt x="24" y="64"/>
                  </a:lnTo>
                  <a:lnTo>
                    <a:pt x="24" y="65"/>
                  </a:lnTo>
                  <a:lnTo>
                    <a:pt x="28" y="65"/>
                  </a:lnTo>
                  <a:lnTo>
                    <a:pt x="30" y="64"/>
                  </a:lnTo>
                  <a:lnTo>
                    <a:pt x="32" y="64"/>
                  </a:lnTo>
                  <a:lnTo>
                    <a:pt x="33" y="65"/>
                  </a:lnTo>
                  <a:lnTo>
                    <a:pt x="37" y="65"/>
                  </a:lnTo>
                  <a:lnTo>
                    <a:pt x="42" y="62"/>
                  </a:lnTo>
                  <a:lnTo>
                    <a:pt x="42" y="59"/>
                  </a:lnTo>
                  <a:lnTo>
                    <a:pt x="44" y="56"/>
                  </a:lnTo>
                  <a:lnTo>
                    <a:pt x="44" y="55"/>
                  </a:lnTo>
                  <a:lnTo>
                    <a:pt x="45" y="54"/>
                  </a:lnTo>
                  <a:lnTo>
                    <a:pt x="47" y="54"/>
                  </a:lnTo>
                  <a:lnTo>
                    <a:pt x="47" y="58"/>
                  </a:lnTo>
                  <a:lnTo>
                    <a:pt x="48" y="58"/>
                  </a:lnTo>
                  <a:lnTo>
                    <a:pt x="49" y="59"/>
                  </a:lnTo>
                  <a:lnTo>
                    <a:pt x="50" y="59"/>
                  </a:lnTo>
                  <a:lnTo>
                    <a:pt x="50" y="62"/>
                  </a:lnTo>
                  <a:lnTo>
                    <a:pt x="55" y="64"/>
                  </a:lnTo>
                  <a:lnTo>
                    <a:pt x="55" y="66"/>
                  </a:lnTo>
                  <a:lnTo>
                    <a:pt x="57" y="66"/>
                  </a:lnTo>
                  <a:lnTo>
                    <a:pt x="60" y="64"/>
                  </a:lnTo>
                  <a:lnTo>
                    <a:pt x="60" y="62"/>
                  </a:lnTo>
                  <a:lnTo>
                    <a:pt x="61" y="62"/>
                  </a:lnTo>
                  <a:lnTo>
                    <a:pt x="62" y="64"/>
                  </a:lnTo>
                  <a:lnTo>
                    <a:pt x="63" y="64"/>
                  </a:lnTo>
                  <a:lnTo>
                    <a:pt x="63" y="65"/>
                  </a:lnTo>
                  <a:lnTo>
                    <a:pt x="67" y="65"/>
                  </a:lnTo>
                  <a:lnTo>
                    <a:pt x="69" y="67"/>
                  </a:lnTo>
                  <a:lnTo>
                    <a:pt x="72" y="68"/>
                  </a:lnTo>
                  <a:lnTo>
                    <a:pt x="73" y="67"/>
                  </a:lnTo>
                  <a:lnTo>
                    <a:pt x="75" y="66"/>
                  </a:lnTo>
                  <a:lnTo>
                    <a:pt x="76" y="66"/>
                  </a:lnTo>
                  <a:lnTo>
                    <a:pt x="79" y="65"/>
                  </a:lnTo>
                  <a:lnTo>
                    <a:pt x="76" y="64"/>
                  </a:lnTo>
                  <a:lnTo>
                    <a:pt x="76" y="61"/>
                  </a:lnTo>
                  <a:lnTo>
                    <a:pt x="75" y="59"/>
                  </a:lnTo>
                  <a:lnTo>
                    <a:pt x="75" y="58"/>
                  </a:lnTo>
                  <a:lnTo>
                    <a:pt x="76" y="55"/>
                  </a:lnTo>
                  <a:lnTo>
                    <a:pt x="80" y="55"/>
                  </a:lnTo>
                  <a:lnTo>
                    <a:pt x="79" y="54"/>
                  </a:lnTo>
                  <a:lnTo>
                    <a:pt x="79" y="53"/>
                  </a:lnTo>
                  <a:lnTo>
                    <a:pt x="75" y="53"/>
                  </a:lnTo>
                  <a:lnTo>
                    <a:pt x="75" y="52"/>
                  </a:lnTo>
                  <a:lnTo>
                    <a:pt x="74" y="50"/>
                  </a:lnTo>
                  <a:lnTo>
                    <a:pt x="75" y="49"/>
                  </a:lnTo>
                  <a:lnTo>
                    <a:pt x="76" y="49"/>
                  </a:lnTo>
                  <a:lnTo>
                    <a:pt x="76" y="48"/>
                  </a:lnTo>
                  <a:lnTo>
                    <a:pt x="82" y="47"/>
                  </a:lnTo>
                  <a:lnTo>
                    <a:pt x="82" y="44"/>
                  </a:lnTo>
                  <a:lnTo>
                    <a:pt x="86" y="44"/>
                  </a:lnTo>
                  <a:lnTo>
                    <a:pt x="86" y="43"/>
                  </a:lnTo>
                  <a:lnTo>
                    <a:pt x="87" y="44"/>
                  </a:lnTo>
                  <a:lnTo>
                    <a:pt x="91" y="44"/>
                  </a:lnTo>
                  <a:lnTo>
                    <a:pt x="92" y="43"/>
                  </a:lnTo>
                  <a:lnTo>
                    <a:pt x="92" y="34"/>
                  </a:lnTo>
                  <a:lnTo>
                    <a:pt x="93" y="32"/>
                  </a:lnTo>
                  <a:lnTo>
                    <a:pt x="93" y="30"/>
                  </a:lnTo>
                  <a:lnTo>
                    <a:pt x="92" y="30"/>
                  </a:lnTo>
                  <a:lnTo>
                    <a:pt x="88" y="27"/>
                  </a:lnTo>
                  <a:lnTo>
                    <a:pt x="88" y="25"/>
                  </a:lnTo>
                  <a:lnTo>
                    <a:pt x="89" y="23"/>
                  </a:lnTo>
                  <a:lnTo>
                    <a:pt x="91" y="22"/>
                  </a:lnTo>
                  <a:lnTo>
                    <a:pt x="91" y="21"/>
                  </a:lnTo>
                  <a:lnTo>
                    <a:pt x="97" y="21"/>
                  </a:lnTo>
                  <a:lnTo>
                    <a:pt x="97" y="18"/>
                  </a:lnTo>
                  <a:lnTo>
                    <a:pt x="99" y="18"/>
                  </a:lnTo>
                  <a:lnTo>
                    <a:pt x="101" y="17"/>
                  </a:lnTo>
                  <a:lnTo>
                    <a:pt x="103" y="17"/>
                  </a:lnTo>
                  <a:lnTo>
                    <a:pt x="104" y="16"/>
                  </a:lnTo>
                  <a:lnTo>
                    <a:pt x="106" y="16"/>
                  </a:lnTo>
                  <a:lnTo>
                    <a:pt x="107" y="15"/>
                  </a:lnTo>
                  <a:lnTo>
                    <a:pt x="109" y="15"/>
                  </a:lnTo>
                  <a:lnTo>
                    <a:pt x="109" y="10"/>
                  </a:lnTo>
                  <a:lnTo>
                    <a:pt x="110" y="11"/>
                  </a:lnTo>
                  <a:lnTo>
                    <a:pt x="111" y="11"/>
                  </a:lnTo>
                  <a:lnTo>
                    <a:pt x="111" y="10"/>
                  </a:lnTo>
                  <a:lnTo>
                    <a:pt x="112" y="10"/>
                  </a:lnTo>
                  <a:lnTo>
                    <a:pt x="113" y="11"/>
                  </a:lnTo>
                  <a:lnTo>
                    <a:pt x="118" y="11"/>
                  </a:lnTo>
                  <a:lnTo>
                    <a:pt x="118" y="10"/>
                  </a:lnTo>
                  <a:lnTo>
                    <a:pt x="117" y="9"/>
                  </a:lnTo>
                  <a:lnTo>
                    <a:pt x="117" y="6"/>
                  </a:lnTo>
                  <a:lnTo>
                    <a:pt x="116" y="5"/>
                  </a:lnTo>
                  <a:lnTo>
                    <a:pt x="116" y="4"/>
                  </a:lnTo>
                  <a:lnTo>
                    <a:pt x="117" y="1"/>
                  </a:lnTo>
                  <a:lnTo>
                    <a:pt x="119" y="1"/>
                  </a:lnTo>
                  <a:lnTo>
                    <a:pt x="120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51">
              <a:extLst>
                <a:ext uri="{FF2B5EF4-FFF2-40B4-BE49-F238E27FC236}">
                  <a16:creationId xmlns:a16="http://schemas.microsoft.com/office/drawing/2014/main" id="{A80C3F75-6884-4D0F-B412-003A3342921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2025" y="5022850"/>
              <a:ext cx="420688" cy="273050"/>
            </a:xfrm>
            <a:custGeom>
              <a:avLst/>
              <a:gdLst/>
              <a:ahLst/>
              <a:cxnLst>
                <a:cxn ang="0">
                  <a:pos x="30" y="9"/>
                </a:cxn>
                <a:cxn ang="0">
                  <a:pos x="22" y="21"/>
                </a:cxn>
                <a:cxn ang="0">
                  <a:pos x="38" y="21"/>
                </a:cxn>
                <a:cxn ang="0">
                  <a:pos x="62" y="24"/>
                </a:cxn>
                <a:cxn ang="0">
                  <a:pos x="98" y="27"/>
                </a:cxn>
                <a:cxn ang="0">
                  <a:pos x="126" y="33"/>
                </a:cxn>
                <a:cxn ang="0">
                  <a:pos x="140" y="31"/>
                </a:cxn>
                <a:cxn ang="0">
                  <a:pos x="153" y="21"/>
                </a:cxn>
                <a:cxn ang="0">
                  <a:pos x="181" y="8"/>
                </a:cxn>
                <a:cxn ang="0">
                  <a:pos x="202" y="5"/>
                </a:cxn>
                <a:cxn ang="0">
                  <a:pos x="211" y="11"/>
                </a:cxn>
                <a:cxn ang="0">
                  <a:pos x="228" y="17"/>
                </a:cxn>
                <a:cxn ang="0">
                  <a:pos x="248" y="27"/>
                </a:cxn>
                <a:cxn ang="0">
                  <a:pos x="262" y="45"/>
                </a:cxn>
                <a:cxn ang="0">
                  <a:pos x="255" y="48"/>
                </a:cxn>
                <a:cxn ang="0">
                  <a:pos x="240" y="58"/>
                </a:cxn>
                <a:cxn ang="0">
                  <a:pos x="236" y="65"/>
                </a:cxn>
                <a:cxn ang="0">
                  <a:pos x="224" y="92"/>
                </a:cxn>
                <a:cxn ang="0">
                  <a:pos x="217" y="101"/>
                </a:cxn>
                <a:cxn ang="0">
                  <a:pos x="222" y="103"/>
                </a:cxn>
                <a:cxn ang="0">
                  <a:pos x="227" y="106"/>
                </a:cxn>
                <a:cxn ang="0">
                  <a:pos x="230" y="111"/>
                </a:cxn>
                <a:cxn ang="0">
                  <a:pos x="233" y="119"/>
                </a:cxn>
                <a:cxn ang="0">
                  <a:pos x="239" y="125"/>
                </a:cxn>
                <a:cxn ang="0">
                  <a:pos x="230" y="132"/>
                </a:cxn>
                <a:cxn ang="0">
                  <a:pos x="218" y="132"/>
                </a:cxn>
                <a:cxn ang="0">
                  <a:pos x="206" y="123"/>
                </a:cxn>
                <a:cxn ang="0">
                  <a:pos x="194" y="129"/>
                </a:cxn>
                <a:cxn ang="0">
                  <a:pos x="186" y="131"/>
                </a:cxn>
                <a:cxn ang="0">
                  <a:pos x="179" y="135"/>
                </a:cxn>
                <a:cxn ang="0">
                  <a:pos x="168" y="144"/>
                </a:cxn>
                <a:cxn ang="0">
                  <a:pos x="163" y="144"/>
                </a:cxn>
                <a:cxn ang="0">
                  <a:pos x="160" y="150"/>
                </a:cxn>
                <a:cxn ang="0">
                  <a:pos x="161" y="159"/>
                </a:cxn>
                <a:cxn ang="0">
                  <a:pos x="155" y="166"/>
                </a:cxn>
                <a:cxn ang="0">
                  <a:pos x="144" y="167"/>
                </a:cxn>
                <a:cxn ang="0">
                  <a:pos x="131" y="169"/>
                </a:cxn>
                <a:cxn ang="0">
                  <a:pos x="117" y="167"/>
                </a:cxn>
                <a:cxn ang="0">
                  <a:pos x="104" y="166"/>
                </a:cxn>
                <a:cxn ang="0">
                  <a:pos x="95" y="161"/>
                </a:cxn>
                <a:cxn ang="0">
                  <a:pos x="90" y="155"/>
                </a:cxn>
                <a:cxn ang="0">
                  <a:pos x="78" y="155"/>
                </a:cxn>
                <a:cxn ang="0">
                  <a:pos x="70" y="159"/>
                </a:cxn>
                <a:cxn ang="0">
                  <a:pos x="61" y="161"/>
                </a:cxn>
                <a:cxn ang="0">
                  <a:pos x="45" y="163"/>
                </a:cxn>
                <a:cxn ang="0">
                  <a:pos x="39" y="162"/>
                </a:cxn>
                <a:cxn ang="0">
                  <a:pos x="26" y="163"/>
                </a:cxn>
                <a:cxn ang="0">
                  <a:pos x="28" y="147"/>
                </a:cxn>
                <a:cxn ang="0">
                  <a:pos x="23" y="136"/>
                </a:cxn>
                <a:cxn ang="0">
                  <a:pos x="16" y="125"/>
                </a:cxn>
                <a:cxn ang="0">
                  <a:pos x="0" y="111"/>
                </a:cxn>
                <a:cxn ang="0">
                  <a:pos x="8" y="105"/>
                </a:cxn>
                <a:cxn ang="0">
                  <a:pos x="6" y="88"/>
                </a:cxn>
                <a:cxn ang="0">
                  <a:pos x="7" y="80"/>
                </a:cxn>
                <a:cxn ang="0">
                  <a:pos x="20" y="73"/>
                </a:cxn>
                <a:cxn ang="0">
                  <a:pos x="26" y="60"/>
                </a:cxn>
                <a:cxn ang="0">
                  <a:pos x="13" y="46"/>
                </a:cxn>
                <a:cxn ang="0">
                  <a:pos x="6" y="39"/>
                </a:cxn>
                <a:cxn ang="0">
                  <a:pos x="1" y="26"/>
                </a:cxn>
                <a:cxn ang="0">
                  <a:pos x="10" y="9"/>
                </a:cxn>
                <a:cxn ang="0">
                  <a:pos x="13" y="1"/>
                </a:cxn>
              </a:cxnLst>
              <a:rect l="0" t="0" r="r" b="b"/>
              <a:pathLst>
                <a:path w="265" h="172">
                  <a:moveTo>
                    <a:pt x="16" y="0"/>
                  </a:moveTo>
                  <a:lnTo>
                    <a:pt x="24" y="6"/>
                  </a:lnTo>
                  <a:lnTo>
                    <a:pt x="26" y="7"/>
                  </a:lnTo>
                  <a:lnTo>
                    <a:pt x="28" y="7"/>
                  </a:lnTo>
                  <a:lnTo>
                    <a:pt x="29" y="8"/>
                  </a:lnTo>
                  <a:lnTo>
                    <a:pt x="30" y="8"/>
                  </a:lnTo>
                  <a:lnTo>
                    <a:pt x="30" y="9"/>
                  </a:lnTo>
                  <a:lnTo>
                    <a:pt x="29" y="12"/>
                  </a:lnTo>
                  <a:lnTo>
                    <a:pt x="28" y="13"/>
                  </a:lnTo>
                  <a:lnTo>
                    <a:pt x="24" y="13"/>
                  </a:lnTo>
                  <a:lnTo>
                    <a:pt x="24" y="14"/>
                  </a:lnTo>
                  <a:lnTo>
                    <a:pt x="23" y="15"/>
                  </a:lnTo>
                  <a:lnTo>
                    <a:pt x="22" y="20"/>
                  </a:lnTo>
                  <a:lnTo>
                    <a:pt x="22" y="21"/>
                  </a:lnTo>
                  <a:lnTo>
                    <a:pt x="23" y="22"/>
                  </a:lnTo>
                  <a:lnTo>
                    <a:pt x="24" y="22"/>
                  </a:lnTo>
                  <a:lnTo>
                    <a:pt x="25" y="24"/>
                  </a:lnTo>
                  <a:lnTo>
                    <a:pt x="31" y="22"/>
                  </a:lnTo>
                  <a:lnTo>
                    <a:pt x="34" y="22"/>
                  </a:lnTo>
                  <a:lnTo>
                    <a:pt x="35" y="21"/>
                  </a:lnTo>
                  <a:lnTo>
                    <a:pt x="38" y="21"/>
                  </a:lnTo>
                  <a:lnTo>
                    <a:pt x="42" y="20"/>
                  </a:lnTo>
                  <a:lnTo>
                    <a:pt x="49" y="20"/>
                  </a:lnTo>
                  <a:lnTo>
                    <a:pt x="54" y="22"/>
                  </a:lnTo>
                  <a:lnTo>
                    <a:pt x="55" y="24"/>
                  </a:lnTo>
                  <a:lnTo>
                    <a:pt x="59" y="22"/>
                  </a:lnTo>
                  <a:lnTo>
                    <a:pt x="60" y="22"/>
                  </a:lnTo>
                  <a:lnTo>
                    <a:pt x="62" y="24"/>
                  </a:lnTo>
                  <a:lnTo>
                    <a:pt x="76" y="27"/>
                  </a:lnTo>
                  <a:lnTo>
                    <a:pt x="78" y="28"/>
                  </a:lnTo>
                  <a:lnTo>
                    <a:pt x="85" y="27"/>
                  </a:lnTo>
                  <a:lnTo>
                    <a:pt x="86" y="27"/>
                  </a:lnTo>
                  <a:lnTo>
                    <a:pt x="91" y="25"/>
                  </a:lnTo>
                  <a:lnTo>
                    <a:pt x="92" y="25"/>
                  </a:lnTo>
                  <a:lnTo>
                    <a:pt x="98" y="27"/>
                  </a:lnTo>
                  <a:lnTo>
                    <a:pt x="100" y="28"/>
                  </a:lnTo>
                  <a:lnTo>
                    <a:pt x="111" y="28"/>
                  </a:lnTo>
                  <a:lnTo>
                    <a:pt x="116" y="30"/>
                  </a:lnTo>
                  <a:lnTo>
                    <a:pt x="122" y="31"/>
                  </a:lnTo>
                  <a:lnTo>
                    <a:pt x="123" y="31"/>
                  </a:lnTo>
                  <a:lnTo>
                    <a:pt x="125" y="32"/>
                  </a:lnTo>
                  <a:lnTo>
                    <a:pt x="126" y="33"/>
                  </a:lnTo>
                  <a:lnTo>
                    <a:pt x="128" y="33"/>
                  </a:lnTo>
                  <a:lnTo>
                    <a:pt x="130" y="34"/>
                  </a:lnTo>
                  <a:lnTo>
                    <a:pt x="131" y="33"/>
                  </a:lnTo>
                  <a:lnTo>
                    <a:pt x="136" y="33"/>
                  </a:lnTo>
                  <a:lnTo>
                    <a:pt x="137" y="32"/>
                  </a:lnTo>
                  <a:lnTo>
                    <a:pt x="138" y="32"/>
                  </a:lnTo>
                  <a:lnTo>
                    <a:pt x="140" y="31"/>
                  </a:lnTo>
                  <a:lnTo>
                    <a:pt x="141" y="31"/>
                  </a:lnTo>
                  <a:lnTo>
                    <a:pt x="141" y="30"/>
                  </a:lnTo>
                  <a:lnTo>
                    <a:pt x="146" y="30"/>
                  </a:lnTo>
                  <a:lnTo>
                    <a:pt x="147" y="27"/>
                  </a:lnTo>
                  <a:lnTo>
                    <a:pt x="152" y="22"/>
                  </a:lnTo>
                  <a:lnTo>
                    <a:pt x="152" y="21"/>
                  </a:lnTo>
                  <a:lnTo>
                    <a:pt x="153" y="21"/>
                  </a:lnTo>
                  <a:lnTo>
                    <a:pt x="157" y="18"/>
                  </a:lnTo>
                  <a:lnTo>
                    <a:pt x="157" y="17"/>
                  </a:lnTo>
                  <a:lnTo>
                    <a:pt x="161" y="13"/>
                  </a:lnTo>
                  <a:lnTo>
                    <a:pt x="168" y="11"/>
                  </a:lnTo>
                  <a:lnTo>
                    <a:pt x="169" y="11"/>
                  </a:lnTo>
                  <a:lnTo>
                    <a:pt x="173" y="9"/>
                  </a:lnTo>
                  <a:lnTo>
                    <a:pt x="181" y="8"/>
                  </a:lnTo>
                  <a:lnTo>
                    <a:pt x="184" y="8"/>
                  </a:lnTo>
                  <a:lnTo>
                    <a:pt x="185" y="7"/>
                  </a:lnTo>
                  <a:lnTo>
                    <a:pt x="188" y="7"/>
                  </a:lnTo>
                  <a:lnTo>
                    <a:pt x="192" y="5"/>
                  </a:lnTo>
                  <a:lnTo>
                    <a:pt x="197" y="3"/>
                  </a:lnTo>
                  <a:lnTo>
                    <a:pt x="198" y="3"/>
                  </a:lnTo>
                  <a:lnTo>
                    <a:pt x="202" y="5"/>
                  </a:lnTo>
                  <a:lnTo>
                    <a:pt x="206" y="6"/>
                  </a:lnTo>
                  <a:lnTo>
                    <a:pt x="206" y="7"/>
                  </a:lnTo>
                  <a:lnTo>
                    <a:pt x="208" y="6"/>
                  </a:lnTo>
                  <a:lnTo>
                    <a:pt x="208" y="7"/>
                  </a:lnTo>
                  <a:lnTo>
                    <a:pt x="209" y="7"/>
                  </a:lnTo>
                  <a:lnTo>
                    <a:pt x="209" y="9"/>
                  </a:lnTo>
                  <a:lnTo>
                    <a:pt x="211" y="11"/>
                  </a:lnTo>
                  <a:lnTo>
                    <a:pt x="212" y="11"/>
                  </a:lnTo>
                  <a:lnTo>
                    <a:pt x="212" y="12"/>
                  </a:lnTo>
                  <a:lnTo>
                    <a:pt x="213" y="13"/>
                  </a:lnTo>
                  <a:lnTo>
                    <a:pt x="222" y="13"/>
                  </a:lnTo>
                  <a:lnTo>
                    <a:pt x="224" y="12"/>
                  </a:lnTo>
                  <a:lnTo>
                    <a:pt x="225" y="14"/>
                  </a:lnTo>
                  <a:lnTo>
                    <a:pt x="228" y="17"/>
                  </a:lnTo>
                  <a:lnTo>
                    <a:pt x="230" y="15"/>
                  </a:lnTo>
                  <a:lnTo>
                    <a:pt x="234" y="14"/>
                  </a:lnTo>
                  <a:lnTo>
                    <a:pt x="236" y="14"/>
                  </a:lnTo>
                  <a:lnTo>
                    <a:pt x="236" y="15"/>
                  </a:lnTo>
                  <a:lnTo>
                    <a:pt x="239" y="22"/>
                  </a:lnTo>
                  <a:lnTo>
                    <a:pt x="240" y="24"/>
                  </a:lnTo>
                  <a:lnTo>
                    <a:pt x="248" y="27"/>
                  </a:lnTo>
                  <a:lnTo>
                    <a:pt x="258" y="28"/>
                  </a:lnTo>
                  <a:lnTo>
                    <a:pt x="264" y="28"/>
                  </a:lnTo>
                  <a:lnTo>
                    <a:pt x="264" y="38"/>
                  </a:lnTo>
                  <a:lnTo>
                    <a:pt x="265" y="39"/>
                  </a:lnTo>
                  <a:lnTo>
                    <a:pt x="265" y="42"/>
                  </a:lnTo>
                  <a:lnTo>
                    <a:pt x="264" y="44"/>
                  </a:lnTo>
                  <a:lnTo>
                    <a:pt x="262" y="45"/>
                  </a:lnTo>
                  <a:lnTo>
                    <a:pt x="262" y="46"/>
                  </a:lnTo>
                  <a:lnTo>
                    <a:pt x="260" y="48"/>
                  </a:lnTo>
                  <a:lnTo>
                    <a:pt x="260" y="49"/>
                  </a:lnTo>
                  <a:lnTo>
                    <a:pt x="259" y="50"/>
                  </a:lnTo>
                  <a:lnTo>
                    <a:pt x="256" y="49"/>
                  </a:lnTo>
                  <a:lnTo>
                    <a:pt x="256" y="48"/>
                  </a:lnTo>
                  <a:lnTo>
                    <a:pt x="255" y="48"/>
                  </a:lnTo>
                  <a:lnTo>
                    <a:pt x="253" y="46"/>
                  </a:lnTo>
                  <a:lnTo>
                    <a:pt x="252" y="48"/>
                  </a:lnTo>
                  <a:lnTo>
                    <a:pt x="246" y="48"/>
                  </a:lnTo>
                  <a:lnTo>
                    <a:pt x="244" y="49"/>
                  </a:lnTo>
                  <a:lnTo>
                    <a:pt x="243" y="51"/>
                  </a:lnTo>
                  <a:lnTo>
                    <a:pt x="241" y="57"/>
                  </a:lnTo>
                  <a:lnTo>
                    <a:pt x="240" y="58"/>
                  </a:lnTo>
                  <a:lnTo>
                    <a:pt x="236" y="60"/>
                  </a:lnTo>
                  <a:lnTo>
                    <a:pt x="235" y="60"/>
                  </a:lnTo>
                  <a:lnTo>
                    <a:pt x="235" y="61"/>
                  </a:lnTo>
                  <a:lnTo>
                    <a:pt x="236" y="62"/>
                  </a:lnTo>
                  <a:lnTo>
                    <a:pt x="237" y="62"/>
                  </a:lnTo>
                  <a:lnTo>
                    <a:pt x="237" y="63"/>
                  </a:lnTo>
                  <a:lnTo>
                    <a:pt x="236" y="65"/>
                  </a:lnTo>
                  <a:lnTo>
                    <a:pt x="236" y="68"/>
                  </a:lnTo>
                  <a:lnTo>
                    <a:pt x="235" y="68"/>
                  </a:lnTo>
                  <a:lnTo>
                    <a:pt x="235" y="88"/>
                  </a:lnTo>
                  <a:lnTo>
                    <a:pt x="228" y="88"/>
                  </a:lnTo>
                  <a:lnTo>
                    <a:pt x="228" y="91"/>
                  </a:lnTo>
                  <a:lnTo>
                    <a:pt x="227" y="92"/>
                  </a:lnTo>
                  <a:lnTo>
                    <a:pt x="224" y="92"/>
                  </a:lnTo>
                  <a:lnTo>
                    <a:pt x="223" y="93"/>
                  </a:lnTo>
                  <a:lnTo>
                    <a:pt x="224" y="94"/>
                  </a:lnTo>
                  <a:lnTo>
                    <a:pt x="224" y="97"/>
                  </a:lnTo>
                  <a:lnTo>
                    <a:pt x="219" y="97"/>
                  </a:lnTo>
                  <a:lnTo>
                    <a:pt x="218" y="98"/>
                  </a:lnTo>
                  <a:lnTo>
                    <a:pt x="218" y="100"/>
                  </a:lnTo>
                  <a:lnTo>
                    <a:pt x="217" y="101"/>
                  </a:lnTo>
                  <a:lnTo>
                    <a:pt x="216" y="101"/>
                  </a:lnTo>
                  <a:lnTo>
                    <a:pt x="216" y="103"/>
                  </a:lnTo>
                  <a:lnTo>
                    <a:pt x="217" y="103"/>
                  </a:lnTo>
                  <a:lnTo>
                    <a:pt x="218" y="104"/>
                  </a:lnTo>
                  <a:lnTo>
                    <a:pt x="219" y="104"/>
                  </a:lnTo>
                  <a:lnTo>
                    <a:pt x="219" y="103"/>
                  </a:lnTo>
                  <a:lnTo>
                    <a:pt x="222" y="103"/>
                  </a:lnTo>
                  <a:lnTo>
                    <a:pt x="222" y="104"/>
                  </a:lnTo>
                  <a:lnTo>
                    <a:pt x="223" y="103"/>
                  </a:lnTo>
                  <a:lnTo>
                    <a:pt x="224" y="103"/>
                  </a:lnTo>
                  <a:lnTo>
                    <a:pt x="224" y="105"/>
                  </a:lnTo>
                  <a:lnTo>
                    <a:pt x="228" y="105"/>
                  </a:lnTo>
                  <a:lnTo>
                    <a:pt x="228" y="106"/>
                  </a:lnTo>
                  <a:lnTo>
                    <a:pt x="227" y="106"/>
                  </a:lnTo>
                  <a:lnTo>
                    <a:pt x="228" y="107"/>
                  </a:lnTo>
                  <a:lnTo>
                    <a:pt x="227" y="107"/>
                  </a:lnTo>
                  <a:lnTo>
                    <a:pt x="227" y="108"/>
                  </a:lnTo>
                  <a:lnTo>
                    <a:pt x="228" y="108"/>
                  </a:lnTo>
                  <a:lnTo>
                    <a:pt x="228" y="110"/>
                  </a:lnTo>
                  <a:lnTo>
                    <a:pt x="230" y="110"/>
                  </a:lnTo>
                  <a:lnTo>
                    <a:pt x="230" y="111"/>
                  </a:lnTo>
                  <a:lnTo>
                    <a:pt x="229" y="112"/>
                  </a:lnTo>
                  <a:lnTo>
                    <a:pt x="229" y="114"/>
                  </a:lnTo>
                  <a:lnTo>
                    <a:pt x="230" y="114"/>
                  </a:lnTo>
                  <a:lnTo>
                    <a:pt x="230" y="116"/>
                  </a:lnTo>
                  <a:lnTo>
                    <a:pt x="233" y="118"/>
                  </a:lnTo>
                  <a:lnTo>
                    <a:pt x="234" y="118"/>
                  </a:lnTo>
                  <a:lnTo>
                    <a:pt x="233" y="119"/>
                  </a:lnTo>
                  <a:lnTo>
                    <a:pt x="234" y="120"/>
                  </a:lnTo>
                  <a:lnTo>
                    <a:pt x="235" y="120"/>
                  </a:lnTo>
                  <a:lnTo>
                    <a:pt x="235" y="122"/>
                  </a:lnTo>
                  <a:lnTo>
                    <a:pt x="237" y="123"/>
                  </a:lnTo>
                  <a:lnTo>
                    <a:pt x="237" y="124"/>
                  </a:lnTo>
                  <a:lnTo>
                    <a:pt x="239" y="124"/>
                  </a:lnTo>
                  <a:lnTo>
                    <a:pt x="239" y="125"/>
                  </a:lnTo>
                  <a:lnTo>
                    <a:pt x="240" y="126"/>
                  </a:lnTo>
                  <a:lnTo>
                    <a:pt x="240" y="130"/>
                  </a:lnTo>
                  <a:lnTo>
                    <a:pt x="235" y="130"/>
                  </a:lnTo>
                  <a:lnTo>
                    <a:pt x="234" y="129"/>
                  </a:lnTo>
                  <a:lnTo>
                    <a:pt x="231" y="129"/>
                  </a:lnTo>
                  <a:lnTo>
                    <a:pt x="231" y="132"/>
                  </a:lnTo>
                  <a:lnTo>
                    <a:pt x="230" y="132"/>
                  </a:lnTo>
                  <a:lnTo>
                    <a:pt x="228" y="130"/>
                  </a:lnTo>
                  <a:lnTo>
                    <a:pt x="227" y="130"/>
                  </a:lnTo>
                  <a:lnTo>
                    <a:pt x="223" y="131"/>
                  </a:lnTo>
                  <a:lnTo>
                    <a:pt x="223" y="132"/>
                  </a:lnTo>
                  <a:lnTo>
                    <a:pt x="221" y="132"/>
                  </a:lnTo>
                  <a:lnTo>
                    <a:pt x="221" y="135"/>
                  </a:lnTo>
                  <a:lnTo>
                    <a:pt x="218" y="132"/>
                  </a:lnTo>
                  <a:lnTo>
                    <a:pt x="215" y="130"/>
                  </a:lnTo>
                  <a:lnTo>
                    <a:pt x="213" y="129"/>
                  </a:lnTo>
                  <a:lnTo>
                    <a:pt x="211" y="125"/>
                  </a:lnTo>
                  <a:lnTo>
                    <a:pt x="210" y="124"/>
                  </a:lnTo>
                  <a:lnTo>
                    <a:pt x="209" y="124"/>
                  </a:lnTo>
                  <a:lnTo>
                    <a:pt x="208" y="123"/>
                  </a:lnTo>
                  <a:lnTo>
                    <a:pt x="206" y="123"/>
                  </a:lnTo>
                  <a:lnTo>
                    <a:pt x="205" y="124"/>
                  </a:lnTo>
                  <a:lnTo>
                    <a:pt x="205" y="125"/>
                  </a:lnTo>
                  <a:lnTo>
                    <a:pt x="202" y="125"/>
                  </a:lnTo>
                  <a:lnTo>
                    <a:pt x="200" y="124"/>
                  </a:lnTo>
                  <a:lnTo>
                    <a:pt x="198" y="124"/>
                  </a:lnTo>
                  <a:lnTo>
                    <a:pt x="197" y="126"/>
                  </a:lnTo>
                  <a:lnTo>
                    <a:pt x="194" y="129"/>
                  </a:lnTo>
                  <a:lnTo>
                    <a:pt x="193" y="129"/>
                  </a:lnTo>
                  <a:lnTo>
                    <a:pt x="192" y="130"/>
                  </a:lnTo>
                  <a:lnTo>
                    <a:pt x="190" y="130"/>
                  </a:lnTo>
                  <a:lnTo>
                    <a:pt x="190" y="131"/>
                  </a:lnTo>
                  <a:lnTo>
                    <a:pt x="188" y="130"/>
                  </a:lnTo>
                  <a:lnTo>
                    <a:pt x="187" y="130"/>
                  </a:lnTo>
                  <a:lnTo>
                    <a:pt x="186" y="131"/>
                  </a:lnTo>
                  <a:lnTo>
                    <a:pt x="185" y="131"/>
                  </a:lnTo>
                  <a:lnTo>
                    <a:pt x="181" y="130"/>
                  </a:lnTo>
                  <a:lnTo>
                    <a:pt x="179" y="132"/>
                  </a:lnTo>
                  <a:lnTo>
                    <a:pt x="178" y="132"/>
                  </a:lnTo>
                  <a:lnTo>
                    <a:pt x="178" y="134"/>
                  </a:lnTo>
                  <a:lnTo>
                    <a:pt x="179" y="134"/>
                  </a:lnTo>
                  <a:lnTo>
                    <a:pt x="179" y="135"/>
                  </a:lnTo>
                  <a:lnTo>
                    <a:pt x="178" y="135"/>
                  </a:lnTo>
                  <a:lnTo>
                    <a:pt x="178" y="138"/>
                  </a:lnTo>
                  <a:lnTo>
                    <a:pt x="177" y="138"/>
                  </a:lnTo>
                  <a:lnTo>
                    <a:pt x="175" y="140"/>
                  </a:lnTo>
                  <a:lnTo>
                    <a:pt x="171" y="140"/>
                  </a:lnTo>
                  <a:lnTo>
                    <a:pt x="168" y="142"/>
                  </a:lnTo>
                  <a:lnTo>
                    <a:pt x="168" y="144"/>
                  </a:lnTo>
                  <a:lnTo>
                    <a:pt x="169" y="146"/>
                  </a:lnTo>
                  <a:lnTo>
                    <a:pt x="167" y="146"/>
                  </a:lnTo>
                  <a:lnTo>
                    <a:pt x="167" y="144"/>
                  </a:lnTo>
                  <a:lnTo>
                    <a:pt x="166" y="144"/>
                  </a:lnTo>
                  <a:lnTo>
                    <a:pt x="165" y="143"/>
                  </a:lnTo>
                  <a:lnTo>
                    <a:pt x="163" y="143"/>
                  </a:lnTo>
                  <a:lnTo>
                    <a:pt x="163" y="144"/>
                  </a:lnTo>
                  <a:lnTo>
                    <a:pt x="160" y="144"/>
                  </a:lnTo>
                  <a:lnTo>
                    <a:pt x="159" y="146"/>
                  </a:lnTo>
                  <a:lnTo>
                    <a:pt x="157" y="146"/>
                  </a:lnTo>
                  <a:lnTo>
                    <a:pt x="157" y="149"/>
                  </a:lnTo>
                  <a:lnTo>
                    <a:pt x="159" y="149"/>
                  </a:lnTo>
                  <a:lnTo>
                    <a:pt x="159" y="150"/>
                  </a:lnTo>
                  <a:lnTo>
                    <a:pt x="160" y="150"/>
                  </a:lnTo>
                  <a:lnTo>
                    <a:pt x="160" y="154"/>
                  </a:lnTo>
                  <a:lnTo>
                    <a:pt x="161" y="154"/>
                  </a:lnTo>
                  <a:lnTo>
                    <a:pt x="161" y="155"/>
                  </a:lnTo>
                  <a:lnTo>
                    <a:pt x="162" y="155"/>
                  </a:lnTo>
                  <a:lnTo>
                    <a:pt x="162" y="156"/>
                  </a:lnTo>
                  <a:lnTo>
                    <a:pt x="161" y="157"/>
                  </a:lnTo>
                  <a:lnTo>
                    <a:pt x="161" y="159"/>
                  </a:lnTo>
                  <a:lnTo>
                    <a:pt x="162" y="160"/>
                  </a:lnTo>
                  <a:lnTo>
                    <a:pt x="162" y="161"/>
                  </a:lnTo>
                  <a:lnTo>
                    <a:pt x="161" y="161"/>
                  </a:lnTo>
                  <a:lnTo>
                    <a:pt x="161" y="165"/>
                  </a:lnTo>
                  <a:lnTo>
                    <a:pt x="160" y="165"/>
                  </a:lnTo>
                  <a:lnTo>
                    <a:pt x="156" y="166"/>
                  </a:lnTo>
                  <a:lnTo>
                    <a:pt x="155" y="166"/>
                  </a:lnTo>
                  <a:lnTo>
                    <a:pt x="154" y="167"/>
                  </a:lnTo>
                  <a:lnTo>
                    <a:pt x="152" y="167"/>
                  </a:lnTo>
                  <a:lnTo>
                    <a:pt x="150" y="168"/>
                  </a:lnTo>
                  <a:lnTo>
                    <a:pt x="149" y="168"/>
                  </a:lnTo>
                  <a:lnTo>
                    <a:pt x="148" y="166"/>
                  </a:lnTo>
                  <a:lnTo>
                    <a:pt x="147" y="166"/>
                  </a:lnTo>
                  <a:lnTo>
                    <a:pt x="144" y="167"/>
                  </a:lnTo>
                  <a:lnTo>
                    <a:pt x="143" y="167"/>
                  </a:lnTo>
                  <a:lnTo>
                    <a:pt x="142" y="168"/>
                  </a:lnTo>
                  <a:lnTo>
                    <a:pt x="140" y="168"/>
                  </a:lnTo>
                  <a:lnTo>
                    <a:pt x="140" y="167"/>
                  </a:lnTo>
                  <a:lnTo>
                    <a:pt x="135" y="167"/>
                  </a:lnTo>
                  <a:lnTo>
                    <a:pt x="135" y="169"/>
                  </a:lnTo>
                  <a:lnTo>
                    <a:pt x="131" y="169"/>
                  </a:lnTo>
                  <a:lnTo>
                    <a:pt x="125" y="172"/>
                  </a:lnTo>
                  <a:lnTo>
                    <a:pt x="123" y="172"/>
                  </a:lnTo>
                  <a:lnTo>
                    <a:pt x="122" y="171"/>
                  </a:lnTo>
                  <a:lnTo>
                    <a:pt x="121" y="168"/>
                  </a:lnTo>
                  <a:lnTo>
                    <a:pt x="119" y="168"/>
                  </a:lnTo>
                  <a:lnTo>
                    <a:pt x="118" y="167"/>
                  </a:lnTo>
                  <a:lnTo>
                    <a:pt x="117" y="167"/>
                  </a:lnTo>
                  <a:lnTo>
                    <a:pt x="117" y="166"/>
                  </a:lnTo>
                  <a:lnTo>
                    <a:pt x="116" y="166"/>
                  </a:lnTo>
                  <a:lnTo>
                    <a:pt x="110" y="163"/>
                  </a:lnTo>
                  <a:lnTo>
                    <a:pt x="107" y="162"/>
                  </a:lnTo>
                  <a:lnTo>
                    <a:pt x="106" y="163"/>
                  </a:lnTo>
                  <a:lnTo>
                    <a:pt x="104" y="163"/>
                  </a:lnTo>
                  <a:lnTo>
                    <a:pt x="104" y="166"/>
                  </a:lnTo>
                  <a:lnTo>
                    <a:pt x="103" y="166"/>
                  </a:lnTo>
                  <a:lnTo>
                    <a:pt x="103" y="165"/>
                  </a:lnTo>
                  <a:lnTo>
                    <a:pt x="100" y="163"/>
                  </a:lnTo>
                  <a:lnTo>
                    <a:pt x="100" y="162"/>
                  </a:lnTo>
                  <a:lnTo>
                    <a:pt x="99" y="162"/>
                  </a:lnTo>
                  <a:lnTo>
                    <a:pt x="98" y="161"/>
                  </a:lnTo>
                  <a:lnTo>
                    <a:pt x="95" y="161"/>
                  </a:lnTo>
                  <a:lnTo>
                    <a:pt x="95" y="159"/>
                  </a:lnTo>
                  <a:lnTo>
                    <a:pt x="94" y="159"/>
                  </a:lnTo>
                  <a:lnTo>
                    <a:pt x="94" y="157"/>
                  </a:lnTo>
                  <a:lnTo>
                    <a:pt x="93" y="157"/>
                  </a:lnTo>
                  <a:lnTo>
                    <a:pt x="93" y="154"/>
                  </a:lnTo>
                  <a:lnTo>
                    <a:pt x="90" y="154"/>
                  </a:lnTo>
                  <a:lnTo>
                    <a:pt x="90" y="155"/>
                  </a:lnTo>
                  <a:lnTo>
                    <a:pt x="87" y="155"/>
                  </a:lnTo>
                  <a:lnTo>
                    <a:pt x="86" y="156"/>
                  </a:lnTo>
                  <a:lnTo>
                    <a:pt x="82" y="156"/>
                  </a:lnTo>
                  <a:lnTo>
                    <a:pt x="82" y="155"/>
                  </a:lnTo>
                  <a:lnTo>
                    <a:pt x="81" y="154"/>
                  </a:lnTo>
                  <a:lnTo>
                    <a:pt x="79" y="154"/>
                  </a:lnTo>
                  <a:lnTo>
                    <a:pt x="78" y="155"/>
                  </a:lnTo>
                  <a:lnTo>
                    <a:pt x="78" y="156"/>
                  </a:lnTo>
                  <a:lnTo>
                    <a:pt x="76" y="156"/>
                  </a:lnTo>
                  <a:lnTo>
                    <a:pt x="76" y="155"/>
                  </a:lnTo>
                  <a:lnTo>
                    <a:pt x="73" y="155"/>
                  </a:lnTo>
                  <a:lnTo>
                    <a:pt x="73" y="160"/>
                  </a:lnTo>
                  <a:lnTo>
                    <a:pt x="72" y="160"/>
                  </a:lnTo>
                  <a:lnTo>
                    <a:pt x="70" y="159"/>
                  </a:lnTo>
                  <a:lnTo>
                    <a:pt x="70" y="160"/>
                  </a:lnTo>
                  <a:lnTo>
                    <a:pt x="69" y="160"/>
                  </a:lnTo>
                  <a:lnTo>
                    <a:pt x="68" y="161"/>
                  </a:lnTo>
                  <a:lnTo>
                    <a:pt x="67" y="159"/>
                  </a:lnTo>
                  <a:lnTo>
                    <a:pt x="66" y="159"/>
                  </a:lnTo>
                  <a:lnTo>
                    <a:pt x="63" y="161"/>
                  </a:lnTo>
                  <a:lnTo>
                    <a:pt x="61" y="161"/>
                  </a:lnTo>
                  <a:lnTo>
                    <a:pt x="60" y="162"/>
                  </a:lnTo>
                  <a:lnTo>
                    <a:pt x="56" y="162"/>
                  </a:lnTo>
                  <a:lnTo>
                    <a:pt x="54" y="165"/>
                  </a:lnTo>
                  <a:lnTo>
                    <a:pt x="53" y="165"/>
                  </a:lnTo>
                  <a:lnTo>
                    <a:pt x="50" y="162"/>
                  </a:lnTo>
                  <a:lnTo>
                    <a:pt x="45" y="162"/>
                  </a:lnTo>
                  <a:lnTo>
                    <a:pt x="45" y="163"/>
                  </a:lnTo>
                  <a:lnTo>
                    <a:pt x="44" y="163"/>
                  </a:lnTo>
                  <a:lnTo>
                    <a:pt x="43" y="165"/>
                  </a:lnTo>
                  <a:lnTo>
                    <a:pt x="42" y="165"/>
                  </a:lnTo>
                  <a:lnTo>
                    <a:pt x="42" y="163"/>
                  </a:lnTo>
                  <a:lnTo>
                    <a:pt x="41" y="163"/>
                  </a:lnTo>
                  <a:lnTo>
                    <a:pt x="41" y="162"/>
                  </a:lnTo>
                  <a:lnTo>
                    <a:pt x="39" y="162"/>
                  </a:lnTo>
                  <a:lnTo>
                    <a:pt x="37" y="165"/>
                  </a:lnTo>
                  <a:lnTo>
                    <a:pt x="37" y="166"/>
                  </a:lnTo>
                  <a:lnTo>
                    <a:pt x="36" y="167"/>
                  </a:lnTo>
                  <a:lnTo>
                    <a:pt x="34" y="167"/>
                  </a:lnTo>
                  <a:lnTo>
                    <a:pt x="25" y="166"/>
                  </a:lnTo>
                  <a:lnTo>
                    <a:pt x="26" y="166"/>
                  </a:lnTo>
                  <a:lnTo>
                    <a:pt x="26" y="163"/>
                  </a:lnTo>
                  <a:lnTo>
                    <a:pt x="25" y="162"/>
                  </a:lnTo>
                  <a:lnTo>
                    <a:pt x="26" y="162"/>
                  </a:lnTo>
                  <a:lnTo>
                    <a:pt x="26" y="153"/>
                  </a:lnTo>
                  <a:lnTo>
                    <a:pt x="25" y="153"/>
                  </a:lnTo>
                  <a:lnTo>
                    <a:pt x="25" y="150"/>
                  </a:lnTo>
                  <a:lnTo>
                    <a:pt x="28" y="148"/>
                  </a:lnTo>
                  <a:lnTo>
                    <a:pt x="28" y="147"/>
                  </a:lnTo>
                  <a:lnTo>
                    <a:pt x="29" y="146"/>
                  </a:lnTo>
                  <a:lnTo>
                    <a:pt x="29" y="143"/>
                  </a:lnTo>
                  <a:lnTo>
                    <a:pt x="28" y="142"/>
                  </a:lnTo>
                  <a:lnTo>
                    <a:pt x="26" y="142"/>
                  </a:lnTo>
                  <a:lnTo>
                    <a:pt x="24" y="137"/>
                  </a:lnTo>
                  <a:lnTo>
                    <a:pt x="24" y="136"/>
                  </a:lnTo>
                  <a:lnTo>
                    <a:pt x="23" y="136"/>
                  </a:lnTo>
                  <a:lnTo>
                    <a:pt x="23" y="130"/>
                  </a:lnTo>
                  <a:lnTo>
                    <a:pt x="22" y="129"/>
                  </a:lnTo>
                  <a:lnTo>
                    <a:pt x="22" y="128"/>
                  </a:lnTo>
                  <a:lnTo>
                    <a:pt x="19" y="128"/>
                  </a:lnTo>
                  <a:lnTo>
                    <a:pt x="19" y="126"/>
                  </a:lnTo>
                  <a:lnTo>
                    <a:pt x="17" y="126"/>
                  </a:lnTo>
                  <a:lnTo>
                    <a:pt x="16" y="125"/>
                  </a:lnTo>
                  <a:lnTo>
                    <a:pt x="14" y="125"/>
                  </a:lnTo>
                  <a:lnTo>
                    <a:pt x="12" y="124"/>
                  </a:lnTo>
                  <a:lnTo>
                    <a:pt x="8" y="122"/>
                  </a:lnTo>
                  <a:lnTo>
                    <a:pt x="7" y="120"/>
                  </a:lnTo>
                  <a:lnTo>
                    <a:pt x="7" y="119"/>
                  </a:lnTo>
                  <a:lnTo>
                    <a:pt x="5" y="117"/>
                  </a:lnTo>
                  <a:lnTo>
                    <a:pt x="0" y="111"/>
                  </a:lnTo>
                  <a:lnTo>
                    <a:pt x="4" y="111"/>
                  </a:lnTo>
                  <a:lnTo>
                    <a:pt x="4" y="110"/>
                  </a:lnTo>
                  <a:lnTo>
                    <a:pt x="5" y="110"/>
                  </a:lnTo>
                  <a:lnTo>
                    <a:pt x="5" y="107"/>
                  </a:lnTo>
                  <a:lnTo>
                    <a:pt x="6" y="106"/>
                  </a:lnTo>
                  <a:lnTo>
                    <a:pt x="7" y="106"/>
                  </a:lnTo>
                  <a:lnTo>
                    <a:pt x="8" y="105"/>
                  </a:lnTo>
                  <a:lnTo>
                    <a:pt x="8" y="100"/>
                  </a:lnTo>
                  <a:lnTo>
                    <a:pt x="6" y="98"/>
                  </a:lnTo>
                  <a:lnTo>
                    <a:pt x="4" y="97"/>
                  </a:lnTo>
                  <a:lnTo>
                    <a:pt x="4" y="95"/>
                  </a:lnTo>
                  <a:lnTo>
                    <a:pt x="5" y="93"/>
                  </a:lnTo>
                  <a:lnTo>
                    <a:pt x="5" y="89"/>
                  </a:lnTo>
                  <a:lnTo>
                    <a:pt x="6" y="88"/>
                  </a:lnTo>
                  <a:lnTo>
                    <a:pt x="6" y="86"/>
                  </a:lnTo>
                  <a:lnTo>
                    <a:pt x="5" y="85"/>
                  </a:lnTo>
                  <a:lnTo>
                    <a:pt x="4" y="82"/>
                  </a:lnTo>
                  <a:lnTo>
                    <a:pt x="5" y="82"/>
                  </a:lnTo>
                  <a:lnTo>
                    <a:pt x="5" y="81"/>
                  </a:lnTo>
                  <a:lnTo>
                    <a:pt x="6" y="81"/>
                  </a:lnTo>
                  <a:lnTo>
                    <a:pt x="7" y="80"/>
                  </a:lnTo>
                  <a:lnTo>
                    <a:pt x="7" y="79"/>
                  </a:lnTo>
                  <a:lnTo>
                    <a:pt x="17" y="79"/>
                  </a:lnTo>
                  <a:lnTo>
                    <a:pt x="17" y="77"/>
                  </a:lnTo>
                  <a:lnTo>
                    <a:pt x="18" y="76"/>
                  </a:lnTo>
                  <a:lnTo>
                    <a:pt x="18" y="74"/>
                  </a:lnTo>
                  <a:lnTo>
                    <a:pt x="19" y="73"/>
                  </a:lnTo>
                  <a:lnTo>
                    <a:pt x="20" y="73"/>
                  </a:lnTo>
                  <a:lnTo>
                    <a:pt x="24" y="69"/>
                  </a:lnTo>
                  <a:lnTo>
                    <a:pt x="24" y="67"/>
                  </a:lnTo>
                  <a:lnTo>
                    <a:pt x="25" y="67"/>
                  </a:lnTo>
                  <a:lnTo>
                    <a:pt x="26" y="65"/>
                  </a:lnTo>
                  <a:lnTo>
                    <a:pt x="28" y="63"/>
                  </a:lnTo>
                  <a:lnTo>
                    <a:pt x="28" y="61"/>
                  </a:lnTo>
                  <a:lnTo>
                    <a:pt x="26" y="60"/>
                  </a:lnTo>
                  <a:lnTo>
                    <a:pt x="25" y="60"/>
                  </a:lnTo>
                  <a:lnTo>
                    <a:pt x="20" y="55"/>
                  </a:lnTo>
                  <a:lnTo>
                    <a:pt x="20" y="52"/>
                  </a:lnTo>
                  <a:lnTo>
                    <a:pt x="17" y="50"/>
                  </a:lnTo>
                  <a:lnTo>
                    <a:pt x="17" y="49"/>
                  </a:lnTo>
                  <a:lnTo>
                    <a:pt x="13" y="49"/>
                  </a:lnTo>
                  <a:lnTo>
                    <a:pt x="13" y="46"/>
                  </a:lnTo>
                  <a:lnTo>
                    <a:pt x="11" y="46"/>
                  </a:lnTo>
                  <a:lnTo>
                    <a:pt x="11" y="45"/>
                  </a:lnTo>
                  <a:lnTo>
                    <a:pt x="8" y="45"/>
                  </a:lnTo>
                  <a:lnTo>
                    <a:pt x="8" y="44"/>
                  </a:lnTo>
                  <a:lnTo>
                    <a:pt x="7" y="43"/>
                  </a:lnTo>
                  <a:lnTo>
                    <a:pt x="7" y="40"/>
                  </a:lnTo>
                  <a:lnTo>
                    <a:pt x="6" y="39"/>
                  </a:lnTo>
                  <a:lnTo>
                    <a:pt x="6" y="34"/>
                  </a:lnTo>
                  <a:lnTo>
                    <a:pt x="5" y="33"/>
                  </a:lnTo>
                  <a:lnTo>
                    <a:pt x="4" y="33"/>
                  </a:lnTo>
                  <a:lnTo>
                    <a:pt x="4" y="32"/>
                  </a:lnTo>
                  <a:lnTo>
                    <a:pt x="3" y="31"/>
                  </a:lnTo>
                  <a:lnTo>
                    <a:pt x="3" y="27"/>
                  </a:lnTo>
                  <a:lnTo>
                    <a:pt x="1" y="26"/>
                  </a:lnTo>
                  <a:lnTo>
                    <a:pt x="1" y="22"/>
                  </a:lnTo>
                  <a:lnTo>
                    <a:pt x="3" y="20"/>
                  </a:lnTo>
                  <a:lnTo>
                    <a:pt x="3" y="14"/>
                  </a:lnTo>
                  <a:lnTo>
                    <a:pt x="4" y="13"/>
                  </a:lnTo>
                  <a:lnTo>
                    <a:pt x="7" y="13"/>
                  </a:lnTo>
                  <a:lnTo>
                    <a:pt x="7" y="12"/>
                  </a:lnTo>
                  <a:lnTo>
                    <a:pt x="10" y="9"/>
                  </a:lnTo>
                  <a:lnTo>
                    <a:pt x="12" y="9"/>
                  </a:lnTo>
                  <a:lnTo>
                    <a:pt x="12" y="8"/>
                  </a:lnTo>
                  <a:lnTo>
                    <a:pt x="11" y="7"/>
                  </a:lnTo>
                  <a:lnTo>
                    <a:pt x="11" y="6"/>
                  </a:lnTo>
                  <a:lnTo>
                    <a:pt x="12" y="5"/>
                  </a:lnTo>
                  <a:lnTo>
                    <a:pt x="12" y="2"/>
                  </a:lnTo>
                  <a:lnTo>
                    <a:pt x="13" y="1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52">
              <a:extLst>
                <a:ext uri="{FF2B5EF4-FFF2-40B4-BE49-F238E27FC236}">
                  <a16:creationId xmlns:a16="http://schemas.microsoft.com/office/drawing/2014/main" id="{121A289A-88FD-4C5D-A648-23C4B69F53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9113" y="4924425"/>
              <a:ext cx="261938" cy="252413"/>
            </a:xfrm>
            <a:custGeom>
              <a:avLst/>
              <a:gdLst/>
              <a:ahLst/>
              <a:cxnLst>
                <a:cxn ang="0">
                  <a:pos x="56" y="3"/>
                </a:cxn>
                <a:cxn ang="0">
                  <a:pos x="62" y="7"/>
                </a:cxn>
                <a:cxn ang="0">
                  <a:pos x="75" y="8"/>
                </a:cxn>
                <a:cxn ang="0">
                  <a:pos x="85" y="8"/>
                </a:cxn>
                <a:cxn ang="0">
                  <a:pos x="93" y="12"/>
                </a:cxn>
                <a:cxn ang="0">
                  <a:pos x="104" y="10"/>
                </a:cxn>
                <a:cxn ang="0">
                  <a:pos x="110" y="9"/>
                </a:cxn>
                <a:cxn ang="0">
                  <a:pos x="123" y="10"/>
                </a:cxn>
                <a:cxn ang="0">
                  <a:pos x="127" y="15"/>
                </a:cxn>
                <a:cxn ang="0">
                  <a:pos x="129" y="19"/>
                </a:cxn>
                <a:cxn ang="0">
                  <a:pos x="142" y="24"/>
                </a:cxn>
                <a:cxn ang="0">
                  <a:pos x="148" y="21"/>
                </a:cxn>
                <a:cxn ang="0">
                  <a:pos x="154" y="22"/>
                </a:cxn>
                <a:cxn ang="0">
                  <a:pos x="150" y="34"/>
                </a:cxn>
                <a:cxn ang="0">
                  <a:pos x="146" y="44"/>
                </a:cxn>
                <a:cxn ang="0">
                  <a:pos x="143" y="56"/>
                </a:cxn>
                <a:cxn ang="0">
                  <a:pos x="154" y="64"/>
                </a:cxn>
                <a:cxn ang="0">
                  <a:pos x="160" y="70"/>
                </a:cxn>
                <a:cxn ang="0">
                  <a:pos x="164" y="71"/>
                </a:cxn>
                <a:cxn ang="0">
                  <a:pos x="160" y="77"/>
                </a:cxn>
                <a:cxn ang="0">
                  <a:pos x="149" y="75"/>
                </a:cxn>
                <a:cxn ang="0">
                  <a:pos x="152" y="81"/>
                </a:cxn>
                <a:cxn ang="0">
                  <a:pos x="159" y="98"/>
                </a:cxn>
                <a:cxn ang="0">
                  <a:pos x="155" y="101"/>
                </a:cxn>
                <a:cxn ang="0">
                  <a:pos x="150" y="100"/>
                </a:cxn>
                <a:cxn ang="0">
                  <a:pos x="143" y="102"/>
                </a:cxn>
                <a:cxn ang="0">
                  <a:pos x="140" y="102"/>
                </a:cxn>
                <a:cxn ang="0">
                  <a:pos x="136" y="106"/>
                </a:cxn>
                <a:cxn ang="0">
                  <a:pos x="140" y="113"/>
                </a:cxn>
                <a:cxn ang="0">
                  <a:pos x="139" y="118"/>
                </a:cxn>
                <a:cxn ang="0">
                  <a:pos x="131" y="113"/>
                </a:cxn>
                <a:cxn ang="0">
                  <a:pos x="125" y="120"/>
                </a:cxn>
                <a:cxn ang="0">
                  <a:pos x="115" y="136"/>
                </a:cxn>
                <a:cxn ang="0">
                  <a:pos x="115" y="144"/>
                </a:cxn>
                <a:cxn ang="0">
                  <a:pos x="119" y="155"/>
                </a:cxn>
                <a:cxn ang="0">
                  <a:pos x="111" y="156"/>
                </a:cxn>
                <a:cxn ang="0">
                  <a:pos x="96" y="148"/>
                </a:cxn>
                <a:cxn ang="0">
                  <a:pos x="88" y="142"/>
                </a:cxn>
                <a:cxn ang="0">
                  <a:pos x="82" y="138"/>
                </a:cxn>
                <a:cxn ang="0">
                  <a:pos x="80" y="138"/>
                </a:cxn>
                <a:cxn ang="0">
                  <a:pos x="79" y="130"/>
                </a:cxn>
                <a:cxn ang="0">
                  <a:pos x="71" y="122"/>
                </a:cxn>
                <a:cxn ang="0">
                  <a:pos x="66" y="113"/>
                </a:cxn>
                <a:cxn ang="0">
                  <a:pos x="56" y="104"/>
                </a:cxn>
                <a:cxn ang="0">
                  <a:pos x="42" y="88"/>
                </a:cxn>
                <a:cxn ang="0">
                  <a:pos x="36" y="80"/>
                </a:cxn>
                <a:cxn ang="0">
                  <a:pos x="28" y="73"/>
                </a:cxn>
                <a:cxn ang="0">
                  <a:pos x="24" y="67"/>
                </a:cxn>
                <a:cxn ang="0">
                  <a:pos x="21" y="57"/>
                </a:cxn>
                <a:cxn ang="0">
                  <a:pos x="19" y="51"/>
                </a:cxn>
                <a:cxn ang="0">
                  <a:pos x="15" y="45"/>
                </a:cxn>
                <a:cxn ang="0">
                  <a:pos x="13" y="39"/>
                </a:cxn>
                <a:cxn ang="0">
                  <a:pos x="9" y="34"/>
                </a:cxn>
                <a:cxn ang="0">
                  <a:pos x="4" y="34"/>
                </a:cxn>
                <a:cxn ang="0">
                  <a:pos x="1" y="25"/>
                </a:cxn>
                <a:cxn ang="0">
                  <a:pos x="1" y="18"/>
                </a:cxn>
                <a:cxn ang="0">
                  <a:pos x="3" y="6"/>
                </a:cxn>
                <a:cxn ang="0">
                  <a:pos x="15" y="7"/>
                </a:cxn>
                <a:cxn ang="0">
                  <a:pos x="24" y="16"/>
                </a:cxn>
                <a:cxn ang="0">
                  <a:pos x="29" y="9"/>
                </a:cxn>
                <a:cxn ang="0">
                  <a:pos x="35" y="3"/>
                </a:cxn>
                <a:cxn ang="0">
                  <a:pos x="48" y="3"/>
                </a:cxn>
                <a:cxn ang="0">
                  <a:pos x="51" y="0"/>
                </a:cxn>
              </a:cxnLst>
              <a:rect l="0" t="0" r="r" b="b"/>
              <a:pathLst>
                <a:path w="165" h="159">
                  <a:moveTo>
                    <a:pt x="51" y="0"/>
                  </a:moveTo>
                  <a:lnTo>
                    <a:pt x="51" y="2"/>
                  </a:lnTo>
                  <a:lnTo>
                    <a:pt x="55" y="2"/>
                  </a:lnTo>
                  <a:lnTo>
                    <a:pt x="55" y="3"/>
                  </a:lnTo>
                  <a:lnTo>
                    <a:pt x="56" y="3"/>
                  </a:lnTo>
                  <a:lnTo>
                    <a:pt x="56" y="4"/>
                  </a:lnTo>
                  <a:lnTo>
                    <a:pt x="59" y="6"/>
                  </a:lnTo>
                  <a:lnTo>
                    <a:pt x="60" y="7"/>
                  </a:lnTo>
                  <a:lnTo>
                    <a:pt x="62" y="8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6" y="6"/>
                  </a:lnTo>
                  <a:lnTo>
                    <a:pt x="67" y="6"/>
                  </a:lnTo>
                  <a:lnTo>
                    <a:pt x="69" y="8"/>
                  </a:lnTo>
                  <a:lnTo>
                    <a:pt x="75" y="8"/>
                  </a:lnTo>
                  <a:lnTo>
                    <a:pt x="74" y="9"/>
                  </a:lnTo>
                  <a:lnTo>
                    <a:pt x="79" y="9"/>
                  </a:lnTo>
                  <a:lnTo>
                    <a:pt x="81" y="7"/>
                  </a:lnTo>
                  <a:lnTo>
                    <a:pt x="85" y="7"/>
                  </a:lnTo>
                  <a:lnTo>
                    <a:pt x="85" y="8"/>
                  </a:lnTo>
                  <a:lnTo>
                    <a:pt x="87" y="12"/>
                  </a:lnTo>
                  <a:lnTo>
                    <a:pt x="88" y="13"/>
                  </a:lnTo>
                  <a:lnTo>
                    <a:pt x="90" y="13"/>
                  </a:lnTo>
                  <a:lnTo>
                    <a:pt x="91" y="12"/>
                  </a:lnTo>
                  <a:lnTo>
                    <a:pt x="93" y="12"/>
                  </a:lnTo>
                  <a:lnTo>
                    <a:pt x="93" y="10"/>
                  </a:lnTo>
                  <a:lnTo>
                    <a:pt x="96" y="8"/>
                  </a:lnTo>
                  <a:lnTo>
                    <a:pt x="98" y="8"/>
                  </a:lnTo>
                  <a:lnTo>
                    <a:pt x="100" y="10"/>
                  </a:lnTo>
                  <a:lnTo>
                    <a:pt x="104" y="10"/>
                  </a:lnTo>
                  <a:lnTo>
                    <a:pt x="105" y="9"/>
                  </a:lnTo>
                  <a:lnTo>
                    <a:pt x="105" y="7"/>
                  </a:lnTo>
                  <a:lnTo>
                    <a:pt x="106" y="7"/>
                  </a:lnTo>
                  <a:lnTo>
                    <a:pt x="108" y="8"/>
                  </a:lnTo>
                  <a:lnTo>
                    <a:pt x="110" y="9"/>
                  </a:lnTo>
                  <a:lnTo>
                    <a:pt x="113" y="9"/>
                  </a:lnTo>
                  <a:lnTo>
                    <a:pt x="117" y="13"/>
                  </a:lnTo>
                  <a:lnTo>
                    <a:pt x="119" y="13"/>
                  </a:lnTo>
                  <a:lnTo>
                    <a:pt x="119" y="10"/>
                  </a:lnTo>
                  <a:lnTo>
                    <a:pt x="123" y="10"/>
                  </a:lnTo>
                  <a:lnTo>
                    <a:pt x="123" y="13"/>
                  </a:lnTo>
                  <a:lnTo>
                    <a:pt x="124" y="13"/>
                  </a:lnTo>
                  <a:lnTo>
                    <a:pt x="124" y="12"/>
                  </a:lnTo>
                  <a:lnTo>
                    <a:pt x="125" y="12"/>
                  </a:lnTo>
                  <a:lnTo>
                    <a:pt x="127" y="15"/>
                  </a:lnTo>
                  <a:lnTo>
                    <a:pt x="128" y="15"/>
                  </a:lnTo>
                  <a:lnTo>
                    <a:pt x="129" y="16"/>
                  </a:lnTo>
                  <a:lnTo>
                    <a:pt x="130" y="16"/>
                  </a:lnTo>
                  <a:lnTo>
                    <a:pt x="130" y="19"/>
                  </a:lnTo>
                  <a:lnTo>
                    <a:pt x="129" y="19"/>
                  </a:lnTo>
                  <a:lnTo>
                    <a:pt x="129" y="21"/>
                  </a:lnTo>
                  <a:lnTo>
                    <a:pt x="133" y="25"/>
                  </a:lnTo>
                  <a:lnTo>
                    <a:pt x="140" y="25"/>
                  </a:lnTo>
                  <a:lnTo>
                    <a:pt x="141" y="24"/>
                  </a:lnTo>
                  <a:lnTo>
                    <a:pt x="142" y="24"/>
                  </a:lnTo>
                  <a:lnTo>
                    <a:pt x="146" y="21"/>
                  </a:lnTo>
                  <a:lnTo>
                    <a:pt x="147" y="21"/>
                  </a:lnTo>
                  <a:lnTo>
                    <a:pt x="147" y="22"/>
                  </a:lnTo>
                  <a:lnTo>
                    <a:pt x="148" y="22"/>
                  </a:lnTo>
                  <a:lnTo>
                    <a:pt x="148" y="21"/>
                  </a:lnTo>
                  <a:lnTo>
                    <a:pt x="149" y="21"/>
                  </a:lnTo>
                  <a:lnTo>
                    <a:pt x="150" y="22"/>
                  </a:lnTo>
                  <a:lnTo>
                    <a:pt x="152" y="21"/>
                  </a:lnTo>
                  <a:lnTo>
                    <a:pt x="153" y="22"/>
                  </a:lnTo>
                  <a:lnTo>
                    <a:pt x="154" y="22"/>
                  </a:lnTo>
                  <a:lnTo>
                    <a:pt x="154" y="25"/>
                  </a:lnTo>
                  <a:lnTo>
                    <a:pt x="153" y="32"/>
                  </a:lnTo>
                  <a:lnTo>
                    <a:pt x="152" y="33"/>
                  </a:lnTo>
                  <a:lnTo>
                    <a:pt x="152" y="34"/>
                  </a:lnTo>
                  <a:lnTo>
                    <a:pt x="150" y="34"/>
                  </a:lnTo>
                  <a:lnTo>
                    <a:pt x="150" y="36"/>
                  </a:lnTo>
                  <a:lnTo>
                    <a:pt x="149" y="38"/>
                  </a:lnTo>
                  <a:lnTo>
                    <a:pt x="147" y="40"/>
                  </a:lnTo>
                  <a:lnTo>
                    <a:pt x="147" y="44"/>
                  </a:lnTo>
                  <a:lnTo>
                    <a:pt x="146" y="44"/>
                  </a:lnTo>
                  <a:lnTo>
                    <a:pt x="146" y="45"/>
                  </a:lnTo>
                  <a:lnTo>
                    <a:pt x="144" y="45"/>
                  </a:lnTo>
                  <a:lnTo>
                    <a:pt x="144" y="51"/>
                  </a:lnTo>
                  <a:lnTo>
                    <a:pt x="143" y="52"/>
                  </a:lnTo>
                  <a:lnTo>
                    <a:pt x="143" y="56"/>
                  </a:lnTo>
                  <a:lnTo>
                    <a:pt x="146" y="58"/>
                  </a:lnTo>
                  <a:lnTo>
                    <a:pt x="148" y="59"/>
                  </a:lnTo>
                  <a:lnTo>
                    <a:pt x="152" y="59"/>
                  </a:lnTo>
                  <a:lnTo>
                    <a:pt x="154" y="62"/>
                  </a:lnTo>
                  <a:lnTo>
                    <a:pt x="154" y="64"/>
                  </a:lnTo>
                  <a:lnTo>
                    <a:pt x="156" y="67"/>
                  </a:lnTo>
                  <a:lnTo>
                    <a:pt x="159" y="67"/>
                  </a:lnTo>
                  <a:lnTo>
                    <a:pt x="159" y="69"/>
                  </a:lnTo>
                  <a:lnTo>
                    <a:pt x="160" y="69"/>
                  </a:lnTo>
                  <a:lnTo>
                    <a:pt x="160" y="70"/>
                  </a:lnTo>
                  <a:lnTo>
                    <a:pt x="161" y="70"/>
                  </a:lnTo>
                  <a:lnTo>
                    <a:pt x="162" y="71"/>
                  </a:lnTo>
                  <a:lnTo>
                    <a:pt x="162" y="73"/>
                  </a:lnTo>
                  <a:lnTo>
                    <a:pt x="164" y="73"/>
                  </a:lnTo>
                  <a:lnTo>
                    <a:pt x="164" y="71"/>
                  </a:lnTo>
                  <a:lnTo>
                    <a:pt x="165" y="73"/>
                  </a:lnTo>
                  <a:lnTo>
                    <a:pt x="165" y="75"/>
                  </a:lnTo>
                  <a:lnTo>
                    <a:pt x="164" y="75"/>
                  </a:lnTo>
                  <a:lnTo>
                    <a:pt x="161" y="77"/>
                  </a:lnTo>
                  <a:lnTo>
                    <a:pt x="160" y="77"/>
                  </a:lnTo>
                  <a:lnTo>
                    <a:pt x="158" y="76"/>
                  </a:lnTo>
                  <a:lnTo>
                    <a:pt x="155" y="77"/>
                  </a:lnTo>
                  <a:lnTo>
                    <a:pt x="154" y="77"/>
                  </a:lnTo>
                  <a:lnTo>
                    <a:pt x="152" y="75"/>
                  </a:lnTo>
                  <a:lnTo>
                    <a:pt x="149" y="75"/>
                  </a:lnTo>
                  <a:lnTo>
                    <a:pt x="148" y="76"/>
                  </a:lnTo>
                  <a:lnTo>
                    <a:pt x="149" y="77"/>
                  </a:lnTo>
                  <a:lnTo>
                    <a:pt x="148" y="79"/>
                  </a:lnTo>
                  <a:lnTo>
                    <a:pt x="149" y="79"/>
                  </a:lnTo>
                  <a:lnTo>
                    <a:pt x="152" y="81"/>
                  </a:lnTo>
                  <a:lnTo>
                    <a:pt x="154" y="84"/>
                  </a:lnTo>
                  <a:lnTo>
                    <a:pt x="158" y="89"/>
                  </a:lnTo>
                  <a:lnTo>
                    <a:pt x="160" y="94"/>
                  </a:lnTo>
                  <a:lnTo>
                    <a:pt x="160" y="96"/>
                  </a:lnTo>
                  <a:lnTo>
                    <a:pt x="159" y="98"/>
                  </a:lnTo>
                  <a:lnTo>
                    <a:pt x="159" y="101"/>
                  </a:lnTo>
                  <a:lnTo>
                    <a:pt x="158" y="100"/>
                  </a:lnTo>
                  <a:lnTo>
                    <a:pt x="156" y="100"/>
                  </a:lnTo>
                  <a:lnTo>
                    <a:pt x="156" y="102"/>
                  </a:lnTo>
                  <a:lnTo>
                    <a:pt x="155" y="101"/>
                  </a:lnTo>
                  <a:lnTo>
                    <a:pt x="155" y="100"/>
                  </a:lnTo>
                  <a:lnTo>
                    <a:pt x="154" y="99"/>
                  </a:lnTo>
                  <a:lnTo>
                    <a:pt x="152" y="99"/>
                  </a:lnTo>
                  <a:lnTo>
                    <a:pt x="152" y="100"/>
                  </a:lnTo>
                  <a:lnTo>
                    <a:pt x="150" y="100"/>
                  </a:lnTo>
                  <a:lnTo>
                    <a:pt x="149" y="99"/>
                  </a:lnTo>
                  <a:lnTo>
                    <a:pt x="149" y="100"/>
                  </a:lnTo>
                  <a:lnTo>
                    <a:pt x="148" y="101"/>
                  </a:lnTo>
                  <a:lnTo>
                    <a:pt x="148" y="102"/>
                  </a:lnTo>
                  <a:lnTo>
                    <a:pt x="143" y="102"/>
                  </a:lnTo>
                  <a:lnTo>
                    <a:pt x="142" y="104"/>
                  </a:lnTo>
                  <a:lnTo>
                    <a:pt x="142" y="105"/>
                  </a:lnTo>
                  <a:lnTo>
                    <a:pt x="141" y="105"/>
                  </a:lnTo>
                  <a:lnTo>
                    <a:pt x="140" y="104"/>
                  </a:lnTo>
                  <a:lnTo>
                    <a:pt x="140" y="102"/>
                  </a:lnTo>
                  <a:lnTo>
                    <a:pt x="137" y="102"/>
                  </a:lnTo>
                  <a:lnTo>
                    <a:pt x="136" y="104"/>
                  </a:lnTo>
                  <a:lnTo>
                    <a:pt x="135" y="104"/>
                  </a:lnTo>
                  <a:lnTo>
                    <a:pt x="135" y="106"/>
                  </a:lnTo>
                  <a:lnTo>
                    <a:pt x="136" y="106"/>
                  </a:lnTo>
                  <a:lnTo>
                    <a:pt x="136" y="108"/>
                  </a:lnTo>
                  <a:lnTo>
                    <a:pt x="137" y="107"/>
                  </a:lnTo>
                  <a:lnTo>
                    <a:pt x="137" y="108"/>
                  </a:lnTo>
                  <a:lnTo>
                    <a:pt x="139" y="110"/>
                  </a:lnTo>
                  <a:lnTo>
                    <a:pt x="140" y="113"/>
                  </a:lnTo>
                  <a:lnTo>
                    <a:pt x="142" y="116"/>
                  </a:lnTo>
                  <a:lnTo>
                    <a:pt x="140" y="116"/>
                  </a:lnTo>
                  <a:lnTo>
                    <a:pt x="140" y="117"/>
                  </a:lnTo>
                  <a:lnTo>
                    <a:pt x="139" y="117"/>
                  </a:lnTo>
                  <a:lnTo>
                    <a:pt x="139" y="118"/>
                  </a:lnTo>
                  <a:lnTo>
                    <a:pt x="137" y="117"/>
                  </a:lnTo>
                  <a:lnTo>
                    <a:pt x="137" y="114"/>
                  </a:lnTo>
                  <a:lnTo>
                    <a:pt x="136" y="114"/>
                  </a:lnTo>
                  <a:lnTo>
                    <a:pt x="135" y="113"/>
                  </a:lnTo>
                  <a:lnTo>
                    <a:pt x="131" y="113"/>
                  </a:lnTo>
                  <a:lnTo>
                    <a:pt x="131" y="114"/>
                  </a:lnTo>
                  <a:lnTo>
                    <a:pt x="130" y="116"/>
                  </a:lnTo>
                  <a:lnTo>
                    <a:pt x="125" y="119"/>
                  </a:lnTo>
                  <a:lnTo>
                    <a:pt x="124" y="120"/>
                  </a:lnTo>
                  <a:lnTo>
                    <a:pt x="125" y="120"/>
                  </a:lnTo>
                  <a:lnTo>
                    <a:pt x="123" y="123"/>
                  </a:lnTo>
                  <a:lnTo>
                    <a:pt x="123" y="132"/>
                  </a:lnTo>
                  <a:lnTo>
                    <a:pt x="117" y="132"/>
                  </a:lnTo>
                  <a:lnTo>
                    <a:pt x="116" y="133"/>
                  </a:lnTo>
                  <a:lnTo>
                    <a:pt x="115" y="136"/>
                  </a:lnTo>
                  <a:lnTo>
                    <a:pt x="115" y="138"/>
                  </a:lnTo>
                  <a:lnTo>
                    <a:pt x="116" y="141"/>
                  </a:lnTo>
                  <a:lnTo>
                    <a:pt x="116" y="143"/>
                  </a:lnTo>
                  <a:lnTo>
                    <a:pt x="115" y="143"/>
                  </a:lnTo>
                  <a:lnTo>
                    <a:pt x="115" y="144"/>
                  </a:lnTo>
                  <a:lnTo>
                    <a:pt x="116" y="145"/>
                  </a:lnTo>
                  <a:lnTo>
                    <a:pt x="116" y="147"/>
                  </a:lnTo>
                  <a:lnTo>
                    <a:pt x="117" y="149"/>
                  </a:lnTo>
                  <a:lnTo>
                    <a:pt x="119" y="151"/>
                  </a:lnTo>
                  <a:lnTo>
                    <a:pt x="119" y="155"/>
                  </a:lnTo>
                  <a:lnTo>
                    <a:pt x="117" y="157"/>
                  </a:lnTo>
                  <a:lnTo>
                    <a:pt x="117" y="159"/>
                  </a:lnTo>
                  <a:lnTo>
                    <a:pt x="112" y="159"/>
                  </a:lnTo>
                  <a:lnTo>
                    <a:pt x="111" y="157"/>
                  </a:lnTo>
                  <a:lnTo>
                    <a:pt x="111" y="156"/>
                  </a:lnTo>
                  <a:lnTo>
                    <a:pt x="108" y="156"/>
                  </a:lnTo>
                  <a:lnTo>
                    <a:pt x="106" y="155"/>
                  </a:lnTo>
                  <a:lnTo>
                    <a:pt x="98" y="150"/>
                  </a:lnTo>
                  <a:lnTo>
                    <a:pt x="96" y="149"/>
                  </a:lnTo>
                  <a:lnTo>
                    <a:pt x="96" y="148"/>
                  </a:lnTo>
                  <a:lnTo>
                    <a:pt x="93" y="145"/>
                  </a:lnTo>
                  <a:lnTo>
                    <a:pt x="92" y="145"/>
                  </a:lnTo>
                  <a:lnTo>
                    <a:pt x="91" y="144"/>
                  </a:lnTo>
                  <a:lnTo>
                    <a:pt x="90" y="142"/>
                  </a:lnTo>
                  <a:lnTo>
                    <a:pt x="88" y="142"/>
                  </a:lnTo>
                  <a:lnTo>
                    <a:pt x="88" y="138"/>
                  </a:lnTo>
                  <a:lnTo>
                    <a:pt x="87" y="139"/>
                  </a:lnTo>
                  <a:lnTo>
                    <a:pt x="86" y="139"/>
                  </a:lnTo>
                  <a:lnTo>
                    <a:pt x="85" y="138"/>
                  </a:lnTo>
                  <a:lnTo>
                    <a:pt x="82" y="138"/>
                  </a:lnTo>
                  <a:lnTo>
                    <a:pt x="82" y="139"/>
                  </a:lnTo>
                  <a:lnTo>
                    <a:pt x="81" y="139"/>
                  </a:lnTo>
                  <a:lnTo>
                    <a:pt x="78" y="137"/>
                  </a:lnTo>
                  <a:lnTo>
                    <a:pt x="79" y="137"/>
                  </a:lnTo>
                  <a:lnTo>
                    <a:pt x="80" y="138"/>
                  </a:lnTo>
                  <a:lnTo>
                    <a:pt x="80" y="137"/>
                  </a:lnTo>
                  <a:lnTo>
                    <a:pt x="81" y="137"/>
                  </a:lnTo>
                  <a:lnTo>
                    <a:pt x="82" y="136"/>
                  </a:lnTo>
                  <a:lnTo>
                    <a:pt x="82" y="133"/>
                  </a:lnTo>
                  <a:lnTo>
                    <a:pt x="79" y="130"/>
                  </a:lnTo>
                  <a:lnTo>
                    <a:pt x="79" y="129"/>
                  </a:lnTo>
                  <a:lnTo>
                    <a:pt x="73" y="125"/>
                  </a:lnTo>
                  <a:lnTo>
                    <a:pt x="72" y="124"/>
                  </a:lnTo>
                  <a:lnTo>
                    <a:pt x="72" y="122"/>
                  </a:lnTo>
                  <a:lnTo>
                    <a:pt x="71" y="122"/>
                  </a:lnTo>
                  <a:lnTo>
                    <a:pt x="71" y="120"/>
                  </a:lnTo>
                  <a:lnTo>
                    <a:pt x="69" y="120"/>
                  </a:lnTo>
                  <a:lnTo>
                    <a:pt x="68" y="119"/>
                  </a:lnTo>
                  <a:lnTo>
                    <a:pt x="67" y="116"/>
                  </a:lnTo>
                  <a:lnTo>
                    <a:pt x="66" y="113"/>
                  </a:lnTo>
                  <a:lnTo>
                    <a:pt x="66" y="107"/>
                  </a:lnTo>
                  <a:lnTo>
                    <a:pt x="65" y="106"/>
                  </a:lnTo>
                  <a:lnTo>
                    <a:pt x="60" y="105"/>
                  </a:lnTo>
                  <a:lnTo>
                    <a:pt x="57" y="104"/>
                  </a:lnTo>
                  <a:lnTo>
                    <a:pt x="56" y="104"/>
                  </a:lnTo>
                  <a:lnTo>
                    <a:pt x="55" y="102"/>
                  </a:lnTo>
                  <a:lnTo>
                    <a:pt x="54" y="100"/>
                  </a:lnTo>
                  <a:lnTo>
                    <a:pt x="47" y="93"/>
                  </a:lnTo>
                  <a:lnTo>
                    <a:pt x="42" y="89"/>
                  </a:lnTo>
                  <a:lnTo>
                    <a:pt x="42" y="88"/>
                  </a:lnTo>
                  <a:lnTo>
                    <a:pt x="41" y="87"/>
                  </a:lnTo>
                  <a:lnTo>
                    <a:pt x="41" y="84"/>
                  </a:lnTo>
                  <a:lnTo>
                    <a:pt x="38" y="83"/>
                  </a:lnTo>
                  <a:lnTo>
                    <a:pt x="37" y="81"/>
                  </a:lnTo>
                  <a:lnTo>
                    <a:pt x="36" y="80"/>
                  </a:lnTo>
                  <a:lnTo>
                    <a:pt x="35" y="77"/>
                  </a:lnTo>
                  <a:lnTo>
                    <a:pt x="32" y="75"/>
                  </a:lnTo>
                  <a:lnTo>
                    <a:pt x="30" y="75"/>
                  </a:lnTo>
                  <a:lnTo>
                    <a:pt x="30" y="73"/>
                  </a:lnTo>
                  <a:lnTo>
                    <a:pt x="28" y="73"/>
                  </a:lnTo>
                  <a:lnTo>
                    <a:pt x="28" y="71"/>
                  </a:lnTo>
                  <a:lnTo>
                    <a:pt x="26" y="71"/>
                  </a:lnTo>
                  <a:lnTo>
                    <a:pt x="25" y="70"/>
                  </a:lnTo>
                  <a:lnTo>
                    <a:pt x="24" y="68"/>
                  </a:lnTo>
                  <a:lnTo>
                    <a:pt x="24" y="67"/>
                  </a:lnTo>
                  <a:lnTo>
                    <a:pt x="21" y="63"/>
                  </a:lnTo>
                  <a:lnTo>
                    <a:pt x="21" y="61"/>
                  </a:lnTo>
                  <a:lnTo>
                    <a:pt x="19" y="59"/>
                  </a:lnTo>
                  <a:lnTo>
                    <a:pt x="19" y="58"/>
                  </a:lnTo>
                  <a:lnTo>
                    <a:pt x="21" y="57"/>
                  </a:lnTo>
                  <a:lnTo>
                    <a:pt x="21" y="53"/>
                  </a:lnTo>
                  <a:lnTo>
                    <a:pt x="18" y="53"/>
                  </a:lnTo>
                  <a:lnTo>
                    <a:pt x="18" y="52"/>
                  </a:lnTo>
                  <a:lnTo>
                    <a:pt x="19" y="52"/>
                  </a:lnTo>
                  <a:lnTo>
                    <a:pt x="19" y="51"/>
                  </a:lnTo>
                  <a:lnTo>
                    <a:pt x="18" y="50"/>
                  </a:lnTo>
                  <a:lnTo>
                    <a:pt x="17" y="47"/>
                  </a:lnTo>
                  <a:lnTo>
                    <a:pt x="17" y="44"/>
                  </a:lnTo>
                  <a:lnTo>
                    <a:pt x="16" y="44"/>
                  </a:lnTo>
                  <a:lnTo>
                    <a:pt x="15" y="45"/>
                  </a:lnTo>
                  <a:lnTo>
                    <a:pt x="13" y="45"/>
                  </a:lnTo>
                  <a:lnTo>
                    <a:pt x="12" y="44"/>
                  </a:lnTo>
                  <a:lnTo>
                    <a:pt x="12" y="43"/>
                  </a:lnTo>
                  <a:lnTo>
                    <a:pt x="13" y="41"/>
                  </a:lnTo>
                  <a:lnTo>
                    <a:pt x="13" y="39"/>
                  </a:lnTo>
                  <a:lnTo>
                    <a:pt x="12" y="38"/>
                  </a:lnTo>
                  <a:lnTo>
                    <a:pt x="11" y="38"/>
                  </a:lnTo>
                  <a:lnTo>
                    <a:pt x="10" y="37"/>
                  </a:lnTo>
                  <a:lnTo>
                    <a:pt x="10" y="36"/>
                  </a:lnTo>
                  <a:lnTo>
                    <a:pt x="9" y="34"/>
                  </a:lnTo>
                  <a:lnTo>
                    <a:pt x="7" y="34"/>
                  </a:lnTo>
                  <a:lnTo>
                    <a:pt x="7" y="33"/>
                  </a:lnTo>
                  <a:lnTo>
                    <a:pt x="6" y="33"/>
                  </a:lnTo>
                  <a:lnTo>
                    <a:pt x="6" y="34"/>
                  </a:lnTo>
                  <a:lnTo>
                    <a:pt x="4" y="34"/>
                  </a:lnTo>
                  <a:lnTo>
                    <a:pt x="0" y="31"/>
                  </a:lnTo>
                  <a:lnTo>
                    <a:pt x="0" y="27"/>
                  </a:lnTo>
                  <a:lnTo>
                    <a:pt x="3" y="27"/>
                  </a:lnTo>
                  <a:lnTo>
                    <a:pt x="3" y="26"/>
                  </a:lnTo>
                  <a:lnTo>
                    <a:pt x="1" y="25"/>
                  </a:lnTo>
                  <a:lnTo>
                    <a:pt x="1" y="24"/>
                  </a:lnTo>
                  <a:lnTo>
                    <a:pt x="0" y="22"/>
                  </a:lnTo>
                  <a:lnTo>
                    <a:pt x="0" y="20"/>
                  </a:lnTo>
                  <a:lnTo>
                    <a:pt x="1" y="20"/>
                  </a:lnTo>
                  <a:lnTo>
                    <a:pt x="1" y="18"/>
                  </a:lnTo>
                  <a:lnTo>
                    <a:pt x="3" y="16"/>
                  </a:lnTo>
                  <a:lnTo>
                    <a:pt x="1" y="15"/>
                  </a:lnTo>
                  <a:lnTo>
                    <a:pt x="1" y="14"/>
                  </a:lnTo>
                  <a:lnTo>
                    <a:pt x="3" y="12"/>
                  </a:lnTo>
                  <a:lnTo>
                    <a:pt x="3" y="6"/>
                  </a:lnTo>
                  <a:lnTo>
                    <a:pt x="5" y="3"/>
                  </a:lnTo>
                  <a:lnTo>
                    <a:pt x="13" y="3"/>
                  </a:lnTo>
                  <a:lnTo>
                    <a:pt x="13" y="6"/>
                  </a:lnTo>
                  <a:lnTo>
                    <a:pt x="15" y="6"/>
                  </a:lnTo>
                  <a:lnTo>
                    <a:pt x="15" y="7"/>
                  </a:lnTo>
                  <a:lnTo>
                    <a:pt x="16" y="7"/>
                  </a:lnTo>
                  <a:lnTo>
                    <a:pt x="17" y="9"/>
                  </a:lnTo>
                  <a:lnTo>
                    <a:pt x="17" y="10"/>
                  </a:lnTo>
                  <a:lnTo>
                    <a:pt x="22" y="15"/>
                  </a:lnTo>
                  <a:lnTo>
                    <a:pt x="24" y="16"/>
                  </a:lnTo>
                  <a:lnTo>
                    <a:pt x="26" y="16"/>
                  </a:lnTo>
                  <a:lnTo>
                    <a:pt x="26" y="14"/>
                  </a:lnTo>
                  <a:lnTo>
                    <a:pt x="28" y="12"/>
                  </a:lnTo>
                  <a:lnTo>
                    <a:pt x="28" y="10"/>
                  </a:lnTo>
                  <a:lnTo>
                    <a:pt x="29" y="9"/>
                  </a:lnTo>
                  <a:lnTo>
                    <a:pt x="30" y="9"/>
                  </a:lnTo>
                  <a:lnTo>
                    <a:pt x="30" y="8"/>
                  </a:lnTo>
                  <a:lnTo>
                    <a:pt x="31" y="8"/>
                  </a:lnTo>
                  <a:lnTo>
                    <a:pt x="32" y="4"/>
                  </a:lnTo>
                  <a:lnTo>
                    <a:pt x="35" y="3"/>
                  </a:lnTo>
                  <a:lnTo>
                    <a:pt x="37" y="3"/>
                  </a:lnTo>
                  <a:lnTo>
                    <a:pt x="46" y="6"/>
                  </a:lnTo>
                  <a:lnTo>
                    <a:pt x="47" y="6"/>
                  </a:lnTo>
                  <a:lnTo>
                    <a:pt x="47" y="3"/>
                  </a:lnTo>
                  <a:lnTo>
                    <a:pt x="48" y="3"/>
                  </a:lnTo>
                  <a:lnTo>
                    <a:pt x="48" y="2"/>
                  </a:lnTo>
                  <a:lnTo>
                    <a:pt x="49" y="2"/>
                  </a:lnTo>
                  <a:lnTo>
                    <a:pt x="49" y="1"/>
                  </a:lnTo>
                  <a:lnTo>
                    <a:pt x="50" y="1"/>
                  </a:lnTo>
                  <a:lnTo>
                    <a:pt x="51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53">
              <a:extLst>
                <a:ext uri="{FF2B5EF4-FFF2-40B4-BE49-F238E27FC236}">
                  <a16:creationId xmlns:a16="http://schemas.microsoft.com/office/drawing/2014/main" id="{6E7CAF74-4708-41B7-87AC-69D5A6D498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16463" y="4295775"/>
              <a:ext cx="257175" cy="211138"/>
            </a:xfrm>
            <a:custGeom>
              <a:avLst/>
              <a:gdLst/>
              <a:ahLst/>
              <a:cxnLst>
                <a:cxn ang="0">
                  <a:pos x="94" y="0"/>
                </a:cxn>
                <a:cxn ang="0">
                  <a:pos x="94" y="5"/>
                </a:cxn>
                <a:cxn ang="0">
                  <a:pos x="103" y="5"/>
                </a:cxn>
                <a:cxn ang="0">
                  <a:pos x="107" y="3"/>
                </a:cxn>
                <a:cxn ang="0">
                  <a:pos x="109" y="13"/>
                </a:cxn>
                <a:cxn ang="0">
                  <a:pos x="120" y="17"/>
                </a:cxn>
                <a:cxn ang="0">
                  <a:pos x="127" y="19"/>
                </a:cxn>
                <a:cxn ang="0">
                  <a:pos x="137" y="23"/>
                </a:cxn>
                <a:cxn ang="0">
                  <a:pos x="137" y="30"/>
                </a:cxn>
                <a:cxn ang="0">
                  <a:pos x="134" y="39"/>
                </a:cxn>
                <a:cxn ang="0">
                  <a:pos x="132" y="47"/>
                </a:cxn>
                <a:cxn ang="0">
                  <a:pos x="137" y="51"/>
                </a:cxn>
                <a:cxn ang="0">
                  <a:pos x="153" y="58"/>
                </a:cxn>
                <a:cxn ang="0">
                  <a:pos x="153" y="64"/>
                </a:cxn>
                <a:cxn ang="0">
                  <a:pos x="155" y="68"/>
                </a:cxn>
                <a:cxn ang="0">
                  <a:pos x="159" y="70"/>
                </a:cxn>
                <a:cxn ang="0">
                  <a:pos x="158" y="80"/>
                </a:cxn>
                <a:cxn ang="0">
                  <a:pos x="152" y="85"/>
                </a:cxn>
                <a:cxn ang="0">
                  <a:pos x="151" y="92"/>
                </a:cxn>
                <a:cxn ang="0">
                  <a:pos x="144" y="89"/>
                </a:cxn>
                <a:cxn ang="0">
                  <a:pos x="140" y="96"/>
                </a:cxn>
                <a:cxn ang="0">
                  <a:pos x="136" y="103"/>
                </a:cxn>
                <a:cxn ang="0">
                  <a:pos x="134" y="110"/>
                </a:cxn>
                <a:cxn ang="0">
                  <a:pos x="137" y="115"/>
                </a:cxn>
                <a:cxn ang="0">
                  <a:pos x="139" y="121"/>
                </a:cxn>
                <a:cxn ang="0">
                  <a:pos x="140" y="126"/>
                </a:cxn>
                <a:cxn ang="0">
                  <a:pos x="136" y="129"/>
                </a:cxn>
                <a:cxn ang="0">
                  <a:pos x="130" y="131"/>
                </a:cxn>
                <a:cxn ang="0">
                  <a:pos x="122" y="132"/>
                </a:cxn>
                <a:cxn ang="0">
                  <a:pos x="119" y="125"/>
                </a:cxn>
                <a:cxn ang="0">
                  <a:pos x="115" y="121"/>
                </a:cxn>
                <a:cxn ang="0">
                  <a:pos x="110" y="120"/>
                </a:cxn>
                <a:cxn ang="0">
                  <a:pos x="103" y="114"/>
                </a:cxn>
                <a:cxn ang="0">
                  <a:pos x="97" y="104"/>
                </a:cxn>
                <a:cxn ang="0">
                  <a:pos x="97" y="95"/>
                </a:cxn>
                <a:cxn ang="0">
                  <a:pos x="95" y="90"/>
                </a:cxn>
                <a:cxn ang="0">
                  <a:pos x="80" y="104"/>
                </a:cxn>
                <a:cxn ang="0">
                  <a:pos x="69" y="97"/>
                </a:cxn>
                <a:cxn ang="0">
                  <a:pos x="69" y="92"/>
                </a:cxn>
                <a:cxn ang="0">
                  <a:pos x="69" y="85"/>
                </a:cxn>
                <a:cxn ang="0">
                  <a:pos x="66" y="83"/>
                </a:cxn>
                <a:cxn ang="0">
                  <a:pos x="58" y="79"/>
                </a:cxn>
                <a:cxn ang="0">
                  <a:pos x="51" y="77"/>
                </a:cxn>
                <a:cxn ang="0">
                  <a:pos x="47" y="79"/>
                </a:cxn>
                <a:cxn ang="0">
                  <a:pos x="40" y="68"/>
                </a:cxn>
                <a:cxn ang="0">
                  <a:pos x="34" y="68"/>
                </a:cxn>
                <a:cxn ang="0">
                  <a:pos x="31" y="62"/>
                </a:cxn>
                <a:cxn ang="0">
                  <a:pos x="27" y="52"/>
                </a:cxn>
                <a:cxn ang="0">
                  <a:pos x="19" y="51"/>
                </a:cxn>
                <a:cxn ang="0">
                  <a:pos x="10" y="53"/>
                </a:cxn>
                <a:cxn ang="0">
                  <a:pos x="6" y="47"/>
                </a:cxn>
                <a:cxn ang="0">
                  <a:pos x="2" y="45"/>
                </a:cxn>
                <a:cxn ang="0">
                  <a:pos x="1" y="33"/>
                </a:cxn>
                <a:cxn ang="0">
                  <a:pos x="25" y="11"/>
                </a:cxn>
                <a:cxn ang="0">
                  <a:pos x="41" y="17"/>
                </a:cxn>
                <a:cxn ang="0">
                  <a:pos x="52" y="17"/>
                </a:cxn>
                <a:cxn ang="0">
                  <a:pos x="59" y="19"/>
                </a:cxn>
                <a:cxn ang="0">
                  <a:pos x="71" y="9"/>
                </a:cxn>
                <a:cxn ang="0">
                  <a:pos x="72" y="9"/>
                </a:cxn>
                <a:cxn ang="0">
                  <a:pos x="78" y="6"/>
                </a:cxn>
                <a:cxn ang="0">
                  <a:pos x="84" y="5"/>
                </a:cxn>
                <a:cxn ang="0">
                  <a:pos x="94" y="0"/>
                </a:cxn>
              </a:cxnLst>
              <a:rect l="0" t="0" r="r" b="b"/>
              <a:pathLst>
                <a:path w="162" h="133">
                  <a:moveTo>
                    <a:pt x="75" y="13"/>
                  </a:moveTo>
                  <a:lnTo>
                    <a:pt x="75" y="15"/>
                  </a:lnTo>
                  <a:lnTo>
                    <a:pt x="76" y="13"/>
                  </a:lnTo>
                  <a:lnTo>
                    <a:pt x="75" y="13"/>
                  </a:lnTo>
                  <a:close/>
                  <a:moveTo>
                    <a:pt x="94" y="0"/>
                  </a:moveTo>
                  <a:lnTo>
                    <a:pt x="95" y="0"/>
                  </a:lnTo>
                  <a:lnTo>
                    <a:pt x="96" y="2"/>
                  </a:lnTo>
                  <a:lnTo>
                    <a:pt x="96" y="6"/>
                  </a:lnTo>
                  <a:lnTo>
                    <a:pt x="95" y="5"/>
                  </a:lnTo>
                  <a:lnTo>
                    <a:pt x="94" y="5"/>
                  </a:lnTo>
                  <a:lnTo>
                    <a:pt x="94" y="6"/>
                  </a:lnTo>
                  <a:lnTo>
                    <a:pt x="99" y="6"/>
                  </a:lnTo>
                  <a:lnTo>
                    <a:pt x="100" y="8"/>
                  </a:lnTo>
                  <a:lnTo>
                    <a:pt x="101" y="8"/>
                  </a:lnTo>
                  <a:lnTo>
                    <a:pt x="103" y="5"/>
                  </a:lnTo>
                  <a:lnTo>
                    <a:pt x="103" y="4"/>
                  </a:lnTo>
                  <a:lnTo>
                    <a:pt x="105" y="3"/>
                  </a:lnTo>
                  <a:lnTo>
                    <a:pt x="105" y="2"/>
                  </a:lnTo>
                  <a:lnTo>
                    <a:pt x="106" y="2"/>
                  </a:lnTo>
                  <a:lnTo>
                    <a:pt x="107" y="3"/>
                  </a:lnTo>
                  <a:lnTo>
                    <a:pt x="107" y="9"/>
                  </a:lnTo>
                  <a:lnTo>
                    <a:pt x="108" y="10"/>
                  </a:lnTo>
                  <a:lnTo>
                    <a:pt x="108" y="11"/>
                  </a:lnTo>
                  <a:lnTo>
                    <a:pt x="109" y="12"/>
                  </a:lnTo>
                  <a:lnTo>
                    <a:pt x="109" y="13"/>
                  </a:lnTo>
                  <a:lnTo>
                    <a:pt x="113" y="13"/>
                  </a:lnTo>
                  <a:lnTo>
                    <a:pt x="113" y="16"/>
                  </a:lnTo>
                  <a:lnTo>
                    <a:pt x="114" y="17"/>
                  </a:lnTo>
                  <a:lnTo>
                    <a:pt x="115" y="16"/>
                  </a:lnTo>
                  <a:lnTo>
                    <a:pt x="120" y="17"/>
                  </a:lnTo>
                  <a:lnTo>
                    <a:pt x="122" y="15"/>
                  </a:lnTo>
                  <a:lnTo>
                    <a:pt x="126" y="15"/>
                  </a:lnTo>
                  <a:lnTo>
                    <a:pt x="126" y="16"/>
                  </a:lnTo>
                  <a:lnTo>
                    <a:pt x="127" y="17"/>
                  </a:lnTo>
                  <a:lnTo>
                    <a:pt x="127" y="19"/>
                  </a:lnTo>
                  <a:lnTo>
                    <a:pt x="128" y="19"/>
                  </a:lnTo>
                  <a:lnTo>
                    <a:pt x="131" y="21"/>
                  </a:lnTo>
                  <a:lnTo>
                    <a:pt x="131" y="22"/>
                  </a:lnTo>
                  <a:lnTo>
                    <a:pt x="136" y="22"/>
                  </a:lnTo>
                  <a:lnTo>
                    <a:pt x="137" y="23"/>
                  </a:lnTo>
                  <a:lnTo>
                    <a:pt x="139" y="23"/>
                  </a:lnTo>
                  <a:lnTo>
                    <a:pt x="139" y="28"/>
                  </a:lnTo>
                  <a:lnTo>
                    <a:pt x="138" y="28"/>
                  </a:lnTo>
                  <a:lnTo>
                    <a:pt x="138" y="30"/>
                  </a:lnTo>
                  <a:lnTo>
                    <a:pt x="137" y="30"/>
                  </a:lnTo>
                  <a:lnTo>
                    <a:pt x="137" y="33"/>
                  </a:lnTo>
                  <a:lnTo>
                    <a:pt x="136" y="34"/>
                  </a:lnTo>
                  <a:lnTo>
                    <a:pt x="134" y="36"/>
                  </a:lnTo>
                  <a:lnTo>
                    <a:pt x="137" y="36"/>
                  </a:lnTo>
                  <a:lnTo>
                    <a:pt x="134" y="39"/>
                  </a:lnTo>
                  <a:lnTo>
                    <a:pt x="134" y="40"/>
                  </a:lnTo>
                  <a:lnTo>
                    <a:pt x="133" y="40"/>
                  </a:lnTo>
                  <a:lnTo>
                    <a:pt x="130" y="43"/>
                  </a:lnTo>
                  <a:lnTo>
                    <a:pt x="131" y="46"/>
                  </a:lnTo>
                  <a:lnTo>
                    <a:pt x="132" y="47"/>
                  </a:lnTo>
                  <a:lnTo>
                    <a:pt x="133" y="47"/>
                  </a:lnTo>
                  <a:lnTo>
                    <a:pt x="133" y="51"/>
                  </a:lnTo>
                  <a:lnTo>
                    <a:pt x="134" y="51"/>
                  </a:lnTo>
                  <a:lnTo>
                    <a:pt x="136" y="49"/>
                  </a:lnTo>
                  <a:lnTo>
                    <a:pt x="137" y="51"/>
                  </a:lnTo>
                  <a:lnTo>
                    <a:pt x="146" y="51"/>
                  </a:lnTo>
                  <a:lnTo>
                    <a:pt x="146" y="53"/>
                  </a:lnTo>
                  <a:lnTo>
                    <a:pt x="150" y="53"/>
                  </a:lnTo>
                  <a:lnTo>
                    <a:pt x="150" y="54"/>
                  </a:lnTo>
                  <a:lnTo>
                    <a:pt x="153" y="58"/>
                  </a:lnTo>
                  <a:lnTo>
                    <a:pt x="152" y="58"/>
                  </a:lnTo>
                  <a:lnTo>
                    <a:pt x="153" y="59"/>
                  </a:lnTo>
                  <a:lnTo>
                    <a:pt x="153" y="60"/>
                  </a:lnTo>
                  <a:lnTo>
                    <a:pt x="157" y="60"/>
                  </a:lnTo>
                  <a:lnTo>
                    <a:pt x="153" y="64"/>
                  </a:lnTo>
                  <a:lnTo>
                    <a:pt x="153" y="66"/>
                  </a:lnTo>
                  <a:lnTo>
                    <a:pt x="155" y="66"/>
                  </a:lnTo>
                  <a:lnTo>
                    <a:pt x="153" y="67"/>
                  </a:lnTo>
                  <a:lnTo>
                    <a:pt x="155" y="67"/>
                  </a:lnTo>
                  <a:lnTo>
                    <a:pt x="155" y="68"/>
                  </a:lnTo>
                  <a:lnTo>
                    <a:pt x="156" y="68"/>
                  </a:lnTo>
                  <a:lnTo>
                    <a:pt x="157" y="67"/>
                  </a:lnTo>
                  <a:lnTo>
                    <a:pt x="158" y="68"/>
                  </a:lnTo>
                  <a:lnTo>
                    <a:pt x="159" y="68"/>
                  </a:lnTo>
                  <a:lnTo>
                    <a:pt x="159" y="70"/>
                  </a:lnTo>
                  <a:lnTo>
                    <a:pt x="161" y="71"/>
                  </a:lnTo>
                  <a:lnTo>
                    <a:pt x="161" y="76"/>
                  </a:lnTo>
                  <a:lnTo>
                    <a:pt x="162" y="78"/>
                  </a:lnTo>
                  <a:lnTo>
                    <a:pt x="162" y="80"/>
                  </a:lnTo>
                  <a:lnTo>
                    <a:pt x="158" y="80"/>
                  </a:lnTo>
                  <a:lnTo>
                    <a:pt x="157" y="82"/>
                  </a:lnTo>
                  <a:lnTo>
                    <a:pt x="157" y="83"/>
                  </a:lnTo>
                  <a:lnTo>
                    <a:pt x="155" y="84"/>
                  </a:lnTo>
                  <a:lnTo>
                    <a:pt x="153" y="85"/>
                  </a:lnTo>
                  <a:lnTo>
                    <a:pt x="152" y="85"/>
                  </a:lnTo>
                  <a:lnTo>
                    <a:pt x="152" y="86"/>
                  </a:lnTo>
                  <a:lnTo>
                    <a:pt x="153" y="86"/>
                  </a:lnTo>
                  <a:lnTo>
                    <a:pt x="153" y="89"/>
                  </a:lnTo>
                  <a:lnTo>
                    <a:pt x="151" y="89"/>
                  </a:lnTo>
                  <a:lnTo>
                    <a:pt x="151" y="92"/>
                  </a:lnTo>
                  <a:lnTo>
                    <a:pt x="150" y="92"/>
                  </a:lnTo>
                  <a:lnTo>
                    <a:pt x="150" y="90"/>
                  </a:lnTo>
                  <a:lnTo>
                    <a:pt x="146" y="90"/>
                  </a:lnTo>
                  <a:lnTo>
                    <a:pt x="146" y="89"/>
                  </a:lnTo>
                  <a:lnTo>
                    <a:pt x="144" y="89"/>
                  </a:lnTo>
                  <a:lnTo>
                    <a:pt x="144" y="92"/>
                  </a:lnTo>
                  <a:lnTo>
                    <a:pt x="143" y="92"/>
                  </a:lnTo>
                  <a:lnTo>
                    <a:pt x="141" y="94"/>
                  </a:lnTo>
                  <a:lnTo>
                    <a:pt x="140" y="94"/>
                  </a:lnTo>
                  <a:lnTo>
                    <a:pt x="140" y="96"/>
                  </a:lnTo>
                  <a:lnTo>
                    <a:pt x="139" y="97"/>
                  </a:lnTo>
                  <a:lnTo>
                    <a:pt x="139" y="99"/>
                  </a:lnTo>
                  <a:lnTo>
                    <a:pt x="138" y="99"/>
                  </a:lnTo>
                  <a:lnTo>
                    <a:pt x="138" y="103"/>
                  </a:lnTo>
                  <a:lnTo>
                    <a:pt x="136" y="103"/>
                  </a:lnTo>
                  <a:lnTo>
                    <a:pt x="136" y="104"/>
                  </a:lnTo>
                  <a:lnTo>
                    <a:pt x="134" y="108"/>
                  </a:lnTo>
                  <a:lnTo>
                    <a:pt x="136" y="109"/>
                  </a:lnTo>
                  <a:lnTo>
                    <a:pt x="134" y="109"/>
                  </a:lnTo>
                  <a:lnTo>
                    <a:pt x="134" y="110"/>
                  </a:lnTo>
                  <a:lnTo>
                    <a:pt x="136" y="110"/>
                  </a:lnTo>
                  <a:lnTo>
                    <a:pt x="134" y="111"/>
                  </a:lnTo>
                  <a:lnTo>
                    <a:pt x="134" y="114"/>
                  </a:lnTo>
                  <a:lnTo>
                    <a:pt x="136" y="114"/>
                  </a:lnTo>
                  <a:lnTo>
                    <a:pt x="137" y="115"/>
                  </a:lnTo>
                  <a:lnTo>
                    <a:pt x="138" y="117"/>
                  </a:lnTo>
                  <a:lnTo>
                    <a:pt x="138" y="119"/>
                  </a:lnTo>
                  <a:lnTo>
                    <a:pt x="140" y="119"/>
                  </a:lnTo>
                  <a:lnTo>
                    <a:pt x="140" y="120"/>
                  </a:lnTo>
                  <a:lnTo>
                    <a:pt x="139" y="121"/>
                  </a:lnTo>
                  <a:lnTo>
                    <a:pt x="139" y="122"/>
                  </a:lnTo>
                  <a:lnTo>
                    <a:pt x="141" y="122"/>
                  </a:lnTo>
                  <a:lnTo>
                    <a:pt x="141" y="125"/>
                  </a:lnTo>
                  <a:lnTo>
                    <a:pt x="140" y="125"/>
                  </a:lnTo>
                  <a:lnTo>
                    <a:pt x="140" y="126"/>
                  </a:lnTo>
                  <a:lnTo>
                    <a:pt x="139" y="127"/>
                  </a:lnTo>
                  <a:lnTo>
                    <a:pt x="139" y="129"/>
                  </a:lnTo>
                  <a:lnTo>
                    <a:pt x="138" y="129"/>
                  </a:lnTo>
                  <a:lnTo>
                    <a:pt x="137" y="131"/>
                  </a:lnTo>
                  <a:lnTo>
                    <a:pt x="136" y="129"/>
                  </a:lnTo>
                  <a:lnTo>
                    <a:pt x="134" y="129"/>
                  </a:lnTo>
                  <a:lnTo>
                    <a:pt x="134" y="131"/>
                  </a:lnTo>
                  <a:lnTo>
                    <a:pt x="132" y="131"/>
                  </a:lnTo>
                  <a:lnTo>
                    <a:pt x="131" y="129"/>
                  </a:lnTo>
                  <a:lnTo>
                    <a:pt x="130" y="131"/>
                  </a:lnTo>
                  <a:lnTo>
                    <a:pt x="130" y="132"/>
                  </a:lnTo>
                  <a:lnTo>
                    <a:pt x="126" y="132"/>
                  </a:lnTo>
                  <a:lnTo>
                    <a:pt x="125" y="133"/>
                  </a:lnTo>
                  <a:lnTo>
                    <a:pt x="124" y="133"/>
                  </a:lnTo>
                  <a:lnTo>
                    <a:pt x="122" y="132"/>
                  </a:lnTo>
                  <a:lnTo>
                    <a:pt x="124" y="131"/>
                  </a:lnTo>
                  <a:lnTo>
                    <a:pt x="122" y="129"/>
                  </a:lnTo>
                  <a:lnTo>
                    <a:pt x="121" y="126"/>
                  </a:lnTo>
                  <a:lnTo>
                    <a:pt x="120" y="126"/>
                  </a:lnTo>
                  <a:lnTo>
                    <a:pt x="119" y="125"/>
                  </a:lnTo>
                  <a:lnTo>
                    <a:pt x="118" y="125"/>
                  </a:lnTo>
                  <a:lnTo>
                    <a:pt x="118" y="126"/>
                  </a:lnTo>
                  <a:lnTo>
                    <a:pt x="116" y="126"/>
                  </a:lnTo>
                  <a:lnTo>
                    <a:pt x="116" y="122"/>
                  </a:lnTo>
                  <a:lnTo>
                    <a:pt x="115" y="121"/>
                  </a:lnTo>
                  <a:lnTo>
                    <a:pt x="115" y="120"/>
                  </a:lnTo>
                  <a:lnTo>
                    <a:pt x="114" y="120"/>
                  </a:lnTo>
                  <a:lnTo>
                    <a:pt x="112" y="121"/>
                  </a:lnTo>
                  <a:lnTo>
                    <a:pt x="110" y="121"/>
                  </a:lnTo>
                  <a:lnTo>
                    <a:pt x="110" y="120"/>
                  </a:lnTo>
                  <a:lnTo>
                    <a:pt x="109" y="120"/>
                  </a:lnTo>
                  <a:lnTo>
                    <a:pt x="108" y="117"/>
                  </a:lnTo>
                  <a:lnTo>
                    <a:pt x="107" y="116"/>
                  </a:lnTo>
                  <a:lnTo>
                    <a:pt x="106" y="116"/>
                  </a:lnTo>
                  <a:lnTo>
                    <a:pt x="103" y="114"/>
                  </a:lnTo>
                  <a:lnTo>
                    <a:pt x="97" y="114"/>
                  </a:lnTo>
                  <a:lnTo>
                    <a:pt x="97" y="108"/>
                  </a:lnTo>
                  <a:lnTo>
                    <a:pt x="99" y="107"/>
                  </a:lnTo>
                  <a:lnTo>
                    <a:pt x="99" y="105"/>
                  </a:lnTo>
                  <a:lnTo>
                    <a:pt x="97" y="104"/>
                  </a:lnTo>
                  <a:lnTo>
                    <a:pt x="95" y="104"/>
                  </a:lnTo>
                  <a:lnTo>
                    <a:pt x="95" y="102"/>
                  </a:lnTo>
                  <a:lnTo>
                    <a:pt x="96" y="98"/>
                  </a:lnTo>
                  <a:lnTo>
                    <a:pt x="96" y="96"/>
                  </a:lnTo>
                  <a:lnTo>
                    <a:pt x="97" y="95"/>
                  </a:lnTo>
                  <a:lnTo>
                    <a:pt x="99" y="95"/>
                  </a:lnTo>
                  <a:lnTo>
                    <a:pt x="99" y="90"/>
                  </a:lnTo>
                  <a:lnTo>
                    <a:pt x="96" y="91"/>
                  </a:lnTo>
                  <a:lnTo>
                    <a:pt x="96" y="90"/>
                  </a:lnTo>
                  <a:lnTo>
                    <a:pt x="95" y="90"/>
                  </a:lnTo>
                  <a:lnTo>
                    <a:pt x="90" y="95"/>
                  </a:lnTo>
                  <a:lnTo>
                    <a:pt x="90" y="101"/>
                  </a:lnTo>
                  <a:lnTo>
                    <a:pt x="89" y="101"/>
                  </a:lnTo>
                  <a:lnTo>
                    <a:pt x="82" y="104"/>
                  </a:lnTo>
                  <a:lnTo>
                    <a:pt x="80" y="104"/>
                  </a:lnTo>
                  <a:lnTo>
                    <a:pt x="74" y="103"/>
                  </a:lnTo>
                  <a:lnTo>
                    <a:pt x="70" y="103"/>
                  </a:lnTo>
                  <a:lnTo>
                    <a:pt x="68" y="102"/>
                  </a:lnTo>
                  <a:lnTo>
                    <a:pt x="68" y="98"/>
                  </a:lnTo>
                  <a:lnTo>
                    <a:pt x="69" y="97"/>
                  </a:lnTo>
                  <a:lnTo>
                    <a:pt x="70" y="97"/>
                  </a:lnTo>
                  <a:lnTo>
                    <a:pt x="70" y="96"/>
                  </a:lnTo>
                  <a:lnTo>
                    <a:pt x="71" y="96"/>
                  </a:lnTo>
                  <a:lnTo>
                    <a:pt x="70" y="95"/>
                  </a:lnTo>
                  <a:lnTo>
                    <a:pt x="69" y="92"/>
                  </a:lnTo>
                  <a:lnTo>
                    <a:pt x="69" y="91"/>
                  </a:lnTo>
                  <a:lnTo>
                    <a:pt x="68" y="92"/>
                  </a:lnTo>
                  <a:lnTo>
                    <a:pt x="68" y="86"/>
                  </a:lnTo>
                  <a:lnTo>
                    <a:pt x="69" y="86"/>
                  </a:lnTo>
                  <a:lnTo>
                    <a:pt x="69" y="85"/>
                  </a:lnTo>
                  <a:lnTo>
                    <a:pt x="70" y="85"/>
                  </a:lnTo>
                  <a:lnTo>
                    <a:pt x="70" y="83"/>
                  </a:lnTo>
                  <a:lnTo>
                    <a:pt x="68" y="83"/>
                  </a:lnTo>
                  <a:lnTo>
                    <a:pt x="68" y="84"/>
                  </a:lnTo>
                  <a:lnTo>
                    <a:pt x="66" y="83"/>
                  </a:lnTo>
                  <a:lnTo>
                    <a:pt x="66" y="80"/>
                  </a:lnTo>
                  <a:lnTo>
                    <a:pt x="65" y="80"/>
                  </a:lnTo>
                  <a:lnTo>
                    <a:pt x="63" y="78"/>
                  </a:lnTo>
                  <a:lnTo>
                    <a:pt x="60" y="78"/>
                  </a:lnTo>
                  <a:lnTo>
                    <a:pt x="58" y="79"/>
                  </a:lnTo>
                  <a:lnTo>
                    <a:pt x="57" y="79"/>
                  </a:lnTo>
                  <a:lnTo>
                    <a:pt x="57" y="78"/>
                  </a:lnTo>
                  <a:lnTo>
                    <a:pt x="54" y="78"/>
                  </a:lnTo>
                  <a:lnTo>
                    <a:pt x="53" y="77"/>
                  </a:lnTo>
                  <a:lnTo>
                    <a:pt x="51" y="77"/>
                  </a:lnTo>
                  <a:lnTo>
                    <a:pt x="51" y="78"/>
                  </a:lnTo>
                  <a:lnTo>
                    <a:pt x="50" y="79"/>
                  </a:lnTo>
                  <a:lnTo>
                    <a:pt x="50" y="80"/>
                  </a:lnTo>
                  <a:lnTo>
                    <a:pt x="49" y="80"/>
                  </a:lnTo>
                  <a:lnTo>
                    <a:pt x="47" y="79"/>
                  </a:lnTo>
                  <a:lnTo>
                    <a:pt x="47" y="73"/>
                  </a:lnTo>
                  <a:lnTo>
                    <a:pt x="46" y="71"/>
                  </a:lnTo>
                  <a:lnTo>
                    <a:pt x="46" y="70"/>
                  </a:lnTo>
                  <a:lnTo>
                    <a:pt x="45" y="68"/>
                  </a:lnTo>
                  <a:lnTo>
                    <a:pt x="40" y="68"/>
                  </a:lnTo>
                  <a:lnTo>
                    <a:pt x="40" y="66"/>
                  </a:lnTo>
                  <a:lnTo>
                    <a:pt x="38" y="66"/>
                  </a:lnTo>
                  <a:lnTo>
                    <a:pt x="38" y="67"/>
                  </a:lnTo>
                  <a:lnTo>
                    <a:pt x="35" y="67"/>
                  </a:lnTo>
                  <a:lnTo>
                    <a:pt x="34" y="68"/>
                  </a:lnTo>
                  <a:lnTo>
                    <a:pt x="34" y="67"/>
                  </a:lnTo>
                  <a:lnTo>
                    <a:pt x="32" y="67"/>
                  </a:lnTo>
                  <a:lnTo>
                    <a:pt x="32" y="66"/>
                  </a:lnTo>
                  <a:lnTo>
                    <a:pt x="31" y="65"/>
                  </a:lnTo>
                  <a:lnTo>
                    <a:pt x="31" y="62"/>
                  </a:lnTo>
                  <a:lnTo>
                    <a:pt x="29" y="59"/>
                  </a:lnTo>
                  <a:lnTo>
                    <a:pt x="29" y="54"/>
                  </a:lnTo>
                  <a:lnTo>
                    <a:pt x="28" y="53"/>
                  </a:lnTo>
                  <a:lnTo>
                    <a:pt x="27" y="53"/>
                  </a:lnTo>
                  <a:lnTo>
                    <a:pt x="27" y="52"/>
                  </a:lnTo>
                  <a:lnTo>
                    <a:pt x="26" y="51"/>
                  </a:lnTo>
                  <a:lnTo>
                    <a:pt x="26" y="49"/>
                  </a:lnTo>
                  <a:lnTo>
                    <a:pt x="25" y="48"/>
                  </a:lnTo>
                  <a:lnTo>
                    <a:pt x="23" y="48"/>
                  </a:lnTo>
                  <a:lnTo>
                    <a:pt x="19" y="51"/>
                  </a:lnTo>
                  <a:lnTo>
                    <a:pt x="18" y="51"/>
                  </a:lnTo>
                  <a:lnTo>
                    <a:pt x="16" y="52"/>
                  </a:lnTo>
                  <a:lnTo>
                    <a:pt x="15" y="54"/>
                  </a:lnTo>
                  <a:lnTo>
                    <a:pt x="14" y="54"/>
                  </a:lnTo>
                  <a:lnTo>
                    <a:pt x="10" y="53"/>
                  </a:lnTo>
                  <a:lnTo>
                    <a:pt x="9" y="52"/>
                  </a:lnTo>
                  <a:lnTo>
                    <a:pt x="9" y="49"/>
                  </a:lnTo>
                  <a:lnTo>
                    <a:pt x="7" y="48"/>
                  </a:lnTo>
                  <a:lnTo>
                    <a:pt x="7" y="47"/>
                  </a:lnTo>
                  <a:lnTo>
                    <a:pt x="6" y="47"/>
                  </a:lnTo>
                  <a:lnTo>
                    <a:pt x="6" y="46"/>
                  </a:lnTo>
                  <a:lnTo>
                    <a:pt x="4" y="47"/>
                  </a:lnTo>
                  <a:lnTo>
                    <a:pt x="3" y="46"/>
                  </a:lnTo>
                  <a:lnTo>
                    <a:pt x="3" y="45"/>
                  </a:lnTo>
                  <a:lnTo>
                    <a:pt x="2" y="45"/>
                  </a:lnTo>
                  <a:lnTo>
                    <a:pt x="2" y="40"/>
                  </a:lnTo>
                  <a:lnTo>
                    <a:pt x="3" y="39"/>
                  </a:lnTo>
                  <a:lnTo>
                    <a:pt x="3" y="36"/>
                  </a:lnTo>
                  <a:lnTo>
                    <a:pt x="1" y="34"/>
                  </a:lnTo>
                  <a:lnTo>
                    <a:pt x="1" y="33"/>
                  </a:lnTo>
                  <a:lnTo>
                    <a:pt x="0" y="29"/>
                  </a:lnTo>
                  <a:lnTo>
                    <a:pt x="0" y="28"/>
                  </a:lnTo>
                  <a:lnTo>
                    <a:pt x="2" y="27"/>
                  </a:lnTo>
                  <a:lnTo>
                    <a:pt x="8" y="23"/>
                  </a:lnTo>
                  <a:lnTo>
                    <a:pt x="25" y="11"/>
                  </a:lnTo>
                  <a:lnTo>
                    <a:pt x="34" y="9"/>
                  </a:lnTo>
                  <a:lnTo>
                    <a:pt x="34" y="15"/>
                  </a:lnTo>
                  <a:lnTo>
                    <a:pt x="38" y="18"/>
                  </a:lnTo>
                  <a:lnTo>
                    <a:pt x="40" y="18"/>
                  </a:lnTo>
                  <a:lnTo>
                    <a:pt x="41" y="17"/>
                  </a:lnTo>
                  <a:lnTo>
                    <a:pt x="40" y="16"/>
                  </a:lnTo>
                  <a:lnTo>
                    <a:pt x="41" y="15"/>
                  </a:lnTo>
                  <a:lnTo>
                    <a:pt x="46" y="15"/>
                  </a:lnTo>
                  <a:lnTo>
                    <a:pt x="51" y="16"/>
                  </a:lnTo>
                  <a:lnTo>
                    <a:pt x="52" y="17"/>
                  </a:lnTo>
                  <a:lnTo>
                    <a:pt x="52" y="19"/>
                  </a:lnTo>
                  <a:lnTo>
                    <a:pt x="53" y="19"/>
                  </a:lnTo>
                  <a:lnTo>
                    <a:pt x="53" y="21"/>
                  </a:lnTo>
                  <a:lnTo>
                    <a:pt x="58" y="19"/>
                  </a:lnTo>
                  <a:lnTo>
                    <a:pt x="59" y="19"/>
                  </a:lnTo>
                  <a:lnTo>
                    <a:pt x="66" y="16"/>
                  </a:lnTo>
                  <a:lnTo>
                    <a:pt x="69" y="13"/>
                  </a:lnTo>
                  <a:lnTo>
                    <a:pt x="70" y="11"/>
                  </a:lnTo>
                  <a:lnTo>
                    <a:pt x="71" y="11"/>
                  </a:lnTo>
                  <a:lnTo>
                    <a:pt x="71" y="9"/>
                  </a:lnTo>
                  <a:lnTo>
                    <a:pt x="72" y="10"/>
                  </a:lnTo>
                  <a:lnTo>
                    <a:pt x="72" y="12"/>
                  </a:lnTo>
                  <a:lnTo>
                    <a:pt x="74" y="12"/>
                  </a:lnTo>
                  <a:lnTo>
                    <a:pt x="74" y="10"/>
                  </a:lnTo>
                  <a:lnTo>
                    <a:pt x="72" y="9"/>
                  </a:lnTo>
                  <a:lnTo>
                    <a:pt x="74" y="9"/>
                  </a:lnTo>
                  <a:lnTo>
                    <a:pt x="76" y="10"/>
                  </a:lnTo>
                  <a:lnTo>
                    <a:pt x="80" y="10"/>
                  </a:lnTo>
                  <a:lnTo>
                    <a:pt x="80" y="8"/>
                  </a:lnTo>
                  <a:lnTo>
                    <a:pt x="78" y="6"/>
                  </a:lnTo>
                  <a:lnTo>
                    <a:pt x="78" y="5"/>
                  </a:lnTo>
                  <a:lnTo>
                    <a:pt x="77" y="4"/>
                  </a:lnTo>
                  <a:lnTo>
                    <a:pt x="82" y="2"/>
                  </a:lnTo>
                  <a:lnTo>
                    <a:pt x="84" y="2"/>
                  </a:lnTo>
                  <a:lnTo>
                    <a:pt x="84" y="5"/>
                  </a:lnTo>
                  <a:lnTo>
                    <a:pt x="87" y="5"/>
                  </a:lnTo>
                  <a:lnTo>
                    <a:pt x="88" y="6"/>
                  </a:lnTo>
                  <a:lnTo>
                    <a:pt x="88" y="5"/>
                  </a:lnTo>
                  <a:lnTo>
                    <a:pt x="89" y="5"/>
                  </a:lnTo>
                  <a:lnTo>
                    <a:pt x="94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54">
              <a:extLst>
                <a:ext uri="{FF2B5EF4-FFF2-40B4-BE49-F238E27FC236}">
                  <a16:creationId xmlns:a16="http://schemas.microsoft.com/office/drawing/2014/main" id="{8DE2557F-1607-4BE4-8F6E-092F93A26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9175" y="3767138"/>
              <a:ext cx="639763" cy="557213"/>
            </a:xfrm>
            <a:custGeom>
              <a:avLst/>
              <a:gdLst/>
              <a:ahLst/>
              <a:cxnLst>
                <a:cxn ang="0">
                  <a:pos x="230" y="7"/>
                </a:cxn>
                <a:cxn ang="0">
                  <a:pos x="255" y="13"/>
                </a:cxn>
                <a:cxn ang="0">
                  <a:pos x="260" y="26"/>
                </a:cxn>
                <a:cxn ang="0">
                  <a:pos x="282" y="24"/>
                </a:cxn>
                <a:cxn ang="0">
                  <a:pos x="307" y="30"/>
                </a:cxn>
                <a:cxn ang="0">
                  <a:pos x="326" y="43"/>
                </a:cxn>
                <a:cxn ang="0">
                  <a:pos x="323" y="67"/>
                </a:cxn>
                <a:cxn ang="0">
                  <a:pos x="326" y="87"/>
                </a:cxn>
                <a:cxn ang="0">
                  <a:pos x="319" y="100"/>
                </a:cxn>
                <a:cxn ang="0">
                  <a:pos x="334" y="121"/>
                </a:cxn>
                <a:cxn ang="0">
                  <a:pos x="343" y="141"/>
                </a:cxn>
                <a:cxn ang="0">
                  <a:pos x="365" y="155"/>
                </a:cxn>
                <a:cxn ang="0">
                  <a:pos x="379" y="174"/>
                </a:cxn>
                <a:cxn ang="0">
                  <a:pos x="390" y="189"/>
                </a:cxn>
                <a:cxn ang="0">
                  <a:pos x="403" y="198"/>
                </a:cxn>
                <a:cxn ang="0">
                  <a:pos x="392" y="210"/>
                </a:cxn>
                <a:cxn ang="0">
                  <a:pos x="377" y="225"/>
                </a:cxn>
                <a:cxn ang="0">
                  <a:pos x="354" y="215"/>
                </a:cxn>
                <a:cxn ang="0">
                  <a:pos x="349" y="240"/>
                </a:cxn>
                <a:cxn ang="0">
                  <a:pos x="356" y="260"/>
                </a:cxn>
                <a:cxn ang="0">
                  <a:pos x="354" y="277"/>
                </a:cxn>
                <a:cxn ang="0">
                  <a:pos x="343" y="293"/>
                </a:cxn>
                <a:cxn ang="0">
                  <a:pos x="326" y="299"/>
                </a:cxn>
                <a:cxn ang="0">
                  <a:pos x="317" y="308"/>
                </a:cxn>
                <a:cxn ang="0">
                  <a:pos x="312" y="323"/>
                </a:cxn>
                <a:cxn ang="0">
                  <a:pos x="311" y="332"/>
                </a:cxn>
                <a:cxn ang="0">
                  <a:pos x="312" y="346"/>
                </a:cxn>
                <a:cxn ang="0">
                  <a:pos x="301" y="344"/>
                </a:cxn>
                <a:cxn ang="0">
                  <a:pos x="281" y="338"/>
                </a:cxn>
                <a:cxn ang="0">
                  <a:pos x="267" y="337"/>
                </a:cxn>
                <a:cxn ang="0">
                  <a:pos x="255" y="336"/>
                </a:cxn>
                <a:cxn ang="0">
                  <a:pos x="244" y="329"/>
                </a:cxn>
                <a:cxn ang="0">
                  <a:pos x="231" y="337"/>
                </a:cxn>
                <a:cxn ang="0">
                  <a:pos x="216" y="327"/>
                </a:cxn>
                <a:cxn ang="0">
                  <a:pos x="201" y="329"/>
                </a:cxn>
                <a:cxn ang="0">
                  <a:pos x="189" y="333"/>
                </a:cxn>
                <a:cxn ang="0">
                  <a:pos x="173" y="327"/>
                </a:cxn>
                <a:cxn ang="0">
                  <a:pos x="146" y="313"/>
                </a:cxn>
                <a:cxn ang="0">
                  <a:pos x="82" y="302"/>
                </a:cxn>
                <a:cxn ang="0">
                  <a:pos x="33" y="327"/>
                </a:cxn>
                <a:cxn ang="0">
                  <a:pos x="17" y="331"/>
                </a:cxn>
                <a:cxn ang="0">
                  <a:pos x="19" y="312"/>
                </a:cxn>
                <a:cxn ang="0">
                  <a:pos x="20" y="296"/>
                </a:cxn>
                <a:cxn ang="0">
                  <a:pos x="8" y="286"/>
                </a:cxn>
                <a:cxn ang="0">
                  <a:pos x="13" y="260"/>
                </a:cxn>
                <a:cxn ang="0">
                  <a:pos x="27" y="214"/>
                </a:cxn>
                <a:cxn ang="0">
                  <a:pos x="13" y="167"/>
                </a:cxn>
                <a:cxn ang="0">
                  <a:pos x="31" y="163"/>
                </a:cxn>
                <a:cxn ang="0">
                  <a:pos x="52" y="166"/>
                </a:cxn>
                <a:cxn ang="0">
                  <a:pos x="69" y="151"/>
                </a:cxn>
                <a:cxn ang="0">
                  <a:pos x="89" y="141"/>
                </a:cxn>
                <a:cxn ang="0">
                  <a:pos x="98" y="146"/>
                </a:cxn>
                <a:cxn ang="0">
                  <a:pos x="106" y="137"/>
                </a:cxn>
                <a:cxn ang="0">
                  <a:pos x="104" y="122"/>
                </a:cxn>
                <a:cxn ang="0">
                  <a:pos x="111" y="94"/>
                </a:cxn>
                <a:cxn ang="0">
                  <a:pos x="126" y="86"/>
                </a:cxn>
                <a:cxn ang="0">
                  <a:pos x="145" y="77"/>
                </a:cxn>
                <a:cxn ang="0">
                  <a:pos x="144" y="63"/>
                </a:cxn>
                <a:cxn ang="0">
                  <a:pos x="145" y="35"/>
                </a:cxn>
                <a:cxn ang="0">
                  <a:pos x="172" y="28"/>
                </a:cxn>
                <a:cxn ang="0">
                  <a:pos x="194" y="12"/>
                </a:cxn>
              </a:cxnLst>
              <a:rect l="0" t="0" r="r" b="b"/>
              <a:pathLst>
                <a:path w="403" h="351">
                  <a:moveTo>
                    <a:pt x="206" y="0"/>
                  </a:moveTo>
                  <a:lnTo>
                    <a:pt x="208" y="0"/>
                  </a:lnTo>
                  <a:lnTo>
                    <a:pt x="211" y="3"/>
                  </a:lnTo>
                  <a:lnTo>
                    <a:pt x="213" y="6"/>
                  </a:lnTo>
                  <a:lnTo>
                    <a:pt x="216" y="8"/>
                  </a:lnTo>
                  <a:lnTo>
                    <a:pt x="217" y="8"/>
                  </a:lnTo>
                  <a:lnTo>
                    <a:pt x="219" y="6"/>
                  </a:lnTo>
                  <a:lnTo>
                    <a:pt x="219" y="5"/>
                  </a:lnTo>
                  <a:lnTo>
                    <a:pt x="229" y="5"/>
                  </a:lnTo>
                  <a:lnTo>
                    <a:pt x="230" y="6"/>
                  </a:lnTo>
                  <a:lnTo>
                    <a:pt x="230" y="7"/>
                  </a:lnTo>
                  <a:lnTo>
                    <a:pt x="232" y="10"/>
                  </a:lnTo>
                  <a:lnTo>
                    <a:pt x="232" y="13"/>
                  </a:lnTo>
                  <a:lnTo>
                    <a:pt x="235" y="16"/>
                  </a:lnTo>
                  <a:lnTo>
                    <a:pt x="237" y="17"/>
                  </a:lnTo>
                  <a:lnTo>
                    <a:pt x="238" y="17"/>
                  </a:lnTo>
                  <a:lnTo>
                    <a:pt x="238" y="14"/>
                  </a:lnTo>
                  <a:lnTo>
                    <a:pt x="239" y="13"/>
                  </a:lnTo>
                  <a:lnTo>
                    <a:pt x="247" y="10"/>
                  </a:lnTo>
                  <a:lnTo>
                    <a:pt x="249" y="10"/>
                  </a:lnTo>
                  <a:lnTo>
                    <a:pt x="254" y="12"/>
                  </a:lnTo>
                  <a:lnTo>
                    <a:pt x="255" y="13"/>
                  </a:lnTo>
                  <a:lnTo>
                    <a:pt x="261" y="16"/>
                  </a:lnTo>
                  <a:lnTo>
                    <a:pt x="262" y="16"/>
                  </a:lnTo>
                  <a:lnTo>
                    <a:pt x="263" y="17"/>
                  </a:lnTo>
                  <a:lnTo>
                    <a:pt x="263" y="18"/>
                  </a:lnTo>
                  <a:lnTo>
                    <a:pt x="264" y="18"/>
                  </a:lnTo>
                  <a:lnTo>
                    <a:pt x="264" y="19"/>
                  </a:lnTo>
                  <a:lnTo>
                    <a:pt x="262" y="19"/>
                  </a:lnTo>
                  <a:lnTo>
                    <a:pt x="262" y="22"/>
                  </a:lnTo>
                  <a:lnTo>
                    <a:pt x="261" y="23"/>
                  </a:lnTo>
                  <a:lnTo>
                    <a:pt x="261" y="24"/>
                  </a:lnTo>
                  <a:lnTo>
                    <a:pt x="260" y="26"/>
                  </a:lnTo>
                  <a:lnTo>
                    <a:pt x="260" y="29"/>
                  </a:lnTo>
                  <a:lnTo>
                    <a:pt x="263" y="32"/>
                  </a:lnTo>
                  <a:lnTo>
                    <a:pt x="264" y="35"/>
                  </a:lnTo>
                  <a:lnTo>
                    <a:pt x="266" y="36"/>
                  </a:lnTo>
                  <a:lnTo>
                    <a:pt x="267" y="36"/>
                  </a:lnTo>
                  <a:lnTo>
                    <a:pt x="270" y="31"/>
                  </a:lnTo>
                  <a:lnTo>
                    <a:pt x="274" y="29"/>
                  </a:lnTo>
                  <a:lnTo>
                    <a:pt x="275" y="29"/>
                  </a:lnTo>
                  <a:lnTo>
                    <a:pt x="279" y="30"/>
                  </a:lnTo>
                  <a:lnTo>
                    <a:pt x="280" y="29"/>
                  </a:lnTo>
                  <a:lnTo>
                    <a:pt x="282" y="24"/>
                  </a:lnTo>
                  <a:lnTo>
                    <a:pt x="284" y="24"/>
                  </a:lnTo>
                  <a:lnTo>
                    <a:pt x="286" y="23"/>
                  </a:lnTo>
                  <a:lnTo>
                    <a:pt x="287" y="23"/>
                  </a:lnTo>
                  <a:lnTo>
                    <a:pt x="292" y="25"/>
                  </a:lnTo>
                  <a:lnTo>
                    <a:pt x="293" y="25"/>
                  </a:lnTo>
                  <a:lnTo>
                    <a:pt x="295" y="23"/>
                  </a:lnTo>
                  <a:lnTo>
                    <a:pt x="297" y="23"/>
                  </a:lnTo>
                  <a:lnTo>
                    <a:pt x="298" y="24"/>
                  </a:lnTo>
                  <a:lnTo>
                    <a:pt x="299" y="24"/>
                  </a:lnTo>
                  <a:lnTo>
                    <a:pt x="307" y="28"/>
                  </a:lnTo>
                  <a:lnTo>
                    <a:pt x="307" y="30"/>
                  </a:lnTo>
                  <a:lnTo>
                    <a:pt x="312" y="32"/>
                  </a:lnTo>
                  <a:lnTo>
                    <a:pt x="312" y="36"/>
                  </a:lnTo>
                  <a:lnTo>
                    <a:pt x="313" y="37"/>
                  </a:lnTo>
                  <a:lnTo>
                    <a:pt x="317" y="37"/>
                  </a:lnTo>
                  <a:lnTo>
                    <a:pt x="317" y="38"/>
                  </a:lnTo>
                  <a:lnTo>
                    <a:pt x="318" y="40"/>
                  </a:lnTo>
                  <a:lnTo>
                    <a:pt x="319" y="42"/>
                  </a:lnTo>
                  <a:lnTo>
                    <a:pt x="322" y="42"/>
                  </a:lnTo>
                  <a:lnTo>
                    <a:pt x="323" y="41"/>
                  </a:lnTo>
                  <a:lnTo>
                    <a:pt x="325" y="42"/>
                  </a:lnTo>
                  <a:lnTo>
                    <a:pt x="326" y="43"/>
                  </a:lnTo>
                  <a:lnTo>
                    <a:pt x="326" y="47"/>
                  </a:lnTo>
                  <a:lnTo>
                    <a:pt x="325" y="49"/>
                  </a:lnTo>
                  <a:lnTo>
                    <a:pt x="326" y="50"/>
                  </a:lnTo>
                  <a:lnTo>
                    <a:pt x="325" y="51"/>
                  </a:lnTo>
                  <a:lnTo>
                    <a:pt x="325" y="55"/>
                  </a:lnTo>
                  <a:lnTo>
                    <a:pt x="326" y="56"/>
                  </a:lnTo>
                  <a:lnTo>
                    <a:pt x="326" y="59"/>
                  </a:lnTo>
                  <a:lnTo>
                    <a:pt x="323" y="60"/>
                  </a:lnTo>
                  <a:lnTo>
                    <a:pt x="322" y="62"/>
                  </a:lnTo>
                  <a:lnTo>
                    <a:pt x="322" y="66"/>
                  </a:lnTo>
                  <a:lnTo>
                    <a:pt x="323" y="67"/>
                  </a:lnTo>
                  <a:lnTo>
                    <a:pt x="324" y="67"/>
                  </a:lnTo>
                  <a:lnTo>
                    <a:pt x="324" y="68"/>
                  </a:lnTo>
                  <a:lnTo>
                    <a:pt x="325" y="72"/>
                  </a:lnTo>
                  <a:lnTo>
                    <a:pt x="328" y="74"/>
                  </a:lnTo>
                  <a:lnTo>
                    <a:pt x="328" y="75"/>
                  </a:lnTo>
                  <a:lnTo>
                    <a:pt x="329" y="75"/>
                  </a:lnTo>
                  <a:lnTo>
                    <a:pt x="329" y="80"/>
                  </a:lnTo>
                  <a:lnTo>
                    <a:pt x="330" y="81"/>
                  </a:lnTo>
                  <a:lnTo>
                    <a:pt x="330" y="85"/>
                  </a:lnTo>
                  <a:lnTo>
                    <a:pt x="326" y="85"/>
                  </a:lnTo>
                  <a:lnTo>
                    <a:pt x="326" y="87"/>
                  </a:lnTo>
                  <a:lnTo>
                    <a:pt x="328" y="89"/>
                  </a:lnTo>
                  <a:lnTo>
                    <a:pt x="326" y="90"/>
                  </a:lnTo>
                  <a:lnTo>
                    <a:pt x="325" y="90"/>
                  </a:lnTo>
                  <a:lnTo>
                    <a:pt x="323" y="91"/>
                  </a:lnTo>
                  <a:lnTo>
                    <a:pt x="322" y="92"/>
                  </a:lnTo>
                  <a:lnTo>
                    <a:pt x="323" y="93"/>
                  </a:lnTo>
                  <a:lnTo>
                    <a:pt x="323" y="96"/>
                  </a:lnTo>
                  <a:lnTo>
                    <a:pt x="322" y="97"/>
                  </a:lnTo>
                  <a:lnTo>
                    <a:pt x="321" y="97"/>
                  </a:lnTo>
                  <a:lnTo>
                    <a:pt x="321" y="99"/>
                  </a:lnTo>
                  <a:lnTo>
                    <a:pt x="319" y="100"/>
                  </a:lnTo>
                  <a:lnTo>
                    <a:pt x="321" y="102"/>
                  </a:lnTo>
                  <a:lnTo>
                    <a:pt x="321" y="103"/>
                  </a:lnTo>
                  <a:lnTo>
                    <a:pt x="323" y="103"/>
                  </a:lnTo>
                  <a:lnTo>
                    <a:pt x="329" y="108"/>
                  </a:lnTo>
                  <a:lnTo>
                    <a:pt x="330" y="109"/>
                  </a:lnTo>
                  <a:lnTo>
                    <a:pt x="330" y="110"/>
                  </a:lnTo>
                  <a:lnTo>
                    <a:pt x="335" y="110"/>
                  </a:lnTo>
                  <a:lnTo>
                    <a:pt x="335" y="112"/>
                  </a:lnTo>
                  <a:lnTo>
                    <a:pt x="337" y="114"/>
                  </a:lnTo>
                  <a:lnTo>
                    <a:pt x="336" y="117"/>
                  </a:lnTo>
                  <a:lnTo>
                    <a:pt x="334" y="121"/>
                  </a:lnTo>
                  <a:lnTo>
                    <a:pt x="332" y="123"/>
                  </a:lnTo>
                  <a:lnTo>
                    <a:pt x="334" y="124"/>
                  </a:lnTo>
                  <a:lnTo>
                    <a:pt x="337" y="126"/>
                  </a:lnTo>
                  <a:lnTo>
                    <a:pt x="337" y="127"/>
                  </a:lnTo>
                  <a:lnTo>
                    <a:pt x="338" y="127"/>
                  </a:lnTo>
                  <a:lnTo>
                    <a:pt x="340" y="128"/>
                  </a:lnTo>
                  <a:lnTo>
                    <a:pt x="341" y="132"/>
                  </a:lnTo>
                  <a:lnTo>
                    <a:pt x="341" y="133"/>
                  </a:lnTo>
                  <a:lnTo>
                    <a:pt x="342" y="133"/>
                  </a:lnTo>
                  <a:lnTo>
                    <a:pt x="342" y="140"/>
                  </a:lnTo>
                  <a:lnTo>
                    <a:pt x="343" y="141"/>
                  </a:lnTo>
                  <a:lnTo>
                    <a:pt x="343" y="142"/>
                  </a:lnTo>
                  <a:lnTo>
                    <a:pt x="350" y="148"/>
                  </a:lnTo>
                  <a:lnTo>
                    <a:pt x="352" y="148"/>
                  </a:lnTo>
                  <a:lnTo>
                    <a:pt x="353" y="149"/>
                  </a:lnTo>
                  <a:lnTo>
                    <a:pt x="354" y="149"/>
                  </a:lnTo>
                  <a:lnTo>
                    <a:pt x="357" y="152"/>
                  </a:lnTo>
                  <a:lnTo>
                    <a:pt x="361" y="152"/>
                  </a:lnTo>
                  <a:lnTo>
                    <a:pt x="361" y="153"/>
                  </a:lnTo>
                  <a:lnTo>
                    <a:pt x="362" y="153"/>
                  </a:lnTo>
                  <a:lnTo>
                    <a:pt x="362" y="155"/>
                  </a:lnTo>
                  <a:lnTo>
                    <a:pt x="365" y="155"/>
                  </a:lnTo>
                  <a:lnTo>
                    <a:pt x="366" y="159"/>
                  </a:lnTo>
                  <a:lnTo>
                    <a:pt x="366" y="161"/>
                  </a:lnTo>
                  <a:lnTo>
                    <a:pt x="365" y="161"/>
                  </a:lnTo>
                  <a:lnTo>
                    <a:pt x="365" y="167"/>
                  </a:lnTo>
                  <a:lnTo>
                    <a:pt x="362" y="172"/>
                  </a:lnTo>
                  <a:lnTo>
                    <a:pt x="361" y="173"/>
                  </a:lnTo>
                  <a:lnTo>
                    <a:pt x="363" y="173"/>
                  </a:lnTo>
                  <a:lnTo>
                    <a:pt x="367" y="174"/>
                  </a:lnTo>
                  <a:lnTo>
                    <a:pt x="375" y="172"/>
                  </a:lnTo>
                  <a:lnTo>
                    <a:pt x="377" y="173"/>
                  </a:lnTo>
                  <a:lnTo>
                    <a:pt x="379" y="174"/>
                  </a:lnTo>
                  <a:lnTo>
                    <a:pt x="385" y="176"/>
                  </a:lnTo>
                  <a:lnTo>
                    <a:pt x="386" y="177"/>
                  </a:lnTo>
                  <a:lnTo>
                    <a:pt x="387" y="179"/>
                  </a:lnTo>
                  <a:lnTo>
                    <a:pt x="391" y="179"/>
                  </a:lnTo>
                  <a:lnTo>
                    <a:pt x="393" y="182"/>
                  </a:lnTo>
                  <a:lnTo>
                    <a:pt x="393" y="183"/>
                  </a:lnTo>
                  <a:lnTo>
                    <a:pt x="392" y="183"/>
                  </a:lnTo>
                  <a:lnTo>
                    <a:pt x="390" y="185"/>
                  </a:lnTo>
                  <a:lnTo>
                    <a:pt x="388" y="185"/>
                  </a:lnTo>
                  <a:lnTo>
                    <a:pt x="388" y="186"/>
                  </a:lnTo>
                  <a:lnTo>
                    <a:pt x="390" y="189"/>
                  </a:lnTo>
                  <a:lnTo>
                    <a:pt x="390" y="190"/>
                  </a:lnTo>
                  <a:lnTo>
                    <a:pt x="392" y="192"/>
                  </a:lnTo>
                  <a:lnTo>
                    <a:pt x="394" y="194"/>
                  </a:lnTo>
                  <a:lnTo>
                    <a:pt x="396" y="194"/>
                  </a:lnTo>
                  <a:lnTo>
                    <a:pt x="396" y="195"/>
                  </a:lnTo>
                  <a:lnTo>
                    <a:pt x="397" y="196"/>
                  </a:lnTo>
                  <a:lnTo>
                    <a:pt x="397" y="195"/>
                  </a:lnTo>
                  <a:lnTo>
                    <a:pt x="399" y="195"/>
                  </a:lnTo>
                  <a:lnTo>
                    <a:pt x="399" y="197"/>
                  </a:lnTo>
                  <a:lnTo>
                    <a:pt x="402" y="197"/>
                  </a:lnTo>
                  <a:lnTo>
                    <a:pt x="403" y="198"/>
                  </a:lnTo>
                  <a:lnTo>
                    <a:pt x="403" y="200"/>
                  </a:lnTo>
                  <a:lnTo>
                    <a:pt x="402" y="204"/>
                  </a:lnTo>
                  <a:lnTo>
                    <a:pt x="403" y="207"/>
                  </a:lnTo>
                  <a:lnTo>
                    <a:pt x="397" y="207"/>
                  </a:lnTo>
                  <a:lnTo>
                    <a:pt x="397" y="208"/>
                  </a:lnTo>
                  <a:lnTo>
                    <a:pt x="396" y="209"/>
                  </a:lnTo>
                  <a:lnTo>
                    <a:pt x="393" y="209"/>
                  </a:lnTo>
                  <a:lnTo>
                    <a:pt x="392" y="208"/>
                  </a:lnTo>
                  <a:lnTo>
                    <a:pt x="391" y="209"/>
                  </a:lnTo>
                  <a:lnTo>
                    <a:pt x="391" y="210"/>
                  </a:lnTo>
                  <a:lnTo>
                    <a:pt x="392" y="210"/>
                  </a:lnTo>
                  <a:lnTo>
                    <a:pt x="392" y="212"/>
                  </a:lnTo>
                  <a:lnTo>
                    <a:pt x="391" y="213"/>
                  </a:lnTo>
                  <a:lnTo>
                    <a:pt x="390" y="215"/>
                  </a:lnTo>
                  <a:lnTo>
                    <a:pt x="390" y="216"/>
                  </a:lnTo>
                  <a:lnTo>
                    <a:pt x="388" y="216"/>
                  </a:lnTo>
                  <a:lnTo>
                    <a:pt x="384" y="221"/>
                  </a:lnTo>
                  <a:lnTo>
                    <a:pt x="381" y="221"/>
                  </a:lnTo>
                  <a:lnTo>
                    <a:pt x="381" y="222"/>
                  </a:lnTo>
                  <a:lnTo>
                    <a:pt x="380" y="223"/>
                  </a:lnTo>
                  <a:lnTo>
                    <a:pt x="378" y="223"/>
                  </a:lnTo>
                  <a:lnTo>
                    <a:pt x="377" y="225"/>
                  </a:lnTo>
                  <a:lnTo>
                    <a:pt x="375" y="225"/>
                  </a:lnTo>
                  <a:lnTo>
                    <a:pt x="373" y="222"/>
                  </a:lnTo>
                  <a:lnTo>
                    <a:pt x="372" y="223"/>
                  </a:lnTo>
                  <a:lnTo>
                    <a:pt x="368" y="223"/>
                  </a:lnTo>
                  <a:lnTo>
                    <a:pt x="366" y="222"/>
                  </a:lnTo>
                  <a:lnTo>
                    <a:pt x="363" y="222"/>
                  </a:lnTo>
                  <a:lnTo>
                    <a:pt x="362" y="221"/>
                  </a:lnTo>
                  <a:lnTo>
                    <a:pt x="362" y="216"/>
                  </a:lnTo>
                  <a:lnTo>
                    <a:pt x="359" y="216"/>
                  </a:lnTo>
                  <a:lnTo>
                    <a:pt x="356" y="215"/>
                  </a:lnTo>
                  <a:lnTo>
                    <a:pt x="354" y="215"/>
                  </a:lnTo>
                  <a:lnTo>
                    <a:pt x="353" y="216"/>
                  </a:lnTo>
                  <a:lnTo>
                    <a:pt x="348" y="216"/>
                  </a:lnTo>
                  <a:lnTo>
                    <a:pt x="346" y="217"/>
                  </a:lnTo>
                  <a:lnTo>
                    <a:pt x="346" y="223"/>
                  </a:lnTo>
                  <a:lnTo>
                    <a:pt x="344" y="225"/>
                  </a:lnTo>
                  <a:lnTo>
                    <a:pt x="343" y="225"/>
                  </a:lnTo>
                  <a:lnTo>
                    <a:pt x="341" y="228"/>
                  </a:lnTo>
                  <a:lnTo>
                    <a:pt x="343" y="232"/>
                  </a:lnTo>
                  <a:lnTo>
                    <a:pt x="344" y="233"/>
                  </a:lnTo>
                  <a:lnTo>
                    <a:pt x="346" y="237"/>
                  </a:lnTo>
                  <a:lnTo>
                    <a:pt x="349" y="240"/>
                  </a:lnTo>
                  <a:lnTo>
                    <a:pt x="352" y="240"/>
                  </a:lnTo>
                  <a:lnTo>
                    <a:pt x="352" y="243"/>
                  </a:lnTo>
                  <a:lnTo>
                    <a:pt x="354" y="245"/>
                  </a:lnTo>
                  <a:lnTo>
                    <a:pt x="354" y="249"/>
                  </a:lnTo>
                  <a:lnTo>
                    <a:pt x="353" y="251"/>
                  </a:lnTo>
                  <a:lnTo>
                    <a:pt x="350" y="252"/>
                  </a:lnTo>
                  <a:lnTo>
                    <a:pt x="350" y="253"/>
                  </a:lnTo>
                  <a:lnTo>
                    <a:pt x="353" y="256"/>
                  </a:lnTo>
                  <a:lnTo>
                    <a:pt x="354" y="258"/>
                  </a:lnTo>
                  <a:lnTo>
                    <a:pt x="354" y="259"/>
                  </a:lnTo>
                  <a:lnTo>
                    <a:pt x="356" y="260"/>
                  </a:lnTo>
                  <a:lnTo>
                    <a:pt x="356" y="262"/>
                  </a:lnTo>
                  <a:lnTo>
                    <a:pt x="354" y="262"/>
                  </a:lnTo>
                  <a:lnTo>
                    <a:pt x="354" y="263"/>
                  </a:lnTo>
                  <a:lnTo>
                    <a:pt x="353" y="264"/>
                  </a:lnTo>
                  <a:lnTo>
                    <a:pt x="355" y="266"/>
                  </a:lnTo>
                  <a:lnTo>
                    <a:pt x="355" y="268"/>
                  </a:lnTo>
                  <a:lnTo>
                    <a:pt x="354" y="270"/>
                  </a:lnTo>
                  <a:lnTo>
                    <a:pt x="354" y="271"/>
                  </a:lnTo>
                  <a:lnTo>
                    <a:pt x="355" y="272"/>
                  </a:lnTo>
                  <a:lnTo>
                    <a:pt x="355" y="276"/>
                  </a:lnTo>
                  <a:lnTo>
                    <a:pt x="354" y="277"/>
                  </a:lnTo>
                  <a:lnTo>
                    <a:pt x="355" y="280"/>
                  </a:lnTo>
                  <a:lnTo>
                    <a:pt x="356" y="281"/>
                  </a:lnTo>
                  <a:lnTo>
                    <a:pt x="357" y="281"/>
                  </a:lnTo>
                  <a:lnTo>
                    <a:pt x="359" y="282"/>
                  </a:lnTo>
                  <a:lnTo>
                    <a:pt x="359" y="286"/>
                  </a:lnTo>
                  <a:lnTo>
                    <a:pt x="362" y="289"/>
                  </a:lnTo>
                  <a:lnTo>
                    <a:pt x="362" y="293"/>
                  </a:lnTo>
                  <a:lnTo>
                    <a:pt x="357" y="293"/>
                  </a:lnTo>
                  <a:lnTo>
                    <a:pt x="350" y="292"/>
                  </a:lnTo>
                  <a:lnTo>
                    <a:pt x="346" y="292"/>
                  </a:lnTo>
                  <a:lnTo>
                    <a:pt x="343" y="293"/>
                  </a:lnTo>
                  <a:lnTo>
                    <a:pt x="341" y="295"/>
                  </a:lnTo>
                  <a:lnTo>
                    <a:pt x="341" y="296"/>
                  </a:lnTo>
                  <a:lnTo>
                    <a:pt x="338" y="296"/>
                  </a:lnTo>
                  <a:lnTo>
                    <a:pt x="336" y="294"/>
                  </a:lnTo>
                  <a:lnTo>
                    <a:pt x="328" y="294"/>
                  </a:lnTo>
                  <a:lnTo>
                    <a:pt x="326" y="295"/>
                  </a:lnTo>
                  <a:lnTo>
                    <a:pt x="326" y="298"/>
                  </a:lnTo>
                  <a:lnTo>
                    <a:pt x="328" y="298"/>
                  </a:lnTo>
                  <a:lnTo>
                    <a:pt x="328" y="300"/>
                  </a:lnTo>
                  <a:lnTo>
                    <a:pt x="326" y="300"/>
                  </a:lnTo>
                  <a:lnTo>
                    <a:pt x="326" y="299"/>
                  </a:lnTo>
                  <a:lnTo>
                    <a:pt x="325" y="299"/>
                  </a:lnTo>
                  <a:lnTo>
                    <a:pt x="325" y="301"/>
                  </a:lnTo>
                  <a:lnTo>
                    <a:pt x="324" y="301"/>
                  </a:lnTo>
                  <a:lnTo>
                    <a:pt x="324" y="302"/>
                  </a:lnTo>
                  <a:lnTo>
                    <a:pt x="323" y="302"/>
                  </a:lnTo>
                  <a:lnTo>
                    <a:pt x="322" y="303"/>
                  </a:lnTo>
                  <a:lnTo>
                    <a:pt x="322" y="306"/>
                  </a:lnTo>
                  <a:lnTo>
                    <a:pt x="319" y="306"/>
                  </a:lnTo>
                  <a:lnTo>
                    <a:pt x="319" y="307"/>
                  </a:lnTo>
                  <a:lnTo>
                    <a:pt x="318" y="308"/>
                  </a:lnTo>
                  <a:lnTo>
                    <a:pt x="317" y="308"/>
                  </a:lnTo>
                  <a:lnTo>
                    <a:pt x="317" y="309"/>
                  </a:lnTo>
                  <a:lnTo>
                    <a:pt x="316" y="311"/>
                  </a:lnTo>
                  <a:lnTo>
                    <a:pt x="316" y="314"/>
                  </a:lnTo>
                  <a:lnTo>
                    <a:pt x="315" y="314"/>
                  </a:lnTo>
                  <a:lnTo>
                    <a:pt x="313" y="315"/>
                  </a:lnTo>
                  <a:lnTo>
                    <a:pt x="315" y="315"/>
                  </a:lnTo>
                  <a:lnTo>
                    <a:pt x="315" y="319"/>
                  </a:lnTo>
                  <a:lnTo>
                    <a:pt x="312" y="319"/>
                  </a:lnTo>
                  <a:lnTo>
                    <a:pt x="312" y="320"/>
                  </a:lnTo>
                  <a:lnTo>
                    <a:pt x="311" y="321"/>
                  </a:lnTo>
                  <a:lnTo>
                    <a:pt x="312" y="323"/>
                  </a:lnTo>
                  <a:lnTo>
                    <a:pt x="311" y="323"/>
                  </a:lnTo>
                  <a:lnTo>
                    <a:pt x="311" y="325"/>
                  </a:lnTo>
                  <a:lnTo>
                    <a:pt x="310" y="326"/>
                  </a:lnTo>
                  <a:lnTo>
                    <a:pt x="310" y="327"/>
                  </a:lnTo>
                  <a:lnTo>
                    <a:pt x="311" y="327"/>
                  </a:lnTo>
                  <a:lnTo>
                    <a:pt x="311" y="329"/>
                  </a:lnTo>
                  <a:lnTo>
                    <a:pt x="310" y="329"/>
                  </a:lnTo>
                  <a:lnTo>
                    <a:pt x="310" y="330"/>
                  </a:lnTo>
                  <a:lnTo>
                    <a:pt x="312" y="330"/>
                  </a:lnTo>
                  <a:lnTo>
                    <a:pt x="312" y="331"/>
                  </a:lnTo>
                  <a:lnTo>
                    <a:pt x="311" y="332"/>
                  </a:lnTo>
                  <a:lnTo>
                    <a:pt x="312" y="332"/>
                  </a:lnTo>
                  <a:lnTo>
                    <a:pt x="312" y="335"/>
                  </a:lnTo>
                  <a:lnTo>
                    <a:pt x="313" y="335"/>
                  </a:lnTo>
                  <a:lnTo>
                    <a:pt x="313" y="336"/>
                  </a:lnTo>
                  <a:lnTo>
                    <a:pt x="312" y="336"/>
                  </a:lnTo>
                  <a:lnTo>
                    <a:pt x="312" y="338"/>
                  </a:lnTo>
                  <a:lnTo>
                    <a:pt x="313" y="338"/>
                  </a:lnTo>
                  <a:lnTo>
                    <a:pt x="313" y="339"/>
                  </a:lnTo>
                  <a:lnTo>
                    <a:pt x="315" y="341"/>
                  </a:lnTo>
                  <a:lnTo>
                    <a:pt x="315" y="344"/>
                  </a:lnTo>
                  <a:lnTo>
                    <a:pt x="312" y="346"/>
                  </a:lnTo>
                  <a:lnTo>
                    <a:pt x="312" y="348"/>
                  </a:lnTo>
                  <a:lnTo>
                    <a:pt x="311" y="349"/>
                  </a:lnTo>
                  <a:lnTo>
                    <a:pt x="311" y="351"/>
                  </a:lnTo>
                  <a:lnTo>
                    <a:pt x="310" y="350"/>
                  </a:lnTo>
                  <a:lnTo>
                    <a:pt x="309" y="350"/>
                  </a:lnTo>
                  <a:lnTo>
                    <a:pt x="309" y="349"/>
                  </a:lnTo>
                  <a:lnTo>
                    <a:pt x="307" y="349"/>
                  </a:lnTo>
                  <a:lnTo>
                    <a:pt x="306" y="348"/>
                  </a:lnTo>
                  <a:lnTo>
                    <a:pt x="304" y="348"/>
                  </a:lnTo>
                  <a:lnTo>
                    <a:pt x="303" y="346"/>
                  </a:lnTo>
                  <a:lnTo>
                    <a:pt x="301" y="344"/>
                  </a:lnTo>
                  <a:lnTo>
                    <a:pt x="301" y="339"/>
                  </a:lnTo>
                  <a:lnTo>
                    <a:pt x="300" y="339"/>
                  </a:lnTo>
                  <a:lnTo>
                    <a:pt x="299" y="338"/>
                  </a:lnTo>
                  <a:lnTo>
                    <a:pt x="298" y="338"/>
                  </a:lnTo>
                  <a:lnTo>
                    <a:pt x="297" y="336"/>
                  </a:lnTo>
                  <a:lnTo>
                    <a:pt x="295" y="335"/>
                  </a:lnTo>
                  <a:lnTo>
                    <a:pt x="287" y="335"/>
                  </a:lnTo>
                  <a:lnTo>
                    <a:pt x="285" y="336"/>
                  </a:lnTo>
                  <a:lnTo>
                    <a:pt x="282" y="336"/>
                  </a:lnTo>
                  <a:lnTo>
                    <a:pt x="281" y="337"/>
                  </a:lnTo>
                  <a:lnTo>
                    <a:pt x="281" y="338"/>
                  </a:lnTo>
                  <a:lnTo>
                    <a:pt x="280" y="338"/>
                  </a:lnTo>
                  <a:lnTo>
                    <a:pt x="276" y="337"/>
                  </a:lnTo>
                  <a:lnTo>
                    <a:pt x="275" y="336"/>
                  </a:lnTo>
                  <a:lnTo>
                    <a:pt x="275" y="335"/>
                  </a:lnTo>
                  <a:lnTo>
                    <a:pt x="274" y="333"/>
                  </a:lnTo>
                  <a:lnTo>
                    <a:pt x="273" y="333"/>
                  </a:lnTo>
                  <a:lnTo>
                    <a:pt x="272" y="335"/>
                  </a:lnTo>
                  <a:lnTo>
                    <a:pt x="270" y="335"/>
                  </a:lnTo>
                  <a:lnTo>
                    <a:pt x="270" y="336"/>
                  </a:lnTo>
                  <a:lnTo>
                    <a:pt x="269" y="337"/>
                  </a:lnTo>
                  <a:lnTo>
                    <a:pt x="267" y="337"/>
                  </a:lnTo>
                  <a:lnTo>
                    <a:pt x="267" y="338"/>
                  </a:lnTo>
                  <a:lnTo>
                    <a:pt x="266" y="339"/>
                  </a:lnTo>
                  <a:lnTo>
                    <a:pt x="266" y="341"/>
                  </a:lnTo>
                  <a:lnTo>
                    <a:pt x="261" y="341"/>
                  </a:lnTo>
                  <a:lnTo>
                    <a:pt x="261" y="342"/>
                  </a:lnTo>
                  <a:lnTo>
                    <a:pt x="259" y="342"/>
                  </a:lnTo>
                  <a:lnTo>
                    <a:pt x="257" y="341"/>
                  </a:lnTo>
                  <a:lnTo>
                    <a:pt x="257" y="339"/>
                  </a:lnTo>
                  <a:lnTo>
                    <a:pt x="256" y="338"/>
                  </a:lnTo>
                  <a:lnTo>
                    <a:pt x="256" y="337"/>
                  </a:lnTo>
                  <a:lnTo>
                    <a:pt x="255" y="336"/>
                  </a:lnTo>
                  <a:lnTo>
                    <a:pt x="255" y="331"/>
                  </a:lnTo>
                  <a:lnTo>
                    <a:pt x="253" y="329"/>
                  </a:lnTo>
                  <a:lnTo>
                    <a:pt x="253" y="326"/>
                  </a:lnTo>
                  <a:lnTo>
                    <a:pt x="251" y="325"/>
                  </a:lnTo>
                  <a:lnTo>
                    <a:pt x="250" y="325"/>
                  </a:lnTo>
                  <a:lnTo>
                    <a:pt x="249" y="324"/>
                  </a:lnTo>
                  <a:lnTo>
                    <a:pt x="248" y="324"/>
                  </a:lnTo>
                  <a:lnTo>
                    <a:pt x="248" y="325"/>
                  </a:lnTo>
                  <a:lnTo>
                    <a:pt x="247" y="325"/>
                  </a:lnTo>
                  <a:lnTo>
                    <a:pt x="245" y="327"/>
                  </a:lnTo>
                  <a:lnTo>
                    <a:pt x="244" y="329"/>
                  </a:lnTo>
                  <a:lnTo>
                    <a:pt x="241" y="329"/>
                  </a:lnTo>
                  <a:lnTo>
                    <a:pt x="239" y="330"/>
                  </a:lnTo>
                  <a:lnTo>
                    <a:pt x="238" y="330"/>
                  </a:lnTo>
                  <a:lnTo>
                    <a:pt x="236" y="332"/>
                  </a:lnTo>
                  <a:lnTo>
                    <a:pt x="235" y="335"/>
                  </a:lnTo>
                  <a:lnTo>
                    <a:pt x="235" y="339"/>
                  </a:lnTo>
                  <a:lnTo>
                    <a:pt x="234" y="339"/>
                  </a:lnTo>
                  <a:lnTo>
                    <a:pt x="234" y="337"/>
                  </a:lnTo>
                  <a:lnTo>
                    <a:pt x="232" y="337"/>
                  </a:lnTo>
                  <a:lnTo>
                    <a:pt x="231" y="338"/>
                  </a:lnTo>
                  <a:lnTo>
                    <a:pt x="231" y="337"/>
                  </a:lnTo>
                  <a:lnTo>
                    <a:pt x="230" y="337"/>
                  </a:lnTo>
                  <a:lnTo>
                    <a:pt x="230" y="336"/>
                  </a:lnTo>
                  <a:lnTo>
                    <a:pt x="229" y="332"/>
                  </a:lnTo>
                  <a:lnTo>
                    <a:pt x="229" y="330"/>
                  </a:lnTo>
                  <a:lnTo>
                    <a:pt x="228" y="329"/>
                  </a:lnTo>
                  <a:lnTo>
                    <a:pt x="222" y="329"/>
                  </a:lnTo>
                  <a:lnTo>
                    <a:pt x="219" y="330"/>
                  </a:lnTo>
                  <a:lnTo>
                    <a:pt x="218" y="331"/>
                  </a:lnTo>
                  <a:lnTo>
                    <a:pt x="217" y="331"/>
                  </a:lnTo>
                  <a:lnTo>
                    <a:pt x="217" y="329"/>
                  </a:lnTo>
                  <a:lnTo>
                    <a:pt x="216" y="327"/>
                  </a:lnTo>
                  <a:lnTo>
                    <a:pt x="214" y="327"/>
                  </a:lnTo>
                  <a:lnTo>
                    <a:pt x="214" y="326"/>
                  </a:lnTo>
                  <a:lnTo>
                    <a:pt x="213" y="325"/>
                  </a:lnTo>
                  <a:lnTo>
                    <a:pt x="213" y="323"/>
                  </a:lnTo>
                  <a:lnTo>
                    <a:pt x="212" y="323"/>
                  </a:lnTo>
                  <a:lnTo>
                    <a:pt x="210" y="325"/>
                  </a:lnTo>
                  <a:lnTo>
                    <a:pt x="208" y="329"/>
                  </a:lnTo>
                  <a:lnTo>
                    <a:pt x="207" y="329"/>
                  </a:lnTo>
                  <a:lnTo>
                    <a:pt x="206" y="330"/>
                  </a:lnTo>
                  <a:lnTo>
                    <a:pt x="203" y="330"/>
                  </a:lnTo>
                  <a:lnTo>
                    <a:pt x="201" y="329"/>
                  </a:lnTo>
                  <a:lnTo>
                    <a:pt x="200" y="329"/>
                  </a:lnTo>
                  <a:lnTo>
                    <a:pt x="197" y="325"/>
                  </a:lnTo>
                  <a:lnTo>
                    <a:pt x="195" y="326"/>
                  </a:lnTo>
                  <a:lnTo>
                    <a:pt x="195" y="327"/>
                  </a:lnTo>
                  <a:lnTo>
                    <a:pt x="194" y="329"/>
                  </a:lnTo>
                  <a:lnTo>
                    <a:pt x="194" y="332"/>
                  </a:lnTo>
                  <a:lnTo>
                    <a:pt x="192" y="335"/>
                  </a:lnTo>
                  <a:lnTo>
                    <a:pt x="192" y="336"/>
                  </a:lnTo>
                  <a:lnTo>
                    <a:pt x="191" y="336"/>
                  </a:lnTo>
                  <a:lnTo>
                    <a:pt x="189" y="335"/>
                  </a:lnTo>
                  <a:lnTo>
                    <a:pt x="189" y="333"/>
                  </a:lnTo>
                  <a:lnTo>
                    <a:pt x="191" y="330"/>
                  </a:lnTo>
                  <a:lnTo>
                    <a:pt x="191" y="327"/>
                  </a:lnTo>
                  <a:lnTo>
                    <a:pt x="189" y="326"/>
                  </a:lnTo>
                  <a:lnTo>
                    <a:pt x="187" y="326"/>
                  </a:lnTo>
                  <a:lnTo>
                    <a:pt x="182" y="325"/>
                  </a:lnTo>
                  <a:lnTo>
                    <a:pt x="180" y="325"/>
                  </a:lnTo>
                  <a:lnTo>
                    <a:pt x="179" y="326"/>
                  </a:lnTo>
                  <a:lnTo>
                    <a:pt x="179" y="327"/>
                  </a:lnTo>
                  <a:lnTo>
                    <a:pt x="177" y="327"/>
                  </a:lnTo>
                  <a:lnTo>
                    <a:pt x="175" y="326"/>
                  </a:lnTo>
                  <a:lnTo>
                    <a:pt x="173" y="327"/>
                  </a:lnTo>
                  <a:lnTo>
                    <a:pt x="172" y="326"/>
                  </a:lnTo>
                  <a:lnTo>
                    <a:pt x="172" y="325"/>
                  </a:lnTo>
                  <a:lnTo>
                    <a:pt x="173" y="324"/>
                  </a:lnTo>
                  <a:lnTo>
                    <a:pt x="173" y="323"/>
                  </a:lnTo>
                  <a:lnTo>
                    <a:pt x="169" y="323"/>
                  </a:lnTo>
                  <a:lnTo>
                    <a:pt x="169" y="317"/>
                  </a:lnTo>
                  <a:lnTo>
                    <a:pt x="168" y="315"/>
                  </a:lnTo>
                  <a:lnTo>
                    <a:pt x="162" y="315"/>
                  </a:lnTo>
                  <a:lnTo>
                    <a:pt x="157" y="317"/>
                  </a:lnTo>
                  <a:lnTo>
                    <a:pt x="155" y="317"/>
                  </a:lnTo>
                  <a:lnTo>
                    <a:pt x="146" y="313"/>
                  </a:lnTo>
                  <a:lnTo>
                    <a:pt x="138" y="312"/>
                  </a:lnTo>
                  <a:lnTo>
                    <a:pt x="137" y="312"/>
                  </a:lnTo>
                  <a:lnTo>
                    <a:pt x="137" y="309"/>
                  </a:lnTo>
                  <a:lnTo>
                    <a:pt x="126" y="309"/>
                  </a:lnTo>
                  <a:lnTo>
                    <a:pt x="123" y="306"/>
                  </a:lnTo>
                  <a:lnTo>
                    <a:pt x="118" y="306"/>
                  </a:lnTo>
                  <a:lnTo>
                    <a:pt x="110" y="303"/>
                  </a:lnTo>
                  <a:lnTo>
                    <a:pt x="106" y="305"/>
                  </a:lnTo>
                  <a:lnTo>
                    <a:pt x="92" y="305"/>
                  </a:lnTo>
                  <a:lnTo>
                    <a:pt x="85" y="302"/>
                  </a:lnTo>
                  <a:lnTo>
                    <a:pt x="82" y="302"/>
                  </a:lnTo>
                  <a:lnTo>
                    <a:pt x="81" y="303"/>
                  </a:lnTo>
                  <a:lnTo>
                    <a:pt x="77" y="305"/>
                  </a:lnTo>
                  <a:lnTo>
                    <a:pt x="65" y="307"/>
                  </a:lnTo>
                  <a:lnTo>
                    <a:pt x="50" y="307"/>
                  </a:lnTo>
                  <a:lnTo>
                    <a:pt x="49" y="308"/>
                  </a:lnTo>
                  <a:lnTo>
                    <a:pt x="48" y="311"/>
                  </a:lnTo>
                  <a:lnTo>
                    <a:pt x="48" y="312"/>
                  </a:lnTo>
                  <a:lnTo>
                    <a:pt x="46" y="317"/>
                  </a:lnTo>
                  <a:lnTo>
                    <a:pt x="45" y="318"/>
                  </a:lnTo>
                  <a:lnTo>
                    <a:pt x="40" y="321"/>
                  </a:lnTo>
                  <a:lnTo>
                    <a:pt x="33" y="327"/>
                  </a:lnTo>
                  <a:lnTo>
                    <a:pt x="32" y="327"/>
                  </a:lnTo>
                  <a:lnTo>
                    <a:pt x="29" y="324"/>
                  </a:lnTo>
                  <a:lnTo>
                    <a:pt x="23" y="324"/>
                  </a:lnTo>
                  <a:lnTo>
                    <a:pt x="19" y="325"/>
                  </a:lnTo>
                  <a:lnTo>
                    <a:pt x="18" y="325"/>
                  </a:lnTo>
                  <a:lnTo>
                    <a:pt x="18" y="327"/>
                  </a:lnTo>
                  <a:lnTo>
                    <a:pt x="19" y="331"/>
                  </a:lnTo>
                  <a:lnTo>
                    <a:pt x="19" y="332"/>
                  </a:lnTo>
                  <a:lnTo>
                    <a:pt x="18" y="332"/>
                  </a:lnTo>
                  <a:lnTo>
                    <a:pt x="18" y="331"/>
                  </a:lnTo>
                  <a:lnTo>
                    <a:pt x="17" y="331"/>
                  </a:lnTo>
                  <a:lnTo>
                    <a:pt x="15" y="330"/>
                  </a:lnTo>
                  <a:lnTo>
                    <a:pt x="17" y="330"/>
                  </a:lnTo>
                  <a:lnTo>
                    <a:pt x="15" y="327"/>
                  </a:lnTo>
                  <a:lnTo>
                    <a:pt x="15" y="324"/>
                  </a:lnTo>
                  <a:lnTo>
                    <a:pt x="14" y="323"/>
                  </a:lnTo>
                  <a:lnTo>
                    <a:pt x="15" y="323"/>
                  </a:lnTo>
                  <a:lnTo>
                    <a:pt x="15" y="315"/>
                  </a:lnTo>
                  <a:lnTo>
                    <a:pt x="17" y="315"/>
                  </a:lnTo>
                  <a:lnTo>
                    <a:pt x="18" y="314"/>
                  </a:lnTo>
                  <a:lnTo>
                    <a:pt x="19" y="314"/>
                  </a:lnTo>
                  <a:lnTo>
                    <a:pt x="19" y="312"/>
                  </a:lnTo>
                  <a:lnTo>
                    <a:pt x="18" y="311"/>
                  </a:lnTo>
                  <a:lnTo>
                    <a:pt x="18" y="308"/>
                  </a:lnTo>
                  <a:lnTo>
                    <a:pt x="19" y="307"/>
                  </a:lnTo>
                  <a:lnTo>
                    <a:pt x="18" y="307"/>
                  </a:lnTo>
                  <a:lnTo>
                    <a:pt x="19" y="306"/>
                  </a:lnTo>
                  <a:lnTo>
                    <a:pt x="19" y="302"/>
                  </a:lnTo>
                  <a:lnTo>
                    <a:pt x="20" y="301"/>
                  </a:lnTo>
                  <a:lnTo>
                    <a:pt x="20" y="300"/>
                  </a:lnTo>
                  <a:lnTo>
                    <a:pt x="21" y="300"/>
                  </a:lnTo>
                  <a:lnTo>
                    <a:pt x="20" y="299"/>
                  </a:lnTo>
                  <a:lnTo>
                    <a:pt x="20" y="296"/>
                  </a:lnTo>
                  <a:lnTo>
                    <a:pt x="19" y="295"/>
                  </a:lnTo>
                  <a:lnTo>
                    <a:pt x="19" y="293"/>
                  </a:lnTo>
                  <a:lnTo>
                    <a:pt x="18" y="293"/>
                  </a:lnTo>
                  <a:lnTo>
                    <a:pt x="18" y="292"/>
                  </a:lnTo>
                  <a:lnTo>
                    <a:pt x="17" y="290"/>
                  </a:lnTo>
                  <a:lnTo>
                    <a:pt x="14" y="290"/>
                  </a:lnTo>
                  <a:lnTo>
                    <a:pt x="13" y="288"/>
                  </a:lnTo>
                  <a:lnTo>
                    <a:pt x="13" y="287"/>
                  </a:lnTo>
                  <a:lnTo>
                    <a:pt x="8" y="287"/>
                  </a:lnTo>
                  <a:lnTo>
                    <a:pt x="9" y="286"/>
                  </a:lnTo>
                  <a:lnTo>
                    <a:pt x="8" y="286"/>
                  </a:lnTo>
                  <a:lnTo>
                    <a:pt x="6" y="284"/>
                  </a:lnTo>
                  <a:lnTo>
                    <a:pt x="5" y="283"/>
                  </a:lnTo>
                  <a:lnTo>
                    <a:pt x="5" y="284"/>
                  </a:lnTo>
                  <a:lnTo>
                    <a:pt x="1" y="283"/>
                  </a:lnTo>
                  <a:lnTo>
                    <a:pt x="0" y="283"/>
                  </a:lnTo>
                  <a:lnTo>
                    <a:pt x="1" y="281"/>
                  </a:lnTo>
                  <a:lnTo>
                    <a:pt x="0" y="280"/>
                  </a:lnTo>
                  <a:lnTo>
                    <a:pt x="1" y="275"/>
                  </a:lnTo>
                  <a:lnTo>
                    <a:pt x="3" y="272"/>
                  </a:lnTo>
                  <a:lnTo>
                    <a:pt x="9" y="264"/>
                  </a:lnTo>
                  <a:lnTo>
                    <a:pt x="13" y="260"/>
                  </a:lnTo>
                  <a:lnTo>
                    <a:pt x="24" y="257"/>
                  </a:lnTo>
                  <a:lnTo>
                    <a:pt x="29" y="253"/>
                  </a:lnTo>
                  <a:lnTo>
                    <a:pt x="31" y="251"/>
                  </a:lnTo>
                  <a:lnTo>
                    <a:pt x="31" y="229"/>
                  </a:lnTo>
                  <a:lnTo>
                    <a:pt x="30" y="228"/>
                  </a:lnTo>
                  <a:lnTo>
                    <a:pt x="29" y="226"/>
                  </a:lnTo>
                  <a:lnTo>
                    <a:pt x="29" y="222"/>
                  </a:lnTo>
                  <a:lnTo>
                    <a:pt x="30" y="222"/>
                  </a:lnTo>
                  <a:lnTo>
                    <a:pt x="30" y="219"/>
                  </a:lnTo>
                  <a:lnTo>
                    <a:pt x="27" y="216"/>
                  </a:lnTo>
                  <a:lnTo>
                    <a:pt x="27" y="214"/>
                  </a:lnTo>
                  <a:lnTo>
                    <a:pt x="26" y="213"/>
                  </a:lnTo>
                  <a:lnTo>
                    <a:pt x="25" y="210"/>
                  </a:lnTo>
                  <a:lnTo>
                    <a:pt x="24" y="204"/>
                  </a:lnTo>
                  <a:lnTo>
                    <a:pt x="23" y="202"/>
                  </a:lnTo>
                  <a:lnTo>
                    <a:pt x="21" y="197"/>
                  </a:lnTo>
                  <a:lnTo>
                    <a:pt x="18" y="186"/>
                  </a:lnTo>
                  <a:lnTo>
                    <a:pt x="17" y="182"/>
                  </a:lnTo>
                  <a:lnTo>
                    <a:pt x="17" y="177"/>
                  </a:lnTo>
                  <a:lnTo>
                    <a:pt x="14" y="174"/>
                  </a:lnTo>
                  <a:lnTo>
                    <a:pt x="14" y="169"/>
                  </a:lnTo>
                  <a:lnTo>
                    <a:pt x="13" y="167"/>
                  </a:lnTo>
                  <a:lnTo>
                    <a:pt x="13" y="164"/>
                  </a:lnTo>
                  <a:lnTo>
                    <a:pt x="14" y="164"/>
                  </a:lnTo>
                  <a:lnTo>
                    <a:pt x="18" y="166"/>
                  </a:lnTo>
                  <a:lnTo>
                    <a:pt x="19" y="166"/>
                  </a:lnTo>
                  <a:lnTo>
                    <a:pt x="21" y="165"/>
                  </a:lnTo>
                  <a:lnTo>
                    <a:pt x="24" y="165"/>
                  </a:lnTo>
                  <a:lnTo>
                    <a:pt x="25" y="164"/>
                  </a:lnTo>
                  <a:lnTo>
                    <a:pt x="26" y="164"/>
                  </a:lnTo>
                  <a:lnTo>
                    <a:pt x="26" y="165"/>
                  </a:lnTo>
                  <a:lnTo>
                    <a:pt x="27" y="165"/>
                  </a:lnTo>
                  <a:lnTo>
                    <a:pt x="31" y="163"/>
                  </a:lnTo>
                  <a:lnTo>
                    <a:pt x="32" y="163"/>
                  </a:lnTo>
                  <a:lnTo>
                    <a:pt x="33" y="164"/>
                  </a:lnTo>
                  <a:lnTo>
                    <a:pt x="38" y="164"/>
                  </a:lnTo>
                  <a:lnTo>
                    <a:pt x="40" y="163"/>
                  </a:lnTo>
                  <a:lnTo>
                    <a:pt x="42" y="161"/>
                  </a:lnTo>
                  <a:lnTo>
                    <a:pt x="44" y="164"/>
                  </a:lnTo>
                  <a:lnTo>
                    <a:pt x="45" y="166"/>
                  </a:lnTo>
                  <a:lnTo>
                    <a:pt x="48" y="166"/>
                  </a:lnTo>
                  <a:lnTo>
                    <a:pt x="49" y="167"/>
                  </a:lnTo>
                  <a:lnTo>
                    <a:pt x="50" y="167"/>
                  </a:lnTo>
                  <a:lnTo>
                    <a:pt x="52" y="166"/>
                  </a:lnTo>
                  <a:lnTo>
                    <a:pt x="57" y="161"/>
                  </a:lnTo>
                  <a:lnTo>
                    <a:pt x="59" y="160"/>
                  </a:lnTo>
                  <a:lnTo>
                    <a:pt x="62" y="160"/>
                  </a:lnTo>
                  <a:lnTo>
                    <a:pt x="63" y="159"/>
                  </a:lnTo>
                  <a:lnTo>
                    <a:pt x="64" y="161"/>
                  </a:lnTo>
                  <a:lnTo>
                    <a:pt x="68" y="161"/>
                  </a:lnTo>
                  <a:lnTo>
                    <a:pt x="69" y="160"/>
                  </a:lnTo>
                  <a:lnTo>
                    <a:pt x="69" y="157"/>
                  </a:lnTo>
                  <a:lnTo>
                    <a:pt x="68" y="155"/>
                  </a:lnTo>
                  <a:lnTo>
                    <a:pt x="68" y="152"/>
                  </a:lnTo>
                  <a:lnTo>
                    <a:pt x="69" y="151"/>
                  </a:lnTo>
                  <a:lnTo>
                    <a:pt x="69" y="149"/>
                  </a:lnTo>
                  <a:lnTo>
                    <a:pt x="70" y="148"/>
                  </a:lnTo>
                  <a:lnTo>
                    <a:pt x="75" y="148"/>
                  </a:lnTo>
                  <a:lnTo>
                    <a:pt x="77" y="149"/>
                  </a:lnTo>
                  <a:lnTo>
                    <a:pt x="80" y="149"/>
                  </a:lnTo>
                  <a:lnTo>
                    <a:pt x="82" y="148"/>
                  </a:lnTo>
                  <a:lnTo>
                    <a:pt x="83" y="146"/>
                  </a:lnTo>
                  <a:lnTo>
                    <a:pt x="85" y="145"/>
                  </a:lnTo>
                  <a:lnTo>
                    <a:pt x="85" y="141"/>
                  </a:lnTo>
                  <a:lnTo>
                    <a:pt x="86" y="140"/>
                  </a:lnTo>
                  <a:lnTo>
                    <a:pt x="89" y="141"/>
                  </a:lnTo>
                  <a:lnTo>
                    <a:pt x="93" y="141"/>
                  </a:lnTo>
                  <a:lnTo>
                    <a:pt x="93" y="140"/>
                  </a:lnTo>
                  <a:lnTo>
                    <a:pt x="95" y="137"/>
                  </a:lnTo>
                  <a:lnTo>
                    <a:pt x="96" y="137"/>
                  </a:lnTo>
                  <a:lnTo>
                    <a:pt x="98" y="139"/>
                  </a:lnTo>
                  <a:lnTo>
                    <a:pt x="100" y="142"/>
                  </a:lnTo>
                  <a:lnTo>
                    <a:pt x="99" y="142"/>
                  </a:lnTo>
                  <a:lnTo>
                    <a:pt x="98" y="143"/>
                  </a:lnTo>
                  <a:lnTo>
                    <a:pt x="99" y="145"/>
                  </a:lnTo>
                  <a:lnTo>
                    <a:pt x="99" y="146"/>
                  </a:lnTo>
                  <a:lnTo>
                    <a:pt x="98" y="146"/>
                  </a:lnTo>
                  <a:lnTo>
                    <a:pt x="98" y="147"/>
                  </a:lnTo>
                  <a:lnTo>
                    <a:pt x="100" y="149"/>
                  </a:lnTo>
                  <a:lnTo>
                    <a:pt x="105" y="149"/>
                  </a:lnTo>
                  <a:lnTo>
                    <a:pt x="106" y="148"/>
                  </a:lnTo>
                  <a:lnTo>
                    <a:pt x="108" y="148"/>
                  </a:lnTo>
                  <a:lnTo>
                    <a:pt x="110" y="147"/>
                  </a:lnTo>
                  <a:lnTo>
                    <a:pt x="110" y="140"/>
                  </a:lnTo>
                  <a:lnTo>
                    <a:pt x="108" y="140"/>
                  </a:lnTo>
                  <a:lnTo>
                    <a:pt x="108" y="139"/>
                  </a:lnTo>
                  <a:lnTo>
                    <a:pt x="107" y="139"/>
                  </a:lnTo>
                  <a:lnTo>
                    <a:pt x="106" y="137"/>
                  </a:lnTo>
                  <a:lnTo>
                    <a:pt x="106" y="135"/>
                  </a:lnTo>
                  <a:lnTo>
                    <a:pt x="105" y="135"/>
                  </a:lnTo>
                  <a:lnTo>
                    <a:pt x="102" y="137"/>
                  </a:lnTo>
                  <a:lnTo>
                    <a:pt x="100" y="137"/>
                  </a:lnTo>
                  <a:lnTo>
                    <a:pt x="100" y="136"/>
                  </a:lnTo>
                  <a:lnTo>
                    <a:pt x="99" y="136"/>
                  </a:lnTo>
                  <a:lnTo>
                    <a:pt x="99" y="134"/>
                  </a:lnTo>
                  <a:lnTo>
                    <a:pt x="100" y="133"/>
                  </a:lnTo>
                  <a:lnTo>
                    <a:pt x="102" y="128"/>
                  </a:lnTo>
                  <a:lnTo>
                    <a:pt x="102" y="123"/>
                  </a:lnTo>
                  <a:lnTo>
                    <a:pt x="104" y="122"/>
                  </a:lnTo>
                  <a:lnTo>
                    <a:pt x="104" y="121"/>
                  </a:lnTo>
                  <a:lnTo>
                    <a:pt x="106" y="120"/>
                  </a:lnTo>
                  <a:lnTo>
                    <a:pt x="107" y="120"/>
                  </a:lnTo>
                  <a:lnTo>
                    <a:pt x="108" y="118"/>
                  </a:lnTo>
                  <a:lnTo>
                    <a:pt x="108" y="115"/>
                  </a:lnTo>
                  <a:lnTo>
                    <a:pt x="107" y="112"/>
                  </a:lnTo>
                  <a:lnTo>
                    <a:pt x="107" y="102"/>
                  </a:lnTo>
                  <a:lnTo>
                    <a:pt x="108" y="100"/>
                  </a:lnTo>
                  <a:lnTo>
                    <a:pt x="110" y="100"/>
                  </a:lnTo>
                  <a:lnTo>
                    <a:pt x="110" y="96"/>
                  </a:lnTo>
                  <a:lnTo>
                    <a:pt x="111" y="94"/>
                  </a:lnTo>
                  <a:lnTo>
                    <a:pt x="112" y="94"/>
                  </a:lnTo>
                  <a:lnTo>
                    <a:pt x="112" y="93"/>
                  </a:lnTo>
                  <a:lnTo>
                    <a:pt x="113" y="92"/>
                  </a:lnTo>
                  <a:lnTo>
                    <a:pt x="113" y="91"/>
                  </a:lnTo>
                  <a:lnTo>
                    <a:pt x="116" y="90"/>
                  </a:lnTo>
                  <a:lnTo>
                    <a:pt x="118" y="91"/>
                  </a:lnTo>
                  <a:lnTo>
                    <a:pt x="123" y="90"/>
                  </a:lnTo>
                  <a:lnTo>
                    <a:pt x="125" y="89"/>
                  </a:lnTo>
                  <a:lnTo>
                    <a:pt x="125" y="87"/>
                  </a:lnTo>
                  <a:lnTo>
                    <a:pt x="126" y="87"/>
                  </a:lnTo>
                  <a:lnTo>
                    <a:pt x="126" y="86"/>
                  </a:lnTo>
                  <a:lnTo>
                    <a:pt x="129" y="83"/>
                  </a:lnTo>
                  <a:lnTo>
                    <a:pt x="129" y="78"/>
                  </a:lnTo>
                  <a:lnTo>
                    <a:pt x="130" y="75"/>
                  </a:lnTo>
                  <a:lnTo>
                    <a:pt x="132" y="75"/>
                  </a:lnTo>
                  <a:lnTo>
                    <a:pt x="137" y="77"/>
                  </a:lnTo>
                  <a:lnTo>
                    <a:pt x="138" y="77"/>
                  </a:lnTo>
                  <a:lnTo>
                    <a:pt x="138" y="75"/>
                  </a:lnTo>
                  <a:lnTo>
                    <a:pt x="139" y="75"/>
                  </a:lnTo>
                  <a:lnTo>
                    <a:pt x="143" y="78"/>
                  </a:lnTo>
                  <a:lnTo>
                    <a:pt x="144" y="78"/>
                  </a:lnTo>
                  <a:lnTo>
                    <a:pt x="145" y="77"/>
                  </a:lnTo>
                  <a:lnTo>
                    <a:pt x="145" y="72"/>
                  </a:lnTo>
                  <a:lnTo>
                    <a:pt x="146" y="72"/>
                  </a:lnTo>
                  <a:lnTo>
                    <a:pt x="146" y="71"/>
                  </a:lnTo>
                  <a:lnTo>
                    <a:pt x="148" y="69"/>
                  </a:lnTo>
                  <a:lnTo>
                    <a:pt x="149" y="69"/>
                  </a:lnTo>
                  <a:lnTo>
                    <a:pt x="150" y="68"/>
                  </a:lnTo>
                  <a:lnTo>
                    <a:pt x="151" y="68"/>
                  </a:lnTo>
                  <a:lnTo>
                    <a:pt x="152" y="67"/>
                  </a:lnTo>
                  <a:lnTo>
                    <a:pt x="152" y="65"/>
                  </a:lnTo>
                  <a:lnTo>
                    <a:pt x="151" y="65"/>
                  </a:lnTo>
                  <a:lnTo>
                    <a:pt x="144" y="63"/>
                  </a:lnTo>
                  <a:lnTo>
                    <a:pt x="141" y="63"/>
                  </a:lnTo>
                  <a:lnTo>
                    <a:pt x="138" y="62"/>
                  </a:lnTo>
                  <a:lnTo>
                    <a:pt x="138" y="60"/>
                  </a:lnTo>
                  <a:lnTo>
                    <a:pt x="139" y="59"/>
                  </a:lnTo>
                  <a:lnTo>
                    <a:pt x="139" y="57"/>
                  </a:lnTo>
                  <a:lnTo>
                    <a:pt x="141" y="54"/>
                  </a:lnTo>
                  <a:lnTo>
                    <a:pt x="142" y="53"/>
                  </a:lnTo>
                  <a:lnTo>
                    <a:pt x="142" y="47"/>
                  </a:lnTo>
                  <a:lnTo>
                    <a:pt x="144" y="44"/>
                  </a:lnTo>
                  <a:lnTo>
                    <a:pt x="144" y="37"/>
                  </a:lnTo>
                  <a:lnTo>
                    <a:pt x="145" y="35"/>
                  </a:lnTo>
                  <a:lnTo>
                    <a:pt x="146" y="35"/>
                  </a:lnTo>
                  <a:lnTo>
                    <a:pt x="149" y="36"/>
                  </a:lnTo>
                  <a:lnTo>
                    <a:pt x="150" y="36"/>
                  </a:lnTo>
                  <a:lnTo>
                    <a:pt x="154" y="34"/>
                  </a:lnTo>
                  <a:lnTo>
                    <a:pt x="155" y="32"/>
                  </a:lnTo>
                  <a:lnTo>
                    <a:pt x="160" y="25"/>
                  </a:lnTo>
                  <a:lnTo>
                    <a:pt x="161" y="25"/>
                  </a:lnTo>
                  <a:lnTo>
                    <a:pt x="166" y="24"/>
                  </a:lnTo>
                  <a:lnTo>
                    <a:pt x="168" y="24"/>
                  </a:lnTo>
                  <a:lnTo>
                    <a:pt x="168" y="25"/>
                  </a:lnTo>
                  <a:lnTo>
                    <a:pt x="172" y="28"/>
                  </a:lnTo>
                  <a:lnTo>
                    <a:pt x="173" y="28"/>
                  </a:lnTo>
                  <a:lnTo>
                    <a:pt x="176" y="24"/>
                  </a:lnTo>
                  <a:lnTo>
                    <a:pt x="179" y="26"/>
                  </a:lnTo>
                  <a:lnTo>
                    <a:pt x="180" y="26"/>
                  </a:lnTo>
                  <a:lnTo>
                    <a:pt x="185" y="28"/>
                  </a:lnTo>
                  <a:lnTo>
                    <a:pt x="186" y="28"/>
                  </a:lnTo>
                  <a:lnTo>
                    <a:pt x="187" y="26"/>
                  </a:lnTo>
                  <a:lnTo>
                    <a:pt x="187" y="20"/>
                  </a:lnTo>
                  <a:lnTo>
                    <a:pt x="188" y="18"/>
                  </a:lnTo>
                  <a:lnTo>
                    <a:pt x="193" y="14"/>
                  </a:lnTo>
                  <a:lnTo>
                    <a:pt x="194" y="12"/>
                  </a:lnTo>
                  <a:lnTo>
                    <a:pt x="194" y="11"/>
                  </a:lnTo>
                  <a:lnTo>
                    <a:pt x="199" y="6"/>
                  </a:lnTo>
                  <a:lnTo>
                    <a:pt x="199" y="5"/>
                  </a:lnTo>
                  <a:lnTo>
                    <a:pt x="200" y="4"/>
                  </a:lnTo>
                  <a:lnTo>
                    <a:pt x="201" y="4"/>
                  </a:lnTo>
                  <a:lnTo>
                    <a:pt x="203" y="3"/>
                  </a:lnTo>
                  <a:lnTo>
                    <a:pt x="204" y="3"/>
                  </a:lnTo>
                  <a:lnTo>
                    <a:pt x="206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55">
              <a:extLst>
                <a:ext uri="{FF2B5EF4-FFF2-40B4-BE49-F238E27FC236}">
                  <a16:creationId xmlns:a16="http://schemas.microsoft.com/office/drawing/2014/main" id="{0615CACC-FD57-4BF1-BEC2-C8AF2770B0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43800" y="5237163"/>
              <a:ext cx="393700" cy="306388"/>
            </a:xfrm>
            <a:custGeom>
              <a:avLst/>
              <a:gdLst/>
              <a:ahLst/>
              <a:cxnLst>
                <a:cxn ang="0">
                  <a:pos x="17" y="124"/>
                </a:cxn>
                <a:cxn ang="0">
                  <a:pos x="28" y="134"/>
                </a:cxn>
                <a:cxn ang="0">
                  <a:pos x="43" y="138"/>
                </a:cxn>
                <a:cxn ang="0">
                  <a:pos x="52" y="145"/>
                </a:cxn>
                <a:cxn ang="0">
                  <a:pos x="55" y="167"/>
                </a:cxn>
                <a:cxn ang="0">
                  <a:pos x="27" y="154"/>
                </a:cxn>
                <a:cxn ang="0">
                  <a:pos x="16" y="144"/>
                </a:cxn>
                <a:cxn ang="0">
                  <a:pos x="9" y="136"/>
                </a:cxn>
                <a:cxn ang="0">
                  <a:pos x="2" y="123"/>
                </a:cxn>
                <a:cxn ang="0">
                  <a:pos x="248" y="88"/>
                </a:cxn>
                <a:cxn ang="0">
                  <a:pos x="238" y="81"/>
                </a:cxn>
                <a:cxn ang="0">
                  <a:pos x="34" y="71"/>
                </a:cxn>
                <a:cxn ang="0">
                  <a:pos x="11" y="46"/>
                </a:cxn>
                <a:cxn ang="0">
                  <a:pos x="76" y="1"/>
                </a:cxn>
                <a:cxn ang="0">
                  <a:pos x="87" y="9"/>
                </a:cxn>
                <a:cxn ang="0">
                  <a:pos x="98" y="18"/>
                </a:cxn>
                <a:cxn ang="0">
                  <a:pos x="107" y="33"/>
                </a:cxn>
                <a:cxn ang="0">
                  <a:pos x="126" y="39"/>
                </a:cxn>
                <a:cxn ang="0">
                  <a:pos x="136" y="31"/>
                </a:cxn>
                <a:cxn ang="0">
                  <a:pos x="154" y="16"/>
                </a:cxn>
                <a:cxn ang="0">
                  <a:pos x="171" y="14"/>
                </a:cxn>
                <a:cxn ang="0">
                  <a:pos x="185" y="34"/>
                </a:cxn>
                <a:cxn ang="0">
                  <a:pos x="196" y="58"/>
                </a:cxn>
                <a:cxn ang="0">
                  <a:pos x="202" y="69"/>
                </a:cxn>
                <a:cxn ang="0">
                  <a:pos x="226" y="75"/>
                </a:cxn>
                <a:cxn ang="0">
                  <a:pos x="235" y="82"/>
                </a:cxn>
                <a:cxn ang="0">
                  <a:pos x="232" y="87"/>
                </a:cxn>
                <a:cxn ang="0">
                  <a:pos x="215" y="88"/>
                </a:cxn>
                <a:cxn ang="0">
                  <a:pos x="200" y="98"/>
                </a:cxn>
                <a:cxn ang="0">
                  <a:pos x="197" y="107"/>
                </a:cxn>
                <a:cxn ang="0">
                  <a:pos x="197" y="122"/>
                </a:cxn>
                <a:cxn ang="0">
                  <a:pos x="196" y="142"/>
                </a:cxn>
                <a:cxn ang="0">
                  <a:pos x="183" y="162"/>
                </a:cxn>
                <a:cxn ang="0">
                  <a:pos x="178" y="151"/>
                </a:cxn>
                <a:cxn ang="0">
                  <a:pos x="173" y="181"/>
                </a:cxn>
                <a:cxn ang="0">
                  <a:pos x="160" y="188"/>
                </a:cxn>
                <a:cxn ang="0">
                  <a:pos x="147" y="175"/>
                </a:cxn>
                <a:cxn ang="0">
                  <a:pos x="147" y="161"/>
                </a:cxn>
                <a:cxn ang="0">
                  <a:pos x="147" y="142"/>
                </a:cxn>
                <a:cxn ang="0">
                  <a:pos x="134" y="123"/>
                </a:cxn>
                <a:cxn ang="0">
                  <a:pos x="110" y="135"/>
                </a:cxn>
                <a:cxn ang="0">
                  <a:pos x="97" y="149"/>
                </a:cxn>
                <a:cxn ang="0">
                  <a:pos x="86" y="154"/>
                </a:cxn>
                <a:cxn ang="0">
                  <a:pos x="78" y="163"/>
                </a:cxn>
                <a:cxn ang="0">
                  <a:pos x="70" y="149"/>
                </a:cxn>
                <a:cxn ang="0">
                  <a:pos x="74" y="143"/>
                </a:cxn>
                <a:cxn ang="0">
                  <a:pos x="74" y="129"/>
                </a:cxn>
                <a:cxn ang="0">
                  <a:pos x="54" y="123"/>
                </a:cxn>
                <a:cxn ang="0">
                  <a:pos x="42" y="108"/>
                </a:cxn>
                <a:cxn ang="0">
                  <a:pos x="49" y="101"/>
                </a:cxn>
                <a:cxn ang="0">
                  <a:pos x="33" y="81"/>
                </a:cxn>
                <a:cxn ang="0">
                  <a:pos x="27" y="68"/>
                </a:cxn>
                <a:cxn ang="0">
                  <a:pos x="33" y="56"/>
                </a:cxn>
                <a:cxn ang="0">
                  <a:pos x="20" y="49"/>
                </a:cxn>
                <a:cxn ang="0">
                  <a:pos x="20" y="42"/>
                </a:cxn>
                <a:cxn ang="0">
                  <a:pos x="24" y="25"/>
                </a:cxn>
                <a:cxn ang="0">
                  <a:pos x="41" y="36"/>
                </a:cxn>
                <a:cxn ang="0">
                  <a:pos x="70" y="45"/>
                </a:cxn>
                <a:cxn ang="0">
                  <a:pos x="80" y="38"/>
                </a:cxn>
                <a:cxn ang="0">
                  <a:pos x="70" y="25"/>
                </a:cxn>
                <a:cxn ang="0">
                  <a:pos x="60" y="13"/>
                </a:cxn>
              </a:cxnLst>
              <a:rect l="0" t="0" r="r" b="b"/>
              <a:pathLst>
                <a:path w="248" h="193">
                  <a:moveTo>
                    <a:pt x="195" y="143"/>
                  </a:moveTo>
                  <a:lnTo>
                    <a:pt x="196" y="143"/>
                  </a:lnTo>
                  <a:lnTo>
                    <a:pt x="196" y="144"/>
                  </a:lnTo>
                  <a:lnTo>
                    <a:pt x="195" y="143"/>
                  </a:lnTo>
                  <a:close/>
                  <a:moveTo>
                    <a:pt x="10" y="118"/>
                  </a:moveTo>
                  <a:lnTo>
                    <a:pt x="12" y="118"/>
                  </a:lnTo>
                  <a:lnTo>
                    <a:pt x="14" y="119"/>
                  </a:lnTo>
                  <a:lnTo>
                    <a:pt x="16" y="123"/>
                  </a:lnTo>
                  <a:lnTo>
                    <a:pt x="17" y="124"/>
                  </a:lnTo>
                  <a:lnTo>
                    <a:pt x="17" y="129"/>
                  </a:lnTo>
                  <a:lnTo>
                    <a:pt x="20" y="129"/>
                  </a:lnTo>
                  <a:lnTo>
                    <a:pt x="21" y="128"/>
                  </a:lnTo>
                  <a:lnTo>
                    <a:pt x="22" y="128"/>
                  </a:lnTo>
                  <a:lnTo>
                    <a:pt x="23" y="129"/>
                  </a:lnTo>
                  <a:lnTo>
                    <a:pt x="23" y="130"/>
                  </a:lnTo>
                  <a:lnTo>
                    <a:pt x="24" y="131"/>
                  </a:lnTo>
                  <a:lnTo>
                    <a:pt x="27" y="131"/>
                  </a:lnTo>
                  <a:lnTo>
                    <a:pt x="28" y="134"/>
                  </a:lnTo>
                  <a:lnTo>
                    <a:pt x="30" y="134"/>
                  </a:lnTo>
                  <a:lnTo>
                    <a:pt x="30" y="132"/>
                  </a:lnTo>
                  <a:lnTo>
                    <a:pt x="34" y="131"/>
                  </a:lnTo>
                  <a:lnTo>
                    <a:pt x="35" y="130"/>
                  </a:lnTo>
                  <a:lnTo>
                    <a:pt x="41" y="129"/>
                  </a:lnTo>
                  <a:lnTo>
                    <a:pt x="42" y="129"/>
                  </a:lnTo>
                  <a:lnTo>
                    <a:pt x="45" y="131"/>
                  </a:lnTo>
                  <a:lnTo>
                    <a:pt x="45" y="136"/>
                  </a:lnTo>
                  <a:lnTo>
                    <a:pt x="43" y="138"/>
                  </a:lnTo>
                  <a:lnTo>
                    <a:pt x="42" y="140"/>
                  </a:lnTo>
                  <a:lnTo>
                    <a:pt x="42" y="141"/>
                  </a:lnTo>
                  <a:lnTo>
                    <a:pt x="43" y="141"/>
                  </a:lnTo>
                  <a:lnTo>
                    <a:pt x="46" y="142"/>
                  </a:lnTo>
                  <a:lnTo>
                    <a:pt x="47" y="143"/>
                  </a:lnTo>
                  <a:lnTo>
                    <a:pt x="48" y="143"/>
                  </a:lnTo>
                  <a:lnTo>
                    <a:pt x="48" y="144"/>
                  </a:lnTo>
                  <a:lnTo>
                    <a:pt x="51" y="145"/>
                  </a:lnTo>
                  <a:lnTo>
                    <a:pt x="52" y="145"/>
                  </a:lnTo>
                  <a:lnTo>
                    <a:pt x="52" y="148"/>
                  </a:lnTo>
                  <a:lnTo>
                    <a:pt x="51" y="149"/>
                  </a:lnTo>
                  <a:lnTo>
                    <a:pt x="51" y="151"/>
                  </a:lnTo>
                  <a:lnTo>
                    <a:pt x="52" y="153"/>
                  </a:lnTo>
                  <a:lnTo>
                    <a:pt x="53" y="155"/>
                  </a:lnTo>
                  <a:lnTo>
                    <a:pt x="54" y="156"/>
                  </a:lnTo>
                  <a:lnTo>
                    <a:pt x="57" y="162"/>
                  </a:lnTo>
                  <a:lnTo>
                    <a:pt x="59" y="167"/>
                  </a:lnTo>
                  <a:lnTo>
                    <a:pt x="55" y="167"/>
                  </a:lnTo>
                  <a:lnTo>
                    <a:pt x="53" y="166"/>
                  </a:lnTo>
                  <a:lnTo>
                    <a:pt x="43" y="163"/>
                  </a:lnTo>
                  <a:lnTo>
                    <a:pt x="41" y="162"/>
                  </a:lnTo>
                  <a:lnTo>
                    <a:pt x="33" y="162"/>
                  </a:lnTo>
                  <a:lnTo>
                    <a:pt x="30" y="160"/>
                  </a:lnTo>
                  <a:lnTo>
                    <a:pt x="29" y="160"/>
                  </a:lnTo>
                  <a:lnTo>
                    <a:pt x="29" y="156"/>
                  </a:lnTo>
                  <a:lnTo>
                    <a:pt x="27" y="156"/>
                  </a:lnTo>
                  <a:lnTo>
                    <a:pt x="27" y="154"/>
                  </a:lnTo>
                  <a:lnTo>
                    <a:pt x="26" y="154"/>
                  </a:lnTo>
                  <a:lnTo>
                    <a:pt x="26" y="151"/>
                  </a:lnTo>
                  <a:lnTo>
                    <a:pt x="24" y="150"/>
                  </a:lnTo>
                  <a:lnTo>
                    <a:pt x="23" y="150"/>
                  </a:lnTo>
                  <a:lnTo>
                    <a:pt x="24" y="149"/>
                  </a:lnTo>
                  <a:lnTo>
                    <a:pt x="22" y="149"/>
                  </a:lnTo>
                  <a:lnTo>
                    <a:pt x="18" y="148"/>
                  </a:lnTo>
                  <a:lnTo>
                    <a:pt x="17" y="148"/>
                  </a:lnTo>
                  <a:lnTo>
                    <a:pt x="16" y="144"/>
                  </a:lnTo>
                  <a:lnTo>
                    <a:pt x="15" y="143"/>
                  </a:lnTo>
                  <a:lnTo>
                    <a:pt x="15" y="141"/>
                  </a:lnTo>
                  <a:lnTo>
                    <a:pt x="14" y="141"/>
                  </a:lnTo>
                  <a:lnTo>
                    <a:pt x="14" y="140"/>
                  </a:lnTo>
                  <a:lnTo>
                    <a:pt x="12" y="140"/>
                  </a:lnTo>
                  <a:lnTo>
                    <a:pt x="11" y="138"/>
                  </a:lnTo>
                  <a:lnTo>
                    <a:pt x="11" y="137"/>
                  </a:lnTo>
                  <a:lnTo>
                    <a:pt x="10" y="137"/>
                  </a:lnTo>
                  <a:lnTo>
                    <a:pt x="9" y="136"/>
                  </a:lnTo>
                  <a:lnTo>
                    <a:pt x="9" y="135"/>
                  </a:lnTo>
                  <a:lnTo>
                    <a:pt x="8" y="135"/>
                  </a:lnTo>
                  <a:lnTo>
                    <a:pt x="8" y="134"/>
                  </a:lnTo>
                  <a:lnTo>
                    <a:pt x="6" y="128"/>
                  </a:lnTo>
                  <a:lnTo>
                    <a:pt x="5" y="128"/>
                  </a:lnTo>
                  <a:lnTo>
                    <a:pt x="5" y="126"/>
                  </a:lnTo>
                  <a:lnTo>
                    <a:pt x="4" y="126"/>
                  </a:lnTo>
                  <a:lnTo>
                    <a:pt x="2" y="124"/>
                  </a:lnTo>
                  <a:lnTo>
                    <a:pt x="2" y="123"/>
                  </a:lnTo>
                  <a:lnTo>
                    <a:pt x="0" y="122"/>
                  </a:lnTo>
                  <a:lnTo>
                    <a:pt x="2" y="122"/>
                  </a:lnTo>
                  <a:lnTo>
                    <a:pt x="4" y="120"/>
                  </a:lnTo>
                  <a:lnTo>
                    <a:pt x="9" y="120"/>
                  </a:lnTo>
                  <a:lnTo>
                    <a:pt x="9" y="119"/>
                  </a:lnTo>
                  <a:lnTo>
                    <a:pt x="10" y="118"/>
                  </a:lnTo>
                  <a:close/>
                  <a:moveTo>
                    <a:pt x="245" y="87"/>
                  </a:moveTo>
                  <a:lnTo>
                    <a:pt x="247" y="87"/>
                  </a:lnTo>
                  <a:lnTo>
                    <a:pt x="248" y="88"/>
                  </a:lnTo>
                  <a:lnTo>
                    <a:pt x="247" y="89"/>
                  </a:lnTo>
                  <a:lnTo>
                    <a:pt x="247" y="88"/>
                  </a:lnTo>
                  <a:lnTo>
                    <a:pt x="246" y="89"/>
                  </a:lnTo>
                  <a:lnTo>
                    <a:pt x="246" y="88"/>
                  </a:lnTo>
                  <a:lnTo>
                    <a:pt x="245" y="87"/>
                  </a:lnTo>
                  <a:close/>
                  <a:moveTo>
                    <a:pt x="235" y="79"/>
                  </a:moveTo>
                  <a:lnTo>
                    <a:pt x="236" y="79"/>
                  </a:lnTo>
                  <a:lnTo>
                    <a:pt x="236" y="80"/>
                  </a:lnTo>
                  <a:lnTo>
                    <a:pt x="238" y="81"/>
                  </a:lnTo>
                  <a:lnTo>
                    <a:pt x="238" y="83"/>
                  </a:lnTo>
                  <a:lnTo>
                    <a:pt x="236" y="83"/>
                  </a:lnTo>
                  <a:lnTo>
                    <a:pt x="236" y="82"/>
                  </a:lnTo>
                  <a:lnTo>
                    <a:pt x="235" y="80"/>
                  </a:lnTo>
                  <a:lnTo>
                    <a:pt x="235" y="79"/>
                  </a:lnTo>
                  <a:close/>
                  <a:moveTo>
                    <a:pt x="30" y="69"/>
                  </a:moveTo>
                  <a:lnTo>
                    <a:pt x="30" y="71"/>
                  </a:lnTo>
                  <a:lnTo>
                    <a:pt x="33" y="73"/>
                  </a:lnTo>
                  <a:lnTo>
                    <a:pt x="34" y="71"/>
                  </a:lnTo>
                  <a:lnTo>
                    <a:pt x="34" y="69"/>
                  </a:lnTo>
                  <a:lnTo>
                    <a:pt x="30" y="69"/>
                  </a:lnTo>
                  <a:close/>
                  <a:moveTo>
                    <a:pt x="18" y="50"/>
                  </a:moveTo>
                  <a:lnTo>
                    <a:pt x="20" y="51"/>
                  </a:lnTo>
                  <a:lnTo>
                    <a:pt x="20" y="52"/>
                  </a:lnTo>
                  <a:lnTo>
                    <a:pt x="18" y="51"/>
                  </a:lnTo>
                  <a:lnTo>
                    <a:pt x="18" y="50"/>
                  </a:lnTo>
                  <a:close/>
                  <a:moveTo>
                    <a:pt x="10" y="45"/>
                  </a:moveTo>
                  <a:lnTo>
                    <a:pt x="11" y="46"/>
                  </a:lnTo>
                  <a:lnTo>
                    <a:pt x="11" y="49"/>
                  </a:lnTo>
                  <a:lnTo>
                    <a:pt x="10" y="49"/>
                  </a:lnTo>
                  <a:lnTo>
                    <a:pt x="9" y="48"/>
                  </a:lnTo>
                  <a:lnTo>
                    <a:pt x="9" y="46"/>
                  </a:lnTo>
                  <a:lnTo>
                    <a:pt x="10" y="45"/>
                  </a:lnTo>
                  <a:close/>
                  <a:moveTo>
                    <a:pt x="71" y="0"/>
                  </a:moveTo>
                  <a:lnTo>
                    <a:pt x="73" y="0"/>
                  </a:lnTo>
                  <a:lnTo>
                    <a:pt x="74" y="1"/>
                  </a:lnTo>
                  <a:lnTo>
                    <a:pt x="76" y="1"/>
                  </a:lnTo>
                  <a:lnTo>
                    <a:pt x="76" y="6"/>
                  </a:lnTo>
                  <a:lnTo>
                    <a:pt x="78" y="6"/>
                  </a:lnTo>
                  <a:lnTo>
                    <a:pt x="80" y="3"/>
                  </a:lnTo>
                  <a:lnTo>
                    <a:pt x="83" y="3"/>
                  </a:lnTo>
                  <a:lnTo>
                    <a:pt x="84" y="2"/>
                  </a:lnTo>
                  <a:lnTo>
                    <a:pt x="84" y="3"/>
                  </a:lnTo>
                  <a:lnTo>
                    <a:pt x="85" y="5"/>
                  </a:lnTo>
                  <a:lnTo>
                    <a:pt x="85" y="7"/>
                  </a:lnTo>
                  <a:lnTo>
                    <a:pt x="87" y="9"/>
                  </a:lnTo>
                  <a:lnTo>
                    <a:pt x="90" y="9"/>
                  </a:lnTo>
                  <a:lnTo>
                    <a:pt x="91" y="11"/>
                  </a:lnTo>
                  <a:lnTo>
                    <a:pt x="91" y="12"/>
                  </a:lnTo>
                  <a:lnTo>
                    <a:pt x="93" y="14"/>
                  </a:lnTo>
                  <a:lnTo>
                    <a:pt x="95" y="16"/>
                  </a:lnTo>
                  <a:lnTo>
                    <a:pt x="96" y="18"/>
                  </a:lnTo>
                  <a:lnTo>
                    <a:pt x="96" y="19"/>
                  </a:lnTo>
                  <a:lnTo>
                    <a:pt x="98" y="19"/>
                  </a:lnTo>
                  <a:lnTo>
                    <a:pt x="98" y="18"/>
                  </a:lnTo>
                  <a:lnTo>
                    <a:pt x="101" y="18"/>
                  </a:lnTo>
                  <a:lnTo>
                    <a:pt x="101" y="20"/>
                  </a:lnTo>
                  <a:lnTo>
                    <a:pt x="102" y="21"/>
                  </a:lnTo>
                  <a:lnTo>
                    <a:pt x="102" y="22"/>
                  </a:lnTo>
                  <a:lnTo>
                    <a:pt x="103" y="22"/>
                  </a:lnTo>
                  <a:lnTo>
                    <a:pt x="103" y="25"/>
                  </a:lnTo>
                  <a:lnTo>
                    <a:pt x="105" y="27"/>
                  </a:lnTo>
                  <a:lnTo>
                    <a:pt x="105" y="32"/>
                  </a:lnTo>
                  <a:lnTo>
                    <a:pt x="107" y="33"/>
                  </a:lnTo>
                  <a:lnTo>
                    <a:pt x="109" y="34"/>
                  </a:lnTo>
                  <a:lnTo>
                    <a:pt x="110" y="36"/>
                  </a:lnTo>
                  <a:lnTo>
                    <a:pt x="115" y="36"/>
                  </a:lnTo>
                  <a:lnTo>
                    <a:pt x="117" y="38"/>
                  </a:lnTo>
                  <a:lnTo>
                    <a:pt x="121" y="38"/>
                  </a:lnTo>
                  <a:lnTo>
                    <a:pt x="121" y="37"/>
                  </a:lnTo>
                  <a:lnTo>
                    <a:pt x="122" y="37"/>
                  </a:lnTo>
                  <a:lnTo>
                    <a:pt x="124" y="38"/>
                  </a:lnTo>
                  <a:lnTo>
                    <a:pt x="126" y="39"/>
                  </a:lnTo>
                  <a:lnTo>
                    <a:pt x="130" y="39"/>
                  </a:lnTo>
                  <a:lnTo>
                    <a:pt x="132" y="38"/>
                  </a:lnTo>
                  <a:lnTo>
                    <a:pt x="133" y="38"/>
                  </a:lnTo>
                  <a:lnTo>
                    <a:pt x="133" y="33"/>
                  </a:lnTo>
                  <a:lnTo>
                    <a:pt x="134" y="33"/>
                  </a:lnTo>
                  <a:lnTo>
                    <a:pt x="134" y="32"/>
                  </a:lnTo>
                  <a:lnTo>
                    <a:pt x="135" y="31"/>
                  </a:lnTo>
                  <a:lnTo>
                    <a:pt x="135" y="30"/>
                  </a:lnTo>
                  <a:lnTo>
                    <a:pt x="136" y="31"/>
                  </a:lnTo>
                  <a:lnTo>
                    <a:pt x="138" y="30"/>
                  </a:lnTo>
                  <a:lnTo>
                    <a:pt x="139" y="26"/>
                  </a:lnTo>
                  <a:lnTo>
                    <a:pt x="140" y="24"/>
                  </a:lnTo>
                  <a:lnTo>
                    <a:pt x="141" y="24"/>
                  </a:lnTo>
                  <a:lnTo>
                    <a:pt x="146" y="22"/>
                  </a:lnTo>
                  <a:lnTo>
                    <a:pt x="147" y="21"/>
                  </a:lnTo>
                  <a:lnTo>
                    <a:pt x="149" y="20"/>
                  </a:lnTo>
                  <a:lnTo>
                    <a:pt x="153" y="18"/>
                  </a:lnTo>
                  <a:lnTo>
                    <a:pt x="154" y="16"/>
                  </a:lnTo>
                  <a:lnTo>
                    <a:pt x="154" y="15"/>
                  </a:lnTo>
                  <a:lnTo>
                    <a:pt x="157" y="9"/>
                  </a:lnTo>
                  <a:lnTo>
                    <a:pt x="161" y="2"/>
                  </a:lnTo>
                  <a:lnTo>
                    <a:pt x="161" y="3"/>
                  </a:lnTo>
                  <a:lnTo>
                    <a:pt x="164" y="3"/>
                  </a:lnTo>
                  <a:lnTo>
                    <a:pt x="165" y="5"/>
                  </a:lnTo>
                  <a:lnTo>
                    <a:pt x="169" y="11"/>
                  </a:lnTo>
                  <a:lnTo>
                    <a:pt x="171" y="13"/>
                  </a:lnTo>
                  <a:lnTo>
                    <a:pt x="171" y="14"/>
                  </a:lnTo>
                  <a:lnTo>
                    <a:pt x="173" y="18"/>
                  </a:lnTo>
                  <a:lnTo>
                    <a:pt x="176" y="20"/>
                  </a:lnTo>
                  <a:lnTo>
                    <a:pt x="176" y="21"/>
                  </a:lnTo>
                  <a:lnTo>
                    <a:pt x="177" y="21"/>
                  </a:lnTo>
                  <a:lnTo>
                    <a:pt x="177" y="22"/>
                  </a:lnTo>
                  <a:lnTo>
                    <a:pt x="182" y="27"/>
                  </a:lnTo>
                  <a:lnTo>
                    <a:pt x="183" y="30"/>
                  </a:lnTo>
                  <a:lnTo>
                    <a:pt x="184" y="33"/>
                  </a:lnTo>
                  <a:lnTo>
                    <a:pt x="185" y="34"/>
                  </a:lnTo>
                  <a:lnTo>
                    <a:pt x="185" y="40"/>
                  </a:lnTo>
                  <a:lnTo>
                    <a:pt x="186" y="42"/>
                  </a:lnTo>
                  <a:lnTo>
                    <a:pt x="186" y="43"/>
                  </a:lnTo>
                  <a:lnTo>
                    <a:pt x="188" y="46"/>
                  </a:lnTo>
                  <a:lnTo>
                    <a:pt x="190" y="50"/>
                  </a:lnTo>
                  <a:lnTo>
                    <a:pt x="195" y="56"/>
                  </a:lnTo>
                  <a:lnTo>
                    <a:pt x="195" y="57"/>
                  </a:lnTo>
                  <a:lnTo>
                    <a:pt x="196" y="57"/>
                  </a:lnTo>
                  <a:lnTo>
                    <a:pt x="196" y="58"/>
                  </a:lnTo>
                  <a:lnTo>
                    <a:pt x="198" y="59"/>
                  </a:lnTo>
                  <a:lnTo>
                    <a:pt x="200" y="59"/>
                  </a:lnTo>
                  <a:lnTo>
                    <a:pt x="201" y="61"/>
                  </a:lnTo>
                  <a:lnTo>
                    <a:pt x="202" y="61"/>
                  </a:lnTo>
                  <a:lnTo>
                    <a:pt x="202" y="63"/>
                  </a:lnTo>
                  <a:lnTo>
                    <a:pt x="201" y="65"/>
                  </a:lnTo>
                  <a:lnTo>
                    <a:pt x="201" y="68"/>
                  </a:lnTo>
                  <a:lnTo>
                    <a:pt x="202" y="68"/>
                  </a:lnTo>
                  <a:lnTo>
                    <a:pt x="202" y="69"/>
                  </a:lnTo>
                  <a:lnTo>
                    <a:pt x="204" y="71"/>
                  </a:lnTo>
                  <a:lnTo>
                    <a:pt x="208" y="71"/>
                  </a:lnTo>
                  <a:lnTo>
                    <a:pt x="210" y="74"/>
                  </a:lnTo>
                  <a:lnTo>
                    <a:pt x="215" y="74"/>
                  </a:lnTo>
                  <a:lnTo>
                    <a:pt x="217" y="73"/>
                  </a:lnTo>
                  <a:lnTo>
                    <a:pt x="223" y="73"/>
                  </a:lnTo>
                  <a:lnTo>
                    <a:pt x="225" y="74"/>
                  </a:lnTo>
                  <a:lnTo>
                    <a:pt x="225" y="75"/>
                  </a:lnTo>
                  <a:lnTo>
                    <a:pt x="226" y="75"/>
                  </a:lnTo>
                  <a:lnTo>
                    <a:pt x="226" y="76"/>
                  </a:lnTo>
                  <a:lnTo>
                    <a:pt x="227" y="76"/>
                  </a:lnTo>
                  <a:lnTo>
                    <a:pt x="231" y="77"/>
                  </a:lnTo>
                  <a:lnTo>
                    <a:pt x="232" y="77"/>
                  </a:lnTo>
                  <a:lnTo>
                    <a:pt x="232" y="79"/>
                  </a:lnTo>
                  <a:lnTo>
                    <a:pt x="233" y="80"/>
                  </a:lnTo>
                  <a:lnTo>
                    <a:pt x="233" y="81"/>
                  </a:lnTo>
                  <a:lnTo>
                    <a:pt x="234" y="82"/>
                  </a:lnTo>
                  <a:lnTo>
                    <a:pt x="235" y="82"/>
                  </a:lnTo>
                  <a:lnTo>
                    <a:pt x="235" y="83"/>
                  </a:lnTo>
                  <a:lnTo>
                    <a:pt x="236" y="85"/>
                  </a:lnTo>
                  <a:lnTo>
                    <a:pt x="236" y="86"/>
                  </a:lnTo>
                  <a:lnTo>
                    <a:pt x="238" y="89"/>
                  </a:lnTo>
                  <a:lnTo>
                    <a:pt x="238" y="93"/>
                  </a:lnTo>
                  <a:lnTo>
                    <a:pt x="236" y="92"/>
                  </a:lnTo>
                  <a:lnTo>
                    <a:pt x="236" y="91"/>
                  </a:lnTo>
                  <a:lnTo>
                    <a:pt x="233" y="87"/>
                  </a:lnTo>
                  <a:lnTo>
                    <a:pt x="232" y="87"/>
                  </a:lnTo>
                  <a:lnTo>
                    <a:pt x="229" y="86"/>
                  </a:lnTo>
                  <a:lnTo>
                    <a:pt x="223" y="86"/>
                  </a:lnTo>
                  <a:lnTo>
                    <a:pt x="222" y="87"/>
                  </a:lnTo>
                  <a:lnTo>
                    <a:pt x="220" y="87"/>
                  </a:lnTo>
                  <a:lnTo>
                    <a:pt x="220" y="86"/>
                  </a:lnTo>
                  <a:lnTo>
                    <a:pt x="219" y="86"/>
                  </a:lnTo>
                  <a:lnTo>
                    <a:pt x="217" y="85"/>
                  </a:lnTo>
                  <a:lnTo>
                    <a:pt x="215" y="87"/>
                  </a:lnTo>
                  <a:lnTo>
                    <a:pt x="215" y="88"/>
                  </a:lnTo>
                  <a:lnTo>
                    <a:pt x="213" y="91"/>
                  </a:lnTo>
                  <a:lnTo>
                    <a:pt x="209" y="91"/>
                  </a:lnTo>
                  <a:lnTo>
                    <a:pt x="207" y="92"/>
                  </a:lnTo>
                  <a:lnTo>
                    <a:pt x="203" y="93"/>
                  </a:lnTo>
                  <a:lnTo>
                    <a:pt x="203" y="94"/>
                  </a:lnTo>
                  <a:lnTo>
                    <a:pt x="201" y="95"/>
                  </a:lnTo>
                  <a:lnTo>
                    <a:pt x="201" y="97"/>
                  </a:lnTo>
                  <a:lnTo>
                    <a:pt x="200" y="97"/>
                  </a:lnTo>
                  <a:lnTo>
                    <a:pt x="200" y="98"/>
                  </a:lnTo>
                  <a:lnTo>
                    <a:pt x="201" y="100"/>
                  </a:lnTo>
                  <a:lnTo>
                    <a:pt x="198" y="101"/>
                  </a:lnTo>
                  <a:lnTo>
                    <a:pt x="197" y="102"/>
                  </a:lnTo>
                  <a:lnTo>
                    <a:pt x="198" y="104"/>
                  </a:lnTo>
                  <a:lnTo>
                    <a:pt x="198" y="105"/>
                  </a:lnTo>
                  <a:lnTo>
                    <a:pt x="200" y="105"/>
                  </a:lnTo>
                  <a:lnTo>
                    <a:pt x="200" y="106"/>
                  </a:lnTo>
                  <a:lnTo>
                    <a:pt x="198" y="107"/>
                  </a:lnTo>
                  <a:lnTo>
                    <a:pt x="197" y="107"/>
                  </a:lnTo>
                  <a:lnTo>
                    <a:pt x="197" y="111"/>
                  </a:lnTo>
                  <a:lnTo>
                    <a:pt x="198" y="112"/>
                  </a:lnTo>
                  <a:lnTo>
                    <a:pt x="198" y="113"/>
                  </a:lnTo>
                  <a:lnTo>
                    <a:pt x="197" y="113"/>
                  </a:lnTo>
                  <a:lnTo>
                    <a:pt x="197" y="116"/>
                  </a:lnTo>
                  <a:lnTo>
                    <a:pt x="196" y="117"/>
                  </a:lnTo>
                  <a:lnTo>
                    <a:pt x="196" y="119"/>
                  </a:lnTo>
                  <a:lnTo>
                    <a:pt x="197" y="120"/>
                  </a:lnTo>
                  <a:lnTo>
                    <a:pt x="197" y="122"/>
                  </a:lnTo>
                  <a:lnTo>
                    <a:pt x="192" y="126"/>
                  </a:lnTo>
                  <a:lnTo>
                    <a:pt x="192" y="129"/>
                  </a:lnTo>
                  <a:lnTo>
                    <a:pt x="191" y="130"/>
                  </a:lnTo>
                  <a:lnTo>
                    <a:pt x="191" y="134"/>
                  </a:lnTo>
                  <a:lnTo>
                    <a:pt x="196" y="137"/>
                  </a:lnTo>
                  <a:lnTo>
                    <a:pt x="196" y="138"/>
                  </a:lnTo>
                  <a:lnTo>
                    <a:pt x="197" y="140"/>
                  </a:lnTo>
                  <a:lnTo>
                    <a:pt x="196" y="140"/>
                  </a:lnTo>
                  <a:lnTo>
                    <a:pt x="196" y="142"/>
                  </a:lnTo>
                  <a:lnTo>
                    <a:pt x="195" y="142"/>
                  </a:lnTo>
                  <a:lnTo>
                    <a:pt x="195" y="143"/>
                  </a:lnTo>
                  <a:lnTo>
                    <a:pt x="192" y="141"/>
                  </a:lnTo>
                  <a:lnTo>
                    <a:pt x="189" y="144"/>
                  </a:lnTo>
                  <a:lnTo>
                    <a:pt x="189" y="154"/>
                  </a:lnTo>
                  <a:lnTo>
                    <a:pt x="188" y="155"/>
                  </a:lnTo>
                  <a:lnTo>
                    <a:pt x="188" y="159"/>
                  </a:lnTo>
                  <a:lnTo>
                    <a:pt x="184" y="161"/>
                  </a:lnTo>
                  <a:lnTo>
                    <a:pt x="183" y="162"/>
                  </a:lnTo>
                  <a:lnTo>
                    <a:pt x="182" y="161"/>
                  </a:lnTo>
                  <a:lnTo>
                    <a:pt x="182" y="159"/>
                  </a:lnTo>
                  <a:lnTo>
                    <a:pt x="184" y="159"/>
                  </a:lnTo>
                  <a:lnTo>
                    <a:pt x="185" y="157"/>
                  </a:lnTo>
                  <a:lnTo>
                    <a:pt x="185" y="154"/>
                  </a:lnTo>
                  <a:lnTo>
                    <a:pt x="182" y="154"/>
                  </a:lnTo>
                  <a:lnTo>
                    <a:pt x="182" y="150"/>
                  </a:lnTo>
                  <a:lnTo>
                    <a:pt x="178" y="150"/>
                  </a:lnTo>
                  <a:lnTo>
                    <a:pt x="178" y="151"/>
                  </a:lnTo>
                  <a:lnTo>
                    <a:pt x="177" y="151"/>
                  </a:lnTo>
                  <a:lnTo>
                    <a:pt x="177" y="160"/>
                  </a:lnTo>
                  <a:lnTo>
                    <a:pt x="176" y="163"/>
                  </a:lnTo>
                  <a:lnTo>
                    <a:pt x="174" y="166"/>
                  </a:lnTo>
                  <a:lnTo>
                    <a:pt x="173" y="167"/>
                  </a:lnTo>
                  <a:lnTo>
                    <a:pt x="172" y="167"/>
                  </a:lnTo>
                  <a:lnTo>
                    <a:pt x="172" y="171"/>
                  </a:lnTo>
                  <a:lnTo>
                    <a:pt x="173" y="173"/>
                  </a:lnTo>
                  <a:lnTo>
                    <a:pt x="173" y="181"/>
                  </a:lnTo>
                  <a:lnTo>
                    <a:pt x="174" y="191"/>
                  </a:lnTo>
                  <a:lnTo>
                    <a:pt x="171" y="190"/>
                  </a:lnTo>
                  <a:lnTo>
                    <a:pt x="170" y="190"/>
                  </a:lnTo>
                  <a:lnTo>
                    <a:pt x="167" y="192"/>
                  </a:lnTo>
                  <a:lnTo>
                    <a:pt x="166" y="192"/>
                  </a:lnTo>
                  <a:lnTo>
                    <a:pt x="165" y="193"/>
                  </a:lnTo>
                  <a:lnTo>
                    <a:pt x="163" y="192"/>
                  </a:lnTo>
                  <a:lnTo>
                    <a:pt x="160" y="190"/>
                  </a:lnTo>
                  <a:lnTo>
                    <a:pt x="160" y="188"/>
                  </a:lnTo>
                  <a:lnTo>
                    <a:pt x="155" y="184"/>
                  </a:lnTo>
                  <a:lnTo>
                    <a:pt x="155" y="181"/>
                  </a:lnTo>
                  <a:lnTo>
                    <a:pt x="154" y="180"/>
                  </a:lnTo>
                  <a:lnTo>
                    <a:pt x="153" y="180"/>
                  </a:lnTo>
                  <a:lnTo>
                    <a:pt x="152" y="181"/>
                  </a:lnTo>
                  <a:lnTo>
                    <a:pt x="149" y="181"/>
                  </a:lnTo>
                  <a:lnTo>
                    <a:pt x="148" y="180"/>
                  </a:lnTo>
                  <a:lnTo>
                    <a:pt x="147" y="178"/>
                  </a:lnTo>
                  <a:lnTo>
                    <a:pt x="147" y="175"/>
                  </a:lnTo>
                  <a:lnTo>
                    <a:pt x="146" y="174"/>
                  </a:lnTo>
                  <a:lnTo>
                    <a:pt x="140" y="172"/>
                  </a:lnTo>
                  <a:lnTo>
                    <a:pt x="136" y="168"/>
                  </a:lnTo>
                  <a:lnTo>
                    <a:pt x="136" y="166"/>
                  </a:lnTo>
                  <a:lnTo>
                    <a:pt x="138" y="166"/>
                  </a:lnTo>
                  <a:lnTo>
                    <a:pt x="139" y="163"/>
                  </a:lnTo>
                  <a:lnTo>
                    <a:pt x="140" y="163"/>
                  </a:lnTo>
                  <a:lnTo>
                    <a:pt x="140" y="162"/>
                  </a:lnTo>
                  <a:lnTo>
                    <a:pt x="147" y="161"/>
                  </a:lnTo>
                  <a:lnTo>
                    <a:pt x="149" y="160"/>
                  </a:lnTo>
                  <a:lnTo>
                    <a:pt x="149" y="156"/>
                  </a:lnTo>
                  <a:lnTo>
                    <a:pt x="148" y="154"/>
                  </a:lnTo>
                  <a:lnTo>
                    <a:pt x="146" y="153"/>
                  </a:lnTo>
                  <a:lnTo>
                    <a:pt x="142" y="149"/>
                  </a:lnTo>
                  <a:lnTo>
                    <a:pt x="141" y="147"/>
                  </a:lnTo>
                  <a:lnTo>
                    <a:pt x="141" y="145"/>
                  </a:lnTo>
                  <a:lnTo>
                    <a:pt x="145" y="142"/>
                  </a:lnTo>
                  <a:lnTo>
                    <a:pt x="147" y="142"/>
                  </a:lnTo>
                  <a:lnTo>
                    <a:pt x="149" y="140"/>
                  </a:lnTo>
                  <a:lnTo>
                    <a:pt x="152" y="140"/>
                  </a:lnTo>
                  <a:lnTo>
                    <a:pt x="151" y="137"/>
                  </a:lnTo>
                  <a:lnTo>
                    <a:pt x="149" y="136"/>
                  </a:lnTo>
                  <a:lnTo>
                    <a:pt x="146" y="134"/>
                  </a:lnTo>
                  <a:lnTo>
                    <a:pt x="139" y="124"/>
                  </a:lnTo>
                  <a:lnTo>
                    <a:pt x="136" y="122"/>
                  </a:lnTo>
                  <a:lnTo>
                    <a:pt x="135" y="122"/>
                  </a:lnTo>
                  <a:lnTo>
                    <a:pt x="134" y="123"/>
                  </a:lnTo>
                  <a:lnTo>
                    <a:pt x="129" y="123"/>
                  </a:lnTo>
                  <a:lnTo>
                    <a:pt x="129" y="124"/>
                  </a:lnTo>
                  <a:lnTo>
                    <a:pt x="128" y="124"/>
                  </a:lnTo>
                  <a:lnTo>
                    <a:pt x="127" y="126"/>
                  </a:lnTo>
                  <a:lnTo>
                    <a:pt x="121" y="129"/>
                  </a:lnTo>
                  <a:lnTo>
                    <a:pt x="117" y="132"/>
                  </a:lnTo>
                  <a:lnTo>
                    <a:pt x="114" y="134"/>
                  </a:lnTo>
                  <a:lnTo>
                    <a:pt x="113" y="134"/>
                  </a:lnTo>
                  <a:lnTo>
                    <a:pt x="110" y="135"/>
                  </a:lnTo>
                  <a:lnTo>
                    <a:pt x="109" y="138"/>
                  </a:lnTo>
                  <a:lnTo>
                    <a:pt x="108" y="140"/>
                  </a:lnTo>
                  <a:lnTo>
                    <a:pt x="105" y="140"/>
                  </a:lnTo>
                  <a:lnTo>
                    <a:pt x="105" y="141"/>
                  </a:lnTo>
                  <a:lnTo>
                    <a:pt x="102" y="142"/>
                  </a:lnTo>
                  <a:lnTo>
                    <a:pt x="99" y="143"/>
                  </a:lnTo>
                  <a:lnTo>
                    <a:pt x="98" y="144"/>
                  </a:lnTo>
                  <a:lnTo>
                    <a:pt x="97" y="147"/>
                  </a:lnTo>
                  <a:lnTo>
                    <a:pt x="97" y="149"/>
                  </a:lnTo>
                  <a:lnTo>
                    <a:pt x="96" y="149"/>
                  </a:lnTo>
                  <a:lnTo>
                    <a:pt x="96" y="150"/>
                  </a:lnTo>
                  <a:lnTo>
                    <a:pt x="93" y="151"/>
                  </a:lnTo>
                  <a:lnTo>
                    <a:pt x="92" y="151"/>
                  </a:lnTo>
                  <a:lnTo>
                    <a:pt x="91" y="150"/>
                  </a:lnTo>
                  <a:lnTo>
                    <a:pt x="90" y="150"/>
                  </a:lnTo>
                  <a:lnTo>
                    <a:pt x="87" y="153"/>
                  </a:lnTo>
                  <a:lnTo>
                    <a:pt x="87" y="154"/>
                  </a:lnTo>
                  <a:lnTo>
                    <a:pt x="86" y="154"/>
                  </a:lnTo>
                  <a:lnTo>
                    <a:pt x="86" y="155"/>
                  </a:lnTo>
                  <a:lnTo>
                    <a:pt x="85" y="155"/>
                  </a:lnTo>
                  <a:lnTo>
                    <a:pt x="85" y="156"/>
                  </a:lnTo>
                  <a:lnTo>
                    <a:pt x="84" y="157"/>
                  </a:lnTo>
                  <a:lnTo>
                    <a:pt x="84" y="159"/>
                  </a:lnTo>
                  <a:lnTo>
                    <a:pt x="82" y="160"/>
                  </a:lnTo>
                  <a:lnTo>
                    <a:pt x="80" y="160"/>
                  </a:lnTo>
                  <a:lnTo>
                    <a:pt x="79" y="161"/>
                  </a:lnTo>
                  <a:lnTo>
                    <a:pt x="78" y="163"/>
                  </a:lnTo>
                  <a:lnTo>
                    <a:pt x="78" y="165"/>
                  </a:lnTo>
                  <a:lnTo>
                    <a:pt x="77" y="166"/>
                  </a:lnTo>
                  <a:lnTo>
                    <a:pt x="74" y="166"/>
                  </a:lnTo>
                  <a:lnTo>
                    <a:pt x="73" y="163"/>
                  </a:lnTo>
                  <a:lnTo>
                    <a:pt x="73" y="154"/>
                  </a:lnTo>
                  <a:lnTo>
                    <a:pt x="72" y="153"/>
                  </a:lnTo>
                  <a:lnTo>
                    <a:pt x="71" y="153"/>
                  </a:lnTo>
                  <a:lnTo>
                    <a:pt x="70" y="151"/>
                  </a:lnTo>
                  <a:lnTo>
                    <a:pt x="70" y="149"/>
                  </a:lnTo>
                  <a:lnTo>
                    <a:pt x="71" y="148"/>
                  </a:lnTo>
                  <a:lnTo>
                    <a:pt x="72" y="149"/>
                  </a:lnTo>
                  <a:lnTo>
                    <a:pt x="74" y="150"/>
                  </a:lnTo>
                  <a:lnTo>
                    <a:pt x="77" y="149"/>
                  </a:lnTo>
                  <a:lnTo>
                    <a:pt x="78" y="148"/>
                  </a:lnTo>
                  <a:lnTo>
                    <a:pt x="78" y="147"/>
                  </a:lnTo>
                  <a:lnTo>
                    <a:pt x="76" y="145"/>
                  </a:lnTo>
                  <a:lnTo>
                    <a:pt x="74" y="144"/>
                  </a:lnTo>
                  <a:lnTo>
                    <a:pt x="74" y="143"/>
                  </a:lnTo>
                  <a:lnTo>
                    <a:pt x="73" y="142"/>
                  </a:lnTo>
                  <a:lnTo>
                    <a:pt x="70" y="141"/>
                  </a:lnTo>
                  <a:lnTo>
                    <a:pt x="68" y="140"/>
                  </a:lnTo>
                  <a:lnTo>
                    <a:pt x="68" y="136"/>
                  </a:lnTo>
                  <a:lnTo>
                    <a:pt x="70" y="136"/>
                  </a:lnTo>
                  <a:lnTo>
                    <a:pt x="73" y="135"/>
                  </a:lnTo>
                  <a:lnTo>
                    <a:pt x="73" y="132"/>
                  </a:lnTo>
                  <a:lnTo>
                    <a:pt x="74" y="132"/>
                  </a:lnTo>
                  <a:lnTo>
                    <a:pt x="74" y="129"/>
                  </a:lnTo>
                  <a:lnTo>
                    <a:pt x="70" y="129"/>
                  </a:lnTo>
                  <a:lnTo>
                    <a:pt x="67" y="126"/>
                  </a:lnTo>
                  <a:lnTo>
                    <a:pt x="66" y="126"/>
                  </a:lnTo>
                  <a:lnTo>
                    <a:pt x="62" y="128"/>
                  </a:lnTo>
                  <a:lnTo>
                    <a:pt x="60" y="128"/>
                  </a:lnTo>
                  <a:lnTo>
                    <a:pt x="59" y="125"/>
                  </a:lnTo>
                  <a:lnTo>
                    <a:pt x="58" y="124"/>
                  </a:lnTo>
                  <a:lnTo>
                    <a:pt x="57" y="124"/>
                  </a:lnTo>
                  <a:lnTo>
                    <a:pt x="54" y="123"/>
                  </a:lnTo>
                  <a:lnTo>
                    <a:pt x="53" y="119"/>
                  </a:lnTo>
                  <a:lnTo>
                    <a:pt x="52" y="118"/>
                  </a:lnTo>
                  <a:lnTo>
                    <a:pt x="49" y="117"/>
                  </a:lnTo>
                  <a:lnTo>
                    <a:pt x="48" y="117"/>
                  </a:lnTo>
                  <a:lnTo>
                    <a:pt x="47" y="116"/>
                  </a:lnTo>
                  <a:lnTo>
                    <a:pt x="45" y="114"/>
                  </a:lnTo>
                  <a:lnTo>
                    <a:pt x="45" y="113"/>
                  </a:lnTo>
                  <a:lnTo>
                    <a:pt x="42" y="110"/>
                  </a:lnTo>
                  <a:lnTo>
                    <a:pt x="42" y="108"/>
                  </a:lnTo>
                  <a:lnTo>
                    <a:pt x="41" y="108"/>
                  </a:lnTo>
                  <a:lnTo>
                    <a:pt x="36" y="107"/>
                  </a:lnTo>
                  <a:lnTo>
                    <a:pt x="35" y="107"/>
                  </a:lnTo>
                  <a:lnTo>
                    <a:pt x="35" y="106"/>
                  </a:lnTo>
                  <a:lnTo>
                    <a:pt x="37" y="104"/>
                  </a:lnTo>
                  <a:lnTo>
                    <a:pt x="45" y="105"/>
                  </a:lnTo>
                  <a:lnTo>
                    <a:pt x="48" y="105"/>
                  </a:lnTo>
                  <a:lnTo>
                    <a:pt x="48" y="101"/>
                  </a:lnTo>
                  <a:lnTo>
                    <a:pt x="49" y="101"/>
                  </a:lnTo>
                  <a:lnTo>
                    <a:pt x="49" y="100"/>
                  </a:lnTo>
                  <a:lnTo>
                    <a:pt x="52" y="98"/>
                  </a:lnTo>
                  <a:lnTo>
                    <a:pt x="52" y="93"/>
                  </a:lnTo>
                  <a:lnTo>
                    <a:pt x="51" y="92"/>
                  </a:lnTo>
                  <a:lnTo>
                    <a:pt x="51" y="91"/>
                  </a:lnTo>
                  <a:lnTo>
                    <a:pt x="47" y="91"/>
                  </a:lnTo>
                  <a:lnTo>
                    <a:pt x="45" y="89"/>
                  </a:lnTo>
                  <a:lnTo>
                    <a:pt x="35" y="83"/>
                  </a:lnTo>
                  <a:lnTo>
                    <a:pt x="33" y="81"/>
                  </a:lnTo>
                  <a:lnTo>
                    <a:pt x="31" y="79"/>
                  </a:lnTo>
                  <a:lnTo>
                    <a:pt x="31" y="77"/>
                  </a:lnTo>
                  <a:lnTo>
                    <a:pt x="30" y="77"/>
                  </a:lnTo>
                  <a:lnTo>
                    <a:pt x="30" y="76"/>
                  </a:lnTo>
                  <a:lnTo>
                    <a:pt x="29" y="76"/>
                  </a:lnTo>
                  <a:lnTo>
                    <a:pt x="29" y="73"/>
                  </a:lnTo>
                  <a:lnTo>
                    <a:pt x="28" y="73"/>
                  </a:lnTo>
                  <a:lnTo>
                    <a:pt x="27" y="71"/>
                  </a:lnTo>
                  <a:lnTo>
                    <a:pt x="27" y="68"/>
                  </a:lnTo>
                  <a:lnTo>
                    <a:pt x="28" y="67"/>
                  </a:lnTo>
                  <a:lnTo>
                    <a:pt x="29" y="64"/>
                  </a:lnTo>
                  <a:lnTo>
                    <a:pt x="30" y="64"/>
                  </a:lnTo>
                  <a:lnTo>
                    <a:pt x="34" y="62"/>
                  </a:lnTo>
                  <a:lnTo>
                    <a:pt x="35" y="61"/>
                  </a:lnTo>
                  <a:lnTo>
                    <a:pt x="36" y="58"/>
                  </a:lnTo>
                  <a:lnTo>
                    <a:pt x="36" y="57"/>
                  </a:lnTo>
                  <a:lnTo>
                    <a:pt x="33" y="57"/>
                  </a:lnTo>
                  <a:lnTo>
                    <a:pt x="33" y="56"/>
                  </a:lnTo>
                  <a:lnTo>
                    <a:pt x="30" y="54"/>
                  </a:lnTo>
                  <a:lnTo>
                    <a:pt x="29" y="54"/>
                  </a:lnTo>
                  <a:lnTo>
                    <a:pt x="29" y="52"/>
                  </a:lnTo>
                  <a:lnTo>
                    <a:pt x="28" y="52"/>
                  </a:lnTo>
                  <a:lnTo>
                    <a:pt x="28" y="49"/>
                  </a:lnTo>
                  <a:lnTo>
                    <a:pt x="27" y="49"/>
                  </a:lnTo>
                  <a:lnTo>
                    <a:pt x="27" y="50"/>
                  </a:lnTo>
                  <a:lnTo>
                    <a:pt x="22" y="50"/>
                  </a:lnTo>
                  <a:lnTo>
                    <a:pt x="20" y="49"/>
                  </a:lnTo>
                  <a:lnTo>
                    <a:pt x="18" y="48"/>
                  </a:lnTo>
                  <a:lnTo>
                    <a:pt x="17" y="48"/>
                  </a:lnTo>
                  <a:lnTo>
                    <a:pt x="16" y="46"/>
                  </a:lnTo>
                  <a:lnTo>
                    <a:pt x="15" y="48"/>
                  </a:lnTo>
                  <a:lnTo>
                    <a:pt x="12" y="45"/>
                  </a:lnTo>
                  <a:lnTo>
                    <a:pt x="14" y="44"/>
                  </a:lnTo>
                  <a:lnTo>
                    <a:pt x="17" y="44"/>
                  </a:lnTo>
                  <a:lnTo>
                    <a:pt x="20" y="43"/>
                  </a:lnTo>
                  <a:lnTo>
                    <a:pt x="20" y="42"/>
                  </a:lnTo>
                  <a:lnTo>
                    <a:pt x="18" y="42"/>
                  </a:lnTo>
                  <a:lnTo>
                    <a:pt x="16" y="39"/>
                  </a:lnTo>
                  <a:lnTo>
                    <a:pt x="12" y="39"/>
                  </a:lnTo>
                  <a:lnTo>
                    <a:pt x="11" y="38"/>
                  </a:lnTo>
                  <a:lnTo>
                    <a:pt x="12" y="37"/>
                  </a:lnTo>
                  <a:lnTo>
                    <a:pt x="11" y="33"/>
                  </a:lnTo>
                  <a:lnTo>
                    <a:pt x="15" y="31"/>
                  </a:lnTo>
                  <a:lnTo>
                    <a:pt x="21" y="25"/>
                  </a:lnTo>
                  <a:lnTo>
                    <a:pt x="24" y="25"/>
                  </a:lnTo>
                  <a:lnTo>
                    <a:pt x="27" y="26"/>
                  </a:lnTo>
                  <a:lnTo>
                    <a:pt x="30" y="26"/>
                  </a:lnTo>
                  <a:lnTo>
                    <a:pt x="33" y="28"/>
                  </a:lnTo>
                  <a:lnTo>
                    <a:pt x="39" y="31"/>
                  </a:lnTo>
                  <a:lnTo>
                    <a:pt x="42" y="31"/>
                  </a:lnTo>
                  <a:lnTo>
                    <a:pt x="42" y="32"/>
                  </a:lnTo>
                  <a:lnTo>
                    <a:pt x="40" y="32"/>
                  </a:lnTo>
                  <a:lnTo>
                    <a:pt x="40" y="33"/>
                  </a:lnTo>
                  <a:lnTo>
                    <a:pt x="41" y="36"/>
                  </a:lnTo>
                  <a:lnTo>
                    <a:pt x="42" y="37"/>
                  </a:lnTo>
                  <a:lnTo>
                    <a:pt x="43" y="37"/>
                  </a:lnTo>
                  <a:lnTo>
                    <a:pt x="45" y="38"/>
                  </a:lnTo>
                  <a:lnTo>
                    <a:pt x="52" y="40"/>
                  </a:lnTo>
                  <a:lnTo>
                    <a:pt x="55" y="40"/>
                  </a:lnTo>
                  <a:lnTo>
                    <a:pt x="57" y="39"/>
                  </a:lnTo>
                  <a:lnTo>
                    <a:pt x="62" y="39"/>
                  </a:lnTo>
                  <a:lnTo>
                    <a:pt x="67" y="44"/>
                  </a:lnTo>
                  <a:lnTo>
                    <a:pt x="70" y="45"/>
                  </a:lnTo>
                  <a:lnTo>
                    <a:pt x="71" y="45"/>
                  </a:lnTo>
                  <a:lnTo>
                    <a:pt x="72" y="48"/>
                  </a:lnTo>
                  <a:lnTo>
                    <a:pt x="73" y="48"/>
                  </a:lnTo>
                  <a:lnTo>
                    <a:pt x="74" y="46"/>
                  </a:lnTo>
                  <a:lnTo>
                    <a:pt x="74" y="45"/>
                  </a:lnTo>
                  <a:lnTo>
                    <a:pt x="78" y="45"/>
                  </a:lnTo>
                  <a:lnTo>
                    <a:pt x="79" y="44"/>
                  </a:lnTo>
                  <a:lnTo>
                    <a:pt x="79" y="40"/>
                  </a:lnTo>
                  <a:lnTo>
                    <a:pt x="80" y="38"/>
                  </a:lnTo>
                  <a:lnTo>
                    <a:pt x="82" y="37"/>
                  </a:lnTo>
                  <a:lnTo>
                    <a:pt x="82" y="34"/>
                  </a:lnTo>
                  <a:lnTo>
                    <a:pt x="80" y="32"/>
                  </a:lnTo>
                  <a:lnTo>
                    <a:pt x="79" y="31"/>
                  </a:lnTo>
                  <a:lnTo>
                    <a:pt x="78" y="31"/>
                  </a:lnTo>
                  <a:lnTo>
                    <a:pt x="78" y="30"/>
                  </a:lnTo>
                  <a:lnTo>
                    <a:pt x="76" y="28"/>
                  </a:lnTo>
                  <a:lnTo>
                    <a:pt x="72" y="26"/>
                  </a:lnTo>
                  <a:lnTo>
                    <a:pt x="70" y="25"/>
                  </a:lnTo>
                  <a:lnTo>
                    <a:pt x="68" y="24"/>
                  </a:lnTo>
                  <a:lnTo>
                    <a:pt x="66" y="22"/>
                  </a:lnTo>
                  <a:lnTo>
                    <a:pt x="65" y="21"/>
                  </a:lnTo>
                  <a:lnTo>
                    <a:pt x="65" y="18"/>
                  </a:lnTo>
                  <a:lnTo>
                    <a:pt x="64" y="15"/>
                  </a:lnTo>
                  <a:lnTo>
                    <a:pt x="62" y="15"/>
                  </a:lnTo>
                  <a:lnTo>
                    <a:pt x="62" y="16"/>
                  </a:lnTo>
                  <a:lnTo>
                    <a:pt x="61" y="15"/>
                  </a:lnTo>
                  <a:lnTo>
                    <a:pt x="60" y="13"/>
                  </a:lnTo>
                  <a:lnTo>
                    <a:pt x="60" y="11"/>
                  </a:lnTo>
                  <a:lnTo>
                    <a:pt x="61" y="8"/>
                  </a:lnTo>
                  <a:lnTo>
                    <a:pt x="62" y="7"/>
                  </a:lnTo>
                  <a:lnTo>
                    <a:pt x="65" y="8"/>
                  </a:lnTo>
                  <a:lnTo>
                    <a:pt x="70" y="3"/>
                  </a:lnTo>
                  <a:lnTo>
                    <a:pt x="71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56">
              <a:extLst>
                <a:ext uri="{FF2B5EF4-FFF2-40B4-BE49-F238E27FC236}">
                  <a16:creationId xmlns:a16="http://schemas.microsoft.com/office/drawing/2014/main" id="{CC21265E-07CA-4665-BDF2-FD3DBF34E3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84775" y="4556125"/>
              <a:ext cx="509588" cy="261938"/>
            </a:xfrm>
            <a:custGeom>
              <a:avLst/>
              <a:gdLst/>
              <a:ahLst/>
              <a:cxnLst>
                <a:cxn ang="0">
                  <a:pos x="113" y="82"/>
                </a:cxn>
                <a:cxn ang="0">
                  <a:pos x="231" y="0"/>
                </a:cxn>
                <a:cxn ang="0">
                  <a:pos x="246" y="2"/>
                </a:cxn>
                <a:cxn ang="0">
                  <a:pos x="264" y="10"/>
                </a:cxn>
                <a:cxn ang="0">
                  <a:pos x="287" y="18"/>
                </a:cxn>
                <a:cxn ang="0">
                  <a:pos x="299" y="16"/>
                </a:cxn>
                <a:cxn ang="0">
                  <a:pos x="312" y="26"/>
                </a:cxn>
                <a:cxn ang="0">
                  <a:pos x="310" y="43"/>
                </a:cxn>
                <a:cxn ang="0">
                  <a:pos x="317" y="57"/>
                </a:cxn>
                <a:cxn ang="0">
                  <a:pos x="318" y="67"/>
                </a:cxn>
                <a:cxn ang="0">
                  <a:pos x="316" y="75"/>
                </a:cxn>
                <a:cxn ang="0">
                  <a:pos x="308" y="84"/>
                </a:cxn>
                <a:cxn ang="0">
                  <a:pos x="295" y="81"/>
                </a:cxn>
                <a:cxn ang="0">
                  <a:pos x="295" y="87"/>
                </a:cxn>
                <a:cxn ang="0">
                  <a:pos x="301" y="99"/>
                </a:cxn>
                <a:cxn ang="0">
                  <a:pos x="291" y="112"/>
                </a:cxn>
                <a:cxn ang="0">
                  <a:pos x="292" y="121"/>
                </a:cxn>
                <a:cxn ang="0">
                  <a:pos x="290" y="127"/>
                </a:cxn>
                <a:cxn ang="0">
                  <a:pos x="278" y="135"/>
                </a:cxn>
                <a:cxn ang="0">
                  <a:pos x="271" y="146"/>
                </a:cxn>
                <a:cxn ang="0">
                  <a:pos x="253" y="148"/>
                </a:cxn>
                <a:cxn ang="0">
                  <a:pos x="228" y="150"/>
                </a:cxn>
                <a:cxn ang="0">
                  <a:pos x="220" y="159"/>
                </a:cxn>
                <a:cxn ang="0">
                  <a:pos x="211" y="165"/>
                </a:cxn>
                <a:cxn ang="0">
                  <a:pos x="192" y="159"/>
                </a:cxn>
                <a:cxn ang="0">
                  <a:pos x="167" y="155"/>
                </a:cxn>
                <a:cxn ang="0">
                  <a:pos x="137" y="149"/>
                </a:cxn>
                <a:cxn ang="0">
                  <a:pos x="118" y="142"/>
                </a:cxn>
                <a:cxn ang="0">
                  <a:pos x="110" y="129"/>
                </a:cxn>
                <a:cxn ang="0">
                  <a:pos x="98" y="127"/>
                </a:cxn>
                <a:cxn ang="0">
                  <a:pos x="85" y="128"/>
                </a:cxn>
                <a:cxn ang="0">
                  <a:pos x="69" y="129"/>
                </a:cxn>
                <a:cxn ang="0">
                  <a:pos x="56" y="142"/>
                </a:cxn>
                <a:cxn ang="0">
                  <a:pos x="47" y="136"/>
                </a:cxn>
                <a:cxn ang="0">
                  <a:pos x="32" y="131"/>
                </a:cxn>
                <a:cxn ang="0">
                  <a:pos x="15" y="127"/>
                </a:cxn>
                <a:cxn ang="0">
                  <a:pos x="3" y="117"/>
                </a:cxn>
                <a:cxn ang="0">
                  <a:pos x="0" y="94"/>
                </a:cxn>
                <a:cxn ang="0">
                  <a:pos x="17" y="94"/>
                </a:cxn>
                <a:cxn ang="0">
                  <a:pos x="22" y="102"/>
                </a:cxn>
                <a:cxn ang="0">
                  <a:pos x="26" y="109"/>
                </a:cxn>
                <a:cxn ang="0">
                  <a:pos x="37" y="97"/>
                </a:cxn>
                <a:cxn ang="0">
                  <a:pos x="51" y="94"/>
                </a:cxn>
                <a:cxn ang="0">
                  <a:pos x="61" y="100"/>
                </a:cxn>
                <a:cxn ang="0">
                  <a:pos x="74" y="102"/>
                </a:cxn>
                <a:cxn ang="0">
                  <a:pos x="86" y="94"/>
                </a:cxn>
                <a:cxn ang="0">
                  <a:pos x="116" y="85"/>
                </a:cxn>
                <a:cxn ang="0">
                  <a:pos x="127" y="88"/>
                </a:cxn>
                <a:cxn ang="0">
                  <a:pos x="137" y="93"/>
                </a:cxn>
                <a:cxn ang="0">
                  <a:pos x="149" y="85"/>
                </a:cxn>
                <a:cxn ang="0">
                  <a:pos x="144" y="73"/>
                </a:cxn>
                <a:cxn ang="0">
                  <a:pos x="136" y="57"/>
                </a:cxn>
                <a:cxn ang="0">
                  <a:pos x="160" y="44"/>
                </a:cxn>
                <a:cxn ang="0">
                  <a:pos x="168" y="27"/>
                </a:cxn>
                <a:cxn ang="0">
                  <a:pos x="180" y="26"/>
                </a:cxn>
                <a:cxn ang="0">
                  <a:pos x="184" y="18"/>
                </a:cxn>
                <a:cxn ang="0">
                  <a:pos x="190" y="25"/>
                </a:cxn>
                <a:cxn ang="0">
                  <a:pos x="206" y="27"/>
                </a:cxn>
                <a:cxn ang="0">
                  <a:pos x="218" y="27"/>
                </a:cxn>
                <a:cxn ang="0">
                  <a:pos x="228" y="13"/>
                </a:cxn>
              </a:cxnLst>
              <a:rect l="0" t="0" r="r" b="b"/>
              <a:pathLst>
                <a:path w="321" h="165">
                  <a:moveTo>
                    <a:pt x="38" y="91"/>
                  </a:moveTo>
                  <a:lnTo>
                    <a:pt x="40" y="91"/>
                  </a:lnTo>
                  <a:lnTo>
                    <a:pt x="40" y="92"/>
                  </a:lnTo>
                  <a:lnTo>
                    <a:pt x="38" y="93"/>
                  </a:lnTo>
                  <a:lnTo>
                    <a:pt x="37" y="93"/>
                  </a:lnTo>
                  <a:lnTo>
                    <a:pt x="37" y="92"/>
                  </a:lnTo>
                  <a:lnTo>
                    <a:pt x="38" y="91"/>
                  </a:lnTo>
                  <a:close/>
                  <a:moveTo>
                    <a:pt x="112" y="82"/>
                  </a:moveTo>
                  <a:lnTo>
                    <a:pt x="113" y="82"/>
                  </a:lnTo>
                  <a:lnTo>
                    <a:pt x="113" y="85"/>
                  </a:lnTo>
                  <a:lnTo>
                    <a:pt x="112" y="85"/>
                  </a:lnTo>
                  <a:lnTo>
                    <a:pt x="112" y="82"/>
                  </a:lnTo>
                  <a:close/>
                  <a:moveTo>
                    <a:pt x="115" y="81"/>
                  </a:moveTo>
                  <a:lnTo>
                    <a:pt x="115" y="82"/>
                  </a:lnTo>
                  <a:lnTo>
                    <a:pt x="113" y="82"/>
                  </a:lnTo>
                  <a:lnTo>
                    <a:pt x="115" y="81"/>
                  </a:lnTo>
                  <a:close/>
                  <a:moveTo>
                    <a:pt x="230" y="0"/>
                  </a:moveTo>
                  <a:lnTo>
                    <a:pt x="231" y="0"/>
                  </a:lnTo>
                  <a:lnTo>
                    <a:pt x="234" y="1"/>
                  </a:lnTo>
                  <a:lnTo>
                    <a:pt x="236" y="1"/>
                  </a:lnTo>
                  <a:lnTo>
                    <a:pt x="237" y="2"/>
                  </a:lnTo>
                  <a:lnTo>
                    <a:pt x="237" y="5"/>
                  </a:lnTo>
                  <a:lnTo>
                    <a:pt x="241" y="5"/>
                  </a:lnTo>
                  <a:lnTo>
                    <a:pt x="241" y="4"/>
                  </a:lnTo>
                  <a:lnTo>
                    <a:pt x="242" y="4"/>
                  </a:lnTo>
                  <a:lnTo>
                    <a:pt x="242" y="2"/>
                  </a:lnTo>
                  <a:lnTo>
                    <a:pt x="246" y="2"/>
                  </a:lnTo>
                  <a:lnTo>
                    <a:pt x="248" y="4"/>
                  </a:lnTo>
                  <a:lnTo>
                    <a:pt x="249" y="5"/>
                  </a:lnTo>
                  <a:lnTo>
                    <a:pt x="251" y="5"/>
                  </a:lnTo>
                  <a:lnTo>
                    <a:pt x="253" y="7"/>
                  </a:lnTo>
                  <a:lnTo>
                    <a:pt x="254" y="7"/>
                  </a:lnTo>
                  <a:lnTo>
                    <a:pt x="256" y="8"/>
                  </a:lnTo>
                  <a:lnTo>
                    <a:pt x="260" y="11"/>
                  </a:lnTo>
                  <a:lnTo>
                    <a:pt x="262" y="11"/>
                  </a:lnTo>
                  <a:lnTo>
                    <a:pt x="264" y="10"/>
                  </a:lnTo>
                  <a:lnTo>
                    <a:pt x="266" y="10"/>
                  </a:lnTo>
                  <a:lnTo>
                    <a:pt x="266" y="11"/>
                  </a:lnTo>
                  <a:lnTo>
                    <a:pt x="268" y="11"/>
                  </a:lnTo>
                  <a:lnTo>
                    <a:pt x="267" y="12"/>
                  </a:lnTo>
                  <a:lnTo>
                    <a:pt x="270" y="12"/>
                  </a:lnTo>
                  <a:lnTo>
                    <a:pt x="270" y="13"/>
                  </a:lnTo>
                  <a:lnTo>
                    <a:pt x="274" y="17"/>
                  </a:lnTo>
                  <a:lnTo>
                    <a:pt x="277" y="18"/>
                  </a:lnTo>
                  <a:lnTo>
                    <a:pt x="287" y="18"/>
                  </a:lnTo>
                  <a:lnTo>
                    <a:pt x="289" y="19"/>
                  </a:lnTo>
                  <a:lnTo>
                    <a:pt x="289" y="18"/>
                  </a:lnTo>
                  <a:lnTo>
                    <a:pt x="291" y="14"/>
                  </a:lnTo>
                  <a:lnTo>
                    <a:pt x="293" y="14"/>
                  </a:lnTo>
                  <a:lnTo>
                    <a:pt x="295" y="13"/>
                  </a:lnTo>
                  <a:lnTo>
                    <a:pt x="296" y="13"/>
                  </a:lnTo>
                  <a:lnTo>
                    <a:pt x="296" y="14"/>
                  </a:lnTo>
                  <a:lnTo>
                    <a:pt x="298" y="14"/>
                  </a:lnTo>
                  <a:lnTo>
                    <a:pt x="299" y="16"/>
                  </a:lnTo>
                  <a:lnTo>
                    <a:pt x="301" y="16"/>
                  </a:lnTo>
                  <a:lnTo>
                    <a:pt x="301" y="18"/>
                  </a:lnTo>
                  <a:lnTo>
                    <a:pt x="304" y="18"/>
                  </a:lnTo>
                  <a:lnTo>
                    <a:pt x="307" y="20"/>
                  </a:lnTo>
                  <a:lnTo>
                    <a:pt x="308" y="19"/>
                  </a:lnTo>
                  <a:lnTo>
                    <a:pt x="310" y="19"/>
                  </a:lnTo>
                  <a:lnTo>
                    <a:pt x="311" y="20"/>
                  </a:lnTo>
                  <a:lnTo>
                    <a:pt x="311" y="25"/>
                  </a:lnTo>
                  <a:lnTo>
                    <a:pt x="312" y="26"/>
                  </a:lnTo>
                  <a:lnTo>
                    <a:pt x="314" y="30"/>
                  </a:lnTo>
                  <a:lnTo>
                    <a:pt x="312" y="30"/>
                  </a:lnTo>
                  <a:lnTo>
                    <a:pt x="312" y="31"/>
                  </a:lnTo>
                  <a:lnTo>
                    <a:pt x="311" y="32"/>
                  </a:lnTo>
                  <a:lnTo>
                    <a:pt x="311" y="33"/>
                  </a:lnTo>
                  <a:lnTo>
                    <a:pt x="309" y="36"/>
                  </a:lnTo>
                  <a:lnTo>
                    <a:pt x="309" y="42"/>
                  </a:lnTo>
                  <a:lnTo>
                    <a:pt x="310" y="42"/>
                  </a:lnTo>
                  <a:lnTo>
                    <a:pt x="310" y="43"/>
                  </a:lnTo>
                  <a:lnTo>
                    <a:pt x="311" y="43"/>
                  </a:lnTo>
                  <a:lnTo>
                    <a:pt x="311" y="47"/>
                  </a:lnTo>
                  <a:lnTo>
                    <a:pt x="312" y="47"/>
                  </a:lnTo>
                  <a:lnTo>
                    <a:pt x="312" y="48"/>
                  </a:lnTo>
                  <a:lnTo>
                    <a:pt x="314" y="48"/>
                  </a:lnTo>
                  <a:lnTo>
                    <a:pt x="314" y="54"/>
                  </a:lnTo>
                  <a:lnTo>
                    <a:pt x="316" y="56"/>
                  </a:lnTo>
                  <a:lnTo>
                    <a:pt x="317" y="56"/>
                  </a:lnTo>
                  <a:lnTo>
                    <a:pt x="317" y="57"/>
                  </a:lnTo>
                  <a:lnTo>
                    <a:pt x="318" y="59"/>
                  </a:lnTo>
                  <a:lnTo>
                    <a:pt x="318" y="60"/>
                  </a:lnTo>
                  <a:lnTo>
                    <a:pt x="317" y="61"/>
                  </a:lnTo>
                  <a:lnTo>
                    <a:pt x="318" y="61"/>
                  </a:lnTo>
                  <a:lnTo>
                    <a:pt x="318" y="62"/>
                  </a:lnTo>
                  <a:lnTo>
                    <a:pt x="320" y="63"/>
                  </a:lnTo>
                  <a:lnTo>
                    <a:pt x="321" y="63"/>
                  </a:lnTo>
                  <a:lnTo>
                    <a:pt x="321" y="64"/>
                  </a:lnTo>
                  <a:lnTo>
                    <a:pt x="318" y="67"/>
                  </a:lnTo>
                  <a:lnTo>
                    <a:pt x="320" y="67"/>
                  </a:lnTo>
                  <a:lnTo>
                    <a:pt x="320" y="68"/>
                  </a:lnTo>
                  <a:lnTo>
                    <a:pt x="318" y="68"/>
                  </a:lnTo>
                  <a:lnTo>
                    <a:pt x="318" y="72"/>
                  </a:lnTo>
                  <a:lnTo>
                    <a:pt x="317" y="73"/>
                  </a:lnTo>
                  <a:lnTo>
                    <a:pt x="315" y="73"/>
                  </a:lnTo>
                  <a:lnTo>
                    <a:pt x="315" y="74"/>
                  </a:lnTo>
                  <a:lnTo>
                    <a:pt x="316" y="74"/>
                  </a:lnTo>
                  <a:lnTo>
                    <a:pt x="316" y="75"/>
                  </a:lnTo>
                  <a:lnTo>
                    <a:pt x="317" y="75"/>
                  </a:lnTo>
                  <a:lnTo>
                    <a:pt x="317" y="82"/>
                  </a:lnTo>
                  <a:lnTo>
                    <a:pt x="318" y="82"/>
                  </a:lnTo>
                  <a:lnTo>
                    <a:pt x="318" y="84"/>
                  </a:lnTo>
                  <a:lnTo>
                    <a:pt x="315" y="84"/>
                  </a:lnTo>
                  <a:lnTo>
                    <a:pt x="311" y="85"/>
                  </a:lnTo>
                  <a:lnTo>
                    <a:pt x="309" y="85"/>
                  </a:lnTo>
                  <a:lnTo>
                    <a:pt x="309" y="82"/>
                  </a:lnTo>
                  <a:lnTo>
                    <a:pt x="308" y="84"/>
                  </a:lnTo>
                  <a:lnTo>
                    <a:pt x="308" y="85"/>
                  </a:lnTo>
                  <a:lnTo>
                    <a:pt x="304" y="85"/>
                  </a:lnTo>
                  <a:lnTo>
                    <a:pt x="303" y="84"/>
                  </a:lnTo>
                  <a:lnTo>
                    <a:pt x="303" y="82"/>
                  </a:lnTo>
                  <a:lnTo>
                    <a:pt x="302" y="81"/>
                  </a:lnTo>
                  <a:lnTo>
                    <a:pt x="298" y="80"/>
                  </a:lnTo>
                  <a:lnTo>
                    <a:pt x="297" y="80"/>
                  </a:lnTo>
                  <a:lnTo>
                    <a:pt x="296" y="81"/>
                  </a:lnTo>
                  <a:lnTo>
                    <a:pt x="295" y="81"/>
                  </a:lnTo>
                  <a:lnTo>
                    <a:pt x="296" y="82"/>
                  </a:lnTo>
                  <a:lnTo>
                    <a:pt x="295" y="82"/>
                  </a:lnTo>
                  <a:lnTo>
                    <a:pt x="295" y="84"/>
                  </a:lnTo>
                  <a:lnTo>
                    <a:pt x="293" y="84"/>
                  </a:lnTo>
                  <a:lnTo>
                    <a:pt x="292" y="85"/>
                  </a:lnTo>
                  <a:lnTo>
                    <a:pt x="291" y="84"/>
                  </a:lnTo>
                  <a:lnTo>
                    <a:pt x="291" y="86"/>
                  </a:lnTo>
                  <a:lnTo>
                    <a:pt x="293" y="87"/>
                  </a:lnTo>
                  <a:lnTo>
                    <a:pt x="295" y="87"/>
                  </a:lnTo>
                  <a:lnTo>
                    <a:pt x="297" y="88"/>
                  </a:lnTo>
                  <a:lnTo>
                    <a:pt x="299" y="88"/>
                  </a:lnTo>
                  <a:lnTo>
                    <a:pt x="301" y="90"/>
                  </a:lnTo>
                  <a:lnTo>
                    <a:pt x="301" y="92"/>
                  </a:lnTo>
                  <a:lnTo>
                    <a:pt x="302" y="93"/>
                  </a:lnTo>
                  <a:lnTo>
                    <a:pt x="302" y="96"/>
                  </a:lnTo>
                  <a:lnTo>
                    <a:pt x="301" y="96"/>
                  </a:lnTo>
                  <a:lnTo>
                    <a:pt x="299" y="97"/>
                  </a:lnTo>
                  <a:lnTo>
                    <a:pt x="301" y="99"/>
                  </a:lnTo>
                  <a:lnTo>
                    <a:pt x="299" y="99"/>
                  </a:lnTo>
                  <a:lnTo>
                    <a:pt x="298" y="100"/>
                  </a:lnTo>
                  <a:lnTo>
                    <a:pt x="293" y="103"/>
                  </a:lnTo>
                  <a:lnTo>
                    <a:pt x="292" y="102"/>
                  </a:lnTo>
                  <a:lnTo>
                    <a:pt x="291" y="103"/>
                  </a:lnTo>
                  <a:lnTo>
                    <a:pt x="291" y="106"/>
                  </a:lnTo>
                  <a:lnTo>
                    <a:pt x="292" y="109"/>
                  </a:lnTo>
                  <a:lnTo>
                    <a:pt x="293" y="110"/>
                  </a:lnTo>
                  <a:lnTo>
                    <a:pt x="291" y="112"/>
                  </a:lnTo>
                  <a:lnTo>
                    <a:pt x="291" y="113"/>
                  </a:lnTo>
                  <a:lnTo>
                    <a:pt x="290" y="115"/>
                  </a:lnTo>
                  <a:lnTo>
                    <a:pt x="290" y="116"/>
                  </a:lnTo>
                  <a:lnTo>
                    <a:pt x="291" y="116"/>
                  </a:lnTo>
                  <a:lnTo>
                    <a:pt x="291" y="118"/>
                  </a:lnTo>
                  <a:lnTo>
                    <a:pt x="295" y="118"/>
                  </a:lnTo>
                  <a:lnTo>
                    <a:pt x="295" y="119"/>
                  </a:lnTo>
                  <a:lnTo>
                    <a:pt x="293" y="121"/>
                  </a:lnTo>
                  <a:lnTo>
                    <a:pt x="292" y="121"/>
                  </a:lnTo>
                  <a:lnTo>
                    <a:pt x="292" y="123"/>
                  </a:lnTo>
                  <a:lnTo>
                    <a:pt x="293" y="123"/>
                  </a:lnTo>
                  <a:lnTo>
                    <a:pt x="293" y="124"/>
                  </a:lnTo>
                  <a:lnTo>
                    <a:pt x="291" y="125"/>
                  </a:lnTo>
                  <a:lnTo>
                    <a:pt x="292" y="125"/>
                  </a:lnTo>
                  <a:lnTo>
                    <a:pt x="293" y="127"/>
                  </a:lnTo>
                  <a:lnTo>
                    <a:pt x="292" y="128"/>
                  </a:lnTo>
                  <a:lnTo>
                    <a:pt x="290" y="128"/>
                  </a:lnTo>
                  <a:lnTo>
                    <a:pt x="290" y="127"/>
                  </a:lnTo>
                  <a:lnTo>
                    <a:pt x="285" y="127"/>
                  </a:lnTo>
                  <a:lnTo>
                    <a:pt x="284" y="128"/>
                  </a:lnTo>
                  <a:lnTo>
                    <a:pt x="284" y="129"/>
                  </a:lnTo>
                  <a:lnTo>
                    <a:pt x="283" y="129"/>
                  </a:lnTo>
                  <a:lnTo>
                    <a:pt x="283" y="131"/>
                  </a:lnTo>
                  <a:lnTo>
                    <a:pt x="282" y="131"/>
                  </a:lnTo>
                  <a:lnTo>
                    <a:pt x="280" y="133"/>
                  </a:lnTo>
                  <a:lnTo>
                    <a:pt x="279" y="133"/>
                  </a:lnTo>
                  <a:lnTo>
                    <a:pt x="278" y="135"/>
                  </a:lnTo>
                  <a:lnTo>
                    <a:pt x="277" y="136"/>
                  </a:lnTo>
                  <a:lnTo>
                    <a:pt x="276" y="136"/>
                  </a:lnTo>
                  <a:lnTo>
                    <a:pt x="274" y="137"/>
                  </a:lnTo>
                  <a:lnTo>
                    <a:pt x="272" y="137"/>
                  </a:lnTo>
                  <a:lnTo>
                    <a:pt x="272" y="144"/>
                  </a:lnTo>
                  <a:lnTo>
                    <a:pt x="273" y="144"/>
                  </a:lnTo>
                  <a:lnTo>
                    <a:pt x="273" y="147"/>
                  </a:lnTo>
                  <a:lnTo>
                    <a:pt x="272" y="146"/>
                  </a:lnTo>
                  <a:lnTo>
                    <a:pt x="271" y="146"/>
                  </a:lnTo>
                  <a:lnTo>
                    <a:pt x="268" y="144"/>
                  </a:lnTo>
                  <a:lnTo>
                    <a:pt x="264" y="144"/>
                  </a:lnTo>
                  <a:lnTo>
                    <a:pt x="262" y="146"/>
                  </a:lnTo>
                  <a:lnTo>
                    <a:pt x="261" y="146"/>
                  </a:lnTo>
                  <a:lnTo>
                    <a:pt x="259" y="144"/>
                  </a:lnTo>
                  <a:lnTo>
                    <a:pt x="258" y="144"/>
                  </a:lnTo>
                  <a:lnTo>
                    <a:pt x="258" y="147"/>
                  </a:lnTo>
                  <a:lnTo>
                    <a:pt x="254" y="147"/>
                  </a:lnTo>
                  <a:lnTo>
                    <a:pt x="253" y="148"/>
                  </a:lnTo>
                  <a:lnTo>
                    <a:pt x="253" y="150"/>
                  </a:lnTo>
                  <a:lnTo>
                    <a:pt x="249" y="150"/>
                  </a:lnTo>
                  <a:lnTo>
                    <a:pt x="248" y="149"/>
                  </a:lnTo>
                  <a:lnTo>
                    <a:pt x="234" y="149"/>
                  </a:lnTo>
                  <a:lnTo>
                    <a:pt x="234" y="148"/>
                  </a:lnTo>
                  <a:lnTo>
                    <a:pt x="231" y="149"/>
                  </a:lnTo>
                  <a:lnTo>
                    <a:pt x="229" y="152"/>
                  </a:lnTo>
                  <a:lnTo>
                    <a:pt x="229" y="150"/>
                  </a:lnTo>
                  <a:lnTo>
                    <a:pt x="228" y="150"/>
                  </a:lnTo>
                  <a:lnTo>
                    <a:pt x="227" y="152"/>
                  </a:lnTo>
                  <a:lnTo>
                    <a:pt x="224" y="152"/>
                  </a:lnTo>
                  <a:lnTo>
                    <a:pt x="224" y="153"/>
                  </a:lnTo>
                  <a:lnTo>
                    <a:pt x="223" y="154"/>
                  </a:lnTo>
                  <a:lnTo>
                    <a:pt x="223" y="155"/>
                  </a:lnTo>
                  <a:lnTo>
                    <a:pt x="222" y="156"/>
                  </a:lnTo>
                  <a:lnTo>
                    <a:pt x="222" y="158"/>
                  </a:lnTo>
                  <a:lnTo>
                    <a:pt x="221" y="158"/>
                  </a:lnTo>
                  <a:lnTo>
                    <a:pt x="220" y="159"/>
                  </a:lnTo>
                  <a:lnTo>
                    <a:pt x="220" y="158"/>
                  </a:lnTo>
                  <a:lnTo>
                    <a:pt x="217" y="160"/>
                  </a:lnTo>
                  <a:lnTo>
                    <a:pt x="216" y="160"/>
                  </a:lnTo>
                  <a:lnTo>
                    <a:pt x="216" y="161"/>
                  </a:lnTo>
                  <a:lnTo>
                    <a:pt x="214" y="161"/>
                  </a:lnTo>
                  <a:lnTo>
                    <a:pt x="214" y="162"/>
                  </a:lnTo>
                  <a:lnTo>
                    <a:pt x="212" y="162"/>
                  </a:lnTo>
                  <a:lnTo>
                    <a:pt x="212" y="165"/>
                  </a:lnTo>
                  <a:lnTo>
                    <a:pt x="211" y="165"/>
                  </a:lnTo>
                  <a:lnTo>
                    <a:pt x="210" y="164"/>
                  </a:lnTo>
                  <a:lnTo>
                    <a:pt x="210" y="162"/>
                  </a:lnTo>
                  <a:lnTo>
                    <a:pt x="209" y="164"/>
                  </a:lnTo>
                  <a:lnTo>
                    <a:pt x="208" y="164"/>
                  </a:lnTo>
                  <a:lnTo>
                    <a:pt x="208" y="162"/>
                  </a:lnTo>
                  <a:lnTo>
                    <a:pt x="206" y="162"/>
                  </a:lnTo>
                  <a:lnTo>
                    <a:pt x="205" y="161"/>
                  </a:lnTo>
                  <a:lnTo>
                    <a:pt x="195" y="161"/>
                  </a:lnTo>
                  <a:lnTo>
                    <a:pt x="192" y="159"/>
                  </a:lnTo>
                  <a:lnTo>
                    <a:pt x="187" y="159"/>
                  </a:lnTo>
                  <a:lnTo>
                    <a:pt x="184" y="158"/>
                  </a:lnTo>
                  <a:lnTo>
                    <a:pt x="183" y="156"/>
                  </a:lnTo>
                  <a:lnTo>
                    <a:pt x="180" y="158"/>
                  </a:lnTo>
                  <a:lnTo>
                    <a:pt x="179" y="158"/>
                  </a:lnTo>
                  <a:lnTo>
                    <a:pt x="177" y="156"/>
                  </a:lnTo>
                  <a:lnTo>
                    <a:pt x="174" y="156"/>
                  </a:lnTo>
                  <a:lnTo>
                    <a:pt x="169" y="155"/>
                  </a:lnTo>
                  <a:lnTo>
                    <a:pt x="167" y="155"/>
                  </a:lnTo>
                  <a:lnTo>
                    <a:pt x="167" y="154"/>
                  </a:lnTo>
                  <a:lnTo>
                    <a:pt x="162" y="154"/>
                  </a:lnTo>
                  <a:lnTo>
                    <a:pt x="158" y="155"/>
                  </a:lnTo>
                  <a:lnTo>
                    <a:pt x="156" y="154"/>
                  </a:lnTo>
                  <a:lnTo>
                    <a:pt x="155" y="154"/>
                  </a:lnTo>
                  <a:lnTo>
                    <a:pt x="153" y="153"/>
                  </a:lnTo>
                  <a:lnTo>
                    <a:pt x="149" y="152"/>
                  </a:lnTo>
                  <a:lnTo>
                    <a:pt x="140" y="152"/>
                  </a:lnTo>
                  <a:lnTo>
                    <a:pt x="137" y="149"/>
                  </a:lnTo>
                  <a:lnTo>
                    <a:pt x="134" y="149"/>
                  </a:lnTo>
                  <a:lnTo>
                    <a:pt x="133" y="148"/>
                  </a:lnTo>
                  <a:lnTo>
                    <a:pt x="127" y="148"/>
                  </a:lnTo>
                  <a:lnTo>
                    <a:pt x="125" y="147"/>
                  </a:lnTo>
                  <a:lnTo>
                    <a:pt x="123" y="147"/>
                  </a:lnTo>
                  <a:lnTo>
                    <a:pt x="122" y="146"/>
                  </a:lnTo>
                  <a:lnTo>
                    <a:pt x="119" y="144"/>
                  </a:lnTo>
                  <a:lnTo>
                    <a:pt x="119" y="143"/>
                  </a:lnTo>
                  <a:lnTo>
                    <a:pt x="118" y="142"/>
                  </a:lnTo>
                  <a:lnTo>
                    <a:pt x="118" y="141"/>
                  </a:lnTo>
                  <a:lnTo>
                    <a:pt x="116" y="141"/>
                  </a:lnTo>
                  <a:lnTo>
                    <a:pt x="116" y="135"/>
                  </a:lnTo>
                  <a:lnTo>
                    <a:pt x="112" y="135"/>
                  </a:lnTo>
                  <a:lnTo>
                    <a:pt x="112" y="134"/>
                  </a:lnTo>
                  <a:lnTo>
                    <a:pt x="111" y="134"/>
                  </a:lnTo>
                  <a:lnTo>
                    <a:pt x="111" y="133"/>
                  </a:lnTo>
                  <a:lnTo>
                    <a:pt x="110" y="133"/>
                  </a:lnTo>
                  <a:lnTo>
                    <a:pt x="110" y="129"/>
                  </a:lnTo>
                  <a:lnTo>
                    <a:pt x="109" y="128"/>
                  </a:lnTo>
                  <a:lnTo>
                    <a:pt x="110" y="127"/>
                  </a:lnTo>
                  <a:lnTo>
                    <a:pt x="112" y="125"/>
                  </a:lnTo>
                  <a:lnTo>
                    <a:pt x="112" y="122"/>
                  </a:lnTo>
                  <a:lnTo>
                    <a:pt x="109" y="122"/>
                  </a:lnTo>
                  <a:lnTo>
                    <a:pt x="105" y="124"/>
                  </a:lnTo>
                  <a:lnTo>
                    <a:pt x="102" y="124"/>
                  </a:lnTo>
                  <a:lnTo>
                    <a:pt x="100" y="125"/>
                  </a:lnTo>
                  <a:lnTo>
                    <a:pt x="98" y="127"/>
                  </a:lnTo>
                  <a:lnTo>
                    <a:pt x="97" y="128"/>
                  </a:lnTo>
                  <a:lnTo>
                    <a:pt x="94" y="128"/>
                  </a:lnTo>
                  <a:lnTo>
                    <a:pt x="93" y="129"/>
                  </a:lnTo>
                  <a:lnTo>
                    <a:pt x="92" y="129"/>
                  </a:lnTo>
                  <a:lnTo>
                    <a:pt x="91" y="128"/>
                  </a:lnTo>
                  <a:lnTo>
                    <a:pt x="90" y="128"/>
                  </a:lnTo>
                  <a:lnTo>
                    <a:pt x="87" y="127"/>
                  </a:lnTo>
                  <a:lnTo>
                    <a:pt x="86" y="127"/>
                  </a:lnTo>
                  <a:lnTo>
                    <a:pt x="85" y="128"/>
                  </a:lnTo>
                  <a:lnTo>
                    <a:pt x="84" y="128"/>
                  </a:lnTo>
                  <a:lnTo>
                    <a:pt x="82" y="127"/>
                  </a:lnTo>
                  <a:lnTo>
                    <a:pt x="81" y="127"/>
                  </a:lnTo>
                  <a:lnTo>
                    <a:pt x="81" y="128"/>
                  </a:lnTo>
                  <a:lnTo>
                    <a:pt x="79" y="129"/>
                  </a:lnTo>
                  <a:lnTo>
                    <a:pt x="78" y="129"/>
                  </a:lnTo>
                  <a:lnTo>
                    <a:pt x="77" y="128"/>
                  </a:lnTo>
                  <a:lnTo>
                    <a:pt x="72" y="128"/>
                  </a:lnTo>
                  <a:lnTo>
                    <a:pt x="69" y="129"/>
                  </a:lnTo>
                  <a:lnTo>
                    <a:pt x="66" y="133"/>
                  </a:lnTo>
                  <a:lnTo>
                    <a:pt x="66" y="134"/>
                  </a:lnTo>
                  <a:lnTo>
                    <a:pt x="65" y="135"/>
                  </a:lnTo>
                  <a:lnTo>
                    <a:pt x="65" y="139"/>
                  </a:lnTo>
                  <a:lnTo>
                    <a:pt x="63" y="139"/>
                  </a:lnTo>
                  <a:lnTo>
                    <a:pt x="62" y="141"/>
                  </a:lnTo>
                  <a:lnTo>
                    <a:pt x="59" y="141"/>
                  </a:lnTo>
                  <a:lnTo>
                    <a:pt x="57" y="142"/>
                  </a:lnTo>
                  <a:lnTo>
                    <a:pt x="56" y="142"/>
                  </a:lnTo>
                  <a:lnTo>
                    <a:pt x="56" y="141"/>
                  </a:lnTo>
                  <a:lnTo>
                    <a:pt x="54" y="141"/>
                  </a:lnTo>
                  <a:lnTo>
                    <a:pt x="53" y="140"/>
                  </a:lnTo>
                  <a:lnTo>
                    <a:pt x="50" y="140"/>
                  </a:lnTo>
                  <a:lnTo>
                    <a:pt x="51" y="139"/>
                  </a:lnTo>
                  <a:lnTo>
                    <a:pt x="51" y="137"/>
                  </a:lnTo>
                  <a:lnTo>
                    <a:pt x="48" y="136"/>
                  </a:lnTo>
                  <a:lnTo>
                    <a:pt x="47" y="135"/>
                  </a:lnTo>
                  <a:lnTo>
                    <a:pt x="47" y="136"/>
                  </a:lnTo>
                  <a:lnTo>
                    <a:pt x="42" y="137"/>
                  </a:lnTo>
                  <a:lnTo>
                    <a:pt x="38" y="134"/>
                  </a:lnTo>
                  <a:lnTo>
                    <a:pt x="40" y="133"/>
                  </a:lnTo>
                  <a:lnTo>
                    <a:pt x="40" y="131"/>
                  </a:lnTo>
                  <a:lnTo>
                    <a:pt x="36" y="128"/>
                  </a:lnTo>
                  <a:lnTo>
                    <a:pt x="34" y="128"/>
                  </a:lnTo>
                  <a:lnTo>
                    <a:pt x="34" y="129"/>
                  </a:lnTo>
                  <a:lnTo>
                    <a:pt x="32" y="130"/>
                  </a:lnTo>
                  <a:lnTo>
                    <a:pt x="32" y="131"/>
                  </a:lnTo>
                  <a:lnTo>
                    <a:pt x="30" y="131"/>
                  </a:lnTo>
                  <a:lnTo>
                    <a:pt x="29" y="133"/>
                  </a:lnTo>
                  <a:lnTo>
                    <a:pt x="29" y="135"/>
                  </a:lnTo>
                  <a:lnTo>
                    <a:pt x="26" y="136"/>
                  </a:lnTo>
                  <a:lnTo>
                    <a:pt x="23" y="136"/>
                  </a:lnTo>
                  <a:lnTo>
                    <a:pt x="20" y="134"/>
                  </a:lnTo>
                  <a:lnTo>
                    <a:pt x="16" y="133"/>
                  </a:lnTo>
                  <a:lnTo>
                    <a:pt x="15" y="131"/>
                  </a:lnTo>
                  <a:lnTo>
                    <a:pt x="15" y="127"/>
                  </a:lnTo>
                  <a:lnTo>
                    <a:pt x="13" y="127"/>
                  </a:lnTo>
                  <a:lnTo>
                    <a:pt x="6" y="124"/>
                  </a:lnTo>
                  <a:lnTo>
                    <a:pt x="5" y="123"/>
                  </a:lnTo>
                  <a:lnTo>
                    <a:pt x="3" y="124"/>
                  </a:lnTo>
                  <a:lnTo>
                    <a:pt x="3" y="123"/>
                  </a:lnTo>
                  <a:lnTo>
                    <a:pt x="4" y="122"/>
                  </a:lnTo>
                  <a:lnTo>
                    <a:pt x="4" y="121"/>
                  </a:lnTo>
                  <a:lnTo>
                    <a:pt x="3" y="119"/>
                  </a:lnTo>
                  <a:lnTo>
                    <a:pt x="3" y="117"/>
                  </a:lnTo>
                  <a:lnTo>
                    <a:pt x="1" y="117"/>
                  </a:lnTo>
                  <a:lnTo>
                    <a:pt x="1" y="113"/>
                  </a:lnTo>
                  <a:lnTo>
                    <a:pt x="0" y="113"/>
                  </a:lnTo>
                  <a:lnTo>
                    <a:pt x="0" y="111"/>
                  </a:lnTo>
                  <a:lnTo>
                    <a:pt x="3" y="106"/>
                  </a:lnTo>
                  <a:lnTo>
                    <a:pt x="3" y="105"/>
                  </a:lnTo>
                  <a:lnTo>
                    <a:pt x="5" y="103"/>
                  </a:lnTo>
                  <a:lnTo>
                    <a:pt x="5" y="99"/>
                  </a:lnTo>
                  <a:lnTo>
                    <a:pt x="0" y="94"/>
                  </a:lnTo>
                  <a:lnTo>
                    <a:pt x="7" y="94"/>
                  </a:lnTo>
                  <a:lnTo>
                    <a:pt x="7" y="93"/>
                  </a:lnTo>
                  <a:lnTo>
                    <a:pt x="10" y="91"/>
                  </a:lnTo>
                  <a:lnTo>
                    <a:pt x="12" y="91"/>
                  </a:lnTo>
                  <a:lnTo>
                    <a:pt x="12" y="93"/>
                  </a:lnTo>
                  <a:lnTo>
                    <a:pt x="13" y="94"/>
                  </a:lnTo>
                  <a:lnTo>
                    <a:pt x="13" y="93"/>
                  </a:lnTo>
                  <a:lnTo>
                    <a:pt x="16" y="94"/>
                  </a:lnTo>
                  <a:lnTo>
                    <a:pt x="17" y="94"/>
                  </a:lnTo>
                  <a:lnTo>
                    <a:pt x="18" y="93"/>
                  </a:lnTo>
                  <a:lnTo>
                    <a:pt x="18" y="96"/>
                  </a:lnTo>
                  <a:lnTo>
                    <a:pt x="19" y="97"/>
                  </a:lnTo>
                  <a:lnTo>
                    <a:pt x="19" y="98"/>
                  </a:lnTo>
                  <a:lnTo>
                    <a:pt x="20" y="98"/>
                  </a:lnTo>
                  <a:lnTo>
                    <a:pt x="20" y="97"/>
                  </a:lnTo>
                  <a:lnTo>
                    <a:pt x="23" y="100"/>
                  </a:lnTo>
                  <a:lnTo>
                    <a:pt x="23" y="102"/>
                  </a:lnTo>
                  <a:lnTo>
                    <a:pt x="22" y="102"/>
                  </a:lnTo>
                  <a:lnTo>
                    <a:pt x="23" y="103"/>
                  </a:lnTo>
                  <a:lnTo>
                    <a:pt x="23" y="105"/>
                  </a:lnTo>
                  <a:lnTo>
                    <a:pt x="24" y="105"/>
                  </a:lnTo>
                  <a:lnTo>
                    <a:pt x="24" y="104"/>
                  </a:lnTo>
                  <a:lnTo>
                    <a:pt x="29" y="104"/>
                  </a:lnTo>
                  <a:lnTo>
                    <a:pt x="29" y="105"/>
                  </a:lnTo>
                  <a:lnTo>
                    <a:pt x="28" y="107"/>
                  </a:lnTo>
                  <a:lnTo>
                    <a:pt x="28" y="109"/>
                  </a:lnTo>
                  <a:lnTo>
                    <a:pt x="26" y="109"/>
                  </a:lnTo>
                  <a:lnTo>
                    <a:pt x="26" y="110"/>
                  </a:lnTo>
                  <a:lnTo>
                    <a:pt x="31" y="110"/>
                  </a:lnTo>
                  <a:lnTo>
                    <a:pt x="35" y="106"/>
                  </a:lnTo>
                  <a:lnTo>
                    <a:pt x="35" y="105"/>
                  </a:lnTo>
                  <a:lnTo>
                    <a:pt x="36" y="104"/>
                  </a:lnTo>
                  <a:lnTo>
                    <a:pt x="37" y="104"/>
                  </a:lnTo>
                  <a:lnTo>
                    <a:pt x="38" y="103"/>
                  </a:lnTo>
                  <a:lnTo>
                    <a:pt x="38" y="97"/>
                  </a:lnTo>
                  <a:lnTo>
                    <a:pt x="37" y="97"/>
                  </a:lnTo>
                  <a:lnTo>
                    <a:pt x="38" y="94"/>
                  </a:lnTo>
                  <a:lnTo>
                    <a:pt x="38" y="93"/>
                  </a:lnTo>
                  <a:lnTo>
                    <a:pt x="40" y="93"/>
                  </a:lnTo>
                  <a:lnTo>
                    <a:pt x="41" y="94"/>
                  </a:lnTo>
                  <a:lnTo>
                    <a:pt x="43" y="94"/>
                  </a:lnTo>
                  <a:lnTo>
                    <a:pt x="44" y="93"/>
                  </a:lnTo>
                  <a:lnTo>
                    <a:pt x="44" y="92"/>
                  </a:lnTo>
                  <a:lnTo>
                    <a:pt x="46" y="92"/>
                  </a:lnTo>
                  <a:lnTo>
                    <a:pt x="51" y="94"/>
                  </a:lnTo>
                  <a:lnTo>
                    <a:pt x="51" y="96"/>
                  </a:lnTo>
                  <a:lnTo>
                    <a:pt x="53" y="96"/>
                  </a:lnTo>
                  <a:lnTo>
                    <a:pt x="55" y="94"/>
                  </a:lnTo>
                  <a:lnTo>
                    <a:pt x="56" y="94"/>
                  </a:lnTo>
                  <a:lnTo>
                    <a:pt x="57" y="96"/>
                  </a:lnTo>
                  <a:lnTo>
                    <a:pt x="56" y="97"/>
                  </a:lnTo>
                  <a:lnTo>
                    <a:pt x="59" y="98"/>
                  </a:lnTo>
                  <a:lnTo>
                    <a:pt x="60" y="100"/>
                  </a:lnTo>
                  <a:lnTo>
                    <a:pt x="61" y="100"/>
                  </a:lnTo>
                  <a:lnTo>
                    <a:pt x="61" y="102"/>
                  </a:lnTo>
                  <a:lnTo>
                    <a:pt x="60" y="102"/>
                  </a:lnTo>
                  <a:lnTo>
                    <a:pt x="61" y="103"/>
                  </a:lnTo>
                  <a:lnTo>
                    <a:pt x="67" y="103"/>
                  </a:lnTo>
                  <a:lnTo>
                    <a:pt x="69" y="100"/>
                  </a:lnTo>
                  <a:lnTo>
                    <a:pt x="71" y="100"/>
                  </a:lnTo>
                  <a:lnTo>
                    <a:pt x="71" y="103"/>
                  </a:lnTo>
                  <a:lnTo>
                    <a:pt x="73" y="103"/>
                  </a:lnTo>
                  <a:lnTo>
                    <a:pt x="74" y="102"/>
                  </a:lnTo>
                  <a:lnTo>
                    <a:pt x="74" y="100"/>
                  </a:lnTo>
                  <a:lnTo>
                    <a:pt x="78" y="100"/>
                  </a:lnTo>
                  <a:lnTo>
                    <a:pt x="78" y="99"/>
                  </a:lnTo>
                  <a:lnTo>
                    <a:pt x="79" y="99"/>
                  </a:lnTo>
                  <a:lnTo>
                    <a:pt x="79" y="98"/>
                  </a:lnTo>
                  <a:lnTo>
                    <a:pt x="78" y="98"/>
                  </a:lnTo>
                  <a:lnTo>
                    <a:pt x="79" y="96"/>
                  </a:lnTo>
                  <a:lnTo>
                    <a:pt x="85" y="96"/>
                  </a:lnTo>
                  <a:lnTo>
                    <a:pt x="86" y="94"/>
                  </a:lnTo>
                  <a:lnTo>
                    <a:pt x="86" y="92"/>
                  </a:lnTo>
                  <a:lnTo>
                    <a:pt x="87" y="92"/>
                  </a:lnTo>
                  <a:lnTo>
                    <a:pt x="88" y="91"/>
                  </a:lnTo>
                  <a:lnTo>
                    <a:pt x="97" y="91"/>
                  </a:lnTo>
                  <a:lnTo>
                    <a:pt x="98" y="90"/>
                  </a:lnTo>
                  <a:lnTo>
                    <a:pt x="111" y="90"/>
                  </a:lnTo>
                  <a:lnTo>
                    <a:pt x="113" y="87"/>
                  </a:lnTo>
                  <a:lnTo>
                    <a:pt x="113" y="85"/>
                  </a:lnTo>
                  <a:lnTo>
                    <a:pt x="116" y="85"/>
                  </a:lnTo>
                  <a:lnTo>
                    <a:pt x="117" y="84"/>
                  </a:lnTo>
                  <a:lnTo>
                    <a:pt x="119" y="85"/>
                  </a:lnTo>
                  <a:lnTo>
                    <a:pt x="122" y="84"/>
                  </a:lnTo>
                  <a:lnTo>
                    <a:pt x="122" y="85"/>
                  </a:lnTo>
                  <a:lnTo>
                    <a:pt x="123" y="86"/>
                  </a:lnTo>
                  <a:lnTo>
                    <a:pt x="123" y="87"/>
                  </a:lnTo>
                  <a:lnTo>
                    <a:pt x="124" y="87"/>
                  </a:lnTo>
                  <a:lnTo>
                    <a:pt x="125" y="88"/>
                  </a:lnTo>
                  <a:lnTo>
                    <a:pt x="127" y="88"/>
                  </a:lnTo>
                  <a:lnTo>
                    <a:pt x="129" y="86"/>
                  </a:lnTo>
                  <a:lnTo>
                    <a:pt x="130" y="86"/>
                  </a:lnTo>
                  <a:lnTo>
                    <a:pt x="131" y="85"/>
                  </a:lnTo>
                  <a:lnTo>
                    <a:pt x="134" y="85"/>
                  </a:lnTo>
                  <a:lnTo>
                    <a:pt x="136" y="86"/>
                  </a:lnTo>
                  <a:lnTo>
                    <a:pt x="136" y="87"/>
                  </a:lnTo>
                  <a:lnTo>
                    <a:pt x="138" y="90"/>
                  </a:lnTo>
                  <a:lnTo>
                    <a:pt x="137" y="90"/>
                  </a:lnTo>
                  <a:lnTo>
                    <a:pt x="137" y="93"/>
                  </a:lnTo>
                  <a:lnTo>
                    <a:pt x="140" y="93"/>
                  </a:lnTo>
                  <a:lnTo>
                    <a:pt x="140" y="94"/>
                  </a:lnTo>
                  <a:lnTo>
                    <a:pt x="141" y="97"/>
                  </a:lnTo>
                  <a:lnTo>
                    <a:pt x="143" y="98"/>
                  </a:lnTo>
                  <a:lnTo>
                    <a:pt x="147" y="98"/>
                  </a:lnTo>
                  <a:lnTo>
                    <a:pt x="148" y="97"/>
                  </a:lnTo>
                  <a:lnTo>
                    <a:pt x="148" y="91"/>
                  </a:lnTo>
                  <a:lnTo>
                    <a:pt x="149" y="90"/>
                  </a:lnTo>
                  <a:lnTo>
                    <a:pt x="149" y="85"/>
                  </a:lnTo>
                  <a:lnTo>
                    <a:pt x="147" y="82"/>
                  </a:lnTo>
                  <a:lnTo>
                    <a:pt x="146" y="84"/>
                  </a:lnTo>
                  <a:lnTo>
                    <a:pt x="144" y="84"/>
                  </a:lnTo>
                  <a:lnTo>
                    <a:pt x="142" y="82"/>
                  </a:lnTo>
                  <a:lnTo>
                    <a:pt x="142" y="81"/>
                  </a:lnTo>
                  <a:lnTo>
                    <a:pt x="143" y="80"/>
                  </a:lnTo>
                  <a:lnTo>
                    <a:pt x="143" y="79"/>
                  </a:lnTo>
                  <a:lnTo>
                    <a:pt x="146" y="74"/>
                  </a:lnTo>
                  <a:lnTo>
                    <a:pt x="144" y="73"/>
                  </a:lnTo>
                  <a:lnTo>
                    <a:pt x="143" y="69"/>
                  </a:lnTo>
                  <a:lnTo>
                    <a:pt x="141" y="67"/>
                  </a:lnTo>
                  <a:lnTo>
                    <a:pt x="140" y="67"/>
                  </a:lnTo>
                  <a:lnTo>
                    <a:pt x="140" y="63"/>
                  </a:lnTo>
                  <a:lnTo>
                    <a:pt x="136" y="61"/>
                  </a:lnTo>
                  <a:lnTo>
                    <a:pt x="136" y="60"/>
                  </a:lnTo>
                  <a:lnTo>
                    <a:pt x="135" y="59"/>
                  </a:lnTo>
                  <a:lnTo>
                    <a:pt x="135" y="57"/>
                  </a:lnTo>
                  <a:lnTo>
                    <a:pt x="136" y="57"/>
                  </a:lnTo>
                  <a:lnTo>
                    <a:pt x="140" y="54"/>
                  </a:lnTo>
                  <a:lnTo>
                    <a:pt x="140" y="53"/>
                  </a:lnTo>
                  <a:lnTo>
                    <a:pt x="141" y="53"/>
                  </a:lnTo>
                  <a:lnTo>
                    <a:pt x="143" y="51"/>
                  </a:lnTo>
                  <a:lnTo>
                    <a:pt x="144" y="51"/>
                  </a:lnTo>
                  <a:lnTo>
                    <a:pt x="148" y="48"/>
                  </a:lnTo>
                  <a:lnTo>
                    <a:pt x="152" y="47"/>
                  </a:lnTo>
                  <a:lnTo>
                    <a:pt x="158" y="45"/>
                  </a:lnTo>
                  <a:lnTo>
                    <a:pt x="160" y="44"/>
                  </a:lnTo>
                  <a:lnTo>
                    <a:pt x="165" y="39"/>
                  </a:lnTo>
                  <a:lnTo>
                    <a:pt x="165" y="33"/>
                  </a:lnTo>
                  <a:lnTo>
                    <a:pt x="166" y="32"/>
                  </a:lnTo>
                  <a:lnTo>
                    <a:pt x="166" y="31"/>
                  </a:lnTo>
                  <a:lnTo>
                    <a:pt x="165" y="31"/>
                  </a:lnTo>
                  <a:lnTo>
                    <a:pt x="165" y="29"/>
                  </a:lnTo>
                  <a:lnTo>
                    <a:pt x="166" y="29"/>
                  </a:lnTo>
                  <a:lnTo>
                    <a:pt x="167" y="27"/>
                  </a:lnTo>
                  <a:lnTo>
                    <a:pt x="168" y="27"/>
                  </a:lnTo>
                  <a:lnTo>
                    <a:pt x="173" y="29"/>
                  </a:lnTo>
                  <a:lnTo>
                    <a:pt x="173" y="30"/>
                  </a:lnTo>
                  <a:lnTo>
                    <a:pt x="174" y="30"/>
                  </a:lnTo>
                  <a:lnTo>
                    <a:pt x="174" y="31"/>
                  </a:lnTo>
                  <a:lnTo>
                    <a:pt x="177" y="31"/>
                  </a:lnTo>
                  <a:lnTo>
                    <a:pt x="177" y="30"/>
                  </a:lnTo>
                  <a:lnTo>
                    <a:pt x="178" y="29"/>
                  </a:lnTo>
                  <a:lnTo>
                    <a:pt x="179" y="29"/>
                  </a:lnTo>
                  <a:lnTo>
                    <a:pt x="180" y="26"/>
                  </a:lnTo>
                  <a:lnTo>
                    <a:pt x="180" y="21"/>
                  </a:lnTo>
                  <a:lnTo>
                    <a:pt x="181" y="20"/>
                  </a:lnTo>
                  <a:lnTo>
                    <a:pt x="180" y="20"/>
                  </a:lnTo>
                  <a:lnTo>
                    <a:pt x="180" y="19"/>
                  </a:lnTo>
                  <a:lnTo>
                    <a:pt x="179" y="19"/>
                  </a:lnTo>
                  <a:lnTo>
                    <a:pt x="181" y="16"/>
                  </a:lnTo>
                  <a:lnTo>
                    <a:pt x="183" y="17"/>
                  </a:lnTo>
                  <a:lnTo>
                    <a:pt x="184" y="17"/>
                  </a:lnTo>
                  <a:lnTo>
                    <a:pt x="184" y="18"/>
                  </a:lnTo>
                  <a:lnTo>
                    <a:pt x="185" y="18"/>
                  </a:lnTo>
                  <a:lnTo>
                    <a:pt x="187" y="20"/>
                  </a:lnTo>
                  <a:lnTo>
                    <a:pt x="189" y="20"/>
                  </a:lnTo>
                  <a:lnTo>
                    <a:pt x="189" y="21"/>
                  </a:lnTo>
                  <a:lnTo>
                    <a:pt x="190" y="21"/>
                  </a:lnTo>
                  <a:lnTo>
                    <a:pt x="190" y="24"/>
                  </a:lnTo>
                  <a:lnTo>
                    <a:pt x="189" y="24"/>
                  </a:lnTo>
                  <a:lnTo>
                    <a:pt x="189" y="25"/>
                  </a:lnTo>
                  <a:lnTo>
                    <a:pt x="190" y="25"/>
                  </a:lnTo>
                  <a:lnTo>
                    <a:pt x="190" y="26"/>
                  </a:lnTo>
                  <a:lnTo>
                    <a:pt x="192" y="27"/>
                  </a:lnTo>
                  <a:lnTo>
                    <a:pt x="198" y="27"/>
                  </a:lnTo>
                  <a:lnTo>
                    <a:pt x="202" y="30"/>
                  </a:lnTo>
                  <a:lnTo>
                    <a:pt x="203" y="30"/>
                  </a:lnTo>
                  <a:lnTo>
                    <a:pt x="203" y="29"/>
                  </a:lnTo>
                  <a:lnTo>
                    <a:pt x="204" y="29"/>
                  </a:lnTo>
                  <a:lnTo>
                    <a:pt x="205" y="27"/>
                  </a:lnTo>
                  <a:lnTo>
                    <a:pt x="206" y="27"/>
                  </a:lnTo>
                  <a:lnTo>
                    <a:pt x="208" y="24"/>
                  </a:lnTo>
                  <a:lnTo>
                    <a:pt x="209" y="25"/>
                  </a:lnTo>
                  <a:lnTo>
                    <a:pt x="211" y="26"/>
                  </a:lnTo>
                  <a:lnTo>
                    <a:pt x="214" y="25"/>
                  </a:lnTo>
                  <a:lnTo>
                    <a:pt x="214" y="26"/>
                  </a:lnTo>
                  <a:lnTo>
                    <a:pt x="216" y="26"/>
                  </a:lnTo>
                  <a:lnTo>
                    <a:pt x="216" y="29"/>
                  </a:lnTo>
                  <a:lnTo>
                    <a:pt x="217" y="29"/>
                  </a:lnTo>
                  <a:lnTo>
                    <a:pt x="218" y="27"/>
                  </a:lnTo>
                  <a:lnTo>
                    <a:pt x="218" y="21"/>
                  </a:lnTo>
                  <a:lnTo>
                    <a:pt x="220" y="20"/>
                  </a:lnTo>
                  <a:lnTo>
                    <a:pt x="222" y="19"/>
                  </a:lnTo>
                  <a:lnTo>
                    <a:pt x="222" y="16"/>
                  </a:lnTo>
                  <a:lnTo>
                    <a:pt x="225" y="16"/>
                  </a:lnTo>
                  <a:lnTo>
                    <a:pt x="228" y="17"/>
                  </a:lnTo>
                  <a:lnTo>
                    <a:pt x="229" y="16"/>
                  </a:lnTo>
                  <a:lnTo>
                    <a:pt x="228" y="14"/>
                  </a:lnTo>
                  <a:lnTo>
                    <a:pt x="228" y="13"/>
                  </a:lnTo>
                  <a:lnTo>
                    <a:pt x="229" y="12"/>
                  </a:lnTo>
                  <a:lnTo>
                    <a:pt x="229" y="2"/>
                  </a:lnTo>
                  <a:lnTo>
                    <a:pt x="230" y="1"/>
                  </a:lnTo>
                  <a:lnTo>
                    <a:pt x="230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57">
              <a:extLst>
                <a:ext uri="{FF2B5EF4-FFF2-40B4-BE49-F238E27FC236}">
                  <a16:creationId xmlns:a16="http://schemas.microsoft.com/office/drawing/2014/main" id="{5FD0D443-17D2-4A0E-89CC-4E9B8A3105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54900" y="5289550"/>
              <a:ext cx="212725" cy="212725"/>
            </a:xfrm>
            <a:custGeom>
              <a:avLst/>
              <a:gdLst/>
              <a:ahLst/>
              <a:cxnLst>
                <a:cxn ang="0">
                  <a:pos x="86" y="38"/>
                </a:cxn>
                <a:cxn ang="0">
                  <a:pos x="76" y="18"/>
                </a:cxn>
                <a:cxn ang="0">
                  <a:pos x="66" y="16"/>
                </a:cxn>
                <a:cxn ang="0">
                  <a:pos x="68" y="4"/>
                </a:cxn>
                <a:cxn ang="0">
                  <a:pos x="76" y="9"/>
                </a:cxn>
                <a:cxn ang="0">
                  <a:pos x="71" y="15"/>
                </a:cxn>
                <a:cxn ang="0">
                  <a:pos x="78" y="17"/>
                </a:cxn>
                <a:cxn ang="0">
                  <a:pos x="85" y="19"/>
                </a:cxn>
                <a:cxn ang="0">
                  <a:pos x="92" y="24"/>
                </a:cxn>
                <a:cxn ang="0">
                  <a:pos x="85" y="31"/>
                </a:cxn>
                <a:cxn ang="0">
                  <a:pos x="85" y="40"/>
                </a:cxn>
                <a:cxn ang="0">
                  <a:pos x="87" y="46"/>
                </a:cxn>
                <a:cxn ang="0">
                  <a:pos x="107" y="58"/>
                </a:cxn>
                <a:cxn ang="0">
                  <a:pos x="105" y="68"/>
                </a:cxn>
                <a:cxn ang="0">
                  <a:pos x="91" y="73"/>
                </a:cxn>
                <a:cxn ang="0">
                  <a:pos x="98" y="77"/>
                </a:cxn>
                <a:cxn ang="0">
                  <a:pos x="105" y="84"/>
                </a:cxn>
                <a:cxn ang="0">
                  <a:pos x="114" y="91"/>
                </a:cxn>
                <a:cxn ang="0">
                  <a:pos x="123" y="93"/>
                </a:cxn>
                <a:cxn ang="0">
                  <a:pos x="129" y="102"/>
                </a:cxn>
                <a:cxn ang="0">
                  <a:pos x="129" y="109"/>
                </a:cxn>
                <a:cxn ang="0">
                  <a:pos x="134" y="115"/>
                </a:cxn>
                <a:cxn ang="0">
                  <a:pos x="126" y="116"/>
                </a:cxn>
                <a:cxn ang="0">
                  <a:pos x="129" y="130"/>
                </a:cxn>
                <a:cxn ang="0">
                  <a:pos x="118" y="134"/>
                </a:cxn>
                <a:cxn ang="0">
                  <a:pos x="108" y="120"/>
                </a:cxn>
                <a:cxn ang="0">
                  <a:pos x="107" y="112"/>
                </a:cxn>
                <a:cxn ang="0">
                  <a:pos x="99" y="108"/>
                </a:cxn>
                <a:cxn ang="0">
                  <a:pos x="101" y="98"/>
                </a:cxn>
                <a:cxn ang="0">
                  <a:pos x="86" y="99"/>
                </a:cxn>
                <a:cxn ang="0">
                  <a:pos x="79" y="97"/>
                </a:cxn>
                <a:cxn ang="0">
                  <a:pos x="73" y="96"/>
                </a:cxn>
                <a:cxn ang="0">
                  <a:pos x="66" y="85"/>
                </a:cxn>
                <a:cxn ang="0">
                  <a:pos x="56" y="89"/>
                </a:cxn>
                <a:cxn ang="0">
                  <a:pos x="49" y="81"/>
                </a:cxn>
                <a:cxn ang="0">
                  <a:pos x="47" y="75"/>
                </a:cxn>
                <a:cxn ang="0">
                  <a:pos x="33" y="71"/>
                </a:cxn>
                <a:cxn ang="0">
                  <a:pos x="16" y="68"/>
                </a:cxn>
                <a:cxn ang="0">
                  <a:pos x="12" y="62"/>
                </a:cxn>
                <a:cxn ang="0">
                  <a:pos x="8" y="52"/>
                </a:cxn>
                <a:cxn ang="0">
                  <a:pos x="8" y="44"/>
                </a:cxn>
                <a:cxn ang="0">
                  <a:pos x="11" y="37"/>
                </a:cxn>
                <a:cxn ang="0">
                  <a:pos x="6" y="18"/>
                </a:cxn>
                <a:cxn ang="0">
                  <a:pos x="2" y="11"/>
                </a:cxn>
                <a:cxn ang="0">
                  <a:pos x="17" y="9"/>
                </a:cxn>
                <a:cxn ang="0">
                  <a:pos x="29" y="7"/>
                </a:cxn>
                <a:cxn ang="0">
                  <a:pos x="35" y="6"/>
                </a:cxn>
                <a:cxn ang="0">
                  <a:pos x="42" y="7"/>
                </a:cxn>
                <a:cxn ang="0">
                  <a:pos x="47" y="6"/>
                </a:cxn>
                <a:cxn ang="0">
                  <a:pos x="49" y="5"/>
                </a:cxn>
                <a:cxn ang="0">
                  <a:pos x="59" y="1"/>
                </a:cxn>
                <a:cxn ang="0">
                  <a:pos x="67" y="0"/>
                </a:cxn>
              </a:cxnLst>
              <a:rect l="0" t="0" r="r" b="b"/>
              <a:pathLst>
                <a:path w="134" h="134">
                  <a:moveTo>
                    <a:pt x="86" y="36"/>
                  </a:moveTo>
                  <a:lnTo>
                    <a:pt x="90" y="36"/>
                  </a:lnTo>
                  <a:lnTo>
                    <a:pt x="90" y="38"/>
                  </a:lnTo>
                  <a:lnTo>
                    <a:pt x="89" y="40"/>
                  </a:lnTo>
                  <a:lnTo>
                    <a:pt x="86" y="38"/>
                  </a:lnTo>
                  <a:lnTo>
                    <a:pt x="86" y="36"/>
                  </a:lnTo>
                  <a:close/>
                  <a:moveTo>
                    <a:pt x="74" y="17"/>
                  </a:moveTo>
                  <a:lnTo>
                    <a:pt x="74" y="18"/>
                  </a:lnTo>
                  <a:lnTo>
                    <a:pt x="76" y="19"/>
                  </a:lnTo>
                  <a:lnTo>
                    <a:pt x="76" y="18"/>
                  </a:lnTo>
                  <a:lnTo>
                    <a:pt x="74" y="17"/>
                  </a:lnTo>
                  <a:close/>
                  <a:moveTo>
                    <a:pt x="66" y="12"/>
                  </a:moveTo>
                  <a:lnTo>
                    <a:pt x="65" y="13"/>
                  </a:lnTo>
                  <a:lnTo>
                    <a:pt x="65" y="15"/>
                  </a:lnTo>
                  <a:lnTo>
                    <a:pt x="66" y="16"/>
                  </a:lnTo>
                  <a:lnTo>
                    <a:pt x="67" y="16"/>
                  </a:lnTo>
                  <a:lnTo>
                    <a:pt x="67" y="13"/>
                  </a:lnTo>
                  <a:lnTo>
                    <a:pt x="66" y="12"/>
                  </a:lnTo>
                  <a:close/>
                  <a:moveTo>
                    <a:pt x="67" y="0"/>
                  </a:moveTo>
                  <a:lnTo>
                    <a:pt x="68" y="4"/>
                  </a:lnTo>
                  <a:lnTo>
                    <a:pt x="67" y="5"/>
                  </a:lnTo>
                  <a:lnTo>
                    <a:pt x="68" y="6"/>
                  </a:lnTo>
                  <a:lnTo>
                    <a:pt x="72" y="6"/>
                  </a:lnTo>
                  <a:lnTo>
                    <a:pt x="74" y="9"/>
                  </a:lnTo>
                  <a:lnTo>
                    <a:pt x="76" y="9"/>
                  </a:lnTo>
                  <a:lnTo>
                    <a:pt x="76" y="10"/>
                  </a:lnTo>
                  <a:lnTo>
                    <a:pt x="73" y="11"/>
                  </a:lnTo>
                  <a:lnTo>
                    <a:pt x="70" y="11"/>
                  </a:lnTo>
                  <a:lnTo>
                    <a:pt x="68" y="12"/>
                  </a:lnTo>
                  <a:lnTo>
                    <a:pt x="71" y="15"/>
                  </a:lnTo>
                  <a:lnTo>
                    <a:pt x="72" y="13"/>
                  </a:lnTo>
                  <a:lnTo>
                    <a:pt x="73" y="15"/>
                  </a:lnTo>
                  <a:lnTo>
                    <a:pt x="74" y="15"/>
                  </a:lnTo>
                  <a:lnTo>
                    <a:pt x="76" y="16"/>
                  </a:lnTo>
                  <a:lnTo>
                    <a:pt x="78" y="17"/>
                  </a:lnTo>
                  <a:lnTo>
                    <a:pt x="83" y="17"/>
                  </a:lnTo>
                  <a:lnTo>
                    <a:pt x="83" y="16"/>
                  </a:lnTo>
                  <a:lnTo>
                    <a:pt x="84" y="16"/>
                  </a:lnTo>
                  <a:lnTo>
                    <a:pt x="84" y="19"/>
                  </a:lnTo>
                  <a:lnTo>
                    <a:pt x="85" y="19"/>
                  </a:lnTo>
                  <a:lnTo>
                    <a:pt x="85" y="21"/>
                  </a:lnTo>
                  <a:lnTo>
                    <a:pt x="86" y="21"/>
                  </a:lnTo>
                  <a:lnTo>
                    <a:pt x="89" y="23"/>
                  </a:lnTo>
                  <a:lnTo>
                    <a:pt x="89" y="24"/>
                  </a:lnTo>
                  <a:lnTo>
                    <a:pt x="92" y="24"/>
                  </a:lnTo>
                  <a:lnTo>
                    <a:pt x="92" y="25"/>
                  </a:lnTo>
                  <a:lnTo>
                    <a:pt x="91" y="28"/>
                  </a:lnTo>
                  <a:lnTo>
                    <a:pt x="90" y="29"/>
                  </a:lnTo>
                  <a:lnTo>
                    <a:pt x="86" y="31"/>
                  </a:lnTo>
                  <a:lnTo>
                    <a:pt x="85" y="31"/>
                  </a:lnTo>
                  <a:lnTo>
                    <a:pt x="84" y="34"/>
                  </a:lnTo>
                  <a:lnTo>
                    <a:pt x="83" y="35"/>
                  </a:lnTo>
                  <a:lnTo>
                    <a:pt x="83" y="38"/>
                  </a:lnTo>
                  <a:lnTo>
                    <a:pt x="84" y="40"/>
                  </a:lnTo>
                  <a:lnTo>
                    <a:pt x="85" y="40"/>
                  </a:lnTo>
                  <a:lnTo>
                    <a:pt x="85" y="43"/>
                  </a:lnTo>
                  <a:lnTo>
                    <a:pt x="86" y="43"/>
                  </a:lnTo>
                  <a:lnTo>
                    <a:pt x="86" y="44"/>
                  </a:lnTo>
                  <a:lnTo>
                    <a:pt x="87" y="44"/>
                  </a:lnTo>
                  <a:lnTo>
                    <a:pt x="87" y="46"/>
                  </a:lnTo>
                  <a:lnTo>
                    <a:pt x="89" y="48"/>
                  </a:lnTo>
                  <a:lnTo>
                    <a:pt x="91" y="50"/>
                  </a:lnTo>
                  <a:lnTo>
                    <a:pt x="101" y="56"/>
                  </a:lnTo>
                  <a:lnTo>
                    <a:pt x="103" y="58"/>
                  </a:lnTo>
                  <a:lnTo>
                    <a:pt x="107" y="58"/>
                  </a:lnTo>
                  <a:lnTo>
                    <a:pt x="107" y="59"/>
                  </a:lnTo>
                  <a:lnTo>
                    <a:pt x="108" y="60"/>
                  </a:lnTo>
                  <a:lnTo>
                    <a:pt x="108" y="65"/>
                  </a:lnTo>
                  <a:lnTo>
                    <a:pt x="105" y="67"/>
                  </a:lnTo>
                  <a:lnTo>
                    <a:pt x="105" y="68"/>
                  </a:lnTo>
                  <a:lnTo>
                    <a:pt x="104" y="68"/>
                  </a:lnTo>
                  <a:lnTo>
                    <a:pt x="104" y="72"/>
                  </a:lnTo>
                  <a:lnTo>
                    <a:pt x="101" y="72"/>
                  </a:lnTo>
                  <a:lnTo>
                    <a:pt x="93" y="71"/>
                  </a:lnTo>
                  <a:lnTo>
                    <a:pt x="91" y="73"/>
                  </a:lnTo>
                  <a:lnTo>
                    <a:pt x="91" y="74"/>
                  </a:lnTo>
                  <a:lnTo>
                    <a:pt x="92" y="74"/>
                  </a:lnTo>
                  <a:lnTo>
                    <a:pt x="97" y="75"/>
                  </a:lnTo>
                  <a:lnTo>
                    <a:pt x="98" y="75"/>
                  </a:lnTo>
                  <a:lnTo>
                    <a:pt x="98" y="77"/>
                  </a:lnTo>
                  <a:lnTo>
                    <a:pt x="101" y="80"/>
                  </a:lnTo>
                  <a:lnTo>
                    <a:pt x="101" y="81"/>
                  </a:lnTo>
                  <a:lnTo>
                    <a:pt x="103" y="83"/>
                  </a:lnTo>
                  <a:lnTo>
                    <a:pt x="104" y="84"/>
                  </a:lnTo>
                  <a:lnTo>
                    <a:pt x="105" y="84"/>
                  </a:lnTo>
                  <a:lnTo>
                    <a:pt x="108" y="85"/>
                  </a:lnTo>
                  <a:lnTo>
                    <a:pt x="109" y="86"/>
                  </a:lnTo>
                  <a:lnTo>
                    <a:pt x="110" y="90"/>
                  </a:lnTo>
                  <a:lnTo>
                    <a:pt x="113" y="91"/>
                  </a:lnTo>
                  <a:lnTo>
                    <a:pt x="114" y="91"/>
                  </a:lnTo>
                  <a:lnTo>
                    <a:pt x="115" y="92"/>
                  </a:lnTo>
                  <a:lnTo>
                    <a:pt x="116" y="95"/>
                  </a:lnTo>
                  <a:lnTo>
                    <a:pt x="118" y="95"/>
                  </a:lnTo>
                  <a:lnTo>
                    <a:pt x="122" y="93"/>
                  </a:lnTo>
                  <a:lnTo>
                    <a:pt x="123" y="93"/>
                  </a:lnTo>
                  <a:lnTo>
                    <a:pt x="126" y="96"/>
                  </a:lnTo>
                  <a:lnTo>
                    <a:pt x="130" y="96"/>
                  </a:lnTo>
                  <a:lnTo>
                    <a:pt x="130" y="99"/>
                  </a:lnTo>
                  <a:lnTo>
                    <a:pt x="129" y="99"/>
                  </a:lnTo>
                  <a:lnTo>
                    <a:pt x="129" y="102"/>
                  </a:lnTo>
                  <a:lnTo>
                    <a:pt x="126" y="103"/>
                  </a:lnTo>
                  <a:lnTo>
                    <a:pt x="124" y="103"/>
                  </a:lnTo>
                  <a:lnTo>
                    <a:pt x="124" y="107"/>
                  </a:lnTo>
                  <a:lnTo>
                    <a:pt x="126" y="108"/>
                  </a:lnTo>
                  <a:lnTo>
                    <a:pt x="129" y="109"/>
                  </a:lnTo>
                  <a:lnTo>
                    <a:pt x="130" y="110"/>
                  </a:lnTo>
                  <a:lnTo>
                    <a:pt x="130" y="111"/>
                  </a:lnTo>
                  <a:lnTo>
                    <a:pt x="132" y="112"/>
                  </a:lnTo>
                  <a:lnTo>
                    <a:pt x="134" y="114"/>
                  </a:lnTo>
                  <a:lnTo>
                    <a:pt x="134" y="115"/>
                  </a:lnTo>
                  <a:lnTo>
                    <a:pt x="133" y="116"/>
                  </a:lnTo>
                  <a:lnTo>
                    <a:pt x="130" y="117"/>
                  </a:lnTo>
                  <a:lnTo>
                    <a:pt x="128" y="116"/>
                  </a:lnTo>
                  <a:lnTo>
                    <a:pt x="127" y="115"/>
                  </a:lnTo>
                  <a:lnTo>
                    <a:pt x="126" y="116"/>
                  </a:lnTo>
                  <a:lnTo>
                    <a:pt x="126" y="118"/>
                  </a:lnTo>
                  <a:lnTo>
                    <a:pt x="127" y="120"/>
                  </a:lnTo>
                  <a:lnTo>
                    <a:pt x="128" y="120"/>
                  </a:lnTo>
                  <a:lnTo>
                    <a:pt x="129" y="121"/>
                  </a:lnTo>
                  <a:lnTo>
                    <a:pt x="129" y="130"/>
                  </a:lnTo>
                  <a:lnTo>
                    <a:pt x="130" y="133"/>
                  </a:lnTo>
                  <a:lnTo>
                    <a:pt x="129" y="133"/>
                  </a:lnTo>
                  <a:lnTo>
                    <a:pt x="126" y="132"/>
                  </a:lnTo>
                  <a:lnTo>
                    <a:pt x="120" y="132"/>
                  </a:lnTo>
                  <a:lnTo>
                    <a:pt x="118" y="134"/>
                  </a:lnTo>
                  <a:lnTo>
                    <a:pt x="115" y="134"/>
                  </a:lnTo>
                  <a:lnTo>
                    <a:pt x="113" y="129"/>
                  </a:lnTo>
                  <a:lnTo>
                    <a:pt x="110" y="123"/>
                  </a:lnTo>
                  <a:lnTo>
                    <a:pt x="109" y="122"/>
                  </a:lnTo>
                  <a:lnTo>
                    <a:pt x="108" y="120"/>
                  </a:lnTo>
                  <a:lnTo>
                    <a:pt x="107" y="118"/>
                  </a:lnTo>
                  <a:lnTo>
                    <a:pt x="107" y="116"/>
                  </a:lnTo>
                  <a:lnTo>
                    <a:pt x="108" y="115"/>
                  </a:lnTo>
                  <a:lnTo>
                    <a:pt x="108" y="112"/>
                  </a:lnTo>
                  <a:lnTo>
                    <a:pt x="107" y="112"/>
                  </a:lnTo>
                  <a:lnTo>
                    <a:pt x="104" y="111"/>
                  </a:lnTo>
                  <a:lnTo>
                    <a:pt x="104" y="110"/>
                  </a:lnTo>
                  <a:lnTo>
                    <a:pt x="103" y="110"/>
                  </a:lnTo>
                  <a:lnTo>
                    <a:pt x="102" y="109"/>
                  </a:lnTo>
                  <a:lnTo>
                    <a:pt x="99" y="108"/>
                  </a:lnTo>
                  <a:lnTo>
                    <a:pt x="98" y="108"/>
                  </a:lnTo>
                  <a:lnTo>
                    <a:pt x="98" y="107"/>
                  </a:lnTo>
                  <a:lnTo>
                    <a:pt x="99" y="105"/>
                  </a:lnTo>
                  <a:lnTo>
                    <a:pt x="101" y="103"/>
                  </a:lnTo>
                  <a:lnTo>
                    <a:pt x="101" y="98"/>
                  </a:lnTo>
                  <a:lnTo>
                    <a:pt x="98" y="96"/>
                  </a:lnTo>
                  <a:lnTo>
                    <a:pt x="97" y="96"/>
                  </a:lnTo>
                  <a:lnTo>
                    <a:pt x="91" y="97"/>
                  </a:lnTo>
                  <a:lnTo>
                    <a:pt x="90" y="98"/>
                  </a:lnTo>
                  <a:lnTo>
                    <a:pt x="86" y="99"/>
                  </a:lnTo>
                  <a:lnTo>
                    <a:pt x="86" y="101"/>
                  </a:lnTo>
                  <a:lnTo>
                    <a:pt x="84" y="101"/>
                  </a:lnTo>
                  <a:lnTo>
                    <a:pt x="83" y="98"/>
                  </a:lnTo>
                  <a:lnTo>
                    <a:pt x="80" y="98"/>
                  </a:lnTo>
                  <a:lnTo>
                    <a:pt x="79" y="97"/>
                  </a:lnTo>
                  <a:lnTo>
                    <a:pt x="79" y="96"/>
                  </a:lnTo>
                  <a:lnTo>
                    <a:pt x="78" y="95"/>
                  </a:lnTo>
                  <a:lnTo>
                    <a:pt x="77" y="95"/>
                  </a:lnTo>
                  <a:lnTo>
                    <a:pt x="76" y="96"/>
                  </a:lnTo>
                  <a:lnTo>
                    <a:pt x="73" y="96"/>
                  </a:lnTo>
                  <a:lnTo>
                    <a:pt x="73" y="91"/>
                  </a:lnTo>
                  <a:lnTo>
                    <a:pt x="72" y="90"/>
                  </a:lnTo>
                  <a:lnTo>
                    <a:pt x="70" y="86"/>
                  </a:lnTo>
                  <a:lnTo>
                    <a:pt x="68" y="85"/>
                  </a:lnTo>
                  <a:lnTo>
                    <a:pt x="66" y="85"/>
                  </a:lnTo>
                  <a:lnTo>
                    <a:pt x="65" y="86"/>
                  </a:lnTo>
                  <a:lnTo>
                    <a:pt x="65" y="87"/>
                  </a:lnTo>
                  <a:lnTo>
                    <a:pt x="60" y="87"/>
                  </a:lnTo>
                  <a:lnTo>
                    <a:pt x="58" y="89"/>
                  </a:lnTo>
                  <a:lnTo>
                    <a:pt x="56" y="89"/>
                  </a:lnTo>
                  <a:lnTo>
                    <a:pt x="56" y="87"/>
                  </a:lnTo>
                  <a:lnTo>
                    <a:pt x="54" y="84"/>
                  </a:lnTo>
                  <a:lnTo>
                    <a:pt x="53" y="84"/>
                  </a:lnTo>
                  <a:lnTo>
                    <a:pt x="51" y="81"/>
                  </a:lnTo>
                  <a:lnTo>
                    <a:pt x="49" y="81"/>
                  </a:lnTo>
                  <a:lnTo>
                    <a:pt x="49" y="80"/>
                  </a:lnTo>
                  <a:lnTo>
                    <a:pt x="48" y="80"/>
                  </a:lnTo>
                  <a:lnTo>
                    <a:pt x="48" y="78"/>
                  </a:lnTo>
                  <a:lnTo>
                    <a:pt x="47" y="77"/>
                  </a:lnTo>
                  <a:lnTo>
                    <a:pt x="47" y="75"/>
                  </a:lnTo>
                  <a:lnTo>
                    <a:pt x="43" y="74"/>
                  </a:lnTo>
                  <a:lnTo>
                    <a:pt x="41" y="72"/>
                  </a:lnTo>
                  <a:lnTo>
                    <a:pt x="36" y="69"/>
                  </a:lnTo>
                  <a:lnTo>
                    <a:pt x="35" y="69"/>
                  </a:lnTo>
                  <a:lnTo>
                    <a:pt x="33" y="71"/>
                  </a:lnTo>
                  <a:lnTo>
                    <a:pt x="28" y="71"/>
                  </a:lnTo>
                  <a:lnTo>
                    <a:pt x="27" y="72"/>
                  </a:lnTo>
                  <a:lnTo>
                    <a:pt x="25" y="72"/>
                  </a:lnTo>
                  <a:lnTo>
                    <a:pt x="21" y="71"/>
                  </a:lnTo>
                  <a:lnTo>
                    <a:pt x="16" y="68"/>
                  </a:lnTo>
                  <a:lnTo>
                    <a:pt x="12" y="67"/>
                  </a:lnTo>
                  <a:lnTo>
                    <a:pt x="10" y="66"/>
                  </a:lnTo>
                  <a:lnTo>
                    <a:pt x="10" y="65"/>
                  </a:lnTo>
                  <a:lnTo>
                    <a:pt x="12" y="64"/>
                  </a:lnTo>
                  <a:lnTo>
                    <a:pt x="12" y="62"/>
                  </a:lnTo>
                  <a:lnTo>
                    <a:pt x="10" y="60"/>
                  </a:lnTo>
                  <a:lnTo>
                    <a:pt x="11" y="59"/>
                  </a:lnTo>
                  <a:lnTo>
                    <a:pt x="11" y="58"/>
                  </a:lnTo>
                  <a:lnTo>
                    <a:pt x="8" y="54"/>
                  </a:lnTo>
                  <a:lnTo>
                    <a:pt x="8" y="52"/>
                  </a:lnTo>
                  <a:lnTo>
                    <a:pt x="9" y="49"/>
                  </a:lnTo>
                  <a:lnTo>
                    <a:pt x="6" y="48"/>
                  </a:lnTo>
                  <a:lnTo>
                    <a:pt x="6" y="47"/>
                  </a:lnTo>
                  <a:lnTo>
                    <a:pt x="5" y="46"/>
                  </a:lnTo>
                  <a:lnTo>
                    <a:pt x="8" y="44"/>
                  </a:lnTo>
                  <a:lnTo>
                    <a:pt x="8" y="43"/>
                  </a:lnTo>
                  <a:lnTo>
                    <a:pt x="10" y="43"/>
                  </a:lnTo>
                  <a:lnTo>
                    <a:pt x="10" y="41"/>
                  </a:lnTo>
                  <a:lnTo>
                    <a:pt x="12" y="38"/>
                  </a:lnTo>
                  <a:lnTo>
                    <a:pt x="11" y="37"/>
                  </a:lnTo>
                  <a:lnTo>
                    <a:pt x="12" y="37"/>
                  </a:lnTo>
                  <a:lnTo>
                    <a:pt x="12" y="29"/>
                  </a:lnTo>
                  <a:lnTo>
                    <a:pt x="10" y="26"/>
                  </a:lnTo>
                  <a:lnTo>
                    <a:pt x="10" y="22"/>
                  </a:lnTo>
                  <a:lnTo>
                    <a:pt x="6" y="18"/>
                  </a:lnTo>
                  <a:lnTo>
                    <a:pt x="4" y="17"/>
                  </a:lnTo>
                  <a:lnTo>
                    <a:pt x="3" y="17"/>
                  </a:lnTo>
                  <a:lnTo>
                    <a:pt x="0" y="15"/>
                  </a:lnTo>
                  <a:lnTo>
                    <a:pt x="0" y="11"/>
                  </a:lnTo>
                  <a:lnTo>
                    <a:pt x="2" y="11"/>
                  </a:lnTo>
                  <a:lnTo>
                    <a:pt x="4" y="10"/>
                  </a:lnTo>
                  <a:lnTo>
                    <a:pt x="6" y="10"/>
                  </a:lnTo>
                  <a:lnTo>
                    <a:pt x="12" y="11"/>
                  </a:lnTo>
                  <a:lnTo>
                    <a:pt x="15" y="11"/>
                  </a:lnTo>
                  <a:lnTo>
                    <a:pt x="17" y="9"/>
                  </a:lnTo>
                  <a:lnTo>
                    <a:pt x="22" y="9"/>
                  </a:lnTo>
                  <a:lnTo>
                    <a:pt x="23" y="7"/>
                  </a:lnTo>
                  <a:lnTo>
                    <a:pt x="25" y="7"/>
                  </a:lnTo>
                  <a:lnTo>
                    <a:pt x="27" y="6"/>
                  </a:lnTo>
                  <a:lnTo>
                    <a:pt x="29" y="7"/>
                  </a:lnTo>
                  <a:lnTo>
                    <a:pt x="30" y="6"/>
                  </a:lnTo>
                  <a:lnTo>
                    <a:pt x="31" y="6"/>
                  </a:lnTo>
                  <a:lnTo>
                    <a:pt x="31" y="4"/>
                  </a:lnTo>
                  <a:lnTo>
                    <a:pt x="33" y="4"/>
                  </a:lnTo>
                  <a:lnTo>
                    <a:pt x="35" y="6"/>
                  </a:lnTo>
                  <a:lnTo>
                    <a:pt x="37" y="6"/>
                  </a:lnTo>
                  <a:lnTo>
                    <a:pt x="39" y="5"/>
                  </a:lnTo>
                  <a:lnTo>
                    <a:pt x="40" y="5"/>
                  </a:lnTo>
                  <a:lnTo>
                    <a:pt x="42" y="6"/>
                  </a:lnTo>
                  <a:lnTo>
                    <a:pt x="42" y="7"/>
                  </a:lnTo>
                  <a:lnTo>
                    <a:pt x="43" y="7"/>
                  </a:lnTo>
                  <a:lnTo>
                    <a:pt x="45" y="6"/>
                  </a:lnTo>
                  <a:lnTo>
                    <a:pt x="46" y="6"/>
                  </a:lnTo>
                  <a:lnTo>
                    <a:pt x="46" y="5"/>
                  </a:lnTo>
                  <a:lnTo>
                    <a:pt x="47" y="6"/>
                  </a:lnTo>
                  <a:lnTo>
                    <a:pt x="47" y="7"/>
                  </a:lnTo>
                  <a:lnTo>
                    <a:pt x="48" y="7"/>
                  </a:lnTo>
                  <a:lnTo>
                    <a:pt x="48" y="6"/>
                  </a:lnTo>
                  <a:lnTo>
                    <a:pt x="49" y="6"/>
                  </a:lnTo>
                  <a:lnTo>
                    <a:pt x="49" y="5"/>
                  </a:lnTo>
                  <a:lnTo>
                    <a:pt x="60" y="5"/>
                  </a:lnTo>
                  <a:lnTo>
                    <a:pt x="60" y="4"/>
                  </a:lnTo>
                  <a:lnTo>
                    <a:pt x="59" y="4"/>
                  </a:lnTo>
                  <a:lnTo>
                    <a:pt x="58" y="3"/>
                  </a:lnTo>
                  <a:lnTo>
                    <a:pt x="59" y="1"/>
                  </a:lnTo>
                  <a:lnTo>
                    <a:pt x="62" y="3"/>
                  </a:lnTo>
                  <a:lnTo>
                    <a:pt x="65" y="3"/>
                  </a:lnTo>
                  <a:lnTo>
                    <a:pt x="65" y="1"/>
                  </a:lnTo>
                  <a:lnTo>
                    <a:pt x="66" y="1"/>
                  </a:lnTo>
                  <a:lnTo>
                    <a:pt x="67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58">
              <a:extLst>
                <a:ext uri="{FF2B5EF4-FFF2-40B4-BE49-F238E27FC236}">
                  <a16:creationId xmlns:a16="http://schemas.microsoft.com/office/drawing/2014/main" id="{56CC8CF6-C918-431C-8017-7AF421F1D3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0263" y="5168900"/>
              <a:ext cx="23813" cy="20638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6" y="0"/>
                </a:cxn>
                <a:cxn ang="0">
                  <a:pos x="8" y="1"/>
                </a:cxn>
                <a:cxn ang="0">
                  <a:pos x="13" y="2"/>
                </a:cxn>
                <a:cxn ang="0">
                  <a:pos x="13" y="3"/>
                </a:cxn>
                <a:cxn ang="0">
                  <a:pos x="15" y="3"/>
                </a:cxn>
                <a:cxn ang="0">
                  <a:pos x="15" y="5"/>
                </a:cxn>
                <a:cxn ang="0">
                  <a:pos x="14" y="5"/>
                </a:cxn>
                <a:cxn ang="0">
                  <a:pos x="13" y="6"/>
                </a:cxn>
                <a:cxn ang="0">
                  <a:pos x="13" y="8"/>
                </a:cxn>
                <a:cxn ang="0">
                  <a:pos x="12" y="9"/>
                </a:cxn>
                <a:cxn ang="0">
                  <a:pos x="11" y="8"/>
                </a:cxn>
                <a:cxn ang="0">
                  <a:pos x="10" y="11"/>
                </a:cxn>
                <a:cxn ang="0">
                  <a:pos x="8" y="11"/>
                </a:cxn>
                <a:cxn ang="0">
                  <a:pos x="6" y="12"/>
                </a:cxn>
                <a:cxn ang="0">
                  <a:pos x="5" y="13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1" y="8"/>
                </a:cxn>
                <a:cxn ang="0">
                  <a:pos x="2" y="8"/>
                </a:cxn>
                <a:cxn ang="0">
                  <a:pos x="2" y="7"/>
                </a:cxn>
                <a:cxn ang="0">
                  <a:pos x="0" y="7"/>
                </a:cxn>
                <a:cxn ang="0">
                  <a:pos x="0" y="6"/>
                </a:cxn>
                <a:cxn ang="0">
                  <a:pos x="1" y="5"/>
                </a:cxn>
                <a:cxn ang="0">
                  <a:pos x="1" y="3"/>
                </a:cxn>
                <a:cxn ang="0">
                  <a:pos x="2" y="2"/>
                </a:cxn>
                <a:cxn ang="0">
                  <a:pos x="2" y="0"/>
                </a:cxn>
              </a:cxnLst>
              <a:rect l="0" t="0" r="r" b="b"/>
              <a:pathLst>
                <a:path w="15" h="13">
                  <a:moveTo>
                    <a:pt x="2" y="0"/>
                  </a:moveTo>
                  <a:lnTo>
                    <a:pt x="6" y="0"/>
                  </a:lnTo>
                  <a:lnTo>
                    <a:pt x="8" y="1"/>
                  </a:lnTo>
                  <a:lnTo>
                    <a:pt x="13" y="2"/>
                  </a:lnTo>
                  <a:lnTo>
                    <a:pt x="13" y="3"/>
                  </a:lnTo>
                  <a:lnTo>
                    <a:pt x="15" y="3"/>
                  </a:lnTo>
                  <a:lnTo>
                    <a:pt x="15" y="5"/>
                  </a:lnTo>
                  <a:lnTo>
                    <a:pt x="14" y="5"/>
                  </a:lnTo>
                  <a:lnTo>
                    <a:pt x="13" y="6"/>
                  </a:lnTo>
                  <a:lnTo>
                    <a:pt x="13" y="8"/>
                  </a:lnTo>
                  <a:lnTo>
                    <a:pt x="12" y="9"/>
                  </a:lnTo>
                  <a:lnTo>
                    <a:pt x="11" y="8"/>
                  </a:lnTo>
                  <a:lnTo>
                    <a:pt x="10" y="11"/>
                  </a:lnTo>
                  <a:lnTo>
                    <a:pt x="8" y="11"/>
                  </a:lnTo>
                  <a:lnTo>
                    <a:pt x="6" y="12"/>
                  </a:lnTo>
                  <a:lnTo>
                    <a:pt x="5" y="13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1" y="8"/>
                  </a:lnTo>
                  <a:lnTo>
                    <a:pt x="2" y="8"/>
                  </a:lnTo>
                  <a:lnTo>
                    <a:pt x="2" y="7"/>
                  </a:lnTo>
                  <a:lnTo>
                    <a:pt x="0" y="7"/>
                  </a:lnTo>
                  <a:lnTo>
                    <a:pt x="0" y="6"/>
                  </a:lnTo>
                  <a:lnTo>
                    <a:pt x="1" y="5"/>
                  </a:lnTo>
                  <a:lnTo>
                    <a:pt x="1" y="3"/>
                  </a:lnTo>
                  <a:lnTo>
                    <a:pt x="2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59">
              <a:extLst>
                <a:ext uri="{FF2B5EF4-FFF2-40B4-BE49-F238E27FC236}">
                  <a16:creationId xmlns:a16="http://schemas.microsoft.com/office/drawing/2014/main" id="{A98B2E7C-6DF8-4D15-8849-674538C188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37238" y="5168900"/>
              <a:ext cx="117475" cy="266700"/>
            </a:xfrm>
            <a:custGeom>
              <a:avLst/>
              <a:gdLst/>
              <a:ahLst/>
              <a:cxnLst>
                <a:cxn ang="0">
                  <a:pos x="6" y="97"/>
                </a:cxn>
                <a:cxn ang="0">
                  <a:pos x="17" y="0"/>
                </a:cxn>
                <a:cxn ang="0">
                  <a:pos x="24" y="11"/>
                </a:cxn>
                <a:cxn ang="0">
                  <a:pos x="33" y="5"/>
                </a:cxn>
                <a:cxn ang="0">
                  <a:pos x="39" y="12"/>
                </a:cxn>
                <a:cxn ang="0">
                  <a:pos x="40" y="18"/>
                </a:cxn>
                <a:cxn ang="0">
                  <a:pos x="50" y="24"/>
                </a:cxn>
                <a:cxn ang="0">
                  <a:pos x="55" y="37"/>
                </a:cxn>
                <a:cxn ang="0">
                  <a:pos x="54" y="43"/>
                </a:cxn>
                <a:cxn ang="0">
                  <a:pos x="52" y="56"/>
                </a:cxn>
                <a:cxn ang="0">
                  <a:pos x="49" y="65"/>
                </a:cxn>
                <a:cxn ang="0">
                  <a:pos x="53" y="69"/>
                </a:cxn>
                <a:cxn ang="0">
                  <a:pos x="53" y="74"/>
                </a:cxn>
                <a:cxn ang="0">
                  <a:pos x="53" y="81"/>
                </a:cxn>
                <a:cxn ang="0">
                  <a:pos x="58" y="88"/>
                </a:cxn>
                <a:cxn ang="0">
                  <a:pos x="61" y="99"/>
                </a:cxn>
                <a:cxn ang="0">
                  <a:pos x="72" y="100"/>
                </a:cxn>
                <a:cxn ang="0">
                  <a:pos x="74" y="110"/>
                </a:cxn>
                <a:cxn ang="0">
                  <a:pos x="71" y="120"/>
                </a:cxn>
                <a:cxn ang="0">
                  <a:pos x="62" y="130"/>
                </a:cxn>
                <a:cxn ang="0">
                  <a:pos x="59" y="138"/>
                </a:cxn>
                <a:cxn ang="0">
                  <a:pos x="50" y="145"/>
                </a:cxn>
                <a:cxn ang="0">
                  <a:pos x="45" y="153"/>
                </a:cxn>
                <a:cxn ang="0">
                  <a:pos x="45" y="160"/>
                </a:cxn>
                <a:cxn ang="0">
                  <a:pos x="42" y="161"/>
                </a:cxn>
                <a:cxn ang="0">
                  <a:pos x="41" y="167"/>
                </a:cxn>
                <a:cxn ang="0">
                  <a:pos x="33" y="166"/>
                </a:cxn>
                <a:cxn ang="0">
                  <a:pos x="30" y="162"/>
                </a:cxn>
                <a:cxn ang="0">
                  <a:pos x="29" y="155"/>
                </a:cxn>
                <a:cxn ang="0">
                  <a:pos x="28" y="151"/>
                </a:cxn>
                <a:cxn ang="0">
                  <a:pos x="21" y="144"/>
                </a:cxn>
                <a:cxn ang="0">
                  <a:pos x="14" y="140"/>
                </a:cxn>
                <a:cxn ang="0">
                  <a:pos x="4" y="131"/>
                </a:cxn>
                <a:cxn ang="0">
                  <a:pos x="0" y="125"/>
                </a:cxn>
                <a:cxn ang="0">
                  <a:pos x="5" y="129"/>
                </a:cxn>
                <a:cxn ang="0">
                  <a:pos x="8" y="123"/>
                </a:cxn>
                <a:cxn ang="0">
                  <a:pos x="8" y="120"/>
                </a:cxn>
                <a:cxn ang="0">
                  <a:pos x="4" y="117"/>
                </a:cxn>
                <a:cxn ang="0">
                  <a:pos x="4" y="110"/>
                </a:cxn>
                <a:cxn ang="0">
                  <a:pos x="10" y="98"/>
                </a:cxn>
                <a:cxn ang="0">
                  <a:pos x="9" y="94"/>
                </a:cxn>
                <a:cxn ang="0">
                  <a:pos x="9" y="82"/>
                </a:cxn>
                <a:cxn ang="0">
                  <a:pos x="6" y="75"/>
                </a:cxn>
                <a:cxn ang="0">
                  <a:pos x="10" y="65"/>
                </a:cxn>
                <a:cxn ang="0">
                  <a:pos x="12" y="61"/>
                </a:cxn>
                <a:cxn ang="0">
                  <a:pos x="12" y="56"/>
                </a:cxn>
                <a:cxn ang="0">
                  <a:pos x="14" y="48"/>
                </a:cxn>
                <a:cxn ang="0">
                  <a:pos x="4" y="43"/>
                </a:cxn>
                <a:cxn ang="0">
                  <a:pos x="4" y="39"/>
                </a:cxn>
                <a:cxn ang="0">
                  <a:pos x="2" y="28"/>
                </a:cxn>
                <a:cxn ang="0">
                  <a:pos x="5" y="16"/>
                </a:cxn>
                <a:cxn ang="0">
                  <a:pos x="11" y="9"/>
                </a:cxn>
                <a:cxn ang="0">
                  <a:pos x="17" y="0"/>
                </a:cxn>
              </a:cxnLst>
              <a:rect l="0" t="0" r="r" b="b"/>
              <a:pathLst>
                <a:path w="74" h="168">
                  <a:moveTo>
                    <a:pt x="6" y="97"/>
                  </a:moveTo>
                  <a:lnTo>
                    <a:pt x="6" y="100"/>
                  </a:lnTo>
                  <a:lnTo>
                    <a:pt x="5" y="100"/>
                  </a:lnTo>
                  <a:lnTo>
                    <a:pt x="5" y="98"/>
                  </a:lnTo>
                  <a:lnTo>
                    <a:pt x="6" y="97"/>
                  </a:lnTo>
                  <a:close/>
                  <a:moveTo>
                    <a:pt x="9" y="95"/>
                  </a:moveTo>
                  <a:lnTo>
                    <a:pt x="8" y="98"/>
                  </a:lnTo>
                  <a:lnTo>
                    <a:pt x="8" y="97"/>
                  </a:lnTo>
                  <a:lnTo>
                    <a:pt x="9" y="95"/>
                  </a:lnTo>
                  <a:close/>
                  <a:moveTo>
                    <a:pt x="17" y="0"/>
                  </a:moveTo>
                  <a:lnTo>
                    <a:pt x="19" y="0"/>
                  </a:lnTo>
                  <a:lnTo>
                    <a:pt x="19" y="7"/>
                  </a:lnTo>
                  <a:lnTo>
                    <a:pt x="22" y="9"/>
                  </a:lnTo>
                  <a:lnTo>
                    <a:pt x="22" y="11"/>
                  </a:lnTo>
                  <a:lnTo>
                    <a:pt x="24" y="11"/>
                  </a:lnTo>
                  <a:lnTo>
                    <a:pt x="25" y="9"/>
                  </a:lnTo>
                  <a:lnTo>
                    <a:pt x="25" y="8"/>
                  </a:lnTo>
                  <a:lnTo>
                    <a:pt x="30" y="8"/>
                  </a:lnTo>
                  <a:lnTo>
                    <a:pt x="31" y="6"/>
                  </a:lnTo>
                  <a:lnTo>
                    <a:pt x="33" y="5"/>
                  </a:lnTo>
                  <a:lnTo>
                    <a:pt x="34" y="6"/>
                  </a:lnTo>
                  <a:lnTo>
                    <a:pt x="34" y="7"/>
                  </a:lnTo>
                  <a:lnTo>
                    <a:pt x="36" y="8"/>
                  </a:lnTo>
                  <a:lnTo>
                    <a:pt x="37" y="8"/>
                  </a:lnTo>
                  <a:lnTo>
                    <a:pt x="39" y="12"/>
                  </a:lnTo>
                  <a:lnTo>
                    <a:pt x="40" y="13"/>
                  </a:lnTo>
                  <a:lnTo>
                    <a:pt x="39" y="14"/>
                  </a:lnTo>
                  <a:lnTo>
                    <a:pt x="39" y="15"/>
                  </a:lnTo>
                  <a:lnTo>
                    <a:pt x="40" y="15"/>
                  </a:lnTo>
                  <a:lnTo>
                    <a:pt x="40" y="18"/>
                  </a:lnTo>
                  <a:lnTo>
                    <a:pt x="41" y="18"/>
                  </a:lnTo>
                  <a:lnTo>
                    <a:pt x="41" y="19"/>
                  </a:lnTo>
                  <a:lnTo>
                    <a:pt x="45" y="19"/>
                  </a:lnTo>
                  <a:lnTo>
                    <a:pt x="50" y="22"/>
                  </a:lnTo>
                  <a:lnTo>
                    <a:pt x="50" y="24"/>
                  </a:lnTo>
                  <a:lnTo>
                    <a:pt x="52" y="24"/>
                  </a:lnTo>
                  <a:lnTo>
                    <a:pt x="52" y="25"/>
                  </a:lnTo>
                  <a:lnTo>
                    <a:pt x="54" y="28"/>
                  </a:lnTo>
                  <a:lnTo>
                    <a:pt x="54" y="33"/>
                  </a:lnTo>
                  <a:lnTo>
                    <a:pt x="55" y="37"/>
                  </a:lnTo>
                  <a:lnTo>
                    <a:pt x="55" y="38"/>
                  </a:lnTo>
                  <a:lnTo>
                    <a:pt x="56" y="39"/>
                  </a:lnTo>
                  <a:lnTo>
                    <a:pt x="55" y="40"/>
                  </a:lnTo>
                  <a:lnTo>
                    <a:pt x="55" y="42"/>
                  </a:lnTo>
                  <a:lnTo>
                    <a:pt x="54" y="43"/>
                  </a:lnTo>
                  <a:lnTo>
                    <a:pt x="55" y="44"/>
                  </a:lnTo>
                  <a:lnTo>
                    <a:pt x="54" y="45"/>
                  </a:lnTo>
                  <a:lnTo>
                    <a:pt x="54" y="49"/>
                  </a:lnTo>
                  <a:lnTo>
                    <a:pt x="52" y="51"/>
                  </a:lnTo>
                  <a:lnTo>
                    <a:pt x="52" y="56"/>
                  </a:lnTo>
                  <a:lnTo>
                    <a:pt x="53" y="57"/>
                  </a:lnTo>
                  <a:lnTo>
                    <a:pt x="53" y="61"/>
                  </a:lnTo>
                  <a:lnTo>
                    <a:pt x="52" y="62"/>
                  </a:lnTo>
                  <a:lnTo>
                    <a:pt x="49" y="62"/>
                  </a:lnTo>
                  <a:lnTo>
                    <a:pt x="49" y="65"/>
                  </a:lnTo>
                  <a:lnTo>
                    <a:pt x="50" y="65"/>
                  </a:lnTo>
                  <a:lnTo>
                    <a:pt x="50" y="67"/>
                  </a:lnTo>
                  <a:lnTo>
                    <a:pt x="52" y="67"/>
                  </a:lnTo>
                  <a:lnTo>
                    <a:pt x="52" y="69"/>
                  </a:lnTo>
                  <a:lnTo>
                    <a:pt x="53" y="69"/>
                  </a:lnTo>
                  <a:lnTo>
                    <a:pt x="53" y="70"/>
                  </a:lnTo>
                  <a:lnTo>
                    <a:pt x="54" y="70"/>
                  </a:lnTo>
                  <a:lnTo>
                    <a:pt x="54" y="71"/>
                  </a:lnTo>
                  <a:lnTo>
                    <a:pt x="53" y="73"/>
                  </a:lnTo>
                  <a:lnTo>
                    <a:pt x="53" y="74"/>
                  </a:lnTo>
                  <a:lnTo>
                    <a:pt x="52" y="74"/>
                  </a:lnTo>
                  <a:lnTo>
                    <a:pt x="50" y="75"/>
                  </a:lnTo>
                  <a:lnTo>
                    <a:pt x="52" y="76"/>
                  </a:lnTo>
                  <a:lnTo>
                    <a:pt x="52" y="80"/>
                  </a:lnTo>
                  <a:lnTo>
                    <a:pt x="53" y="81"/>
                  </a:lnTo>
                  <a:lnTo>
                    <a:pt x="54" y="83"/>
                  </a:lnTo>
                  <a:lnTo>
                    <a:pt x="54" y="85"/>
                  </a:lnTo>
                  <a:lnTo>
                    <a:pt x="55" y="86"/>
                  </a:lnTo>
                  <a:lnTo>
                    <a:pt x="55" y="88"/>
                  </a:lnTo>
                  <a:lnTo>
                    <a:pt x="58" y="88"/>
                  </a:lnTo>
                  <a:lnTo>
                    <a:pt x="59" y="89"/>
                  </a:lnTo>
                  <a:lnTo>
                    <a:pt x="60" y="93"/>
                  </a:lnTo>
                  <a:lnTo>
                    <a:pt x="60" y="97"/>
                  </a:lnTo>
                  <a:lnTo>
                    <a:pt x="61" y="98"/>
                  </a:lnTo>
                  <a:lnTo>
                    <a:pt x="61" y="99"/>
                  </a:lnTo>
                  <a:lnTo>
                    <a:pt x="64" y="99"/>
                  </a:lnTo>
                  <a:lnTo>
                    <a:pt x="65" y="98"/>
                  </a:lnTo>
                  <a:lnTo>
                    <a:pt x="71" y="98"/>
                  </a:lnTo>
                  <a:lnTo>
                    <a:pt x="71" y="99"/>
                  </a:lnTo>
                  <a:lnTo>
                    <a:pt x="72" y="100"/>
                  </a:lnTo>
                  <a:lnTo>
                    <a:pt x="72" y="104"/>
                  </a:lnTo>
                  <a:lnTo>
                    <a:pt x="71" y="105"/>
                  </a:lnTo>
                  <a:lnTo>
                    <a:pt x="71" y="107"/>
                  </a:lnTo>
                  <a:lnTo>
                    <a:pt x="72" y="107"/>
                  </a:lnTo>
                  <a:lnTo>
                    <a:pt x="74" y="110"/>
                  </a:lnTo>
                  <a:lnTo>
                    <a:pt x="74" y="118"/>
                  </a:lnTo>
                  <a:lnTo>
                    <a:pt x="73" y="118"/>
                  </a:lnTo>
                  <a:lnTo>
                    <a:pt x="73" y="119"/>
                  </a:lnTo>
                  <a:lnTo>
                    <a:pt x="72" y="119"/>
                  </a:lnTo>
                  <a:lnTo>
                    <a:pt x="71" y="120"/>
                  </a:lnTo>
                  <a:lnTo>
                    <a:pt x="71" y="123"/>
                  </a:lnTo>
                  <a:lnTo>
                    <a:pt x="66" y="123"/>
                  </a:lnTo>
                  <a:lnTo>
                    <a:pt x="64" y="125"/>
                  </a:lnTo>
                  <a:lnTo>
                    <a:pt x="64" y="129"/>
                  </a:lnTo>
                  <a:lnTo>
                    <a:pt x="62" y="130"/>
                  </a:lnTo>
                  <a:lnTo>
                    <a:pt x="62" y="131"/>
                  </a:lnTo>
                  <a:lnTo>
                    <a:pt x="61" y="132"/>
                  </a:lnTo>
                  <a:lnTo>
                    <a:pt x="60" y="132"/>
                  </a:lnTo>
                  <a:lnTo>
                    <a:pt x="60" y="138"/>
                  </a:lnTo>
                  <a:lnTo>
                    <a:pt x="59" y="138"/>
                  </a:lnTo>
                  <a:lnTo>
                    <a:pt x="59" y="143"/>
                  </a:lnTo>
                  <a:lnTo>
                    <a:pt x="58" y="143"/>
                  </a:lnTo>
                  <a:lnTo>
                    <a:pt x="56" y="144"/>
                  </a:lnTo>
                  <a:lnTo>
                    <a:pt x="52" y="144"/>
                  </a:lnTo>
                  <a:lnTo>
                    <a:pt x="50" y="145"/>
                  </a:lnTo>
                  <a:lnTo>
                    <a:pt x="49" y="144"/>
                  </a:lnTo>
                  <a:lnTo>
                    <a:pt x="47" y="147"/>
                  </a:lnTo>
                  <a:lnTo>
                    <a:pt x="47" y="149"/>
                  </a:lnTo>
                  <a:lnTo>
                    <a:pt x="43" y="149"/>
                  </a:lnTo>
                  <a:lnTo>
                    <a:pt x="45" y="153"/>
                  </a:lnTo>
                  <a:lnTo>
                    <a:pt x="46" y="154"/>
                  </a:lnTo>
                  <a:lnTo>
                    <a:pt x="47" y="157"/>
                  </a:lnTo>
                  <a:lnTo>
                    <a:pt x="48" y="159"/>
                  </a:lnTo>
                  <a:lnTo>
                    <a:pt x="47" y="160"/>
                  </a:lnTo>
                  <a:lnTo>
                    <a:pt x="45" y="160"/>
                  </a:lnTo>
                  <a:lnTo>
                    <a:pt x="43" y="159"/>
                  </a:lnTo>
                  <a:lnTo>
                    <a:pt x="42" y="159"/>
                  </a:lnTo>
                  <a:lnTo>
                    <a:pt x="42" y="160"/>
                  </a:lnTo>
                  <a:lnTo>
                    <a:pt x="43" y="161"/>
                  </a:lnTo>
                  <a:lnTo>
                    <a:pt x="42" y="161"/>
                  </a:lnTo>
                  <a:lnTo>
                    <a:pt x="42" y="162"/>
                  </a:lnTo>
                  <a:lnTo>
                    <a:pt x="43" y="162"/>
                  </a:lnTo>
                  <a:lnTo>
                    <a:pt x="43" y="163"/>
                  </a:lnTo>
                  <a:lnTo>
                    <a:pt x="41" y="166"/>
                  </a:lnTo>
                  <a:lnTo>
                    <a:pt x="41" y="167"/>
                  </a:lnTo>
                  <a:lnTo>
                    <a:pt x="40" y="167"/>
                  </a:lnTo>
                  <a:lnTo>
                    <a:pt x="40" y="168"/>
                  </a:lnTo>
                  <a:lnTo>
                    <a:pt x="37" y="168"/>
                  </a:lnTo>
                  <a:lnTo>
                    <a:pt x="35" y="166"/>
                  </a:lnTo>
                  <a:lnTo>
                    <a:pt x="33" y="166"/>
                  </a:lnTo>
                  <a:lnTo>
                    <a:pt x="31" y="165"/>
                  </a:lnTo>
                  <a:lnTo>
                    <a:pt x="30" y="166"/>
                  </a:lnTo>
                  <a:lnTo>
                    <a:pt x="30" y="163"/>
                  </a:lnTo>
                  <a:lnTo>
                    <a:pt x="31" y="162"/>
                  </a:lnTo>
                  <a:lnTo>
                    <a:pt x="30" y="162"/>
                  </a:lnTo>
                  <a:lnTo>
                    <a:pt x="30" y="160"/>
                  </a:lnTo>
                  <a:lnTo>
                    <a:pt x="31" y="157"/>
                  </a:lnTo>
                  <a:lnTo>
                    <a:pt x="31" y="156"/>
                  </a:lnTo>
                  <a:lnTo>
                    <a:pt x="30" y="155"/>
                  </a:lnTo>
                  <a:lnTo>
                    <a:pt x="29" y="155"/>
                  </a:lnTo>
                  <a:lnTo>
                    <a:pt x="29" y="154"/>
                  </a:lnTo>
                  <a:lnTo>
                    <a:pt x="27" y="154"/>
                  </a:lnTo>
                  <a:lnTo>
                    <a:pt x="27" y="153"/>
                  </a:lnTo>
                  <a:lnTo>
                    <a:pt x="28" y="153"/>
                  </a:lnTo>
                  <a:lnTo>
                    <a:pt x="28" y="151"/>
                  </a:lnTo>
                  <a:lnTo>
                    <a:pt x="25" y="147"/>
                  </a:lnTo>
                  <a:lnTo>
                    <a:pt x="25" y="145"/>
                  </a:lnTo>
                  <a:lnTo>
                    <a:pt x="22" y="145"/>
                  </a:lnTo>
                  <a:lnTo>
                    <a:pt x="23" y="144"/>
                  </a:lnTo>
                  <a:lnTo>
                    <a:pt x="21" y="144"/>
                  </a:lnTo>
                  <a:lnTo>
                    <a:pt x="21" y="143"/>
                  </a:lnTo>
                  <a:lnTo>
                    <a:pt x="19" y="143"/>
                  </a:lnTo>
                  <a:lnTo>
                    <a:pt x="19" y="142"/>
                  </a:lnTo>
                  <a:lnTo>
                    <a:pt x="18" y="142"/>
                  </a:lnTo>
                  <a:lnTo>
                    <a:pt x="14" y="140"/>
                  </a:lnTo>
                  <a:lnTo>
                    <a:pt x="12" y="138"/>
                  </a:lnTo>
                  <a:lnTo>
                    <a:pt x="10" y="137"/>
                  </a:lnTo>
                  <a:lnTo>
                    <a:pt x="9" y="137"/>
                  </a:lnTo>
                  <a:lnTo>
                    <a:pt x="5" y="132"/>
                  </a:lnTo>
                  <a:lnTo>
                    <a:pt x="4" y="131"/>
                  </a:lnTo>
                  <a:lnTo>
                    <a:pt x="3" y="129"/>
                  </a:lnTo>
                  <a:lnTo>
                    <a:pt x="3" y="128"/>
                  </a:lnTo>
                  <a:lnTo>
                    <a:pt x="2" y="126"/>
                  </a:lnTo>
                  <a:lnTo>
                    <a:pt x="2" y="125"/>
                  </a:lnTo>
                  <a:lnTo>
                    <a:pt x="0" y="125"/>
                  </a:lnTo>
                  <a:lnTo>
                    <a:pt x="2" y="124"/>
                  </a:lnTo>
                  <a:lnTo>
                    <a:pt x="3" y="124"/>
                  </a:lnTo>
                  <a:lnTo>
                    <a:pt x="3" y="125"/>
                  </a:lnTo>
                  <a:lnTo>
                    <a:pt x="5" y="126"/>
                  </a:lnTo>
                  <a:lnTo>
                    <a:pt x="5" y="129"/>
                  </a:lnTo>
                  <a:lnTo>
                    <a:pt x="6" y="129"/>
                  </a:lnTo>
                  <a:lnTo>
                    <a:pt x="6" y="130"/>
                  </a:lnTo>
                  <a:lnTo>
                    <a:pt x="9" y="130"/>
                  </a:lnTo>
                  <a:lnTo>
                    <a:pt x="9" y="123"/>
                  </a:lnTo>
                  <a:lnTo>
                    <a:pt x="8" y="123"/>
                  </a:lnTo>
                  <a:lnTo>
                    <a:pt x="6" y="122"/>
                  </a:lnTo>
                  <a:lnTo>
                    <a:pt x="5" y="119"/>
                  </a:lnTo>
                  <a:lnTo>
                    <a:pt x="6" y="119"/>
                  </a:lnTo>
                  <a:lnTo>
                    <a:pt x="6" y="120"/>
                  </a:lnTo>
                  <a:lnTo>
                    <a:pt x="8" y="120"/>
                  </a:lnTo>
                  <a:lnTo>
                    <a:pt x="8" y="117"/>
                  </a:lnTo>
                  <a:lnTo>
                    <a:pt x="6" y="116"/>
                  </a:lnTo>
                  <a:lnTo>
                    <a:pt x="5" y="117"/>
                  </a:lnTo>
                  <a:lnTo>
                    <a:pt x="5" y="118"/>
                  </a:lnTo>
                  <a:lnTo>
                    <a:pt x="4" y="117"/>
                  </a:lnTo>
                  <a:lnTo>
                    <a:pt x="2" y="113"/>
                  </a:lnTo>
                  <a:lnTo>
                    <a:pt x="2" y="111"/>
                  </a:lnTo>
                  <a:lnTo>
                    <a:pt x="3" y="111"/>
                  </a:lnTo>
                  <a:lnTo>
                    <a:pt x="3" y="110"/>
                  </a:lnTo>
                  <a:lnTo>
                    <a:pt x="4" y="110"/>
                  </a:lnTo>
                  <a:lnTo>
                    <a:pt x="4" y="104"/>
                  </a:lnTo>
                  <a:lnTo>
                    <a:pt x="5" y="104"/>
                  </a:lnTo>
                  <a:lnTo>
                    <a:pt x="5" y="101"/>
                  </a:lnTo>
                  <a:lnTo>
                    <a:pt x="8" y="99"/>
                  </a:lnTo>
                  <a:lnTo>
                    <a:pt x="10" y="98"/>
                  </a:lnTo>
                  <a:lnTo>
                    <a:pt x="11" y="98"/>
                  </a:lnTo>
                  <a:lnTo>
                    <a:pt x="11" y="97"/>
                  </a:lnTo>
                  <a:lnTo>
                    <a:pt x="10" y="95"/>
                  </a:lnTo>
                  <a:lnTo>
                    <a:pt x="10" y="93"/>
                  </a:lnTo>
                  <a:lnTo>
                    <a:pt x="9" y="94"/>
                  </a:lnTo>
                  <a:lnTo>
                    <a:pt x="9" y="93"/>
                  </a:lnTo>
                  <a:lnTo>
                    <a:pt x="8" y="93"/>
                  </a:lnTo>
                  <a:lnTo>
                    <a:pt x="8" y="85"/>
                  </a:lnTo>
                  <a:lnTo>
                    <a:pt x="9" y="83"/>
                  </a:lnTo>
                  <a:lnTo>
                    <a:pt x="9" y="82"/>
                  </a:lnTo>
                  <a:lnTo>
                    <a:pt x="10" y="80"/>
                  </a:lnTo>
                  <a:lnTo>
                    <a:pt x="10" y="76"/>
                  </a:lnTo>
                  <a:lnTo>
                    <a:pt x="9" y="76"/>
                  </a:lnTo>
                  <a:lnTo>
                    <a:pt x="9" y="75"/>
                  </a:lnTo>
                  <a:lnTo>
                    <a:pt x="6" y="75"/>
                  </a:lnTo>
                  <a:lnTo>
                    <a:pt x="6" y="71"/>
                  </a:lnTo>
                  <a:lnTo>
                    <a:pt x="5" y="70"/>
                  </a:lnTo>
                  <a:lnTo>
                    <a:pt x="8" y="70"/>
                  </a:lnTo>
                  <a:lnTo>
                    <a:pt x="8" y="68"/>
                  </a:lnTo>
                  <a:lnTo>
                    <a:pt x="10" y="65"/>
                  </a:lnTo>
                  <a:lnTo>
                    <a:pt x="10" y="63"/>
                  </a:lnTo>
                  <a:lnTo>
                    <a:pt x="9" y="63"/>
                  </a:lnTo>
                  <a:lnTo>
                    <a:pt x="9" y="62"/>
                  </a:lnTo>
                  <a:lnTo>
                    <a:pt x="8" y="61"/>
                  </a:lnTo>
                  <a:lnTo>
                    <a:pt x="12" y="61"/>
                  </a:lnTo>
                  <a:lnTo>
                    <a:pt x="14" y="58"/>
                  </a:lnTo>
                  <a:lnTo>
                    <a:pt x="14" y="59"/>
                  </a:lnTo>
                  <a:lnTo>
                    <a:pt x="15" y="59"/>
                  </a:lnTo>
                  <a:lnTo>
                    <a:pt x="14" y="57"/>
                  </a:lnTo>
                  <a:lnTo>
                    <a:pt x="12" y="56"/>
                  </a:lnTo>
                  <a:lnTo>
                    <a:pt x="14" y="55"/>
                  </a:lnTo>
                  <a:lnTo>
                    <a:pt x="12" y="52"/>
                  </a:lnTo>
                  <a:lnTo>
                    <a:pt x="12" y="50"/>
                  </a:lnTo>
                  <a:lnTo>
                    <a:pt x="14" y="50"/>
                  </a:lnTo>
                  <a:lnTo>
                    <a:pt x="14" y="48"/>
                  </a:lnTo>
                  <a:lnTo>
                    <a:pt x="9" y="45"/>
                  </a:lnTo>
                  <a:lnTo>
                    <a:pt x="8" y="44"/>
                  </a:lnTo>
                  <a:lnTo>
                    <a:pt x="6" y="44"/>
                  </a:lnTo>
                  <a:lnTo>
                    <a:pt x="4" y="45"/>
                  </a:lnTo>
                  <a:lnTo>
                    <a:pt x="4" y="43"/>
                  </a:lnTo>
                  <a:lnTo>
                    <a:pt x="3" y="42"/>
                  </a:lnTo>
                  <a:lnTo>
                    <a:pt x="3" y="40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4" y="39"/>
                  </a:lnTo>
                  <a:lnTo>
                    <a:pt x="4" y="37"/>
                  </a:lnTo>
                  <a:lnTo>
                    <a:pt x="3" y="36"/>
                  </a:lnTo>
                  <a:lnTo>
                    <a:pt x="4" y="34"/>
                  </a:lnTo>
                  <a:lnTo>
                    <a:pt x="4" y="30"/>
                  </a:lnTo>
                  <a:lnTo>
                    <a:pt x="2" y="28"/>
                  </a:lnTo>
                  <a:lnTo>
                    <a:pt x="0" y="27"/>
                  </a:lnTo>
                  <a:lnTo>
                    <a:pt x="0" y="26"/>
                  </a:lnTo>
                  <a:lnTo>
                    <a:pt x="2" y="25"/>
                  </a:lnTo>
                  <a:lnTo>
                    <a:pt x="5" y="18"/>
                  </a:lnTo>
                  <a:lnTo>
                    <a:pt x="5" y="16"/>
                  </a:lnTo>
                  <a:lnTo>
                    <a:pt x="9" y="13"/>
                  </a:lnTo>
                  <a:lnTo>
                    <a:pt x="9" y="12"/>
                  </a:lnTo>
                  <a:lnTo>
                    <a:pt x="10" y="12"/>
                  </a:lnTo>
                  <a:lnTo>
                    <a:pt x="10" y="11"/>
                  </a:lnTo>
                  <a:lnTo>
                    <a:pt x="11" y="9"/>
                  </a:lnTo>
                  <a:lnTo>
                    <a:pt x="11" y="8"/>
                  </a:lnTo>
                  <a:lnTo>
                    <a:pt x="12" y="7"/>
                  </a:lnTo>
                  <a:lnTo>
                    <a:pt x="14" y="7"/>
                  </a:lnTo>
                  <a:lnTo>
                    <a:pt x="14" y="3"/>
                  </a:lnTo>
                  <a:lnTo>
                    <a:pt x="17" y="0"/>
                  </a:lnTo>
                  <a:close/>
                </a:path>
              </a:pathLst>
            </a:custGeom>
            <a:grpFill/>
            <a:ln w="0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91" name="Straight Connector 145">
            <a:extLst>
              <a:ext uri="{FF2B5EF4-FFF2-40B4-BE49-F238E27FC236}">
                <a16:creationId xmlns:a16="http://schemas.microsoft.com/office/drawing/2014/main" id="{61AA8C87-2648-409D-A1B6-181424C9C201}"/>
              </a:ext>
            </a:extLst>
          </p:cNvPr>
          <p:cNvCxnSpPr>
            <a:cxnSpLocks/>
          </p:cNvCxnSpPr>
          <p:nvPr/>
        </p:nvCxnSpPr>
        <p:spPr>
          <a:xfrm flipH="1">
            <a:off x="5125378" y="1774414"/>
            <a:ext cx="15263" cy="4410076"/>
          </a:xfrm>
          <a:prstGeom prst="line">
            <a:avLst/>
          </a:prstGeom>
          <a:ln w="889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Grafik 31">
            <a:extLst>
              <a:ext uri="{FF2B5EF4-FFF2-40B4-BE49-F238E27FC236}">
                <a16:creationId xmlns:a16="http://schemas.microsoft.com/office/drawing/2014/main" id="{8236F056-2942-496E-A06D-E6BAADD966D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04344" y="2890130"/>
            <a:ext cx="730019" cy="657575"/>
          </a:xfrm>
          <a:prstGeom prst="rect">
            <a:avLst/>
          </a:prstGeom>
        </p:spPr>
      </p:pic>
      <p:grpSp>
        <p:nvGrpSpPr>
          <p:cNvPr id="100" name="Group 181">
            <a:extLst>
              <a:ext uri="{FF2B5EF4-FFF2-40B4-BE49-F238E27FC236}">
                <a16:creationId xmlns:a16="http://schemas.microsoft.com/office/drawing/2014/main" id="{965FE5F2-80C2-47B0-A7B1-9B73D1745BAD}"/>
              </a:ext>
            </a:extLst>
          </p:cNvPr>
          <p:cNvGrpSpPr/>
          <p:nvPr/>
        </p:nvGrpSpPr>
        <p:grpSpPr>
          <a:xfrm>
            <a:off x="2112668" y="2847768"/>
            <a:ext cx="588237" cy="717492"/>
            <a:chOff x="7689849" y="2601913"/>
            <a:chExt cx="3000375" cy="3944937"/>
          </a:xfrm>
          <a:effectLst>
            <a:outerShdw blurRad="76200" dir="18900000" sy="23000" kx="-1200000" algn="bl" rotWithShape="0">
              <a:prstClr val="black">
                <a:alpha val="17000"/>
              </a:prstClr>
            </a:outerShdw>
          </a:effectLst>
        </p:grpSpPr>
        <p:sp>
          <p:nvSpPr>
            <p:cNvPr id="101" name="Freeform 14">
              <a:extLst>
                <a:ext uri="{FF2B5EF4-FFF2-40B4-BE49-F238E27FC236}">
                  <a16:creationId xmlns:a16="http://schemas.microsoft.com/office/drawing/2014/main" id="{20384186-721D-469B-97CA-A7E120373427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3662" y="3327400"/>
              <a:ext cx="723900" cy="2241550"/>
            </a:xfrm>
            <a:custGeom>
              <a:avLst/>
              <a:gdLst/>
              <a:ahLst/>
              <a:cxnLst>
                <a:cxn ang="0">
                  <a:pos x="48" y="0"/>
                </a:cxn>
                <a:cxn ang="0">
                  <a:pos x="456" y="1397"/>
                </a:cxn>
                <a:cxn ang="0">
                  <a:pos x="407" y="1412"/>
                </a:cxn>
                <a:cxn ang="0">
                  <a:pos x="0" y="15"/>
                </a:cxn>
                <a:cxn ang="0">
                  <a:pos x="48" y="0"/>
                </a:cxn>
              </a:cxnLst>
              <a:rect l="0" t="0" r="r" b="b"/>
              <a:pathLst>
                <a:path w="456" h="1412">
                  <a:moveTo>
                    <a:pt x="48" y="0"/>
                  </a:moveTo>
                  <a:lnTo>
                    <a:pt x="456" y="1397"/>
                  </a:lnTo>
                  <a:lnTo>
                    <a:pt x="407" y="1412"/>
                  </a:lnTo>
                  <a:lnTo>
                    <a:pt x="0" y="15"/>
                  </a:lnTo>
                  <a:lnTo>
                    <a:pt x="48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85000"/>
                    <a:shade val="30000"/>
                    <a:satMod val="115000"/>
                  </a:schemeClr>
                </a:gs>
                <a:gs pos="50000">
                  <a:schemeClr val="bg1">
                    <a:lumMod val="85000"/>
                    <a:shade val="67500"/>
                    <a:satMod val="115000"/>
                  </a:schemeClr>
                </a:gs>
                <a:gs pos="100000">
                  <a:schemeClr val="bg1">
                    <a:lumMod val="85000"/>
                    <a:shade val="100000"/>
                    <a:satMod val="115000"/>
                  </a:schemeClr>
                </a:gs>
              </a:gsLst>
              <a:lin ang="0" scaled="1"/>
              <a:tileRect/>
            </a:gra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15">
              <a:extLst>
                <a:ext uri="{FF2B5EF4-FFF2-40B4-BE49-F238E27FC236}">
                  <a16:creationId xmlns:a16="http://schemas.microsoft.com/office/drawing/2014/main" id="{AE62FE5C-1CB3-4978-B030-32AFB331D771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2149" y="5530850"/>
              <a:ext cx="455613" cy="1016000"/>
            </a:xfrm>
            <a:custGeom>
              <a:avLst/>
              <a:gdLst/>
              <a:ahLst/>
              <a:cxnLst>
                <a:cxn ang="0">
                  <a:pos x="110" y="0"/>
                </a:cxn>
                <a:cxn ang="0">
                  <a:pos x="287" y="609"/>
                </a:cxn>
                <a:cxn ang="0">
                  <a:pos x="177" y="640"/>
                </a:cxn>
                <a:cxn ang="0">
                  <a:pos x="0" y="31"/>
                </a:cxn>
                <a:cxn ang="0">
                  <a:pos x="110" y="0"/>
                </a:cxn>
              </a:cxnLst>
              <a:rect l="0" t="0" r="r" b="b"/>
              <a:pathLst>
                <a:path w="287" h="640">
                  <a:moveTo>
                    <a:pt x="110" y="0"/>
                  </a:moveTo>
                  <a:lnTo>
                    <a:pt x="287" y="609"/>
                  </a:lnTo>
                  <a:lnTo>
                    <a:pt x="177" y="640"/>
                  </a:lnTo>
                  <a:lnTo>
                    <a:pt x="0" y="31"/>
                  </a:lnTo>
                  <a:lnTo>
                    <a:pt x="11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1">
                    <a:lumMod val="65000"/>
                    <a:lumOff val="35000"/>
                    <a:shade val="30000"/>
                    <a:satMod val="115000"/>
                  </a:schemeClr>
                </a:gs>
                <a:gs pos="50000">
                  <a:schemeClr val="tx1">
                    <a:lumMod val="65000"/>
                    <a:lumOff val="35000"/>
                    <a:shade val="67500"/>
                    <a:satMod val="115000"/>
                  </a:schemeClr>
                </a:gs>
                <a:gs pos="100000">
                  <a:schemeClr val="tx1">
                    <a:lumMod val="65000"/>
                    <a:lumOff val="35000"/>
                    <a:shade val="100000"/>
                    <a:satMod val="115000"/>
                  </a:schemeClr>
                </a:gs>
              </a:gsLst>
              <a:lin ang="0" scaled="1"/>
              <a:tileRect/>
            </a:gra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13">
              <a:extLst>
                <a:ext uri="{FF2B5EF4-FFF2-40B4-BE49-F238E27FC236}">
                  <a16:creationId xmlns:a16="http://schemas.microsoft.com/office/drawing/2014/main" id="{FAFFD6FC-AD2A-473B-B861-0AB1FABF258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9849" y="2601913"/>
              <a:ext cx="3000375" cy="2309813"/>
            </a:xfrm>
            <a:custGeom>
              <a:avLst/>
              <a:gdLst/>
              <a:ahLst/>
              <a:cxnLst>
                <a:cxn ang="0">
                  <a:pos x="1423" y="0"/>
                </a:cxn>
                <a:cxn ang="0">
                  <a:pos x="1427" y="16"/>
                </a:cxn>
                <a:cxn ang="0">
                  <a:pos x="1440" y="58"/>
                </a:cxn>
                <a:cxn ang="0">
                  <a:pos x="1464" y="122"/>
                </a:cxn>
                <a:cxn ang="0">
                  <a:pos x="1501" y="203"/>
                </a:cxn>
                <a:cxn ang="0">
                  <a:pos x="1550" y="298"/>
                </a:cxn>
                <a:cxn ang="0">
                  <a:pos x="1617" y="400"/>
                </a:cxn>
                <a:cxn ang="0">
                  <a:pos x="1671" y="482"/>
                </a:cxn>
                <a:cxn ang="0">
                  <a:pos x="1722" y="570"/>
                </a:cxn>
                <a:cxn ang="0">
                  <a:pos x="1768" y="659"/>
                </a:cxn>
                <a:cxn ang="0">
                  <a:pos x="1809" y="741"/>
                </a:cxn>
                <a:cxn ang="0">
                  <a:pos x="1843" y="815"/>
                </a:cxn>
                <a:cxn ang="0">
                  <a:pos x="1867" y="874"/>
                </a:cxn>
                <a:cxn ang="0">
                  <a:pos x="1885" y="912"/>
                </a:cxn>
                <a:cxn ang="0">
                  <a:pos x="1890" y="926"/>
                </a:cxn>
                <a:cxn ang="0">
                  <a:pos x="1820" y="942"/>
                </a:cxn>
                <a:cxn ang="0">
                  <a:pos x="1740" y="974"/>
                </a:cxn>
                <a:cxn ang="0">
                  <a:pos x="1602" y="1042"/>
                </a:cxn>
                <a:cxn ang="0">
                  <a:pos x="1501" y="1090"/>
                </a:cxn>
                <a:cxn ang="0">
                  <a:pos x="1396" y="1130"/>
                </a:cxn>
                <a:cxn ang="0">
                  <a:pos x="1288" y="1159"/>
                </a:cxn>
                <a:cxn ang="0">
                  <a:pos x="1182" y="1167"/>
                </a:cxn>
                <a:cxn ang="0">
                  <a:pos x="1067" y="1166"/>
                </a:cxn>
                <a:cxn ang="0">
                  <a:pos x="979" y="1171"/>
                </a:cxn>
                <a:cxn ang="0">
                  <a:pos x="915" y="1181"/>
                </a:cxn>
                <a:cxn ang="0">
                  <a:pos x="866" y="1198"/>
                </a:cxn>
                <a:cxn ang="0">
                  <a:pos x="831" y="1219"/>
                </a:cxn>
                <a:cxn ang="0">
                  <a:pos x="776" y="1262"/>
                </a:cxn>
                <a:cxn ang="0">
                  <a:pos x="733" y="1295"/>
                </a:cxn>
                <a:cxn ang="0">
                  <a:pos x="687" y="1324"/>
                </a:cxn>
                <a:cxn ang="0">
                  <a:pos x="624" y="1357"/>
                </a:cxn>
                <a:cxn ang="0">
                  <a:pos x="578" y="1375"/>
                </a:cxn>
                <a:cxn ang="0">
                  <a:pos x="519" y="1393"/>
                </a:cxn>
                <a:cxn ang="0">
                  <a:pos x="455" y="1413"/>
                </a:cxn>
                <a:cxn ang="0">
                  <a:pos x="394" y="1429"/>
                </a:cxn>
                <a:cxn ang="0">
                  <a:pos x="340" y="1443"/>
                </a:cxn>
                <a:cxn ang="0">
                  <a:pos x="293" y="1454"/>
                </a:cxn>
                <a:cxn ang="0">
                  <a:pos x="0" y="435"/>
                </a:cxn>
                <a:cxn ang="0">
                  <a:pos x="16" y="432"/>
                </a:cxn>
                <a:cxn ang="0">
                  <a:pos x="55" y="425"/>
                </a:cxn>
                <a:cxn ang="0">
                  <a:pos x="107" y="410"/>
                </a:cxn>
                <a:cxn ang="0">
                  <a:pos x="160" y="391"/>
                </a:cxn>
                <a:cxn ang="0">
                  <a:pos x="204" y="362"/>
                </a:cxn>
                <a:cxn ang="0">
                  <a:pos x="249" y="324"/>
                </a:cxn>
                <a:cxn ang="0">
                  <a:pos x="304" y="292"/>
                </a:cxn>
                <a:cxn ang="0">
                  <a:pos x="373" y="273"/>
                </a:cxn>
                <a:cxn ang="0">
                  <a:pos x="460" y="267"/>
                </a:cxn>
                <a:cxn ang="0">
                  <a:pos x="560" y="266"/>
                </a:cxn>
                <a:cxn ang="0">
                  <a:pos x="645" y="258"/>
                </a:cxn>
                <a:cxn ang="0">
                  <a:pos x="722" y="247"/>
                </a:cxn>
                <a:cxn ang="0">
                  <a:pos x="791" y="235"/>
                </a:cxn>
                <a:cxn ang="0">
                  <a:pos x="857" y="206"/>
                </a:cxn>
                <a:cxn ang="0">
                  <a:pos x="935" y="165"/>
                </a:cxn>
                <a:cxn ang="0">
                  <a:pos x="1017" y="118"/>
                </a:cxn>
                <a:cxn ang="0">
                  <a:pos x="1104" y="72"/>
                </a:cxn>
                <a:cxn ang="0">
                  <a:pos x="1195" y="37"/>
                </a:cxn>
                <a:cxn ang="0">
                  <a:pos x="1284" y="15"/>
                </a:cxn>
                <a:cxn ang="0">
                  <a:pos x="1357" y="4"/>
                </a:cxn>
                <a:cxn ang="0">
                  <a:pos x="1405" y="0"/>
                </a:cxn>
              </a:cxnLst>
              <a:rect l="0" t="0" r="r" b="b"/>
              <a:pathLst>
                <a:path w="1890" h="1455">
                  <a:moveTo>
                    <a:pt x="1405" y="0"/>
                  </a:moveTo>
                  <a:lnTo>
                    <a:pt x="1423" y="0"/>
                  </a:lnTo>
                  <a:lnTo>
                    <a:pt x="1425" y="4"/>
                  </a:lnTo>
                  <a:lnTo>
                    <a:pt x="1427" y="16"/>
                  </a:lnTo>
                  <a:lnTo>
                    <a:pt x="1432" y="33"/>
                  </a:lnTo>
                  <a:lnTo>
                    <a:pt x="1440" y="58"/>
                  </a:lnTo>
                  <a:lnTo>
                    <a:pt x="1451" y="87"/>
                  </a:lnTo>
                  <a:lnTo>
                    <a:pt x="1464" y="122"/>
                  </a:lnTo>
                  <a:lnTo>
                    <a:pt x="1481" y="161"/>
                  </a:lnTo>
                  <a:lnTo>
                    <a:pt x="1501" y="203"/>
                  </a:lnTo>
                  <a:lnTo>
                    <a:pt x="1524" y="249"/>
                  </a:lnTo>
                  <a:lnTo>
                    <a:pt x="1550" y="298"/>
                  </a:lnTo>
                  <a:lnTo>
                    <a:pt x="1582" y="349"/>
                  </a:lnTo>
                  <a:lnTo>
                    <a:pt x="1617" y="400"/>
                  </a:lnTo>
                  <a:lnTo>
                    <a:pt x="1645" y="440"/>
                  </a:lnTo>
                  <a:lnTo>
                    <a:pt x="1671" y="482"/>
                  </a:lnTo>
                  <a:lnTo>
                    <a:pt x="1697" y="527"/>
                  </a:lnTo>
                  <a:lnTo>
                    <a:pt x="1722" y="570"/>
                  </a:lnTo>
                  <a:lnTo>
                    <a:pt x="1746" y="614"/>
                  </a:lnTo>
                  <a:lnTo>
                    <a:pt x="1768" y="659"/>
                  </a:lnTo>
                  <a:lnTo>
                    <a:pt x="1790" y="701"/>
                  </a:lnTo>
                  <a:lnTo>
                    <a:pt x="1809" y="741"/>
                  </a:lnTo>
                  <a:lnTo>
                    <a:pt x="1827" y="779"/>
                  </a:lnTo>
                  <a:lnTo>
                    <a:pt x="1843" y="815"/>
                  </a:lnTo>
                  <a:lnTo>
                    <a:pt x="1857" y="846"/>
                  </a:lnTo>
                  <a:lnTo>
                    <a:pt x="1867" y="874"/>
                  </a:lnTo>
                  <a:lnTo>
                    <a:pt x="1877" y="896"/>
                  </a:lnTo>
                  <a:lnTo>
                    <a:pt x="1885" y="912"/>
                  </a:lnTo>
                  <a:lnTo>
                    <a:pt x="1888" y="922"/>
                  </a:lnTo>
                  <a:lnTo>
                    <a:pt x="1890" y="926"/>
                  </a:lnTo>
                  <a:lnTo>
                    <a:pt x="1857" y="931"/>
                  </a:lnTo>
                  <a:lnTo>
                    <a:pt x="1820" y="942"/>
                  </a:lnTo>
                  <a:lnTo>
                    <a:pt x="1781" y="956"/>
                  </a:lnTo>
                  <a:lnTo>
                    <a:pt x="1740" y="974"/>
                  </a:lnTo>
                  <a:lnTo>
                    <a:pt x="1696" y="995"/>
                  </a:lnTo>
                  <a:lnTo>
                    <a:pt x="1602" y="1042"/>
                  </a:lnTo>
                  <a:lnTo>
                    <a:pt x="1552" y="1066"/>
                  </a:lnTo>
                  <a:lnTo>
                    <a:pt x="1501" y="1090"/>
                  </a:lnTo>
                  <a:lnTo>
                    <a:pt x="1448" y="1111"/>
                  </a:lnTo>
                  <a:lnTo>
                    <a:pt x="1396" y="1130"/>
                  </a:lnTo>
                  <a:lnTo>
                    <a:pt x="1342" y="1146"/>
                  </a:lnTo>
                  <a:lnTo>
                    <a:pt x="1288" y="1159"/>
                  </a:lnTo>
                  <a:lnTo>
                    <a:pt x="1235" y="1166"/>
                  </a:lnTo>
                  <a:lnTo>
                    <a:pt x="1182" y="1167"/>
                  </a:lnTo>
                  <a:lnTo>
                    <a:pt x="1121" y="1166"/>
                  </a:lnTo>
                  <a:lnTo>
                    <a:pt x="1067" y="1166"/>
                  </a:lnTo>
                  <a:lnTo>
                    <a:pt x="1020" y="1167"/>
                  </a:lnTo>
                  <a:lnTo>
                    <a:pt x="979" y="1171"/>
                  </a:lnTo>
                  <a:lnTo>
                    <a:pt x="945" y="1176"/>
                  </a:lnTo>
                  <a:lnTo>
                    <a:pt x="915" y="1181"/>
                  </a:lnTo>
                  <a:lnTo>
                    <a:pt x="889" y="1189"/>
                  </a:lnTo>
                  <a:lnTo>
                    <a:pt x="866" y="1198"/>
                  </a:lnTo>
                  <a:lnTo>
                    <a:pt x="848" y="1207"/>
                  </a:lnTo>
                  <a:lnTo>
                    <a:pt x="831" y="1219"/>
                  </a:lnTo>
                  <a:lnTo>
                    <a:pt x="800" y="1243"/>
                  </a:lnTo>
                  <a:lnTo>
                    <a:pt x="776" y="1262"/>
                  </a:lnTo>
                  <a:lnTo>
                    <a:pt x="754" y="1279"/>
                  </a:lnTo>
                  <a:lnTo>
                    <a:pt x="733" y="1295"/>
                  </a:lnTo>
                  <a:lnTo>
                    <a:pt x="712" y="1310"/>
                  </a:lnTo>
                  <a:lnTo>
                    <a:pt x="687" y="1324"/>
                  </a:lnTo>
                  <a:lnTo>
                    <a:pt x="658" y="1340"/>
                  </a:lnTo>
                  <a:lnTo>
                    <a:pt x="624" y="1357"/>
                  </a:lnTo>
                  <a:lnTo>
                    <a:pt x="603" y="1366"/>
                  </a:lnTo>
                  <a:lnTo>
                    <a:pt x="578" y="1375"/>
                  </a:lnTo>
                  <a:lnTo>
                    <a:pt x="549" y="1384"/>
                  </a:lnTo>
                  <a:lnTo>
                    <a:pt x="519" y="1393"/>
                  </a:lnTo>
                  <a:lnTo>
                    <a:pt x="488" y="1404"/>
                  </a:lnTo>
                  <a:lnTo>
                    <a:pt x="455" y="1413"/>
                  </a:lnTo>
                  <a:lnTo>
                    <a:pt x="424" y="1421"/>
                  </a:lnTo>
                  <a:lnTo>
                    <a:pt x="394" y="1429"/>
                  </a:lnTo>
                  <a:lnTo>
                    <a:pt x="365" y="1437"/>
                  </a:lnTo>
                  <a:lnTo>
                    <a:pt x="340" y="1443"/>
                  </a:lnTo>
                  <a:lnTo>
                    <a:pt x="319" y="1447"/>
                  </a:lnTo>
                  <a:lnTo>
                    <a:pt x="293" y="1454"/>
                  </a:lnTo>
                  <a:lnTo>
                    <a:pt x="289" y="1455"/>
                  </a:lnTo>
                  <a:lnTo>
                    <a:pt x="0" y="435"/>
                  </a:lnTo>
                  <a:lnTo>
                    <a:pt x="4" y="435"/>
                  </a:lnTo>
                  <a:lnTo>
                    <a:pt x="16" y="432"/>
                  </a:lnTo>
                  <a:lnTo>
                    <a:pt x="33" y="430"/>
                  </a:lnTo>
                  <a:lnTo>
                    <a:pt x="55" y="425"/>
                  </a:lnTo>
                  <a:lnTo>
                    <a:pt x="80" y="418"/>
                  </a:lnTo>
                  <a:lnTo>
                    <a:pt x="107" y="410"/>
                  </a:lnTo>
                  <a:lnTo>
                    <a:pt x="134" y="401"/>
                  </a:lnTo>
                  <a:lnTo>
                    <a:pt x="160" y="391"/>
                  </a:lnTo>
                  <a:lnTo>
                    <a:pt x="184" y="377"/>
                  </a:lnTo>
                  <a:lnTo>
                    <a:pt x="204" y="362"/>
                  </a:lnTo>
                  <a:lnTo>
                    <a:pt x="226" y="342"/>
                  </a:lnTo>
                  <a:lnTo>
                    <a:pt x="249" y="324"/>
                  </a:lnTo>
                  <a:lnTo>
                    <a:pt x="276" y="307"/>
                  </a:lnTo>
                  <a:lnTo>
                    <a:pt x="304" y="292"/>
                  </a:lnTo>
                  <a:lnTo>
                    <a:pt x="336" y="282"/>
                  </a:lnTo>
                  <a:lnTo>
                    <a:pt x="373" y="273"/>
                  </a:lnTo>
                  <a:lnTo>
                    <a:pt x="414" y="269"/>
                  </a:lnTo>
                  <a:lnTo>
                    <a:pt x="460" y="267"/>
                  </a:lnTo>
                  <a:lnTo>
                    <a:pt x="513" y="267"/>
                  </a:lnTo>
                  <a:lnTo>
                    <a:pt x="560" y="266"/>
                  </a:lnTo>
                  <a:lnTo>
                    <a:pt x="604" y="262"/>
                  </a:lnTo>
                  <a:lnTo>
                    <a:pt x="645" y="258"/>
                  </a:lnTo>
                  <a:lnTo>
                    <a:pt x="684" y="253"/>
                  </a:lnTo>
                  <a:lnTo>
                    <a:pt x="722" y="247"/>
                  </a:lnTo>
                  <a:lnTo>
                    <a:pt x="762" y="241"/>
                  </a:lnTo>
                  <a:lnTo>
                    <a:pt x="791" y="235"/>
                  </a:lnTo>
                  <a:lnTo>
                    <a:pt x="823" y="223"/>
                  </a:lnTo>
                  <a:lnTo>
                    <a:pt x="857" y="206"/>
                  </a:lnTo>
                  <a:lnTo>
                    <a:pt x="895" y="186"/>
                  </a:lnTo>
                  <a:lnTo>
                    <a:pt x="935" y="165"/>
                  </a:lnTo>
                  <a:lnTo>
                    <a:pt x="975" y="142"/>
                  </a:lnTo>
                  <a:lnTo>
                    <a:pt x="1017" y="118"/>
                  </a:lnTo>
                  <a:lnTo>
                    <a:pt x="1060" y="95"/>
                  </a:lnTo>
                  <a:lnTo>
                    <a:pt x="1104" y="72"/>
                  </a:lnTo>
                  <a:lnTo>
                    <a:pt x="1148" y="54"/>
                  </a:lnTo>
                  <a:lnTo>
                    <a:pt x="1195" y="37"/>
                  </a:lnTo>
                  <a:lnTo>
                    <a:pt x="1241" y="24"/>
                  </a:lnTo>
                  <a:lnTo>
                    <a:pt x="1284" y="15"/>
                  </a:lnTo>
                  <a:lnTo>
                    <a:pt x="1322" y="8"/>
                  </a:lnTo>
                  <a:lnTo>
                    <a:pt x="1357" y="4"/>
                  </a:lnTo>
                  <a:lnTo>
                    <a:pt x="1384" y="2"/>
                  </a:lnTo>
                  <a:lnTo>
                    <a:pt x="1405" y="0"/>
                  </a:lnTo>
                  <a:close/>
                </a:path>
              </a:pathLst>
            </a:custGeom>
            <a:blipFill dpi="0" rotWithShape="1"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4" name="Group 227">
            <a:extLst>
              <a:ext uri="{FF2B5EF4-FFF2-40B4-BE49-F238E27FC236}">
                <a16:creationId xmlns:a16="http://schemas.microsoft.com/office/drawing/2014/main" id="{5D6613DD-B613-4BA0-B589-36B2D8BFEF69}"/>
              </a:ext>
            </a:extLst>
          </p:cNvPr>
          <p:cNvGrpSpPr/>
          <p:nvPr/>
        </p:nvGrpSpPr>
        <p:grpSpPr>
          <a:xfrm rot="672005">
            <a:off x="1753425" y="3496503"/>
            <a:ext cx="591054" cy="729358"/>
            <a:chOff x="7689849" y="2601913"/>
            <a:chExt cx="3000375" cy="3944937"/>
          </a:xfrm>
          <a:effectLst>
            <a:outerShdw blurRad="76200" dir="18900000" sy="23000" kx="-1200000" algn="bl" rotWithShape="0">
              <a:prstClr val="black">
                <a:alpha val="17000"/>
              </a:prstClr>
            </a:outerShdw>
          </a:effectLst>
        </p:grpSpPr>
        <p:sp>
          <p:nvSpPr>
            <p:cNvPr id="105" name="Freeform 14">
              <a:extLst>
                <a:ext uri="{FF2B5EF4-FFF2-40B4-BE49-F238E27FC236}">
                  <a16:creationId xmlns:a16="http://schemas.microsoft.com/office/drawing/2014/main" id="{1F732EB7-963E-4AFA-80D9-5BE43BC3B6E0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3662" y="3327400"/>
              <a:ext cx="723900" cy="2241550"/>
            </a:xfrm>
            <a:custGeom>
              <a:avLst/>
              <a:gdLst/>
              <a:ahLst/>
              <a:cxnLst>
                <a:cxn ang="0">
                  <a:pos x="48" y="0"/>
                </a:cxn>
                <a:cxn ang="0">
                  <a:pos x="456" y="1397"/>
                </a:cxn>
                <a:cxn ang="0">
                  <a:pos x="407" y="1412"/>
                </a:cxn>
                <a:cxn ang="0">
                  <a:pos x="0" y="15"/>
                </a:cxn>
                <a:cxn ang="0">
                  <a:pos x="48" y="0"/>
                </a:cxn>
              </a:cxnLst>
              <a:rect l="0" t="0" r="r" b="b"/>
              <a:pathLst>
                <a:path w="456" h="1412">
                  <a:moveTo>
                    <a:pt x="48" y="0"/>
                  </a:moveTo>
                  <a:lnTo>
                    <a:pt x="456" y="1397"/>
                  </a:lnTo>
                  <a:lnTo>
                    <a:pt x="407" y="1412"/>
                  </a:lnTo>
                  <a:lnTo>
                    <a:pt x="0" y="15"/>
                  </a:lnTo>
                  <a:lnTo>
                    <a:pt x="48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85000"/>
                    <a:shade val="30000"/>
                    <a:satMod val="115000"/>
                  </a:schemeClr>
                </a:gs>
                <a:gs pos="50000">
                  <a:schemeClr val="bg1">
                    <a:lumMod val="85000"/>
                    <a:shade val="67500"/>
                    <a:satMod val="115000"/>
                  </a:schemeClr>
                </a:gs>
                <a:gs pos="100000">
                  <a:schemeClr val="bg1">
                    <a:lumMod val="85000"/>
                    <a:shade val="100000"/>
                    <a:satMod val="115000"/>
                  </a:schemeClr>
                </a:gs>
              </a:gsLst>
              <a:lin ang="0" scaled="1"/>
              <a:tileRect/>
            </a:gra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15">
              <a:extLst>
                <a:ext uri="{FF2B5EF4-FFF2-40B4-BE49-F238E27FC236}">
                  <a16:creationId xmlns:a16="http://schemas.microsoft.com/office/drawing/2014/main" id="{D367D211-1B89-4F4C-A0D4-BDEC2EE0BC76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2149" y="5530850"/>
              <a:ext cx="455613" cy="1016000"/>
            </a:xfrm>
            <a:custGeom>
              <a:avLst/>
              <a:gdLst/>
              <a:ahLst/>
              <a:cxnLst>
                <a:cxn ang="0">
                  <a:pos x="110" y="0"/>
                </a:cxn>
                <a:cxn ang="0">
                  <a:pos x="287" y="609"/>
                </a:cxn>
                <a:cxn ang="0">
                  <a:pos x="177" y="640"/>
                </a:cxn>
                <a:cxn ang="0">
                  <a:pos x="0" y="31"/>
                </a:cxn>
                <a:cxn ang="0">
                  <a:pos x="110" y="0"/>
                </a:cxn>
              </a:cxnLst>
              <a:rect l="0" t="0" r="r" b="b"/>
              <a:pathLst>
                <a:path w="287" h="640">
                  <a:moveTo>
                    <a:pt x="110" y="0"/>
                  </a:moveTo>
                  <a:lnTo>
                    <a:pt x="287" y="609"/>
                  </a:lnTo>
                  <a:lnTo>
                    <a:pt x="177" y="640"/>
                  </a:lnTo>
                  <a:lnTo>
                    <a:pt x="0" y="31"/>
                  </a:lnTo>
                  <a:lnTo>
                    <a:pt x="11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1">
                    <a:lumMod val="65000"/>
                    <a:lumOff val="35000"/>
                    <a:shade val="30000"/>
                    <a:satMod val="115000"/>
                  </a:schemeClr>
                </a:gs>
                <a:gs pos="50000">
                  <a:schemeClr val="tx1">
                    <a:lumMod val="65000"/>
                    <a:lumOff val="35000"/>
                    <a:shade val="67500"/>
                    <a:satMod val="115000"/>
                  </a:schemeClr>
                </a:gs>
                <a:gs pos="100000">
                  <a:schemeClr val="tx1">
                    <a:lumMod val="65000"/>
                    <a:lumOff val="35000"/>
                    <a:shade val="100000"/>
                    <a:satMod val="115000"/>
                  </a:schemeClr>
                </a:gs>
              </a:gsLst>
              <a:lin ang="0" scaled="1"/>
              <a:tileRect/>
            </a:gra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13">
              <a:extLst>
                <a:ext uri="{FF2B5EF4-FFF2-40B4-BE49-F238E27FC236}">
                  <a16:creationId xmlns:a16="http://schemas.microsoft.com/office/drawing/2014/main" id="{EB03F258-2B6C-48A7-9761-BB493A789F4B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9849" y="2601913"/>
              <a:ext cx="3000375" cy="2309814"/>
            </a:xfrm>
            <a:custGeom>
              <a:avLst/>
              <a:gdLst/>
              <a:ahLst/>
              <a:cxnLst>
                <a:cxn ang="0">
                  <a:pos x="1423" y="0"/>
                </a:cxn>
                <a:cxn ang="0">
                  <a:pos x="1427" y="16"/>
                </a:cxn>
                <a:cxn ang="0">
                  <a:pos x="1440" y="58"/>
                </a:cxn>
                <a:cxn ang="0">
                  <a:pos x="1464" y="122"/>
                </a:cxn>
                <a:cxn ang="0">
                  <a:pos x="1501" y="203"/>
                </a:cxn>
                <a:cxn ang="0">
                  <a:pos x="1550" y="298"/>
                </a:cxn>
                <a:cxn ang="0">
                  <a:pos x="1617" y="400"/>
                </a:cxn>
                <a:cxn ang="0">
                  <a:pos x="1671" y="482"/>
                </a:cxn>
                <a:cxn ang="0">
                  <a:pos x="1722" y="570"/>
                </a:cxn>
                <a:cxn ang="0">
                  <a:pos x="1768" y="659"/>
                </a:cxn>
                <a:cxn ang="0">
                  <a:pos x="1809" y="741"/>
                </a:cxn>
                <a:cxn ang="0">
                  <a:pos x="1843" y="815"/>
                </a:cxn>
                <a:cxn ang="0">
                  <a:pos x="1867" y="874"/>
                </a:cxn>
                <a:cxn ang="0">
                  <a:pos x="1885" y="912"/>
                </a:cxn>
                <a:cxn ang="0">
                  <a:pos x="1890" y="926"/>
                </a:cxn>
                <a:cxn ang="0">
                  <a:pos x="1820" y="942"/>
                </a:cxn>
                <a:cxn ang="0">
                  <a:pos x="1740" y="974"/>
                </a:cxn>
                <a:cxn ang="0">
                  <a:pos x="1602" y="1042"/>
                </a:cxn>
                <a:cxn ang="0">
                  <a:pos x="1501" y="1090"/>
                </a:cxn>
                <a:cxn ang="0">
                  <a:pos x="1396" y="1130"/>
                </a:cxn>
                <a:cxn ang="0">
                  <a:pos x="1288" y="1159"/>
                </a:cxn>
                <a:cxn ang="0">
                  <a:pos x="1182" y="1167"/>
                </a:cxn>
                <a:cxn ang="0">
                  <a:pos x="1067" y="1166"/>
                </a:cxn>
                <a:cxn ang="0">
                  <a:pos x="979" y="1171"/>
                </a:cxn>
                <a:cxn ang="0">
                  <a:pos x="915" y="1181"/>
                </a:cxn>
                <a:cxn ang="0">
                  <a:pos x="866" y="1198"/>
                </a:cxn>
                <a:cxn ang="0">
                  <a:pos x="831" y="1219"/>
                </a:cxn>
                <a:cxn ang="0">
                  <a:pos x="776" y="1262"/>
                </a:cxn>
                <a:cxn ang="0">
                  <a:pos x="733" y="1295"/>
                </a:cxn>
                <a:cxn ang="0">
                  <a:pos x="687" y="1324"/>
                </a:cxn>
                <a:cxn ang="0">
                  <a:pos x="624" y="1357"/>
                </a:cxn>
                <a:cxn ang="0">
                  <a:pos x="578" y="1375"/>
                </a:cxn>
                <a:cxn ang="0">
                  <a:pos x="519" y="1393"/>
                </a:cxn>
                <a:cxn ang="0">
                  <a:pos x="455" y="1413"/>
                </a:cxn>
                <a:cxn ang="0">
                  <a:pos x="394" y="1429"/>
                </a:cxn>
                <a:cxn ang="0">
                  <a:pos x="340" y="1443"/>
                </a:cxn>
                <a:cxn ang="0">
                  <a:pos x="293" y="1454"/>
                </a:cxn>
                <a:cxn ang="0">
                  <a:pos x="0" y="435"/>
                </a:cxn>
                <a:cxn ang="0">
                  <a:pos x="16" y="432"/>
                </a:cxn>
                <a:cxn ang="0">
                  <a:pos x="55" y="425"/>
                </a:cxn>
                <a:cxn ang="0">
                  <a:pos x="107" y="410"/>
                </a:cxn>
                <a:cxn ang="0">
                  <a:pos x="160" y="391"/>
                </a:cxn>
                <a:cxn ang="0">
                  <a:pos x="204" y="362"/>
                </a:cxn>
                <a:cxn ang="0">
                  <a:pos x="249" y="324"/>
                </a:cxn>
                <a:cxn ang="0">
                  <a:pos x="304" y="292"/>
                </a:cxn>
                <a:cxn ang="0">
                  <a:pos x="373" y="273"/>
                </a:cxn>
                <a:cxn ang="0">
                  <a:pos x="460" y="267"/>
                </a:cxn>
                <a:cxn ang="0">
                  <a:pos x="560" y="266"/>
                </a:cxn>
                <a:cxn ang="0">
                  <a:pos x="645" y="258"/>
                </a:cxn>
                <a:cxn ang="0">
                  <a:pos x="722" y="247"/>
                </a:cxn>
                <a:cxn ang="0">
                  <a:pos x="791" y="235"/>
                </a:cxn>
                <a:cxn ang="0">
                  <a:pos x="857" y="206"/>
                </a:cxn>
                <a:cxn ang="0">
                  <a:pos x="935" y="165"/>
                </a:cxn>
                <a:cxn ang="0">
                  <a:pos x="1017" y="118"/>
                </a:cxn>
                <a:cxn ang="0">
                  <a:pos x="1104" y="72"/>
                </a:cxn>
                <a:cxn ang="0">
                  <a:pos x="1195" y="37"/>
                </a:cxn>
                <a:cxn ang="0">
                  <a:pos x="1284" y="15"/>
                </a:cxn>
                <a:cxn ang="0">
                  <a:pos x="1357" y="4"/>
                </a:cxn>
                <a:cxn ang="0">
                  <a:pos x="1405" y="0"/>
                </a:cxn>
              </a:cxnLst>
              <a:rect l="0" t="0" r="r" b="b"/>
              <a:pathLst>
                <a:path w="1890" h="1455">
                  <a:moveTo>
                    <a:pt x="1405" y="0"/>
                  </a:moveTo>
                  <a:lnTo>
                    <a:pt x="1423" y="0"/>
                  </a:lnTo>
                  <a:lnTo>
                    <a:pt x="1425" y="4"/>
                  </a:lnTo>
                  <a:lnTo>
                    <a:pt x="1427" y="16"/>
                  </a:lnTo>
                  <a:lnTo>
                    <a:pt x="1432" y="33"/>
                  </a:lnTo>
                  <a:lnTo>
                    <a:pt x="1440" y="58"/>
                  </a:lnTo>
                  <a:lnTo>
                    <a:pt x="1451" y="87"/>
                  </a:lnTo>
                  <a:lnTo>
                    <a:pt x="1464" y="122"/>
                  </a:lnTo>
                  <a:lnTo>
                    <a:pt x="1481" y="161"/>
                  </a:lnTo>
                  <a:lnTo>
                    <a:pt x="1501" y="203"/>
                  </a:lnTo>
                  <a:lnTo>
                    <a:pt x="1524" y="249"/>
                  </a:lnTo>
                  <a:lnTo>
                    <a:pt x="1550" y="298"/>
                  </a:lnTo>
                  <a:lnTo>
                    <a:pt x="1582" y="349"/>
                  </a:lnTo>
                  <a:lnTo>
                    <a:pt x="1617" y="400"/>
                  </a:lnTo>
                  <a:lnTo>
                    <a:pt x="1645" y="440"/>
                  </a:lnTo>
                  <a:lnTo>
                    <a:pt x="1671" y="482"/>
                  </a:lnTo>
                  <a:lnTo>
                    <a:pt x="1697" y="527"/>
                  </a:lnTo>
                  <a:lnTo>
                    <a:pt x="1722" y="570"/>
                  </a:lnTo>
                  <a:lnTo>
                    <a:pt x="1746" y="614"/>
                  </a:lnTo>
                  <a:lnTo>
                    <a:pt x="1768" y="659"/>
                  </a:lnTo>
                  <a:lnTo>
                    <a:pt x="1790" y="701"/>
                  </a:lnTo>
                  <a:lnTo>
                    <a:pt x="1809" y="741"/>
                  </a:lnTo>
                  <a:lnTo>
                    <a:pt x="1827" y="779"/>
                  </a:lnTo>
                  <a:lnTo>
                    <a:pt x="1843" y="815"/>
                  </a:lnTo>
                  <a:lnTo>
                    <a:pt x="1857" y="846"/>
                  </a:lnTo>
                  <a:lnTo>
                    <a:pt x="1867" y="874"/>
                  </a:lnTo>
                  <a:lnTo>
                    <a:pt x="1877" y="896"/>
                  </a:lnTo>
                  <a:lnTo>
                    <a:pt x="1885" y="912"/>
                  </a:lnTo>
                  <a:lnTo>
                    <a:pt x="1888" y="922"/>
                  </a:lnTo>
                  <a:lnTo>
                    <a:pt x="1890" y="926"/>
                  </a:lnTo>
                  <a:lnTo>
                    <a:pt x="1857" y="931"/>
                  </a:lnTo>
                  <a:lnTo>
                    <a:pt x="1820" y="942"/>
                  </a:lnTo>
                  <a:lnTo>
                    <a:pt x="1781" y="956"/>
                  </a:lnTo>
                  <a:lnTo>
                    <a:pt x="1740" y="974"/>
                  </a:lnTo>
                  <a:lnTo>
                    <a:pt x="1696" y="995"/>
                  </a:lnTo>
                  <a:lnTo>
                    <a:pt x="1602" y="1042"/>
                  </a:lnTo>
                  <a:lnTo>
                    <a:pt x="1552" y="1066"/>
                  </a:lnTo>
                  <a:lnTo>
                    <a:pt x="1501" y="1090"/>
                  </a:lnTo>
                  <a:lnTo>
                    <a:pt x="1448" y="1111"/>
                  </a:lnTo>
                  <a:lnTo>
                    <a:pt x="1396" y="1130"/>
                  </a:lnTo>
                  <a:lnTo>
                    <a:pt x="1342" y="1146"/>
                  </a:lnTo>
                  <a:lnTo>
                    <a:pt x="1288" y="1159"/>
                  </a:lnTo>
                  <a:lnTo>
                    <a:pt x="1235" y="1166"/>
                  </a:lnTo>
                  <a:lnTo>
                    <a:pt x="1182" y="1167"/>
                  </a:lnTo>
                  <a:lnTo>
                    <a:pt x="1121" y="1166"/>
                  </a:lnTo>
                  <a:lnTo>
                    <a:pt x="1067" y="1166"/>
                  </a:lnTo>
                  <a:lnTo>
                    <a:pt x="1020" y="1167"/>
                  </a:lnTo>
                  <a:lnTo>
                    <a:pt x="979" y="1171"/>
                  </a:lnTo>
                  <a:lnTo>
                    <a:pt x="945" y="1176"/>
                  </a:lnTo>
                  <a:lnTo>
                    <a:pt x="915" y="1181"/>
                  </a:lnTo>
                  <a:lnTo>
                    <a:pt x="889" y="1189"/>
                  </a:lnTo>
                  <a:lnTo>
                    <a:pt x="866" y="1198"/>
                  </a:lnTo>
                  <a:lnTo>
                    <a:pt x="848" y="1207"/>
                  </a:lnTo>
                  <a:lnTo>
                    <a:pt x="831" y="1219"/>
                  </a:lnTo>
                  <a:lnTo>
                    <a:pt x="800" y="1243"/>
                  </a:lnTo>
                  <a:lnTo>
                    <a:pt x="776" y="1262"/>
                  </a:lnTo>
                  <a:lnTo>
                    <a:pt x="754" y="1279"/>
                  </a:lnTo>
                  <a:lnTo>
                    <a:pt x="733" y="1295"/>
                  </a:lnTo>
                  <a:lnTo>
                    <a:pt x="712" y="1310"/>
                  </a:lnTo>
                  <a:lnTo>
                    <a:pt x="687" y="1324"/>
                  </a:lnTo>
                  <a:lnTo>
                    <a:pt x="658" y="1340"/>
                  </a:lnTo>
                  <a:lnTo>
                    <a:pt x="624" y="1357"/>
                  </a:lnTo>
                  <a:lnTo>
                    <a:pt x="603" y="1366"/>
                  </a:lnTo>
                  <a:lnTo>
                    <a:pt x="578" y="1375"/>
                  </a:lnTo>
                  <a:lnTo>
                    <a:pt x="549" y="1384"/>
                  </a:lnTo>
                  <a:lnTo>
                    <a:pt x="519" y="1393"/>
                  </a:lnTo>
                  <a:lnTo>
                    <a:pt x="488" y="1404"/>
                  </a:lnTo>
                  <a:lnTo>
                    <a:pt x="455" y="1413"/>
                  </a:lnTo>
                  <a:lnTo>
                    <a:pt x="424" y="1421"/>
                  </a:lnTo>
                  <a:lnTo>
                    <a:pt x="394" y="1429"/>
                  </a:lnTo>
                  <a:lnTo>
                    <a:pt x="365" y="1437"/>
                  </a:lnTo>
                  <a:lnTo>
                    <a:pt x="340" y="1443"/>
                  </a:lnTo>
                  <a:lnTo>
                    <a:pt x="319" y="1447"/>
                  </a:lnTo>
                  <a:lnTo>
                    <a:pt x="293" y="1454"/>
                  </a:lnTo>
                  <a:lnTo>
                    <a:pt x="289" y="1455"/>
                  </a:lnTo>
                  <a:lnTo>
                    <a:pt x="0" y="435"/>
                  </a:lnTo>
                  <a:lnTo>
                    <a:pt x="4" y="435"/>
                  </a:lnTo>
                  <a:lnTo>
                    <a:pt x="16" y="432"/>
                  </a:lnTo>
                  <a:lnTo>
                    <a:pt x="33" y="430"/>
                  </a:lnTo>
                  <a:lnTo>
                    <a:pt x="55" y="425"/>
                  </a:lnTo>
                  <a:lnTo>
                    <a:pt x="80" y="418"/>
                  </a:lnTo>
                  <a:lnTo>
                    <a:pt x="107" y="410"/>
                  </a:lnTo>
                  <a:lnTo>
                    <a:pt x="134" y="401"/>
                  </a:lnTo>
                  <a:lnTo>
                    <a:pt x="160" y="391"/>
                  </a:lnTo>
                  <a:lnTo>
                    <a:pt x="184" y="377"/>
                  </a:lnTo>
                  <a:lnTo>
                    <a:pt x="204" y="362"/>
                  </a:lnTo>
                  <a:lnTo>
                    <a:pt x="226" y="342"/>
                  </a:lnTo>
                  <a:lnTo>
                    <a:pt x="249" y="324"/>
                  </a:lnTo>
                  <a:lnTo>
                    <a:pt x="276" y="307"/>
                  </a:lnTo>
                  <a:lnTo>
                    <a:pt x="304" y="292"/>
                  </a:lnTo>
                  <a:lnTo>
                    <a:pt x="336" y="282"/>
                  </a:lnTo>
                  <a:lnTo>
                    <a:pt x="373" y="273"/>
                  </a:lnTo>
                  <a:lnTo>
                    <a:pt x="414" y="269"/>
                  </a:lnTo>
                  <a:lnTo>
                    <a:pt x="460" y="267"/>
                  </a:lnTo>
                  <a:lnTo>
                    <a:pt x="513" y="267"/>
                  </a:lnTo>
                  <a:lnTo>
                    <a:pt x="560" y="266"/>
                  </a:lnTo>
                  <a:lnTo>
                    <a:pt x="604" y="262"/>
                  </a:lnTo>
                  <a:lnTo>
                    <a:pt x="645" y="258"/>
                  </a:lnTo>
                  <a:lnTo>
                    <a:pt x="684" y="253"/>
                  </a:lnTo>
                  <a:lnTo>
                    <a:pt x="722" y="247"/>
                  </a:lnTo>
                  <a:lnTo>
                    <a:pt x="762" y="241"/>
                  </a:lnTo>
                  <a:lnTo>
                    <a:pt x="791" y="235"/>
                  </a:lnTo>
                  <a:lnTo>
                    <a:pt x="823" y="223"/>
                  </a:lnTo>
                  <a:lnTo>
                    <a:pt x="857" y="206"/>
                  </a:lnTo>
                  <a:lnTo>
                    <a:pt x="895" y="186"/>
                  </a:lnTo>
                  <a:lnTo>
                    <a:pt x="935" y="165"/>
                  </a:lnTo>
                  <a:lnTo>
                    <a:pt x="975" y="142"/>
                  </a:lnTo>
                  <a:lnTo>
                    <a:pt x="1017" y="118"/>
                  </a:lnTo>
                  <a:lnTo>
                    <a:pt x="1060" y="95"/>
                  </a:lnTo>
                  <a:lnTo>
                    <a:pt x="1104" y="72"/>
                  </a:lnTo>
                  <a:lnTo>
                    <a:pt x="1148" y="54"/>
                  </a:lnTo>
                  <a:lnTo>
                    <a:pt x="1195" y="37"/>
                  </a:lnTo>
                  <a:lnTo>
                    <a:pt x="1241" y="24"/>
                  </a:lnTo>
                  <a:lnTo>
                    <a:pt x="1284" y="15"/>
                  </a:lnTo>
                  <a:lnTo>
                    <a:pt x="1322" y="8"/>
                  </a:lnTo>
                  <a:lnTo>
                    <a:pt x="1357" y="4"/>
                  </a:lnTo>
                  <a:lnTo>
                    <a:pt x="1384" y="2"/>
                  </a:lnTo>
                  <a:lnTo>
                    <a:pt x="1405" y="0"/>
                  </a:lnTo>
                  <a:close/>
                </a:path>
              </a:pathLst>
            </a:custGeom>
            <a:blipFill dpi="0" rotWithShape="1"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8" name="Group 118">
            <a:extLst>
              <a:ext uri="{FF2B5EF4-FFF2-40B4-BE49-F238E27FC236}">
                <a16:creationId xmlns:a16="http://schemas.microsoft.com/office/drawing/2014/main" id="{2CF17F6E-3C1E-40D9-9EFC-4BFE3835CCB7}"/>
              </a:ext>
            </a:extLst>
          </p:cNvPr>
          <p:cNvGrpSpPr/>
          <p:nvPr/>
        </p:nvGrpSpPr>
        <p:grpSpPr>
          <a:xfrm>
            <a:off x="1681179" y="2833613"/>
            <a:ext cx="562992" cy="676309"/>
            <a:chOff x="7689849" y="2601913"/>
            <a:chExt cx="3000375" cy="3944937"/>
          </a:xfrm>
          <a:effectLst>
            <a:outerShdw blurRad="76200" dir="18900000" sy="23000" kx="-1200000" algn="bl" rotWithShape="0">
              <a:prstClr val="black">
                <a:alpha val="17000"/>
              </a:prstClr>
            </a:outerShdw>
          </a:effectLst>
        </p:grpSpPr>
        <p:sp>
          <p:nvSpPr>
            <p:cNvPr id="109" name="Freeform 14">
              <a:extLst>
                <a:ext uri="{FF2B5EF4-FFF2-40B4-BE49-F238E27FC236}">
                  <a16:creationId xmlns:a16="http://schemas.microsoft.com/office/drawing/2014/main" id="{4AE77C49-23FF-453A-861B-FC7ECD14DC81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3662" y="3327400"/>
              <a:ext cx="723900" cy="2241550"/>
            </a:xfrm>
            <a:custGeom>
              <a:avLst/>
              <a:gdLst/>
              <a:ahLst/>
              <a:cxnLst>
                <a:cxn ang="0">
                  <a:pos x="48" y="0"/>
                </a:cxn>
                <a:cxn ang="0">
                  <a:pos x="456" y="1397"/>
                </a:cxn>
                <a:cxn ang="0">
                  <a:pos x="407" y="1412"/>
                </a:cxn>
                <a:cxn ang="0">
                  <a:pos x="0" y="15"/>
                </a:cxn>
                <a:cxn ang="0">
                  <a:pos x="48" y="0"/>
                </a:cxn>
              </a:cxnLst>
              <a:rect l="0" t="0" r="r" b="b"/>
              <a:pathLst>
                <a:path w="456" h="1412">
                  <a:moveTo>
                    <a:pt x="48" y="0"/>
                  </a:moveTo>
                  <a:lnTo>
                    <a:pt x="456" y="1397"/>
                  </a:lnTo>
                  <a:lnTo>
                    <a:pt x="407" y="1412"/>
                  </a:lnTo>
                  <a:lnTo>
                    <a:pt x="0" y="15"/>
                  </a:lnTo>
                  <a:lnTo>
                    <a:pt x="48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85000"/>
                    <a:shade val="30000"/>
                    <a:satMod val="115000"/>
                  </a:schemeClr>
                </a:gs>
                <a:gs pos="50000">
                  <a:schemeClr val="bg1">
                    <a:lumMod val="85000"/>
                    <a:shade val="67500"/>
                    <a:satMod val="115000"/>
                  </a:schemeClr>
                </a:gs>
                <a:gs pos="100000">
                  <a:schemeClr val="bg1">
                    <a:lumMod val="85000"/>
                    <a:shade val="100000"/>
                    <a:satMod val="115000"/>
                  </a:schemeClr>
                </a:gs>
              </a:gsLst>
              <a:lin ang="0" scaled="1"/>
              <a:tileRect/>
            </a:gra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15">
              <a:extLst>
                <a:ext uri="{FF2B5EF4-FFF2-40B4-BE49-F238E27FC236}">
                  <a16:creationId xmlns:a16="http://schemas.microsoft.com/office/drawing/2014/main" id="{C67D6D0B-667C-4F0E-883B-057ECC3EE2A7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2149" y="5530850"/>
              <a:ext cx="455613" cy="1016000"/>
            </a:xfrm>
            <a:custGeom>
              <a:avLst/>
              <a:gdLst/>
              <a:ahLst/>
              <a:cxnLst>
                <a:cxn ang="0">
                  <a:pos x="110" y="0"/>
                </a:cxn>
                <a:cxn ang="0">
                  <a:pos x="287" y="609"/>
                </a:cxn>
                <a:cxn ang="0">
                  <a:pos x="177" y="640"/>
                </a:cxn>
                <a:cxn ang="0">
                  <a:pos x="0" y="31"/>
                </a:cxn>
                <a:cxn ang="0">
                  <a:pos x="110" y="0"/>
                </a:cxn>
              </a:cxnLst>
              <a:rect l="0" t="0" r="r" b="b"/>
              <a:pathLst>
                <a:path w="287" h="640">
                  <a:moveTo>
                    <a:pt x="110" y="0"/>
                  </a:moveTo>
                  <a:lnTo>
                    <a:pt x="287" y="609"/>
                  </a:lnTo>
                  <a:lnTo>
                    <a:pt x="177" y="640"/>
                  </a:lnTo>
                  <a:lnTo>
                    <a:pt x="0" y="31"/>
                  </a:lnTo>
                  <a:lnTo>
                    <a:pt x="11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1">
                    <a:lumMod val="65000"/>
                    <a:lumOff val="35000"/>
                    <a:shade val="30000"/>
                    <a:satMod val="115000"/>
                  </a:schemeClr>
                </a:gs>
                <a:gs pos="50000">
                  <a:schemeClr val="tx1">
                    <a:lumMod val="65000"/>
                    <a:lumOff val="35000"/>
                    <a:shade val="67500"/>
                    <a:satMod val="115000"/>
                  </a:schemeClr>
                </a:gs>
                <a:gs pos="100000">
                  <a:schemeClr val="tx1">
                    <a:lumMod val="65000"/>
                    <a:lumOff val="35000"/>
                    <a:shade val="100000"/>
                    <a:satMod val="115000"/>
                  </a:schemeClr>
                </a:gs>
              </a:gsLst>
              <a:lin ang="0" scaled="1"/>
              <a:tileRect/>
            </a:gra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13">
              <a:extLst>
                <a:ext uri="{FF2B5EF4-FFF2-40B4-BE49-F238E27FC236}">
                  <a16:creationId xmlns:a16="http://schemas.microsoft.com/office/drawing/2014/main" id="{3C9784AA-539C-4D4D-B839-5C7B90A32E44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9849" y="2601913"/>
              <a:ext cx="3000375" cy="2309813"/>
            </a:xfrm>
            <a:custGeom>
              <a:avLst/>
              <a:gdLst/>
              <a:ahLst/>
              <a:cxnLst>
                <a:cxn ang="0">
                  <a:pos x="1423" y="0"/>
                </a:cxn>
                <a:cxn ang="0">
                  <a:pos x="1427" y="16"/>
                </a:cxn>
                <a:cxn ang="0">
                  <a:pos x="1440" y="58"/>
                </a:cxn>
                <a:cxn ang="0">
                  <a:pos x="1464" y="122"/>
                </a:cxn>
                <a:cxn ang="0">
                  <a:pos x="1501" y="203"/>
                </a:cxn>
                <a:cxn ang="0">
                  <a:pos x="1550" y="298"/>
                </a:cxn>
                <a:cxn ang="0">
                  <a:pos x="1617" y="400"/>
                </a:cxn>
                <a:cxn ang="0">
                  <a:pos x="1671" y="482"/>
                </a:cxn>
                <a:cxn ang="0">
                  <a:pos x="1722" y="570"/>
                </a:cxn>
                <a:cxn ang="0">
                  <a:pos x="1768" y="659"/>
                </a:cxn>
                <a:cxn ang="0">
                  <a:pos x="1809" y="741"/>
                </a:cxn>
                <a:cxn ang="0">
                  <a:pos x="1843" y="815"/>
                </a:cxn>
                <a:cxn ang="0">
                  <a:pos x="1867" y="874"/>
                </a:cxn>
                <a:cxn ang="0">
                  <a:pos x="1885" y="912"/>
                </a:cxn>
                <a:cxn ang="0">
                  <a:pos x="1890" y="926"/>
                </a:cxn>
                <a:cxn ang="0">
                  <a:pos x="1820" y="942"/>
                </a:cxn>
                <a:cxn ang="0">
                  <a:pos x="1740" y="974"/>
                </a:cxn>
                <a:cxn ang="0">
                  <a:pos x="1602" y="1042"/>
                </a:cxn>
                <a:cxn ang="0">
                  <a:pos x="1501" y="1090"/>
                </a:cxn>
                <a:cxn ang="0">
                  <a:pos x="1396" y="1130"/>
                </a:cxn>
                <a:cxn ang="0">
                  <a:pos x="1288" y="1159"/>
                </a:cxn>
                <a:cxn ang="0">
                  <a:pos x="1182" y="1167"/>
                </a:cxn>
                <a:cxn ang="0">
                  <a:pos x="1067" y="1166"/>
                </a:cxn>
                <a:cxn ang="0">
                  <a:pos x="979" y="1171"/>
                </a:cxn>
                <a:cxn ang="0">
                  <a:pos x="915" y="1181"/>
                </a:cxn>
                <a:cxn ang="0">
                  <a:pos x="866" y="1198"/>
                </a:cxn>
                <a:cxn ang="0">
                  <a:pos x="831" y="1219"/>
                </a:cxn>
                <a:cxn ang="0">
                  <a:pos x="776" y="1262"/>
                </a:cxn>
                <a:cxn ang="0">
                  <a:pos x="733" y="1295"/>
                </a:cxn>
                <a:cxn ang="0">
                  <a:pos x="687" y="1324"/>
                </a:cxn>
                <a:cxn ang="0">
                  <a:pos x="624" y="1357"/>
                </a:cxn>
                <a:cxn ang="0">
                  <a:pos x="578" y="1375"/>
                </a:cxn>
                <a:cxn ang="0">
                  <a:pos x="519" y="1393"/>
                </a:cxn>
                <a:cxn ang="0">
                  <a:pos x="455" y="1413"/>
                </a:cxn>
                <a:cxn ang="0">
                  <a:pos x="394" y="1429"/>
                </a:cxn>
                <a:cxn ang="0">
                  <a:pos x="340" y="1443"/>
                </a:cxn>
                <a:cxn ang="0">
                  <a:pos x="293" y="1454"/>
                </a:cxn>
                <a:cxn ang="0">
                  <a:pos x="0" y="435"/>
                </a:cxn>
                <a:cxn ang="0">
                  <a:pos x="16" y="432"/>
                </a:cxn>
                <a:cxn ang="0">
                  <a:pos x="55" y="425"/>
                </a:cxn>
                <a:cxn ang="0">
                  <a:pos x="107" y="410"/>
                </a:cxn>
                <a:cxn ang="0">
                  <a:pos x="160" y="391"/>
                </a:cxn>
                <a:cxn ang="0">
                  <a:pos x="204" y="362"/>
                </a:cxn>
                <a:cxn ang="0">
                  <a:pos x="249" y="324"/>
                </a:cxn>
                <a:cxn ang="0">
                  <a:pos x="304" y="292"/>
                </a:cxn>
                <a:cxn ang="0">
                  <a:pos x="373" y="273"/>
                </a:cxn>
                <a:cxn ang="0">
                  <a:pos x="460" y="267"/>
                </a:cxn>
                <a:cxn ang="0">
                  <a:pos x="560" y="266"/>
                </a:cxn>
                <a:cxn ang="0">
                  <a:pos x="645" y="258"/>
                </a:cxn>
                <a:cxn ang="0">
                  <a:pos x="722" y="247"/>
                </a:cxn>
                <a:cxn ang="0">
                  <a:pos x="791" y="235"/>
                </a:cxn>
                <a:cxn ang="0">
                  <a:pos x="857" y="206"/>
                </a:cxn>
                <a:cxn ang="0">
                  <a:pos x="935" y="165"/>
                </a:cxn>
                <a:cxn ang="0">
                  <a:pos x="1017" y="118"/>
                </a:cxn>
                <a:cxn ang="0">
                  <a:pos x="1104" y="72"/>
                </a:cxn>
                <a:cxn ang="0">
                  <a:pos x="1195" y="37"/>
                </a:cxn>
                <a:cxn ang="0">
                  <a:pos x="1284" y="15"/>
                </a:cxn>
                <a:cxn ang="0">
                  <a:pos x="1357" y="4"/>
                </a:cxn>
                <a:cxn ang="0">
                  <a:pos x="1405" y="0"/>
                </a:cxn>
              </a:cxnLst>
              <a:rect l="0" t="0" r="r" b="b"/>
              <a:pathLst>
                <a:path w="1890" h="1455">
                  <a:moveTo>
                    <a:pt x="1405" y="0"/>
                  </a:moveTo>
                  <a:lnTo>
                    <a:pt x="1423" y="0"/>
                  </a:lnTo>
                  <a:lnTo>
                    <a:pt x="1425" y="4"/>
                  </a:lnTo>
                  <a:lnTo>
                    <a:pt x="1427" y="16"/>
                  </a:lnTo>
                  <a:lnTo>
                    <a:pt x="1432" y="33"/>
                  </a:lnTo>
                  <a:lnTo>
                    <a:pt x="1440" y="58"/>
                  </a:lnTo>
                  <a:lnTo>
                    <a:pt x="1451" y="87"/>
                  </a:lnTo>
                  <a:lnTo>
                    <a:pt x="1464" y="122"/>
                  </a:lnTo>
                  <a:lnTo>
                    <a:pt x="1481" y="161"/>
                  </a:lnTo>
                  <a:lnTo>
                    <a:pt x="1501" y="203"/>
                  </a:lnTo>
                  <a:lnTo>
                    <a:pt x="1524" y="249"/>
                  </a:lnTo>
                  <a:lnTo>
                    <a:pt x="1550" y="298"/>
                  </a:lnTo>
                  <a:lnTo>
                    <a:pt x="1582" y="349"/>
                  </a:lnTo>
                  <a:lnTo>
                    <a:pt x="1617" y="400"/>
                  </a:lnTo>
                  <a:lnTo>
                    <a:pt x="1645" y="440"/>
                  </a:lnTo>
                  <a:lnTo>
                    <a:pt x="1671" y="482"/>
                  </a:lnTo>
                  <a:lnTo>
                    <a:pt x="1697" y="527"/>
                  </a:lnTo>
                  <a:lnTo>
                    <a:pt x="1722" y="570"/>
                  </a:lnTo>
                  <a:lnTo>
                    <a:pt x="1746" y="614"/>
                  </a:lnTo>
                  <a:lnTo>
                    <a:pt x="1768" y="659"/>
                  </a:lnTo>
                  <a:lnTo>
                    <a:pt x="1790" y="701"/>
                  </a:lnTo>
                  <a:lnTo>
                    <a:pt x="1809" y="741"/>
                  </a:lnTo>
                  <a:lnTo>
                    <a:pt x="1827" y="779"/>
                  </a:lnTo>
                  <a:lnTo>
                    <a:pt x="1843" y="815"/>
                  </a:lnTo>
                  <a:lnTo>
                    <a:pt x="1857" y="846"/>
                  </a:lnTo>
                  <a:lnTo>
                    <a:pt x="1867" y="874"/>
                  </a:lnTo>
                  <a:lnTo>
                    <a:pt x="1877" y="896"/>
                  </a:lnTo>
                  <a:lnTo>
                    <a:pt x="1885" y="912"/>
                  </a:lnTo>
                  <a:lnTo>
                    <a:pt x="1888" y="922"/>
                  </a:lnTo>
                  <a:lnTo>
                    <a:pt x="1890" y="926"/>
                  </a:lnTo>
                  <a:lnTo>
                    <a:pt x="1857" y="931"/>
                  </a:lnTo>
                  <a:lnTo>
                    <a:pt x="1820" y="942"/>
                  </a:lnTo>
                  <a:lnTo>
                    <a:pt x="1781" y="956"/>
                  </a:lnTo>
                  <a:lnTo>
                    <a:pt x="1740" y="974"/>
                  </a:lnTo>
                  <a:lnTo>
                    <a:pt x="1696" y="995"/>
                  </a:lnTo>
                  <a:lnTo>
                    <a:pt x="1602" y="1042"/>
                  </a:lnTo>
                  <a:lnTo>
                    <a:pt x="1552" y="1066"/>
                  </a:lnTo>
                  <a:lnTo>
                    <a:pt x="1501" y="1090"/>
                  </a:lnTo>
                  <a:lnTo>
                    <a:pt x="1448" y="1111"/>
                  </a:lnTo>
                  <a:lnTo>
                    <a:pt x="1396" y="1130"/>
                  </a:lnTo>
                  <a:lnTo>
                    <a:pt x="1342" y="1146"/>
                  </a:lnTo>
                  <a:lnTo>
                    <a:pt x="1288" y="1159"/>
                  </a:lnTo>
                  <a:lnTo>
                    <a:pt x="1235" y="1166"/>
                  </a:lnTo>
                  <a:lnTo>
                    <a:pt x="1182" y="1167"/>
                  </a:lnTo>
                  <a:lnTo>
                    <a:pt x="1121" y="1166"/>
                  </a:lnTo>
                  <a:lnTo>
                    <a:pt x="1067" y="1166"/>
                  </a:lnTo>
                  <a:lnTo>
                    <a:pt x="1020" y="1167"/>
                  </a:lnTo>
                  <a:lnTo>
                    <a:pt x="979" y="1171"/>
                  </a:lnTo>
                  <a:lnTo>
                    <a:pt x="945" y="1176"/>
                  </a:lnTo>
                  <a:lnTo>
                    <a:pt x="915" y="1181"/>
                  </a:lnTo>
                  <a:lnTo>
                    <a:pt x="889" y="1189"/>
                  </a:lnTo>
                  <a:lnTo>
                    <a:pt x="866" y="1198"/>
                  </a:lnTo>
                  <a:lnTo>
                    <a:pt x="848" y="1207"/>
                  </a:lnTo>
                  <a:lnTo>
                    <a:pt x="831" y="1219"/>
                  </a:lnTo>
                  <a:lnTo>
                    <a:pt x="800" y="1243"/>
                  </a:lnTo>
                  <a:lnTo>
                    <a:pt x="776" y="1262"/>
                  </a:lnTo>
                  <a:lnTo>
                    <a:pt x="754" y="1279"/>
                  </a:lnTo>
                  <a:lnTo>
                    <a:pt x="733" y="1295"/>
                  </a:lnTo>
                  <a:lnTo>
                    <a:pt x="712" y="1310"/>
                  </a:lnTo>
                  <a:lnTo>
                    <a:pt x="687" y="1324"/>
                  </a:lnTo>
                  <a:lnTo>
                    <a:pt x="658" y="1340"/>
                  </a:lnTo>
                  <a:lnTo>
                    <a:pt x="624" y="1357"/>
                  </a:lnTo>
                  <a:lnTo>
                    <a:pt x="603" y="1366"/>
                  </a:lnTo>
                  <a:lnTo>
                    <a:pt x="578" y="1375"/>
                  </a:lnTo>
                  <a:lnTo>
                    <a:pt x="549" y="1384"/>
                  </a:lnTo>
                  <a:lnTo>
                    <a:pt x="519" y="1393"/>
                  </a:lnTo>
                  <a:lnTo>
                    <a:pt x="488" y="1404"/>
                  </a:lnTo>
                  <a:lnTo>
                    <a:pt x="455" y="1413"/>
                  </a:lnTo>
                  <a:lnTo>
                    <a:pt x="424" y="1421"/>
                  </a:lnTo>
                  <a:lnTo>
                    <a:pt x="394" y="1429"/>
                  </a:lnTo>
                  <a:lnTo>
                    <a:pt x="365" y="1437"/>
                  </a:lnTo>
                  <a:lnTo>
                    <a:pt x="340" y="1443"/>
                  </a:lnTo>
                  <a:lnTo>
                    <a:pt x="319" y="1447"/>
                  </a:lnTo>
                  <a:lnTo>
                    <a:pt x="293" y="1454"/>
                  </a:lnTo>
                  <a:lnTo>
                    <a:pt x="289" y="1455"/>
                  </a:lnTo>
                  <a:lnTo>
                    <a:pt x="0" y="435"/>
                  </a:lnTo>
                  <a:lnTo>
                    <a:pt x="4" y="435"/>
                  </a:lnTo>
                  <a:lnTo>
                    <a:pt x="16" y="432"/>
                  </a:lnTo>
                  <a:lnTo>
                    <a:pt x="33" y="430"/>
                  </a:lnTo>
                  <a:lnTo>
                    <a:pt x="55" y="425"/>
                  </a:lnTo>
                  <a:lnTo>
                    <a:pt x="80" y="418"/>
                  </a:lnTo>
                  <a:lnTo>
                    <a:pt x="107" y="410"/>
                  </a:lnTo>
                  <a:lnTo>
                    <a:pt x="134" y="401"/>
                  </a:lnTo>
                  <a:lnTo>
                    <a:pt x="160" y="391"/>
                  </a:lnTo>
                  <a:lnTo>
                    <a:pt x="184" y="377"/>
                  </a:lnTo>
                  <a:lnTo>
                    <a:pt x="204" y="362"/>
                  </a:lnTo>
                  <a:lnTo>
                    <a:pt x="226" y="342"/>
                  </a:lnTo>
                  <a:lnTo>
                    <a:pt x="249" y="324"/>
                  </a:lnTo>
                  <a:lnTo>
                    <a:pt x="276" y="307"/>
                  </a:lnTo>
                  <a:lnTo>
                    <a:pt x="304" y="292"/>
                  </a:lnTo>
                  <a:lnTo>
                    <a:pt x="336" y="282"/>
                  </a:lnTo>
                  <a:lnTo>
                    <a:pt x="373" y="273"/>
                  </a:lnTo>
                  <a:lnTo>
                    <a:pt x="414" y="269"/>
                  </a:lnTo>
                  <a:lnTo>
                    <a:pt x="460" y="267"/>
                  </a:lnTo>
                  <a:lnTo>
                    <a:pt x="513" y="267"/>
                  </a:lnTo>
                  <a:lnTo>
                    <a:pt x="560" y="266"/>
                  </a:lnTo>
                  <a:lnTo>
                    <a:pt x="604" y="262"/>
                  </a:lnTo>
                  <a:lnTo>
                    <a:pt x="645" y="258"/>
                  </a:lnTo>
                  <a:lnTo>
                    <a:pt x="684" y="253"/>
                  </a:lnTo>
                  <a:lnTo>
                    <a:pt x="722" y="247"/>
                  </a:lnTo>
                  <a:lnTo>
                    <a:pt x="762" y="241"/>
                  </a:lnTo>
                  <a:lnTo>
                    <a:pt x="791" y="235"/>
                  </a:lnTo>
                  <a:lnTo>
                    <a:pt x="823" y="223"/>
                  </a:lnTo>
                  <a:lnTo>
                    <a:pt x="857" y="206"/>
                  </a:lnTo>
                  <a:lnTo>
                    <a:pt x="895" y="186"/>
                  </a:lnTo>
                  <a:lnTo>
                    <a:pt x="935" y="165"/>
                  </a:lnTo>
                  <a:lnTo>
                    <a:pt x="975" y="142"/>
                  </a:lnTo>
                  <a:lnTo>
                    <a:pt x="1017" y="118"/>
                  </a:lnTo>
                  <a:lnTo>
                    <a:pt x="1060" y="95"/>
                  </a:lnTo>
                  <a:lnTo>
                    <a:pt x="1104" y="72"/>
                  </a:lnTo>
                  <a:lnTo>
                    <a:pt x="1148" y="54"/>
                  </a:lnTo>
                  <a:lnTo>
                    <a:pt x="1195" y="37"/>
                  </a:lnTo>
                  <a:lnTo>
                    <a:pt x="1241" y="24"/>
                  </a:lnTo>
                  <a:lnTo>
                    <a:pt x="1284" y="15"/>
                  </a:lnTo>
                  <a:lnTo>
                    <a:pt x="1322" y="8"/>
                  </a:lnTo>
                  <a:lnTo>
                    <a:pt x="1357" y="4"/>
                  </a:lnTo>
                  <a:lnTo>
                    <a:pt x="1384" y="2"/>
                  </a:lnTo>
                  <a:lnTo>
                    <a:pt x="1405" y="0"/>
                  </a:lnTo>
                  <a:close/>
                </a:path>
              </a:pathLst>
            </a:custGeom>
            <a:blipFill dpi="0" rotWithShape="1"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3" name="Textfeld 32">
            <a:extLst>
              <a:ext uri="{FF2B5EF4-FFF2-40B4-BE49-F238E27FC236}">
                <a16:creationId xmlns:a16="http://schemas.microsoft.com/office/drawing/2014/main" id="{31B84E76-74EA-4D72-89C3-2CBDDC38A086}"/>
              </a:ext>
            </a:extLst>
          </p:cNvPr>
          <p:cNvSpPr txBox="1"/>
          <p:nvPr/>
        </p:nvSpPr>
        <p:spPr>
          <a:xfrm>
            <a:off x="5329680" y="1690252"/>
            <a:ext cx="6095404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00"/>
              </a:spcBef>
            </a:pPr>
            <a:r>
              <a:rPr lang="de-DE" sz="1200" b="1" dirty="0">
                <a:solidFill>
                  <a:srgbClr val="32C8C8"/>
                </a:solidFill>
              </a:rPr>
              <a:t>Briefmengenentwicklung (2012 zu 2021)</a:t>
            </a:r>
          </a:p>
          <a:p>
            <a:pPr marL="176213" indent="-87313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Starker Mengeneinbruch durch </a:t>
            </a:r>
            <a:r>
              <a:rPr lang="de-DE" sz="1100" dirty="0" err="1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eSubstitution</a:t>
            </a:r>
            <a:r>
              <a:rPr lang="de-DE" sz="1100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; Schweden (-50%), Dänemark (-74%) und Norwegen bzw. Finnland (-83%) </a:t>
            </a:r>
          </a:p>
          <a:p>
            <a:pPr marL="176213" indent="-87313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Kompensation Briefmengenrückgang durch Ausbau eCommerce (Norwegen, Finnland) und Fusionen (Post Danmark und Posten AB) </a:t>
            </a:r>
          </a:p>
        </p:txBody>
      </p:sp>
      <p:cxnSp>
        <p:nvCxnSpPr>
          <p:cNvPr id="113" name="Straight Connector 14">
            <a:extLst>
              <a:ext uri="{FF2B5EF4-FFF2-40B4-BE49-F238E27FC236}">
                <a16:creationId xmlns:a16="http://schemas.microsoft.com/office/drawing/2014/main" id="{B6A1F946-54BE-4373-B625-CDEB8C7EE4FC}"/>
              </a:ext>
            </a:extLst>
          </p:cNvPr>
          <p:cNvCxnSpPr/>
          <p:nvPr/>
        </p:nvCxnSpPr>
        <p:spPr>
          <a:xfrm>
            <a:off x="9078659" y="6389084"/>
            <a:ext cx="0" cy="166687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Textfeld 113">
            <a:extLst>
              <a:ext uri="{FF2B5EF4-FFF2-40B4-BE49-F238E27FC236}">
                <a16:creationId xmlns:a16="http://schemas.microsoft.com/office/drawing/2014/main" id="{864776CB-AB11-4E13-BE3C-CDAA5673995F}"/>
              </a:ext>
            </a:extLst>
          </p:cNvPr>
          <p:cNvSpPr txBox="1"/>
          <p:nvPr/>
        </p:nvSpPr>
        <p:spPr>
          <a:xfrm>
            <a:off x="5324766" y="2737394"/>
            <a:ext cx="6095404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00"/>
              </a:spcBef>
            </a:pPr>
            <a:r>
              <a:rPr lang="de-DE" sz="1200" b="1" dirty="0">
                <a:solidFill>
                  <a:srgbClr val="32C8C8"/>
                </a:solidFill>
              </a:rPr>
              <a:t>Wettbewerbssituation</a:t>
            </a:r>
          </a:p>
          <a:p>
            <a:pPr marL="176213" indent="-87313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Mit Ausnahme Ortswettbewerb in Schweden kein nennenswerter Wettbewerb im Briefmarkt</a:t>
            </a:r>
          </a:p>
          <a:p>
            <a:pPr marL="176213" indent="-87313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Kaum wettbewerbsfördernde Regulierung mit Ausnahme Netzzugangsverpflichtung in Norwegen (allerdings geringe Nutzung da kein nennenswerter Wettbewerb vorhanden)  </a:t>
            </a:r>
          </a:p>
        </p:txBody>
      </p:sp>
      <p:sp>
        <p:nvSpPr>
          <p:cNvPr id="92" name="Textfeld 91">
            <a:extLst>
              <a:ext uri="{FF2B5EF4-FFF2-40B4-BE49-F238E27FC236}">
                <a16:creationId xmlns:a16="http://schemas.microsoft.com/office/drawing/2014/main" id="{9816B224-9DA6-4CA7-A0B5-26387E2EAA05}"/>
              </a:ext>
            </a:extLst>
          </p:cNvPr>
          <p:cNvSpPr txBox="1"/>
          <p:nvPr/>
        </p:nvSpPr>
        <p:spPr>
          <a:xfrm>
            <a:off x="5329680" y="3637045"/>
            <a:ext cx="6095404" cy="12388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00"/>
              </a:spcBef>
            </a:pPr>
            <a:r>
              <a:rPr lang="de-DE" sz="1200" b="1" dirty="0">
                <a:solidFill>
                  <a:srgbClr val="32C8C8"/>
                </a:solidFill>
              </a:rPr>
              <a:t>Preisregulierung</a:t>
            </a:r>
            <a:endParaRPr lang="de-DE" sz="1400" b="1" dirty="0">
              <a:solidFill>
                <a:srgbClr val="32C8C8"/>
              </a:solidFill>
            </a:endParaRPr>
          </a:p>
          <a:p>
            <a:pPr marL="176213" indent="-87313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Keine Preisvorgaben</a:t>
            </a:r>
          </a:p>
          <a:p>
            <a:pPr marL="176213" indent="-87313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Relativ hohes Preisniveau für schnellstmöglich zugestellten Standardbrief:                                     3,90€ (Dänemark), 3,45€ (Finnland), 1,87€ (Norwegen) und 1,28€ (Schweden)</a:t>
            </a:r>
          </a:p>
          <a:p>
            <a:pPr marL="176213" indent="-87313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Durchschnittliche Umsatzrendite liegt bei rund 5% (inkl. sonstigem Post- und Logistikgeschäft) </a:t>
            </a:r>
            <a:endParaRPr lang="de-DE" sz="1400" dirty="0">
              <a:solidFill>
                <a:schemeClr val="bg1">
                  <a:lumMod val="50000"/>
                </a:schemeClr>
              </a:solidFill>
              <a:cs typeface="Times New Roman" panose="02020603050405020304" pitchFamily="18" charset="0"/>
            </a:endParaRPr>
          </a:p>
        </p:txBody>
      </p:sp>
      <p:sp>
        <p:nvSpPr>
          <p:cNvPr id="93" name="Textfeld 92">
            <a:extLst>
              <a:ext uri="{FF2B5EF4-FFF2-40B4-BE49-F238E27FC236}">
                <a16:creationId xmlns:a16="http://schemas.microsoft.com/office/drawing/2014/main" id="{F131DD7C-60E1-4099-AD12-C8092C39A3C6}"/>
              </a:ext>
            </a:extLst>
          </p:cNvPr>
          <p:cNvSpPr txBox="1"/>
          <p:nvPr/>
        </p:nvSpPr>
        <p:spPr>
          <a:xfrm>
            <a:off x="5324764" y="4890661"/>
            <a:ext cx="6095404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00"/>
              </a:spcBef>
            </a:pPr>
            <a:r>
              <a:rPr lang="de-DE" sz="1200" b="1" dirty="0">
                <a:solidFill>
                  <a:srgbClr val="32C8C8"/>
                </a:solidFill>
              </a:rPr>
              <a:t>Laufzeitvorgaben beim Universaldienst</a:t>
            </a:r>
          </a:p>
          <a:p>
            <a:pPr marL="176213" indent="-87313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Frühzeitig hohe Laufzeitflexibilität, um Netz durch Sendungssteuerung an Briefmengenrückgang auszurichten </a:t>
            </a:r>
          </a:p>
          <a:p>
            <a:pPr marL="176213" indent="-87313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Norwegen: A/B-Zustellung mit wöchentlich wechselnder Zustellung an zwei bzw. 3 Tagen und Laufzeiterfordernis von 85% E+3 bzw. 97% E+5</a:t>
            </a:r>
          </a:p>
          <a:p>
            <a:pPr marL="176213" indent="-87313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Finnland: 5 Tage Zustellung pro Woche in ländlichen Gebieten zusammen mit Zeitschriften und 3 Tagen pro Woche in Ballungsräumen bei einer Regellaufzeit von E+4 </a:t>
            </a:r>
          </a:p>
          <a:p>
            <a:pPr marL="176213" indent="-87313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bg1">
                  <a:lumMod val="50000"/>
                </a:schemeClr>
              </a:solidFill>
              <a:cs typeface="Times New Roman" panose="02020603050405020304" pitchFamily="18" charset="0"/>
            </a:endParaRPr>
          </a:p>
        </p:txBody>
      </p:sp>
      <p:sp>
        <p:nvSpPr>
          <p:cNvPr id="95" name="Textfeld 94">
            <a:extLst>
              <a:ext uri="{FF2B5EF4-FFF2-40B4-BE49-F238E27FC236}">
                <a16:creationId xmlns:a16="http://schemas.microsoft.com/office/drawing/2014/main" id="{41F0792D-CC4F-4C57-9AA2-C30EC70218FA}"/>
              </a:ext>
            </a:extLst>
          </p:cNvPr>
          <p:cNvSpPr txBox="1"/>
          <p:nvPr/>
        </p:nvSpPr>
        <p:spPr>
          <a:xfrm>
            <a:off x="765137" y="6598338"/>
            <a:ext cx="6264998" cy="14561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lvl1pPr>
              <a:buFont typeface="Arial"/>
              <a:buChar char="•"/>
            </a:lvl1pPr>
            <a:lvl2pPr>
              <a:buFont typeface="Arial"/>
              <a:buChar char="•"/>
            </a:lvl2pPr>
            <a:lvl3pPr>
              <a:buFont typeface="Arial"/>
              <a:buChar char="•"/>
            </a:lvl3pPr>
            <a:lvl4pPr>
              <a:buFont typeface="Arial"/>
              <a:buChar char="•"/>
            </a:lvl4pPr>
            <a:lvl5pPr>
              <a:buFont typeface="Arial"/>
              <a:buChar char="•"/>
            </a:lvl5pPr>
            <a:lvl6pPr>
              <a:buFont typeface="Arial"/>
              <a:buChar char="•"/>
            </a:lvl6pPr>
            <a:lvl7pPr>
              <a:buFont typeface="Arial"/>
              <a:buChar char="•"/>
            </a:lvl7pPr>
            <a:lvl8pPr>
              <a:buFont typeface="Arial"/>
              <a:buChar char="•"/>
            </a:lvl8pPr>
            <a:lvl9pPr>
              <a:buFont typeface="Arial"/>
              <a:buChar char="•"/>
            </a:lvl9pPr>
          </a:lstStyle>
          <a:p>
            <a:pPr algn="l">
              <a:lnSpc>
                <a:spcPct val="110000"/>
              </a:lnSpc>
              <a:spcAft>
                <a:spcPts val="500"/>
              </a:spcAft>
              <a:buNone/>
            </a:pPr>
            <a:r>
              <a:rPr lang="de-DE" sz="900" dirty="0">
                <a:solidFill>
                  <a:srgbClr val="878787"/>
                </a:solidFill>
              </a:rPr>
              <a:t>Quellen: IPC </a:t>
            </a:r>
            <a:r>
              <a:rPr lang="de-DE" sz="900" dirty="0" err="1">
                <a:solidFill>
                  <a:srgbClr val="878787"/>
                </a:solidFill>
              </a:rPr>
              <a:t>Regulatory</a:t>
            </a:r>
            <a:r>
              <a:rPr lang="de-DE" sz="900" dirty="0">
                <a:solidFill>
                  <a:srgbClr val="878787"/>
                </a:solidFill>
              </a:rPr>
              <a:t> Database 2022, Geschäftsberichte, EU-Kommission, Regulierungsbehörden</a:t>
            </a:r>
          </a:p>
        </p:txBody>
      </p:sp>
      <p:sp>
        <p:nvSpPr>
          <p:cNvPr id="96" name="Freeform 13">
            <a:extLst>
              <a:ext uri="{FF2B5EF4-FFF2-40B4-BE49-F238E27FC236}">
                <a16:creationId xmlns:a16="http://schemas.microsoft.com/office/drawing/2014/main" id="{E6242E57-5C9E-4AD1-A072-0C6A2031DA4A}"/>
              </a:ext>
            </a:extLst>
          </p:cNvPr>
          <p:cNvSpPr>
            <a:spLocks noEditPoints="1"/>
          </p:cNvSpPr>
          <p:nvPr/>
        </p:nvSpPr>
        <p:spPr bwMode="auto">
          <a:xfrm>
            <a:off x="113840" y="5288125"/>
            <a:ext cx="1376493" cy="1220008"/>
          </a:xfrm>
          <a:custGeom>
            <a:avLst/>
            <a:gdLst/>
            <a:ahLst/>
            <a:cxnLst>
              <a:cxn ang="0">
                <a:pos x="117" y="817"/>
              </a:cxn>
              <a:cxn ang="0">
                <a:pos x="99" y="828"/>
              </a:cxn>
              <a:cxn ang="0">
                <a:pos x="87" y="800"/>
              </a:cxn>
              <a:cxn ang="0">
                <a:pos x="57" y="816"/>
              </a:cxn>
              <a:cxn ang="0">
                <a:pos x="184" y="792"/>
              </a:cxn>
              <a:cxn ang="0">
                <a:pos x="168" y="813"/>
              </a:cxn>
              <a:cxn ang="0">
                <a:pos x="16" y="803"/>
              </a:cxn>
              <a:cxn ang="0">
                <a:pos x="188" y="782"/>
              </a:cxn>
              <a:cxn ang="0">
                <a:pos x="195" y="767"/>
              </a:cxn>
              <a:cxn ang="0">
                <a:pos x="501" y="380"/>
              </a:cxn>
              <a:cxn ang="0">
                <a:pos x="828" y="263"/>
              </a:cxn>
              <a:cxn ang="0">
                <a:pos x="822" y="271"/>
              </a:cxn>
              <a:cxn ang="0">
                <a:pos x="897" y="221"/>
              </a:cxn>
              <a:cxn ang="0">
                <a:pos x="902" y="250"/>
              </a:cxn>
              <a:cxn ang="0">
                <a:pos x="872" y="244"/>
              </a:cxn>
              <a:cxn ang="0">
                <a:pos x="942" y="211"/>
              </a:cxn>
              <a:cxn ang="0">
                <a:pos x="928" y="211"/>
              </a:cxn>
              <a:cxn ang="0">
                <a:pos x="391" y="75"/>
              </a:cxn>
              <a:cxn ang="0">
                <a:pos x="471" y="13"/>
              </a:cxn>
              <a:cxn ang="0">
                <a:pos x="511" y="12"/>
              </a:cxn>
              <a:cxn ang="0">
                <a:pos x="558" y="19"/>
              </a:cxn>
              <a:cxn ang="0">
                <a:pos x="608" y="18"/>
              </a:cxn>
              <a:cxn ang="0">
                <a:pos x="621" y="22"/>
              </a:cxn>
              <a:cxn ang="0">
                <a:pos x="656" y="22"/>
              </a:cxn>
              <a:cxn ang="0">
                <a:pos x="697" y="31"/>
              </a:cxn>
              <a:cxn ang="0">
                <a:pos x="715" y="43"/>
              </a:cxn>
              <a:cxn ang="0">
                <a:pos x="753" y="56"/>
              </a:cxn>
              <a:cxn ang="0">
                <a:pos x="795" y="61"/>
              </a:cxn>
              <a:cxn ang="0">
                <a:pos x="828" y="73"/>
              </a:cxn>
              <a:cxn ang="0">
                <a:pos x="857" y="79"/>
              </a:cxn>
              <a:cxn ang="0">
                <a:pos x="906" y="84"/>
              </a:cxn>
              <a:cxn ang="0">
                <a:pos x="887" y="120"/>
              </a:cxn>
              <a:cxn ang="0">
                <a:pos x="809" y="157"/>
              </a:cxn>
              <a:cxn ang="0">
                <a:pos x="782" y="198"/>
              </a:cxn>
              <a:cxn ang="0">
                <a:pos x="757" y="263"/>
              </a:cxn>
              <a:cxn ang="0">
                <a:pos x="759" y="294"/>
              </a:cxn>
              <a:cxn ang="0">
                <a:pos x="735" y="333"/>
              </a:cxn>
              <a:cxn ang="0">
                <a:pos x="714" y="346"/>
              </a:cxn>
              <a:cxn ang="0">
                <a:pos x="682" y="385"/>
              </a:cxn>
              <a:cxn ang="0">
                <a:pos x="652" y="392"/>
              </a:cxn>
              <a:cxn ang="0">
                <a:pos x="595" y="389"/>
              </a:cxn>
              <a:cxn ang="0">
                <a:pos x="544" y="416"/>
              </a:cxn>
              <a:cxn ang="0">
                <a:pos x="501" y="400"/>
              </a:cxn>
              <a:cxn ang="0">
                <a:pos x="480" y="369"/>
              </a:cxn>
              <a:cxn ang="0">
                <a:pos x="452" y="354"/>
              </a:cxn>
              <a:cxn ang="0">
                <a:pos x="472" y="317"/>
              </a:cxn>
              <a:cxn ang="0">
                <a:pos x="468" y="277"/>
              </a:cxn>
              <a:cxn ang="0">
                <a:pos x="458" y="244"/>
              </a:cxn>
              <a:cxn ang="0">
                <a:pos x="470" y="206"/>
              </a:cxn>
              <a:cxn ang="0">
                <a:pos x="478" y="166"/>
              </a:cxn>
              <a:cxn ang="0">
                <a:pos x="502" y="131"/>
              </a:cxn>
              <a:cxn ang="0">
                <a:pos x="474" y="106"/>
              </a:cxn>
              <a:cxn ang="0">
                <a:pos x="435" y="110"/>
              </a:cxn>
              <a:cxn ang="0">
                <a:pos x="416" y="97"/>
              </a:cxn>
              <a:cxn ang="0">
                <a:pos x="395" y="92"/>
              </a:cxn>
              <a:cxn ang="0">
                <a:pos x="398" y="79"/>
              </a:cxn>
              <a:cxn ang="0">
                <a:pos x="386" y="73"/>
              </a:cxn>
              <a:cxn ang="0">
                <a:pos x="380" y="50"/>
              </a:cxn>
              <a:cxn ang="0">
                <a:pos x="385" y="35"/>
              </a:cxn>
              <a:cxn ang="0">
                <a:pos x="414" y="25"/>
              </a:cxn>
              <a:cxn ang="0">
                <a:pos x="416" y="13"/>
              </a:cxn>
              <a:cxn ang="0">
                <a:pos x="442" y="0"/>
              </a:cxn>
            </a:cxnLst>
            <a:rect l="0" t="0" r="r" b="b"/>
            <a:pathLst>
              <a:path w="950" h="842">
                <a:moveTo>
                  <a:pt x="11" y="833"/>
                </a:moveTo>
                <a:lnTo>
                  <a:pt x="13" y="835"/>
                </a:lnTo>
                <a:lnTo>
                  <a:pt x="12" y="835"/>
                </a:lnTo>
                <a:lnTo>
                  <a:pt x="11" y="837"/>
                </a:lnTo>
                <a:lnTo>
                  <a:pt x="11" y="840"/>
                </a:lnTo>
                <a:lnTo>
                  <a:pt x="10" y="840"/>
                </a:lnTo>
                <a:lnTo>
                  <a:pt x="10" y="841"/>
                </a:lnTo>
                <a:lnTo>
                  <a:pt x="8" y="841"/>
                </a:lnTo>
                <a:lnTo>
                  <a:pt x="8" y="842"/>
                </a:lnTo>
                <a:lnTo>
                  <a:pt x="7" y="842"/>
                </a:lnTo>
                <a:lnTo>
                  <a:pt x="6" y="841"/>
                </a:lnTo>
                <a:lnTo>
                  <a:pt x="5" y="841"/>
                </a:lnTo>
                <a:lnTo>
                  <a:pt x="2" y="840"/>
                </a:lnTo>
                <a:lnTo>
                  <a:pt x="1" y="840"/>
                </a:lnTo>
                <a:lnTo>
                  <a:pt x="1" y="839"/>
                </a:lnTo>
                <a:lnTo>
                  <a:pt x="0" y="837"/>
                </a:lnTo>
                <a:lnTo>
                  <a:pt x="1" y="836"/>
                </a:lnTo>
                <a:lnTo>
                  <a:pt x="4" y="837"/>
                </a:lnTo>
                <a:lnTo>
                  <a:pt x="6" y="837"/>
                </a:lnTo>
                <a:lnTo>
                  <a:pt x="7" y="835"/>
                </a:lnTo>
                <a:lnTo>
                  <a:pt x="7" y="834"/>
                </a:lnTo>
                <a:lnTo>
                  <a:pt x="8" y="834"/>
                </a:lnTo>
                <a:lnTo>
                  <a:pt x="11" y="833"/>
                </a:lnTo>
                <a:close/>
                <a:moveTo>
                  <a:pt x="116" y="817"/>
                </a:moveTo>
                <a:lnTo>
                  <a:pt x="117" y="817"/>
                </a:lnTo>
                <a:lnTo>
                  <a:pt x="117" y="824"/>
                </a:lnTo>
                <a:lnTo>
                  <a:pt x="118" y="824"/>
                </a:lnTo>
                <a:lnTo>
                  <a:pt x="118" y="825"/>
                </a:lnTo>
                <a:lnTo>
                  <a:pt x="119" y="825"/>
                </a:lnTo>
                <a:lnTo>
                  <a:pt x="119" y="827"/>
                </a:lnTo>
                <a:lnTo>
                  <a:pt x="118" y="827"/>
                </a:lnTo>
                <a:lnTo>
                  <a:pt x="118" y="828"/>
                </a:lnTo>
                <a:lnTo>
                  <a:pt x="119" y="829"/>
                </a:lnTo>
                <a:lnTo>
                  <a:pt x="118" y="829"/>
                </a:lnTo>
                <a:lnTo>
                  <a:pt x="118" y="833"/>
                </a:lnTo>
                <a:lnTo>
                  <a:pt x="114" y="836"/>
                </a:lnTo>
                <a:lnTo>
                  <a:pt x="112" y="836"/>
                </a:lnTo>
                <a:lnTo>
                  <a:pt x="112" y="837"/>
                </a:lnTo>
                <a:lnTo>
                  <a:pt x="111" y="837"/>
                </a:lnTo>
                <a:lnTo>
                  <a:pt x="110" y="839"/>
                </a:lnTo>
                <a:lnTo>
                  <a:pt x="108" y="837"/>
                </a:lnTo>
                <a:lnTo>
                  <a:pt x="105" y="837"/>
                </a:lnTo>
                <a:lnTo>
                  <a:pt x="103" y="835"/>
                </a:lnTo>
                <a:lnTo>
                  <a:pt x="103" y="834"/>
                </a:lnTo>
                <a:lnTo>
                  <a:pt x="101" y="834"/>
                </a:lnTo>
                <a:lnTo>
                  <a:pt x="101" y="833"/>
                </a:lnTo>
                <a:lnTo>
                  <a:pt x="100" y="830"/>
                </a:lnTo>
                <a:lnTo>
                  <a:pt x="99" y="829"/>
                </a:lnTo>
                <a:lnTo>
                  <a:pt x="100" y="829"/>
                </a:lnTo>
                <a:lnTo>
                  <a:pt x="99" y="828"/>
                </a:lnTo>
                <a:lnTo>
                  <a:pt x="99" y="827"/>
                </a:lnTo>
                <a:lnTo>
                  <a:pt x="101" y="824"/>
                </a:lnTo>
                <a:lnTo>
                  <a:pt x="103" y="824"/>
                </a:lnTo>
                <a:lnTo>
                  <a:pt x="104" y="823"/>
                </a:lnTo>
                <a:lnTo>
                  <a:pt x="104" y="821"/>
                </a:lnTo>
                <a:lnTo>
                  <a:pt x="105" y="821"/>
                </a:lnTo>
                <a:lnTo>
                  <a:pt x="105" y="818"/>
                </a:lnTo>
                <a:lnTo>
                  <a:pt x="112" y="818"/>
                </a:lnTo>
                <a:lnTo>
                  <a:pt x="114" y="819"/>
                </a:lnTo>
                <a:lnTo>
                  <a:pt x="116" y="819"/>
                </a:lnTo>
                <a:lnTo>
                  <a:pt x="116" y="817"/>
                </a:lnTo>
                <a:close/>
                <a:moveTo>
                  <a:pt x="37" y="816"/>
                </a:moveTo>
                <a:lnTo>
                  <a:pt x="41" y="816"/>
                </a:lnTo>
                <a:lnTo>
                  <a:pt x="45" y="818"/>
                </a:lnTo>
                <a:lnTo>
                  <a:pt x="45" y="822"/>
                </a:lnTo>
                <a:lnTo>
                  <a:pt x="44" y="822"/>
                </a:lnTo>
                <a:lnTo>
                  <a:pt x="42" y="824"/>
                </a:lnTo>
                <a:lnTo>
                  <a:pt x="39" y="824"/>
                </a:lnTo>
                <a:lnTo>
                  <a:pt x="37" y="823"/>
                </a:lnTo>
                <a:lnTo>
                  <a:pt x="36" y="821"/>
                </a:lnTo>
                <a:lnTo>
                  <a:pt x="36" y="817"/>
                </a:lnTo>
                <a:lnTo>
                  <a:pt x="37" y="816"/>
                </a:lnTo>
                <a:close/>
                <a:moveTo>
                  <a:pt x="86" y="798"/>
                </a:moveTo>
                <a:lnTo>
                  <a:pt x="87" y="798"/>
                </a:lnTo>
                <a:lnTo>
                  <a:pt x="87" y="800"/>
                </a:lnTo>
                <a:lnTo>
                  <a:pt x="86" y="800"/>
                </a:lnTo>
                <a:lnTo>
                  <a:pt x="82" y="803"/>
                </a:lnTo>
                <a:lnTo>
                  <a:pt x="81" y="804"/>
                </a:lnTo>
                <a:lnTo>
                  <a:pt x="81" y="805"/>
                </a:lnTo>
                <a:lnTo>
                  <a:pt x="80" y="806"/>
                </a:lnTo>
                <a:lnTo>
                  <a:pt x="79" y="806"/>
                </a:lnTo>
                <a:lnTo>
                  <a:pt x="77" y="807"/>
                </a:lnTo>
                <a:lnTo>
                  <a:pt x="76" y="807"/>
                </a:lnTo>
                <a:lnTo>
                  <a:pt x="76" y="812"/>
                </a:lnTo>
                <a:lnTo>
                  <a:pt x="75" y="813"/>
                </a:lnTo>
                <a:lnTo>
                  <a:pt x="74" y="816"/>
                </a:lnTo>
                <a:lnTo>
                  <a:pt x="74" y="818"/>
                </a:lnTo>
                <a:lnTo>
                  <a:pt x="73" y="819"/>
                </a:lnTo>
                <a:lnTo>
                  <a:pt x="73" y="821"/>
                </a:lnTo>
                <a:lnTo>
                  <a:pt x="69" y="824"/>
                </a:lnTo>
                <a:lnTo>
                  <a:pt x="68" y="824"/>
                </a:lnTo>
                <a:lnTo>
                  <a:pt x="66" y="825"/>
                </a:lnTo>
                <a:lnTo>
                  <a:pt x="62" y="825"/>
                </a:lnTo>
                <a:lnTo>
                  <a:pt x="62" y="823"/>
                </a:lnTo>
                <a:lnTo>
                  <a:pt x="61" y="823"/>
                </a:lnTo>
                <a:lnTo>
                  <a:pt x="61" y="822"/>
                </a:lnTo>
                <a:lnTo>
                  <a:pt x="58" y="819"/>
                </a:lnTo>
                <a:lnTo>
                  <a:pt x="58" y="818"/>
                </a:lnTo>
                <a:lnTo>
                  <a:pt x="57" y="817"/>
                </a:lnTo>
                <a:lnTo>
                  <a:pt x="57" y="816"/>
                </a:lnTo>
                <a:lnTo>
                  <a:pt x="56" y="816"/>
                </a:lnTo>
                <a:lnTo>
                  <a:pt x="56" y="812"/>
                </a:lnTo>
                <a:lnTo>
                  <a:pt x="54" y="810"/>
                </a:lnTo>
                <a:lnTo>
                  <a:pt x="54" y="809"/>
                </a:lnTo>
                <a:lnTo>
                  <a:pt x="55" y="809"/>
                </a:lnTo>
                <a:lnTo>
                  <a:pt x="56" y="807"/>
                </a:lnTo>
                <a:lnTo>
                  <a:pt x="57" y="807"/>
                </a:lnTo>
                <a:lnTo>
                  <a:pt x="58" y="809"/>
                </a:lnTo>
                <a:lnTo>
                  <a:pt x="60" y="809"/>
                </a:lnTo>
                <a:lnTo>
                  <a:pt x="61" y="807"/>
                </a:lnTo>
                <a:lnTo>
                  <a:pt x="63" y="807"/>
                </a:lnTo>
                <a:lnTo>
                  <a:pt x="64" y="806"/>
                </a:lnTo>
                <a:lnTo>
                  <a:pt x="69" y="806"/>
                </a:lnTo>
                <a:lnTo>
                  <a:pt x="69" y="805"/>
                </a:lnTo>
                <a:lnTo>
                  <a:pt x="72" y="805"/>
                </a:lnTo>
                <a:lnTo>
                  <a:pt x="74" y="803"/>
                </a:lnTo>
                <a:lnTo>
                  <a:pt x="74" y="801"/>
                </a:lnTo>
                <a:lnTo>
                  <a:pt x="75" y="800"/>
                </a:lnTo>
                <a:lnTo>
                  <a:pt x="76" y="800"/>
                </a:lnTo>
                <a:lnTo>
                  <a:pt x="77" y="799"/>
                </a:lnTo>
                <a:lnTo>
                  <a:pt x="83" y="799"/>
                </a:lnTo>
                <a:lnTo>
                  <a:pt x="86" y="798"/>
                </a:lnTo>
                <a:close/>
                <a:moveTo>
                  <a:pt x="179" y="790"/>
                </a:moveTo>
                <a:lnTo>
                  <a:pt x="182" y="790"/>
                </a:lnTo>
                <a:lnTo>
                  <a:pt x="184" y="792"/>
                </a:lnTo>
                <a:lnTo>
                  <a:pt x="184" y="800"/>
                </a:lnTo>
                <a:lnTo>
                  <a:pt x="182" y="803"/>
                </a:lnTo>
                <a:lnTo>
                  <a:pt x="182" y="807"/>
                </a:lnTo>
                <a:lnTo>
                  <a:pt x="181" y="807"/>
                </a:lnTo>
                <a:lnTo>
                  <a:pt x="181" y="810"/>
                </a:lnTo>
                <a:lnTo>
                  <a:pt x="180" y="811"/>
                </a:lnTo>
                <a:lnTo>
                  <a:pt x="180" y="812"/>
                </a:lnTo>
                <a:lnTo>
                  <a:pt x="179" y="815"/>
                </a:lnTo>
                <a:lnTo>
                  <a:pt x="178" y="815"/>
                </a:lnTo>
                <a:lnTo>
                  <a:pt x="173" y="816"/>
                </a:lnTo>
                <a:lnTo>
                  <a:pt x="172" y="816"/>
                </a:lnTo>
                <a:lnTo>
                  <a:pt x="169" y="817"/>
                </a:lnTo>
                <a:lnTo>
                  <a:pt x="168" y="817"/>
                </a:lnTo>
                <a:lnTo>
                  <a:pt x="164" y="821"/>
                </a:lnTo>
                <a:lnTo>
                  <a:pt x="163" y="823"/>
                </a:lnTo>
                <a:lnTo>
                  <a:pt x="159" y="823"/>
                </a:lnTo>
                <a:lnTo>
                  <a:pt x="159" y="822"/>
                </a:lnTo>
                <a:lnTo>
                  <a:pt x="155" y="823"/>
                </a:lnTo>
                <a:lnTo>
                  <a:pt x="155" y="821"/>
                </a:lnTo>
                <a:lnTo>
                  <a:pt x="160" y="821"/>
                </a:lnTo>
                <a:lnTo>
                  <a:pt x="162" y="819"/>
                </a:lnTo>
                <a:lnTo>
                  <a:pt x="166" y="816"/>
                </a:lnTo>
                <a:lnTo>
                  <a:pt x="167" y="816"/>
                </a:lnTo>
                <a:lnTo>
                  <a:pt x="167" y="815"/>
                </a:lnTo>
                <a:lnTo>
                  <a:pt x="168" y="813"/>
                </a:lnTo>
                <a:lnTo>
                  <a:pt x="168" y="810"/>
                </a:lnTo>
                <a:lnTo>
                  <a:pt x="169" y="809"/>
                </a:lnTo>
                <a:lnTo>
                  <a:pt x="170" y="805"/>
                </a:lnTo>
                <a:lnTo>
                  <a:pt x="173" y="800"/>
                </a:lnTo>
                <a:lnTo>
                  <a:pt x="175" y="798"/>
                </a:lnTo>
                <a:lnTo>
                  <a:pt x="175" y="796"/>
                </a:lnTo>
                <a:lnTo>
                  <a:pt x="176" y="794"/>
                </a:lnTo>
                <a:lnTo>
                  <a:pt x="176" y="791"/>
                </a:lnTo>
                <a:lnTo>
                  <a:pt x="178" y="791"/>
                </a:lnTo>
                <a:lnTo>
                  <a:pt x="179" y="790"/>
                </a:lnTo>
                <a:close/>
                <a:moveTo>
                  <a:pt x="11" y="785"/>
                </a:moveTo>
                <a:lnTo>
                  <a:pt x="12" y="785"/>
                </a:lnTo>
                <a:lnTo>
                  <a:pt x="13" y="786"/>
                </a:lnTo>
                <a:lnTo>
                  <a:pt x="14" y="786"/>
                </a:lnTo>
                <a:lnTo>
                  <a:pt x="16" y="785"/>
                </a:lnTo>
                <a:lnTo>
                  <a:pt x="17" y="786"/>
                </a:lnTo>
                <a:lnTo>
                  <a:pt x="18" y="786"/>
                </a:lnTo>
                <a:lnTo>
                  <a:pt x="18" y="790"/>
                </a:lnTo>
                <a:lnTo>
                  <a:pt x="19" y="790"/>
                </a:lnTo>
                <a:lnTo>
                  <a:pt x="19" y="791"/>
                </a:lnTo>
                <a:lnTo>
                  <a:pt x="18" y="792"/>
                </a:lnTo>
                <a:lnTo>
                  <a:pt x="18" y="798"/>
                </a:lnTo>
                <a:lnTo>
                  <a:pt x="17" y="799"/>
                </a:lnTo>
                <a:lnTo>
                  <a:pt x="16" y="801"/>
                </a:lnTo>
                <a:lnTo>
                  <a:pt x="16" y="803"/>
                </a:lnTo>
                <a:lnTo>
                  <a:pt x="14" y="804"/>
                </a:lnTo>
                <a:lnTo>
                  <a:pt x="13" y="803"/>
                </a:lnTo>
                <a:lnTo>
                  <a:pt x="13" y="800"/>
                </a:lnTo>
                <a:lnTo>
                  <a:pt x="12" y="799"/>
                </a:lnTo>
                <a:lnTo>
                  <a:pt x="12" y="798"/>
                </a:lnTo>
                <a:lnTo>
                  <a:pt x="11" y="797"/>
                </a:lnTo>
                <a:lnTo>
                  <a:pt x="10" y="793"/>
                </a:lnTo>
                <a:lnTo>
                  <a:pt x="8" y="792"/>
                </a:lnTo>
                <a:lnTo>
                  <a:pt x="8" y="791"/>
                </a:lnTo>
                <a:lnTo>
                  <a:pt x="7" y="790"/>
                </a:lnTo>
                <a:lnTo>
                  <a:pt x="7" y="788"/>
                </a:lnTo>
                <a:lnTo>
                  <a:pt x="8" y="787"/>
                </a:lnTo>
                <a:lnTo>
                  <a:pt x="11" y="786"/>
                </a:lnTo>
                <a:lnTo>
                  <a:pt x="11" y="785"/>
                </a:lnTo>
                <a:close/>
                <a:moveTo>
                  <a:pt x="199" y="766"/>
                </a:moveTo>
                <a:lnTo>
                  <a:pt x="199" y="767"/>
                </a:lnTo>
                <a:lnTo>
                  <a:pt x="200" y="768"/>
                </a:lnTo>
                <a:lnTo>
                  <a:pt x="200" y="770"/>
                </a:lnTo>
                <a:lnTo>
                  <a:pt x="199" y="770"/>
                </a:lnTo>
                <a:lnTo>
                  <a:pt x="199" y="776"/>
                </a:lnTo>
                <a:lnTo>
                  <a:pt x="195" y="780"/>
                </a:lnTo>
                <a:lnTo>
                  <a:pt x="193" y="780"/>
                </a:lnTo>
                <a:lnTo>
                  <a:pt x="193" y="781"/>
                </a:lnTo>
                <a:lnTo>
                  <a:pt x="190" y="781"/>
                </a:lnTo>
                <a:lnTo>
                  <a:pt x="188" y="782"/>
                </a:lnTo>
                <a:lnTo>
                  <a:pt x="187" y="782"/>
                </a:lnTo>
                <a:lnTo>
                  <a:pt x="186" y="784"/>
                </a:lnTo>
                <a:lnTo>
                  <a:pt x="186" y="786"/>
                </a:lnTo>
                <a:lnTo>
                  <a:pt x="185" y="785"/>
                </a:lnTo>
                <a:lnTo>
                  <a:pt x="182" y="785"/>
                </a:lnTo>
                <a:lnTo>
                  <a:pt x="181" y="784"/>
                </a:lnTo>
                <a:lnTo>
                  <a:pt x="181" y="782"/>
                </a:lnTo>
                <a:lnTo>
                  <a:pt x="182" y="782"/>
                </a:lnTo>
                <a:lnTo>
                  <a:pt x="182" y="781"/>
                </a:lnTo>
                <a:lnTo>
                  <a:pt x="184" y="781"/>
                </a:lnTo>
                <a:lnTo>
                  <a:pt x="184" y="778"/>
                </a:lnTo>
                <a:lnTo>
                  <a:pt x="185" y="775"/>
                </a:lnTo>
                <a:lnTo>
                  <a:pt x="186" y="775"/>
                </a:lnTo>
                <a:lnTo>
                  <a:pt x="186" y="774"/>
                </a:lnTo>
                <a:lnTo>
                  <a:pt x="190" y="774"/>
                </a:lnTo>
                <a:lnTo>
                  <a:pt x="192" y="772"/>
                </a:lnTo>
                <a:lnTo>
                  <a:pt x="195" y="772"/>
                </a:lnTo>
                <a:lnTo>
                  <a:pt x="197" y="770"/>
                </a:lnTo>
                <a:lnTo>
                  <a:pt x="197" y="768"/>
                </a:lnTo>
                <a:lnTo>
                  <a:pt x="199" y="766"/>
                </a:lnTo>
                <a:close/>
                <a:moveTo>
                  <a:pt x="197" y="764"/>
                </a:moveTo>
                <a:lnTo>
                  <a:pt x="198" y="764"/>
                </a:lnTo>
                <a:lnTo>
                  <a:pt x="198" y="766"/>
                </a:lnTo>
                <a:lnTo>
                  <a:pt x="197" y="767"/>
                </a:lnTo>
                <a:lnTo>
                  <a:pt x="195" y="767"/>
                </a:lnTo>
                <a:lnTo>
                  <a:pt x="197" y="766"/>
                </a:lnTo>
                <a:lnTo>
                  <a:pt x="197" y="764"/>
                </a:lnTo>
                <a:close/>
                <a:moveTo>
                  <a:pt x="641" y="463"/>
                </a:moveTo>
                <a:lnTo>
                  <a:pt x="642" y="463"/>
                </a:lnTo>
                <a:lnTo>
                  <a:pt x="644" y="465"/>
                </a:lnTo>
                <a:lnTo>
                  <a:pt x="644" y="466"/>
                </a:lnTo>
                <a:lnTo>
                  <a:pt x="642" y="466"/>
                </a:lnTo>
                <a:lnTo>
                  <a:pt x="642" y="465"/>
                </a:lnTo>
                <a:lnTo>
                  <a:pt x="641" y="463"/>
                </a:lnTo>
                <a:close/>
                <a:moveTo>
                  <a:pt x="539" y="432"/>
                </a:moveTo>
                <a:lnTo>
                  <a:pt x="541" y="432"/>
                </a:lnTo>
                <a:lnTo>
                  <a:pt x="542" y="434"/>
                </a:lnTo>
                <a:lnTo>
                  <a:pt x="544" y="434"/>
                </a:lnTo>
                <a:lnTo>
                  <a:pt x="541" y="436"/>
                </a:lnTo>
                <a:lnTo>
                  <a:pt x="541" y="435"/>
                </a:lnTo>
                <a:lnTo>
                  <a:pt x="540" y="435"/>
                </a:lnTo>
                <a:lnTo>
                  <a:pt x="540" y="434"/>
                </a:lnTo>
                <a:lnTo>
                  <a:pt x="539" y="432"/>
                </a:lnTo>
                <a:close/>
                <a:moveTo>
                  <a:pt x="501" y="380"/>
                </a:moveTo>
                <a:lnTo>
                  <a:pt x="499" y="381"/>
                </a:lnTo>
                <a:lnTo>
                  <a:pt x="499" y="382"/>
                </a:lnTo>
                <a:lnTo>
                  <a:pt x="501" y="381"/>
                </a:lnTo>
                <a:lnTo>
                  <a:pt x="504" y="381"/>
                </a:lnTo>
                <a:lnTo>
                  <a:pt x="505" y="380"/>
                </a:lnTo>
                <a:lnTo>
                  <a:pt x="501" y="380"/>
                </a:lnTo>
                <a:close/>
                <a:moveTo>
                  <a:pt x="735" y="338"/>
                </a:moveTo>
                <a:lnTo>
                  <a:pt x="737" y="340"/>
                </a:lnTo>
                <a:lnTo>
                  <a:pt x="735" y="339"/>
                </a:lnTo>
                <a:lnTo>
                  <a:pt x="735" y="338"/>
                </a:lnTo>
                <a:close/>
                <a:moveTo>
                  <a:pt x="735" y="336"/>
                </a:moveTo>
                <a:lnTo>
                  <a:pt x="737" y="336"/>
                </a:lnTo>
                <a:lnTo>
                  <a:pt x="735" y="337"/>
                </a:lnTo>
                <a:lnTo>
                  <a:pt x="735" y="336"/>
                </a:lnTo>
                <a:close/>
                <a:moveTo>
                  <a:pt x="827" y="282"/>
                </a:moveTo>
                <a:lnTo>
                  <a:pt x="830" y="286"/>
                </a:lnTo>
                <a:lnTo>
                  <a:pt x="831" y="287"/>
                </a:lnTo>
                <a:lnTo>
                  <a:pt x="833" y="286"/>
                </a:lnTo>
                <a:lnTo>
                  <a:pt x="833" y="288"/>
                </a:lnTo>
                <a:lnTo>
                  <a:pt x="831" y="288"/>
                </a:lnTo>
                <a:lnTo>
                  <a:pt x="830" y="287"/>
                </a:lnTo>
                <a:lnTo>
                  <a:pt x="827" y="287"/>
                </a:lnTo>
                <a:lnTo>
                  <a:pt x="826" y="288"/>
                </a:lnTo>
                <a:lnTo>
                  <a:pt x="825" y="288"/>
                </a:lnTo>
                <a:lnTo>
                  <a:pt x="826" y="287"/>
                </a:lnTo>
                <a:lnTo>
                  <a:pt x="825" y="287"/>
                </a:lnTo>
                <a:lnTo>
                  <a:pt x="826" y="286"/>
                </a:lnTo>
                <a:lnTo>
                  <a:pt x="826" y="284"/>
                </a:lnTo>
                <a:lnTo>
                  <a:pt x="827" y="283"/>
                </a:lnTo>
                <a:lnTo>
                  <a:pt x="827" y="282"/>
                </a:lnTo>
                <a:close/>
                <a:moveTo>
                  <a:pt x="828" y="263"/>
                </a:moveTo>
                <a:lnTo>
                  <a:pt x="834" y="263"/>
                </a:lnTo>
                <a:lnTo>
                  <a:pt x="834" y="265"/>
                </a:lnTo>
                <a:lnTo>
                  <a:pt x="836" y="268"/>
                </a:lnTo>
                <a:lnTo>
                  <a:pt x="834" y="268"/>
                </a:lnTo>
                <a:lnTo>
                  <a:pt x="834" y="269"/>
                </a:lnTo>
                <a:lnTo>
                  <a:pt x="833" y="269"/>
                </a:lnTo>
                <a:lnTo>
                  <a:pt x="833" y="270"/>
                </a:lnTo>
                <a:lnTo>
                  <a:pt x="830" y="274"/>
                </a:lnTo>
                <a:lnTo>
                  <a:pt x="828" y="274"/>
                </a:lnTo>
                <a:lnTo>
                  <a:pt x="827" y="275"/>
                </a:lnTo>
                <a:lnTo>
                  <a:pt x="826" y="277"/>
                </a:lnTo>
                <a:lnTo>
                  <a:pt x="826" y="278"/>
                </a:lnTo>
                <a:lnTo>
                  <a:pt x="825" y="278"/>
                </a:lnTo>
                <a:lnTo>
                  <a:pt x="825" y="277"/>
                </a:lnTo>
                <a:lnTo>
                  <a:pt x="824" y="276"/>
                </a:lnTo>
                <a:lnTo>
                  <a:pt x="822" y="277"/>
                </a:lnTo>
                <a:lnTo>
                  <a:pt x="821" y="276"/>
                </a:lnTo>
                <a:lnTo>
                  <a:pt x="820" y="276"/>
                </a:lnTo>
                <a:lnTo>
                  <a:pt x="820" y="277"/>
                </a:lnTo>
                <a:lnTo>
                  <a:pt x="819" y="276"/>
                </a:lnTo>
                <a:lnTo>
                  <a:pt x="819" y="275"/>
                </a:lnTo>
                <a:lnTo>
                  <a:pt x="818" y="275"/>
                </a:lnTo>
                <a:lnTo>
                  <a:pt x="819" y="272"/>
                </a:lnTo>
                <a:lnTo>
                  <a:pt x="819" y="271"/>
                </a:lnTo>
                <a:lnTo>
                  <a:pt x="822" y="271"/>
                </a:lnTo>
                <a:lnTo>
                  <a:pt x="821" y="269"/>
                </a:lnTo>
                <a:lnTo>
                  <a:pt x="821" y="268"/>
                </a:lnTo>
                <a:lnTo>
                  <a:pt x="822" y="266"/>
                </a:lnTo>
                <a:lnTo>
                  <a:pt x="824" y="266"/>
                </a:lnTo>
                <a:lnTo>
                  <a:pt x="824" y="265"/>
                </a:lnTo>
                <a:lnTo>
                  <a:pt x="825" y="265"/>
                </a:lnTo>
                <a:lnTo>
                  <a:pt x="826" y="264"/>
                </a:lnTo>
                <a:lnTo>
                  <a:pt x="826" y="265"/>
                </a:lnTo>
                <a:lnTo>
                  <a:pt x="828" y="263"/>
                </a:lnTo>
                <a:close/>
                <a:moveTo>
                  <a:pt x="892" y="259"/>
                </a:moveTo>
                <a:lnTo>
                  <a:pt x="893" y="259"/>
                </a:lnTo>
                <a:lnTo>
                  <a:pt x="893" y="262"/>
                </a:lnTo>
                <a:lnTo>
                  <a:pt x="892" y="263"/>
                </a:lnTo>
                <a:lnTo>
                  <a:pt x="890" y="263"/>
                </a:lnTo>
                <a:lnTo>
                  <a:pt x="890" y="260"/>
                </a:lnTo>
                <a:lnTo>
                  <a:pt x="892" y="259"/>
                </a:lnTo>
                <a:close/>
                <a:moveTo>
                  <a:pt x="901" y="216"/>
                </a:moveTo>
                <a:lnTo>
                  <a:pt x="902" y="216"/>
                </a:lnTo>
                <a:lnTo>
                  <a:pt x="902" y="217"/>
                </a:lnTo>
                <a:lnTo>
                  <a:pt x="900" y="217"/>
                </a:lnTo>
                <a:lnTo>
                  <a:pt x="900" y="219"/>
                </a:lnTo>
                <a:lnTo>
                  <a:pt x="899" y="219"/>
                </a:lnTo>
                <a:lnTo>
                  <a:pt x="899" y="220"/>
                </a:lnTo>
                <a:lnTo>
                  <a:pt x="897" y="219"/>
                </a:lnTo>
                <a:lnTo>
                  <a:pt x="897" y="221"/>
                </a:lnTo>
                <a:lnTo>
                  <a:pt x="899" y="221"/>
                </a:lnTo>
                <a:lnTo>
                  <a:pt x="902" y="220"/>
                </a:lnTo>
                <a:lnTo>
                  <a:pt x="902" y="222"/>
                </a:lnTo>
                <a:lnTo>
                  <a:pt x="901" y="222"/>
                </a:lnTo>
                <a:lnTo>
                  <a:pt x="901" y="223"/>
                </a:lnTo>
                <a:lnTo>
                  <a:pt x="899" y="223"/>
                </a:lnTo>
                <a:lnTo>
                  <a:pt x="899" y="226"/>
                </a:lnTo>
                <a:lnTo>
                  <a:pt x="900" y="227"/>
                </a:lnTo>
                <a:lnTo>
                  <a:pt x="902" y="228"/>
                </a:lnTo>
                <a:lnTo>
                  <a:pt x="907" y="228"/>
                </a:lnTo>
                <a:lnTo>
                  <a:pt x="908" y="227"/>
                </a:lnTo>
                <a:lnTo>
                  <a:pt x="908" y="226"/>
                </a:lnTo>
                <a:lnTo>
                  <a:pt x="909" y="227"/>
                </a:lnTo>
                <a:lnTo>
                  <a:pt x="912" y="228"/>
                </a:lnTo>
                <a:lnTo>
                  <a:pt x="913" y="228"/>
                </a:lnTo>
                <a:lnTo>
                  <a:pt x="913" y="233"/>
                </a:lnTo>
                <a:lnTo>
                  <a:pt x="912" y="234"/>
                </a:lnTo>
                <a:lnTo>
                  <a:pt x="911" y="234"/>
                </a:lnTo>
                <a:lnTo>
                  <a:pt x="911" y="237"/>
                </a:lnTo>
                <a:lnTo>
                  <a:pt x="907" y="240"/>
                </a:lnTo>
                <a:lnTo>
                  <a:pt x="906" y="243"/>
                </a:lnTo>
                <a:lnTo>
                  <a:pt x="906" y="246"/>
                </a:lnTo>
                <a:lnTo>
                  <a:pt x="905" y="246"/>
                </a:lnTo>
                <a:lnTo>
                  <a:pt x="905" y="249"/>
                </a:lnTo>
                <a:lnTo>
                  <a:pt x="902" y="250"/>
                </a:lnTo>
                <a:lnTo>
                  <a:pt x="899" y="252"/>
                </a:lnTo>
                <a:lnTo>
                  <a:pt x="896" y="254"/>
                </a:lnTo>
                <a:lnTo>
                  <a:pt x="895" y="252"/>
                </a:lnTo>
                <a:lnTo>
                  <a:pt x="894" y="252"/>
                </a:lnTo>
                <a:lnTo>
                  <a:pt x="894" y="251"/>
                </a:lnTo>
                <a:lnTo>
                  <a:pt x="893" y="251"/>
                </a:lnTo>
                <a:lnTo>
                  <a:pt x="893" y="250"/>
                </a:lnTo>
                <a:lnTo>
                  <a:pt x="892" y="250"/>
                </a:lnTo>
                <a:lnTo>
                  <a:pt x="892" y="249"/>
                </a:lnTo>
                <a:lnTo>
                  <a:pt x="890" y="250"/>
                </a:lnTo>
                <a:lnTo>
                  <a:pt x="886" y="250"/>
                </a:lnTo>
                <a:lnTo>
                  <a:pt x="883" y="247"/>
                </a:lnTo>
                <a:lnTo>
                  <a:pt x="883" y="244"/>
                </a:lnTo>
                <a:lnTo>
                  <a:pt x="882" y="244"/>
                </a:lnTo>
                <a:lnTo>
                  <a:pt x="882" y="243"/>
                </a:lnTo>
                <a:lnTo>
                  <a:pt x="883" y="241"/>
                </a:lnTo>
                <a:lnTo>
                  <a:pt x="883" y="240"/>
                </a:lnTo>
                <a:lnTo>
                  <a:pt x="882" y="239"/>
                </a:lnTo>
                <a:lnTo>
                  <a:pt x="880" y="239"/>
                </a:lnTo>
                <a:lnTo>
                  <a:pt x="878" y="238"/>
                </a:lnTo>
                <a:lnTo>
                  <a:pt x="878" y="239"/>
                </a:lnTo>
                <a:lnTo>
                  <a:pt x="875" y="240"/>
                </a:lnTo>
                <a:lnTo>
                  <a:pt x="875" y="243"/>
                </a:lnTo>
                <a:lnTo>
                  <a:pt x="874" y="244"/>
                </a:lnTo>
                <a:lnTo>
                  <a:pt x="872" y="244"/>
                </a:lnTo>
                <a:lnTo>
                  <a:pt x="871" y="243"/>
                </a:lnTo>
                <a:lnTo>
                  <a:pt x="871" y="241"/>
                </a:lnTo>
                <a:lnTo>
                  <a:pt x="870" y="240"/>
                </a:lnTo>
                <a:lnTo>
                  <a:pt x="868" y="240"/>
                </a:lnTo>
                <a:lnTo>
                  <a:pt x="866" y="239"/>
                </a:lnTo>
                <a:lnTo>
                  <a:pt x="866" y="235"/>
                </a:lnTo>
                <a:lnTo>
                  <a:pt x="869" y="234"/>
                </a:lnTo>
                <a:lnTo>
                  <a:pt x="870" y="233"/>
                </a:lnTo>
                <a:lnTo>
                  <a:pt x="871" y="233"/>
                </a:lnTo>
                <a:lnTo>
                  <a:pt x="874" y="231"/>
                </a:lnTo>
                <a:lnTo>
                  <a:pt x="875" y="231"/>
                </a:lnTo>
                <a:lnTo>
                  <a:pt x="881" y="225"/>
                </a:lnTo>
                <a:lnTo>
                  <a:pt x="882" y="225"/>
                </a:lnTo>
                <a:lnTo>
                  <a:pt x="884" y="222"/>
                </a:lnTo>
                <a:lnTo>
                  <a:pt x="886" y="222"/>
                </a:lnTo>
                <a:lnTo>
                  <a:pt x="886" y="221"/>
                </a:lnTo>
                <a:lnTo>
                  <a:pt x="888" y="221"/>
                </a:lnTo>
                <a:lnTo>
                  <a:pt x="890" y="219"/>
                </a:lnTo>
                <a:lnTo>
                  <a:pt x="894" y="219"/>
                </a:lnTo>
                <a:lnTo>
                  <a:pt x="896" y="217"/>
                </a:lnTo>
                <a:lnTo>
                  <a:pt x="901" y="216"/>
                </a:lnTo>
                <a:close/>
                <a:moveTo>
                  <a:pt x="939" y="210"/>
                </a:moveTo>
                <a:lnTo>
                  <a:pt x="940" y="210"/>
                </a:lnTo>
                <a:lnTo>
                  <a:pt x="940" y="211"/>
                </a:lnTo>
                <a:lnTo>
                  <a:pt x="942" y="211"/>
                </a:lnTo>
                <a:lnTo>
                  <a:pt x="942" y="213"/>
                </a:lnTo>
                <a:lnTo>
                  <a:pt x="944" y="213"/>
                </a:lnTo>
                <a:lnTo>
                  <a:pt x="945" y="214"/>
                </a:lnTo>
                <a:lnTo>
                  <a:pt x="946" y="214"/>
                </a:lnTo>
                <a:lnTo>
                  <a:pt x="946" y="215"/>
                </a:lnTo>
                <a:lnTo>
                  <a:pt x="948" y="216"/>
                </a:lnTo>
                <a:lnTo>
                  <a:pt x="946" y="217"/>
                </a:lnTo>
                <a:lnTo>
                  <a:pt x="949" y="217"/>
                </a:lnTo>
                <a:lnTo>
                  <a:pt x="949" y="220"/>
                </a:lnTo>
                <a:lnTo>
                  <a:pt x="950" y="221"/>
                </a:lnTo>
                <a:lnTo>
                  <a:pt x="949" y="221"/>
                </a:lnTo>
                <a:lnTo>
                  <a:pt x="949" y="225"/>
                </a:lnTo>
                <a:lnTo>
                  <a:pt x="946" y="225"/>
                </a:lnTo>
                <a:lnTo>
                  <a:pt x="943" y="223"/>
                </a:lnTo>
                <a:lnTo>
                  <a:pt x="937" y="219"/>
                </a:lnTo>
                <a:lnTo>
                  <a:pt x="934" y="217"/>
                </a:lnTo>
                <a:lnTo>
                  <a:pt x="933" y="217"/>
                </a:lnTo>
                <a:lnTo>
                  <a:pt x="930" y="219"/>
                </a:lnTo>
                <a:lnTo>
                  <a:pt x="928" y="217"/>
                </a:lnTo>
                <a:lnTo>
                  <a:pt x="928" y="216"/>
                </a:lnTo>
                <a:lnTo>
                  <a:pt x="930" y="215"/>
                </a:lnTo>
                <a:lnTo>
                  <a:pt x="928" y="215"/>
                </a:lnTo>
                <a:lnTo>
                  <a:pt x="927" y="214"/>
                </a:lnTo>
                <a:lnTo>
                  <a:pt x="927" y="213"/>
                </a:lnTo>
                <a:lnTo>
                  <a:pt x="928" y="211"/>
                </a:lnTo>
                <a:lnTo>
                  <a:pt x="938" y="211"/>
                </a:lnTo>
                <a:lnTo>
                  <a:pt x="939" y="210"/>
                </a:lnTo>
                <a:close/>
                <a:moveTo>
                  <a:pt x="794" y="182"/>
                </a:moveTo>
                <a:lnTo>
                  <a:pt x="795" y="183"/>
                </a:lnTo>
                <a:lnTo>
                  <a:pt x="794" y="184"/>
                </a:lnTo>
                <a:lnTo>
                  <a:pt x="793" y="184"/>
                </a:lnTo>
                <a:lnTo>
                  <a:pt x="791" y="183"/>
                </a:lnTo>
                <a:lnTo>
                  <a:pt x="794" y="182"/>
                </a:lnTo>
                <a:close/>
                <a:moveTo>
                  <a:pt x="799" y="171"/>
                </a:moveTo>
                <a:lnTo>
                  <a:pt x="800" y="171"/>
                </a:lnTo>
                <a:lnTo>
                  <a:pt x="800" y="172"/>
                </a:lnTo>
                <a:lnTo>
                  <a:pt x="799" y="171"/>
                </a:lnTo>
                <a:close/>
                <a:moveTo>
                  <a:pt x="850" y="75"/>
                </a:moveTo>
                <a:lnTo>
                  <a:pt x="851" y="77"/>
                </a:lnTo>
                <a:lnTo>
                  <a:pt x="851" y="78"/>
                </a:lnTo>
                <a:lnTo>
                  <a:pt x="850" y="78"/>
                </a:lnTo>
                <a:lnTo>
                  <a:pt x="849" y="77"/>
                </a:lnTo>
                <a:lnTo>
                  <a:pt x="850" y="75"/>
                </a:lnTo>
                <a:close/>
                <a:moveTo>
                  <a:pt x="392" y="74"/>
                </a:moveTo>
                <a:lnTo>
                  <a:pt x="393" y="74"/>
                </a:lnTo>
                <a:lnTo>
                  <a:pt x="393" y="75"/>
                </a:lnTo>
                <a:lnTo>
                  <a:pt x="392" y="77"/>
                </a:lnTo>
                <a:lnTo>
                  <a:pt x="390" y="77"/>
                </a:lnTo>
                <a:lnTo>
                  <a:pt x="390" y="75"/>
                </a:lnTo>
                <a:lnTo>
                  <a:pt x="391" y="75"/>
                </a:lnTo>
                <a:lnTo>
                  <a:pt x="392" y="74"/>
                </a:lnTo>
                <a:close/>
                <a:moveTo>
                  <a:pt x="435" y="4"/>
                </a:moveTo>
                <a:lnTo>
                  <a:pt x="436" y="4"/>
                </a:lnTo>
                <a:lnTo>
                  <a:pt x="436" y="5"/>
                </a:lnTo>
                <a:lnTo>
                  <a:pt x="435" y="4"/>
                </a:lnTo>
                <a:close/>
                <a:moveTo>
                  <a:pt x="442" y="0"/>
                </a:moveTo>
                <a:lnTo>
                  <a:pt x="443" y="0"/>
                </a:lnTo>
                <a:lnTo>
                  <a:pt x="443" y="1"/>
                </a:lnTo>
                <a:lnTo>
                  <a:pt x="442" y="2"/>
                </a:lnTo>
                <a:lnTo>
                  <a:pt x="442" y="4"/>
                </a:lnTo>
                <a:lnTo>
                  <a:pt x="443" y="4"/>
                </a:lnTo>
                <a:lnTo>
                  <a:pt x="443" y="2"/>
                </a:lnTo>
                <a:lnTo>
                  <a:pt x="445" y="2"/>
                </a:lnTo>
                <a:lnTo>
                  <a:pt x="446" y="5"/>
                </a:lnTo>
                <a:lnTo>
                  <a:pt x="446" y="6"/>
                </a:lnTo>
                <a:lnTo>
                  <a:pt x="447" y="5"/>
                </a:lnTo>
                <a:lnTo>
                  <a:pt x="447" y="4"/>
                </a:lnTo>
                <a:lnTo>
                  <a:pt x="451" y="4"/>
                </a:lnTo>
                <a:lnTo>
                  <a:pt x="454" y="6"/>
                </a:lnTo>
                <a:lnTo>
                  <a:pt x="456" y="6"/>
                </a:lnTo>
                <a:lnTo>
                  <a:pt x="459" y="11"/>
                </a:lnTo>
                <a:lnTo>
                  <a:pt x="461" y="12"/>
                </a:lnTo>
                <a:lnTo>
                  <a:pt x="460" y="12"/>
                </a:lnTo>
                <a:lnTo>
                  <a:pt x="460" y="13"/>
                </a:lnTo>
                <a:lnTo>
                  <a:pt x="471" y="13"/>
                </a:lnTo>
                <a:lnTo>
                  <a:pt x="471" y="14"/>
                </a:lnTo>
                <a:lnTo>
                  <a:pt x="470" y="16"/>
                </a:lnTo>
                <a:lnTo>
                  <a:pt x="470" y="18"/>
                </a:lnTo>
                <a:lnTo>
                  <a:pt x="471" y="17"/>
                </a:lnTo>
                <a:lnTo>
                  <a:pt x="471" y="14"/>
                </a:lnTo>
                <a:lnTo>
                  <a:pt x="472" y="13"/>
                </a:lnTo>
                <a:lnTo>
                  <a:pt x="484" y="13"/>
                </a:lnTo>
                <a:lnTo>
                  <a:pt x="486" y="12"/>
                </a:lnTo>
                <a:lnTo>
                  <a:pt x="489" y="12"/>
                </a:lnTo>
                <a:lnTo>
                  <a:pt x="491" y="13"/>
                </a:lnTo>
                <a:lnTo>
                  <a:pt x="492" y="14"/>
                </a:lnTo>
                <a:lnTo>
                  <a:pt x="492" y="13"/>
                </a:lnTo>
                <a:lnTo>
                  <a:pt x="495" y="13"/>
                </a:lnTo>
                <a:lnTo>
                  <a:pt x="495" y="12"/>
                </a:lnTo>
                <a:lnTo>
                  <a:pt x="496" y="13"/>
                </a:lnTo>
                <a:lnTo>
                  <a:pt x="501" y="13"/>
                </a:lnTo>
                <a:lnTo>
                  <a:pt x="501" y="12"/>
                </a:lnTo>
                <a:lnTo>
                  <a:pt x="503" y="12"/>
                </a:lnTo>
                <a:lnTo>
                  <a:pt x="504" y="11"/>
                </a:lnTo>
                <a:lnTo>
                  <a:pt x="505" y="12"/>
                </a:lnTo>
                <a:lnTo>
                  <a:pt x="507" y="12"/>
                </a:lnTo>
                <a:lnTo>
                  <a:pt x="510" y="13"/>
                </a:lnTo>
                <a:lnTo>
                  <a:pt x="510" y="12"/>
                </a:lnTo>
                <a:lnTo>
                  <a:pt x="511" y="13"/>
                </a:lnTo>
                <a:lnTo>
                  <a:pt x="511" y="12"/>
                </a:lnTo>
                <a:lnTo>
                  <a:pt x="517" y="12"/>
                </a:lnTo>
                <a:lnTo>
                  <a:pt x="518" y="11"/>
                </a:lnTo>
                <a:lnTo>
                  <a:pt x="517" y="11"/>
                </a:lnTo>
                <a:lnTo>
                  <a:pt x="517" y="10"/>
                </a:lnTo>
                <a:lnTo>
                  <a:pt x="518" y="10"/>
                </a:lnTo>
                <a:lnTo>
                  <a:pt x="517" y="8"/>
                </a:lnTo>
                <a:lnTo>
                  <a:pt x="520" y="8"/>
                </a:lnTo>
                <a:lnTo>
                  <a:pt x="520" y="7"/>
                </a:lnTo>
                <a:lnTo>
                  <a:pt x="521" y="7"/>
                </a:lnTo>
                <a:lnTo>
                  <a:pt x="522" y="8"/>
                </a:lnTo>
                <a:lnTo>
                  <a:pt x="523" y="8"/>
                </a:lnTo>
                <a:lnTo>
                  <a:pt x="526" y="12"/>
                </a:lnTo>
                <a:lnTo>
                  <a:pt x="526" y="13"/>
                </a:lnTo>
                <a:lnTo>
                  <a:pt x="540" y="13"/>
                </a:lnTo>
                <a:lnTo>
                  <a:pt x="540" y="14"/>
                </a:lnTo>
                <a:lnTo>
                  <a:pt x="539" y="16"/>
                </a:lnTo>
                <a:lnTo>
                  <a:pt x="541" y="16"/>
                </a:lnTo>
                <a:lnTo>
                  <a:pt x="541" y="14"/>
                </a:lnTo>
                <a:lnTo>
                  <a:pt x="544" y="14"/>
                </a:lnTo>
                <a:lnTo>
                  <a:pt x="547" y="17"/>
                </a:lnTo>
                <a:lnTo>
                  <a:pt x="548" y="17"/>
                </a:lnTo>
                <a:lnTo>
                  <a:pt x="552" y="18"/>
                </a:lnTo>
                <a:lnTo>
                  <a:pt x="554" y="18"/>
                </a:lnTo>
                <a:lnTo>
                  <a:pt x="557" y="19"/>
                </a:lnTo>
                <a:lnTo>
                  <a:pt x="558" y="19"/>
                </a:lnTo>
                <a:lnTo>
                  <a:pt x="558" y="18"/>
                </a:lnTo>
                <a:lnTo>
                  <a:pt x="559" y="18"/>
                </a:lnTo>
                <a:lnTo>
                  <a:pt x="560" y="19"/>
                </a:lnTo>
                <a:lnTo>
                  <a:pt x="563" y="19"/>
                </a:lnTo>
                <a:lnTo>
                  <a:pt x="566" y="22"/>
                </a:lnTo>
                <a:lnTo>
                  <a:pt x="567" y="22"/>
                </a:lnTo>
                <a:lnTo>
                  <a:pt x="577" y="23"/>
                </a:lnTo>
                <a:lnTo>
                  <a:pt x="578" y="24"/>
                </a:lnTo>
                <a:lnTo>
                  <a:pt x="579" y="23"/>
                </a:lnTo>
                <a:lnTo>
                  <a:pt x="582" y="23"/>
                </a:lnTo>
                <a:lnTo>
                  <a:pt x="582" y="24"/>
                </a:lnTo>
                <a:lnTo>
                  <a:pt x="583" y="23"/>
                </a:lnTo>
                <a:lnTo>
                  <a:pt x="590" y="23"/>
                </a:lnTo>
                <a:lnTo>
                  <a:pt x="591" y="22"/>
                </a:lnTo>
                <a:lnTo>
                  <a:pt x="594" y="20"/>
                </a:lnTo>
                <a:lnTo>
                  <a:pt x="597" y="20"/>
                </a:lnTo>
                <a:lnTo>
                  <a:pt x="597" y="19"/>
                </a:lnTo>
                <a:lnTo>
                  <a:pt x="598" y="19"/>
                </a:lnTo>
                <a:lnTo>
                  <a:pt x="600" y="20"/>
                </a:lnTo>
                <a:lnTo>
                  <a:pt x="600" y="19"/>
                </a:lnTo>
                <a:lnTo>
                  <a:pt x="601" y="18"/>
                </a:lnTo>
                <a:lnTo>
                  <a:pt x="603" y="18"/>
                </a:lnTo>
                <a:lnTo>
                  <a:pt x="604" y="17"/>
                </a:lnTo>
                <a:lnTo>
                  <a:pt x="607" y="17"/>
                </a:lnTo>
                <a:lnTo>
                  <a:pt x="608" y="18"/>
                </a:lnTo>
                <a:lnTo>
                  <a:pt x="605" y="19"/>
                </a:lnTo>
                <a:lnTo>
                  <a:pt x="604" y="20"/>
                </a:lnTo>
                <a:lnTo>
                  <a:pt x="605" y="20"/>
                </a:lnTo>
                <a:lnTo>
                  <a:pt x="605" y="22"/>
                </a:lnTo>
                <a:lnTo>
                  <a:pt x="607" y="22"/>
                </a:lnTo>
                <a:lnTo>
                  <a:pt x="607" y="20"/>
                </a:lnTo>
                <a:lnTo>
                  <a:pt x="608" y="19"/>
                </a:lnTo>
                <a:lnTo>
                  <a:pt x="609" y="20"/>
                </a:lnTo>
                <a:lnTo>
                  <a:pt x="609" y="19"/>
                </a:lnTo>
                <a:lnTo>
                  <a:pt x="610" y="18"/>
                </a:lnTo>
                <a:lnTo>
                  <a:pt x="611" y="18"/>
                </a:lnTo>
                <a:lnTo>
                  <a:pt x="611" y="17"/>
                </a:lnTo>
                <a:lnTo>
                  <a:pt x="613" y="17"/>
                </a:lnTo>
                <a:lnTo>
                  <a:pt x="616" y="16"/>
                </a:lnTo>
                <a:lnTo>
                  <a:pt x="617" y="16"/>
                </a:lnTo>
                <a:lnTo>
                  <a:pt x="617" y="17"/>
                </a:lnTo>
                <a:lnTo>
                  <a:pt x="619" y="17"/>
                </a:lnTo>
                <a:lnTo>
                  <a:pt x="619" y="18"/>
                </a:lnTo>
                <a:lnTo>
                  <a:pt x="622" y="18"/>
                </a:lnTo>
                <a:lnTo>
                  <a:pt x="622" y="20"/>
                </a:lnTo>
                <a:lnTo>
                  <a:pt x="621" y="20"/>
                </a:lnTo>
                <a:lnTo>
                  <a:pt x="621" y="19"/>
                </a:lnTo>
                <a:lnTo>
                  <a:pt x="620" y="19"/>
                </a:lnTo>
                <a:lnTo>
                  <a:pt x="620" y="20"/>
                </a:lnTo>
                <a:lnTo>
                  <a:pt x="621" y="22"/>
                </a:lnTo>
                <a:lnTo>
                  <a:pt x="621" y="20"/>
                </a:lnTo>
                <a:lnTo>
                  <a:pt x="622" y="22"/>
                </a:lnTo>
                <a:lnTo>
                  <a:pt x="627" y="22"/>
                </a:lnTo>
                <a:lnTo>
                  <a:pt x="629" y="23"/>
                </a:lnTo>
                <a:lnTo>
                  <a:pt x="632" y="23"/>
                </a:lnTo>
                <a:lnTo>
                  <a:pt x="634" y="25"/>
                </a:lnTo>
                <a:lnTo>
                  <a:pt x="635" y="25"/>
                </a:lnTo>
                <a:lnTo>
                  <a:pt x="636" y="24"/>
                </a:lnTo>
                <a:lnTo>
                  <a:pt x="640" y="28"/>
                </a:lnTo>
                <a:lnTo>
                  <a:pt x="640" y="25"/>
                </a:lnTo>
                <a:lnTo>
                  <a:pt x="639" y="24"/>
                </a:lnTo>
                <a:lnTo>
                  <a:pt x="640" y="24"/>
                </a:lnTo>
                <a:lnTo>
                  <a:pt x="640" y="23"/>
                </a:lnTo>
                <a:lnTo>
                  <a:pt x="642" y="22"/>
                </a:lnTo>
                <a:lnTo>
                  <a:pt x="642" y="20"/>
                </a:lnTo>
                <a:lnTo>
                  <a:pt x="648" y="20"/>
                </a:lnTo>
                <a:lnTo>
                  <a:pt x="650" y="19"/>
                </a:lnTo>
                <a:lnTo>
                  <a:pt x="651" y="19"/>
                </a:lnTo>
                <a:lnTo>
                  <a:pt x="652" y="20"/>
                </a:lnTo>
                <a:lnTo>
                  <a:pt x="652" y="22"/>
                </a:lnTo>
                <a:lnTo>
                  <a:pt x="653" y="22"/>
                </a:lnTo>
                <a:lnTo>
                  <a:pt x="653" y="24"/>
                </a:lnTo>
                <a:lnTo>
                  <a:pt x="654" y="23"/>
                </a:lnTo>
                <a:lnTo>
                  <a:pt x="654" y="22"/>
                </a:lnTo>
                <a:lnTo>
                  <a:pt x="656" y="22"/>
                </a:lnTo>
                <a:lnTo>
                  <a:pt x="657" y="23"/>
                </a:lnTo>
                <a:lnTo>
                  <a:pt x="659" y="24"/>
                </a:lnTo>
                <a:lnTo>
                  <a:pt x="663" y="24"/>
                </a:lnTo>
                <a:lnTo>
                  <a:pt x="663" y="25"/>
                </a:lnTo>
                <a:lnTo>
                  <a:pt x="667" y="28"/>
                </a:lnTo>
                <a:lnTo>
                  <a:pt x="675" y="28"/>
                </a:lnTo>
                <a:lnTo>
                  <a:pt x="675" y="29"/>
                </a:lnTo>
                <a:lnTo>
                  <a:pt x="677" y="29"/>
                </a:lnTo>
                <a:lnTo>
                  <a:pt x="678" y="28"/>
                </a:lnTo>
                <a:lnTo>
                  <a:pt x="679" y="28"/>
                </a:lnTo>
                <a:lnTo>
                  <a:pt x="683" y="26"/>
                </a:lnTo>
                <a:lnTo>
                  <a:pt x="685" y="26"/>
                </a:lnTo>
                <a:lnTo>
                  <a:pt x="687" y="28"/>
                </a:lnTo>
                <a:lnTo>
                  <a:pt x="687" y="26"/>
                </a:lnTo>
                <a:lnTo>
                  <a:pt x="685" y="26"/>
                </a:lnTo>
                <a:lnTo>
                  <a:pt x="688" y="25"/>
                </a:lnTo>
                <a:lnTo>
                  <a:pt x="690" y="23"/>
                </a:lnTo>
                <a:lnTo>
                  <a:pt x="691" y="23"/>
                </a:lnTo>
                <a:lnTo>
                  <a:pt x="691" y="26"/>
                </a:lnTo>
                <a:lnTo>
                  <a:pt x="692" y="26"/>
                </a:lnTo>
                <a:lnTo>
                  <a:pt x="692" y="29"/>
                </a:lnTo>
                <a:lnTo>
                  <a:pt x="695" y="29"/>
                </a:lnTo>
                <a:lnTo>
                  <a:pt x="696" y="28"/>
                </a:lnTo>
                <a:lnTo>
                  <a:pt x="697" y="29"/>
                </a:lnTo>
                <a:lnTo>
                  <a:pt x="697" y="31"/>
                </a:lnTo>
                <a:lnTo>
                  <a:pt x="700" y="31"/>
                </a:lnTo>
                <a:lnTo>
                  <a:pt x="701" y="30"/>
                </a:lnTo>
                <a:lnTo>
                  <a:pt x="701" y="29"/>
                </a:lnTo>
                <a:lnTo>
                  <a:pt x="702" y="29"/>
                </a:lnTo>
                <a:lnTo>
                  <a:pt x="703" y="30"/>
                </a:lnTo>
                <a:lnTo>
                  <a:pt x="706" y="31"/>
                </a:lnTo>
                <a:lnTo>
                  <a:pt x="706" y="30"/>
                </a:lnTo>
                <a:lnTo>
                  <a:pt x="707" y="30"/>
                </a:lnTo>
                <a:lnTo>
                  <a:pt x="708" y="31"/>
                </a:lnTo>
                <a:lnTo>
                  <a:pt x="708" y="36"/>
                </a:lnTo>
                <a:lnTo>
                  <a:pt x="707" y="38"/>
                </a:lnTo>
                <a:lnTo>
                  <a:pt x="704" y="41"/>
                </a:lnTo>
                <a:lnTo>
                  <a:pt x="704" y="42"/>
                </a:lnTo>
                <a:lnTo>
                  <a:pt x="706" y="43"/>
                </a:lnTo>
                <a:lnTo>
                  <a:pt x="707" y="43"/>
                </a:lnTo>
                <a:lnTo>
                  <a:pt x="708" y="44"/>
                </a:lnTo>
                <a:lnTo>
                  <a:pt x="709" y="44"/>
                </a:lnTo>
                <a:lnTo>
                  <a:pt x="709" y="42"/>
                </a:lnTo>
                <a:lnTo>
                  <a:pt x="710" y="41"/>
                </a:lnTo>
                <a:lnTo>
                  <a:pt x="710" y="39"/>
                </a:lnTo>
                <a:lnTo>
                  <a:pt x="712" y="39"/>
                </a:lnTo>
                <a:lnTo>
                  <a:pt x="712" y="42"/>
                </a:lnTo>
                <a:lnTo>
                  <a:pt x="713" y="42"/>
                </a:lnTo>
                <a:lnTo>
                  <a:pt x="713" y="43"/>
                </a:lnTo>
                <a:lnTo>
                  <a:pt x="715" y="43"/>
                </a:lnTo>
                <a:lnTo>
                  <a:pt x="718" y="44"/>
                </a:lnTo>
                <a:lnTo>
                  <a:pt x="719" y="45"/>
                </a:lnTo>
                <a:lnTo>
                  <a:pt x="721" y="45"/>
                </a:lnTo>
                <a:lnTo>
                  <a:pt x="722" y="47"/>
                </a:lnTo>
                <a:lnTo>
                  <a:pt x="723" y="47"/>
                </a:lnTo>
                <a:lnTo>
                  <a:pt x="726" y="48"/>
                </a:lnTo>
                <a:lnTo>
                  <a:pt x="727" y="49"/>
                </a:lnTo>
                <a:lnTo>
                  <a:pt x="731" y="49"/>
                </a:lnTo>
                <a:lnTo>
                  <a:pt x="734" y="48"/>
                </a:lnTo>
                <a:lnTo>
                  <a:pt x="735" y="49"/>
                </a:lnTo>
                <a:lnTo>
                  <a:pt x="735" y="53"/>
                </a:lnTo>
                <a:lnTo>
                  <a:pt x="738" y="53"/>
                </a:lnTo>
                <a:lnTo>
                  <a:pt x="739" y="54"/>
                </a:lnTo>
                <a:lnTo>
                  <a:pt x="740" y="54"/>
                </a:lnTo>
                <a:lnTo>
                  <a:pt x="741" y="56"/>
                </a:lnTo>
                <a:lnTo>
                  <a:pt x="741" y="57"/>
                </a:lnTo>
                <a:lnTo>
                  <a:pt x="743" y="57"/>
                </a:lnTo>
                <a:lnTo>
                  <a:pt x="743" y="59"/>
                </a:lnTo>
                <a:lnTo>
                  <a:pt x="744" y="59"/>
                </a:lnTo>
                <a:lnTo>
                  <a:pt x="745" y="56"/>
                </a:lnTo>
                <a:lnTo>
                  <a:pt x="747" y="57"/>
                </a:lnTo>
                <a:lnTo>
                  <a:pt x="750" y="57"/>
                </a:lnTo>
                <a:lnTo>
                  <a:pt x="752" y="55"/>
                </a:lnTo>
                <a:lnTo>
                  <a:pt x="752" y="56"/>
                </a:lnTo>
                <a:lnTo>
                  <a:pt x="753" y="56"/>
                </a:lnTo>
                <a:lnTo>
                  <a:pt x="753" y="55"/>
                </a:lnTo>
                <a:lnTo>
                  <a:pt x="754" y="55"/>
                </a:lnTo>
                <a:lnTo>
                  <a:pt x="758" y="59"/>
                </a:lnTo>
                <a:lnTo>
                  <a:pt x="759" y="57"/>
                </a:lnTo>
                <a:lnTo>
                  <a:pt x="760" y="57"/>
                </a:lnTo>
                <a:lnTo>
                  <a:pt x="760" y="60"/>
                </a:lnTo>
                <a:lnTo>
                  <a:pt x="762" y="61"/>
                </a:lnTo>
                <a:lnTo>
                  <a:pt x="762" y="62"/>
                </a:lnTo>
                <a:lnTo>
                  <a:pt x="763" y="62"/>
                </a:lnTo>
                <a:lnTo>
                  <a:pt x="763" y="63"/>
                </a:lnTo>
                <a:lnTo>
                  <a:pt x="766" y="63"/>
                </a:lnTo>
                <a:lnTo>
                  <a:pt x="770" y="62"/>
                </a:lnTo>
                <a:lnTo>
                  <a:pt x="772" y="62"/>
                </a:lnTo>
                <a:lnTo>
                  <a:pt x="774" y="61"/>
                </a:lnTo>
                <a:lnTo>
                  <a:pt x="776" y="62"/>
                </a:lnTo>
                <a:lnTo>
                  <a:pt x="777" y="62"/>
                </a:lnTo>
                <a:lnTo>
                  <a:pt x="778" y="63"/>
                </a:lnTo>
                <a:lnTo>
                  <a:pt x="778" y="65"/>
                </a:lnTo>
                <a:lnTo>
                  <a:pt x="779" y="65"/>
                </a:lnTo>
                <a:lnTo>
                  <a:pt x="781" y="63"/>
                </a:lnTo>
                <a:lnTo>
                  <a:pt x="781" y="62"/>
                </a:lnTo>
                <a:lnTo>
                  <a:pt x="782" y="62"/>
                </a:lnTo>
                <a:lnTo>
                  <a:pt x="783" y="63"/>
                </a:lnTo>
                <a:lnTo>
                  <a:pt x="795" y="63"/>
                </a:lnTo>
                <a:lnTo>
                  <a:pt x="795" y="61"/>
                </a:lnTo>
                <a:lnTo>
                  <a:pt x="794" y="61"/>
                </a:lnTo>
                <a:lnTo>
                  <a:pt x="794" y="60"/>
                </a:lnTo>
                <a:lnTo>
                  <a:pt x="795" y="60"/>
                </a:lnTo>
                <a:lnTo>
                  <a:pt x="794" y="59"/>
                </a:lnTo>
                <a:lnTo>
                  <a:pt x="795" y="57"/>
                </a:lnTo>
                <a:lnTo>
                  <a:pt x="795" y="55"/>
                </a:lnTo>
                <a:lnTo>
                  <a:pt x="801" y="55"/>
                </a:lnTo>
                <a:lnTo>
                  <a:pt x="803" y="56"/>
                </a:lnTo>
                <a:lnTo>
                  <a:pt x="805" y="57"/>
                </a:lnTo>
                <a:lnTo>
                  <a:pt x="807" y="57"/>
                </a:lnTo>
                <a:lnTo>
                  <a:pt x="808" y="59"/>
                </a:lnTo>
                <a:lnTo>
                  <a:pt x="813" y="59"/>
                </a:lnTo>
                <a:lnTo>
                  <a:pt x="814" y="60"/>
                </a:lnTo>
                <a:lnTo>
                  <a:pt x="814" y="61"/>
                </a:lnTo>
                <a:lnTo>
                  <a:pt x="815" y="62"/>
                </a:lnTo>
                <a:lnTo>
                  <a:pt x="824" y="62"/>
                </a:lnTo>
                <a:lnTo>
                  <a:pt x="824" y="63"/>
                </a:lnTo>
                <a:lnTo>
                  <a:pt x="825" y="63"/>
                </a:lnTo>
                <a:lnTo>
                  <a:pt x="825" y="65"/>
                </a:lnTo>
                <a:lnTo>
                  <a:pt x="826" y="66"/>
                </a:lnTo>
                <a:lnTo>
                  <a:pt x="827" y="68"/>
                </a:lnTo>
                <a:lnTo>
                  <a:pt x="827" y="71"/>
                </a:lnTo>
                <a:lnTo>
                  <a:pt x="826" y="72"/>
                </a:lnTo>
                <a:lnTo>
                  <a:pt x="826" y="73"/>
                </a:lnTo>
                <a:lnTo>
                  <a:pt x="828" y="73"/>
                </a:lnTo>
                <a:lnTo>
                  <a:pt x="828" y="74"/>
                </a:lnTo>
                <a:lnTo>
                  <a:pt x="827" y="74"/>
                </a:lnTo>
                <a:lnTo>
                  <a:pt x="826" y="75"/>
                </a:lnTo>
                <a:lnTo>
                  <a:pt x="827" y="77"/>
                </a:lnTo>
                <a:lnTo>
                  <a:pt x="827" y="78"/>
                </a:lnTo>
                <a:lnTo>
                  <a:pt x="828" y="78"/>
                </a:lnTo>
                <a:lnTo>
                  <a:pt x="831" y="79"/>
                </a:lnTo>
                <a:lnTo>
                  <a:pt x="832" y="78"/>
                </a:lnTo>
                <a:lnTo>
                  <a:pt x="834" y="77"/>
                </a:lnTo>
                <a:lnTo>
                  <a:pt x="836" y="77"/>
                </a:lnTo>
                <a:lnTo>
                  <a:pt x="837" y="74"/>
                </a:lnTo>
                <a:lnTo>
                  <a:pt x="838" y="75"/>
                </a:lnTo>
                <a:lnTo>
                  <a:pt x="839" y="74"/>
                </a:lnTo>
                <a:lnTo>
                  <a:pt x="840" y="75"/>
                </a:lnTo>
                <a:lnTo>
                  <a:pt x="844" y="75"/>
                </a:lnTo>
                <a:lnTo>
                  <a:pt x="846" y="78"/>
                </a:lnTo>
                <a:lnTo>
                  <a:pt x="849" y="78"/>
                </a:lnTo>
                <a:lnTo>
                  <a:pt x="849" y="79"/>
                </a:lnTo>
                <a:lnTo>
                  <a:pt x="850" y="81"/>
                </a:lnTo>
                <a:lnTo>
                  <a:pt x="851" y="82"/>
                </a:lnTo>
                <a:lnTo>
                  <a:pt x="855" y="82"/>
                </a:lnTo>
                <a:lnTo>
                  <a:pt x="855" y="81"/>
                </a:lnTo>
                <a:lnTo>
                  <a:pt x="856" y="81"/>
                </a:lnTo>
                <a:lnTo>
                  <a:pt x="856" y="80"/>
                </a:lnTo>
                <a:lnTo>
                  <a:pt x="857" y="79"/>
                </a:lnTo>
                <a:lnTo>
                  <a:pt x="864" y="79"/>
                </a:lnTo>
                <a:lnTo>
                  <a:pt x="868" y="80"/>
                </a:lnTo>
                <a:lnTo>
                  <a:pt x="871" y="84"/>
                </a:lnTo>
                <a:lnTo>
                  <a:pt x="874" y="84"/>
                </a:lnTo>
                <a:lnTo>
                  <a:pt x="874" y="82"/>
                </a:lnTo>
                <a:lnTo>
                  <a:pt x="875" y="82"/>
                </a:lnTo>
                <a:lnTo>
                  <a:pt x="877" y="84"/>
                </a:lnTo>
                <a:lnTo>
                  <a:pt x="880" y="84"/>
                </a:lnTo>
                <a:lnTo>
                  <a:pt x="878" y="82"/>
                </a:lnTo>
                <a:lnTo>
                  <a:pt x="878" y="81"/>
                </a:lnTo>
                <a:lnTo>
                  <a:pt x="881" y="80"/>
                </a:lnTo>
                <a:lnTo>
                  <a:pt x="881" y="79"/>
                </a:lnTo>
                <a:lnTo>
                  <a:pt x="886" y="79"/>
                </a:lnTo>
                <a:lnTo>
                  <a:pt x="887" y="78"/>
                </a:lnTo>
                <a:lnTo>
                  <a:pt x="889" y="78"/>
                </a:lnTo>
                <a:lnTo>
                  <a:pt x="889" y="77"/>
                </a:lnTo>
                <a:lnTo>
                  <a:pt x="895" y="77"/>
                </a:lnTo>
                <a:lnTo>
                  <a:pt x="895" y="78"/>
                </a:lnTo>
                <a:lnTo>
                  <a:pt x="896" y="78"/>
                </a:lnTo>
                <a:lnTo>
                  <a:pt x="897" y="79"/>
                </a:lnTo>
                <a:lnTo>
                  <a:pt x="900" y="79"/>
                </a:lnTo>
                <a:lnTo>
                  <a:pt x="901" y="78"/>
                </a:lnTo>
                <a:lnTo>
                  <a:pt x="901" y="82"/>
                </a:lnTo>
                <a:lnTo>
                  <a:pt x="902" y="84"/>
                </a:lnTo>
                <a:lnTo>
                  <a:pt x="906" y="84"/>
                </a:lnTo>
                <a:lnTo>
                  <a:pt x="907" y="85"/>
                </a:lnTo>
                <a:lnTo>
                  <a:pt x="906" y="86"/>
                </a:lnTo>
                <a:lnTo>
                  <a:pt x="906" y="88"/>
                </a:lnTo>
                <a:lnTo>
                  <a:pt x="905" y="88"/>
                </a:lnTo>
                <a:lnTo>
                  <a:pt x="905" y="90"/>
                </a:lnTo>
                <a:lnTo>
                  <a:pt x="903" y="88"/>
                </a:lnTo>
                <a:lnTo>
                  <a:pt x="902" y="90"/>
                </a:lnTo>
                <a:lnTo>
                  <a:pt x="901" y="88"/>
                </a:lnTo>
                <a:lnTo>
                  <a:pt x="900" y="88"/>
                </a:lnTo>
                <a:lnTo>
                  <a:pt x="899" y="90"/>
                </a:lnTo>
                <a:lnTo>
                  <a:pt x="899" y="94"/>
                </a:lnTo>
                <a:lnTo>
                  <a:pt x="901" y="97"/>
                </a:lnTo>
                <a:lnTo>
                  <a:pt x="901" y="98"/>
                </a:lnTo>
                <a:lnTo>
                  <a:pt x="902" y="99"/>
                </a:lnTo>
                <a:lnTo>
                  <a:pt x="902" y="104"/>
                </a:lnTo>
                <a:lnTo>
                  <a:pt x="903" y="104"/>
                </a:lnTo>
                <a:lnTo>
                  <a:pt x="903" y="106"/>
                </a:lnTo>
                <a:lnTo>
                  <a:pt x="902" y="108"/>
                </a:lnTo>
                <a:lnTo>
                  <a:pt x="902" y="109"/>
                </a:lnTo>
                <a:lnTo>
                  <a:pt x="900" y="111"/>
                </a:lnTo>
                <a:lnTo>
                  <a:pt x="899" y="111"/>
                </a:lnTo>
                <a:lnTo>
                  <a:pt x="896" y="112"/>
                </a:lnTo>
                <a:lnTo>
                  <a:pt x="896" y="114"/>
                </a:lnTo>
                <a:lnTo>
                  <a:pt x="890" y="120"/>
                </a:lnTo>
                <a:lnTo>
                  <a:pt x="887" y="120"/>
                </a:lnTo>
                <a:lnTo>
                  <a:pt x="887" y="121"/>
                </a:lnTo>
                <a:lnTo>
                  <a:pt x="886" y="121"/>
                </a:lnTo>
                <a:lnTo>
                  <a:pt x="886" y="122"/>
                </a:lnTo>
                <a:lnTo>
                  <a:pt x="884" y="122"/>
                </a:lnTo>
                <a:lnTo>
                  <a:pt x="884" y="123"/>
                </a:lnTo>
                <a:lnTo>
                  <a:pt x="878" y="125"/>
                </a:lnTo>
                <a:lnTo>
                  <a:pt x="870" y="129"/>
                </a:lnTo>
                <a:lnTo>
                  <a:pt x="869" y="130"/>
                </a:lnTo>
                <a:lnTo>
                  <a:pt x="864" y="133"/>
                </a:lnTo>
                <a:lnTo>
                  <a:pt x="862" y="135"/>
                </a:lnTo>
                <a:lnTo>
                  <a:pt x="859" y="139"/>
                </a:lnTo>
                <a:lnTo>
                  <a:pt x="858" y="141"/>
                </a:lnTo>
                <a:lnTo>
                  <a:pt x="857" y="142"/>
                </a:lnTo>
                <a:lnTo>
                  <a:pt x="853" y="143"/>
                </a:lnTo>
                <a:lnTo>
                  <a:pt x="852" y="145"/>
                </a:lnTo>
                <a:lnTo>
                  <a:pt x="846" y="145"/>
                </a:lnTo>
                <a:lnTo>
                  <a:pt x="845" y="146"/>
                </a:lnTo>
                <a:lnTo>
                  <a:pt x="844" y="146"/>
                </a:lnTo>
                <a:lnTo>
                  <a:pt x="836" y="148"/>
                </a:lnTo>
                <a:lnTo>
                  <a:pt x="832" y="148"/>
                </a:lnTo>
                <a:lnTo>
                  <a:pt x="821" y="153"/>
                </a:lnTo>
                <a:lnTo>
                  <a:pt x="818" y="153"/>
                </a:lnTo>
                <a:lnTo>
                  <a:pt x="818" y="155"/>
                </a:lnTo>
                <a:lnTo>
                  <a:pt x="812" y="155"/>
                </a:lnTo>
                <a:lnTo>
                  <a:pt x="809" y="157"/>
                </a:lnTo>
                <a:lnTo>
                  <a:pt x="805" y="161"/>
                </a:lnTo>
                <a:lnTo>
                  <a:pt x="802" y="165"/>
                </a:lnTo>
                <a:lnTo>
                  <a:pt x="796" y="171"/>
                </a:lnTo>
                <a:lnTo>
                  <a:pt x="797" y="172"/>
                </a:lnTo>
                <a:lnTo>
                  <a:pt x="800" y="172"/>
                </a:lnTo>
                <a:lnTo>
                  <a:pt x="802" y="174"/>
                </a:lnTo>
                <a:lnTo>
                  <a:pt x="803" y="173"/>
                </a:lnTo>
                <a:lnTo>
                  <a:pt x="803" y="177"/>
                </a:lnTo>
                <a:lnTo>
                  <a:pt x="802" y="177"/>
                </a:lnTo>
                <a:lnTo>
                  <a:pt x="800" y="178"/>
                </a:lnTo>
                <a:lnTo>
                  <a:pt x="796" y="182"/>
                </a:lnTo>
                <a:lnTo>
                  <a:pt x="797" y="179"/>
                </a:lnTo>
                <a:lnTo>
                  <a:pt x="796" y="179"/>
                </a:lnTo>
                <a:lnTo>
                  <a:pt x="793" y="180"/>
                </a:lnTo>
                <a:lnTo>
                  <a:pt x="791" y="182"/>
                </a:lnTo>
                <a:lnTo>
                  <a:pt x="790" y="182"/>
                </a:lnTo>
                <a:lnTo>
                  <a:pt x="790" y="183"/>
                </a:lnTo>
                <a:lnTo>
                  <a:pt x="789" y="186"/>
                </a:lnTo>
                <a:lnTo>
                  <a:pt x="788" y="188"/>
                </a:lnTo>
                <a:lnTo>
                  <a:pt x="788" y="189"/>
                </a:lnTo>
                <a:lnTo>
                  <a:pt x="787" y="190"/>
                </a:lnTo>
                <a:lnTo>
                  <a:pt x="785" y="190"/>
                </a:lnTo>
                <a:lnTo>
                  <a:pt x="785" y="192"/>
                </a:lnTo>
                <a:lnTo>
                  <a:pt x="784" y="192"/>
                </a:lnTo>
                <a:lnTo>
                  <a:pt x="782" y="198"/>
                </a:lnTo>
                <a:lnTo>
                  <a:pt x="781" y="200"/>
                </a:lnTo>
                <a:lnTo>
                  <a:pt x="781" y="201"/>
                </a:lnTo>
                <a:lnTo>
                  <a:pt x="779" y="201"/>
                </a:lnTo>
                <a:lnTo>
                  <a:pt x="778" y="203"/>
                </a:lnTo>
                <a:lnTo>
                  <a:pt x="776" y="206"/>
                </a:lnTo>
                <a:lnTo>
                  <a:pt x="774" y="210"/>
                </a:lnTo>
                <a:lnTo>
                  <a:pt x="772" y="211"/>
                </a:lnTo>
                <a:lnTo>
                  <a:pt x="770" y="213"/>
                </a:lnTo>
                <a:lnTo>
                  <a:pt x="769" y="214"/>
                </a:lnTo>
                <a:lnTo>
                  <a:pt x="766" y="219"/>
                </a:lnTo>
                <a:lnTo>
                  <a:pt x="763" y="222"/>
                </a:lnTo>
                <a:lnTo>
                  <a:pt x="759" y="229"/>
                </a:lnTo>
                <a:lnTo>
                  <a:pt x="758" y="231"/>
                </a:lnTo>
                <a:lnTo>
                  <a:pt x="758" y="233"/>
                </a:lnTo>
                <a:lnTo>
                  <a:pt x="756" y="235"/>
                </a:lnTo>
                <a:lnTo>
                  <a:pt x="756" y="238"/>
                </a:lnTo>
                <a:lnTo>
                  <a:pt x="754" y="238"/>
                </a:lnTo>
                <a:lnTo>
                  <a:pt x="753" y="240"/>
                </a:lnTo>
                <a:lnTo>
                  <a:pt x="753" y="247"/>
                </a:lnTo>
                <a:lnTo>
                  <a:pt x="754" y="251"/>
                </a:lnTo>
                <a:lnTo>
                  <a:pt x="757" y="257"/>
                </a:lnTo>
                <a:lnTo>
                  <a:pt x="757" y="258"/>
                </a:lnTo>
                <a:lnTo>
                  <a:pt x="758" y="259"/>
                </a:lnTo>
                <a:lnTo>
                  <a:pt x="757" y="259"/>
                </a:lnTo>
                <a:lnTo>
                  <a:pt x="757" y="263"/>
                </a:lnTo>
                <a:lnTo>
                  <a:pt x="758" y="265"/>
                </a:lnTo>
                <a:lnTo>
                  <a:pt x="759" y="266"/>
                </a:lnTo>
                <a:lnTo>
                  <a:pt x="762" y="271"/>
                </a:lnTo>
                <a:lnTo>
                  <a:pt x="766" y="276"/>
                </a:lnTo>
                <a:lnTo>
                  <a:pt x="770" y="276"/>
                </a:lnTo>
                <a:lnTo>
                  <a:pt x="771" y="277"/>
                </a:lnTo>
                <a:lnTo>
                  <a:pt x="774" y="278"/>
                </a:lnTo>
                <a:lnTo>
                  <a:pt x="775" y="280"/>
                </a:lnTo>
                <a:lnTo>
                  <a:pt x="775" y="281"/>
                </a:lnTo>
                <a:lnTo>
                  <a:pt x="776" y="282"/>
                </a:lnTo>
                <a:lnTo>
                  <a:pt x="777" y="282"/>
                </a:lnTo>
                <a:lnTo>
                  <a:pt x="777" y="283"/>
                </a:lnTo>
                <a:lnTo>
                  <a:pt x="775" y="283"/>
                </a:lnTo>
                <a:lnTo>
                  <a:pt x="775" y="284"/>
                </a:lnTo>
                <a:lnTo>
                  <a:pt x="774" y="284"/>
                </a:lnTo>
                <a:lnTo>
                  <a:pt x="774" y="286"/>
                </a:lnTo>
                <a:lnTo>
                  <a:pt x="772" y="286"/>
                </a:lnTo>
                <a:lnTo>
                  <a:pt x="771" y="287"/>
                </a:lnTo>
                <a:lnTo>
                  <a:pt x="770" y="287"/>
                </a:lnTo>
                <a:lnTo>
                  <a:pt x="770" y="289"/>
                </a:lnTo>
                <a:lnTo>
                  <a:pt x="765" y="289"/>
                </a:lnTo>
                <a:lnTo>
                  <a:pt x="765" y="293"/>
                </a:lnTo>
                <a:lnTo>
                  <a:pt x="764" y="293"/>
                </a:lnTo>
                <a:lnTo>
                  <a:pt x="764" y="294"/>
                </a:lnTo>
                <a:lnTo>
                  <a:pt x="759" y="294"/>
                </a:lnTo>
                <a:lnTo>
                  <a:pt x="757" y="296"/>
                </a:lnTo>
                <a:lnTo>
                  <a:pt x="753" y="297"/>
                </a:lnTo>
                <a:lnTo>
                  <a:pt x="752" y="297"/>
                </a:lnTo>
                <a:lnTo>
                  <a:pt x="752" y="299"/>
                </a:lnTo>
                <a:lnTo>
                  <a:pt x="750" y="301"/>
                </a:lnTo>
                <a:lnTo>
                  <a:pt x="750" y="303"/>
                </a:lnTo>
                <a:lnTo>
                  <a:pt x="747" y="303"/>
                </a:lnTo>
                <a:lnTo>
                  <a:pt x="747" y="305"/>
                </a:lnTo>
                <a:lnTo>
                  <a:pt x="745" y="305"/>
                </a:lnTo>
                <a:lnTo>
                  <a:pt x="745" y="307"/>
                </a:lnTo>
                <a:lnTo>
                  <a:pt x="746" y="312"/>
                </a:lnTo>
                <a:lnTo>
                  <a:pt x="745" y="312"/>
                </a:lnTo>
                <a:lnTo>
                  <a:pt x="745" y="313"/>
                </a:lnTo>
                <a:lnTo>
                  <a:pt x="743" y="312"/>
                </a:lnTo>
                <a:lnTo>
                  <a:pt x="743" y="313"/>
                </a:lnTo>
                <a:lnTo>
                  <a:pt x="741" y="313"/>
                </a:lnTo>
                <a:lnTo>
                  <a:pt x="740" y="314"/>
                </a:lnTo>
                <a:lnTo>
                  <a:pt x="740" y="319"/>
                </a:lnTo>
                <a:lnTo>
                  <a:pt x="739" y="323"/>
                </a:lnTo>
                <a:lnTo>
                  <a:pt x="739" y="324"/>
                </a:lnTo>
                <a:lnTo>
                  <a:pt x="738" y="324"/>
                </a:lnTo>
                <a:lnTo>
                  <a:pt x="737" y="325"/>
                </a:lnTo>
                <a:lnTo>
                  <a:pt x="737" y="326"/>
                </a:lnTo>
                <a:lnTo>
                  <a:pt x="735" y="330"/>
                </a:lnTo>
                <a:lnTo>
                  <a:pt x="735" y="333"/>
                </a:lnTo>
                <a:lnTo>
                  <a:pt x="734" y="332"/>
                </a:lnTo>
                <a:lnTo>
                  <a:pt x="733" y="334"/>
                </a:lnTo>
                <a:lnTo>
                  <a:pt x="732" y="336"/>
                </a:lnTo>
                <a:lnTo>
                  <a:pt x="731" y="336"/>
                </a:lnTo>
                <a:lnTo>
                  <a:pt x="731" y="337"/>
                </a:lnTo>
                <a:lnTo>
                  <a:pt x="732" y="340"/>
                </a:lnTo>
                <a:lnTo>
                  <a:pt x="733" y="340"/>
                </a:lnTo>
                <a:lnTo>
                  <a:pt x="734" y="342"/>
                </a:lnTo>
                <a:lnTo>
                  <a:pt x="737" y="342"/>
                </a:lnTo>
                <a:lnTo>
                  <a:pt x="738" y="343"/>
                </a:lnTo>
                <a:lnTo>
                  <a:pt x="737" y="343"/>
                </a:lnTo>
                <a:lnTo>
                  <a:pt x="737" y="344"/>
                </a:lnTo>
                <a:lnTo>
                  <a:pt x="733" y="344"/>
                </a:lnTo>
                <a:lnTo>
                  <a:pt x="733" y="345"/>
                </a:lnTo>
                <a:lnTo>
                  <a:pt x="729" y="345"/>
                </a:lnTo>
                <a:lnTo>
                  <a:pt x="728" y="346"/>
                </a:lnTo>
                <a:lnTo>
                  <a:pt x="727" y="346"/>
                </a:lnTo>
                <a:lnTo>
                  <a:pt x="726" y="345"/>
                </a:lnTo>
                <a:lnTo>
                  <a:pt x="720" y="345"/>
                </a:lnTo>
                <a:lnTo>
                  <a:pt x="720" y="348"/>
                </a:lnTo>
                <a:lnTo>
                  <a:pt x="718" y="348"/>
                </a:lnTo>
                <a:lnTo>
                  <a:pt x="718" y="346"/>
                </a:lnTo>
                <a:lnTo>
                  <a:pt x="716" y="345"/>
                </a:lnTo>
                <a:lnTo>
                  <a:pt x="714" y="345"/>
                </a:lnTo>
                <a:lnTo>
                  <a:pt x="714" y="346"/>
                </a:lnTo>
                <a:lnTo>
                  <a:pt x="710" y="346"/>
                </a:lnTo>
                <a:lnTo>
                  <a:pt x="709" y="348"/>
                </a:lnTo>
                <a:lnTo>
                  <a:pt x="707" y="349"/>
                </a:lnTo>
                <a:lnTo>
                  <a:pt x="707" y="350"/>
                </a:lnTo>
                <a:lnTo>
                  <a:pt x="704" y="350"/>
                </a:lnTo>
                <a:lnTo>
                  <a:pt x="704" y="352"/>
                </a:lnTo>
                <a:lnTo>
                  <a:pt x="703" y="354"/>
                </a:lnTo>
                <a:lnTo>
                  <a:pt x="701" y="354"/>
                </a:lnTo>
                <a:lnTo>
                  <a:pt x="698" y="355"/>
                </a:lnTo>
                <a:lnTo>
                  <a:pt x="697" y="356"/>
                </a:lnTo>
                <a:lnTo>
                  <a:pt x="697" y="357"/>
                </a:lnTo>
                <a:lnTo>
                  <a:pt x="696" y="357"/>
                </a:lnTo>
                <a:lnTo>
                  <a:pt x="696" y="358"/>
                </a:lnTo>
                <a:lnTo>
                  <a:pt x="690" y="364"/>
                </a:lnTo>
                <a:lnTo>
                  <a:pt x="690" y="367"/>
                </a:lnTo>
                <a:lnTo>
                  <a:pt x="689" y="369"/>
                </a:lnTo>
                <a:lnTo>
                  <a:pt x="689" y="372"/>
                </a:lnTo>
                <a:lnTo>
                  <a:pt x="688" y="375"/>
                </a:lnTo>
                <a:lnTo>
                  <a:pt x="687" y="376"/>
                </a:lnTo>
                <a:lnTo>
                  <a:pt x="687" y="380"/>
                </a:lnTo>
                <a:lnTo>
                  <a:pt x="684" y="380"/>
                </a:lnTo>
                <a:lnTo>
                  <a:pt x="683" y="381"/>
                </a:lnTo>
                <a:lnTo>
                  <a:pt x="683" y="382"/>
                </a:lnTo>
                <a:lnTo>
                  <a:pt x="682" y="383"/>
                </a:lnTo>
                <a:lnTo>
                  <a:pt x="682" y="385"/>
                </a:lnTo>
                <a:lnTo>
                  <a:pt x="681" y="385"/>
                </a:lnTo>
                <a:lnTo>
                  <a:pt x="681" y="386"/>
                </a:lnTo>
                <a:lnTo>
                  <a:pt x="679" y="387"/>
                </a:lnTo>
                <a:lnTo>
                  <a:pt x="679" y="388"/>
                </a:lnTo>
                <a:lnTo>
                  <a:pt x="678" y="388"/>
                </a:lnTo>
                <a:lnTo>
                  <a:pt x="678" y="389"/>
                </a:lnTo>
                <a:lnTo>
                  <a:pt x="676" y="389"/>
                </a:lnTo>
                <a:lnTo>
                  <a:pt x="676" y="391"/>
                </a:lnTo>
                <a:lnTo>
                  <a:pt x="673" y="389"/>
                </a:lnTo>
                <a:lnTo>
                  <a:pt x="672" y="388"/>
                </a:lnTo>
                <a:lnTo>
                  <a:pt x="672" y="387"/>
                </a:lnTo>
                <a:lnTo>
                  <a:pt x="671" y="386"/>
                </a:lnTo>
                <a:lnTo>
                  <a:pt x="669" y="385"/>
                </a:lnTo>
                <a:lnTo>
                  <a:pt x="666" y="385"/>
                </a:lnTo>
                <a:lnTo>
                  <a:pt x="665" y="386"/>
                </a:lnTo>
                <a:lnTo>
                  <a:pt x="664" y="386"/>
                </a:lnTo>
                <a:lnTo>
                  <a:pt x="663" y="385"/>
                </a:lnTo>
                <a:lnTo>
                  <a:pt x="659" y="386"/>
                </a:lnTo>
                <a:lnTo>
                  <a:pt x="658" y="386"/>
                </a:lnTo>
                <a:lnTo>
                  <a:pt x="658" y="388"/>
                </a:lnTo>
                <a:lnTo>
                  <a:pt x="657" y="391"/>
                </a:lnTo>
                <a:lnTo>
                  <a:pt x="656" y="392"/>
                </a:lnTo>
                <a:lnTo>
                  <a:pt x="653" y="392"/>
                </a:lnTo>
                <a:lnTo>
                  <a:pt x="652" y="393"/>
                </a:lnTo>
                <a:lnTo>
                  <a:pt x="652" y="392"/>
                </a:lnTo>
                <a:lnTo>
                  <a:pt x="651" y="393"/>
                </a:lnTo>
                <a:lnTo>
                  <a:pt x="648" y="391"/>
                </a:lnTo>
                <a:lnTo>
                  <a:pt x="647" y="391"/>
                </a:lnTo>
                <a:lnTo>
                  <a:pt x="647" y="392"/>
                </a:lnTo>
                <a:lnTo>
                  <a:pt x="646" y="392"/>
                </a:lnTo>
                <a:lnTo>
                  <a:pt x="645" y="389"/>
                </a:lnTo>
                <a:lnTo>
                  <a:pt x="634" y="389"/>
                </a:lnTo>
                <a:lnTo>
                  <a:pt x="631" y="388"/>
                </a:lnTo>
                <a:lnTo>
                  <a:pt x="627" y="389"/>
                </a:lnTo>
                <a:lnTo>
                  <a:pt x="626" y="389"/>
                </a:lnTo>
                <a:lnTo>
                  <a:pt x="626" y="391"/>
                </a:lnTo>
                <a:lnTo>
                  <a:pt x="625" y="391"/>
                </a:lnTo>
                <a:lnTo>
                  <a:pt x="623" y="392"/>
                </a:lnTo>
                <a:lnTo>
                  <a:pt x="620" y="392"/>
                </a:lnTo>
                <a:lnTo>
                  <a:pt x="619" y="391"/>
                </a:lnTo>
                <a:lnTo>
                  <a:pt x="616" y="391"/>
                </a:lnTo>
                <a:lnTo>
                  <a:pt x="615" y="389"/>
                </a:lnTo>
                <a:lnTo>
                  <a:pt x="613" y="389"/>
                </a:lnTo>
                <a:lnTo>
                  <a:pt x="611" y="391"/>
                </a:lnTo>
                <a:lnTo>
                  <a:pt x="609" y="391"/>
                </a:lnTo>
                <a:lnTo>
                  <a:pt x="607" y="389"/>
                </a:lnTo>
                <a:lnTo>
                  <a:pt x="603" y="389"/>
                </a:lnTo>
                <a:lnTo>
                  <a:pt x="600" y="391"/>
                </a:lnTo>
                <a:lnTo>
                  <a:pt x="596" y="389"/>
                </a:lnTo>
                <a:lnTo>
                  <a:pt x="595" y="389"/>
                </a:lnTo>
                <a:lnTo>
                  <a:pt x="594" y="391"/>
                </a:lnTo>
                <a:lnTo>
                  <a:pt x="580" y="391"/>
                </a:lnTo>
                <a:lnTo>
                  <a:pt x="579" y="393"/>
                </a:lnTo>
                <a:lnTo>
                  <a:pt x="578" y="393"/>
                </a:lnTo>
                <a:lnTo>
                  <a:pt x="578" y="394"/>
                </a:lnTo>
                <a:lnTo>
                  <a:pt x="577" y="395"/>
                </a:lnTo>
                <a:lnTo>
                  <a:pt x="576" y="398"/>
                </a:lnTo>
                <a:lnTo>
                  <a:pt x="573" y="398"/>
                </a:lnTo>
                <a:lnTo>
                  <a:pt x="572" y="400"/>
                </a:lnTo>
                <a:lnTo>
                  <a:pt x="570" y="403"/>
                </a:lnTo>
                <a:lnTo>
                  <a:pt x="566" y="403"/>
                </a:lnTo>
                <a:lnTo>
                  <a:pt x="561" y="401"/>
                </a:lnTo>
                <a:lnTo>
                  <a:pt x="560" y="401"/>
                </a:lnTo>
                <a:lnTo>
                  <a:pt x="559" y="403"/>
                </a:lnTo>
                <a:lnTo>
                  <a:pt x="557" y="404"/>
                </a:lnTo>
                <a:lnTo>
                  <a:pt x="553" y="405"/>
                </a:lnTo>
                <a:lnTo>
                  <a:pt x="552" y="406"/>
                </a:lnTo>
                <a:lnTo>
                  <a:pt x="548" y="406"/>
                </a:lnTo>
                <a:lnTo>
                  <a:pt x="547" y="407"/>
                </a:lnTo>
                <a:lnTo>
                  <a:pt x="546" y="410"/>
                </a:lnTo>
                <a:lnTo>
                  <a:pt x="546" y="412"/>
                </a:lnTo>
                <a:lnTo>
                  <a:pt x="545" y="412"/>
                </a:lnTo>
                <a:lnTo>
                  <a:pt x="545" y="413"/>
                </a:lnTo>
                <a:lnTo>
                  <a:pt x="544" y="413"/>
                </a:lnTo>
                <a:lnTo>
                  <a:pt x="544" y="416"/>
                </a:lnTo>
                <a:lnTo>
                  <a:pt x="541" y="420"/>
                </a:lnTo>
                <a:lnTo>
                  <a:pt x="540" y="419"/>
                </a:lnTo>
                <a:lnTo>
                  <a:pt x="538" y="419"/>
                </a:lnTo>
                <a:lnTo>
                  <a:pt x="538" y="425"/>
                </a:lnTo>
                <a:lnTo>
                  <a:pt x="536" y="425"/>
                </a:lnTo>
                <a:lnTo>
                  <a:pt x="532" y="428"/>
                </a:lnTo>
                <a:lnTo>
                  <a:pt x="530" y="428"/>
                </a:lnTo>
                <a:lnTo>
                  <a:pt x="528" y="425"/>
                </a:lnTo>
                <a:lnTo>
                  <a:pt x="524" y="425"/>
                </a:lnTo>
                <a:lnTo>
                  <a:pt x="524" y="424"/>
                </a:lnTo>
                <a:lnTo>
                  <a:pt x="522" y="424"/>
                </a:lnTo>
                <a:lnTo>
                  <a:pt x="522" y="423"/>
                </a:lnTo>
                <a:lnTo>
                  <a:pt x="517" y="418"/>
                </a:lnTo>
                <a:lnTo>
                  <a:pt x="516" y="418"/>
                </a:lnTo>
                <a:lnTo>
                  <a:pt x="515" y="419"/>
                </a:lnTo>
                <a:lnTo>
                  <a:pt x="513" y="418"/>
                </a:lnTo>
                <a:lnTo>
                  <a:pt x="510" y="416"/>
                </a:lnTo>
                <a:lnTo>
                  <a:pt x="509" y="413"/>
                </a:lnTo>
                <a:lnTo>
                  <a:pt x="507" y="412"/>
                </a:lnTo>
                <a:lnTo>
                  <a:pt x="507" y="409"/>
                </a:lnTo>
                <a:lnTo>
                  <a:pt x="504" y="407"/>
                </a:lnTo>
                <a:lnTo>
                  <a:pt x="503" y="405"/>
                </a:lnTo>
                <a:lnTo>
                  <a:pt x="503" y="404"/>
                </a:lnTo>
                <a:lnTo>
                  <a:pt x="502" y="401"/>
                </a:lnTo>
                <a:lnTo>
                  <a:pt x="501" y="400"/>
                </a:lnTo>
                <a:lnTo>
                  <a:pt x="502" y="400"/>
                </a:lnTo>
                <a:lnTo>
                  <a:pt x="503" y="401"/>
                </a:lnTo>
                <a:lnTo>
                  <a:pt x="503" y="403"/>
                </a:lnTo>
                <a:lnTo>
                  <a:pt x="504" y="404"/>
                </a:lnTo>
                <a:lnTo>
                  <a:pt x="507" y="401"/>
                </a:lnTo>
                <a:lnTo>
                  <a:pt x="504" y="401"/>
                </a:lnTo>
                <a:lnTo>
                  <a:pt x="504" y="398"/>
                </a:lnTo>
                <a:lnTo>
                  <a:pt x="502" y="397"/>
                </a:lnTo>
                <a:lnTo>
                  <a:pt x="502" y="395"/>
                </a:lnTo>
                <a:lnTo>
                  <a:pt x="497" y="395"/>
                </a:lnTo>
                <a:lnTo>
                  <a:pt x="497" y="393"/>
                </a:lnTo>
                <a:lnTo>
                  <a:pt x="496" y="392"/>
                </a:lnTo>
                <a:lnTo>
                  <a:pt x="496" y="388"/>
                </a:lnTo>
                <a:lnTo>
                  <a:pt x="497" y="388"/>
                </a:lnTo>
                <a:lnTo>
                  <a:pt x="498" y="387"/>
                </a:lnTo>
                <a:lnTo>
                  <a:pt x="499" y="387"/>
                </a:lnTo>
                <a:lnTo>
                  <a:pt x="499" y="386"/>
                </a:lnTo>
                <a:lnTo>
                  <a:pt x="497" y="386"/>
                </a:lnTo>
                <a:lnTo>
                  <a:pt x="496" y="385"/>
                </a:lnTo>
                <a:lnTo>
                  <a:pt x="495" y="381"/>
                </a:lnTo>
                <a:lnTo>
                  <a:pt x="493" y="379"/>
                </a:lnTo>
                <a:lnTo>
                  <a:pt x="492" y="377"/>
                </a:lnTo>
                <a:lnTo>
                  <a:pt x="483" y="370"/>
                </a:lnTo>
                <a:lnTo>
                  <a:pt x="482" y="370"/>
                </a:lnTo>
                <a:lnTo>
                  <a:pt x="480" y="369"/>
                </a:lnTo>
                <a:lnTo>
                  <a:pt x="479" y="369"/>
                </a:lnTo>
                <a:lnTo>
                  <a:pt x="478" y="368"/>
                </a:lnTo>
                <a:lnTo>
                  <a:pt x="477" y="368"/>
                </a:lnTo>
                <a:lnTo>
                  <a:pt x="476" y="367"/>
                </a:lnTo>
                <a:lnTo>
                  <a:pt x="476" y="363"/>
                </a:lnTo>
                <a:lnTo>
                  <a:pt x="478" y="361"/>
                </a:lnTo>
                <a:lnTo>
                  <a:pt x="477" y="361"/>
                </a:lnTo>
                <a:lnTo>
                  <a:pt x="476" y="363"/>
                </a:lnTo>
                <a:lnTo>
                  <a:pt x="473" y="363"/>
                </a:lnTo>
                <a:lnTo>
                  <a:pt x="473" y="364"/>
                </a:lnTo>
                <a:lnTo>
                  <a:pt x="474" y="366"/>
                </a:lnTo>
                <a:lnTo>
                  <a:pt x="474" y="367"/>
                </a:lnTo>
                <a:lnTo>
                  <a:pt x="471" y="366"/>
                </a:lnTo>
                <a:lnTo>
                  <a:pt x="468" y="364"/>
                </a:lnTo>
                <a:lnTo>
                  <a:pt x="458" y="366"/>
                </a:lnTo>
                <a:lnTo>
                  <a:pt x="456" y="367"/>
                </a:lnTo>
                <a:lnTo>
                  <a:pt x="455" y="367"/>
                </a:lnTo>
                <a:lnTo>
                  <a:pt x="455" y="366"/>
                </a:lnTo>
                <a:lnTo>
                  <a:pt x="454" y="366"/>
                </a:lnTo>
                <a:lnTo>
                  <a:pt x="453" y="363"/>
                </a:lnTo>
                <a:lnTo>
                  <a:pt x="453" y="362"/>
                </a:lnTo>
                <a:lnTo>
                  <a:pt x="454" y="361"/>
                </a:lnTo>
                <a:lnTo>
                  <a:pt x="453" y="360"/>
                </a:lnTo>
                <a:lnTo>
                  <a:pt x="453" y="355"/>
                </a:lnTo>
                <a:lnTo>
                  <a:pt x="452" y="354"/>
                </a:lnTo>
                <a:lnTo>
                  <a:pt x="452" y="349"/>
                </a:lnTo>
                <a:lnTo>
                  <a:pt x="451" y="349"/>
                </a:lnTo>
                <a:lnTo>
                  <a:pt x="449" y="348"/>
                </a:lnTo>
                <a:lnTo>
                  <a:pt x="449" y="345"/>
                </a:lnTo>
                <a:lnTo>
                  <a:pt x="452" y="343"/>
                </a:lnTo>
                <a:lnTo>
                  <a:pt x="452" y="339"/>
                </a:lnTo>
                <a:lnTo>
                  <a:pt x="453" y="337"/>
                </a:lnTo>
                <a:lnTo>
                  <a:pt x="454" y="336"/>
                </a:lnTo>
                <a:lnTo>
                  <a:pt x="458" y="333"/>
                </a:lnTo>
                <a:lnTo>
                  <a:pt x="459" y="331"/>
                </a:lnTo>
                <a:lnTo>
                  <a:pt x="459" y="329"/>
                </a:lnTo>
                <a:lnTo>
                  <a:pt x="460" y="326"/>
                </a:lnTo>
                <a:lnTo>
                  <a:pt x="460" y="324"/>
                </a:lnTo>
                <a:lnTo>
                  <a:pt x="461" y="324"/>
                </a:lnTo>
                <a:lnTo>
                  <a:pt x="462" y="323"/>
                </a:lnTo>
                <a:lnTo>
                  <a:pt x="464" y="324"/>
                </a:lnTo>
                <a:lnTo>
                  <a:pt x="465" y="323"/>
                </a:lnTo>
                <a:lnTo>
                  <a:pt x="466" y="323"/>
                </a:lnTo>
                <a:lnTo>
                  <a:pt x="466" y="320"/>
                </a:lnTo>
                <a:lnTo>
                  <a:pt x="467" y="320"/>
                </a:lnTo>
                <a:lnTo>
                  <a:pt x="470" y="321"/>
                </a:lnTo>
                <a:lnTo>
                  <a:pt x="471" y="321"/>
                </a:lnTo>
                <a:lnTo>
                  <a:pt x="471" y="320"/>
                </a:lnTo>
                <a:lnTo>
                  <a:pt x="472" y="318"/>
                </a:lnTo>
                <a:lnTo>
                  <a:pt x="472" y="317"/>
                </a:lnTo>
                <a:lnTo>
                  <a:pt x="474" y="312"/>
                </a:lnTo>
                <a:lnTo>
                  <a:pt x="471" y="312"/>
                </a:lnTo>
                <a:lnTo>
                  <a:pt x="470" y="313"/>
                </a:lnTo>
                <a:lnTo>
                  <a:pt x="466" y="313"/>
                </a:lnTo>
                <a:lnTo>
                  <a:pt x="465" y="308"/>
                </a:lnTo>
                <a:lnTo>
                  <a:pt x="462" y="306"/>
                </a:lnTo>
                <a:lnTo>
                  <a:pt x="458" y="300"/>
                </a:lnTo>
                <a:lnTo>
                  <a:pt x="456" y="299"/>
                </a:lnTo>
                <a:lnTo>
                  <a:pt x="458" y="297"/>
                </a:lnTo>
                <a:lnTo>
                  <a:pt x="456" y="296"/>
                </a:lnTo>
                <a:lnTo>
                  <a:pt x="458" y="295"/>
                </a:lnTo>
                <a:lnTo>
                  <a:pt x="458" y="293"/>
                </a:lnTo>
                <a:lnTo>
                  <a:pt x="460" y="290"/>
                </a:lnTo>
                <a:lnTo>
                  <a:pt x="460" y="289"/>
                </a:lnTo>
                <a:lnTo>
                  <a:pt x="459" y="288"/>
                </a:lnTo>
                <a:lnTo>
                  <a:pt x="459" y="287"/>
                </a:lnTo>
                <a:lnTo>
                  <a:pt x="460" y="284"/>
                </a:lnTo>
                <a:lnTo>
                  <a:pt x="460" y="283"/>
                </a:lnTo>
                <a:lnTo>
                  <a:pt x="462" y="282"/>
                </a:lnTo>
                <a:lnTo>
                  <a:pt x="462" y="281"/>
                </a:lnTo>
                <a:lnTo>
                  <a:pt x="464" y="281"/>
                </a:lnTo>
                <a:lnTo>
                  <a:pt x="465" y="280"/>
                </a:lnTo>
                <a:lnTo>
                  <a:pt x="465" y="278"/>
                </a:lnTo>
                <a:lnTo>
                  <a:pt x="468" y="278"/>
                </a:lnTo>
                <a:lnTo>
                  <a:pt x="468" y="277"/>
                </a:lnTo>
                <a:lnTo>
                  <a:pt x="470" y="277"/>
                </a:lnTo>
                <a:lnTo>
                  <a:pt x="470" y="275"/>
                </a:lnTo>
                <a:lnTo>
                  <a:pt x="468" y="274"/>
                </a:lnTo>
                <a:lnTo>
                  <a:pt x="470" y="274"/>
                </a:lnTo>
                <a:lnTo>
                  <a:pt x="471" y="272"/>
                </a:lnTo>
                <a:lnTo>
                  <a:pt x="472" y="269"/>
                </a:lnTo>
                <a:lnTo>
                  <a:pt x="473" y="268"/>
                </a:lnTo>
                <a:lnTo>
                  <a:pt x="472" y="268"/>
                </a:lnTo>
                <a:lnTo>
                  <a:pt x="472" y="264"/>
                </a:lnTo>
                <a:lnTo>
                  <a:pt x="471" y="264"/>
                </a:lnTo>
                <a:lnTo>
                  <a:pt x="470" y="263"/>
                </a:lnTo>
                <a:lnTo>
                  <a:pt x="467" y="263"/>
                </a:lnTo>
                <a:lnTo>
                  <a:pt x="467" y="264"/>
                </a:lnTo>
                <a:lnTo>
                  <a:pt x="466" y="264"/>
                </a:lnTo>
                <a:lnTo>
                  <a:pt x="465" y="263"/>
                </a:lnTo>
                <a:lnTo>
                  <a:pt x="465" y="259"/>
                </a:lnTo>
                <a:lnTo>
                  <a:pt x="462" y="259"/>
                </a:lnTo>
                <a:lnTo>
                  <a:pt x="460" y="257"/>
                </a:lnTo>
                <a:lnTo>
                  <a:pt x="460" y="256"/>
                </a:lnTo>
                <a:lnTo>
                  <a:pt x="461" y="254"/>
                </a:lnTo>
                <a:lnTo>
                  <a:pt x="458" y="251"/>
                </a:lnTo>
                <a:lnTo>
                  <a:pt x="458" y="246"/>
                </a:lnTo>
                <a:lnTo>
                  <a:pt x="459" y="245"/>
                </a:lnTo>
                <a:lnTo>
                  <a:pt x="459" y="244"/>
                </a:lnTo>
                <a:lnTo>
                  <a:pt x="458" y="244"/>
                </a:lnTo>
                <a:lnTo>
                  <a:pt x="456" y="243"/>
                </a:lnTo>
                <a:lnTo>
                  <a:pt x="455" y="243"/>
                </a:lnTo>
                <a:lnTo>
                  <a:pt x="454" y="241"/>
                </a:lnTo>
                <a:lnTo>
                  <a:pt x="454" y="240"/>
                </a:lnTo>
                <a:lnTo>
                  <a:pt x="453" y="240"/>
                </a:lnTo>
                <a:lnTo>
                  <a:pt x="449" y="237"/>
                </a:lnTo>
                <a:lnTo>
                  <a:pt x="448" y="233"/>
                </a:lnTo>
                <a:lnTo>
                  <a:pt x="448" y="232"/>
                </a:lnTo>
                <a:lnTo>
                  <a:pt x="470" y="232"/>
                </a:lnTo>
                <a:lnTo>
                  <a:pt x="471" y="231"/>
                </a:lnTo>
                <a:lnTo>
                  <a:pt x="471" y="228"/>
                </a:lnTo>
                <a:lnTo>
                  <a:pt x="472" y="227"/>
                </a:lnTo>
                <a:lnTo>
                  <a:pt x="472" y="225"/>
                </a:lnTo>
                <a:lnTo>
                  <a:pt x="474" y="222"/>
                </a:lnTo>
                <a:lnTo>
                  <a:pt x="474" y="219"/>
                </a:lnTo>
                <a:lnTo>
                  <a:pt x="476" y="219"/>
                </a:lnTo>
                <a:lnTo>
                  <a:pt x="476" y="215"/>
                </a:lnTo>
                <a:lnTo>
                  <a:pt x="477" y="214"/>
                </a:lnTo>
                <a:lnTo>
                  <a:pt x="476" y="210"/>
                </a:lnTo>
                <a:lnTo>
                  <a:pt x="474" y="209"/>
                </a:lnTo>
                <a:lnTo>
                  <a:pt x="473" y="209"/>
                </a:lnTo>
                <a:lnTo>
                  <a:pt x="473" y="208"/>
                </a:lnTo>
                <a:lnTo>
                  <a:pt x="471" y="208"/>
                </a:lnTo>
                <a:lnTo>
                  <a:pt x="471" y="207"/>
                </a:lnTo>
                <a:lnTo>
                  <a:pt x="470" y="206"/>
                </a:lnTo>
                <a:lnTo>
                  <a:pt x="470" y="204"/>
                </a:lnTo>
                <a:lnTo>
                  <a:pt x="471" y="202"/>
                </a:lnTo>
                <a:lnTo>
                  <a:pt x="472" y="202"/>
                </a:lnTo>
                <a:lnTo>
                  <a:pt x="473" y="201"/>
                </a:lnTo>
                <a:lnTo>
                  <a:pt x="476" y="201"/>
                </a:lnTo>
                <a:lnTo>
                  <a:pt x="477" y="200"/>
                </a:lnTo>
                <a:lnTo>
                  <a:pt x="477" y="198"/>
                </a:lnTo>
                <a:lnTo>
                  <a:pt x="480" y="195"/>
                </a:lnTo>
                <a:lnTo>
                  <a:pt x="478" y="192"/>
                </a:lnTo>
                <a:lnTo>
                  <a:pt x="478" y="188"/>
                </a:lnTo>
                <a:lnTo>
                  <a:pt x="479" y="186"/>
                </a:lnTo>
                <a:lnTo>
                  <a:pt x="479" y="184"/>
                </a:lnTo>
                <a:lnTo>
                  <a:pt x="478" y="184"/>
                </a:lnTo>
                <a:lnTo>
                  <a:pt x="478" y="182"/>
                </a:lnTo>
                <a:lnTo>
                  <a:pt x="479" y="179"/>
                </a:lnTo>
                <a:lnTo>
                  <a:pt x="479" y="176"/>
                </a:lnTo>
                <a:lnTo>
                  <a:pt x="478" y="173"/>
                </a:lnTo>
                <a:lnTo>
                  <a:pt x="478" y="171"/>
                </a:lnTo>
                <a:lnTo>
                  <a:pt x="479" y="171"/>
                </a:lnTo>
                <a:lnTo>
                  <a:pt x="479" y="170"/>
                </a:lnTo>
                <a:lnTo>
                  <a:pt x="478" y="170"/>
                </a:lnTo>
                <a:lnTo>
                  <a:pt x="478" y="168"/>
                </a:lnTo>
                <a:lnTo>
                  <a:pt x="479" y="167"/>
                </a:lnTo>
                <a:lnTo>
                  <a:pt x="479" y="166"/>
                </a:lnTo>
                <a:lnTo>
                  <a:pt x="478" y="166"/>
                </a:lnTo>
                <a:lnTo>
                  <a:pt x="478" y="165"/>
                </a:lnTo>
                <a:lnTo>
                  <a:pt x="477" y="164"/>
                </a:lnTo>
                <a:lnTo>
                  <a:pt x="477" y="161"/>
                </a:lnTo>
                <a:lnTo>
                  <a:pt x="476" y="161"/>
                </a:lnTo>
                <a:lnTo>
                  <a:pt x="474" y="159"/>
                </a:lnTo>
                <a:lnTo>
                  <a:pt x="474" y="157"/>
                </a:lnTo>
                <a:lnTo>
                  <a:pt x="476" y="155"/>
                </a:lnTo>
                <a:lnTo>
                  <a:pt x="478" y="157"/>
                </a:lnTo>
                <a:lnTo>
                  <a:pt x="479" y="157"/>
                </a:lnTo>
                <a:lnTo>
                  <a:pt x="480" y="155"/>
                </a:lnTo>
                <a:lnTo>
                  <a:pt x="482" y="153"/>
                </a:lnTo>
                <a:lnTo>
                  <a:pt x="482" y="151"/>
                </a:lnTo>
                <a:lnTo>
                  <a:pt x="485" y="147"/>
                </a:lnTo>
                <a:lnTo>
                  <a:pt x="486" y="145"/>
                </a:lnTo>
                <a:lnTo>
                  <a:pt x="487" y="143"/>
                </a:lnTo>
                <a:lnTo>
                  <a:pt x="490" y="143"/>
                </a:lnTo>
                <a:lnTo>
                  <a:pt x="493" y="142"/>
                </a:lnTo>
                <a:lnTo>
                  <a:pt x="496" y="140"/>
                </a:lnTo>
                <a:lnTo>
                  <a:pt x="497" y="137"/>
                </a:lnTo>
                <a:lnTo>
                  <a:pt x="498" y="137"/>
                </a:lnTo>
                <a:lnTo>
                  <a:pt x="498" y="136"/>
                </a:lnTo>
                <a:lnTo>
                  <a:pt x="501" y="136"/>
                </a:lnTo>
                <a:lnTo>
                  <a:pt x="501" y="135"/>
                </a:lnTo>
                <a:lnTo>
                  <a:pt x="502" y="133"/>
                </a:lnTo>
                <a:lnTo>
                  <a:pt x="502" y="131"/>
                </a:lnTo>
                <a:lnTo>
                  <a:pt x="503" y="130"/>
                </a:lnTo>
                <a:lnTo>
                  <a:pt x="505" y="127"/>
                </a:lnTo>
                <a:lnTo>
                  <a:pt x="504" y="127"/>
                </a:lnTo>
                <a:lnTo>
                  <a:pt x="504" y="125"/>
                </a:lnTo>
                <a:lnTo>
                  <a:pt x="502" y="124"/>
                </a:lnTo>
                <a:lnTo>
                  <a:pt x="501" y="123"/>
                </a:lnTo>
                <a:lnTo>
                  <a:pt x="498" y="122"/>
                </a:lnTo>
                <a:lnTo>
                  <a:pt x="495" y="121"/>
                </a:lnTo>
                <a:lnTo>
                  <a:pt x="493" y="122"/>
                </a:lnTo>
                <a:lnTo>
                  <a:pt x="491" y="122"/>
                </a:lnTo>
                <a:lnTo>
                  <a:pt x="490" y="121"/>
                </a:lnTo>
                <a:lnTo>
                  <a:pt x="490" y="116"/>
                </a:lnTo>
                <a:lnTo>
                  <a:pt x="491" y="111"/>
                </a:lnTo>
                <a:lnTo>
                  <a:pt x="492" y="110"/>
                </a:lnTo>
                <a:lnTo>
                  <a:pt x="490" y="110"/>
                </a:lnTo>
                <a:lnTo>
                  <a:pt x="490" y="106"/>
                </a:lnTo>
                <a:lnTo>
                  <a:pt x="489" y="105"/>
                </a:lnTo>
                <a:lnTo>
                  <a:pt x="487" y="105"/>
                </a:lnTo>
                <a:lnTo>
                  <a:pt x="487" y="106"/>
                </a:lnTo>
                <a:lnTo>
                  <a:pt x="482" y="106"/>
                </a:lnTo>
                <a:lnTo>
                  <a:pt x="480" y="104"/>
                </a:lnTo>
                <a:lnTo>
                  <a:pt x="479" y="104"/>
                </a:lnTo>
                <a:lnTo>
                  <a:pt x="479" y="105"/>
                </a:lnTo>
                <a:lnTo>
                  <a:pt x="478" y="106"/>
                </a:lnTo>
                <a:lnTo>
                  <a:pt x="474" y="106"/>
                </a:lnTo>
                <a:lnTo>
                  <a:pt x="473" y="105"/>
                </a:lnTo>
                <a:lnTo>
                  <a:pt x="471" y="105"/>
                </a:lnTo>
                <a:lnTo>
                  <a:pt x="470" y="106"/>
                </a:lnTo>
                <a:lnTo>
                  <a:pt x="467" y="104"/>
                </a:lnTo>
                <a:lnTo>
                  <a:pt x="464" y="104"/>
                </a:lnTo>
                <a:lnTo>
                  <a:pt x="464" y="109"/>
                </a:lnTo>
                <a:lnTo>
                  <a:pt x="462" y="109"/>
                </a:lnTo>
                <a:lnTo>
                  <a:pt x="462" y="110"/>
                </a:lnTo>
                <a:lnTo>
                  <a:pt x="461" y="110"/>
                </a:lnTo>
                <a:lnTo>
                  <a:pt x="458" y="111"/>
                </a:lnTo>
                <a:lnTo>
                  <a:pt x="455" y="111"/>
                </a:lnTo>
                <a:lnTo>
                  <a:pt x="453" y="114"/>
                </a:lnTo>
                <a:lnTo>
                  <a:pt x="453" y="112"/>
                </a:lnTo>
                <a:lnTo>
                  <a:pt x="452" y="111"/>
                </a:lnTo>
                <a:lnTo>
                  <a:pt x="451" y="111"/>
                </a:lnTo>
                <a:lnTo>
                  <a:pt x="451" y="110"/>
                </a:lnTo>
                <a:lnTo>
                  <a:pt x="449" y="110"/>
                </a:lnTo>
                <a:lnTo>
                  <a:pt x="449" y="112"/>
                </a:lnTo>
                <a:lnTo>
                  <a:pt x="446" y="112"/>
                </a:lnTo>
                <a:lnTo>
                  <a:pt x="446" y="110"/>
                </a:lnTo>
                <a:lnTo>
                  <a:pt x="443" y="110"/>
                </a:lnTo>
                <a:lnTo>
                  <a:pt x="442" y="109"/>
                </a:lnTo>
                <a:lnTo>
                  <a:pt x="440" y="109"/>
                </a:lnTo>
                <a:lnTo>
                  <a:pt x="437" y="110"/>
                </a:lnTo>
                <a:lnTo>
                  <a:pt x="435" y="110"/>
                </a:lnTo>
                <a:lnTo>
                  <a:pt x="435" y="111"/>
                </a:lnTo>
                <a:lnTo>
                  <a:pt x="434" y="111"/>
                </a:lnTo>
                <a:lnTo>
                  <a:pt x="434" y="108"/>
                </a:lnTo>
                <a:lnTo>
                  <a:pt x="433" y="108"/>
                </a:lnTo>
                <a:lnTo>
                  <a:pt x="433" y="110"/>
                </a:lnTo>
                <a:lnTo>
                  <a:pt x="429" y="110"/>
                </a:lnTo>
                <a:lnTo>
                  <a:pt x="429" y="111"/>
                </a:lnTo>
                <a:lnTo>
                  <a:pt x="428" y="114"/>
                </a:lnTo>
                <a:lnTo>
                  <a:pt x="422" y="114"/>
                </a:lnTo>
                <a:lnTo>
                  <a:pt x="422" y="111"/>
                </a:lnTo>
                <a:lnTo>
                  <a:pt x="420" y="110"/>
                </a:lnTo>
                <a:lnTo>
                  <a:pt x="420" y="108"/>
                </a:lnTo>
                <a:lnTo>
                  <a:pt x="424" y="103"/>
                </a:lnTo>
                <a:lnTo>
                  <a:pt x="424" y="102"/>
                </a:lnTo>
                <a:lnTo>
                  <a:pt x="426" y="102"/>
                </a:lnTo>
                <a:lnTo>
                  <a:pt x="426" y="99"/>
                </a:lnTo>
                <a:lnTo>
                  <a:pt x="424" y="99"/>
                </a:lnTo>
                <a:lnTo>
                  <a:pt x="423" y="98"/>
                </a:lnTo>
                <a:lnTo>
                  <a:pt x="423" y="99"/>
                </a:lnTo>
                <a:lnTo>
                  <a:pt x="421" y="99"/>
                </a:lnTo>
                <a:lnTo>
                  <a:pt x="421" y="94"/>
                </a:lnTo>
                <a:lnTo>
                  <a:pt x="418" y="94"/>
                </a:lnTo>
                <a:lnTo>
                  <a:pt x="418" y="96"/>
                </a:lnTo>
                <a:lnTo>
                  <a:pt x="416" y="96"/>
                </a:lnTo>
                <a:lnTo>
                  <a:pt x="416" y="97"/>
                </a:lnTo>
                <a:lnTo>
                  <a:pt x="415" y="97"/>
                </a:lnTo>
                <a:lnTo>
                  <a:pt x="409" y="98"/>
                </a:lnTo>
                <a:lnTo>
                  <a:pt x="408" y="98"/>
                </a:lnTo>
                <a:lnTo>
                  <a:pt x="406" y="99"/>
                </a:lnTo>
                <a:lnTo>
                  <a:pt x="404" y="99"/>
                </a:lnTo>
                <a:lnTo>
                  <a:pt x="403" y="100"/>
                </a:lnTo>
                <a:lnTo>
                  <a:pt x="402" y="100"/>
                </a:lnTo>
                <a:lnTo>
                  <a:pt x="402" y="103"/>
                </a:lnTo>
                <a:lnTo>
                  <a:pt x="400" y="103"/>
                </a:lnTo>
                <a:lnTo>
                  <a:pt x="399" y="104"/>
                </a:lnTo>
                <a:lnTo>
                  <a:pt x="398" y="104"/>
                </a:lnTo>
                <a:lnTo>
                  <a:pt x="397" y="105"/>
                </a:lnTo>
                <a:lnTo>
                  <a:pt x="397" y="106"/>
                </a:lnTo>
                <a:lnTo>
                  <a:pt x="396" y="106"/>
                </a:lnTo>
                <a:lnTo>
                  <a:pt x="393" y="109"/>
                </a:lnTo>
                <a:lnTo>
                  <a:pt x="392" y="109"/>
                </a:lnTo>
                <a:lnTo>
                  <a:pt x="392" y="108"/>
                </a:lnTo>
                <a:lnTo>
                  <a:pt x="391" y="97"/>
                </a:lnTo>
                <a:lnTo>
                  <a:pt x="392" y="96"/>
                </a:lnTo>
                <a:lnTo>
                  <a:pt x="395" y="96"/>
                </a:lnTo>
                <a:lnTo>
                  <a:pt x="395" y="94"/>
                </a:lnTo>
                <a:lnTo>
                  <a:pt x="393" y="94"/>
                </a:lnTo>
                <a:lnTo>
                  <a:pt x="393" y="93"/>
                </a:lnTo>
                <a:lnTo>
                  <a:pt x="395" y="93"/>
                </a:lnTo>
                <a:lnTo>
                  <a:pt x="395" y="92"/>
                </a:lnTo>
                <a:lnTo>
                  <a:pt x="396" y="92"/>
                </a:lnTo>
                <a:lnTo>
                  <a:pt x="396" y="91"/>
                </a:lnTo>
                <a:lnTo>
                  <a:pt x="397" y="90"/>
                </a:lnTo>
                <a:lnTo>
                  <a:pt x="402" y="87"/>
                </a:lnTo>
                <a:lnTo>
                  <a:pt x="402" y="86"/>
                </a:lnTo>
                <a:lnTo>
                  <a:pt x="403" y="86"/>
                </a:lnTo>
                <a:lnTo>
                  <a:pt x="403" y="82"/>
                </a:lnTo>
                <a:lnTo>
                  <a:pt x="402" y="84"/>
                </a:lnTo>
                <a:lnTo>
                  <a:pt x="402" y="85"/>
                </a:lnTo>
                <a:lnTo>
                  <a:pt x="400" y="86"/>
                </a:lnTo>
                <a:lnTo>
                  <a:pt x="399" y="86"/>
                </a:lnTo>
                <a:lnTo>
                  <a:pt x="397" y="87"/>
                </a:lnTo>
                <a:lnTo>
                  <a:pt x="396" y="88"/>
                </a:lnTo>
                <a:lnTo>
                  <a:pt x="393" y="88"/>
                </a:lnTo>
                <a:lnTo>
                  <a:pt x="393" y="85"/>
                </a:lnTo>
                <a:lnTo>
                  <a:pt x="395" y="86"/>
                </a:lnTo>
                <a:lnTo>
                  <a:pt x="395" y="82"/>
                </a:lnTo>
                <a:lnTo>
                  <a:pt x="397" y="84"/>
                </a:lnTo>
                <a:lnTo>
                  <a:pt x="397" y="82"/>
                </a:lnTo>
                <a:lnTo>
                  <a:pt x="400" y="79"/>
                </a:lnTo>
                <a:lnTo>
                  <a:pt x="402" y="79"/>
                </a:lnTo>
                <a:lnTo>
                  <a:pt x="402" y="78"/>
                </a:lnTo>
                <a:lnTo>
                  <a:pt x="400" y="78"/>
                </a:lnTo>
                <a:lnTo>
                  <a:pt x="399" y="79"/>
                </a:lnTo>
                <a:lnTo>
                  <a:pt x="398" y="79"/>
                </a:lnTo>
                <a:lnTo>
                  <a:pt x="397" y="80"/>
                </a:lnTo>
                <a:lnTo>
                  <a:pt x="393" y="80"/>
                </a:lnTo>
                <a:lnTo>
                  <a:pt x="393" y="79"/>
                </a:lnTo>
                <a:lnTo>
                  <a:pt x="392" y="79"/>
                </a:lnTo>
                <a:lnTo>
                  <a:pt x="392" y="77"/>
                </a:lnTo>
                <a:lnTo>
                  <a:pt x="395" y="77"/>
                </a:lnTo>
                <a:lnTo>
                  <a:pt x="395" y="69"/>
                </a:lnTo>
                <a:lnTo>
                  <a:pt x="396" y="69"/>
                </a:lnTo>
                <a:lnTo>
                  <a:pt x="397" y="68"/>
                </a:lnTo>
                <a:lnTo>
                  <a:pt x="398" y="66"/>
                </a:lnTo>
                <a:lnTo>
                  <a:pt x="398" y="65"/>
                </a:lnTo>
                <a:lnTo>
                  <a:pt x="398" y="66"/>
                </a:lnTo>
                <a:lnTo>
                  <a:pt x="395" y="66"/>
                </a:lnTo>
                <a:lnTo>
                  <a:pt x="395" y="63"/>
                </a:lnTo>
                <a:lnTo>
                  <a:pt x="393" y="65"/>
                </a:lnTo>
                <a:lnTo>
                  <a:pt x="393" y="68"/>
                </a:lnTo>
                <a:lnTo>
                  <a:pt x="392" y="68"/>
                </a:lnTo>
                <a:lnTo>
                  <a:pt x="392" y="67"/>
                </a:lnTo>
                <a:lnTo>
                  <a:pt x="391" y="67"/>
                </a:lnTo>
                <a:lnTo>
                  <a:pt x="390" y="68"/>
                </a:lnTo>
                <a:lnTo>
                  <a:pt x="391" y="69"/>
                </a:lnTo>
                <a:lnTo>
                  <a:pt x="389" y="69"/>
                </a:lnTo>
                <a:lnTo>
                  <a:pt x="389" y="72"/>
                </a:lnTo>
                <a:lnTo>
                  <a:pt x="387" y="72"/>
                </a:lnTo>
                <a:lnTo>
                  <a:pt x="386" y="73"/>
                </a:lnTo>
                <a:lnTo>
                  <a:pt x="386" y="69"/>
                </a:lnTo>
                <a:lnTo>
                  <a:pt x="384" y="69"/>
                </a:lnTo>
                <a:lnTo>
                  <a:pt x="385" y="67"/>
                </a:lnTo>
                <a:lnTo>
                  <a:pt x="385" y="65"/>
                </a:lnTo>
                <a:lnTo>
                  <a:pt x="386" y="63"/>
                </a:lnTo>
                <a:lnTo>
                  <a:pt x="386" y="61"/>
                </a:lnTo>
                <a:lnTo>
                  <a:pt x="387" y="61"/>
                </a:lnTo>
                <a:lnTo>
                  <a:pt x="391" y="57"/>
                </a:lnTo>
                <a:lnTo>
                  <a:pt x="392" y="57"/>
                </a:lnTo>
                <a:lnTo>
                  <a:pt x="392" y="55"/>
                </a:lnTo>
                <a:lnTo>
                  <a:pt x="391" y="55"/>
                </a:lnTo>
                <a:lnTo>
                  <a:pt x="391" y="56"/>
                </a:lnTo>
                <a:lnTo>
                  <a:pt x="390" y="57"/>
                </a:lnTo>
                <a:lnTo>
                  <a:pt x="385" y="57"/>
                </a:lnTo>
                <a:lnTo>
                  <a:pt x="385" y="59"/>
                </a:lnTo>
                <a:lnTo>
                  <a:pt x="384" y="60"/>
                </a:lnTo>
                <a:lnTo>
                  <a:pt x="383" y="60"/>
                </a:lnTo>
                <a:lnTo>
                  <a:pt x="383" y="59"/>
                </a:lnTo>
                <a:lnTo>
                  <a:pt x="381" y="57"/>
                </a:lnTo>
                <a:lnTo>
                  <a:pt x="381" y="56"/>
                </a:lnTo>
                <a:lnTo>
                  <a:pt x="383" y="56"/>
                </a:lnTo>
                <a:lnTo>
                  <a:pt x="383" y="54"/>
                </a:lnTo>
                <a:lnTo>
                  <a:pt x="381" y="54"/>
                </a:lnTo>
                <a:lnTo>
                  <a:pt x="381" y="50"/>
                </a:lnTo>
                <a:lnTo>
                  <a:pt x="380" y="50"/>
                </a:lnTo>
                <a:lnTo>
                  <a:pt x="379" y="49"/>
                </a:lnTo>
                <a:lnTo>
                  <a:pt x="379" y="50"/>
                </a:lnTo>
                <a:lnTo>
                  <a:pt x="378" y="50"/>
                </a:lnTo>
                <a:lnTo>
                  <a:pt x="378" y="49"/>
                </a:lnTo>
                <a:lnTo>
                  <a:pt x="377" y="50"/>
                </a:lnTo>
                <a:lnTo>
                  <a:pt x="377" y="51"/>
                </a:lnTo>
                <a:lnTo>
                  <a:pt x="375" y="51"/>
                </a:lnTo>
                <a:lnTo>
                  <a:pt x="375" y="47"/>
                </a:lnTo>
                <a:lnTo>
                  <a:pt x="377" y="47"/>
                </a:lnTo>
                <a:lnTo>
                  <a:pt x="377" y="44"/>
                </a:lnTo>
                <a:lnTo>
                  <a:pt x="375" y="44"/>
                </a:lnTo>
                <a:lnTo>
                  <a:pt x="375" y="42"/>
                </a:lnTo>
                <a:lnTo>
                  <a:pt x="377" y="42"/>
                </a:lnTo>
                <a:lnTo>
                  <a:pt x="377" y="41"/>
                </a:lnTo>
                <a:lnTo>
                  <a:pt x="378" y="39"/>
                </a:lnTo>
                <a:lnTo>
                  <a:pt x="380" y="39"/>
                </a:lnTo>
                <a:lnTo>
                  <a:pt x="380" y="38"/>
                </a:lnTo>
                <a:lnTo>
                  <a:pt x="381" y="38"/>
                </a:lnTo>
                <a:lnTo>
                  <a:pt x="381" y="37"/>
                </a:lnTo>
                <a:lnTo>
                  <a:pt x="380" y="37"/>
                </a:lnTo>
                <a:lnTo>
                  <a:pt x="379" y="38"/>
                </a:lnTo>
                <a:lnTo>
                  <a:pt x="378" y="37"/>
                </a:lnTo>
                <a:lnTo>
                  <a:pt x="381" y="34"/>
                </a:lnTo>
                <a:lnTo>
                  <a:pt x="383" y="35"/>
                </a:lnTo>
                <a:lnTo>
                  <a:pt x="385" y="35"/>
                </a:lnTo>
                <a:lnTo>
                  <a:pt x="385" y="34"/>
                </a:lnTo>
                <a:lnTo>
                  <a:pt x="386" y="34"/>
                </a:lnTo>
                <a:lnTo>
                  <a:pt x="386" y="32"/>
                </a:lnTo>
                <a:lnTo>
                  <a:pt x="390" y="32"/>
                </a:lnTo>
                <a:lnTo>
                  <a:pt x="391" y="31"/>
                </a:lnTo>
                <a:lnTo>
                  <a:pt x="390" y="31"/>
                </a:lnTo>
                <a:lnTo>
                  <a:pt x="387" y="29"/>
                </a:lnTo>
                <a:lnTo>
                  <a:pt x="390" y="29"/>
                </a:lnTo>
                <a:lnTo>
                  <a:pt x="392" y="28"/>
                </a:lnTo>
                <a:lnTo>
                  <a:pt x="393" y="26"/>
                </a:lnTo>
                <a:lnTo>
                  <a:pt x="395" y="26"/>
                </a:lnTo>
                <a:lnTo>
                  <a:pt x="396" y="28"/>
                </a:lnTo>
                <a:lnTo>
                  <a:pt x="398" y="28"/>
                </a:lnTo>
                <a:lnTo>
                  <a:pt x="399" y="29"/>
                </a:lnTo>
                <a:lnTo>
                  <a:pt x="402" y="29"/>
                </a:lnTo>
                <a:lnTo>
                  <a:pt x="404" y="26"/>
                </a:lnTo>
                <a:lnTo>
                  <a:pt x="406" y="28"/>
                </a:lnTo>
                <a:lnTo>
                  <a:pt x="408" y="26"/>
                </a:lnTo>
                <a:lnTo>
                  <a:pt x="409" y="26"/>
                </a:lnTo>
                <a:lnTo>
                  <a:pt x="409" y="25"/>
                </a:lnTo>
                <a:lnTo>
                  <a:pt x="410" y="25"/>
                </a:lnTo>
                <a:lnTo>
                  <a:pt x="410" y="24"/>
                </a:lnTo>
                <a:lnTo>
                  <a:pt x="411" y="24"/>
                </a:lnTo>
                <a:lnTo>
                  <a:pt x="414" y="23"/>
                </a:lnTo>
                <a:lnTo>
                  <a:pt x="414" y="25"/>
                </a:lnTo>
                <a:lnTo>
                  <a:pt x="415" y="25"/>
                </a:lnTo>
                <a:lnTo>
                  <a:pt x="415" y="23"/>
                </a:lnTo>
                <a:lnTo>
                  <a:pt x="416" y="22"/>
                </a:lnTo>
                <a:lnTo>
                  <a:pt x="416" y="23"/>
                </a:lnTo>
                <a:lnTo>
                  <a:pt x="418" y="23"/>
                </a:lnTo>
                <a:lnTo>
                  <a:pt x="418" y="25"/>
                </a:lnTo>
                <a:lnTo>
                  <a:pt x="420" y="26"/>
                </a:lnTo>
                <a:lnTo>
                  <a:pt x="421" y="26"/>
                </a:lnTo>
                <a:lnTo>
                  <a:pt x="421" y="22"/>
                </a:lnTo>
                <a:lnTo>
                  <a:pt x="420" y="22"/>
                </a:lnTo>
                <a:lnTo>
                  <a:pt x="418" y="20"/>
                </a:lnTo>
                <a:lnTo>
                  <a:pt x="417" y="20"/>
                </a:lnTo>
                <a:lnTo>
                  <a:pt x="416" y="19"/>
                </a:lnTo>
                <a:lnTo>
                  <a:pt x="417" y="19"/>
                </a:lnTo>
                <a:lnTo>
                  <a:pt x="422" y="18"/>
                </a:lnTo>
                <a:lnTo>
                  <a:pt x="422" y="17"/>
                </a:lnTo>
                <a:lnTo>
                  <a:pt x="421" y="18"/>
                </a:lnTo>
                <a:lnTo>
                  <a:pt x="420" y="18"/>
                </a:lnTo>
                <a:lnTo>
                  <a:pt x="418" y="17"/>
                </a:lnTo>
                <a:lnTo>
                  <a:pt x="418" y="18"/>
                </a:lnTo>
                <a:lnTo>
                  <a:pt x="416" y="18"/>
                </a:lnTo>
                <a:lnTo>
                  <a:pt x="416" y="16"/>
                </a:lnTo>
                <a:lnTo>
                  <a:pt x="417" y="14"/>
                </a:lnTo>
                <a:lnTo>
                  <a:pt x="416" y="14"/>
                </a:lnTo>
                <a:lnTo>
                  <a:pt x="416" y="13"/>
                </a:lnTo>
                <a:lnTo>
                  <a:pt x="418" y="13"/>
                </a:lnTo>
                <a:lnTo>
                  <a:pt x="420" y="12"/>
                </a:lnTo>
                <a:lnTo>
                  <a:pt x="426" y="7"/>
                </a:lnTo>
                <a:lnTo>
                  <a:pt x="426" y="8"/>
                </a:lnTo>
                <a:lnTo>
                  <a:pt x="427" y="8"/>
                </a:lnTo>
                <a:lnTo>
                  <a:pt x="427" y="5"/>
                </a:lnTo>
                <a:lnTo>
                  <a:pt x="429" y="5"/>
                </a:lnTo>
                <a:lnTo>
                  <a:pt x="430" y="4"/>
                </a:lnTo>
                <a:lnTo>
                  <a:pt x="431" y="4"/>
                </a:lnTo>
                <a:lnTo>
                  <a:pt x="434" y="1"/>
                </a:lnTo>
                <a:lnTo>
                  <a:pt x="435" y="2"/>
                </a:lnTo>
                <a:lnTo>
                  <a:pt x="435" y="6"/>
                </a:lnTo>
                <a:lnTo>
                  <a:pt x="434" y="6"/>
                </a:lnTo>
                <a:lnTo>
                  <a:pt x="434" y="7"/>
                </a:lnTo>
                <a:lnTo>
                  <a:pt x="435" y="7"/>
                </a:lnTo>
                <a:lnTo>
                  <a:pt x="436" y="6"/>
                </a:lnTo>
                <a:lnTo>
                  <a:pt x="435" y="5"/>
                </a:lnTo>
                <a:lnTo>
                  <a:pt x="436" y="5"/>
                </a:lnTo>
                <a:lnTo>
                  <a:pt x="437" y="4"/>
                </a:lnTo>
                <a:lnTo>
                  <a:pt x="439" y="4"/>
                </a:lnTo>
                <a:lnTo>
                  <a:pt x="439" y="2"/>
                </a:lnTo>
                <a:lnTo>
                  <a:pt x="441" y="2"/>
                </a:lnTo>
                <a:lnTo>
                  <a:pt x="441" y="1"/>
                </a:lnTo>
                <a:lnTo>
                  <a:pt x="442" y="1"/>
                </a:lnTo>
                <a:lnTo>
                  <a:pt x="442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29985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746319-778D-4FBC-9CA5-614FACA00834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4175206" y="6325766"/>
            <a:ext cx="4900087" cy="293322"/>
          </a:xfrm>
        </p:spPr>
        <p:txBody>
          <a:bodyPr/>
          <a:lstStyle/>
          <a:p>
            <a:r>
              <a:rPr lang="en-US" dirty="0" err="1"/>
              <a:t>Europäischer</a:t>
            </a:r>
            <a:r>
              <a:rPr lang="en-US" dirty="0"/>
              <a:t> </a:t>
            </a:r>
            <a:r>
              <a:rPr lang="en-US" dirty="0" err="1"/>
              <a:t>Vergleich</a:t>
            </a:r>
            <a:r>
              <a:rPr lang="en-US" dirty="0"/>
              <a:t> der </a:t>
            </a:r>
            <a:r>
              <a:rPr lang="en-US" dirty="0" err="1"/>
              <a:t>Regulierungsintensität</a:t>
            </a:r>
            <a:r>
              <a:rPr lang="en-US" dirty="0"/>
              <a:t> </a:t>
            </a:r>
            <a:r>
              <a:rPr lang="en-US" dirty="0" err="1"/>
              <a:t>im</a:t>
            </a:r>
            <a:r>
              <a:rPr lang="en-US" dirty="0"/>
              <a:t> </a:t>
            </a:r>
            <a:r>
              <a:rPr lang="en-US" dirty="0" err="1"/>
              <a:t>Postsektor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A51AE9-2B16-4F40-B911-5FF43E4529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F70EEBF-E97C-49FF-B05B-3B4D348638DC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38" name="Freeform 6">
            <a:extLst>
              <a:ext uri="{FF2B5EF4-FFF2-40B4-BE49-F238E27FC236}">
                <a16:creationId xmlns:a16="http://schemas.microsoft.com/office/drawing/2014/main" id="{01F0DFCC-D940-43A8-9F6B-8DCD486CD37B}"/>
              </a:ext>
            </a:extLst>
          </p:cNvPr>
          <p:cNvSpPr>
            <a:spLocks noEditPoints="1"/>
          </p:cNvSpPr>
          <p:nvPr/>
        </p:nvSpPr>
        <p:spPr bwMode="auto">
          <a:xfrm>
            <a:off x="2585006" y="4485772"/>
            <a:ext cx="1101194" cy="736062"/>
          </a:xfrm>
          <a:custGeom>
            <a:avLst/>
            <a:gdLst/>
            <a:ahLst/>
            <a:cxnLst>
              <a:cxn ang="0">
                <a:pos x="472" y="405"/>
              </a:cxn>
              <a:cxn ang="0">
                <a:pos x="555" y="395"/>
              </a:cxn>
              <a:cxn ang="0">
                <a:pos x="405" y="334"/>
              </a:cxn>
              <a:cxn ang="0">
                <a:pos x="492" y="1"/>
              </a:cxn>
              <a:cxn ang="0">
                <a:pos x="518" y="43"/>
              </a:cxn>
              <a:cxn ang="0">
                <a:pos x="535" y="81"/>
              </a:cxn>
              <a:cxn ang="0">
                <a:pos x="558" y="102"/>
              </a:cxn>
              <a:cxn ang="0">
                <a:pos x="591" y="132"/>
              </a:cxn>
              <a:cxn ang="0">
                <a:pos x="652" y="147"/>
              </a:cxn>
              <a:cxn ang="0">
                <a:pos x="701" y="167"/>
              </a:cxn>
              <a:cxn ang="0">
                <a:pos x="746" y="190"/>
              </a:cxn>
              <a:cxn ang="0">
                <a:pos x="740" y="227"/>
              </a:cxn>
              <a:cxn ang="0">
                <a:pos x="738" y="250"/>
              </a:cxn>
              <a:cxn ang="0">
                <a:pos x="745" y="295"/>
              </a:cxn>
              <a:cxn ang="0">
                <a:pos x="680" y="326"/>
              </a:cxn>
              <a:cxn ang="0">
                <a:pos x="640" y="358"/>
              </a:cxn>
              <a:cxn ang="0">
                <a:pos x="597" y="372"/>
              </a:cxn>
              <a:cxn ang="0">
                <a:pos x="555" y="391"/>
              </a:cxn>
              <a:cxn ang="0">
                <a:pos x="544" y="431"/>
              </a:cxn>
              <a:cxn ang="0">
                <a:pos x="598" y="444"/>
              </a:cxn>
              <a:cxn ang="0">
                <a:pos x="595" y="471"/>
              </a:cxn>
              <a:cxn ang="0">
                <a:pos x="546" y="483"/>
              </a:cxn>
              <a:cxn ang="0">
                <a:pos x="494" y="507"/>
              </a:cxn>
              <a:cxn ang="0">
                <a:pos x="483" y="470"/>
              </a:cxn>
              <a:cxn ang="0">
                <a:pos x="443" y="440"/>
              </a:cxn>
              <a:cxn ang="0">
                <a:pos x="487" y="420"/>
              </a:cxn>
              <a:cxn ang="0">
                <a:pos x="467" y="402"/>
              </a:cxn>
              <a:cxn ang="0">
                <a:pos x="428" y="400"/>
              </a:cxn>
              <a:cxn ang="0">
                <a:pos x="401" y="383"/>
              </a:cxn>
              <a:cxn ang="0">
                <a:pos x="422" y="377"/>
              </a:cxn>
              <a:cxn ang="0">
                <a:pos x="412" y="360"/>
              </a:cxn>
              <a:cxn ang="0">
                <a:pos x="392" y="363"/>
              </a:cxn>
              <a:cxn ang="0">
                <a:pos x="365" y="384"/>
              </a:cxn>
              <a:cxn ang="0">
                <a:pos x="330" y="425"/>
              </a:cxn>
              <a:cxn ang="0">
                <a:pos x="314" y="438"/>
              </a:cxn>
              <a:cxn ang="0">
                <a:pos x="318" y="457"/>
              </a:cxn>
              <a:cxn ang="0">
                <a:pos x="281" y="457"/>
              </a:cxn>
              <a:cxn ang="0">
                <a:pos x="268" y="433"/>
              </a:cxn>
              <a:cxn ang="0">
                <a:pos x="291" y="400"/>
              </a:cxn>
              <a:cxn ang="0">
                <a:pos x="317" y="385"/>
              </a:cxn>
              <a:cxn ang="0">
                <a:pos x="330" y="367"/>
              </a:cxn>
              <a:cxn ang="0">
                <a:pos x="314" y="334"/>
              </a:cxn>
              <a:cxn ang="0">
                <a:pos x="298" y="305"/>
              </a:cxn>
              <a:cxn ang="0">
                <a:pos x="279" y="279"/>
              </a:cxn>
              <a:cxn ang="0">
                <a:pos x="251" y="273"/>
              </a:cxn>
              <a:cxn ang="0">
                <a:pos x="205" y="265"/>
              </a:cxn>
              <a:cxn ang="0">
                <a:pos x="171" y="285"/>
              </a:cxn>
              <a:cxn ang="0">
                <a:pos x="88" y="295"/>
              </a:cxn>
              <a:cxn ang="0">
                <a:pos x="36" y="289"/>
              </a:cxn>
              <a:cxn ang="0">
                <a:pos x="9" y="272"/>
              </a:cxn>
              <a:cxn ang="0">
                <a:pos x="18" y="218"/>
              </a:cxn>
              <a:cxn ang="0">
                <a:pos x="32" y="174"/>
              </a:cxn>
              <a:cxn ang="0">
                <a:pos x="80" y="108"/>
              </a:cxn>
              <a:cxn ang="0">
                <a:pos x="63" y="70"/>
              </a:cxn>
              <a:cxn ang="0">
                <a:pos x="121" y="31"/>
              </a:cxn>
              <a:cxn ang="0">
                <a:pos x="223" y="53"/>
              </a:cxn>
              <a:cxn ang="0">
                <a:pos x="257" y="51"/>
              </a:cxn>
              <a:cxn ang="0">
                <a:pos x="291" y="51"/>
              </a:cxn>
              <a:cxn ang="0">
                <a:pos x="319" y="61"/>
              </a:cxn>
              <a:cxn ang="0">
                <a:pos x="359" y="70"/>
              </a:cxn>
              <a:cxn ang="0">
                <a:pos x="357" y="41"/>
              </a:cxn>
              <a:cxn ang="0">
                <a:pos x="387" y="19"/>
              </a:cxn>
              <a:cxn ang="0">
                <a:pos x="447" y="8"/>
              </a:cxn>
            </a:cxnLst>
            <a:rect l="0" t="0" r="r" b="b"/>
            <a:pathLst>
              <a:path w="760" h="508">
                <a:moveTo>
                  <a:pt x="337" y="422"/>
                </a:moveTo>
                <a:lnTo>
                  <a:pt x="328" y="432"/>
                </a:lnTo>
                <a:lnTo>
                  <a:pt x="324" y="434"/>
                </a:lnTo>
                <a:lnTo>
                  <a:pt x="320" y="436"/>
                </a:lnTo>
                <a:lnTo>
                  <a:pt x="323" y="434"/>
                </a:lnTo>
                <a:lnTo>
                  <a:pt x="324" y="433"/>
                </a:lnTo>
                <a:lnTo>
                  <a:pt x="325" y="433"/>
                </a:lnTo>
                <a:lnTo>
                  <a:pt x="325" y="432"/>
                </a:lnTo>
                <a:lnTo>
                  <a:pt x="326" y="432"/>
                </a:lnTo>
                <a:lnTo>
                  <a:pt x="335" y="424"/>
                </a:lnTo>
                <a:lnTo>
                  <a:pt x="337" y="422"/>
                </a:lnTo>
                <a:close/>
                <a:moveTo>
                  <a:pt x="442" y="407"/>
                </a:moveTo>
                <a:lnTo>
                  <a:pt x="443" y="407"/>
                </a:lnTo>
                <a:lnTo>
                  <a:pt x="443" y="408"/>
                </a:lnTo>
                <a:lnTo>
                  <a:pt x="453" y="408"/>
                </a:lnTo>
                <a:lnTo>
                  <a:pt x="455" y="409"/>
                </a:lnTo>
                <a:lnTo>
                  <a:pt x="456" y="408"/>
                </a:lnTo>
                <a:lnTo>
                  <a:pt x="457" y="408"/>
                </a:lnTo>
                <a:lnTo>
                  <a:pt x="457" y="409"/>
                </a:lnTo>
                <a:lnTo>
                  <a:pt x="461" y="409"/>
                </a:lnTo>
                <a:lnTo>
                  <a:pt x="460" y="410"/>
                </a:lnTo>
                <a:lnTo>
                  <a:pt x="442" y="408"/>
                </a:lnTo>
                <a:lnTo>
                  <a:pt x="442" y="407"/>
                </a:lnTo>
                <a:close/>
                <a:moveTo>
                  <a:pt x="472" y="405"/>
                </a:moveTo>
                <a:lnTo>
                  <a:pt x="472" y="406"/>
                </a:lnTo>
                <a:lnTo>
                  <a:pt x="471" y="406"/>
                </a:lnTo>
                <a:lnTo>
                  <a:pt x="472" y="405"/>
                </a:lnTo>
                <a:close/>
                <a:moveTo>
                  <a:pt x="553" y="396"/>
                </a:moveTo>
                <a:lnTo>
                  <a:pt x="554" y="396"/>
                </a:lnTo>
                <a:lnTo>
                  <a:pt x="552" y="401"/>
                </a:lnTo>
                <a:lnTo>
                  <a:pt x="548" y="405"/>
                </a:lnTo>
                <a:lnTo>
                  <a:pt x="547" y="405"/>
                </a:lnTo>
                <a:lnTo>
                  <a:pt x="546" y="406"/>
                </a:lnTo>
                <a:lnTo>
                  <a:pt x="544" y="406"/>
                </a:lnTo>
                <a:lnTo>
                  <a:pt x="542" y="407"/>
                </a:lnTo>
                <a:lnTo>
                  <a:pt x="542" y="406"/>
                </a:lnTo>
                <a:lnTo>
                  <a:pt x="544" y="403"/>
                </a:lnTo>
                <a:lnTo>
                  <a:pt x="544" y="402"/>
                </a:lnTo>
                <a:lnTo>
                  <a:pt x="549" y="401"/>
                </a:lnTo>
                <a:lnTo>
                  <a:pt x="552" y="400"/>
                </a:lnTo>
                <a:lnTo>
                  <a:pt x="552" y="397"/>
                </a:lnTo>
                <a:lnTo>
                  <a:pt x="553" y="396"/>
                </a:lnTo>
                <a:close/>
                <a:moveTo>
                  <a:pt x="398" y="395"/>
                </a:moveTo>
                <a:lnTo>
                  <a:pt x="400" y="395"/>
                </a:lnTo>
                <a:lnTo>
                  <a:pt x="413" y="399"/>
                </a:lnTo>
                <a:lnTo>
                  <a:pt x="419" y="400"/>
                </a:lnTo>
                <a:lnTo>
                  <a:pt x="423" y="402"/>
                </a:lnTo>
                <a:lnTo>
                  <a:pt x="422" y="402"/>
                </a:lnTo>
                <a:lnTo>
                  <a:pt x="421" y="401"/>
                </a:lnTo>
                <a:lnTo>
                  <a:pt x="405" y="397"/>
                </a:lnTo>
                <a:lnTo>
                  <a:pt x="398" y="395"/>
                </a:lnTo>
                <a:close/>
                <a:moveTo>
                  <a:pt x="556" y="391"/>
                </a:moveTo>
                <a:lnTo>
                  <a:pt x="558" y="391"/>
                </a:lnTo>
                <a:lnTo>
                  <a:pt x="555" y="395"/>
                </a:lnTo>
                <a:lnTo>
                  <a:pt x="554" y="396"/>
                </a:lnTo>
                <a:lnTo>
                  <a:pt x="556" y="391"/>
                </a:lnTo>
                <a:close/>
                <a:moveTo>
                  <a:pt x="396" y="389"/>
                </a:moveTo>
                <a:lnTo>
                  <a:pt x="397" y="391"/>
                </a:lnTo>
                <a:lnTo>
                  <a:pt x="397" y="394"/>
                </a:lnTo>
                <a:lnTo>
                  <a:pt x="398" y="395"/>
                </a:lnTo>
                <a:lnTo>
                  <a:pt x="396" y="393"/>
                </a:lnTo>
                <a:lnTo>
                  <a:pt x="396" y="389"/>
                </a:lnTo>
                <a:close/>
                <a:moveTo>
                  <a:pt x="616" y="371"/>
                </a:moveTo>
                <a:lnTo>
                  <a:pt x="617" y="372"/>
                </a:lnTo>
                <a:lnTo>
                  <a:pt x="616" y="372"/>
                </a:lnTo>
                <a:lnTo>
                  <a:pt x="616" y="371"/>
                </a:lnTo>
                <a:close/>
                <a:moveTo>
                  <a:pt x="409" y="341"/>
                </a:moveTo>
                <a:lnTo>
                  <a:pt x="409" y="342"/>
                </a:lnTo>
                <a:lnTo>
                  <a:pt x="411" y="345"/>
                </a:lnTo>
                <a:lnTo>
                  <a:pt x="410" y="346"/>
                </a:lnTo>
                <a:lnTo>
                  <a:pt x="410" y="347"/>
                </a:lnTo>
                <a:lnTo>
                  <a:pt x="409" y="350"/>
                </a:lnTo>
                <a:lnTo>
                  <a:pt x="411" y="350"/>
                </a:lnTo>
                <a:lnTo>
                  <a:pt x="410" y="348"/>
                </a:lnTo>
                <a:lnTo>
                  <a:pt x="411" y="346"/>
                </a:lnTo>
                <a:lnTo>
                  <a:pt x="412" y="345"/>
                </a:lnTo>
                <a:lnTo>
                  <a:pt x="411" y="342"/>
                </a:lnTo>
                <a:lnTo>
                  <a:pt x="410" y="342"/>
                </a:lnTo>
                <a:lnTo>
                  <a:pt x="410" y="341"/>
                </a:lnTo>
                <a:lnTo>
                  <a:pt x="409" y="341"/>
                </a:lnTo>
                <a:close/>
                <a:moveTo>
                  <a:pt x="405" y="334"/>
                </a:moveTo>
                <a:lnTo>
                  <a:pt x="404" y="335"/>
                </a:lnTo>
                <a:lnTo>
                  <a:pt x="405" y="336"/>
                </a:lnTo>
                <a:lnTo>
                  <a:pt x="405" y="338"/>
                </a:lnTo>
                <a:lnTo>
                  <a:pt x="407" y="338"/>
                </a:lnTo>
                <a:lnTo>
                  <a:pt x="409" y="339"/>
                </a:lnTo>
                <a:lnTo>
                  <a:pt x="409" y="338"/>
                </a:lnTo>
                <a:lnTo>
                  <a:pt x="406" y="336"/>
                </a:lnTo>
                <a:lnTo>
                  <a:pt x="405" y="336"/>
                </a:lnTo>
                <a:lnTo>
                  <a:pt x="406" y="335"/>
                </a:lnTo>
                <a:lnTo>
                  <a:pt x="405" y="334"/>
                </a:lnTo>
                <a:close/>
                <a:moveTo>
                  <a:pt x="22" y="213"/>
                </a:moveTo>
                <a:lnTo>
                  <a:pt x="24" y="213"/>
                </a:lnTo>
                <a:lnTo>
                  <a:pt x="24" y="215"/>
                </a:lnTo>
                <a:lnTo>
                  <a:pt x="22" y="213"/>
                </a:lnTo>
                <a:close/>
                <a:moveTo>
                  <a:pt x="466" y="0"/>
                </a:moveTo>
                <a:lnTo>
                  <a:pt x="467" y="0"/>
                </a:lnTo>
                <a:lnTo>
                  <a:pt x="471" y="1"/>
                </a:lnTo>
                <a:lnTo>
                  <a:pt x="474" y="1"/>
                </a:lnTo>
                <a:lnTo>
                  <a:pt x="475" y="2"/>
                </a:lnTo>
                <a:lnTo>
                  <a:pt x="477" y="2"/>
                </a:lnTo>
                <a:lnTo>
                  <a:pt x="478" y="1"/>
                </a:lnTo>
                <a:lnTo>
                  <a:pt x="479" y="1"/>
                </a:lnTo>
                <a:lnTo>
                  <a:pt x="479" y="4"/>
                </a:lnTo>
                <a:lnTo>
                  <a:pt x="480" y="6"/>
                </a:lnTo>
                <a:lnTo>
                  <a:pt x="484" y="2"/>
                </a:lnTo>
                <a:lnTo>
                  <a:pt x="487" y="1"/>
                </a:lnTo>
                <a:lnTo>
                  <a:pt x="492" y="1"/>
                </a:lnTo>
                <a:lnTo>
                  <a:pt x="493" y="2"/>
                </a:lnTo>
                <a:lnTo>
                  <a:pt x="493" y="3"/>
                </a:lnTo>
                <a:lnTo>
                  <a:pt x="494" y="4"/>
                </a:lnTo>
                <a:lnTo>
                  <a:pt x="497" y="6"/>
                </a:lnTo>
                <a:lnTo>
                  <a:pt x="497" y="7"/>
                </a:lnTo>
                <a:lnTo>
                  <a:pt x="498" y="9"/>
                </a:lnTo>
                <a:lnTo>
                  <a:pt x="499" y="9"/>
                </a:lnTo>
                <a:lnTo>
                  <a:pt x="502" y="12"/>
                </a:lnTo>
                <a:lnTo>
                  <a:pt x="502" y="13"/>
                </a:lnTo>
                <a:lnTo>
                  <a:pt x="504" y="15"/>
                </a:lnTo>
                <a:lnTo>
                  <a:pt x="504" y="16"/>
                </a:lnTo>
                <a:lnTo>
                  <a:pt x="503" y="18"/>
                </a:lnTo>
                <a:lnTo>
                  <a:pt x="503" y="24"/>
                </a:lnTo>
                <a:lnTo>
                  <a:pt x="505" y="26"/>
                </a:lnTo>
                <a:lnTo>
                  <a:pt x="505" y="27"/>
                </a:lnTo>
                <a:lnTo>
                  <a:pt x="504" y="28"/>
                </a:lnTo>
                <a:lnTo>
                  <a:pt x="506" y="28"/>
                </a:lnTo>
                <a:lnTo>
                  <a:pt x="509" y="31"/>
                </a:lnTo>
                <a:lnTo>
                  <a:pt x="509" y="32"/>
                </a:lnTo>
                <a:lnTo>
                  <a:pt x="510" y="32"/>
                </a:lnTo>
                <a:lnTo>
                  <a:pt x="510" y="33"/>
                </a:lnTo>
                <a:lnTo>
                  <a:pt x="512" y="33"/>
                </a:lnTo>
                <a:lnTo>
                  <a:pt x="512" y="34"/>
                </a:lnTo>
                <a:lnTo>
                  <a:pt x="515" y="35"/>
                </a:lnTo>
                <a:lnTo>
                  <a:pt x="517" y="38"/>
                </a:lnTo>
                <a:lnTo>
                  <a:pt x="518" y="40"/>
                </a:lnTo>
                <a:lnTo>
                  <a:pt x="518" y="43"/>
                </a:lnTo>
                <a:lnTo>
                  <a:pt x="516" y="45"/>
                </a:lnTo>
                <a:lnTo>
                  <a:pt x="513" y="45"/>
                </a:lnTo>
                <a:lnTo>
                  <a:pt x="506" y="47"/>
                </a:lnTo>
                <a:lnTo>
                  <a:pt x="504" y="47"/>
                </a:lnTo>
                <a:lnTo>
                  <a:pt x="504" y="50"/>
                </a:lnTo>
                <a:lnTo>
                  <a:pt x="505" y="51"/>
                </a:lnTo>
                <a:lnTo>
                  <a:pt x="506" y="51"/>
                </a:lnTo>
                <a:lnTo>
                  <a:pt x="506" y="53"/>
                </a:lnTo>
                <a:lnTo>
                  <a:pt x="510" y="57"/>
                </a:lnTo>
                <a:lnTo>
                  <a:pt x="510" y="65"/>
                </a:lnTo>
                <a:lnTo>
                  <a:pt x="508" y="65"/>
                </a:lnTo>
                <a:lnTo>
                  <a:pt x="511" y="69"/>
                </a:lnTo>
                <a:lnTo>
                  <a:pt x="512" y="69"/>
                </a:lnTo>
                <a:lnTo>
                  <a:pt x="513" y="68"/>
                </a:lnTo>
                <a:lnTo>
                  <a:pt x="513" y="70"/>
                </a:lnTo>
                <a:lnTo>
                  <a:pt x="511" y="75"/>
                </a:lnTo>
                <a:lnTo>
                  <a:pt x="509" y="76"/>
                </a:lnTo>
                <a:lnTo>
                  <a:pt x="511" y="77"/>
                </a:lnTo>
                <a:lnTo>
                  <a:pt x="513" y="77"/>
                </a:lnTo>
                <a:lnTo>
                  <a:pt x="515" y="76"/>
                </a:lnTo>
                <a:lnTo>
                  <a:pt x="518" y="76"/>
                </a:lnTo>
                <a:lnTo>
                  <a:pt x="521" y="77"/>
                </a:lnTo>
                <a:lnTo>
                  <a:pt x="527" y="77"/>
                </a:lnTo>
                <a:lnTo>
                  <a:pt x="527" y="80"/>
                </a:lnTo>
                <a:lnTo>
                  <a:pt x="529" y="82"/>
                </a:lnTo>
                <a:lnTo>
                  <a:pt x="533" y="82"/>
                </a:lnTo>
                <a:lnTo>
                  <a:pt x="535" y="81"/>
                </a:lnTo>
                <a:lnTo>
                  <a:pt x="539" y="80"/>
                </a:lnTo>
                <a:lnTo>
                  <a:pt x="541" y="78"/>
                </a:lnTo>
                <a:lnTo>
                  <a:pt x="542" y="78"/>
                </a:lnTo>
                <a:lnTo>
                  <a:pt x="542" y="80"/>
                </a:lnTo>
                <a:lnTo>
                  <a:pt x="543" y="80"/>
                </a:lnTo>
                <a:lnTo>
                  <a:pt x="544" y="78"/>
                </a:lnTo>
                <a:lnTo>
                  <a:pt x="546" y="78"/>
                </a:lnTo>
                <a:lnTo>
                  <a:pt x="547" y="80"/>
                </a:lnTo>
                <a:lnTo>
                  <a:pt x="547" y="81"/>
                </a:lnTo>
                <a:lnTo>
                  <a:pt x="548" y="87"/>
                </a:lnTo>
                <a:lnTo>
                  <a:pt x="549" y="89"/>
                </a:lnTo>
                <a:lnTo>
                  <a:pt x="550" y="90"/>
                </a:lnTo>
                <a:lnTo>
                  <a:pt x="552" y="90"/>
                </a:lnTo>
                <a:lnTo>
                  <a:pt x="554" y="89"/>
                </a:lnTo>
                <a:lnTo>
                  <a:pt x="555" y="89"/>
                </a:lnTo>
                <a:lnTo>
                  <a:pt x="556" y="90"/>
                </a:lnTo>
                <a:lnTo>
                  <a:pt x="558" y="90"/>
                </a:lnTo>
                <a:lnTo>
                  <a:pt x="558" y="93"/>
                </a:lnTo>
                <a:lnTo>
                  <a:pt x="554" y="93"/>
                </a:lnTo>
                <a:lnTo>
                  <a:pt x="554" y="96"/>
                </a:lnTo>
                <a:lnTo>
                  <a:pt x="555" y="96"/>
                </a:lnTo>
                <a:lnTo>
                  <a:pt x="555" y="98"/>
                </a:lnTo>
                <a:lnTo>
                  <a:pt x="556" y="98"/>
                </a:lnTo>
                <a:lnTo>
                  <a:pt x="558" y="99"/>
                </a:lnTo>
                <a:lnTo>
                  <a:pt x="556" y="100"/>
                </a:lnTo>
                <a:lnTo>
                  <a:pt x="558" y="101"/>
                </a:lnTo>
                <a:lnTo>
                  <a:pt x="558" y="102"/>
                </a:lnTo>
                <a:lnTo>
                  <a:pt x="559" y="104"/>
                </a:lnTo>
                <a:lnTo>
                  <a:pt x="559" y="107"/>
                </a:lnTo>
                <a:lnTo>
                  <a:pt x="560" y="107"/>
                </a:lnTo>
                <a:lnTo>
                  <a:pt x="561" y="108"/>
                </a:lnTo>
                <a:lnTo>
                  <a:pt x="561" y="114"/>
                </a:lnTo>
                <a:lnTo>
                  <a:pt x="562" y="115"/>
                </a:lnTo>
                <a:lnTo>
                  <a:pt x="559" y="117"/>
                </a:lnTo>
                <a:lnTo>
                  <a:pt x="559" y="118"/>
                </a:lnTo>
                <a:lnTo>
                  <a:pt x="560" y="126"/>
                </a:lnTo>
                <a:lnTo>
                  <a:pt x="562" y="129"/>
                </a:lnTo>
                <a:lnTo>
                  <a:pt x="565" y="129"/>
                </a:lnTo>
                <a:lnTo>
                  <a:pt x="566" y="130"/>
                </a:lnTo>
                <a:lnTo>
                  <a:pt x="566" y="133"/>
                </a:lnTo>
                <a:lnTo>
                  <a:pt x="567" y="135"/>
                </a:lnTo>
                <a:lnTo>
                  <a:pt x="567" y="136"/>
                </a:lnTo>
                <a:lnTo>
                  <a:pt x="568" y="136"/>
                </a:lnTo>
                <a:lnTo>
                  <a:pt x="570" y="137"/>
                </a:lnTo>
                <a:lnTo>
                  <a:pt x="572" y="137"/>
                </a:lnTo>
                <a:lnTo>
                  <a:pt x="573" y="136"/>
                </a:lnTo>
                <a:lnTo>
                  <a:pt x="573" y="135"/>
                </a:lnTo>
                <a:lnTo>
                  <a:pt x="574" y="135"/>
                </a:lnTo>
                <a:lnTo>
                  <a:pt x="574" y="133"/>
                </a:lnTo>
                <a:lnTo>
                  <a:pt x="575" y="133"/>
                </a:lnTo>
                <a:lnTo>
                  <a:pt x="577" y="132"/>
                </a:lnTo>
                <a:lnTo>
                  <a:pt x="577" y="131"/>
                </a:lnTo>
                <a:lnTo>
                  <a:pt x="590" y="131"/>
                </a:lnTo>
                <a:lnTo>
                  <a:pt x="591" y="132"/>
                </a:lnTo>
                <a:lnTo>
                  <a:pt x="591" y="133"/>
                </a:lnTo>
                <a:lnTo>
                  <a:pt x="592" y="133"/>
                </a:lnTo>
                <a:lnTo>
                  <a:pt x="596" y="141"/>
                </a:lnTo>
                <a:lnTo>
                  <a:pt x="599" y="141"/>
                </a:lnTo>
                <a:lnTo>
                  <a:pt x="601" y="139"/>
                </a:lnTo>
                <a:lnTo>
                  <a:pt x="604" y="139"/>
                </a:lnTo>
                <a:lnTo>
                  <a:pt x="605" y="141"/>
                </a:lnTo>
                <a:lnTo>
                  <a:pt x="606" y="141"/>
                </a:lnTo>
                <a:lnTo>
                  <a:pt x="608" y="142"/>
                </a:lnTo>
                <a:lnTo>
                  <a:pt x="608" y="145"/>
                </a:lnTo>
                <a:lnTo>
                  <a:pt x="611" y="145"/>
                </a:lnTo>
                <a:lnTo>
                  <a:pt x="612" y="144"/>
                </a:lnTo>
                <a:lnTo>
                  <a:pt x="612" y="143"/>
                </a:lnTo>
                <a:lnTo>
                  <a:pt x="614" y="143"/>
                </a:lnTo>
                <a:lnTo>
                  <a:pt x="614" y="142"/>
                </a:lnTo>
                <a:lnTo>
                  <a:pt x="623" y="137"/>
                </a:lnTo>
                <a:lnTo>
                  <a:pt x="629" y="137"/>
                </a:lnTo>
                <a:lnTo>
                  <a:pt x="635" y="136"/>
                </a:lnTo>
                <a:lnTo>
                  <a:pt x="640" y="131"/>
                </a:lnTo>
                <a:lnTo>
                  <a:pt x="646" y="131"/>
                </a:lnTo>
                <a:lnTo>
                  <a:pt x="646" y="133"/>
                </a:lnTo>
                <a:lnTo>
                  <a:pt x="647" y="135"/>
                </a:lnTo>
                <a:lnTo>
                  <a:pt x="647" y="137"/>
                </a:lnTo>
                <a:lnTo>
                  <a:pt x="651" y="138"/>
                </a:lnTo>
                <a:lnTo>
                  <a:pt x="653" y="143"/>
                </a:lnTo>
                <a:lnTo>
                  <a:pt x="652" y="144"/>
                </a:lnTo>
                <a:lnTo>
                  <a:pt x="652" y="147"/>
                </a:lnTo>
                <a:lnTo>
                  <a:pt x="654" y="148"/>
                </a:lnTo>
                <a:lnTo>
                  <a:pt x="658" y="154"/>
                </a:lnTo>
                <a:lnTo>
                  <a:pt x="659" y="155"/>
                </a:lnTo>
                <a:lnTo>
                  <a:pt x="662" y="156"/>
                </a:lnTo>
                <a:lnTo>
                  <a:pt x="664" y="157"/>
                </a:lnTo>
                <a:lnTo>
                  <a:pt x="666" y="158"/>
                </a:lnTo>
                <a:lnTo>
                  <a:pt x="668" y="163"/>
                </a:lnTo>
                <a:lnTo>
                  <a:pt x="668" y="166"/>
                </a:lnTo>
                <a:lnTo>
                  <a:pt x="670" y="166"/>
                </a:lnTo>
                <a:lnTo>
                  <a:pt x="672" y="164"/>
                </a:lnTo>
                <a:lnTo>
                  <a:pt x="672" y="163"/>
                </a:lnTo>
                <a:lnTo>
                  <a:pt x="673" y="163"/>
                </a:lnTo>
                <a:lnTo>
                  <a:pt x="673" y="164"/>
                </a:lnTo>
                <a:lnTo>
                  <a:pt x="674" y="164"/>
                </a:lnTo>
                <a:lnTo>
                  <a:pt x="677" y="163"/>
                </a:lnTo>
                <a:lnTo>
                  <a:pt x="677" y="160"/>
                </a:lnTo>
                <a:lnTo>
                  <a:pt x="676" y="157"/>
                </a:lnTo>
                <a:lnTo>
                  <a:pt x="677" y="155"/>
                </a:lnTo>
                <a:lnTo>
                  <a:pt x="682" y="155"/>
                </a:lnTo>
                <a:lnTo>
                  <a:pt x="683" y="156"/>
                </a:lnTo>
                <a:lnTo>
                  <a:pt x="684" y="160"/>
                </a:lnTo>
                <a:lnTo>
                  <a:pt x="684" y="161"/>
                </a:lnTo>
                <a:lnTo>
                  <a:pt x="688" y="161"/>
                </a:lnTo>
                <a:lnTo>
                  <a:pt x="689" y="162"/>
                </a:lnTo>
                <a:lnTo>
                  <a:pt x="697" y="162"/>
                </a:lnTo>
                <a:lnTo>
                  <a:pt x="697" y="163"/>
                </a:lnTo>
                <a:lnTo>
                  <a:pt x="701" y="167"/>
                </a:lnTo>
                <a:lnTo>
                  <a:pt x="705" y="168"/>
                </a:lnTo>
                <a:lnTo>
                  <a:pt x="709" y="172"/>
                </a:lnTo>
                <a:lnTo>
                  <a:pt x="714" y="172"/>
                </a:lnTo>
                <a:lnTo>
                  <a:pt x="714" y="170"/>
                </a:lnTo>
                <a:lnTo>
                  <a:pt x="716" y="169"/>
                </a:lnTo>
                <a:lnTo>
                  <a:pt x="716" y="168"/>
                </a:lnTo>
                <a:lnTo>
                  <a:pt x="718" y="167"/>
                </a:lnTo>
                <a:lnTo>
                  <a:pt x="718" y="168"/>
                </a:lnTo>
                <a:lnTo>
                  <a:pt x="721" y="174"/>
                </a:lnTo>
                <a:lnTo>
                  <a:pt x="722" y="176"/>
                </a:lnTo>
                <a:lnTo>
                  <a:pt x="723" y="176"/>
                </a:lnTo>
                <a:lnTo>
                  <a:pt x="726" y="178"/>
                </a:lnTo>
                <a:lnTo>
                  <a:pt x="727" y="176"/>
                </a:lnTo>
                <a:lnTo>
                  <a:pt x="728" y="176"/>
                </a:lnTo>
                <a:lnTo>
                  <a:pt x="730" y="175"/>
                </a:lnTo>
                <a:lnTo>
                  <a:pt x="732" y="176"/>
                </a:lnTo>
                <a:lnTo>
                  <a:pt x="733" y="176"/>
                </a:lnTo>
                <a:lnTo>
                  <a:pt x="735" y="178"/>
                </a:lnTo>
                <a:lnTo>
                  <a:pt x="736" y="179"/>
                </a:lnTo>
                <a:lnTo>
                  <a:pt x="736" y="182"/>
                </a:lnTo>
                <a:lnTo>
                  <a:pt x="738" y="185"/>
                </a:lnTo>
                <a:lnTo>
                  <a:pt x="739" y="185"/>
                </a:lnTo>
                <a:lnTo>
                  <a:pt x="740" y="186"/>
                </a:lnTo>
                <a:lnTo>
                  <a:pt x="742" y="186"/>
                </a:lnTo>
                <a:lnTo>
                  <a:pt x="745" y="188"/>
                </a:lnTo>
                <a:lnTo>
                  <a:pt x="745" y="190"/>
                </a:lnTo>
                <a:lnTo>
                  <a:pt x="746" y="190"/>
                </a:lnTo>
                <a:lnTo>
                  <a:pt x="747" y="188"/>
                </a:lnTo>
                <a:lnTo>
                  <a:pt x="749" y="188"/>
                </a:lnTo>
                <a:lnTo>
                  <a:pt x="749" y="187"/>
                </a:lnTo>
                <a:lnTo>
                  <a:pt x="753" y="185"/>
                </a:lnTo>
                <a:lnTo>
                  <a:pt x="754" y="185"/>
                </a:lnTo>
                <a:lnTo>
                  <a:pt x="759" y="186"/>
                </a:lnTo>
                <a:lnTo>
                  <a:pt x="759" y="188"/>
                </a:lnTo>
                <a:lnTo>
                  <a:pt x="758" y="188"/>
                </a:lnTo>
                <a:lnTo>
                  <a:pt x="755" y="191"/>
                </a:lnTo>
                <a:lnTo>
                  <a:pt x="755" y="194"/>
                </a:lnTo>
                <a:lnTo>
                  <a:pt x="758" y="199"/>
                </a:lnTo>
                <a:lnTo>
                  <a:pt x="760" y="201"/>
                </a:lnTo>
                <a:lnTo>
                  <a:pt x="760" y="204"/>
                </a:lnTo>
                <a:lnTo>
                  <a:pt x="759" y="206"/>
                </a:lnTo>
                <a:lnTo>
                  <a:pt x="759" y="209"/>
                </a:lnTo>
                <a:lnTo>
                  <a:pt x="755" y="212"/>
                </a:lnTo>
                <a:lnTo>
                  <a:pt x="755" y="213"/>
                </a:lnTo>
                <a:lnTo>
                  <a:pt x="753" y="215"/>
                </a:lnTo>
                <a:lnTo>
                  <a:pt x="751" y="217"/>
                </a:lnTo>
                <a:lnTo>
                  <a:pt x="751" y="221"/>
                </a:lnTo>
                <a:lnTo>
                  <a:pt x="749" y="222"/>
                </a:lnTo>
                <a:lnTo>
                  <a:pt x="748" y="221"/>
                </a:lnTo>
                <a:lnTo>
                  <a:pt x="746" y="221"/>
                </a:lnTo>
                <a:lnTo>
                  <a:pt x="744" y="223"/>
                </a:lnTo>
                <a:lnTo>
                  <a:pt x="741" y="222"/>
                </a:lnTo>
                <a:lnTo>
                  <a:pt x="740" y="223"/>
                </a:lnTo>
                <a:lnTo>
                  <a:pt x="740" y="227"/>
                </a:lnTo>
                <a:lnTo>
                  <a:pt x="741" y="228"/>
                </a:lnTo>
                <a:lnTo>
                  <a:pt x="742" y="228"/>
                </a:lnTo>
                <a:lnTo>
                  <a:pt x="742" y="230"/>
                </a:lnTo>
                <a:lnTo>
                  <a:pt x="744" y="231"/>
                </a:lnTo>
                <a:lnTo>
                  <a:pt x="745" y="231"/>
                </a:lnTo>
                <a:lnTo>
                  <a:pt x="748" y="233"/>
                </a:lnTo>
                <a:lnTo>
                  <a:pt x="749" y="231"/>
                </a:lnTo>
                <a:lnTo>
                  <a:pt x="751" y="233"/>
                </a:lnTo>
                <a:lnTo>
                  <a:pt x="751" y="234"/>
                </a:lnTo>
                <a:lnTo>
                  <a:pt x="752" y="234"/>
                </a:lnTo>
                <a:lnTo>
                  <a:pt x="752" y="233"/>
                </a:lnTo>
                <a:lnTo>
                  <a:pt x="753" y="233"/>
                </a:lnTo>
                <a:lnTo>
                  <a:pt x="754" y="231"/>
                </a:lnTo>
                <a:lnTo>
                  <a:pt x="755" y="231"/>
                </a:lnTo>
                <a:lnTo>
                  <a:pt x="755" y="235"/>
                </a:lnTo>
                <a:lnTo>
                  <a:pt x="753" y="237"/>
                </a:lnTo>
                <a:lnTo>
                  <a:pt x="751" y="237"/>
                </a:lnTo>
                <a:lnTo>
                  <a:pt x="746" y="236"/>
                </a:lnTo>
                <a:lnTo>
                  <a:pt x="745" y="236"/>
                </a:lnTo>
                <a:lnTo>
                  <a:pt x="744" y="237"/>
                </a:lnTo>
                <a:lnTo>
                  <a:pt x="744" y="239"/>
                </a:lnTo>
                <a:lnTo>
                  <a:pt x="742" y="239"/>
                </a:lnTo>
                <a:lnTo>
                  <a:pt x="742" y="240"/>
                </a:lnTo>
                <a:lnTo>
                  <a:pt x="741" y="240"/>
                </a:lnTo>
                <a:lnTo>
                  <a:pt x="741" y="241"/>
                </a:lnTo>
                <a:lnTo>
                  <a:pt x="739" y="249"/>
                </a:lnTo>
                <a:lnTo>
                  <a:pt x="738" y="250"/>
                </a:lnTo>
                <a:lnTo>
                  <a:pt x="746" y="250"/>
                </a:lnTo>
                <a:lnTo>
                  <a:pt x="747" y="252"/>
                </a:lnTo>
                <a:lnTo>
                  <a:pt x="747" y="253"/>
                </a:lnTo>
                <a:lnTo>
                  <a:pt x="748" y="254"/>
                </a:lnTo>
                <a:lnTo>
                  <a:pt x="748" y="256"/>
                </a:lnTo>
                <a:lnTo>
                  <a:pt x="747" y="256"/>
                </a:lnTo>
                <a:lnTo>
                  <a:pt x="747" y="258"/>
                </a:lnTo>
                <a:lnTo>
                  <a:pt x="748" y="258"/>
                </a:lnTo>
                <a:lnTo>
                  <a:pt x="749" y="261"/>
                </a:lnTo>
                <a:lnTo>
                  <a:pt x="749" y="264"/>
                </a:lnTo>
                <a:lnTo>
                  <a:pt x="751" y="264"/>
                </a:lnTo>
                <a:lnTo>
                  <a:pt x="746" y="268"/>
                </a:lnTo>
                <a:lnTo>
                  <a:pt x="748" y="270"/>
                </a:lnTo>
                <a:lnTo>
                  <a:pt x="753" y="270"/>
                </a:lnTo>
                <a:lnTo>
                  <a:pt x="753" y="273"/>
                </a:lnTo>
                <a:lnTo>
                  <a:pt x="752" y="273"/>
                </a:lnTo>
                <a:lnTo>
                  <a:pt x="749" y="276"/>
                </a:lnTo>
                <a:lnTo>
                  <a:pt x="749" y="277"/>
                </a:lnTo>
                <a:lnTo>
                  <a:pt x="747" y="280"/>
                </a:lnTo>
                <a:lnTo>
                  <a:pt x="746" y="282"/>
                </a:lnTo>
                <a:lnTo>
                  <a:pt x="746" y="283"/>
                </a:lnTo>
                <a:lnTo>
                  <a:pt x="747" y="285"/>
                </a:lnTo>
                <a:lnTo>
                  <a:pt x="745" y="286"/>
                </a:lnTo>
                <a:lnTo>
                  <a:pt x="744" y="286"/>
                </a:lnTo>
                <a:lnTo>
                  <a:pt x="744" y="287"/>
                </a:lnTo>
                <a:lnTo>
                  <a:pt x="745" y="289"/>
                </a:lnTo>
                <a:lnTo>
                  <a:pt x="745" y="295"/>
                </a:lnTo>
                <a:lnTo>
                  <a:pt x="744" y="297"/>
                </a:lnTo>
                <a:lnTo>
                  <a:pt x="744" y="298"/>
                </a:lnTo>
                <a:lnTo>
                  <a:pt x="742" y="299"/>
                </a:lnTo>
                <a:lnTo>
                  <a:pt x="741" y="299"/>
                </a:lnTo>
                <a:lnTo>
                  <a:pt x="736" y="298"/>
                </a:lnTo>
                <a:lnTo>
                  <a:pt x="735" y="298"/>
                </a:lnTo>
                <a:lnTo>
                  <a:pt x="733" y="299"/>
                </a:lnTo>
                <a:lnTo>
                  <a:pt x="732" y="298"/>
                </a:lnTo>
                <a:lnTo>
                  <a:pt x="729" y="298"/>
                </a:lnTo>
                <a:lnTo>
                  <a:pt x="728" y="299"/>
                </a:lnTo>
                <a:lnTo>
                  <a:pt x="726" y="297"/>
                </a:lnTo>
                <a:lnTo>
                  <a:pt x="724" y="297"/>
                </a:lnTo>
                <a:lnTo>
                  <a:pt x="718" y="298"/>
                </a:lnTo>
                <a:lnTo>
                  <a:pt x="715" y="298"/>
                </a:lnTo>
                <a:lnTo>
                  <a:pt x="713" y="297"/>
                </a:lnTo>
                <a:lnTo>
                  <a:pt x="707" y="296"/>
                </a:lnTo>
                <a:lnTo>
                  <a:pt x="704" y="297"/>
                </a:lnTo>
                <a:lnTo>
                  <a:pt x="701" y="304"/>
                </a:lnTo>
                <a:lnTo>
                  <a:pt x="701" y="308"/>
                </a:lnTo>
                <a:lnTo>
                  <a:pt x="696" y="308"/>
                </a:lnTo>
                <a:lnTo>
                  <a:pt x="695" y="310"/>
                </a:lnTo>
                <a:lnTo>
                  <a:pt x="693" y="310"/>
                </a:lnTo>
                <a:lnTo>
                  <a:pt x="693" y="311"/>
                </a:lnTo>
                <a:lnTo>
                  <a:pt x="684" y="313"/>
                </a:lnTo>
                <a:lnTo>
                  <a:pt x="682" y="315"/>
                </a:lnTo>
                <a:lnTo>
                  <a:pt x="680" y="317"/>
                </a:lnTo>
                <a:lnTo>
                  <a:pt x="680" y="326"/>
                </a:lnTo>
                <a:lnTo>
                  <a:pt x="679" y="328"/>
                </a:lnTo>
                <a:lnTo>
                  <a:pt x="677" y="330"/>
                </a:lnTo>
                <a:lnTo>
                  <a:pt x="677" y="332"/>
                </a:lnTo>
                <a:lnTo>
                  <a:pt x="680" y="332"/>
                </a:lnTo>
                <a:lnTo>
                  <a:pt x="682" y="333"/>
                </a:lnTo>
                <a:lnTo>
                  <a:pt x="682" y="335"/>
                </a:lnTo>
                <a:lnTo>
                  <a:pt x="680" y="335"/>
                </a:lnTo>
                <a:lnTo>
                  <a:pt x="678" y="338"/>
                </a:lnTo>
                <a:lnTo>
                  <a:pt x="678" y="345"/>
                </a:lnTo>
                <a:lnTo>
                  <a:pt x="676" y="347"/>
                </a:lnTo>
                <a:lnTo>
                  <a:pt x="673" y="348"/>
                </a:lnTo>
                <a:lnTo>
                  <a:pt x="674" y="346"/>
                </a:lnTo>
                <a:lnTo>
                  <a:pt x="672" y="344"/>
                </a:lnTo>
                <a:lnTo>
                  <a:pt x="672" y="345"/>
                </a:lnTo>
                <a:lnTo>
                  <a:pt x="668" y="345"/>
                </a:lnTo>
                <a:lnTo>
                  <a:pt x="667" y="344"/>
                </a:lnTo>
                <a:lnTo>
                  <a:pt x="667" y="345"/>
                </a:lnTo>
                <a:lnTo>
                  <a:pt x="664" y="344"/>
                </a:lnTo>
                <a:lnTo>
                  <a:pt x="659" y="346"/>
                </a:lnTo>
                <a:lnTo>
                  <a:pt x="657" y="346"/>
                </a:lnTo>
                <a:lnTo>
                  <a:pt x="652" y="345"/>
                </a:lnTo>
                <a:lnTo>
                  <a:pt x="651" y="345"/>
                </a:lnTo>
                <a:lnTo>
                  <a:pt x="647" y="348"/>
                </a:lnTo>
                <a:lnTo>
                  <a:pt x="643" y="354"/>
                </a:lnTo>
                <a:lnTo>
                  <a:pt x="642" y="357"/>
                </a:lnTo>
                <a:lnTo>
                  <a:pt x="641" y="357"/>
                </a:lnTo>
                <a:lnTo>
                  <a:pt x="640" y="358"/>
                </a:lnTo>
                <a:lnTo>
                  <a:pt x="640" y="356"/>
                </a:lnTo>
                <a:lnTo>
                  <a:pt x="637" y="354"/>
                </a:lnTo>
                <a:lnTo>
                  <a:pt x="636" y="354"/>
                </a:lnTo>
                <a:lnTo>
                  <a:pt x="629" y="358"/>
                </a:lnTo>
                <a:lnTo>
                  <a:pt x="628" y="358"/>
                </a:lnTo>
                <a:lnTo>
                  <a:pt x="627" y="359"/>
                </a:lnTo>
                <a:lnTo>
                  <a:pt x="626" y="359"/>
                </a:lnTo>
                <a:lnTo>
                  <a:pt x="622" y="363"/>
                </a:lnTo>
                <a:lnTo>
                  <a:pt x="621" y="363"/>
                </a:lnTo>
                <a:lnTo>
                  <a:pt x="621" y="365"/>
                </a:lnTo>
                <a:lnTo>
                  <a:pt x="620" y="366"/>
                </a:lnTo>
                <a:lnTo>
                  <a:pt x="620" y="370"/>
                </a:lnTo>
                <a:lnTo>
                  <a:pt x="617" y="372"/>
                </a:lnTo>
                <a:lnTo>
                  <a:pt x="618" y="370"/>
                </a:lnTo>
                <a:lnTo>
                  <a:pt x="618" y="366"/>
                </a:lnTo>
                <a:lnTo>
                  <a:pt x="617" y="365"/>
                </a:lnTo>
                <a:lnTo>
                  <a:pt x="616" y="365"/>
                </a:lnTo>
                <a:lnTo>
                  <a:pt x="615" y="364"/>
                </a:lnTo>
                <a:lnTo>
                  <a:pt x="610" y="364"/>
                </a:lnTo>
                <a:lnTo>
                  <a:pt x="610" y="365"/>
                </a:lnTo>
                <a:lnTo>
                  <a:pt x="606" y="365"/>
                </a:lnTo>
                <a:lnTo>
                  <a:pt x="605" y="366"/>
                </a:lnTo>
                <a:lnTo>
                  <a:pt x="603" y="366"/>
                </a:lnTo>
                <a:lnTo>
                  <a:pt x="602" y="367"/>
                </a:lnTo>
                <a:lnTo>
                  <a:pt x="601" y="367"/>
                </a:lnTo>
                <a:lnTo>
                  <a:pt x="598" y="371"/>
                </a:lnTo>
                <a:lnTo>
                  <a:pt x="597" y="372"/>
                </a:lnTo>
                <a:lnTo>
                  <a:pt x="597" y="375"/>
                </a:lnTo>
                <a:lnTo>
                  <a:pt x="596" y="375"/>
                </a:lnTo>
                <a:lnTo>
                  <a:pt x="596" y="373"/>
                </a:lnTo>
                <a:lnTo>
                  <a:pt x="595" y="373"/>
                </a:lnTo>
                <a:lnTo>
                  <a:pt x="595" y="371"/>
                </a:lnTo>
                <a:lnTo>
                  <a:pt x="593" y="371"/>
                </a:lnTo>
                <a:lnTo>
                  <a:pt x="593" y="370"/>
                </a:lnTo>
                <a:lnTo>
                  <a:pt x="592" y="371"/>
                </a:lnTo>
                <a:lnTo>
                  <a:pt x="591" y="371"/>
                </a:lnTo>
                <a:lnTo>
                  <a:pt x="587" y="370"/>
                </a:lnTo>
                <a:lnTo>
                  <a:pt x="581" y="371"/>
                </a:lnTo>
                <a:lnTo>
                  <a:pt x="580" y="371"/>
                </a:lnTo>
                <a:lnTo>
                  <a:pt x="578" y="373"/>
                </a:lnTo>
                <a:lnTo>
                  <a:pt x="575" y="375"/>
                </a:lnTo>
                <a:lnTo>
                  <a:pt x="570" y="381"/>
                </a:lnTo>
                <a:lnTo>
                  <a:pt x="565" y="383"/>
                </a:lnTo>
                <a:lnTo>
                  <a:pt x="564" y="384"/>
                </a:lnTo>
                <a:lnTo>
                  <a:pt x="562" y="384"/>
                </a:lnTo>
                <a:lnTo>
                  <a:pt x="561" y="387"/>
                </a:lnTo>
                <a:lnTo>
                  <a:pt x="561" y="388"/>
                </a:lnTo>
                <a:lnTo>
                  <a:pt x="559" y="388"/>
                </a:lnTo>
                <a:lnTo>
                  <a:pt x="559" y="389"/>
                </a:lnTo>
                <a:lnTo>
                  <a:pt x="558" y="391"/>
                </a:lnTo>
                <a:lnTo>
                  <a:pt x="558" y="389"/>
                </a:lnTo>
                <a:lnTo>
                  <a:pt x="556" y="390"/>
                </a:lnTo>
                <a:lnTo>
                  <a:pt x="555" y="390"/>
                </a:lnTo>
                <a:lnTo>
                  <a:pt x="555" y="391"/>
                </a:lnTo>
                <a:lnTo>
                  <a:pt x="554" y="390"/>
                </a:lnTo>
                <a:lnTo>
                  <a:pt x="554" y="387"/>
                </a:lnTo>
                <a:lnTo>
                  <a:pt x="555" y="384"/>
                </a:lnTo>
                <a:lnTo>
                  <a:pt x="553" y="384"/>
                </a:lnTo>
                <a:lnTo>
                  <a:pt x="553" y="383"/>
                </a:lnTo>
                <a:lnTo>
                  <a:pt x="552" y="383"/>
                </a:lnTo>
                <a:lnTo>
                  <a:pt x="552" y="382"/>
                </a:lnTo>
                <a:lnTo>
                  <a:pt x="550" y="381"/>
                </a:lnTo>
                <a:lnTo>
                  <a:pt x="549" y="382"/>
                </a:lnTo>
                <a:lnTo>
                  <a:pt x="552" y="384"/>
                </a:lnTo>
                <a:lnTo>
                  <a:pt x="552" y="388"/>
                </a:lnTo>
                <a:lnTo>
                  <a:pt x="549" y="389"/>
                </a:lnTo>
                <a:lnTo>
                  <a:pt x="547" y="394"/>
                </a:lnTo>
                <a:lnTo>
                  <a:pt x="544" y="396"/>
                </a:lnTo>
                <a:lnTo>
                  <a:pt x="540" y="397"/>
                </a:lnTo>
                <a:lnTo>
                  <a:pt x="539" y="397"/>
                </a:lnTo>
                <a:lnTo>
                  <a:pt x="539" y="396"/>
                </a:lnTo>
                <a:lnTo>
                  <a:pt x="537" y="396"/>
                </a:lnTo>
                <a:lnTo>
                  <a:pt x="537" y="397"/>
                </a:lnTo>
                <a:lnTo>
                  <a:pt x="535" y="400"/>
                </a:lnTo>
                <a:lnTo>
                  <a:pt x="535" y="407"/>
                </a:lnTo>
                <a:lnTo>
                  <a:pt x="536" y="408"/>
                </a:lnTo>
                <a:lnTo>
                  <a:pt x="537" y="415"/>
                </a:lnTo>
                <a:lnTo>
                  <a:pt x="537" y="416"/>
                </a:lnTo>
                <a:lnTo>
                  <a:pt x="539" y="418"/>
                </a:lnTo>
                <a:lnTo>
                  <a:pt x="541" y="424"/>
                </a:lnTo>
                <a:lnTo>
                  <a:pt x="544" y="431"/>
                </a:lnTo>
                <a:lnTo>
                  <a:pt x="556" y="449"/>
                </a:lnTo>
                <a:lnTo>
                  <a:pt x="562" y="453"/>
                </a:lnTo>
                <a:lnTo>
                  <a:pt x="565" y="453"/>
                </a:lnTo>
                <a:lnTo>
                  <a:pt x="572" y="451"/>
                </a:lnTo>
                <a:lnTo>
                  <a:pt x="573" y="451"/>
                </a:lnTo>
                <a:lnTo>
                  <a:pt x="574" y="450"/>
                </a:lnTo>
                <a:lnTo>
                  <a:pt x="574" y="449"/>
                </a:lnTo>
                <a:lnTo>
                  <a:pt x="575" y="449"/>
                </a:lnTo>
                <a:lnTo>
                  <a:pt x="575" y="446"/>
                </a:lnTo>
                <a:lnTo>
                  <a:pt x="577" y="445"/>
                </a:lnTo>
                <a:lnTo>
                  <a:pt x="577" y="444"/>
                </a:lnTo>
                <a:lnTo>
                  <a:pt x="578" y="443"/>
                </a:lnTo>
                <a:lnTo>
                  <a:pt x="579" y="444"/>
                </a:lnTo>
                <a:lnTo>
                  <a:pt x="579" y="445"/>
                </a:lnTo>
                <a:lnTo>
                  <a:pt x="578" y="446"/>
                </a:lnTo>
                <a:lnTo>
                  <a:pt x="579" y="446"/>
                </a:lnTo>
                <a:lnTo>
                  <a:pt x="579" y="448"/>
                </a:lnTo>
                <a:lnTo>
                  <a:pt x="583" y="449"/>
                </a:lnTo>
                <a:lnTo>
                  <a:pt x="584" y="450"/>
                </a:lnTo>
                <a:lnTo>
                  <a:pt x="586" y="450"/>
                </a:lnTo>
                <a:lnTo>
                  <a:pt x="587" y="448"/>
                </a:lnTo>
                <a:lnTo>
                  <a:pt x="587" y="445"/>
                </a:lnTo>
                <a:lnTo>
                  <a:pt x="589" y="445"/>
                </a:lnTo>
                <a:lnTo>
                  <a:pt x="590" y="444"/>
                </a:lnTo>
                <a:lnTo>
                  <a:pt x="596" y="444"/>
                </a:lnTo>
                <a:lnTo>
                  <a:pt x="597" y="443"/>
                </a:lnTo>
                <a:lnTo>
                  <a:pt x="598" y="444"/>
                </a:lnTo>
                <a:lnTo>
                  <a:pt x="597" y="445"/>
                </a:lnTo>
                <a:lnTo>
                  <a:pt x="598" y="445"/>
                </a:lnTo>
                <a:lnTo>
                  <a:pt x="599" y="444"/>
                </a:lnTo>
                <a:lnTo>
                  <a:pt x="601" y="444"/>
                </a:lnTo>
                <a:lnTo>
                  <a:pt x="602" y="445"/>
                </a:lnTo>
                <a:lnTo>
                  <a:pt x="605" y="445"/>
                </a:lnTo>
                <a:lnTo>
                  <a:pt x="608" y="448"/>
                </a:lnTo>
                <a:lnTo>
                  <a:pt x="608" y="446"/>
                </a:lnTo>
                <a:lnTo>
                  <a:pt x="610" y="446"/>
                </a:lnTo>
                <a:lnTo>
                  <a:pt x="611" y="448"/>
                </a:lnTo>
                <a:lnTo>
                  <a:pt x="611" y="451"/>
                </a:lnTo>
                <a:lnTo>
                  <a:pt x="605" y="451"/>
                </a:lnTo>
                <a:lnTo>
                  <a:pt x="605" y="455"/>
                </a:lnTo>
                <a:lnTo>
                  <a:pt x="603" y="455"/>
                </a:lnTo>
                <a:lnTo>
                  <a:pt x="603" y="458"/>
                </a:lnTo>
                <a:lnTo>
                  <a:pt x="602" y="461"/>
                </a:lnTo>
                <a:lnTo>
                  <a:pt x="602" y="463"/>
                </a:lnTo>
                <a:lnTo>
                  <a:pt x="603" y="464"/>
                </a:lnTo>
                <a:lnTo>
                  <a:pt x="603" y="465"/>
                </a:lnTo>
                <a:lnTo>
                  <a:pt x="604" y="465"/>
                </a:lnTo>
                <a:lnTo>
                  <a:pt x="604" y="467"/>
                </a:lnTo>
                <a:lnTo>
                  <a:pt x="603" y="468"/>
                </a:lnTo>
                <a:lnTo>
                  <a:pt x="601" y="469"/>
                </a:lnTo>
                <a:lnTo>
                  <a:pt x="596" y="469"/>
                </a:lnTo>
                <a:lnTo>
                  <a:pt x="596" y="470"/>
                </a:lnTo>
                <a:lnTo>
                  <a:pt x="595" y="470"/>
                </a:lnTo>
                <a:lnTo>
                  <a:pt x="595" y="471"/>
                </a:lnTo>
                <a:lnTo>
                  <a:pt x="591" y="470"/>
                </a:lnTo>
                <a:lnTo>
                  <a:pt x="589" y="469"/>
                </a:lnTo>
                <a:lnTo>
                  <a:pt x="586" y="469"/>
                </a:lnTo>
                <a:lnTo>
                  <a:pt x="585" y="471"/>
                </a:lnTo>
                <a:lnTo>
                  <a:pt x="578" y="471"/>
                </a:lnTo>
                <a:lnTo>
                  <a:pt x="577" y="470"/>
                </a:lnTo>
                <a:lnTo>
                  <a:pt x="577" y="469"/>
                </a:lnTo>
                <a:lnTo>
                  <a:pt x="575" y="468"/>
                </a:lnTo>
                <a:lnTo>
                  <a:pt x="572" y="465"/>
                </a:lnTo>
                <a:lnTo>
                  <a:pt x="570" y="464"/>
                </a:lnTo>
                <a:lnTo>
                  <a:pt x="564" y="464"/>
                </a:lnTo>
                <a:lnTo>
                  <a:pt x="562" y="465"/>
                </a:lnTo>
                <a:lnTo>
                  <a:pt x="560" y="467"/>
                </a:lnTo>
                <a:lnTo>
                  <a:pt x="560" y="470"/>
                </a:lnTo>
                <a:lnTo>
                  <a:pt x="561" y="470"/>
                </a:lnTo>
                <a:lnTo>
                  <a:pt x="561" y="471"/>
                </a:lnTo>
                <a:lnTo>
                  <a:pt x="559" y="471"/>
                </a:lnTo>
                <a:lnTo>
                  <a:pt x="558" y="473"/>
                </a:lnTo>
                <a:lnTo>
                  <a:pt x="558" y="475"/>
                </a:lnTo>
                <a:lnTo>
                  <a:pt x="556" y="474"/>
                </a:lnTo>
                <a:lnTo>
                  <a:pt x="553" y="474"/>
                </a:lnTo>
                <a:lnTo>
                  <a:pt x="553" y="476"/>
                </a:lnTo>
                <a:lnTo>
                  <a:pt x="552" y="476"/>
                </a:lnTo>
                <a:lnTo>
                  <a:pt x="550" y="477"/>
                </a:lnTo>
                <a:lnTo>
                  <a:pt x="549" y="477"/>
                </a:lnTo>
                <a:lnTo>
                  <a:pt x="547" y="482"/>
                </a:lnTo>
                <a:lnTo>
                  <a:pt x="546" y="483"/>
                </a:lnTo>
                <a:lnTo>
                  <a:pt x="543" y="483"/>
                </a:lnTo>
                <a:lnTo>
                  <a:pt x="543" y="481"/>
                </a:lnTo>
                <a:lnTo>
                  <a:pt x="540" y="481"/>
                </a:lnTo>
                <a:lnTo>
                  <a:pt x="539" y="482"/>
                </a:lnTo>
                <a:lnTo>
                  <a:pt x="531" y="482"/>
                </a:lnTo>
                <a:lnTo>
                  <a:pt x="528" y="485"/>
                </a:lnTo>
                <a:lnTo>
                  <a:pt x="527" y="486"/>
                </a:lnTo>
                <a:lnTo>
                  <a:pt x="523" y="486"/>
                </a:lnTo>
                <a:lnTo>
                  <a:pt x="521" y="488"/>
                </a:lnTo>
                <a:lnTo>
                  <a:pt x="521" y="487"/>
                </a:lnTo>
                <a:lnTo>
                  <a:pt x="518" y="489"/>
                </a:lnTo>
                <a:lnTo>
                  <a:pt x="518" y="491"/>
                </a:lnTo>
                <a:lnTo>
                  <a:pt x="516" y="493"/>
                </a:lnTo>
                <a:lnTo>
                  <a:pt x="515" y="498"/>
                </a:lnTo>
                <a:lnTo>
                  <a:pt x="515" y="499"/>
                </a:lnTo>
                <a:lnTo>
                  <a:pt x="511" y="499"/>
                </a:lnTo>
                <a:lnTo>
                  <a:pt x="511" y="500"/>
                </a:lnTo>
                <a:lnTo>
                  <a:pt x="510" y="501"/>
                </a:lnTo>
                <a:lnTo>
                  <a:pt x="508" y="501"/>
                </a:lnTo>
                <a:lnTo>
                  <a:pt x="508" y="504"/>
                </a:lnTo>
                <a:lnTo>
                  <a:pt x="506" y="504"/>
                </a:lnTo>
                <a:lnTo>
                  <a:pt x="506" y="505"/>
                </a:lnTo>
                <a:lnTo>
                  <a:pt x="505" y="506"/>
                </a:lnTo>
                <a:lnTo>
                  <a:pt x="503" y="506"/>
                </a:lnTo>
                <a:lnTo>
                  <a:pt x="499" y="508"/>
                </a:lnTo>
                <a:lnTo>
                  <a:pt x="497" y="508"/>
                </a:lnTo>
                <a:lnTo>
                  <a:pt x="494" y="507"/>
                </a:lnTo>
                <a:lnTo>
                  <a:pt x="488" y="507"/>
                </a:lnTo>
                <a:lnTo>
                  <a:pt x="485" y="506"/>
                </a:lnTo>
                <a:lnTo>
                  <a:pt x="485" y="504"/>
                </a:lnTo>
                <a:lnTo>
                  <a:pt x="484" y="501"/>
                </a:lnTo>
                <a:lnTo>
                  <a:pt x="479" y="501"/>
                </a:lnTo>
                <a:lnTo>
                  <a:pt x="479" y="500"/>
                </a:lnTo>
                <a:lnTo>
                  <a:pt x="474" y="498"/>
                </a:lnTo>
                <a:lnTo>
                  <a:pt x="474" y="496"/>
                </a:lnTo>
                <a:lnTo>
                  <a:pt x="475" y="495"/>
                </a:lnTo>
                <a:lnTo>
                  <a:pt x="479" y="495"/>
                </a:lnTo>
                <a:lnTo>
                  <a:pt x="479" y="494"/>
                </a:lnTo>
                <a:lnTo>
                  <a:pt x="481" y="494"/>
                </a:lnTo>
                <a:lnTo>
                  <a:pt x="480" y="493"/>
                </a:lnTo>
                <a:lnTo>
                  <a:pt x="480" y="492"/>
                </a:lnTo>
                <a:lnTo>
                  <a:pt x="481" y="491"/>
                </a:lnTo>
                <a:lnTo>
                  <a:pt x="481" y="487"/>
                </a:lnTo>
                <a:lnTo>
                  <a:pt x="480" y="486"/>
                </a:lnTo>
                <a:lnTo>
                  <a:pt x="480" y="483"/>
                </a:lnTo>
                <a:lnTo>
                  <a:pt x="481" y="482"/>
                </a:lnTo>
                <a:lnTo>
                  <a:pt x="481" y="481"/>
                </a:lnTo>
                <a:lnTo>
                  <a:pt x="484" y="480"/>
                </a:lnTo>
                <a:lnTo>
                  <a:pt x="484" y="479"/>
                </a:lnTo>
                <a:lnTo>
                  <a:pt x="485" y="477"/>
                </a:lnTo>
                <a:lnTo>
                  <a:pt x="485" y="475"/>
                </a:lnTo>
                <a:lnTo>
                  <a:pt x="484" y="473"/>
                </a:lnTo>
                <a:lnTo>
                  <a:pt x="484" y="471"/>
                </a:lnTo>
                <a:lnTo>
                  <a:pt x="483" y="470"/>
                </a:lnTo>
                <a:lnTo>
                  <a:pt x="483" y="465"/>
                </a:lnTo>
                <a:lnTo>
                  <a:pt x="481" y="464"/>
                </a:lnTo>
                <a:lnTo>
                  <a:pt x="478" y="463"/>
                </a:lnTo>
                <a:lnTo>
                  <a:pt x="475" y="461"/>
                </a:lnTo>
                <a:lnTo>
                  <a:pt x="472" y="461"/>
                </a:lnTo>
                <a:lnTo>
                  <a:pt x="471" y="462"/>
                </a:lnTo>
                <a:lnTo>
                  <a:pt x="468" y="462"/>
                </a:lnTo>
                <a:lnTo>
                  <a:pt x="468" y="461"/>
                </a:lnTo>
                <a:lnTo>
                  <a:pt x="467" y="461"/>
                </a:lnTo>
                <a:lnTo>
                  <a:pt x="466" y="459"/>
                </a:lnTo>
                <a:lnTo>
                  <a:pt x="465" y="459"/>
                </a:lnTo>
                <a:lnTo>
                  <a:pt x="463" y="457"/>
                </a:lnTo>
                <a:lnTo>
                  <a:pt x="462" y="457"/>
                </a:lnTo>
                <a:lnTo>
                  <a:pt x="462" y="456"/>
                </a:lnTo>
                <a:lnTo>
                  <a:pt x="461" y="455"/>
                </a:lnTo>
                <a:lnTo>
                  <a:pt x="460" y="455"/>
                </a:lnTo>
                <a:lnTo>
                  <a:pt x="456" y="451"/>
                </a:lnTo>
                <a:lnTo>
                  <a:pt x="454" y="450"/>
                </a:lnTo>
                <a:lnTo>
                  <a:pt x="446" y="450"/>
                </a:lnTo>
                <a:lnTo>
                  <a:pt x="444" y="452"/>
                </a:lnTo>
                <a:lnTo>
                  <a:pt x="440" y="452"/>
                </a:lnTo>
                <a:lnTo>
                  <a:pt x="438" y="451"/>
                </a:lnTo>
                <a:lnTo>
                  <a:pt x="437" y="451"/>
                </a:lnTo>
                <a:lnTo>
                  <a:pt x="436" y="448"/>
                </a:lnTo>
                <a:lnTo>
                  <a:pt x="437" y="445"/>
                </a:lnTo>
                <a:lnTo>
                  <a:pt x="438" y="444"/>
                </a:lnTo>
                <a:lnTo>
                  <a:pt x="443" y="440"/>
                </a:lnTo>
                <a:lnTo>
                  <a:pt x="446" y="440"/>
                </a:lnTo>
                <a:lnTo>
                  <a:pt x="446" y="439"/>
                </a:lnTo>
                <a:lnTo>
                  <a:pt x="447" y="439"/>
                </a:lnTo>
                <a:lnTo>
                  <a:pt x="448" y="438"/>
                </a:lnTo>
                <a:lnTo>
                  <a:pt x="452" y="438"/>
                </a:lnTo>
                <a:lnTo>
                  <a:pt x="452" y="437"/>
                </a:lnTo>
                <a:lnTo>
                  <a:pt x="450" y="437"/>
                </a:lnTo>
                <a:lnTo>
                  <a:pt x="452" y="436"/>
                </a:lnTo>
                <a:lnTo>
                  <a:pt x="453" y="433"/>
                </a:lnTo>
                <a:lnTo>
                  <a:pt x="465" y="427"/>
                </a:lnTo>
                <a:lnTo>
                  <a:pt x="466" y="427"/>
                </a:lnTo>
                <a:lnTo>
                  <a:pt x="466" y="426"/>
                </a:lnTo>
                <a:lnTo>
                  <a:pt x="465" y="425"/>
                </a:lnTo>
                <a:lnTo>
                  <a:pt x="466" y="425"/>
                </a:lnTo>
                <a:lnTo>
                  <a:pt x="467" y="426"/>
                </a:lnTo>
                <a:lnTo>
                  <a:pt x="469" y="426"/>
                </a:lnTo>
                <a:lnTo>
                  <a:pt x="473" y="425"/>
                </a:lnTo>
                <a:lnTo>
                  <a:pt x="474" y="424"/>
                </a:lnTo>
                <a:lnTo>
                  <a:pt x="475" y="421"/>
                </a:lnTo>
                <a:lnTo>
                  <a:pt x="477" y="421"/>
                </a:lnTo>
                <a:lnTo>
                  <a:pt x="478" y="420"/>
                </a:lnTo>
                <a:lnTo>
                  <a:pt x="479" y="420"/>
                </a:lnTo>
                <a:lnTo>
                  <a:pt x="480" y="421"/>
                </a:lnTo>
                <a:lnTo>
                  <a:pt x="483" y="419"/>
                </a:lnTo>
                <a:lnTo>
                  <a:pt x="486" y="419"/>
                </a:lnTo>
                <a:lnTo>
                  <a:pt x="486" y="420"/>
                </a:lnTo>
                <a:lnTo>
                  <a:pt x="487" y="420"/>
                </a:lnTo>
                <a:lnTo>
                  <a:pt x="487" y="416"/>
                </a:lnTo>
                <a:lnTo>
                  <a:pt x="491" y="416"/>
                </a:lnTo>
                <a:lnTo>
                  <a:pt x="491" y="415"/>
                </a:lnTo>
                <a:lnTo>
                  <a:pt x="490" y="415"/>
                </a:lnTo>
                <a:lnTo>
                  <a:pt x="490" y="414"/>
                </a:lnTo>
                <a:lnTo>
                  <a:pt x="485" y="414"/>
                </a:lnTo>
                <a:lnTo>
                  <a:pt x="485" y="413"/>
                </a:lnTo>
                <a:lnTo>
                  <a:pt x="486" y="413"/>
                </a:lnTo>
                <a:lnTo>
                  <a:pt x="485" y="412"/>
                </a:lnTo>
                <a:lnTo>
                  <a:pt x="485" y="407"/>
                </a:lnTo>
                <a:lnTo>
                  <a:pt x="486" y="406"/>
                </a:lnTo>
                <a:lnTo>
                  <a:pt x="485" y="405"/>
                </a:lnTo>
                <a:lnTo>
                  <a:pt x="484" y="402"/>
                </a:lnTo>
                <a:lnTo>
                  <a:pt x="483" y="402"/>
                </a:lnTo>
                <a:lnTo>
                  <a:pt x="480" y="405"/>
                </a:lnTo>
                <a:lnTo>
                  <a:pt x="481" y="406"/>
                </a:lnTo>
                <a:lnTo>
                  <a:pt x="480" y="406"/>
                </a:lnTo>
                <a:lnTo>
                  <a:pt x="480" y="407"/>
                </a:lnTo>
                <a:lnTo>
                  <a:pt x="479" y="407"/>
                </a:lnTo>
                <a:lnTo>
                  <a:pt x="480" y="408"/>
                </a:lnTo>
                <a:lnTo>
                  <a:pt x="475" y="408"/>
                </a:lnTo>
                <a:lnTo>
                  <a:pt x="474" y="406"/>
                </a:lnTo>
                <a:lnTo>
                  <a:pt x="473" y="405"/>
                </a:lnTo>
                <a:lnTo>
                  <a:pt x="472" y="405"/>
                </a:lnTo>
                <a:lnTo>
                  <a:pt x="472" y="403"/>
                </a:lnTo>
                <a:lnTo>
                  <a:pt x="467" y="403"/>
                </a:lnTo>
                <a:lnTo>
                  <a:pt x="467" y="402"/>
                </a:lnTo>
                <a:lnTo>
                  <a:pt x="468" y="402"/>
                </a:lnTo>
                <a:lnTo>
                  <a:pt x="468" y="397"/>
                </a:lnTo>
                <a:lnTo>
                  <a:pt x="467" y="399"/>
                </a:lnTo>
                <a:lnTo>
                  <a:pt x="467" y="401"/>
                </a:lnTo>
                <a:lnTo>
                  <a:pt x="466" y="402"/>
                </a:lnTo>
                <a:lnTo>
                  <a:pt x="465" y="402"/>
                </a:lnTo>
                <a:lnTo>
                  <a:pt x="463" y="403"/>
                </a:lnTo>
                <a:lnTo>
                  <a:pt x="462" y="403"/>
                </a:lnTo>
                <a:lnTo>
                  <a:pt x="462" y="402"/>
                </a:lnTo>
                <a:lnTo>
                  <a:pt x="459" y="401"/>
                </a:lnTo>
                <a:lnTo>
                  <a:pt x="460" y="403"/>
                </a:lnTo>
                <a:lnTo>
                  <a:pt x="459" y="403"/>
                </a:lnTo>
                <a:lnTo>
                  <a:pt x="455" y="405"/>
                </a:lnTo>
                <a:lnTo>
                  <a:pt x="452" y="405"/>
                </a:lnTo>
                <a:lnTo>
                  <a:pt x="449" y="403"/>
                </a:lnTo>
                <a:lnTo>
                  <a:pt x="448" y="403"/>
                </a:lnTo>
                <a:lnTo>
                  <a:pt x="447" y="405"/>
                </a:lnTo>
                <a:lnTo>
                  <a:pt x="441" y="405"/>
                </a:lnTo>
                <a:lnTo>
                  <a:pt x="441" y="406"/>
                </a:lnTo>
                <a:lnTo>
                  <a:pt x="440" y="406"/>
                </a:lnTo>
                <a:lnTo>
                  <a:pt x="438" y="407"/>
                </a:lnTo>
                <a:lnTo>
                  <a:pt x="437" y="407"/>
                </a:lnTo>
                <a:lnTo>
                  <a:pt x="429" y="405"/>
                </a:lnTo>
                <a:lnTo>
                  <a:pt x="428" y="403"/>
                </a:lnTo>
                <a:lnTo>
                  <a:pt x="426" y="403"/>
                </a:lnTo>
                <a:lnTo>
                  <a:pt x="426" y="400"/>
                </a:lnTo>
                <a:lnTo>
                  <a:pt x="428" y="400"/>
                </a:lnTo>
                <a:lnTo>
                  <a:pt x="428" y="399"/>
                </a:lnTo>
                <a:lnTo>
                  <a:pt x="426" y="400"/>
                </a:lnTo>
                <a:lnTo>
                  <a:pt x="424" y="400"/>
                </a:lnTo>
                <a:lnTo>
                  <a:pt x="422" y="399"/>
                </a:lnTo>
                <a:lnTo>
                  <a:pt x="421" y="399"/>
                </a:lnTo>
                <a:lnTo>
                  <a:pt x="419" y="396"/>
                </a:lnTo>
                <a:lnTo>
                  <a:pt x="418" y="395"/>
                </a:lnTo>
                <a:lnTo>
                  <a:pt x="417" y="396"/>
                </a:lnTo>
                <a:lnTo>
                  <a:pt x="415" y="395"/>
                </a:lnTo>
                <a:lnTo>
                  <a:pt x="411" y="391"/>
                </a:lnTo>
                <a:lnTo>
                  <a:pt x="411" y="394"/>
                </a:lnTo>
                <a:lnTo>
                  <a:pt x="407" y="394"/>
                </a:lnTo>
                <a:lnTo>
                  <a:pt x="406" y="393"/>
                </a:lnTo>
                <a:lnTo>
                  <a:pt x="406" y="391"/>
                </a:lnTo>
                <a:lnTo>
                  <a:pt x="407" y="390"/>
                </a:lnTo>
                <a:lnTo>
                  <a:pt x="415" y="390"/>
                </a:lnTo>
                <a:lnTo>
                  <a:pt x="417" y="388"/>
                </a:lnTo>
                <a:lnTo>
                  <a:pt x="418" y="388"/>
                </a:lnTo>
                <a:lnTo>
                  <a:pt x="418" y="387"/>
                </a:lnTo>
                <a:lnTo>
                  <a:pt x="417" y="384"/>
                </a:lnTo>
                <a:lnTo>
                  <a:pt x="415" y="384"/>
                </a:lnTo>
                <a:lnTo>
                  <a:pt x="412" y="383"/>
                </a:lnTo>
                <a:lnTo>
                  <a:pt x="406" y="381"/>
                </a:lnTo>
                <a:lnTo>
                  <a:pt x="404" y="381"/>
                </a:lnTo>
                <a:lnTo>
                  <a:pt x="403" y="382"/>
                </a:lnTo>
                <a:lnTo>
                  <a:pt x="403" y="385"/>
                </a:lnTo>
                <a:lnTo>
                  <a:pt x="401" y="383"/>
                </a:lnTo>
                <a:lnTo>
                  <a:pt x="401" y="382"/>
                </a:lnTo>
                <a:lnTo>
                  <a:pt x="396" y="377"/>
                </a:lnTo>
                <a:lnTo>
                  <a:pt x="396" y="376"/>
                </a:lnTo>
                <a:lnTo>
                  <a:pt x="398" y="378"/>
                </a:lnTo>
                <a:lnTo>
                  <a:pt x="406" y="377"/>
                </a:lnTo>
                <a:lnTo>
                  <a:pt x="407" y="378"/>
                </a:lnTo>
                <a:lnTo>
                  <a:pt x="410" y="379"/>
                </a:lnTo>
                <a:lnTo>
                  <a:pt x="413" y="379"/>
                </a:lnTo>
                <a:lnTo>
                  <a:pt x="417" y="381"/>
                </a:lnTo>
                <a:lnTo>
                  <a:pt x="425" y="381"/>
                </a:lnTo>
                <a:lnTo>
                  <a:pt x="428" y="383"/>
                </a:lnTo>
                <a:lnTo>
                  <a:pt x="431" y="383"/>
                </a:lnTo>
                <a:lnTo>
                  <a:pt x="434" y="381"/>
                </a:lnTo>
                <a:lnTo>
                  <a:pt x="434" y="379"/>
                </a:lnTo>
                <a:lnTo>
                  <a:pt x="438" y="375"/>
                </a:lnTo>
                <a:lnTo>
                  <a:pt x="441" y="375"/>
                </a:lnTo>
                <a:lnTo>
                  <a:pt x="443" y="372"/>
                </a:lnTo>
                <a:lnTo>
                  <a:pt x="443" y="371"/>
                </a:lnTo>
                <a:lnTo>
                  <a:pt x="441" y="373"/>
                </a:lnTo>
                <a:lnTo>
                  <a:pt x="438" y="373"/>
                </a:lnTo>
                <a:lnTo>
                  <a:pt x="434" y="377"/>
                </a:lnTo>
                <a:lnTo>
                  <a:pt x="430" y="377"/>
                </a:lnTo>
                <a:lnTo>
                  <a:pt x="428" y="376"/>
                </a:lnTo>
                <a:lnTo>
                  <a:pt x="426" y="375"/>
                </a:lnTo>
                <a:lnTo>
                  <a:pt x="425" y="376"/>
                </a:lnTo>
                <a:lnTo>
                  <a:pt x="423" y="376"/>
                </a:lnTo>
                <a:lnTo>
                  <a:pt x="422" y="377"/>
                </a:lnTo>
                <a:lnTo>
                  <a:pt x="421" y="375"/>
                </a:lnTo>
                <a:lnTo>
                  <a:pt x="421" y="373"/>
                </a:lnTo>
                <a:lnTo>
                  <a:pt x="417" y="373"/>
                </a:lnTo>
                <a:lnTo>
                  <a:pt x="417" y="372"/>
                </a:lnTo>
                <a:lnTo>
                  <a:pt x="416" y="371"/>
                </a:lnTo>
                <a:lnTo>
                  <a:pt x="416" y="370"/>
                </a:lnTo>
                <a:lnTo>
                  <a:pt x="415" y="369"/>
                </a:lnTo>
                <a:lnTo>
                  <a:pt x="415" y="366"/>
                </a:lnTo>
                <a:lnTo>
                  <a:pt x="413" y="366"/>
                </a:lnTo>
                <a:lnTo>
                  <a:pt x="413" y="363"/>
                </a:lnTo>
                <a:lnTo>
                  <a:pt x="415" y="360"/>
                </a:lnTo>
                <a:lnTo>
                  <a:pt x="416" y="359"/>
                </a:lnTo>
                <a:lnTo>
                  <a:pt x="416" y="357"/>
                </a:lnTo>
                <a:lnTo>
                  <a:pt x="417" y="356"/>
                </a:lnTo>
                <a:lnTo>
                  <a:pt x="416" y="354"/>
                </a:lnTo>
                <a:lnTo>
                  <a:pt x="413" y="353"/>
                </a:lnTo>
                <a:lnTo>
                  <a:pt x="413" y="352"/>
                </a:lnTo>
                <a:lnTo>
                  <a:pt x="415" y="350"/>
                </a:lnTo>
                <a:lnTo>
                  <a:pt x="413" y="348"/>
                </a:lnTo>
                <a:lnTo>
                  <a:pt x="412" y="350"/>
                </a:lnTo>
                <a:lnTo>
                  <a:pt x="413" y="350"/>
                </a:lnTo>
                <a:lnTo>
                  <a:pt x="412" y="352"/>
                </a:lnTo>
                <a:lnTo>
                  <a:pt x="412" y="354"/>
                </a:lnTo>
                <a:lnTo>
                  <a:pt x="415" y="354"/>
                </a:lnTo>
                <a:lnTo>
                  <a:pt x="415" y="357"/>
                </a:lnTo>
                <a:lnTo>
                  <a:pt x="413" y="359"/>
                </a:lnTo>
                <a:lnTo>
                  <a:pt x="412" y="360"/>
                </a:lnTo>
                <a:lnTo>
                  <a:pt x="411" y="360"/>
                </a:lnTo>
                <a:lnTo>
                  <a:pt x="410" y="362"/>
                </a:lnTo>
                <a:lnTo>
                  <a:pt x="410" y="364"/>
                </a:lnTo>
                <a:lnTo>
                  <a:pt x="412" y="366"/>
                </a:lnTo>
                <a:lnTo>
                  <a:pt x="412" y="371"/>
                </a:lnTo>
                <a:lnTo>
                  <a:pt x="410" y="373"/>
                </a:lnTo>
                <a:lnTo>
                  <a:pt x="406" y="373"/>
                </a:lnTo>
                <a:lnTo>
                  <a:pt x="403" y="371"/>
                </a:lnTo>
                <a:lnTo>
                  <a:pt x="400" y="371"/>
                </a:lnTo>
                <a:lnTo>
                  <a:pt x="399" y="372"/>
                </a:lnTo>
                <a:lnTo>
                  <a:pt x="399" y="373"/>
                </a:lnTo>
                <a:lnTo>
                  <a:pt x="394" y="373"/>
                </a:lnTo>
                <a:lnTo>
                  <a:pt x="394" y="371"/>
                </a:lnTo>
                <a:lnTo>
                  <a:pt x="397" y="366"/>
                </a:lnTo>
                <a:lnTo>
                  <a:pt x="398" y="365"/>
                </a:lnTo>
                <a:lnTo>
                  <a:pt x="398" y="364"/>
                </a:lnTo>
                <a:lnTo>
                  <a:pt x="400" y="362"/>
                </a:lnTo>
                <a:lnTo>
                  <a:pt x="399" y="360"/>
                </a:lnTo>
                <a:lnTo>
                  <a:pt x="399" y="363"/>
                </a:lnTo>
                <a:lnTo>
                  <a:pt x="398" y="363"/>
                </a:lnTo>
                <a:lnTo>
                  <a:pt x="398" y="364"/>
                </a:lnTo>
                <a:lnTo>
                  <a:pt x="397" y="364"/>
                </a:lnTo>
                <a:lnTo>
                  <a:pt x="396" y="365"/>
                </a:lnTo>
                <a:lnTo>
                  <a:pt x="396" y="366"/>
                </a:lnTo>
                <a:lnTo>
                  <a:pt x="393" y="364"/>
                </a:lnTo>
                <a:lnTo>
                  <a:pt x="393" y="363"/>
                </a:lnTo>
                <a:lnTo>
                  <a:pt x="392" y="363"/>
                </a:lnTo>
                <a:lnTo>
                  <a:pt x="393" y="364"/>
                </a:lnTo>
                <a:lnTo>
                  <a:pt x="393" y="365"/>
                </a:lnTo>
                <a:lnTo>
                  <a:pt x="394" y="366"/>
                </a:lnTo>
                <a:lnTo>
                  <a:pt x="396" y="366"/>
                </a:lnTo>
                <a:lnTo>
                  <a:pt x="396" y="367"/>
                </a:lnTo>
                <a:lnTo>
                  <a:pt x="394" y="369"/>
                </a:lnTo>
                <a:lnTo>
                  <a:pt x="394" y="370"/>
                </a:lnTo>
                <a:lnTo>
                  <a:pt x="393" y="370"/>
                </a:lnTo>
                <a:lnTo>
                  <a:pt x="392" y="372"/>
                </a:lnTo>
                <a:lnTo>
                  <a:pt x="392" y="373"/>
                </a:lnTo>
                <a:lnTo>
                  <a:pt x="391" y="373"/>
                </a:lnTo>
                <a:lnTo>
                  <a:pt x="388" y="375"/>
                </a:lnTo>
                <a:lnTo>
                  <a:pt x="386" y="375"/>
                </a:lnTo>
                <a:lnTo>
                  <a:pt x="385" y="373"/>
                </a:lnTo>
                <a:lnTo>
                  <a:pt x="376" y="373"/>
                </a:lnTo>
                <a:lnTo>
                  <a:pt x="374" y="375"/>
                </a:lnTo>
                <a:lnTo>
                  <a:pt x="373" y="375"/>
                </a:lnTo>
                <a:lnTo>
                  <a:pt x="372" y="376"/>
                </a:lnTo>
                <a:lnTo>
                  <a:pt x="370" y="376"/>
                </a:lnTo>
                <a:lnTo>
                  <a:pt x="368" y="377"/>
                </a:lnTo>
                <a:lnTo>
                  <a:pt x="365" y="377"/>
                </a:lnTo>
                <a:lnTo>
                  <a:pt x="363" y="379"/>
                </a:lnTo>
                <a:lnTo>
                  <a:pt x="363" y="381"/>
                </a:lnTo>
                <a:lnTo>
                  <a:pt x="365" y="382"/>
                </a:lnTo>
                <a:lnTo>
                  <a:pt x="365" y="383"/>
                </a:lnTo>
                <a:lnTo>
                  <a:pt x="366" y="384"/>
                </a:lnTo>
                <a:lnTo>
                  <a:pt x="365" y="384"/>
                </a:lnTo>
                <a:lnTo>
                  <a:pt x="365" y="387"/>
                </a:lnTo>
                <a:lnTo>
                  <a:pt x="362" y="389"/>
                </a:lnTo>
                <a:lnTo>
                  <a:pt x="362" y="390"/>
                </a:lnTo>
                <a:lnTo>
                  <a:pt x="360" y="390"/>
                </a:lnTo>
                <a:lnTo>
                  <a:pt x="360" y="391"/>
                </a:lnTo>
                <a:lnTo>
                  <a:pt x="361" y="391"/>
                </a:lnTo>
                <a:lnTo>
                  <a:pt x="361" y="393"/>
                </a:lnTo>
                <a:lnTo>
                  <a:pt x="360" y="395"/>
                </a:lnTo>
                <a:lnTo>
                  <a:pt x="356" y="400"/>
                </a:lnTo>
                <a:lnTo>
                  <a:pt x="355" y="401"/>
                </a:lnTo>
                <a:lnTo>
                  <a:pt x="355" y="402"/>
                </a:lnTo>
                <a:lnTo>
                  <a:pt x="354" y="402"/>
                </a:lnTo>
                <a:lnTo>
                  <a:pt x="354" y="403"/>
                </a:lnTo>
                <a:lnTo>
                  <a:pt x="353" y="406"/>
                </a:lnTo>
                <a:lnTo>
                  <a:pt x="353" y="407"/>
                </a:lnTo>
                <a:lnTo>
                  <a:pt x="348" y="412"/>
                </a:lnTo>
                <a:lnTo>
                  <a:pt x="343" y="418"/>
                </a:lnTo>
                <a:lnTo>
                  <a:pt x="341" y="420"/>
                </a:lnTo>
                <a:lnTo>
                  <a:pt x="337" y="422"/>
                </a:lnTo>
                <a:lnTo>
                  <a:pt x="337" y="419"/>
                </a:lnTo>
                <a:lnTo>
                  <a:pt x="336" y="419"/>
                </a:lnTo>
                <a:lnTo>
                  <a:pt x="336" y="422"/>
                </a:lnTo>
                <a:lnTo>
                  <a:pt x="335" y="422"/>
                </a:lnTo>
                <a:lnTo>
                  <a:pt x="332" y="421"/>
                </a:lnTo>
                <a:lnTo>
                  <a:pt x="331" y="420"/>
                </a:lnTo>
                <a:lnTo>
                  <a:pt x="330" y="421"/>
                </a:lnTo>
                <a:lnTo>
                  <a:pt x="330" y="425"/>
                </a:lnTo>
                <a:lnTo>
                  <a:pt x="329" y="425"/>
                </a:lnTo>
                <a:lnTo>
                  <a:pt x="329" y="427"/>
                </a:lnTo>
                <a:lnTo>
                  <a:pt x="328" y="426"/>
                </a:lnTo>
                <a:lnTo>
                  <a:pt x="324" y="426"/>
                </a:lnTo>
                <a:lnTo>
                  <a:pt x="323" y="427"/>
                </a:lnTo>
                <a:lnTo>
                  <a:pt x="323" y="430"/>
                </a:lnTo>
                <a:lnTo>
                  <a:pt x="325" y="430"/>
                </a:lnTo>
                <a:lnTo>
                  <a:pt x="325" y="432"/>
                </a:lnTo>
                <a:lnTo>
                  <a:pt x="323" y="432"/>
                </a:lnTo>
                <a:lnTo>
                  <a:pt x="323" y="433"/>
                </a:lnTo>
                <a:lnTo>
                  <a:pt x="322" y="433"/>
                </a:lnTo>
                <a:lnTo>
                  <a:pt x="320" y="434"/>
                </a:lnTo>
                <a:lnTo>
                  <a:pt x="320" y="432"/>
                </a:lnTo>
                <a:lnTo>
                  <a:pt x="319" y="430"/>
                </a:lnTo>
                <a:lnTo>
                  <a:pt x="318" y="430"/>
                </a:lnTo>
                <a:lnTo>
                  <a:pt x="318" y="425"/>
                </a:lnTo>
                <a:lnTo>
                  <a:pt x="319" y="425"/>
                </a:lnTo>
                <a:lnTo>
                  <a:pt x="317" y="422"/>
                </a:lnTo>
                <a:lnTo>
                  <a:pt x="317" y="421"/>
                </a:lnTo>
                <a:lnTo>
                  <a:pt x="316" y="422"/>
                </a:lnTo>
                <a:lnTo>
                  <a:pt x="317" y="422"/>
                </a:lnTo>
                <a:lnTo>
                  <a:pt x="317" y="425"/>
                </a:lnTo>
                <a:lnTo>
                  <a:pt x="316" y="426"/>
                </a:lnTo>
                <a:lnTo>
                  <a:pt x="316" y="428"/>
                </a:lnTo>
                <a:lnTo>
                  <a:pt x="317" y="428"/>
                </a:lnTo>
                <a:lnTo>
                  <a:pt x="314" y="430"/>
                </a:lnTo>
                <a:lnTo>
                  <a:pt x="314" y="438"/>
                </a:lnTo>
                <a:lnTo>
                  <a:pt x="316" y="438"/>
                </a:lnTo>
                <a:lnTo>
                  <a:pt x="316" y="439"/>
                </a:lnTo>
                <a:lnTo>
                  <a:pt x="318" y="439"/>
                </a:lnTo>
                <a:lnTo>
                  <a:pt x="318" y="438"/>
                </a:lnTo>
                <a:lnTo>
                  <a:pt x="319" y="437"/>
                </a:lnTo>
                <a:lnTo>
                  <a:pt x="319" y="438"/>
                </a:lnTo>
                <a:lnTo>
                  <a:pt x="314" y="443"/>
                </a:lnTo>
                <a:lnTo>
                  <a:pt x="316" y="444"/>
                </a:lnTo>
                <a:lnTo>
                  <a:pt x="316" y="445"/>
                </a:lnTo>
                <a:lnTo>
                  <a:pt x="317" y="445"/>
                </a:lnTo>
                <a:lnTo>
                  <a:pt x="317" y="443"/>
                </a:lnTo>
                <a:lnTo>
                  <a:pt x="318" y="443"/>
                </a:lnTo>
                <a:lnTo>
                  <a:pt x="318" y="444"/>
                </a:lnTo>
                <a:lnTo>
                  <a:pt x="319" y="444"/>
                </a:lnTo>
                <a:lnTo>
                  <a:pt x="319" y="445"/>
                </a:lnTo>
                <a:lnTo>
                  <a:pt x="320" y="444"/>
                </a:lnTo>
                <a:lnTo>
                  <a:pt x="322" y="445"/>
                </a:lnTo>
                <a:lnTo>
                  <a:pt x="322" y="446"/>
                </a:lnTo>
                <a:lnTo>
                  <a:pt x="320" y="446"/>
                </a:lnTo>
                <a:lnTo>
                  <a:pt x="320" y="448"/>
                </a:lnTo>
                <a:lnTo>
                  <a:pt x="322" y="449"/>
                </a:lnTo>
                <a:lnTo>
                  <a:pt x="322" y="453"/>
                </a:lnTo>
                <a:lnTo>
                  <a:pt x="320" y="453"/>
                </a:lnTo>
                <a:lnTo>
                  <a:pt x="320" y="457"/>
                </a:lnTo>
                <a:lnTo>
                  <a:pt x="319" y="458"/>
                </a:lnTo>
                <a:lnTo>
                  <a:pt x="318" y="458"/>
                </a:lnTo>
                <a:lnTo>
                  <a:pt x="318" y="457"/>
                </a:lnTo>
                <a:lnTo>
                  <a:pt x="317" y="457"/>
                </a:lnTo>
                <a:lnTo>
                  <a:pt x="318" y="455"/>
                </a:lnTo>
                <a:lnTo>
                  <a:pt x="318" y="452"/>
                </a:lnTo>
                <a:lnTo>
                  <a:pt x="313" y="448"/>
                </a:lnTo>
                <a:lnTo>
                  <a:pt x="307" y="445"/>
                </a:lnTo>
                <a:lnTo>
                  <a:pt x="303" y="445"/>
                </a:lnTo>
                <a:lnTo>
                  <a:pt x="303" y="446"/>
                </a:lnTo>
                <a:lnTo>
                  <a:pt x="298" y="446"/>
                </a:lnTo>
                <a:lnTo>
                  <a:pt x="298" y="448"/>
                </a:lnTo>
                <a:lnTo>
                  <a:pt x="297" y="448"/>
                </a:lnTo>
                <a:lnTo>
                  <a:pt x="297" y="449"/>
                </a:lnTo>
                <a:lnTo>
                  <a:pt x="295" y="449"/>
                </a:lnTo>
                <a:lnTo>
                  <a:pt x="294" y="450"/>
                </a:lnTo>
                <a:lnTo>
                  <a:pt x="292" y="450"/>
                </a:lnTo>
                <a:lnTo>
                  <a:pt x="289" y="452"/>
                </a:lnTo>
                <a:lnTo>
                  <a:pt x="288" y="452"/>
                </a:lnTo>
                <a:lnTo>
                  <a:pt x="288" y="453"/>
                </a:lnTo>
                <a:lnTo>
                  <a:pt x="287" y="455"/>
                </a:lnTo>
                <a:lnTo>
                  <a:pt x="286" y="455"/>
                </a:lnTo>
                <a:lnTo>
                  <a:pt x="285" y="453"/>
                </a:lnTo>
                <a:lnTo>
                  <a:pt x="283" y="453"/>
                </a:lnTo>
                <a:lnTo>
                  <a:pt x="282" y="452"/>
                </a:lnTo>
                <a:lnTo>
                  <a:pt x="281" y="452"/>
                </a:lnTo>
                <a:lnTo>
                  <a:pt x="281" y="453"/>
                </a:lnTo>
                <a:lnTo>
                  <a:pt x="280" y="455"/>
                </a:lnTo>
                <a:lnTo>
                  <a:pt x="280" y="456"/>
                </a:lnTo>
                <a:lnTo>
                  <a:pt x="281" y="457"/>
                </a:lnTo>
                <a:lnTo>
                  <a:pt x="280" y="457"/>
                </a:lnTo>
                <a:lnTo>
                  <a:pt x="279" y="458"/>
                </a:lnTo>
                <a:lnTo>
                  <a:pt x="278" y="458"/>
                </a:lnTo>
                <a:lnTo>
                  <a:pt x="272" y="457"/>
                </a:lnTo>
                <a:lnTo>
                  <a:pt x="268" y="455"/>
                </a:lnTo>
                <a:lnTo>
                  <a:pt x="264" y="453"/>
                </a:lnTo>
                <a:lnTo>
                  <a:pt x="263" y="453"/>
                </a:lnTo>
                <a:lnTo>
                  <a:pt x="262" y="452"/>
                </a:lnTo>
                <a:lnTo>
                  <a:pt x="261" y="452"/>
                </a:lnTo>
                <a:lnTo>
                  <a:pt x="261" y="451"/>
                </a:lnTo>
                <a:lnTo>
                  <a:pt x="260" y="448"/>
                </a:lnTo>
                <a:lnTo>
                  <a:pt x="260" y="446"/>
                </a:lnTo>
                <a:lnTo>
                  <a:pt x="257" y="444"/>
                </a:lnTo>
                <a:lnTo>
                  <a:pt x="256" y="444"/>
                </a:lnTo>
                <a:lnTo>
                  <a:pt x="256" y="442"/>
                </a:lnTo>
                <a:lnTo>
                  <a:pt x="258" y="440"/>
                </a:lnTo>
                <a:lnTo>
                  <a:pt x="262" y="440"/>
                </a:lnTo>
                <a:lnTo>
                  <a:pt x="264" y="442"/>
                </a:lnTo>
                <a:lnTo>
                  <a:pt x="268" y="442"/>
                </a:lnTo>
                <a:lnTo>
                  <a:pt x="269" y="440"/>
                </a:lnTo>
                <a:lnTo>
                  <a:pt x="268" y="438"/>
                </a:lnTo>
                <a:lnTo>
                  <a:pt x="269" y="438"/>
                </a:lnTo>
                <a:lnTo>
                  <a:pt x="269" y="437"/>
                </a:lnTo>
                <a:lnTo>
                  <a:pt x="270" y="437"/>
                </a:lnTo>
                <a:lnTo>
                  <a:pt x="269" y="436"/>
                </a:lnTo>
                <a:lnTo>
                  <a:pt x="269" y="433"/>
                </a:lnTo>
                <a:lnTo>
                  <a:pt x="268" y="433"/>
                </a:lnTo>
                <a:lnTo>
                  <a:pt x="268" y="432"/>
                </a:lnTo>
                <a:lnTo>
                  <a:pt x="267" y="432"/>
                </a:lnTo>
                <a:lnTo>
                  <a:pt x="268" y="431"/>
                </a:lnTo>
                <a:lnTo>
                  <a:pt x="268" y="430"/>
                </a:lnTo>
                <a:lnTo>
                  <a:pt x="269" y="430"/>
                </a:lnTo>
                <a:lnTo>
                  <a:pt x="269" y="428"/>
                </a:lnTo>
                <a:lnTo>
                  <a:pt x="272" y="428"/>
                </a:lnTo>
                <a:lnTo>
                  <a:pt x="272" y="427"/>
                </a:lnTo>
                <a:lnTo>
                  <a:pt x="270" y="427"/>
                </a:lnTo>
                <a:lnTo>
                  <a:pt x="272" y="426"/>
                </a:lnTo>
                <a:lnTo>
                  <a:pt x="274" y="426"/>
                </a:lnTo>
                <a:lnTo>
                  <a:pt x="275" y="425"/>
                </a:lnTo>
                <a:lnTo>
                  <a:pt x="275" y="422"/>
                </a:lnTo>
                <a:lnTo>
                  <a:pt x="278" y="422"/>
                </a:lnTo>
                <a:lnTo>
                  <a:pt x="278" y="421"/>
                </a:lnTo>
                <a:lnTo>
                  <a:pt x="279" y="421"/>
                </a:lnTo>
                <a:lnTo>
                  <a:pt x="279" y="418"/>
                </a:lnTo>
                <a:lnTo>
                  <a:pt x="278" y="416"/>
                </a:lnTo>
                <a:lnTo>
                  <a:pt x="278" y="415"/>
                </a:lnTo>
                <a:lnTo>
                  <a:pt x="279" y="414"/>
                </a:lnTo>
                <a:lnTo>
                  <a:pt x="287" y="412"/>
                </a:lnTo>
                <a:lnTo>
                  <a:pt x="288" y="412"/>
                </a:lnTo>
                <a:lnTo>
                  <a:pt x="288" y="410"/>
                </a:lnTo>
                <a:lnTo>
                  <a:pt x="287" y="407"/>
                </a:lnTo>
                <a:lnTo>
                  <a:pt x="287" y="405"/>
                </a:lnTo>
                <a:lnTo>
                  <a:pt x="289" y="402"/>
                </a:lnTo>
                <a:lnTo>
                  <a:pt x="291" y="400"/>
                </a:lnTo>
                <a:lnTo>
                  <a:pt x="287" y="396"/>
                </a:lnTo>
                <a:lnTo>
                  <a:pt x="287" y="391"/>
                </a:lnTo>
                <a:lnTo>
                  <a:pt x="286" y="389"/>
                </a:lnTo>
                <a:lnTo>
                  <a:pt x="286" y="385"/>
                </a:lnTo>
                <a:lnTo>
                  <a:pt x="287" y="383"/>
                </a:lnTo>
                <a:lnTo>
                  <a:pt x="291" y="382"/>
                </a:lnTo>
                <a:lnTo>
                  <a:pt x="292" y="381"/>
                </a:lnTo>
                <a:lnTo>
                  <a:pt x="293" y="381"/>
                </a:lnTo>
                <a:lnTo>
                  <a:pt x="297" y="378"/>
                </a:lnTo>
                <a:lnTo>
                  <a:pt x="298" y="378"/>
                </a:lnTo>
                <a:lnTo>
                  <a:pt x="298" y="389"/>
                </a:lnTo>
                <a:lnTo>
                  <a:pt x="299" y="389"/>
                </a:lnTo>
                <a:lnTo>
                  <a:pt x="301" y="387"/>
                </a:lnTo>
                <a:lnTo>
                  <a:pt x="301" y="384"/>
                </a:lnTo>
                <a:lnTo>
                  <a:pt x="303" y="383"/>
                </a:lnTo>
                <a:lnTo>
                  <a:pt x="304" y="385"/>
                </a:lnTo>
                <a:lnTo>
                  <a:pt x="305" y="385"/>
                </a:lnTo>
                <a:lnTo>
                  <a:pt x="308" y="382"/>
                </a:lnTo>
                <a:lnTo>
                  <a:pt x="310" y="382"/>
                </a:lnTo>
                <a:lnTo>
                  <a:pt x="310" y="385"/>
                </a:lnTo>
                <a:lnTo>
                  <a:pt x="312" y="385"/>
                </a:lnTo>
                <a:lnTo>
                  <a:pt x="312" y="387"/>
                </a:lnTo>
                <a:lnTo>
                  <a:pt x="313" y="387"/>
                </a:lnTo>
                <a:lnTo>
                  <a:pt x="313" y="388"/>
                </a:lnTo>
                <a:lnTo>
                  <a:pt x="314" y="389"/>
                </a:lnTo>
                <a:lnTo>
                  <a:pt x="317" y="389"/>
                </a:lnTo>
                <a:lnTo>
                  <a:pt x="317" y="385"/>
                </a:lnTo>
                <a:lnTo>
                  <a:pt x="319" y="385"/>
                </a:lnTo>
                <a:lnTo>
                  <a:pt x="319" y="383"/>
                </a:lnTo>
                <a:lnTo>
                  <a:pt x="320" y="383"/>
                </a:lnTo>
                <a:lnTo>
                  <a:pt x="323" y="385"/>
                </a:lnTo>
                <a:lnTo>
                  <a:pt x="323" y="387"/>
                </a:lnTo>
                <a:lnTo>
                  <a:pt x="324" y="388"/>
                </a:lnTo>
                <a:lnTo>
                  <a:pt x="324" y="390"/>
                </a:lnTo>
                <a:lnTo>
                  <a:pt x="325" y="390"/>
                </a:lnTo>
                <a:lnTo>
                  <a:pt x="326" y="389"/>
                </a:lnTo>
                <a:lnTo>
                  <a:pt x="335" y="389"/>
                </a:lnTo>
                <a:lnTo>
                  <a:pt x="336" y="388"/>
                </a:lnTo>
                <a:lnTo>
                  <a:pt x="337" y="385"/>
                </a:lnTo>
                <a:lnTo>
                  <a:pt x="335" y="385"/>
                </a:lnTo>
                <a:lnTo>
                  <a:pt x="335" y="384"/>
                </a:lnTo>
                <a:lnTo>
                  <a:pt x="332" y="383"/>
                </a:lnTo>
                <a:lnTo>
                  <a:pt x="332" y="381"/>
                </a:lnTo>
                <a:lnTo>
                  <a:pt x="331" y="381"/>
                </a:lnTo>
                <a:lnTo>
                  <a:pt x="331" y="382"/>
                </a:lnTo>
                <a:lnTo>
                  <a:pt x="330" y="382"/>
                </a:lnTo>
                <a:lnTo>
                  <a:pt x="330" y="381"/>
                </a:lnTo>
                <a:lnTo>
                  <a:pt x="328" y="379"/>
                </a:lnTo>
                <a:lnTo>
                  <a:pt x="328" y="377"/>
                </a:lnTo>
                <a:lnTo>
                  <a:pt x="329" y="377"/>
                </a:lnTo>
                <a:lnTo>
                  <a:pt x="330" y="376"/>
                </a:lnTo>
                <a:lnTo>
                  <a:pt x="329" y="375"/>
                </a:lnTo>
                <a:lnTo>
                  <a:pt x="329" y="371"/>
                </a:lnTo>
                <a:lnTo>
                  <a:pt x="330" y="367"/>
                </a:lnTo>
                <a:lnTo>
                  <a:pt x="330" y="365"/>
                </a:lnTo>
                <a:lnTo>
                  <a:pt x="329" y="365"/>
                </a:lnTo>
                <a:lnTo>
                  <a:pt x="329" y="362"/>
                </a:lnTo>
                <a:lnTo>
                  <a:pt x="326" y="362"/>
                </a:lnTo>
                <a:lnTo>
                  <a:pt x="326" y="360"/>
                </a:lnTo>
                <a:lnTo>
                  <a:pt x="325" y="359"/>
                </a:lnTo>
                <a:lnTo>
                  <a:pt x="322" y="359"/>
                </a:lnTo>
                <a:lnTo>
                  <a:pt x="319" y="357"/>
                </a:lnTo>
                <a:lnTo>
                  <a:pt x="319" y="356"/>
                </a:lnTo>
                <a:lnTo>
                  <a:pt x="316" y="356"/>
                </a:lnTo>
                <a:lnTo>
                  <a:pt x="316" y="354"/>
                </a:lnTo>
                <a:lnTo>
                  <a:pt x="313" y="354"/>
                </a:lnTo>
                <a:lnTo>
                  <a:pt x="313" y="350"/>
                </a:lnTo>
                <a:lnTo>
                  <a:pt x="314" y="348"/>
                </a:lnTo>
                <a:lnTo>
                  <a:pt x="314" y="345"/>
                </a:lnTo>
                <a:lnTo>
                  <a:pt x="312" y="345"/>
                </a:lnTo>
                <a:lnTo>
                  <a:pt x="312" y="346"/>
                </a:lnTo>
                <a:lnTo>
                  <a:pt x="311" y="346"/>
                </a:lnTo>
                <a:lnTo>
                  <a:pt x="310" y="344"/>
                </a:lnTo>
                <a:lnTo>
                  <a:pt x="310" y="342"/>
                </a:lnTo>
                <a:lnTo>
                  <a:pt x="312" y="342"/>
                </a:lnTo>
                <a:lnTo>
                  <a:pt x="312" y="341"/>
                </a:lnTo>
                <a:lnTo>
                  <a:pt x="313" y="340"/>
                </a:lnTo>
                <a:lnTo>
                  <a:pt x="312" y="336"/>
                </a:lnTo>
                <a:lnTo>
                  <a:pt x="312" y="335"/>
                </a:lnTo>
                <a:lnTo>
                  <a:pt x="313" y="335"/>
                </a:lnTo>
                <a:lnTo>
                  <a:pt x="314" y="334"/>
                </a:lnTo>
                <a:lnTo>
                  <a:pt x="314" y="333"/>
                </a:lnTo>
                <a:lnTo>
                  <a:pt x="313" y="332"/>
                </a:lnTo>
                <a:lnTo>
                  <a:pt x="313" y="330"/>
                </a:lnTo>
                <a:lnTo>
                  <a:pt x="312" y="329"/>
                </a:lnTo>
                <a:lnTo>
                  <a:pt x="310" y="329"/>
                </a:lnTo>
                <a:lnTo>
                  <a:pt x="310" y="330"/>
                </a:lnTo>
                <a:lnTo>
                  <a:pt x="308" y="332"/>
                </a:lnTo>
                <a:lnTo>
                  <a:pt x="308" y="333"/>
                </a:lnTo>
                <a:lnTo>
                  <a:pt x="306" y="333"/>
                </a:lnTo>
                <a:lnTo>
                  <a:pt x="306" y="332"/>
                </a:lnTo>
                <a:lnTo>
                  <a:pt x="305" y="332"/>
                </a:lnTo>
                <a:lnTo>
                  <a:pt x="305" y="328"/>
                </a:lnTo>
                <a:lnTo>
                  <a:pt x="304" y="327"/>
                </a:lnTo>
                <a:lnTo>
                  <a:pt x="303" y="327"/>
                </a:lnTo>
                <a:lnTo>
                  <a:pt x="301" y="326"/>
                </a:lnTo>
                <a:lnTo>
                  <a:pt x="301" y="325"/>
                </a:lnTo>
                <a:lnTo>
                  <a:pt x="299" y="322"/>
                </a:lnTo>
                <a:lnTo>
                  <a:pt x="298" y="322"/>
                </a:lnTo>
                <a:lnTo>
                  <a:pt x="298" y="323"/>
                </a:lnTo>
                <a:lnTo>
                  <a:pt x="297" y="323"/>
                </a:lnTo>
                <a:lnTo>
                  <a:pt x="297" y="322"/>
                </a:lnTo>
                <a:lnTo>
                  <a:pt x="294" y="317"/>
                </a:lnTo>
                <a:lnTo>
                  <a:pt x="295" y="315"/>
                </a:lnTo>
                <a:lnTo>
                  <a:pt x="297" y="314"/>
                </a:lnTo>
                <a:lnTo>
                  <a:pt x="297" y="313"/>
                </a:lnTo>
                <a:lnTo>
                  <a:pt x="298" y="310"/>
                </a:lnTo>
                <a:lnTo>
                  <a:pt x="298" y="305"/>
                </a:lnTo>
                <a:lnTo>
                  <a:pt x="299" y="304"/>
                </a:lnTo>
                <a:lnTo>
                  <a:pt x="299" y="302"/>
                </a:lnTo>
                <a:lnTo>
                  <a:pt x="298" y="302"/>
                </a:lnTo>
                <a:lnTo>
                  <a:pt x="297" y="301"/>
                </a:lnTo>
                <a:lnTo>
                  <a:pt x="298" y="299"/>
                </a:lnTo>
                <a:lnTo>
                  <a:pt x="298" y="298"/>
                </a:lnTo>
                <a:lnTo>
                  <a:pt x="299" y="297"/>
                </a:lnTo>
                <a:lnTo>
                  <a:pt x="299" y="296"/>
                </a:lnTo>
                <a:lnTo>
                  <a:pt x="298" y="295"/>
                </a:lnTo>
                <a:lnTo>
                  <a:pt x="297" y="295"/>
                </a:lnTo>
                <a:lnTo>
                  <a:pt x="297" y="291"/>
                </a:lnTo>
                <a:lnTo>
                  <a:pt x="295" y="291"/>
                </a:lnTo>
                <a:lnTo>
                  <a:pt x="295" y="290"/>
                </a:lnTo>
                <a:lnTo>
                  <a:pt x="294" y="289"/>
                </a:lnTo>
                <a:lnTo>
                  <a:pt x="293" y="289"/>
                </a:lnTo>
                <a:lnTo>
                  <a:pt x="292" y="290"/>
                </a:lnTo>
                <a:lnTo>
                  <a:pt x="291" y="292"/>
                </a:lnTo>
                <a:lnTo>
                  <a:pt x="287" y="292"/>
                </a:lnTo>
                <a:lnTo>
                  <a:pt x="287" y="291"/>
                </a:lnTo>
                <a:lnTo>
                  <a:pt x="286" y="291"/>
                </a:lnTo>
                <a:lnTo>
                  <a:pt x="285" y="289"/>
                </a:lnTo>
                <a:lnTo>
                  <a:pt x="282" y="286"/>
                </a:lnTo>
                <a:lnTo>
                  <a:pt x="282" y="284"/>
                </a:lnTo>
                <a:lnTo>
                  <a:pt x="281" y="283"/>
                </a:lnTo>
                <a:lnTo>
                  <a:pt x="281" y="280"/>
                </a:lnTo>
                <a:lnTo>
                  <a:pt x="280" y="280"/>
                </a:lnTo>
                <a:lnTo>
                  <a:pt x="279" y="279"/>
                </a:lnTo>
                <a:lnTo>
                  <a:pt x="275" y="279"/>
                </a:lnTo>
                <a:lnTo>
                  <a:pt x="272" y="278"/>
                </a:lnTo>
                <a:lnTo>
                  <a:pt x="269" y="278"/>
                </a:lnTo>
                <a:lnTo>
                  <a:pt x="268" y="280"/>
                </a:lnTo>
                <a:lnTo>
                  <a:pt x="268" y="284"/>
                </a:lnTo>
                <a:lnTo>
                  <a:pt x="267" y="283"/>
                </a:lnTo>
                <a:lnTo>
                  <a:pt x="266" y="283"/>
                </a:lnTo>
                <a:lnTo>
                  <a:pt x="264" y="280"/>
                </a:lnTo>
                <a:lnTo>
                  <a:pt x="266" y="279"/>
                </a:lnTo>
                <a:lnTo>
                  <a:pt x="266" y="278"/>
                </a:lnTo>
                <a:lnTo>
                  <a:pt x="264" y="277"/>
                </a:lnTo>
                <a:lnTo>
                  <a:pt x="263" y="277"/>
                </a:lnTo>
                <a:lnTo>
                  <a:pt x="263" y="279"/>
                </a:lnTo>
                <a:lnTo>
                  <a:pt x="261" y="279"/>
                </a:lnTo>
                <a:lnTo>
                  <a:pt x="261" y="278"/>
                </a:lnTo>
                <a:lnTo>
                  <a:pt x="263" y="276"/>
                </a:lnTo>
                <a:lnTo>
                  <a:pt x="263" y="273"/>
                </a:lnTo>
                <a:lnTo>
                  <a:pt x="262" y="273"/>
                </a:lnTo>
                <a:lnTo>
                  <a:pt x="262" y="272"/>
                </a:lnTo>
                <a:lnTo>
                  <a:pt x="260" y="273"/>
                </a:lnTo>
                <a:lnTo>
                  <a:pt x="258" y="273"/>
                </a:lnTo>
                <a:lnTo>
                  <a:pt x="258" y="274"/>
                </a:lnTo>
                <a:lnTo>
                  <a:pt x="256" y="274"/>
                </a:lnTo>
                <a:lnTo>
                  <a:pt x="255" y="273"/>
                </a:lnTo>
                <a:lnTo>
                  <a:pt x="255" y="271"/>
                </a:lnTo>
                <a:lnTo>
                  <a:pt x="252" y="273"/>
                </a:lnTo>
                <a:lnTo>
                  <a:pt x="251" y="273"/>
                </a:lnTo>
                <a:lnTo>
                  <a:pt x="250" y="272"/>
                </a:lnTo>
                <a:lnTo>
                  <a:pt x="251" y="270"/>
                </a:lnTo>
                <a:lnTo>
                  <a:pt x="251" y="268"/>
                </a:lnTo>
                <a:lnTo>
                  <a:pt x="250" y="268"/>
                </a:lnTo>
                <a:lnTo>
                  <a:pt x="250" y="267"/>
                </a:lnTo>
                <a:lnTo>
                  <a:pt x="245" y="267"/>
                </a:lnTo>
                <a:lnTo>
                  <a:pt x="243" y="265"/>
                </a:lnTo>
                <a:lnTo>
                  <a:pt x="243" y="264"/>
                </a:lnTo>
                <a:lnTo>
                  <a:pt x="241" y="261"/>
                </a:lnTo>
                <a:lnTo>
                  <a:pt x="238" y="260"/>
                </a:lnTo>
                <a:lnTo>
                  <a:pt x="237" y="259"/>
                </a:lnTo>
                <a:lnTo>
                  <a:pt x="231" y="259"/>
                </a:lnTo>
                <a:lnTo>
                  <a:pt x="231" y="258"/>
                </a:lnTo>
                <a:lnTo>
                  <a:pt x="230" y="256"/>
                </a:lnTo>
                <a:lnTo>
                  <a:pt x="229" y="258"/>
                </a:lnTo>
                <a:lnTo>
                  <a:pt x="226" y="258"/>
                </a:lnTo>
                <a:lnTo>
                  <a:pt x="223" y="261"/>
                </a:lnTo>
                <a:lnTo>
                  <a:pt x="221" y="261"/>
                </a:lnTo>
                <a:lnTo>
                  <a:pt x="220" y="260"/>
                </a:lnTo>
                <a:lnTo>
                  <a:pt x="219" y="260"/>
                </a:lnTo>
                <a:lnTo>
                  <a:pt x="214" y="265"/>
                </a:lnTo>
                <a:lnTo>
                  <a:pt x="212" y="265"/>
                </a:lnTo>
                <a:lnTo>
                  <a:pt x="208" y="264"/>
                </a:lnTo>
                <a:lnTo>
                  <a:pt x="207" y="262"/>
                </a:lnTo>
                <a:lnTo>
                  <a:pt x="206" y="262"/>
                </a:lnTo>
                <a:lnTo>
                  <a:pt x="206" y="265"/>
                </a:lnTo>
                <a:lnTo>
                  <a:pt x="205" y="265"/>
                </a:lnTo>
                <a:lnTo>
                  <a:pt x="202" y="266"/>
                </a:lnTo>
                <a:lnTo>
                  <a:pt x="199" y="262"/>
                </a:lnTo>
                <a:lnTo>
                  <a:pt x="198" y="262"/>
                </a:lnTo>
                <a:lnTo>
                  <a:pt x="198" y="265"/>
                </a:lnTo>
                <a:lnTo>
                  <a:pt x="196" y="264"/>
                </a:lnTo>
                <a:lnTo>
                  <a:pt x="195" y="265"/>
                </a:lnTo>
                <a:lnTo>
                  <a:pt x="196" y="266"/>
                </a:lnTo>
                <a:lnTo>
                  <a:pt x="196" y="270"/>
                </a:lnTo>
                <a:lnTo>
                  <a:pt x="194" y="270"/>
                </a:lnTo>
                <a:lnTo>
                  <a:pt x="193" y="268"/>
                </a:lnTo>
                <a:lnTo>
                  <a:pt x="193" y="267"/>
                </a:lnTo>
                <a:lnTo>
                  <a:pt x="192" y="267"/>
                </a:lnTo>
                <a:lnTo>
                  <a:pt x="192" y="268"/>
                </a:lnTo>
                <a:lnTo>
                  <a:pt x="189" y="270"/>
                </a:lnTo>
                <a:lnTo>
                  <a:pt x="189" y="271"/>
                </a:lnTo>
                <a:lnTo>
                  <a:pt x="188" y="272"/>
                </a:lnTo>
                <a:lnTo>
                  <a:pt x="182" y="273"/>
                </a:lnTo>
                <a:lnTo>
                  <a:pt x="179" y="273"/>
                </a:lnTo>
                <a:lnTo>
                  <a:pt x="177" y="274"/>
                </a:lnTo>
                <a:lnTo>
                  <a:pt x="176" y="274"/>
                </a:lnTo>
                <a:lnTo>
                  <a:pt x="175" y="277"/>
                </a:lnTo>
                <a:lnTo>
                  <a:pt x="175" y="280"/>
                </a:lnTo>
                <a:lnTo>
                  <a:pt x="174" y="282"/>
                </a:lnTo>
                <a:lnTo>
                  <a:pt x="174" y="283"/>
                </a:lnTo>
                <a:lnTo>
                  <a:pt x="173" y="284"/>
                </a:lnTo>
                <a:lnTo>
                  <a:pt x="173" y="285"/>
                </a:lnTo>
                <a:lnTo>
                  <a:pt x="171" y="285"/>
                </a:lnTo>
                <a:lnTo>
                  <a:pt x="170" y="287"/>
                </a:lnTo>
                <a:lnTo>
                  <a:pt x="170" y="289"/>
                </a:lnTo>
                <a:lnTo>
                  <a:pt x="164" y="289"/>
                </a:lnTo>
                <a:lnTo>
                  <a:pt x="162" y="290"/>
                </a:lnTo>
                <a:lnTo>
                  <a:pt x="157" y="290"/>
                </a:lnTo>
                <a:lnTo>
                  <a:pt x="152" y="292"/>
                </a:lnTo>
                <a:lnTo>
                  <a:pt x="132" y="295"/>
                </a:lnTo>
                <a:lnTo>
                  <a:pt x="130" y="296"/>
                </a:lnTo>
                <a:lnTo>
                  <a:pt x="126" y="302"/>
                </a:lnTo>
                <a:lnTo>
                  <a:pt x="124" y="304"/>
                </a:lnTo>
                <a:lnTo>
                  <a:pt x="121" y="305"/>
                </a:lnTo>
                <a:lnTo>
                  <a:pt x="115" y="305"/>
                </a:lnTo>
                <a:lnTo>
                  <a:pt x="114" y="304"/>
                </a:lnTo>
                <a:lnTo>
                  <a:pt x="113" y="302"/>
                </a:lnTo>
                <a:lnTo>
                  <a:pt x="113" y="301"/>
                </a:lnTo>
                <a:lnTo>
                  <a:pt x="112" y="299"/>
                </a:lnTo>
                <a:lnTo>
                  <a:pt x="108" y="298"/>
                </a:lnTo>
                <a:lnTo>
                  <a:pt x="107" y="298"/>
                </a:lnTo>
                <a:lnTo>
                  <a:pt x="106" y="297"/>
                </a:lnTo>
                <a:lnTo>
                  <a:pt x="106" y="295"/>
                </a:lnTo>
                <a:lnTo>
                  <a:pt x="105" y="293"/>
                </a:lnTo>
                <a:lnTo>
                  <a:pt x="105" y="292"/>
                </a:lnTo>
                <a:lnTo>
                  <a:pt x="102" y="291"/>
                </a:lnTo>
                <a:lnTo>
                  <a:pt x="95" y="291"/>
                </a:lnTo>
                <a:lnTo>
                  <a:pt x="93" y="292"/>
                </a:lnTo>
                <a:lnTo>
                  <a:pt x="92" y="292"/>
                </a:lnTo>
                <a:lnTo>
                  <a:pt x="88" y="295"/>
                </a:lnTo>
                <a:lnTo>
                  <a:pt x="87" y="295"/>
                </a:lnTo>
                <a:lnTo>
                  <a:pt x="84" y="293"/>
                </a:lnTo>
                <a:lnTo>
                  <a:pt x="82" y="291"/>
                </a:lnTo>
                <a:lnTo>
                  <a:pt x="80" y="291"/>
                </a:lnTo>
                <a:lnTo>
                  <a:pt x="78" y="290"/>
                </a:lnTo>
                <a:lnTo>
                  <a:pt x="77" y="290"/>
                </a:lnTo>
                <a:lnTo>
                  <a:pt x="74" y="292"/>
                </a:lnTo>
                <a:lnTo>
                  <a:pt x="73" y="292"/>
                </a:lnTo>
                <a:lnTo>
                  <a:pt x="73" y="291"/>
                </a:lnTo>
                <a:lnTo>
                  <a:pt x="70" y="289"/>
                </a:lnTo>
                <a:lnTo>
                  <a:pt x="65" y="289"/>
                </a:lnTo>
                <a:lnTo>
                  <a:pt x="64" y="287"/>
                </a:lnTo>
                <a:lnTo>
                  <a:pt x="58" y="287"/>
                </a:lnTo>
                <a:lnTo>
                  <a:pt x="57" y="289"/>
                </a:lnTo>
                <a:lnTo>
                  <a:pt x="57" y="290"/>
                </a:lnTo>
                <a:lnTo>
                  <a:pt x="56" y="290"/>
                </a:lnTo>
                <a:lnTo>
                  <a:pt x="53" y="289"/>
                </a:lnTo>
                <a:lnTo>
                  <a:pt x="51" y="289"/>
                </a:lnTo>
                <a:lnTo>
                  <a:pt x="51" y="287"/>
                </a:lnTo>
                <a:lnTo>
                  <a:pt x="46" y="283"/>
                </a:lnTo>
                <a:lnTo>
                  <a:pt x="43" y="282"/>
                </a:lnTo>
                <a:lnTo>
                  <a:pt x="42" y="282"/>
                </a:lnTo>
                <a:lnTo>
                  <a:pt x="40" y="283"/>
                </a:lnTo>
                <a:lnTo>
                  <a:pt x="39" y="286"/>
                </a:lnTo>
                <a:lnTo>
                  <a:pt x="39" y="287"/>
                </a:lnTo>
                <a:lnTo>
                  <a:pt x="37" y="289"/>
                </a:lnTo>
                <a:lnTo>
                  <a:pt x="36" y="289"/>
                </a:lnTo>
                <a:lnTo>
                  <a:pt x="34" y="287"/>
                </a:lnTo>
                <a:lnTo>
                  <a:pt x="33" y="287"/>
                </a:lnTo>
                <a:lnTo>
                  <a:pt x="33" y="290"/>
                </a:lnTo>
                <a:lnTo>
                  <a:pt x="32" y="291"/>
                </a:lnTo>
                <a:lnTo>
                  <a:pt x="31" y="291"/>
                </a:lnTo>
                <a:lnTo>
                  <a:pt x="30" y="290"/>
                </a:lnTo>
                <a:lnTo>
                  <a:pt x="30" y="287"/>
                </a:lnTo>
                <a:lnTo>
                  <a:pt x="31" y="286"/>
                </a:lnTo>
                <a:lnTo>
                  <a:pt x="31" y="285"/>
                </a:lnTo>
                <a:lnTo>
                  <a:pt x="30" y="284"/>
                </a:lnTo>
                <a:lnTo>
                  <a:pt x="30" y="283"/>
                </a:lnTo>
                <a:lnTo>
                  <a:pt x="28" y="282"/>
                </a:lnTo>
                <a:lnTo>
                  <a:pt x="26" y="282"/>
                </a:lnTo>
                <a:lnTo>
                  <a:pt x="26" y="280"/>
                </a:lnTo>
                <a:lnTo>
                  <a:pt x="25" y="280"/>
                </a:lnTo>
                <a:lnTo>
                  <a:pt x="24" y="282"/>
                </a:lnTo>
                <a:lnTo>
                  <a:pt x="19" y="282"/>
                </a:lnTo>
                <a:lnTo>
                  <a:pt x="19" y="280"/>
                </a:lnTo>
                <a:lnTo>
                  <a:pt x="18" y="278"/>
                </a:lnTo>
                <a:lnTo>
                  <a:pt x="18" y="277"/>
                </a:lnTo>
                <a:lnTo>
                  <a:pt x="14" y="272"/>
                </a:lnTo>
                <a:lnTo>
                  <a:pt x="13" y="273"/>
                </a:lnTo>
                <a:lnTo>
                  <a:pt x="12" y="273"/>
                </a:lnTo>
                <a:lnTo>
                  <a:pt x="11" y="272"/>
                </a:lnTo>
                <a:lnTo>
                  <a:pt x="11" y="273"/>
                </a:lnTo>
                <a:lnTo>
                  <a:pt x="9" y="273"/>
                </a:lnTo>
                <a:lnTo>
                  <a:pt x="9" y="272"/>
                </a:lnTo>
                <a:lnTo>
                  <a:pt x="7" y="270"/>
                </a:lnTo>
                <a:lnTo>
                  <a:pt x="7" y="265"/>
                </a:lnTo>
                <a:lnTo>
                  <a:pt x="5" y="265"/>
                </a:lnTo>
                <a:lnTo>
                  <a:pt x="5" y="264"/>
                </a:lnTo>
                <a:lnTo>
                  <a:pt x="6" y="262"/>
                </a:lnTo>
                <a:lnTo>
                  <a:pt x="5" y="261"/>
                </a:lnTo>
                <a:lnTo>
                  <a:pt x="1" y="261"/>
                </a:lnTo>
                <a:lnTo>
                  <a:pt x="1" y="262"/>
                </a:lnTo>
                <a:lnTo>
                  <a:pt x="0" y="262"/>
                </a:lnTo>
                <a:lnTo>
                  <a:pt x="0" y="252"/>
                </a:lnTo>
                <a:lnTo>
                  <a:pt x="5" y="247"/>
                </a:lnTo>
                <a:lnTo>
                  <a:pt x="5" y="246"/>
                </a:lnTo>
                <a:lnTo>
                  <a:pt x="7" y="246"/>
                </a:lnTo>
                <a:lnTo>
                  <a:pt x="7" y="244"/>
                </a:lnTo>
                <a:lnTo>
                  <a:pt x="8" y="243"/>
                </a:lnTo>
                <a:lnTo>
                  <a:pt x="8" y="240"/>
                </a:lnTo>
                <a:lnTo>
                  <a:pt x="9" y="239"/>
                </a:lnTo>
                <a:lnTo>
                  <a:pt x="9" y="234"/>
                </a:lnTo>
                <a:lnTo>
                  <a:pt x="11" y="233"/>
                </a:lnTo>
                <a:lnTo>
                  <a:pt x="11" y="231"/>
                </a:lnTo>
                <a:lnTo>
                  <a:pt x="12" y="231"/>
                </a:lnTo>
                <a:lnTo>
                  <a:pt x="12" y="229"/>
                </a:lnTo>
                <a:lnTo>
                  <a:pt x="13" y="225"/>
                </a:lnTo>
                <a:lnTo>
                  <a:pt x="15" y="225"/>
                </a:lnTo>
                <a:lnTo>
                  <a:pt x="16" y="224"/>
                </a:lnTo>
                <a:lnTo>
                  <a:pt x="16" y="219"/>
                </a:lnTo>
                <a:lnTo>
                  <a:pt x="18" y="218"/>
                </a:lnTo>
                <a:lnTo>
                  <a:pt x="21" y="222"/>
                </a:lnTo>
                <a:lnTo>
                  <a:pt x="25" y="222"/>
                </a:lnTo>
                <a:lnTo>
                  <a:pt x="26" y="221"/>
                </a:lnTo>
                <a:lnTo>
                  <a:pt x="26" y="222"/>
                </a:lnTo>
                <a:lnTo>
                  <a:pt x="27" y="223"/>
                </a:lnTo>
                <a:lnTo>
                  <a:pt x="28" y="223"/>
                </a:lnTo>
                <a:lnTo>
                  <a:pt x="30" y="224"/>
                </a:lnTo>
                <a:lnTo>
                  <a:pt x="31" y="224"/>
                </a:lnTo>
                <a:lnTo>
                  <a:pt x="31" y="223"/>
                </a:lnTo>
                <a:lnTo>
                  <a:pt x="30" y="222"/>
                </a:lnTo>
                <a:lnTo>
                  <a:pt x="30" y="218"/>
                </a:lnTo>
                <a:lnTo>
                  <a:pt x="27" y="217"/>
                </a:lnTo>
                <a:lnTo>
                  <a:pt x="27" y="216"/>
                </a:lnTo>
                <a:lnTo>
                  <a:pt x="25" y="213"/>
                </a:lnTo>
                <a:lnTo>
                  <a:pt x="24" y="213"/>
                </a:lnTo>
                <a:lnTo>
                  <a:pt x="24" y="211"/>
                </a:lnTo>
                <a:lnTo>
                  <a:pt x="25" y="209"/>
                </a:lnTo>
                <a:lnTo>
                  <a:pt x="25" y="199"/>
                </a:lnTo>
                <a:lnTo>
                  <a:pt x="22" y="197"/>
                </a:lnTo>
                <a:lnTo>
                  <a:pt x="22" y="192"/>
                </a:lnTo>
                <a:lnTo>
                  <a:pt x="21" y="190"/>
                </a:lnTo>
                <a:lnTo>
                  <a:pt x="22" y="187"/>
                </a:lnTo>
                <a:lnTo>
                  <a:pt x="26" y="184"/>
                </a:lnTo>
                <a:lnTo>
                  <a:pt x="26" y="180"/>
                </a:lnTo>
                <a:lnTo>
                  <a:pt x="28" y="180"/>
                </a:lnTo>
                <a:lnTo>
                  <a:pt x="30" y="179"/>
                </a:lnTo>
                <a:lnTo>
                  <a:pt x="32" y="174"/>
                </a:lnTo>
                <a:lnTo>
                  <a:pt x="34" y="172"/>
                </a:lnTo>
                <a:lnTo>
                  <a:pt x="34" y="170"/>
                </a:lnTo>
                <a:lnTo>
                  <a:pt x="36" y="169"/>
                </a:lnTo>
                <a:lnTo>
                  <a:pt x="40" y="162"/>
                </a:lnTo>
                <a:lnTo>
                  <a:pt x="45" y="157"/>
                </a:lnTo>
                <a:lnTo>
                  <a:pt x="55" y="147"/>
                </a:lnTo>
                <a:lnTo>
                  <a:pt x="57" y="145"/>
                </a:lnTo>
                <a:lnTo>
                  <a:pt x="61" y="142"/>
                </a:lnTo>
                <a:lnTo>
                  <a:pt x="63" y="138"/>
                </a:lnTo>
                <a:lnTo>
                  <a:pt x="64" y="138"/>
                </a:lnTo>
                <a:lnTo>
                  <a:pt x="64" y="136"/>
                </a:lnTo>
                <a:lnTo>
                  <a:pt x="67" y="133"/>
                </a:lnTo>
                <a:lnTo>
                  <a:pt x="76" y="133"/>
                </a:lnTo>
                <a:lnTo>
                  <a:pt x="77" y="132"/>
                </a:lnTo>
                <a:lnTo>
                  <a:pt x="78" y="130"/>
                </a:lnTo>
                <a:lnTo>
                  <a:pt x="78" y="126"/>
                </a:lnTo>
                <a:lnTo>
                  <a:pt x="82" y="125"/>
                </a:lnTo>
                <a:lnTo>
                  <a:pt x="82" y="124"/>
                </a:lnTo>
                <a:lnTo>
                  <a:pt x="83" y="124"/>
                </a:lnTo>
                <a:lnTo>
                  <a:pt x="82" y="123"/>
                </a:lnTo>
                <a:lnTo>
                  <a:pt x="82" y="119"/>
                </a:lnTo>
                <a:lnTo>
                  <a:pt x="83" y="118"/>
                </a:lnTo>
                <a:lnTo>
                  <a:pt x="82" y="115"/>
                </a:lnTo>
                <a:lnTo>
                  <a:pt x="82" y="112"/>
                </a:lnTo>
                <a:lnTo>
                  <a:pt x="81" y="112"/>
                </a:lnTo>
                <a:lnTo>
                  <a:pt x="78" y="110"/>
                </a:lnTo>
                <a:lnTo>
                  <a:pt x="80" y="108"/>
                </a:lnTo>
                <a:lnTo>
                  <a:pt x="77" y="108"/>
                </a:lnTo>
                <a:lnTo>
                  <a:pt x="77" y="105"/>
                </a:lnTo>
                <a:lnTo>
                  <a:pt x="78" y="104"/>
                </a:lnTo>
                <a:lnTo>
                  <a:pt x="80" y="104"/>
                </a:lnTo>
                <a:lnTo>
                  <a:pt x="81" y="105"/>
                </a:lnTo>
                <a:lnTo>
                  <a:pt x="81" y="104"/>
                </a:lnTo>
                <a:lnTo>
                  <a:pt x="84" y="104"/>
                </a:lnTo>
                <a:lnTo>
                  <a:pt x="84" y="101"/>
                </a:lnTo>
                <a:lnTo>
                  <a:pt x="81" y="100"/>
                </a:lnTo>
                <a:lnTo>
                  <a:pt x="77" y="98"/>
                </a:lnTo>
                <a:lnTo>
                  <a:pt x="77" y="94"/>
                </a:lnTo>
                <a:lnTo>
                  <a:pt x="76" y="94"/>
                </a:lnTo>
                <a:lnTo>
                  <a:pt x="76" y="93"/>
                </a:lnTo>
                <a:lnTo>
                  <a:pt x="75" y="93"/>
                </a:lnTo>
                <a:lnTo>
                  <a:pt x="75" y="89"/>
                </a:lnTo>
                <a:lnTo>
                  <a:pt x="74" y="88"/>
                </a:lnTo>
                <a:lnTo>
                  <a:pt x="73" y="86"/>
                </a:lnTo>
                <a:lnTo>
                  <a:pt x="73" y="84"/>
                </a:lnTo>
                <a:lnTo>
                  <a:pt x="74" y="83"/>
                </a:lnTo>
                <a:lnTo>
                  <a:pt x="73" y="83"/>
                </a:lnTo>
                <a:lnTo>
                  <a:pt x="71" y="81"/>
                </a:lnTo>
                <a:lnTo>
                  <a:pt x="69" y="80"/>
                </a:lnTo>
                <a:lnTo>
                  <a:pt x="68" y="78"/>
                </a:lnTo>
                <a:lnTo>
                  <a:pt x="65" y="74"/>
                </a:lnTo>
                <a:lnTo>
                  <a:pt x="64" y="72"/>
                </a:lnTo>
                <a:lnTo>
                  <a:pt x="63" y="72"/>
                </a:lnTo>
                <a:lnTo>
                  <a:pt x="63" y="70"/>
                </a:lnTo>
                <a:lnTo>
                  <a:pt x="64" y="69"/>
                </a:lnTo>
                <a:lnTo>
                  <a:pt x="64" y="68"/>
                </a:lnTo>
                <a:lnTo>
                  <a:pt x="65" y="68"/>
                </a:lnTo>
                <a:lnTo>
                  <a:pt x="65" y="65"/>
                </a:lnTo>
                <a:lnTo>
                  <a:pt x="64" y="62"/>
                </a:lnTo>
                <a:lnTo>
                  <a:pt x="64" y="61"/>
                </a:lnTo>
                <a:lnTo>
                  <a:pt x="63" y="59"/>
                </a:lnTo>
                <a:lnTo>
                  <a:pt x="62" y="59"/>
                </a:lnTo>
                <a:lnTo>
                  <a:pt x="62" y="58"/>
                </a:lnTo>
                <a:lnTo>
                  <a:pt x="63" y="58"/>
                </a:lnTo>
                <a:lnTo>
                  <a:pt x="63" y="57"/>
                </a:lnTo>
                <a:lnTo>
                  <a:pt x="62" y="53"/>
                </a:lnTo>
                <a:lnTo>
                  <a:pt x="62" y="51"/>
                </a:lnTo>
                <a:lnTo>
                  <a:pt x="63" y="51"/>
                </a:lnTo>
                <a:lnTo>
                  <a:pt x="67" y="50"/>
                </a:lnTo>
                <a:lnTo>
                  <a:pt x="73" y="50"/>
                </a:lnTo>
                <a:lnTo>
                  <a:pt x="76" y="53"/>
                </a:lnTo>
                <a:lnTo>
                  <a:pt x="77" y="53"/>
                </a:lnTo>
                <a:lnTo>
                  <a:pt x="84" y="47"/>
                </a:lnTo>
                <a:lnTo>
                  <a:pt x="89" y="44"/>
                </a:lnTo>
                <a:lnTo>
                  <a:pt x="90" y="43"/>
                </a:lnTo>
                <a:lnTo>
                  <a:pt x="92" y="38"/>
                </a:lnTo>
                <a:lnTo>
                  <a:pt x="92" y="37"/>
                </a:lnTo>
                <a:lnTo>
                  <a:pt x="93" y="34"/>
                </a:lnTo>
                <a:lnTo>
                  <a:pt x="94" y="33"/>
                </a:lnTo>
                <a:lnTo>
                  <a:pt x="109" y="33"/>
                </a:lnTo>
                <a:lnTo>
                  <a:pt x="121" y="31"/>
                </a:lnTo>
                <a:lnTo>
                  <a:pt x="125" y="29"/>
                </a:lnTo>
                <a:lnTo>
                  <a:pt x="126" y="28"/>
                </a:lnTo>
                <a:lnTo>
                  <a:pt x="129" y="28"/>
                </a:lnTo>
                <a:lnTo>
                  <a:pt x="136" y="31"/>
                </a:lnTo>
                <a:lnTo>
                  <a:pt x="150" y="31"/>
                </a:lnTo>
                <a:lnTo>
                  <a:pt x="154" y="29"/>
                </a:lnTo>
                <a:lnTo>
                  <a:pt x="162" y="32"/>
                </a:lnTo>
                <a:lnTo>
                  <a:pt x="167" y="32"/>
                </a:lnTo>
                <a:lnTo>
                  <a:pt x="170" y="35"/>
                </a:lnTo>
                <a:lnTo>
                  <a:pt x="181" y="35"/>
                </a:lnTo>
                <a:lnTo>
                  <a:pt x="181" y="38"/>
                </a:lnTo>
                <a:lnTo>
                  <a:pt x="182" y="38"/>
                </a:lnTo>
                <a:lnTo>
                  <a:pt x="190" y="39"/>
                </a:lnTo>
                <a:lnTo>
                  <a:pt x="199" y="43"/>
                </a:lnTo>
                <a:lnTo>
                  <a:pt x="201" y="43"/>
                </a:lnTo>
                <a:lnTo>
                  <a:pt x="206" y="41"/>
                </a:lnTo>
                <a:lnTo>
                  <a:pt x="212" y="41"/>
                </a:lnTo>
                <a:lnTo>
                  <a:pt x="213" y="43"/>
                </a:lnTo>
                <a:lnTo>
                  <a:pt x="213" y="49"/>
                </a:lnTo>
                <a:lnTo>
                  <a:pt x="217" y="49"/>
                </a:lnTo>
                <a:lnTo>
                  <a:pt x="217" y="50"/>
                </a:lnTo>
                <a:lnTo>
                  <a:pt x="216" y="51"/>
                </a:lnTo>
                <a:lnTo>
                  <a:pt x="216" y="52"/>
                </a:lnTo>
                <a:lnTo>
                  <a:pt x="217" y="53"/>
                </a:lnTo>
                <a:lnTo>
                  <a:pt x="219" y="52"/>
                </a:lnTo>
                <a:lnTo>
                  <a:pt x="221" y="53"/>
                </a:lnTo>
                <a:lnTo>
                  <a:pt x="223" y="53"/>
                </a:lnTo>
                <a:lnTo>
                  <a:pt x="223" y="52"/>
                </a:lnTo>
                <a:lnTo>
                  <a:pt x="224" y="51"/>
                </a:lnTo>
                <a:lnTo>
                  <a:pt x="226" y="51"/>
                </a:lnTo>
                <a:lnTo>
                  <a:pt x="231" y="52"/>
                </a:lnTo>
                <a:lnTo>
                  <a:pt x="233" y="52"/>
                </a:lnTo>
                <a:lnTo>
                  <a:pt x="235" y="53"/>
                </a:lnTo>
                <a:lnTo>
                  <a:pt x="235" y="56"/>
                </a:lnTo>
                <a:lnTo>
                  <a:pt x="233" y="59"/>
                </a:lnTo>
                <a:lnTo>
                  <a:pt x="233" y="61"/>
                </a:lnTo>
                <a:lnTo>
                  <a:pt x="235" y="62"/>
                </a:lnTo>
                <a:lnTo>
                  <a:pt x="236" y="62"/>
                </a:lnTo>
                <a:lnTo>
                  <a:pt x="236" y="61"/>
                </a:lnTo>
                <a:lnTo>
                  <a:pt x="238" y="58"/>
                </a:lnTo>
                <a:lnTo>
                  <a:pt x="238" y="55"/>
                </a:lnTo>
                <a:lnTo>
                  <a:pt x="239" y="53"/>
                </a:lnTo>
                <a:lnTo>
                  <a:pt x="239" y="52"/>
                </a:lnTo>
                <a:lnTo>
                  <a:pt x="241" y="51"/>
                </a:lnTo>
                <a:lnTo>
                  <a:pt x="244" y="55"/>
                </a:lnTo>
                <a:lnTo>
                  <a:pt x="245" y="55"/>
                </a:lnTo>
                <a:lnTo>
                  <a:pt x="247" y="56"/>
                </a:lnTo>
                <a:lnTo>
                  <a:pt x="250" y="56"/>
                </a:lnTo>
                <a:lnTo>
                  <a:pt x="251" y="55"/>
                </a:lnTo>
                <a:lnTo>
                  <a:pt x="252" y="55"/>
                </a:lnTo>
                <a:lnTo>
                  <a:pt x="254" y="51"/>
                </a:lnTo>
                <a:lnTo>
                  <a:pt x="256" y="49"/>
                </a:lnTo>
                <a:lnTo>
                  <a:pt x="257" y="49"/>
                </a:lnTo>
                <a:lnTo>
                  <a:pt x="257" y="51"/>
                </a:lnTo>
                <a:lnTo>
                  <a:pt x="258" y="52"/>
                </a:lnTo>
                <a:lnTo>
                  <a:pt x="258" y="53"/>
                </a:lnTo>
                <a:lnTo>
                  <a:pt x="260" y="53"/>
                </a:lnTo>
                <a:lnTo>
                  <a:pt x="261" y="55"/>
                </a:lnTo>
                <a:lnTo>
                  <a:pt x="261" y="57"/>
                </a:lnTo>
                <a:lnTo>
                  <a:pt x="262" y="57"/>
                </a:lnTo>
                <a:lnTo>
                  <a:pt x="263" y="56"/>
                </a:lnTo>
                <a:lnTo>
                  <a:pt x="266" y="55"/>
                </a:lnTo>
                <a:lnTo>
                  <a:pt x="272" y="55"/>
                </a:lnTo>
                <a:lnTo>
                  <a:pt x="273" y="56"/>
                </a:lnTo>
                <a:lnTo>
                  <a:pt x="273" y="58"/>
                </a:lnTo>
                <a:lnTo>
                  <a:pt x="274" y="62"/>
                </a:lnTo>
                <a:lnTo>
                  <a:pt x="274" y="63"/>
                </a:lnTo>
                <a:lnTo>
                  <a:pt x="275" y="63"/>
                </a:lnTo>
                <a:lnTo>
                  <a:pt x="275" y="64"/>
                </a:lnTo>
                <a:lnTo>
                  <a:pt x="276" y="63"/>
                </a:lnTo>
                <a:lnTo>
                  <a:pt x="278" y="63"/>
                </a:lnTo>
                <a:lnTo>
                  <a:pt x="278" y="65"/>
                </a:lnTo>
                <a:lnTo>
                  <a:pt x="279" y="65"/>
                </a:lnTo>
                <a:lnTo>
                  <a:pt x="279" y="61"/>
                </a:lnTo>
                <a:lnTo>
                  <a:pt x="280" y="58"/>
                </a:lnTo>
                <a:lnTo>
                  <a:pt x="282" y="56"/>
                </a:lnTo>
                <a:lnTo>
                  <a:pt x="283" y="56"/>
                </a:lnTo>
                <a:lnTo>
                  <a:pt x="285" y="55"/>
                </a:lnTo>
                <a:lnTo>
                  <a:pt x="288" y="55"/>
                </a:lnTo>
                <a:lnTo>
                  <a:pt x="289" y="53"/>
                </a:lnTo>
                <a:lnTo>
                  <a:pt x="291" y="51"/>
                </a:lnTo>
                <a:lnTo>
                  <a:pt x="292" y="51"/>
                </a:lnTo>
                <a:lnTo>
                  <a:pt x="292" y="50"/>
                </a:lnTo>
                <a:lnTo>
                  <a:pt x="293" y="50"/>
                </a:lnTo>
                <a:lnTo>
                  <a:pt x="294" y="51"/>
                </a:lnTo>
                <a:lnTo>
                  <a:pt x="295" y="51"/>
                </a:lnTo>
                <a:lnTo>
                  <a:pt x="297" y="52"/>
                </a:lnTo>
                <a:lnTo>
                  <a:pt x="297" y="55"/>
                </a:lnTo>
                <a:lnTo>
                  <a:pt x="299" y="57"/>
                </a:lnTo>
                <a:lnTo>
                  <a:pt x="299" y="62"/>
                </a:lnTo>
                <a:lnTo>
                  <a:pt x="300" y="63"/>
                </a:lnTo>
                <a:lnTo>
                  <a:pt x="300" y="64"/>
                </a:lnTo>
                <a:lnTo>
                  <a:pt x="301" y="65"/>
                </a:lnTo>
                <a:lnTo>
                  <a:pt x="301" y="67"/>
                </a:lnTo>
                <a:lnTo>
                  <a:pt x="303" y="68"/>
                </a:lnTo>
                <a:lnTo>
                  <a:pt x="305" y="68"/>
                </a:lnTo>
                <a:lnTo>
                  <a:pt x="305" y="67"/>
                </a:lnTo>
                <a:lnTo>
                  <a:pt x="310" y="67"/>
                </a:lnTo>
                <a:lnTo>
                  <a:pt x="310" y="65"/>
                </a:lnTo>
                <a:lnTo>
                  <a:pt x="311" y="64"/>
                </a:lnTo>
                <a:lnTo>
                  <a:pt x="311" y="63"/>
                </a:lnTo>
                <a:lnTo>
                  <a:pt x="313" y="63"/>
                </a:lnTo>
                <a:lnTo>
                  <a:pt x="314" y="62"/>
                </a:lnTo>
                <a:lnTo>
                  <a:pt x="314" y="61"/>
                </a:lnTo>
                <a:lnTo>
                  <a:pt x="316" y="61"/>
                </a:lnTo>
                <a:lnTo>
                  <a:pt x="317" y="59"/>
                </a:lnTo>
                <a:lnTo>
                  <a:pt x="318" y="59"/>
                </a:lnTo>
                <a:lnTo>
                  <a:pt x="319" y="61"/>
                </a:lnTo>
                <a:lnTo>
                  <a:pt x="319" y="62"/>
                </a:lnTo>
                <a:lnTo>
                  <a:pt x="320" y="63"/>
                </a:lnTo>
                <a:lnTo>
                  <a:pt x="324" y="64"/>
                </a:lnTo>
                <a:lnTo>
                  <a:pt x="325" y="64"/>
                </a:lnTo>
                <a:lnTo>
                  <a:pt x="325" y="63"/>
                </a:lnTo>
                <a:lnTo>
                  <a:pt x="326" y="62"/>
                </a:lnTo>
                <a:lnTo>
                  <a:pt x="329" y="62"/>
                </a:lnTo>
                <a:lnTo>
                  <a:pt x="331" y="61"/>
                </a:lnTo>
                <a:lnTo>
                  <a:pt x="339" y="61"/>
                </a:lnTo>
                <a:lnTo>
                  <a:pt x="341" y="62"/>
                </a:lnTo>
                <a:lnTo>
                  <a:pt x="342" y="64"/>
                </a:lnTo>
                <a:lnTo>
                  <a:pt x="343" y="64"/>
                </a:lnTo>
                <a:lnTo>
                  <a:pt x="344" y="65"/>
                </a:lnTo>
                <a:lnTo>
                  <a:pt x="345" y="65"/>
                </a:lnTo>
                <a:lnTo>
                  <a:pt x="345" y="70"/>
                </a:lnTo>
                <a:lnTo>
                  <a:pt x="347" y="72"/>
                </a:lnTo>
                <a:lnTo>
                  <a:pt x="348" y="74"/>
                </a:lnTo>
                <a:lnTo>
                  <a:pt x="350" y="74"/>
                </a:lnTo>
                <a:lnTo>
                  <a:pt x="351" y="75"/>
                </a:lnTo>
                <a:lnTo>
                  <a:pt x="353" y="75"/>
                </a:lnTo>
                <a:lnTo>
                  <a:pt x="353" y="76"/>
                </a:lnTo>
                <a:lnTo>
                  <a:pt x="354" y="76"/>
                </a:lnTo>
                <a:lnTo>
                  <a:pt x="355" y="77"/>
                </a:lnTo>
                <a:lnTo>
                  <a:pt x="355" y="75"/>
                </a:lnTo>
                <a:lnTo>
                  <a:pt x="356" y="74"/>
                </a:lnTo>
                <a:lnTo>
                  <a:pt x="356" y="72"/>
                </a:lnTo>
                <a:lnTo>
                  <a:pt x="359" y="70"/>
                </a:lnTo>
                <a:lnTo>
                  <a:pt x="359" y="67"/>
                </a:lnTo>
                <a:lnTo>
                  <a:pt x="357" y="65"/>
                </a:lnTo>
                <a:lnTo>
                  <a:pt x="357" y="64"/>
                </a:lnTo>
                <a:lnTo>
                  <a:pt x="356" y="64"/>
                </a:lnTo>
                <a:lnTo>
                  <a:pt x="356" y="62"/>
                </a:lnTo>
                <a:lnTo>
                  <a:pt x="357" y="62"/>
                </a:lnTo>
                <a:lnTo>
                  <a:pt x="357" y="61"/>
                </a:lnTo>
                <a:lnTo>
                  <a:pt x="356" y="61"/>
                </a:lnTo>
                <a:lnTo>
                  <a:pt x="356" y="58"/>
                </a:lnTo>
                <a:lnTo>
                  <a:pt x="355" y="58"/>
                </a:lnTo>
                <a:lnTo>
                  <a:pt x="356" y="57"/>
                </a:lnTo>
                <a:lnTo>
                  <a:pt x="356" y="56"/>
                </a:lnTo>
                <a:lnTo>
                  <a:pt x="354" y="56"/>
                </a:lnTo>
                <a:lnTo>
                  <a:pt x="354" y="55"/>
                </a:lnTo>
                <a:lnTo>
                  <a:pt x="355" y="55"/>
                </a:lnTo>
                <a:lnTo>
                  <a:pt x="355" y="53"/>
                </a:lnTo>
                <a:lnTo>
                  <a:pt x="354" y="53"/>
                </a:lnTo>
                <a:lnTo>
                  <a:pt x="354" y="52"/>
                </a:lnTo>
                <a:lnTo>
                  <a:pt x="355" y="51"/>
                </a:lnTo>
                <a:lnTo>
                  <a:pt x="355" y="49"/>
                </a:lnTo>
                <a:lnTo>
                  <a:pt x="356" y="49"/>
                </a:lnTo>
                <a:lnTo>
                  <a:pt x="355" y="47"/>
                </a:lnTo>
                <a:lnTo>
                  <a:pt x="356" y="46"/>
                </a:lnTo>
                <a:lnTo>
                  <a:pt x="356" y="45"/>
                </a:lnTo>
                <a:lnTo>
                  <a:pt x="359" y="45"/>
                </a:lnTo>
                <a:lnTo>
                  <a:pt x="359" y="41"/>
                </a:lnTo>
                <a:lnTo>
                  <a:pt x="357" y="41"/>
                </a:lnTo>
                <a:lnTo>
                  <a:pt x="359" y="40"/>
                </a:lnTo>
                <a:lnTo>
                  <a:pt x="360" y="40"/>
                </a:lnTo>
                <a:lnTo>
                  <a:pt x="360" y="37"/>
                </a:lnTo>
                <a:lnTo>
                  <a:pt x="361" y="35"/>
                </a:lnTo>
                <a:lnTo>
                  <a:pt x="361" y="34"/>
                </a:lnTo>
                <a:lnTo>
                  <a:pt x="362" y="34"/>
                </a:lnTo>
                <a:lnTo>
                  <a:pt x="363" y="33"/>
                </a:lnTo>
                <a:lnTo>
                  <a:pt x="363" y="32"/>
                </a:lnTo>
                <a:lnTo>
                  <a:pt x="366" y="32"/>
                </a:lnTo>
                <a:lnTo>
                  <a:pt x="366" y="29"/>
                </a:lnTo>
                <a:lnTo>
                  <a:pt x="367" y="28"/>
                </a:lnTo>
                <a:lnTo>
                  <a:pt x="368" y="28"/>
                </a:lnTo>
                <a:lnTo>
                  <a:pt x="368" y="27"/>
                </a:lnTo>
                <a:lnTo>
                  <a:pt x="369" y="27"/>
                </a:lnTo>
                <a:lnTo>
                  <a:pt x="369" y="25"/>
                </a:lnTo>
                <a:lnTo>
                  <a:pt x="370" y="25"/>
                </a:lnTo>
                <a:lnTo>
                  <a:pt x="370" y="26"/>
                </a:lnTo>
                <a:lnTo>
                  <a:pt x="372" y="26"/>
                </a:lnTo>
                <a:lnTo>
                  <a:pt x="372" y="24"/>
                </a:lnTo>
                <a:lnTo>
                  <a:pt x="370" y="24"/>
                </a:lnTo>
                <a:lnTo>
                  <a:pt x="370" y="21"/>
                </a:lnTo>
                <a:lnTo>
                  <a:pt x="372" y="20"/>
                </a:lnTo>
                <a:lnTo>
                  <a:pt x="380" y="20"/>
                </a:lnTo>
                <a:lnTo>
                  <a:pt x="382" y="22"/>
                </a:lnTo>
                <a:lnTo>
                  <a:pt x="385" y="22"/>
                </a:lnTo>
                <a:lnTo>
                  <a:pt x="385" y="21"/>
                </a:lnTo>
                <a:lnTo>
                  <a:pt x="387" y="19"/>
                </a:lnTo>
                <a:lnTo>
                  <a:pt x="390" y="18"/>
                </a:lnTo>
                <a:lnTo>
                  <a:pt x="394" y="18"/>
                </a:lnTo>
                <a:lnTo>
                  <a:pt x="401" y="19"/>
                </a:lnTo>
                <a:lnTo>
                  <a:pt x="406" y="19"/>
                </a:lnTo>
                <a:lnTo>
                  <a:pt x="409" y="18"/>
                </a:lnTo>
                <a:lnTo>
                  <a:pt x="410" y="19"/>
                </a:lnTo>
                <a:lnTo>
                  <a:pt x="411" y="19"/>
                </a:lnTo>
                <a:lnTo>
                  <a:pt x="411" y="22"/>
                </a:lnTo>
                <a:lnTo>
                  <a:pt x="412" y="24"/>
                </a:lnTo>
                <a:lnTo>
                  <a:pt x="413" y="24"/>
                </a:lnTo>
                <a:lnTo>
                  <a:pt x="416" y="22"/>
                </a:lnTo>
                <a:lnTo>
                  <a:pt x="417" y="21"/>
                </a:lnTo>
                <a:lnTo>
                  <a:pt x="419" y="22"/>
                </a:lnTo>
                <a:lnTo>
                  <a:pt x="421" y="22"/>
                </a:lnTo>
                <a:lnTo>
                  <a:pt x="425" y="20"/>
                </a:lnTo>
                <a:lnTo>
                  <a:pt x="428" y="18"/>
                </a:lnTo>
                <a:lnTo>
                  <a:pt x="429" y="15"/>
                </a:lnTo>
                <a:lnTo>
                  <a:pt x="430" y="12"/>
                </a:lnTo>
                <a:lnTo>
                  <a:pt x="430" y="9"/>
                </a:lnTo>
                <a:lnTo>
                  <a:pt x="431" y="9"/>
                </a:lnTo>
                <a:lnTo>
                  <a:pt x="431" y="8"/>
                </a:lnTo>
                <a:lnTo>
                  <a:pt x="430" y="6"/>
                </a:lnTo>
                <a:lnTo>
                  <a:pt x="431" y="3"/>
                </a:lnTo>
                <a:lnTo>
                  <a:pt x="432" y="3"/>
                </a:lnTo>
                <a:lnTo>
                  <a:pt x="436" y="4"/>
                </a:lnTo>
                <a:lnTo>
                  <a:pt x="438" y="3"/>
                </a:lnTo>
                <a:lnTo>
                  <a:pt x="447" y="8"/>
                </a:lnTo>
                <a:lnTo>
                  <a:pt x="448" y="8"/>
                </a:lnTo>
                <a:lnTo>
                  <a:pt x="450" y="7"/>
                </a:lnTo>
                <a:lnTo>
                  <a:pt x="452" y="7"/>
                </a:lnTo>
                <a:lnTo>
                  <a:pt x="453" y="8"/>
                </a:lnTo>
                <a:lnTo>
                  <a:pt x="455" y="8"/>
                </a:lnTo>
                <a:lnTo>
                  <a:pt x="460" y="4"/>
                </a:lnTo>
                <a:lnTo>
                  <a:pt x="461" y="4"/>
                </a:lnTo>
                <a:lnTo>
                  <a:pt x="462" y="3"/>
                </a:lnTo>
                <a:lnTo>
                  <a:pt x="462" y="2"/>
                </a:lnTo>
                <a:lnTo>
                  <a:pt x="465" y="2"/>
                </a:lnTo>
                <a:lnTo>
                  <a:pt x="466" y="1"/>
                </a:lnTo>
                <a:lnTo>
                  <a:pt x="466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" name="Freeform 7">
            <a:extLst>
              <a:ext uri="{FF2B5EF4-FFF2-40B4-BE49-F238E27FC236}">
                <a16:creationId xmlns:a16="http://schemas.microsoft.com/office/drawing/2014/main" id="{9E89BBBE-4AB4-4301-933A-16D3945A833F}"/>
              </a:ext>
            </a:extLst>
          </p:cNvPr>
          <p:cNvSpPr>
            <a:spLocks noEditPoints="1"/>
          </p:cNvSpPr>
          <p:nvPr/>
        </p:nvSpPr>
        <p:spPr bwMode="auto">
          <a:xfrm>
            <a:off x="2800898" y="5413094"/>
            <a:ext cx="1170744" cy="492640"/>
          </a:xfrm>
          <a:custGeom>
            <a:avLst/>
            <a:gdLst/>
            <a:ahLst/>
            <a:cxnLst>
              <a:cxn ang="0">
                <a:pos x="72" y="295"/>
              </a:cxn>
              <a:cxn ang="0">
                <a:pos x="12" y="104"/>
              </a:cxn>
              <a:cxn ang="0">
                <a:pos x="82" y="86"/>
              </a:cxn>
              <a:cxn ang="0">
                <a:pos x="86" y="7"/>
              </a:cxn>
              <a:cxn ang="0">
                <a:pos x="105" y="30"/>
              </a:cxn>
              <a:cxn ang="0">
                <a:pos x="195" y="50"/>
              </a:cxn>
              <a:cxn ang="0">
                <a:pos x="275" y="26"/>
              </a:cxn>
              <a:cxn ang="0">
                <a:pos x="373" y="7"/>
              </a:cxn>
              <a:cxn ang="0">
                <a:pos x="415" y="26"/>
              </a:cxn>
              <a:cxn ang="0">
                <a:pos x="452" y="46"/>
              </a:cxn>
              <a:cxn ang="0">
                <a:pos x="508" y="55"/>
              </a:cxn>
              <a:cxn ang="0">
                <a:pos x="553" y="62"/>
              </a:cxn>
              <a:cxn ang="0">
                <a:pos x="615" y="66"/>
              </a:cxn>
              <a:cxn ang="0">
                <a:pos x="668" y="33"/>
              </a:cxn>
              <a:cxn ang="0">
                <a:pos x="722" y="33"/>
              </a:cxn>
              <a:cxn ang="0">
                <a:pos x="752" y="62"/>
              </a:cxn>
              <a:cxn ang="0">
                <a:pos x="770" y="116"/>
              </a:cxn>
              <a:cxn ang="0">
                <a:pos x="797" y="130"/>
              </a:cxn>
              <a:cxn ang="0">
                <a:pos x="780" y="177"/>
              </a:cxn>
              <a:cxn ang="0">
                <a:pos x="785" y="222"/>
              </a:cxn>
              <a:cxn ang="0">
                <a:pos x="798" y="253"/>
              </a:cxn>
              <a:cxn ang="0">
                <a:pos x="782" y="271"/>
              </a:cxn>
              <a:cxn ang="0">
                <a:pos x="744" y="261"/>
              </a:cxn>
              <a:cxn ang="0">
                <a:pos x="690" y="270"/>
              </a:cxn>
              <a:cxn ang="0">
                <a:pos x="528" y="284"/>
              </a:cxn>
              <a:cxn ang="0">
                <a:pos x="459" y="310"/>
              </a:cxn>
              <a:cxn ang="0">
                <a:pos x="440" y="339"/>
              </a:cxn>
              <a:cxn ang="0">
                <a:pos x="432" y="308"/>
              </a:cxn>
              <a:cxn ang="0">
                <a:pos x="419" y="300"/>
              </a:cxn>
              <a:cxn ang="0">
                <a:pos x="369" y="296"/>
              </a:cxn>
              <a:cxn ang="0">
                <a:pos x="337" y="322"/>
              </a:cxn>
              <a:cxn ang="0">
                <a:pos x="282" y="322"/>
              </a:cxn>
              <a:cxn ang="0">
                <a:pos x="223" y="286"/>
              </a:cxn>
              <a:cxn ang="0">
                <a:pos x="200" y="319"/>
              </a:cxn>
              <a:cxn ang="0">
                <a:pos x="168" y="321"/>
              </a:cxn>
              <a:cxn ang="0">
                <a:pos x="145" y="302"/>
              </a:cxn>
              <a:cxn ang="0">
                <a:pos x="121" y="288"/>
              </a:cxn>
              <a:cxn ang="0">
                <a:pos x="111" y="294"/>
              </a:cxn>
              <a:cxn ang="0">
                <a:pos x="96" y="292"/>
              </a:cxn>
              <a:cxn ang="0">
                <a:pos x="86" y="290"/>
              </a:cxn>
              <a:cxn ang="0">
                <a:pos x="108" y="278"/>
              </a:cxn>
              <a:cxn ang="0">
                <a:pos x="70" y="278"/>
              </a:cxn>
              <a:cxn ang="0">
                <a:pos x="80" y="265"/>
              </a:cxn>
              <a:cxn ang="0">
                <a:pos x="65" y="247"/>
              </a:cxn>
              <a:cxn ang="0">
                <a:pos x="50" y="223"/>
              </a:cxn>
              <a:cxn ang="0">
                <a:pos x="27" y="209"/>
              </a:cxn>
              <a:cxn ang="0">
                <a:pos x="38" y="194"/>
              </a:cxn>
              <a:cxn ang="0">
                <a:pos x="55" y="202"/>
              </a:cxn>
              <a:cxn ang="0">
                <a:pos x="53" y="181"/>
              </a:cxn>
              <a:cxn ang="0">
                <a:pos x="45" y="159"/>
              </a:cxn>
              <a:cxn ang="0">
                <a:pos x="16" y="146"/>
              </a:cxn>
              <a:cxn ang="0">
                <a:pos x="68" y="92"/>
              </a:cxn>
              <a:cxn ang="0">
                <a:pos x="100" y="92"/>
              </a:cxn>
              <a:cxn ang="0">
                <a:pos x="137" y="92"/>
              </a:cxn>
              <a:cxn ang="0">
                <a:pos x="158" y="75"/>
              </a:cxn>
              <a:cxn ang="0">
                <a:pos x="124" y="61"/>
              </a:cxn>
              <a:cxn ang="0">
                <a:pos x="68" y="79"/>
              </a:cxn>
              <a:cxn ang="0">
                <a:pos x="30" y="109"/>
              </a:cxn>
              <a:cxn ang="0">
                <a:pos x="36" y="85"/>
              </a:cxn>
              <a:cxn ang="0">
                <a:pos x="28" y="54"/>
              </a:cxn>
              <a:cxn ang="0">
                <a:pos x="34" y="17"/>
              </a:cxn>
            </a:cxnLst>
            <a:rect l="0" t="0" r="r" b="b"/>
            <a:pathLst>
              <a:path w="808" h="340">
                <a:moveTo>
                  <a:pt x="96" y="300"/>
                </a:moveTo>
                <a:lnTo>
                  <a:pt x="101" y="300"/>
                </a:lnTo>
                <a:lnTo>
                  <a:pt x="101" y="301"/>
                </a:lnTo>
                <a:lnTo>
                  <a:pt x="100" y="301"/>
                </a:lnTo>
                <a:lnTo>
                  <a:pt x="100" y="302"/>
                </a:lnTo>
                <a:lnTo>
                  <a:pt x="98" y="302"/>
                </a:lnTo>
                <a:lnTo>
                  <a:pt x="96" y="301"/>
                </a:lnTo>
                <a:lnTo>
                  <a:pt x="96" y="300"/>
                </a:lnTo>
                <a:close/>
                <a:moveTo>
                  <a:pt x="100" y="297"/>
                </a:moveTo>
                <a:lnTo>
                  <a:pt x="101" y="297"/>
                </a:lnTo>
                <a:lnTo>
                  <a:pt x="100" y="298"/>
                </a:lnTo>
                <a:lnTo>
                  <a:pt x="100" y="297"/>
                </a:lnTo>
                <a:close/>
                <a:moveTo>
                  <a:pt x="136" y="296"/>
                </a:moveTo>
                <a:lnTo>
                  <a:pt x="137" y="297"/>
                </a:lnTo>
                <a:lnTo>
                  <a:pt x="136" y="297"/>
                </a:lnTo>
                <a:lnTo>
                  <a:pt x="136" y="296"/>
                </a:lnTo>
                <a:close/>
                <a:moveTo>
                  <a:pt x="96" y="295"/>
                </a:moveTo>
                <a:lnTo>
                  <a:pt x="100" y="295"/>
                </a:lnTo>
                <a:lnTo>
                  <a:pt x="100" y="296"/>
                </a:lnTo>
                <a:lnTo>
                  <a:pt x="98" y="296"/>
                </a:lnTo>
                <a:lnTo>
                  <a:pt x="96" y="295"/>
                </a:lnTo>
                <a:close/>
                <a:moveTo>
                  <a:pt x="418" y="294"/>
                </a:moveTo>
                <a:lnTo>
                  <a:pt x="418" y="295"/>
                </a:lnTo>
                <a:lnTo>
                  <a:pt x="419" y="295"/>
                </a:lnTo>
                <a:lnTo>
                  <a:pt x="419" y="294"/>
                </a:lnTo>
                <a:lnTo>
                  <a:pt x="418" y="294"/>
                </a:lnTo>
                <a:close/>
                <a:moveTo>
                  <a:pt x="71" y="294"/>
                </a:moveTo>
                <a:lnTo>
                  <a:pt x="72" y="295"/>
                </a:lnTo>
                <a:lnTo>
                  <a:pt x="71" y="296"/>
                </a:lnTo>
                <a:lnTo>
                  <a:pt x="71" y="294"/>
                </a:lnTo>
                <a:close/>
                <a:moveTo>
                  <a:pt x="74" y="277"/>
                </a:moveTo>
                <a:lnTo>
                  <a:pt x="74" y="278"/>
                </a:lnTo>
                <a:lnTo>
                  <a:pt x="72" y="278"/>
                </a:lnTo>
                <a:lnTo>
                  <a:pt x="74" y="277"/>
                </a:lnTo>
                <a:close/>
                <a:moveTo>
                  <a:pt x="67" y="272"/>
                </a:moveTo>
                <a:lnTo>
                  <a:pt x="68" y="272"/>
                </a:lnTo>
                <a:lnTo>
                  <a:pt x="67" y="273"/>
                </a:lnTo>
                <a:lnTo>
                  <a:pt x="67" y="272"/>
                </a:lnTo>
                <a:close/>
                <a:moveTo>
                  <a:pt x="26" y="206"/>
                </a:moveTo>
                <a:lnTo>
                  <a:pt x="27" y="206"/>
                </a:lnTo>
                <a:lnTo>
                  <a:pt x="27" y="208"/>
                </a:lnTo>
                <a:lnTo>
                  <a:pt x="26" y="208"/>
                </a:lnTo>
                <a:lnTo>
                  <a:pt x="26" y="206"/>
                </a:lnTo>
                <a:close/>
                <a:moveTo>
                  <a:pt x="49" y="197"/>
                </a:moveTo>
                <a:lnTo>
                  <a:pt x="50" y="198"/>
                </a:lnTo>
                <a:lnTo>
                  <a:pt x="49" y="198"/>
                </a:lnTo>
                <a:lnTo>
                  <a:pt x="49" y="197"/>
                </a:lnTo>
                <a:close/>
                <a:moveTo>
                  <a:pt x="13" y="126"/>
                </a:moveTo>
                <a:lnTo>
                  <a:pt x="18" y="126"/>
                </a:lnTo>
                <a:lnTo>
                  <a:pt x="18" y="129"/>
                </a:lnTo>
                <a:lnTo>
                  <a:pt x="16" y="129"/>
                </a:lnTo>
                <a:lnTo>
                  <a:pt x="15" y="128"/>
                </a:lnTo>
                <a:lnTo>
                  <a:pt x="13" y="128"/>
                </a:lnTo>
                <a:lnTo>
                  <a:pt x="13" y="126"/>
                </a:lnTo>
                <a:close/>
                <a:moveTo>
                  <a:pt x="11" y="104"/>
                </a:moveTo>
                <a:lnTo>
                  <a:pt x="12" y="104"/>
                </a:lnTo>
                <a:lnTo>
                  <a:pt x="12" y="105"/>
                </a:lnTo>
                <a:lnTo>
                  <a:pt x="13" y="105"/>
                </a:lnTo>
                <a:lnTo>
                  <a:pt x="13" y="109"/>
                </a:lnTo>
                <a:lnTo>
                  <a:pt x="14" y="109"/>
                </a:lnTo>
                <a:lnTo>
                  <a:pt x="14" y="110"/>
                </a:lnTo>
                <a:lnTo>
                  <a:pt x="13" y="110"/>
                </a:lnTo>
                <a:lnTo>
                  <a:pt x="9" y="111"/>
                </a:lnTo>
                <a:lnTo>
                  <a:pt x="8" y="111"/>
                </a:lnTo>
                <a:lnTo>
                  <a:pt x="5" y="112"/>
                </a:lnTo>
                <a:lnTo>
                  <a:pt x="2" y="112"/>
                </a:lnTo>
                <a:lnTo>
                  <a:pt x="2" y="111"/>
                </a:lnTo>
                <a:lnTo>
                  <a:pt x="0" y="111"/>
                </a:lnTo>
                <a:lnTo>
                  <a:pt x="0" y="110"/>
                </a:lnTo>
                <a:lnTo>
                  <a:pt x="3" y="106"/>
                </a:lnTo>
                <a:lnTo>
                  <a:pt x="11" y="104"/>
                </a:lnTo>
                <a:close/>
                <a:moveTo>
                  <a:pt x="81" y="89"/>
                </a:moveTo>
                <a:lnTo>
                  <a:pt x="82" y="89"/>
                </a:lnTo>
                <a:lnTo>
                  <a:pt x="83" y="91"/>
                </a:lnTo>
                <a:lnTo>
                  <a:pt x="83" y="92"/>
                </a:lnTo>
                <a:lnTo>
                  <a:pt x="81" y="92"/>
                </a:lnTo>
                <a:lnTo>
                  <a:pt x="81" y="89"/>
                </a:lnTo>
                <a:close/>
                <a:moveTo>
                  <a:pt x="78" y="81"/>
                </a:moveTo>
                <a:lnTo>
                  <a:pt x="86" y="81"/>
                </a:lnTo>
                <a:lnTo>
                  <a:pt x="87" y="82"/>
                </a:lnTo>
                <a:lnTo>
                  <a:pt x="87" y="83"/>
                </a:lnTo>
                <a:lnTo>
                  <a:pt x="84" y="83"/>
                </a:lnTo>
                <a:lnTo>
                  <a:pt x="82" y="85"/>
                </a:lnTo>
                <a:lnTo>
                  <a:pt x="82" y="86"/>
                </a:lnTo>
                <a:lnTo>
                  <a:pt x="81" y="85"/>
                </a:lnTo>
                <a:lnTo>
                  <a:pt x="78" y="85"/>
                </a:lnTo>
                <a:lnTo>
                  <a:pt x="78" y="81"/>
                </a:lnTo>
                <a:close/>
                <a:moveTo>
                  <a:pt x="120" y="57"/>
                </a:moveTo>
                <a:lnTo>
                  <a:pt x="121" y="58"/>
                </a:lnTo>
                <a:lnTo>
                  <a:pt x="121" y="60"/>
                </a:lnTo>
                <a:lnTo>
                  <a:pt x="123" y="60"/>
                </a:lnTo>
                <a:lnTo>
                  <a:pt x="123" y="58"/>
                </a:lnTo>
                <a:lnTo>
                  <a:pt x="121" y="57"/>
                </a:lnTo>
                <a:lnTo>
                  <a:pt x="120" y="57"/>
                </a:lnTo>
                <a:close/>
                <a:moveTo>
                  <a:pt x="400" y="3"/>
                </a:moveTo>
                <a:lnTo>
                  <a:pt x="401" y="3"/>
                </a:lnTo>
                <a:lnTo>
                  <a:pt x="403" y="5"/>
                </a:lnTo>
                <a:lnTo>
                  <a:pt x="400" y="5"/>
                </a:lnTo>
                <a:lnTo>
                  <a:pt x="400" y="3"/>
                </a:lnTo>
                <a:close/>
                <a:moveTo>
                  <a:pt x="65" y="0"/>
                </a:moveTo>
                <a:lnTo>
                  <a:pt x="67" y="0"/>
                </a:lnTo>
                <a:lnTo>
                  <a:pt x="68" y="1"/>
                </a:lnTo>
                <a:lnTo>
                  <a:pt x="69" y="1"/>
                </a:lnTo>
                <a:lnTo>
                  <a:pt x="70" y="2"/>
                </a:lnTo>
                <a:lnTo>
                  <a:pt x="72" y="6"/>
                </a:lnTo>
                <a:lnTo>
                  <a:pt x="74" y="7"/>
                </a:lnTo>
                <a:lnTo>
                  <a:pt x="77" y="9"/>
                </a:lnTo>
                <a:lnTo>
                  <a:pt x="80" y="12"/>
                </a:lnTo>
                <a:lnTo>
                  <a:pt x="80" y="9"/>
                </a:lnTo>
                <a:lnTo>
                  <a:pt x="82" y="9"/>
                </a:lnTo>
                <a:lnTo>
                  <a:pt x="82" y="8"/>
                </a:lnTo>
                <a:lnTo>
                  <a:pt x="86" y="7"/>
                </a:lnTo>
                <a:lnTo>
                  <a:pt x="87" y="7"/>
                </a:lnTo>
                <a:lnTo>
                  <a:pt x="89" y="9"/>
                </a:lnTo>
                <a:lnTo>
                  <a:pt x="90" y="9"/>
                </a:lnTo>
                <a:lnTo>
                  <a:pt x="90" y="6"/>
                </a:lnTo>
                <a:lnTo>
                  <a:pt x="93" y="6"/>
                </a:lnTo>
                <a:lnTo>
                  <a:pt x="94" y="7"/>
                </a:lnTo>
                <a:lnTo>
                  <a:pt x="99" y="7"/>
                </a:lnTo>
                <a:lnTo>
                  <a:pt x="100" y="11"/>
                </a:lnTo>
                <a:lnTo>
                  <a:pt x="100" y="12"/>
                </a:lnTo>
                <a:lnTo>
                  <a:pt x="98" y="12"/>
                </a:lnTo>
                <a:lnTo>
                  <a:pt x="98" y="13"/>
                </a:lnTo>
                <a:lnTo>
                  <a:pt x="96" y="14"/>
                </a:lnTo>
                <a:lnTo>
                  <a:pt x="98" y="15"/>
                </a:lnTo>
                <a:lnTo>
                  <a:pt x="98" y="17"/>
                </a:lnTo>
                <a:lnTo>
                  <a:pt x="99" y="18"/>
                </a:lnTo>
                <a:lnTo>
                  <a:pt x="99" y="19"/>
                </a:lnTo>
                <a:lnTo>
                  <a:pt x="100" y="21"/>
                </a:lnTo>
                <a:lnTo>
                  <a:pt x="100" y="23"/>
                </a:lnTo>
                <a:lnTo>
                  <a:pt x="101" y="23"/>
                </a:lnTo>
                <a:lnTo>
                  <a:pt x="101" y="24"/>
                </a:lnTo>
                <a:lnTo>
                  <a:pt x="102" y="24"/>
                </a:lnTo>
                <a:lnTo>
                  <a:pt x="102" y="25"/>
                </a:lnTo>
                <a:lnTo>
                  <a:pt x="101" y="25"/>
                </a:lnTo>
                <a:lnTo>
                  <a:pt x="102" y="26"/>
                </a:lnTo>
                <a:lnTo>
                  <a:pt x="102" y="27"/>
                </a:lnTo>
                <a:lnTo>
                  <a:pt x="103" y="27"/>
                </a:lnTo>
                <a:lnTo>
                  <a:pt x="105" y="28"/>
                </a:lnTo>
                <a:lnTo>
                  <a:pt x="105" y="30"/>
                </a:lnTo>
                <a:lnTo>
                  <a:pt x="108" y="33"/>
                </a:lnTo>
                <a:lnTo>
                  <a:pt x="114" y="37"/>
                </a:lnTo>
                <a:lnTo>
                  <a:pt x="124" y="40"/>
                </a:lnTo>
                <a:lnTo>
                  <a:pt x="137" y="48"/>
                </a:lnTo>
                <a:lnTo>
                  <a:pt x="140" y="48"/>
                </a:lnTo>
                <a:lnTo>
                  <a:pt x="142" y="49"/>
                </a:lnTo>
                <a:lnTo>
                  <a:pt x="142" y="48"/>
                </a:lnTo>
                <a:lnTo>
                  <a:pt x="143" y="48"/>
                </a:lnTo>
                <a:lnTo>
                  <a:pt x="144" y="49"/>
                </a:lnTo>
                <a:lnTo>
                  <a:pt x="145" y="49"/>
                </a:lnTo>
                <a:lnTo>
                  <a:pt x="145" y="50"/>
                </a:lnTo>
                <a:lnTo>
                  <a:pt x="143" y="52"/>
                </a:lnTo>
                <a:lnTo>
                  <a:pt x="142" y="52"/>
                </a:lnTo>
                <a:lnTo>
                  <a:pt x="143" y="54"/>
                </a:lnTo>
                <a:lnTo>
                  <a:pt x="143" y="57"/>
                </a:lnTo>
                <a:lnTo>
                  <a:pt x="144" y="56"/>
                </a:lnTo>
                <a:lnTo>
                  <a:pt x="144" y="54"/>
                </a:lnTo>
                <a:lnTo>
                  <a:pt x="143" y="54"/>
                </a:lnTo>
                <a:lnTo>
                  <a:pt x="148" y="49"/>
                </a:lnTo>
                <a:lnTo>
                  <a:pt x="150" y="49"/>
                </a:lnTo>
                <a:lnTo>
                  <a:pt x="158" y="50"/>
                </a:lnTo>
                <a:lnTo>
                  <a:pt x="167" y="52"/>
                </a:lnTo>
                <a:lnTo>
                  <a:pt x="177" y="54"/>
                </a:lnTo>
                <a:lnTo>
                  <a:pt x="190" y="54"/>
                </a:lnTo>
                <a:lnTo>
                  <a:pt x="193" y="51"/>
                </a:lnTo>
                <a:lnTo>
                  <a:pt x="194" y="51"/>
                </a:lnTo>
                <a:lnTo>
                  <a:pt x="194" y="50"/>
                </a:lnTo>
                <a:lnTo>
                  <a:pt x="195" y="50"/>
                </a:lnTo>
                <a:lnTo>
                  <a:pt x="196" y="51"/>
                </a:lnTo>
                <a:lnTo>
                  <a:pt x="199" y="52"/>
                </a:lnTo>
                <a:lnTo>
                  <a:pt x="212" y="55"/>
                </a:lnTo>
                <a:lnTo>
                  <a:pt x="214" y="57"/>
                </a:lnTo>
                <a:lnTo>
                  <a:pt x="230" y="57"/>
                </a:lnTo>
                <a:lnTo>
                  <a:pt x="230" y="56"/>
                </a:lnTo>
                <a:lnTo>
                  <a:pt x="231" y="56"/>
                </a:lnTo>
                <a:lnTo>
                  <a:pt x="231" y="57"/>
                </a:lnTo>
                <a:lnTo>
                  <a:pt x="232" y="57"/>
                </a:lnTo>
                <a:lnTo>
                  <a:pt x="233" y="56"/>
                </a:lnTo>
                <a:lnTo>
                  <a:pt x="235" y="57"/>
                </a:lnTo>
                <a:lnTo>
                  <a:pt x="235" y="56"/>
                </a:lnTo>
                <a:lnTo>
                  <a:pt x="237" y="56"/>
                </a:lnTo>
                <a:lnTo>
                  <a:pt x="242" y="51"/>
                </a:lnTo>
                <a:lnTo>
                  <a:pt x="242" y="48"/>
                </a:lnTo>
                <a:lnTo>
                  <a:pt x="243" y="46"/>
                </a:lnTo>
                <a:lnTo>
                  <a:pt x="242" y="45"/>
                </a:lnTo>
                <a:lnTo>
                  <a:pt x="242" y="44"/>
                </a:lnTo>
                <a:lnTo>
                  <a:pt x="245" y="44"/>
                </a:lnTo>
                <a:lnTo>
                  <a:pt x="245" y="43"/>
                </a:lnTo>
                <a:lnTo>
                  <a:pt x="247" y="42"/>
                </a:lnTo>
                <a:lnTo>
                  <a:pt x="252" y="39"/>
                </a:lnTo>
                <a:lnTo>
                  <a:pt x="262" y="33"/>
                </a:lnTo>
                <a:lnTo>
                  <a:pt x="267" y="31"/>
                </a:lnTo>
                <a:lnTo>
                  <a:pt x="268" y="30"/>
                </a:lnTo>
                <a:lnTo>
                  <a:pt x="269" y="30"/>
                </a:lnTo>
                <a:lnTo>
                  <a:pt x="273" y="28"/>
                </a:lnTo>
                <a:lnTo>
                  <a:pt x="275" y="26"/>
                </a:lnTo>
                <a:lnTo>
                  <a:pt x="277" y="23"/>
                </a:lnTo>
                <a:lnTo>
                  <a:pt x="279" y="21"/>
                </a:lnTo>
                <a:lnTo>
                  <a:pt x="282" y="21"/>
                </a:lnTo>
                <a:lnTo>
                  <a:pt x="282" y="20"/>
                </a:lnTo>
                <a:lnTo>
                  <a:pt x="285" y="20"/>
                </a:lnTo>
                <a:lnTo>
                  <a:pt x="286" y="19"/>
                </a:lnTo>
                <a:lnTo>
                  <a:pt x="289" y="17"/>
                </a:lnTo>
                <a:lnTo>
                  <a:pt x="292" y="17"/>
                </a:lnTo>
                <a:lnTo>
                  <a:pt x="292" y="15"/>
                </a:lnTo>
                <a:lnTo>
                  <a:pt x="293" y="15"/>
                </a:lnTo>
                <a:lnTo>
                  <a:pt x="294" y="14"/>
                </a:lnTo>
                <a:lnTo>
                  <a:pt x="295" y="15"/>
                </a:lnTo>
                <a:lnTo>
                  <a:pt x="298" y="14"/>
                </a:lnTo>
                <a:lnTo>
                  <a:pt x="301" y="14"/>
                </a:lnTo>
                <a:lnTo>
                  <a:pt x="303" y="13"/>
                </a:lnTo>
                <a:lnTo>
                  <a:pt x="306" y="13"/>
                </a:lnTo>
                <a:lnTo>
                  <a:pt x="307" y="12"/>
                </a:lnTo>
                <a:lnTo>
                  <a:pt x="310" y="11"/>
                </a:lnTo>
                <a:lnTo>
                  <a:pt x="316" y="8"/>
                </a:lnTo>
                <a:lnTo>
                  <a:pt x="323" y="5"/>
                </a:lnTo>
                <a:lnTo>
                  <a:pt x="332" y="5"/>
                </a:lnTo>
                <a:lnTo>
                  <a:pt x="334" y="6"/>
                </a:lnTo>
                <a:lnTo>
                  <a:pt x="335" y="6"/>
                </a:lnTo>
                <a:lnTo>
                  <a:pt x="344" y="7"/>
                </a:lnTo>
                <a:lnTo>
                  <a:pt x="351" y="7"/>
                </a:lnTo>
                <a:lnTo>
                  <a:pt x="366" y="8"/>
                </a:lnTo>
                <a:lnTo>
                  <a:pt x="370" y="7"/>
                </a:lnTo>
                <a:lnTo>
                  <a:pt x="373" y="7"/>
                </a:lnTo>
                <a:lnTo>
                  <a:pt x="374" y="8"/>
                </a:lnTo>
                <a:lnTo>
                  <a:pt x="375" y="8"/>
                </a:lnTo>
                <a:lnTo>
                  <a:pt x="381" y="9"/>
                </a:lnTo>
                <a:lnTo>
                  <a:pt x="382" y="8"/>
                </a:lnTo>
                <a:lnTo>
                  <a:pt x="385" y="8"/>
                </a:lnTo>
                <a:lnTo>
                  <a:pt x="387" y="6"/>
                </a:lnTo>
                <a:lnTo>
                  <a:pt x="390" y="6"/>
                </a:lnTo>
                <a:lnTo>
                  <a:pt x="391" y="3"/>
                </a:lnTo>
                <a:lnTo>
                  <a:pt x="391" y="2"/>
                </a:lnTo>
                <a:lnTo>
                  <a:pt x="392" y="0"/>
                </a:lnTo>
                <a:lnTo>
                  <a:pt x="393" y="1"/>
                </a:lnTo>
                <a:lnTo>
                  <a:pt x="395" y="1"/>
                </a:lnTo>
                <a:lnTo>
                  <a:pt x="395" y="3"/>
                </a:lnTo>
                <a:lnTo>
                  <a:pt x="397" y="5"/>
                </a:lnTo>
                <a:lnTo>
                  <a:pt x="399" y="5"/>
                </a:lnTo>
                <a:lnTo>
                  <a:pt x="399" y="6"/>
                </a:lnTo>
                <a:lnTo>
                  <a:pt x="398" y="6"/>
                </a:lnTo>
                <a:lnTo>
                  <a:pt x="398" y="11"/>
                </a:lnTo>
                <a:lnTo>
                  <a:pt x="399" y="13"/>
                </a:lnTo>
                <a:lnTo>
                  <a:pt x="403" y="17"/>
                </a:lnTo>
                <a:lnTo>
                  <a:pt x="401" y="17"/>
                </a:lnTo>
                <a:lnTo>
                  <a:pt x="403" y="18"/>
                </a:lnTo>
                <a:lnTo>
                  <a:pt x="403" y="19"/>
                </a:lnTo>
                <a:lnTo>
                  <a:pt x="405" y="21"/>
                </a:lnTo>
                <a:lnTo>
                  <a:pt x="406" y="21"/>
                </a:lnTo>
                <a:lnTo>
                  <a:pt x="411" y="24"/>
                </a:lnTo>
                <a:lnTo>
                  <a:pt x="412" y="25"/>
                </a:lnTo>
                <a:lnTo>
                  <a:pt x="415" y="26"/>
                </a:lnTo>
                <a:lnTo>
                  <a:pt x="421" y="26"/>
                </a:lnTo>
                <a:lnTo>
                  <a:pt x="422" y="25"/>
                </a:lnTo>
                <a:lnTo>
                  <a:pt x="425" y="25"/>
                </a:lnTo>
                <a:lnTo>
                  <a:pt x="429" y="23"/>
                </a:lnTo>
                <a:lnTo>
                  <a:pt x="431" y="23"/>
                </a:lnTo>
                <a:lnTo>
                  <a:pt x="434" y="21"/>
                </a:lnTo>
                <a:lnTo>
                  <a:pt x="434" y="23"/>
                </a:lnTo>
                <a:lnTo>
                  <a:pt x="432" y="23"/>
                </a:lnTo>
                <a:lnTo>
                  <a:pt x="432" y="25"/>
                </a:lnTo>
                <a:lnTo>
                  <a:pt x="434" y="24"/>
                </a:lnTo>
                <a:lnTo>
                  <a:pt x="434" y="23"/>
                </a:lnTo>
                <a:lnTo>
                  <a:pt x="435" y="21"/>
                </a:lnTo>
                <a:lnTo>
                  <a:pt x="437" y="24"/>
                </a:lnTo>
                <a:lnTo>
                  <a:pt x="437" y="23"/>
                </a:lnTo>
                <a:lnTo>
                  <a:pt x="441" y="27"/>
                </a:lnTo>
                <a:lnTo>
                  <a:pt x="442" y="28"/>
                </a:lnTo>
                <a:lnTo>
                  <a:pt x="442" y="31"/>
                </a:lnTo>
                <a:lnTo>
                  <a:pt x="441" y="31"/>
                </a:lnTo>
                <a:lnTo>
                  <a:pt x="441" y="36"/>
                </a:lnTo>
                <a:lnTo>
                  <a:pt x="442" y="36"/>
                </a:lnTo>
                <a:lnTo>
                  <a:pt x="443" y="38"/>
                </a:lnTo>
                <a:lnTo>
                  <a:pt x="444" y="39"/>
                </a:lnTo>
                <a:lnTo>
                  <a:pt x="446" y="42"/>
                </a:lnTo>
                <a:lnTo>
                  <a:pt x="447" y="43"/>
                </a:lnTo>
                <a:lnTo>
                  <a:pt x="449" y="44"/>
                </a:lnTo>
                <a:lnTo>
                  <a:pt x="450" y="44"/>
                </a:lnTo>
                <a:lnTo>
                  <a:pt x="450" y="46"/>
                </a:lnTo>
                <a:lnTo>
                  <a:pt x="452" y="46"/>
                </a:lnTo>
                <a:lnTo>
                  <a:pt x="453" y="48"/>
                </a:lnTo>
                <a:lnTo>
                  <a:pt x="454" y="48"/>
                </a:lnTo>
                <a:lnTo>
                  <a:pt x="454" y="49"/>
                </a:lnTo>
                <a:lnTo>
                  <a:pt x="456" y="49"/>
                </a:lnTo>
                <a:lnTo>
                  <a:pt x="460" y="45"/>
                </a:lnTo>
                <a:lnTo>
                  <a:pt x="460" y="44"/>
                </a:lnTo>
                <a:lnTo>
                  <a:pt x="461" y="43"/>
                </a:lnTo>
                <a:lnTo>
                  <a:pt x="461" y="42"/>
                </a:lnTo>
                <a:lnTo>
                  <a:pt x="462" y="40"/>
                </a:lnTo>
                <a:lnTo>
                  <a:pt x="462" y="42"/>
                </a:lnTo>
                <a:lnTo>
                  <a:pt x="468" y="42"/>
                </a:lnTo>
                <a:lnTo>
                  <a:pt x="471" y="43"/>
                </a:lnTo>
                <a:lnTo>
                  <a:pt x="478" y="45"/>
                </a:lnTo>
                <a:lnTo>
                  <a:pt x="479" y="46"/>
                </a:lnTo>
                <a:lnTo>
                  <a:pt x="479" y="51"/>
                </a:lnTo>
                <a:lnTo>
                  <a:pt x="480" y="52"/>
                </a:lnTo>
                <a:lnTo>
                  <a:pt x="481" y="52"/>
                </a:lnTo>
                <a:lnTo>
                  <a:pt x="482" y="54"/>
                </a:lnTo>
                <a:lnTo>
                  <a:pt x="491" y="54"/>
                </a:lnTo>
                <a:lnTo>
                  <a:pt x="493" y="56"/>
                </a:lnTo>
                <a:lnTo>
                  <a:pt x="494" y="56"/>
                </a:lnTo>
                <a:lnTo>
                  <a:pt x="496" y="57"/>
                </a:lnTo>
                <a:lnTo>
                  <a:pt x="497" y="57"/>
                </a:lnTo>
                <a:lnTo>
                  <a:pt x="499" y="60"/>
                </a:lnTo>
                <a:lnTo>
                  <a:pt x="504" y="60"/>
                </a:lnTo>
                <a:lnTo>
                  <a:pt x="504" y="57"/>
                </a:lnTo>
                <a:lnTo>
                  <a:pt x="508" y="54"/>
                </a:lnTo>
                <a:lnTo>
                  <a:pt x="508" y="55"/>
                </a:lnTo>
                <a:lnTo>
                  <a:pt x="509" y="56"/>
                </a:lnTo>
                <a:lnTo>
                  <a:pt x="510" y="55"/>
                </a:lnTo>
                <a:lnTo>
                  <a:pt x="511" y="55"/>
                </a:lnTo>
                <a:lnTo>
                  <a:pt x="511" y="58"/>
                </a:lnTo>
                <a:lnTo>
                  <a:pt x="513" y="61"/>
                </a:lnTo>
                <a:lnTo>
                  <a:pt x="515" y="61"/>
                </a:lnTo>
                <a:lnTo>
                  <a:pt x="515" y="62"/>
                </a:lnTo>
                <a:lnTo>
                  <a:pt x="516" y="63"/>
                </a:lnTo>
                <a:lnTo>
                  <a:pt x="517" y="62"/>
                </a:lnTo>
                <a:lnTo>
                  <a:pt x="519" y="63"/>
                </a:lnTo>
                <a:lnTo>
                  <a:pt x="524" y="64"/>
                </a:lnTo>
                <a:lnTo>
                  <a:pt x="527" y="64"/>
                </a:lnTo>
                <a:lnTo>
                  <a:pt x="529" y="66"/>
                </a:lnTo>
                <a:lnTo>
                  <a:pt x="530" y="66"/>
                </a:lnTo>
                <a:lnTo>
                  <a:pt x="531" y="64"/>
                </a:lnTo>
                <a:lnTo>
                  <a:pt x="534" y="67"/>
                </a:lnTo>
                <a:lnTo>
                  <a:pt x="535" y="67"/>
                </a:lnTo>
                <a:lnTo>
                  <a:pt x="536" y="66"/>
                </a:lnTo>
                <a:lnTo>
                  <a:pt x="539" y="67"/>
                </a:lnTo>
                <a:lnTo>
                  <a:pt x="540" y="67"/>
                </a:lnTo>
                <a:lnTo>
                  <a:pt x="543" y="66"/>
                </a:lnTo>
                <a:lnTo>
                  <a:pt x="546" y="64"/>
                </a:lnTo>
                <a:lnTo>
                  <a:pt x="547" y="63"/>
                </a:lnTo>
                <a:lnTo>
                  <a:pt x="548" y="63"/>
                </a:lnTo>
                <a:lnTo>
                  <a:pt x="548" y="64"/>
                </a:lnTo>
                <a:lnTo>
                  <a:pt x="552" y="64"/>
                </a:lnTo>
                <a:lnTo>
                  <a:pt x="552" y="63"/>
                </a:lnTo>
                <a:lnTo>
                  <a:pt x="553" y="62"/>
                </a:lnTo>
                <a:lnTo>
                  <a:pt x="554" y="62"/>
                </a:lnTo>
                <a:lnTo>
                  <a:pt x="558" y="61"/>
                </a:lnTo>
                <a:lnTo>
                  <a:pt x="559" y="60"/>
                </a:lnTo>
                <a:lnTo>
                  <a:pt x="565" y="60"/>
                </a:lnTo>
                <a:lnTo>
                  <a:pt x="567" y="58"/>
                </a:lnTo>
                <a:lnTo>
                  <a:pt x="568" y="58"/>
                </a:lnTo>
                <a:lnTo>
                  <a:pt x="569" y="57"/>
                </a:lnTo>
                <a:lnTo>
                  <a:pt x="571" y="57"/>
                </a:lnTo>
                <a:lnTo>
                  <a:pt x="573" y="60"/>
                </a:lnTo>
                <a:lnTo>
                  <a:pt x="574" y="60"/>
                </a:lnTo>
                <a:lnTo>
                  <a:pt x="574" y="58"/>
                </a:lnTo>
                <a:lnTo>
                  <a:pt x="577" y="58"/>
                </a:lnTo>
                <a:lnTo>
                  <a:pt x="579" y="56"/>
                </a:lnTo>
                <a:lnTo>
                  <a:pt x="583" y="56"/>
                </a:lnTo>
                <a:lnTo>
                  <a:pt x="589" y="62"/>
                </a:lnTo>
                <a:lnTo>
                  <a:pt x="591" y="62"/>
                </a:lnTo>
                <a:lnTo>
                  <a:pt x="592" y="61"/>
                </a:lnTo>
                <a:lnTo>
                  <a:pt x="593" y="61"/>
                </a:lnTo>
                <a:lnTo>
                  <a:pt x="595" y="62"/>
                </a:lnTo>
                <a:lnTo>
                  <a:pt x="596" y="62"/>
                </a:lnTo>
                <a:lnTo>
                  <a:pt x="598" y="64"/>
                </a:lnTo>
                <a:lnTo>
                  <a:pt x="600" y="64"/>
                </a:lnTo>
                <a:lnTo>
                  <a:pt x="604" y="63"/>
                </a:lnTo>
                <a:lnTo>
                  <a:pt x="606" y="66"/>
                </a:lnTo>
                <a:lnTo>
                  <a:pt x="608" y="66"/>
                </a:lnTo>
                <a:lnTo>
                  <a:pt x="610" y="67"/>
                </a:lnTo>
                <a:lnTo>
                  <a:pt x="612" y="66"/>
                </a:lnTo>
                <a:lnTo>
                  <a:pt x="615" y="66"/>
                </a:lnTo>
                <a:lnTo>
                  <a:pt x="615" y="64"/>
                </a:lnTo>
                <a:lnTo>
                  <a:pt x="617" y="64"/>
                </a:lnTo>
                <a:lnTo>
                  <a:pt x="624" y="60"/>
                </a:lnTo>
                <a:lnTo>
                  <a:pt x="628" y="60"/>
                </a:lnTo>
                <a:lnTo>
                  <a:pt x="629" y="58"/>
                </a:lnTo>
                <a:lnTo>
                  <a:pt x="631" y="57"/>
                </a:lnTo>
                <a:lnTo>
                  <a:pt x="634" y="57"/>
                </a:lnTo>
                <a:lnTo>
                  <a:pt x="634" y="56"/>
                </a:lnTo>
                <a:lnTo>
                  <a:pt x="636" y="54"/>
                </a:lnTo>
                <a:lnTo>
                  <a:pt x="640" y="51"/>
                </a:lnTo>
                <a:lnTo>
                  <a:pt x="643" y="51"/>
                </a:lnTo>
                <a:lnTo>
                  <a:pt x="645" y="50"/>
                </a:lnTo>
                <a:lnTo>
                  <a:pt x="648" y="50"/>
                </a:lnTo>
                <a:lnTo>
                  <a:pt x="648" y="49"/>
                </a:lnTo>
                <a:lnTo>
                  <a:pt x="649" y="49"/>
                </a:lnTo>
                <a:lnTo>
                  <a:pt x="651" y="46"/>
                </a:lnTo>
                <a:lnTo>
                  <a:pt x="652" y="46"/>
                </a:lnTo>
                <a:lnTo>
                  <a:pt x="653" y="45"/>
                </a:lnTo>
                <a:lnTo>
                  <a:pt x="655" y="45"/>
                </a:lnTo>
                <a:lnTo>
                  <a:pt x="659" y="42"/>
                </a:lnTo>
                <a:lnTo>
                  <a:pt x="661" y="42"/>
                </a:lnTo>
                <a:lnTo>
                  <a:pt x="662" y="40"/>
                </a:lnTo>
                <a:lnTo>
                  <a:pt x="664" y="40"/>
                </a:lnTo>
                <a:lnTo>
                  <a:pt x="665" y="39"/>
                </a:lnTo>
                <a:lnTo>
                  <a:pt x="665" y="37"/>
                </a:lnTo>
                <a:lnTo>
                  <a:pt x="666" y="37"/>
                </a:lnTo>
                <a:lnTo>
                  <a:pt x="668" y="34"/>
                </a:lnTo>
                <a:lnTo>
                  <a:pt x="668" y="33"/>
                </a:lnTo>
                <a:lnTo>
                  <a:pt x="673" y="36"/>
                </a:lnTo>
                <a:lnTo>
                  <a:pt x="676" y="36"/>
                </a:lnTo>
                <a:lnTo>
                  <a:pt x="676" y="34"/>
                </a:lnTo>
                <a:lnTo>
                  <a:pt x="677" y="34"/>
                </a:lnTo>
                <a:lnTo>
                  <a:pt x="677" y="36"/>
                </a:lnTo>
                <a:lnTo>
                  <a:pt x="678" y="37"/>
                </a:lnTo>
                <a:lnTo>
                  <a:pt x="679" y="37"/>
                </a:lnTo>
                <a:lnTo>
                  <a:pt x="680" y="38"/>
                </a:lnTo>
                <a:lnTo>
                  <a:pt x="682" y="38"/>
                </a:lnTo>
                <a:lnTo>
                  <a:pt x="683" y="37"/>
                </a:lnTo>
                <a:lnTo>
                  <a:pt x="684" y="34"/>
                </a:lnTo>
                <a:lnTo>
                  <a:pt x="685" y="34"/>
                </a:lnTo>
                <a:lnTo>
                  <a:pt x="686" y="33"/>
                </a:lnTo>
                <a:lnTo>
                  <a:pt x="690" y="34"/>
                </a:lnTo>
                <a:lnTo>
                  <a:pt x="697" y="34"/>
                </a:lnTo>
                <a:lnTo>
                  <a:pt x="698" y="36"/>
                </a:lnTo>
                <a:lnTo>
                  <a:pt x="701" y="34"/>
                </a:lnTo>
                <a:lnTo>
                  <a:pt x="708" y="38"/>
                </a:lnTo>
                <a:lnTo>
                  <a:pt x="709" y="38"/>
                </a:lnTo>
                <a:lnTo>
                  <a:pt x="709" y="37"/>
                </a:lnTo>
                <a:lnTo>
                  <a:pt x="713" y="33"/>
                </a:lnTo>
                <a:lnTo>
                  <a:pt x="713" y="30"/>
                </a:lnTo>
                <a:lnTo>
                  <a:pt x="715" y="30"/>
                </a:lnTo>
                <a:lnTo>
                  <a:pt x="717" y="28"/>
                </a:lnTo>
                <a:lnTo>
                  <a:pt x="723" y="30"/>
                </a:lnTo>
                <a:lnTo>
                  <a:pt x="723" y="32"/>
                </a:lnTo>
                <a:lnTo>
                  <a:pt x="722" y="32"/>
                </a:lnTo>
                <a:lnTo>
                  <a:pt x="722" y="33"/>
                </a:lnTo>
                <a:lnTo>
                  <a:pt x="721" y="33"/>
                </a:lnTo>
                <a:lnTo>
                  <a:pt x="723" y="36"/>
                </a:lnTo>
                <a:lnTo>
                  <a:pt x="724" y="36"/>
                </a:lnTo>
                <a:lnTo>
                  <a:pt x="724" y="34"/>
                </a:lnTo>
                <a:lnTo>
                  <a:pt x="726" y="34"/>
                </a:lnTo>
                <a:lnTo>
                  <a:pt x="728" y="37"/>
                </a:lnTo>
                <a:lnTo>
                  <a:pt x="729" y="37"/>
                </a:lnTo>
                <a:lnTo>
                  <a:pt x="729" y="38"/>
                </a:lnTo>
                <a:lnTo>
                  <a:pt x="730" y="40"/>
                </a:lnTo>
                <a:lnTo>
                  <a:pt x="732" y="40"/>
                </a:lnTo>
                <a:lnTo>
                  <a:pt x="734" y="43"/>
                </a:lnTo>
                <a:lnTo>
                  <a:pt x="736" y="44"/>
                </a:lnTo>
                <a:lnTo>
                  <a:pt x="738" y="45"/>
                </a:lnTo>
                <a:lnTo>
                  <a:pt x="739" y="45"/>
                </a:lnTo>
                <a:lnTo>
                  <a:pt x="739" y="46"/>
                </a:lnTo>
                <a:lnTo>
                  <a:pt x="738" y="46"/>
                </a:lnTo>
                <a:lnTo>
                  <a:pt x="735" y="48"/>
                </a:lnTo>
                <a:lnTo>
                  <a:pt x="736" y="49"/>
                </a:lnTo>
                <a:lnTo>
                  <a:pt x="739" y="49"/>
                </a:lnTo>
                <a:lnTo>
                  <a:pt x="739" y="50"/>
                </a:lnTo>
                <a:lnTo>
                  <a:pt x="740" y="52"/>
                </a:lnTo>
                <a:lnTo>
                  <a:pt x="741" y="52"/>
                </a:lnTo>
                <a:lnTo>
                  <a:pt x="745" y="51"/>
                </a:lnTo>
                <a:lnTo>
                  <a:pt x="747" y="51"/>
                </a:lnTo>
                <a:lnTo>
                  <a:pt x="751" y="55"/>
                </a:lnTo>
                <a:lnTo>
                  <a:pt x="749" y="56"/>
                </a:lnTo>
                <a:lnTo>
                  <a:pt x="749" y="60"/>
                </a:lnTo>
                <a:lnTo>
                  <a:pt x="752" y="62"/>
                </a:lnTo>
                <a:lnTo>
                  <a:pt x="753" y="62"/>
                </a:lnTo>
                <a:lnTo>
                  <a:pt x="755" y="63"/>
                </a:lnTo>
                <a:lnTo>
                  <a:pt x="759" y="67"/>
                </a:lnTo>
                <a:lnTo>
                  <a:pt x="759" y="71"/>
                </a:lnTo>
                <a:lnTo>
                  <a:pt x="761" y="74"/>
                </a:lnTo>
                <a:lnTo>
                  <a:pt x="761" y="82"/>
                </a:lnTo>
                <a:lnTo>
                  <a:pt x="760" y="82"/>
                </a:lnTo>
                <a:lnTo>
                  <a:pt x="761" y="83"/>
                </a:lnTo>
                <a:lnTo>
                  <a:pt x="759" y="86"/>
                </a:lnTo>
                <a:lnTo>
                  <a:pt x="759" y="88"/>
                </a:lnTo>
                <a:lnTo>
                  <a:pt x="757" y="88"/>
                </a:lnTo>
                <a:lnTo>
                  <a:pt x="757" y="89"/>
                </a:lnTo>
                <a:lnTo>
                  <a:pt x="754" y="91"/>
                </a:lnTo>
                <a:lnTo>
                  <a:pt x="755" y="92"/>
                </a:lnTo>
                <a:lnTo>
                  <a:pt x="755" y="93"/>
                </a:lnTo>
                <a:lnTo>
                  <a:pt x="758" y="94"/>
                </a:lnTo>
                <a:lnTo>
                  <a:pt x="757" y="97"/>
                </a:lnTo>
                <a:lnTo>
                  <a:pt x="757" y="99"/>
                </a:lnTo>
                <a:lnTo>
                  <a:pt x="760" y="103"/>
                </a:lnTo>
                <a:lnTo>
                  <a:pt x="760" y="104"/>
                </a:lnTo>
                <a:lnTo>
                  <a:pt x="759" y="105"/>
                </a:lnTo>
                <a:lnTo>
                  <a:pt x="761" y="107"/>
                </a:lnTo>
                <a:lnTo>
                  <a:pt x="761" y="109"/>
                </a:lnTo>
                <a:lnTo>
                  <a:pt x="759" y="110"/>
                </a:lnTo>
                <a:lnTo>
                  <a:pt x="759" y="111"/>
                </a:lnTo>
                <a:lnTo>
                  <a:pt x="761" y="112"/>
                </a:lnTo>
                <a:lnTo>
                  <a:pt x="765" y="113"/>
                </a:lnTo>
                <a:lnTo>
                  <a:pt x="770" y="116"/>
                </a:lnTo>
                <a:lnTo>
                  <a:pt x="774" y="117"/>
                </a:lnTo>
                <a:lnTo>
                  <a:pt x="776" y="117"/>
                </a:lnTo>
                <a:lnTo>
                  <a:pt x="777" y="116"/>
                </a:lnTo>
                <a:lnTo>
                  <a:pt x="782" y="116"/>
                </a:lnTo>
                <a:lnTo>
                  <a:pt x="784" y="114"/>
                </a:lnTo>
                <a:lnTo>
                  <a:pt x="785" y="114"/>
                </a:lnTo>
                <a:lnTo>
                  <a:pt x="790" y="117"/>
                </a:lnTo>
                <a:lnTo>
                  <a:pt x="792" y="119"/>
                </a:lnTo>
                <a:lnTo>
                  <a:pt x="796" y="120"/>
                </a:lnTo>
                <a:lnTo>
                  <a:pt x="796" y="122"/>
                </a:lnTo>
                <a:lnTo>
                  <a:pt x="797" y="123"/>
                </a:lnTo>
                <a:lnTo>
                  <a:pt x="797" y="125"/>
                </a:lnTo>
                <a:lnTo>
                  <a:pt x="798" y="125"/>
                </a:lnTo>
                <a:lnTo>
                  <a:pt x="798" y="126"/>
                </a:lnTo>
                <a:lnTo>
                  <a:pt x="800" y="126"/>
                </a:lnTo>
                <a:lnTo>
                  <a:pt x="802" y="129"/>
                </a:lnTo>
                <a:lnTo>
                  <a:pt x="803" y="129"/>
                </a:lnTo>
                <a:lnTo>
                  <a:pt x="805" y="132"/>
                </a:lnTo>
                <a:lnTo>
                  <a:pt x="805" y="134"/>
                </a:lnTo>
                <a:lnTo>
                  <a:pt x="807" y="135"/>
                </a:lnTo>
                <a:lnTo>
                  <a:pt x="807" y="136"/>
                </a:lnTo>
                <a:lnTo>
                  <a:pt x="808" y="137"/>
                </a:lnTo>
                <a:lnTo>
                  <a:pt x="804" y="135"/>
                </a:lnTo>
                <a:lnTo>
                  <a:pt x="803" y="134"/>
                </a:lnTo>
                <a:lnTo>
                  <a:pt x="801" y="132"/>
                </a:lnTo>
                <a:lnTo>
                  <a:pt x="800" y="132"/>
                </a:lnTo>
                <a:lnTo>
                  <a:pt x="798" y="130"/>
                </a:lnTo>
                <a:lnTo>
                  <a:pt x="797" y="130"/>
                </a:lnTo>
                <a:lnTo>
                  <a:pt x="792" y="134"/>
                </a:lnTo>
                <a:lnTo>
                  <a:pt x="792" y="138"/>
                </a:lnTo>
                <a:lnTo>
                  <a:pt x="791" y="141"/>
                </a:lnTo>
                <a:lnTo>
                  <a:pt x="791" y="144"/>
                </a:lnTo>
                <a:lnTo>
                  <a:pt x="790" y="146"/>
                </a:lnTo>
                <a:lnTo>
                  <a:pt x="790" y="149"/>
                </a:lnTo>
                <a:lnTo>
                  <a:pt x="789" y="150"/>
                </a:lnTo>
                <a:lnTo>
                  <a:pt x="786" y="152"/>
                </a:lnTo>
                <a:lnTo>
                  <a:pt x="785" y="152"/>
                </a:lnTo>
                <a:lnTo>
                  <a:pt x="782" y="149"/>
                </a:lnTo>
                <a:lnTo>
                  <a:pt x="780" y="149"/>
                </a:lnTo>
                <a:lnTo>
                  <a:pt x="778" y="150"/>
                </a:lnTo>
                <a:lnTo>
                  <a:pt x="776" y="150"/>
                </a:lnTo>
                <a:lnTo>
                  <a:pt x="774" y="152"/>
                </a:lnTo>
                <a:lnTo>
                  <a:pt x="774" y="153"/>
                </a:lnTo>
                <a:lnTo>
                  <a:pt x="776" y="154"/>
                </a:lnTo>
                <a:lnTo>
                  <a:pt x="776" y="157"/>
                </a:lnTo>
                <a:lnTo>
                  <a:pt x="777" y="159"/>
                </a:lnTo>
                <a:lnTo>
                  <a:pt x="777" y="161"/>
                </a:lnTo>
                <a:lnTo>
                  <a:pt x="779" y="163"/>
                </a:lnTo>
                <a:lnTo>
                  <a:pt x="782" y="165"/>
                </a:lnTo>
                <a:lnTo>
                  <a:pt x="782" y="166"/>
                </a:lnTo>
                <a:lnTo>
                  <a:pt x="780" y="167"/>
                </a:lnTo>
                <a:lnTo>
                  <a:pt x="780" y="171"/>
                </a:lnTo>
                <a:lnTo>
                  <a:pt x="779" y="172"/>
                </a:lnTo>
                <a:lnTo>
                  <a:pt x="779" y="174"/>
                </a:lnTo>
                <a:lnTo>
                  <a:pt x="780" y="174"/>
                </a:lnTo>
                <a:lnTo>
                  <a:pt x="780" y="177"/>
                </a:lnTo>
                <a:lnTo>
                  <a:pt x="782" y="178"/>
                </a:lnTo>
                <a:lnTo>
                  <a:pt x="782" y="179"/>
                </a:lnTo>
                <a:lnTo>
                  <a:pt x="783" y="179"/>
                </a:lnTo>
                <a:lnTo>
                  <a:pt x="785" y="180"/>
                </a:lnTo>
                <a:lnTo>
                  <a:pt x="785" y="183"/>
                </a:lnTo>
                <a:lnTo>
                  <a:pt x="784" y="186"/>
                </a:lnTo>
                <a:lnTo>
                  <a:pt x="784" y="191"/>
                </a:lnTo>
                <a:lnTo>
                  <a:pt x="785" y="191"/>
                </a:lnTo>
                <a:lnTo>
                  <a:pt x="786" y="192"/>
                </a:lnTo>
                <a:lnTo>
                  <a:pt x="786" y="193"/>
                </a:lnTo>
                <a:lnTo>
                  <a:pt x="785" y="196"/>
                </a:lnTo>
                <a:lnTo>
                  <a:pt x="786" y="198"/>
                </a:lnTo>
                <a:lnTo>
                  <a:pt x="786" y="199"/>
                </a:lnTo>
                <a:lnTo>
                  <a:pt x="785" y="202"/>
                </a:lnTo>
                <a:lnTo>
                  <a:pt x="785" y="205"/>
                </a:lnTo>
                <a:lnTo>
                  <a:pt x="786" y="205"/>
                </a:lnTo>
                <a:lnTo>
                  <a:pt x="789" y="206"/>
                </a:lnTo>
                <a:lnTo>
                  <a:pt x="790" y="205"/>
                </a:lnTo>
                <a:lnTo>
                  <a:pt x="791" y="205"/>
                </a:lnTo>
                <a:lnTo>
                  <a:pt x="792" y="206"/>
                </a:lnTo>
                <a:lnTo>
                  <a:pt x="792" y="209"/>
                </a:lnTo>
                <a:lnTo>
                  <a:pt x="789" y="212"/>
                </a:lnTo>
                <a:lnTo>
                  <a:pt x="789" y="218"/>
                </a:lnTo>
                <a:lnTo>
                  <a:pt x="788" y="218"/>
                </a:lnTo>
                <a:lnTo>
                  <a:pt x="788" y="221"/>
                </a:lnTo>
                <a:lnTo>
                  <a:pt x="786" y="221"/>
                </a:lnTo>
                <a:lnTo>
                  <a:pt x="786" y="222"/>
                </a:lnTo>
                <a:lnTo>
                  <a:pt x="785" y="222"/>
                </a:lnTo>
                <a:lnTo>
                  <a:pt x="785" y="224"/>
                </a:lnTo>
                <a:lnTo>
                  <a:pt x="784" y="226"/>
                </a:lnTo>
                <a:lnTo>
                  <a:pt x="783" y="226"/>
                </a:lnTo>
                <a:lnTo>
                  <a:pt x="783" y="230"/>
                </a:lnTo>
                <a:lnTo>
                  <a:pt x="782" y="230"/>
                </a:lnTo>
                <a:lnTo>
                  <a:pt x="782" y="232"/>
                </a:lnTo>
                <a:lnTo>
                  <a:pt x="783" y="233"/>
                </a:lnTo>
                <a:lnTo>
                  <a:pt x="789" y="233"/>
                </a:lnTo>
                <a:lnTo>
                  <a:pt x="789" y="234"/>
                </a:lnTo>
                <a:lnTo>
                  <a:pt x="790" y="234"/>
                </a:lnTo>
                <a:lnTo>
                  <a:pt x="790" y="236"/>
                </a:lnTo>
                <a:lnTo>
                  <a:pt x="791" y="236"/>
                </a:lnTo>
                <a:lnTo>
                  <a:pt x="791" y="239"/>
                </a:lnTo>
                <a:lnTo>
                  <a:pt x="792" y="239"/>
                </a:lnTo>
                <a:lnTo>
                  <a:pt x="794" y="237"/>
                </a:lnTo>
                <a:lnTo>
                  <a:pt x="796" y="237"/>
                </a:lnTo>
                <a:lnTo>
                  <a:pt x="797" y="239"/>
                </a:lnTo>
                <a:lnTo>
                  <a:pt x="798" y="241"/>
                </a:lnTo>
                <a:lnTo>
                  <a:pt x="798" y="242"/>
                </a:lnTo>
                <a:lnTo>
                  <a:pt x="797" y="243"/>
                </a:lnTo>
                <a:lnTo>
                  <a:pt x="796" y="243"/>
                </a:lnTo>
                <a:lnTo>
                  <a:pt x="796" y="246"/>
                </a:lnTo>
                <a:lnTo>
                  <a:pt x="797" y="246"/>
                </a:lnTo>
                <a:lnTo>
                  <a:pt x="798" y="247"/>
                </a:lnTo>
                <a:lnTo>
                  <a:pt x="798" y="249"/>
                </a:lnTo>
                <a:lnTo>
                  <a:pt x="797" y="251"/>
                </a:lnTo>
                <a:lnTo>
                  <a:pt x="797" y="253"/>
                </a:lnTo>
                <a:lnTo>
                  <a:pt x="798" y="253"/>
                </a:lnTo>
                <a:lnTo>
                  <a:pt x="797" y="255"/>
                </a:lnTo>
                <a:lnTo>
                  <a:pt x="797" y="257"/>
                </a:lnTo>
                <a:lnTo>
                  <a:pt x="801" y="257"/>
                </a:lnTo>
                <a:lnTo>
                  <a:pt x="801" y="259"/>
                </a:lnTo>
                <a:lnTo>
                  <a:pt x="803" y="259"/>
                </a:lnTo>
                <a:lnTo>
                  <a:pt x="803" y="260"/>
                </a:lnTo>
                <a:lnTo>
                  <a:pt x="804" y="260"/>
                </a:lnTo>
                <a:lnTo>
                  <a:pt x="807" y="263"/>
                </a:lnTo>
                <a:lnTo>
                  <a:pt x="807" y="266"/>
                </a:lnTo>
                <a:lnTo>
                  <a:pt x="805" y="266"/>
                </a:lnTo>
                <a:lnTo>
                  <a:pt x="805" y="271"/>
                </a:lnTo>
                <a:lnTo>
                  <a:pt x="804" y="270"/>
                </a:lnTo>
                <a:lnTo>
                  <a:pt x="797" y="270"/>
                </a:lnTo>
                <a:lnTo>
                  <a:pt x="795" y="272"/>
                </a:lnTo>
                <a:lnTo>
                  <a:pt x="794" y="275"/>
                </a:lnTo>
                <a:lnTo>
                  <a:pt x="792" y="275"/>
                </a:lnTo>
                <a:lnTo>
                  <a:pt x="791" y="276"/>
                </a:lnTo>
                <a:lnTo>
                  <a:pt x="788" y="277"/>
                </a:lnTo>
                <a:lnTo>
                  <a:pt x="788" y="278"/>
                </a:lnTo>
                <a:lnTo>
                  <a:pt x="786" y="279"/>
                </a:lnTo>
                <a:lnTo>
                  <a:pt x="786" y="280"/>
                </a:lnTo>
                <a:lnTo>
                  <a:pt x="784" y="280"/>
                </a:lnTo>
                <a:lnTo>
                  <a:pt x="783" y="279"/>
                </a:lnTo>
                <a:lnTo>
                  <a:pt x="782" y="276"/>
                </a:lnTo>
                <a:lnTo>
                  <a:pt x="780" y="275"/>
                </a:lnTo>
                <a:lnTo>
                  <a:pt x="780" y="273"/>
                </a:lnTo>
                <a:lnTo>
                  <a:pt x="782" y="272"/>
                </a:lnTo>
                <a:lnTo>
                  <a:pt x="782" y="271"/>
                </a:lnTo>
                <a:lnTo>
                  <a:pt x="784" y="271"/>
                </a:lnTo>
                <a:lnTo>
                  <a:pt x="784" y="267"/>
                </a:lnTo>
                <a:lnTo>
                  <a:pt x="783" y="266"/>
                </a:lnTo>
                <a:lnTo>
                  <a:pt x="783" y="265"/>
                </a:lnTo>
                <a:lnTo>
                  <a:pt x="782" y="265"/>
                </a:lnTo>
                <a:lnTo>
                  <a:pt x="782" y="264"/>
                </a:lnTo>
                <a:lnTo>
                  <a:pt x="777" y="263"/>
                </a:lnTo>
                <a:lnTo>
                  <a:pt x="773" y="263"/>
                </a:lnTo>
                <a:lnTo>
                  <a:pt x="771" y="264"/>
                </a:lnTo>
                <a:lnTo>
                  <a:pt x="770" y="265"/>
                </a:lnTo>
                <a:lnTo>
                  <a:pt x="769" y="267"/>
                </a:lnTo>
                <a:lnTo>
                  <a:pt x="766" y="267"/>
                </a:lnTo>
                <a:lnTo>
                  <a:pt x="766" y="269"/>
                </a:lnTo>
                <a:lnTo>
                  <a:pt x="765" y="269"/>
                </a:lnTo>
                <a:lnTo>
                  <a:pt x="763" y="266"/>
                </a:lnTo>
                <a:lnTo>
                  <a:pt x="761" y="266"/>
                </a:lnTo>
                <a:lnTo>
                  <a:pt x="758" y="267"/>
                </a:lnTo>
                <a:lnTo>
                  <a:pt x="757" y="266"/>
                </a:lnTo>
                <a:lnTo>
                  <a:pt x="754" y="266"/>
                </a:lnTo>
                <a:lnTo>
                  <a:pt x="754" y="265"/>
                </a:lnTo>
                <a:lnTo>
                  <a:pt x="753" y="265"/>
                </a:lnTo>
                <a:lnTo>
                  <a:pt x="752" y="266"/>
                </a:lnTo>
                <a:lnTo>
                  <a:pt x="751" y="266"/>
                </a:lnTo>
                <a:lnTo>
                  <a:pt x="748" y="264"/>
                </a:lnTo>
                <a:lnTo>
                  <a:pt x="747" y="264"/>
                </a:lnTo>
                <a:lnTo>
                  <a:pt x="746" y="263"/>
                </a:lnTo>
                <a:lnTo>
                  <a:pt x="746" y="261"/>
                </a:lnTo>
                <a:lnTo>
                  <a:pt x="744" y="261"/>
                </a:lnTo>
                <a:lnTo>
                  <a:pt x="744" y="263"/>
                </a:lnTo>
                <a:lnTo>
                  <a:pt x="742" y="263"/>
                </a:lnTo>
                <a:lnTo>
                  <a:pt x="736" y="259"/>
                </a:lnTo>
                <a:lnTo>
                  <a:pt x="735" y="259"/>
                </a:lnTo>
                <a:lnTo>
                  <a:pt x="733" y="260"/>
                </a:lnTo>
                <a:lnTo>
                  <a:pt x="732" y="260"/>
                </a:lnTo>
                <a:lnTo>
                  <a:pt x="730" y="261"/>
                </a:lnTo>
                <a:lnTo>
                  <a:pt x="727" y="261"/>
                </a:lnTo>
                <a:lnTo>
                  <a:pt x="723" y="260"/>
                </a:lnTo>
                <a:lnTo>
                  <a:pt x="723" y="259"/>
                </a:lnTo>
                <a:lnTo>
                  <a:pt x="722" y="259"/>
                </a:lnTo>
                <a:lnTo>
                  <a:pt x="720" y="260"/>
                </a:lnTo>
                <a:lnTo>
                  <a:pt x="718" y="260"/>
                </a:lnTo>
                <a:lnTo>
                  <a:pt x="718" y="261"/>
                </a:lnTo>
                <a:lnTo>
                  <a:pt x="714" y="270"/>
                </a:lnTo>
                <a:lnTo>
                  <a:pt x="713" y="271"/>
                </a:lnTo>
                <a:lnTo>
                  <a:pt x="708" y="272"/>
                </a:lnTo>
                <a:lnTo>
                  <a:pt x="705" y="273"/>
                </a:lnTo>
                <a:lnTo>
                  <a:pt x="704" y="273"/>
                </a:lnTo>
                <a:lnTo>
                  <a:pt x="704" y="271"/>
                </a:lnTo>
                <a:lnTo>
                  <a:pt x="703" y="271"/>
                </a:lnTo>
                <a:lnTo>
                  <a:pt x="703" y="270"/>
                </a:lnTo>
                <a:lnTo>
                  <a:pt x="704" y="267"/>
                </a:lnTo>
                <a:lnTo>
                  <a:pt x="702" y="265"/>
                </a:lnTo>
                <a:lnTo>
                  <a:pt x="702" y="264"/>
                </a:lnTo>
                <a:lnTo>
                  <a:pt x="698" y="264"/>
                </a:lnTo>
                <a:lnTo>
                  <a:pt x="698" y="261"/>
                </a:lnTo>
                <a:lnTo>
                  <a:pt x="690" y="270"/>
                </a:lnTo>
                <a:lnTo>
                  <a:pt x="685" y="271"/>
                </a:lnTo>
                <a:lnTo>
                  <a:pt x="667" y="275"/>
                </a:lnTo>
                <a:lnTo>
                  <a:pt x="655" y="276"/>
                </a:lnTo>
                <a:lnTo>
                  <a:pt x="654" y="276"/>
                </a:lnTo>
                <a:lnTo>
                  <a:pt x="653" y="275"/>
                </a:lnTo>
                <a:lnTo>
                  <a:pt x="642" y="272"/>
                </a:lnTo>
                <a:lnTo>
                  <a:pt x="635" y="273"/>
                </a:lnTo>
                <a:lnTo>
                  <a:pt x="633" y="275"/>
                </a:lnTo>
                <a:lnTo>
                  <a:pt x="627" y="277"/>
                </a:lnTo>
                <a:lnTo>
                  <a:pt x="624" y="278"/>
                </a:lnTo>
                <a:lnTo>
                  <a:pt x="622" y="278"/>
                </a:lnTo>
                <a:lnTo>
                  <a:pt x="621" y="279"/>
                </a:lnTo>
                <a:lnTo>
                  <a:pt x="616" y="283"/>
                </a:lnTo>
                <a:lnTo>
                  <a:pt x="612" y="285"/>
                </a:lnTo>
                <a:lnTo>
                  <a:pt x="611" y="285"/>
                </a:lnTo>
                <a:lnTo>
                  <a:pt x="610" y="286"/>
                </a:lnTo>
                <a:lnTo>
                  <a:pt x="608" y="286"/>
                </a:lnTo>
                <a:lnTo>
                  <a:pt x="604" y="289"/>
                </a:lnTo>
                <a:lnTo>
                  <a:pt x="595" y="292"/>
                </a:lnTo>
                <a:lnTo>
                  <a:pt x="581" y="295"/>
                </a:lnTo>
                <a:lnTo>
                  <a:pt x="573" y="297"/>
                </a:lnTo>
                <a:lnTo>
                  <a:pt x="571" y="297"/>
                </a:lnTo>
                <a:lnTo>
                  <a:pt x="564" y="295"/>
                </a:lnTo>
                <a:lnTo>
                  <a:pt x="550" y="295"/>
                </a:lnTo>
                <a:lnTo>
                  <a:pt x="548" y="294"/>
                </a:lnTo>
                <a:lnTo>
                  <a:pt x="541" y="286"/>
                </a:lnTo>
                <a:lnTo>
                  <a:pt x="533" y="284"/>
                </a:lnTo>
                <a:lnTo>
                  <a:pt x="528" y="284"/>
                </a:lnTo>
                <a:lnTo>
                  <a:pt x="525" y="285"/>
                </a:lnTo>
                <a:lnTo>
                  <a:pt x="522" y="288"/>
                </a:lnTo>
                <a:lnTo>
                  <a:pt x="521" y="288"/>
                </a:lnTo>
                <a:lnTo>
                  <a:pt x="519" y="289"/>
                </a:lnTo>
                <a:lnTo>
                  <a:pt x="512" y="291"/>
                </a:lnTo>
                <a:lnTo>
                  <a:pt x="505" y="292"/>
                </a:lnTo>
                <a:lnTo>
                  <a:pt x="503" y="294"/>
                </a:lnTo>
                <a:lnTo>
                  <a:pt x="497" y="298"/>
                </a:lnTo>
                <a:lnTo>
                  <a:pt x="496" y="298"/>
                </a:lnTo>
                <a:lnTo>
                  <a:pt x="488" y="297"/>
                </a:lnTo>
                <a:lnTo>
                  <a:pt x="481" y="297"/>
                </a:lnTo>
                <a:lnTo>
                  <a:pt x="481" y="298"/>
                </a:lnTo>
                <a:lnTo>
                  <a:pt x="479" y="298"/>
                </a:lnTo>
                <a:lnTo>
                  <a:pt x="479" y="294"/>
                </a:lnTo>
                <a:lnTo>
                  <a:pt x="477" y="291"/>
                </a:lnTo>
                <a:lnTo>
                  <a:pt x="474" y="291"/>
                </a:lnTo>
                <a:lnTo>
                  <a:pt x="472" y="290"/>
                </a:lnTo>
                <a:lnTo>
                  <a:pt x="463" y="288"/>
                </a:lnTo>
                <a:lnTo>
                  <a:pt x="462" y="288"/>
                </a:lnTo>
                <a:lnTo>
                  <a:pt x="463" y="289"/>
                </a:lnTo>
                <a:lnTo>
                  <a:pt x="462" y="290"/>
                </a:lnTo>
                <a:lnTo>
                  <a:pt x="462" y="291"/>
                </a:lnTo>
                <a:lnTo>
                  <a:pt x="461" y="292"/>
                </a:lnTo>
                <a:lnTo>
                  <a:pt x="461" y="295"/>
                </a:lnTo>
                <a:lnTo>
                  <a:pt x="460" y="296"/>
                </a:lnTo>
                <a:lnTo>
                  <a:pt x="460" y="303"/>
                </a:lnTo>
                <a:lnTo>
                  <a:pt x="459" y="306"/>
                </a:lnTo>
                <a:lnTo>
                  <a:pt x="459" y="310"/>
                </a:lnTo>
                <a:lnTo>
                  <a:pt x="460" y="310"/>
                </a:lnTo>
                <a:lnTo>
                  <a:pt x="461" y="312"/>
                </a:lnTo>
                <a:lnTo>
                  <a:pt x="461" y="314"/>
                </a:lnTo>
                <a:lnTo>
                  <a:pt x="462" y="314"/>
                </a:lnTo>
                <a:lnTo>
                  <a:pt x="462" y="315"/>
                </a:lnTo>
                <a:lnTo>
                  <a:pt x="463" y="315"/>
                </a:lnTo>
                <a:lnTo>
                  <a:pt x="463" y="316"/>
                </a:lnTo>
                <a:lnTo>
                  <a:pt x="465" y="318"/>
                </a:lnTo>
                <a:lnTo>
                  <a:pt x="465" y="319"/>
                </a:lnTo>
                <a:lnTo>
                  <a:pt x="463" y="319"/>
                </a:lnTo>
                <a:lnTo>
                  <a:pt x="461" y="320"/>
                </a:lnTo>
                <a:lnTo>
                  <a:pt x="455" y="320"/>
                </a:lnTo>
                <a:lnTo>
                  <a:pt x="455" y="321"/>
                </a:lnTo>
                <a:lnTo>
                  <a:pt x="453" y="321"/>
                </a:lnTo>
                <a:lnTo>
                  <a:pt x="453" y="320"/>
                </a:lnTo>
                <a:lnTo>
                  <a:pt x="452" y="320"/>
                </a:lnTo>
                <a:lnTo>
                  <a:pt x="452" y="322"/>
                </a:lnTo>
                <a:lnTo>
                  <a:pt x="450" y="329"/>
                </a:lnTo>
                <a:lnTo>
                  <a:pt x="452" y="332"/>
                </a:lnTo>
                <a:lnTo>
                  <a:pt x="450" y="332"/>
                </a:lnTo>
                <a:lnTo>
                  <a:pt x="448" y="331"/>
                </a:lnTo>
                <a:lnTo>
                  <a:pt x="448" y="332"/>
                </a:lnTo>
                <a:lnTo>
                  <a:pt x="447" y="333"/>
                </a:lnTo>
                <a:lnTo>
                  <a:pt x="446" y="333"/>
                </a:lnTo>
                <a:lnTo>
                  <a:pt x="443" y="335"/>
                </a:lnTo>
                <a:lnTo>
                  <a:pt x="443" y="339"/>
                </a:lnTo>
                <a:lnTo>
                  <a:pt x="442" y="340"/>
                </a:lnTo>
                <a:lnTo>
                  <a:pt x="440" y="339"/>
                </a:lnTo>
                <a:lnTo>
                  <a:pt x="438" y="338"/>
                </a:lnTo>
                <a:lnTo>
                  <a:pt x="436" y="338"/>
                </a:lnTo>
                <a:lnTo>
                  <a:pt x="435" y="337"/>
                </a:lnTo>
                <a:lnTo>
                  <a:pt x="436" y="337"/>
                </a:lnTo>
                <a:lnTo>
                  <a:pt x="436" y="335"/>
                </a:lnTo>
                <a:lnTo>
                  <a:pt x="432" y="335"/>
                </a:lnTo>
                <a:lnTo>
                  <a:pt x="432" y="334"/>
                </a:lnTo>
                <a:lnTo>
                  <a:pt x="435" y="332"/>
                </a:lnTo>
                <a:lnTo>
                  <a:pt x="435" y="331"/>
                </a:lnTo>
                <a:lnTo>
                  <a:pt x="434" y="327"/>
                </a:lnTo>
                <a:lnTo>
                  <a:pt x="431" y="322"/>
                </a:lnTo>
                <a:lnTo>
                  <a:pt x="430" y="321"/>
                </a:lnTo>
                <a:lnTo>
                  <a:pt x="430" y="320"/>
                </a:lnTo>
                <a:lnTo>
                  <a:pt x="429" y="319"/>
                </a:lnTo>
                <a:lnTo>
                  <a:pt x="429" y="318"/>
                </a:lnTo>
                <a:lnTo>
                  <a:pt x="428" y="318"/>
                </a:lnTo>
                <a:lnTo>
                  <a:pt x="428" y="316"/>
                </a:lnTo>
                <a:lnTo>
                  <a:pt x="426" y="315"/>
                </a:lnTo>
                <a:lnTo>
                  <a:pt x="426" y="314"/>
                </a:lnTo>
                <a:lnTo>
                  <a:pt x="428" y="313"/>
                </a:lnTo>
                <a:lnTo>
                  <a:pt x="429" y="313"/>
                </a:lnTo>
                <a:lnTo>
                  <a:pt x="429" y="312"/>
                </a:lnTo>
                <a:lnTo>
                  <a:pt x="430" y="312"/>
                </a:lnTo>
                <a:lnTo>
                  <a:pt x="430" y="310"/>
                </a:lnTo>
                <a:lnTo>
                  <a:pt x="431" y="310"/>
                </a:lnTo>
                <a:lnTo>
                  <a:pt x="431" y="309"/>
                </a:lnTo>
                <a:lnTo>
                  <a:pt x="432" y="309"/>
                </a:lnTo>
                <a:lnTo>
                  <a:pt x="432" y="308"/>
                </a:lnTo>
                <a:lnTo>
                  <a:pt x="434" y="307"/>
                </a:lnTo>
                <a:lnTo>
                  <a:pt x="435" y="307"/>
                </a:lnTo>
                <a:lnTo>
                  <a:pt x="435" y="306"/>
                </a:lnTo>
                <a:lnTo>
                  <a:pt x="437" y="303"/>
                </a:lnTo>
                <a:lnTo>
                  <a:pt x="438" y="303"/>
                </a:lnTo>
                <a:lnTo>
                  <a:pt x="443" y="300"/>
                </a:lnTo>
                <a:lnTo>
                  <a:pt x="444" y="300"/>
                </a:lnTo>
                <a:lnTo>
                  <a:pt x="444" y="289"/>
                </a:lnTo>
                <a:lnTo>
                  <a:pt x="438" y="283"/>
                </a:lnTo>
                <a:lnTo>
                  <a:pt x="435" y="283"/>
                </a:lnTo>
                <a:lnTo>
                  <a:pt x="434" y="284"/>
                </a:lnTo>
                <a:lnTo>
                  <a:pt x="431" y="288"/>
                </a:lnTo>
                <a:lnTo>
                  <a:pt x="430" y="288"/>
                </a:lnTo>
                <a:lnTo>
                  <a:pt x="430" y="289"/>
                </a:lnTo>
                <a:lnTo>
                  <a:pt x="428" y="290"/>
                </a:lnTo>
                <a:lnTo>
                  <a:pt x="428" y="291"/>
                </a:lnTo>
                <a:lnTo>
                  <a:pt x="421" y="291"/>
                </a:lnTo>
                <a:lnTo>
                  <a:pt x="421" y="292"/>
                </a:lnTo>
                <a:lnTo>
                  <a:pt x="422" y="294"/>
                </a:lnTo>
                <a:lnTo>
                  <a:pt x="424" y="294"/>
                </a:lnTo>
                <a:lnTo>
                  <a:pt x="421" y="295"/>
                </a:lnTo>
                <a:lnTo>
                  <a:pt x="419" y="296"/>
                </a:lnTo>
                <a:lnTo>
                  <a:pt x="419" y="297"/>
                </a:lnTo>
                <a:lnTo>
                  <a:pt x="422" y="295"/>
                </a:lnTo>
                <a:lnTo>
                  <a:pt x="423" y="295"/>
                </a:lnTo>
                <a:lnTo>
                  <a:pt x="421" y="297"/>
                </a:lnTo>
                <a:lnTo>
                  <a:pt x="421" y="300"/>
                </a:lnTo>
                <a:lnTo>
                  <a:pt x="419" y="300"/>
                </a:lnTo>
                <a:lnTo>
                  <a:pt x="419" y="301"/>
                </a:lnTo>
                <a:lnTo>
                  <a:pt x="417" y="301"/>
                </a:lnTo>
                <a:lnTo>
                  <a:pt x="415" y="298"/>
                </a:lnTo>
                <a:lnTo>
                  <a:pt x="415" y="300"/>
                </a:lnTo>
                <a:lnTo>
                  <a:pt x="416" y="301"/>
                </a:lnTo>
                <a:lnTo>
                  <a:pt x="415" y="301"/>
                </a:lnTo>
                <a:lnTo>
                  <a:pt x="412" y="300"/>
                </a:lnTo>
                <a:lnTo>
                  <a:pt x="409" y="303"/>
                </a:lnTo>
                <a:lnTo>
                  <a:pt x="407" y="303"/>
                </a:lnTo>
                <a:lnTo>
                  <a:pt x="407" y="302"/>
                </a:lnTo>
                <a:lnTo>
                  <a:pt x="406" y="302"/>
                </a:lnTo>
                <a:lnTo>
                  <a:pt x="406" y="301"/>
                </a:lnTo>
                <a:lnTo>
                  <a:pt x="395" y="295"/>
                </a:lnTo>
                <a:lnTo>
                  <a:pt x="394" y="295"/>
                </a:lnTo>
                <a:lnTo>
                  <a:pt x="393" y="294"/>
                </a:lnTo>
                <a:lnTo>
                  <a:pt x="390" y="294"/>
                </a:lnTo>
                <a:lnTo>
                  <a:pt x="390" y="292"/>
                </a:lnTo>
                <a:lnTo>
                  <a:pt x="387" y="290"/>
                </a:lnTo>
                <a:lnTo>
                  <a:pt x="384" y="289"/>
                </a:lnTo>
                <a:lnTo>
                  <a:pt x="382" y="288"/>
                </a:lnTo>
                <a:lnTo>
                  <a:pt x="381" y="289"/>
                </a:lnTo>
                <a:lnTo>
                  <a:pt x="378" y="290"/>
                </a:lnTo>
                <a:lnTo>
                  <a:pt x="376" y="290"/>
                </a:lnTo>
                <a:lnTo>
                  <a:pt x="375" y="291"/>
                </a:lnTo>
                <a:lnTo>
                  <a:pt x="374" y="291"/>
                </a:lnTo>
                <a:lnTo>
                  <a:pt x="374" y="292"/>
                </a:lnTo>
                <a:lnTo>
                  <a:pt x="373" y="294"/>
                </a:lnTo>
                <a:lnTo>
                  <a:pt x="369" y="296"/>
                </a:lnTo>
                <a:lnTo>
                  <a:pt x="364" y="300"/>
                </a:lnTo>
                <a:lnTo>
                  <a:pt x="363" y="301"/>
                </a:lnTo>
                <a:lnTo>
                  <a:pt x="360" y="306"/>
                </a:lnTo>
                <a:lnTo>
                  <a:pt x="359" y="306"/>
                </a:lnTo>
                <a:lnTo>
                  <a:pt x="359" y="307"/>
                </a:lnTo>
                <a:lnTo>
                  <a:pt x="357" y="307"/>
                </a:lnTo>
                <a:lnTo>
                  <a:pt x="356" y="309"/>
                </a:lnTo>
                <a:lnTo>
                  <a:pt x="355" y="309"/>
                </a:lnTo>
                <a:lnTo>
                  <a:pt x="355" y="314"/>
                </a:lnTo>
                <a:lnTo>
                  <a:pt x="354" y="315"/>
                </a:lnTo>
                <a:lnTo>
                  <a:pt x="351" y="315"/>
                </a:lnTo>
                <a:lnTo>
                  <a:pt x="351" y="316"/>
                </a:lnTo>
                <a:lnTo>
                  <a:pt x="350" y="318"/>
                </a:lnTo>
                <a:lnTo>
                  <a:pt x="350" y="320"/>
                </a:lnTo>
                <a:lnTo>
                  <a:pt x="349" y="320"/>
                </a:lnTo>
                <a:lnTo>
                  <a:pt x="349" y="316"/>
                </a:lnTo>
                <a:lnTo>
                  <a:pt x="348" y="315"/>
                </a:lnTo>
                <a:lnTo>
                  <a:pt x="345" y="315"/>
                </a:lnTo>
                <a:lnTo>
                  <a:pt x="344" y="316"/>
                </a:lnTo>
                <a:lnTo>
                  <a:pt x="344" y="318"/>
                </a:lnTo>
                <a:lnTo>
                  <a:pt x="343" y="318"/>
                </a:lnTo>
                <a:lnTo>
                  <a:pt x="343" y="319"/>
                </a:lnTo>
                <a:lnTo>
                  <a:pt x="342" y="320"/>
                </a:lnTo>
                <a:lnTo>
                  <a:pt x="341" y="320"/>
                </a:lnTo>
                <a:lnTo>
                  <a:pt x="339" y="322"/>
                </a:lnTo>
                <a:lnTo>
                  <a:pt x="338" y="322"/>
                </a:lnTo>
                <a:lnTo>
                  <a:pt x="338" y="323"/>
                </a:lnTo>
                <a:lnTo>
                  <a:pt x="337" y="322"/>
                </a:lnTo>
                <a:lnTo>
                  <a:pt x="337" y="321"/>
                </a:lnTo>
                <a:lnTo>
                  <a:pt x="336" y="321"/>
                </a:lnTo>
                <a:lnTo>
                  <a:pt x="332" y="325"/>
                </a:lnTo>
                <a:lnTo>
                  <a:pt x="331" y="325"/>
                </a:lnTo>
                <a:lnTo>
                  <a:pt x="332" y="323"/>
                </a:lnTo>
                <a:lnTo>
                  <a:pt x="323" y="323"/>
                </a:lnTo>
                <a:lnTo>
                  <a:pt x="323" y="325"/>
                </a:lnTo>
                <a:lnTo>
                  <a:pt x="317" y="325"/>
                </a:lnTo>
                <a:lnTo>
                  <a:pt x="316" y="323"/>
                </a:lnTo>
                <a:lnTo>
                  <a:pt x="314" y="325"/>
                </a:lnTo>
                <a:lnTo>
                  <a:pt x="314" y="326"/>
                </a:lnTo>
                <a:lnTo>
                  <a:pt x="313" y="327"/>
                </a:lnTo>
                <a:lnTo>
                  <a:pt x="312" y="327"/>
                </a:lnTo>
                <a:lnTo>
                  <a:pt x="312" y="326"/>
                </a:lnTo>
                <a:lnTo>
                  <a:pt x="311" y="327"/>
                </a:lnTo>
                <a:lnTo>
                  <a:pt x="307" y="326"/>
                </a:lnTo>
                <a:lnTo>
                  <a:pt x="304" y="327"/>
                </a:lnTo>
                <a:lnTo>
                  <a:pt x="304" y="328"/>
                </a:lnTo>
                <a:lnTo>
                  <a:pt x="301" y="329"/>
                </a:lnTo>
                <a:lnTo>
                  <a:pt x="299" y="329"/>
                </a:lnTo>
                <a:lnTo>
                  <a:pt x="295" y="328"/>
                </a:lnTo>
                <a:lnTo>
                  <a:pt x="294" y="328"/>
                </a:lnTo>
                <a:lnTo>
                  <a:pt x="291" y="326"/>
                </a:lnTo>
                <a:lnTo>
                  <a:pt x="288" y="326"/>
                </a:lnTo>
                <a:lnTo>
                  <a:pt x="286" y="323"/>
                </a:lnTo>
                <a:lnTo>
                  <a:pt x="285" y="323"/>
                </a:lnTo>
                <a:lnTo>
                  <a:pt x="285" y="322"/>
                </a:lnTo>
                <a:lnTo>
                  <a:pt x="282" y="322"/>
                </a:lnTo>
                <a:lnTo>
                  <a:pt x="281" y="319"/>
                </a:lnTo>
                <a:lnTo>
                  <a:pt x="279" y="319"/>
                </a:lnTo>
                <a:lnTo>
                  <a:pt x="279" y="316"/>
                </a:lnTo>
                <a:lnTo>
                  <a:pt x="275" y="313"/>
                </a:lnTo>
                <a:lnTo>
                  <a:pt x="275" y="310"/>
                </a:lnTo>
                <a:lnTo>
                  <a:pt x="274" y="310"/>
                </a:lnTo>
                <a:lnTo>
                  <a:pt x="274" y="309"/>
                </a:lnTo>
                <a:lnTo>
                  <a:pt x="272" y="307"/>
                </a:lnTo>
                <a:lnTo>
                  <a:pt x="272" y="306"/>
                </a:lnTo>
                <a:lnTo>
                  <a:pt x="270" y="306"/>
                </a:lnTo>
                <a:lnTo>
                  <a:pt x="268" y="303"/>
                </a:lnTo>
                <a:lnTo>
                  <a:pt x="268" y="302"/>
                </a:lnTo>
                <a:lnTo>
                  <a:pt x="263" y="302"/>
                </a:lnTo>
                <a:lnTo>
                  <a:pt x="263" y="301"/>
                </a:lnTo>
                <a:lnTo>
                  <a:pt x="260" y="301"/>
                </a:lnTo>
                <a:lnTo>
                  <a:pt x="258" y="300"/>
                </a:lnTo>
                <a:lnTo>
                  <a:pt x="257" y="300"/>
                </a:lnTo>
                <a:lnTo>
                  <a:pt x="256" y="298"/>
                </a:lnTo>
                <a:lnTo>
                  <a:pt x="256" y="297"/>
                </a:lnTo>
                <a:lnTo>
                  <a:pt x="255" y="297"/>
                </a:lnTo>
                <a:lnTo>
                  <a:pt x="251" y="296"/>
                </a:lnTo>
                <a:lnTo>
                  <a:pt x="250" y="296"/>
                </a:lnTo>
                <a:lnTo>
                  <a:pt x="250" y="295"/>
                </a:lnTo>
                <a:lnTo>
                  <a:pt x="242" y="291"/>
                </a:lnTo>
                <a:lnTo>
                  <a:pt x="241" y="291"/>
                </a:lnTo>
                <a:lnTo>
                  <a:pt x="241" y="290"/>
                </a:lnTo>
                <a:lnTo>
                  <a:pt x="239" y="289"/>
                </a:lnTo>
                <a:lnTo>
                  <a:pt x="223" y="286"/>
                </a:lnTo>
                <a:lnTo>
                  <a:pt x="213" y="286"/>
                </a:lnTo>
                <a:lnTo>
                  <a:pt x="212" y="284"/>
                </a:lnTo>
                <a:lnTo>
                  <a:pt x="207" y="289"/>
                </a:lnTo>
                <a:lnTo>
                  <a:pt x="207" y="292"/>
                </a:lnTo>
                <a:lnTo>
                  <a:pt x="206" y="294"/>
                </a:lnTo>
                <a:lnTo>
                  <a:pt x="206" y="295"/>
                </a:lnTo>
                <a:lnTo>
                  <a:pt x="207" y="295"/>
                </a:lnTo>
                <a:lnTo>
                  <a:pt x="207" y="296"/>
                </a:lnTo>
                <a:lnTo>
                  <a:pt x="206" y="296"/>
                </a:lnTo>
                <a:lnTo>
                  <a:pt x="206" y="300"/>
                </a:lnTo>
                <a:lnTo>
                  <a:pt x="207" y="300"/>
                </a:lnTo>
                <a:lnTo>
                  <a:pt x="207" y="303"/>
                </a:lnTo>
                <a:lnTo>
                  <a:pt x="205" y="304"/>
                </a:lnTo>
                <a:lnTo>
                  <a:pt x="205" y="306"/>
                </a:lnTo>
                <a:lnTo>
                  <a:pt x="204" y="308"/>
                </a:lnTo>
                <a:lnTo>
                  <a:pt x="204" y="309"/>
                </a:lnTo>
                <a:lnTo>
                  <a:pt x="202" y="310"/>
                </a:lnTo>
                <a:lnTo>
                  <a:pt x="202" y="312"/>
                </a:lnTo>
                <a:lnTo>
                  <a:pt x="204" y="312"/>
                </a:lnTo>
                <a:lnTo>
                  <a:pt x="204" y="313"/>
                </a:lnTo>
                <a:lnTo>
                  <a:pt x="205" y="314"/>
                </a:lnTo>
                <a:lnTo>
                  <a:pt x="204" y="314"/>
                </a:lnTo>
                <a:lnTo>
                  <a:pt x="202" y="315"/>
                </a:lnTo>
                <a:lnTo>
                  <a:pt x="202" y="318"/>
                </a:lnTo>
                <a:lnTo>
                  <a:pt x="201" y="318"/>
                </a:lnTo>
                <a:lnTo>
                  <a:pt x="201" y="320"/>
                </a:lnTo>
                <a:lnTo>
                  <a:pt x="200" y="320"/>
                </a:lnTo>
                <a:lnTo>
                  <a:pt x="200" y="319"/>
                </a:lnTo>
                <a:lnTo>
                  <a:pt x="199" y="318"/>
                </a:lnTo>
                <a:lnTo>
                  <a:pt x="199" y="316"/>
                </a:lnTo>
                <a:lnTo>
                  <a:pt x="198" y="318"/>
                </a:lnTo>
                <a:lnTo>
                  <a:pt x="193" y="315"/>
                </a:lnTo>
                <a:lnTo>
                  <a:pt x="189" y="315"/>
                </a:lnTo>
                <a:lnTo>
                  <a:pt x="189" y="318"/>
                </a:lnTo>
                <a:lnTo>
                  <a:pt x="188" y="318"/>
                </a:lnTo>
                <a:lnTo>
                  <a:pt x="188" y="319"/>
                </a:lnTo>
                <a:lnTo>
                  <a:pt x="187" y="318"/>
                </a:lnTo>
                <a:lnTo>
                  <a:pt x="187" y="319"/>
                </a:lnTo>
                <a:lnTo>
                  <a:pt x="186" y="319"/>
                </a:lnTo>
                <a:lnTo>
                  <a:pt x="185" y="318"/>
                </a:lnTo>
                <a:lnTo>
                  <a:pt x="185" y="319"/>
                </a:lnTo>
                <a:lnTo>
                  <a:pt x="182" y="320"/>
                </a:lnTo>
                <a:lnTo>
                  <a:pt x="179" y="320"/>
                </a:lnTo>
                <a:lnTo>
                  <a:pt x="177" y="321"/>
                </a:lnTo>
                <a:lnTo>
                  <a:pt x="176" y="321"/>
                </a:lnTo>
                <a:lnTo>
                  <a:pt x="176" y="322"/>
                </a:lnTo>
                <a:lnTo>
                  <a:pt x="175" y="322"/>
                </a:lnTo>
                <a:lnTo>
                  <a:pt x="175" y="323"/>
                </a:lnTo>
                <a:lnTo>
                  <a:pt x="173" y="323"/>
                </a:lnTo>
                <a:lnTo>
                  <a:pt x="171" y="322"/>
                </a:lnTo>
                <a:lnTo>
                  <a:pt x="170" y="322"/>
                </a:lnTo>
                <a:lnTo>
                  <a:pt x="170" y="323"/>
                </a:lnTo>
                <a:lnTo>
                  <a:pt x="167" y="323"/>
                </a:lnTo>
                <a:lnTo>
                  <a:pt x="167" y="322"/>
                </a:lnTo>
                <a:lnTo>
                  <a:pt x="168" y="322"/>
                </a:lnTo>
                <a:lnTo>
                  <a:pt x="168" y="321"/>
                </a:lnTo>
                <a:lnTo>
                  <a:pt x="167" y="321"/>
                </a:lnTo>
                <a:lnTo>
                  <a:pt x="165" y="320"/>
                </a:lnTo>
                <a:lnTo>
                  <a:pt x="162" y="320"/>
                </a:lnTo>
                <a:lnTo>
                  <a:pt x="158" y="319"/>
                </a:lnTo>
                <a:lnTo>
                  <a:pt x="158" y="318"/>
                </a:lnTo>
                <a:lnTo>
                  <a:pt x="156" y="318"/>
                </a:lnTo>
                <a:lnTo>
                  <a:pt x="156" y="319"/>
                </a:lnTo>
                <a:lnTo>
                  <a:pt x="155" y="319"/>
                </a:lnTo>
                <a:lnTo>
                  <a:pt x="155" y="318"/>
                </a:lnTo>
                <a:lnTo>
                  <a:pt x="154" y="319"/>
                </a:lnTo>
                <a:lnTo>
                  <a:pt x="151" y="316"/>
                </a:lnTo>
                <a:lnTo>
                  <a:pt x="151" y="315"/>
                </a:lnTo>
                <a:lnTo>
                  <a:pt x="150" y="314"/>
                </a:lnTo>
                <a:lnTo>
                  <a:pt x="148" y="314"/>
                </a:lnTo>
                <a:lnTo>
                  <a:pt x="148" y="313"/>
                </a:lnTo>
                <a:lnTo>
                  <a:pt x="146" y="313"/>
                </a:lnTo>
                <a:lnTo>
                  <a:pt x="146" y="312"/>
                </a:lnTo>
                <a:lnTo>
                  <a:pt x="145" y="312"/>
                </a:lnTo>
                <a:lnTo>
                  <a:pt x="145" y="310"/>
                </a:lnTo>
                <a:lnTo>
                  <a:pt x="146" y="309"/>
                </a:lnTo>
                <a:lnTo>
                  <a:pt x="145" y="309"/>
                </a:lnTo>
                <a:lnTo>
                  <a:pt x="146" y="308"/>
                </a:lnTo>
                <a:lnTo>
                  <a:pt x="145" y="308"/>
                </a:lnTo>
                <a:lnTo>
                  <a:pt x="145" y="307"/>
                </a:lnTo>
                <a:lnTo>
                  <a:pt x="144" y="307"/>
                </a:lnTo>
                <a:lnTo>
                  <a:pt x="144" y="306"/>
                </a:lnTo>
                <a:lnTo>
                  <a:pt x="145" y="306"/>
                </a:lnTo>
                <a:lnTo>
                  <a:pt x="145" y="302"/>
                </a:lnTo>
                <a:lnTo>
                  <a:pt x="144" y="302"/>
                </a:lnTo>
                <a:lnTo>
                  <a:pt x="142" y="303"/>
                </a:lnTo>
                <a:lnTo>
                  <a:pt x="142" y="300"/>
                </a:lnTo>
                <a:lnTo>
                  <a:pt x="143" y="298"/>
                </a:lnTo>
                <a:lnTo>
                  <a:pt x="145" y="298"/>
                </a:lnTo>
                <a:lnTo>
                  <a:pt x="145" y="297"/>
                </a:lnTo>
                <a:lnTo>
                  <a:pt x="144" y="296"/>
                </a:lnTo>
                <a:lnTo>
                  <a:pt x="142" y="295"/>
                </a:lnTo>
                <a:lnTo>
                  <a:pt x="138" y="294"/>
                </a:lnTo>
                <a:lnTo>
                  <a:pt x="138" y="292"/>
                </a:lnTo>
                <a:lnTo>
                  <a:pt x="137" y="292"/>
                </a:lnTo>
                <a:lnTo>
                  <a:pt x="137" y="294"/>
                </a:lnTo>
                <a:lnTo>
                  <a:pt x="136" y="294"/>
                </a:lnTo>
                <a:lnTo>
                  <a:pt x="136" y="295"/>
                </a:lnTo>
                <a:lnTo>
                  <a:pt x="134" y="295"/>
                </a:lnTo>
                <a:lnTo>
                  <a:pt x="134" y="300"/>
                </a:lnTo>
                <a:lnTo>
                  <a:pt x="133" y="300"/>
                </a:lnTo>
                <a:lnTo>
                  <a:pt x="133" y="297"/>
                </a:lnTo>
                <a:lnTo>
                  <a:pt x="132" y="297"/>
                </a:lnTo>
                <a:lnTo>
                  <a:pt x="130" y="295"/>
                </a:lnTo>
                <a:lnTo>
                  <a:pt x="126" y="295"/>
                </a:lnTo>
                <a:lnTo>
                  <a:pt x="126" y="294"/>
                </a:lnTo>
                <a:lnTo>
                  <a:pt x="125" y="294"/>
                </a:lnTo>
                <a:lnTo>
                  <a:pt x="125" y="295"/>
                </a:lnTo>
                <a:lnTo>
                  <a:pt x="124" y="295"/>
                </a:lnTo>
                <a:lnTo>
                  <a:pt x="124" y="289"/>
                </a:lnTo>
                <a:lnTo>
                  <a:pt x="123" y="289"/>
                </a:lnTo>
                <a:lnTo>
                  <a:pt x="121" y="288"/>
                </a:lnTo>
                <a:lnTo>
                  <a:pt x="120" y="289"/>
                </a:lnTo>
                <a:lnTo>
                  <a:pt x="120" y="290"/>
                </a:lnTo>
                <a:lnTo>
                  <a:pt x="119" y="289"/>
                </a:lnTo>
                <a:lnTo>
                  <a:pt x="118" y="289"/>
                </a:lnTo>
                <a:lnTo>
                  <a:pt x="118" y="285"/>
                </a:lnTo>
                <a:lnTo>
                  <a:pt x="117" y="285"/>
                </a:lnTo>
                <a:lnTo>
                  <a:pt x="117" y="286"/>
                </a:lnTo>
                <a:lnTo>
                  <a:pt x="114" y="286"/>
                </a:lnTo>
                <a:lnTo>
                  <a:pt x="114" y="288"/>
                </a:lnTo>
                <a:lnTo>
                  <a:pt x="117" y="288"/>
                </a:lnTo>
                <a:lnTo>
                  <a:pt x="115" y="289"/>
                </a:lnTo>
                <a:lnTo>
                  <a:pt x="115" y="290"/>
                </a:lnTo>
                <a:lnTo>
                  <a:pt x="114" y="290"/>
                </a:lnTo>
                <a:lnTo>
                  <a:pt x="112" y="289"/>
                </a:lnTo>
                <a:lnTo>
                  <a:pt x="112" y="290"/>
                </a:lnTo>
                <a:lnTo>
                  <a:pt x="109" y="290"/>
                </a:lnTo>
                <a:lnTo>
                  <a:pt x="109" y="289"/>
                </a:lnTo>
                <a:lnTo>
                  <a:pt x="111" y="289"/>
                </a:lnTo>
                <a:lnTo>
                  <a:pt x="112" y="288"/>
                </a:lnTo>
                <a:lnTo>
                  <a:pt x="111" y="288"/>
                </a:lnTo>
                <a:lnTo>
                  <a:pt x="111" y="286"/>
                </a:lnTo>
                <a:lnTo>
                  <a:pt x="109" y="286"/>
                </a:lnTo>
                <a:lnTo>
                  <a:pt x="108" y="288"/>
                </a:lnTo>
                <a:lnTo>
                  <a:pt x="108" y="289"/>
                </a:lnTo>
                <a:lnTo>
                  <a:pt x="109" y="290"/>
                </a:lnTo>
                <a:lnTo>
                  <a:pt x="108" y="291"/>
                </a:lnTo>
                <a:lnTo>
                  <a:pt x="111" y="292"/>
                </a:lnTo>
                <a:lnTo>
                  <a:pt x="111" y="294"/>
                </a:lnTo>
                <a:lnTo>
                  <a:pt x="109" y="292"/>
                </a:lnTo>
                <a:lnTo>
                  <a:pt x="109" y="294"/>
                </a:lnTo>
                <a:lnTo>
                  <a:pt x="108" y="294"/>
                </a:lnTo>
                <a:lnTo>
                  <a:pt x="108" y="295"/>
                </a:lnTo>
                <a:lnTo>
                  <a:pt x="106" y="295"/>
                </a:lnTo>
                <a:lnTo>
                  <a:pt x="105" y="296"/>
                </a:lnTo>
                <a:lnTo>
                  <a:pt x="105" y="297"/>
                </a:lnTo>
                <a:lnTo>
                  <a:pt x="103" y="298"/>
                </a:lnTo>
                <a:lnTo>
                  <a:pt x="103" y="300"/>
                </a:lnTo>
                <a:lnTo>
                  <a:pt x="102" y="301"/>
                </a:lnTo>
                <a:lnTo>
                  <a:pt x="101" y="300"/>
                </a:lnTo>
                <a:lnTo>
                  <a:pt x="101" y="298"/>
                </a:lnTo>
                <a:lnTo>
                  <a:pt x="102" y="297"/>
                </a:lnTo>
                <a:lnTo>
                  <a:pt x="101" y="297"/>
                </a:lnTo>
                <a:lnTo>
                  <a:pt x="101" y="296"/>
                </a:lnTo>
                <a:lnTo>
                  <a:pt x="100" y="295"/>
                </a:lnTo>
                <a:lnTo>
                  <a:pt x="100" y="294"/>
                </a:lnTo>
                <a:lnTo>
                  <a:pt x="103" y="294"/>
                </a:lnTo>
                <a:lnTo>
                  <a:pt x="103" y="292"/>
                </a:lnTo>
                <a:lnTo>
                  <a:pt x="102" y="292"/>
                </a:lnTo>
                <a:lnTo>
                  <a:pt x="102" y="291"/>
                </a:lnTo>
                <a:lnTo>
                  <a:pt x="103" y="291"/>
                </a:lnTo>
                <a:lnTo>
                  <a:pt x="103" y="289"/>
                </a:lnTo>
                <a:lnTo>
                  <a:pt x="102" y="289"/>
                </a:lnTo>
                <a:lnTo>
                  <a:pt x="102" y="290"/>
                </a:lnTo>
                <a:lnTo>
                  <a:pt x="101" y="291"/>
                </a:lnTo>
                <a:lnTo>
                  <a:pt x="98" y="291"/>
                </a:lnTo>
                <a:lnTo>
                  <a:pt x="96" y="292"/>
                </a:lnTo>
                <a:lnTo>
                  <a:pt x="96" y="291"/>
                </a:lnTo>
                <a:lnTo>
                  <a:pt x="95" y="292"/>
                </a:lnTo>
                <a:lnTo>
                  <a:pt x="95" y="291"/>
                </a:lnTo>
                <a:lnTo>
                  <a:pt x="94" y="291"/>
                </a:lnTo>
                <a:lnTo>
                  <a:pt x="94" y="292"/>
                </a:lnTo>
                <a:lnTo>
                  <a:pt x="92" y="292"/>
                </a:lnTo>
                <a:lnTo>
                  <a:pt x="90" y="291"/>
                </a:lnTo>
                <a:lnTo>
                  <a:pt x="87" y="291"/>
                </a:lnTo>
                <a:lnTo>
                  <a:pt x="84" y="294"/>
                </a:lnTo>
                <a:lnTo>
                  <a:pt x="86" y="294"/>
                </a:lnTo>
                <a:lnTo>
                  <a:pt x="84" y="296"/>
                </a:lnTo>
                <a:lnTo>
                  <a:pt x="84" y="297"/>
                </a:lnTo>
                <a:lnTo>
                  <a:pt x="83" y="296"/>
                </a:lnTo>
                <a:lnTo>
                  <a:pt x="80" y="296"/>
                </a:lnTo>
                <a:lnTo>
                  <a:pt x="80" y="295"/>
                </a:lnTo>
                <a:lnTo>
                  <a:pt x="76" y="296"/>
                </a:lnTo>
                <a:lnTo>
                  <a:pt x="76" y="297"/>
                </a:lnTo>
                <a:lnTo>
                  <a:pt x="75" y="296"/>
                </a:lnTo>
                <a:lnTo>
                  <a:pt x="72" y="296"/>
                </a:lnTo>
                <a:lnTo>
                  <a:pt x="72" y="295"/>
                </a:lnTo>
                <a:lnTo>
                  <a:pt x="74" y="294"/>
                </a:lnTo>
                <a:lnTo>
                  <a:pt x="74" y="292"/>
                </a:lnTo>
                <a:lnTo>
                  <a:pt x="75" y="292"/>
                </a:lnTo>
                <a:lnTo>
                  <a:pt x="75" y="291"/>
                </a:lnTo>
                <a:lnTo>
                  <a:pt x="82" y="291"/>
                </a:lnTo>
                <a:lnTo>
                  <a:pt x="82" y="289"/>
                </a:lnTo>
                <a:lnTo>
                  <a:pt x="83" y="289"/>
                </a:lnTo>
                <a:lnTo>
                  <a:pt x="86" y="290"/>
                </a:lnTo>
                <a:lnTo>
                  <a:pt x="88" y="290"/>
                </a:lnTo>
                <a:lnTo>
                  <a:pt x="89" y="289"/>
                </a:lnTo>
                <a:lnTo>
                  <a:pt x="95" y="289"/>
                </a:lnTo>
                <a:lnTo>
                  <a:pt x="96" y="290"/>
                </a:lnTo>
                <a:lnTo>
                  <a:pt x="98" y="289"/>
                </a:lnTo>
                <a:lnTo>
                  <a:pt x="99" y="290"/>
                </a:lnTo>
                <a:lnTo>
                  <a:pt x="100" y="290"/>
                </a:lnTo>
                <a:lnTo>
                  <a:pt x="101" y="289"/>
                </a:lnTo>
                <a:lnTo>
                  <a:pt x="100" y="289"/>
                </a:lnTo>
                <a:lnTo>
                  <a:pt x="100" y="288"/>
                </a:lnTo>
                <a:lnTo>
                  <a:pt x="99" y="286"/>
                </a:lnTo>
                <a:lnTo>
                  <a:pt x="100" y="286"/>
                </a:lnTo>
                <a:lnTo>
                  <a:pt x="100" y="285"/>
                </a:lnTo>
                <a:lnTo>
                  <a:pt x="101" y="285"/>
                </a:lnTo>
                <a:lnTo>
                  <a:pt x="100" y="284"/>
                </a:lnTo>
                <a:lnTo>
                  <a:pt x="100" y="282"/>
                </a:lnTo>
                <a:lnTo>
                  <a:pt x="101" y="282"/>
                </a:lnTo>
                <a:lnTo>
                  <a:pt x="102" y="283"/>
                </a:lnTo>
                <a:lnTo>
                  <a:pt x="103" y="283"/>
                </a:lnTo>
                <a:lnTo>
                  <a:pt x="103" y="282"/>
                </a:lnTo>
                <a:lnTo>
                  <a:pt x="105" y="283"/>
                </a:lnTo>
                <a:lnTo>
                  <a:pt x="106" y="283"/>
                </a:lnTo>
                <a:lnTo>
                  <a:pt x="105" y="282"/>
                </a:lnTo>
                <a:lnTo>
                  <a:pt x="106" y="282"/>
                </a:lnTo>
                <a:lnTo>
                  <a:pt x="107" y="280"/>
                </a:lnTo>
                <a:lnTo>
                  <a:pt x="107" y="279"/>
                </a:lnTo>
                <a:lnTo>
                  <a:pt x="109" y="279"/>
                </a:lnTo>
                <a:lnTo>
                  <a:pt x="108" y="278"/>
                </a:lnTo>
                <a:lnTo>
                  <a:pt x="111" y="277"/>
                </a:lnTo>
                <a:lnTo>
                  <a:pt x="112" y="277"/>
                </a:lnTo>
                <a:lnTo>
                  <a:pt x="112" y="276"/>
                </a:lnTo>
                <a:lnTo>
                  <a:pt x="111" y="276"/>
                </a:lnTo>
                <a:lnTo>
                  <a:pt x="106" y="277"/>
                </a:lnTo>
                <a:lnTo>
                  <a:pt x="102" y="277"/>
                </a:lnTo>
                <a:lnTo>
                  <a:pt x="103" y="278"/>
                </a:lnTo>
                <a:lnTo>
                  <a:pt x="102" y="278"/>
                </a:lnTo>
                <a:lnTo>
                  <a:pt x="98" y="277"/>
                </a:lnTo>
                <a:lnTo>
                  <a:pt x="96" y="278"/>
                </a:lnTo>
                <a:lnTo>
                  <a:pt x="95" y="277"/>
                </a:lnTo>
                <a:lnTo>
                  <a:pt x="94" y="277"/>
                </a:lnTo>
                <a:lnTo>
                  <a:pt x="90" y="278"/>
                </a:lnTo>
                <a:lnTo>
                  <a:pt x="89" y="278"/>
                </a:lnTo>
                <a:lnTo>
                  <a:pt x="89" y="279"/>
                </a:lnTo>
                <a:lnTo>
                  <a:pt x="87" y="279"/>
                </a:lnTo>
                <a:lnTo>
                  <a:pt x="87" y="278"/>
                </a:lnTo>
                <a:lnTo>
                  <a:pt x="86" y="278"/>
                </a:lnTo>
                <a:lnTo>
                  <a:pt x="83" y="279"/>
                </a:lnTo>
                <a:lnTo>
                  <a:pt x="80" y="279"/>
                </a:lnTo>
                <a:lnTo>
                  <a:pt x="80" y="280"/>
                </a:lnTo>
                <a:lnTo>
                  <a:pt x="78" y="279"/>
                </a:lnTo>
                <a:lnTo>
                  <a:pt x="76" y="279"/>
                </a:lnTo>
                <a:lnTo>
                  <a:pt x="75" y="278"/>
                </a:lnTo>
                <a:lnTo>
                  <a:pt x="75" y="277"/>
                </a:lnTo>
                <a:lnTo>
                  <a:pt x="72" y="277"/>
                </a:lnTo>
                <a:lnTo>
                  <a:pt x="71" y="278"/>
                </a:lnTo>
                <a:lnTo>
                  <a:pt x="70" y="278"/>
                </a:lnTo>
                <a:lnTo>
                  <a:pt x="70" y="279"/>
                </a:lnTo>
                <a:lnTo>
                  <a:pt x="69" y="280"/>
                </a:lnTo>
                <a:lnTo>
                  <a:pt x="67" y="280"/>
                </a:lnTo>
                <a:lnTo>
                  <a:pt x="67" y="277"/>
                </a:lnTo>
                <a:lnTo>
                  <a:pt x="65" y="277"/>
                </a:lnTo>
                <a:lnTo>
                  <a:pt x="65" y="276"/>
                </a:lnTo>
                <a:lnTo>
                  <a:pt x="67" y="275"/>
                </a:lnTo>
                <a:lnTo>
                  <a:pt x="68" y="275"/>
                </a:lnTo>
                <a:lnTo>
                  <a:pt x="68" y="272"/>
                </a:lnTo>
                <a:lnTo>
                  <a:pt x="71" y="272"/>
                </a:lnTo>
                <a:lnTo>
                  <a:pt x="71" y="271"/>
                </a:lnTo>
                <a:lnTo>
                  <a:pt x="72" y="271"/>
                </a:lnTo>
                <a:lnTo>
                  <a:pt x="72" y="272"/>
                </a:lnTo>
                <a:lnTo>
                  <a:pt x="74" y="272"/>
                </a:lnTo>
                <a:lnTo>
                  <a:pt x="76" y="275"/>
                </a:lnTo>
                <a:lnTo>
                  <a:pt x="77" y="273"/>
                </a:lnTo>
                <a:lnTo>
                  <a:pt x="78" y="273"/>
                </a:lnTo>
                <a:lnTo>
                  <a:pt x="78" y="272"/>
                </a:lnTo>
                <a:lnTo>
                  <a:pt x="80" y="272"/>
                </a:lnTo>
                <a:lnTo>
                  <a:pt x="80" y="270"/>
                </a:lnTo>
                <a:lnTo>
                  <a:pt x="78" y="270"/>
                </a:lnTo>
                <a:lnTo>
                  <a:pt x="78" y="269"/>
                </a:lnTo>
                <a:lnTo>
                  <a:pt x="81" y="269"/>
                </a:lnTo>
                <a:lnTo>
                  <a:pt x="81" y="266"/>
                </a:lnTo>
                <a:lnTo>
                  <a:pt x="82" y="266"/>
                </a:lnTo>
                <a:lnTo>
                  <a:pt x="82" y="264"/>
                </a:lnTo>
                <a:lnTo>
                  <a:pt x="80" y="264"/>
                </a:lnTo>
                <a:lnTo>
                  <a:pt x="80" y="265"/>
                </a:lnTo>
                <a:lnTo>
                  <a:pt x="78" y="266"/>
                </a:lnTo>
                <a:lnTo>
                  <a:pt x="78" y="265"/>
                </a:lnTo>
                <a:lnTo>
                  <a:pt x="76" y="265"/>
                </a:lnTo>
                <a:lnTo>
                  <a:pt x="76" y="263"/>
                </a:lnTo>
                <a:lnTo>
                  <a:pt x="77" y="263"/>
                </a:lnTo>
                <a:lnTo>
                  <a:pt x="77" y="261"/>
                </a:lnTo>
                <a:lnTo>
                  <a:pt x="76" y="260"/>
                </a:lnTo>
                <a:lnTo>
                  <a:pt x="76" y="263"/>
                </a:lnTo>
                <a:lnTo>
                  <a:pt x="74" y="263"/>
                </a:lnTo>
                <a:lnTo>
                  <a:pt x="72" y="261"/>
                </a:lnTo>
                <a:lnTo>
                  <a:pt x="72" y="259"/>
                </a:lnTo>
                <a:lnTo>
                  <a:pt x="74" y="259"/>
                </a:lnTo>
                <a:lnTo>
                  <a:pt x="75" y="258"/>
                </a:lnTo>
                <a:lnTo>
                  <a:pt x="74" y="258"/>
                </a:lnTo>
                <a:lnTo>
                  <a:pt x="74" y="257"/>
                </a:lnTo>
                <a:lnTo>
                  <a:pt x="72" y="257"/>
                </a:lnTo>
                <a:lnTo>
                  <a:pt x="71" y="258"/>
                </a:lnTo>
                <a:lnTo>
                  <a:pt x="71" y="259"/>
                </a:lnTo>
                <a:lnTo>
                  <a:pt x="70" y="259"/>
                </a:lnTo>
                <a:lnTo>
                  <a:pt x="70" y="260"/>
                </a:lnTo>
                <a:lnTo>
                  <a:pt x="64" y="260"/>
                </a:lnTo>
                <a:lnTo>
                  <a:pt x="64" y="259"/>
                </a:lnTo>
                <a:lnTo>
                  <a:pt x="65" y="259"/>
                </a:lnTo>
                <a:lnTo>
                  <a:pt x="65" y="253"/>
                </a:lnTo>
                <a:lnTo>
                  <a:pt x="64" y="254"/>
                </a:lnTo>
                <a:lnTo>
                  <a:pt x="64" y="249"/>
                </a:lnTo>
                <a:lnTo>
                  <a:pt x="65" y="249"/>
                </a:lnTo>
                <a:lnTo>
                  <a:pt x="65" y="247"/>
                </a:lnTo>
                <a:lnTo>
                  <a:pt x="64" y="247"/>
                </a:lnTo>
                <a:lnTo>
                  <a:pt x="62" y="246"/>
                </a:lnTo>
                <a:lnTo>
                  <a:pt x="58" y="245"/>
                </a:lnTo>
                <a:lnTo>
                  <a:pt x="57" y="243"/>
                </a:lnTo>
                <a:lnTo>
                  <a:pt x="57" y="242"/>
                </a:lnTo>
                <a:lnTo>
                  <a:pt x="62" y="242"/>
                </a:lnTo>
                <a:lnTo>
                  <a:pt x="65" y="241"/>
                </a:lnTo>
                <a:lnTo>
                  <a:pt x="67" y="240"/>
                </a:lnTo>
                <a:lnTo>
                  <a:pt x="67" y="237"/>
                </a:lnTo>
                <a:lnTo>
                  <a:pt x="68" y="236"/>
                </a:lnTo>
                <a:lnTo>
                  <a:pt x="67" y="235"/>
                </a:lnTo>
                <a:lnTo>
                  <a:pt x="67" y="232"/>
                </a:lnTo>
                <a:lnTo>
                  <a:pt x="68" y="232"/>
                </a:lnTo>
                <a:lnTo>
                  <a:pt x="68" y="230"/>
                </a:lnTo>
                <a:lnTo>
                  <a:pt x="67" y="230"/>
                </a:lnTo>
                <a:lnTo>
                  <a:pt x="68" y="229"/>
                </a:lnTo>
                <a:lnTo>
                  <a:pt x="68" y="228"/>
                </a:lnTo>
                <a:lnTo>
                  <a:pt x="67" y="227"/>
                </a:lnTo>
                <a:lnTo>
                  <a:pt x="62" y="227"/>
                </a:lnTo>
                <a:lnTo>
                  <a:pt x="59" y="224"/>
                </a:lnTo>
                <a:lnTo>
                  <a:pt x="59" y="223"/>
                </a:lnTo>
                <a:lnTo>
                  <a:pt x="57" y="223"/>
                </a:lnTo>
                <a:lnTo>
                  <a:pt x="55" y="222"/>
                </a:lnTo>
                <a:lnTo>
                  <a:pt x="52" y="222"/>
                </a:lnTo>
                <a:lnTo>
                  <a:pt x="52" y="223"/>
                </a:lnTo>
                <a:lnTo>
                  <a:pt x="51" y="223"/>
                </a:lnTo>
                <a:lnTo>
                  <a:pt x="51" y="224"/>
                </a:lnTo>
                <a:lnTo>
                  <a:pt x="50" y="223"/>
                </a:lnTo>
                <a:lnTo>
                  <a:pt x="50" y="220"/>
                </a:lnTo>
                <a:lnTo>
                  <a:pt x="47" y="217"/>
                </a:lnTo>
                <a:lnTo>
                  <a:pt x="47" y="216"/>
                </a:lnTo>
                <a:lnTo>
                  <a:pt x="46" y="217"/>
                </a:lnTo>
                <a:lnTo>
                  <a:pt x="46" y="214"/>
                </a:lnTo>
                <a:lnTo>
                  <a:pt x="45" y="215"/>
                </a:lnTo>
                <a:lnTo>
                  <a:pt x="40" y="215"/>
                </a:lnTo>
                <a:lnTo>
                  <a:pt x="40" y="220"/>
                </a:lnTo>
                <a:lnTo>
                  <a:pt x="39" y="220"/>
                </a:lnTo>
                <a:lnTo>
                  <a:pt x="38" y="218"/>
                </a:lnTo>
                <a:lnTo>
                  <a:pt x="38" y="220"/>
                </a:lnTo>
                <a:lnTo>
                  <a:pt x="37" y="218"/>
                </a:lnTo>
                <a:lnTo>
                  <a:pt x="36" y="218"/>
                </a:lnTo>
                <a:lnTo>
                  <a:pt x="36" y="216"/>
                </a:lnTo>
                <a:lnTo>
                  <a:pt x="33" y="216"/>
                </a:lnTo>
                <a:lnTo>
                  <a:pt x="32" y="215"/>
                </a:lnTo>
                <a:lnTo>
                  <a:pt x="31" y="215"/>
                </a:lnTo>
                <a:lnTo>
                  <a:pt x="31" y="211"/>
                </a:lnTo>
                <a:lnTo>
                  <a:pt x="30" y="211"/>
                </a:lnTo>
                <a:lnTo>
                  <a:pt x="30" y="214"/>
                </a:lnTo>
                <a:lnTo>
                  <a:pt x="27" y="214"/>
                </a:lnTo>
                <a:lnTo>
                  <a:pt x="26" y="212"/>
                </a:lnTo>
                <a:lnTo>
                  <a:pt x="26" y="211"/>
                </a:lnTo>
                <a:lnTo>
                  <a:pt x="24" y="211"/>
                </a:lnTo>
                <a:lnTo>
                  <a:pt x="24" y="210"/>
                </a:lnTo>
                <a:lnTo>
                  <a:pt x="26" y="210"/>
                </a:lnTo>
                <a:lnTo>
                  <a:pt x="26" y="209"/>
                </a:lnTo>
                <a:lnTo>
                  <a:pt x="27" y="209"/>
                </a:lnTo>
                <a:lnTo>
                  <a:pt x="27" y="208"/>
                </a:lnTo>
                <a:lnTo>
                  <a:pt x="28" y="208"/>
                </a:lnTo>
                <a:lnTo>
                  <a:pt x="28" y="209"/>
                </a:lnTo>
                <a:lnTo>
                  <a:pt x="31" y="209"/>
                </a:lnTo>
                <a:lnTo>
                  <a:pt x="30" y="208"/>
                </a:lnTo>
                <a:lnTo>
                  <a:pt x="32" y="208"/>
                </a:lnTo>
                <a:lnTo>
                  <a:pt x="33" y="206"/>
                </a:lnTo>
                <a:lnTo>
                  <a:pt x="34" y="206"/>
                </a:lnTo>
                <a:lnTo>
                  <a:pt x="34" y="205"/>
                </a:lnTo>
                <a:lnTo>
                  <a:pt x="33" y="204"/>
                </a:lnTo>
                <a:lnTo>
                  <a:pt x="33" y="203"/>
                </a:lnTo>
                <a:lnTo>
                  <a:pt x="34" y="203"/>
                </a:lnTo>
                <a:lnTo>
                  <a:pt x="34" y="204"/>
                </a:lnTo>
                <a:lnTo>
                  <a:pt x="36" y="203"/>
                </a:lnTo>
                <a:lnTo>
                  <a:pt x="36" y="202"/>
                </a:lnTo>
                <a:lnTo>
                  <a:pt x="34" y="202"/>
                </a:lnTo>
                <a:lnTo>
                  <a:pt x="33" y="200"/>
                </a:lnTo>
                <a:lnTo>
                  <a:pt x="32" y="200"/>
                </a:lnTo>
                <a:lnTo>
                  <a:pt x="32" y="202"/>
                </a:lnTo>
                <a:lnTo>
                  <a:pt x="31" y="202"/>
                </a:lnTo>
                <a:lnTo>
                  <a:pt x="31" y="199"/>
                </a:lnTo>
                <a:lnTo>
                  <a:pt x="30" y="197"/>
                </a:lnTo>
                <a:lnTo>
                  <a:pt x="30" y="194"/>
                </a:lnTo>
                <a:lnTo>
                  <a:pt x="28" y="192"/>
                </a:lnTo>
                <a:lnTo>
                  <a:pt x="28" y="190"/>
                </a:lnTo>
                <a:lnTo>
                  <a:pt x="34" y="190"/>
                </a:lnTo>
                <a:lnTo>
                  <a:pt x="38" y="193"/>
                </a:lnTo>
                <a:lnTo>
                  <a:pt x="38" y="194"/>
                </a:lnTo>
                <a:lnTo>
                  <a:pt x="39" y="196"/>
                </a:lnTo>
                <a:lnTo>
                  <a:pt x="39" y="197"/>
                </a:lnTo>
                <a:lnTo>
                  <a:pt x="40" y="197"/>
                </a:lnTo>
                <a:lnTo>
                  <a:pt x="40" y="200"/>
                </a:lnTo>
                <a:lnTo>
                  <a:pt x="39" y="200"/>
                </a:lnTo>
                <a:lnTo>
                  <a:pt x="39" y="203"/>
                </a:lnTo>
                <a:lnTo>
                  <a:pt x="40" y="204"/>
                </a:lnTo>
                <a:lnTo>
                  <a:pt x="40" y="205"/>
                </a:lnTo>
                <a:lnTo>
                  <a:pt x="41" y="208"/>
                </a:lnTo>
                <a:lnTo>
                  <a:pt x="43" y="209"/>
                </a:lnTo>
                <a:lnTo>
                  <a:pt x="44" y="209"/>
                </a:lnTo>
                <a:lnTo>
                  <a:pt x="43" y="208"/>
                </a:lnTo>
                <a:lnTo>
                  <a:pt x="43" y="203"/>
                </a:lnTo>
                <a:lnTo>
                  <a:pt x="45" y="203"/>
                </a:lnTo>
                <a:lnTo>
                  <a:pt x="45" y="204"/>
                </a:lnTo>
                <a:lnTo>
                  <a:pt x="46" y="206"/>
                </a:lnTo>
                <a:lnTo>
                  <a:pt x="50" y="206"/>
                </a:lnTo>
                <a:lnTo>
                  <a:pt x="53" y="205"/>
                </a:lnTo>
                <a:lnTo>
                  <a:pt x="55" y="204"/>
                </a:lnTo>
                <a:lnTo>
                  <a:pt x="61" y="204"/>
                </a:lnTo>
                <a:lnTo>
                  <a:pt x="63" y="202"/>
                </a:lnTo>
                <a:lnTo>
                  <a:pt x="62" y="202"/>
                </a:lnTo>
                <a:lnTo>
                  <a:pt x="62" y="200"/>
                </a:lnTo>
                <a:lnTo>
                  <a:pt x="61" y="202"/>
                </a:lnTo>
                <a:lnTo>
                  <a:pt x="59" y="202"/>
                </a:lnTo>
                <a:lnTo>
                  <a:pt x="58" y="200"/>
                </a:lnTo>
                <a:lnTo>
                  <a:pt x="57" y="200"/>
                </a:lnTo>
                <a:lnTo>
                  <a:pt x="55" y="202"/>
                </a:lnTo>
                <a:lnTo>
                  <a:pt x="53" y="203"/>
                </a:lnTo>
                <a:lnTo>
                  <a:pt x="53" y="202"/>
                </a:lnTo>
                <a:lnTo>
                  <a:pt x="52" y="199"/>
                </a:lnTo>
                <a:lnTo>
                  <a:pt x="51" y="199"/>
                </a:lnTo>
                <a:lnTo>
                  <a:pt x="50" y="198"/>
                </a:lnTo>
                <a:lnTo>
                  <a:pt x="51" y="198"/>
                </a:lnTo>
                <a:lnTo>
                  <a:pt x="50" y="197"/>
                </a:lnTo>
                <a:lnTo>
                  <a:pt x="49" y="197"/>
                </a:lnTo>
                <a:lnTo>
                  <a:pt x="50" y="196"/>
                </a:lnTo>
                <a:lnTo>
                  <a:pt x="50" y="193"/>
                </a:lnTo>
                <a:lnTo>
                  <a:pt x="47" y="193"/>
                </a:lnTo>
                <a:lnTo>
                  <a:pt x="46" y="192"/>
                </a:lnTo>
                <a:lnTo>
                  <a:pt x="46" y="191"/>
                </a:lnTo>
                <a:lnTo>
                  <a:pt x="45" y="191"/>
                </a:lnTo>
                <a:lnTo>
                  <a:pt x="45" y="190"/>
                </a:lnTo>
                <a:lnTo>
                  <a:pt x="46" y="190"/>
                </a:lnTo>
                <a:lnTo>
                  <a:pt x="44" y="187"/>
                </a:lnTo>
                <a:lnTo>
                  <a:pt x="45" y="186"/>
                </a:lnTo>
                <a:lnTo>
                  <a:pt x="47" y="186"/>
                </a:lnTo>
                <a:lnTo>
                  <a:pt x="49" y="185"/>
                </a:lnTo>
                <a:lnTo>
                  <a:pt x="49" y="186"/>
                </a:lnTo>
                <a:lnTo>
                  <a:pt x="52" y="186"/>
                </a:lnTo>
                <a:lnTo>
                  <a:pt x="52" y="185"/>
                </a:lnTo>
                <a:lnTo>
                  <a:pt x="53" y="185"/>
                </a:lnTo>
                <a:lnTo>
                  <a:pt x="53" y="184"/>
                </a:lnTo>
                <a:lnTo>
                  <a:pt x="52" y="183"/>
                </a:lnTo>
                <a:lnTo>
                  <a:pt x="52" y="181"/>
                </a:lnTo>
                <a:lnTo>
                  <a:pt x="53" y="181"/>
                </a:lnTo>
                <a:lnTo>
                  <a:pt x="53" y="183"/>
                </a:lnTo>
                <a:lnTo>
                  <a:pt x="55" y="183"/>
                </a:lnTo>
                <a:lnTo>
                  <a:pt x="55" y="180"/>
                </a:lnTo>
                <a:lnTo>
                  <a:pt x="56" y="180"/>
                </a:lnTo>
                <a:lnTo>
                  <a:pt x="56" y="179"/>
                </a:lnTo>
                <a:lnTo>
                  <a:pt x="58" y="179"/>
                </a:lnTo>
                <a:lnTo>
                  <a:pt x="58" y="175"/>
                </a:lnTo>
                <a:lnTo>
                  <a:pt x="57" y="175"/>
                </a:lnTo>
                <a:lnTo>
                  <a:pt x="57" y="177"/>
                </a:lnTo>
                <a:lnTo>
                  <a:pt x="55" y="177"/>
                </a:lnTo>
                <a:lnTo>
                  <a:pt x="55" y="175"/>
                </a:lnTo>
                <a:lnTo>
                  <a:pt x="52" y="175"/>
                </a:lnTo>
                <a:lnTo>
                  <a:pt x="51" y="177"/>
                </a:lnTo>
                <a:lnTo>
                  <a:pt x="50" y="177"/>
                </a:lnTo>
                <a:lnTo>
                  <a:pt x="50" y="175"/>
                </a:lnTo>
                <a:lnTo>
                  <a:pt x="49" y="175"/>
                </a:lnTo>
                <a:lnTo>
                  <a:pt x="47" y="174"/>
                </a:lnTo>
                <a:lnTo>
                  <a:pt x="47" y="172"/>
                </a:lnTo>
                <a:lnTo>
                  <a:pt x="49" y="171"/>
                </a:lnTo>
                <a:lnTo>
                  <a:pt x="47" y="171"/>
                </a:lnTo>
                <a:lnTo>
                  <a:pt x="50" y="168"/>
                </a:lnTo>
                <a:lnTo>
                  <a:pt x="51" y="168"/>
                </a:lnTo>
                <a:lnTo>
                  <a:pt x="51" y="167"/>
                </a:lnTo>
                <a:lnTo>
                  <a:pt x="50" y="166"/>
                </a:lnTo>
                <a:lnTo>
                  <a:pt x="49" y="163"/>
                </a:lnTo>
                <a:lnTo>
                  <a:pt x="46" y="162"/>
                </a:lnTo>
                <a:lnTo>
                  <a:pt x="45" y="162"/>
                </a:lnTo>
                <a:lnTo>
                  <a:pt x="45" y="159"/>
                </a:lnTo>
                <a:lnTo>
                  <a:pt x="44" y="157"/>
                </a:lnTo>
                <a:lnTo>
                  <a:pt x="39" y="157"/>
                </a:lnTo>
                <a:lnTo>
                  <a:pt x="40" y="156"/>
                </a:lnTo>
                <a:lnTo>
                  <a:pt x="41" y="156"/>
                </a:lnTo>
                <a:lnTo>
                  <a:pt x="44" y="154"/>
                </a:lnTo>
                <a:lnTo>
                  <a:pt x="49" y="150"/>
                </a:lnTo>
                <a:lnTo>
                  <a:pt x="47" y="150"/>
                </a:lnTo>
                <a:lnTo>
                  <a:pt x="47" y="148"/>
                </a:lnTo>
                <a:lnTo>
                  <a:pt x="50" y="148"/>
                </a:lnTo>
                <a:lnTo>
                  <a:pt x="50" y="147"/>
                </a:lnTo>
                <a:lnTo>
                  <a:pt x="51" y="147"/>
                </a:lnTo>
                <a:lnTo>
                  <a:pt x="53" y="146"/>
                </a:lnTo>
                <a:lnTo>
                  <a:pt x="53" y="141"/>
                </a:lnTo>
                <a:lnTo>
                  <a:pt x="52" y="141"/>
                </a:lnTo>
                <a:lnTo>
                  <a:pt x="51" y="140"/>
                </a:lnTo>
                <a:lnTo>
                  <a:pt x="51" y="141"/>
                </a:lnTo>
                <a:lnTo>
                  <a:pt x="50" y="141"/>
                </a:lnTo>
                <a:lnTo>
                  <a:pt x="49" y="142"/>
                </a:lnTo>
                <a:lnTo>
                  <a:pt x="47" y="141"/>
                </a:lnTo>
                <a:lnTo>
                  <a:pt x="41" y="142"/>
                </a:lnTo>
                <a:lnTo>
                  <a:pt x="33" y="143"/>
                </a:lnTo>
                <a:lnTo>
                  <a:pt x="32" y="144"/>
                </a:lnTo>
                <a:lnTo>
                  <a:pt x="31" y="144"/>
                </a:lnTo>
                <a:lnTo>
                  <a:pt x="30" y="146"/>
                </a:lnTo>
                <a:lnTo>
                  <a:pt x="25" y="146"/>
                </a:lnTo>
                <a:lnTo>
                  <a:pt x="25" y="147"/>
                </a:lnTo>
                <a:lnTo>
                  <a:pt x="16" y="147"/>
                </a:lnTo>
                <a:lnTo>
                  <a:pt x="16" y="146"/>
                </a:lnTo>
                <a:lnTo>
                  <a:pt x="18" y="142"/>
                </a:lnTo>
                <a:lnTo>
                  <a:pt x="19" y="140"/>
                </a:lnTo>
                <a:lnTo>
                  <a:pt x="20" y="138"/>
                </a:lnTo>
                <a:lnTo>
                  <a:pt x="20" y="137"/>
                </a:lnTo>
                <a:lnTo>
                  <a:pt x="21" y="134"/>
                </a:lnTo>
                <a:lnTo>
                  <a:pt x="20" y="134"/>
                </a:lnTo>
                <a:lnTo>
                  <a:pt x="20" y="120"/>
                </a:lnTo>
                <a:lnTo>
                  <a:pt x="21" y="119"/>
                </a:lnTo>
                <a:lnTo>
                  <a:pt x="22" y="117"/>
                </a:lnTo>
                <a:lnTo>
                  <a:pt x="25" y="118"/>
                </a:lnTo>
                <a:lnTo>
                  <a:pt x="25" y="117"/>
                </a:lnTo>
                <a:lnTo>
                  <a:pt x="27" y="117"/>
                </a:lnTo>
                <a:lnTo>
                  <a:pt x="28" y="114"/>
                </a:lnTo>
                <a:lnTo>
                  <a:pt x="30" y="113"/>
                </a:lnTo>
                <a:lnTo>
                  <a:pt x="30" y="112"/>
                </a:lnTo>
                <a:lnTo>
                  <a:pt x="31" y="112"/>
                </a:lnTo>
                <a:lnTo>
                  <a:pt x="31" y="106"/>
                </a:lnTo>
                <a:lnTo>
                  <a:pt x="36" y="106"/>
                </a:lnTo>
                <a:lnTo>
                  <a:pt x="36" y="105"/>
                </a:lnTo>
                <a:lnTo>
                  <a:pt x="39" y="101"/>
                </a:lnTo>
                <a:lnTo>
                  <a:pt x="44" y="95"/>
                </a:lnTo>
                <a:lnTo>
                  <a:pt x="58" y="95"/>
                </a:lnTo>
                <a:lnTo>
                  <a:pt x="59" y="93"/>
                </a:lnTo>
                <a:lnTo>
                  <a:pt x="61" y="93"/>
                </a:lnTo>
                <a:lnTo>
                  <a:pt x="62" y="92"/>
                </a:lnTo>
                <a:lnTo>
                  <a:pt x="64" y="93"/>
                </a:lnTo>
                <a:lnTo>
                  <a:pt x="67" y="93"/>
                </a:lnTo>
                <a:lnTo>
                  <a:pt x="68" y="92"/>
                </a:lnTo>
                <a:lnTo>
                  <a:pt x="69" y="92"/>
                </a:lnTo>
                <a:lnTo>
                  <a:pt x="69" y="93"/>
                </a:lnTo>
                <a:lnTo>
                  <a:pt x="70" y="94"/>
                </a:lnTo>
                <a:lnTo>
                  <a:pt x="69" y="95"/>
                </a:lnTo>
                <a:lnTo>
                  <a:pt x="72" y="99"/>
                </a:lnTo>
                <a:lnTo>
                  <a:pt x="75" y="100"/>
                </a:lnTo>
                <a:lnTo>
                  <a:pt x="80" y="100"/>
                </a:lnTo>
                <a:lnTo>
                  <a:pt x="81" y="99"/>
                </a:lnTo>
                <a:lnTo>
                  <a:pt x="83" y="99"/>
                </a:lnTo>
                <a:lnTo>
                  <a:pt x="84" y="100"/>
                </a:lnTo>
                <a:lnTo>
                  <a:pt x="86" y="100"/>
                </a:lnTo>
                <a:lnTo>
                  <a:pt x="86" y="99"/>
                </a:lnTo>
                <a:lnTo>
                  <a:pt x="87" y="100"/>
                </a:lnTo>
                <a:lnTo>
                  <a:pt x="89" y="100"/>
                </a:lnTo>
                <a:lnTo>
                  <a:pt x="90" y="98"/>
                </a:lnTo>
                <a:lnTo>
                  <a:pt x="93" y="97"/>
                </a:lnTo>
                <a:lnTo>
                  <a:pt x="90" y="95"/>
                </a:lnTo>
                <a:lnTo>
                  <a:pt x="89" y="95"/>
                </a:lnTo>
                <a:lnTo>
                  <a:pt x="89" y="94"/>
                </a:lnTo>
                <a:lnTo>
                  <a:pt x="88" y="94"/>
                </a:lnTo>
                <a:lnTo>
                  <a:pt x="88" y="92"/>
                </a:lnTo>
                <a:lnTo>
                  <a:pt x="87" y="92"/>
                </a:lnTo>
                <a:lnTo>
                  <a:pt x="84" y="89"/>
                </a:lnTo>
                <a:lnTo>
                  <a:pt x="86" y="89"/>
                </a:lnTo>
                <a:lnTo>
                  <a:pt x="87" y="88"/>
                </a:lnTo>
                <a:lnTo>
                  <a:pt x="90" y="88"/>
                </a:lnTo>
                <a:lnTo>
                  <a:pt x="98" y="89"/>
                </a:lnTo>
                <a:lnTo>
                  <a:pt x="100" y="92"/>
                </a:lnTo>
                <a:lnTo>
                  <a:pt x="99" y="93"/>
                </a:lnTo>
                <a:lnTo>
                  <a:pt x="95" y="94"/>
                </a:lnTo>
                <a:lnTo>
                  <a:pt x="94" y="95"/>
                </a:lnTo>
                <a:lnTo>
                  <a:pt x="94" y="97"/>
                </a:lnTo>
                <a:lnTo>
                  <a:pt x="96" y="98"/>
                </a:lnTo>
                <a:lnTo>
                  <a:pt x="103" y="95"/>
                </a:lnTo>
                <a:lnTo>
                  <a:pt x="118" y="95"/>
                </a:lnTo>
                <a:lnTo>
                  <a:pt x="118" y="97"/>
                </a:lnTo>
                <a:lnTo>
                  <a:pt x="119" y="95"/>
                </a:lnTo>
                <a:lnTo>
                  <a:pt x="121" y="95"/>
                </a:lnTo>
                <a:lnTo>
                  <a:pt x="124" y="97"/>
                </a:lnTo>
                <a:lnTo>
                  <a:pt x="125" y="98"/>
                </a:lnTo>
                <a:lnTo>
                  <a:pt x="125" y="97"/>
                </a:lnTo>
                <a:lnTo>
                  <a:pt x="130" y="97"/>
                </a:lnTo>
                <a:lnTo>
                  <a:pt x="130" y="95"/>
                </a:lnTo>
                <a:lnTo>
                  <a:pt x="134" y="95"/>
                </a:lnTo>
                <a:lnTo>
                  <a:pt x="136" y="97"/>
                </a:lnTo>
                <a:lnTo>
                  <a:pt x="137" y="97"/>
                </a:lnTo>
                <a:lnTo>
                  <a:pt x="138" y="98"/>
                </a:lnTo>
                <a:lnTo>
                  <a:pt x="142" y="98"/>
                </a:lnTo>
                <a:lnTo>
                  <a:pt x="144" y="95"/>
                </a:lnTo>
                <a:lnTo>
                  <a:pt x="144" y="94"/>
                </a:lnTo>
                <a:lnTo>
                  <a:pt x="146" y="94"/>
                </a:lnTo>
                <a:lnTo>
                  <a:pt x="146" y="93"/>
                </a:lnTo>
                <a:lnTo>
                  <a:pt x="144" y="91"/>
                </a:lnTo>
                <a:lnTo>
                  <a:pt x="140" y="91"/>
                </a:lnTo>
                <a:lnTo>
                  <a:pt x="139" y="92"/>
                </a:lnTo>
                <a:lnTo>
                  <a:pt x="137" y="92"/>
                </a:lnTo>
                <a:lnTo>
                  <a:pt x="133" y="89"/>
                </a:lnTo>
                <a:lnTo>
                  <a:pt x="131" y="88"/>
                </a:lnTo>
                <a:lnTo>
                  <a:pt x="133" y="86"/>
                </a:lnTo>
                <a:lnTo>
                  <a:pt x="136" y="85"/>
                </a:lnTo>
                <a:lnTo>
                  <a:pt x="137" y="83"/>
                </a:lnTo>
                <a:lnTo>
                  <a:pt x="139" y="82"/>
                </a:lnTo>
                <a:lnTo>
                  <a:pt x="140" y="82"/>
                </a:lnTo>
                <a:lnTo>
                  <a:pt x="152" y="81"/>
                </a:lnTo>
                <a:lnTo>
                  <a:pt x="154" y="80"/>
                </a:lnTo>
                <a:lnTo>
                  <a:pt x="156" y="79"/>
                </a:lnTo>
                <a:lnTo>
                  <a:pt x="157" y="79"/>
                </a:lnTo>
                <a:lnTo>
                  <a:pt x="158" y="80"/>
                </a:lnTo>
                <a:lnTo>
                  <a:pt x="158" y="79"/>
                </a:lnTo>
                <a:lnTo>
                  <a:pt x="159" y="79"/>
                </a:lnTo>
                <a:lnTo>
                  <a:pt x="161" y="77"/>
                </a:lnTo>
                <a:lnTo>
                  <a:pt x="163" y="77"/>
                </a:lnTo>
                <a:lnTo>
                  <a:pt x="163" y="79"/>
                </a:lnTo>
                <a:lnTo>
                  <a:pt x="164" y="79"/>
                </a:lnTo>
                <a:lnTo>
                  <a:pt x="173" y="77"/>
                </a:lnTo>
                <a:lnTo>
                  <a:pt x="180" y="77"/>
                </a:lnTo>
                <a:lnTo>
                  <a:pt x="180" y="75"/>
                </a:lnTo>
                <a:lnTo>
                  <a:pt x="175" y="75"/>
                </a:lnTo>
                <a:lnTo>
                  <a:pt x="174" y="76"/>
                </a:lnTo>
                <a:lnTo>
                  <a:pt x="173" y="76"/>
                </a:lnTo>
                <a:lnTo>
                  <a:pt x="171" y="75"/>
                </a:lnTo>
                <a:lnTo>
                  <a:pt x="169" y="74"/>
                </a:lnTo>
                <a:lnTo>
                  <a:pt x="158" y="74"/>
                </a:lnTo>
                <a:lnTo>
                  <a:pt x="158" y="75"/>
                </a:lnTo>
                <a:lnTo>
                  <a:pt x="155" y="75"/>
                </a:lnTo>
                <a:lnTo>
                  <a:pt x="155" y="71"/>
                </a:lnTo>
                <a:lnTo>
                  <a:pt x="154" y="71"/>
                </a:lnTo>
                <a:lnTo>
                  <a:pt x="152" y="73"/>
                </a:lnTo>
                <a:lnTo>
                  <a:pt x="151" y="73"/>
                </a:lnTo>
                <a:lnTo>
                  <a:pt x="152" y="71"/>
                </a:lnTo>
                <a:lnTo>
                  <a:pt x="152" y="70"/>
                </a:lnTo>
                <a:lnTo>
                  <a:pt x="151" y="69"/>
                </a:lnTo>
                <a:lnTo>
                  <a:pt x="150" y="69"/>
                </a:lnTo>
                <a:lnTo>
                  <a:pt x="149" y="68"/>
                </a:lnTo>
                <a:lnTo>
                  <a:pt x="146" y="67"/>
                </a:lnTo>
                <a:lnTo>
                  <a:pt x="144" y="64"/>
                </a:lnTo>
                <a:lnTo>
                  <a:pt x="142" y="63"/>
                </a:lnTo>
                <a:lnTo>
                  <a:pt x="142" y="61"/>
                </a:lnTo>
                <a:lnTo>
                  <a:pt x="140" y="61"/>
                </a:lnTo>
                <a:lnTo>
                  <a:pt x="142" y="60"/>
                </a:lnTo>
                <a:lnTo>
                  <a:pt x="140" y="60"/>
                </a:lnTo>
                <a:lnTo>
                  <a:pt x="140" y="62"/>
                </a:lnTo>
                <a:lnTo>
                  <a:pt x="137" y="62"/>
                </a:lnTo>
                <a:lnTo>
                  <a:pt x="136" y="63"/>
                </a:lnTo>
                <a:lnTo>
                  <a:pt x="134" y="63"/>
                </a:lnTo>
                <a:lnTo>
                  <a:pt x="133" y="64"/>
                </a:lnTo>
                <a:lnTo>
                  <a:pt x="131" y="64"/>
                </a:lnTo>
                <a:lnTo>
                  <a:pt x="131" y="63"/>
                </a:lnTo>
                <a:lnTo>
                  <a:pt x="130" y="63"/>
                </a:lnTo>
                <a:lnTo>
                  <a:pt x="125" y="64"/>
                </a:lnTo>
                <a:lnTo>
                  <a:pt x="124" y="63"/>
                </a:lnTo>
                <a:lnTo>
                  <a:pt x="124" y="61"/>
                </a:lnTo>
                <a:lnTo>
                  <a:pt x="121" y="61"/>
                </a:lnTo>
                <a:lnTo>
                  <a:pt x="121" y="63"/>
                </a:lnTo>
                <a:lnTo>
                  <a:pt x="120" y="62"/>
                </a:lnTo>
                <a:lnTo>
                  <a:pt x="118" y="61"/>
                </a:lnTo>
                <a:lnTo>
                  <a:pt x="117" y="60"/>
                </a:lnTo>
                <a:lnTo>
                  <a:pt x="115" y="60"/>
                </a:lnTo>
                <a:lnTo>
                  <a:pt x="112" y="58"/>
                </a:lnTo>
                <a:lnTo>
                  <a:pt x="109" y="58"/>
                </a:lnTo>
                <a:lnTo>
                  <a:pt x="108" y="57"/>
                </a:lnTo>
                <a:lnTo>
                  <a:pt x="105" y="57"/>
                </a:lnTo>
                <a:lnTo>
                  <a:pt x="103" y="58"/>
                </a:lnTo>
                <a:lnTo>
                  <a:pt x="102" y="58"/>
                </a:lnTo>
                <a:lnTo>
                  <a:pt x="100" y="60"/>
                </a:lnTo>
                <a:lnTo>
                  <a:pt x="99" y="60"/>
                </a:lnTo>
                <a:lnTo>
                  <a:pt x="99" y="61"/>
                </a:lnTo>
                <a:lnTo>
                  <a:pt x="98" y="61"/>
                </a:lnTo>
                <a:lnTo>
                  <a:pt x="96" y="62"/>
                </a:lnTo>
                <a:lnTo>
                  <a:pt x="96" y="63"/>
                </a:lnTo>
                <a:lnTo>
                  <a:pt x="92" y="63"/>
                </a:lnTo>
                <a:lnTo>
                  <a:pt x="92" y="62"/>
                </a:lnTo>
                <a:lnTo>
                  <a:pt x="89" y="62"/>
                </a:lnTo>
                <a:lnTo>
                  <a:pt x="87" y="61"/>
                </a:lnTo>
                <a:lnTo>
                  <a:pt x="78" y="63"/>
                </a:lnTo>
                <a:lnTo>
                  <a:pt x="77" y="63"/>
                </a:lnTo>
                <a:lnTo>
                  <a:pt x="76" y="66"/>
                </a:lnTo>
                <a:lnTo>
                  <a:pt x="75" y="70"/>
                </a:lnTo>
                <a:lnTo>
                  <a:pt x="70" y="75"/>
                </a:lnTo>
                <a:lnTo>
                  <a:pt x="68" y="79"/>
                </a:lnTo>
                <a:lnTo>
                  <a:pt x="64" y="81"/>
                </a:lnTo>
                <a:lnTo>
                  <a:pt x="64" y="82"/>
                </a:lnTo>
                <a:lnTo>
                  <a:pt x="62" y="82"/>
                </a:lnTo>
                <a:lnTo>
                  <a:pt x="61" y="83"/>
                </a:lnTo>
                <a:lnTo>
                  <a:pt x="58" y="83"/>
                </a:lnTo>
                <a:lnTo>
                  <a:pt x="56" y="86"/>
                </a:lnTo>
                <a:lnTo>
                  <a:pt x="55" y="86"/>
                </a:lnTo>
                <a:lnTo>
                  <a:pt x="53" y="87"/>
                </a:lnTo>
                <a:lnTo>
                  <a:pt x="52" y="87"/>
                </a:lnTo>
                <a:lnTo>
                  <a:pt x="50" y="88"/>
                </a:lnTo>
                <a:lnTo>
                  <a:pt x="50" y="89"/>
                </a:lnTo>
                <a:lnTo>
                  <a:pt x="46" y="89"/>
                </a:lnTo>
                <a:lnTo>
                  <a:pt x="44" y="92"/>
                </a:lnTo>
                <a:lnTo>
                  <a:pt x="43" y="92"/>
                </a:lnTo>
                <a:lnTo>
                  <a:pt x="43" y="94"/>
                </a:lnTo>
                <a:lnTo>
                  <a:pt x="41" y="94"/>
                </a:lnTo>
                <a:lnTo>
                  <a:pt x="40" y="95"/>
                </a:lnTo>
                <a:lnTo>
                  <a:pt x="40" y="98"/>
                </a:lnTo>
                <a:lnTo>
                  <a:pt x="39" y="98"/>
                </a:lnTo>
                <a:lnTo>
                  <a:pt x="36" y="101"/>
                </a:lnTo>
                <a:lnTo>
                  <a:pt x="34" y="101"/>
                </a:lnTo>
                <a:lnTo>
                  <a:pt x="34" y="103"/>
                </a:lnTo>
                <a:lnTo>
                  <a:pt x="32" y="105"/>
                </a:lnTo>
                <a:lnTo>
                  <a:pt x="31" y="105"/>
                </a:lnTo>
                <a:lnTo>
                  <a:pt x="30" y="106"/>
                </a:lnTo>
                <a:lnTo>
                  <a:pt x="28" y="106"/>
                </a:lnTo>
                <a:lnTo>
                  <a:pt x="28" y="107"/>
                </a:lnTo>
                <a:lnTo>
                  <a:pt x="30" y="109"/>
                </a:lnTo>
                <a:lnTo>
                  <a:pt x="26" y="112"/>
                </a:lnTo>
                <a:lnTo>
                  <a:pt x="21" y="114"/>
                </a:lnTo>
                <a:lnTo>
                  <a:pt x="20" y="114"/>
                </a:lnTo>
                <a:lnTo>
                  <a:pt x="22" y="112"/>
                </a:lnTo>
                <a:lnTo>
                  <a:pt x="22" y="110"/>
                </a:lnTo>
                <a:lnTo>
                  <a:pt x="25" y="106"/>
                </a:lnTo>
                <a:lnTo>
                  <a:pt x="25" y="103"/>
                </a:lnTo>
                <a:lnTo>
                  <a:pt x="24" y="101"/>
                </a:lnTo>
                <a:lnTo>
                  <a:pt x="24" y="100"/>
                </a:lnTo>
                <a:lnTo>
                  <a:pt x="22" y="100"/>
                </a:lnTo>
                <a:lnTo>
                  <a:pt x="25" y="98"/>
                </a:lnTo>
                <a:lnTo>
                  <a:pt x="27" y="98"/>
                </a:lnTo>
                <a:lnTo>
                  <a:pt x="32" y="93"/>
                </a:lnTo>
                <a:lnTo>
                  <a:pt x="37" y="91"/>
                </a:lnTo>
                <a:lnTo>
                  <a:pt x="38" y="89"/>
                </a:lnTo>
                <a:lnTo>
                  <a:pt x="43" y="89"/>
                </a:lnTo>
                <a:lnTo>
                  <a:pt x="44" y="88"/>
                </a:lnTo>
                <a:lnTo>
                  <a:pt x="44" y="87"/>
                </a:lnTo>
                <a:lnTo>
                  <a:pt x="45" y="86"/>
                </a:lnTo>
                <a:lnTo>
                  <a:pt x="46" y="87"/>
                </a:lnTo>
                <a:lnTo>
                  <a:pt x="47" y="86"/>
                </a:lnTo>
                <a:lnTo>
                  <a:pt x="49" y="86"/>
                </a:lnTo>
                <a:lnTo>
                  <a:pt x="49" y="85"/>
                </a:lnTo>
                <a:lnTo>
                  <a:pt x="47" y="81"/>
                </a:lnTo>
                <a:lnTo>
                  <a:pt x="44" y="81"/>
                </a:lnTo>
                <a:lnTo>
                  <a:pt x="43" y="82"/>
                </a:lnTo>
                <a:lnTo>
                  <a:pt x="38" y="82"/>
                </a:lnTo>
                <a:lnTo>
                  <a:pt x="36" y="85"/>
                </a:lnTo>
                <a:lnTo>
                  <a:pt x="34" y="83"/>
                </a:lnTo>
                <a:lnTo>
                  <a:pt x="28" y="83"/>
                </a:lnTo>
                <a:lnTo>
                  <a:pt x="27" y="85"/>
                </a:lnTo>
                <a:lnTo>
                  <a:pt x="19" y="85"/>
                </a:lnTo>
                <a:lnTo>
                  <a:pt x="16" y="82"/>
                </a:lnTo>
                <a:lnTo>
                  <a:pt x="16" y="77"/>
                </a:lnTo>
                <a:lnTo>
                  <a:pt x="15" y="76"/>
                </a:lnTo>
                <a:lnTo>
                  <a:pt x="19" y="76"/>
                </a:lnTo>
                <a:lnTo>
                  <a:pt x="20" y="75"/>
                </a:lnTo>
                <a:lnTo>
                  <a:pt x="20" y="73"/>
                </a:lnTo>
                <a:lnTo>
                  <a:pt x="22" y="70"/>
                </a:lnTo>
                <a:lnTo>
                  <a:pt x="22" y="69"/>
                </a:lnTo>
                <a:lnTo>
                  <a:pt x="24" y="69"/>
                </a:lnTo>
                <a:lnTo>
                  <a:pt x="24" y="68"/>
                </a:lnTo>
                <a:lnTo>
                  <a:pt x="25" y="68"/>
                </a:lnTo>
                <a:lnTo>
                  <a:pt x="25" y="67"/>
                </a:lnTo>
                <a:lnTo>
                  <a:pt x="26" y="67"/>
                </a:lnTo>
                <a:lnTo>
                  <a:pt x="26" y="66"/>
                </a:lnTo>
                <a:lnTo>
                  <a:pt x="28" y="66"/>
                </a:lnTo>
                <a:lnTo>
                  <a:pt x="28" y="62"/>
                </a:lnTo>
                <a:lnTo>
                  <a:pt x="30" y="62"/>
                </a:lnTo>
                <a:lnTo>
                  <a:pt x="30" y="61"/>
                </a:lnTo>
                <a:lnTo>
                  <a:pt x="27" y="58"/>
                </a:lnTo>
                <a:lnTo>
                  <a:pt x="27" y="57"/>
                </a:lnTo>
                <a:lnTo>
                  <a:pt x="28" y="56"/>
                </a:lnTo>
                <a:lnTo>
                  <a:pt x="28" y="55"/>
                </a:lnTo>
                <a:lnTo>
                  <a:pt x="27" y="55"/>
                </a:lnTo>
                <a:lnTo>
                  <a:pt x="28" y="54"/>
                </a:lnTo>
                <a:lnTo>
                  <a:pt x="27" y="52"/>
                </a:lnTo>
                <a:lnTo>
                  <a:pt x="27" y="50"/>
                </a:lnTo>
                <a:lnTo>
                  <a:pt x="28" y="49"/>
                </a:lnTo>
                <a:lnTo>
                  <a:pt x="27" y="49"/>
                </a:lnTo>
                <a:lnTo>
                  <a:pt x="28" y="48"/>
                </a:lnTo>
                <a:lnTo>
                  <a:pt x="31" y="48"/>
                </a:lnTo>
                <a:lnTo>
                  <a:pt x="33" y="45"/>
                </a:lnTo>
                <a:lnTo>
                  <a:pt x="34" y="45"/>
                </a:lnTo>
                <a:lnTo>
                  <a:pt x="34" y="44"/>
                </a:lnTo>
                <a:lnTo>
                  <a:pt x="37" y="43"/>
                </a:lnTo>
                <a:lnTo>
                  <a:pt x="38" y="43"/>
                </a:lnTo>
                <a:lnTo>
                  <a:pt x="39" y="44"/>
                </a:lnTo>
                <a:lnTo>
                  <a:pt x="40" y="43"/>
                </a:lnTo>
                <a:lnTo>
                  <a:pt x="40" y="36"/>
                </a:lnTo>
                <a:lnTo>
                  <a:pt x="39" y="33"/>
                </a:lnTo>
                <a:lnTo>
                  <a:pt x="39" y="27"/>
                </a:lnTo>
                <a:lnTo>
                  <a:pt x="38" y="28"/>
                </a:lnTo>
                <a:lnTo>
                  <a:pt x="33" y="26"/>
                </a:lnTo>
                <a:lnTo>
                  <a:pt x="34" y="25"/>
                </a:lnTo>
                <a:lnTo>
                  <a:pt x="34" y="24"/>
                </a:lnTo>
                <a:lnTo>
                  <a:pt x="31" y="24"/>
                </a:lnTo>
                <a:lnTo>
                  <a:pt x="30" y="23"/>
                </a:lnTo>
                <a:lnTo>
                  <a:pt x="30" y="21"/>
                </a:lnTo>
                <a:lnTo>
                  <a:pt x="28" y="23"/>
                </a:lnTo>
                <a:lnTo>
                  <a:pt x="27" y="21"/>
                </a:lnTo>
                <a:lnTo>
                  <a:pt x="27" y="19"/>
                </a:lnTo>
                <a:lnTo>
                  <a:pt x="30" y="17"/>
                </a:lnTo>
                <a:lnTo>
                  <a:pt x="34" y="17"/>
                </a:lnTo>
                <a:lnTo>
                  <a:pt x="36" y="15"/>
                </a:lnTo>
                <a:lnTo>
                  <a:pt x="37" y="15"/>
                </a:lnTo>
                <a:lnTo>
                  <a:pt x="37" y="12"/>
                </a:lnTo>
                <a:lnTo>
                  <a:pt x="38" y="12"/>
                </a:lnTo>
                <a:lnTo>
                  <a:pt x="38" y="11"/>
                </a:lnTo>
                <a:lnTo>
                  <a:pt x="37" y="11"/>
                </a:lnTo>
                <a:lnTo>
                  <a:pt x="37" y="9"/>
                </a:lnTo>
                <a:lnTo>
                  <a:pt x="38" y="9"/>
                </a:lnTo>
                <a:lnTo>
                  <a:pt x="40" y="7"/>
                </a:lnTo>
                <a:lnTo>
                  <a:pt x="44" y="8"/>
                </a:lnTo>
                <a:lnTo>
                  <a:pt x="45" y="8"/>
                </a:lnTo>
                <a:lnTo>
                  <a:pt x="46" y="7"/>
                </a:lnTo>
                <a:lnTo>
                  <a:pt x="47" y="7"/>
                </a:lnTo>
                <a:lnTo>
                  <a:pt x="49" y="8"/>
                </a:lnTo>
                <a:lnTo>
                  <a:pt x="49" y="7"/>
                </a:lnTo>
                <a:lnTo>
                  <a:pt x="51" y="7"/>
                </a:lnTo>
                <a:lnTo>
                  <a:pt x="52" y="6"/>
                </a:lnTo>
                <a:lnTo>
                  <a:pt x="53" y="6"/>
                </a:lnTo>
                <a:lnTo>
                  <a:pt x="56" y="3"/>
                </a:lnTo>
                <a:lnTo>
                  <a:pt x="57" y="1"/>
                </a:lnTo>
                <a:lnTo>
                  <a:pt x="59" y="1"/>
                </a:lnTo>
                <a:lnTo>
                  <a:pt x="61" y="2"/>
                </a:lnTo>
                <a:lnTo>
                  <a:pt x="64" y="2"/>
                </a:lnTo>
                <a:lnTo>
                  <a:pt x="64" y="1"/>
                </a:lnTo>
                <a:lnTo>
                  <a:pt x="65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" name="Freeform 8">
            <a:extLst>
              <a:ext uri="{FF2B5EF4-FFF2-40B4-BE49-F238E27FC236}">
                <a16:creationId xmlns:a16="http://schemas.microsoft.com/office/drawing/2014/main" id="{E2953CE4-E54E-41A2-A95A-730412B310D9}"/>
              </a:ext>
            </a:extLst>
          </p:cNvPr>
          <p:cNvSpPr>
            <a:spLocks noEditPoints="1"/>
          </p:cNvSpPr>
          <p:nvPr/>
        </p:nvSpPr>
        <p:spPr bwMode="auto">
          <a:xfrm>
            <a:off x="1515688" y="2247158"/>
            <a:ext cx="821549" cy="1514143"/>
          </a:xfrm>
          <a:custGeom>
            <a:avLst/>
            <a:gdLst/>
            <a:ahLst/>
            <a:cxnLst>
              <a:cxn ang="0">
                <a:pos x="35" y="1032"/>
              </a:cxn>
              <a:cxn ang="0">
                <a:pos x="23" y="1033"/>
              </a:cxn>
              <a:cxn ang="0">
                <a:pos x="25" y="986"/>
              </a:cxn>
              <a:cxn ang="0">
                <a:pos x="30" y="967"/>
              </a:cxn>
              <a:cxn ang="0">
                <a:pos x="35" y="967"/>
              </a:cxn>
              <a:cxn ang="0">
                <a:pos x="24" y="953"/>
              </a:cxn>
              <a:cxn ang="0">
                <a:pos x="16" y="919"/>
              </a:cxn>
              <a:cxn ang="0">
                <a:pos x="33" y="924"/>
              </a:cxn>
              <a:cxn ang="0">
                <a:pos x="4" y="878"/>
              </a:cxn>
              <a:cxn ang="0">
                <a:pos x="10" y="860"/>
              </a:cxn>
              <a:cxn ang="0">
                <a:pos x="45" y="764"/>
              </a:cxn>
              <a:cxn ang="0">
                <a:pos x="38" y="758"/>
              </a:cxn>
              <a:cxn ang="0">
                <a:pos x="66" y="749"/>
              </a:cxn>
              <a:cxn ang="0">
                <a:pos x="89" y="713"/>
              </a:cxn>
              <a:cxn ang="0">
                <a:pos x="116" y="699"/>
              </a:cxn>
              <a:cxn ang="0">
                <a:pos x="150" y="683"/>
              </a:cxn>
              <a:cxn ang="0">
                <a:pos x="147" y="658"/>
              </a:cxn>
              <a:cxn ang="0">
                <a:pos x="191" y="645"/>
              </a:cxn>
              <a:cxn ang="0">
                <a:pos x="188" y="636"/>
              </a:cxn>
              <a:cxn ang="0">
                <a:pos x="173" y="625"/>
              </a:cxn>
              <a:cxn ang="0">
                <a:pos x="286" y="551"/>
              </a:cxn>
              <a:cxn ang="0">
                <a:pos x="275" y="512"/>
              </a:cxn>
              <a:cxn ang="0">
                <a:pos x="259" y="513"/>
              </a:cxn>
              <a:cxn ang="0">
                <a:pos x="319" y="494"/>
              </a:cxn>
              <a:cxn ang="0">
                <a:pos x="327" y="454"/>
              </a:cxn>
              <a:cxn ang="0">
                <a:pos x="318" y="470"/>
              </a:cxn>
              <a:cxn ang="0">
                <a:pos x="304" y="443"/>
              </a:cxn>
              <a:cxn ang="0">
                <a:pos x="347" y="400"/>
              </a:cxn>
              <a:cxn ang="0">
                <a:pos x="330" y="392"/>
              </a:cxn>
              <a:cxn ang="0">
                <a:pos x="348" y="362"/>
              </a:cxn>
              <a:cxn ang="0">
                <a:pos x="397" y="285"/>
              </a:cxn>
              <a:cxn ang="0">
                <a:pos x="431" y="245"/>
              </a:cxn>
              <a:cxn ang="0">
                <a:pos x="435" y="193"/>
              </a:cxn>
              <a:cxn ang="0">
                <a:pos x="448" y="191"/>
              </a:cxn>
              <a:cxn ang="0">
                <a:pos x="353" y="200"/>
              </a:cxn>
              <a:cxn ang="0">
                <a:pos x="362" y="189"/>
              </a:cxn>
              <a:cxn ang="0">
                <a:pos x="397" y="153"/>
              </a:cxn>
              <a:cxn ang="0">
                <a:pos x="381" y="176"/>
              </a:cxn>
              <a:cxn ang="0">
                <a:pos x="381" y="154"/>
              </a:cxn>
              <a:cxn ang="0">
                <a:pos x="423" y="159"/>
              </a:cxn>
              <a:cxn ang="0">
                <a:pos x="415" y="150"/>
              </a:cxn>
              <a:cxn ang="0">
                <a:pos x="497" y="129"/>
              </a:cxn>
              <a:cxn ang="0">
                <a:pos x="424" y="132"/>
              </a:cxn>
              <a:cxn ang="0">
                <a:pos x="530" y="96"/>
              </a:cxn>
              <a:cxn ang="0">
                <a:pos x="474" y="99"/>
              </a:cxn>
              <a:cxn ang="0">
                <a:pos x="484" y="91"/>
              </a:cxn>
              <a:cxn ang="0">
                <a:pos x="501" y="122"/>
              </a:cxn>
              <a:cxn ang="0">
                <a:pos x="467" y="141"/>
              </a:cxn>
              <a:cxn ang="0">
                <a:pos x="445" y="147"/>
              </a:cxn>
              <a:cxn ang="0">
                <a:pos x="455" y="119"/>
              </a:cxn>
              <a:cxn ang="0">
                <a:pos x="462" y="92"/>
              </a:cxn>
              <a:cxn ang="0">
                <a:pos x="446" y="80"/>
              </a:cxn>
              <a:cxn ang="0">
                <a:pos x="429" y="117"/>
              </a:cxn>
              <a:cxn ang="0">
                <a:pos x="421" y="116"/>
              </a:cxn>
              <a:cxn ang="0">
                <a:pos x="423" y="93"/>
              </a:cxn>
              <a:cxn ang="0">
                <a:pos x="545" y="65"/>
              </a:cxn>
              <a:cxn ang="0">
                <a:pos x="460" y="73"/>
              </a:cxn>
              <a:cxn ang="0">
                <a:pos x="551" y="9"/>
              </a:cxn>
              <a:cxn ang="0">
                <a:pos x="564" y="23"/>
              </a:cxn>
              <a:cxn ang="0">
                <a:pos x="529" y="66"/>
              </a:cxn>
              <a:cxn ang="0">
                <a:pos x="517" y="46"/>
              </a:cxn>
              <a:cxn ang="0">
                <a:pos x="536" y="29"/>
              </a:cxn>
              <a:cxn ang="0">
                <a:pos x="546" y="13"/>
              </a:cxn>
            </a:cxnLst>
            <a:rect l="0" t="0" r="r" b="b"/>
            <a:pathLst>
              <a:path w="567" h="1045">
                <a:moveTo>
                  <a:pt x="268" y="1039"/>
                </a:moveTo>
                <a:lnTo>
                  <a:pt x="269" y="1039"/>
                </a:lnTo>
                <a:lnTo>
                  <a:pt x="269" y="1041"/>
                </a:lnTo>
                <a:lnTo>
                  <a:pt x="272" y="1041"/>
                </a:lnTo>
                <a:lnTo>
                  <a:pt x="272" y="1042"/>
                </a:lnTo>
                <a:lnTo>
                  <a:pt x="271" y="1043"/>
                </a:lnTo>
                <a:lnTo>
                  <a:pt x="271" y="1044"/>
                </a:lnTo>
                <a:lnTo>
                  <a:pt x="269" y="1045"/>
                </a:lnTo>
                <a:lnTo>
                  <a:pt x="268" y="1045"/>
                </a:lnTo>
                <a:lnTo>
                  <a:pt x="268" y="1039"/>
                </a:lnTo>
                <a:close/>
                <a:moveTo>
                  <a:pt x="262" y="1037"/>
                </a:moveTo>
                <a:lnTo>
                  <a:pt x="262" y="1038"/>
                </a:lnTo>
                <a:lnTo>
                  <a:pt x="263" y="1037"/>
                </a:lnTo>
                <a:lnTo>
                  <a:pt x="265" y="1037"/>
                </a:lnTo>
                <a:lnTo>
                  <a:pt x="265" y="1039"/>
                </a:lnTo>
                <a:lnTo>
                  <a:pt x="263" y="1041"/>
                </a:lnTo>
                <a:lnTo>
                  <a:pt x="261" y="1041"/>
                </a:lnTo>
                <a:lnTo>
                  <a:pt x="261" y="1038"/>
                </a:lnTo>
                <a:lnTo>
                  <a:pt x="262" y="1037"/>
                </a:lnTo>
                <a:close/>
                <a:moveTo>
                  <a:pt x="39" y="1036"/>
                </a:moveTo>
                <a:lnTo>
                  <a:pt x="42" y="1036"/>
                </a:lnTo>
                <a:lnTo>
                  <a:pt x="43" y="1037"/>
                </a:lnTo>
                <a:lnTo>
                  <a:pt x="48" y="1037"/>
                </a:lnTo>
                <a:lnTo>
                  <a:pt x="48" y="1041"/>
                </a:lnTo>
                <a:lnTo>
                  <a:pt x="47" y="1041"/>
                </a:lnTo>
                <a:lnTo>
                  <a:pt x="43" y="1038"/>
                </a:lnTo>
                <a:lnTo>
                  <a:pt x="41" y="1037"/>
                </a:lnTo>
                <a:lnTo>
                  <a:pt x="39" y="1037"/>
                </a:lnTo>
                <a:lnTo>
                  <a:pt x="39" y="1036"/>
                </a:lnTo>
                <a:close/>
                <a:moveTo>
                  <a:pt x="31" y="1027"/>
                </a:moveTo>
                <a:lnTo>
                  <a:pt x="33" y="1027"/>
                </a:lnTo>
                <a:lnTo>
                  <a:pt x="33" y="1029"/>
                </a:lnTo>
                <a:lnTo>
                  <a:pt x="35" y="1030"/>
                </a:lnTo>
                <a:lnTo>
                  <a:pt x="35" y="1032"/>
                </a:lnTo>
                <a:lnTo>
                  <a:pt x="33" y="1033"/>
                </a:lnTo>
                <a:lnTo>
                  <a:pt x="33" y="1032"/>
                </a:lnTo>
                <a:lnTo>
                  <a:pt x="32" y="1032"/>
                </a:lnTo>
                <a:lnTo>
                  <a:pt x="31" y="1031"/>
                </a:lnTo>
                <a:lnTo>
                  <a:pt x="31" y="1027"/>
                </a:lnTo>
                <a:close/>
                <a:moveTo>
                  <a:pt x="56" y="1023"/>
                </a:moveTo>
                <a:lnTo>
                  <a:pt x="57" y="1023"/>
                </a:lnTo>
                <a:lnTo>
                  <a:pt x="60" y="1024"/>
                </a:lnTo>
                <a:lnTo>
                  <a:pt x="61" y="1024"/>
                </a:lnTo>
                <a:lnTo>
                  <a:pt x="61" y="1025"/>
                </a:lnTo>
                <a:lnTo>
                  <a:pt x="60" y="1027"/>
                </a:lnTo>
                <a:lnTo>
                  <a:pt x="57" y="1027"/>
                </a:lnTo>
                <a:lnTo>
                  <a:pt x="55" y="1029"/>
                </a:lnTo>
                <a:lnTo>
                  <a:pt x="54" y="1027"/>
                </a:lnTo>
                <a:lnTo>
                  <a:pt x="54" y="1025"/>
                </a:lnTo>
                <a:lnTo>
                  <a:pt x="56" y="1023"/>
                </a:lnTo>
                <a:close/>
                <a:moveTo>
                  <a:pt x="23" y="1013"/>
                </a:moveTo>
                <a:lnTo>
                  <a:pt x="24" y="1013"/>
                </a:lnTo>
                <a:lnTo>
                  <a:pt x="25" y="1017"/>
                </a:lnTo>
                <a:lnTo>
                  <a:pt x="25" y="1018"/>
                </a:lnTo>
                <a:lnTo>
                  <a:pt x="26" y="1019"/>
                </a:lnTo>
                <a:lnTo>
                  <a:pt x="26" y="1020"/>
                </a:lnTo>
                <a:lnTo>
                  <a:pt x="27" y="1020"/>
                </a:lnTo>
                <a:lnTo>
                  <a:pt x="27" y="1021"/>
                </a:lnTo>
                <a:lnTo>
                  <a:pt x="26" y="1021"/>
                </a:lnTo>
                <a:lnTo>
                  <a:pt x="26" y="1023"/>
                </a:lnTo>
                <a:lnTo>
                  <a:pt x="29" y="1025"/>
                </a:lnTo>
                <a:lnTo>
                  <a:pt x="29" y="1029"/>
                </a:lnTo>
                <a:lnTo>
                  <a:pt x="27" y="1030"/>
                </a:lnTo>
                <a:lnTo>
                  <a:pt x="27" y="1033"/>
                </a:lnTo>
                <a:lnTo>
                  <a:pt x="25" y="1036"/>
                </a:lnTo>
                <a:lnTo>
                  <a:pt x="24" y="1036"/>
                </a:lnTo>
                <a:lnTo>
                  <a:pt x="23" y="1035"/>
                </a:lnTo>
                <a:lnTo>
                  <a:pt x="23" y="1033"/>
                </a:lnTo>
                <a:lnTo>
                  <a:pt x="21" y="1031"/>
                </a:lnTo>
                <a:lnTo>
                  <a:pt x="21" y="1029"/>
                </a:lnTo>
                <a:lnTo>
                  <a:pt x="23" y="1027"/>
                </a:lnTo>
                <a:lnTo>
                  <a:pt x="23" y="1025"/>
                </a:lnTo>
                <a:lnTo>
                  <a:pt x="21" y="1025"/>
                </a:lnTo>
                <a:lnTo>
                  <a:pt x="23" y="1023"/>
                </a:lnTo>
                <a:lnTo>
                  <a:pt x="25" y="1024"/>
                </a:lnTo>
                <a:lnTo>
                  <a:pt x="23" y="1020"/>
                </a:lnTo>
                <a:lnTo>
                  <a:pt x="23" y="1017"/>
                </a:lnTo>
                <a:lnTo>
                  <a:pt x="24" y="1016"/>
                </a:lnTo>
                <a:lnTo>
                  <a:pt x="23" y="1016"/>
                </a:lnTo>
                <a:lnTo>
                  <a:pt x="23" y="1013"/>
                </a:lnTo>
                <a:close/>
                <a:moveTo>
                  <a:pt x="27" y="984"/>
                </a:moveTo>
                <a:lnTo>
                  <a:pt x="29" y="984"/>
                </a:lnTo>
                <a:lnTo>
                  <a:pt x="29" y="987"/>
                </a:lnTo>
                <a:lnTo>
                  <a:pt x="30" y="988"/>
                </a:lnTo>
                <a:lnTo>
                  <a:pt x="27" y="990"/>
                </a:lnTo>
                <a:lnTo>
                  <a:pt x="26" y="990"/>
                </a:lnTo>
                <a:lnTo>
                  <a:pt x="26" y="989"/>
                </a:lnTo>
                <a:lnTo>
                  <a:pt x="27" y="989"/>
                </a:lnTo>
                <a:lnTo>
                  <a:pt x="27" y="984"/>
                </a:lnTo>
                <a:close/>
                <a:moveTo>
                  <a:pt x="19" y="975"/>
                </a:moveTo>
                <a:lnTo>
                  <a:pt x="21" y="975"/>
                </a:lnTo>
                <a:lnTo>
                  <a:pt x="21" y="976"/>
                </a:lnTo>
                <a:lnTo>
                  <a:pt x="24" y="978"/>
                </a:lnTo>
                <a:lnTo>
                  <a:pt x="24" y="980"/>
                </a:lnTo>
                <a:lnTo>
                  <a:pt x="25" y="980"/>
                </a:lnTo>
                <a:lnTo>
                  <a:pt x="26" y="981"/>
                </a:lnTo>
                <a:lnTo>
                  <a:pt x="26" y="982"/>
                </a:lnTo>
                <a:lnTo>
                  <a:pt x="27" y="983"/>
                </a:lnTo>
                <a:lnTo>
                  <a:pt x="27" y="984"/>
                </a:lnTo>
                <a:lnTo>
                  <a:pt x="26" y="984"/>
                </a:lnTo>
                <a:lnTo>
                  <a:pt x="26" y="986"/>
                </a:lnTo>
                <a:lnTo>
                  <a:pt x="25" y="986"/>
                </a:lnTo>
                <a:lnTo>
                  <a:pt x="24" y="984"/>
                </a:lnTo>
                <a:lnTo>
                  <a:pt x="23" y="986"/>
                </a:lnTo>
                <a:lnTo>
                  <a:pt x="23" y="989"/>
                </a:lnTo>
                <a:lnTo>
                  <a:pt x="21" y="990"/>
                </a:lnTo>
                <a:lnTo>
                  <a:pt x="21" y="993"/>
                </a:lnTo>
                <a:lnTo>
                  <a:pt x="23" y="993"/>
                </a:lnTo>
                <a:lnTo>
                  <a:pt x="23" y="994"/>
                </a:lnTo>
                <a:lnTo>
                  <a:pt x="24" y="995"/>
                </a:lnTo>
                <a:lnTo>
                  <a:pt x="23" y="995"/>
                </a:lnTo>
                <a:lnTo>
                  <a:pt x="24" y="996"/>
                </a:lnTo>
                <a:lnTo>
                  <a:pt x="23" y="996"/>
                </a:lnTo>
                <a:lnTo>
                  <a:pt x="23" y="998"/>
                </a:lnTo>
                <a:lnTo>
                  <a:pt x="21" y="998"/>
                </a:lnTo>
                <a:lnTo>
                  <a:pt x="20" y="996"/>
                </a:lnTo>
                <a:lnTo>
                  <a:pt x="20" y="994"/>
                </a:lnTo>
                <a:lnTo>
                  <a:pt x="19" y="993"/>
                </a:lnTo>
                <a:lnTo>
                  <a:pt x="20" y="990"/>
                </a:lnTo>
                <a:lnTo>
                  <a:pt x="20" y="988"/>
                </a:lnTo>
                <a:lnTo>
                  <a:pt x="21" y="986"/>
                </a:lnTo>
                <a:lnTo>
                  <a:pt x="23" y="984"/>
                </a:lnTo>
                <a:lnTo>
                  <a:pt x="20" y="984"/>
                </a:lnTo>
                <a:lnTo>
                  <a:pt x="20" y="982"/>
                </a:lnTo>
                <a:lnTo>
                  <a:pt x="19" y="983"/>
                </a:lnTo>
                <a:lnTo>
                  <a:pt x="18" y="983"/>
                </a:lnTo>
                <a:lnTo>
                  <a:pt x="18" y="981"/>
                </a:lnTo>
                <a:lnTo>
                  <a:pt x="19" y="981"/>
                </a:lnTo>
                <a:lnTo>
                  <a:pt x="19" y="978"/>
                </a:lnTo>
                <a:lnTo>
                  <a:pt x="21" y="978"/>
                </a:lnTo>
                <a:lnTo>
                  <a:pt x="20" y="977"/>
                </a:lnTo>
                <a:lnTo>
                  <a:pt x="19" y="975"/>
                </a:lnTo>
                <a:close/>
                <a:moveTo>
                  <a:pt x="27" y="965"/>
                </a:moveTo>
                <a:lnTo>
                  <a:pt x="29" y="965"/>
                </a:lnTo>
                <a:lnTo>
                  <a:pt x="29" y="967"/>
                </a:lnTo>
                <a:lnTo>
                  <a:pt x="30" y="967"/>
                </a:lnTo>
                <a:lnTo>
                  <a:pt x="32" y="969"/>
                </a:lnTo>
                <a:lnTo>
                  <a:pt x="36" y="976"/>
                </a:lnTo>
                <a:lnTo>
                  <a:pt x="36" y="982"/>
                </a:lnTo>
                <a:lnTo>
                  <a:pt x="32" y="984"/>
                </a:lnTo>
                <a:lnTo>
                  <a:pt x="31" y="984"/>
                </a:lnTo>
                <a:lnTo>
                  <a:pt x="30" y="983"/>
                </a:lnTo>
                <a:lnTo>
                  <a:pt x="32" y="983"/>
                </a:lnTo>
                <a:lnTo>
                  <a:pt x="32" y="982"/>
                </a:lnTo>
                <a:lnTo>
                  <a:pt x="31" y="981"/>
                </a:lnTo>
                <a:lnTo>
                  <a:pt x="31" y="982"/>
                </a:lnTo>
                <a:lnTo>
                  <a:pt x="29" y="982"/>
                </a:lnTo>
                <a:lnTo>
                  <a:pt x="27" y="981"/>
                </a:lnTo>
                <a:lnTo>
                  <a:pt x="27" y="976"/>
                </a:lnTo>
                <a:lnTo>
                  <a:pt x="26" y="975"/>
                </a:lnTo>
                <a:lnTo>
                  <a:pt x="26" y="973"/>
                </a:lnTo>
                <a:lnTo>
                  <a:pt x="25" y="971"/>
                </a:lnTo>
                <a:lnTo>
                  <a:pt x="27" y="969"/>
                </a:lnTo>
                <a:lnTo>
                  <a:pt x="27" y="968"/>
                </a:lnTo>
                <a:lnTo>
                  <a:pt x="26" y="968"/>
                </a:lnTo>
                <a:lnTo>
                  <a:pt x="26" y="967"/>
                </a:lnTo>
                <a:lnTo>
                  <a:pt x="27" y="967"/>
                </a:lnTo>
                <a:lnTo>
                  <a:pt x="27" y="965"/>
                </a:lnTo>
                <a:close/>
                <a:moveTo>
                  <a:pt x="41" y="957"/>
                </a:moveTo>
                <a:lnTo>
                  <a:pt x="43" y="957"/>
                </a:lnTo>
                <a:lnTo>
                  <a:pt x="43" y="964"/>
                </a:lnTo>
                <a:lnTo>
                  <a:pt x="41" y="967"/>
                </a:lnTo>
                <a:lnTo>
                  <a:pt x="41" y="969"/>
                </a:lnTo>
                <a:lnTo>
                  <a:pt x="42" y="971"/>
                </a:lnTo>
                <a:lnTo>
                  <a:pt x="41" y="971"/>
                </a:lnTo>
                <a:lnTo>
                  <a:pt x="39" y="970"/>
                </a:lnTo>
                <a:lnTo>
                  <a:pt x="37" y="973"/>
                </a:lnTo>
                <a:lnTo>
                  <a:pt x="36" y="973"/>
                </a:lnTo>
                <a:lnTo>
                  <a:pt x="36" y="968"/>
                </a:lnTo>
                <a:lnTo>
                  <a:pt x="35" y="967"/>
                </a:lnTo>
                <a:lnTo>
                  <a:pt x="35" y="968"/>
                </a:lnTo>
                <a:lnTo>
                  <a:pt x="32" y="968"/>
                </a:lnTo>
                <a:lnTo>
                  <a:pt x="31" y="967"/>
                </a:lnTo>
                <a:lnTo>
                  <a:pt x="31" y="965"/>
                </a:lnTo>
                <a:lnTo>
                  <a:pt x="30" y="964"/>
                </a:lnTo>
                <a:lnTo>
                  <a:pt x="31" y="964"/>
                </a:lnTo>
                <a:lnTo>
                  <a:pt x="33" y="963"/>
                </a:lnTo>
                <a:lnTo>
                  <a:pt x="35" y="963"/>
                </a:lnTo>
                <a:lnTo>
                  <a:pt x="33" y="962"/>
                </a:lnTo>
                <a:lnTo>
                  <a:pt x="33" y="959"/>
                </a:lnTo>
                <a:lnTo>
                  <a:pt x="36" y="959"/>
                </a:lnTo>
                <a:lnTo>
                  <a:pt x="37" y="958"/>
                </a:lnTo>
                <a:lnTo>
                  <a:pt x="41" y="958"/>
                </a:lnTo>
                <a:lnTo>
                  <a:pt x="41" y="957"/>
                </a:lnTo>
                <a:close/>
                <a:moveTo>
                  <a:pt x="24" y="957"/>
                </a:moveTo>
                <a:lnTo>
                  <a:pt x="24" y="961"/>
                </a:lnTo>
                <a:lnTo>
                  <a:pt x="25" y="961"/>
                </a:lnTo>
                <a:lnTo>
                  <a:pt x="25" y="958"/>
                </a:lnTo>
                <a:lnTo>
                  <a:pt x="24" y="957"/>
                </a:lnTo>
                <a:close/>
                <a:moveTo>
                  <a:pt x="24" y="953"/>
                </a:moveTo>
                <a:lnTo>
                  <a:pt x="25" y="955"/>
                </a:lnTo>
                <a:lnTo>
                  <a:pt x="25" y="957"/>
                </a:lnTo>
                <a:lnTo>
                  <a:pt x="27" y="957"/>
                </a:lnTo>
                <a:lnTo>
                  <a:pt x="27" y="962"/>
                </a:lnTo>
                <a:lnTo>
                  <a:pt x="26" y="963"/>
                </a:lnTo>
                <a:lnTo>
                  <a:pt x="26" y="964"/>
                </a:lnTo>
                <a:lnTo>
                  <a:pt x="25" y="964"/>
                </a:lnTo>
                <a:lnTo>
                  <a:pt x="25" y="963"/>
                </a:lnTo>
                <a:lnTo>
                  <a:pt x="24" y="963"/>
                </a:lnTo>
                <a:lnTo>
                  <a:pt x="24" y="962"/>
                </a:lnTo>
                <a:lnTo>
                  <a:pt x="23" y="961"/>
                </a:lnTo>
                <a:lnTo>
                  <a:pt x="23" y="957"/>
                </a:lnTo>
                <a:lnTo>
                  <a:pt x="24" y="956"/>
                </a:lnTo>
                <a:lnTo>
                  <a:pt x="24" y="953"/>
                </a:lnTo>
                <a:close/>
                <a:moveTo>
                  <a:pt x="39" y="941"/>
                </a:moveTo>
                <a:lnTo>
                  <a:pt x="41" y="941"/>
                </a:lnTo>
                <a:lnTo>
                  <a:pt x="39" y="943"/>
                </a:lnTo>
                <a:lnTo>
                  <a:pt x="39" y="941"/>
                </a:lnTo>
                <a:close/>
                <a:moveTo>
                  <a:pt x="13" y="926"/>
                </a:moveTo>
                <a:lnTo>
                  <a:pt x="14" y="926"/>
                </a:lnTo>
                <a:lnTo>
                  <a:pt x="14" y="927"/>
                </a:lnTo>
                <a:lnTo>
                  <a:pt x="19" y="937"/>
                </a:lnTo>
                <a:lnTo>
                  <a:pt x="19" y="939"/>
                </a:lnTo>
                <a:lnTo>
                  <a:pt x="17" y="939"/>
                </a:lnTo>
                <a:lnTo>
                  <a:pt x="19" y="941"/>
                </a:lnTo>
                <a:lnTo>
                  <a:pt x="19" y="947"/>
                </a:lnTo>
                <a:lnTo>
                  <a:pt x="17" y="947"/>
                </a:lnTo>
                <a:lnTo>
                  <a:pt x="17" y="944"/>
                </a:lnTo>
                <a:lnTo>
                  <a:pt x="16" y="943"/>
                </a:lnTo>
                <a:lnTo>
                  <a:pt x="16" y="945"/>
                </a:lnTo>
                <a:lnTo>
                  <a:pt x="14" y="945"/>
                </a:lnTo>
                <a:lnTo>
                  <a:pt x="13" y="943"/>
                </a:lnTo>
                <a:lnTo>
                  <a:pt x="13" y="941"/>
                </a:lnTo>
                <a:lnTo>
                  <a:pt x="12" y="940"/>
                </a:lnTo>
                <a:lnTo>
                  <a:pt x="12" y="939"/>
                </a:lnTo>
                <a:lnTo>
                  <a:pt x="16" y="939"/>
                </a:lnTo>
                <a:lnTo>
                  <a:pt x="17" y="937"/>
                </a:lnTo>
                <a:lnTo>
                  <a:pt x="16" y="938"/>
                </a:lnTo>
                <a:lnTo>
                  <a:pt x="16" y="937"/>
                </a:lnTo>
                <a:lnTo>
                  <a:pt x="14" y="937"/>
                </a:lnTo>
                <a:lnTo>
                  <a:pt x="14" y="936"/>
                </a:lnTo>
                <a:lnTo>
                  <a:pt x="13" y="936"/>
                </a:lnTo>
                <a:lnTo>
                  <a:pt x="13" y="930"/>
                </a:lnTo>
                <a:lnTo>
                  <a:pt x="12" y="927"/>
                </a:lnTo>
                <a:lnTo>
                  <a:pt x="13" y="926"/>
                </a:lnTo>
                <a:close/>
                <a:moveTo>
                  <a:pt x="13" y="916"/>
                </a:moveTo>
                <a:lnTo>
                  <a:pt x="14" y="916"/>
                </a:lnTo>
                <a:lnTo>
                  <a:pt x="16" y="919"/>
                </a:lnTo>
                <a:lnTo>
                  <a:pt x="21" y="921"/>
                </a:lnTo>
                <a:lnTo>
                  <a:pt x="24" y="926"/>
                </a:lnTo>
                <a:lnTo>
                  <a:pt x="24" y="927"/>
                </a:lnTo>
                <a:lnTo>
                  <a:pt x="23" y="928"/>
                </a:lnTo>
                <a:lnTo>
                  <a:pt x="20" y="930"/>
                </a:lnTo>
                <a:lnTo>
                  <a:pt x="20" y="926"/>
                </a:lnTo>
                <a:lnTo>
                  <a:pt x="18" y="925"/>
                </a:lnTo>
                <a:lnTo>
                  <a:pt x="18" y="922"/>
                </a:lnTo>
                <a:lnTo>
                  <a:pt x="17" y="921"/>
                </a:lnTo>
                <a:lnTo>
                  <a:pt x="14" y="921"/>
                </a:lnTo>
                <a:lnTo>
                  <a:pt x="14" y="919"/>
                </a:lnTo>
                <a:lnTo>
                  <a:pt x="13" y="916"/>
                </a:lnTo>
                <a:close/>
                <a:moveTo>
                  <a:pt x="6" y="907"/>
                </a:moveTo>
                <a:lnTo>
                  <a:pt x="7" y="908"/>
                </a:lnTo>
                <a:lnTo>
                  <a:pt x="7" y="910"/>
                </a:lnTo>
                <a:lnTo>
                  <a:pt x="8" y="910"/>
                </a:lnTo>
                <a:lnTo>
                  <a:pt x="8" y="914"/>
                </a:lnTo>
                <a:lnTo>
                  <a:pt x="6" y="914"/>
                </a:lnTo>
                <a:lnTo>
                  <a:pt x="6" y="907"/>
                </a:lnTo>
                <a:close/>
                <a:moveTo>
                  <a:pt x="42" y="904"/>
                </a:moveTo>
                <a:lnTo>
                  <a:pt x="43" y="906"/>
                </a:lnTo>
                <a:lnTo>
                  <a:pt x="44" y="906"/>
                </a:lnTo>
                <a:lnTo>
                  <a:pt x="44" y="913"/>
                </a:lnTo>
                <a:lnTo>
                  <a:pt x="43" y="918"/>
                </a:lnTo>
                <a:lnTo>
                  <a:pt x="43" y="919"/>
                </a:lnTo>
                <a:lnTo>
                  <a:pt x="44" y="922"/>
                </a:lnTo>
                <a:lnTo>
                  <a:pt x="43" y="924"/>
                </a:lnTo>
                <a:lnTo>
                  <a:pt x="42" y="924"/>
                </a:lnTo>
                <a:lnTo>
                  <a:pt x="41" y="925"/>
                </a:lnTo>
                <a:lnTo>
                  <a:pt x="41" y="926"/>
                </a:lnTo>
                <a:lnTo>
                  <a:pt x="37" y="927"/>
                </a:lnTo>
                <a:lnTo>
                  <a:pt x="36" y="927"/>
                </a:lnTo>
                <a:lnTo>
                  <a:pt x="36" y="926"/>
                </a:lnTo>
                <a:lnTo>
                  <a:pt x="33" y="924"/>
                </a:lnTo>
                <a:lnTo>
                  <a:pt x="31" y="920"/>
                </a:lnTo>
                <a:lnTo>
                  <a:pt x="29" y="918"/>
                </a:lnTo>
                <a:lnTo>
                  <a:pt x="29" y="916"/>
                </a:lnTo>
                <a:lnTo>
                  <a:pt x="32" y="916"/>
                </a:lnTo>
                <a:lnTo>
                  <a:pt x="32" y="915"/>
                </a:lnTo>
                <a:lnTo>
                  <a:pt x="33" y="915"/>
                </a:lnTo>
                <a:lnTo>
                  <a:pt x="35" y="913"/>
                </a:lnTo>
                <a:lnTo>
                  <a:pt x="37" y="912"/>
                </a:lnTo>
                <a:lnTo>
                  <a:pt x="38" y="912"/>
                </a:lnTo>
                <a:lnTo>
                  <a:pt x="39" y="910"/>
                </a:lnTo>
                <a:lnTo>
                  <a:pt x="39" y="906"/>
                </a:lnTo>
                <a:lnTo>
                  <a:pt x="41" y="906"/>
                </a:lnTo>
                <a:lnTo>
                  <a:pt x="42" y="904"/>
                </a:lnTo>
                <a:close/>
                <a:moveTo>
                  <a:pt x="6" y="883"/>
                </a:moveTo>
                <a:lnTo>
                  <a:pt x="8" y="883"/>
                </a:lnTo>
                <a:lnTo>
                  <a:pt x="8" y="884"/>
                </a:lnTo>
                <a:lnTo>
                  <a:pt x="10" y="884"/>
                </a:lnTo>
                <a:lnTo>
                  <a:pt x="10" y="885"/>
                </a:lnTo>
                <a:lnTo>
                  <a:pt x="11" y="887"/>
                </a:lnTo>
                <a:lnTo>
                  <a:pt x="12" y="889"/>
                </a:lnTo>
                <a:lnTo>
                  <a:pt x="12" y="890"/>
                </a:lnTo>
                <a:lnTo>
                  <a:pt x="10" y="890"/>
                </a:lnTo>
                <a:lnTo>
                  <a:pt x="10" y="888"/>
                </a:lnTo>
                <a:lnTo>
                  <a:pt x="8" y="888"/>
                </a:lnTo>
                <a:lnTo>
                  <a:pt x="7" y="887"/>
                </a:lnTo>
                <a:lnTo>
                  <a:pt x="8" y="887"/>
                </a:lnTo>
                <a:lnTo>
                  <a:pt x="7" y="885"/>
                </a:lnTo>
                <a:lnTo>
                  <a:pt x="6" y="885"/>
                </a:lnTo>
                <a:lnTo>
                  <a:pt x="6" y="883"/>
                </a:lnTo>
                <a:close/>
                <a:moveTo>
                  <a:pt x="1" y="871"/>
                </a:moveTo>
                <a:lnTo>
                  <a:pt x="2" y="871"/>
                </a:lnTo>
                <a:lnTo>
                  <a:pt x="2" y="873"/>
                </a:lnTo>
                <a:lnTo>
                  <a:pt x="4" y="875"/>
                </a:lnTo>
                <a:lnTo>
                  <a:pt x="4" y="878"/>
                </a:lnTo>
                <a:lnTo>
                  <a:pt x="2" y="879"/>
                </a:lnTo>
                <a:lnTo>
                  <a:pt x="2" y="878"/>
                </a:lnTo>
                <a:lnTo>
                  <a:pt x="1" y="878"/>
                </a:lnTo>
                <a:lnTo>
                  <a:pt x="1" y="877"/>
                </a:lnTo>
                <a:lnTo>
                  <a:pt x="0" y="877"/>
                </a:lnTo>
                <a:lnTo>
                  <a:pt x="0" y="872"/>
                </a:lnTo>
                <a:lnTo>
                  <a:pt x="1" y="872"/>
                </a:lnTo>
                <a:lnTo>
                  <a:pt x="1" y="871"/>
                </a:lnTo>
                <a:close/>
                <a:moveTo>
                  <a:pt x="10" y="860"/>
                </a:moveTo>
                <a:lnTo>
                  <a:pt x="10" y="864"/>
                </a:lnTo>
                <a:lnTo>
                  <a:pt x="11" y="865"/>
                </a:lnTo>
                <a:lnTo>
                  <a:pt x="11" y="864"/>
                </a:lnTo>
                <a:lnTo>
                  <a:pt x="12" y="863"/>
                </a:lnTo>
                <a:lnTo>
                  <a:pt x="12" y="861"/>
                </a:lnTo>
                <a:lnTo>
                  <a:pt x="13" y="861"/>
                </a:lnTo>
                <a:lnTo>
                  <a:pt x="13" y="863"/>
                </a:lnTo>
                <a:lnTo>
                  <a:pt x="14" y="867"/>
                </a:lnTo>
                <a:lnTo>
                  <a:pt x="14" y="869"/>
                </a:lnTo>
                <a:lnTo>
                  <a:pt x="11" y="872"/>
                </a:lnTo>
                <a:lnTo>
                  <a:pt x="11" y="873"/>
                </a:lnTo>
                <a:lnTo>
                  <a:pt x="10" y="872"/>
                </a:lnTo>
                <a:lnTo>
                  <a:pt x="10" y="870"/>
                </a:lnTo>
                <a:lnTo>
                  <a:pt x="8" y="870"/>
                </a:lnTo>
                <a:lnTo>
                  <a:pt x="7" y="871"/>
                </a:lnTo>
                <a:lnTo>
                  <a:pt x="7" y="873"/>
                </a:lnTo>
                <a:lnTo>
                  <a:pt x="6" y="875"/>
                </a:lnTo>
                <a:lnTo>
                  <a:pt x="6" y="865"/>
                </a:lnTo>
                <a:lnTo>
                  <a:pt x="7" y="865"/>
                </a:lnTo>
                <a:lnTo>
                  <a:pt x="7" y="864"/>
                </a:lnTo>
                <a:lnTo>
                  <a:pt x="8" y="867"/>
                </a:lnTo>
                <a:lnTo>
                  <a:pt x="10" y="867"/>
                </a:lnTo>
                <a:lnTo>
                  <a:pt x="10" y="865"/>
                </a:lnTo>
                <a:lnTo>
                  <a:pt x="8" y="861"/>
                </a:lnTo>
                <a:lnTo>
                  <a:pt x="10" y="860"/>
                </a:lnTo>
                <a:close/>
                <a:moveTo>
                  <a:pt x="8" y="816"/>
                </a:moveTo>
                <a:lnTo>
                  <a:pt x="10" y="816"/>
                </a:lnTo>
                <a:lnTo>
                  <a:pt x="10" y="817"/>
                </a:lnTo>
                <a:lnTo>
                  <a:pt x="11" y="817"/>
                </a:lnTo>
                <a:lnTo>
                  <a:pt x="11" y="820"/>
                </a:lnTo>
                <a:lnTo>
                  <a:pt x="8" y="820"/>
                </a:lnTo>
                <a:lnTo>
                  <a:pt x="8" y="818"/>
                </a:lnTo>
                <a:lnTo>
                  <a:pt x="7" y="817"/>
                </a:lnTo>
                <a:lnTo>
                  <a:pt x="8" y="817"/>
                </a:lnTo>
                <a:lnTo>
                  <a:pt x="8" y="816"/>
                </a:lnTo>
                <a:close/>
                <a:moveTo>
                  <a:pt x="10" y="799"/>
                </a:moveTo>
                <a:lnTo>
                  <a:pt x="13" y="799"/>
                </a:lnTo>
                <a:lnTo>
                  <a:pt x="24" y="803"/>
                </a:lnTo>
                <a:lnTo>
                  <a:pt x="24" y="804"/>
                </a:lnTo>
                <a:lnTo>
                  <a:pt x="23" y="805"/>
                </a:lnTo>
                <a:lnTo>
                  <a:pt x="20" y="805"/>
                </a:lnTo>
                <a:lnTo>
                  <a:pt x="20" y="803"/>
                </a:lnTo>
                <a:lnTo>
                  <a:pt x="19" y="805"/>
                </a:lnTo>
                <a:lnTo>
                  <a:pt x="17" y="807"/>
                </a:lnTo>
                <a:lnTo>
                  <a:pt x="16" y="808"/>
                </a:lnTo>
                <a:lnTo>
                  <a:pt x="11" y="809"/>
                </a:lnTo>
                <a:lnTo>
                  <a:pt x="10" y="808"/>
                </a:lnTo>
                <a:lnTo>
                  <a:pt x="10" y="807"/>
                </a:lnTo>
                <a:lnTo>
                  <a:pt x="11" y="807"/>
                </a:lnTo>
                <a:lnTo>
                  <a:pt x="12" y="805"/>
                </a:lnTo>
                <a:lnTo>
                  <a:pt x="11" y="805"/>
                </a:lnTo>
                <a:lnTo>
                  <a:pt x="7" y="804"/>
                </a:lnTo>
                <a:lnTo>
                  <a:pt x="6" y="804"/>
                </a:lnTo>
                <a:lnTo>
                  <a:pt x="10" y="801"/>
                </a:lnTo>
                <a:lnTo>
                  <a:pt x="10" y="799"/>
                </a:lnTo>
                <a:close/>
                <a:moveTo>
                  <a:pt x="41" y="762"/>
                </a:moveTo>
                <a:lnTo>
                  <a:pt x="43" y="764"/>
                </a:lnTo>
                <a:lnTo>
                  <a:pt x="44" y="762"/>
                </a:lnTo>
                <a:lnTo>
                  <a:pt x="45" y="764"/>
                </a:lnTo>
                <a:lnTo>
                  <a:pt x="45" y="765"/>
                </a:lnTo>
                <a:lnTo>
                  <a:pt x="49" y="765"/>
                </a:lnTo>
                <a:lnTo>
                  <a:pt x="49" y="766"/>
                </a:lnTo>
                <a:lnTo>
                  <a:pt x="48" y="766"/>
                </a:lnTo>
                <a:lnTo>
                  <a:pt x="48" y="768"/>
                </a:lnTo>
                <a:lnTo>
                  <a:pt x="49" y="768"/>
                </a:lnTo>
                <a:lnTo>
                  <a:pt x="48" y="769"/>
                </a:lnTo>
                <a:lnTo>
                  <a:pt x="48" y="771"/>
                </a:lnTo>
                <a:lnTo>
                  <a:pt x="44" y="772"/>
                </a:lnTo>
                <a:lnTo>
                  <a:pt x="37" y="772"/>
                </a:lnTo>
                <a:lnTo>
                  <a:pt x="37" y="769"/>
                </a:lnTo>
                <a:lnTo>
                  <a:pt x="41" y="769"/>
                </a:lnTo>
                <a:lnTo>
                  <a:pt x="39" y="768"/>
                </a:lnTo>
                <a:lnTo>
                  <a:pt x="37" y="768"/>
                </a:lnTo>
                <a:lnTo>
                  <a:pt x="37" y="767"/>
                </a:lnTo>
                <a:lnTo>
                  <a:pt x="38" y="766"/>
                </a:lnTo>
                <a:lnTo>
                  <a:pt x="38" y="764"/>
                </a:lnTo>
                <a:lnTo>
                  <a:pt x="41" y="762"/>
                </a:lnTo>
                <a:close/>
                <a:moveTo>
                  <a:pt x="44" y="756"/>
                </a:moveTo>
                <a:lnTo>
                  <a:pt x="45" y="756"/>
                </a:lnTo>
                <a:lnTo>
                  <a:pt x="47" y="758"/>
                </a:lnTo>
                <a:lnTo>
                  <a:pt x="45" y="759"/>
                </a:lnTo>
                <a:lnTo>
                  <a:pt x="45" y="760"/>
                </a:lnTo>
                <a:lnTo>
                  <a:pt x="44" y="761"/>
                </a:lnTo>
                <a:lnTo>
                  <a:pt x="43" y="760"/>
                </a:lnTo>
                <a:lnTo>
                  <a:pt x="42" y="761"/>
                </a:lnTo>
                <a:lnTo>
                  <a:pt x="41" y="760"/>
                </a:lnTo>
                <a:lnTo>
                  <a:pt x="42" y="759"/>
                </a:lnTo>
                <a:lnTo>
                  <a:pt x="44" y="759"/>
                </a:lnTo>
                <a:lnTo>
                  <a:pt x="43" y="758"/>
                </a:lnTo>
                <a:lnTo>
                  <a:pt x="44" y="756"/>
                </a:lnTo>
                <a:close/>
                <a:moveTo>
                  <a:pt x="37" y="756"/>
                </a:moveTo>
                <a:lnTo>
                  <a:pt x="38" y="756"/>
                </a:lnTo>
                <a:lnTo>
                  <a:pt x="38" y="758"/>
                </a:lnTo>
                <a:lnTo>
                  <a:pt x="41" y="758"/>
                </a:lnTo>
                <a:lnTo>
                  <a:pt x="41" y="759"/>
                </a:lnTo>
                <a:lnTo>
                  <a:pt x="39" y="759"/>
                </a:lnTo>
                <a:lnTo>
                  <a:pt x="38" y="760"/>
                </a:lnTo>
                <a:lnTo>
                  <a:pt x="37" y="760"/>
                </a:lnTo>
                <a:lnTo>
                  <a:pt x="37" y="756"/>
                </a:lnTo>
                <a:close/>
                <a:moveTo>
                  <a:pt x="54" y="750"/>
                </a:moveTo>
                <a:lnTo>
                  <a:pt x="55" y="750"/>
                </a:lnTo>
                <a:lnTo>
                  <a:pt x="56" y="752"/>
                </a:lnTo>
                <a:lnTo>
                  <a:pt x="56" y="754"/>
                </a:lnTo>
                <a:lnTo>
                  <a:pt x="57" y="755"/>
                </a:lnTo>
                <a:lnTo>
                  <a:pt x="57" y="756"/>
                </a:lnTo>
                <a:lnTo>
                  <a:pt x="60" y="759"/>
                </a:lnTo>
                <a:lnTo>
                  <a:pt x="51" y="767"/>
                </a:lnTo>
                <a:lnTo>
                  <a:pt x="49" y="767"/>
                </a:lnTo>
                <a:lnTo>
                  <a:pt x="49" y="766"/>
                </a:lnTo>
                <a:lnTo>
                  <a:pt x="50" y="765"/>
                </a:lnTo>
                <a:lnTo>
                  <a:pt x="50" y="760"/>
                </a:lnTo>
                <a:lnTo>
                  <a:pt x="49" y="759"/>
                </a:lnTo>
                <a:lnTo>
                  <a:pt x="49" y="755"/>
                </a:lnTo>
                <a:lnTo>
                  <a:pt x="50" y="753"/>
                </a:lnTo>
                <a:lnTo>
                  <a:pt x="51" y="752"/>
                </a:lnTo>
                <a:lnTo>
                  <a:pt x="52" y="752"/>
                </a:lnTo>
                <a:lnTo>
                  <a:pt x="54" y="750"/>
                </a:lnTo>
                <a:close/>
                <a:moveTo>
                  <a:pt x="66" y="749"/>
                </a:moveTo>
                <a:lnTo>
                  <a:pt x="67" y="749"/>
                </a:lnTo>
                <a:lnTo>
                  <a:pt x="68" y="752"/>
                </a:lnTo>
                <a:lnTo>
                  <a:pt x="70" y="752"/>
                </a:lnTo>
                <a:lnTo>
                  <a:pt x="72" y="753"/>
                </a:lnTo>
                <a:lnTo>
                  <a:pt x="70" y="753"/>
                </a:lnTo>
                <a:lnTo>
                  <a:pt x="64" y="754"/>
                </a:lnTo>
                <a:lnTo>
                  <a:pt x="61" y="753"/>
                </a:lnTo>
                <a:lnTo>
                  <a:pt x="58" y="750"/>
                </a:lnTo>
                <a:lnTo>
                  <a:pt x="66" y="749"/>
                </a:lnTo>
                <a:close/>
                <a:moveTo>
                  <a:pt x="93" y="722"/>
                </a:moveTo>
                <a:lnTo>
                  <a:pt x="94" y="722"/>
                </a:lnTo>
                <a:lnTo>
                  <a:pt x="95" y="723"/>
                </a:lnTo>
                <a:lnTo>
                  <a:pt x="95" y="726"/>
                </a:lnTo>
                <a:lnTo>
                  <a:pt x="88" y="728"/>
                </a:lnTo>
                <a:lnTo>
                  <a:pt x="86" y="730"/>
                </a:lnTo>
                <a:lnTo>
                  <a:pt x="85" y="730"/>
                </a:lnTo>
                <a:lnTo>
                  <a:pt x="85" y="726"/>
                </a:lnTo>
                <a:lnTo>
                  <a:pt x="86" y="726"/>
                </a:lnTo>
                <a:lnTo>
                  <a:pt x="86" y="723"/>
                </a:lnTo>
                <a:lnTo>
                  <a:pt x="87" y="723"/>
                </a:lnTo>
                <a:lnTo>
                  <a:pt x="87" y="724"/>
                </a:lnTo>
                <a:lnTo>
                  <a:pt x="88" y="724"/>
                </a:lnTo>
                <a:lnTo>
                  <a:pt x="93" y="722"/>
                </a:lnTo>
                <a:close/>
                <a:moveTo>
                  <a:pt x="91" y="711"/>
                </a:moveTo>
                <a:lnTo>
                  <a:pt x="91" y="712"/>
                </a:lnTo>
                <a:lnTo>
                  <a:pt x="92" y="713"/>
                </a:lnTo>
                <a:lnTo>
                  <a:pt x="93" y="712"/>
                </a:lnTo>
                <a:lnTo>
                  <a:pt x="94" y="712"/>
                </a:lnTo>
                <a:lnTo>
                  <a:pt x="97" y="711"/>
                </a:lnTo>
                <a:lnTo>
                  <a:pt x="97" y="715"/>
                </a:lnTo>
                <a:lnTo>
                  <a:pt x="95" y="715"/>
                </a:lnTo>
                <a:lnTo>
                  <a:pt x="94" y="716"/>
                </a:lnTo>
                <a:lnTo>
                  <a:pt x="95" y="717"/>
                </a:lnTo>
                <a:lnTo>
                  <a:pt x="95" y="718"/>
                </a:lnTo>
                <a:lnTo>
                  <a:pt x="94" y="719"/>
                </a:lnTo>
                <a:lnTo>
                  <a:pt x="94" y="718"/>
                </a:lnTo>
                <a:lnTo>
                  <a:pt x="93" y="717"/>
                </a:lnTo>
                <a:lnTo>
                  <a:pt x="91" y="716"/>
                </a:lnTo>
                <a:lnTo>
                  <a:pt x="89" y="716"/>
                </a:lnTo>
                <a:lnTo>
                  <a:pt x="89" y="715"/>
                </a:lnTo>
                <a:lnTo>
                  <a:pt x="91" y="715"/>
                </a:lnTo>
                <a:lnTo>
                  <a:pt x="91" y="713"/>
                </a:lnTo>
                <a:lnTo>
                  <a:pt x="89" y="713"/>
                </a:lnTo>
                <a:lnTo>
                  <a:pt x="89" y="712"/>
                </a:lnTo>
                <a:lnTo>
                  <a:pt x="91" y="711"/>
                </a:lnTo>
                <a:close/>
                <a:moveTo>
                  <a:pt x="129" y="689"/>
                </a:moveTo>
                <a:lnTo>
                  <a:pt x="130" y="689"/>
                </a:lnTo>
                <a:lnTo>
                  <a:pt x="132" y="691"/>
                </a:lnTo>
                <a:lnTo>
                  <a:pt x="135" y="689"/>
                </a:lnTo>
                <a:lnTo>
                  <a:pt x="137" y="689"/>
                </a:lnTo>
                <a:lnTo>
                  <a:pt x="138" y="691"/>
                </a:lnTo>
                <a:lnTo>
                  <a:pt x="137" y="692"/>
                </a:lnTo>
                <a:lnTo>
                  <a:pt x="136" y="694"/>
                </a:lnTo>
                <a:lnTo>
                  <a:pt x="135" y="695"/>
                </a:lnTo>
                <a:lnTo>
                  <a:pt x="134" y="695"/>
                </a:lnTo>
                <a:lnTo>
                  <a:pt x="132" y="697"/>
                </a:lnTo>
                <a:lnTo>
                  <a:pt x="131" y="695"/>
                </a:lnTo>
                <a:lnTo>
                  <a:pt x="130" y="695"/>
                </a:lnTo>
                <a:lnTo>
                  <a:pt x="128" y="693"/>
                </a:lnTo>
                <a:lnTo>
                  <a:pt x="129" y="692"/>
                </a:lnTo>
                <a:lnTo>
                  <a:pt x="129" y="689"/>
                </a:lnTo>
                <a:close/>
                <a:moveTo>
                  <a:pt x="124" y="687"/>
                </a:moveTo>
                <a:lnTo>
                  <a:pt x="126" y="687"/>
                </a:lnTo>
                <a:lnTo>
                  <a:pt x="126" y="693"/>
                </a:lnTo>
                <a:lnTo>
                  <a:pt x="128" y="694"/>
                </a:lnTo>
                <a:lnTo>
                  <a:pt x="128" y="697"/>
                </a:lnTo>
                <a:lnTo>
                  <a:pt x="129" y="698"/>
                </a:lnTo>
                <a:lnTo>
                  <a:pt x="128" y="699"/>
                </a:lnTo>
                <a:lnTo>
                  <a:pt x="125" y="699"/>
                </a:lnTo>
                <a:lnTo>
                  <a:pt x="125" y="700"/>
                </a:lnTo>
                <a:lnTo>
                  <a:pt x="124" y="700"/>
                </a:lnTo>
                <a:lnTo>
                  <a:pt x="122" y="704"/>
                </a:lnTo>
                <a:lnTo>
                  <a:pt x="120" y="704"/>
                </a:lnTo>
                <a:lnTo>
                  <a:pt x="120" y="703"/>
                </a:lnTo>
                <a:lnTo>
                  <a:pt x="119" y="701"/>
                </a:lnTo>
                <a:lnTo>
                  <a:pt x="116" y="700"/>
                </a:lnTo>
                <a:lnTo>
                  <a:pt x="116" y="699"/>
                </a:lnTo>
                <a:lnTo>
                  <a:pt x="114" y="699"/>
                </a:lnTo>
                <a:lnTo>
                  <a:pt x="116" y="698"/>
                </a:lnTo>
                <a:lnTo>
                  <a:pt x="116" y="697"/>
                </a:lnTo>
                <a:lnTo>
                  <a:pt x="118" y="697"/>
                </a:lnTo>
                <a:lnTo>
                  <a:pt x="117" y="695"/>
                </a:lnTo>
                <a:lnTo>
                  <a:pt x="117" y="694"/>
                </a:lnTo>
                <a:lnTo>
                  <a:pt x="118" y="694"/>
                </a:lnTo>
                <a:lnTo>
                  <a:pt x="117" y="693"/>
                </a:lnTo>
                <a:lnTo>
                  <a:pt x="120" y="692"/>
                </a:lnTo>
                <a:lnTo>
                  <a:pt x="119" y="693"/>
                </a:lnTo>
                <a:lnTo>
                  <a:pt x="120" y="693"/>
                </a:lnTo>
                <a:lnTo>
                  <a:pt x="122" y="694"/>
                </a:lnTo>
                <a:lnTo>
                  <a:pt x="123" y="697"/>
                </a:lnTo>
                <a:lnTo>
                  <a:pt x="123" y="695"/>
                </a:lnTo>
                <a:lnTo>
                  <a:pt x="124" y="694"/>
                </a:lnTo>
                <a:lnTo>
                  <a:pt x="123" y="693"/>
                </a:lnTo>
                <a:lnTo>
                  <a:pt x="124" y="693"/>
                </a:lnTo>
                <a:lnTo>
                  <a:pt x="124" y="692"/>
                </a:lnTo>
                <a:lnTo>
                  <a:pt x="125" y="691"/>
                </a:lnTo>
                <a:lnTo>
                  <a:pt x="125" y="689"/>
                </a:lnTo>
                <a:lnTo>
                  <a:pt x="124" y="687"/>
                </a:lnTo>
                <a:close/>
                <a:moveTo>
                  <a:pt x="144" y="675"/>
                </a:moveTo>
                <a:lnTo>
                  <a:pt x="147" y="676"/>
                </a:lnTo>
                <a:lnTo>
                  <a:pt x="148" y="679"/>
                </a:lnTo>
                <a:lnTo>
                  <a:pt x="149" y="680"/>
                </a:lnTo>
                <a:lnTo>
                  <a:pt x="149" y="678"/>
                </a:lnTo>
                <a:lnTo>
                  <a:pt x="151" y="678"/>
                </a:lnTo>
                <a:lnTo>
                  <a:pt x="153" y="680"/>
                </a:lnTo>
                <a:lnTo>
                  <a:pt x="154" y="680"/>
                </a:lnTo>
                <a:lnTo>
                  <a:pt x="154" y="681"/>
                </a:lnTo>
                <a:lnTo>
                  <a:pt x="155" y="681"/>
                </a:lnTo>
                <a:lnTo>
                  <a:pt x="155" y="682"/>
                </a:lnTo>
                <a:lnTo>
                  <a:pt x="151" y="683"/>
                </a:lnTo>
                <a:lnTo>
                  <a:pt x="150" y="683"/>
                </a:lnTo>
                <a:lnTo>
                  <a:pt x="150" y="682"/>
                </a:lnTo>
                <a:lnTo>
                  <a:pt x="149" y="682"/>
                </a:lnTo>
                <a:lnTo>
                  <a:pt x="149" y="683"/>
                </a:lnTo>
                <a:lnTo>
                  <a:pt x="142" y="686"/>
                </a:lnTo>
                <a:lnTo>
                  <a:pt x="141" y="685"/>
                </a:lnTo>
                <a:lnTo>
                  <a:pt x="138" y="681"/>
                </a:lnTo>
                <a:lnTo>
                  <a:pt x="141" y="680"/>
                </a:lnTo>
                <a:lnTo>
                  <a:pt x="143" y="676"/>
                </a:lnTo>
                <a:lnTo>
                  <a:pt x="144" y="675"/>
                </a:lnTo>
                <a:close/>
                <a:moveTo>
                  <a:pt x="159" y="672"/>
                </a:moveTo>
                <a:lnTo>
                  <a:pt x="160" y="672"/>
                </a:lnTo>
                <a:lnTo>
                  <a:pt x="161" y="673"/>
                </a:lnTo>
                <a:lnTo>
                  <a:pt x="162" y="675"/>
                </a:lnTo>
                <a:lnTo>
                  <a:pt x="165" y="678"/>
                </a:lnTo>
                <a:lnTo>
                  <a:pt x="166" y="680"/>
                </a:lnTo>
                <a:lnTo>
                  <a:pt x="166" y="681"/>
                </a:lnTo>
                <a:lnTo>
                  <a:pt x="160" y="683"/>
                </a:lnTo>
                <a:lnTo>
                  <a:pt x="157" y="682"/>
                </a:lnTo>
                <a:lnTo>
                  <a:pt x="156" y="682"/>
                </a:lnTo>
                <a:lnTo>
                  <a:pt x="154" y="678"/>
                </a:lnTo>
                <a:lnTo>
                  <a:pt x="153" y="676"/>
                </a:lnTo>
                <a:lnTo>
                  <a:pt x="153" y="673"/>
                </a:lnTo>
                <a:lnTo>
                  <a:pt x="155" y="673"/>
                </a:lnTo>
                <a:lnTo>
                  <a:pt x="155" y="674"/>
                </a:lnTo>
                <a:lnTo>
                  <a:pt x="156" y="674"/>
                </a:lnTo>
                <a:lnTo>
                  <a:pt x="156" y="673"/>
                </a:lnTo>
                <a:lnTo>
                  <a:pt x="157" y="674"/>
                </a:lnTo>
                <a:lnTo>
                  <a:pt x="157" y="676"/>
                </a:lnTo>
                <a:lnTo>
                  <a:pt x="159" y="678"/>
                </a:lnTo>
                <a:lnTo>
                  <a:pt x="159" y="672"/>
                </a:lnTo>
                <a:close/>
                <a:moveTo>
                  <a:pt x="142" y="654"/>
                </a:moveTo>
                <a:lnTo>
                  <a:pt x="144" y="654"/>
                </a:lnTo>
                <a:lnTo>
                  <a:pt x="145" y="655"/>
                </a:lnTo>
                <a:lnTo>
                  <a:pt x="147" y="658"/>
                </a:lnTo>
                <a:lnTo>
                  <a:pt x="149" y="660"/>
                </a:lnTo>
                <a:lnTo>
                  <a:pt x="149" y="662"/>
                </a:lnTo>
                <a:lnTo>
                  <a:pt x="148" y="664"/>
                </a:lnTo>
                <a:lnTo>
                  <a:pt x="148" y="666"/>
                </a:lnTo>
                <a:lnTo>
                  <a:pt x="145" y="666"/>
                </a:lnTo>
                <a:lnTo>
                  <a:pt x="145" y="668"/>
                </a:lnTo>
                <a:lnTo>
                  <a:pt x="142" y="668"/>
                </a:lnTo>
                <a:lnTo>
                  <a:pt x="141" y="669"/>
                </a:lnTo>
                <a:lnTo>
                  <a:pt x="141" y="668"/>
                </a:lnTo>
                <a:lnTo>
                  <a:pt x="138" y="667"/>
                </a:lnTo>
                <a:lnTo>
                  <a:pt x="138" y="666"/>
                </a:lnTo>
                <a:lnTo>
                  <a:pt x="139" y="666"/>
                </a:lnTo>
                <a:lnTo>
                  <a:pt x="134" y="663"/>
                </a:lnTo>
                <a:lnTo>
                  <a:pt x="132" y="662"/>
                </a:lnTo>
                <a:lnTo>
                  <a:pt x="132" y="660"/>
                </a:lnTo>
                <a:lnTo>
                  <a:pt x="134" y="658"/>
                </a:lnTo>
                <a:lnTo>
                  <a:pt x="135" y="658"/>
                </a:lnTo>
                <a:lnTo>
                  <a:pt x="137" y="657"/>
                </a:lnTo>
                <a:lnTo>
                  <a:pt x="138" y="657"/>
                </a:lnTo>
                <a:lnTo>
                  <a:pt x="142" y="654"/>
                </a:lnTo>
                <a:close/>
                <a:moveTo>
                  <a:pt x="254" y="645"/>
                </a:moveTo>
                <a:lnTo>
                  <a:pt x="255" y="645"/>
                </a:lnTo>
                <a:lnTo>
                  <a:pt x="255" y="646"/>
                </a:lnTo>
                <a:lnTo>
                  <a:pt x="254" y="646"/>
                </a:lnTo>
                <a:lnTo>
                  <a:pt x="254" y="645"/>
                </a:lnTo>
                <a:close/>
                <a:moveTo>
                  <a:pt x="178" y="637"/>
                </a:moveTo>
                <a:lnTo>
                  <a:pt x="182" y="637"/>
                </a:lnTo>
                <a:lnTo>
                  <a:pt x="182" y="639"/>
                </a:lnTo>
                <a:lnTo>
                  <a:pt x="184" y="643"/>
                </a:lnTo>
                <a:lnTo>
                  <a:pt x="186" y="640"/>
                </a:lnTo>
                <a:lnTo>
                  <a:pt x="187" y="642"/>
                </a:lnTo>
                <a:lnTo>
                  <a:pt x="188" y="644"/>
                </a:lnTo>
                <a:lnTo>
                  <a:pt x="190" y="645"/>
                </a:lnTo>
                <a:lnTo>
                  <a:pt x="191" y="645"/>
                </a:lnTo>
                <a:lnTo>
                  <a:pt x="188" y="648"/>
                </a:lnTo>
                <a:lnTo>
                  <a:pt x="178" y="652"/>
                </a:lnTo>
                <a:lnTo>
                  <a:pt x="172" y="652"/>
                </a:lnTo>
                <a:lnTo>
                  <a:pt x="169" y="655"/>
                </a:lnTo>
                <a:lnTo>
                  <a:pt x="166" y="655"/>
                </a:lnTo>
                <a:lnTo>
                  <a:pt x="162" y="657"/>
                </a:lnTo>
                <a:lnTo>
                  <a:pt x="157" y="657"/>
                </a:lnTo>
                <a:lnTo>
                  <a:pt x="156" y="656"/>
                </a:lnTo>
                <a:lnTo>
                  <a:pt x="156" y="655"/>
                </a:lnTo>
                <a:lnTo>
                  <a:pt x="155" y="655"/>
                </a:lnTo>
                <a:lnTo>
                  <a:pt x="155" y="656"/>
                </a:lnTo>
                <a:lnTo>
                  <a:pt x="154" y="656"/>
                </a:lnTo>
                <a:lnTo>
                  <a:pt x="154" y="655"/>
                </a:lnTo>
                <a:lnTo>
                  <a:pt x="153" y="655"/>
                </a:lnTo>
                <a:lnTo>
                  <a:pt x="154" y="652"/>
                </a:lnTo>
                <a:lnTo>
                  <a:pt x="154" y="651"/>
                </a:lnTo>
                <a:lnTo>
                  <a:pt x="155" y="650"/>
                </a:lnTo>
                <a:lnTo>
                  <a:pt x="159" y="645"/>
                </a:lnTo>
                <a:lnTo>
                  <a:pt x="160" y="645"/>
                </a:lnTo>
                <a:lnTo>
                  <a:pt x="168" y="644"/>
                </a:lnTo>
                <a:lnTo>
                  <a:pt x="170" y="645"/>
                </a:lnTo>
                <a:lnTo>
                  <a:pt x="172" y="645"/>
                </a:lnTo>
                <a:lnTo>
                  <a:pt x="170" y="644"/>
                </a:lnTo>
                <a:lnTo>
                  <a:pt x="166" y="643"/>
                </a:lnTo>
                <a:lnTo>
                  <a:pt x="165" y="642"/>
                </a:lnTo>
                <a:lnTo>
                  <a:pt x="166" y="640"/>
                </a:lnTo>
                <a:lnTo>
                  <a:pt x="168" y="640"/>
                </a:lnTo>
                <a:lnTo>
                  <a:pt x="175" y="638"/>
                </a:lnTo>
                <a:lnTo>
                  <a:pt x="176" y="638"/>
                </a:lnTo>
                <a:lnTo>
                  <a:pt x="176" y="640"/>
                </a:lnTo>
                <a:lnTo>
                  <a:pt x="178" y="640"/>
                </a:lnTo>
                <a:lnTo>
                  <a:pt x="178" y="637"/>
                </a:lnTo>
                <a:close/>
                <a:moveTo>
                  <a:pt x="186" y="636"/>
                </a:moveTo>
                <a:lnTo>
                  <a:pt x="188" y="636"/>
                </a:lnTo>
                <a:lnTo>
                  <a:pt x="188" y="637"/>
                </a:lnTo>
                <a:lnTo>
                  <a:pt x="191" y="637"/>
                </a:lnTo>
                <a:lnTo>
                  <a:pt x="191" y="638"/>
                </a:lnTo>
                <a:lnTo>
                  <a:pt x="190" y="639"/>
                </a:lnTo>
                <a:lnTo>
                  <a:pt x="188" y="639"/>
                </a:lnTo>
                <a:lnTo>
                  <a:pt x="187" y="640"/>
                </a:lnTo>
                <a:lnTo>
                  <a:pt x="185" y="640"/>
                </a:lnTo>
                <a:lnTo>
                  <a:pt x="185" y="637"/>
                </a:lnTo>
                <a:lnTo>
                  <a:pt x="186" y="637"/>
                </a:lnTo>
                <a:lnTo>
                  <a:pt x="186" y="636"/>
                </a:lnTo>
                <a:close/>
                <a:moveTo>
                  <a:pt x="173" y="621"/>
                </a:moveTo>
                <a:lnTo>
                  <a:pt x="173" y="623"/>
                </a:lnTo>
                <a:lnTo>
                  <a:pt x="174" y="623"/>
                </a:lnTo>
                <a:lnTo>
                  <a:pt x="175" y="621"/>
                </a:lnTo>
                <a:lnTo>
                  <a:pt x="175" y="626"/>
                </a:lnTo>
                <a:lnTo>
                  <a:pt x="176" y="627"/>
                </a:lnTo>
                <a:lnTo>
                  <a:pt x="176" y="631"/>
                </a:lnTo>
                <a:lnTo>
                  <a:pt x="175" y="632"/>
                </a:lnTo>
                <a:lnTo>
                  <a:pt x="173" y="633"/>
                </a:lnTo>
                <a:lnTo>
                  <a:pt x="165" y="635"/>
                </a:lnTo>
                <a:lnTo>
                  <a:pt x="162" y="636"/>
                </a:lnTo>
                <a:lnTo>
                  <a:pt x="161" y="635"/>
                </a:lnTo>
                <a:lnTo>
                  <a:pt x="163" y="633"/>
                </a:lnTo>
                <a:lnTo>
                  <a:pt x="161" y="633"/>
                </a:lnTo>
                <a:lnTo>
                  <a:pt x="161" y="635"/>
                </a:lnTo>
                <a:lnTo>
                  <a:pt x="160" y="633"/>
                </a:lnTo>
                <a:lnTo>
                  <a:pt x="159" y="635"/>
                </a:lnTo>
                <a:lnTo>
                  <a:pt x="156" y="635"/>
                </a:lnTo>
                <a:lnTo>
                  <a:pt x="156" y="636"/>
                </a:lnTo>
                <a:lnTo>
                  <a:pt x="155" y="636"/>
                </a:lnTo>
                <a:lnTo>
                  <a:pt x="153" y="633"/>
                </a:lnTo>
                <a:lnTo>
                  <a:pt x="155" y="632"/>
                </a:lnTo>
                <a:lnTo>
                  <a:pt x="163" y="631"/>
                </a:lnTo>
                <a:lnTo>
                  <a:pt x="173" y="625"/>
                </a:lnTo>
                <a:lnTo>
                  <a:pt x="170" y="625"/>
                </a:lnTo>
                <a:lnTo>
                  <a:pt x="173" y="621"/>
                </a:lnTo>
                <a:close/>
                <a:moveTo>
                  <a:pt x="222" y="599"/>
                </a:moveTo>
                <a:lnTo>
                  <a:pt x="223" y="600"/>
                </a:lnTo>
                <a:lnTo>
                  <a:pt x="223" y="603"/>
                </a:lnTo>
                <a:lnTo>
                  <a:pt x="221" y="603"/>
                </a:lnTo>
                <a:lnTo>
                  <a:pt x="219" y="602"/>
                </a:lnTo>
                <a:lnTo>
                  <a:pt x="221" y="602"/>
                </a:lnTo>
                <a:lnTo>
                  <a:pt x="221" y="601"/>
                </a:lnTo>
                <a:lnTo>
                  <a:pt x="219" y="601"/>
                </a:lnTo>
                <a:lnTo>
                  <a:pt x="219" y="600"/>
                </a:lnTo>
                <a:lnTo>
                  <a:pt x="221" y="600"/>
                </a:lnTo>
                <a:lnTo>
                  <a:pt x="222" y="599"/>
                </a:lnTo>
                <a:close/>
                <a:moveTo>
                  <a:pt x="284" y="541"/>
                </a:moveTo>
                <a:lnTo>
                  <a:pt x="285" y="544"/>
                </a:lnTo>
                <a:lnTo>
                  <a:pt x="285" y="543"/>
                </a:lnTo>
                <a:lnTo>
                  <a:pt x="287" y="546"/>
                </a:lnTo>
                <a:lnTo>
                  <a:pt x="288" y="549"/>
                </a:lnTo>
                <a:lnTo>
                  <a:pt x="288" y="550"/>
                </a:lnTo>
                <a:lnTo>
                  <a:pt x="286" y="550"/>
                </a:lnTo>
                <a:lnTo>
                  <a:pt x="286" y="551"/>
                </a:lnTo>
                <a:lnTo>
                  <a:pt x="285" y="550"/>
                </a:lnTo>
                <a:lnTo>
                  <a:pt x="283" y="549"/>
                </a:lnTo>
                <a:lnTo>
                  <a:pt x="283" y="546"/>
                </a:lnTo>
                <a:lnTo>
                  <a:pt x="284" y="546"/>
                </a:lnTo>
                <a:lnTo>
                  <a:pt x="284" y="541"/>
                </a:lnTo>
                <a:close/>
                <a:moveTo>
                  <a:pt x="271" y="540"/>
                </a:moveTo>
                <a:lnTo>
                  <a:pt x="273" y="540"/>
                </a:lnTo>
                <a:lnTo>
                  <a:pt x="274" y="543"/>
                </a:lnTo>
                <a:lnTo>
                  <a:pt x="278" y="544"/>
                </a:lnTo>
                <a:lnTo>
                  <a:pt x="279" y="546"/>
                </a:lnTo>
                <a:lnTo>
                  <a:pt x="280" y="550"/>
                </a:lnTo>
                <a:lnTo>
                  <a:pt x="281" y="551"/>
                </a:lnTo>
                <a:lnTo>
                  <a:pt x="286" y="551"/>
                </a:lnTo>
                <a:lnTo>
                  <a:pt x="287" y="553"/>
                </a:lnTo>
                <a:lnTo>
                  <a:pt x="286" y="554"/>
                </a:lnTo>
                <a:lnTo>
                  <a:pt x="286" y="558"/>
                </a:lnTo>
                <a:lnTo>
                  <a:pt x="285" y="557"/>
                </a:lnTo>
                <a:lnTo>
                  <a:pt x="281" y="556"/>
                </a:lnTo>
                <a:lnTo>
                  <a:pt x="280" y="556"/>
                </a:lnTo>
                <a:lnTo>
                  <a:pt x="280" y="553"/>
                </a:lnTo>
                <a:lnTo>
                  <a:pt x="279" y="553"/>
                </a:lnTo>
                <a:lnTo>
                  <a:pt x="275" y="554"/>
                </a:lnTo>
                <a:lnTo>
                  <a:pt x="273" y="550"/>
                </a:lnTo>
                <a:lnTo>
                  <a:pt x="275" y="547"/>
                </a:lnTo>
                <a:lnTo>
                  <a:pt x="278" y="549"/>
                </a:lnTo>
                <a:lnTo>
                  <a:pt x="277" y="546"/>
                </a:lnTo>
                <a:lnTo>
                  <a:pt x="272" y="546"/>
                </a:lnTo>
                <a:lnTo>
                  <a:pt x="269" y="545"/>
                </a:lnTo>
                <a:lnTo>
                  <a:pt x="269" y="543"/>
                </a:lnTo>
                <a:lnTo>
                  <a:pt x="271" y="541"/>
                </a:lnTo>
                <a:lnTo>
                  <a:pt x="271" y="540"/>
                </a:lnTo>
                <a:close/>
                <a:moveTo>
                  <a:pt x="281" y="537"/>
                </a:moveTo>
                <a:lnTo>
                  <a:pt x="283" y="538"/>
                </a:lnTo>
                <a:lnTo>
                  <a:pt x="283" y="544"/>
                </a:lnTo>
                <a:lnTo>
                  <a:pt x="281" y="544"/>
                </a:lnTo>
                <a:lnTo>
                  <a:pt x="281" y="545"/>
                </a:lnTo>
                <a:lnTo>
                  <a:pt x="280" y="545"/>
                </a:lnTo>
                <a:lnTo>
                  <a:pt x="280" y="544"/>
                </a:lnTo>
                <a:lnTo>
                  <a:pt x="279" y="543"/>
                </a:lnTo>
                <a:lnTo>
                  <a:pt x="279" y="541"/>
                </a:lnTo>
                <a:lnTo>
                  <a:pt x="275" y="541"/>
                </a:lnTo>
                <a:lnTo>
                  <a:pt x="275" y="538"/>
                </a:lnTo>
                <a:lnTo>
                  <a:pt x="281" y="537"/>
                </a:lnTo>
                <a:close/>
                <a:moveTo>
                  <a:pt x="272" y="510"/>
                </a:moveTo>
                <a:lnTo>
                  <a:pt x="273" y="510"/>
                </a:lnTo>
                <a:lnTo>
                  <a:pt x="274" y="512"/>
                </a:lnTo>
                <a:lnTo>
                  <a:pt x="275" y="512"/>
                </a:lnTo>
                <a:lnTo>
                  <a:pt x="275" y="513"/>
                </a:lnTo>
                <a:lnTo>
                  <a:pt x="277" y="513"/>
                </a:lnTo>
                <a:lnTo>
                  <a:pt x="277" y="515"/>
                </a:lnTo>
                <a:lnTo>
                  <a:pt x="279" y="515"/>
                </a:lnTo>
                <a:lnTo>
                  <a:pt x="279" y="516"/>
                </a:lnTo>
                <a:lnTo>
                  <a:pt x="278" y="519"/>
                </a:lnTo>
                <a:lnTo>
                  <a:pt x="275" y="521"/>
                </a:lnTo>
                <a:lnTo>
                  <a:pt x="274" y="521"/>
                </a:lnTo>
                <a:lnTo>
                  <a:pt x="272" y="522"/>
                </a:lnTo>
                <a:lnTo>
                  <a:pt x="272" y="520"/>
                </a:lnTo>
                <a:lnTo>
                  <a:pt x="269" y="520"/>
                </a:lnTo>
                <a:lnTo>
                  <a:pt x="272" y="517"/>
                </a:lnTo>
                <a:lnTo>
                  <a:pt x="272" y="515"/>
                </a:lnTo>
                <a:lnTo>
                  <a:pt x="268" y="515"/>
                </a:lnTo>
                <a:lnTo>
                  <a:pt x="266" y="517"/>
                </a:lnTo>
                <a:lnTo>
                  <a:pt x="265" y="520"/>
                </a:lnTo>
                <a:lnTo>
                  <a:pt x="263" y="520"/>
                </a:lnTo>
                <a:lnTo>
                  <a:pt x="262" y="521"/>
                </a:lnTo>
                <a:lnTo>
                  <a:pt x="261" y="520"/>
                </a:lnTo>
                <a:lnTo>
                  <a:pt x="272" y="510"/>
                </a:lnTo>
                <a:close/>
                <a:moveTo>
                  <a:pt x="269" y="507"/>
                </a:moveTo>
                <a:lnTo>
                  <a:pt x="272" y="507"/>
                </a:lnTo>
                <a:lnTo>
                  <a:pt x="273" y="508"/>
                </a:lnTo>
                <a:lnTo>
                  <a:pt x="273" y="509"/>
                </a:lnTo>
                <a:lnTo>
                  <a:pt x="267" y="514"/>
                </a:lnTo>
                <a:lnTo>
                  <a:pt x="263" y="515"/>
                </a:lnTo>
                <a:lnTo>
                  <a:pt x="260" y="519"/>
                </a:lnTo>
                <a:lnTo>
                  <a:pt x="257" y="520"/>
                </a:lnTo>
                <a:lnTo>
                  <a:pt x="257" y="519"/>
                </a:lnTo>
                <a:lnTo>
                  <a:pt x="256" y="519"/>
                </a:lnTo>
                <a:lnTo>
                  <a:pt x="257" y="516"/>
                </a:lnTo>
                <a:lnTo>
                  <a:pt x="257" y="515"/>
                </a:lnTo>
                <a:lnTo>
                  <a:pt x="259" y="514"/>
                </a:lnTo>
                <a:lnTo>
                  <a:pt x="259" y="513"/>
                </a:lnTo>
                <a:lnTo>
                  <a:pt x="262" y="513"/>
                </a:lnTo>
                <a:lnTo>
                  <a:pt x="265" y="512"/>
                </a:lnTo>
                <a:lnTo>
                  <a:pt x="267" y="509"/>
                </a:lnTo>
                <a:lnTo>
                  <a:pt x="269" y="508"/>
                </a:lnTo>
                <a:lnTo>
                  <a:pt x="269" y="507"/>
                </a:lnTo>
                <a:close/>
                <a:moveTo>
                  <a:pt x="296" y="494"/>
                </a:moveTo>
                <a:lnTo>
                  <a:pt x="298" y="494"/>
                </a:lnTo>
                <a:lnTo>
                  <a:pt x="298" y="495"/>
                </a:lnTo>
                <a:lnTo>
                  <a:pt x="299" y="495"/>
                </a:lnTo>
                <a:lnTo>
                  <a:pt x="299" y="494"/>
                </a:lnTo>
                <a:lnTo>
                  <a:pt x="300" y="494"/>
                </a:lnTo>
                <a:lnTo>
                  <a:pt x="300" y="495"/>
                </a:lnTo>
                <a:lnTo>
                  <a:pt x="298" y="497"/>
                </a:lnTo>
                <a:lnTo>
                  <a:pt x="297" y="497"/>
                </a:lnTo>
                <a:lnTo>
                  <a:pt x="297" y="498"/>
                </a:lnTo>
                <a:lnTo>
                  <a:pt x="298" y="500"/>
                </a:lnTo>
                <a:lnTo>
                  <a:pt x="297" y="501"/>
                </a:lnTo>
                <a:lnTo>
                  <a:pt x="296" y="501"/>
                </a:lnTo>
                <a:lnTo>
                  <a:pt x="296" y="498"/>
                </a:lnTo>
                <a:lnTo>
                  <a:pt x="293" y="501"/>
                </a:lnTo>
                <a:lnTo>
                  <a:pt x="292" y="501"/>
                </a:lnTo>
                <a:lnTo>
                  <a:pt x="290" y="500"/>
                </a:lnTo>
                <a:lnTo>
                  <a:pt x="291" y="500"/>
                </a:lnTo>
                <a:lnTo>
                  <a:pt x="290" y="498"/>
                </a:lnTo>
                <a:lnTo>
                  <a:pt x="291" y="498"/>
                </a:lnTo>
                <a:lnTo>
                  <a:pt x="291" y="496"/>
                </a:lnTo>
                <a:lnTo>
                  <a:pt x="292" y="495"/>
                </a:lnTo>
                <a:lnTo>
                  <a:pt x="296" y="494"/>
                </a:lnTo>
                <a:close/>
                <a:moveTo>
                  <a:pt x="317" y="484"/>
                </a:moveTo>
                <a:lnTo>
                  <a:pt x="318" y="484"/>
                </a:lnTo>
                <a:lnTo>
                  <a:pt x="319" y="485"/>
                </a:lnTo>
                <a:lnTo>
                  <a:pt x="321" y="488"/>
                </a:lnTo>
                <a:lnTo>
                  <a:pt x="322" y="489"/>
                </a:lnTo>
                <a:lnTo>
                  <a:pt x="319" y="494"/>
                </a:lnTo>
                <a:lnTo>
                  <a:pt x="322" y="494"/>
                </a:lnTo>
                <a:lnTo>
                  <a:pt x="323" y="495"/>
                </a:lnTo>
                <a:lnTo>
                  <a:pt x="323" y="496"/>
                </a:lnTo>
                <a:lnTo>
                  <a:pt x="322" y="497"/>
                </a:lnTo>
                <a:lnTo>
                  <a:pt x="317" y="500"/>
                </a:lnTo>
                <a:lnTo>
                  <a:pt x="316" y="500"/>
                </a:lnTo>
                <a:lnTo>
                  <a:pt x="313" y="498"/>
                </a:lnTo>
                <a:lnTo>
                  <a:pt x="310" y="498"/>
                </a:lnTo>
                <a:lnTo>
                  <a:pt x="310" y="497"/>
                </a:lnTo>
                <a:lnTo>
                  <a:pt x="312" y="497"/>
                </a:lnTo>
                <a:lnTo>
                  <a:pt x="312" y="494"/>
                </a:lnTo>
                <a:lnTo>
                  <a:pt x="315" y="494"/>
                </a:lnTo>
                <a:lnTo>
                  <a:pt x="316" y="492"/>
                </a:lnTo>
                <a:lnTo>
                  <a:pt x="315" y="492"/>
                </a:lnTo>
                <a:lnTo>
                  <a:pt x="313" y="491"/>
                </a:lnTo>
                <a:lnTo>
                  <a:pt x="313" y="490"/>
                </a:lnTo>
                <a:lnTo>
                  <a:pt x="315" y="489"/>
                </a:lnTo>
                <a:lnTo>
                  <a:pt x="315" y="486"/>
                </a:lnTo>
                <a:lnTo>
                  <a:pt x="317" y="484"/>
                </a:lnTo>
                <a:close/>
                <a:moveTo>
                  <a:pt x="336" y="470"/>
                </a:moveTo>
                <a:lnTo>
                  <a:pt x="336" y="471"/>
                </a:lnTo>
                <a:lnTo>
                  <a:pt x="337" y="472"/>
                </a:lnTo>
                <a:lnTo>
                  <a:pt x="337" y="473"/>
                </a:lnTo>
                <a:lnTo>
                  <a:pt x="339" y="473"/>
                </a:lnTo>
                <a:lnTo>
                  <a:pt x="340" y="472"/>
                </a:lnTo>
                <a:lnTo>
                  <a:pt x="339" y="470"/>
                </a:lnTo>
                <a:lnTo>
                  <a:pt x="336" y="470"/>
                </a:lnTo>
                <a:close/>
                <a:moveTo>
                  <a:pt x="321" y="447"/>
                </a:moveTo>
                <a:lnTo>
                  <a:pt x="322" y="447"/>
                </a:lnTo>
                <a:lnTo>
                  <a:pt x="323" y="448"/>
                </a:lnTo>
                <a:lnTo>
                  <a:pt x="323" y="451"/>
                </a:lnTo>
                <a:lnTo>
                  <a:pt x="324" y="452"/>
                </a:lnTo>
                <a:lnTo>
                  <a:pt x="327" y="453"/>
                </a:lnTo>
                <a:lnTo>
                  <a:pt x="327" y="454"/>
                </a:lnTo>
                <a:lnTo>
                  <a:pt x="329" y="459"/>
                </a:lnTo>
                <a:lnTo>
                  <a:pt x="329" y="463"/>
                </a:lnTo>
                <a:lnTo>
                  <a:pt x="330" y="464"/>
                </a:lnTo>
                <a:lnTo>
                  <a:pt x="330" y="465"/>
                </a:lnTo>
                <a:lnTo>
                  <a:pt x="331" y="465"/>
                </a:lnTo>
                <a:lnTo>
                  <a:pt x="331" y="466"/>
                </a:lnTo>
                <a:lnTo>
                  <a:pt x="329" y="467"/>
                </a:lnTo>
                <a:lnTo>
                  <a:pt x="329" y="469"/>
                </a:lnTo>
                <a:lnTo>
                  <a:pt x="327" y="470"/>
                </a:lnTo>
                <a:lnTo>
                  <a:pt x="325" y="471"/>
                </a:lnTo>
                <a:lnTo>
                  <a:pt x="325" y="472"/>
                </a:lnTo>
                <a:lnTo>
                  <a:pt x="324" y="472"/>
                </a:lnTo>
                <a:lnTo>
                  <a:pt x="321" y="473"/>
                </a:lnTo>
                <a:lnTo>
                  <a:pt x="318" y="473"/>
                </a:lnTo>
                <a:lnTo>
                  <a:pt x="319" y="474"/>
                </a:lnTo>
                <a:lnTo>
                  <a:pt x="319" y="476"/>
                </a:lnTo>
                <a:lnTo>
                  <a:pt x="321" y="476"/>
                </a:lnTo>
                <a:lnTo>
                  <a:pt x="321" y="478"/>
                </a:lnTo>
                <a:lnTo>
                  <a:pt x="319" y="478"/>
                </a:lnTo>
                <a:lnTo>
                  <a:pt x="318" y="480"/>
                </a:lnTo>
                <a:lnTo>
                  <a:pt x="313" y="484"/>
                </a:lnTo>
                <a:lnTo>
                  <a:pt x="312" y="483"/>
                </a:lnTo>
                <a:lnTo>
                  <a:pt x="313" y="482"/>
                </a:lnTo>
                <a:lnTo>
                  <a:pt x="315" y="479"/>
                </a:lnTo>
                <a:lnTo>
                  <a:pt x="316" y="474"/>
                </a:lnTo>
                <a:lnTo>
                  <a:pt x="315" y="476"/>
                </a:lnTo>
                <a:lnTo>
                  <a:pt x="313" y="474"/>
                </a:lnTo>
                <a:lnTo>
                  <a:pt x="315" y="473"/>
                </a:lnTo>
                <a:lnTo>
                  <a:pt x="315" y="471"/>
                </a:lnTo>
                <a:lnTo>
                  <a:pt x="316" y="470"/>
                </a:lnTo>
                <a:lnTo>
                  <a:pt x="316" y="469"/>
                </a:lnTo>
                <a:lnTo>
                  <a:pt x="317" y="469"/>
                </a:lnTo>
                <a:lnTo>
                  <a:pt x="317" y="470"/>
                </a:lnTo>
                <a:lnTo>
                  <a:pt x="318" y="470"/>
                </a:lnTo>
                <a:lnTo>
                  <a:pt x="318" y="469"/>
                </a:lnTo>
                <a:lnTo>
                  <a:pt x="319" y="467"/>
                </a:lnTo>
                <a:lnTo>
                  <a:pt x="319" y="466"/>
                </a:lnTo>
                <a:lnTo>
                  <a:pt x="318" y="467"/>
                </a:lnTo>
                <a:lnTo>
                  <a:pt x="318" y="466"/>
                </a:lnTo>
                <a:lnTo>
                  <a:pt x="317" y="466"/>
                </a:lnTo>
                <a:lnTo>
                  <a:pt x="317" y="465"/>
                </a:lnTo>
                <a:lnTo>
                  <a:pt x="322" y="460"/>
                </a:lnTo>
                <a:lnTo>
                  <a:pt x="324" y="459"/>
                </a:lnTo>
                <a:lnTo>
                  <a:pt x="324" y="458"/>
                </a:lnTo>
                <a:lnTo>
                  <a:pt x="323" y="457"/>
                </a:lnTo>
                <a:lnTo>
                  <a:pt x="323" y="455"/>
                </a:lnTo>
                <a:lnTo>
                  <a:pt x="321" y="458"/>
                </a:lnTo>
                <a:lnTo>
                  <a:pt x="318" y="458"/>
                </a:lnTo>
                <a:lnTo>
                  <a:pt x="319" y="457"/>
                </a:lnTo>
                <a:lnTo>
                  <a:pt x="318" y="457"/>
                </a:lnTo>
                <a:lnTo>
                  <a:pt x="321" y="452"/>
                </a:lnTo>
                <a:lnTo>
                  <a:pt x="321" y="451"/>
                </a:lnTo>
                <a:lnTo>
                  <a:pt x="319" y="451"/>
                </a:lnTo>
                <a:lnTo>
                  <a:pt x="321" y="449"/>
                </a:lnTo>
                <a:lnTo>
                  <a:pt x="321" y="447"/>
                </a:lnTo>
                <a:close/>
                <a:moveTo>
                  <a:pt x="305" y="434"/>
                </a:moveTo>
                <a:lnTo>
                  <a:pt x="308" y="434"/>
                </a:lnTo>
                <a:lnTo>
                  <a:pt x="309" y="435"/>
                </a:lnTo>
                <a:lnTo>
                  <a:pt x="310" y="435"/>
                </a:lnTo>
                <a:lnTo>
                  <a:pt x="310" y="437"/>
                </a:lnTo>
                <a:lnTo>
                  <a:pt x="309" y="439"/>
                </a:lnTo>
                <a:lnTo>
                  <a:pt x="309" y="442"/>
                </a:lnTo>
                <a:lnTo>
                  <a:pt x="308" y="445"/>
                </a:lnTo>
                <a:lnTo>
                  <a:pt x="306" y="446"/>
                </a:lnTo>
                <a:lnTo>
                  <a:pt x="306" y="445"/>
                </a:lnTo>
                <a:lnTo>
                  <a:pt x="304" y="445"/>
                </a:lnTo>
                <a:lnTo>
                  <a:pt x="305" y="443"/>
                </a:lnTo>
                <a:lnTo>
                  <a:pt x="304" y="443"/>
                </a:lnTo>
                <a:lnTo>
                  <a:pt x="300" y="445"/>
                </a:lnTo>
                <a:lnTo>
                  <a:pt x="300" y="441"/>
                </a:lnTo>
                <a:lnTo>
                  <a:pt x="302" y="439"/>
                </a:lnTo>
                <a:lnTo>
                  <a:pt x="302" y="436"/>
                </a:lnTo>
                <a:lnTo>
                  <a:pt x="303" y="435"/>
                </a:lnTo>
                <a:lnTo>
                  <a:pt x="305" y="434"/>
                </a:lnTo>
                <a:close/>
                <a:moveTo>
                  <a:pt x="347" y="400"/>
                </a:moveTo>
                <a:lnTo>
                  <a:pt x="348" y="402"/>
                </a:lnTo>
                <a:lnTo>
                  <a:pt x="348" y="404"/>
                </a:lnTo>
                <a:lnTo>
                  <a:pt x="347" y="404"/>
                </a:lnTo>
                <a:lnTo>
                  <a:pt x="341" y="406"/>
                </a:lnTo>
                <a:lnTo>
                  <a:pt x="339" y="409"/>
                </a:lnTo>
                <a:lnTo>
                  <a:pt x="336" y="410"/>
                </a:lnTo>
                <a:lnTo>
                  <a:pt x="331" y="416"/>
                </a:lnTo>
                <a:lnTo>
                  <a:pt x="330" y="417"/>
                </a:lnTo>
                <a:lnTo>
                  <a:pt x="329" y="417"/>
                </a:lnTo>
                <a:lnTo>
                  <a:pt x="329" y="416"/>
                </a:lnTo>
                <a:lnTo>
                  <a:pt x="330" y="415"/>
                </a:lnTo>
                <a:lnTo>
                  <a:pt x="330" y="414"/>
                </a:lnTo>
                <a:lnTo>
                  <a:pt x="325" y="415"/>
                </a:lnTo>
                <a:lnTo>
                  <a:pt x="329" y="411"/>
                </a:lnTo>
                <a:lnTo>
                  <a:pt x="329" y="410"/>
                </a:lnTo>
                <a:lnTo>
                  <a:pt x="330" y="406"/>
                </a:lnTo>
                <a:lnTo>
                  <a:pt x="330" y="405"/>
                </a:lnTo>
                <a:lnTo>
                  <a:pt x="331" y="404"/>
                </a:lnTo>
                <a:lnTo>
                  <a:pt x="336" y="402"/>
                </a:lnTo>
                <a:lnTo>
                  <a:pt x="337" y="402"/>
                </a:lnTo>
                <a:lnTo>
                  <a:pt x="336" y="404"/>
                </a:lnTo>
                <a:lnTo>
                  <a:pt x="336" y="406"/>
                </a:lnTo>
                <a:lnTo>
                  <a:pt x="337" y="406"/>
                </a:lnTo>
                <a:lnTo>
                  <a:pt x="340" y="404"/>
                </a:lnTo>
                <a:lnTo>
                  <a:pt x="341" y="402"/>
                </a:lnTo>
                <a:lnTo>
                  <a:pt x="344" y="402"/>
                </a:lnTo>
                <a:lnTo>
                  <a:pt x="347" y="400"/>
                </a:lnTo>
                <a:close/>
                <a:moveTo>
                  <a:pt x="341" y="399"/>
                </a:moveTo>
                <a:lnTo>
                  <a:pt x="340" y="399"/>
                </a:lnTo>
                <a:lnTo>
                  <a:pt x="341" y="399"/>
                </a:lnTo>
                <a:close/>
                <a:moveTo>
                  <a:pt x="334" y="380"/>
                </a:moveTo>
                <a:lnTo>
                  <a:pt x="335" y="381"/>
                </a:lnTo>
                <a:lnTo>
                  <a:pt x="335" y="383"/>
                </a:lnTo>
                <a:lnTo>
                  <a:pt x="336" y="384"/>
                </a:lnTo>
                <a:lnTo>
                  <a:pt x="336" y="387"/>
                </a:lnTo>
                <a:lnTo>
                  <a:pt x="334" y="390"/>
                </a:lnTo>
                <a:lnTo>
                  <a:pt x="336" y="390"/>
                </a:lnTo>
                <a:lnTo>
                  <a:pt x="336" y="391"/>
                </a:lnTo>
                <a:lnTo>
                  <a:pt x="335" y="391"/>
                </a:lnTo>
                <a:lnTo>
                  <a:pt x="335" y="392"/>
                </a:lnTo>
                <a:lnTo>
                  <a:pt x="337" y="392"/>
                </a:lnTo>
                <a:lnTo>
                  <a:pt x="339" y="393"/>
                </a:lnTo>
                <a:lnTo>
                  <a:pt x="337" y="393"/>
                </a:lnTo>
                <a:lnTo>
                  <a:pt x="337" y="394"/>
                </a:lnTo>
                <a:lnTo>
                  <a:pt x="335" y="394"/>
                </a:lnTo>
                <a:lnTo>
                  <a:pt x="335" y="396"/>
                </a:lnTo>
                <a:lnTo>
                  <a:pt x="323" y="402"/>
                </a:lnTo>
                <a:lnTo>
                  <a:pt x="324" y="399"/>
                </a:lnTo>
                <a:lnTo>
                  <a:pt x="325" y="398"/>
                </a:lnTo>
                <a:lnTo>
                  <a:pt x="327" y="398"/>
                </a:lnTo>
                <a:lnTo>
                  <a:pt x="327" y="397"/>
                </a:lnTo>
                <a:lnTo>
                  <a:pt x="328" y="396"/>
                </a:lnTo>
                <a:lnTo>
                  <a:pt x="328" y="394"/>
                </a:lnTo>
                <a:lnTo>
                  <a:pt x="327" y="394"/>
                </a:lnTo>
                <a:lnTo>
                  <a:pt x="325" y="396"/>
                </a:lnTo>
                <a:lnTo>
                  <a:pt x="324" y="396"/>
                </a:lnTo>
                <a:lnTo>
                  <a:pt x="324" y="394"/>
                </a:lnTo>
                <a:lnTo>
                  <a:pt x="325" y="394"/>
                </a:lnTo>
                <a:lnTo>
                  <a:pt x="327" y="393"/>
                </a:lnTo>
                <a:lnTo>
                  <a:pt x="329" y="392"/>
                </a:lnTo>
                <a:lnTo>
                  <a:pt x="330" y="392"/>
                </a:lnTo>
                <a:lnTo>
                  <a:pt x="330" y="391"/>
                </a:lnTo>
                <a:lnTo>
                  <a:pt x="333" y="388"/>
                </a:lnTo>
                <a:lnTo>
                  <a:pt x="335" y="387"/>
                </a:lnTo>
                <a:lnTo>
                  <a:pt x="333" y="386"/>
                </a:lnTo>
                <a:lnTo>
                  <a:pt x="331" y="385"/>
                </a:lnTo>
                <a:lnTo>
                  <a:pt x="330" y="385"/>
                </a:lnTo>
                <a:lnTo>
                  <a:pt x="329" y="386"/>
                </a:lnTo>
                <a:lnTo>
                  <a:pt x="333" y="383"/>
                </a:lnTo>
                <a:lnTo>
                  <a:pt x="334" y="380"/>
                </a:lnTo>
                <a:close/>
                <a:moveTo>
                  <a:pt x="343" y="371"/>
                </a:moveTo>
                <a:lnTo>
                  <a:pt x="344" y="371"/>
                </a:lnTo>
                <a:lnTo>
                  <a:pt x="344" y="373"/>
                </a:lnTo>
                <a:lnTo>
                  <a:pt x="347" y="373"/>
                </a:lnTo>
                <a:lnTo>
                  <a:pt x="347" y="374"/>
                </a:lnTo>
                <a:lnTo>
                  <a:pt x="348" y="377"/>
                </a:lnTo>
                <a:lnTo>
                  <a:pt x="347" y="378"/>
                </a:lnTo>
                <a:lnTo>
                  <a:pt x="347" y="379"/>
                </a:lnTo>
                <a:lnTo>
                  <a:pt x="344" y="381"/>
                </a:lnTo>
                <a:lnTo>
                  <a:pt x="344" y="380"/>
                </a:lnTo>
                <a:lnTo>
                  <a:pt x="343" y="381"/>
                </a:lnTo>
                <a:lnTo>
                  <a:pt x="342" y="380"/>
                </a:lnTo>
                <a:lnTo>
                  <a:pt x="342" y="379"/>
                </a:lnTo>
                <a:lnTo>
                  <a:pt x="341" y="379"/>
                </a:lnTo>
                <a:lnTo>
                  <a:pt x="341" y="378"/>
                </a:lnTo>
                <a:lnTo>
                  <a:pt x="340" y="379"/>
                </a:lnTo>
                <a:lnTo>
                  <a:pt x="340" y="378"/>
                </a:lnTo>
                <a:lnTo>
                  <a:pt x="341" y="377"/>
                </a:lnTo>
                <a:lnTo>
                  <a:pt x="341" y="375"/>
                </a:lnTo>
                <a:lnTo>
                  <a:pt x="343" y="373"/>
                </a:lnTo>
                <a:lnTo>
                  <a:pt x="343" y="371"/>
                </a:lnTo>
                <a:close/>
                <a:moveTo>
                  <a:pt x="350" y="355"/>
                </a:moveTo>
                <a:lnTo>
                  <a:pt x="350" y="361"/>
                </a:lnTo>
                <a:lnTo>
                  <a:pt x="349" y="362"/>
                </a:lnTo>
                <a:lnTo>
                  <a:pt x="348" y="362"/>
                </a:lnTo>
                <a:lnTo>
                  <a:pt x="348" y="361"/>
                </a:lnTo>
                <a:lnTo>
                  <a:pt x="347" y="362"/>
                </a:lnTo>
                <a:lnTo>
                  <a:pt x="348" y="365"/>
                </a:lnTo>
                <a:lnTo>
                  <a:pt x="348" y="367"/>
                </a:lnTo>
                <a:lnTo>
                  <a:pt x="344" y="363"/>
                </a:lnTo>
                <a:lnTo>
                  <a:pt x="346" y="362"/>
                </a:lnTo>
                <a:lnTo>
                  <a:pt x="346" y="357"/>
                </a:lnTo>
                <a:lnTo>
                  <a:pt x="344" y="357"/>
                </a:lnTo>
                <a:lnTo>
                  <a:pt x="346" y="356"/>
                </a:lnTo>
                <a:lnTo>
                  <a:pt x="348" y="356"/>
                </a:lnTo>
                <a:lnTo>
                  <a:pt x="348" y="357"/>
                </a:lnTo>
                <a:lnTo>
                  <a:pt x="349" y="359"/>
                </a:lnTo>
                <a:lnTo>
                  <a:pt x="349" y="356"/>
                </a:lnTo>
                <a:lnTo>
                  <a:pt x="350" y="355"/>
                </a:lnTo>
                <a:close/>
                <a:moveTo>
                  <a:pt x="405" y="279"/>
                </a:moveTo>
                <a:lnTo>
                  <a:pt x="406" y="280"/>
                </a:lnTo>
                <a:lnTo>
                  <a:pt x="405" y="282"/>
                </a:lnTo>
                <a:lnTo>
                  <a:pt x="405" y="285"/>
                </a:lnTo>
                <a:lnTo>
                  <a:pt x="404" y="287"/>
                </a:lnTo>
                <a:lnTo>
                  <a:pt x="403" y="288"/>
                </a:lnTo>
                <a:lnTo>
                  <a:pt x="404" y="293"/>
                </a:lnTo>
                <a:lnTo>
                  <a:pt x="404" y="294"/>
                </a:lnTo>
                <a:lnTo>
                  <a:pt x="403" y="295"/>
                </a:lnTo>
                <a:lnTo>
                  <a:pt x="403" y="298"/>
                </a:lnTo>
                <a:lnTo>
                  <a:pt x="402" y="298"/>
                </a:lnTo>
                <a:lnTo>
                  <a:pt x="401" y="297"/>
                </a:lnTo>
                <a:lnTo>
                  <a:pt x="401" y="294"/>
                </a:lnTo>
                <a:lnTo>
                  <a:pt x="399" y="291"/>
                </a:lnTo>
                <a:lnTo>
                  <a:pt x="397" y="291"/>
                </a:lnTo>
                <a:lnTo>
                  <a:pt x="395" y="289"/>
                </a:lnTo>
                <a:lnTo>
                  <a:pt x="395" y="288"/>
                </a:lnTo>
                <a:lnTo>
                  <a:pt x="396" y="288"/>
                </a:lnTo>
                <a:lnTo>
                  <a:pt x="396" y="287"/>
                </a:lnTo>
                <a:lnTo>
                  <a:pt x="397" y="285"/>
                </a:lnTo>
                <a:lnTo>
                  <a:pt x="397" y="283"/>
                </a:lnTo>
                <a:lnTo>
                  <a:pt x="401" y="286"/>
                </a:lnTo>
                <a:lnTo>
                  <a:pt x="402" y="286"/>
                </a:lnTo>
                <a:lnTo>
                  <a:pt x="405" y="279"/>
                </a:lnTo>
                <a:close/>
                <a:moveTo>
                  <a:pt x="410" y="250"/>
                </a:moveTo>
                <a:lnTo>
                  <a:pt x="411" y="250"/>
                </a:lnTo>
                <a:lnTo>
                  <a:pt x="411" y="251"/>
                </a:lnTo>
                <a:lnTo>
                  <a:pt x="412" y="251"/>
                </a:lnTo>
                <a:lnTo>
                  <a:pt x="412" y="252"/>
                </a:lnTo>
                <a:lnTo>
                  <a:pt x="411" y="255"/>
                </a:lnTo>
                <a:lnTo>
                  <a:pt x="410" y="255"/>
                </a:lnTo>
                <a:lnTo>
                  <a:pt x="406" y="256"/>
                </a:lnTo>
                <a:lnTo>
                  <a:pt x="406" y="257"/>
                </a:lnTo>
                <a:lnTo>
                  <a:pt x="404" y="257"/>
                </a:lnTo>
                <a:lnTo>
                  <a:pt x="404" y="256"/>
                </a:lnTo>
                <a:lnTo>
                  <a:pt x="406" y="254"/>
                </a:lnTo>
                <a:lnTo>
                  <a:pt x="408" y="251"/>
                </a:lnTo>
                <a:lnTo>
                  <a:pt x="410" y="250"/>
                </a:lnTo>
                <a:close/>
                <a:moveTo>
                  <a:pt x="440" y="234"/>
                </a:moveTo>
                <a:lnTo>
                  <a:pt x="442" y="236"/>
                </a:lnTo>
                <a:lnTo>
                  <a:pt x="443" y="238"/>
                </a:lnTo>
                <a:lnTo>
                  <a:pt x="443" y="239"/>
                </a:lnTo>
                <a:lnTo>
                  <a:pt x="442" y="239"/>
                </a:lnTo>
                <a:lnTo>
                  <a:pt x="441" y="240"/>
                </a:lnTo>
                <a:lnTo>
                  <a:pt x="441" y="239"/>
                </a:lnTo>
                <a:lnTo>
                  <a:pt x="440" y="238"/>
                </a:lnTo>
                <a:lnTo>
                  <a:pt x="439" y="238"/>
                </a:lnTo>
                <a:lnTo>
                  <a:pt x="439" y="237"/>
                </a:lnTo>
                <a:lnTo>
                  <a:pt x="437" y="236"/>
                </a:lnTo>
                <a:lnTo>
                  <a:pt x="436" y="238"/>
                </a:lnTo>
                <a:lnTo>
                  <a:pt x="437" y="238"/>
                </a:lnTo>
                <a:lnTo>
                  <a:pt x="439" y="242"/>
                </a:lnTo>
                <a:lnTo>
                  <a:pt x="437" y="244"/>
                </a:lnTo>
                <a:lnTo>
                  <a:pt x="431" y="245"/>
                </a:lnTo>
                <a:lnTo>
                  <a:pt x="429" y="246"/>
                </a:lnTo>
                <a:lnTo>
                  <a:pt x="428" y="248"/>
                </a:lnTo>
                <a:lnTo>
                  <a:pt x="427" y="246"/>
                </a:lnTo>
                <a:lnTo>
                  <a:pt x="428" y="246"/>
                </a:lnTo>
                <a:lnTo>
                  <a:pt x="426" y="244"/>
                </a:lnTo>
                <a:lnTo>
                  <a:pt x="426" y="243"/>
                </a:lnTo>
                <a:lnTo>
                  <a:pt x="428" y="240"/>
                </a:lnTo>
                <a:lnTo>
                  <a:pt x="436" y="236"/>
                </a:lnTo>
                <a:lnTo>
                  <a:pt x="440" y="234"/>
                </a:lnTo>
                <a:close/>
                <a:moveTo>
                  <a:pt x="430" y="213"/>
                </a:moveTo>
                <a:lnTo>
                  <a:pt x="430" y="214"/>
                </a:lnTo>
                <a:lnTo>
                  <a:pt x="429" y="214"/>
                </a:lnTo>
                <a:lnTo>
                  <a:pt x="430" y="213"/>
                </a:lnTo>
                <a:close/>
                <a:moveTo>
                  <a:pt x="458" y="201"/>
                </a:moveTo>
                <a:lnTo>
                  <a:pt x="458" y="202"/>
                </a:lnTo>
                <a:lnTo>
                  <a:pt x="459" y="203"/>
                </a:lnTo>
                <a:lnTo>
                  <a:pt x="460" y="203"/>
                </a:lnTo>
                <a:lnTo>
                  <a:pt x="459" y="202"/>
                </a:lnTo>
                <a:lnTo>
                  <a:pt x="459" y="201"/>
                </a:lnTo>
                <a:lnTo>
                  <a:pt x="458" y="201"/>
                </a:lnTo>
                <a:close/>
                <a:moveTo>
                  <a:pt x="441" y="188"/>
                </a:moveTo>
                <a:lnTo>
                  <a:pt x="441" y="190"/>
                </a:lnTo>
                <a:lnTo>
                  <a:pt x="443" y="193"/>
                </a:lnTo>
                <a:lnTo>
                  <a:pt x="447" y="193"/>
                </a:lnTo>
                <a:lnTo>
                  <a:pt x="447" y="194"/>
                </a:lnTo>
                <a:lnTo>
                  <a:pt x="449" y="194"/>
                </a:lnTo>
                <a:lnTo>
                  <a:pt x="449" y="196"/>
                </a:lnTo>
                <a:lnTo>
                  <a:pt x="447" y="196"/>
                </a:lnTo>
                <a:lnTo>
                  <a:pt x="443" y="197"/>
                </a:lnTo>
                <a:lnTo>
                  <a:pt x="442" y="196"/>
                </a:lnTo>
                <a:lnTo>
                  <a:pt x="437" y="196"/>
                </a:lnTo>
                <a:lnTo>
                  <a:pt x="436" y="197"/>
                </a:lnTo>
                <a:lnTo>
                  <a:pt x="435" y="196"/>
                </a:lnTo>
                <a:lnTo>
                  <a:pt x="435" y="193"/>
                </a:lnTo>
                <a:lnTo>
                  <a:pt x="436" y="191"/>
                </a:lnTo>
                <a:lnTo>
                  <a:pt x="435" y="190"/>
                </a:lnTo>
                <a:lnTo>
                  <a:pt x="437" y="190"/>
                </a:lnTo>
                <a:lnTo>
                  <a:pt x="439" y="191"/>
                </a:lnTo>
                <a:lnTo>
                  <a:pt x="440" y="190"/>
                </a:lnTo>
                <a:lnTo>
                  <a:pt x="440" y="189"/>
                </a:lnTo>
                <a:lnTo>
                  <a:pt x="441" y="188"/>
                </a:lnTo>
                <a:close/>
                <a:moveTo>
                  <a:pt x="461" y="184"/>
                </a:moveTo>
                <a:lnTo>
                  <a:pt x="473" y="184"/>
                </a:lnTo>
                <a:lnTo>
                  <a:pt x="474" y="185"/>
                </a:lnTo>
                <a:lnTo>
                  <a:pt x="476" y="185"/>
                </a:lnTo>
                <a:lnTo>
                  <a:pt x="476" y="187"/>
                </a:lnTo>
                <a:lnTo>
                  <a:pt x="477" y="188"/>
                </a:lnTo>
                <a:lnTo>
                  <a:pt x="476" y="188"/>
                </a:lnTo>
                <a:lnTo>
                  <a:pt x="474" y="189"/>
                </a:lnTo>
                <a:lnTo>
                  <a:pt x="472" y="189"/>
                </a:lnTo>
                <a:lnTo>
                  <a:pt x="470" y="188"/>
                </a:lnTo>
                <a:lnTo>
                  <a:pt x="467" y="185"/>
                </a:lnTo>
                <a:lnTo>
                  <a:pt x="466" y="185"/>
                </a:lnTo>
                <a:lnTo>
                  <a:pt x="466" y="188"/>
                </a:lnTo>
                <a:lnTo>
                  <a:pt x="465" y="189"/>
                </a:lnTo>
                <a:lnTo>
                  <a:pt x="462" y="189"/>
                </a:lnTo>
                <a:lnTo>
                  <a:pt x="459" y="188"/>
                </a:lnTo>
                <a:lnTo>
                  <a:pt x="458" y="188"/>
                </a:lnTo>
                <a:lnTo>
                  <a:pt x="458" y="187"/>
                </a:lnTo>
                <a:lnTo>
                  <a:pt x="459" y="185"/>
                </a:lnTo>
                <a:lnTo>
                  <a:pt x="461" y="184"/>
                </a:lnTo>
                <a:close/>
                <a:moveTo>
                  <a:pt x="446" y="183"/>
                </a:moveTo>
                <a:lnTo>
                  <a:pt x="447" y="183"/>
                </a:lnTo>
                <a:lnTo>
                  <a:pt x="447" y="184"/>
                </a:lnTo>
                <a:lnTo>
                  <a:pt x="448" y="187"/>
                </a:lnTo>
                <a:lnTo>
                  <a:pt x="448" y="188"/>
                </a:lnTo>
                <a:lnTo>
                  <a:pt x="449" y="190"/>
                </a:lnTo>
                <a:lnTo>
                  <a:pt x="448" y="191"/>
                </a:lnTo>
                <a:lnTo>
                  <a:pt x="445" y="191"/>
                </a:lnTo>
                <a:lnTo>
                  <a:pt x="445" y="190"/>
                </a:lnTo>
                <a:lnTo>
                  <a:pt x="443" y="189"/>
                </a:lnTo>
                <a:lnTo>
                  <a:pt x="443" y="187"/>
                </a:lnTo>
                <a:lnTo>
                  <a:pt x="445" y="187"/>
                </a:lnTo>
                <a:lnTo>
                  <a:pt x="445" y="185"/>
                </a:lnTo>
                <a:lnTo>
                  <a:pt x="446" y="184"/>
                </a:lnTo>
                <a:lnTo>
                  <a:pt x="446" y="183"/>
                </a:lnTo>
                <a:close/>
                <a:moveTo>
                  <a:pt x="355" y="176"/>
                </a:moveTo>
                <a:lnTo>
                  <a:pt x="359" y="177"/>
                </a:lnTo>
                <a:lnTo>
                  <a:pt x="359" y="178"/>
                </a:lnTo>
                <a:lnTo>
                  <a:pt x="358" y="179"/>
                </a:lnTo>
                <a:lnTo>
                  <a:pt x="358" y="181"/>
                </a:lnTo>
                <a:lnTo>
                  <a:pt x="356" y="181"/>
                </a:lnTo>
                <a:lnTo>
                  <a:pt x="356" y="182"/>
                </a:lnTo>
                <a:lnTo>
                  <a:pt x="358" y="182"/>
                </a:lnTo>
                <a:lnTo>
                  <a:pt x="358" y="183"/>
                </a:lnTo>
                <a:lnTo>
                  <a:pt x="355" y="183"/>
                </a:lnTo>
                <a:lnTo>
                  <a:pt x="354" y="184"/>
                </a:lnTo>
                <a:lnTo>
                  <a:pt x="354" y="185"/>
                </a:lnTo>
                <a:lnTo>
                  <a:pt x="355" y="185"/>
                </a:lnTo>
                <a:lnTo>
                  <a:pt x="355" y="187"/>
                </a:lnTo>
                <a:lnTo>
                  <a:pt x="356" y="185"/>
                </a:lnTo>
                <a:lnTo>
                  <a:pt x="356" y="184"/>
                </a:lnTo>
                <a:lnTo>
                  <a:pt x="358" y="184"/>
                </a:lnTo>
                <a:lnTo>
                  <a:pt x="358" y="194"/>
                </a:lnTo>
                <a:lnTo>
                  <a:pt x="354" y="194"/>
                </a:lnTo>
                <a:lnTo>
                  <a:pt x="352" y="191"/>
                </a:lnTo>
                <a:lnTo>
                  <a:pt x="352" y="193"/>
                </a:lnTo>
                <a:lnTo>
                  <a:pt x="350" y="194"/>
                </a:lnTo>
                <a:lnTo>
                  <a:pt x="352" y="195"/>
                </a:lnTo>
                <a:lnTo>
                  <a:pt x="354" y="195"/>
                </a:lnTo>
                <a:lnTo>
                  <a:pt x="354" y="199"/>
                </a:lnTo>
                <a:lnTo>
                  <a:pt x="353" y="200"/>
                </a:lnTo>
                <a:lnTo>
                  <a:pt x="353" y="201"/>
                </a:lnTo>
                <a:lnTo>
                  <a:pt x="352" y="202"/>
                </a:lnTo>
                <a:lnTo>
                  <a:pt x="348" y="203"/>
                </a:lnTo>
                <a:lnTo>
                  <a:pt x="348" y="205"/>
                </a:lnTo>
                <a:lnTo>
                  <a:pt x="347" y="207"/>
                </a:lnTo>
                <a:lnTo>
                  <a:pt x="346" y="208"/>
                </a:lnTo>
                <a:lnTo>
                  <a:pt x="343" y="208"/>
                </a:lnTo>
                <a:lnTo>
                  <a:pt x="343" y="207"/>
                </a:lnTo>
                <a:lnTo>
                  <a:pt x="346" y="205"/>
                </a:lnTo>
                <a:lnTo>
                  <a:pt x="346" y="200"/>
                </a:lnTo>
                <a:lnTo>
                  <a:pt x="347" y="199"/>
                </a:lnTo>
                <a:lnTo>
                  <a:pt x="347" y="196"/>
                </a:lnTo>
                <a:lnTo>
                  <a:pt x="348" y="195"/>
                </a:lnTo>
                <a:lnTo>
                  <a:pt x="348" y="191"/>
                </a:lnTo>
                <a:lnTo>
                  <a:pt x="349" y="191"/>
                </a:lnTo>
                <a:lnTo>
                  <a:pt x="349" y="189"/>
                </a:lnTo>
                <a:lnTo>
                  <a:pt x="352" y="183"/>
                </a:lnTo>
                <a:lnTo>
                  <a:pt x="352" y="182"/>
                </a:lnTo>
                <a:lnTo>
                  <a:pt x="354" y="179"/>
                </a:lnTo>
                <a:lnTo>
                  <a:pt x="355" y="179"/>
                </a:lnTo>
                <a:lnTo>
                  <a:pt x="355" y="176"/>
                </a:lnTo>
                <a:close/>
                <a:moveTo>
                  <a:pt x="365" y="170"/>
                </a:moveTo>
                <a:lnTo>
                  <a:pt x="366" y="170"/>
                </a:lnTo>
                <a:lnTo>
                  <a:pt x="370" y="171"/>
                </a:lnTo>
                <a:lnTo>
                  <a:pt x="371" y="172"/>
                </a:lnTo>
                <a:lnTo>
                  <a:pt x="371" y="173"/>
                </a:lnTo>
                <a:lnTo>
                  <a:pt x="370" y="178"/>
                </a:lnTo>
                <a:lnTo>
                  <a:pt x="370" y="181"/>
                </a:lnTo>
                <a:lnTo>
                  <a:pt x="368" y="182"/>
                </a:lnTo>
                <a:lnTo>
                  <a:pt x="368" y="185"/>
                </a:lnTo>
                <a:lnTo>
                  <a:pt x="367" y="187"/>
                </a:lnTo>
                <a:lnTo>
                  <a:pt x="366" y="184"/>
                </a:lnTo>
                <a:lnTo>
                  <a:pt x="364" y="188"/>
                </a:lnTo>
                <a:lnTo>
                  <a:pt x="362" y="189"/>
                </a:lnTo>
                <a:lnTo>
                  <a:pt x="362" y="185"/>
                </a:lnTo>
                <a:lnTo>
                  <a:pt x="361" y="184"/>
                </a:lnTo>
                <a:lnTo>
                  <a:pt x="360" y="185"/>
                </a:lnTo>
                <a:lnTo>
                  <a:pt x="359" y="184"/>
                </a:lnTo>
                <a:lnTo>
                  <a:pt x="359" y="183"/>
                </a:lnTo>
                <a:lnTo>
                  <a:pt x="360" y="182"/>
                </a:lnTo>
                <a:lnTo>
                  <a:pt x="360" y="181"/>
                </a:lnTo>
                <a:lnTo>
                  <a:pt x="362" y="177"/>
                </a:lnTo>
                <a:lnTo>
                  <a:pt x="364" y="176"/>
                </a:lnTo>
                <a:lnTo>
                  <a:pt x="364" y="177"/>
                </a:lnTo>
                <a:lnTo>
                  <a:pt x="365" y="179"/>
                </a:lnTo>
                <a:lnTo>
                  <a:pt x="366" y="181"/>
                </a:lnTo>
                <a:lnTo>
                  <a:pt x="367" y="177"/>
                </a:lnTo>
                <a:lnTo>
                  <a:pt x="366" y="176"/>
                </a:lnTo>
                <a:lnTo>
                  <a:pt x="365" y="173"/>
                </a:lnTo>
                <a:lnTo>
                  <a:pt x="365" y="170"/>
                </a:lnTo>
                <a:close/>
                <a:moveTo>
                  <a:pt x="431" y="153"/>
                </a:moveTo>
                <a:lnTo>
                  <a:pt x="434" y="153"/>
                </a:lnTo>
                <a:lnTo>
                  <a:pt x="435" y="156"/>
                </a:lnTo>
                <a:lnTo>
                  <a:pt x="433" y="159"/>
                </a:lnTo>
                <a:lnTo>
                  <a:pt x="431" y="162"/>
                </a:lnTo>
                <a:lnTo>
                  <a:pt x="429" y="162"/>
                </a:lnTo>
                <a:lnTo>
                  <a:pt x="428" y="159"/>
                </a:lnTo>
                <a:lnTo>
                  <a:pt x="429" y="157"/>
                </a:lnTo>
                <a:lnTo>
                  <a:pt x="431" y="153"/>
                </a:lnTo>
                <a:close/>
                <a:moveTo>
                  <a:pt x="399" y="148"/>
                </a:moveTo>
                <a:lnTo>
                  <a:pt x="403" y="152"/>
                </a:lnTo>
                <a:lnTo>
                  <a:pt x="405" y="152"/>
                </a:lnTo>
                <a:lnTo>
                  <a:pt x="406" y="156"/>
                </a:lnTo>
                <a:lnTo>
                  <a:pt x="405" y="158"/>
                </a:lnTo>
                <a:lnTo>
                  <a:pt x="403" y="159"/>
                </a:lnTo>
                <a:lnTo>
                  <a:pt x="401" y="157"/>
                </a:lnTo>
                <a:lnTo>
                  <a:pt x="401" y="153"/>
                </a:lnTo>
                <a:lnTo>
                  <a:pt x="397" y="153"/>
                </a:lnTo>
                <a:lnTo>
                  <a:pt x="396" y="152"/>
                </a:lnTo>
                <a:lnTo>
                  <a:pt x="398" y="152"/>
                </a:lnTo>
                <a:lnTo>
                  <a:pt x="397" y="150"/>
                </a:lnTo>
                <a:lnTo>
                  <a:pt x="399" y="148"/>
                </a:lnTo>
                <a:close/>
                <a:moveTo>
                  <a:pt x="391" y="148"/>
                </a:moveTo>
                <a:lnTo>
                  <a:pt x="393" y="148"/>
                </a:lnTo>
                <a:lnTo>
                  <a:pt x="395" y="154"/>
                </a:lnTo>
                <a:lnTo>
                  <a:pt x="393" y="157"/>
                </a:lnTo>
                <a:lnTo>
                  <a:pt x="395" y="158"/>
                </a:lnTo>
                <a:lnTo>
                  <a:pt x="396" y="158"/>
                </a:lnTo>
                <a:lnTo>
                  <a:pt x="398" y="156"/>
                </a:lnTo>
                <a:lnTo>
                  <a:pt x="399" y="156"/>
                </a:lnTo>
                <a:lnTo>
                  <a:pt x="402" y="158"/>
                </a:lnTo>
                <a:lnTo>
                  <a:pt x="399" y="164"/>
                </a:lnTo>
                <a:lnTo>
                  <a:pt x="397" y="164"/>
                </a:lnTo>
                <a:lnTo>
                  <a:pt x="397" y="166"/>
                </a:lnTo>
                <a:lnTo>
                  <a:pt x="396" y="166"/>
                </a:lnTo>
                <a:lnTo>
                  <a:pt x="392" y="168"/>
                </a:lnTo>
                <a:lnTo>
                  <a:pt x="390" y="168"/>
                </a:lnTo>
                <a:lnTo>
                  <a:pt x="390" y="166"/>
                </a:lnTo>
                <a:lnTo>
                  <a:pt x="389" y="168"/>
                </a:lnTo>
                <a:lnTo>
                  <a:pt x="389" y="169"/>
                </a:lnTo>
                <a:lnTo>
                  <a:pt x="385" y="169"/>
                </a:lnTo>
                <a:lnTo>
                  <a:pt x="385" y="171"/>
                </a:lnTo>
                <a:lnTo>
                  <a:pt x="387" y="171"/>
                </a:lnTo>
                <a:lnTo>
                  <a:pt x="387" y="172"/>
                </a:lnTo>
                <a:lnTo>
                  <a:pt x="389" y="173"/>
                </a:lnTo>
                <a:lnTo>
                  <a:pt x="387" y="175"/>
                </a:lnTo>
                <a:lnTo>
                  <a:pt x="385" y="176"/>
                </a:lnTo>
                <a:lnTo>
                  <a:pt x="384" y="175"/>
                </a:lnTo>
                <a:lnTo>
                  <a:pt x="384" y="173"/>
                </a:lnTo>
                <a:lnTo>
                  <a:pt x="383" y="173"/>
                </a:lnTo>
                <a:lnTo>
                  <a:pt x="383" y="175"/>
                </a:lnTo>
                <a:lnTo>
                  <a:pt x="381" y="176"/>
                </a:lnTo>
                <a:lnTo>
                  <a:pt x="383" y="177"/>
                </a:lnTo>
                <a:lnTo>
                  <a:pt x="383" y="178"/>
                </a:lnTo>
                <a:lnTo>
                  <a:pt x="381" y="179"/>
                </a:lnTo>
                <a:lnTo>
                  <a:pt x="379" y="179"/>
                </a:lnTo>
                <a:lnTo>
                  <a:pt x="380" y="178"/>
                </a:lnTo>
                <a:lnTo>
                  <a:pt x="379" y="178"/>
                </a:lnTo>
                <a:lnTo>
                  <a:pt x="379" y="175"/>
                </a:lnTo>
                <a:lnTo>
                  <a:pt x="378" y="173"/>
                </a:lnTo>
                <a:lnTo>
                  <a:pt x="375" y="173"/>
                </a:lnTo>
                <a:lnTo>
                  <a:pt x="375" y="177"/>
                </a:lnTo>
                <a:lnTo>
                  <a:pt x="377" y="178"/>
                </a:lnTo>
                <a:lnTo>
                  <a:pt x="375" y="178"/>
                </a:lnTo>
                <a:lnTo>
                  <a:pt x="375" y="181"/>
                </a:lnTo>
                <a:lnTo>
                  <a:pt x="374" y="182"/>
                </a:lnTo>
                <a:lnTo>
                  <a:pt x="374" y="183"/>
                </a:lnTo>
                <a:lnTo>
                  <a:pt x="372" y="179"/>
                </a:lnTo>
                <a:lnTo>
                  <a:pt x="373" y="175"/>
                </a:lnTo>
                <a:lnTo>
                  <a:pt x="378" y="169"/>
                </a:lnTo>
                <a:lnTo>
                  <a:pt x="377" y="169"/>
                </a:lnTo>
                <a:lnTo>
                  <a:pt x="374" y="172"/>
                </a:lnTo>
                <a:lnTo>
                  <a:pt x="373" y="172"/>
                </a:lnTo>
                <a:lnTo>
                  <a:pt x="373" y="171"/>
                </a:lnTo>
                <a:lnTo>
                  <a:pt x="374" y="170"/>
                </a:lnTo>
                <a:lnTo>
                  <a:pt x="374" y="169"/>
                </a:lnTo>
                <a:lnTo>
                  <a:pt x="373" y="169"/>
                </a:lnTo>
                <a:lnTo>
                  <a:pt x="374" y="168"/>
                </a:lnTo>
                <a:lnTo>
                  <a:pt x="373" y="166"/>
                </a:lnTo>
                <a:lnTo>
                  <a:pt x="374" y="164"/>
                </a:lnTo>
                <a:lnTo>
                  <a:pt x="377" y="163"/>
                </a:lnTo>
                <a:lnTo>
                  <a:pt x="378" y="162"/>
                </a:lnTo>
                <a:lnTo>
                  <a:pt x="377" y="160"/>
                </a:lnTo>
                <a:lnTo>
                  <a:pt x="373" y="160"/>
                </a:lnTo>
                <a:lnTo>
                  <a:pt x="379" y="154"/>
                </a:lnTo>
                <a:lnTo>
                  <a:pt x="381" y="154"/>
                </a:lnTo>
                <a:lnTo>
                  <a:pt x="381" y="156"/>
                </a:lnTo>
                <a:lnTo>
                  <a:pt x="385" y="156"/>
                </a:lnTo>
                <a:lnTo>
                  <a:pt x="386" y="157"/>
                </a:lnTo>
                <a:lnTo>
                  <a:pt x="387" y="154"/>
                </a:lnTo>
                <a:lnTo>
                  <a:pt x="389" y="153"/>
                </a:lnTo>
                <a:lnTo>
                  <a:pt x="391" y="148"/>
                </a:lnTo>
                <a:close/>
                <a:moveTo>
                  <a:pt x="470" y="140"/>
                </a:moveTo>
                <a:lnTo>
                  <a:pt x="471" y="141"/>
                </a:lnTo>
                <a:lnTo>
                  <a:pt x="471" y="142"/>
                </a:lnTo>
                <a:lnTo>
                  <a:pt x="470" y="141"/>
                </a:lnTo>
                <a:lnTo>
                  <a:pt x="470" y="140"/>
                </a:lnTo>
                <a:close/>
                <a:moveTo>
                  <a:pt x="441" y="135"/>
                </a:moveTo>
                <a:lnTo>
                  <a:pt x="445" y="135"/>
                </a:lnTo>
                <a:lnTo>
                  <a:pt x="443" y="138"/>
                </a:lnTo>
                <a:lnTo>
                  <a:pt x="439" y="146"/>
                </a:lnTo>
                <a:lnTo>
                  <a:pt x="436" y="146"/>
                </a:lnTo>
                <a:lnTo>
                  <a:pt x="435" y="147"/>
                </a:lnTo>
                <a:lnTo>
                  <a:pt x="435" y="148"/>
                </a:lnTo>
                <a:lnTo>
                  <a:pt x="436" y="148"/>
                </a:lnTo>
                <a:lnTo>
                  <a:pt x="434" y="150"/>
                </a:lnTo>
                <a:lnTo>
                  <a:pt x="427" y="158"/>
                </a:lnTo>
                <a:lnTo>
                  <a:pt x="426" y="158"/>
                </a:lnTo>
                <a:lnTo>
                  <a:pt x="426" y="153"/>
                </a:lnTo>
                <a:lnTo>
                  <a:pt x="427" y="151"/>
                </a:lnTo>
                <a:lnTo>
                  <a:pt x="426" y="150"/>
                </a:lnTo>
                <a:lnTo>
                  <a:pt x="426" y="148"/>
                </a:lnTo>
                <a:lnTo>
                  <a:pt x="424" y="148"/>
                </a:lnTo>
                <a:lnTo>
                  <a:pt x="424" y="154"/>
                </a:lnTo>
                <a:lnTo>
                  <a:pt x="423" y="156"/>
                </a:lnTo>
                <a:lnTo>
                  <a:pt x="422" y="156"/>
                </a:lnTo>
                <a:lnTo>
                  <a:pt x="422" y="157"/>
                </a:lnTo>
                <a:lnTo>
                  <a:pt x="421" y="157"/>
                </a:lnTo>
                <a:lnTo>
                  <a:pt x="421" y="158"/>
                </a:lnTo>
                <a:lnTo>
                  <a:pt x="423" y="159"/>
                </a:lnTo>
                <a:lnTo>
                  <a:pt x="421" y="162"/>
                </a:lnTo>
                <a:lnTo>
                  <a:pt x="418" y="163"/>
                </a:lnTo>
                <a:lnTo>
                  <a:pt x="416" y="165"/>
                </a:lnTo>
                <a:lnTo>
                  <a:pt x="411" y="165"/>
                </a:lnTo>
                <a:lnTo>
                  <a:pt x="411" y="166"/>
                </a:lnTo>
                <a:lnTo>
                  <a:pt x="408" y="166"/>
                </a:lnTo>
                <a:lnTo>
                  <a:pt x="409" y="168"/>
                </a:lnTo>
                <a:lnTo>
                  <a:pt x="408" y="169"/>
                </a:lnTo>
                <a:lnTo>
                  <a:pt x="406" y="169"/>
                </a:lnTo>
                <a:lnTo>
                  <a:pt x="405" y="170"/>
                </a:lnTo>
                <a:lnTo>
                  <a:pt x="403" y="170"/>
                </a:lnTo>
                <a:lnTo>
                  <a:pt x="403" y="169"/>
                </a:lnTo>
                <a:lnTo>
                  <a:pt x="404" y="168"/>
                </a:lnTo>
                <a:lnTo>
                  <a:pt x="404" y="166"/>
                </a:lnTo>
                <a:lnTo>
                  <a:pt x="403" y="166"/>
                </a:lnTo>
                <a:lnTo>
                  <a:pt x="403" y="164"/>
                </a:lnTo>
                <a:lnTo>
                  <a:pt x="404" y="163"/>
                </a:lnTo>
                <a:lnTo>
                  <a:pt x="408" y="160"/>
                </a:lnTo>
                <a:lnTo>
                  <a:pt x="406" y="160"/>
                </a:lnTo>
                <a:lnTo>
                  <a:pt x="405" y="159"/>
                </a:lnTo>
                <a:lnTo>
                  <a:pt x="406" y="158"/>
                </a:lnTo>
                <a:lnTo>
                  <a:pt x="409" y="158"/>
                </a:lnTo>
                <a:lnTo>
                  <a:pt x="408" y="156"/>
                </a:lnTo>
                <a:lnTo>
                  <a:pt x="408" y="152"/>
                </a:lnTo>
                <a:lnTo>
                  <a:pt x="409" y="151"/>
                </a:lnTo>
                <a:lnTo>
                  <a:pt x="410" y="151"/>
                </a:lnTo>
                <a:lnTo>
                  <a:pt x="411" y="154"/>
                </a:lnTo>
                <a:lnTo>
                  <a:pt x="412" y="156"/>
                </a:lnTo>
                <a:lnTo>
                  <a:pt x="412" y="153"/>
                </a:lnTo>
                <a:lnTo>
                  <a:pt x="414" y="152"/>
                </a:lnTo>
                <a:lnTo>
                  <a:pt x="415" y="153"/>
                </a:lnTo>
                <a:lnTo>
                  <a:pt x="416" y="152"/>
                </a:lnTo>
                <a:lnTo>
                  <a:pt x="416" y="151"/>
                </a:lnTo>
                <a:lnTo>
                  <a:pt x="415" y="150"/>
                </a:lnTo>
                <a:lnTo>
                  <a:pt x="415" y="148"/>
                </a:lnTo>
                <a:lnTo>
                  <a:pt x="412" y="148"/>
                </a:lnTo>
                <a:lnTo>
                  <a:pt x="414" y="146"/>
                </a:lnTo>
                <a:lnTo>
                  <a:pt x="411" y="146"/>
                </a:lnTo>
                <a:lnTo>
                  <a:pt x="411" y="145"/>
                </a:lnTo>
                <a:lnTo>
                  <a:pt x="416" y="144"/>
                </a:lnTo>
                <a:lnTo>
                  <a:pt x="418" y="145"/>
                </a:lnTo>
                <a:lnTo>
                  <a:pt x="420" y="146"/>
                </a:lnTo>
                <a:lnTo>
                  <a:pt x="420" y="144"/>
                </a:lnTo>
                <a:lnTo>
                  <a:pt x="417" y="141"/>
                </a:lnTo>
                <a:lnTo>
                  <a:pt x="422" y="139"/>
                </a:lnTo>
                <a:lnTo>
                  <a:pt x="423" y="140"/>
                </a:lnTo>
                <a:lnTo>
                  <a:pt x="423" y="142"/>
                </a:lnTo>
                <a:lnTo>
                  <a:pt x="424" y="144"/>
                </a:lnTo>
                <a:lnTo>
                  <a:pt x="424" y="139"/>
                </a:lnTo>
                <a:lnTo>
                  <a:pt x="426" y="139"/>
                </a:lnTo>
                <a:lnTo>
                  <a:pt x="426" y="138"/>
                </a:lnTo>
                <a:lnTo>
                  <a:pt x="427" y="138"/>
                </a:lnTo>
                <a:lnTo>
                  <a:pt x="429" y="140"/>
                </a:lnTo>
                <a:lnTo>
                  <a:pt x="429" y="142"/>
                </a:lnTo>
                <a:lnTo>
                  <a:pt x="427" y="146"/>
                </a:lnTo>
                <a:lnTo>
                  <a:pt x="427" y="147"/>
                </a:lnTo>
                <a:lnTo>
                  <a:pt x="428" y="147"/>
                </a:lnTo>
                <a:lnTo>
                  <a:pt x="431" y="144"/>
                </a:lnTo>
                <a:lnTo>
                  <a:pt x="431" y="140"/>
                </a:lnTo>
                <a:lnTo>
                  <a:pt x="433" y="138"/>
                </a:lnTo>
                <a:lnTo>
                  <a:pt x="434" y="138"/>
                </a:lnTo>
                <a:lnTo>
                  <a:pt x="437" y="139"/>
                </a:lnTo>
                <a:lnTo>
                  <a:pt x="441" y="135"/>
                </a:lnTo>
                <a:close/>
                <a:moveTo>
                  <a:pt x="493" y="126"/>
                </a:moveTo>
                <a:lnTo>
                  <a:pt x="495" y="126"/>
                </a:lnTo>
                <a:lnTo>
                  <a:pt x="496" y="127"/>
                </a:lnTo>
                <a:lnTo>
                  <a:pt x="496" y="128"/>
                </a:lnTo>
                <a:lnTo>
                  <a:pt x="497" y="129"/>
                </a:lnTo>
                <a:lnTo>
                  <a:pt x="497" y="132"/>
                </a:lnTo>
                <a:lnTo>
                  <a:pt x="498" y="133"/>
                </a:lnTo>
                <a:lnTo>
                  <a:pt x="498" y="134"/>
                </a:lnTo>
                <a:lnTo>
                  <a:pt x="496" y="135"/>
                </a:lnTo>
                <a:lnTo>
                  <a:pt x="495" y="136"/>
                </a:lnTo>
                <a:lnTo>
                  <a:pt x="496" y="136"/>
                </a:lnTo>
                <a:lnTo>
                  <a:pt x="496" y="139"/>
                </a:lnTo>
                <a:lnTo>
                  <a:pt x="497" y="140"/>
                </a:lnTo>
                <a:lnTo>
                  <a:pt x="496" y="140"/>
                </a:lnTo>
                <a:lnTo>
                  <a:pt x="489" y="141"/>
                </a:lnTo>
                <a:lnTo>
                  <a:pt x="486" y="141"/>
                </a:lnTo>
                <a:lnTo>
                  <a:pt x="485" y="144"/>
                </a:lnTo>
                <a:lnTo>
                  <a:pt x="484" y="144"/>
                </a:lnTo>
                <a:lnTo>
                  <a:pt x="483" y="142"/>
                </a:lnTo>
                <a:lnTo>
                  <a:pt x="484" y="140"/>
                </a:lnTo>
                <a:lnTo>
                  <a:pt x="486" y="139"/>
                </a:lnTo>
                <a:lnTo>
                  <a:pt x="485" y="139"/>
                </a:lnTo>
                <a:lnTo>
                  <a:pt x="484" y="138"/>
                </a:lnTo>
                <a:lnTo>
                  <a:pt x="486" y="130"/>
                </a:lnTo>
                <a:lnTo>
                  <a:pt x="488" y="128"/>
                </a:lnTo>
                <a:lnTo>
                  <a:pt x="489" y="128"/>
                </a:lnTo>
                <a:lnTo>
                  <a:pt x="493" y="126"/>
                </a:lnTo>
                <a:close/>
                <a:moveTo>
                  <a:pt x="423" y="120"/>
                </a:moveTo>
                <a:lnTo>
                  <a:pt x="424" y="121"/>
                </a:lnTo>
                <a:lnTo>
                  <a:pt x="428" y="122"/>
                </a:lnTo>
                <a:lnTo>
                  <a:pt x="431" y="122"/>
                </a:lnTo>
                <a:lnTo>
                  <a:pt x="436" y="125"/>
                </a:lnTo>
                <a:lnTo>
                  <a:pt x="436" y="127"/>
                </a:lnTo>
                <a:lnTo>
                  <a:pt x="435" y="128"/>
                </a:lnTo>
                <a:lnTo>
                  <a:pt x="435" y="129"/>
                </a:lnTo>
                <a:lnTo>
                  <a:pt x="434" y="129"/>
                </a:lnTo>
                <a:lnTo>
                  <a:pt x="433" y="130"/>
                </a:lnTo>
                <a:lnTo>
                  <a:pt x="427" y="130"/>
                </a:lnTo>
                <a:lnTo>
                  <a:pt x="424" y="132"/>
                </a:lnTo>
                <a:lnTo>
                  <a:pt x="424" y="129"/>
                </a:lnTo>
                <a:lnTo>
                  <a:pt x="421" y="126"/>
                </a:lnTo>
                <a:lnTo>
                  <a:pt x="420" y="123"/>
                </a:lnTo>
                <a:lnTo>
                  <a:pt x="423" y="120"/>
                </a:lnTo>
                <a:close/>
                <a:moveTo>
                  <a:pt x="521" y="89"/>
                </a:moveTo>
                <a:lnTo>
                  <a:pt x="522" y="89"/>
                </a:lnTo>
                <a:lnTo>
                  <a:pt x="522" y="90"/>
                </a:lnTo>
                <a:lnTo>
                  <a:pt x="523" y="93"/>
                </a:lnTo>
                <a:lnTo>
                  <a:pt x="524" y="93"/>
                </a:lnTo>
                <a:lnTo>
                  <a:pt x="527" y="97"/>
                </a:lnTo>
                <a:lnTo>
                  <a:pt x="527" y="99"/>
                </a:lnTo>
                <a:lnTo>
                  <a:pt x="526" y="101"/>
                </a:lnTo>
                <a:lnTo>
                  <a:pt x="515" y="104"/>
                </a:lnTo>
                <a:lnTo>
                  <a:pt x="514" y="103"/>
                </a:lnTo>
                <a:lnTo>
                  <a:pt x="514" y="99"/>
                </a:lnTo>
                <a:lnTo>
                  <a:pt x="517" y="96"/>
                </a:lnTo>
                <a:lnTo>
                  <a:pt x="520" y="90"/>
                </a:lnTo>
                <a:lnTo>
                  <a:pt x="521" y="89"/>
                </a:lnTo>
                <a:close/>
                <a:moveTo>
                  <a:pt x="526" y="80"/>
                </a:moveTo>
                <a:lnTo>
                  <a:pt x="527" y="82"/>
                </a:lnTo>
                <a:lnTo>
                  <a:pt x="528" y="85"/>
                </a:lnTo>
                <a:lnTo>
                  <a:pt x="529" y="87"/>
                </a:lnTo>
                <a:lnTo>
                  <a:pt x="530" y="89"/>
                </a:lnTo>
                <a:lnTo>
                  <a:pt x="533" y="89"/>
                </a:lnTo>
                <a:lnTo>
                  <a:pt x="533" y="87"/>
                </a:lnTo>
                <a:lnTo>
                  <a:pt x="530" y="86"/>
                </a:lnTo>
                <a:lnTo>
                  <a:pt x="530" y="82"/>
                </a:lnTo>
                <a:lnTo>
                  <a:pt x="535" y="82"/>
                </a:lnTo>
                <a:lnTo>
                  <a:pt x="539" y="85"/>
                </a:lnTo>
                <a:lnTo>
                  <a:pt x="540" y="87"/>
                </a:lnTo>
                <a:lnTo>
                  <a:pt x="536" y="91"/>
                </a:lnTo>
                <a:lnTo>
                  <a:pt x="534" y="95"/>
                </a:lnTo>
                <a:lnTo>
                  <a:pt x="533" y="96"/>
                </a:lnTo>
                <a:lnTo>
                  <a:pt x="530" y="96"/>
                </a:lnTo>
                <a:lnTo>
                  <a:pt x="529" y="95"/>
                </a:lnTo>
                <a:lnTo>
                  <a:pt x="529" y="93"/>
                </a:lnTo>
                <a:lnTo>
                  <a:pt x="528" y="90"/>
                </a:lnTo>
                <a:lnTo>
                  <a:pt x="528" y="87"/>
                </a:lnTo>
                <a:lnTo>
                  <a:pt x="524" y="84"/>
                </a:lnTo>
                <a:lnTo>
                  <a:pt x="524" y="83"/>
                </a:lnTo>
                <a:lnTo>
                  <a:pt x="526" y="80"/>
                </a:lnTo>
                <a:close/>
                <a:moveTo>
                  <a:pt x="431" y="80"/>
                </a:moveTo>
                <a:lnTo>
                  <a:pt x="435" y="80"/>
                </a:lnTo>
                <a:lnTo>
                  <a:pt x="436" y="82"/>
                </a:lnTo>
                <a:lnTo>
                  <a:pt x="436" y="85"/>
                </a:lnTo>
                <a:lnTo>
                  <a:pt x="435" y="86"/>
                </a:lnTo>
                <a:lnTo>
                  <a:pt x="433" y="87"/>
                </a:lnTo>
                <a:lnTo>
                  <a:pt x="433" y="86"/>
                </a:lnTo>
                <a:lnTo>
                  <a:pt x="430" y="86"/>
                </a:lnTo>
                <a:lnTo>
                  <a:pt x="430" y="82"/>
                </a:lnTo>
                <a:lnTo>
                  <a:pt x="431" y="80"/>
                </a:lnTo>
                <a:close/>
                <a:moveTo>
                  <a:pt x="473" y="76"/>
                </a:moveTo>
                <a:lnTo>
                  <a:pt x="474" y="76"/>
                </a:lnTo>
                <a:lnTo>
                  <a:pt x="476" y="77"/>
                </a:lnTo>
                <a:lnTo>
                  <a:pt x="476" y="78"/>
                </a:lnTo>
                <a:lnTo>
                  <a:pt x="474" y="79"/>
                </a:lnTo>
                <a:lnTo>
                  <a:pt x="474" y="83"/>
                </a:lnTo>
                <a:lnTo>
                  <a:pt x="476" y="84"/>
                </a:lnTo>
                <a:lnTo>
                  <a:pt x="476" y="87"/>
                </a:lnTo>
                <a:lnTo>
                  <a:pt x="474" y="93"/>
                </a:lnTo>
                <a:lnTo>
                  <a:pt x="473" y="95"/>
                </a:lnTo>
                <a:lnTo>
                  <a:pt x="473" y="97"/>
                </a:lnTo>
                <a:lnTo>
                  <a:pt x="472" y="98"/>
                </a:lnTo>
                <a:lnTo>
                  <a:pt x="472" y="101"/>
                </a:lnTo>
                <a:lnTo>
                  <a:pt x="468" y="103"/>
                </a:lnTo>
                <a:lnTo>
                  <a:pt x="471" y="103"/>
                </a:lnTo>
                <a:lnTo>
                  <a:pt x="473" y="102"/>
                </a:lnTo>
                <a:lnTo>
                  <a:pt x="474" y="99"/>
                </a:lnTo>
                <a:lnTo>
                  <a:pt x="477" y="97"/>
                </a:lnTo>
                <a:lnTo>
                  <a:pt x="477" y="96"/>
                </a:lnTo>
                <a:lnTo>
                  <a:pt x="478" y="98"/>
                </a:lnTo>
                <a:lnTo>
                  <a:pt x="478" y="103"/>
                </a:lnTo>
                <a:lnTo>
                  <a:pt x="477" y="107"/>
                </a:lnTo>
                <a:lnTo>
                  <a:pt x="477" y="108"/>
                </a:lnTo>
                <a:lnTo>
                  <a:pt x="474" y="110"/>
                </a:lnTo>
                <a:lnTo>
                  <a:pt x="474" y="113"/>
                </a:lnTo>
                <a:lnTo>
                  <a:pt x="472" y="113"/>
                </a:lnTo>
                <a:lnTo>
                  <a:pt x="470" y="115"/>
                </a:lnTo>
                <a:lnTo>
                  <a:pt x="470" y="125"/>
                </a:lnTo>
                <a:lnTo>
                  <a:pt x="468" y="125"/>
                </a:lnTo>
                <a:lnTo>
                  <a:pt x="468" y="127"/>
                </a:lnTo>
                <a:lnTo>
                  <a:pt x="471" y="125"/>
                </a:lnTo>
                <a:lnTo>
                  <a:pt x="471" y="117"/>
                </a:lnTo>
                <a:lnTo>
                  <a:pt x="478" y="110"/>
                </a:lnTo>
                <a:lnTo>
                  <a:pt x="480" y="110"/>
                </a:lnTo>
                <a:lnTo>
                  <a:pt x="480" y="114"/>
                </a:lnTo>
                <a:lnTo>
                  <a:pt x="482" y="115"/>
                </a:lnTo>
                <a:lnTo>
                  <a:pt x="483" y="114"/>
                </a:lnTo>
                <a:lnTo>
                  <a:pt x="483" y="110"/>
                </a:lnTo>
                <a:lnTo>
                  <a:pt x="482" y="108"/>
                </a:lnTo>
                <a:lnTo>
                  <a:pt x="480" y="107"/>
                </a:lnTo>
                <a:lnTo>
                  <a:pt x="480" y="105"/>
                </a:lnTo>
                <a:lnTo>
                  <a:pt x="482" y="103"/>
                </a:lnTo>
                <a:lnTo>
                  <a:pt x="483" y="103"/>
                </a:lnTo>
                <a:lnTo>
                  <a:pt x="484" y="102"/>
                </a:lnTo>
                <a:lnTo>
                  <a:pt x="488" y="103"/>
                </a:lnTo>
                <a:lnTo>
                  <a:pt x="488" y="101"/>
                </a:lnTo>
                <a:lnTo>
                  <a:pt x="486" y="98"/>
                </a:lnTo>
                <a:lnTo>
                  <a:pt x="484" y="97"/>
                </a:lnTo>
                <a:lnTo>
                  <a:pt x="483" y="96"/>
                </a:lnTo>
                <a:lnTo>
                  <a:pt x="483" y="92"/>
                </a:lnTo>
                <a:lnTo>
                  <a:pt x="484" y="91"/>
                </a:lnTo>
                <a:lnTo>
                  <a:pt x="488" y="89"/>
                </a:lnTo>
                <a:lnTo>
                  <a:pt x="489" y="89"/>
                </a:lnTo>
                <a:lnTo>
                  <a:pt x="490" y="90"/>
                </a:lnTo>
                <a:lnTo>
                  <a:pt x="490" y="91"/>
                </a:lnTo>
                <a:lnTo>
                  <a:pt x="491" y="91"/>
                </a:lnTo>
                <a:lnTo>
                  <a:pt x="491" y="89"/>
                </a:lnTo>
                <a:lnTo>
                  <a:pt x="490" y="87"/>
                </a:lnTo>
                <a:lnTo>
                  <a:pt x="490" y="84"/>
                </a:lnTo>
                <a:lnTo>
                  <a:pt x="492" y="87"/>
                </a:lnTo>
                <a:lnTo>
                  <a:pt x="496" y="89"/>
                </a:lnTo>
                <a:lnTo>
                  <a:pt x="497" y="90"/>
                </a:lnTo>
                <a:lnTo>
                  <a:pt x="497" y="92"/>
                </a:lnTo>
                <a:lnTo>
                  <a:pt x="498" y="93"/>
                </a:lnTo>
                <a:lnTo>
                  <a:pt x="502" y="92"/>
                </a:lnTo>
                <a:lnTo>
                  <a:pt x="503" y="92"/>
                </a:lnTo>
                <a:lnTo>
                  <a:pt x="501" y="95"/>
                </a:lnTo>
                <a:lnTo>
                  <a:pt x="499" y="97"/>
                </a:lnTo>
                <a:lnTo>
                  <a:pt x="502" y="97"/>
                </a:lnTo>
                <a:lnTo>
                  <a:pt x="503" y="99"/>
                </a:lnTo>
                <a:lnTo>
                  <a:pt x="501" y="99"/>
                </a:lnTo>
                <a:lnTo>
                  <a:pt x="501" y="101"/>
                </a:lnTo>
                <a:lnTo>
                  <a:pt x="502" y="102"/>
                </a:lnTo>
                <a:lnTo>
                  <a:pt x="502" y="104"/>
                </a:lnTo>
                <a:lnTo>
                  <a:pt x="503" y="107"/>
                </a:lnTo>
                <a:lnTo>
                  <a:pt x="503" y="108"/>
                </a:lnTo>
                <a:lnTo>
                  <a:pt x="502" y="109"/>
                </a:lnTo>
                <a:lnTo>
                  <a:pt x="503" y="110"/>
                </a:lnTo>
                <a:lnTo>
                  <a:pt x="503" y="113"/>
                </a:lnTo>
                <a:lnTo>
                  <a:pt x="502" y="115"/>
                </a:lnTo>
                <a:lnTo>
                  <a:pt x="501" y="116"/>
                </a:lnTo>
                <a:lnTo>
                  <a:pt x="501" y="117"/>
                </a:lnTo>
                <a:lnTo>
                  <a:pt x="499" y="119"/>
                </a:lnTo>
                <a:lnTo>
                  <a:pt x="499" y="121"/>
                </a:lnTo>
                <a:lnTo>
                  <a:pt x="501" y="122"/>
                </a:lnTo>
                <a:lnTo>
                  <a:pt x="499" y="125"/>
                </a:lnTo>
                <a:lnTo>
                  <a:pt x="498" y="125"/>
                </a:lnTo>
                <a:lnTo>
                  <a:pt x="497" y="123"/>
                </a:lnTo>
                <a:lnTo>
                  <a:pt x="493" y="123"/>
                </a:lnTo>
                <a:lnTo>
                  <a:pt x="489" y="125"/>
                </a:lnTo>
                <a:lnTo>
                  <a:pt x="485" y="127"/>
                </a:lnTo>
                <a:lnTo>
                  <a:pt x="485" y="128"/>
                </a:lnTo>
                <a:lnTo>
                  <a:pt x="484" y="127"/>
                </a:lnTo>
                <a:lnTo>
                  <a:pt x="484" y="126"/>
                </a:lnTo>
                <a:lnTo>
                  <a:pt x="483" y="127"/>
                </a:lnTo>
                <a:lnTo>
                  <a:pt x="483" y="128"/>
                </a:lnTo>
                <a:lnTo>
                  <a:pt x="482" y="132"/>
                </a:lnTo>
                <a:lnTo>
                  <a:pt x="482" y="134"/>
                </a:lnTo>
                <a:lnTo>
                  <a:pt x="479" y="136"/>
                </a:lnTo>
                <a:lnTo>
                  <a:pt x="479" y="139"/>
                </a:lnTo>
                <a:lnTo>
                  <a:pt x="478" y="142"/>
                </a:lnTo>
                <a:lnTo>
                  <a:pt x="477" y="144"/>
                </a:lnTo>
                <a:lnTo>
                  <a:pt x="474" y="145"/>
                </a:lnTo>
                <a:lnTo>
                  <a:pt x="473" y="145"/>
                </a:lnTo>
                <a:lnTo>
                  <a:pt x="474" y="144"/>
                </a:lnTo>
                <a:lnTo>
                  <a:pt x="473" y="141"/>
                </a:lnTo>
                <a:lnTo>
                  <a:pt x="473" y="140"/>
                </a:lnTo>
                <a:lnTo>
                  <a:pt x="474" y="139"/>
                </a:lnTo>
                <a:lnTo>
                  <a:pt x="474" y="135"/>
                </a:lnTo>
                <a:lnTo>
                  <a:pt x="473" y="134"/>
                </a:lnTo>
                <a:lnTo>
                  <a:pt x="473" y="138"/>
                </a:lnTo>
                <a:lnTo>
                  <a:pt x="472" y="139"/>
                </a:lnTo>
                <a:lnTo>
                  <a:pt x="471" y="139"/>
                </a:lnTo>
                <a:lnTo>
                  <a:pt x="471" y="138"/>
                </a:lnTo>
                <a:lnTo>
                  <a:pt x="470" y="138"/>
                </a:lnTo>
                <a:lnTo>
                  <a:pt x="470" y="140"/>
                </a:lnTo>
                <a:lnTo>
                  <a:pt x="468" y="139"/>
                </a:lnTo>
                <a:lnTo>
                  <a:pt x="468" y="140"/>
                </a:lnTo>
                <a:lnTo>
                  <a:pt x="467" y="141"/>
                </a:lnTo>
                <a:lnTo>
                  <a:pt x="467" y="145"/>
                </a:lnTo>
                <a:lnTo>
                  <a:pt x="465" y="145"/>
                </a:lnTo>
                <a:lnTo>
                  <a:pt x="465" y="146"/>
                </a:lnTo>
                <a:lnTo>
                  <a:pt x="466" y="146"/>
                </a:lnTo>
                <a:lnTo>
                  <a:pt x="466" y="148"/>
                </a:lnTo>
                <a:lnTo>
                  <a:pt x="464" y="151"/>
                </a:lnTo>
                <a:lnTo>
                  <a:pt x="464" y="153"/>
                </a:lnTo>
                <a:lnTo>
                  <a:pt x="461" y="153"/>
                </a:lnTo>
                <a:lnTo>
                  <a:pt x="461" y="152"/>
                </a:lnTo>
                <a:lnTo>
                  <a:pt x="462" y="152"/>
                </a:lnTo>
                <a:lnTo>
                  <a:pt x="462" y="151"/>
                </a:lnTo>
                <a:lnTo>
                  <a:pt x="461" y="151"/>
                </a:lnTo>
                <a:lnTo>
                  <a:pt x="459" y="148"/>
                </a:lnTo>
                <a:lnTo>
                  <a:pt x="453" y="150"/>
                </a:lnTo>
                <a:lnTo>
                  <a:pt x="449" y="150"/>
                </a:lnTo>
                <a:lnTo>
                  <a:pt x="449" y="147"/>
                </a:lnTo>
                <a:lnTo>
                  <a:pt x="452" y="147"/>
                </a:lnTo>
                <a:lnTo>
                  <a:pt x="453" y="144"/>
                </a:lnTo>
                <a:lnTo>
                  <a:pt x="454" y="142"/>
                </a:lnTo>
                <a:lnTo>
                  <a:pt x="457" y="141"/>
                </a:lnTo>
                <a:lnTo>
                  <a:pt x="458" y="139"/>
                </a:lnTo>
                <a:lnTo>
                  <a:pt x="461" y="134"/>
                </a:lnTo>
                <a:lnTo>
                  <a:pt x="462" y="133"/>
                </a:lnTo>
                <a:lnTo>
                  <a:pt x="461" y="132"/>
                </a:lnTo>
                <a:lnTo>
                  <a:pt x="461" y="130"/>
                </a:lnTo>
                <a:lnTo>
                  <a:pt x="460" y="129"/>
                </a:lnTo>
                <a:lnTo>
                  <a:pt x="460" y="134"/>
                </a:lnTo>
                <a:lnTo>
                  <a:pt x="455" y="140"/>
                </a:lnTo>
                <a:lnTo>
                  <a:pt x="453" y="140"/>
                </a:lnTo>
                <a:lnTo>
                  <a:pt x="452" y="141"/>
                </a:lnTo>
                <a:lnTo>
                  <a:pt x="449" y="142"/>
                </a:lnTo>
                <a:lnTo>
                  <a:pt x="448" y="145"/>
                </a:lnTo>
                <a:lnTo>
                  <a:pt x="446" y="146"/>
                </a:lnTo>
                <a:lnTo>
                  <a:pt x="445" y="147"/>
                </a:lnTo>
                <a:lnTo>
                  <a:pt x="446" y="147"/>
                </a:lnTo>
                <a:lnTo>
                  <a:pt x="447" y="148"/>
                </a:lnTo>
                <a:lnTo>
                  <a:pt x="443" y="152"/>
                </a:lnTo>
                <a:lnTo>
                  <a:pt x="442" y="152"/>
                </a:lnTo>
                <a:lnTo>
                  <a:pt x="440" y="157"/>
                </a:lnTo>
                <a:lnTo>
                  <a:pt x="439" y="158"/>
                </a:lnTo>
                <a:lnTo>
                  <a:pt x="436" y="158"/>
                </a:lnTo>
                <a:lnTo>
                  <a:pt x="436" y="157"/>
                </a:lnTo>
                <a:lnTo>
                  <a:pt x="437" y="156"/>
                </a:lnTo>
                <a:lnTo>
                  <a:pt x="436" y="153"/>
                </a:lnTo>
                <a:lnTo>
                  <a:pt x="439" y="151"/>
                </a:lnTo>
                <a:lnTo>
                  <a:pt x="439" y="150"/>
                </a:lnTo>
                <a:lnTo>
                  <a:pt x="440" y="148"/>
                </a:lnTo>
                <a:lnTo>
                  <a:pt x="441" y="145"/>
                </a:lnTo>
                <a:lnTo>
                  <a:pt x="445" y="138"/>
                </a:lnTo>
                <a:lnTo>
                  <a:pt x="447" y="135"/>
                </a:lnTo>
                <a:lnTo>
                  <a:pt x="452" y="135"/>
                </a:lnTo>
                <a:lnTo>
                  <a:pt x="449" y="134"/>
                </a:lnTo>
                <a:lnTo>
                  <a:pt x="448" y="134"/>
                </a:lnTo>
                <a:lnTo>
                  <a:pt x="447" y="133"/>
                </a:lnTo>
                <a:lnTo>
                  <a:pt x="447" y="132"/>
                </a:lnTo>
                <a:lnTo>
                  <a:pt x="449" y="132"/>
                </a:lnTo>
                <a:lnTo>
                  <a:pt x="448" y="130"/>
                </a:lnTo>
                <a:lnTo>
                  <a:pt x="448" y="128"/>
                </a:lnTo>
                <a:lnTo>
                  <a:pt x="445" y="128"/>
                </a:lnTo>
                <a:lnTo>
                  <a:pt x="445" y="126"/>
                </a:lnTo>
                <a:lnTo>
                  <a:pt x="446" y="123"/>
                </a:lnTo>
                <a:lnTo>
                  <a:pt x="449" y="123"/>
                </a:lnTo>
                <a:lnTo>
                  <a:pt x="449" y="121"/>
                </a:lnTo>
                <a:lnTo>
                  <a:pt x="454" y="121"/>
                </a:lnTo>
                <a:lnTo>
                  <a:pt x="455" y="123"/>
                </a:lnTo>
                <a:lnTo>
                  <a:pt x="455" y="122"/>
                </a:lnTo>
                <a:lnTo>
                  <a:pt x="453" y="119"/>
                </a:lnTo>
                <a:lnTo>
                  <a:pt x="455" y="119"/>
                </a:lnTo>
                <a:lnTo>
                  <a:pt x="455" y="116"/>
                </a:lnTo>
                <a:lnTo>
                  <a:pt x="460" y="116"/>
                </a:lnTo>
                <a:lnTo>
                  <a:pt x="461" y="117"/>
                </a:lnTo>
                <a:lnTo>
                  <a:pt x="461" y="119"/>
                </a:lnTo>
                <a:lnTo>
                  <a:pt x="462" y="119"/>
                </a:lnTo>
                <a:lnTo>
                  <a:pt x="464" y="117"/>
                </a:lnTo>
                <a:lnTo>
                  <a:pt x="462" y="117"/>
                </a:lnTo>
                <a:lnTo>
                  <a:pt x="462" y="116"/>
                </a:lnTo>
                <a:lnTo>
                  <a:pt x="461" y="116"/>
                </a:lnTo>
                <a:lnTo>
                  <a:pt x="461" y="115"/>
                </a:lnTo>
                <a:lnTo>
                  <a:pt x="459" y="115"/>
                </a:lnTo>
                <a:lnTo>
                  <a:pt x="457" y="113"/>
                </a:lnTo>
                <a:lnTo>
                  <a:pt x="457" y="111"/>
                </a:lnTo>
                <a:lnTo>
                  <a:pt x="455" y="109"/>
                </a:lnTo>
                <a:lnTo>
                  <a:pt x="455" y="104"/>
                </a:lnTo>
                <a:lnTo>
                  <a:pt x="461" y="104"/>
                </a:lnTo>
                <a:lnTo>
                  <a:pt x="461" y="103"/>
                </a:lnTo>
                <a:lnTo>
                  <a:pt x="462" y="103"/>
                </a:lnTo>
                <a:lnTo>
                  <a:pt x="465" y="105"/>
                </a:lnTo>
                <a:lnTo>
                  <a:pt x="467" y="107"/>
                </a:lnTo>
                <a:lnTo>
                  <a:pt x="466" y="105"/>
                </a:lnTo>
                <a:lnTo>
                  <a:pt x="465" y="105"/>
                </a:lnTo>
                <a:lnTo>
                  <a:pt x="465" y="103"/>
                </a:lnTo>
                <a:lnTo>
                  <a:pt x="464" y="102"/>
                </a:lnTo>
                <a:lnTo>
                  <a:pt x="457" y="102"/>
                </a:lnTo>
                <a:lnTo>
                  <a:pt x="457" y="96"/>
                </a:lnTo>
                <a:lnTo>
                  <a:pt x="455" y="95"/>
                </a:lnTo>
                <a:lnTo>
                  <a:pt x="458" y="95"/>
                </a:lnTo>
                <a:lnTo>
                  <a:pt x="459" y="93"/>
                </a:lnTo>
                <a:lnTo>
                  <a:pt x="459" y="92"/>
                </a:lnTo>
                <a:lnTo>
                  <a:pt x="460" y="92"/>
                </a:lnTo>
                <a:lnTo>
                  <a:pt x="462" y="93"/>
                </a:lnTo>
                <a:lnTo>
                  <a:pt x="464" y="92"/>
                </a:lnTo>
                <a:lnTo>
                  <a:pt x="462" y="92"/>
                </a:lnTo>
                <a:lnTo>
                  <a:pt x="461" y="91"/>
                </a:lnTo>
                <a:lnTo>
                  <a:pt x="460" y="91"/>
                </a:lnTo>
                <a:lnTo>
                  <a:pt x="460" y="87"/>
                </a:lnTo>
                <a:lnTo>
                  <a:pt x="461" y="86"/>
                </a:lnTo>
                <a:lnTo>
                  <a:pt x="464" y="85"/>
                </a:lnTo>
                <a:lnTo>
                  <a:pt x="462" y="84"/>
                </a:lnTo>
                <a:lnTo>
                  <a:pt x="462" y="82"/>
                </a:lnTo>
                <a:lnTo>
                  <a:pt x="464" y="78"/>
                </a:lnTo>
                <a:lnTo>
                  <a:pt x="464" y="77"/>
                </a:lnTo>
                <a:lnTo>
                  <a:pt x="470" y="77"/>
                </a:lnTo>
                <a:lnTo>
                  <a:pt x="473" y="76"/>
                </a:lnTo>
                <a:close/>
                <a:moveTo>
                  <a:pt x="492" y="72"/>
                </a:moveTo>
                <a:lnTo>
                  <a:pt x="495" y="73"/>
                </a:lnTo>
                <a:lnTo>
                  <a:pt x="498" y="77"/>
                </a:lnTo>
                <a:lnTo>
                  <a:pt x="501" y="77"/>
                </a:lnTo>
                <a:lnTo>
                  <a:pt x="503" y="76"/>
                </a:lnTo>
                <a:lnTo>
                  <a:pt x="504" y="77"/>
                </a:lnTo>
                <a:lnTo>
                  <a:pt x="504" y="80"/>
                </a:lnTo>
                <a:lnTo>
                  <a:pt x="503" y="82"/>
                </a:lnTo>
                <a:lnTo>
                  <a:pt x="504" y="84"/>
                </a:lnTo>
                <a:lnTo>
                  <a:pt x="503" y="85"/>
                </a:lnTo>
                <a:lnTo>
                  <a:pt x="497" y="85"/>
                </a:lnTo>
                <a:lnTo>
                  <a:pt x="496" y="84"/>
                </a:lnTo>
                <a:lnTo>
                  <a:pt x="493" y="80"/>
                </a:lnTo>
                <a:lnTo>
                  <a:pt x="491" y="78"/>
                </a:lnTo>
                <a:lnTo>
                  <a:pt x="490" y="76"/>
                </a:lnTo>
                <a:lnTo>
                  <a:pt x="492" y="72"/>
                </a:lnTo>
                <a:close/>
                <a:moveTo>
                  <a:pt x="440" y="71"/>
                </a:moveTo>
                <a:lnTo>
                  <a:pt x="442" y="71"/>
                </a:lnTo>
                <a:lnTo>
                  <a:pt x="443" y="72"/>
                </a:lnTo>
                <a:lnTo>
                  <a:pt x="443" y="77"/>
                </a:lnTo>
                <a:lnTo>
                  <a:pt x="445" y="79"/>
                </a:lnTo>
                <a:lnTo>
                  <a:pt x="445" y="80"/>
                </a:lnTo>
                <a:lnTo>
                  <a:pt x="446" y="80"/>
                </a:lnTo>
                <a:lnTo>
                  <a:pt x="447" y="83"/>
                </a:lnTo>
                <a:lnTo>
                  <a:pt x="446" y="84"/>
                </a:lnTo>
                <a:lnTo>
                  <a:pt x="445" y="84"/>
                </a:lnTo>
                <a:lnTo>
                  <a:pt x="445" y="85"/>
                </a:lnTo>
                <a:lnTo>
                  <a:pt x="446" y="86"/>
                </a:lnTo>
                <a:lnTo>
                  <a:pt x="448" y="82"/>
                </a:lnTo>
                <a:lnTo>
                  <a:pt x="449" y="83"/>
                </a:lnTo>
                <a:lnTo>
                  <a:pt x="448" y="87"/>
                </a:lnTo>
                <a:lnTo>
                  <a:pt x="448" y="89"/>
                </a:lnTo>
                <a:lnTo>
                  <a:pt x="447" y="92"/>
                </a:lnTo>
                <a:lnTo>
                  <a:pt x="449" y="90"/>
                </a:lnTo>
                <a:lnTo>
                  <a:pt x="449" y="89"/>
                </a:lnTo>
                <a:lnTo>
                  <a:pt x="452" y="90"/>
                </a:lnTo>
                <a:lnTo>
                  <a:pt x="453" y="90"/>
                </a:lnTo>
                <a:lnTo>
                  <a:pt x="453" y="91"/>
                </a:lnTo>
                <a:lnTo>
                  <a:pt x="452" y="93"/>
                </a:lnTo>
                <a:lnTo>
                  <a:pt x="452" y="95"/>
                </a:lnTo>
                <a:lnTo>
                  <a:pt x="449" y="96"/>
                </a:lnTo>
                <a:lnTo>
                  <a:pt x="449" y="95"/>
                </a:lnTo>
                <a:lnTo>
                  <a:pt x="448" y="96"/>
                </a:lnTo>
                <a:lnTo>
                  <a:pt x="449" y="98"/>
                </a:lnTo>
                <a:lnTo>
                  <a:pt x="448" y="99"/>
                </a:lnTo>
                <a:lnTo>
                  <a:pt x="449" y="101"/>
                </a:lnTo>
                <a:lnTo>
                  <a:pt x="452" y="102"/>
                </a:lnTo>
                <a:lnTo>
                  <a:pt x="453" y="103"/>
                </a:lnTo>
                <a:lnTo>
                  <a:pt x="454" y="108"/>
                </a:lnTo>
                <a:lnTo>
                  <a:pt x="453" y="110"/>
                </a:lnTo>
                <a:lnTo>
                  <a:pt x="449" y="113"/>
                </a:lnTo>
                <a:lnTo>
                  <a:pt x="440" y="121"/>
                </a:lnTo>
                <a:lnTo>
                  <a:pt x="431" y="121"/>
                </a:lnTo>
                <a:lnTo>
                  <a:pt x="430" y="120"/>
                </a:lnTo>
                <a:lnTo>
                  <a:pt x="430" y="119"/>
                </a:lnTo>
                <a:lnTo>
                  <a:pt x="431" y="119"/>
                </a:lnTo>
                <a:lnTo>
                  <a:pt x="429" y="117"/>
                </a:lnTo>
                <a:lnTo>
                  <a:pt x="429" y="114"/>
                </a:lnTo>
                <a:lnTo>
                  <a:pt x="431" y="114"/>
                </a:lnTo>
                <a:lnTo>
                  <a:pt x="435" y="111"/>
                </a:lnTo>
                <a:lnTo>
                  <a:pt x="439" y="111"/>
                </a:lnTo>
                <a:lnTo>
                  <a:pt x="439" y="109"/>
                </a:lnTo>
                <a:lnTo>
                  <a:pt x="440" y="109"/>
                </a:lnTo>
                <a:lnTo>
                  <a:pt x="441" y="108"/>
                </a:lnTo>
                <a:lnTo>
                  <a:pt x="442" y="108"/>
                </a:lnTo>
                <a:lnTo>
                  <a:pt x="443" y="107"/>
                </a:lnTo>
                <a:lnTo>
                  <a:pt x="443" y="101"/>
                </a:lnTo>
                <a:lnTo>
                  <a:pt x="437" y="98"/>
                </a:lnTo>
                <a:lnTo>
                  <a:pt x="436" y="99"/>
                </a:lnTo>
                <a:lnTo>
                  <a:pt x="437" y="99"/>
                </a:lnTo>
                <a:lnTo>
                  <a:pt x="440" y="102"/>
                </a:lnTo>
                <a:lnTo>
                  <a:pt x="439" y="104"/>
                </a:lnTo>
                <a:lnTo>
                  <a:pt x="436" y="107"/>
                </a:lnTo>
                <a:lnTo>
                  <a:pt x="435" y="107"/>
                </a:lnTo>
                <a:lnTo>
                  <a:pt x="435" y="105"/>
                </a:lnTo>
                <a:lnTo>
                  <a:pt x="434" y="108"/>
                </a:lnTo>
                <a:lnTo>
                  <a:pt x="433" y="109"/>
                </a:lnTo>
                <a:lnTo>
                  <a:pt x="431" y="109"/>
                </a:lnTo>
                <a:lnTo>
                  <a:pt x="431" y="108"/>
                </a:lnTo>
                <a:lnTo>
                  <a:pt x="429" y="110"/>
                </a:lnTo>
                <a:lnTo>
                  <a:pt x="429" y="105"/>
                </a:lnTo>
                <a:lnTo>
                  <a:pt x="428" y="107"/>
                </a:lnTo>
                <a:lnTo>
                  <a:pt x="428" y="109"/>
                </a:lnTo>
                <a:lnTo>
                  <a:pt x="427" y="110"/>
                </a:lnTo>
                <a:lnTo>
                  <a:pt x="427" y="111"/>
                </a:lnTo>
                <a:lnTo>
                  <a:pt x="424" y="109"/>
                </a:lnTo>
                <a:lnTo>
                  <a:pt x="423" y="107"/>
                </a:lnTo>
                <a:lnTo>
                  <a:pt x="423" y="109"/>
                </a:lnTo>
                <a:lnTo>
                  <a:pt x="422" y="110"/>
                </a:lnTo>
                <a:lnTo>
                  <a:pt x="421" y="113"/>
                </a:lnTo>
                <a:lnTo>
                  <a:pt x="421" y="116"/>
                </a:lnTo>
                <a:lnTo>
                  <a:pt x="417" y="116"/>
                </a:lnTo>
                <a:lnTo>
                  <a:pt x="415" y="119"/>
                </a:lnTo>
                <a:lnTo>
                  <a:pt x="412" y="117"/>
                </a:lnTo>
                <a:lnTo>
                  <a:pt x="412" y="110"/>
                </a:lnTo>
                <a:lnTo>
                  <a:pt x="411" y="111"/>
                </a:lnTo>
                <a:lnTo>
                  <a:pt x="411" y="110"/>
                </a:lnTo>
                <a:lnTo>
                  <a:pt x="410" y="109"/>
                </a:lnTo>
                <a:lnTo>
                  <a:pt x="411" y="108"/>
                </a:lnTo>
                <a:lnTo>
                  <a:pt x="411" y="107"/>
                </a:lnTo>
                <a:lnTo>
                  <a:pt x="412" y="107"/>
                </a:lnTo>
                <a:lnTo>
                  <a:pt x="412" y="105"/>
                </a:lnTo>
                <a:lnTo>
                  <a:pt x="414" y="104"/>
                </a:lnTo>
                <a:lnTo>
                  <a:pt x="417" y="103"/>
                </a:lnTo>
                <a:lnTo>
                  <a:pt x="417" y="102"/>
                </a:lnTo>
                <a:lnTo>
                  <a:pt x="416" y="102"/>
                </a:lnTo>
                <a:lnTo>
                  <a:pt x="414" y="101"/>
                </a:lnTo>
                <a:lnTo>
                  <a:pt x="414" y="98"/>
                </a:lnTo>
                <a:lnTo>
                  <a:pt x="415" y="96"/>
                </a:lnTo>
                <a:lnTo>
                  <a:pt x="417" y="95"/>
                </a:lnTo>
                <a:lnTo>
                  <a:pt x="418" y="96"/>
                </a:lnTo>
                <a:lnTo>
                  <a:pt x="418" y="102"/>
                </a:lnTo>
                <a:lnTo>
                  <a:pt x="420" y="103"/>
                </a:lnTo>
                <a:lnTo>
                  <a:pt x="421" y="103"/>
                </a:lnTo>
                <a:lnTo>
                  <a:pt x="421" y="102"/>
                </a:lnTo>
                <a:lnTo>
                  <a:pt x="420" y="102"/>
                </a:lnTo>
                <a:lnTo>
                  <a:pt x="420" y="99"/>
                </a:lnTo>
                <a:lnTo>
                  <a:pt x="421" y="98"/>
                </a:lnTo>
                <a:lnTo>
                  <a:pt x="421" y="97"/>
                </a:lnTo>
                <a:lnTo>
                  <a:pt x="422" y="97"/>
                </a:lnTo>
                <a:lnTo>
                  <a:pt x="421" y="96"/>
                </a:lnTo>
                <a:lnTo>
                  <a:pt x="421" y="92"/>
                </a:lnTo>
                <a:lnTo>
                  <a:pt x="422" y="91"/>
                </a:lnTo>
                <a:lnTo>
                  <a:pt x="423" y="92"/>
                </a:lnTo>
                <a:lnTo>
                  <a:pt x="423" y="93"/>
                </a:lnTo>
                <a:lnTo>
                  <a:pt x="424" y="95"/>
                </a:lnTo>
                <a:lnTo>
                  <a:pt x="423" y="99"/>
                </a:lnTo>
                <a:lnTo>
                  <a:pt x="423" y="101"/>
                </a:lnTo>
                <a:lnTo>
                  <a:pt x="426" y="99"/>
                </a:lnTo>
                <a:lnTo>
                  <a:pt x="428" y="97"/>
                </a:lnTo>
                <a:lnTo>
                  <a:pt x="430" y="96"/>
                </a:lnTo>
                <a:lnTo>
                  <a:pt x="431" y="97"/>
                </a:lnTo>
                <a:lnTo>
                  <a:pt x="431" y="101"/>
                </a:lnTo>
                <a:lnTo>
                  <a:pt x="433" y="101"/>
                </a:lnTo>
                <a:lnTo>
                  <a:pt x="434" y="98"/>
                </a:lnTo>
                <a:lnTo>
                  <a:pt x="435" y="97"/>
                </a:lnTo>
                <a:lnTo>
                  <a:pt x="434" y="96"/>
                </a:lnTo>
                <a:lnTo>
                  <a:pt x="435" y="95"/>
                </a:lnTo>
                <a:lnTo>
                  <a:pt x="435" y="93"/>
                </a:lnTo>
                <a:lnTo>
                  <a:pt x="433" y="90"/>
                </a:lnTo>
                <a:lnTo>
                  <a:pt x="435" y="87"/>
                </a:lnTo>
                <a:lnTo>
                  <a:pt x="436" y="90"/>
                </a:lnTo>
                <a:lnTo>
                  <a:pt x="436" y="96"/>
                </a:lnTo>
                <a:lnTo>
                  <a:pt x="437" y="96"/>
                </a:lnTo>
                <a:lnTo>
                  <a:pt x="437" y="92"/>
                </a:lnTo>
                <a:lnTo>
                  <a:pt x="439" y="90"/>
                </a:lnTo>
                <a:lnTo>
                  <a:pt x="440" y="90"/>
                </a:lnTo>
                <a:lnTo>
                  <a:pt x="443" y="93"/>
                </a:lnTo>
                <a:lnTo>
                  <a:pt x="443" y="91"/>
                </a:lnTo>
                <a:lnTo>
                  <a:pt x="442" y="89"/>
                </a:lnTo>
                <a:lnTo>
                  <a:pt x="440" y="86"/>
                </a:lnTo>
                <a:lnTo>
                  <a:pt x="440" y="83"/>
                </a:lnTo>
                <a:lnTo>
                  <a:pt x="437" y="80"/>
                </a:lnTo>
                <a:lnTo>
                  <a:pt x="437" y="74"/>
                </a:lnTo>
                <a:lnTo>
                  <a:pt x="440" y="71"/>
                </a:lnTo>
                <a:close/>
                <a:moveTo>
                  <a:pt x="545" y="61"/>
                </a:moveTo>
                <a:lnTo>
                  <a:pt x="546" y="61"/>
                </a:lnTo>
                <a:lnTo>
                  <a:pt x="545" y="62"/>
                </a:lnTo>
                <a:lnTo>
                  <a:pt x="545" y="65"/>
                </a:lnTo>
                <a:lnTo>
                  <a:pt x="541" y="68"/>
                </a:lnTo>
                <a:lnTo>
                  <a:pt x="540" y="68"/>
                </a:lnTo>
                <a:lnTo>
                  <a:pt x="540" y="70"/>
                </a:lnTo>
                <a:lnTo>
                  <a:pt x="539" y="72"/>
                </a:lnTo>
                <a:lnTo>
                  <a:pt x="538" y="73"/>
                </a:lnTo>
                <a:lnTo>
                  <a:pt x="536" y="72"/>
                </a:lnTo>
                <a:lnTo>
                  <a:pt x="535" y="72"/>
                </a:lnTo>
                <a:lnTo>
                  <a:pt x="536" y="71"/>
                </a:lnTo>
                <a:lnTo>
                  <a:pt x="536" y="66"/>
                </a:lnTo>
                <a:lnTo>
                  <a:pt x="538" y="65"/>
                </a:lnTo>
                <a:lnTo>
                  <a:pt x="539" y="62"/>
                </a:lnTo>
                <a:lnTo>
                  <a:pt x="540" y="62"/>
                </a:lnTo>
                <a:lnTo>
                  <a:pt x="545" y="61"/>
                </a:lnTo>
                <a:close/>
                <a:moveTo>
                  <a:pt x="483" y="35"/>
                </a:moveTo>
                <a:lnTo>
                  <a:pt x="485" y="35"/>
                </a:lnTo>
                <a:lnTo>
                  <a:pt x="485" y="42"/>
                </a:lnTo>
                <a:lnTo>
                  <a:pt x="483" y="47"/>
                </a:lnTo>
                <a:lnTo>
                  <a:pt x="483" y="54"/>
                </a:lnTo>
                <a:lnTo>
                  <a:pt x="482" y="55"/>
                </a:lnTo>
                <a:lnTo>
                  <a:pt x="479" y="56"/>
                </a:lnTo>
                <a:lnTo>
                  <a:pt x="478" y="59"/>
                </a:lnTo>
                <a:lnTo>
                  <a:pt x="477" y="60"/>
                </a:lnTo>
                <a:lnTo>
                  <a:pt x="477" y="61"/>
                </a:lnTo>
                <a:lnTo>
                  <a:pt x="476" y="64"/>
                </a:lnTo>
                <a:lnTo>
                  <a:pt x="474" y="65"/>
                </a:lnTo>
                <a:lnTo>
                  <a:pt x="473" y="65"/>
                </a:lnTo>
                <a:lnTo>
                  <a:pt x="473" y="68"/>
                </a:lnTo>
                <a:lnTo>
                  <a:pt x="472" y="68"/>
                </a:lnTo>
                <a:lnTo>
                  <a:pt x="471" y="70"/>
                </a:lnTo>
                <a:lnTo>
                  <a:pt x="464" y="73"/>
                </a:lnTo>
                <a:lnTo>
                  <a:pt x="460" y="70"/>
                </a:lnTo>
                <a:lnTo>
                  <a:pt x="459" y="71"/>
                </a:lnTo>
                <a:lnTo>
                  <a:pt x="460" y="72"/>
                </a:lnTo>
                <a:lnTo>
                  <a:pt x="460" y="73"/>
                </a:lnTo>
                <a:lnTo>
                  <a:pt x="461" y="74"/>
                </a:lnTo>
                <a:lnTo>
                  <a:pt x="461" y="77"/>
                </a:lnTo>
                <a:lnTo>
                  <a:pt x="460" y="78"/>
                </a:lnTo>
                <a:lnTo>
                  <a:pt x="459" y="83"/>
                </a:lnTo>
                <a:lnTo>
                  <a:pt x="458" y="84"/>
                </a:lnTo>
                <a:lnTo>
                  <a:pt x="457" y="86"/>
                </a:lnTo>
                <a:lnTo>
                  <a:pt x="455" y="85"/>
                </a:lnTo>
                <a:lnTo>
                  <a:pt x="454" y="83"/>
                </a:lnTo>
                <a:lnTo>
                  <a:pt x="455" y="80"/>
                </a:lnTo>
                <a:lnTo>
                  <a:pt x="455" y="78"/>
                </a:lnTo>
                <a:lnTo>
                  <a:pt x="454" y="77"/>
                </a:lnTo>
                <a:lnTo>
                  <a:pt x="457" y="72"/>
                </a:lnTo>
                <a:lnTo>
                  <a:pt x="457" y="71"/>
                </a:lnTo>
                <a:lnTo>
                  <a:pt x="459" y="66"/>
                </a:lnTo>
                <a:lnTo>
                  <a:pt x="460" y="62"/>
                </a:lnTo>
                <a:lnTo>
                  <a:pt x="462" y="58"/>
                </a:lnTo>
                <a:lnTo>
                  <a:pt x="465" y="55"/>
                </a:lnTo>
                <a:lnTo>
                  <a:pt x="468" y="54"/>
                </a:lnTo>
                <a:lnTo>
                  <a:pt x="470" y="53"/>
                </a:lnTo>
                <a:lnTo>
                  <a:pt x="472" y="46"/>
                </a:lnTo>
                <a:lnTo>
                  <a:pt x="473" y="45"/>
                </a:lnTo>
                <a:lnTo>
                  <a:pt x="473" y="42"/>
                </a:lnTo>
                <a:lnTo>
                  <a:pt x="474" y="42"/>
                </a:lnTo>
                <a:lnTo>
                  <a:pt x="476" y="41"/>
                </a:lnTo>
                <a:lnTo>
                  <a:pt x="478" y="37"/>
                </a:lnTo>
                <a:lnTo>
                  <a:pt x="483" y="35"/>
                </a:lnTo>
                <a:close/>
                <a:moveTo>
                  <a:pt x="541" y="0"/>
                </a:moveTo>
                <a:lnTo>
                  <a:pt x="544" y="0"/>
                </a:lnTo>
                <a:lnTo>
                  <a:pt x="545" y="4"/>
                </a:lnTo>
                <a:lnTo>
                  <a:pt x="547" y="10"/>
                </a:lnTo>
                <a:lnTo>
                  <a:pt x="548" y="11"/>
                </a:lnTo>
                <a:lnTo>
                  <a:pt x="549" y="11"/>
                </a:lnTo>
                <a:lnTo>
                  <a:pt x="551" y="10"/>
                </a:lnTo>
                <a:lnTo>
                  <a:pt x="551" y="9"/>
                </a:lnTo>
                <a:lnTo>
                  <a:pt x="549" y="9"/>
                </a:lnTo>
                <a:lnTo>
                  <a:pt x="549" y="3"/>
                </a:lnTo>
                <a:lnTo>
                  <a:pt x="548" y="2"/>
                </a:lnTo>
                <a:lnTo>
                  <a:pt x="549" y="0"/>
                </a:lnTo>
                <a:lnTo>
                  <a:pt x="551" y="0"/>
                </a:lnTo>
                <a:lnTo>
                  <a:pt x="551" y="2"/>
                </a:lnTo>
                <a:lnTo>
                  <a:pt x="552" y="6"/>
                </a:lnTo>
                <a:lnTo>
                  <a:pt x="553" y="7"/>
                </a:lnTo>
                <a:lnTo>
                  <a:pt x="554" y="6"/>
                </a:lnTo>
                <a:lnTo>
                  <a:pt x="555" y="4"/>
                </a:lnTo>
                <a:lnTo>
                  <a:pt x="555" y="2"/>
                </a:lnTo>
                <a:lnTo>
                  <a:pt x="558" y="2"/>
                </a:lnTo>
                <a:lnTo>
                  <a:pt x="558" y="4"/>
                </a:lnTo>
                <a:lnTo>
                  <a:pt x="559" y="7"/>
                </a:lnTo>
                <a:lnTo>
                  <a:pt x="559" y="9"/>
                </a:lnTo>
                <a:lnTo>
                  <a:pt x="557" y="11"/>
                </a:lnTo>
                <a:lnTo>
                  <a:pt x="557" y="15"/>
                </a:lnTo>
                <a:lnTo>
                  <a:pt x="555" y="17"/>
                </a:lnTo>
                <a:lnTo>
                  <a:pt x="557" y="18"/>
                </a:lnTo>
                <a:lnTo>
                  <a:pt x="557" y="19"/>
                </a:lnTo>
                <a:lnTo>
                  <a:pt x="558" y="18"/>
                </a:lnTo>
                <a:lnTo>
                  <a:pt x="558" y="16"/>
                </a:lnTo>
                <a:lnTo>
                  <a:pt x="559" y="13"/>
                </a:lnTo>
                <a:lnTo>
                  <a:pt x="559" y="12"/>
                </a:lnTo>
                <a:lnTo>
                  <a:pt x="560" y="12"/>
                </a:lnTo>
                <a:lnTo>
                  <a:pt x="560" y="10"/>
                </a:lnTo>
                <a:lnTo>
                  <a:pt x="563" y="10"/>
                </a:lnTo>
                <a:lnTo>
                  <a:pt x="565" y="13"/>
                </a:lnTo>
                <a:lnTo>
                  <a:pt x="565" y="15"/>
                </a:lnTo>
                <a:lnTo>
                  <a:pt x="563" y="15"/>
                </a:lnTo>
                <a:lnTo>
                  <a:pt x="563" y="18"/>
                </a:lnTo>
                <a:lnTo>
                  <a:pt x="561" y="21"/>
                </a:lnTo>
                <a:lnTo>
                  <a:pt x="563" y="23"/>
                </a:lnTo>
                <a:lnTo>
                  <a:pt x="564" y="23"/>
                </a:lnTo>
                <a:lnTo>
                  <a:pt x="564" y="21"/>
                </a:lnTo>
                <a:lnTo>
                  <a:pt x="565" y="19"/>
                </a:lnTo>
                <a:lnTo>
                  <a:pt x="566" y="19"/>
                </a:lnTo>
                <a:lnTo>
                  <a:pt x="566" y="22"/>
                </a:lnTo>
                <a:lnTo>
                  <a:pt x="567" y="25"/>
                </a:lnTo>
                <a:lnTo>
                  <a:pt x="567" y="30"/>
                </a:lnTo>
                <a:lnTo>
                  <a:pt x="564" y="30"/>
                </a:lnTo>
                <a:lnTo>
                  <a:pt x="561" y="31"/>
                </a:lnTo>
                <a:lnTo>
                  <a:pt x="559" y="34"/>
                </a:lnTo>
                <a:lnTo>
                  <a:pt x="560" y="35"/>
                </a:lnTo>
                <a:lnTo>
                  <a:pt x="560" y="39"/>
                </a:lnTo>
                <a:lnTo>
                  <a:pt x="561" y="40"/>
                </a:lnTo>
                <a:lnTo>
                  <a:pt x="561" y="42"/>
                </a:lnTo>
                <a:lnTo>
                  <a:pt x="558" y="42"/>
                </a:lnTo>
                <a:lnTo>
                  <a:pt x="558" y="43"/>
                </a:lnTo>
                <a:lnTo>
                  <a:pt x="560" y="45"/>
                </a:lnTo>
                <a:lnTo>
                  <a:pt x="561" y="46"/>
                </a:lnTo>
                <a:lnTo>
                  <a:pt x="561" y="48"/>
                </a:lnTo>
                <a:lnTo>
                  <a:pt x="564" y="48"/>
                </a:lnTo>
                <a:lnTo>
                  <a:pt x="561" y="50"/>
                </a:lnTo>
                <a:lnTo>
                  <a:pt x="555" y="52"/>
                </a:lnTo>
                <a:lnTo>
                  <a:pt x="551" y="52"/>
                </a:lnTo>
                <a:lnTo>
                  <a:pt x="547" y="54"/>
                </a:lnTo>
                <a:lnTo>
                  <a:pt x="544" y="53"/>
                </a:lnTo>
                <a:lnTo>
                  <a:pt x="542" y="54"/>
                </a:lnTo>
                <a:lnTo>
                  <a:pt x="542" y="50"/>
                </a:lnTo>
                <a:lnTo>
                  <a:pt x="544" y="48"/>
                </a:lnTo>
                <a:lnTo>
                  <a:pt x="541" y="48"/>
                </a:lnTo>
                <a:lnTo>
                  <a:pt x="539" y="50"/>
                </a:lnTo>
                <a:lnTo>
                  <a:pt x="538" y="54"/>
                </a:lnTo>
                <a:lnTo>
                  <a:pt x="529" y="62"/>
                </a:lnTo>
                <a:lnTo>
                  <a:pt x="528" y="66"/>
                </a:lnTo>
                <a:lnTo>
                  <a:pt x="528" y="67"/>
                </a:lnTo>
                <a:lnTo>
                  <a:pt x="529" y="66"/>
                </a:lnTo>
                <a:lnTo>
                  <a:pt x="530" y="67"/>
                </a:lnTo>
                <a:lnTo>
                  <a:pt x="529" y="70"/>
                </a:lnTo>
                <a:lnTo>
                  <a:pt x="527" y="71"/>
                </a:lnTo>
                <a:lnTo>
                  <a:pt x="524" y="71"/>
                </a:lnTo>
                <a:lnTo>
                  <a:pt x="523" y="70"/>
                </a:lnTo>
                <a:lnTo>
                  <a:pt x="523" y="67"/>
                </a:lnTo>
                <a:lnTo>
                  <a:pt x="526" y="67"/>
                </a:lnTo>
                <a:lnTo>
                  <a:pt x="524" y="66"/>
                </a:lnTo>
                <a:lnTo>
                  <a:pt x="524" y="65"/>
                </a:lnTo>
                <a:lnTo>
                  <a:pt x="526" y="64"/>
                </a:lnTo>
                <a:lnTo>
                  <a:pt x="527" y="64"/>
                </a:lnTo>
                <a:lnTo>
                  <a:pt x="526" y="62"/>
                </a:lnTo>
                <a:lnTo>
                  <a:pt x="514" y="66"/>
                </a:lnTo>
                <a:lnTo>
                  <a:pt x="514" y="65"/>
                </a:lnTo>
                <a:lnTo>
                  <a:pt x="511" y="64"/>
                </a:lnTo>
                <a:lnTo>
                  <a:pt x="511" y="61"/>
                </a:lnTo>
                <a:lnTo>
                  <a:pt x="513" y="59"/>
                </a:lnTo>
                <a:lnTo>
                  <a:pt x="514" y="58"/>
                </a:lnTo>
                <a:lnTo>
                  <a:pt x="516" y="60"/>
                </a:lnTo>
                <a:lnTo>
                  <a:pt x="517" y="60"/>
                </a:lnTo>
                <a:lnTo>
                  <a:pt x="516" y="56"/>
                </a:lnTo>
                <a:lnTo>
                  <a:pt x="521" y="55"/>
                </a:lnTo>
                <a:lnTo>
                  <a:pt x="522" y="56"/>
                </a:lnTo>
                <a:lnTo>
                  <a:pt x="523" y="56"/>
                </a:lnTo>
                <a:lnTo>
                  <a:pt x="524" y="54"/>
                </a:lnTo>
                <a:lnTo>
                  <a:pt x="523" y="54"/>
                </a:lnTo>
                <a:lnTo>
                  <a:pt x="523" y="53"/>
                </a:lnTo>
                <a:lnTo>
                  <a:pt x="527" y="50"/>
                </a:lnTo>
                <a:lnTo>
                  <a:pt x="528" y="48"/>
                </a:lnTo>
                <a:lnTo>
                  <a:pt x="524" y="50"/>
                </a:lnTo>
                <a:lnTo>
                  <a:pt x="523" y="50"/>
                </a:lnTo>
                <a:lnTo>
                  <a:pt x="520" y="49"/>
                </a:lnTo>
                <a:lnTo>
                  <a:pt x="517" y="49"/>
                </a:lnTo>
                <a:lnTo>
                  <a:pt x="517" y="46"/>
                </a:lnTo>
                <a:lnTo>
                  <a:pt x="516" y="46"/>
                </a:lnTo>
                <a:lnTo>
                  <a:pt x="518" y="45"/>
                </a:lnTo>
                <a:lnTo>
                  <a:pt x="524" y="45"/>
                </a:lnTo>
                <a:lnTo>
                  <a:pt x="527" y="42"/>
                </a:lnTo>
                <a:lnTo>
                  <a:pt x="526" y="42"/>
                </a:lnTo>
                <a:lnTo>
                  <a:pt x="526" y="39"/>
                </a:lnTo>
                <a:lnTo>
                  <a:pt x="524" y="37"/>
                </a:lnTo>
                <a:lnTo>
                  <a:pt x="524" y="40"/>
                </a:lnTo>
                <a:lnTo>
                  <a:pt x="521" y="40"/>
                </a:lnTo>
                <a:lnTo>
                  <a:pt x="521" y="37"/>
                </a:lnTo>
                <a:lnTo>
                  <a:pt x="522" y="36"/>
                </a:lnTo>
                <a:lnTo>
                  <a:pt x="518" y="37"/>
                </a:lnTo>
                <a:lnTo>
                  <a:pt x="517" y="36"/>
                </a:lnTo>
                <a:lnTo>
                  <a:pt x="517" y="34"/>
                </a:lnTo>
                <a:lnTo>
                  <a:pt x="527" y="35"/>
                </a:lnTo>
                <a:lnTo>
                  <a:pt x="526" y="34"/>
                </a:lnTo>
                <a:lnTo>
                  <a:pt x="526" y="33"/>
                </a:lnTo>
                <a:lnTo>
                  <a:pt x="523" y="33"/>
                </a:lnTo>
                <a:lnTo>
                  <a:pt x="523" y="30"/>
                </a:lnTo>
                <a:lnTo>
                  <a:pt x="526" y="30"/>
                </a:lnTo>
                <a:lnTo>
                  <a:pt x="524" y="29"/>
                </a:lnTo>
                <a:lnTo>
                  <a:pt x="523" y="29"/>
                </a:lnTo>
                <a:lnTo>
                  <a:pt x="520" y="30"/>
                </a:lnTo>
                <a:lnTo>
                  <a:pt x="516" y="29"/>
                </a:lnTo>
                <a:lnTo>
                  <a:pt x="518" y="27"/>
                </a:lnTo>
                <a:lnTo>
                  <a:pt x="518" y="24"/>
                </a:lnTo>
                <a:lnTo>
                  <a:pt x="521" y="25"/>
                </a:lnTo>
                <a:lnTo>
                  <a:pt x="522" y="24"/>
                </a:lnTo>
                <a:lnTo>
                  <a:pt x="523" y="24"/>
                </a:lnTo>
                <a:lnTo>
                  <a:pt x="523" y="25"/>
                </a:lnTo>
                <a:lnTo>
                  <a:pt x="524" y="27"/>
                </a:lnTo>
                <a:lnTo>
                  <a:pt x="527" y="24"/>
                </a:lnTo>
                <a:lnTo>
                  <a:pt x="533" y="25"/>
                </a:lnTo>
                <a:lnTo>
                  <a:pt x="536" y="29"/>
                </a:lnTo>
                <a:lnTo>
                  <a:pt x="538" y="29"/>
                </a:lnTo>
                <a:lnTo>
                  <a:pt x="538" y="27"/>
                </a:lnTo>
                <a:lnTo>
                  <a:pt x="536" y="25"/>
                </a:lnTo>
                <a:lnTo>
                  <a:pt x="535" y="25"/>
                </a:lnTo>
                <a:lnTo>
                  <a:pt x="534" y="23"/>
                </a:lnTo>
                <a:lnTo>
                  <a:pt x="540" y="23"/>
                </a:lnTo>
                <a:lnTo>
                  <a:pt x="542" y="21"/>
                </a:lnTo>
                <a:lnTo>
                  <a:pt x="535" y="19"/>
                </a:lnTo>
                <a:lnTo>
                  <a:pt x="532" y="18"/>
                </a:lnTo>
                <a:lnTo>
                  <a:pt x="529" y="12"/>
                </a:lnTo>
                <a:lnTo>
                  <a:pt x="530" y="12"/>
                </a:lnTo>
                <a:lnTo>
                  <a:pt x="533" y="15"/>
                </a:lnTo>
                <a:lnTo>
                  <a:pt x="533" y="16"/>
                </a:lnTo>
                <a:lnTo>
                  <a:pt x="534" y="17"/>
                </a:lnTo>
                <a:lnTo>
                  <a:pt x="534" y="15"/>
                </a:lnTo>
                <a:lnTo>
                  <a:pt x="538" y="15"/>
                </a:lnTo>
                <a:lnTo>
                  <a:pt x="536" y="13"/>
                </a:lnTo>
                <a:lnTo>
                  <a:pt x="535" y="10"/>
                </a:lnTo>
                <a:lnTo>
                  <a:pt x="534" y="10"/>
                </a:lnTo>
                <a:lnTo>
                  <a:pt x="534" y="9"/>
                </a:lnTo>
                <a:lnTo>
                  <a:pt x="535" y="7"/>
                </a:lnTo>
                <a:lnTo>
                  <a:pt x="536" y="9"/>
                </a:lnTo>
                <a:lnTo>
                  <a:pt x="539" y="10"/>
                </a:lnTo>
                <a:lnTo>
                  <a:pt x="540" y="10"/>
                </a:lnTo>
                <a:lnTo>
                  <a:pt x="541" y="11"/>
                </a:lnTo>
                <a:lnTo>
                  <a:pt x="541" y="12"/>
                </a:lnTo>
                <a:lnTo>
                  <a:pt x="542" y="13"/>
                </a:lnTo>
                <a:lnTo>
                  <a:pt x="544" y="13"/>
                </a:lnTo>
                <a:lnTo>
                  <a:pt x="547" y="17"/>
                </a:lnTo>
                <a:lnTo>
                  <a:pt x="548" y="17"/>
                </a:lnTo>
                <a:lnTo>
                  <a:pt x="548" y="16"/>
                </a:lnTo>
                <a:lnTo>
                  <a:pt x="547" y="16"/>
                </a:lnTo>
                <a:lnTo>
                  <a:pt x="547" y="15"/>
                </a:lnTo>
                <a:lnTo>
                  <a:pt x="546" y="13"/>
                </a:lnTo>
                <a:lnTo>
                  <a:pt x="546" y="12"/>
                </a:lnTo>
                <a:lnTo>
                  <a:pt x="545" y="10"/>
                </a:lnTo>
                <a:lnTo>
                  <a:pt x="541" y="6"/>
                </a:lnTo>
                <a:lnTo>
                  <a:pt x="541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" name="Freeform 9">
            <a:extLst>
              <a:ext uri="{FF2B5EF4-FFF2-40B4-BE49-F238E27FC236}">
                <a16:creationId xmlns:a16="http://schemas.microsoft.com/office/drawing/2014/main" id="{71A410A2-520F-43F8-86B0-EDAB573798B0}"/>
              </a:ext>
            </a:extLst>
          </p:cNvPr>
          <p:cNvSpPr>
            <a:spLocks noEditPoints="1"/>
          </p:cNvSpPr>
          <p:nvPr/>
        </p:nvSpPr>
        <p:spPr bwMode="auto">
          <a:xfrm>
            <a:off x="1533075" y="1968962"/>
            <a:ext cx="1599630" cy="1912601"/>
          </a:xfrm>
          <a:custGeom>
            <a:avLst/>
            <a:gdLst/>
            <a:ahLst/>
            <a:cxnLst>
              <a:cxn ang="0">
                <a:pos x="1057" y="156"/>
              </a:cxn>
              <a:cxn ang="0">
                <a:pos x="605" y="137"/>
              </a:cxn>
              <a:cxn ang="0">
                <a:pos x="675" y="131"/>
              </a:cxn>
              <a:cxn ang="0">
                <a:pos x="635" y="136"/>
              </a:cxn>
              <a:cxn ang="0">
                <a:pos x="775" y="102"/>
              </a:cxn>
              <a:cxn ang="0">
                <a:pos x="791" y="50"/>
              </a:cxn>
              <a:cxn ang="0">
                <a:pos x="734" y="67"/>
              </a:cxn>
              <a:cxn ang="0">
                <a:pos x="772" y="44"/>
              </a:cxn>
              <a:cxn ang="0">
                <a:pos x="983" y="20"/>
              </a:cxn>
              <a:cxn ang="0">
                <a:pos x="980" y="112"/>
              </a:cxn>
              <a:cxn ang="0">
                <a:pos x="1068" y="63"/>
              </a:cxn>
              <a:cxn ang="0">
                <a:pos x="1045" y="154"/>
              </a:cxn>
              <a:cxn ang="0">
                <a:pos x="1067" y="199"/>
              </a:cxn>
              <a:cxn ang="0">
                <a:pos x="880" y="228"/>
              </a:cxn>
              <a:cxn ang="0">
                <a:pos x="578" y="322"/>
              </a:cxn>
              <a:cxn ang="0">
                <a:pos x="312" y="1014"/>
              </a:cxn>
              <a:cxn ang="0">
                <a:pos x="251" y="1223"/>
              </a:cxn>
              <a:cxn ang="0">
                <a:pos x="230" y="1202"/>
              </a:cxn>
              <a:cxn ang="0">
                <a:pos x="186" y="1259"/>
              </a:cxn>
              <a:cxn ang="0">
                <a:pos x="89" y="1315"/>
              </a:cxn>
              <a:cxn ang="0">
                <a:pos x="23" y="1259"/>
              </a:cxn>
              <a:cxn ang="0">
                <a:pos x="48" y="1206"/>
              </a:cxn>
              <a:cxn ang="0">
                <a:pos x="12" y="1204"/>
              </a:cxn>
              <a:cxn ang="0">
                <a:pos x="56" y="1145"/>
              </a:cxn>
              <a:cxn ang="0">
                <a:pos x="38" y="1155"/>
              </a:cxn>
              <a:cxn ang="0">
                <a:pos x="31" y="1117"/>
              </a:cxn>
              <a:cxn ang="0">
                <a:pos x="6" y="1085"/>
              </a:cxn>
              <a:cxn ang="0">
                <a:pos x="94" y="1074"/>
              </a:cxn>
              <a:cxn ang="0">
                <a:pos x="63" y="1061"/>
              </a:cxn>
              <a:cxn ang="0">
                <a:pos x="25" y="1031"/>
              </a:cxn>
              <a:cxn ang="0">
                <a:pos x="44" y="997"/>
              </a:cxn>
              <a:cxn ang="0">
                <a:pos x="12" y="972"/>
              </a:cxn>
              <a:cxn ang="0">
                <a:pos x="63" y="946"/>
              </a:cxn>
              <a:cxn ang="0">
                <a:pos x="83" y="924"/>
              </a:cxn>
              <a:cxn ang="0">
                <a:pos x="99" y="889"/>
              </a:cxn>
              <a:cxn ang="0">
                <a:pos x="156" y="893"/>
              </a:cxn>
              <a:cxn ang="0">
                <a:pos x="182" y="843"/>
              </a:cxn>
              <a:cxn ang="0">
                <a:pos x="250" y="829"/>
              </a:cxn>
              <a:cxn ang="0">
                <a:pos x="205" y="828"/>
              </a:cxn>
              <a:cxn ang="0">
                <a:pos x="232" y="768"/>
              </a:cxn>
              <a:cxn ang="0">
                <a:pos x="274" y="752"/>
              </a:cxn>
              <a:cxn ang="0">
                <a:pos x="267" y="713"/>
              </a:cxn>
              <a:cxn ang="0">
                <a:pos x="311" y="670"/>
              </a:cxn>
              <a:cxn ang="0">
                <a:pos x="332" y="598"/>
              </a:cxn>
              <a:cxn ang="0">
                <a:pos x="365" y="565"/>
              </a:cxn>
              <a:cxn ang="0">
                <a:pos x="348" y="527"/>
              </a:cxn>
              <a:cxn ang="0">
                <a:pos x="406" y="487"/>
              </a:cxn>
              <a:cxn ang="0">
                <a:pos x="425" y="457"/>
              </a:cxn>
              <a:cxn ang="0">
                <a:pos x="436" y="432"/>
              </a:cxn>
              <a:cxn ang="0">
                <a:pos x="423" y="398"/>
              </a:cxn>
              <a:cxn ang="0">
                <a:pos x="460" y="368"/>
              </a:cxn>
              <a:cxn ang="0">
                <a:pos x="479" y="365"/>
              </a:cxn>
              <a:cxn ang="0">
                <a:pos x="524" y="332"/>
              </a:cxn>
              <a:cxn ang="0">
                <a:pos x="529" y="284"/>
              </a:cxn>
              <a:cxn ang="0">
                <a:pos x="576" y="213"/>
              </a:cxn>
              <a:cxn ang="0">
                <a:pos x="616" y="216"/>
              </a:cxn>
              <a:cxn ang="0">
                <a:pos x="659" y="191"/>
              </a:cxn>
              <a:cxn ang="0">
                <a:pos x="714" y="142"/>
              </a:cxn>
              <a:cxn ang="0">
                <a:pos x="744" y="113"/>
              </a:cxn>
              <a:cxn ang="0">
                <a:pos x="819" y="86"/>
              </a:cxn>
              <a:cxn ang="0">
                <a:pos x="858" y="39"/>
              </a:cxn>
              <a:cxn ang="0">
                <a:pos x="851" y="128"/>
              </a:cxn>
              <a:cxn ang="0">
                <a:pos x="930" y="76"/>
              </a:cxn>
            </a:cxnLst>
            <a:rect l="0" t="0" r="r" b="b"/>
            <a:pathLst>
              <a:path w="1104" h="1320">
                <a:moveTo>
                  <a:pt x="580" y="158"/>
                </a:moveTo>
                <a:lnTo>
                  <a:pt x="582" y="158"/>
                </a:lnTo>
                <a:lnTo>
                  <a:pt x="584" y="159"/>
                </a:lnTo>
                <a:lnTo>
                  <a:pt x="585" y="159"/>
                </a:lnTo>
                <a:lnTo>
                  <a:pt x="584" y="158"/>
                </a:lnTo>
                <a:lnTo>
                  <a:pt x="586" y="158"/>
                </a:lnTo>
                <a:lnTo>
                  <a:pt x="586" y="159"/>
                </a:lnTo>
                <a:lnTo>
                  <a:pt x="588" y="160"/>
                </a:lnTo>
                <a:lnTo>
                  <a:pt x="588" y="161"/>
                </a:lnTo>
                <a:lnTo>
                  <a:pt x="586" y="162"/>
                </a:lnTo>
                <a:lnTo>
                  <a:pt x="589" y="162"/>
                </a:lnTo>
                <a:lnTo>
                  <a:pt x="594" y="164"/>
                </a:lnTo>
                <a:lnTo>
                  <a:pt x="594" y="165"/>
                </a:lnTo>
                <a:lnTo>
                  <a:pt x="596" y="167"/>
                </a:lnTo>
                <a:lnTo>
                  <a:pt x="596" y="172"/>
                </a:lnTo>
                <a:lnTo>
                  <a:pt x="595" y="174"/>
                </a:lnTo>
                <a:lnTo>
                  <a:pt x="592" y="176"/>
                </a:lnTo>
                <a:lnTo>
                  <a:pt x="590" y="180"/>
                </a:lnTo>
                <a:lnTo>
                  <a:pt x="589" y="182"/>
                </a:lnTo>
                <a:lnTo>
                  <a:pt x="586" y="182"/>
                </a:lnTo>
                <a:lnTo>
                  <a:pt x="584" y="184"/>
                </a:lnTo>
                <a:lnTo>
                  <a:pt x="584" y="188"/>
                </a:lnTo>
                <a:lnTo>
                  <a:pt x="586" y="190"/>
                </a:lnTo>
                <a:lnTo>
                  <a:pt x="586" y="194"/>
                </a:lnTo>
                <a:lnTo>
                  <a:pt x="584" y="196"/>
                </a:lnTo>
                <a:lnTo>
                  <a:pt x="583" y="196"/>
                </a:lnTo>
                <a:lnTo>
                  <a:pt x="578" y="195"/>
                </a:lnTo>
                <a:lnTo>
                  <a:pt x="576" y="197"/>
                </a:lnTo>
                <a:lnTo>
                  <a:pt x="572" y="197"/>
                </a:lnTo>
                <a:lnTo>
                  <a:pt x="563" y="201"/>
                </a:lnTo>
                <a:lnTo>
                  <a:pt x="560" y="201"/>
                </a:lnTo>
                <a:lnTo>
                  <a:pt x="555" y="196"/>
                </a:lnTo>
                <a:lnTo>
                  <a:pt x="553" y="196"/>
                </a:lnTo>
                <a:lnTo>
                  <a:pt x="551" y="194"/>
                </a:lnTo>
                <a:lnTo>
                  <a:pt x="553" y="191"/>
                </a:lnTo>
                <a:lnTo>
                  <a:pt x="553" y="189"/>
                </a:lnTo>
                <a:lnTo>
                  <a:pt x="554" y="190"/>
                </a:lnTo>
                <a:lnTo>
                  <a:pt x="555" y="190"/>
                </a:lnTo>
                <a:lnTo>
                  <a:pt x="555" y="189"/>
                </a:lnTo>
                <a:lnTo>
                  <a:pt x="557" y="189"/>
                </a:lnTo>
                <a:lnTo>
                  <a:pt x="557" y="188"/>
                </a:lnTo>
                <a:lnTo>
                  <a:pt x="561" y="189"/>
                </a:lnTo>
                <a:lnTo>
                  <a:pt x="564" y="191"/>
                </a:lnTo>
                <a:lnTo>
                  <a:pt x="564" y="192"/>
                </a:lnTo>
                <a:lnTo>
                  <a:pt x="563" y="192"/>
                </a:lnTo>
                <a:lnTo>
                  <a:pt x="563" y="194"/>
                </a:lnTo>
                <a:lnTo>
                  <a:pt x="564" y="194"/>
                </a:lnTo>
                <a:lnTo>
                  <a:pt x="564" y="192"/>
                </a:lnTo>
                <a:lnTo>
                  <a:pt x="565" y="191"/>
                </a:lnTo>
                <a:lnTo>
                  <a:pt x="565" y="190"/>
                </a:lnTo>
                <a:lnTo>
                  <a:pt x="566" y="190"/>
                </a:lnTo>
                <a:lnTo>
                  <a:pt x="567" y="189"/>
                </a:lnTo>
                <a:lnTo>
                  <a:pt x="567" y="188"/>
                </a:lnTo>
                <a:lnTo>
                  <a:pt x="568" y="188"/>
                </a:lnTo>
                <a:lnTo>
                  <a:pt x="567" y="188"/>
                </a:lnTo>
                <a:lnTo>
                  <a:pt x="565" y="189"/>
                </a:lnTo>
                <a:lnTo>
                  <a:pt x="564" y="189"/>
                </a:lnTo>
                <a:lnTo>
                  <a:pt x="564" y="188"/>
                </a:lnTo>
                <a:lnTo>
                  <a:pt x="559" y="179"/>
                </a:lnTo>
                <a:lnTo>
                  <a:pt x="560" y="178"/>
                </a:lnTo>
                <a:lnTo>
                  <a:pt x="565" y="179"/>
                </a:lnTo>
                <a:lnTo>
                  <a:pt x="572" y="179"/>
                </a:lnTo>
                <a:lnTo>
                  <a:pt x="577" y="182"/>
                </a:lnTo>
                <a:lnTo>
                  <a:pt x="578" y="180"/>
                </a:lnTo>
                <a:lnTo>
                  <a:pt x="577" y="179"/>
                </a:lnTo>
                <a:lnTo>
                  <a:pt x="567" y="178"/>
                </a:lnTo>
                <a:lnTo>
                  <a:pt x="566" y="177"/>
                </a:lnTo>
                <a:lnTo>
                  <a:pt x="566" y="174"/>
                </a:lnTo>
                <a:lnTo>
                  <a:pt x="565" y="172"/>
                </a:lnTo>
                <a:lnTo>
                  <a:pt x="565" y="171"/>
                </a:lnTo>
                <a:lnTo>
                  <a:pt x="566" y="168"/>
                </a:lnTo>
                <a:lnTo>
                  <a:pt x="568" y="168"/>
                </a:lnTo>
                <a:lnTo>
                  <a:pt x="570" y="171"/>
                </a:lnTo>
                <a:lnTo>
                  <a:pt x="572" y="171"/>
                </a:lnTo>
                <a:lnTo>
                  <a:pt x="572" y="174"/>
                </a:lnTo>
                <a:lnTo>
                  <a:pt x="573" y="173"/>
                </a:lnTo>
                <a:lnTo>
                  <a:pt x="573" y="172"/>
                </a:lnTo>
                <a:lnTo>
                  <a:pt x="574" y="171"/>
                </a:lnTo>
                <a:lnTo>
                  <a:pt x="574" y="168"/>
                </a:lnTo>
                <a:lnTo>
                  <a:pt x="576" y="167"/>
                </a:lnTo>
                <a:lnTo>
                  <a:pt x="579" y="167"/>
                </a:lnTo>
                <a:lnTo>
                  <a:pt x="578" y="173"/>
                </a:lnTo>
                <a:lnTo>
                  <a:pt x="579" y="178"/>
                </a:lnTo>
                <a:lnTo>
                  <a:pt x="582" y="182"/>
                </a:lnTo>
                <a:lnTo>
                  <a:pt x="584" y="182"/>
                </a:lnTo>
                <a:lnTo>
                  <a:pt x="583" y="180"/>
                </a:lnTo>
                <a:lnTo>
                  <a:pt x="583" y="174"/>
                </a:lnTo>
                <a:lnTo>
                  <a:pt x="585" y="170"/>
                </a:lnTo>
                <a:lnTo>
                  <a:pt x="584" y="168"/>
                </a:lnTo>
                <a:lnTo>
                  <a:pt x="580" y="164"/>
                </a:lnTo>
                <a:lnTo>
                  <a:pt x="580" y="162"/>
                </a:lnTo>
                <a:lnTo>
                  <a:pt x="579" y="160"/>
                </a:lnTo>
                <a:lnTo>
                  <a:pt x="580" y="158"/>
                </a:lnTo>
                <a:close/>
                <a:moveTo>
                  <a:pt x="1051" y="154"/>
                </a:moveTo>
                <a:lnTo>
                  <a:pt x="1052" y="154"/>
                </a:lnTo>
                <a:lnTo>
                  <a:pt x="1056" y="155"/>
                </a:lnTo>
                <a:lnTo>
                  <a:pt x="1057" y="156"/>
                </a:lnTo>
                <a:lnTo>
                  <a:pt x="1057" y="160"/>
                </a:lnTo>
                <a:lnTo>
                  <a:pt x="1058" y="160"/>
                </a:lnTo>
                <a:lnTo>
                  <a:pt x="1058" y="164"/>
                </a:lnTo>
                <a:lnTo>
                  <a:pt x="1062" y="164"/>
                </a:lnTo>
                <a:lnTo>
                  <a:pt x="1062" y="166"/>
                </a:lnTo>
                <a:lnTo>
                  <a:pt x="1055" y="170"/>
                </a:lnTo>
                <a:lnTo>
                  <a:pt x="1054" y="171"/>
                </a:lnTo>
                <a:lnTo>
                  <a:pt x="1051" y="168"/>
                </a:lnTo>
                <a:lnTo>
                  <a:pt x="1050" y="170"/>
                </a:lnTo>
                <a:lnTo>
                  <a:pt x="1051" y="171"/>
                </a:lnTo>
                <a:lnTo>
                  <a:pt x="1051" y="172"/>
                </a:lnTo>
                <a:lnTo>
                  <a:pt x="1049" y="173"/>
                </a:lnTo>
                <a:lnTo>
                  <a:pt x="1045" y="172"/>
                </a:lnTo>
                <a:lnTo>
                  <a:pt x="1049" y="165"/>
                </a:lnTo>
                <a:lnTo>
                  <a:pt x="1050" y="164"/>
                </a:lnTo>
                <a:lnTo>
                  <a:pt x="1050" y="156"/>
                </a:lnTo>
                <a:lnTo>
                  <a:pt x="1051" y="154"/>
                </a:lnTo>
                <a:close/>
                <a:moveTo>
                  <a:pt x="666" y="154"/>
                </a:moveTo>
                <a:lnTo>
                  <a:pt x="666" y="156"/>
                </a:lnTo>
                <a:lnTo>
                  <a:pt x="665" y="156"/>
                </a:lnTo>
                <a:lnTo>
                  <a:pt x="665" y="160"/>
                </a:lnTo>
                <a:lnTo>
                  <a:pt x="666" y="164"/>
                </a:lnTo>
                <a:lnTo>
                  <a:pt x="665" y="166"/>
                </a:lnTo>
                <a:lnTo>
                  <a:pt x="664" y="167"/>
                </a:lnTo>
                <a:lnTo>
                  <a:pt x="661" y="168"/>
                </a:lnTo>
                <a:lnTo>
                  <a:pt x="659" y="168"/>
                </a:lnTo>
                <a:lnTo>
                  <a:pt x="658" y="166"/>
                </a:lnTo>
                <a:lnTo>
                  <a:pt x="658" y="161"/>
                </a:lnTo>
                <a:lnTo>
                  <a:pt x="659" y="159"/>
                </a:lnTo>
                <a:lnTo>
                  <a:pt x="659" y="156"/>
                </a:lnTo>
                <a:lnTo>
                  <a:pt x="660" y="155"/>
                </a:lnTo>
                <a:lnTo>
                  <a:pt x="661" y="155"/>
                </a:lnTo>
                <a:lnTo>
                  <a:pt x="666" y="154"/>
                </a:lnTo>
                <a:close/>
                <a:moveTo>
                  <a:pt x="706" y="149"/>
                </a:moveTo>
                <a:lnTo>
                  <a:pt x="709" y="149"/>
                </a:lnTo>
                <a:lnTo>
                  <a:pt x="709" y="151"/>
                </a:lnTo>
                <a:lnTo>
                  <a:pt x="708" y="152"/>
                </a:lnTo>
                <a:lnTo>
                  <a:pt x="707" y="152"/>
                </a:lnTo>
                <a:lnTo>
                  <a:pt x="707" y="151"/>
                </a:lnTo>
                <a:lnTo>
                  <a:pt x="706" y="149"/>
                </a:lnTo>
                <a:close/>
                <a:moveTo>
                  <a:pt x="626" y="143"/>
                </a:moveTo>
                <a:lnTo>
                  <a:pt x="628" y="143"/>
                </a:lnTo>
                <a:lnTo>
                  <a:pt x="629" y="145"/>
                </a:lnTo>
                <a:lnTo>
                  <a:pt x="629" y="149"/>
                </a:lnTo>
                <a:lnTo>
                  <a:pt x="627" y="153"/>
                </a:lnTo>
                <a:lnTo>
                  <a:pt x="624" y="160"/>
                </a:lnTo>
                <a:lnTo>
                  <a:pt x="622" y="161"/>
                </a:lnTo>
                <a:lnTo>
                  <a:pt x="614" y="164"/>
                </a:lnTo>
                <a:lnTo>
                  <a:pt x="611" y="162"/>
                </a:lnTo>
                <a:lnTo>
                  <a:pt x="613" y="161"/>
                </a:lnTo>
                <a:lnTo>
                  <a:pt x="615" y="156"/>
                </a:lnTo>
                <a:lnTo>
                  <a:pt x="616" y="153"/>
                </a:lnTo>
                <a:lnTo>
                  <a:pt x="619" y="152"/>
                </a:lnTo>
                <a:lnTo>
                  <a:pt x="623" y="148"/>
                </a:lnTo>
                <a:lnTo>
                  <a:pt x="624" y="146"/>
                </a:lnTo>
                <a:lnTo>
                  <a:pt x="626" y="145"/>
                </a:lnTo>
                <a:lnTo>
                  <a:pt x="626" y="143"/>
                </a:lnTo>
                <a:close/>
                <a:moveTo>
                  <a:pt x="634" y="140"/>
                </a:moveTo>
                <a:lnTo>
                  <a:pt x="635" y="140"/>
                </a:lnTo>
                <a:lnTo>
                  <a:pt x="635" y="141"/>
                </a:lnTo>
                <a:lnTo>
                  <a:pt x="634" y="142"/>
                </a:lnTo>
                <a:lnTo>
                  <a:pt x="632" y="142"/>
                </a:lnTo>
                <a:lnTo>
                  <a:pt x="632" y="141"/>
                </a:lnTo>
                <a:lnTo>
                  <a:pt x="633" y="141"/>
                </a:lnTo>
                <a:lnTo>
                  <a:pt x="634" y="140"/>
                </a:lnTo>
                <a:close/>
                <a:moveTo>
                  <a:pt x="672" y="137"/>
                </a:moveTo>
                <a:lnTo>
                  <a:pt x="673" y="139"/>
                </a:lnTo>
                <a:lnTo>
                  <a:pt x="676" y="142"/>
                </a:lnTo>
                <a:lnTo>
                  <a:pt x="676" y="143"/>
                </a:lnTo>
                <a:lnTo>
                  <a:pt x="682" y="142"/>
                </a:lnTo>
                <a:lnTo>
                  <a:pt x="677" y="146"/>
                </a:lnTo>
                <a:lnTo>
                  <a:pt x="677" y="148"/>
                </a:lnTo>
                <a:lnTo>
                  <a:pt x="676" y="149"/>
                </a:lnTo>
                <a:lnTo>
                  <a:pt x="673" y="151"/>
                </a:lnTo>
                <a:lnTo>
                  <a:pt x="671" y="151"/>
                </a:lnTo>
                <a:lnTo>
                  <a:pt x="670" y="149"/>
                </a:lnTo>
                <a:lnTo>
                  <a:pt x="667" y="145"/>
                </a:lnTo>
                <a:lnTo>
                  <a:pt x="667" y="143"/>
                </a:lnTo>
                <a:lnTo>
                  <a:pt x="670" y="139"/>
                </a:lnTo>
                <a:lnTo>
                  <a:pt x="671" y="139"/>
                </a:lnTo>
                <a:lnTo>
                  <a:pt x="672" y="137"/>
                </a:lnTo>
                <a:close/>
                <a:moveTo>
                  <a:pt x="679" y="135"/>
                </a:moveTo>
                <a:lnTo>
                  <a:pt x="679" y="136"/>
                </a:lnTo>
                <a:lnTo>
                  <a:pt x="681" y="139"/>
                </a:lnTo>
                <a:lnTo>
                  <a:pt x="679" y="140"/>
                </a:lnTo>
                <a:lnTo>
                  <a:pt x="676" y="141"/>
                </a:lnTo>
                <a:lnTo>
                  <a:pt x="677" y="139"/>
                </a:lnTo>
                <a:lnTo>
                  <a:pt x="678" y="137"/>
                </a:lnTo>
                <a:lnTo>
                  <a:pt x="679" y="135"/>
                </a:lnTo>
                <a:close/>
                <a:moveTo>
                  <a:pt x="602" y="131"/>
                </a:moveTo>
                <a:lnTo>
                  <a:pt x="603" y="131"/>
                </a:lnTo>
                <a:lnTo>
                  <a:pt x="603" y="135"/>
                </a:lnTo>
                <a:lnTo>
                  <a:pt x="604" y="135"/>
                </a:lnTo>
                <a:lnTo>
                  <a:pt x="607" y="133"/>
                </a:lnTo>
                <a:lnTo>
                  <a:pt x="608" y="134"/>
                </a:lnTo>
                <a:lnTo>
                  <a:pt x="607" y="135"/>
                </a:lnTo>
                <a:lnTo>
                  <a:pt x="605" y="137"/>
                </a:lnTo>
                <a:lnTo>
                  <a:pt x="605" y="140"/>
                </a:lnTo>
                <a:lnTo>
                  <a:pt x="608" y="141"/>
                </a:lnTo>
                <a:lnTo>
                  <a:pt x="610" y="145"/>
                </a:lnTo>
                <a:lnTo>
                  <a:pt x="611" y="145"/>
                </a:lnTo>
                <a:lnTo>
                  <a:pt x="611" y="142"/>
                </a:lnTo>
                <a:lnTo>
                  <a:pt x="614" y="137"/>
                </a:lnTo>
                <a:lnTo>
                  <a:pt x="616" y="136"/>
                </a:lnTo>
                <a:lnTo>
                  <a:pt x="617" y="136"/>
                </a:lnTo>
                <a:lnTo>
                  <a:pt x="617" y="137"/>
                </a:lnTo>
                <a:lnTo>
                  <a:pt x="619" y="140"/>
                </a:lnTo>
                <a:lnTo>
                  <a:pt x="619" y="141"/>
                </a:lnTo>
                <a:lnTo>
                  <a:pt x="617" y="142"/>
                </a:lnTo>
                <a:lnTo>
                  <a:pt x="617" y="143"/>
                </a:lnTo>
                <a:lnTo>
                  <a:pt x="619" y="145"/>
                </a:lnTo>
                <a:lnTo>
                  <a:pt x="619" y="143"/>
                </a:lnTo>
                <a:lnTo>
                  <a:pt x="620" y="142"/>
                </a:lnTo>
                <a:lnTo>
                  <a:pt x="620" y="141"/>
                </a:lnTo>
                <a:lnTo>
                  <a:pt x="622" y="141"/>
                </a:lnTo>
                <a:lnTo>
                  <a:pt x="622" y="145"/>
                </a:lnTo>
                <a:lnTo>
                  <a:pt x="621" y="147"/>
                </a:lnTo>
                <a:lnTo>
                  <a:pt x="616" y="149"/>
                </a:lnTo>
                <a:lnTo>
                  <a:pt x="616" y="152"/>
                </a:lnTo>
                <a:lnTo>
                  <a:pt x="615" y="153"/>
                </a:lnTo>
                <a:lnTo>
                  <a:pt x="615" y="155"/>
                </a:lnTo>
                <a:lnTo>
                  <a:pt x="614" y="155"/>
                </a:lnTo>
                <a:lnTo>
                  <a:pt x="614" y="158"/>
                </a:lnTo>
                <a:lnTo>
                  <a:pt x="611" y="159"/>
                </a:lnTo>
                <a:lnTo>
                  <a:pt x="611" y="162"/>
                </a:lnTo>
                <a:lnTo>
                  <a:pt x="608" y="166"/>
                </a:lnTo>
                <a:lnTo>
                  <a:pt x="598" y="170"/>
                </a:lnTo>
                <a:lnTo>
                  <a:pt x="597" y="167"/>
                </a:lnTo>
                <a:lnTo>
                  <a:pt x="596" y="164"/>
                </a:lnTo>
                <a:lnTo>
                  <a:pt x="586" y="155"/>
                </a:lnTo>
                <a:lnTo>
                  <a:pt x="584" y="154"/>
                </a:lnTo>
                <a:lnTo>
                  <a:pt x="582" y="149"/>
                </a:lnTo>
                <a:lnTo>
                  <a:pt x="584" y="149"/>
                </a:lnTo>
                <a:lnTo>
                  <a:pt x="588" y="151"/>
                </a:lnTo>
                <a:lnTo>
                  <a:pt x="589" y="151"/>
                </a:lnTo>
                <a:lnTo>
                  <a:pt x="590" y="148"/>
                </a:lnTo>
                <a:lnTo>
                  <a:pt x="591" y="147"/>
                </a:lnTo>
                <a:lnTo>
                  <a:pt x="589" y="147"/>
                </a:lnTo>
                <a:lnTo>
                  <a:pt x="588" y="146"/>
                </a:lnTo>
                <a:lnTo>
                  <a:pt x="586" y="143"/>
                </a:lnTo>
                <a:lnTo>
                  <a:pt x="588" y="141"/>
                </a:lnTo>
                <a:lnTo>
                  <a:pt x="589" y="141"/>
                </a:lnTo>
                <a:lnTo>
                  <a:pt x="591" y="140"/>
                </a:lnTo>
                <a:lnTo>
                  <a:pt x="594" y="141"/>
                </a:lnTo>
                <a:lnTo>
                  <a:pt x="594" y="140"/>
                </a:lnTo>
                <a:lnTo>
                  <a:pt x="595" y="139"/>
                </a:lnTo>
                <a:lnTo>
                  <a:pt x="596" y="139"/>
                </a:lnTo>
                <a:lnTo>
                  <a:pt x="596" y="141"/>
                </a:lnTo>
                <a:lnTo>
                  <a:pt x="597" y="141"/>
                </a:lnTo>
                <a:lnTo>
                  <a:pt x="598" y="140"/>
                </a:lnTo>
                <a:lnTo>
                  <a:pt x="598" y="139"/>
                </a:lnTo>
                <a:lnTo>
                  <a:pt x="596" y="136"/>
                </a:lnTo>
                <a:lnTo>
                  <a:pt x="596" y="134"/>
                </a:lnTo>
                <a:lnTo>
                  <a:pt x="597" y="135"/>
                </a:lnTo>
                <a:lnTo>
                  <a:pt x="598" y="135"/>
                </a:lnTo>
                <a:lnTo>
                  <a:pt x="598" y="134"/>
                </a:lnTo>
                <a:lnTo>
                  <a:pt x="602" y="131"/>
                </a:lnTo>
                <a:close/>
                <a:moveTo>
                  <a:pt x="582" y="129"/>
                </a:moveTo>
                <a:lnTo>
                  <a:pt x="583" y="129"/>
                </a:lnTo>
                <a:lnTo>
                  <a:pt x="584" y="130"/>
                </a:lnTo>
                <a:lnTo>
                  <a:pt x="585" y="133"/>
                </a:lnTo>
                <a:lnTo>
                  <a:pt x="585" y="136"/>
                </a:lnTo>
                <a:lnTo>
                  <a:pt x="586" y="135"/>
                </a:lnTo>
                <a:lnTo>
                  <a:pt x="586" y="134"/>
                </a:lnTo>
                <a:lnTo>
                  <a:pt x="589" y="130"/>
                </a:lnTo>
                <a:lnTo>
                  <a:pt x="590" y="130"/>
                </a:lnTo>
                <a:lnTo>
                  <a:pt x="590" y="131"/>
                </a:lnTo>
                <a:lnTo>
                  <a:pt x="592" y="133"/>
                </a:lnTo>
                <a:lnTo>
                  <a:pt x="592" y="135"/>
                </a:lnTo>
                <a:lnTo>
                  <a:pt x="590" y="137"/>
                </a:lnTo>
                <a:lnTo>
                  <a:pt x="586" y="139"/>
                </a:lnTo>
                <a:lnTo>
                  <a:pt x="584" y="141"/>
                </a:lnTo>
                <a:lnTo>
                  <a:pt x="583" y="143"/>
                </a:lnTo>
                <a:lnTo>
                  <a:pt x="580" y="146"/>
                </a:lnTo>
                <a:lnTo>
                  <a:pt x="580" y="145"/>
                </a:lnTo>
                <a:lnTo>
                  <a:pt x="579" y="143"/>
                </a:lnTo>
                <a:lnTo>
                  <a:pt x="579" y="142"/>
                </a:lnTo>
                <a:lnTo>
                  <a:pt x="580" y="141"/>
                </a:lnTo>
                <a:lnTo>
                  <a:pt x="580" y="140"/>
                </a:lnTo>
                <a:lnTo>
                  <a:pt x="579" y="140"/>
                </a:lnTo>
                <a:lnTo>
                  <a:pt x="579" y="137"/>
                </a:lnTo>
                <a:lnTo>
                  <a:pt x="580" y="135"/>
                </a:lnTo>
                <a:lnTo>
                  <a:pt x="580" y="134"/>
                </a:lnTo>
                <a:lnTo>
                  <a:pt x="582" y="133"/>
                </a:lnTo>
                <a:lnTo>
                  <a:pt x="582" y="129"/>
                </a:lnTo>
                <a:close/>
                <a:moveTo>
                  <a:pt x="851" y="127"/>
                </a:moveTo>
                <a:lnTo>
                  <a:pt x="852" y="127"/>
                </a:lnTo>
                <a:lnTo>
                  <a:pt x="852" y="128"/>
                </a:lnTo>
                <a:lnTo>
                  <a:pt x="851" y="128"/>
                </a:lnTo>
                <a:lnTo>
                  <a:pt x="851" y="127"/>
                </a:lnTo>
                <a:close/>
                <a:moveTo>
                  <a:pt x="671" y="124"/>
                </a:moveTo>
                <a:lnTo>
                  <a:pt x="672" y="125"/>
                </a:lnTo>
                <a:lnTo>
                  <a:pt x="675" y="130"/>
                </a:lnTo>
                <a:lnTo>
                  <a:pt x="675" y="131"/>
                </a:lnTo>
                <a:lnTo>
                  <a:pt x="673" y="134"/>
                </a:lnTo>
                <a:lnTo>
                  <a:pt x="672" y="135"/>
                </a:lnTo>
                <a:lnTo>
                  <a:pt x="671" y="134"/>
                </a:lnTo>
                <a:lnTo>
                  <a:pt x="670" y="134"/>
                </a:lnTo>
                <a:lnTo>
                  <a:pt x="670" y="125"/>
                </a:lnTo>
                <a:lnTo>
                  <a:pt x="671" y="124"/>
                </a:lnTo>
                <a:close/>
                <a:moveTo>
                  <a:pt x="610" y="123"/>
                </a:moveTo>
                <a:lnTo>
                  <a:pt x="613" y="124"/>
                </a:lnTo>
                <a:lnTo>
                  <a:pt x="617" y="128"/>
                </a:lnTo>
                <a:lnTo>
                  <a:pt x="617" y="131"/>
                </a:lnTo>
                <a:lnTo>
                  <a:pt x="614" y="131"/>
                </a:lnTo>
                <a:lnTo>
                  <a:pt x="609" y="129"/>
                </a:lnTo>
                <a:lnTo>
                  <a:pt x="608" y="129"/>
                </a:lnTo>
                <a:lnTo>
                  <a:pt x="608" y="125"/>
                </a:lnTo>
                <a:lnTo>
                  <a:pt x="610" y="123"/>
                </a:lnTo>
                <a:close/>
                <a:moveTo>
                  <a:pt x="660" y="113"/>
                </a:moveTo>
                <a:lnTo>
                  <a:pt x="666" y="113"/>
                </a:lnTo>
                <a:lnTo>
                  <a:pt x="669" y="115"/>
                </a:lnTo>
                <a:lnTo>
                  <a:pt x="671" y="117"/>
                </a:lnTo>
                <a:lnTo>
                  <a:pt x="671" y="119"/>
                </a:lnTo>
                <a:lnTo>
                  <a:pt x="669" y="124"/>
                </a:lnTo>
                <a:lnTo>
                  <a:pt x="669" y="131"/>
                </a:lnTo>
                <a:lnTo>
                  <a:pt x="670" y="134"/>
                </a:lnTo>
                <a:lnTo>
                  <a:pt x="670" y="135"/>
                </a:lnTo>
                <a:lnTo>
                  <a:pt x="669" y="136"/>
                </a:lnTo>
                <a:lnTo>
                  <a:pt x="666" y="136"/>
                </a:lnTo>
                <a:lnTo>
                  <a:pt x="665" y="135"/>
                </a:lnTo>
                <a:lnTo>
                  <a:pt x="664" y="135"/>
                </a:lnTo>
                <a:lnTo>
                  <a:pt x="664" y="136"/>
                </a:lnTo>
                <a:lnTo>
                  <a:pt x="663" y="137"/>
                </a:lnTo>
                <a:lnTo>
                  <a:pt x="660" y="137"/>
                </a:lnTo>
                <a:lnTo>
                  <a:pt x="661" y="136"/>
                </a:lnTo>
                <a:lnTo>
                  <a:pt x="661" y="131"/>
                </a:lnTo>
                <a:lnTo>
                  <a:pt x="660" y="130"/>
                </a:lnTo>
                <a:lnTo>
                  <a:pt x="659" y="130"/>
                </a:lnTo>
                <a:lnTo>
                  <a:pt x="659" y="134"/>
                </a:lnTo>
                <a:lnTo>
                  <a:pt x="658" y="134"/>
                </a:lnTo>
                <a:lnTo>
                  <a:pt x="658" y="136"/>
                </a:lnTo>
                <a:lnTo>
                  <a:pt x="657" y="136"/>
                </a:lnTo>
                <a:lnTo>
                  <a:pt x="655" y="135"/>
                </a:lnTo>
                <a:lnTo>
                  <a:pt x="654" y="135"/>
                </a:lnTo>
                <a:lnTo>
                  <a:pt x="653" y="134"/>
                </a:lnTo>
                <a:lnTo>
                  <a:pt x="653" y="133"/>
                </a:lnTo>
                <a:lnTo>
                  <a:pt x="652" y="131"/>
                </a:lnTo>
                <a:lnTo>
                  <a:pt x="652" y="128"/>
                </a:lnTo>
                <a:lnTo>
                  <a:pt x="653" y="124"/>
                </a:lnTo>
                <a:lnTo>
                  <a:pt x="653" y="122"/>
                </a:lnTo>
                <a:lnTo>
                  <a:pt x="655" y="119"/>
                </a:lnTo>
                <a:lnTo>
                  <a:pt x="658" y="118"/>
                </a:lnTo>
                <a:lnTo>
                  <a:pt x="659" y="117"/>
                </a:lnTo>
                <a:lnTo>
                  <a:pt x="659" y="115"/>
                </a:lnTo>
                <a:lnTo>
                  <a:pt x="660" y="113"/>
                </a:lnTo>
                <a:close/>
                <a:moveTo>
                  <a:pt x="601" y="111"/>
                </a:moveTo>
                <a:lnTo>
                  <a:pt x="602" y="112"/>
                </a:lnTo>
                <a:lnTo>
                  <a:pt x="603" y="112"/>
                </a:lnTo>
                <a:lnTo>
                  <a:pt x="603" y="117"/>
                </a:lnTo>
                <a:lnTo>
                  <a:pt x="604" y="118"/>
                </a:lnTo>
                <a:lnTo>
                  <a:pt x="604" y="122"/>
                </a:lnTo>
                <a:lnTo>
                  <a:pt x="603" y="123"/>
                </a:lnTo>
                <a:lnTo>
                  <a:pt x="603" y="127"/>
                </a:lnTo>
                <a:lnTo>
                  <a:pt x="599" y="130"/>
                </a:lnTo>
                <a:lnTo>
                  <a:pt x="595" y="125"/>
                </a:lnTo>
                <a:lnTo>
                  <a:pt x="594" y="125"/>
                </a:lnTo>
                <a:lnTo>
                  <a:pt x="594" y="124"/>
                </a:lnTo>
                <a:lnTo>
                  <a:pt x="596" y="122"/>
                </a:lnTo>
                <a:lnTo>
                  <a:pt x="597" y="123"/>
                </a:lnTo>
                <a:lnTo>
                  <a:pt x="597" y="124"/>
                </a:lnTo>
                <a:lnTo>
                  <a:pt x="598" y="124"/>
                </a:lnTo>
                <a:lnTo>
                  <a:pt x="598" y="119"/>
                </a:lnTo>
                <a:lnTo>
                  <a:pt x="599" y="119"/>
                </a:lnTo>
                <a:lnTo>
                  <a:pt x="599" y="118"/>
                </a:lnTo>
                <a:lnTo>
                  <a:pt x="598" y="117"/>
                </a:lnTo>
                <a:lnTo>
                  <a:pt x="598" y="116"/>
                </a:lnTo>
                <a:lnTo>
                  <a:pt x="597" y="115"/>
                </a:lnTo>
                <a:lnTo>
                  <a:pt x="597" y="113"/>
                </a:lnTo>
                <a:lnTo>
                  <a:pt x="601" y="113"/>
                </a:lnTo>
                <a:lnTo>
                  <a:pt x="601" y="111"/>
                </a:lnTo>
                <a:close/>
                <a:moveTo>
                  <a:pt x="622" y="108"/>
                </a:moveTo>
                <a:lnTo>
                  <a:pt x="623" y="110"/>
                </a:lnTo>
                <a:lnTo>
                  <a:pt x="623" y="113"/>
                </a:lnTo>
                <a:lnTo>
                  <a:pt x="627" y="117"/>
                </a:lnTo>
                <a:lnTo>
                  <a:pt x="627" y="121"/>
                </a:lnTo>
                <a:lnTo>
                  <a:pt x="628" y="122"/>
                </a:lnTo>
                <a:lnTo>
                  <a:pt x="629" y="122"/>
                </a:lnTo>
                <a:lnTo>
                  <a:pt x="629" y="121"/>
                </a:lnTo>
                <a:lnTo>
                  <a:pt x="630" y="117"/>
                </a:lnTo>
                <a:lnTo>
                  <a:pt x="632" y="117"/>
                </a:lnTo>
                <a:lnTo>
                  <a:pt x="633" y="119"/>
                </a:lnTo>
                <a:lnTo>
                  <a:pt x="633" y="123"/>
                </a:lnTo>
                <a:lnTo>
                  <a:pt x="635" y="125"/>
                </a:lnTo>
                <a:lnTo>
                  <a:pt x="640" y="129"/>
                </a:lnTo>
                <a:lnTo>
                  <a:pt x="642" y="129"/>
                </a:lnTo>
                <a:lnTo>
                  <a:pt x="638" y="130"/>
                </a:lnTo>
                <a:lnTo>
                  <a:pt x="636" y="131"/>
                </a:lnTo>
                <a:lnTo>
                  <a:pt x="638" y="133"/>
                </a:lnTo>
                <a:lnTo>
                  <a:pt x="638" y="134"/>
                </a:lnTo>
                <a:lnTo>
                  <a:pt x="635" y="136"/>
                </a:lnTo>
                <a:lnTo>
                  <a:pt x="628" y="136"/>
                </a:lnTo>
                <a:lnTo>
                  <a:pt x="627" y="135"/>
                </a:lnTo>
                <a:lnTo>
                  <a:pt x="626" y="133"/>
                </a:lnTo>
                <a:lnTo>
                  <a:pt x="626" y="127"/>
                </a:lnTo>
                <a:lnTo>
                  <a:pt x="624" y="125"/>
                </a:lnTo>
                <a:lnTo>
                  <a:pt x="624" y="124"/>
                </a:lnTo>
                <a:lnTo>
                  <a:pt x="623" y="121"/>
                </a:lnTo>
                <a:lnTo>
                  <a:pt x="623" y="119"/>
                </a:lnTo>
                <a:lnTo>
                  <a:pt x="620" y="116"/>
                </a:lnTo>
                <a:lnTo>
                  <a:pt x="617" y="115"/>
                </a:lnTo>
                <a:lnTo>
                  <a:pt x="616" y="112"/>
                </a:lnTo>
                <a:lnTo>
                  <a:pt x="616" y="111"/>
                </a:lnTo>
                <a:lnTo>
                  <a:pt x="617" y="111"/>
                </a:lnTo>
                <a:lnTo>
                  <a:pt x="619" y="112"/>
                </a:lnTo>
                <a:lnTo>
                  <a:pt x="619" y="110"/>
                </a:lnTo>
                <a:lnTo>
                  <a:pt x="620" y="109"/>
                </a:lnTo>
                <a:lnTo>
                  <a:pt x="622" y="108"/>
                </a:lnTo>
                <a:close/>
                <a:moveTo>
                  <a:pt x="708" y="94"/>
                </a:moveTo>
                <a:lnTo>
                  <a:pt x="709" y="96"/>
                </a:lnTo>
                <a:lnTo>
                  <a:pt x="709" y="97"/>
                </a:lnTo>
                <a:lnTo>
                  <a:pt x="711" y="99"/>
                </a:lnTo>
                <a:lnTo>
                  <a:pt x="711" y="103"/>
                </a:lnTo>
                <a:lnTo>
                  <a:pt x="710" y="108"/>
                </a:lnTo>
                <a:lnTo>
                  <a:pt x="709" y="109"/>
                </a:lnTo>
                <a:lnTo>
                  <a:pt x="709" y="110"/>
                </a:lnTo>
                <a:lnTo>
                  <a:pt x="708" y="111"/>
                </a:lnTo>
                <a:lnTo>
                  <a:pt x="707" y="110"/>
                </a:lnTo>
                <a:lnTo>
                  <a:pt x="707" y="97"/>
                </a:lnTo>
                <a:lnTo>
                  <a:pt x="708" y="97"/>
                </a:lnTo>
                <a:lnTo>
                  <a:pt x="708" y="94"/>
                </a:lnTo>
                <a:close/>
                <a:moveTo>
                  <a:pt x="748" y="93"/>
                </a:moveTo>
                <a:lnTo>
                  <a:pt x="750" y="94"/>
                </a:lnTo>
                <a:lnTo>
                  <a:pt x="750" y="99"/>
                </a:lnTo>
                <a:lnTo>
                  <a:pt x="751" y="102"/>
                </a:lnTo>
                <a:lnTo>
                  <a:pt x="751" y="96"/>
                </a:lnTo>
                <a:lnTo>
                  <a:pt x="752" y="94"/>
                </a:lnTo>
                <a:lnTo>
                  <a:pt x="753" y="96"/>
                </a:lnTo>
                <a:lnTo>
                  <a:pt x="754" y="98"/>
                </a:lnTo>
                <a:lnTo>
                  <a:pt x="754" y="100"/>
                </a:lnTo>
                <a:lnTo>
                  <a:pt x="756" y="102"/>
                </a:lnTo>
                <a:lnTo>
                  <a:pt x="760" y="103"/>
                </a:lnTo>
                <a:lnTo>
                  <a:pt x="759" y="104"/>
                </a:lnTo>
                <a:lnTo>
                  <a:pt x="759" y="105"/>
                </a:lnTo>
                <a:lnTo>
                  <a:pt x="760" y="106"/>
                </a:lnTo>
                <a:lnTo>
                  <a:pt x="762" y="106"/>
                </a:lnTo>
                <a:lnTo>
                  <a:pt x="763" y="109"/>
                </a:lnTo>
                <a:lnTo>
                  <a:pt x="763" y="112"/>
                </a:lnTo>
                <a:lnTo>
                  <a:pt x="751" y="111"/>
                </a:lnTo>
                <a:lnTo>
                  <a:pt x="739" y="108"/>
                </a:lnTo>
                <a:lnTo>
                  <a:pt x="737" y="103"/>
                </a:lnTo>
                <a:lnTo>
                  <a:pt x="735" y="102"/>
                </a:lnTo>
                <a:lnTo>
                  <a:pt x="737" y="100"/>
                </a:lnTo>
                <a:lnTo>
                  <a:pt x="737" y="99"/>
                </a:lnTo>
                <a:lnTo>
                  <a:pt x="738" y="98"/>
                </a:lnTo>
                <a:lnTo>
                  <a:pt x="739" y="99"/>
                </a:lnTo>
                <a:lnTo>
                  <a:pt x="739" y="100"/>
                </a:lnTo>
                <a:lnTo>
                  <a:pt x="741" y="103"/>
                </a:lnTo>
                <a:lnTo>
                  <a:pt x="740" y="100"/>
                </a:lnTo>
                <a:lnTo>
                  <a:pt x="740" y="96"/>
                </a:lnTo>
                <a:lnTo>
                  <a:pt x="742" y="98"/>
                </a:lnTo>
                <a:lnTo>
                  <a:pt x="745" y="96"/>
                </a:lnTo>
                <a:lnTo>
                  <a:pt x="745" y="98"/>
                </a:lnTo>
                <a:lnTo>
                  <a:pt x="746" y="96"/>
                </a:lnTo>
                <a:lnTo>
                  <a:pt x="747" y="96"/>
                </a:lnTo>
                <a:lnTo>
                  <a:pt x="748" y="94"/>
                </a:lnTo>
                <a:lnTo>
                  <a:pt x="748" y="93"/>
                </a:lnTo>
                <a:close/>
                <a:moveTo>
                  <a:pt x="978" y="85"/>
                </a:moveTo>
                <a:lnTo>
                  <a:pt x="978" y="86"/>
                </a:lnTo>
                <a:lnTo>
                  <a:pt x="977" y="87"/>
                </a:lnTo>
                <a:lnTo>
                  <a:pt x="978" y="85"/>
                </a:lnTo>
                <a:close/>
                <a:moveTo>
                  <a:pt x="970" y="82"/>
                </a:moveTo>
                <a:lnTo>
                  <a:pt x="971" y="82"/>
                </a:lnTo>
                <a:lnTo>
                  <a:pt x="970" y="85"/>
                </a:lnTo>
                <a:lnTo>
                  <a:pt x="970" y="82"/>
                </a:lnTo>
                <a:close/>
                <a:moveTo>
                  <a:pt x="782" y="65"/>
                </a:moveTo>
                <a:lnTo>
                  <a:pt x="783" y="65"/>
                </a:lnTo>
                <a:lnTo>
                  <a:pt x="783" y="66"/>
                </a:lnTo>
                <a:lnTo>
                  <a:pt x="784" y="67"/>
                </a:lnTo>
                <a:lnTo>
                  <a:pt x="785" y="66"/>
                </a:lnTo>
                <a:lnTo>
                  <a:pt x="787" y="67"/>
                </a:lnTo>
                <a:lnTo>
                  <a:pt x="785" y="67"/>
                </a:lnTo>
                <a:lnTo>
                  <a:pt x="787" y="68"/>
                </a:lnTo>
                <a:lnTo>
                  <a:pt x="788" y="70"/>
                </a:lnTo>
                <a:lnTo>
                  <a:pt x="788" y="73"/>
                </a:lnTo>
                <a:lnTo>
                  <a:pt x="787" y="74"/>
                </a:lnTo>
                <a:lnTo>
                  <a:pt x="787" y="76"/>
                </a:lnTo>
                <a:lnTo>
                  <a:pt x="788" y="79"/>
                </a:lnTo>
                <a:lnTo>
                  <a:pt x="789" y="80"/>
                </a:lnTo>
                <a:lnTo>
                  <a:pt x="790" y="80"/>
                </a:lnTo>
                <a:lnTo>
                  <a:pt x="790" y="81"/>
                </a:lnTo>
                <a:lnTo>
                  <a:pt x="789" y="81"/>
                </a:lnTo>
                <a:lnTo>
                  <a:pt x="789" y="82"/>
                </a:lnTo>
                <a:lnTo>
                  <a:pt x="790" y="85"/>
                </a:lnTo>
                <a:lnTo>
                  <a:pt x="788" y="92"/>
                </a:lnTo>
                <a:lnTo>
                  <a:pt x="779" y="99"/>
                </a:lnTo>
                <a:lnTo>
                  <a:pt x="776" y="100"/>
                </a:lnTo>
                <a:lnTo>
                  <a:pt x="775" y="102"/>
                </a:lnTo>
                <a:lnTo>
                  <a:pt x="776" y="102"/>
                </a:lnTo>
                <a:lnTo>
                  <a:pt x="778" y="104"/>
                </a:lnTo>
                <a:lnTo>
                  <a:pt x="771" y="109"/>
                </a:lnTo>
                <a:lnTo>
                  <a:pt x="766" y="109"/>
                </a:lnTo>
                <a:lnTo>
                  <a:pt x="766" y="103"/>
                </a:lnTo>
                <a:lnTo>
                  <a:pt x="768" y="99"/>
                </a:lnTo>
                <a:lnTo>
                  <a:pt x="768" y="96"/>
                </a:lnTo>
                <a:lnTo>
                  <a:pt x="769" y="93"/>
                </a:lnTo>
                <a:lnTo>
                  <a:pt x="768" y="92"/>
                </a:lnTo>
                <a:lnTo>
                  <a:pt x="765" y="98"/>
                </a:lnTo>
                <a:lnTo>
                  <a:pt x="764" y="100"/>
                </a:lnTo>
                <a:lnTo>
                  <a:pt x="763" y="100"/>
                </a:lnTo>
                <a:lnTo>
                  <a:pt x="762" y="99"/>
                </a:lnTo>
                <a:lnTo>
                  <a:pt x="760" y="99"/>
                </a:lnTo>
                <a:lnTo>
                  <a:pt x="759" y="98"/>
                </a:lnTo>
                <a:lnTo>
                  <a:pt x="757" y="93"/>
                </a:lnTo>
                <a:lnTo>
                  <a:pt x="756" y="92"/>
                </a:lnTo>
                <a:lnTo>
                  <a:pt x="760" y="92"/>
                </a:lnTo>
                <a:lnTo>
                  <a:pt x="760" y="91"/>
                </a:lnTo>
                <a:lnTo>
                  <a:pt x="759" y="90"/>
                </a:lnTo>
                <a:lnTo>
                  <a:pt x="758" y="90"/>
                </a:lnTo>
                <a:lnTo>
                  <a:pt x="758" y="87"/>
                </a:lnTo>
                <a:lnTo>
                  <a:pt x="759" y="86"/>
                </a:lnTo>
                <a:lnTo>
                  <a:pt x="760" y="86"/>
                </a:lnTo>
                <a:lnTo>
                  <a:pt x="760" y="84"/>
                </a:lnTo>
                <a:lnTo>
                  <a:pt x="763" y="84"/>
                </a:lnTo>
                <a:lnTo>
                  <a:pt x="763" y="81"/>
                </a:lnTo>
                <a:lnTo>
                  <a:pt x="768" y="78"/>
                </a:lnTo>
                <a:lnTo>
                  <a:pt x="769" y="79"/>
                </a:lnTo>
                <a:lnTo>
                  <a:pt x="769" y="81"/>
                </a:lnTo>
                <a:lnTo>
                  <a:pt x="771" y="79"/>
                </a:lnTo>
                <a:lnTo>
                  <a:pt x="772" y="79"/>
                </a:lnTo>
                <a:lnTo>
                  <a:pt x="772" y="78"/>
                </a:lnTo>
                <a:lnTo>
                  <a:pt x="771" y="78"/>
                </a:lnTo>
                <a:lnTo>
                  <a:pt x="770" y="76"/>
                </a:lnTo>
                <a:lnTo>
                  <a:pt x="770" y="75"/>
                </a:lnTo>
                <a:lnTo>
                  <a:pt x="771" y="74"/>
                </a:lnTo>
                <a:lnTo>
                  <a:pt x="773" y="76"/>
                </a:lnTo>
                <a:lnTo>
                  <a:pt x="773" y="84"/>
                </a:lnTo>
                <a:lnTo>
                  <a:pt x="775" y="84"/>
                </a:lnTo>
                <a:lnTo>
                  <a:pt x="775" y="82"/>
                </a:lnTo>
                <a:lnTo>
                  <a:pt x="776" y="79"/>
                </a:lnTo>
                <a:lnTo>
                  <a:pt x="776" y="76"/>
                </a:lnTo>
                <a:lnTo>
                  <a:pt x="775" y="76"/>
                </a:lnTo>
                <a:lnTo>
                  <a:pt x="775" y="75"/>
                </a:lnTo>
                <a:lnTo>
                  <a:pt x="776" y="74"/>
                </a:lnTo>
                <a:lnTo>
                  <a:pt x="778" y="76"/>
                </a:lnTo>
                <a:lnTo>
                  <a:pt x="779" y="76"/>
                </a:lnTo>
                <a:lnTo>
                  <a:pt x="779" y="75"/>
                </a:lnTo>
                <a:lnTo>
                  <a:pt x="778" y="75"/>
                </a:lnTo>
                <a:lnTo>
                  <a:pt x="779" y="73"/>
                </a:lnTo>
                <a:lnTo>
                  <a:pt x="783" y="75"/>
                </a:lnTo>
                <a:lnTo>
                  <a:pt x="785" y="75"/>
                </a:lnTo>
                <a:lnTo>
                  <a:pt x="784" y="73"/>
                </a:lnTo>
                <a:lnTo>
                  <a:pt x="783" y="72"/>
                </a:lnTo>
                <a:lnTo>
                  <a:pt x="781" y="70"/>
                </a:lnTo>
                <a:lnTo>
                  <a:pt x="781" y="69"/>
                </a:lnTo>
                <a:lnTo>
                  <a:pt x="782" y="68"/>
                </a:lnTo>
                <a:lnTo>
                  <a:pt x="782" y="67"/>
                </a:lnTo>
                <a:lnTo>
                  <a:pt x="779" y="67"/>
                </a:lnTo>
                <a:lnTo>
                  <a:pt x="778" y="66"/>
                </a:lnTo>
                <a:lnTo>
                  <a:pt x="782" y="65"/>
                </a:lnTo>
                <a:close/>
                <a:moveTo>
                  <a:pt x="793" y="49"/>
                </a:moveTo>
                <a:lnTo>
                  <a:pt x="797" y="49"/>
                </a:lnTo>
                <a:lnTo>
                  <a:pt x="797" y="53"/>
                </a:lnTo>
                <a:lnTo>
                  <a:pt x="799" y="53"/>
                </a:lnTo>
                <a:lnTo>
                  <a:pt x="797" y="54"/>
                </a:lnTo>
                <a:lnTo>
                  <a:pt x="797" y="55"/>
                </a:lnTo>
                <a:lnTo>
                  <a:pt x="799" y="55"/>
                </a:lnTo>
                <a:lnTo>
                  <a:pt x="799" y="54"/>
                </a:lnTo>
                <a:lnTo>
                  <a:pt x="803" y="54"/>
                </a:lnTo>
                <a:lnTo>
                  <a:pt x="803" y="55"/>
                </a:lnTo>
                <a:lnTo>
                  <a:pt x="806" y="57"/>
                </a:lnTo>
                <a:lnTo>
                  <a:pt x="807" y="57"/>
                </a:lnTo>
                <a:lnTo>
                  <a:pt x="807" y="62"/>
                </a:lnTo>
                <a:lnTo>
                  <a:pt x="810" y="66"/>
                </a:lnTo>
                <a:lnTo>
                  <a:pt x="809" y="69"/>
                </a:lnTo>
                <a:lnTo>
                  <a:pt x="804" y="72"/>
                </a:lnTo>
                <a:lnTo>
                  <a:pt x="802" y="78"/>
                </a:lnTo>
                <a:lnTo>
                  <a:pt x="799" y="79"/>
                </a:lnTo>
                <a:lnTo>
                  <a:pt x="796" y="79"/>
                </a:lnTo>
                <a:lnTo>
                  <a:pt x="794" y="78"/>
                </a:lnTo>
                <a:lnTo>
                  <a:pt x="794" y="76"/>
                </a:lnTo>
                <a:lnTo>
                  <a:pt x="793" y="73"/>
                </a:lnTo>
                <a:lnTo>
                  <a:pt x="791" y="72"/>
                </a:lnTo>
                <a:lnTo>
                  <a:pt x="791" y="68"/>
                </a:lnTo>
                <a:lnTo>
                  <a:pt x="789" y="68"/>
                </a:lnTo>
                <a:lnTo>
                  <a:pt x="790" y="67"/>
                </a:lnTo>
                <a:lnTo>
                  <a:pt x="791" y="65"/>
                </a:lnTo>
                <a:lnTo>
                  <a:pt x="791" y="63"/>
                </a:lnTo>
                <a:lnTo>
                  <a:pt x="790" y="62"/>
                </a:lnTo>
                <a:lnTo>
                  <a:pt x="791" y="61"/>
                </a:lnTo>
                <a:lnTo>
                  <a:pt x="791" y="60"/>
                </a:lnTo>
                <a:lnTo>
                  <a:pt x="789" y="57"/>
                </a:lnTo>
                <a:lnTo>
                  <a:pt x="789" y="55"/>
                </a:lnTo>
                <a:lnTo>
                  <a:pt x="791" y="53"/>
                </a:lnTo>
                <a:lnTo>
                  <a:pt x="791" y="50"/>
                </a:lnTo>
                <a:lnTo>
                  <a:pt x="793" y="49"/>
                </a:lnTo>
                <a:close/>
                <a:moveTo>
                  <a:pt x="769" y="39"/>
                </a:moveTo>
                <a:lnTo>
                  <a:pt x="770" y="41"/>
                </a:lnTo>
                <a:lnTo>
                  <a:pt x="769" y="41"/>
                </a:lnTo>
                <a:lnTo>
                  <a:pt x="769" y="39"/>
                </a:lnTo>
                <a:close/>
                <a:moveTo>
                  <a:pt x="776" y="33"/>
                </a:moveTo>
                <a:lnTo>
                  <a:pt x="777" y="35"/>
                </a:lnTo>
                <a:lnTo>
                  <a:pt x="778" y="35"/>
                </a:lnTo>
                <a:lnTo>
                  <a:pt x="778" y="36"/>
                </a:lnTo>
                <a:lnTo>
                  <a:pt x="779" y="37"/>
                </a:lnTo>
                <a:lnTo>
                  <a:pt x="781" y="39"/>
                </a:lnTo>
                <a:lnTo>
                  <a:pt x="781" y="41"/>
                </a:lnTo>
                <a:lnTo>
                  <a:pt x="782" y="42"/>
                </a:lnTo>
                <a:lnTo>
                  <a:pt x="782" y="43"/>
                </a:lnTo>
                <a:lnTo>
                  <a:pt x="783" y="43"/>
                </a:lnTo>
                <a:lnTo>
                  <a:pt x="782" y="44"/>
                </a:lnTo>
                <a:lnTo>
                  <a:pt x="778" y="44"/>
                </a:lnTo>
                <a:lnTo>
                  <a:pt x="779" y="45"/>
                </a:lnTo>
                <a:lnTo>
                  <a:pt x="781" y="45"/>
                </a:lnTo>
                <a:lnTo>
                  <a:pt x="782" y="47"/>
                </a:lnTo>
                <a:lnTo>
                  <a:pt x="781" y="47"/>
                </a:lnTo>
                <a:lnTo>
                  <a:pt x="779" y="48"/>
                </a:lnTo>
                <a:lnTo>
                  <a:pt x="779" y="50"/>
                </a:lnTo>
                <a:lnTo>
                  <a:pt x="778" y="50"/>
                </a:lnTo>
                <a:lnTo>
                  <a:pt x="777" y="49"/>
                </a:lnTo>
                <a:lnTo>
                  <a:pt x="776" y="49"/>
                </a:lnTo>
                <a:lnTo>
                  <a:pt x="776" y="54"/>
                </a:lnTo>
                <a:lnTo>
                  <a:pt x="775" y="54"/>
                </a:lnTo>
                <a:lnTo>
                  <a:pt x="775" y="55"/>
                </a:lnTo>
                <a:lnTo>
                  <a:pt x="773" y="56"/>
                </a:lnTo>
                <a:lnTo>
                  <a:pt x="773" y="57"/>
                </a:lnTo>
                <a:lnTo>
                  <a:pt x="770" y="57"/>
                </a:lnTo>
                <a:lnTo>
                  <a:pt x="770" y="56"/>
                </a:lnTo>
                <a:lnTo>
                  <a:pt x="769" y="56"/>
                </a:lnTo>
                <a:lnTo>
                  <a:pt x="769" y="60"/>
                </a:lnTo>
                <a:lnTo>
                  <a:pt x="768" y="60"/>
                </a:lnTo>
                <a:lnTo>
                  <a:pt x="769" y="61"/>
                </a:lnTo>
                <a:lnTo>
                  <a:pt x="770" y="61"/>
                </a:lnTo>
                <a:lnTo>
                  <a:pt x="770" y="62"/>
                </a:lnTo>
                <a:lnTo>
                  <a:pt x="769" y="65"/>
                </a:lnTo>
                <a:lnTo>
                  <a:pt x="765" y="65"/>
                </a:lnTo>
                <a:lnTo>
                  <a:pt x="768" y="67"/>
                </a:lnTo>
                <a:lnTo>
                  <a:pt x="766" y="70"/>
                </a:lnTo>
                <a:lnTo>
                  <a:pt x="765" y="69"/>
                </a:lnTo>
                <a:lnTo>
                  <a:pt x="763" y="68"/>
                </a:lnTo>
                <a:lnTo>
                  <a:pt x="763" y="72"/>
                </a:lnTo>
                <a:lnTo>
                  <a:pt x="762" y="73"/>
                </a:lnTo>
                <a:lnTo>
                  <a:pt x="760" y="73"/>
                </a:lnTo>
                <a:lnTo>
                  <a:pt x="758" y="70"/>
                </a:lnTo>
                <a:lnTo>
                  <a:pt x="757" y="70"/>
                </a:lnTo>
                <a:lnTo>
                  <a:pt x="757" y="72"/>
                </a:lnTo>
                <a:lnTo>
                  <a:pt x="759" y="73"/>
                </a:lnTo>
                <a:lnTo>
                  <a:pt x="759" y="75"/>
                </a:lnTo>
                <a:lnTo>
                  <a:pt x="758" y="75"/>
                </a:lnTo>
                <a:lnTo>
                  <a:pt x="758" y="76"/>
                </a:lnTo>
                <a:lnTo>
                  <a:pt x="756" y="74"/>
                </a:lnTo>
                <a:lnTo>
                  <a:pt x="754" y="75"/>
                </a:lnTo>
                <a:lnTo>
                  <a:pt x="754" y="78"/>
                </a:lnTo>
                <a:lnTo>
                  <a:pt x="753" y="78"/>
                </a:lnTo>
                <a:lnTo>
                  <a:pt x="752" y="76"/>
                </a:lnTo>
                <a:lnTo>
                  <a:pt x="752" y="75"/>
                </a:lnTo>
                <a:lnTo>
                  <a:pt x="753" y="74"/>
                </a:lnTo>
                <a:lnTo>
                  <a:pt x="750" y="73"/>
                </a:lnTo>
                <a:lnTo>
                  <a:pt x="747" y="73"/>
                </a:lnTo>
                <a:lnTo>
                  <a:pt x="747" y="74"/>
                </a:lnTo>
                <a:lnTo>
                  <a:pt x="746" y="75"/>
                </a:lnTo>
                <a:lnTo>
                  <a:pt x="747" y="76"/>
                </a:lnTo>
                <a:lnTo>
                  <a:pt x="747" y="78"/>
                </a:lnTo>
                <a:lnTo>
                  <a:pt x="745" y="78"/>
                </a:lnTo>
                <a:lnTo>
                  <a:pt x="745" y="80"/>
                </a:lnTo>
                <a:lnTo>
                  <a:pt x="744" y="80"/>
                </a:lnTo>
                <a:lnTo>
                  <a:pt x="742" y="78"/>
                </a:lnTo>
                <a:lnTo>
                  <a:pt x="741" y="76"/>
                </a:lnTo>
                <a:lnTo>
                  <a:pt x="740" y="80"/>
                </a:lnTo>
                <a:lnTo>
                  <a:pt x="740" y="81"/>
                </a:lnTo>
                <a:lnTo>
                  <a:pt x="739" y="81"/>
                </a:lnTo>
                <a:lnTo>
                  <a:pt x="738" y="80"/>
                </a:lnTo>
                <a:lnTo>
                  <a:pt x="738" y="79"/>
                </a:lnTo>
                <a:lnTo>
                  <a:pt x="737" y="79"/>
                </a:lnTo>
                <a:lnTo>
                  <a:pt x="734" y="81"/>
                </a:lnTo>
                <a:lnTo>
                  <a:pt x="733" y="80"/>
                </a:lnTo>
                <a:lnTo>
                  <a:pt x="733" y="76"/>
                </a:lnTo>
                <a:lnTo>
                  <a:pt x="732" y="75"/>
                </a:lnTo>
                <a:lnTo>
                  <a:pt x="732" y="78"/>
                </a:lnTo>
                <a:lnTo>
                  <a:pt x="731" y="82"/>
                </a:lnTo>
                <a:lnTo>
                  <a:pt x="728" y="85"/>
                </a:lnTo>
                <a:lnTo>
                  <a:pt x="727" y="85"/>
                </a:lnTo>
                <a:lnTo>
                  <a:pt x="726" y="82"/>
                </a:lnTo>
                <a:lnTo>
                  <a:pt x="727" y="81"/>
                </a:lnTo>
                <a:lnTo>
                  <a:pt x="727" y="79"/>
                </a:lnTo>
                <a:lnTo>
                  <a:pt x="728" y="76"/>
                </a:lnTo>
                <a:lnTo>
                  <a:pt x="728" y="75"/>
                </a:lnTo>
                <a:lnTo>
                  <a:pt x="731" y="74"/>
                </a:lnTo>
                <a:lnTo>
                  <a:pt x="732" y="72"/>
                </a:lnTo>
                <a:lnTo>
                  <a:pt x="731" y="72"/>
                </a:lnTo>
                <a:lnTo>
                  <a:pt x="731" y="70"/>
                </a:lnTo>
                <a:lnTo>
                  <a:pt x="734" y="67"/>
                </a:lnTo>
                <a:lnTo>
                  <a:pt x="725" y="67"/>
                </a:lnTo>
                <a:lnTo>
                  <a:pt x="723" y="68"/>
                </a:lnTo>
                <a:lnTo>
                  <a:pt x="723" y="69"/>
                </a:lnTo>
                <a:lnTo>
                  <a:pt x="722" y="69"/>
                </a:lnTo>
                <a:lnTo>
                  <a:pt x="721" y="68"/>
                </a:lnTo>
                <a:lnTo>
                  <a:pt x="721" y="67"/>
                </a:lnTo>
                <a:lnTo>
                  <a:pt x="722" y="65"/>
                </a:lnTo>
                <a:lnTo>
                  <a:pt x="723" y="63"/>
                </a:lnTo>
                <a:lnTo>
                  <a:pt x="719" y="63"/>
                </a:lnTo>
                <a:lnTo>
                  <a:pt x="717" y="62"/>
                </a:lnTo>
                <a:lnTo>
                  <a:pt x="720" y="60"/>
                </a:lnTo>
                <a:lnTo>
                  <a:pt x="722" y="61"/>
                </a:lnTo>
                <a:lnTo>
                  <a:pt x="728" y="65"/>
                </a:lnTo>
                <a:lnTo>
                  <a:pt x="729" y="65"/>
                </a:lnTo>
                <a:lnTo>
                  <a:pt x="731" y="63"/>
                </a:lnTo>
                <a:lnTo>
                  <a:pt x="731" y="60"/>
                </a:lnTo>
                <a:lnTo>
                  <a:pt x="729" y="59"/>
                </a:lnTo>
                <a:lnTo>
                  <a:pt x="732" y="59"/>
                </a:lnTo>
                <a:lnTo>
                  <a:pt x="738" y="65"/>
                </a:lnTo>
                <a:lnTo>
                  <a:pt x="738" y="63"/>
                </a:lnTo>
                <a:lnTo>
                  <a:pt x="737" y="62"/>
                </a:lnTo>
                <a:lnTo>
                  <a:pt x="737" y="59"/>
                </a:lnTo>
                <a:lnTo>
                  <a:pt x="735" y="56"/>
                </a:lnTo>
                <a:lnTo>
                  <a:pt x="737" y="54"/>
                </a:lnTo>
                <a:lnTo>
                  <a:pt x="738" y="54"/>
                </a:lnTo>
                <a:lnTo>
                  <a:pt x="738" y="55"/>
                </a:lnTo>
                <a:lnTo>
                  <a:pt x="739" y="56"/>
                </a:lnTo>
                <a:lnTo>
                  <a:pt x="739" y="57"/>
                </a:lnTo>
                <a:lnTo>
                  <a:pt x="740" y="59"/>
                </a:lnTo>
                <a:lnTo>
                  <a:pt x="741" y="59"/>
                </a:lnTo>
                <a:lnTo>
                  <a:pt x="741" y="55"/>
                </a:lnTo>
                <a:lnTo>
                  <a:pt x="742" y="54"/>
                </a:lnTo>
                <a:lnTo>
                  <a:pt x="742" y="53"/>
                </a:lnTo>
                <a:lnTo>
                  <a:pt x="747" y="57"/>
                </a:lnTo>
                <a:lnTo>
                  <a:pt x="747" y="59"/>
                </a:lnTo>
                <a:lnTo>
                  <a:pt x="746" y="61"/>
                </a:lnTo>
                <a:lnTo>
                  <a:pt x="745" y="61"/>
                </a:lnTo>
                <a:lnTo>
                  <a:pt x="746" y="63"/>
                </a:lnTo>
                <a:lnTo>
                  <a:pt x="747" y="63"/>
                </a:lnTo>
                <a:lnTo>
                  <a:pt x="747" y="62"/>
                </a:lnTo>
                <a:lnTo>
                  <a:pt x="748" y="61"/>
                </a:lnTo>
                <a:lnTo>
                  <a:pt x="750" y="61"/>
                </a:lnTo>
                <a:lnTo>
                  <a:pt x="750" y="67"/>
                </a:lnTo>
                <a:lnTo>
                  <a:pt x="751" y="68"/>
                </a:lnTo>
                <a:lnTo>
                  <a:pt x="751" y="63"/>
                </a:lnTo>
                <a:lnTo>
                  <a:pt x="752" y="62"/>
                </a:lnTo>
                <a:lnTo>
                  <a:pt x="754" y="62"/>
                </a:lnTo>
                <a:lnTo>
                  <a:pt x="754" y="60"/>
                </a:lnTo>
                <a:lnTo>
                  <a:pt x="753" y="59"/>
                </a:lnTo>
                <a:lnTo>
                  <a:pt x="753" y="55"/>
                </a:lnTo>
                <a:lnTo>
                  <a:pt x="752" y="54"/>
                </a:lnTo>
                <a:lnTo>
                  <a:pt x="751" y="51"/>
                </a:lnTo>
                <a:lnTo>
                  <a:pt x="751" y="49"/>
                </a:lnTo>
                <a:lnTo>
                  <a:pt x="752" y="49"/>
                </a:lnTo>
                <a:lnTo>
                  <a:pt x="754" y="48"/>
                </a:lnTo>
                <a:lnTo>
                  <a:pt x="753" y="49"/>
                </a:lnTo>
                <a:lnTo>
                  <a:pt x="754" y="50"/>
                </a:lnTo>
                <a:lnTo>
                  <a:pt x="756" y="50"/>
                </a:lnTo>
                <a:lnTo>
                  <a:pt x="757" y="51"/>
                </a:lnTo>
                <a:lnTo>
                  <a:pt x="756" y="51"/>
                </a:lnTo>
                <a:lnTo>
                  <a:pt x="756" y="53"/>
                </a:lnTo>
                <a:lnTo>
                  <a:pt x="757" y="53"/>
                </a:lnTo>
                <a:lnTo>
                  <a:pt x="758" y="51"/>
                </a:lnTo>
                <a:lnTo>
                  <a:pt x="759" y="53"/>
                </a:lnTo>
                <a:lnTo>
                  <a:pt x="759" y="55"/>
                </a:lnTo>
                <a:lnTo>
                  <a:pt x="758" y="56"/>
                </a:lnTo>
                <a:lnTo>
                  <a:pt x="759" y="57"/>
                </a:lnTo>
                <a:lnTo>
                  <a:pt x="760" y="60"/>
                </a:lnTo>
                <a:lnTo>
                  <a:pt x="762" y="61"/>
                </a:lnTo>
                <a:lnTo>
                  <a:pt x="762" y="57"/>
                </a:lnTo>
                <a:lnTo>
                  <a:pt x="763" y="57"/>
                </a:lnTo>
                <a:lnTo>
                  <a:pt x="763" y="56"/>
                </a:lnTo>
                <a:lnTo>
                  <a:pt x="764" y="55"/>
                </a:lnTo>
                <a:lnTo>
                  <a:pt x="764" y="53"/>
                </a:lnTo>
                <a:lnTo>
                  <a:pt x="766" y="54"/>
                </a:lnTo>
                <a:lnTo>
                  <a:pt x="768" y="54"/>
                </a:lnTo>
                <a:lnTo>
                  <a:pt x="766" y="53"/>
                </a:lnTo>
                <a:lnTo>
                  <a:pt x="766" y="51"/>
                </a:lnTo>
                <a:lnTo>
                  <a:pt x="770" y="51"/>
                </a:lnTo>
                <a:lnTo>
                  <a:pt x="770" y="50"/>
                </a:lnTo>
                <a:lnTo>
                  <a:pt x="769" y="50"/>
                </a:lnTo>
                <a:lnTo>
                  <a:pt x="768" y="49"/>
                </a:lnTo>
                <a:lnTo>
                  <a:pt x="768" y="48"/>
                </a:lnTo>
                <a:lnTo>
                  <a:pt x="765" y="47"/>
                </a:lnTo>
                <a:lnTo>
                  <a:pt x="765" y="45"/>
                </a:lnTo>
                <a:lnTo>
                  <a:pt x="764" y="44"/>
                </a:lnTo>
                <a:lnTo>
                  <a:pt x="764" y="43"/>
                </a:lnTo>
                <a:lnTo>
                  <a:pt x="766" y="43"/>
                </a:lnTo>
                <a:lnTo>
                  <a:pt x="766" y="42"/>
                </a:lnTo>
                <a:lnTo>
                  <a:pt x="765" y="42"/>
                </a:lnTo>
                <a:lnTo>
                  <a:pt x="765" y="41"/>
                </a:lnTo>
                <a:lnTo>
                  <a:pt x="766" y="41"/>
                </a:lnTo>
                <a:lnTo>
                  <a:pt x="769" y="43"/>
                </a:lnTo>
                <a:lnTo>
                  <a:pt x="769" y="44"/>
                </a:lnTo>
                <a:lnTo>
                  <a:pt x="770" y="43"/>
                </a:lnTo>
                <a:lnTo>
                  <a:pt x="770" y="41"/>
                </a:lnTo>
                <a:lnTo>
                  <a:pt x="772" y="44"/>
                </a:lnTo>
                <a:lnTo>
                  <a:pt x="773" y="45"/>
                </a:lnTo>
                <a:lnTo>
                  <a:pt x="776" y="45"/>
                </a:lnTo>
                <a:lnTo>
                  <a:pt x="777" y="44"/>
                </a:lnTo>
                <a:lnTo>
                  <a:pt x="777" y="43"/>
                </a:lnTo>
                <a:lnTo>
                  <a:pt x="776" y="41"/>
                </a:lnTo>
                <a:lnTo>
                  <a:pt x="776" y="33"/>
                </a:lnTo>
                <a:close/>
                <a:moveTo>
                  <a:pt x="803" y="13"/>
                </a:moveTo>
                <a:lnTo>
                  <a:pt x="808" y="13"/>
                </a:lnTo>
                <a:lnTo>
                  <a:pt x="808" y="16"/>
                </a:lnTo>
                <a:lnTo>
                  <a:pt x="809" y="17"/>
                </a:lnTo>
                <a:lnTo>
                  <a:pt x="813" y="16"/>
                </a:lnTo>
                <a:lnTo>
                  <a:pt x="814" y="17"/>
                </a:lnTo>
                <a:lnTo>
                  <a:pt x="813" y="18"/>
                </a:lnTo>
                <a:lnTo>
                  <a:pt x="809" y="18"/>
                </a:lnTo>
                <a:lnTo>
                  <a:pt x="808" y="19"/>
                </a:lnTo>
                <a:lnTo>
                  <a:pt x="808" y="22"/>
                </a:lnTo>
                <a:lnTo>
                  <a:pt x="813" y="22"/>
                </a:lnTo>
                <a:lnTo>
                  <a:pt x="815" y="23"/>
                </a:lnTo>
                <a:lnTo>
                  <a:pt x="814" y="23"/>
                </a:lnTo>
                <a:lnTo>
                  <a:pt x="814" y="24"/>
                </a:lnTo>
                <a:lnTo>
                  <a:pt x="812" y="24"/>
                </a:lnTo>
                <a:lnTo>
                  <a:pt x="812" y="26"/>
                </a:lnTo>
                <a:lnTo>
                  <a:pt x="810" y="26"/>
                </a:lnTo>
                <a:lnTo>
                  <a:pt x="810" y="25"/>
                </a:lnTo>
                <a:lnTo>
                  <a:pt x="809" y="25"/>
                </a:lnTo>
                <a:lnTo>
                  <a:pt x="808" y="26"/>
                </a:lnTo>
                <a:lnTo>
                  <a:pt x="808" y="27"/>
                </a:lnTo>
                <a:lnTo>
                  <a:pt x="806" y="27"/>
                </a:lnTo>
                <a:lnTo>
                  <a:pt x="804" y="26"/>
                </a:lnTo>
                <a:lnTo>
                  <a:pt x="804" y="24"/>
                </a:lnTo>
                <a:lnTo>
                  <a:pt x="801" y="23"/>
                </a:lnTo>
                <a:lnTo>
                  <a:pt x="802" y="22"/>
                </a:lnTo>
                <a:lnTo>
                  <a:pt x="804" y="22"/>
                </a:lnTo>
                <a:lnTo>
                  <a:pt x="806" y="20"/>
                </a:lnTo>
                <a:lnTo>
                  <a:pt x="804" y="19"/>
                </a:lnTo>
                <a:lnTo>
                  <a:pt x="801" y="19"/>
                </a:lnTo>
                <a:lnTo>
                  <a:pt x="800" y="17"/>
                </a:lnTo>
                <a:lnTo>
                  <a:pt x="802" y="17"/>
                </a:lnTo>
                <a:lnTo>
                  <a:pt x="802" y="14"/>
                </a:lnTo>
                <a:lnTo>
                  <a:pt x="801" y="14"/>
                </a:lnTo>
                <a:lnTo>
                  <a:pt x="803" y="13"/>
                </a:lnTo>
                <a:close/>
                <a:moveTo>
                  <a:pt x="834" y="2"/>
                </a:moveTo>
                <a:lnTo>
                  <a:pt x="835" y="2"/>
                </a:lnTo>
                <a:lnTo>
                  <a:pt x="837" y="4"/>
                </a:lnTo>
                <a:lnTo>
                  <a:pt x="837" y="5"/>
                </a:lnTo>
                <a:lnTo>
                  <a:pt x="838" y="5"/>
                </a:lnTo>
                <a:lnTo>
                  <a:pt x="839" y="4"/>
                </a:lnTo>
                <a:lnTo>
                  <a:pt x="840" y="4"/>
                </a:lnTo>
                <a:lnTo>
                  <a:pt x="840" y="5"/>
                </a:lnTo>
                <a:lnTo>
                  <a:pt x="839" y="6"/>
                </a:lnTo>
                <a:lnTo>
                  <a:pt x="839" y="7"/>
                </a:lnTo>
                <a:lnTo>
                  <a:pt x="838" y="8"/>
                </a:lnTo>
                <a:lnTo>
                  <a:pt x="838" y="11"/>
                </a:lnTo>
                <a:lnTo>
                  <a:pt x="837" y="13"/>
                </a:lnTo>
                <a:lnTo>
                  <a:pt x="834" y="13"/>
                </a:lnTo>
                <a:lnTo>
                  <a:pt x="833" y="12"/>
                </a:lnTo>
                <a:lnTo>
                  <a:pt x="833" y="11"/>
                </a:lnTo>
                <a:lnTo>
                  <a:pt x="831" y="11"/>
                </a:lnTo>
                <a:lnTo>
                  <a:pt x="831" y="7"/>
                </a:lnTo>
                <a:lnTo>
                  <a:pt x="833" y="5"/>
                </a:lnTo>
                <a:lnTo>
                  <a:pt x="834" y="6"/>
                </a:lnTo>
                <a:lnTo>
                  <a:pt x="834" y="8"/>
                </a:lnTo>
                <a:lnTo>
                  <a:pt x="835" y="8"/>
                </a:lnTo>
                <a:lnTo>
                  <a:pt x="835" y="6"/>
                </a:lnTo>
                <a:lnTo>
                  <a:pt x="834" y="4"/>
                </a:lnTo>
                <a:lnTo>
                  <a:pt x="834" y="2"/>
                </a:lnTo>
                <a:close/>
                <a:moveTo>
                  <a:pt x="958" y="0"/>
                </a:moveTo>
                <a:lnTo>
                  <a:pt x="962" y="4"/>
                </a:lnTo>
                <a:lnTo>
                  <a:pt x="962" y="5"/>
                </a:lnTo>
                <a:lnTo>
                  <a:pt x="961" y="8"/>
                </a:lnTo>
                <a:lnTo>
                  <a:pt x="962" y="10"/>
                </a:lnTo>
                <a:lnTo>
                  <a:pt x="965" y="10"/>
                </a:lnTo>
                <a:lnTo>
                  <a:pt x="968" y="12"/>
                </a:lnTo>
                <a:lnTo>
                  <a:pt x="971" y="11"/>
                </a:lnTo>
                <a:lnTo>
                  <a:pt x="974" y="8"/>
                </a:lnTo>
                <a:lnTo>
                  <a:pt x="974" y="7"/>
                </a:lnTo>
                <a:lnTo>
                  <a:pt x="975" y="7"/>
                </a:lnTo>
                <a:lnTo>
                  <a:pt x="976" y="8"/>
                </a:lnTo>
                <a:lnTo>
                  <a:pt x="976" y="11"/>
                </a:lnTo>
                <a:lnTo>
                  <a:pt x="977" y="12"/>
                </a:lnTo>
                <a:lnTo>
                  <a:pt x="977" y="11"/>
                </a:lnTo>
                <a:lnTo>
                  <a:pt x="980" y="7"/>
                </a:lnTo>
                <a:lnTo>
                  <a:pt x="981" y="6"/>
                </a:lnTo>
                <a:lnTo>
                  <a:pt x="982" y="6"/>
                </a:lnTo>
                <a:lnTo>
                  <a:pt x="984" y="8"/>
                </a:lnTo>
                <a:lnTo>
                  <a:pt x="984" y="12"/>
                </a:lnTo>
                <a:lnTo>
                  <a:pt x="983" y="12"/>
                </a:lnTo>
                <a:lnTo>
                  <a:pt x="982" y="13"/>
                </a:lnTo>
                <a:lnTo>
                  <a:pt x="982" y="16"/>
                </a:lnTo>
                <a:lnTo>
                  <a:pt x="981" y="16"/>
                </a:lnTo>
                <a:lnTo>
                  <a:pt x="981" y="17"/>
                </a:lnTo>
                <a:lnTo>
                  <a:pt x="982" y="17"/>
                </a:lnTo>
                <a:lnTo>
                  <a:pt x="983" y="16"/>
                </a:lnTo>
                <a:lnTo>
                  <a:pt x="983" y="18"/>
                </a:lnTo>
                <a:lnTo>
                  <a:pt x="982" y="18"/>
                </a:lnTo>
                <a:lnTo>
                  <a:pt x="982" y="19"/>
                </a:lnTo>
                <a:lnTo>
                  <a:pt x="983" y="20"/>
                </a:lnTo>
                <a:lnTo>
                  <a:pt x="988" y="17"/>
                </a:lnTo>
                <a:lnTo>
                  <a:pt x="994" y="17"/>
                </a:lnTo>
                <a:lnTo>
                  <a:pt x="995" y="19"/>
                </a:lnTo>
                <a:lnTo>
                  <a:pt x="996" y="19"/>
                </a:lnTo>
                <a:lnTo>
                  <a:pt x="996" y="23"/>
                </a:lnTo>
                <a:lnTo>
                  <a:pt x="995" y="25"/>
                </a:lnTo>
                <a:lnTo>
                  <a:pt x="995" y="27"/>
                </a:lnTo>
                <a:lnTo>
                  <a:pt x="994" y="29"/>
                </a:lnTo>
                <a:lnTo>
                  <a:pt x="994" y="31"/>
                </a:lnTo>
                <a:lnTo>
                  <a:pt x="992" y="32"/>
                </a:lnTo>
                <a:lnTo>
                  <a:pt x="989" y="31"/>
                </a:lnTo>
                <a:lnTo>
                  <a:pt x="989" y="33"/>
                </a:lnTo>
                <a:lnTo>
                  <a:pt x="992" y="33"/>
                </a:lnTo>
                <a:lnTo>
                  <a:pt x="992" y="36"/>
                </a:lnTo>
                <a:lnTo>
                  <a:pt x="990" y="37"/>
                </a:lnTo>
                <a:lnTo>
                  <a:pt x="988" y="37"/>
                </a:lnTo>
                <a:lnTo>
                  <a:pt x="988" y="39"/>
                </a:lnTo>
                <a:lnTo>
                  <a:pt x="983" y="38"/>
                </a:lnTo>
                <a:lnTo>
                  <a:pt x="983" y="39"/>
                </a:lnTo>
                <a:lnTo>
                  <a:pt x="984" y="41"/>
                </a:lnTo>
                <a:lnTo>
                  <a:pt x="986" y="41"/>
                </a:lnTo>
                <a:lnTo>
                  <a:pt x="984" y="43"/>
                </a:lnTo>
                <a:lnTo>
                  <a:pt x="983" y="44"/>
                </a:lnTo>
                <a:lnTo>
                  <a:pt x="978" y="44"/>
                </a:lnTo>
                <a:lnTo>
                  <a:pt x="977" y="43"/>
                </a:lnTo>
                <a:lnTo>
                  <a:pt x="974" y="43"/>
                </a:lnTo>
                <a:lnTo>
                  <a:pt x="974" y="41"/>
                </a:lnTo>
                <a:lnTo>
                  <a:pt x="973" y="41"/>
                </a:lnTo>
                <a:lnTo>
                  <a:pt x="973" y="42"/>
                </a:lnTo>
                <a:lnTo>
                  <a:pt x="971" y="42"/>
                </a:lnTo>
                <a:lnTo>
                  <a:pt x="971" y="43"/>
                </a:lnTo>
                <a:lnTo>
                  <a:pt x="965" y="44"/>
                </a:lnTo>
                <a:lnTo>
                  <a:pt x="965" y="43"/>
                </a:lnTo>
                <a:lnTo>
                  <a:pt x="964" y="44"/>
                </a:lnTo>
                <a:lnTo>
                  <a:pt x="963" y="44"/>
                </a:lnTo>
                <a:lnTo>
                  <a:pt x="964" y="45"/>
                </a:lnTo>
                <a:lnTo>
                  <a:pt x="965" y="45"/>
                </a:lnTo>
                <a:lnTo>
                  <a:pt x="967" y="47"/>
                </a:lnTo>
                <a:lnTo>
                  <a:pt x="965" y="47"/>
                </a:lnTo>
                <a:lnTo>
                  <a:pt x="964" y="48"/>
                </a:lnTo>
                <a:lnTo>
                  <a:pt x="964" y="50"/>
                </a:lnTo>
                <a:lnTo>
                  <a:pt x="968" y="48"/>
                </a:lnTo>
                <a:lnTo>
                  <a:pt x="969" y="47"/>
                </a:lnTo>
                <a:lnTo>
                  <a:pt x="973" y="48"/>
                </a:lnTo>
                <a:lnTo>
                  <a:pt x="973" y="49"/>
                </a:lnTo>
                <a:lnTo>
                  <a:pt x="974" y="49"/>
                </a:lnTo>
                <a:lnTo>
                  <a:pt x="974" y="50"/>
                </a:lnTo>
                <a:lnTo>
                  <a:pt x="977" y="49"/>
                </a:lnTo>
                <a:lnTo>
                  <a:pt x="977" y="50"/>
                </a:lnTo>
                <a:lnTo>
                  <a:pt x="978" y="51"/>
                </a:lnTo>
                <a:lnTo>
                  <a:pt x="976" y="55"/>
                </a:lnTo>
                <a:lnTo>
                  <a:pt x="970" y="57"/>
                </a:lnTo>
                <a:lnTo>
                  <a:pt x="968" y="60"/>
                </a:lnTo>
                <a:lnTo>
                  <a:pt x="968" y="61"/>
                </a:lnTo>
                <a:lnTo>
                  <a:pt x="964" y="63"/>
                </a:lnTo>
                <a:lnTo>
                  <a:pt x="962" y="66"/>
                </a:lnTo>
                <a:lnTo>
                  <a:pt x="959" y="66"/>
                </a:lnTo>
                <a:lnTo>
                  <a:pt x="958" y="67"/>
                </a:lnTo>
                <a:lnTo>
                  <a:pt x="964" y="67"/>
                </a:lnTo>
                <a:lnTo>
                  <a:pt x="980" y="59"/>
                </a:lnTo>
                <a:lnTo>
                  <a:pt x="986" y="53"/>
                </a:lnTo>
                <a:lnTo>
                  <a:pt x="986" y="61"/>
                </a:lnTo>
                <a:lnTo>
                  <a:pt x="983" y="66"/>
                </a:lnTo>
                <a:lnTo>
                  <a:pt x="981" y="69"/>
                </a:lnTo>
                <a:lnTo>
                  <a:pt x="973" y="78"/>
                </a:lnTo>
                <a:lnTo>
                  <a:pt x="970" y="79"/>
                </a:lnTo>
                <a:lnTo>
                  <a:pt x="967" y="82"/>
                </a:lnTo>
                <a:lnTo>
                  <a:pt x="968" y="85"/>
                </a:lnTo>
                <a:lnTo>
                  <a:pt x="968" y="86"/>
                </a:lnTo>
                <a:lnTo>
                  <a:pt x="969" y="90"/>
                </a:lnTo>
                <a:lnTo>
                  <a:pt x="969" y="88"/>
                </a:lnTo>
                <a:lnTo>
                  <a:pt x="970" y="85"/>
                </a:lnTo>
                <a:lnTo>
                  <a:pt x="976" y="81"/>
                </a:lnTo>
                <a:lnTo>
                  <a:pt x="981" y="80"/>
                </a:lnTo>
                <a:lnTo>
                  <a:pt x="976" y="84"/>
                </a:lnTo>
                <a:lnTo>
                  <a:pt x="975" y="86"/>
                </a:lnTo>
                <a:lnTo>
                  <a:pt x="975" y="88"/>
                </a:lnTo>
                <a:lnTo>
                  <a:pt x="977" y="87"/>
                </a:lnTo>
                <a:lnTo>
                  <a:pt x="978" y="88"/>
                </a:lnTo>
                <a:lnTo>
                  <a:pt x="978" y="87"/>
                </a:lnTo>
                <a:lnTo>
                  <a:pt x="981" y="84"/>
                </a:lnTo>
                <a:lnTo>
                  <a:pt x="982" y="81"/>
                </a:lnTo>
                <a:lnTo>
                  <a:pt x="984" y="80"/>
                </a:lnTo>
                <a:lnTo>
                  <a:pt x="986" y="79"/>
                </a:lnTo>
                <a:lnTo>
                  <a:pt x="988" y="79"/>
                </a:lnTo>
                <a:lnTo>
                  <a:pt x="987" y="81"/>
                </a:lnTo>
                <a:lnTo>
                  <a:pt x="986" y="82"/>
                </a:lnTo>
                <a:lnTo>
                  <a:pt x="986" y="84"/>
                </a:lnTo>
                <a:lnTo>
                  <a:pt x="984" y="85"/>
                </a:lnTo>
                <a:lnTo>
                  <a:pt x="983" y="87"/>
                </a:lnTo>
                <a:lnTo>
                  <a:pt x="981" y="94"/>
                </a:lnTo>
                <a:lnTo>
                  <a:pt x="980" y="96"/>
                </a:lnTo>
                <a:lnTo>
                  <a:pt x="980" y="98"/>
                </a:lnTo>
                <a:lnTo>
                  <a:pt x="981" y="100"/>
                </a:lnTo>
                <a:lnTo>
                  <a:pt x="981" y="104"/>
                </a:lnTo>
                <a:lnTo>
                  <a:pt x="980" y="108"/>
                </a:lnTo>
                <a:lnTo>
                  <a:pt x="980" y="112"/>
                </a:lnTo>
                <a:lnTo>
                  <a:pt x="981" y="121"/>
                </a:lnTo>
                <a:lnTo>
                  <a:pt x="981" y="127"/>
                </a:lnTo>
                <a:lnTo>
                  <a:pt x="978" y="129"/>
                </a:lnTo>
                <a:lnTo>
                  <a:pt x="977" y="133"/>
                </a:lnTo>
                <a:lnTo>
                  <a:pt x="975" y="135"/>
                </a:lnTo>
                <a:lnTo>
                  <a:pt x="976" y="135"/>
                </a:lnTo>
                <a:lnTo>
                  <a:pt x="978" y="134"/>
                </a:lnTo>
                <a:lnTo>
                  <a:pt x="981" y="129"/>
                </a:lnTo>
                <a:lnTo>
                  <a:pt x="982" y="124"/>
                </a:lnTo>
                <a:lnTo>
                  <a:pt x="983" y="122"/>
                </a:lnTo>
                <a:lnTo>
                  <a:pt x="982" y="121"/>
                </a:lnTo>
                <a:lnTo>
                  <a:pt x="982" y="111"/>
                </a:lnTo>
                <a:lnTo>
                  <a:pt x="981" y="108"/>
                </a:lnTo>
                <a:lnTo>
                  <a:pt x="982" y="106"/>
                </a:lnTo>
                <a:lnTo>
                  <a:pt x="982" y="103"/>
                </a:lnTo>
                <a:lnTo>
                  <a:pt x="983" y="100"/>
                </a:lnTo>
                <a:lnTo>
                  <a:pt x="983" y="92"/>
                </a:lnTo>
                <a:lnTo>
                  <a:pt x="987" y="88"/>
                </a:lnTo>
                <a:lnTo>
                  <a:pt x="987" y="85"/>
                </a:lnTo>
                <a:lnTo>
                  <a:pt x="988" y="82"/>
                </a:lnTo>
                <a:lnTo>
                  <a:pt x="989" y="81"/>
                </a:lnTo>
                <a:lnTo>
                  <a:pt x="992" y="81"/>
                </a:lnTo>
                <a:lnTo>
                  <a:pt x="993" y="82"/>
                </a:lnTo>
                <a:lnTo>
                  <a:pt x="993" y="86"/>
                </a:lnTo>
                <a:lnTo>
                  <a:pt x="994" y="87"/>
                </a:lnTo>
                <a:lnTo>
                  <a:pt x="995" y="87"/>
                </a:lnTo>
                <a:lnTo>
                  <a:pt x="995" y="85"/>
                </a:lnTo>
                <a:lnTo>
                  <a:pt x="994" y="84"/>
                </a:lnTo>
                <a:lnTo>
                  <a:pt x="994" y="82"/>
                </a:lnTo>
                <a:lnTo>
                  <a:pt x="995" y="82"/>
                </a:lnTo>
                <a:lnTo>
                  <a:pt x="995" y="81"/>
                </a:lnTo>
                <a:lnTo>
                  <a:pt x="996" y="80"/>
                </a:lnTo>
                <a:lnTo>
                  <a:pt x="994" y="79"/>
                </a:lnTo>
                <a:lnTo>
                  <a:pt x="993" y="79"/>
                </a:lnTo>
                <a:lnTo>
                  <a:pt x="990" y="75"/>
                </a:lnTo>
                <a:lnTo>
                  <a:pt x="990" y="73"/>
                </a:lnTo>
                <a:lnTo>
                  <a:pt x="994" y="65"/>
                </a:lnTo>
                <a:lnTo>
                  <a:pt x="994" y="60"/>
                </a:lnTo>
                <a:lnTo>
                  <a:pt x="996" y="57"/>
                </a:lnTo>
                <a:lnTo>
                  <a:pt x="998" y="59"/>
                </a:lnTo>
                <a:lnTo>
                  <a:pt x="1000" y="59"/>
                </a:lnTo>
                <a:lnTo>
                  <a:pt x="999" y="57"/>
                </a:lnTo>
                <a:lnTo>
                  <a:pt x="998" y="55"/>
                </a:lnTo>
                <a:lnTo>
                  <a:pt x="995" y="53"/>
                </a:lnTo>
                <a:lnTo>
                  <a:pt x="996" y="49"/>
                </a:lnTo>
                <a:lnTo>
                  <a:pt x="1000" y="44"/>
                </a:lnTo>
                <a:lnTo>
                  <a:pt x="1002" y="38"/>
                </a:lnTo>
                <a:lnTo>
                  <a:pt x="1004" y="36"/>
                </a:lnTo>
                <a:lnTo>
                  <a:pt x="1006" y="35"/>
                </a:lnTo>
                <a:lnTo>
                  <a:pt x="1007" y="33"/>
                </a:lnTo>
                <a:lnTo>
                  <a:pt x="1018" y="32"/>
                </a:lnTo>
                <a:lnTo>
                  <a:pt x="1019" y="32"/>
                </a:lnTo>
                <a:lnTo>
                  <a:pt x="1020" y="33"/>
                </a:lnTo>
                <a:lnTo>
                  <a:pt x="1018" y="33"/>
                </a:lnTo>
                <a:lnTo>
                  <a:pt x="1018" y="35"/>
                </a:lnTo>
                <a:lnTo>
                  <a:pt x="1025" y="36"/>
                </a:lnTo>
                <a:lnTo>
                  <a:pt x="1026" y="37"/>
                </a:lnTo>
                <a:lnTo>
                  <a:pt x="1026" y="41"/>
                </a:lnTo>
                <a:lnTo>
                  <a:pt x="1029" y="43"/>
                </a:lnTo>
                <a:lnTo>
                  <a:pt x="1032" y="43"/>
                </a:lnTo>
                <a:lnTo>
                  <a:pt x="1032" y="47"/>
                </a:lnTo>
                <a:lnTo>
                  <a:pt x="1027" y="50"/>
                </a:lnTo>
                <a:lnTo>
                  <a:pt x="1029" y="51"/>
                </a:lnTo>
                <a:lnTo>
                  <a:pt x="1032" y="51"/>
                </a:lnTo>
                <a:lnTo>
                  <a:pt x="1031" y="53"/>
                </a:lnTo>
                <a:lnTo>
                  <a:pt x="1029" y="53"/>
                </a:lnTo>
                <a:lnTo>
                  <a:pt x="1030" y="54"/>
                </a:lnTo>
                <a:lnTo>
                  <a:pt x="1030" y="55"/>
                </a:lnTo>
                <a:lnTo>
                  <a:pt x="1031" y="54"/>
                </a:lnTo>
                <a:lnTo>
                  <a:pt x="1030" y="56"/>
                </a:lnTo>
                <a:lnTo>
                  <a:pt x="1029" y="57"/>
                </a:lnTo>
                <a:lnTo>
                  <a:pt x="1027" y="57"/>
                </a:lnTo>
                <a:lnTo>
                  <a:pt x="1027" y="61"/>
                </a:lnTo>
                <a:lnTo>
                  <a:pt x="1030" y="61"/>
                </a:lnTo>
                <a:lnTo>
                  <a:pt x="1031" y="57"/>
                </a:lnTo>
                <a:lnTo>
                  <a:pt x="1032" y="56"/>
                </a:lnTo>
                <a:lnTo>
                  <a:pt x="1037" y="55"/>
                </a:lnTo>
                <a:lnTo>
                  <a:pt x="1045" y="50"/>
                </a:lnTo>
                <a:lnTo>
                  <a:pt x="1046" y="50"/>
                </a:lnTo>
                <a:lnTo>
                  <a:pt x="1049" y="53"/>
                </a:lnTo>
                <a:lnTo>
                  <a:pt x="1049" y="57"/>
                </a:lnTo>
                <a:lnTo>
                  <a:pt x="1048" y="60"/>
                </a:lnTo>
                <a:lnTo>
                  <a:pt x="1045" y="63"/>
                </a:lnTo>
                <a:lnTo>
                  <a:pt x="1044" y="66"/>
                </a:lnTo>
                <a:lnTo>
                  <a:pt x="1050" y="63"/>
                </a:lnTo>
                <a:lnTo>
                  <a:pt x="1051" y="63"/>
                </a:lnTo>
                <a:lnTo>
                  <a:pt x="1051" y="61"/>
                </a:lnTo>
                <a:lnTo>
                  <a:pt x="1052" y="60"/>
                </a:lnTo>
                <a:lnTo>
                  <a:pt x="1056" y="55"/>
                </a:lnTo>
                <a:lnTo>
                  <a:pt x="1057" y="54"/>
                </a:lnTo>
                <a:lnTo>
                  <a:pt x="1062" y="54"/>
                </a:lnTo>
                <a:lnTo>
                  <a:pt x="1067" y="57"/>
                </a:lnTo>
                <a:lnTo>
                  <a:pt x="1065" y="60"/>
                </a:lnTo>
                <a:lnTo>
                  <a:pt x="1064" y="61"/>
                </a:lnTo>
                <a:lnTo>
                  <a:pt x="1062" y="62"/>
                </a:lnTo>
                <a:lnTo>
                  <a:pt x="1063" y="63"/>
                </a:lnTo>
                <a:lnTo>
                  <a:pt x="1068" y="63"/>
                </a:lnTo>
                <a:lnTo>
                  <a:pt x="1073" y="68"/>
                </a:lnTo>
                <a:lnTo>
                  <a:pt x="1071" y="70"/>
                </a:lnTo>
                <a:lnTo>
                  <a:pt x="1069" y="72"/>
                </a:lnTo>
                <a:lnTo>
                  <a:pt x="1064" y="73"/>
                </a:lnTo>
                <a:lnTo>
                  <a:pt x="1063" y="74"/>
                </a:lnTo>
                <a:lnTo>
                  <a:pt x="1063" y="75"/>
                </a:lnTo>
                <a:lnTo>
                  <a:pt x="1064" y="75"/>
                </a:lnTo>
                <a:lnTo>
                  <a:pt x="1064" y="76"/>
                </a:lnTo>
                <a:lnTo>
                  <a:pt x="1063" y="76"/>
                </a:lnTo>
                <a:lnTo>
                  <a:pt x="1060" y="75"/>
                </a:lnTo>
                <a:lnTo>
                  <a:pt x="1057" y="75"/>
                </a:lnTo>
                <a:lnTo>
                  <a:pt x="1057" y="76"/>
                </a:lnTo>
                <a:lnTo>
                  <a:pt x="1064" y="78"/>
                </a:lnTo>
                <a:lnTo>
                  <a:pt x="1077" y="73"/>
                </a:lnTo>
                <a:lnTo>
                  <a:pt x="1079" y="73"/>
                </a:lnTo>
                <a:lnTo>
                  <a:pt x="1082" y="75"/>
                </a:lnTo>
                <a:lnTo>
                  <a:pt x="1083" y="78"/>
                </a:lnTo>
                <a:lnTo>
                  <a:pt x="1081" y="79"/>
                </a:lnTo>
                <a:lnTo>
                  <a:pt x="1088" y="85"/>
                </a:lnTo>
                <a:lnTo>
                  <a:pt x="1089" y="88"/>
                </a:lnTo>
                <a:lnTo>
                  <a:pt x="1091" y="91"/>
                </a:lnTo>
                <a:lnTo>
                  <a:pt x="1092" y="92"/>
                </a:lnTo>
                <a:lnTo>
                  <a:pt x="1093" y="91"/>
                </a:lnTo>
                <a:lnTo>
                  <a:pt x="1093" y="90"/>
                </a:lnTo>
                <a:lnTo>
                  <a:pt x="1096" y="86"/>
                </a:lnTo>
                <a:lnTo>
                  <a:pt x="1098" y="87"/>
                </a:lnTo>
                <a:lnTo>
                  <a:pt x="1099" y="91"/>
                </a:lnTo>
                <a:lnTo>
                  <a:pt x="1099" y="92"/>
                </a:lnTo>
                <a:lnTo>
                  <a:pt x="1100" y="92"/>
                </a:lnTo>
                <a:lnTo>
                  <a:pt x="1102" y="98"/>
                </a:lnTo>
                <a:lnTo>
                  <a:pt x="1102" y="99"/>
                </a:lnTo>
                <a:lnTo>
                  <a:pt x="1101" y="100"/>
                </a:lnTo>
                <a:lnTo>
                  <a:pt x="1101" y="104"/>
                </a:lnTo>
                <a:lnTo>
                  <a:pt x="1102" y="105"/>
                </a:lnTo>
                <a:lnTo>
                  <a:pt x="1102" y="106"/>
                </a:lnTo>
                <a:lnTo>
                  <a:pt x="1104" y="108"/>
                </a:lnTo>
                <a:lnTo>
                  <a:pt x="1101" y="108"/>
                </a:lnTo>
                <a:lnTo>
                  <a:pt x="1096" y="111"/>
                </a:lnTo>
                <a:lnTo>
                  <a:pt x="1081" y="112"/>
                </a:lnTo>
                <a:lnTo>
                  <a:pt x="1080" y="113"/>
                </a:lnTo>
                <a:lnTo>
                  <a:pt x="1080" y="117"/>
                </a:lnTo>
                <a:lnTo>
                  <a:pt x="1079" y="118"/>
                </a:lnTo>
                <a:lnTo>
                  <a:pt x="1075" y="119"/>
                </a:lnTo>
                <a:lnTo>
                  <a:pt x="1073" y="122"/>
                </a:lnTo>
                <a:lnTo>
                  <a:pt x="1073" y="123"/>
                </a:lnTo>
                <a:lnTo>
                  <a:pt x="1074" y="124"/>
                </a:lnTo>
                <a:lnTo>
                  <a:pt x="1073" y="128"/>
                </a:lnTo>
                <a:lnTo>
                  <a:pt x="1071" y="129"/>
                </a:lnTo>
                <a:lnTo>
                  <a:pt x="1064" y="131"/>
                </a:lnTo>
                <a:lnTo>
                  <a:pt x="1063" y="133"/>
                </a:lnTo>
                <a:lnTo>
                  <a:pt x="1063" y="134"/>
                </a:lnTo>
                <a:lnTo>
                  <a:pt x="1064" y="135"/>
                </a:lnTo>
                <a:lnTo>
                  <a:pt x="1044" y="131"/>
                </a:lnTo>
                <a:lnTo>
                  <a:pt x="1025" y="129"/>
                </a:lnTo>
                <a:lnTo>
                  <a:pt x="1013" y="124"/>
                </a:lnTo>
                <a:lnTo>
                  <a:pt x="1001" y="121"/>
                </a:lnTo>
                <a:lnTo>
                  <a:pt x="999" y="122"/>
                </a:lnTo>
                <a:lnTo>
                  <a:pt x="999" y="123"/>
                </a:lnTo>
                <a:lnTo>
                  <a:pt x="1005" y="123"/>
                </a:lnTo>
                <a:lnTo>
                  <a:pt x="1005" y="125"/>
                </a:lnTo>
                <a:lnTo>
                  <a:pt x="1000" y="128"/>
                </a:lnTo>
                <a:lnTo>
                  <a:pt x="999" y="129"/>
                </a:lnTo>
                <a:lnTo>
                  <a:pt x="1001" y="131"/>
                </a:lnTo>
                <a:lnTo>
                  <a:pt x="1005" y="131"/>
                </a:lnTo>
                <a:lnTo>
                  <a:pt x="1006" y="129"/>
                </a:lnTo>
                <a:lnTo>
                  <a:pt x="1008" y="131"/>
                </a:lnTo>
                <a:lnTo>
                  <a:pt x="1006" y="131"/>
                </a:lnTo>
                <a:lnTo>
                  <a:pt x="1005" y="133"/>
                </a:lnTo>
                <a:lnTo>
                  <a:pt x="1012" y="134"/>
                </a:lnTo>
                <a:lnTo>
                  <a:pt x="1015" y="136"/>
                </a:lnTo>
                <a:lnTo>
                  <a:pt x="1021" y="136"/>
                </a:lnTo>
                <a:lnTo>
                  <a:pt x="1021" y="137"/>
                </a:lnTo>
                <a:lnTo>
                  <a:pt x="1023" y="137"/>
                </a:lnTo>
                <a:lnTo>
                  <a:pt x="1024" y="139"/>
                </a:lnTo>
                <a:lnTo>
                  <a:pt x="1024" y="140"/>
                </a:lnTo>
                <a:lnTo>
                  <a:pt x="1021" y="141"/>
                </a:lnTo>
                <a:lnTo>
                  <a:pt x="1023" y="142"/>
                </a:lnTo>
                <a:lnTo>
                  <a:pt x="1030" y="141"/>
                </a:lnTo>
                <a:lnTo>
                  <a:pt x="1032" y="143"/>
                </a:lnTo>
                <a:lnTo>
                  <a:pt x="1044" y="147"/>
                </a:lnTo>
                <a:lnTo>
                  <a:pt x="1044" y="148"/>
                </a:lnTo>
                <a:lnTo>
                  <a:pt x="1039" y="152"/>
                </a:lnTo>
                <a:lnTo>
                  <a:pt x="1038" y="153"/>
                </a:lnTo>
                <a:lnTo>
                  <a:pt x="1036" y="154"/>
                </a:lnTo>
                <a:lnTo>
                  <a:pt x="1033" y="156"/>
                </a:lnTo>
                <a:lnTo>
                  <a:pt x="1033" y="158"/>
                </a:lnTo>
                <a:lnTo>
                  <a:pt x="1032" y="159"/>
                </a:lnTo>
                <a:lnTo>
                  <a:pt x="1032" y="160"/>
                </a:lnTo>
                <a:lnTo>
                  <a:pt x="1031" y="160"/>
                </a:lnTo>
                <a:lnTo>
                  <a:pt x="1033" y="161"/>
                </a:lnTo>
                <a:lnTo>
                  <a:pt x="1033" y="160"/>
                </a:lnTo>
                <a:lnTo>
                  <a:pt x="1036" y="158"/>
                </a:lnTo>
                <a:lnTo>
                  <a:pt x="1037" y="154"/>
                </a:lnTo>
                <a:lnTo>
                  <a:pt x="1039" y="154"/>
                </a:lnTo>
                <a:lnTo>
                  <a:pt x="1040" y="155"/>
                </a:lnTo>
                <a:lnTo>
                  <a:pt x="1044" y="155"/>
                </a:lnTo>
                <a:lnTo>
                  <a:pt x="1045" y="154"/>
                </a:lnTo>
                <a:lnTo>
                  <a:pt x="1046" y="155"/>
                </a:lnTo>
                <a:lnTo>
                  <a:pt x="1046" y="160"/>
                </a:lnTo>
                <a:lnTo>
                  <a:pt x="1048" y="164"/>
                </a:lnTo>
                <a:lnTo>
                  <a:pt x="1048" y="165"/>
                </a:lnTo>
                <a:lnTo>
                  <a:pt x="1046" y="167"/>
                </a:lnTo>
                <a:lnTo>
                  <a:pt x="1043" y="171"/>
                </a:lnTo>
                <a:lnTo>
                  <a:pt x="1043" y="173"/>
                </a:lnTo>
                <a:lnTo>
                  <a:pt x="1042" y="173"/>
                </a:lnTo>
                <a:lnTo>
                  <a:pt x="1042" y="174"/>
                </a:lnTo>
                <a:lnTo>
                  <a:pt x="1040" y="176"/>
                </a:lnTo>
                <a:lnTo>
                  <a:pt x="1040" y="178"/>
                </a:lnTo>
                <a:lnTo>
                  <a:pt x="1038" y="178"/>
                </a:lnTo>
                <a:lnTo>
                  <a:pt x="1037" y="179"/>
                </a:lnTo>
                <a:lnTo>
                  <a:pt x="1038" y="179"/>
                </a:lnTo>
                <a:lnTo>
                  <a:pt x="1038" y="180"/>
                </a:lnTo>
                <a:lnTo>
                  <a:pt x="1036" y="185"/>
                </a:lnTo>
                <a:lnTo>
                  <a:pt x="1038" y="183"/>
                </a:lnTo>
                <a:lnTo>
                  <a:pt x="1039" y="180"/>
                </a:lnTo>
                <a:lnTo>
                  <a:pt x="1044" y="176"/>
                </a:lnTo>
                <a:lnTo>
                  <a:pt x="1045" y="176"/>
                </a:lnTo>
                <a:lnTo>
                  <a:pt x="1050" y="174"/>
                </a:lnTo>
                <a:lnTo>
                  <a:pt x="1054" y="176"/>
                </a:lnTo>
                <a:lnTo>
                  <a:pt x="1057" y="172"/>
                </a:lnTo>
                <a:lnTo>
                  <a:pt x="1060" y="171"/>
                </a:lnTo>
                <a:lnTo>
                  <a:pt x="1061" y="172"/>
                </a:lnTo>
                <a:lnTo>
                  <a:pt x="1060" y="173"/>
                </a:lnTo>
                <a:lnTo>
                  <a:pt x="1058" y="176"/>
                </a:lnTo>
                <a:lnTo>
                  <a:pt x="1055" y="179"/>
                </a:lnTo>
                <a:lnTo>
                  <a:pt x="1055" y="182"/>
                </a:lnTo>
                <a:lnTo>
                  <a:pt x="1056" y="179"/>
                </a:lnTo>
                <a:lnTo>
                  <a:pt x="1057" y="178"/>
                </a:lnTo>
                <a:lnTo>
                  <a:pt x="1058" y="178"/>
                </a:lnTo>
                <a:lnTo>
                  <a:pt x="1061" y="176"/>
                </a:lnTo>
                <a:lnTo>
                  <a:pt x="1062" y="178"/>
                </a:lnTo>
                <a:lnTo>
                  <a:pt x="1062" y="179"/>
                </a:lnTo>
                <a:lnTo>
                  <a:pt x="1065" y="182"/>
                </a:lnTo>
                <a:lnTo>
                  <a:pt x="1065" y="180"/>
                </a:lnTo>
                <a:lnTo>
                  <a:pt x="1064" y="179"/>
                </a:lnTo>
                <a:lnTo>
                  <a:pt x="1063" y="174"/>
                </a:lnTo>
                <a:lnTo>
                  <a:pt x="1062" y="173"/>
                </a:lnTo>
                <a:lnTo>
                  <a:pt x="1063" y="173"/>
                </a:lnTo>
                <a:lnTo>
                  <a:pt x="1065" y="172"/>
                </a:lnTo>
                <a:lnTo>
                  <a:pt x="1067" y="172"/>
                </a:lnTo>
                <a:lnTo>
                  <a:pt x="1067" y="170"/>
                </a:lnTo>
                <a:lnTo>
                  <a:pt x="1065" y="168"/>
                </a:lnTo>
                <a:lnTo>
                  <a:pt x="1065" y="167"/>
                </a:lnTo>
                <a:lnTo>
                  <a:pt x="1064" y="166"/>
                </a:lnTo>
                <a:lnTo>
                  <a:pt x="1064" y="158"/>
                </a:lnTo>
                <a:lnTo>
                  <a:pt x="1070" y="158"/>
                </a:lnTo>
                <a:lnTo>
                  <a:pt x="1071" y="160"/>
                </a:lnTo>
                <a:lnTo>
                  <a:pt x="1071" y="161"/>
                </a:lnTo>
                <a:lnTo>
                  <a:pt x="1069" y="162"/>
                </a:lnTo>
                <a:lnTo>
                  <a:pt x="1070" y="164"/>
                </a:lnTo>
                <a:lnTo>
                  <a:pt x="1074" y="162"/>
                </a:lnTo>
                <a:lnTo>
                  <a:pt x="1075" y="164"/>
                </a:lnTo>
                <a:lnTo>
                  <a:pt x="1075" y="180"/>
                </a:lnTo>
                <a:lnTo>
                  <a:pt x="1074" y="183"/>
                </a:lnTo>
                <a:lnTo>
                  <a:pt x="1071" y="183"/>
                </a:lnTo>
                <a:lnTo>
                  <a:pt x="1073" y="184"/>
                </a:lnTo>
                <a:lnTo>
                  <a:pt x="1076" y="183"/>
                </a:lnTo>
                <a:lnTo>
                  <a:pt x="1076" y="176"/>
                </a:lnTo>
                <a:lnTo>
                  <a:pt x="1077" y="176"/>
                </a:lnTo>
                <a:lnTo>
                  <a:pt x="1077" y="171"/>
                </a:lnTo>
                <a:lnTo>
                  <a:pt x="1076" y="170"/>
                </a:lnTo>
                <a:lnTo>
                  <a:pt x="1077" y="170"/>
                </a:lnTo>
                <a:lnTo>
                  <a:pt x="1076" y="167"/>
                </a:lnTo>
                <a:lnTo>
                  <a:pt x="1079" y="166"/>
                </a:lnTo>
                <a:lnTo>
                  <a:pt x="1087" y="167"/>
                </a:lnTo>
                <a:lnTo>
                  <a:pt x="1088" y="168"/>
                </a:lnTo>
                <a:lnTo>
                  <a:pt x="1087" y="168"/>
                </a:lnTo>
                <a:lnTo>
                  <a:pt x="1087" y="171"/>
                </a:lnTo>
                <a:lnTo>
                  <a:pt x="1088" y="172"/>
                </a:lnTo>
                <a:lnTo>
                  <a:pt x="1088" y="171"/>
                </a:lnTo>
                <a:lnTo>
                  <a:pt x="1089" y="171"/>
                </a:lnTo>
                <a:lnTo>
                  <a:pt x="1093" y="167"/>
                </a:lnTo>
                <a:lnTo>
                  <a:pt x="1093" y="172"/>
                </a:lnTo>
                <a:lnTo>
                  <a:pt x="1094" y="174"/>
                </a:lnTo>
                <a:lnTo>
                  <a:pt x="1094" y="176"/>
                </a:lnTo>
                <a:lnTo>
                  <a:pt x="1095" y="178"/>
                </a:lnTo>
                <a:lnTo>
                  <a:pt x="1095" y="182"/>
                </a:lnTo>
                <a:lnTo>
                  <a:pt x="1096" y="184"/>
                </a:lnTo>
                <a:lnTo>
                  <a:pt x="1096" y="195"/>
                </a:lnTo>
                <a:lnTo>
                  <a:pt x="1095" y="199"/>
                </a:lnTo>
                <a:lnTo>
                  <a:pt x="1094" y="201"/>
                </a:lnTo>
                <a:lnTo>
                  <a:pt x="1089" y="202"/>
                </a:lnTo>
                <a:lnTo>
                  <a:pt x="1080" y="199"/>
                </a:lnTo>
                <a:lnTo>
                  <a:pt x="1077" y="199"/>
                </a:lnTo>
                <a:lnTo>
                  <a:pt x="1070" y="190"/>
                </a:lnTo>
                <a:lnTo>
                  <a:pt x="1068" y="188"/>
                </a:lnTo>
                <a:lnTo>
                  <a:pt x="1063" y="188"/>
                </a:lnTo>
                <a:lnTo>
                  <a:pt x="1063" y="189"/>
                </a:lnTo>
                <a:lnTo>
                  <a:pt x="1064" y="190"/>
                </a:lnTo>
                <a:lnTo>
                  <a:pt x="1067" y="191"/>
                </a:lnTo>
                <a:lnTo>
                  <a:pt x="1067" y="192"/>
                </a:lnTo>
                <a:lnTo>
                  <a:pt x="1068" y="195"/>
                </a:lnTo>
                <a:lnTo>
                  <a:pt x="1068" y="197"/>
                </a:lnTo>
                <a:lnTo>
                  <a:pt x="1067" y="199"/>
                </a:lnTo>
                <a:lnTo>
                  <a:pt x="1067" y="201"/>
                </a:lnTo>
                <a:lnTo>
                  <a:pt x="1064" y="203"/>
                </a:lnTo>
                <a:lnTo>
                  <a:pt x="1064" y="205"/>
                </a:lnTo>
                <a:lnTo>
                  <a:pt x="1063" y="207"/>
                </a:lnTo>
                <a:lnTo>
                  <a:pt x="1063" y="211"/>
                </a:lnTo>
                <a:lnTo>
                  <a:pt x="1057" y="217"/>
                </a:lnTo>
                <a:lnTo>
                  <a:pt x="1056" y="220"/>
                </a:lnTo>
                <a:lnTo>
                  <a:pt x="1056" y="221"/>
                </a:lnTo>
                <a:lnTo>
                  <a:pt x="1048" y="221"/>
                </a:lnTo>
                <a:lnTo>
                  <a:pt x="1043" y="226"/>
                </a:lnTo>
                <a:lnTo>
                  <a:pt x="1040" y="227"/>
                </a:lnTo>
                <a:lnTo>
                  <a:pt x="1033" y="227"/>
                </a:lnTo>
                <a:lnTo>
                  <a:pt x="1031" y="228"/>
                </a:lnTo>
                <a:lnTo>
                  <a:pt x="1030" y="231"/>
                </a:lnTo>
                <a:lnTo>
                  <a:pt x="1030" y="233"/>
                </a:lnTo>
                <a:lnTo>
                  <a:pt x="1029" y="237"/>
                </a:lnTo>
                <a:lnTo>
                  <a:pt x="1029" y="240"/>
                </a:lnTo>
                <a:lnTo>
                  <a:pt x="1027" y="241"/>
                </a:lnTo>
                <a:lnTo>
                  <a:pt x="1027" y="245"/>
                </a:lnTo>
                <a:lnTo>
                  <a:pt x="1026" y="248"/>
                </a:lnTo>
                <a:lnTo>
                  <a:pt x="1026" y="251"/>
                </a:lnTo>
                <a:lnTo>
                  <a:pt x="1025" y="252"/>
                </a:lnTo>
                <a:lnTo>
                  <a:pt x="1023" y="256"/>
                </a:lnTo>
                <a:lnTo>
                  <a:pt x="1018" y="260"/>
                </a:lnTo>
                <a:lnTo>
                  <a:pt x="1015" y="259"/>
                </a:lnTo>
                <a:lnTo>
                  <a:pt x="1014" y="260"/>
                </a:lnTo>
                <a:lnTo>
                  <a:pt x="1013" y="260"/>
                </a:lnTo>
                <a:lnTo>
                  <a:pt x="1008" y="254"/>
                </a:lnTo>
                <a:lnTo>
                  <a:pt x="1008" y="251"/>
                </a:lnTo>
                <a:lnTo>
                  <a:pt x="1009" y="242"/>
                </a:lnTo>
                <a:lnTo>
                  <a:pt x="1009" y="239"/>
                </a:lnTo>
                <a:lnTo>
                  <a:pt x="1025" y="220"/>
                </a:lnTo>
                <a:lnTo>
                  <a:pt x="1030" y="209"/>
                </a:lnTo>
                <a:lnTo>
                  <a:pt x="1024" y="194"/>
                </a:lnTo>
                <a:lnTo>
                  <a:pt x="1021" y="184"/>
                </a:lnTo>
                <a:lnTo>
                  <a:pt x="1021" y="183"/>
                </a:lnTo>
                <a:lnTo>
                  <a:pt x="1007" y="177"/>
                </a:lnTo>
                <a:lnTo>
                  <a:pt x="994" y="170"/>
                </a:lnTo>
                <a:lnTo>
                  <a:pt x="992" y="168"/>
                </a:lnTo>
                <a:lnTo>
                  <a:pt x="990" y="167"/>
                </a:lnTo>
                <a:lnTo>
                  <a:pt x="989" y="165"/>
                </a:lnTo>
                <a:lnTo>
                  <a:pt x="989" y="161"/>
                </a:lnTo>
                <a:lnTo>
                  <a:pt x="981" y="158"/>
                </a:lnTo>
                <a:lnTo>
                  <a:pt x="981" y="156"/>
                </a:lnTo>
                <a:lnTo>
                  <a:pt x="973" y="142"/>
                </a:lnTo>
                <a:lnTo>
                  <a:pt x="970" y="136"/>
                </a:lnTo>
                <a:lnTo>
                  <a:pt x="968" y="134"/>
                </a:lnTo>
                <a:lnTo>
                  <a:pt x="964" y="136"/>
                </a:lnTo>
                <a:lnTo>
                  <a:pt x="959" y="135"/>
                </a:lnTo>
                <a:lnTo>
                  <a:pt x="957" y="136"/>
                </a:lnTo>
                <a:lnTo>
                  <a:pt x="955" y="139"/>
                </a:lnTo>
                <a:lnTo>
                  <a:pt x="955" y="141"/>
                </a:lnTo>
                <a:lnTo>
                  <a:pt x="950" y="143"/>
                </a:lnTo>
                <a:lnTo>
                  <a:pt x="947" y="147"/>
                </a:lnTo>
                <a:lnTo>
                  <a:pt x="945" y="147"/>
                </a:lnTo>
                <a:lnTo>
                  <a:pt x="945" y="149"/>
                </a:lnTo>
                <a:lnTo>
                  <a:pt x="946" y="149"/>
                </a:lnTo>
                <a:lnTo>
                  <a:pt x="944" y="152"/>
                </a:lnTo>
                <a:lnTo>
                  <a:pt x="936" y="155"/>
                </a:lnTo>
                <a:lnTo>
                  <a:pt x="934" y="155"/>
                </a:lnTo>
                <a:lnTo>
                  <a:pt x="932" y="153"/>
                </a:lnTo>
                <a:lnTo>
                  <a:pt x="930" y="153"/>
                </a:lnTo>
                <a:lnTo>
                  <a:pt x="925" y="151"/>
                </a:lnTo>
                <a:lnTo>
                  <a:pt x="921" y="152"/>
                </a:lnTo>
                <a:lnTo>
                  <a:pt x="919" y="152"/>
                </a:lnTo>
                <a:lnTo>
                  <a:pt x="912" y="153"/>
                </a:lnTo>
                <a:lnTo>
                  <a:pt x="911" y="153"/>
                </a:lnTo>
                <a:lnTo>
                  <a:pt x="908" y="158"/>
                </a:lnTo>
                <a:lnTo>
                  <a:pt x="907" y="159"/>
                </a:lnTo>
                <a:lnTo>
                  <a:pt x="908" y="161"/>
                </a:lnTo>
                <a:lnTo>
                  <a:pt x="907" y="164"/>
                </a:lnTo>
                <a:lnTo>
                  <a:pt x="902" y="168"/>
                </a:lnTo>
                <a:lnTo>
                  <a:pt x="900" y="173"/>
                </a:lnTo>
                <a:lnTo>
                  <a:pt x="899" y="177"/>
                </a:lnTo>
                <a:lnTo>
                  <a:pt x="897" y="177"/>
                </a:lnTo>
                <a:lnTo>
                  <a:pt x="897" y="178"/>
                </a:lnTo>
                <a:lnTo>
                  <a:pt x="896" y="179"/>
                </a:lnTo>
                <a:lnTo>
                  <a:pt x="890" y="180"/>
                </a:lnTo>
                <a:lnTo>
                  <a:pt x="888" y="183"/>
                </a:lnTo>
                <a:lnTo>
                  <a:pt x="888" y="185"/>
                </a:lnTo>
                <a:lnTo>
                  <a:pt x="887" y="186"/>
                </a:lnTo>
                <a:lnTo>
                  <a:pt x="888" y="188"/>
                </a:lnTo>
                <a:lnTo>
                  <a:pt x="888" y="189"/>
                </a:lnTo>
                <a:lnTo>
                  <a:pt x="889" y="191"/>
                </a:lnTo>
                <a:lnTo>
                  <a:pt x="889" y="194"/>
                </a:lnTo>
                <a:lnTo>
                  <a:pt x="887" y="198"/>
                </a:lnTo>
                <a:lnTo>
                  <a:pt x="884" y="201"/>
                </a:lnTo>
                <a:lnTo>
                  <a:pt x="884" y="203"/>
                </a:lnTo>
                <a:lnTo>
                  <a:pt x="886" y="204"/>
                </a:lnTo>
                <a:lnTo>
                  <a:pt x="884" y="205"/>
                </a:lnTo>
                <a:lnTo>
                  <a:pt x="884" y="210"/>
                </a:lnTo>
                <a:lnTo>
                  <a:pt x="883" y="211"/>
                </a:lnTo>
                <a:lnTo>
                  <a:pt x="882" y="214"/>
                </a:lnTo>
                <a:lnTo>
                  <a:pt x="883" y="219"/>
                </a:lnTo>
                <a:lnTo>
                  <a:pt x="883" y="220"/>
                </a:lnTo>
                <a:lnTo>
                  <a:pt x="880" y="227"/>
                </a:lnTo>
                <a:lnTo>
                  <a:pt x="880" y="228"/>
                </a:lnTo>
                <a:lnTo>
                  <a:pt x="878" y="238"/>
                </a:lnTo>
                <a:lnTo>
                  <a:pt x="877" y="241"/>
                </a:lnTo>
                <a:lnTo>
                  <a:pt x="878" y="245"/>
                </a:lnTo>
                <a:lnTo>
                  <a:pt x="880" y="247"/>
                </a:lnTo>
                <a:lnTo>
                  <a:pt x="880" y="250"/>
                </a:lnTo>
                <a:lnTo>
                  <a:pt x="878" y="250"/>
                </a:lnTo>
                <a:lnTo>
                  <a:pt x="878" y="257"/>
                </a:lnTo>
                <a:lnTo>
                  <a:pt x="880" y="259"/>
                </a:lnTo>
                <a:lnTo>
                  <a:pt x="880" y="262"/>
                </a:lnTo>
                <a:lnTo>
                  <a:pt x="881" y="262"/>
                </a:lnTo>
                <a:lnTo>
                  <a:pt x="881" y="265"/>
                </a:lnTo>
                <a:lnTo>
                  <a:pt x="878" y="266"/>
                </a:lnTo>
                <a:lnTo>
                  <a:pt x="878" y="270"/>
                </a:lnTo>
                <a:lnTo>
                  <a:pt x="876" y="272"/>
                </a:lnTo>
                <a:lnTo>
                  <a:pt x="875" y="275"/>
                </a:lnTo>
                <a:lnTo>
                  <a:pt x="875" y="277"/>
                </a:lnTo>
                <a:lnTo>
                  <a:pt x="872" y="279"/>
                </a:lnTo>
                <a:lnTo>
                  <a:pt x="866" y="277"/>
                </a:lnTo>
                <a:lnTo>
                  <a:pt x="865" y="277"/>
                </a:lnTo>
                <a:lnTo>
                  <a:pt x="863" y="278"/>
                </a:lnTo>
                <a:lnTo>
                  <a:pt x="856" y="285"/>
                </a:lnTo>
                <a:lnTo>
                  <a:pt x="853" y="289"/>
                </a:lnTo>
                <a:lnTo>
                  <a:pt x="853" y="300"/>
                </a:lnTo>
                <a:lnTo>
                  <a:pt x="852" y="301"/>
                </a:lnTo>
                <a:lnTo>
                  <a:pt x="852" y="302"/>
                </a:lnTo>
                <a:lnTo>
                  <a:pt x="853" y="303"/>
                </a:lnTo>
                <a:lnTo>
                  <a:pt x="852" y="306"/>
                </a:lnTo>
                <a:lnTo>
                  <a:pt x="851" y="307"/>
                </a:lnTo>
                <a:lnTo>
                  <a:pt x="850" y="307"/>
                </a:lnTo>
                <a:lnTo>
                  <a:pt x="847" y="309"/>
                </a:lnTo>
                <a:lnTo>
                  <a:pt x="846" y="309"/>
                </a:lnTo>
                <a:lnTo>
                  <a:pt x="844" y="312"/>
                </a:lnTo>
                <a:lnTo>
                  <a:pt x="844" y="314"/>
                </a:lnTo>
                <a:lnTo>
                  <a:pt x="841" y="317"/>
                </a:lnTo>
                <a:lnTo>
                  <a:pt x="841" y="315"/>
                </a:lnTo>
                <a:lnTo>
                  <a:pt x="839" y="312"/>
                </a:lnTo>
                <a:lnTo>
                  <a:pt x="837" y="306"/>
                </a:lnTo>
                <a:lnTo>
                  <a:pt x="833" y="303"/>
                </a:lnTo>
                <a:lnTo>
                  <a:pt x="825" y="300"/>
                </a:lnTo>
                <a:lnTo>
                  <a:pt x="819" y="299"/>
                </a:lnTo>
                <a:lnTo>
                  <a:pt x="813" y="294"/>
                </a:lnTo>
                <a:lnTo>
                  <a:pt x="812" y="293"/>
                </a:lnTo>
                <a:lnTo>
                  <a:pt x="810" y="290"/>
                </a:lnTo>
                <a:lnTo>
                  <a:pt x="802" y="285"/>
                </a:lnTo>
                <a:lnTo>
                  <a:pt x="799" y="285"/>
                </a:lnTo>
                <a:lnTo>
                  <a:pt x="796" y="288"/>
                </a:lnTo>
                <a:lnTo>
                  <a:pt x="794" y="297"/>
                </a:lnTo>
                <a:lnTo>
                  <a:pt x="789" y="300"/>
                </a:lnTo>
                <a:lnTo>
                  <a:pt x="783" y="301"/>
                </a:lnTo>
                <a:lnTo>
                  <a:pt x="771" y="308"/>
                </a:lnTo>
                <a:lnTo>
                  <a:pt x="770" y="308"/>
                </a:lnTo>
                <a:lnTo>
                  <a:pt x="766" y="302"/>
                </a:lnTo>
                <a:lnTo>
                  <a:pt x="765" y="301"/>
                </a:lnTo>
                <a:lnTo>
                  <a:pt x="763" y="301"/>
                </a:lnTo>
                <a:lnTo>
                  <a:pt x="756" y="302"/>
                </a:lnTo>
                <a:lnTo>
                  <a:pt x="745" y="296"/>
                </a:lnTo>
                <a:lnTo>
                  <a:pt x="742" y="296"/>
                </a:lnTo>
                <a:lnTo>
                  <a:pt x="738" y="297"/>
                </a:lnTo>
                <a:lnTo>
                  <a:pt x="737" y="295"/>
                </a:lnTo>
                <a:lnTo>
                  <a:pt x="735" y="284"/>
                </a:lnTo>
                <a:lnTo>
                  <a:pt x="735" y="283"/>
                </a:lnTo>
                <a:lnTo>
                  <a:pt x="732" y="281"/>
                </a:lnTo>
                <a:lnTo>
                  <a:pt x="728" y="275"/>
                </a:lnTo>
                <a:lnTo>
                  <a:pt x="728" y="274"/>
                </a:lnTo>
                <a:lnTo>
                  <a:pt x="727" y="271"/>
                </a:lnTo>
                <a:lnTo>
                  <a:pt x="727" y="269"/>
                </a:lnTo>
                <a:lnTo>
                  <a:pt x="721" y="263"/>
                </a:lnTo>
                <a:lnTo>
                  <a:pt x="717" y="257"/>
                </a:lnTo>
                <a:lnTo>
                  <a:pt x="706" y="233"/>
                </a:lnTo>
                <a:lnTo>
                  <a:pt x="704" y="232"/>
                </a:lnTo>
                <a:lnTo>
                  <a:pt x="691" y="229"/>
                </a:lnTo>
                <a:lnTo>
                  <a:pt x="682" y="235"/>
                </a:lnTo>
                <a:lnTo>
                  <a:pt x="682" y="237"/>
                </a:lnTo>
                <a:lnTo>
                  <a:pt x="681" y="239"/>
                </a:lnTo>
                <a:lnTo>
                  <a:pt x="679" y="242"/>
                </a:lnTo>
                <a:lnTo>
                  <a:pt x="684" y="253"/>
                </a:lnTo>
                <a:lnTo>
                  <a:pt x="682" y="259"/>
                </a:lnTo>
                <a:lnTo>
                  <a:pt x="679" y="259"/>
                </a:lnTo>
                <a:lnTo>
                  <a:pt x="667" y="252"/>
                </a:lnTo>
                <a:lnTo>
                  <a:pt x="666" y="252"/>
                </a:lnTo>
                <a:lnTo>
                  <a:pt x="663" y="259"/>
                </a:lnTo>
                <a:lnTo>
                  <a:pt x="651" y="260"/>
                </a:lnTo>
                <a:lnTo>
                  <a:pt x="640" y="262"/>
                </a:lnTo>
                <a:lnTo>
                  <a:pt x="651" y="275"/>
                </a:lnTo>
                <a:lnTo>
                  <a:pt x="651" y="289"/>
                </a:lnTo>
                <a:lnTo>
                  <a:pt x="650" y="291"/>
                </a:lnTo>
                <a:lnTo>
                  <a:pt x="646" y="303"/>
                </a:lnTo>
                <a:lnTo>
                  <a:pt x="642" y="309"/>
                </a:lnTo>
                <a:lnTo>
                  <a:pt x="634" y="318"/>
                </a:lnTo>
                <a:lnTo>
                  <a:pt x="646" y="325"/>
                </a:lnTo>
                <a:lnTo>
                  <a:pt x="636" y="338"/>
                </a:lnTo>
                <a:lnTo>
                  <a:pt x="634" y="339"/>
                </a:lnTo>
                <a:lnTo>
                  <a:pt x="633" y="339"/>
                </a:lnTo>
                <a:lnTo>
                  <a:pt x="614" y="331"/>
                </a:lnTo>
                <a:lnTo>
                  <a:pt x="595" y="321"/>
                </a:lnTo>
                <a:lnTo>
                  <a:pt x="580" y="322"/>
                </a:lnTo>
                <a:lnTo>
                  <a:pt x="578" y="322"/>
                </a:lnTo>
                <a:lnTo>
                  <a:pt x="572" y="315"/>
                </a:lnTo>
                <a:lnTo>
                  <a:pt x="570" y="314"/>
                </a:lnTo>
                <a:lnTo>
                  <a:pt x="559" y="318"/>
                </a:lnTo>
                <a:lnTo>
                  <a:pt x="558" y="319"/>
                </a:lnTo>
                <a:lnTo>
                  <a:pt x="558" y="320"/>
                </a:lnTo>
                <a:lnTo>
                  <a:pt x="557" y="331"/>
                </a:lnTo>
                <a:lnTo>
                  <a:pt x="557" y="334"/>
                </a:lnTo>
                <a:lnTo>
                  <a:pt x="559" y="357"/>
                </a:lnTo>
                <a:lnTo>
                  <a:pt x="559" y="362"/>
                </a:lnTo>
                <a:lnTo>
                  <a:pt x="551" y="377"/>
                </a:lnTo>
                <a:lnTo>
                  <a:pt x="548" y="382"/>
                </a:lnTo>
                <a:lnTo>
                  <a:pt x="547" y="382"/>
                </a:lnTo>
                <a:lnTo>
                  <a:pt x="523" y="368"/>
                </a:lnTo>
                <a:lnTo>
                  <a:pt x="522" y="368"/>
                </a:lnTo>
                <a:lnTo>
                  <a:pt x="518" y="375"/>
                </a:lnTo>
                <a:lnTo>
                  <a:pt x="501" y="389"/>
                </a:lnTo>
                <a:lnTo>
                  <a:pt x="501" y="391"/>
                </a:lnTo>
                <a:lnTo>
                  <a:pt x="499" y="393"/>
                </a:lnTo>
                <a:lnTo>
                  <a:pt x="492" y="419"/>
                </a:lnTo>
                <a:lnTo>
                  <a:pt x="492" y="422"/>
                </a:lnTo>
                <a:lnTo>
                  <a:pt x="487" y="429"/>
                </a:lnTo>
                <a:lnTo>
                  <a:pt x="485" y="431"/>
                </a:lnTo>
                <a:lnTo>
                  <a:pt x="483" y="432"/>
                </a:lnTo>
                <a:lnTo>
                  <a:pt x="476" y="434"/>
                </a:lnTo>
                <a:lnTo>
                  <a:pt x="474" y="436"/>
                </a:lnTo>
                <a:lnTo>
                  <a:pt x="472" y="443"/>
                </a:lnTo>
                <a:lnTo>
                  <a:pt x="485" y="468"/>
                </a:lnTo>
                <a:lnTo>
                  <a:pt x="486" y="469"/>
                </a:lnTo>
                <a:lnTo>
                  <a:pt x="485" y="484"/>
                </a:lnTo>
                <a:lnTo>
                  <a:pt x="484" y="486"/>
                </a:lnTo>
                <a:lnTo>
                  <a:pt x="483" y="487"/>
                </a:lnTo>
                <a:lnTo>
                  <a:pt x="480" y="489"/>
                </a:lnTo>
                <a:lnTo>
                  <a:pt x="472" y="497"/>
                </a:lnTo>
                <a:lnTo>
                  <a:pt x="468" y="502"/>
                </a:lnTo>
                <a:lnTo>
                  <a:pt x="453" y="533"/>
                </a:lnTo>
                <a:lnTo>
                  <a:pt x="443" y="545"/>
                </a:lnTo>
                <a:lnTo>
                  <a:pt x="443" y="547"/>
                </a:lnTo>
                <a:lnTo>
                  <a:pt x="445" y="559"/>
                </a:lnTo>
                <a:lnTo>
                  <a:pt x="446" y="560"/>
                </a:lnTo>
                <a:lnTo>
                  <a:pt x="446" y="567"/>
                </a:lnTo>
                <a:lnTo>
                  <a:pt x="427" y="579"/>
                </a:lnTo>
                <a:lnTo>
                  <a:pt x="416" y="582"/>
                </a:lnTo>
                <a:lnTo>
                  <a:pt x="405" y="583"/>
                </a:lnTo>
                <a:lnTo>
                  <a:pt x="410" y="612"/>
                </a:lnTo>
                <a:lnTo>
                  <a:pt x="410" y="619"/>
                </a:lnTo>
                <a:lnTo>
                  <a:pt x="406" y="625"/>
                </a:lnTo>
                <a:lnTo>
                  <a:pt x="406" y="627"/>
                </a:lnTo>
                <a:lnTo>
                  <a:pt x="404" y="651"/>
                </a:lnTo>
                <a:lnTo>
                  <a:pt x="404" y="665"/>
                </a:lnTo>
                <a:lnTo>
                  <a:pt x="403" y="669"/>
                </a:lnTo>
                <a:lnTo>
                  <a:pt x="399" y="671"/>
                </a:lnTo>
                <a:lnTo>
                  <a:pt x="399" y="674"/>
                </a:lnTo>
                <a:lnTo>
                  <a:pt x="398" y="676"/>
                </a:lnTo>
                <a:lnTo>
                  <a:pt x="397" y="686"/>
                </a:lnTo>
                <a:lnTo>
                  <a:pt x="396" y="689"/>
                </a:lnTo>
                <a:lnTo>
                  <a:pt x="390" y="699"/>
                </a:lnTo>
                <a:lnTo>
                  <a:pt x="379" y="719"/>
                </a:lnTo>
                <a:lnTo>
                  <a:pt x="367" y="738"/>
                </a:lnTo>
                <a:lnTo>
                  <a:pt x="380" y="748"/>
                </a:lnTo>
                <a:lnTo>
                  <a:pt x="381" y="749"/>
                </a:lnTo>
                <a:lnTo>
                  <a:pt x="385" y="749"/>
                </a:lnTo>
                <a:lnTo>
                  <a:pt x="386" y="750"/>
                </a:lnTo>
                <a:lnTo>
                  <a:pt x="387" y="752"/>
                </a:lnTo>
                <a:lnTo>
                  <a:pt x="390" y="775"/>
                </a:lnTo>
                <a:lnTo>
                  <a:pt x="390" y="778"/>
                </a:lnTo>
                <a:lnTo>
                  <a:pt x="389" y="779"/>
                </a:lnTo>
                <a:lnTo>
                  <a:pt x="381" y="793"/>
                </a:lnTo>
                <a:lnTo>
                  <a:pt x="381" y="794"/>
                </a:lnTo>
                <a:lnTo>
                  <a:pt x="380" y="794"/>
                </a:lnTo>
                <a:lnTo>
                  <a:pt x="365" y="791"/>
                </a:lnTo>
                <a:lnTo>
                  <a:pt x="350" y="787"/>
                </a:lnTo>
                <a:lnTo>
                  <a:pt x="340" y="789"/>
                </a:lnTo>
                <a:lnTo>
                  <a:pt x="330" y="797"/>
                </a:lnTo>
                <a:lnTo>
                  <a:pt x="327" y="800"/>
                </a:lnTo>
                <a:lnTo>
                  <a:pt x="318" y="813"/>
                </a:lnTo>
                <a:lnTo>
                  <a:pt x="311" y="829"/>
                </a:lnTo>
                <a:lnTo>
                  <a:pt x="305" y="834"/>
                </a:lnTo>
                <a:lnTo>
                  <a:pt x="307" y="843"/>
                </a:lnTo>
                <a:lnTo>
                  <a:pt x="307" y="848"/>
                </a:lnTo>
                <a:lnTo>
                  <a:pt x="298" y="864"/>
                </a:lnTo>
                <a:lnTo>
                  <a:pt x="300" y="871"/>
                </a:lnTo>
                <a:lnTo>
                  <a:pt x="307" y="890"/>
                </a:lnTo>
                <a:lnTo>
                  <a:pt x="303" y="897"/>
                </a:lnTo>
                <a:lnTo>
                  <a:pt x="303" y="901"/>
                </a:lnTo>
                <a:lnTo>
                  <a:pt x="305" y="915"/>
                </a:lnTo>
                <a:lnTo>
                  <a:pt x="305" y="917"/>
                </a:lnTo>
                <a:lnTo>
                  <a:pt x="304" y="920"/>
                </a:lnTo>
                <a:lnTo>
                  <a:pt x="303" y="924"/>
                </a:lnTo>
                <a:lnTo>
                  <a:pt x="301" y="927"/>
                </a:lnTo>
                <a:lnTo>
                  <a:pt x="301" y="928"/>
                </a:lnTo>
                <a:lnTo>
                  <a:pt x="310" y="951"/>
                </a:lnTo>
                <a:lnTo>
                  <a:pt x="311" y="956"/>
                </a:lnTo>
                <a:lnTo>
                  <a:pt x="311" y="960"/>
                </a:lnTo>
                <a:lnTo>
                  <a:pt x="309" y="983"/>
                </a:lnTo>
                <a:lnTo>
                  <a:pt x="305" y="1006"/>
                </a:lnTo>
                <a:lnTo>
                  <a:pt x="305" y="1007"/>
                </a:lnTo>
                <a:lnTo>
                  <a:pt x="312" y="1014"/>
                </a:lnTo>
                <a:lnTo>
                  <a:pt x="316" y="1019"/>
                </a:lnTo>
                <a:lnTo>
                  <a:pt x="317" y="1020"/>
                </a:lnTo>
                <a:lnTo>
                  <a:pt x="322" y="1020"/>
                </a:lnTo>
                <a:lnTo>
                  <a:pt x="324" y="1022"/>
                </a:lnTo>
                <a:lnTo>
                  <a:pt x="335" y="1038"/>
                </a:lnTo>
                <a:lnTo>
                  <a:pt x="336" y="1038"/>
                </a:lnTo>
                <a:lnTo>
                  <a:pt x="336" y="1039"/>
                </a:lnTo>
                <a:lnTo>
                  <a:pt x="335" y="1047"/>
                </a:lnTo>
                <a:lnTo>
                  <a:pt x="330" y="1057"/>
                </a:lnTo>
                <a:lnTo>
                  <a:pt x="329" y="1058"/>
                </a:lnTo>
                <a:lnTo>
                  <a:pt x="329" y="1064"/>
                </a:lnTo>
                <a:lnTo>
                  <a:pt x="328" y="1065"/>
                </a:lnTo>
                <a:lnTo>
                  <a:pt x="328" y="1067"/>
                </a:lnTo>
                <a:lnTo>
                  <a:pt x="327" y="1067"/>
                </a:lnTo>
                <a:lnTo>
                  <a:pt x="322" y="1065"/>
                </a:lnTo>
                <a:lnTo>
                  <a:pt x="319" y="1065"/>
                </a:lnTo>
                <a:lnTo>
                  <a:pt x="310" y="1069"/>
                </a:lnTo>
                <a:lnTo>
                  <a:pt x="309" y="1070"/>
                </a:lnTo>
                <a:lnTo>
                  <a:pt x="309" y="1071"/>
                </a:lnTo>
                <a:lnTo>
                  <a:pt x="311" y="1076"/>
                </a:lnTo>
                <a:lnTo>
                  <a:pt x="311" y="1079"/>
                </a:lnTo>
                <a:lnTo>
                  <a:pt x="312" y="1085"/>
                </a:lnTo>
                <a:lnTo>
                  <a:pt x="315" y="1092"/>
                </a:lnTo>
                <a:lnTo>
                  <a:pt x="318" y="1100"/>
                </a:lnTo>
                <a:lnTo>
                  <a:pt x="323" y="1112"/>
                </a:lnTo>
                <a:lnTo>
                  <a:pt x="324" y="1114"/>
                </a:lnTo>
                <a:lnTo>
                  <a:pt x="324" y="1120"/>
                </a:lnTo>
                <a:lnTo>
                  <a:pt x="323" y="1123"/>
                </a:lnTo>
                <a:lnTo>
                  <a:pt x="323" y="1124"/>
                </a:lnTo>
                <a:lnTo>
                  <a:pt x="322" y="1125"/>
                </a:lnTo>
                <a:lnTo>
                  <a:pt x="319" y="1129"/>
                </a:lnTo>
                <a:lnTo>
                  <a:pt x="319" y="1133"/>
                </a:lnTo>
                <a:lnTo>
                  <a:pt x="321" y="1139"/>
                </a:lnTo>
                <a:lnTo>
                  <a:pt x="321" y="1142"/>
                </a:lnTo>
                <a:lnTo>
                  <a:pt x="318" y="1149"/>
                </a:lnTo>
                <a:lnTo>
                  <a:pt x="317" y="1151"/>
                </a:lnTo>
                <a:lnTo>
                  <a:pt x="311" y="1160"/>
                </a:lnTo>
                <a:lnTo>
                  <a:pt x="304" y="1165"/>
                </a:lnTo>
                <a:lnTo>
                  <a:pt x="293" y="1165"/>
                </a:lnTo>
                <a:lnTo>
                  <a:pt x="293" y="1166"/>
                </a:lnTo>
                <a:lnTo>
                  <a:pt x="292" y="1167"/>
                </a:lnTo>
                <a:lnTo>
                  <a:pt x="292" y="1170"/>
                </a:lnTo>
                <a:lnTo>
                  <a:pt x="293" y="1172"/>
                </a:lnTo>
                <a:lnTo>
                  <a:pt x="293" y="1173"/>
                </a:lnTo>
                <a:lnTo>
                  <a:pt x="294" y="1174"/>
                </a:lnTo>
                <a:lnTo>
                  <a:pt x="294" y="1180"/>
                </a:lnTo>
                <a:lnTo>
                  <a:pt x="293" y="1180"/>
                </a:lnTo>
                <a:lnTo>
                  <a:pt x="292" y="1184"/>
                </a:lnTo>
                <a:lnTo>
                  <a:pt x="291" y="1185"/>
                </a:lnTo>
                <a:lnTo>
                  <a:pt x="285" y="1187"/>
                </a:lnTo>
                <a:lnTo>
                  <a:pt x="285" y="1193"/>
                </a:lnTo>
                <a:lnTo>
                  <a:pt x="290" y="1209"/>
                </a:lnTo>
                <a:lnTo>
                  <a:pt x="290" y="1215"/>
                </a:lnTo>
                <a:lnTo>
                  <a:pt x="291" y="1217"/>
                </a:lnTo>
                <a:lnTo>
                  <a:pt x="291" y="1218"/>
                </a:lnTo>
                <a:lnTo>
                  <a:pt x="290" y="1219"/>
                </a:lnTo>
                <a:lnTo>
                  <a:pt x="290" y="1221"/>
                </a:lnTo>
                <a:lnTo>
                  <a:pt x="288" y="1222"/>
                </a:lnTo>
                <a:lnTo>
                  <a:pt x="287" y="1228"/>
                </a:lnTo>
                <a:lnTo>
                  <a:pt x="287" y="1234"/>
                </a:lnTo>
                <a:lnTo>
                  <a:pt x="286" y="1237"/>
                </a:lnTo>
                <a:lnTo>
                  <a:pt x="286" y="1239"/>
                </a:lnTo>
                <a:lnTo>
                  <a:pt x="285" y="1241"/>
                </a:lnTo>
                <a:lnTo>
                  <a:pt x="284" y="1246"/>
                </a:lnTo>
                <a:lnTo>
                  <a:pt x="282" y="1248"/>
                </a:lnTo>
                <a:lnTo>
                  <a:pt x="276" y="1248"/>
                </a:lnTo>
                <a:lnTo>
                  <a:pt x="275" y="1247"/>
                </a:lnTo>
                <a:lnTo>
                  <a:pt x="275" y="1242"/>
                </a:lnTo>
                <a:lnTo>
                  <a:pt x="274" y="1240"/>
                </a:lnTo>
                <a:lnTo>
                  <a:pt x="274" y="1239"/>
                </a:lnTo>
                <a:lnTo>
                  <a:pt x="273" y="1236"/>
                </a:lnTo>
                <a:lnTo>
                  <a:pt x="273" y="1233"/>
                </a:lnTo>
                <a:lnTo>
                  <a:pt x="272" y="1230"/>
                </a:lnTo>
                <a:lnTo>
                  <a:pt x="271" y="1230"/>
                </a:lnTo>
                <a:lnTo>
                  <a:pt x="269" y="1229"/>
                </a:lnTo>
                <a:lnTo>
                  <a:pt x="266" y="1230"/>
                </a:lnTo>
                <a:lnTo>
                  <a:pt x="263" y="1229"/>
                </a:lnTo>
                <a:lnTo>
                  <a:pt x="263" y="1228"/>
                </a:lnTo>
                <a:lnTo>
                  <a:pt x="265" y="1228"/>
                </a:lnTo>
                <a:lnTo>
                  <a:pt x="265" y="1227"/>
                </a:lnTo>
                <a:lnTo>
                  <a:pt x="263" y="1225"/>
                </a:lnTo>
                <a:lnTo>
                  <a:pt x="263" y="1223"/>
                </a:lnTo>
                <a:lnTo>
                  <a:pt x="262" y="1224"/>
                </a:lnTo>
                <a:lnTo>
                  <a:pt x="262" y="1228"/>
                </a:lnTo>
                <a:lnTo>
                  <a:pt x="261" y="1228"/>
                </a:lnTo>
                <a:lnTo>
                  <a:pt x="261" y="1227"/>
                </a:lnTo>
                <a:lnTo>
                  <a:pt x="260" y="1224"/>
                </a:lnTo>
                <a:lnTo>
                  <a:pt x="260" y="1229"/>
                </a:lnTo>
                <a:lnTo>
                  <a:pt x="257" y="1229"/>
                </a:lnTo>
                <a:lnTo>
                  <a:pt x="257" y="1227"/>
                </a:lnTo>
                <a:lnTo>
                  <a:pt x="255" y="1224"/>
                </a:lnTo>
                <a:lnTo>
                  <a:pt x="254" y="1224"/>
                </a:lnTo>
                <a:lnTo>
                  <a:pt x="254" y="1228"/>
                </a:lnTo>
                <a:lnTo>
                  <a:pt x="253" y="1228"/>
                </a:lnTo>
                <a:lnTo>
                  <a:pt x="253" y="1227"/>
                </a:lnTo>
                <a:lnTo>
                  <a:pt x="251" y="1225"/>
                </a:lnTo>
                <a:lnTo>
                  <a:pt x="251" y="1223"/>
                </a:lnTo>
                <a:lnTo>
                  <a:pt x="250" y="1224"/>
                </a:lnTo>
                <a:lnTo>
                  <a:pt x="249" y="1224"/>
                </a:lnTo>
                <a:lnTo>
                  <a:pt x="249" y="1225"/>
                </a:lnTo>
                <a:lnTo>
                  <a:pt x="248" y="1223"/>
                </a:lnTo>
                <a:lnTo>
                  <a:pt x="247" y="1223"/>
                </a:lnTo>
                <a:lnTo>
                  <a:pt x="247" y="1218"/>
                </a:lnTo>
                <a:lnTo>
                  <a:pt x="245" y="1218"/>
                </a:lnTo>
                <a:lnTo>
                  <a:pt x="245" y="1221"/>
                </a:lnTo>
                <a:lnTo>
                  <a:pt x="244" y="1219"/>
                </a:lnTo>
                <a:lnTo>
                  <a:pt x="245" y="1217"/>
                </a:lnTo>
                <a:lnTo>
                  <a:pt x="245" y="1215"/>
                </a:lnTo>
                <a:lnTo>
                  <a:pt x="247" y="1213"/>
                </a:lnTo>
                <a:lnTo>
                  <a:pt x="245" y="1213"/>
                </a:lnTo>
                <a:lnTo>
                  <a:pt x="245" y="1212"/>
                </a:lnTo>
                <a:lnTo>
                  <a:pt x="244" y="1211"/>
                </a:lnTo>
                <a:lnTo>
                  <a:pt x="244" y="1213"/>
                </a:lnTo>
                <a:lnTo>
                  <a:pt x="242" y="1213"/>
                </a:lnTo>
                <a:lnTo>
                  <a:pt x="242" y="1210"/>
                </a:lnTo>
                <a:lnTo>
                  <a:pt x="241" y="1208"/>
                </a:lnTo>
                <a:lnTo>
                  <a:pt x="242" y="1206"/>
                </a:lnTo>
                <a:lnTo>
                  <a:pt x="242" y="1205"/>
                </a:lnTo>
                <a:lnTo>
                  <a:pt x="241" y="1205"/>
                </a:lnTo>
                <a:lnTo>
                  <a:pt x="240" y="1204"/>
                </a:lnTo>
                <a:lnTo>
                  <a:pt x="238" y="1204"/>
                </a:lnTo>
                <a:lnTo>
                  <a:pt x="241" y="1199"/>
                </a:lnTo>
                <a:lnTo>
                  <a:pt x="241" y="1198"/>
                </a:lnTo>
                <a:lnTo>
                  <a:pt x="242" y="1198"/>
                </a:lnTo>
                <a:lnTo>
                  <a:pt x="242" y="1200"/>
                </a:lnTo>
                <a:lnTo>
                  <a:pt x="241" y="1203"/>
                </a:lnTo>
                <a:lnTo>
                  <a:pt x="242" y="1203"/>
                </a:lnTo>
                <a:lnTo>
                  <a:pt x="243" y="1202"/>
                </a:lnTo>
                <a:lnTo>
                  <a:pt x="243" y="1199"/>
                </a:lnTo>
                <a:lnTo>
                  <a:pt x="242" y="1198"/>
                </a:lnTo>
                <a:lnTo>
                  <a:pt x="242" y="1196"/>
                </a:lnTo>
                <a:lnTo>
                  <a:pt x="241" y="1193"/>
                </a:lnTo>
                <a:lnTo>
                  <a:pt x="241" y="1192"/>
                </a:lnTo>
                <a:lnTo>
                  <a:pt x="242" y="1190"/>
                </a:lnTo>
                <a:lnTo>
                  <a:pt x="241" y="1188"/>
                </a:lnTo>
                <a:lnTo>
                  <a:pt x="241" y="1186"/>
                </a:lnTo>
                <a:lnTo>
                  <a:pt x="240" y="1184"/>
                </a:lnTo>
                <a:lnTo>
                  <a:pt x="240" y="1182"/>
                </a:lnTo>
                <a:lnTo>
                  <a:pt x="238" y="1181"/>
                </a:lnTo>
                <a:lnTo>
                  <a:pt x="237" y="1179"/>
                </a:lnTo>
                <a:lnTo>
                  <a:pt x="237" y="1176"/>
                </a:lnTo>
                <a:lnTo>
                  <a:pt x="238" y="1175"/>
                </a:lnTo>
                <a:lnTo>
                  <a:pt x="240" y="1172"/>
                </a:lnTo>
                <a:lnTo>
                  <a:pt x="240" y="1169"/>
                </a:lnTo>
                <a:lnTo>
                  <a:pt x="242" y="1168"/>
                </a:lnTo>
                <a:lnTo>
                  <a:pt x="243" y="1170"/>
                </a:lnTo>
                <a:lnTo>
                  <a:pt x="243" y="1174"/>
                </a:lnTo>
                <a:lnTo>
                  <a:pt x="244" y="1178"/>
                </a:lnTo>
                <a:lnTo>
                  <a:pt x="244" y="1174"/>
                </a:lnTo>
                <a:lnTo>
                  <a:pt x="245" y="1172"/>
                </a:lnTo>
                <a:lnTo>
                  <a:pt x="245" y="1165"/>
                </a:lnTo>
                <a:lnTo>
                  <a:pt x="244" y="1165"/>
                </a:lnTo>
                <a:lnTo>
                  <a:pt x="243" y="1163"/>
                </a:lnTo>
                <a:lnTo>
                  <a:pt x="242" y="1165"/>
                </a:lnTo>
                <a:lnTo>
                  <a:pt x="242" y="1166"/>
                </a:lnTo>
                <a:lnTo>
                  <a:pt x="240" y="1165"/>
                </a:lnTo>
                <a:lnTo>
                  <a:pt x="240" y="1166"/>
                </a:lnTo>
                <a:lnTo>
                  <a:pt x="236" y="1166"/>
                </a:lnTo>
                <a:lnTo>
                  <a:pt x="234" y="1168"/>
                </a:lnTo>
                <a:lnTo>
                  <a:pt x="234" y="1169"/>
                </a:lnTo>
                <a:lnTo>
                  <a:pt x="235" y="1169"/>
                </a:lnTo>
                <a:lnTo>
                  <a:pt x="235" y="1180"/>
                </a:lnTo>
                <a:lnTo>
                  <a:pt x="236" y="1182"/>
                </a:lnTo>
                <a:lnTo>
                  <a:pt x="237" y="1184"/>
                </a:lnTo>
                <a:lnTo>
                  <a:pt x="238" y="1184"/>
                </a:lnTo>
                <a:lnTo>
                  <a:pt x="240" y="1186"/>
                </a:lnTo>
                <a:lnTo>
                  <a:pt x="240" y="1188"/>
                </a:lnTo>
                <a:lnTo>
                  <a:pt x="238" y="1192"/>
                </a:lnTo>
                <a:lnTo>
                  <a:pt x="237" y="1194"/>
                </a:lnTo>
                <a:lnTo>
                  <a:pt x="235" y="1197"/>
                </a:lnTo>
                <a:lnTo>
                  <a:pt x="232" y="1197"/>
                </a:lnTo>
                <a:lnTo>
                  <a:pt x="231" y="1194"/>
                </a:lnTo>
                <a:lnTo>
                  <a:pt x="231" y="1193"/>
                </a:lnTo>
                <a:lnTo>
                  <a:pt x="232" y="1190"/>
                </a:lnTo>
                <a:lnTo>
                  <a:pt x="232" y="1188"/>
                </a:lnTo>
                <a:lnTo>
                  <a:pt x="231" y="1186"/>
                </a:lnTo>
                <a:lnTo>
                  <a:pt x="231" y="1182"/>
                </a:lnTo>
                <a:lnTo>
                  <a:pt x="230" y="1181"/>
                </a:lnTo>
                <a:lnTo>
                  <a:pt x="230" y="1180"/>
                </a:lnTo>
                <a:lnTo>
                  <a:pt x="228" y="1180"/>
                </a:lnTo>
                <a:lnTo>
                  <a:pt x="225" y="1178"/>
                </a:lnTo>
                <a:lnTo>
                  <a:pt x="224" y="1178"/>
                </a:lnTo>
                <a:lnTo>
                  <a:pt x="223" y="1179"/>
                </a:lnTo>
                <a:lnTo>
                  <a:pt x="225" y="1181"/>
                </a:lnTo>
                <a:lnTo>
                  <a:pt x="226" y="1181"/>
                </a:lnTo>
                <a:lnTo>
                  <a:pt x="230" y="1185"/>
                </a:lnTo>
                <a:lnTo>
                  <a:pt x="230" y="1194"/>
                </a:lnTo>
                <a:lnTo>
                  <a:pt x="229" y="1196"/>
                </a:lnTo>
                <a:lnTo>
                  <a:pt x="228" y="1196"/>
                </a:lnTo>
                <a:lnTo>
                  <a:pt x="225" y="1193"/>
                </a:lnTo>
                <a:lnTo>
                  <a:pt x="224" y="1193"/>
                </a:lnTo>
                <a:lnTo>
                  <a:pt x="224" y="1194"/>
                </a:lnTo>
                <a:lnTo>
                  <a:pt x="228" y="1198"/>
                </a:lnTo>
                <a:lnTo>
                  <a:pt x="230" y="1202"/>
                </a:lnTo>
                <a:lnTo>
                  <a:pt x="234" y="1203"/>
                </a:lnTo>
                <a:lnTo>
                  <a:pt x="234" y="1206"/>
                </a:lnTo>
                <a:lnTo>
                  <a:pt x="232" y="1209"/>
                </a:lnTo>
                <a:lnTo>
                  <a:pt x="232" y="1210"/>
                </a:lnTo>
                <a:lnTo>
                  <a:pt x="236" y="1213"/>
                </a:lnTo>
                <a:lnTo>
                  <a:pt x="235" y="1215"/>
                </a:lnTo>
                <a:lnTo>
                  <a:pt x="235" y="1216"/>
                </a:lnTo>
                <a:lnTo>
                  <a:pt x="234" y="1217"/>
                </a:lnTo>
                <a:lnTo>
                  <a:pt x="234" y="1218"/>
                </a:lnTo>
                <a:lnTo>
                  <a:pt x="232" y="1218"/>
                </a:lnTo>
                <a:lnTo>
                  <a:pt x="231" y="1217"/>
                </a:lnTo>
                <a:lnTo>
                  <a:pt x="229" y="1217"/>
                </a:lnTo>
                <a:lnTo>
                  <a:pt x="229" y="1221"/>
                </a:lnTo>
                <a:lnTo>
                  <a:pt x="228" y="1222"/>
                </a:lnTo>
                <a:lnTo>
                  <a:pt x="228" y="1225"/>
                </a:lnTo>
                <a:lnTo>
                  <a:pt x="226" y="1228"/>
                </a:lnTo>
                <a:lnTo>
                  <a:pt x="226" y="1233"/>
                </a:lnTo>
                <a:lnTo>
                  <a:pt x="225" y="1231"/>
                </a:lnTo>
                <a:lnTo>
                  <a:pt x="225" y="1235"/>
                </a:lnTo>
                <a:lnTo>
                  <a:pt x="224" y="1230"/>
                </a:lnTo>
                <a:lnTo>
                  <a:pt x="223" y="1230"/>
                </a:lnTo>
                <a:lnTo>
                  <a:pt x="223" y="1235"/>
                </a:lnTo>
                <a:lnTo>
                  <a:pt x="224" y="1236"/>
                </a:lnTo>
                <a:lnTo>
                  <a:pt x="222" y="1239"/>
                </a:lnTo>
                <a:lnTo>
                  <a:pt x="219" y="1239"/>
                </a:lnTo>
                <a:lnTo>
                  <a:pt x="219" y="1237"/>
                </a:lnTo>
                <a:lnTo>
                  <a:pt x="220" y="1236"/>
                </a:lnTo>
                <a:lnTo>
                  <a:pt x="220" y="1235"/>
                </a:lnTo>
                <a:lnTo>
                  <a:pt x="219" y="1236"/>
                </a:lnTo>
                <a:lnTo>
                  <a:pt x="218" y="1236"/>
                </a:lnTo>
                <a:lnTo>
                  <a:pt x="217" y="1237"/>
                </a:lnTo>
                <a:lnTo>
                  <a:pt x="216" y="1237"/>
                </a:lnTo>
                <a:lnTo>
                  <a:pt x="216" y="1236"/>
                </a:lnTo>
                <a:lnTo>
                  <a:pt x="214" y="1236"/>
                </a:lnTo>
                <a:lnTo>
                  <a:pt x="216" y="1240"/>
                </a:lnTo>
                <a:lnTo>
                  <a:pt x="213" y="1242"/>
                </a:lnTo>
                <a:lnTo>
                  <a:pt x="206" y="1242"/>
                </a:lnTo>
                <a:lnTo>
                  <a:pt x="207" y="1241"/>
                </a:lnTo>
                <a:lnTo>
                  <a:pt x="207" y="1239"/>
                </a:lnTo>
                <a:lnTo>
                  <a:pt x="206" y="1237"/>
                </a:lnTo>
                <a:lnTo>
                  <a:pt x="205" y="1235"/>
                </a:lnTo>
                <a:lnTo>
                  <a:pt x="204" y="1235"/>
                </a:lnTo>
                <a:lnTo>
                  <a:pt x="204" y="1236"/>
                </a:lnTo>
                <a:lnTo>
                  <a:pt x="203" y="1234"/>
                </a:lnTo>
                <a:lnTo>
                  <a:pt x="201" y="1234"/>
                </a:lnTo>
                <a:lnTo>
                  <a:pt x="201" y="1231"/>
                </a:lnTo>
                <a:lnTo>
                  <a:pt x="200" y="1231"/>
                </a:lnTo>
                <a:lnTo>
                  <a:pt x="200" y="1235"/>
                </a:lnTo>
                <a:lnTo>
                  <a:pt x="199" y="1234"/>
                </a:lnTo>
                <a:lnTo>
                  <a:pt x="199" y="1230"/>
                </a:lnTo>
                <a:lnTo>
                  <a:pt x="198" y="1230"/>
                </a:lnTo>
                <a:lnTo>
                  <a:pt x="199" y="1229"/>
                </a:lnTo>
                <a:lnTo>
                  <a:pt x="198" y="1228"/>
                </a:lnTo>
                <a:lnTo>
                  <a:pt x="197" y="1229"/>
                </a:lnTo>
                <a:lnTo>
                  <a:pt x="194" y="1229"/>
                </a:lnTo>
                <a:lnTo>
                  <a:pt x="198" y="1233"/>
                </a:lnTo>
                <a:lnTo>
                  <a:pt x="199" y="1235"/>
                </a:lnTo>
                <a:lnTo>
                  <a:pt x="199" y="1236"/>
                </a:lnTo>
                <a:lnTo>
                  <a:pt x="201" y="1236"/>
                </a:lnTo>
                <a:lnTo>
                  <a:pt x="203" y="1237"/>
                </a:lnTo>
                <a:lnTo>
                  <a:pt x="203" y="1240"/>
                </a:lnTo>
                <a:lnTo>
                  <a:pt x="199" y="1240"/>
                </a:lnTo>
                <a:lnTo>
                  <a:pt x="199" y="1241"/>
                </a:lnTo>
                <a:lnTo>
                  <a:pt x="200" y="1241"/>
                </a:lnTo>
                <a:lnTo>
                  <a:pt x="200" y="1242"/>
                </a:lnTo>
                <a:lnTo>
                  <a:pt x="197" y="1243"/>
                </a:lnTo>
                <a:lnTo>
                  <a:pt x="197" y="1245"/>
                </a:lnTo>
                <a:lnTo>
                  <a:pt x="198" y="1245"/>
                </a:lnTo>
                <a:lnTo>
                  <a:pt x="195" y="1246"/>
                </a:lnTo>
                <a:lnTo>
                  <a:pt x="192" y="1245"/>
                </a:lnTo>
                <a:lnTo>
                  <a:pt x="194" y="1247"/>
                </a:lnTo>
                <a:lnTo>
                  <a:pt x="193" y="1248"/>
                </a:lnTo>
                <a:lnTo>
                  <a:pt x="192" y="1247"/>
                </a:lnTo>
                <a:lnTo>
                  <a:pt x="191" y="1247"/>
                </a:lnTo>
                <a:lnTo>
                  <a:pt x="191" y="1248"/>
                </a:lnTo>
                <a:lnTo>
                  <a:pt x="189" y="1248"/>
                </a:lnTo>
                <a:lnTo>
                  <a:pt x="188" y="1247"/>
                </a:lnTo>
                <a:lnTo>
                  <a:pt x="187" y="1248"/>
                </a:lnTo>
                <a:lnTo>
                  <a:pt x="188" y="1248"/>
                </a:lnTo>
                <a:lnTo>
                  <a:pt x="188" y="1249"/>
                </a:lnTo>
                <a:lnTo>
                  <a:pt x="186" y="1251"/>
                </a:lnTo>
                <a:lnTo>
                  <a:pt x="185" y="1251"/>
                </a:lnTo>
                <a:lnTo>
                  <a:pt x="185" y="1248"/>
                </a:lnTo>
                <a:lnTo>
                  <a:pt x="184" y="1249"/>
                </a:lnTo>
                <a:lnTo>
                  <a:pt x="184" y="1253"/>
                </a:lnTo>
                <a:lnTo>
                  <a:pt x="185" y="1253"/>
                </a:lnTo>
                <a:lnTo>
                  <a:pt x="187" y="1252"/>
                </a:lnTo>
                <a:lnTo>
                  <a:pt x="189" y="1252"/>
                </a:lnTo>
                <a:lnTo>
                  <a:pt x="191" y="1253"/>
                </a:lnTo>
                <a:lnTo>
                  <a:pt x="187" y="1256"/>
                </a:lnTo>
                <a:lnTo>
                  <a:pt x="188" y="1255"/>
                </a:lnTo>
                <a:lnTo>
                  <a:pt x="189" y="1255"/>
                </a:lnTo>
                <a:lnTo>
                  <a:pt x="189" y="1256"/>
                </a:lnTo>
                <a:lnTo>
                  <a:pt x="188" y="1256"/>
                </a:lnTo>
                <a:lnTo>
                  <a:pt x="187" y="1258"/>
                </a:lnTo>
                <a:lnTo>
                  <a:pt x="186" y="1258"/>
                </a:lnTo>
                <a:lnTo>
                  <a:pt x="186" y="1259"/>
                </a:lnTo>
                <a:lnTo>
                  <a:pt x="185" y="1260"/>
                </a:lnTo>
                <a:lnTo>
                  <a:pt x="182" y="1261"/>
                </a:lnTo>
                <a:lnTo>
                  <a:pt x="179" y="1260"/>
                </a:lnTo>
                <a:lnTo>
                  <a:pt x="175" y="1260"/>
                </a:lnTo>
                <a:lnTo>
                  <a:pt x="174" y="1261"/>
                </a:lnTo>
                <a:lnTo>
                  <a:pt x="178" y="1262"/>
                </a:lnTo>
                <a:lnTo>
                  <a:pt x="179" y="1262"/>
                </a:lnTo>
                <a:lnTo>
                  <a:pt x="176" y="1261"/>
                </a:lnTo>
                <a:lnTo>
                  <a:pt x="176" y="1260"/>
                </a:lnTo>
                <a:lnTo>
                  <a:pt x="179" y="1260"/>
                </a:lnTo>
                <a:lnTo>
                  <a:pt x="181" y="1261"/>
                </a:lnTo>
                <a:lnTo>
                  <a:pt x="181" y="1264"/>
                </a:lnTo>
                <a:lnTo>
                  <a:pt x="180" y="1264"/>
                </a:lnTo>
                <a:lnTo>
                  <a:pt x="175" y="1265"/>
                </a:lnTo>
                <a:lnTo>
                  <a:pt x="180" y="1265"/>
                </a:lnTo>
                <a:lnTo>
                  <a:pt x="180" y="1266"/>
                </a:lnTo>
                <a:lnTo>
                  <a:pt x="175" y="1271"/>
                </a:lnTo>
                <a:lnTo>
                  <a:pt x="173" y="1272"/>
                </a:lnTo>
                <a:lnTo>
                  <a:pt x="169" y="1272"/>
                </a:lnTo>
                <a:lnTo>
                  <a:pt x="168" y="1271"/>
                </a:lnTo>
                <a:lnTo>
                  <a:pt x="168" y="1272"/>
                </a:lnTo>
                <a:lnTo>
                  <a:pt x="169" y="1273"/>
                </a:lnTo>
                <a:lnTo>
                  <a:pt x="169" y="1279"/>
                </a:lnTo>
                <a:lnTo>
                  <a:pt x="168" y="1279"/>
                </a:lnTo>
                <a:lnTo>
                  <a:pt x="166" y="1283"/>
                </a:lnTo>
                <a:lnTo>
                  <a:pt x="164" y="1284"/>
                </a:lnTo>
                <a:lnTo>
                  <a:pt x="163" y="1284"/>
                </a:lnTo>
                <a:lnTo>
                  <a:pt x="162" y="1285"/>
                </a:lnTo>
                <a:lnTo>
                  <a:pt x="161" y="1285"/>
                </a:lnTo>
                <a:lnTo>
                  <a:pt x="161" y="1288"/>
                </a:lnTo>
                <a:lnTo>
                  <a:pt x="160" y="1289"/>
                </a:lnTo>
                <a:lnTo>
                  <a:pt x="160" y="1290"/>
                </a:lnTo>
                <a:lnTo>
                  <a:pt x="157" y="1290"/>
                </a:lnTo>
                <a:lnTo>
                  <a:pt x="156" y="1291"/>
                </a:lnTo>
                <a:lnTo>
                  <a:pt x="156" y="1292"/>
                </a:lnTo>
                <a:lnTo>
                  <a:pt x="155" y="1294"/>
                </a:lnTo>
                <a:lnTo>
                  <a:pt x="154" y="1294"/>
                </a:lnTo>
                <a:lnTo>
                  <a:pt x="154" y="1292"/>
                </a:lnTo>
                <a:lnTo>
                  <a:pt x="153" y="1295"/>
                </a:lnTo>
                <a:lnTo>
                  <a:pt x="151" y="1296"/>
                </a:lnTo>
                <a:lnTo>
                  <a:pt x="151" y="1298"/>
                </a:lnTo>
                <a:lnTo>
                  <a:pt x="150" y="1299"/>
                </a:lnTo>
                <a:lnTo>
                  <a:pt x="149" y="1298"/>
                </a:lnTo>
                <a:lnTo>
                  <a:pt x="148" y="1299"/>
                </a:lnTo>
                <a:lnTo>
                  <a:pt x="148" y="1298"/>
                </a:lnTo>
                <a:lnTo>
                  <a:pt x="147" y="1298"/>
                </a:lnTo>
                <a:lnTo>
                  <a:pt x="147" y="1301"/>
                </a:lnTo>
                <a:lnTo>
                  <a:pt x="144" y="1301"/>
                </a:lnTo>
                <a:lnTo>
                  <a:pt x="142" y="1303"/>
                </a:lnTo>
                <a:lnTo>
                  <a:pt x="141" y="1303"/>
                </a:lnTo>
                <a:lnTo>
                  <a:pt x="141" y="1305"/>
                </a:lnTo>
                <a:lnTo>
                  <a:pt x="139" y="1307"/>
                </a:lnTo>
                <a:lnTo>
                  <a:pt x="139" y="1309"/>
                </a:lnTo>
                <a:lnTo>
                  <a:pt x="138" y="1310"/>
                </a:lnTo>
                <a:lnTo>
                  <a:pt x="137" y="1309"/>
                </a:lnTo>
                <a:lnTo>
                  <a:pt x="137" y="1308"/>
                </a:lnTo>
                <a:lnTo>
                  <a:pt x="136" y="1308"/>
                </a:lnTo>
                <a:lnTo>
                  <a:pt x="135" y="1310"/>
                </a:lnTo>
                <a:lnTo>
                  <a:pt x="135" y="1311"/>
                </a:lnTo>
                <a:lnTo>
                  <a:pt x="132" y="1311"/>
                </a:lnTo>
                <a:lnTo>
                  <a:pt x="132" y="1310"/>
                </a:lnTo>
                <a:lnTo>
                  <a:pt x="131" y="1310"/>
                </a:lnTo>
                <a:lnTo>
                  <a:pt x="131" y="1309"/>
                </a:lnTo>
                <a:lnTo>
                  <a:pt x="132" y="1308"/>
                </a:lnTo>
                <a:lnTo>
                  <a:pt x="132" y="1305"/>
                </a:lnTo>
                <a:lnTo>
                  <a:pt x="131" y="1303"/>
                </a:lnTo>
                <a:lnTo>
                  <a:pt x="131" y="1302"/>
                </a:lnTo>
                <a:lnTo>
                  <a:pt x="130" y="1302"/>
                </a:lnTo>
                <a:lnTo>
                  <a:pt x="130" y="1303"/>
                </a:lnTo>
                <a:lnTo>
                  <a:pt x="131" y="1305"/>
                </a:lnTo>
                <a:lnTo>
                  <a:pt x="130" y="1307"/>
                </a:lnTo>
                <a:lnTo>
                  <a:pt x="130" y="1308"/>
                </a:lnTo>
                <a:lnTo>
                  <a:pt x="126" y="1311"/>
                </a:lnTo>
                <a:lnTo>
                  <a:pt x="127" y="1313"/>
                </a:lnTo>
                <a:lnTo>
                  <a:pt x="126" y="1314"/>
                </a:lnTo>
                <a:lnTo>
                  <a:pt x="119" y="1314"/>
                </a:lnTo>
                <a:lnTo>
                  <a:pt x="118" y="1315"/>
                </a:lnTo>
                <a:lnTo>
                  <a:pt x="114" y="1315"/>
                </a:lnTo>
                <a:lnTo>
                  <a:pt x="116" y="1316"/>
                </a:lnTo>
                <a:lnTo>
                  <a:pt x="114" y="1316"/>
                </a:lnTo>
                <a:lnTo>
                  <a:pt x="113" y="1315"/>
                </a:lnTo>
                <a:lnTo>
                  <a:pt x="114" y="1317"/>
                </a:lnTo>
                <a:lnTo>
                  <a:pt x="113" y="1319"/>
                </a:lnTo>
                <a:lnTo>
                  <a:pt x="112" y="1317"/>
                </a:lnTo>
                <a:lnTo>
                  <a:pt x="112" y="1319"/>
                </a:lnTo>
                <a:lnTo>
                  <a:pt x="104" y="1319"/>
                </a:lnTo>
                <a:lnTo>
                  <a:pt x="99" y="1317"/>
                </a:lnTo>
                <a:lnTo>
                  <a:pt x="98" y="1316"/>
                </a:lnTo>
                <a:lnTo>
                  <a:pt x="98" y="1315"/>
                </a:lnTo>
                <a:lnTo>
                  <a:pt x="95" y="1316"/>
                </a:lnTo>
                <a:lnTo>
                  <a:pt x="94" y="1317"/>
                </a:lnTo>
                <a:lnTo>
                  <a:pt x="94" y="1316"/>
                </a:lnTo>
                <a:lnTo>
                  <a:pt x="91" y="1317"/>
                </a:lnTo>
                <a:lnTo>
                  <a:pt x="91" y="1320"/>
                </a:lnTo>
                <a:lnTo>
                  <a:pt x="87" y="1320"/>
                </a:lnTo>
                <a:lnTo>
                  <a:pt x="87" y="1317"/>
                </a:lnTo>
                <a:lnTo>
                  <a:pt x="89" y="1315"/>
                </a:lnTo>
                <a:lnTo>
                  <a:pt x="91" y="1315"/>
                </a:lnTo>
                <a:lnTo>
                  <a:pt x="91" y="1314"/>
                </a:lnTo>
                <a:lnTo>
                  <a:pt x="92" y="1314"/>
                </a:lnTo>
                <a:lnTo>
                  <a:pt x="92" y="1315"/>
                </a:lnTo>
                <a:lnTo>
                  <a:pt x="93" y="1315"/>
                </a:lnTo>
                <a:lnTo>
                  <a:pt x="93" y="1311"/>
                </a:lnTo>
                <a:lnTo>
                  <a:pt x="91" y="1314"/>
                </a:lnTo>
                <a:lnTo>
                  <a:pt x="89" y="1314"/>
                </a:lnTo>
                <a:lnTo>
                  <a:pt x="88" y="1315"/>
                </a:lnTo>
                <a:lnTo>
                  <a:pt x="86" y="1316"/>
                </a:lnTo>
                <a:lnTo>
                  <a:pt x="85" y="1316"/>
                </a:lnTo>
                <a:lnTo>
                  <a:pt x="86" y="1315"/>
                </a:lnTo>
                <a:lnTo>
                  <a:pt x="87" y="1313"/>
                </a:lnTo>
                <a:lnTo>
                  <a:pt x="87" y="1311"/>
                </a:lnTo>
                <a:lnTo>
                  <a:pt x="85" y="1315"/>
                </a:lnTo>
                <a:lnTo>
                  <a:pt x="83" y="1315"/>
                </a:lnTo>
                <a:lnTo>
                  <a:pt x="83" y="1313"/>
                </a:lnTo>
                <a:lnTo>
                  <a:pt x="82" y="1313"/>
                </a:lnTo>
                <a:lnTo>
                  <a:pt x="82" y="1314"/>
                </a:lnTo>
                <a:lnTo>
                  <a:pt x="81" y="1314"/>
                </a:lnTo>
                <a:lnTo>
                  <a:pt x="79" y="1311"/>
                </a:lnTo>
                <a:lnTo>
                  <a:pt x="81" y="1310"/>
                </a:lnTo>
                <a:lnTo>
                  <a:pt x="86" y="1310"/>
                </a:lnTo>
                <a:lnTo>
                  <a:pt x="87" y="1309"/>
                </a:lnTo>
                <a:lnTo>
                  <a:pt x="82" y="1309"/>
                </a:lnTo>
                <a:lnTo>
                  <a:pt x="79" y="1305"/>
                </a:lnTo>
                <a:lnTo>
                  <a:pt x="77" y="1305"/>
                </a:lnTo>
                <a:lnTo>
                  <a:pt x="80" y="1309"/>
                </a:lnTo>
                <a:lnTo>
                  <a:pt x="79" y="1310"/>
                </a:lnTo>
                <a:lnTo>
                  <a:pt x="76" y="1310"/>
                </a:lnTo>
                <a:lnTo>
                  <a:pt x="75" y="1309"/>
                </a:lnTo>
                <a:lnTo>
                  <a:pt x="76" y="1308"/>
                </a:lnTo>
                <a:lnTo>
                  <a:pt x="76" y="1307"/>
                </a:lnTo>
                <a:lnTo>
                  <a:pt x="75" y="1305"/>
                </a:lnTo>
                <a:lnTo>
                  <a:pt x="75" y="1309"/>
                </a:lnTo>
                <a:lnTo>
                  <a:pt x="74" y="1310"/>
                </a:lnTo>
                <a:lnTo>
                  <a:pt x="75" y="1310"/>
                </a:lnTo>
                <a:lnTo>
                  <a:pt x="75" y="1311"/>
                </a:lnTo>
                <a:lnTo>
                  <a:pt x="76" y="1313"/>
                </a:lnTo>
                <a:lnTo>
                  <a:pt x="77" y="1313"/>
                </a:lnTo>
                <a:lnTo>
                  <a:pt x="77" y="1314"/>
                </a:lnTo>
                <a:lnTo>
                  <a:pt x="79" y="1314"/>
                </a:lnTo>
                <a:lnTo>
                  <a:pt x="79" y="1315"/>
                </a:lnTo>
                <a:lnTo>
                  <a:pt x="75" y="1315"/>
                </a:lnTo>
                <a:lnTo>
                  <a:pt x="71" y="1314"/>
                </a:lnTo>
                <a:lnTo>
                  <a:pt x="70" y="1314"/>
                </a:lnTo>
                <a:lnTo>
                  <a:pt x="68" y="1311"/>
                </a:lnTo>
                <a:lnTo>
                  <a:pt x="68" y="1310"/>
                </a:lnTo>
                <a:lnTo>
                  <a:pt x="69" y="1309"/>
                </a:lnTo>
                <a:lnTo>
                  <a:pt x="69" y="1308"/>
                </a:lnTo>
                <a:lnTo>
                  <a:pt x="70" y="1307"/>
                </a:lnTo>
                <a:lnTo>
                  <a:pt x="70" y="1305"/>
                </a:lnTo>
                <a:lnTo>
                  <a:pt x="74" y="1305"/>
                </a:lnTo>
                <a:lnTo>
                  <a:pt x="73" y="1304"/>
                </a:lnTo>
                <a:lnTo>
                  <a:pt x="74" y="1303"/>
                </a:lnTo>
                <a:lnTo>
                  <a:pt x="76" y="1302"/>
                </a:lnTo>
                <a:lnTo>
                  <a:pt x="77" y="1301"/>
                </a:lnTo>
                <a:lnTo>
                  <a:pt x="81" y="1298"/>
                </a:lnTo>
                <a:lnTo>
                  <a:pt x="79" y="1298"/>
                </a:lnTo>
                <a:lnTo>
                  <a:pt x="75" y="1302"/>
                </a:lnTo>
                <a:lnTo>
                  <a:pt x="74" y="1302"/>
                </a:lnTo>
                <a:lnTo>
                  <a:pt x="71" y="1298"/>
                </a:lnTo>
                <a:lnTo>
                  <a:pt x="73" y="1296"/>
                </a:lnTo>
                <a:lnTo>
                  <a:pt x="74" y="1296"/>
                </a:lnTo>
                <a:lnTo>
                  <a:pt x="75" y="1295"/>
                </a:lnTo>
                <a:lnTo>
                  <a:pt x="74" y="1294"/>
                </a:lnTo>
                <a:lnTo>
                  <a:pt x="73" y="1294"/>
                </a:lnTo>
                <a:lnTo>
                  <a:pt x="73" y="1295"/>
                </a:lnTo>
                <a:lnTo>
                  <a:pt x="71" y="1295"/>
                </a:lnTo>
                <a:lnTo>
                  <a:pt x="71" y="1301"/>
                </a:lnTo>
                <a:lnTo>
                  <a:pt x="69" y="1301"/>
                </a:lnTo>
                <a:lnTo>
                  <a:pt x="67" y="1298"/>
                </a:lnTo>
                <a:lnTo>
                  <a:pt x="62" y="1298"/>
                </a:lnTo>
                <a:lnTo>
                  <a:pt x="60" y="1297"/>
                </a:lnTo>
                <a:lnTo>
                  <a:pt x="57" y="1295"/>
                </a:lnTo>
                <a:lnTo>
                  <a:pt x="56" y="1295"/>
                </a:lnTo>
                <a:lnTo>
                  <a:pt x="55" y="1294"/>
                </a:lnTo>
                <a:lnTo>
                  <a:pt x="54" y="1294"/>
                </a:lnTo>
                <a:lnTo>
                  <a:pt x="49" y="1291"/>
                </a:lnTo>
                <a:lnTo>
                  <a:pt x="46" y="1289"/>
                </a:lnTo>
                <a:lnTo>
                  <a:pt x="45" y="1289"/>
                </a:lnTo>
                <a:lnTo>
                  <a:pt x="44" y="1288"/>
                </a:lnTo>
                <a:lnTo>
                  <a:pt x="44" y="1283"/>
                </a:lnTo>
                <a:lnTo>
                  <a:pt x="43" y="1282"/>
                </a:lnTo>
                <a:lnTo>
                  <a:pt x="38" y="1282"/>
                </a:lnTo>
                <a:lnTo>
                  <a:pt x="37" y="1280"/>
                </a:lnTo>
                <a:lnTo>
                  <a:pt x="36" y="1278"/>
                </a:lnTo>
                <a:lnTo>
                  <a:pt x="32" y="1278"/>
                </a:lnTo>
                <a:lnTo>
                  <a:pt x="30" y="1276"/>
                </a:lnTo>
                <a:lnTo>
                  <a:pt x="31" y="1274"/>
                </a:lnTo>
                <a:lnTo>
                  <a:pt x="29" y="1272"/>
                </a:lnTo>
                <a:lnTo>
                  <a:pt x="27" y="1270"/>
                </a:lnTo>
                <a:lnTo>
                  <a:pt x="26" y="1266"/>
                </a:lnTo>
                <a:lnTo>
                  <a:pt x="25" y="1264"/>
                </a:lnTo>
                <a:lnTo>
                  <a:pt x="25" y="1262"/>
                </a:lnTo>
                <a:lnTo>
                  <a:pt x="24" y="1261"/>
                </a:lnTo>
                <a:lnTo>
                  <a:pt x="23" y="1259"/>
                </a:lnTo>
                <a:lnTo>
                  <a:pt x="25" y="1256"/>
                </a:lnTo>
                <a:lnTo>
                  <a:pt x="25" y="1255"/>
                </a:lnTo>
                <a:lnTo>
                  <a:pt x="26" y="1254"/>
                </a:lnTo>
                <a:lnTo>
                  <a:pt x="26" y="1253"/>
                </a:lnTo>
                <a:lnTo>
                  <a:pt x="25" y="1251"/>
                </a:lnTo>
                <a:lnTo>
                  <a:pt x="25" y="1249"/>
                </a:lnTo>
                <a:lnTo>
                  <a:pt x="26" y="1249"/>
                </a:lnTo>
                <a:lnTo>
                  <a:pt x="26" y="1248"/>
                </a:lnTo>
                <a:lnTo>
                  <a:pt x="27" y="1248"/>
                </a:lnTo>
                <a:lnTo>
                  <a:pt x="27" y="1247"/>
                </a:lnTo>
                <a:lnTo>
                  <a:pt x="26" y="1247"/>
                </a:lnTo>
                <a:lnTo>
                  <a:pt x="26" y="1245"/>
                </a:lnTo>
                <a:lnTo>
                  <a:pt x="25" y="1243"/>
                </a:lnTo>
                <a:lnTo>
                  <a:pt x="25" y="1242"/>
                </a:lnTo>
                <a:lnTo>
                  <a:pt x="26" y="1242"/>
                </a:lnTo>
                <a:lnTo>
                  <a:pt x="26" y="1243"/>
                </a:lnTo>
                <a:lnTo>
                  <a:pt x="27" y="1243"/>
                </a:lnTo>
                <a:lnTo>
                  <a:pt x="29" y="1246"/>
                </a:lnTo>
                <a:lnTo>
                  <a:pt x="29" y="1247"/>
                </a:lnTo>
                <a:lnTo>
                  <a:pt x="30" y="1245"/>
                </a:lnTo>
                <a:lnTo>
                  <a:pt x="29" y="1245"/>
                </a:lnTo>
                <a:lnTo>
                  <a:pt x="27" y="1243"/>
                </a:lnTo>
                <a:lnTo>
                  <a:pt x="26" y="1241"/>
                </a:lnTo>
                <a:lnTo>
                  <a:pt x="27" y="1241"/>
                </a:lnTo>
                <a:lnTo>
                  <a:pt x="27" y="1240"/>
                </a:lnTo>
                <a:lnTo>
                  <a:pt x="25" y="1240"/>
                </a:lnTo>
                <a:lnTo>
                  <a:pt x="25" y="1239"/>
                </a:lnTo>
                <a:lnTo>
                  <a:pt x="26" y="1239"/>
                </a:lnTo>
                <a:lnTo>
                  <a:pt x="26" y="1236"/>
                </a:lnTo>
                <a:lnTo>
                  <a:pt x="33" y="1241"/>
                </a:lnTo>
                <a:lnTo>
                  <a:pt x="32" y="1243"/>
                </a:lnTo>
                <a:lnTo>
                  <a:pt x="32" y="1248"/>
                </a:lnTo>
                <a:lnTo>
                  <a:pt x="33" y="1249"/>
                </a:lnTo>
                <a:lnTo>
                  <a:pt x="33" y="1245"/>
                </a:lnTo>
                <a:lnTo>
                  <a:pt x="37" y="1245"/>
                </a:lnTo>
                <a:lnTo>
                  <a:pt x="37" y="1242"/>
                </a:lnTo>
                <a:lnTo>
                  <a:pt x="40" y="1242"/>
                </a:lnTo>
                <a:lnTo>
                  <a:pt x="43" y="1245"/>
                </a:lnTo>
                <a:lnTo>
                  <a:pt x="43" y="1246"/>
                </a:lnTo>
                <a:lnTo>
                  <a:pt x="49" y="1252"/>
                </a:lnTo>
                <a:lnTo>
                  <a:pt x="54" y="1252"/>
                </a:lnTo>
                <a:lnTo>
                  <a:pt x="50" y="1251"/>
                </a:lnTo>
                <a:lnTo>
                  <a:pt x="49" y="1251"/>
                </a:lnTo>
                <a:lnTo>
                  <a:pt x="49" y="1249"/>
                </a:lnTo>
                <a:lnTo>
                  <a:pt x="48" y="1248"/>
                </a:lnTo>
                <a:lnTo>
                  <a:pt x="48" y="1246"/>
                </a:lnTo>
                <a:lnTo>
                  <a:pt x="50" y="1243"/>
                </a:lnTo>
                <a:lnTo>
                  <a:pt x="50" y="1242"/>
                </a:lnTo>
                <a:lnTo>
                  <a:pt x="54" y="1240"/>
                </a:lnTo>
                <a:lnTo>
                  <a:pt x="71" y="1235"/>
                </a:lnTo>
                <a:lnTo>
                  <a:pt x="71" y="1234"/>
                </a:lnTo>
                <a:lnTo>
                  <a:pt x="60" y="1236"/>
                </a:lnTo>
                <a:lnTo>
                  <a:pt x="57" y="1237"/>
                </a:lnTo>
                <a:lnTo>
                  <a:pt x="52" y="1239"/>
                </a:lnTo>
                <a:lnTo>
                  <a:pt x="50" y="1240"/>
                </a:lnTo>
                <a:lnTo>
                  <a:pt x="46" y="1247"/>
                </a:lnTo>
                <a:lnTo>
                  <a:pt x="44" y="1243"/>
                </a:lnTo>
                <a:lnTo>
                  <a:pt x="44" y="1240"/>
                </a:lnTo>
                <a:lnTo>
                  <a:pt x="46" y="1240"/>
                </a:lnTo>
                <a:lnTo>
                  <a:pt x="48" y="1239"/>
                </a:lnTo>
                <a:lnTo>
                  <a:pt x="46" y="1239"/>
                </a:lnTo>
                <a:lnTo>
                  <a:pt x="46" y="1237"/>
                </a:lnTo>
                <a:lnTo>
                  <a:pt x="43" y="1237"/>
                </a:lnTo>
                <a:lnTo>
                  <a:pt x="39" y="1234"/>
                </a:lnTo>
                <a:lnTo>
                  <a:pt x="39" y="1231"/>
                </a:lnTo>
                <a:lnTo>
                  <a:pt x="40" y="1230"/>
                </a:lnTo>
                <a:lnTo>
                  <a:pt x="42" y="1230"/>
                </a:lnTo>
                <a:lnTo>
                  <a:pt x="46" y="1229"/>
                </a:lnTo>
                <a:lnTo>
                  <a:pt x="48" y="1228"/>
                </a:lnTo>
                <a:lnTo>
                  <a:pt x="50" y="1228"/>
                </a:lnTo>
                <a:lnTo>
                  <a:pt x="50" y="1227"/>
                </a:lnTo>
                <a:lnTo>
                  <a:pt x="45" y="1227"/>
                </a:lnTo>
                <a:lnTo>
                  <a:pt x="48" y="1222"/>
                </a:lnTo>
                <a:lnTo>
                  <a:pt x="52" y="1217"/>
                </a:lnTo>
                <a:lnTo>
                  <a:pt x="56" y="1216"/>
                </a:lnTo>
                <a:lnTo>
                  <a:pt x="58" y="1213"/>
                </a:lnTo>
                <a:lnTo>
                  <a:pt x="61" y="1212"/>
                </a:lnTo>
                <a:lnTo>
                  <a:pt x="58" y="1212"/>
                </a:lnTo>
                <a:lnTo>
                  <a:pt x="54" y="1216"/>
                </a:lnTo>
                <a:lnTo>
                  <a:pt x="51" y="1217"/>
                </a:lnTo>
                <a:lnTo>
                  <a:pt x="50" y="1216"/>
                </a:lnTo>
                <a:lnTo>
                  <a:pt x="49" y="1213"/>
                </a:lnTo>
                <a:lnTo>
                  <a:pt x="55" y="1213"/>
                </a:lnTo>
                <a:lnTo>
                  <a:pt x="55" y="1212"/>
                </a:lnTo>
                <a:lnTo>
                  <a:pt x="54" y="1211"/>
                </a:lnTo>
                <a:lnTo>
                  <a:pt x="54" y="1212"/>
                </a:lnTo>
                <a:lnTo>
                  <a:pt x="52" y="1212"/>
                </a:lnTo>
                <a:lnTo>
                  <a:pt x="51" y="1211"/>
                </a:lnTo>
                <a:lnTo>
                  <a:pt x="50" y="1212"/>
                </a:lnTo>
                <a:lnTo>
                  <a:pt x="49" y="1212"/>
                </a:lnTo>
                <a:lnTo>
                  <a:pt x="48" y="1211"/>
                </a:lnTo>
                <a:lnTo>
                  <a:pt x="46" y="1212"/>
                </a:lnTo>
                <a:lnTo>
                  <a:pt x="45" y="1212"/>
                </a:lnTo>
                <a:lnTo>
                  <a:pt x="45" y="1210"/>
                </a:lnTo>
                <a:lnTo>
                  <a:pt x="46" y="1209"/>
                </a:lnTo>
                <a:lnTo>
                  <a:pt x="46" y="1208"/>
                </a:lnTo>
                <a:lnTo>
                  <a:pt x="48" y="1206"/>
                </a:lnTo>
                <a:lnTo>
                  <a:pt x="49" y="1206"/>
                </a:lnTo>
                <a:lnTo>
                  <a:pt x="52" y="1203"/>
                </a:lnTo>
                <a:lnTo>
                  <a:pt x="54" y="1204"/>
                </a:lnTo>
                <a:lnTo>
                  <a:pt x="54" y="1202"/>
                </a:lnTo>
                <a:lnTo>
                  <a:pt x="55" y="1200"/>
                </a:lnTo>
                <a:lnTo>
                  <a:pt x="55" y="1197"/>
                </a:lnTo>
                <a:lnTo>
                  <a:pt x="63" y="1193"/>
                </a:lnTo>
                <a:lnTo>
                  <a:pt x="68" y="1193"/>
                </a:lnTo>
                <a:lnTo>
                  <a:pt x="67" y="1192"/>
                </a:lnTo>
                <a:lnTo>
                  <a:pt x="60" y="1193"/>
                </a:lnTo>
                <a:lnTo>
                  <a:pt x="56" y="1196"/>
                </a:lnTo>
                <a:lnTo>
                  <a:pt x="55" y="1196"/>
                </a:lnTo>
                <a:lnTo>
                  <a:pt x="56" y="1194"/>
                </a:lnTo>
                <a:lnTo>
                  <a:pt x="56" y="1193"/>
                </a:lnTo>
                <a:lnTo>
                  <a:pt x="57" y="1192"/>
                </a:lnTo>
                <a:lnTo>
                  <a:pt x="57" y="1186"/>
                </a:lnTo>
                <a:lnTo>
                  <a:pt x="58" y="1185"/>
                </a:lnTo>
                <a:lnTo>
                  <a:pt x="57" y="1185"/>
                </a:lnTo>
                <a:lnTo>
                  <a:pt x="56" y="1187"/>
                </a:lnTo>
                <a:lnTo>
                  <a:pt x="56" y="1192"/>
                </a:lnTo>
                <a:lnTo>
                  <a:pt x="55" y="1193"/>
                </a:lnTo>
                <a:lnTo>
                  <a:pt x="55" y="1196"/>
                </a:lnTo>
                <a:lnTo>
                  <a:pt x="54" y="1197"/>
                </a:lnTo>
                <a:lnTo>
                  <a:pt x="52" y="1200"/>
                </a:lnTo>
                <a:lnTo>
                  <a:pt x="51" y="1202"/>
                </a:lnTo>
                <a:lnTo>
                  <a:pt x="49" y="1203"/>
                </a:lnTo>
                <a:lnTo>
                  <a:pt x="49" y="1204"/>
                </a:lnTo>
                <a:lnTo>
                  <a:pt x="46" y="1205"/>
                </a:lnTo>
                <a:lnTo>
                  <a:pt x="46" y="1206"/>
                </a:lnTo>
                <a:lnTo>
                  <a:pt x="45" y="1205"/>
                </a:lnTo>
                <a:lnTo>
                  <a:pt x="45" y="1204"/>
                </a:lnTo>
                <a:lnTo>
                  <a:pt x="44" y="1204"/>
                </a:lnTo>
                <a:lnTo>
                  <a:pt x="44" y="1206"/>
                </a:lnTo>
                <a:lnTo>
                  <a:pt x="45" y="1206"/>
                </a:lnTo>
                <a:lnTo>
                  <a:pt x="45" y="1208"/>
                </a:lnTo>
                <a:lnTo>
                  <a:pt x="43" y="1210"/>
                </a:lnTo>
                <a:lnTo>
                  <a:pt x="42" y="1210"/>
                </a:lnTo>
                <a:lnTo>
                  <a:pt x="42" y="1208"/>
                </a:lnTo>
                <a:lnTo>
                  <a:pt x="40" y="1208"/>
                </a:lnTo>
                <a:lnTo>
                  <a:pt x="40" y="1202"/>
                </a:lnTo>
                <a:lnTo>
                  <a:pt x="42" y="1203"/>
                </a:lnTo>
                <a:lnTo>
                  <a:pt x="51" y="1199"/>
                </a:lnTo>
                <a:lnTo>
                  <a:pt x="51" y="1198"/>
                </a:lnTo>
                <a:lnTo>
                  <a:pt x="50" y="1198"/>
                </a:lnTo>
                <a:lnTo>
                  <a:pt x="48" y="1199"/>
                </a:lnTo>
                <a:lnTo>
                  <a:pt x="46" y="1200"/>
                </a:lnTo>
                <a:lnTo>
                  <a:pt x="40" y="1199"/>
                </a:lnTo>
                <a:lnTo>
                  <a:pt x="39" y="1199"/>
                </a:lnTo>
                <a:lnTo>
                  <a:pt x="39" y="1197"/>
                </a:lnTo>
                <a:lnTo>
                  <a:pt x="38" y="1197"/>
                </a:lnTo>
                <a:lnTo>
                  <a:pt x="38" y="1194"/>
                </a:lnTo>
                <a:lnTo>
                  <a:pt x="37" y="1194"/>
                </a:lnTo>
                <a:lnTo>
                  <a:pt x="36" y="1196"/>
                </a:lnTo>
                <a:lnTo>
                  <a:pt x="37" y="1198"/>
                </a:lnTo>
                <a:lnTo>
                  <a:pt x="37" y="1200"/>
                </a:lnTo>
                <a:lnTo>
                  <a:pt x="35" y="1203"/>
                </a:lnTo>
                <a:lnTo>
                  <a:pt x="33" y="1202"/>
                </a:lnTo>
                <a:lnTo>
                  <a:pt x="33" y="1203"/>
                </a:lnTo>
                <a:lnTo>
                  <a:pt x="32" y="1204"/>
                </a:lnTo>
                <a:lnTo>
                  <a:pt x="30" y="1205"/>
                </a:lnTo>
                <a:lnTo>
                  <a:pt x="31" y="1205"/>
                </a:lnTo>
                <a:lnTo>
                  <a:pt x="33" y="1204"/>
                </a:lnTo>
                <a:lnTo>
                  <a:pt x="37" y="1204"/>
                </a:lnTo>
                <a:lnTo>
                  <a:pt x="39" y="1208"/>
                </a:lnTo>
                <a:lnTo>
                  <a:pt x="39" y="1210"/>
                </a:lnTo>
                <a:lnTo>
                  <a:pt x="38" y="1210"/>
                </a:lnTo>
                <a:lnTo>
                  <a:pt x="36" y="1211"/>
                </a:lnTo>
                <a:lnTo>
                  <a:pt x="35" y="1210"/>
                </a:lnTo>
                <a:lnTo>
                  <a:pt x="35" y="1211"/>
                </a:lnTo>
                <a:lnTo>
                  <a:pt x="32" y="1211"/>
                </a:lnTo>
                <a:lnTo>
                  <a:pt x="32" y="1213"/>
                </a:lnTo>
                <a:lnTo>
                  <a:pt x="31" y="1213"/>
                </a:lnTo>
                <a:lnTo>
                  <a:pt x="30" y="1215"/>
                </a:lnTo>
                <a:lnTo>
                  <a:pt x="29" y="1215"/>
                </a:lnTo>
                <a:lnTo>
                  <a:pt x="29" y="1213"/>
                </a:lnTo>
                <a:lnTo>
                  <a:pt x="30" y="1212"/>
                </a:lnTo>
                <a:lnTo>
                  <a:pt x="30" y="1210"/>
                </a:lnTo>
                <a:lnTo>
                  <a:pt x="29" y="1206"/>
                </a:lnTo>
                <a:lnTo>
                  <a:pt x="27" y="1205"/>
                </a:lnTo>
                <a:lnTo>
                  <a:pt x="27" y="1213"/>
                </a:lnTo>
                <a:lnTo>
                  <a:pt x="25" y="1216"/>
                </a:lnTo>
                <a:lnTo>
                  <a:pt x="23" y="1216"/>
                </a:lnTo>
                <a:lnTo>
                  <a:pt x="23" y="1215"/>
                </a:lnTo>
                <a:lnTo>
                  <a:pt x="20" y="1212"/>
                </a:lnTo>
                <a:lnTo>
                  <a:pt x="21" y="1210"/>
                </a:lnTo>
                <a:lnTo>
                  <a:pt x="21" y="1205"/>
                </a:lnTo>
                <a:lnTo>
                  <a:pt x="20" y="1206"/>
                </a:lnTo>
                <a:lnTo>
                  <a:pt x="20" y="1215"/>
                </a:lnTo>
                <a:lnTo>
                  <a:pt x="19" y="1215"/>
                </a:lnTo>
                <a:lnTo>
                  <a:pt x="19" y="1212"/>
                </a:lnTo>
                <a:lnTo>
                  <a:pt x="18" y="1211"/>
                </a:lnTo>
                <a:lnTo>
                  <a:pt x="18" y="1205"/>
                </a:lnTo>
                <a:lnTo>
                  <a:pt x="17" y="1205"/>
                </a:lnTo>
                <a:lnTo>
                  <a:pt x="17" y="1210"/>
                </a:lnTo>
                <a:lnTo>
                  <a:pt x="15" y="1211"/>
                </a:lnTo>
                <a:lnTo>
                  <a:pt x="13" y="1204"/>
                </a:lnTo>
                <a:lnTo>
                  <a:pt x="12" y="1204"/>
                </a:lnTo>
                <a:lnTo>
                  <a:pt x="11" y="1203"/>
                </a:lnTo>
                <a:lnTo>
                  <a:pt x="11" y="1197"/>
                </a:lnTo>
                <a:lnTo>
                  <a:pt x="12" y="1196"/>
                </a:lnTo>
                <a:lnTo>
                  <a:pt x="13" y="1196"/>
                </a:lnTo>
                <a:lnTo>
                  <a:pt x="12" y="1194"/>
                </a:lnTo>
                <a:lnTo>
                  <a:pt x="12" y="1193"/>
                </a:lnTo>
                <a:lnTo>
                  <a:pt x="13" y="1193"/>
                </a:lnTo>
                <a:lnTo>
                  <a:pt x="15" y="1190"/>
                </a:lnTo>
                <a:lnTo>
                  <a:pt x="15" y="1187"/>
                </a:lnTo>
                <a:lnTo>
                  <a:pt x="17" y="1186"/>
                </a:lnTo>
                <a:lnTo>
                  <a:pt x="18" y="1186"/>
                </a:lnTo>
                <a:lnTo>
                  <a:pt x="18" y="1185"/>
                </a:lnTo>
                <a:lnTo>
                  <a:pt x="19" y="1185"/>
                </a:lnTo>
                <a:lnTo>
                  <a:pt x="19" y="1186"/>
                </a:lnTo>
                <a:lnTo>
                  <a:pt x="20" y="1188"/>
                </a:lnTo>
                <a:lnTo>
                  <a:pt x="21" y="1187"/>
                </a:lnTo>
                <a:lnTo>
                  <a:pt x="21" y="1186"/>
                </a:lnTo>
                <a:lnTo>
                  <a:pt x="20" y="1185"/>
                </a:lnTo>
                <a:lnTo>
                  <a:pt x="20" y="1182"/>
                </a:lnTo>
                <a:lnTo>
                  <a:pt x="21" y="1180"/>
                </a:lnTo>
                <a:lnTo>
                  <a:pt x="24" y="1178"/>
                </a:lnTo>
                <a:lnTo>
                  <a:pt x="24" y="1187"/>
                </a:lnTo>
                <a:lnTo>
                  <a:pt x="23" y="1187"/>
                </a:lnTo>
                <a:lnTo>
                  <a:pt x="24" y="1188"/>
                </a:lnTo>
                <a:lnTo>
                  <a:pt x="24" y="1192"/>
                </a:lnTo>
                <a:lnTo>
                  <a:pt x="21" y="1194"/>
                </a:lnTo>
                <a:lnTo>
                  <a:pt x="20" y="1194"/>
                </a:lnTo>
                <a:lnTo>
                  <a:pt x="20" y="1197"/>
                </a:lnTo>
                <a:lnTo>
                  <a:pt x="21" y="1197"/>
                </a:lnTo>
                <a:lnTo>
                  <a:pt x="24" y="1194"/>
                </a:lnTo>
                <a:lnTo>
                  <a:pt x="25" y="1194"/>
                </a:lnTo>
                <a:lnTo>
                  <a:pt x="25" y="1191"/>
                </a:lnTo>
                <a:lnTo>
                  <a:pt x="26" y="1190"/>
                </a:lnTo>
                <a:lnTo>
                  <a:pt x="25" y="1188"/>
                </a:lnTo>
                <a:lnTo>
                  <a:pt x="25" y="1186"/>
                </a:lnTo>
                <a:lnTo>
                  <a:pt x="26" y="1184"/>
                </a:lnTo>
                <a:lnTo>
                  <a:pt x="26" y="1182"/>
                </a:lnTo>
                <a:lnTo>
                  <a:pt x="27" y="1182"/>
                </a:lnTo>
                <a:lnTo>
                  <a:pt x="29" y="1184"/>
                </a:lnTo>
                <a:lnTo>
                  <a:pt x="33" y="1184"/>
                </a:lnTo>
                <a:lnTo>
                  <a:pt x="33" y="1188"/>
                </a:lnTo>
                <a:lnTo>
                  <a:pt x="35" y="1188"/>
                </a:lnTo>
                <a:lnTo>
                  <a:pt x="36" y="1187"/>
                </a:lnTo>
                <a:lnTo>
                  <a:pt x="36" y="1185"/>
                </a:lnTo>
                <a:lnTo>
                  <a:pt x="40" y="1185"/>
                </a:lnTo>
                <a:lnTo>
                  <a:pt x="40" y="1182"/>
                </a:lnTo>
                <a:lnTo>
                  <a:pt x="36" y="1185"/>
                </a:lnTo>
                <a:lnTo>
                  <a:pt x="35" y="1184"/>
                </a:lnTo>
                <a:lnTo>
                  <a:pt x="35" y="1182"/>
                </a:lnTo>
                <a:lnTo>
                  <a:pt x="37" y="1180"/>
                </a:lnTo>
                <a:lnTo>
                  <a:pt x="37" y="1179"/>
                </a:lnTo>
                <a:lnTo>
                  <a:pt x="39" y="1178"/>
                </a:lnTo>
                <a:lnTo>
                  <a:pt x="40" y="1178"/>
                </a:lnTo>
                <a:lnTo>
                  <a:pt x="40" y="1175"/>
                </a:lnTo>
                <a:lnTo>
                  <a:pt x="42" y="1175"/>
                </a:lnTo>
                <a:lnTo>
                  <a:pt x="42" y="1176"/>
                </a:lnTo>
                <a:lnTo>
                  <a:pt x="43" y="1178"/>
                </a:lnTo>
                <a:lnTo>
                  <a:pt x="46" y="1178"/>
                </a:lnTo>
                <a:lnTo>
                  <a:pt x="52" y="1173"/>
                </a:lnTo>
                <a:lnTo>
                  <a:pt x="52" y="1172"/>
                </a:lnTo>
                <a:lnTo>
                  <a:pt x="54" y="1172"/>
                </a:lnTo>
                <a:lnTo>
                  <a:pt x="54" y="1170"/>
                </a:lnTo>
                <a:lnTo>
                  <a:pt x="57" y="1169"/>
                </a:lnTo>
                <a:lnTo>
                  <a:pt x="58" y="1168"/>
                </a:lnTo>
                <a:lnTo>
                  <a:pt x="56" y="1169"/>
                </a:lnTo>
                <a:lnTo>
                  <a:pt x="50" y="1172"/>
                </a:lnTo>
                <a:lnTo>
                  <a:pt x="46" y="1175"/>
                </a:lnTo>
                <a:lnTo>
                  <a:pt x="46" y="1176"/>
                </a:lnTo>
                <a:lnTo>
                  <a:pt x="44" y="1176"/>
                </a:lnTo>
                <a:lnTo>
                  <a:pt x="43" y="1175"/>
                </a:lnTo>
                <a:lnTo>
                  <a:pt x="43" y="1169"/>
                </a:lnTo>
                <a:lnTo>
                  <a:pt x="42" y="1170"/>
                </a:lnTo>
                <a:lnTo>
                  <a:pt x="42" y="1173"/>
                </a:lnTo>
                <a:lnTo>
                  <a:pt x="39" y="1175"/>
                </a:lnTo>
                <a:lnTo>
                  <a:pt x="38" y="1175"/>
                </a:lnTo>
                <a:lnTo>
                  <a:pt x="37" y="1174"/>
                </a:lnTo>
                <a:lnTo>
                  <a:pt x="36" y="1174"/>
                </a:lnTo>
                <a:lnTo>
                  <a:pt x="35" y="1172"/>
                </a:lnTo>
                <a:lnTo>
                  <a:pt x="33" y="1170"/>
                </a:lnTo>
                <a:lnTo>
                  <a:pt x="33" y="1168"/>
                </a:lnTo>
                <a:lnTo>
                  <a:pt x="32" y="1168"/>
                </a:lnTo>
                <a:lnTo>
                  <a:pt x="32" y="1169"/>
                </a:lnTo>
                <a:lnTo>
                  <a:pt x="31" y="1169"/>
                </a:lnTo>
                <a:lnTo>
                  <a:pt x="30" y="1168"/>
                </a:lnTo>
                <a:lnTo>
                  <a:pt x="31" y="1168"/>
                </a:lnTo>
                <a:lnTo>
                  <a:pt x="32" y="1167"/>
                </a:lnTo>
                <a:lnTo>
                  <a:pt x="35" y="1166"/>
                </a:lnTo>
                <a:lnTo>
                  <a:pt x="35" y="1163"/>
                </a:lnTo>
                <a:lnTo>
                  <a:pt x="37" y="1161"/>
                </a:lnTo>
                <a:lnTo>
                  <a:pt x="39" y="1160"/>
                </a:lnTo>
                <a:lnTo>
                  <a:pt x="44" y="1160"/>
                </a:lnTo>
                <a:lnTo>
                  <a:pt x="44" y="1157"/>
                </a:lnTo>
                <a:lnTo>
                  <a:pt x="43" y="1156"/>
                </a:lnTo>
                <a:lnTo>
                  <a:pt x="45" y="1151"/>
                </a:lnTo>
                <a:lnTo>
                  <a:pt x="49" y="1148"/>
                </a:lnTo>
                <a:lnTo>
                  <a:pt x="57" y="1145"/>
                </a:lnTo>
                <a:lnTo>
                  <a:pt x="56" y="1145"/>
                </a:lnTo>
                <a:lnTo>
                  <a:pt x="56" y="1142"/>
                </a:lnTo>
                <a:lnTo>
                  <a:pt x="54" y="1144"/>
                </a:lnTo>
                <a:lnTo>
                  <a:pt x="54" y="1145"/>
                </a:lnTo>
                <a:lnTo>
                  <a:pt x="52" y="1147"/>
                </a:lnTo>
                <a:lnTo>
                  <a:pt x="50" y="1147"/>
                </a:lnTo>
                <a:lnTo>
                  <a:pt x="50" y="1144"/>
                </a:lnTo>
                <a:lnTo>
                  <a:pt x="49" y="1142"/>
                </a:lnTo>
                <a:lnTo>
                  <a:pt x="49" y="1139"/>
                </a:lnTo>
                <a:lnTo>
                  <a:pt x="52" y="1136"/>
                </a:lnTo>
                <a:lnTo>
                  <a:pt x="52" y="1133"/>
                </a:lnTo>
                <a:lnTo>
                  <a:pt x="54" y="1132"/>
                </a:lnTo>
                <a:lnTo>
                  <a:pt x="54" y="1130"/>
                </a:lnTo>
                <a:lnTo>
                  <a:pt x="56" y="1130"/>
                </a:lnTo>
                <a:lnTo>
                  <a:pt x="58" y="1128"/>
                </a:lnTo>
                <a:lnTo>
                  <a:pt x="58" y="1126"/>
                </a:lnTo>
                <a:lnTo>
                  <a:pt x="60" y="1126"/>
                </a:lnTo>
                <a:lnTo>
                  <a:pt x="60" y="1125"/>
                </a:lnTo>
                <a:lnTo>
                  <a:pt x="61" y="1124"/>
                </a:lnTo>
                <a:lnTo>
                  <a:pt x="63" y="1124"/>
                </a:lnTo>
                <a:lnTo>
                  <a:pt x="63" y="1123"/>
                </a:lnTo>
                <a:lnTo>
                  <a:pt x="67" y="1119"/>
                </a:lnTo>
                <a:lnTo>
                  <a:pt x="69" y="1119"/>
                </a:lnTo>
                <a:lnTo>
                  <a:pt x="73" y="1120"/>
                </a:lnTo>
                <a:lnTo>
                  <a:pt x="69" y="1128"/>
                </a:lnTo>
                <a:lnTo>
                  <a:pt x="69" y="1131"/>
                </a:lnTo>
                <a:lnTo>
                  <a:pt x="68" y="1132"/>
                </a:lnTo>
                <a:lnTo>
                  <a:pt x="68" y="1133"/>
                </a:lnTo>
                <a:lnTo>
                  <a:pt x="67" y="1141"/>
                </a:lnTo>
                <a:lnTo>
                  <a:pt x="67" y="1144"/>
                </a:lnTo>
                <a:lnTo>
                  <a:pt x="68" y="1142"/>
                </a:lnTo>
                <a:lnTo>
                  <a:pt x="68" y="1141"/>
                </a:lnTo>
                <a:lnTo>
                  <a:pt x="69" y="1137"/>
                </a:lnTo>
                <a:lnTo>
                  <a:pt x="69" y="1132"/>
                </a:lnTo>
                <a:lnTo>
                  <a:pt x="70" y="1131"/>
                </a:lnTo>
                <a:lnTo>
                  <a:pt x="71" y="1125"/>
                </a:lnTo>
                <a:lnTo>
                  <a:pt x="75" y="1122"/>
                </a:lnTo>
                <a:lnTo>
                  <a:pt x="76" y="1118"/>
                </a:lnTo>
                <a:lnTo>
                  <a:pt x="79" y="1116"/>
                </a:lnTo>
                <a:lnTo>
                  <a:pt x="85" y="1114"/>
                </a:lnTo>
                <a:lnTo>
                  <a:pt x="88" y="1116"/>
                </a:lnTo>
                <a:lnTo>
                  <a:pt x="91" y="1116"/>
                </a:lnTo>
                <a:lnTo>
                  <a:pt x="92" y="1113"/>
                </a:lnTo>
                <a:lnTo>
                  <a:pt x="83" y="1113"/>
                </a:lnTo>
                <a:lnTo>
                  <a:pt x="83" y="1112"/>
                </a:lnTo>
                <a:lnTo>
                  <a:pt x="85" y="1112"/>
                </a:lnTo>
                <a:lnTo>
                  <a:pt x="85" y="1110"/>
                </a:lnTo>
                <a:lnTo>
                  <a:pt x="86" y="1110"/>
                </a:lnTo>
                <a:lnTo>
                  <a:pt x="88" y="1106"/>
                </a:lnTo>
                <a:lnTo>
                  <a:pt x="87" y="1106"/>
                </a:lnTo>
                <a:lnTo>
                  <a:pt x="85" y="1107"/>
                </a:lnTo>
                <a:lnTo>
                  <a:pt x="83" y="1108"/>
                </a:lnTo>
                <a:lnTo>
                  <a:pt x="81" y="1113"/>
                </a:lnTo>
                <a:lnTo>
                  <a:pt x="77" y="1114"/>
                </a:lnTo>
                <a:lnTo>
                  <a:pt x="76" y="1116"/>
                </a:lnTo>
                <a:lnTo>
                  <a:pt x="74" y="1119"/>
                </a:lnTo>
                <a:lnTo>
                  <a:pt x="70" y="1119"/>
                </a:lnTo>
                <a:lnTo>
                  <a:pt x="70" y="1117"/>
                </a:lnTo>
                <a:lnTo>
                  <a:pt x="74" y="1113"/>
                </a:lnTo>
                <a:lnTo>
                  <a:pt x="74" y="1112"/>
                </a:lnTo>
                <a:lnTo>
                  <a:pt x="73" y="1112"/>
                </a:lnTo>
                <a:lnTo>
                  <a:pt x="69" y="1117"/>
                </a:lnTo>
                <a:lnTo>
                  <a:pt x="67" y="1118"/>
                </a:lnTo>
                <a:lnTo>
                  <a:pt x="66" y="1118"/>
                </a:lnTo>
                <a:lnTo>
                  <a:pt x="63" y="1119"/>
                </a:lnTo>
                <a:lnTo>
                  <a:pt x="62" y="1119"/>
                </a:lnTo>
                <a:lnTo>
                  <a:pt x="58" y="1123"/>
                </a:lnTo>
                <a:lnTo>
                  <a:pt x="56" y="1123"/>
                </a:lnTo>
                <a:lnTo>
                  <a:pt x="56" y="1122"/>
                </a:lnTo>
                <a:lnTo>
                  <a:pt x="54" y="1119"/>
                </a:lnTo>
                <a:lnTo>
                  <a:pt x="54" y="1116"/>
                </a:lnTo>
                <a:lnTo>
                  <a:pt x="52" y="1116"/>
                </a:lnTo>
                <a:lnTo>
                  <a:pt x="52" y="1118"/>
                </a:lnTo>
                <a:lnTo>
                  <a:pt x="54" y="1119"/>
                </a:lnTo>
                <a:lnTo>
                  <a:pt x="54" y="1122"/>
                </a:lnTo>
                <a:lnTo>
                  <a:pt x="55" y="1123"/>
                </a:lnTo>
                <a:lnTo>
                  <a:pt x="55" y="1124"/>
                </a:lnTo>
                <a:lnTo>
                  <a:pt x="54" y="1123"/>
                </a:lnTo>
                <a:lnTo>
                  <a:pt x="52" y="1124"/>
                </a:lnTo>
                <a:lnTo>
                  <a:pt x="51" y="1124"/>
                </a:lnTo>
                <a:lnTo>
                  <a:pt x="50" y="1125"/>
                </a:lnTo>
                <a:lnTo>
                  <a:pt x="54" y="1125"/>
                </a:lnTo>
                <a:lnTo>
                  <a:pt x="52" y="1128"/>
                </a:lnTo>
                <a:lnTo>
                  <a:pt x="51" y="1129"/>
                </a:lnTo>
                <a:lnTo>
                  <a:pt x="51" y="1131"/>
                </a:lnTo>
                <a:lnTo>
                  <a:pt x="52" y="1131"/>
                </a:lnTo>
                <a:lnTo>
                  <a:pt x="51" y="1133"/>
                </a:lnTo>
                <a:lnTo>
                  <a:pt x="51" y="1135"/>
                </a:lnTo>
                <a:lnTo>
                  <a:pt x="49" y="1135"/>
                </a:lnTo>
                <a:lnTo>
                  <a:pt x="46" y="1133"/>
                </a:lnTo>
                <a:lnTo>
                  <a:pt x="45" y="1132"/>
                </a:lnTo>
                <a:lnTo>
                  <a:pt x="45" y="1133"/>
                </a:lnTo>
                <a:lnTo>
                  <a:pt x="44" y="1135"/>
                </a:lnTo>
                <a:lnTo>
                  <a:pt x="44" y="1137"/>
                </a:lnTo>
                <a:lnTo>
                  <a:pt x="42" y="1142"/>
                </a:lnTo>
                <a:lnTo>
                  <a:pt x="39" y="1142"/>
                </a:lnTo>
                <a:lnTo>
                  <a:pt x="39" y="1154"/>
                </a:lnTo>
                <a:lnTo>
                  <a:pt x="38" y="1155"/>
                </a:lnTo>
                <a:lnTo>
                  <a:pt x="36" y="1155"/>
                </a:lnTo>
                <a:lnTo>
                  <a:pt x="36" y="1154"/>
                </a:lnTo>
                <a:lnTo>
                  <a:pt x="35" y="1156"/>
                </a:lnTo>
                <a:lnTo>
                  <a:pt x="32" y="1155"/>
                </a:lnTo>
                <a:lnTo>
                  <a:pt x="32" y="1150"/>
                </a:lnTo>
                <a:lnTo>
                  <a:pt x="36" y="1150"/>
                </a:lnTo>
                <a:lnTo>
                  <a:pt x="36" y="1149"/>
                </a:lnTo>
                <a:lnTo>
                  <a:pt x="37" y="1148"/>
                </a:lnTo>
                <a:lnTo>
                  <a:pt x="35" y="1148"/>
                </a:lnTo>
                <a:lnTo>
                  <a:pt x="35" y="1149"/>
                </a:lnTo>
                <a:lnTo>
                  <a:pt x="33" y="1149"/>
                </a:lnTo>
                <a:lnTo>
                  <a:pt x="33" y="1148"/>
                </a:lnTo>
                <a:lnTo>
                  <a:pt x="32" y="1147"/>
                </a:lnTo>
                <a:lnTo>
                  <a:pt x="33" y="1147"/>
                </a:lnTo>
                <a:lnTo>
                  <a:pt x="33" y="1144"/>
                </a:lnTo>
                <a:lnTo>
                  <a:pt x="32" y="1142"/>
                </a:lnTo>
                <a:lnTo>
                  <a:pt x="36" y="1138"/>
                </a:lnTo>
                <a:lnTo>
                  <a:pt x="33" y="1138"/>
                </a:lnTo>
                <a:lnTo>
                  <a:pt x="31" y="1141"/>
                </a:lnTo>
                <a:lnTo>
                  <a:pt x="31" y="1142"/>
                </a:lnTo>
                <a:lnTo>
                  <a:pt x="30" y="1143"/>
                </a:lnTo>
                <a:lnTo>
                  <a:pt x="29" y="1143"/>
                </a:lnTo>
                <a:lnTo>
                  <a:pt x="27" y="1144"/>
                </a:lnTo>
                <a:lnTo>
                  <a:pt x="26" y="1143"/>
                </a:lnTo>
                <a:lnTo>
                  <a:pt x="26" y="1142"/>
                </a:lnTo>
                <a:lnTo>
                  <a:pt x="27" y="1141"/>
                </a:lnTo>
                <a:lnTo>
                  <a:pt x="27" y="1139"/>
                </a:lnTo>
                <a:lnTo>
                  <a:pt x="26" y="1139"/>
                </a:lnTo>
                <a:lnTo>
                  <a:pt x="26" y="1138"/>
                </a:lnTo>
                <a:lnTo>
                  <a:pt x="29" y="1138"/>
                </a:lnTo>
                <a:lnTo>
                  <a:pt x="33" y="1136"/>
                </a:lnTo>
                <a:lnTo>
                  <a:pt x="29" y="1136"/>
                </a:lnTo>
                <a:lnTo>
                  <a:pt x="30" y="1135"/>
                </a:lnTo>
                <a:lnTo>
                  <a:pt x="30" y="1132"/>
                </a:lnTo>
                <a:lnTo>
                  <a:pt x="29" y="1132"/>
                </a:lnTo>
                <a:lnTo>
                  <a:pt x="30" y="1129"/>
                </a:lnTo>
                <a:lnTo>
                  <a:pt x="31" y="1128"/>
                </a:lnTo>
                <a:lnTo>
                  <a:pt x="31" y="1125"/>
                </a:lnTo>
                <a:lnTo>
                  <a:pt x="32" y="1125"/>
                </a:lnTo>
                <a:lnTo>
                  <a:pt x="35" y="1123"/>
                </a:lnTo>
                <a:lnTo>
                  <a:pt x="33" y="1123"/>
                </a:lnTo>
                <a:lnTo>
                  <a:pt x="32" y="1124"/>
                </a:lnTo>
                <a:lnTo>
                  <a:pt x="31" y="1124"/>
                </a:lnTo>
                <a:lnTo>
                  <a:pt x="31" y="1125"/>
                </a:lnTo>
                <a:lnTo>
                  <a:pt x="30" y="1125"/>
                </a:lnTo>
                <a:lnTo>
                  <a:pt x="29" y="1126"/>
                </a:lnTo>
                <a:lnTo>
                  <a:pt x="29" y="1128"/>
                </a:lnTo>
                <a:lnTo>
                  <a:pt x="27" y="1130"/>
                </a:lnTo>
                <a:lnTo>
                  <a:pt x="27" y="1132"/>
                </a:lnTo>
                <a:lnTo>
                  <a:pt x="25" y="1136"/>
                </a:lnTo>
                <a:lnTo>
                  <a:pt x="25" y="1138"/>
                </a:lnTo>
                <a:lnTo>
                  <a:pt x="23" y="1139"/>
                </a:lnTo>
                <a:lnTo>
                  <a:pt x="21" y="1142"/>
                </a:lnTo>
                <a:lnTo>
                  <a:pt x="20" y="1143"/>
                </a:lnTo>
                <a:lnTo>
                  <a:pt x="20" y="1144"/>
                </a:lnTo>
                <a:lnTo>
                  <a:pt x="19" y="1143"/>
                </a:lnTo>
                <a:lnTo>
                  <a:pt x="18" y="1143"/>
                </a:lnTo>
                <a:lnTo>
                  <a:pt x="18" y="1142"/>
                </a:lnTo>
                <a:lnTo>
                  <a:pt x="19" y="1142"/>
                </a:lnTo>
                <a:lnTo>
                  <a:pt x="17" y="1141"/>
                </a:lnTo>
                <a:lnTo>
                  <a:pt x="15" y="1139"/>
                </a:lnTo>
                <a:lnTo>
                  <a:pt x="17" y="1139"/>
                </a:lnTo>
                <a:lnTo>
                  <a:pt x="17" y="1138"/>
                </a:lnTo>
                <a:lnTo>
                  <a:pt x="18" y="1138"/>
                </a:lnTo>
                <a:lnTo>
                  <a:pt x="18" y="1137"/>
                </a:lnTo>
                <a:lnTo>
                  <a:pt x="17" y="1137"/>
                </a:lnTo>
                <a:lnTo>
                  <a:pt x="13" y="1138"/>
                </a:lnTo>
                <a:lnTo>
                  <a:pt x="12" y="1138"/>
                </a:lnTo>
                <a:lnTo>
                  <a:pt x="15" y="1135"/>
                </a:lnTo>
                <a:lnTo>
                  <a:pt x="15" y="1133"/>
                </a:lnTo>
                <a:lnTo>
                  <a:pt x="14" y="1133"/>
                </a:lnTo>
                <a:lnTo>
                  <a:pt x="9" y="1132"/>
                </a:lnTo>
                <a:lnTo>
                  <a:pt x="9" y="1129"/>
                </a:lnTo>
                <a:lnTo>
                  <a:pt x="13" y="1129"/>
                </a:lnTo>
                <a:lnTo>
                  <a:pt x="12" y="1128"/>
                </a:lnTo>
                <a:lnTo>
                  <a:pt x="11" y="1128"/>
                </a:lnTo>
                <a:lnTo>
                  <a:pt x="9" y="1126"/>
                </a:lnTo>
                <a:lnTo>
                  <a:pt x="8" y="1126"/>
                </a:lnTo>
                <a:lnTo>
                  <a:pt x="9" y="1125"/>
                </a:lnTo>
                <a:lnTo>
                  <a:pt x="11" y="1123"/>
                </a:lnTo>
                <a:lnTo>
                  <a:pt x="15" y="1123"/>
                </a:lnTo>
                <a:lnTo>
                  <a:pt x="14" y="1122"/>
                </a:lnTo>
                <a:lnTo>
                  <a:pt x="13" y="1119"/>
                </a:lnTo>
                <a:lnTo>
                  <a:pt x="14" y="1118"/>
                </a:lnTo>
                <a:lnTo>
                  <a:pt x="13" y="1116"/>
                </a:lnTo>
                <a:lnTo>
                  <a:pt x="13" y="1114"/>
                </a:lnTo>
                <a:lnTo>
                  <a:pt x="14" y="1112"/>
                </a:lnTo>
                <a:lnTo>
                  <a:pt x="15" y="1111"/>
                </a:lnTo>
                <a:lnTo>
                  <a:pt x="19" y="1114"/>
                </a:lnTo>
                <a:lnTo>
                  <a:pt x="20" y="1114"/>
                </a:lnTo>
                <a:lnTo>
                  <a:pt x="21" y="1118"/>
                </a:lnTo>
                <a:lnTo>
                  <a:pt x="23" y="1119"/>
                </a:lnTo>
                <a:lnTo>
                  <a:pt x="25" y="1120"/>
                </a:lnTo>
                <a:lnTo>
                  <a:pt x="29" y="1120"/>
                </a:lnTo>
                <a:lnTo>
                  <a:pt x="31" y="1119"/>
                </a:lnTo>
                <a:lnTo>
                  <a:pt x="30" y="1118"/>
                </a:lnTo>
                <a:lnTo>
                  <a:pt x="31" y="1117"/>
                </a:lnTo>
                <a:lnTo>
                  <a:pt x="32" y="1117"/>
                </a:lnTo>
                <a:lnTo>
                  <a:pt x="33" y="1116"/>
                </a:lnTo>
                <a:lnTo>
                  <a:pt x="33" y="1111"/>
                </a:lnTo>
                <a:lnTo>
                  <a:pt x="32" y="1108"/>
                </a:lnTo>
                <a:lnTo>
                  <a:pt x="33" y="1105"/>
                </a:lnTo>
                <a:lnTo>
                  <a:pt x="33" y="1101"/>
                </a:lnTo>
                <a:lnTo>
                  <a:pt x="35" y="1100"/>
                </a:lnTo>
                <a:lnTo>
                  <a:pt x="33" y="1099"/>
                </a:lnTo>
                <a:lnTo>
                  <a:pt x="33" y="1098"/>
                </a:lnTo>
                <a:lnTo>
                  <a:pt x="35" y="1095"/>
                </a:lnTo>
                <a:lnTo>
                  <a:pt x="35" y="1094"/>
                </a:lnTo>
                <a:lnTo>
                  <a:pt x="33" y="1095"/>
                </a:lnTo>
                <a:lnTo>
                  <a:pt x="33" y="1096"/>
                </a:lnTo>
                <a:lnTo>
                  <a:pt x="31" y="1095"/>
                </a:lnTo>
                <a:lnTo>
                  <a:pt x="31" y="1094"/>
                </a:lnTo>
                <a:lnTo>
                  <a:pt x="32" y="1093"/>
                </a:lnTo>
                <a:lnTo>
                  <a:pt x="32" y="1092"/>
                </a:lnTo>
                <a:lnTo>
                  <a:pt x="31" y="1092"/>
                </a:lnTo>
                <a:lnTo>
                  <a:pt x="30" y="1094"/>
                </a:lnTo>
                <a:lnTo>
                  <a:pt x="29" y="1095"/>
                </a:lnTo>
                <a:lnTo>
                  <a:pt x="29" y="1096"/>
                </a:lnTo>
                <a:lnTo>
                  <a:pt x="25" y="1096"/>
                </a:lnTo>
                <a:lnTo>
                  <a:pt x="25" y="1102"/>
                </a:lnTo>
                <a:lnTo>
                  <a:pt x="24" y="1102"/>
                </a:lnTo>
                <a:lnTo>
                  <a:pt x="21" y="1104"/>
                </a:lnTo>
                <a:lnTo>
                  <a:pt x="19" y="1106"/>
                </a:lnTo>
                <a:lnTo>
                  <a:pt x="15" y="1108"/>
                </a:lnTo>
                <a:lnTo>
                  <a:pt x="13" y="1108"/>
                </a:lnTo>
                <a:lnTo>
                  <a:pt x="12" y="1107"/>
                </a:lnTo>
                <a:lnTo>
                  <a:pt x="11" y="1105"/>
                </a:lnTo>
                <a:lnTo>
                  <a:pt x="9" y="1104"/>
                </a:lnTo>
                <a:lnTo>
                  <a:pt x="7" y="1100"/>
                </a:lnTo>
                <a:lnTo>
                  <a:pt x="6" y="1099"/>
                </a:lnTo>
                <a:lnTo>
                  <a:pt x="8" y="1100"/>
                </a:lnTo>
                <a:lnTo>
                  <a:pt x="9" y="1100"/>
                </a:lnTo>
                <a:lnTo>
                  <a:pt x="12" y="1104"/>
                </a:lnTo>
                <a:lnTo>
                  <a:pt x="13" y="1102"/>
                </a:lnTo>
                <a:lnTo>
                  <a:pt x="6" y="1095"/>
                </a:lnTo>
                <a:lnTo>
                  <a:pt x="9" y="1095"/>
                </a:lnTo>
                <a:lnTo>
                  <a:pt x="8" y="1094"/>
                </a:lnTo>
                <a:lnTo>
                  <a:pt x="7" y="1094"/>
                </a:lnTo>
                <a:lnTo>
                  <a:pt x="6" y="1093"/>
                </a:lnTo>
                <a:lnTo>
                  <a:pt x="5" y="1093"/>
                </a:lnTo>
                <a:lnTo>
                  <a:pt x="2" y="1089"/>
                </a:lnTo>
                <a:lnTo>
                  <a:pt x="0" y="1087"/>
                </a:lnTo>
                <a:lnTo>
                  <a:pt x="4" y="1087"/>
                </a:lnTo>
                <a:lnTo>
                  <a:pt x="5" y="1089"/>
                </a:lnTo>
                <a:lnTo>
                  <a:pt x="7" y="1089"/>
                </a:lnTo>
                <a:lnTo>
                  <a:pt x="11" y="1093"/>
                </a:lnTo>
                <a:lnTo>
                  <a:pt x="14" y="1094"/>
                </a:lnTo>
                <a:lnTo>
                  <a:pt x="15" y="1095"/>
                </a:lnTo>
                <a:lnTo>
                  <a:pt x="15" y="1098"/>
                </a:lnTo>
                <a:lnTo>
                  <a:pt x="17" y="1100"/>
                </a:lnTo>
                <a:lnTo>
                  <a:pt x="18" y="1101"/>
                </a:lnTo>
                <a:lnTo>
                  <a:pt x="18" y="1099"/>
                </a:lnTo>
                <a:lnTo>
                  <a:pt x="19" y="1100"/>
                </a:lnTo>
                <a:lnTo>
                  <a:pt x="20" y="1102"/>
                </a:lnTo>
                <a:lnTo>
                  <a:pt x="21" y="1102"/>
                </a:lnTo>
                <a:lnTo>
                  <a:pt x="19" y="1100"/>
                </a:lnTo>
                <a:lnTo>
                  <a:pt x="19" y="1098"/>
                </a:lnTo>
                <a:lnTo>
                  <a:pt x="21" y="1099"/>
                </a:lnTo>
                <a:lnTo>
                  <a:pt x="20" y="1098"/>
                </a:lnTo>
                <a:lnTo>
                  <a:pt x="20" y="1095"/>
                </a:lnTo>
                <a:lnTo>
                  <a:pt x="19" y="1095"/>
                </a:lnTo>
                <a:lnTo>
                  <a:pt x="19" y="1094"/>
                </a:lnTo>
                <a:lnTo>
                  <a:pt x="18" y="1094"/>
                </a:lnTo>
                <a:lnTo>
                  <a:pt x="18" y="1092"/>
                </a:lnTo>
                <a:lnTo>
                  <a:pt x="15" y="1092"/>
                </a:lnTo>
                <a:lnTo>
                  <a:pt x="14" y="1090"/>
                </a:lnTo>
                <a:lnTo>
                  <a:pt x="13" y="1090"/>
                </a:lnTo>
                <a:lnTo>
                  <a:pt x="13" y="1089"/>
                </a:lnTo>
                <a:lnTo>
                  <a:pt x="14" y="1088"/>
                </a:lnTo>
                <a:lnTo>
                  <a:pt x="15" y="1088"/>
                </a:lnTo>
                <a:lnTo>
                  <a:pt x="17" y="1087"/>
                </a:lnTo>
                <a:lnTo>
                  <a:pt x="18" y="1087"/>
                </a:lnTo>
                <a:lnTo>
                  <a:pt x="17" y="1085"/>
                </a:lnTo>
                <a:lnTo>
                  <a:pt x="18" y="1083"/>
                </a:lnTo>
                <a:lnTo>
                  <a:pt x="21" y="1081"/>
                </a:lnTo>
                <a:lnTo>
                  <a:pt x="21" y="1082"/>
                </a:lnTo>
                <a:lnTo>
                  <a:pt x="25" y="1082"/>
                </a:lnTo>
                <a:lnTo>
                  <a:pt x="25" y="1081"/>
                </a:lnTo>
                <a:lnTo>
                  <a:pt x="24" y="1081"/>
                </a:lnTo>
                <a:lnTo>
                  <a:pt x="23" y="1080"/>
                </a:lnTo>
                <a:lnTo>
                  <a:pt x="24" y="1079"/>
                </a:lnTo>
                <a:lnTo>
                  <a:pt x="23" y="1079"/>
                </a:lnTo>
                <a:lnTo>
                  <a:pt x="20" y="1081"/>
                </a:lnTo>
                <a:lnTo>
                  <a:pt x="18" y="1081"/>
                </a:lnTo>
                <a:lnTo>
                  <a:pt x="17" y="1082"/>
                </a:lnTo>
                <a:lnTo>
                  <a:pt x="17" y="1083"/>
                </a:lnTo>
                <a:lnTo>
                  <a:pt x="15" y="1086"/>
                </a:lnTo>
                <a:lnTo>
                  <a:pt x="13" y="1086"/>
                </a:lnTo>
                <a:lnTo>
                  <a:pt x="11" y="1085"/>
                </a:lnTo>
                <a:lnTo>
                  <a:pt x="9" y="1083"/>
                </a:lnTo>
                <a:lnTo>
                  <a:pt x="9" y="1086"/>
                </a:lnTo>
                <a:lnTo>
                  <a:pt x="8" y="1087"/>
                </a:lnTo>
                <a:lnTo>
                  <a:pt x="8" y="1085"/>
                </a:lnTo>
                <a:lnTo>
                  <a:pt x="6" y="1085"/>
                </a:lnTo>
                <a:lnTo>
                  <a:pt x="5" y="1083"/>
                </a:lnTo>
                <a:lnTo>
                  <a:pt x="5" y="1082"/>
                </a:lnTo>
                <a:lnTo>
                  <a:pt x="4" y="1080"/>
                </a:lnTo>
                <a:lnTo>
                  <a:pt x="4" y="1076"/>
                </a:lnTo>
                <a:lnTo>
                  <a:pt x="2" y="1075"/>
                </a:lnTo>
                <a:lnTo>
                  <a:pt x="2" y="1074"/>
                </a:lnTo>
                <a:lnTo>
                  <a:pt x="4" y="1073"/>
                </a:lnTo>
                <a:lnTo>
                  <a:pt x="6" y="1075"/>
                </a:lnTo>
                <a:lnTo>
                  <a:pt x="6" y="1080"/>
                </a:lnTo>
                <a:lnTo>
                  <a:pt x="7" y="1081"/>
                </a:lnTo>
                <a:lnTo>
                  <a:pt x="7" y="1074"/>
                </a:lnTo>
                <a:lnTo>
                  <a:pt x="8" y="1073"/>
                </a:lnTo>
                <a:lnTo>
                  <a:pt x="9" y="1073"/>
                </a:lnTo>
                <a:lnTo>
                  <a:pt x="8" y="1071"/>
                </a:lnTo>
                <a:lnTo>
                  <a:pt x="7" y="1073"/>
                </a:lnTo>
                <a:lnTo>
                  <a:pt x="4" y="1073"/>
                </a:lnTo>
                <a:lnTo>
                  <a:pt x="4" y="1067"/>
                </a:lnTo>
                <a:lnTo>
                  <a:pt x="6" y="1064"/>
                </a:lnTo>
                <a:lnTo>
                  <a:pt x="8" y="1063"/>
                </a:lnTo>
                <a:lnTo>
                  <a:pt x="12" y="1064"/>
                </a:lnTo>
                <a:lnTo>
                  <a:pt x="14" y="1067"/>
                </a:lnTo>
                <a:lnTo>
                  <a:pt x="17" y="1068"/>
                </a:lnTo>
                <a:lnTo>
                  <a:pt x="21" y="1068"/>
                </a:lnTo>
                <a:lnTo>
                  <a:pt x="21" y="1070"/>
                </a:lnTo>
                <a:lnTo>
                  <a:pt x="23" y="1070"/>
                </a:lnTo>
                <a:lnTo>
                  <a:pt x="23" y="1065"/>
                </a:lnTo>
                <a:lnTo>
                  <a:pt x="24" y="1065"/>
                </a:lnTo>
                <a:lnTo>
                  <a:pt x="25" y="1063"/>
                </a:lnTo>
                <a:lnTo>
                  <a:pt x="27" y="1064"/>
                </a:lnTo>
                <a:lnTo>
                  <a:pt x="29" y="1064"/>
                </a:lnTo>
                <a:lnTo>
                  <a:pt x="30" y="1065"/>
                </a:lnTo>
                <a:lnTo>
                  <a:pt x="30" y="1064"/>
                </a:lnTo>
                <a:lnTo>
                  <a:pt x="29" y="1063"/>
                </a:lnTo>
                <a:lnTo>
                  <a:pt x="30" y="1062"/>
                </a:lnTo>
                <a:lnTo>
                  <a:pt x="31" y="1062"/>
                </a:lnTo>
                <a:lnTo>
                  <a:pt x="31" y="1063"/>
                </a:lnTo>
                <a:lnTo>
                  <a:pt x="32" y="1062"/>
                </a:lnTo>
                <a:lnTo>
                  <a:pt x="35" y="1061"/>
                </a:lnTo>
                <a:lnTo>
                  <a:pt x="36" y="1061"/>
                </a:lnTo>
                <a:lnTo>
                  <a:pt x="36" y="1064"/>
                </a:lnTo>
                <a:lnTo>
                  <a:pt x="37" y="1064"/>
                </a:lnTo>
                <a:lnTo>
                  <a:pt x="37" y="1063"/>
                </a:lnTo>
                <a:lnTo>
                  <a:pt x="38" y="1062"/>
                </a:lnTo>
                <a:lnTo>
                  <a:pt x="38" y="1061"/>
                </a:lnTo>
                <a:lnTo>
                  <a:pt x="39" y="1059"/>
                </a:lnTo>
                <a:lnTo>
                  <a:pt x="44" y="1059"/>
                </a:lnTo>
                <a:lnTo>
                  <a:pt x="45" y="1061"/>
                </a:lnTo>
                <a:lnTo>
                  <a:pt x="46" y="1061"/>
                </a:lnTo>
                <a:lnTo>
                  <a:pt x="49" y="1059"/>
                </a:lnTo>
                <a:lnTo>
                  <a:pt x="51" y="1059"/>
                </a:lnTo>
                <a:lnTo>
                  <a:pt x="54" y="1061"/>
                </a:lnTo>
                <a:lnTo>
                  <a:pt x="55" y="1062"/>
                </a:lnTo>
                <a:lnTo>
                  <a:pt x="56" y="1062"/>
                </a:lnTo>
                <a:lnTo>
                  <a:pt x="56" y="1065"/>
                </a:lnTo>
                <a:lnTo>
                  <a:pt x="55" y="1067"/>
                </a:lnTo>
                <a:lnTo>
                  <a:pt x="57" y="1065"/>
                </a:lnTo>
                <a:lnTo>
                  <a:pt x="58" y="1064"/>
                </a:lnTo>
                <a:lnTo>
                  <a:pt x="61" y="1064"/>
                </a:lnTo>
                <a:lnTo>
                  <a:pt x="61" y="1067"/>
                </a:lnTo>
                <a:lnTo>
                  <a:pt x="60" y="1068"/>
                </a:lnTo>
                <a:lnTo>
                  <a:pt x="60" y="1069"/>
                </a:lnTo>
                <a:lnTo>
                  <a:pt x="61" y="1069"/>
                </a:lnTo>
                <a:lnTo>
                  <a:pt x="61" y="1067"/>
                </a:lnTo>
                <a:lnTo>
                  <a:pt x="62" y="1064"/>
                </a:lnTo>
                <a:lnTo>
                  <a:pt x="64" y="1062"/>
                </a:lnTo>
                <a:lnTo>
                  <a:pt x="67" y="1062"/>
                </a:lnTo>
                <a:lnTo>
                  <a:pt x="70" y="1058"/>
                </a:lnTo>
                <a:lnTo>
                  <a:pt x="70" y="1055"/>
                </a:lnTo>
                <a:lnTo>
                  <a:pt x="71" y="1055"/>
                </a:lnTo>
                <a:lnTo>
                  <a:pt x="71" y="1056"/>
                </a:lnTo>
                <a:lnTo>
                  <a:pt x="73" y="1056"/>
                </a:lnTo>
                <a:lnTo>
                  <a:pt x="79" y="1057"/>
                </a:lnTo>
                <a:lnTo>
                  <a:pt x="80" y="1058"/>
                </a:lnTo>
                <a:lnTo>
                  <a:pt x="81" y="1058"/>
                </a:lnTo>
                <a:lnTo>
                  <a:pt x="81" y="1062"/>
                </a:lnTo>
                <a:lnTo>
                  <a:pt x="82" y="1062"/>
                </a:lnTo>
                <a:lnTo>
                  <a:pt x="82" y="1063"/>
                </a:lnTo>
                <a:lnTo>
                  <a:pt x="85" y="1062"/>
                </a:lnTo>
                <a:lnTo>
                  <a:pt x="86" y="1063"/>
                </a:lnTo>
                <a:lnTo>
                  <a:pt x="87" y="1067"/>
                </a:lnTo>
                <a:lnTo>
                  <a:pt x="87" y="1069"/>
                </a:lnTo>
                <a:lnTo>
                  <a:pt x="88" y="1069"/>
                </a:lnTo>
                <a:lnTo>
                  <a:pt x="87" y="1070"/>
                </a:lnTo>
                <a:lnTo>
                  <a:pt x="87" y="1071"/>
                </a:lnTo>
                <a:lnTo>
                  <a:pt x="86" y="1071"/>
                </a:lnTo>
                <a:lnTo>
                  <a:pt x="85" y="1073"/>
                </a:lnTo>
                <a:lnTo>
                  <a:pt x="82" y="1076"/>
                </a:lnTo>
                <a:lnTo>
                  <a:pt x="86" y="1073"/>
                </a:lnTo>
                <a:lnTo>
                  <a:pt x="88" y="1073"/>
                </a:lnTo>
                <a:lnTo>
                  <a:pt x="89" y="1074"/>
                </a:lnTo>
                <a:lnTo>
                  <a:pt x="92" y="1075"/>
                </a:lnTo>
                <a:lnTo>
                  <a:pt x="93" y="1076"/>
                </a:lnTo>
                <a:lnTo>
                  <a:pt x="93" y="1077"/>
                </a:lnTo>
                <a:lnTo>
                  <a:pt x="92" y="1082"/>
                </a:lnTo>
                <a:lnTo>
                  <a:pt x="93" y="1081"/>
                </a:lnTo>
                <a:lnTo>
                  <a:pt x="94" y="1079"/>
                </a:lnTo>
                <a:lnTo>
                  <a:pt x="94" y="1074"/>
                </a:lnTo>
                <a:lnTo>
                  <a:pt x="92" y="1074"/>
                </a:lnTo>
                <a:lnTo>
                  <a:pt x="91" y="1073"/>
                </a:lnTo>
                <a:lnTo>
                  <a:pt x="89" y="1068"/>
                </a:lnTo>
                <a:lnTo>
                  <a:pt x="88" y="1067"/>
                </a:lnTo>
                <a:lnTo>
                  <a:pt x="88" y="1065"/>
                </a:lnTo>
                <a:lnTo>
                  <a:pt x="87" y="1063"/>
                </a:lnTo>
                <a:lnTo>
                  <a:pt x="87" y="1062"/>
                </a:lnTo>
                <a:lnTo>
                  <a:pt x="88" y="1062"/>
                </a:lnTo>
                <a:lnTo>
                  <a:pt x="89" y="1061"/>
                </a:lnTo>
                <a:lnTo>
                  <a:pt x="94" y="1061"/>
                </a:lnTo>
                <a:lnTo>
                  <a:pt x="96" y="1058"/>
                </a:lnTo>
                <a:lnTo>
                  <a:pt x="100" y="1058"/>
                </a:lnTo>
                <a:lnTo>
                  <a:pt x="100" y="1059"/>
                </a:lnTo>
                <a:lnTo>
                  <a:pt x="101" y="1061"/>
                </a:lnTo>
                <a:lnTo>
                  <a:pt x="102" y="1061"/>
                </a:lnTo>
                <a:lnTo>
                  <a:pt x="106" y="1062"/>
                </a:lnTo>
                <a:lnTo>
                  <a:pt x="106" y="1061"/>
                </a:lnTo>
                <a:lnTo>
                  <a:pt x="105" y="1061"/>
                </a:lnTo>
                <a:lnTo>
                  <a:pt x="102" y="1058"/>
                </a:lnTo>
                <a:lnTo>
                  <a:pt x="102" y="1057"/>
                </a:lnTo>
                <a:lnTo>
                  <a:pt x="105" y="1056"/>
                </a:lnTo>
                <a:lnTo>
                  <a:pt x="105" y="1053"/>
                </a:lnTo>
                <a:lnTo>
                  <a:pt x="106" y="1053"/>
                </a:lnTo>
                <a:lnTo>
                  <a:pt x="113" y="1052"/>
                </a:lnTo>
                <a:lnTo>
                  <a:pt x="114" y="1052"/>
                </a:lnTo>
                <a:lnTo>
                  <a:pt x="117" y="1050"/>
                </a:lnTo>
                <a:lnTo>
                  <a:pt x="116" y="1050"/>
                </a:lnTo>
                <a:lnTo>
                  <a:pt x="114" y="1051"/>
                </a:lnTo>
                <a:lnTo>
                  <a:pt x="113" y="1051"/>
                </a:lnTo>
                <a:lnTo>
                  <a:pt x="106" y="1053"/>
                </a:lnTo>
                <a:lnTo>
                  <a:pt x="104" y="1052"/>
                </a:lnTo>
                <a:lnTo>
                  <a:pt x="102" y="1052"/>
                </a:lnTo>
                <a:lnTo>
                  <a:pt x="102" y="1051"/>
                </a:lnTo>
                <a:lnTo>
                  <a:pt x="101" y="1050"/>
                </a:lnTo>
                <a:lnTo>
                  <a:pt x="101" y="1045"/>
                </a:lnTo>
                <a:lnTo>
                  <a:pt x="100" y="1045"/>
                </a:lnTo>
                <a:lnTo>
                  <a:pt x="100" y="1043"/>
                </a:lnTo>
                <a:lnTo>
                  <a:pt x="102" y="1042"/>
                </a:lnTo>
                <a:lnTo>
                  <a:pt x="102" y="1038"/>
                </a:lnTo>
                <a:lnTo>
                  <a:pt x="106" y="1034"/>
                </a:lnTo>
                <a:lnTo>
                  <a:pt x="106" y="1033"/>
                </a:lnTo>
                <a:lnTo>
                  <a:pt x="107" y="1032"/>
                </a:lnTo>
                <a:lnTo>
                  <a:pt x="107" y="1031"/>
                </a:lnTo>
                <a:lnTo>
                  <a:pt x="108" y="1031"/>
                </a:lnTo>
                <a:lnTo>
                  <a:pt x="112" y="1027"/>
                </a:lnTo>
                <a:lnTo>
                  <a:pt x="108" y="1030"/>
                </a:lnTo>
                <a:lnTo>
                  <a:pt x="101" y="1037"/>
                </a:lnTo>
                <a:lnTo>
                  <a:pt x="99" y="1036"/>
                </a:lnTo>
                <a:lnTo>
                  <a:pt x="99" y="1037"/>
                </a:lnTo>
                <a:lnTo>
                  <a:pt x="100" y="1038"/>
                </a:lnTo>
                <a:lnTo>
                  <a:pt x="100" y="1039"/>
                </a:lnTo>
                <a:lnTo>
                  <a:pt x="98" y="1043"/>
                </a:lnTo>
                <a:lnTo>
                  <a:pt x="98" y="1045"/>
                </a:lnTo>
                <a:lnTo>
                  <a:pt x="100" y="1047"/>
                </a:lnTo>
                <a:lnTo>
                  <a:pt x="100" y="1051"/>
                </a:lnTo>
                <a:lnTo>
                  <a:pt x="101" y="1052"/>
                </a:lnTo>
                <a:lnTo>
                  <a:pt x="101" y="1053"/>
                </a:lnTo>
                <a:lnTo>
                  <a:pt x="102" y="1053"/>
                </a:lnTo>
                <a:lnTo>
                  <a:pt x="101" y="1056"/>
                </a:lnTo>
                <a:lnTo>
                  <a:pt x="98" y="1056"/>
                </a:lnTo>
                <a:lnTo>
                  <a:pt x="98" y="1055"/>
                </a:lnTo>
                <a:lnTo>
                  <a:pt x="94" y="1055"/>
                </a:lnTo>
                <a:lnTo>
                  <a:pt x="94" y="1057"/>
                </a:lnTo>
                <a:lnTo>
                  <a:pt x="93" y="1057"/>
                </a:lnTo>
                <a:lnTo>
                  <a:pt x="88" y="1059"/>
                </a:lnTo>
                <a:lnTo>
                  <a:pt x="86" y="1059"/>
                </a:lnTo>
                <a:lnTo>
                  <a:pt x="86" y="1061"/>
                </a:lnTo>
                <a:lnTo>
                  <a:pt x="85" y="1061"/>
                </a:lnTo>
                <a:lnTo>
                  <a:pt x="83" y="1058"/>
                </a:lnTo>
                <a:lnTo>
                  <a:pt x="85" y="1057"/>
                </a:lnTo>
                <a:lnTo>
                  <a:pt x="87" y="1056"/>
                </a:lnTo>
                <a:lnTo>
                  <a:pt x="87" y="1055"/>
                </a:lnTo>
                <a:lnTo>
                  <a:pt x="86" y="1056"/>
                </a:lnTo>
                <a:lnTo>
                  <a:pt x="83" y="1056"/>
                </a:lnTo>
                <a:lnTo>
                  <a:pt x="80" y="1055"/>
                </a:lnTo>
                <a:lnTo>
                  <a:pt x="73" y="1053"/>
                </a:lnTo>
                <a:lnTo>
                  <a:pt x="69" y="1051"/>
                </a:lnTo>
                <a:lnTo>
                  <a:pt x="69" y="1049"/>
                </a:lnTo>
                <a:lnTo>
                  <a:pt x="71" y="1046"/>
                </a:lnTo>
                <a:lnTo>
                  <a:pt x="73" y="1042"/>
                </a:lnTo>
                <a:lnTo>
                  <a:pt x="74" y="1042"/>
                </a:lnTo>
                <a:lnTo>
                  <a:pt x="74" y="1040"/>
                </a:lnTo>
                <a:lnTo>
                  <a:pt x="75" y="1039"/>
                </a:lnTo>
                <a:lnTo>
                  <a:pt x="75" y="1036"/>
                </a:lnTo>
                <a:lnTo>
                  <a:pt x="71" y="1043"/>
                </a:lnTo>
                <a:lnTo>
                  <a:pt x="70" y="1046"/>
                </a:lnTo>
                <a:lnTo>
                  <a:pt x="69" y="1047"/>
                </a:lnTo>
                <a:lnTo>
                  <a:pt x="68" y="1046"/>
                </a:lnTo>
                <a:lnTo>
                  <a:pt x="68" y="1045"/>
                </a:lnTo>
                <a:lnTo>
                  <a:pt x="67" y="1045"/>
                </a:lnTo>
                <a:lnTo>
                  <a:pt x="67" y="1051"/>
                </a:lnTo>
                <a:lnTo>
                  <a:pt x="68" y="1052"/>
                </a:lnTo>
                <a:lnTo>
                  <a:pt x="66" y="1052"/>
                </a:lnTo>
                <a:lnTo>
                  <a:pt x="66" y="1053"/>
                </a:lnTo>
                <a:lnTo>
                  <a:pt x="67" y="1055"/>
                </a:lnTo>
                <a:lnTo>
                  <a:pt x="67" y="1057"/>
                </a:lnTo>
                <a:lnTo>
                  <a:pt x="63" y="1061"/>
                </a:lnTo>
                <a:lnTo>
                  <a:pt x="61" y="1061"/>
                </a:lnTo>
                <a:lnTo>
                  <a:pt x="57" y="1059"/>
                </a:lnTo>
                <a:lnTo>
                  <a:pt x="54" y="1057"/>
                </a:lnTo>
                <a:lnTo>
                  <a:pt x="52" y="1055"/>
                </a:lnTo>
                <a:lnTo>
                  <a:pt x="48" y="1057"/>
                </a:lnTo>
                <a:lnTo>
                  <a:pt x="45" y="1057"/>
                </a:lnTo>
                <a:lnTo>
                  <a:pt x="43" y="1056"/>
                </a:lnTo>
                <a:lnTo>
                  <a:pt x="45" y="1055"/>
                </a:lnTo>
                <a:lnTo>
                  <a:pt x="46" y="1053"/>
                </a:lnTo>
                <a:lnTo>
                  <a:pt x="46" y="1052"/>
                </a:lnTo>
                <a:lnTo>
                  <a:pt x="43" y="1056"/>
                </a:lnTo>
                <a:lnTo>
                  <a:pt x="39" y="1056"/>
                </a:lnTo>
                <a:lnTo>
                  <a:pt x="37" y="1057"/>
                </a:lnTo>
                <a:lnTo>
                  <a:pt x="36" y="1056"/>
                </a:lnTo>
                <a:lnTo>
                  <a:pt x="36" y="1053"/>
                </a:lnTo>
                <a:lnTo>
                  <a:pt x="35" y="1055"/>
                </a:lnTo>
                <a:lnTo>
                  <a:pt x="35" y="1057"/>
                </a:lnTo>
                <a:lnTo>
                  <a:pt x="32" y="1057"/>
                </a:lnTo>
                <a:lnTo>
                  <a:pt x="31" y="1058"/>
                </a:lnTo>
                <a:lnTo>
                  <a:pt x="25" y="1058"/>
                </a:lnTo>
                <a:lnTo>
                  <a:pt x="23" y="1062"/>
                </a:lnTo>
                <a:lnTo>
                  <a:pt x="20" y="1063"/>
                </a:lnTo>
                <a:lnTo>
                  <a:pt x="19" y="1063"/>
                </a:lnTo>
                <a:lnTo>
                  <a:pt x="17" y="1062"/>
                </a:lnTo>
                <a:lnTo>
                  <a:pt x="15" y="1059"/>
                </a:lnTo>
                <a:lnTo>
                  <a:pt x="14" y="1059"/>
                </a:lnTo>
                <a:lnTo>
                  <a:pt x="14" y="1061"/>
                </a:lnTo>
                <a:lnTo>
                  <a:pt x="11" y="1061"/>
                </a:lnTo>
                <a:lnTo>
                  <a:pt x="11" y="1059"/>
                </a:lnTo>
                <a:lnTo>
                  <a:pt x="9" y="1059"/>
                </a:lnTo>
                <a:lnTo>
                  <a:pt x="9" y="1058"/>
                </a:lnTo>
                <a:lnTo>
                  <a:pt x="13" y="1058"/>
                </a:lnTo>
                <a:lnTo>
                  <a:pt x="12" y="1057"/>
                </a:lnTo>
                <a:lnTo>
                  <a:pt x="8" y="1057"/>
                </a:lnTo>
                <a:lnTo>
                  <a:pt x="6" y="1056"/>
                </a:lnTo>
                <a:lnTo>
                  <a:pt x="5" y="1056"/>
                </a:lnTo>
                <a:lnTo>
                  <a:pt x="6" y="1053"/>
                </a:lnTo>
                <a:lnTo>
                  <a:pt x="8" y="1053"/>
                </a:lnTo>
                <a:lnTo>
                  <a:pt x="12" y="1056"/>
                </a:lnTo>
                <a:lnTo>
                  <a:pt x="12" y="1055"/>
                </a:lnTo>
                <a:lnTo>
                  <a:pt x="13" y="1055"/>
                </a:lnTo>
                <a:lnTo>
                  <a:pt x="9" y="1051"/>
                </a:lnTo>
                <a:lnTo>
                  <a:pt x="2" y="1051"/>
                </a:lnTo>
                <a:lnTo>
                  <a:pt x="4" y="1050"/>
                </a:lnTo>
                <a:lnTo>
                  <a:pt x="2" y="1049"/>
                </a:lnTo>
                <a:lnTo>
                  <a:pt x="2" y="1047"/>
                </a:lnTo>
                <a:lnTo>
                  <a:pt x="1" y="1047"/>
                </a:lnTo>
                <a:lnTo>
                  <a:pt x="4" y="1045"/>
                </a:lnTo>
                <a:lnTo>
                  <a:pt x="5" y="1045"/>
                </a:lnTo>
                <a:lnTo>
                  <a:pt x="6" y="1044"/>
                </a:lnTo>
                <a:lnTo>
                  <a:pt x="7" y="1044"/>
                </a:lnTo>
                <a:lnTo>
                  <a:pt x="7" y="1043"/>
                </a:lnTo>
                <a:lnTo>
                  <a:pt x="8" y="1044"/>
                </a:lnTo>
                <a:lnTo>
                  <a:pt x="9" y="1043"/>
                </a:lnTo>
                <a:lnTo>
                  <a:pt x="11" y="1040"/>
                </a:lnTo>
                <a:lnTo>
                  <a:pt x="13" y="1040"/>
                </a:lnTo>
                <a:lnTo>
                  <a:pt x="15" y="1043"/>
                </a:lnTo>
                <a:lnTo>
                  <a:pt x="15" y="1046"/>
                </a:lnTo>
                <a:lnTo>
                  <a:pt x="17" y="1047"/>
                </a:lnTo>
                <a:lnTo>
                  <a:pt x="17" y="1043"/>
                </a:lnTo>
                <a:lnTo>
                  <a:pt x="14" y="1040"/>
                </a:lnTo>
                <a:lnTo>
                  <a:pt x="14" y="1039"/>
                </a:lnTo>
                <a:lnTo>
                  <a:pt x="21" y="1038"/>
                </a:lnTo>
                <a:lnTo>
                  <a:pt x="30" y="1038"/>
                </a:lnTo>
                <a:lnTo>
                  <a:pt x="29" y="1037"/>
                </a:lnTo>
                <a:lnTo>
                  <a:pt x="26" y="1037"/>
                </a:lnTo>
                <a:lnTo>
                  <a:pt x="9" y="1039"/>
                </a:lnTo>
                <a:lnTo>
                  <a:pt x="7" y="1042"/>
                </a:lnTo>
                <a:lnTo>
                  <a:pt x="5" y="1042"/>
                </a:lnTo>
                <a:lnTo>
                  <a:pt x="4" y="1040"/>
                </a:lnTo>
                <a:lnTo>
                  <a:pt x="4" y="1039"/>
                </a:lnTo>
                <a:lnTo>
                  <a:pt x="2" y="1038"/>
                </a:lnTo>
                <a:lnTo>
                  <a:pt x="2" y="1037"/>
                </a:lnTo>
                <a:lnTo>
                  <a:pt x="4" y="1036"/>
                </a:lnTo>
                <a:lnTo>
                  <a:pt x="4" y="1034"/>
                </a:lnTo>
                <a:lnTo>
                  <a:pt x="5" y="1034"/>
                </a:lnTo>
                <a:lnTo>
                  <a:pt x="5" y="1036"/>
                </a:lnTo>
                <a:lnTo>
                  <a:pt x="6" y="1037"/>
                </a:lnTo>
                <a:lnTo>
                  <a:pt x="6" y="1034"/>
                </a:lnTo>
                <a:lnTo>
                  <a:pt x="8" y="1033"/>
                </a:lnTo>
                <a:lnTo>
                  <a:pt x="7" y="1032"/>
                </a:lnTo>
                <a:lnTo>
                  <a:pt x="7" y="1033"/>
                </a:lnTo>
                <a:lnTo>
                  <a:pt x="4" y="1033"/>
                </a:lnTo>
                <a:lnTo>
                  <a:pt x="2" y="1034"/>
                </a:lnTo>
                <a:lnTo>
                  <a:pt x="1" y="1034"/>
                </a:lnTo>
                <a:lnTo>
                  <a:pt x="1" y="1033"/>
                </a:lnTo>
                <a:lnTo>
                  <a:pt x="5" y="1031"/>
                </a:lnTo>
                <a:lnTo>
                  <a:pt x="9" y="1031"/>
                </a:lnTo>
                <a:lnTo>
                  <a:pt x="11" y="1030"/>
                </a:lnTo>
                <a:lnTo>
                  <a:pt x="11" y="1028"/>
                </a:lnTo>
                <a:lnTo>
                  <a:pt x="12" y="1030"/>
                </a:lnTo>
                <a:lnTo>
                  <a:pt x="14" y="1031"/>
                </a:lnTo>
                <a:lnTo>
                  <a:pt x="15" y="1031"/>
                </a:lnTo>
                <a:lnTo>
                  <a:pt x="17" y="1030"/>
                </a:lnTo>
                <a:lnTo>
                  <a:pt x="24" y="1032"/>
                </a:lnTo>
                <a:lnTo>
                  <a:pt x="26" y="1032"/>
                </a:lnTo>
                <a:lnTo>
                  <a:pt x="25" y="1031"/>
                </a:lnTo>
                <a:lnTo>
                  <a:pt x="29" y="1031"/>
                </a:lnTo>
                <a:lnTo>
                  <a:pt x="29" y="1030"/>
                </a:lnTo>
                <a:lnTo>
                  <a:pt x="30" y="1030"/>
                </a:lnTo>
                <a:lnTo>
                  <a:pt x="30" y="1028"/>
                </a:lnTo>
                <a:lnTo>
                  <a:pt x="31" y="1027"/>
                </a:lnTo>
                <a:lnTo>
                  <a:pt x="35" y="1027"/>
                </a:lnTo>
                <a:lnTo>
                  <a:pt x="35" y="1028"/>
                </a:lnTo>
                <a:lnTo>
                  <a:pt x="36" y="1031"/>
                </a:lnTo>
                <a:lnTo>
                  <a:pt x="37" y="1031"/>
                </a:lnTo>
                <a:lnTo>
                  <a:pt x="37" y="1030"/>
                </a:lnTo>
                <a:lnTo>
                  <a:pt x="36" y="1030"/>
                </a:lnTo>
                <a:lnTo>
                  <a:pt x="35" y="1027"/>
                </a:lnTo>
                <a:lnTo>
                  <a:pt x="33" y="1026"/>
                </a:lnTo>
                <a:lnTo>
                  <a:pt x="31" y="1026"/>
                </a:lnTo>
                <a:lnTo>
                  <a:pt x="30" y="1027"/>
                </a:lnTo>
                <a:lnTo>
                  <a:pt x="29" y="1027"/>
                </a:lnTo>
                <a:lnTo>
                  <a:pt x="27" y="1030"/>
                </a:lnTo>
                <a:lnTo>
                  <a:pt x="25" y="1030"/>
                </a:lnTo>
                <a:lnTo>
                  <a:pt x="24" y="1031"/>
                </a:lnTo>
                <a:lnTo>
                  <a:pt x="23" y="1031"/>
                </a:lnTo>
                <a:lnTo>
                  <a:pt x="21" y="1030"/>
                </a:lnTo>
                <a:lnTo>
                  <a:pt x="21" y="1028"/>
                </a:lnTo>
                <a:lnTo>
                  <a:pt x="20" y="1027"/>
                </a:lnTo>
                <a:lnTo>
                  <a:pt x="15" y="1028"/>
                </a:lnTo>
                <a:lnTo>
                  <a:pt x="13" y="1027"/>
                </a:lnTo>
                <a:lnTo>
                  <a:pt x="11" y="1025"/>
                </a:lnTo>
                <a:lnTo>
                  <a:pt x="8" y="1024"/>
                </a:lnTo>
                <a:lnTo>
                  <a:pt x="9" y="1022"/>
                </a:lnTo>
                <a:lnTo>
                  <a:pt x="8" y="1022"/>
                </a:lnTo>
                <a:lnTo>
                  <a:pt x="8" y="1021"/>
                </a:lnTo>
                <a:lnTo>
                  <a:pt x="9" y="1021"/>
                </a:lnTo>
                <a:lnTo>
                  <a:pt x="12" y="1022"/>
                </a:lnTo>
                <a:lnTo>
                  <a:pt x="13" y="1021"/>
                </a:lnTo>
                <a:lnTo>
                  <a:pt x="17" y="1021"/>
                </a:lnTo>
                <a:lnTo>
                  <a:pt x="11" y="1019"/>
                </a:lnTo>
                <a:lnTo>
                  <a:pt x="9" y="1018"/>
                </a:lnTo>
                <a:lnTo>
                  <a:pt x="17" y="1018"/>
                </a:lnTo>
                <a:lnTo>
                  <a:pt x="17" y="1019"/>
                </a:lnTo>
                <a:lnTo>
                  <a:pt x="21" y="1019"/>
                </a:lnTo>
                <a:lnTo>
                  <a:pt x="18" y="1016"/>
                </a:lnTo>
                <a:lnTo>
                  <a:pt x="14" y="1016"/>
                </a:lnTo>
                <a:lnTo>
                  <a:pt x="17" y="1015"/>
                </a:lnTo>
                <a:lnTo>
                  <a:pt x="18" y="1014"/>
                </a:lnTo>
                <a:lnTo>
                  <a:pt x="14" y="1014"/>
                </a:lnTo>
                <a:lnTo>
                  <a:pt x="13" y="1015"/>
                </a:lnTo>
                <a:lnTo>
                  <a:pt x="2" y="1015"/>
                </a:lnTo>
                <a:lnTo>
                  <a:pt x="1" y="1014"/>
                </a:lnTo>
                <a:lnTo>
                  <a:pt x="0" y="1012"/>
                </a:lnTo>
                <a:lnTo>
                  <a:pt x="0" y="1010"/>
                </a:lnTo>
                <a:lnTo>
                  <a:pt x="1" y="1009"/>
                </a:lnTo>
                <a:lnTo>
                  <a:pt x="1" y="1007"/>
                </a:lnTo>
                <a:lnTo>
                  <a:pt x="2" y="1006"/>
                </a:lnTo>
                <a:lnTo>
                  <a:pt x="2" y="1004"/>
                </a:lnTo>
                <a:lnTo>
                  <a:pt x="4" y="1004"/>
                </a:lnTo>
                <a:lnTo>
                  <a:pt x="5" y="1003"/>
                </a:lnTo>
                <a:lnTo>
                  <a:pt x="5" y="1004"/>
                </a:lnTo>
                <a:lnTo>
                  <a:pt x="6" y="1004"/>
                </a:lnTo>
                <a:lnTo>
                  <a:pt x="6" y="1006"/>
                </a:lnTo>
                <a:lnTo>
                  <a:pt x="7" y="1006"/>
                </a:lnTo>
                <a:lnTo>
                  <a:pt x="8" y="1007"/>
                </a:lnTo>
                <a:lnTo>
                  <a:pt x="9" y="1007"/>
                </a:lnTo>
                <a:lnTo>
                  <a:pt x="9" y="1006"/>
                </a:lnTo>
                <a:lnTo>
                  <a:pt x="8" y="1004"/>
                </a:lnTo>
                <a:lnTo>
                  <a:pt x="8" y="1003"/>
                </a:lnTo>
                <a:lnTo>
                  <a:pt x="9" y="1003"/>
                </a:lnTo>
                <a:lnTo>
                  <a:pt x="11" y="1002"/>
                </a:lnTo>
                <a:lnTo>
                  <a:pt x="6" y="1003"/>
                </a:lnTo>
                <a:lnTo>
                  <a:pt x="6" y="1002"/>
                </a:lnTo>
                <a:lnTo>
                  <a:pt x="8" y="1000"/>
                </a:lnTo>
                <a:lnTo>
                  <a:pt x="13" y="999"/>
                </a:lnTo>
                <a:lnTo>
                  <a:pt x="14" y="997"/>
                </a:lnTo>
                <a:lnTo>
                  <a:pt x="14" y="996"/>
                </a:lnTo>
                <a:lnTo>
                  <a:pt x="17" y="996"/>
                </a:lnTo>
                <a:lnTo>
                  <a:pt x="17" y="995"/>
                </a:lnTo>
                <a:lnTo>
                  <a:pt x="15" y="995"/>
                </a:lnTo>
                <a:lnTo>
                  <a:pt x="15" y="994"/>
                </a:lnTo>
                <a:lnTo>
                  <a:pt x="18" y="990"/>
                </a:lnTo>
                <a:lnTo>
                  <a:pt x="25" y="990"/>
                </a:lnTo>
                <a:lnTo>
                  <a:pt x="26" y="991"/>
                </a:lnTo>
                <a:lnTo>
                  <a:pt x="27" y="990"/>
                </a:lnTo>
                <a:lnTo>
                  <a:pt x="29" y="990"/>
                </a:lnTo>
                <a:lnTo>
                  <a:pt x="30" y="991"/>
                </a:lnTo>
                <a:lnTo>
                  <a:pt x="31" y="991"/>
                </a:lnTo>
                <a:lnTo>
                  <a:pt x="35" y="995"/>
                </a:lnTo>
                <a:lnTo>
                  <a:pt x="33" y="996"/>
                </a:lnTo>
                <a:lnTo>
                  <a:pt x="30" y="996"/>
                </a:lnTo>
                <a:lnTo>
                  <a:pt x="29" y="999"/>
                </a:lnTo>
                <a:lnTo>
                  <a:pt x="30" y="999"/>
                </a:lnTo>
                <a:lnTo>
                  <a:pt x="33" y="996"/>
                </a:lnTo>
                <a:lnTo>
                  <a:pt x="42" y="995"/>
                </a:lnTo>
                <a:lnTo>
                  <a:pt x="43" y="996"/>
                </a:lnTo>
                <a:lnTo>
                  <a:pt x="43" y="999"/>
                </a:lnTo>
                <a:lnTo>
                  <a:pt x="42" y="1001"/>
                </a:lnTo>
                <a:lnTo>
                  <a:pt x="40" y="1004"/>
                </a:lnTo>
                <a:lnTo>
                  <a:pt x="43" y="1002"/>
                </a:lnTo>
                <a:lnTo>
                  <a:pt x="43" y="1001"/>
                </a:lnTo>
                <a:lnTo>
                  <a:pt x="44" y="997"/>
                </a:lnTo>
                <a:lnTo>
                  <a:pt x="45" y="996"/>
                </a:lnTo>
                <a:lnTo>
                  <a:pt x="45" y="997"/>
                </a:lnTo>
                <a:lnTo>
                  <a:pt x="48" y="999"/>
                </a:lnTo>
                <a:lnTo>
                  <a:pt x="49" y="1001"/>
                </a:lnTo>
                <a:lnTo>
                  <a:pt x="50" y="1002"/>
                </a:lnTo>
                <a:lnTo>
                  <a:pt x="52" y="1002"/>
                </a:lnTo>
                <a:lnTo>
                  <a:pt x="52" y="1001"/>
                </a:lnTo>
                <a:lnTo>
                  <a:pt x="51" y="1001"/>
                </a:lnTo>
                <a:lnTo>
                  <a:pt x="50" y="1000"/>
                </a:lnTo>
                <a:lnTo>
                  <a:pt x="50" y="999"/>
                </a:lnTo>
                <a:lnTo>
                  <a:pt x="49" y="999"/>
                </a:lnTo>
                <a:lnTo>
                  <a:pt x="49" y="997"/>
                </a:lnTo>
                <a:lnTo>
                  <a:pt x="48" y="997"/>
                </a:lnTo>
                <a:lnTo>
                  <a:pt x="48" y="996"/>
                </a:lnTo>
                <a:lnTo>
                  <a:pt x="57" y="996"/>
                </a:lnTo>
                <a:lnTo>
                  <a:pt x="58" y="997"/>
                </a:lnTo>
                <a:lnTo>
                  <a:pt x="61" y="999"/>
                </a:lnTo>
                <a:lnTo>
                  <a:pt x="66" y="1000"/>
                </a:lnTo>
                <a:lnTo>
                  <a:pt x="68" y="997"/>
                </a:lnTo>
                <a:lnTo>
                  <a:pt x="68" y="995"/>
                </a:lnTo>
                <a:lnTo>
                  <a:pt x="69" y="994"/>
                </a:lnTo>
                <a:lnTo>
                  <a:pt x="70" y="994"/>
                </a:lnTo>
                <a:lnTo>
                  <a:pt x="71" y="993"/>
                </a:lnTo>
                <a:lnTo>
                  <a:pt x="73" y="993"/>
                </a:lnTo>
                <a:lnTo>
                  <a:pt x="75" y="994"/>
                </a:lnTo>
                <a:lnTo>
                  <a:pt x="76" y="995"/>
                </a:lnTo>
                <a:lnTo>
                  <a:pt x="77" y="995"/>
                </a:lnTo>
                <a:lnTo>
                  <a:pt x="77" y="996"/>
                </a:lnTo>
                <a:lnTo>
                  <a:pt x="79" y="996"/>
                </a:lnTo>
                <a:lnTo>
                  <a:pt x="79" y="994"/>
                </a:lnTo>
                <a:lnTo>
                  <a:pt x="80" y="994"/>
                </a:lnTo>
                <a:lnTo>
                  <a:pt x="80" y="993"/>
                </a:lnTo>
                <a:lnTo>
                  <a:pt x="79" y="993"/>
                </a:lnTo>
                <a:lnTo>
                  <a:pt x="77" y="994"/>
                </a:lnTo>
                <a:lnTo>
                  <a:pt x="77" y="993"/>
                </a:lnTo>
                <a:lnTo>
                  <a:pt x="74" y="993"/>
                </a:lnTo>
                <a:lnTo>
                  <a:pt x="74" y="991"/>
                </a:lnTo>
                <a:lnTo>
                  <a:pt x="73" y="991"/>
                </a:lnTo>
                <a:lnTo>
                  <a:pt x="69" y="993"/>
                </a:lnTo>
                <a:lnTo>
                  <a:pt x="67" y="995"/>
                </a:lnTo>
                <a:lnTo>
                  <a:pt x="67" y="996"/>
                </a:lnTo>
                <a:lnTo>
                  <a:pt x="66" y="997"/>
                </a:lnTo>
                <a:lnTo>
                  <a:pt x="56" y="995"/>
                </a:lnTo>
                <a:lnTo>
                  <a:pt x="49" y="995"/>
                </a:lnTo>
                <a:lnTo>
                  <a:pt x="46" y="994"/>
                </a:lnTo>
                <a:lnTo>
                  <a:pt x="43" y="994"/>
                </a:lnTo>
                <a:lnTo>
                  <a:pt x="42" y="993"/>
                </a:lnTo>
                <a:lnTo>
                  <a:pt x="39" y="993"/>
                </a:lnTo>
                <a:lnTo>
                  <a:pt x="37" y="995"/>
                </a:lnTo>
                <a:lnTo>
                  <a:pt x="33" y="991"/>
                </a:lnTo>
                <a:lnTo>
                  <a:pt x="42" y="990"/>
                </a:lnTo>
                <a:lnTo>
                  <a:pt x="43" y="990"/>
                </a:lnTo>
                <a:lnTo>
                  <a:pt x="43" y="989"/>
                </a:lnTo>
                <a:lnTo>
                  <a:pt x="30" y="989"/>
                </a:lnTo>
                <a:lnTo>
                  <a:pt x="25" y="988"/>
                </a:lnTo>
                <a:lnTo>
                  <a:pt x="18" y="988"/>
                </a:lnTo>
                <a:lnTo>
                  <a:pt x="15" y="989"/>
                </a:lnTo>
                <a:lnTo>
                  <a:pt x="14" y="990"/>
                </a:lnTo>
                <a:lnTo>
                  <a:pt x="12" y="989"/>
                </a:lnTo>
                <a:lnTo>
                  <a:pt x="11" y="989"/>
                </a:lnTo>
                <a:lnTo>
                  <a:pt x="9" y="990"/>
                </a:lnTo>
                <a:lnTo>
                  <a:pt x="9" y="991"/>
                </a:lnTo>
                <a:lnTo>
                  <a:pt x="7" y="989"/>
                </a:lnTo>
                <a:lnTo>
                  <a:pt x="7" y="988"/>
                </a:lnTo>
                <a:lnTo>
                  <a:pt x="5" y="988"/>
                </a:lnTo>
                <a:lnTo>
                  <a:pt x="4" y="987"/>
                </a:lnTo>
                <a:lnTo>
                  <a:pt x="4" y="985"/>
                </a:lnTo>
                <a:lnTo>
                  <a:pt x="5" y="985"/>
                </a:lnTo>
                <a:lnTo>
                  <a:pt x="5" y="984"/>
                </a:lnTo>
                <a:lnTo>
                  <a:pt x="2" y="982"/>
                </a:lnTo>
                <a:lnTo>
                  <a:pt x="2" y="978"/>
                </a:lnTo>
                <a:lnTo>
                  <a:pt x="4" y="979"/>
                </a:lnTo>
                <a:lnTo>
                  <a:pt x="6" y="981"/>
                </a:lnTo>
                <a:lnTo>
                  <a:pt x="7" y="981"/>
                </a:lnTo>
                <a:lnTo>
                  <a:pt x="7" y="979"/>
                </a:lnTo>
                <a:lnTo>
                  <a:pt x="8" y="979"/>
                </a:lnTo>
                <a:lnTo>
                  <a:pt x="9" y="982"/>
                </a:lnTo>
                <a:lnTo>
                  <a:pt x="9" y="983"/>
                </a:lnTo>
                <a:lnTo>
                  <a:pt x="8" y="983"/>
                </a:lnTo>
                <a:lnTo>
                  <a:pt x="8" y="984"/>
                </a:lnTo>
                <a:lnTo>
                  <a:pt x="9" y="984"/>
                </a:lnTo>
                <a:lnTo>
                  <a:pt x="9" y="985"/>
                </a:lnTo>
                <a:lnTo>
                  <a:pt x="11" y="985"/>
                </a:lnTo>
                <a:lnTo>
                  <a:pt x="11" y="984"/>
                </a:lnTo>
                <a:lnTo>
                  <a:pt x="12" y="984"/>
                </a:lnTo>
                <a:lnTo>
                  <a:pt x="12" y="985"/>
                </a:lnTo>
                <a:lnTo>
                  <a:pt x="13" y="985"/>
                </a:lnTo>
                <a:lnTo>
                  <a:pt x="13" y="983"/>
                </a:lnTo>
                <a:lnTo>
                  <a:pt x="15" y="982"/>
                </a:lnTo>
                <a:lnTo>
                  <a:pt x="15" y="979"/>
                </a:lnTo>
                <a:lnTo>
                  <a:pt x="17" y="979"/>
                </a:lnTo>
                <a:lnTo>
                  <a:pt x="19" y="981"/>
                </a:lnTo>
                <a:lnTo>
                  <a:pt x="20" y="979"/>
                </a:lnTo>
                <a:lnTo>
                  <a:pt x="19" y="978"/>
                </a:lnTo>
                <a:lnTo>
                  <a:pt x="17" y="978"/>
                </a:lnTo>
                <a:lnTo>
                  <a:pt x="17" y="977"/>
                </a:lnTo>
                <a:lnTo>
                  <a:pt x="12" y="972"/>
                </a:lnTo>
                <a:lnTo>
                  <a:pt x="7" y="972"/>
                </a:lnTo>
                <a:lnTo>
                  <a:pt x="7" y="970"/>
                </a:lnTo>
                <a:lnTo>
                  <a:pt x="8" y="970"/>
                </a:lnTo>
                <a:lnTo>
                  <a:pt x="6" y="967"/>
                </a:lnTo>
                <a:lnTo>
                  <a:pt x="6" y="966"/>
                </a:lnTo>
                <a:lnTo>
                  <a:pt x="7" y="966"/>
                </a:lnTo>
                <a:lnTo>
                  <a:pt x="6" y="965"/>
                </a:lnTo>
                <a:lnTo>
                  <a:pt x="6" y="964"/>
                </a:lnTo>
                <a:lnTo>
                  <a:pt x="9" y="964"/>
                </a:lnTo>
                <a:lnTo>
                  <a:pt x="9" y="963"/>
                </a:lnTo>
                <a:lnTo>
                  <a:pt x="11" y="963"/>
                </a:lnTo>
                <a:lnTo>
                  <a:pt x="13" y="965"/>
                </a:lnTo>
                <a:lnTo>
                  <a:pt x="13" y="966"/>
                </a:lnTo>
                <a:lnTo>
                  <a:pt x="14" y="966"/>
                </a:lnTo>
                <a:lnTo>
                  <a:pt x="14" y="970"/>
                </a:lnTo>
                <a:lnTo>
                  <a:pt x="17" y="972"/>
                </a:lnTo>
                <a:lnTo>
                  <a:pt x="19" y="973"/>
                </a:lnTo>
                <a:lnTo>
                  <a:pt x="21" y="976"/>
                </a:lnTo>
                <a:lnTo>
                  <a:pt x="23" y="981"/>
                </a:lnTo>
                <a:lnTo>
                  <a:pt x="24" y="979"/>
                </a:lnTo>
                <a:lnTo>
                  <a:pt x="25" y="976"/>
                </a:lnTo>
                <a:lnTo>
                  <a:pt x="25" y="975"/>
                </a:lnTo>
                <a:lnTo>
                  <a:pt x="26" y="975"/>
                </a:lnTo>
                <a:lnTo>
                  <a:pt x="27" y="976"/>
                </a:lnTo>
                <a:lnTo>
                  <a:pt x="26" y="973"/>
                </a:lnTo>
                <a:lnTo>
                  <a:pt x="20" y="972"/>
                </a:lnTo>
                <a:lnTo>
                  <a:pt x="20" y="971"/>
                </a:lnTo>
                <a:lnTo>
                  <a:pt x="19" y="971"/>
                </a:lnTo>
                <a:lnTo>
                  <a:pt x="19" y="970"/>
                </a:lnTo>
                <a:lnTo>
                  <a:pt x="20" y="967"/>
                </a:lnTo>
                <a:lnTo>
                  <a:pt x="20" y="966"/>
                </a:lnTo>
                <a:lnTo>
                  <a:pt x="23" y="964"/>
                </a:lnTo>
                <a:lnTo>
                  <a:pt x="23" y="965"/>
                </a:lnTo>
                <a:lnTo>
                  <a:pt x="25" y="966"/>
                </a:lnTo>
                <a:lnTo>
                  <a:pt x="29" y="966"/>
                </a:lnTo>
                <a:lnTo>
                  <a:pt x="30" y="967"/>
                </a:lnTo>
                <a:lnTo>
                  <a:pt x="30" y="969"/>
                </a:lnTo>
                <a:lnTo>
                  <a:pt x="31" y="970"/>
                </a:lnTo>
                <a:lnTo>
                  <a:pt x="31" y="971"/>
                </a:lnTo>
                <a:lnTo>
                  <a:pt x="32" y="971"/>
                </a:lnTo>
                <a:lnTo>
                  <a:pt x="31" y="969"/>
                </a:lnTo>
                <a:lnTo>
                  <a:pt x="31" y="966"/>
                </a:lnTo>
                <a:lnTo>
                  <a:pt x="32" y="965"/>
                </a:lnTo>
                <a:lnTo>
                  <a:pt x="36" y="965"/>
                </a:lnTo>
                <a:lnTo>
                  <a:pt x="38" y="964"/>
                </a:lnTo>
                <a:lnTo>
                  <a:pt x="39" y="963"/>
                </a:lnTo>
                <a:lnTo>
                  <a:pt x="40" y="964"/>
                </a:lnTo>
                <a:lnTo>
                  <a:pt x="42" y="964"/>
                </a:lnTo>
                <a:lnTo>
                  <a:pt x="42" y="973"/>
                </a:lnTo>
                <a:lnTo>
                  <a:pt x="39" y="977"/>
                </a:lnTo>
                <a:lnTo>
                  <a:pt x="38" y="979"/>
                </a:lnTo>
                <a:lnTo>
                  <a:pt x="42" y="976"/>
                </a:lnTo>
                <a:lnTo>
                  <a:pt x="43" y="973"/>
                </a:lnTo>
                <a:lnTo>
                  <a:pt x="43" y="969"/>
                </a:lnTo>
                <a:lnTo>
                  <a:pt x="44" y="969"/>
                </a:lnTo>
                <a:lnTo>
                  <a:pt x="46" y="972"/>
                </a:lnTo>
                <a:lnTo>
                  <a:pt x="48" y="973"/>
                </a:lnTo>
                <a:lnTo>
                  <a:pt x="48" y="976"/>
                </a:lnTo>
                <a:lnTo>
                  <a:pt x="49" y="975"/>
                </a:lnTo>
                <a:lnTo>
                  <a:pt x="54" y="975"/>
                </a:lnTo>
                <a:lnTo>
                  <a:pt x="61" y="976"/>
                </a:lnTo>
                <a:lnTo>
                  <a:pt x="49" y="972"/>
                </a:lnTo>
                <a:lnTo>
                  <a:pt x="49" y="971"/>
                </a:lnTo>
                <a:lnTo>
                  <a:pt x="48" y="969"/>
                </a:lnTo>
                <a:lnTo>
                  <a:pt x="46" y="969"/>
                </a:lnTo>
                <a:lnTo>
                  <a:pt x="44" y="965"/>
                </a:lnTo>
                <a:lnTo>
                  <a:pt x="42" y="964"/>
                </a:lnTo>
                <a:lnTo>
                  <a:pt x="42" y="961"/>
                </a:lnTo>
                <a:lnTo>
                  <a:pt x="43" y="961"/>
                </a:lnTo>
                <a:lnTo>
                  <a:pt x="45" y="963"/>
                </a:lnTo>
                <a:lnTo>
                  <a:pt x="46" y="963"/>
                </a:lnTo>
                <a:lnTo>
                  <a:pt x="45" y="961"/>
                </a:lnTo>
                <a:lnTo>
                  <a:pt x="44" y="961"/>
                </a:lnTo>
                <a:lnTo>
                  <a:pt x="44" y="959"/>
                </a:lnTo>
                <a:lnTo>
                  <a:pt x="43" y="959"/>
                </a:lnTo>
                <a:lnTo>
                  <a:pt x="44" y="957"/>
                </a:lnTo>
                <a:lnTo>
                  <a:pt x="49" y="952"/>
                </a:lnTo>
                <a:lnTo>
                  <a:pt x="51" y="952"/>
                </a:lnTo>
                <a:lnTo>
                  <a:pt x="58" y="948"/>
                </a:lnTo>
                <a:lnTo>
                  <a:pt x="60" y="950"/>
                </a:lnTo>
                <a:lnTo>
                  <a:pt x="60" y="951"/>
                </a:lnTo>
                <a:lnTo>
                  <a:pt x="61" y="953"/>
                </a:lnTo>
                <a:lnTo>
                  <a:pt x="62" y="957"/>
                </a:lnTo>
                <a:lnTo>
                  <a:pt x="62" y="958"/>
                </a:lnTo>
                <a:lnTo>
                  <a:pt x="64" y="959"/>
                </a:lnTo>
                <a:lnTo>
                  <a:pt x="66" y="960"/>
                </a:lnTo>
                <a:lnTo>
                  <a:pt x="68" y="966"/>
                </a:lnTo>
                <a:lnTo>
                  <a:pt x="69" y="967"/>
                </a:lnTo>
                <a:lnTo>
                  <a:pt x="69" y="969"/>
                </a:lnTo>
                <a:lnTo>
                  <a:pt x="68" y="972"/>
                </a:lnTo>
                <a:lnTo>
                  <a:pt x="70" y="970"/>
                </a:lnTo>
                <a:lnTo>
                  <a:pt x="69" y="967"/>
                </a:lnTo>
                <a:lnTo>
                  <a:pt x="66" y="959"/>
                </a:lnTo>
                <a:lnTo>
                  <a:pt x="63" y="953"/>
                </a:lnTo>
                <a:lnTo>
                  <a:pt x="62" y="951"/>
                </a:lnTo>
                <a:lnTo>
                  <a:pt x="62" y="947"/>
                </a:lnTo>
                <a:lnTo>
                  <a:pt x="63" y="946"/>
                </a:lnTo>
                <a:lnTo>
                  <a:pt x="67" y="946"/>
                </a:lnTo>
                <a:lnTo>
                  <a:pt x="68" y="947"/>
                </a:lnTo>
                <a:lnTo>
                  <a:pt x="69" y="950"/>
                </a:lnTo>
                <a:lnTo>
                  <a:pt x="69" y="946"/>
                </a:lnTo>
                <a:lnTo>
                  <a:pt x="68" y="945"/>
                </a:lnTo>
                <a:lnTo>
                  <a:pt x="69" y="944"/>
                </a:lnTo>
                <a:lnTo>
                  <a:pt x="73" y="942"/>
                </a:lnTo>
                <a:lnTo>
                  <a:pt x="74" y="941"/>
                </a:lnTo>
                <a:lnTo>
                  <a:pt x="75" y="941"/>
                </a:lnTo>
                <a:lnTo>
                  <a:pt x="76" y="942"/>
                </a:lnTo>
                <a:lnTo>
                  <a:pt x="82" y="944"/>
                </a:lnTo>
                <a:lnTo>
                  <a:pt x="82" y="951"/>
                </a:lnTo>
                <a:lnTo>
                  <a:pt x="87" y="956"/>
                </a:lnTo>
                <a:lnTo>
                  <a:pt x="87" y="959"/>
                </a:lnTo>
                <a:lnTo>
                  <a:pt x="88" y="963"/>
                </a:lnTo>
                <a:lnTo>
                  <a:pt x="87" y="964"/>
                </a:lnTo>
                <a:lnTo>
                  <a:pt x="87" y="965"/>
                </a:lnTo>
                <a:lnTo>
                  <a:pt x="85" y="970"/>
                </a:lnTo>
                <a:lnTo>
                  <a:pt x="85" y="971"/>
                </a:lnTo>
                <a:lnTo>
                  <a:pt x="87" y="973"/>
                </a:lnTo>
                <a:lnTo>
                  <a:pt x="88" y="973"/>
                </a:lnTo>
                <a:lnTo>
                  <a:pt x="92" y="972"/>
                </a:lnTo>
                <a:lnTo>
                  <a:pt x="93" y="971"/>
                </a:lnTo>
                <a:lnTo>
                  <a:pt x="94" y="971"/>
                </a:lnTo>
                <a:lnTo>
                  <a:pt x="95" y="972"/>
                </a:lnTo>
                <a:lnTo>
                  <a:pt x="94" y="970"/>
                </a:lnTo>
                <a:lnTo>
                  <a:pt x="88" y="972"/>
                </a:lnTo>
                <a:lnTo>
                  <a:pt x="86" y="970"/>
                </a:lnTo>
                <a:lnTo>
                  <a:pt x="87" y="969"/>
                </a:lnTo>
                <a:lnTo>
                  <a:pt x="88" y="966"/>
                </a:lnTo>
                <a:lnTo>
                  <a:pt x="89" y="965"/>
                </a:lnTo>
                <a:lnTo>
                  <a:pt x="89" y="964"/>
                </a:lnTo>
                <a:lnTo>
                  <a:pt x="88" y="958"/>
                </a:lnTo>
                <a:lnTo>
                  <a:pt x="89" y="957"/>
                </a:lnTo>
                <a:lnTo>
                  <a:pt x="92" y="957"/>
                </a:lnTo>
                <a:lnTo>
                  <a:pt x="96" y="959"/>
                </a:lnTo>
                <a:lnTo>
                  <a:pt x="98" y="958"/>
                </a:lnTo>
                <a:lnTo>
                  <a:pt x="98" y="957"/>
                </a:lnTo>
                <a:lnTo>
                  <a:pt x="101" y="957"/>
                </a:lnTo>
                <a:lnTo>
                  <a:pt x="102" y="958"/>
                </a:lnTo>
                <a:lnTo>
                  <a:pt x="102" y="959"/>
                </a:lnTo>
                <a:lnTo>
                  <a:pt x="104" y="960"/>
                </a:lnTo>
                <a:lnTo>
                  <a:pt x="105" y="960"/>
                </a:lnTo>
                <a:lnTo>
                  <a:pt x="102" y="957"/>
                </a:lnTo>
                <a:lnTo>
                  <a:pt x="100" y="954"/>
                </a:lnTo>
                <a:lnTo>
                  <a:pt x="94" y="956"/>
                </a:lnTo>
                <a:lnTo>
                  <a:pt x="88" y="954"/>
                </a:lnTo>
                <a:lnTo>
                  <a:pt x="86" y="952"/>
                </a:lnTo>
                <a:lnTo>
                  <a:pt x="83" y="948"/>
                </a:lnTo>
                <a:lnTo>
                  <a:pt x="86" y="948"/>
                </a:lnTo>
                <a:lnTo>
                  <a:pt x="86" y="947"/>
                </a:lnTo>
                <a:lnTo>
                  <a:pt x="81" y="940"/>
                </a:lnTo>
                <a:lnTo>
                  <a:pt x="77" y="940"/>
                </a:lnTo>
                <a:lnTo>
                  <a:pt x="77" y="939"/>
                </a:lnTo>
                <a:lnTo>
                  <a:pt x="74" y="939"/>
                </a:lnTo>
                <a:lnTo>
                  <a:pt x="66" y="942"/>
                </a:lnTo>
                <a:lnTo>
                  <a:pt x="62" y="944"/>
                </a:lnTo>
                <a:lnTo>
                  <a:pt x="61" y="942"/>
                </a:lnTo>
                <a:lnTo>
                  <a:pt x="60" y="942"/>
                </a:lnTo>
                <a:lnTo>
                  <a:pt x="58" y="940"/>
                </a:lnTo>
                <a:lnTo>
                  <a:pt x="57" y="940"/>
                </a:lnTo>
                <a:lnTo>
                  <a:pt x="56" y="941"/>
                </a:lnTo>
                <a:lnTo>
                  <a:pt x="55" y="941"/>
                </a:lnTo>
                <a:lnTo>
                  <a:pt x="55" y="940"/>
                </a:lnTo>
                <a:lnTo>
                  <a:pt x="56" y="939"/>
                </a:lnTo>
                <a:lnTo>
                  <a:pt x="60" y="939"/>
                </a:lnTo>
                <a:lnTo>
                  <a:pt x="63" y="938"/>
                </a:lnTo>
                <a:lnTo>
                  <a:pt x="63" y="936"/>
                </a:lnTo>
                <a:lnTo>
                  <a:pt x="73" y="936"/>
                </a:lnTo>
                <a:lnTo>
                  <a:pt x="71" y="934"/>
                </a:lnTo>
                <a:lnTo>
                  <a:pt x="69" y="935"/>
                </a:lnTo>
                <a:lnTo>
                  <a:pt x="66" y="935"/>
                </a:lnTo>
                <a:lnTo>
                  <a:pt x="66" y="934"/>
                </a:lnTo>
                <a:lnTo>
                  <a:pt x="69" y="934"/>
                </a:lnTo>
                <a:lnTo>
                  <a:pt x="68" y="933"/>
                </a:lnTo>
                <a:lnTo>
                  <a:pt x="56" y="934"/>
                </a:lnTo>
                <a:lnTo>
                  <a:pt x="56" y="928"/>
                </a:lnTo>
                <a:lnTo>
                  <a:pt x="57" y="927"/>
                </a:lnTo>
                <a:lnTo>
                  <a:pt x="58" y="927"/>
                </a:lnTo>
                <a:lnTo>
                  <a:pt x="68" y="926"/>
                </a:lnTo>
                <a:lnTo>
                  <a:pt x="69" y="926"/>
                </a:lnTo>
                <a:lnTo>
                  <a:pt x="70" y="927"/>
                </a:lnTo>
                <a:lnTo>
                  <a:pt x="70" y="930"/>
                </a:lnTo>
                <a:lnTo>
                  <a:pt x="71" y="930"/>
                </a:lnTo>
                <a:lnTo>
                  <a:pt x="71" y="924"/>
                </a:lnTo>
                <a:lnTo>
                  <a:pt x="73" y="926"/>
                </a:lnTo>
                <a:lnTo>
                  <a:pt x="73" y="927"/>
                </a:lnTo>
                <a:lnTo>
                  <a:pt x="74" y="924"/>
                </a:lnTo>
                <a:lnTo>
                  <a:pt x="76" y="922"/>
                </a:lnTo>
                <a:lnTo>
                  <a:pt x="77" y="922"/>
                </a:lnTo>
                <a:lnTo>
                  <a:pt x="83" y="928"/>
                </a:lnTo>
                <a:lnTo>
                  <a:pt x="83" y="929"/>
                </a:lnTo>
                <a:lnTo>
                  <a:pt x="85" y="929"/>
                </a:lnTo>
                <a:lnTo>
                  <a:pt x="83" y="928"/>
                </a:lnTo>
                <a:lnTo>
                  <a:pt x="83" y="927"/>
                </a:lnTo>
                <a:lnTo>
                  <a:pt x="85" y="924"/>
                </a:lnTo>
                <a:lnTo>
                  <a:pt x="83" y="924"/>
                </a:lnTo>
                <a:lnTo>
                  <a:pt x="82" y="923"/>
                </a:lnTo>
                <a:lnTo>
                  <a:pt x="85" y="922"/>
                </a:lnTo>
                <a:lnTo>
                  <a:pt x="92" y="922"/>
                </a:lnTo>
                <a:lnTo>
                  <a:pt x="91" y="923"/>
                </a:lnTo>
                <a:lnTo>
                  <a:pt x="91" y="924"/>
                </a:lnTo>
                <a:lnTo>
                  <a:pt x="89" y="924"/>
                </a:lnTo>
                <a:lnTo>
                  <a:pt x="89" y="927"/>
                </a:lnTo>
                <a:lnTo>
                  <a:pt x="92" y="926"/>
                </a:lnTo>
                <a:lnTo>
                  <a:pt x="92" y="929"/>
                </a:lnTo>
                <a:lnTo>
                  <a:pt x="93" y="932"/>
                </a:lnTo>
                <a:lnTo>
                  <a:pt x="93" y="933"/>
                </a:lnTo>
                <a:lnTo>
                  <a:pt x="94" y="930"/>
                </a:lnTo>
                <a:lnTo>
                  <a:pt x="94" y="929"/>
                </a:lnTo>
                <a:lnTo>
                  <a:pt x="93" y="928"/>
                </a:lnTo>
                <a:lnTo>
                  <a:pt x="93" y="927"/>
                </a:lnTo>
                <a:lnTo>
                  <a:pt x="94" y="924"/>
                </a:lnTo>
                <a:lnTo>
                  <a:pt x="96" y="926"/>
                </a:lnTo>
                <a:lnTo>
                  <a:pt x="100" y="927"/>
                </a:lnTo>
                <a:lnTo>
                  <a:pt x="102" y="928"/>
                </a:lnTo>
                <a:lnTo>
                  <a:pt x="105" y="932"/>
                </a:lnTo>
                <a:lnTo>
                  <a:pt x="108" y="932"/>
                </a:lnTo>
                <a:lnTo>
                  <a:pt x="110" y="933"/>
                </a:lnTo>
                <a:lnTo>
                  <a:pt x="110" y="936"/>
                </a:lnTo>
                <a:lnTo>
                  <a:pt x="111" y="935"/>
                </a:lnTo>
                <a:lnTo>
                  <a:pt x="111" y="933"/>
                </a:lnTo>
                <a:lnTo>
                  <a:pt x="112" y="932"/>
                </a:lnTo>
                <a:lnTo>
                  <a:pt x="120" y="929"/>
                </a:lnTo>
                <a:lnTo>
                  <a:pt x="119" y="928"/>
                </a:lnTo>
                <a:lnTo>
                  <a:pt x="108" y="930"/>
                </a:lnTo>
                <a:lnTo>
                  <a:pt x="105" y="927"/>
                </a:lnTo>
                <a:lnTo>
                  <a:pt x="105" y="924"/>
                </a:lnTo>
                <a:lnTo>
                  <a:pt x="106" y="923"/>
                </a:lnTo>
                <a:lnTo>
                  <a:pt x="107" y="923"/>
                </a:lnTo>
                <a:lnTo>
                  <a:pt x="108" y="926"/>
                </a:lnTo>
                <a:lnTo>
                  <a:pt x="108" y="928"/>
                </a:lnTo>
                <a:lnTo>
                  <a:pt x="110" y="928"/>
                </a:lnTo>
                <a:lnTo>
                  <a:pt x="110" y="926"/>
                </a:lnTo>
                <a:lnTo>
                  <a:pt x="108" y="922"/>
                </a:lnTo>
                <a:lnTo>
                  <a:pt x="108" y="921"/>
                </a:lnTo>
                <a:lnTo>
                  <a:pt x="110" y="921"/>
                </a:lnTo>
                <a:lnTo>
                  <a:pt x="111" y="920"/>
                </a:lnTo>
                <a:lnTo>
                  <a:pt x="113" y="918"/>
                </a:lnTo>
                <a:lnTo>
                  <a:pt x="123" y="915"/>
                </a:lnTo>
                <a:lnTo>
                  <a:pt x="131" y="915"/>
                </a:lnTo>
                <a:lnTo>
                  <a:pt x="135" y="918"/>
                </a:lnTo>
                <a:lnTo>
                  <a:pt x="136" y="918"/>
                </a:lnTo>
                <a:lnTo>
                  <a:pt x="135" y="916"/>
                </a:lnTo>
                <a:lnTo>
                  <a:pt x="132" y="915"/>
                </a:lnTo>
                <a:lnTo>
                  <a:pt x="131" y="913"/>
                </a:lnTo>
                <a:lnTo>
                  <a:pt x="132" y="913"/>
                </a:lnTo>
                <a:lnTo>
                  <a:pt x="132" y="910"/>
                </a:lnTo>
                <a:lnTo>
                  <a:pt x="131" y="910"/>
                </a:lnTo>
                <a:lnTo>
                  <a:pt x="130" y="911"/>
                </a:lnTo>
                <a:lnTo>
                  <a:pt x="125" y="913"/>
                </a:lnTo>
                <a:lnTo>
                  <a:pt x="124" y="914"/>
                </a:lnTo>
                <a:lnTo>
                  <a:pt x="114" y="915"/>
                </a:lnTo>
                <a:lnTo>
                  <a:pt x="110" y="918"/>
                </a:lnTo>
                <a:lnTo>
                  <a:pt x="108" y="920"/>
                </a:lnTo>
                <a:lnTo>
                  <a:pt x="104" y="920"/>
                </a:lnTo>
                <a:lnTo>
                  <a:pt x="102" y="918"/>
                </a:lnTo>
                <a:lnTo>
                  <a:pt x="104" y="917"/>
                </a:lnTo>
                <a:lnTo>
                  <a:pt x="105" y="917"/>
                </a:lnTo>
                <a:lnTo>
                  <a:pt x="102" y="915"/>
                </a:lnTo>
                <a:lnTo>
                  <a:pt x="105" y="915"/>
                </a:lnTo>
                <a:lnTo>
                  <a:pt x="107" y="911"/>
                </a:lnTo>
                <a:lnTo>
                  <a:pt x="116" y="909"/>
                </a:lnTo>
                <a:lnTo>
                  <a:pt x="113" y="909"/>
                </a:lnTo>
                <a:lnTo>
                  <a:pt x="106" y="911"/>
                </a:lnTo>
                <a:lnTo>
                  <a:pt x="105" y="913"/>
                </a:lnTo>
                <a:lnTo>
                  <a:pt x="102" y="913"/>
                </a:lnTo>
                <a:lnTo>
                  <a:pt x="100" y="914"/>
                </a:lnTo>
                <a:lnTo>
                  <a:pt x="86" y="916"/>
                </a:lnTo>
                <a:lnTo>
                  <a:pt x="85" y="915"/>
                </a:lnTo>
                <a:lnTo>
                  <a:pt x="86" y="915"/>
                </a:lnTo>
                <a:lnTo>
                  <a:pt x="87" y="914"/>
                </a:lnTo>
                <a:lnTo>
                  <a:pt x="87" y="913"/>
                </a:lnTo>
                <a:lnTo>
                  <a:pt x="86" y="913"/>
                </a:lnTo>
                <a:lnTo>
                  <a:pt x="86" y="909"/>
                </a:lnTo>
                <a:lnTo>
                  <a:pt x="88" y="908"/>
                </a:lnTo>
                <a:lnTo>
                  <a:pt x="89" y="907"/>
                </a:lnTo>
                <a:lnTo>
                  <a:pt x="96" y="908"/>
                </a:lnTo>
                <a:lnTo>
                  <a:pt x="95" y="907"/>
                </a:lnTo>
                <a:lnTo>
                  <a:pt x="94" y="904"/>
                </a:lnTo>
                <a:lnTo>
                  <a:pt x="93" y="904"/>
                </a:lnTo>
                <a:lnTo>
                  <a:pt x="88" y="905"/>
                </a:lnTo>
                <a:lnTo>
                  <a:pt x="87" y="904"/>
                </a:lnTo>
                <a:lnTo>
                  <a:pt x="86" y="901"/>
                </a:lnTo>
                <a:lnTo>
                  <a:pt x="85" y="899"/>
                </a:lnTo>
                <a:lnTo>
                  <a:pt x="85" y="898"/>
                </a:lnTo>
                <a:lnTo>
                  <a:pt x="82" y="898"/>
                </a:lnTo>
                <a:lnTo>
                  <a:pt x="82" y="897"/>
                </a:lnTo>
                <a:lnTo>
                  <a:pt x="83" y="897"/>
                </a:lnTo>
                <a:lnTo>
                  <a:pt x="91" y="892"/>
                </a:lnTo>
                <a:lnTo>
                  <a:pt x="92" y="891"/>
                </a:lnTo>
                <a:lnTo>
                  <a:pt x="94" y="890"/>
                </a:lnTo>
                <a:lnTo>
                  <a:pt x="98" y="889"/>
                </a:lnTo>
                <a:lnTo>
                  <a:pt x="99" y="889"/>
                </a:lnTo>
                <a:lnTo>
                  <a:pt x="100" y="890"/>
                </a:lnTo>
                <a:lnTo>
                  <a:pt x="101" y="892"/>
                </a:lnTo>
                <a:lnTo>
                  <a:pt x="102" y="892"/>
                </a:lnTo>
                <a:lnTo>
                  <a:pt x="105" y="895"/>
                </a:lnTo>
                <a:lnTo>
                  <a:pt x="105" y="896"/>
                </a:lnTo>
                <a:lnTo>
                  <a:pt x="106" y="898"/>
                </a:lnTo>
                <a:lnTo>
                  <a:pt x="108" y="898"/>
                </a:lnTo>
                <a:lnTo>
                  <a:pt x="111" y="897"/>
                </a:lnTo>
                <a:lnTo>
                  <a:pt x="113" y="893"/>
                </a:lnTo>
                <a:lnTo>
                  <a:pt x="116" y="892"/>
                </a:lnTo>
                <a:lnTo>
                  <a:pt x="120" y="892"/>
                </a:lnTo>
                <a:lnTo>
                  <a:pt x="120" y="893"/>
                </a:lnTo>
                <a:lnTo>
                  <a:pt x="119" y="895"/>
                </a:lnTo>
                <a:lnTo>
                  <a:pt x="119" y="896"/>
                </a:lnTo>
                <a:lnTo>
                  <a:pt x="116" y="898"/>
                </a:lnTo>
                <a:lnTo>
                  <a:pt x="117" y="898"/>
                </a:lnTo>
                <a:lnTo>
                  <a:pt x="123" y="895"/>
                </a:lnTo>
                <a:lnTo>
                  <a:pt x="125" y="895"/>
                </a:lnTo>
                <a:lnTo>
                  <a:pt x="127" y="892"/>
                </a:lnTo>
                <a:lnTo>
                  <a:pt x="129" y="892"/>
                </a:lnTo>
                <a:lnTo>
                  <a:pt x="132" y="895"/>
                </a:lnTo>
                <a:lnTo>
                  <a:pt x="133" y="896"/>
                </a:lnTo>
                <a:lnTo>
                  <a:pt x="133" y="897"/>
                </a:lnTo>
                <a:lnTo>
                  <a:pt x="135" y="898"/>
                </a:lnTo>
                <a:lnTo>
                  <a:pt x="135" y="903"/>
                </a:lnTo>
                <a:lnTo>
                  <a:pt x="136" y="905"/>
                </a:lnTo>
                <a:lnTo>
                  <a:pt x="136" y="908"/>
                </a:lnTo>
                <a:lnTo>
                  <a:pt x="137" y="909"/>
                </a:lnTo>
                <a:lnTo>
                  <a:pt x="142" y="910"/>
                </a:lnTo>
                <a:lnTo>
                  <a:pt x="143" y="911"/>
                </a:lnTo>
                <a:lnTo>
                  <a:pt x="147" y="916"/>
                </a:lnTo>
                <a:lnTo>
                  <a:pt x="150" y="916"/>
                </a:lnTo>
                <a:lnTo>
                  <a:pt x="153" y="918"/>
                </a:lnTo>
                <a:lnTo>
                  <a:pt x="153" y="922"/>
                </a:lnTo>
                <a:lnTo>
                  <a:pt x="154" y="920"/>
                </a:lnTo>
                <a:lnTo>
                  <a:pt x="154" y="917"/>
                </a:lnTo>
                <a:lnTo>
                  <a:pt x="149" y="913"/>
                </a:lnTo>
                <a:lnTo>
                  <a:pt x="145" y="911"/>
                </a:lnTo>
                <a:lnTo>
                  <a:pt x="143" y="909"/>
                </a:lnTo>
                <a:lnTo>
                  <a:pt x="139" y="908"/>
                </a:lnTo>
                <a:lnTo>
                  <a:pt x="137" y="904"/>
                </a:lnTo>
                <a:lnTo>
                  <a:pt x="137" y="897"/>
                </a:lnTo>
                <a:lnTo>
                  <a:pt x="136" y="897"/>
                </a:lnTo>
                <a:lnTo>
                  <a:pt x="136" y="895"/>
                </a:lnTo>
                <a:lnTo>
                  <a:pt x="135" y="893"/>
                </a:lnTo>
                <a:lnTo>
                  <a:pt x="133" y="893"/>
                </a:lnTo>
                <a:lnTo>
                  <a:pt x="129" y="889"/>
                </a:lnTo>
                <a:lnTo>
                  <a:pt x="129" y="887"/>
                </a:lnTo>
                <a:lnTo>
                  <a:pt x="127" y="887"/>
                </a:lnTo>
                <a:lnTo>
                  <a:pt x="127" y="889"/>
                </a:lnTo>
                <a:lnTo>
                  <a:pt x="129" y="890"/>
                </a:lnTo>
                <a:lnTo>
                  <a:pt x="124" y="890"/>
                </a:lnTo>
                <a:lnTo>
                  <a:pt x="125" y="889"/>
                </a:lnTo>
                <a:lnTo>
                  <a:pt x="126" y="886"/>
                </a:lnTo>
                <a:lnTo>
                  <a:pt x="127" y="886"/>
                </a:lnTo>
                <a:lnTo>
                  <a:pt x="129" y="883"/>
                </a:lnTo>
                <a:lnTo>
                  <a:pt x="130" y="881"/>
                </a:lnTo>
                <a:lnTo>
                  <a:pt x="130" y="880"/>
                </a:lnTo>
                <a:lnTo>
                  <a:pt x="133" y="880"/>
                </a:lnTo>
                <a:lnTo>
                  <a:pt x="135" y="881"/>
                </a:lnTo>
                <a:lnTo>
                  <a:pt x="135" y="885"/>
                </a:lnTo>
                <a:lnTo>
                  <a:pt x="136" y="886"/>
                </a:lnTo>
                <a:lnTo>
                  <a:pt x="136" y="887"/>
                </a:lnTo>
                <a:lnTo>
                  <a:pt x="137" y="889"/>
                </a:lnTo>
                <a:lnTo>
                  <a:pt x="139" y="890"/>
                </a:lnTo>
                <a:lnTo>
                  <a:pt x="142" y="892"/>
                </a:lnTo>
                <a:lnTo>
                  <a:pt x="143" y="892"/>
                </a:lnTo>
                <a:lnTo>
                  <a:pt x="144" y="893"/>
                </a:lnTo>
                <a:lnTo>
                  <a:pt x="144" y="895"/>
                </a:lnTo>
                <a:lnTo>
                  <a:pt x="143" y="896"/>
                </a:lnTo>
                <a:lnTo>
                  <a:pt x="143" y="897"/>
                </a:lnTo>
                <a:lnTo>
                  <a:pt x="144" y="898"/>
                </a:lnTo>
                <a:lnTo>
                  <a:pt x="143" y="901"/>
                </a:lnTo>
                <a:lnTo>
                  <a:pt x="143" y="902"/>
                </a:lnTo>
                <a:lnTo>
                  <a:pt x="144" y="901"/>
                </a:lnTo>
                <a:lnTo>
                  <a:pt x="147" y="901"/>
                </a:lnTo>
                <a:lnTo>
                  <a:pt x="150" y="904"/>
                </a:lnTo>
                <a:lnTo>
                  <a:pt x="153" y="904"/>
                </a:lnTo>
                <a:lnTo>
                  <a:pt x="151" y="902"/>
                </a:lnTo>
                <a:lnTo>
                  <a:pt x="149" y="901"/>
                </a:lnTo>
                <a:lnTo>
                  <a:pt x="148" y="899"/>
                </a:lnTo>
                <a:lnTo>
                  <a:pt x="149" y="899"/>
                </a:lnTo>
                <a:lnTo>
                  <a:pt x="154" y="902"/>
                </a:lnTo>
                <a:lnTo>
                  <a:pt x="155" y="902"/>
                </a:lnTo>
                <a:lnTo>
                  <a:pt x="155" y="903"/>
                </a:lnTo>
                <a:lnTo>
                  <a:pt x="156" y="904"/>
                </a:lnTo>
                <a:lnTo>
                  <a:pt x="156" y="905"/>
                </a:lnTo>
                <a:lnTo>
                  <a:pt x="157" y="905"/>
                </a:lnTo>
                <a:lnTo>
                  <a:pt x="158" y="907"/>
                </a:lnTo>
                <a:lnTo>
                  <a:pt x="160" y="907"/>
                </a:lnTo>
                <a:lnTo>
                  <a:pt x="156" y="902"/>
                </a:lnTo>
                <a:lnTo>
                  <a:pt x="155" y="901"/>
                </a:lnTo>
                <a:lnTo>
                  <a:pt x="151" y="901"/>
                </a:lnTo>
                <a:lnTo>
                  <a:pt x="150" y="899"/>
                </a:lnTo>
                <a:lnTo>
                  <a:pt x="148" y="895"/>
                </a:lnTo>
                <a:lnTo>
                  <a:pt x="147" y="895"/>
                </a:lnTo>
                <a:lnTo>
                  <a:pt x="156" y="893"/>
                </a:lnTo>
                <a:lnTo>
                  <a:pt x="157" y="892"/>
                </a:lnTo>
                <a:lnTo>
                  <a:pt x="156" y="891"/>
                </a:lnTo>
                <a:lnTo>
                  <a:pt x="154" y="892"/>
                </a:lnTo>
                <a:lnTo>
                  <a:pt x="153" y="892"/>
                </a:lnTo>
                <a:lnTo>
                  <a:pt x="151" y="891"/>
                </a:lnTo>
                <a:lnTo>
                  <a:pt x="154" y="889"/>
                </a:lnTo>
                <a:lnTo>
                  <a:pt x="153" y="889"/>
                </a:lnTo>
                <a:lnTo>
                  <a:pt x="150" y="891"/>
                </a:lnTo>
                <a:lnTo>
                  <a:pt x="147" y="892"/>
                </a:lnTo>
                <a:lnTo>
                  <a:pt x="145" y="892"/>
                </a:lnTo>
                <a:lnTo>
                  <a:pt x="143" y="890"/>
                </a:lnTo>
                <a:lnTo>
                  <a:pt x="148" y="890"/>
                </a:lnTo>
                <a:lnTo>
                  <a:pt x="149" y="889"/>
                </a:lnTo>
                <a:lnTo>
                  <a:pt x="148" y="887"/>
                </a:lnTo>
                <a:lnTo>
                  <a:pt x="142" y="889"/>
                </a:lnTo>
                <a:lnTo>
                  <a:pt x="141" y="889"/>
                </a:lnTo>
                <a:lnTo>
                  <a:pt x="139" y="887"/>
                </a:lnTo>
                <a:lnTo>
                  <a:pt x="139" y="884"/>
                </a:lnTo>
                <a:lnTo>
                  <a:pt x="138" y="884"/>
                </a:lnTo>
                <a:lnTo>
                  <a:pt x="138" y="881"/>
                </a:lnTo>
                <a:lnTo>
                  <a:pt x="137" y="880"/>
                </a:lnTo>
                <a:lnTo>
                  <a:pt x="137" y="878"/>
                </a:lnTo>
                <a:lnTo>
                  <a:pt x="138" y="878"/>
                </a:lnTo>
                <a:lnTo>
                  <a:pt x="142" y="881"/>
                </a:lnTo>
                <a:lnTo>
                  <a:pt x="142" y="883"/>
                </a:lnTo>
                <a:lnTo>
                  <a:pt x="143" y="883"/>
                </a:lnTo>
                <a:lnTo>
                  <a:pt x="143" y="880"/>
                </a:lnTo>
                <a:lnTo>
                  <a:pt x="142" y="879"/>
                </a:lnTo>
                <a:lnTo>
                  <a:pt x="142" y="878"/>
                </a:lnTo>
                <a:lnTo>
                  <a:pt x="139" y="877"/>
                </a:lnTo>
                <a:lnTo>
                  <a:pt x="153" y="878"/>
                </a:lnTo>
                <a:lnTo>
                  <a:pt x="156" y="880"/>
                </a:lnTo>
                <a:lnTo>
                  <a:pt x="156" y="878"/>
                </a:lnTo>
                <a:lnTo>
                  <a:pt x="154" y="877"/>
                </a:lnTo>
                <a:lnTo>
                  <a:pt x="154" y="874"/>
                </a:lnTo>
                <a:lnTo>
                  <a:pt x="155" y="873"/>
                </a:lnTo>
                <a:lnTo>
                  <a:pt x="166" y="871"/>
                </a:lnTo>
                <a:lnTo>
                  <a:pt x="157" y="871"/>
                </a:lnTo>
                <a:lnTo>
                  <a:pt x="156" y="872"/>
                </a:lnTo>
                <a:lnTo>
                  <a:pt x="155" y="871"/>
                </a:lnTo>
                <a:lnTo>
                  <a:pt x="155" y="868"/>
                </a:lnTo>
                <a:lnTo>
                  <a:pt x="154" y="867"/>
                </a:lnTo>
                <a:lnTo>
                  <a:pt x="151" y="864"/>
                </a:lnTo>
                <a:lnTo>
                  <a:pt x="150" y="864"/>
                </a:lnTo>
                <a:lnTo>
                  <a:pt x="150" y="862"/>
                </a:lnTo>
                <a:lnTo>
                  <a:pt x="151" y="861"/>
                </a:lnTo>
                <a:lnTo>
                  <a:pt x="160" y="860"/>
                </a:lnTo>
                <a:lnTo>
                  <a:pt x="162" y="858"/>
                </a:lnTo>
                <a:lnTo>
                  <a:pt x="160" y="858"/>
                </a:lnTo>
                <a:lnTo>
                  <a:pt x="158" y="856"/>
                </a:lnTo>
                <a:lnTo>
                  <a:pt x="158" y="855"/>
                </a:lnTo>
                <a:lnTo>
                  <a:pt x="156" y="854"/>
                </a:lnTo>
                <a:lnTo>
                  <a:pt x="157" y="852"/>
                </a:lnTo>
                <a:lnTo>
                  <a:pt x="157" y="850"/>
                </a:lnTo>
                <a:lnTo>
                  <a:pt x="160" y="852"/>
                </a:lnTo>
                <a:lnTo>
                  <a:pt x="161" y="852"/>
                </a:lnTo>
                <a:lnTo>
                  <a:pt x="163" y="849"/>
                </a:lnTo>
                <a:lnTo>
                  <a:pt x="167" y="853"/>
                </a:lnTo>
                <a:lnTo>
                  <a:pt x="167" y="850"/>
                </a:lnTo>
                <a:lnTo>
                  <a:pt x="170" y="850"/>
                </a:lnTo>
                <a:lnTo>
                  <a:pt x="172" y="852"/>
                </a:lnTo>
                <a:lnTo>
                  <a:pt x="172" y="850"/>
                </a:lnTo>
                <a:lnTo>
                  <a:pt x="170" y="850"/>
                </a:lnTo>
                <a:lnTo>
                  <a:pt x="170" y="848"/>
                </a:lnTo>
                <a:lnTo>
                  <a:pt x="172" y="847"/>
                </a:lnTo>
                <a:lnTo>
                  <a:pt x="173" y="847"/>
                </a:lnTo>
                <a:lnTo>
                  <a:pt x="174" y="848"/>
                </a:lnTo>
                <a:lnTo>
                  <a:pt x="176" y="852"/>
                </a:lnTo>
                <a:lnTo>
                  <a:pt x="178" y="853"/>
                </a:lnTo>
                <a:lnTo>
                  <a:pt x="178" y="856"/>
                </a:lnTo>
                <a:lnTo>
                  <a:pt x="176" y="858"/>
                </a:lnTo>
                <a:lnTo>
                  <a:pt x="175" y="860"/>
                </a:lnTo>
                <a:lnTo>
                  <a:pt x="175" y="862"/>
                </a:lnTo>
                <a:lnTo>
                  <a:pt x="176" y="860"/>
                </a:lnTo>
                <a:lnTo>
                  <a:pt x="178" y="859"/>
                </a:lnTo>
                <a:lnTo>
                  <a:pt x="180" y="859"/>
                </a:lnTo>
                <a:lnTo>
                  <a:pt x="182" y="856"/>
                </a:lnTo>
                <a:lnTo>
                  <a:pt x="189" y="854"/>
                </a:lnTo>
                <a:lnTo>
                  <a:pt x="192" y="853"/>
                </a:lnTo>
                <a:lnTo>
                  <a:pt x="191" y="853"/>
                </a:lnTo>
                <a:lnTo>
                  <a:pt x="188" y="854"/>
                </a:lnTo>
                <a:lnTo>
                  <a:pt x="182" y="854"/>
                </a:lnTo>
                <a:lnTo>
                  <a:pt x="181" y="855"/>
                </a:lnTo>
                <a:lnTo>
                  <a:pt x="180" y="855"/>
                </a:lnTo>
                <a:lnTo>
                  <a:pt x="180" y="854"/>
                </a:lnTo>
                <a:lnTo>
                  <a:pt x="179" y="853"/>
                </a:lnTo>
                <a:lnTo>
                  <a:pt x="179" y="850"/>
                </a:lnTo>
                <a:lnTo>
                  <a:pt x="180" y="849"/>
                </a:lnTo>
                <a:lnTo>
                  <a:pt x="192" y="846"/>
                </a:lnTo>
                <a:lnTo>
                  <a:pt x="192" y="844"/>
                </a:lnTo>
                <a:lnTo>
                  <a:pt x="191" y="846"/>
                </a:lnTo>
                <a:lnTo>
                  <a:pt x="187" y="847"/>
                </a:lnTo>
                <a:lnTo>
                  <a:pt x="186" y="847"/>
                </a:lnTo>
                <a:lnTo>
                  <a:pt x="185" y="846"/>
                </a:lnTo>
                <a:lnTo>
                  <a:pt x="184" y="846"/>
                </a:lnTo>
                <a:lnTo>
                  <a:pt x="184" y="843"/>
                </a:lnTo>
                <a:lnTo>
                  <a:pt x="182" y="843"/>
                </a:lnTo>
                <a:lnTo>
                  <a:pt x="182" y="844"/>
                </a:lnTo>
                <a:lnTo>
                  <a:pt x="184" y="846"/>
                </a:lnTo>
                <a:lnTo>
                  <a:pt x="184" y="847"/>
                </a:lnTo>
                <a:lnTo>
                  <a:pt x="179" y="847"/>
                </a:lnTo>
                <a:lnTo>
                  <a:pt x="178" y="844"/>
                </a:lnTo>
                <a:lnTo>
                  <a:pt x="179" y="842"/>
                </a:lnTo>
                <a:lnTo>
                  <a:pt x="182" y="842"/>
                </a:lnTo>
                <a:lnTo>
                  <a:pt x="181" y="840"/>
                </a:lnTo>
                <a:lnTo>
                  <a:pt x="182" y="840"/>
                </a:lnTo>
                <a:lnTo>
                  <a:pt x="184" y="841"/>
                </a:lnTo>
                <a:lnTo>
                  <a:pt x="185" y="841"/>
                </a:lnTo>
                <a:lnTo>
                  <a:pt x="185" y="840"/>
                </a:lnTo>
                <a:lnTo>
                  <a:pt x="187" y="837"/>
                </a:lnTo>
                <a:lnTo>
                  <a:pt x="188" y="837"/>
                </a:lnTo>
                <a:lnTo>
                  <a:pt x="187" y="838"/>
                </a:lnTo>
                <a:lnTo>
                  <a:pt x="187" y="841"/>
                </a:lnTo>
                <a:lnTo>
                  <a:pt x="188" y="841"/>
                </a:lnTo>
                <a:lnTo>
                  <a:pt x="188" y="842"/>
                </a:lnTo>
                <a:lnTo>
                  <a:pt x="189" y="841"/>
                </a:lnTo>
                <a:lnTo>
                  <a:pt x="191" y="837"/>
                </a:lnTo>
                <a:lnTo>
                  <a:pt x="192" y="836"/>
                </a:lnTo>
                <a:lnTo>
                  <a:pt x="193" y="836"/>
                </a:lnTo>
                <a:lnTo>
                  <a:pt x="195" y="838"/>
                </a:lnTo>
                <a:lnTo>
                  <a:pt x="195" y="837"/>
                </a:lnTo>
                <a:lnTo>
                  <a:pt x="194" y="836"/>
                </a:lnTo>
                <a:lnTo>
                  <a:pt x="194" y="835"/>
                </a:lnTo>
                <a:lnTo>
                  <a:pt x="192" y="835"/>
                </a:lnTo>
                <a:lnTo>
                  <a:pt x="194" y="832"/>
                </a:lnTo>
                <a:lnTo>
                  <a:pt x="198" y="832"/>
                </a:lnTo>
                <a:lnTo>
                  <a:pt x="200" y="830"/>
                </a:lnTo>
                <a:lnTo>
                  <a:pt x="203" y="830"/>
                </a:lnTo>
                <a:lnTo>
                  <a:pt x="203" y="834"/>
                </a:lnTo>
                <a:lnTo>
                  <a:pt x="205" y="836"/>
                </a:lnTo>
                <a:lnTo>
                  <a:pt x="205" y="837"/>
                </a:lnTo>
                <a:lnTo>
                  <a:pt x="206" y="838"/>
                </a:lnTo>
                <a:lnTo>
                  <a:pt x="206" y="842"/>
                </a:lnTo>
                <a:lnTo>
                  <a:pt x="212" y="848"/>
                </a:lnTo>
                <a:lnTo>
                  <a:pt x="212" y="850"/>
                </a:lnTo>
                <a:lnTo>
                  <a:pt x="211" y="853"/>
                </a:lnTo>
                <a:lnTo>
                  <a:pt x="211" y="855"/>
                </a:lnTo>
                <a:lnTo>
                  <a:pt x="207" y="860"/>
                </a:lnTo>
                <a:lnTo>
                  <a:pt x="210" y="859"/>
                </a:lnTo>
                <a:lnTo>
                  <a:pt x="211" y="859"/>
                </a:lnTo>
                <a:lnTo>
                  <a:pt x="213" y="856"/>
                </a:lnTo>
                <a:lnTo>
                  <a:pt x="214" y="856"/>
                </a:lnTo>
                <a:lnTo>
                  <a:pt x="218" y="860"/>
                </a:lnTo>
                <a:lnTo>
                  <a:pt x="224" y="860"/>
                </a:lnTo>
                <a:lnTo>
                  <a:pt x="224" y="861"/>
                </a:lnTo>
                <a:lnTo>
                  <a:pt x="225" y="865"/>
                </a:lnTo>
                <a:lnTo>
                  <a:pt x="225" y="859"/>
                </a:lnTo>
                <a:lnTo>
                  <a:pt x="224" y="858"/>
                </a:lnTo>
                <a:lnTo>
                  <a:pt x="217" y="856"/>
                </a:lnTo>
                <a:lnTo>
                  <a:pt x="216" y="855"/>
                </a:lnTo>
                <a:lnTo>
                  <a:pt x="216" y="852"/>
                </a:lnTo>
                <a:lnTo>
                  <a:pt x="217" y="852"/>
                </a:lnTo>
                <a:lnTo>
                  <a:pt x="217" y="849"/>
                </a:lnTo>
                <a:lnTo>
                  <a:pt x="218" y="849"/>
                </a:lnTo>
                <a:lnTo>
                  <a:pt x="220" y="848"/>
                </a:lnTo>
                <a:lnTo>
                  <a:pt x="226" y="847"/>
                </a:lnTo>
                <a:lnTo>
                  <a:pt x="228" y="847"/>
                </a:lnTo>
                <a:lnTo>
                  <a:pt x="230" y="849"/>
                </a:lnTo>
                <a:lnTo>
                  <a:pt x="232" y="847"/>
                </a:lnTo>
                <a:lnTo>
                  <a:pt x="235" y="848"/>
                </a:lnTo>
                <a:lnTo>
                  <a:pt x="236" y="848"/>
                </a:lnTo>
                <a:lnTo>
                  <a:pt x="238" y="850"/>
                </a:lnTo>
                <a:lnTo>
                  <a:pt x="243" y="848"/>
                </a:lnTo>
                <a:lnTo>
                  <a:pt x="245" y="849"/>
                </a:lnTo>
                <a:lnTo>
                  <a:pt x="248" y="852"/>
                </a:lnTo>
                <a:lnTo>
                  <a:pt x="248" y="850"/>
                </a:lnTo>
                <a:lnTo>
                  <a:pt x="249" y="849"/>
                </a:lnTo>
                <a:lnTo>
                  <a:pt x="249" y="848"/>
                </a:lnTo>
                <a:lnTo>
                  <a:pt x="253" y="848"/>
                </a:lnTo>
                <a:lnTo>
                  <a:pt x="253" y="847"/>
                </a:lnTo>
                <a:lnTo>
                  <a:pt x="249" y="846"/>
                </a:lnTo>
                <a:lnTo>
                  <a:pt x="247" y="844"/>
                </a:lnTo>
                <a:lnTo>
                  <a:pt x="245" y="842"/>
                </a:lnTo>
                <a:lnTo>
                  <a:pt x="247" y="840"/>
                </a:lnTo>
                <a:lnTo>
                  <a:pt x="249" y="838"/>
                </a:lnTo>
                <a:lnTo>
                  <a:pt x="253" y="838"/>
                </a:lnTo>
                <a:lnTo>
                  <a:pt x="253" y="837"/>
                </a:lnTo>
                <a:lnTo>
                  <a:pt x="250" y="837"/>
                </a:lnTo>
                <a:lnTo>
                  <a:pt x="250" y="836"/>
                </a:lnTo>
                <a:lnTo>
                  <a:pt x="251" y="835"/>
                </a:lnTo>
                <a:lnTo>
                  <a:pt x="253" y="835"/>
                </a:lnTo>
                <a:lnTo>
                  <a:pt x="253" y="834"/>
                </a:lnTo>
                <a:lnTo>
                  <a:pt x="250" y="834"/>
                </a:lnTo>
                <a:lnTo>
                  <a:pt x="248" y="835"/>
                </a:lnTo>
                <a:lnTo>
                  <a:pt x="247" y="836"/>
                </a:lnTo>
                <a:lnTo>
                  <a:pt x="244" y="836"/>
                </a:lnTo>
                <a:lnTo>
                  <a:pt x="244" y="837"/>
                </a:lnTo>
                <a:lnTo>
                  <a:pt x="243" y="837"/>
                </a:lnTo>
                <a:lnTo>
                  <a:pt x="243" y="835"/>
                </a:lnTo>
                <a:lnTo>
                  <a:pt x="244" y="835"/>
                </a:lnTo>
                <a:lnTo>
                  <a:pt x="244" y="832"/>
                </a:lnTo>
                <a:lnTo>
                  <a:pt x="247" y="830"/>
                </a:lnTo>
                <a:lnTo>
                  <a:pt x="249" y="830"/>
                </a:lnTo>
                <a:lnTo>
                  <a:pt x="250" y="829"/>
                </a:lnTo>
                <a:lnTo>
                  <a:pt x="253" y="825"/>
                </a:lnTo>
                <a:lnTo>
                  <a:pt x="257" y="823"/>
                </a:lnTo>
                <a:lnTo>
                  <a:pt x="259" y="823"/>
                </a:lnTo>
                <a:lnTo>
                  <a:pt x="260" y="824"/>
                </a:lnTo>
                <a:lnTo>
                  <a:pt x="261" y="824"/>
                </a:lnTo>
                <a:lnTo>
                  <a:pt x="262" y="823"/>
                </a:lnTo>
                <a:lnTo>
                  <a:pt x="263" y="823"/>
                </a:lnTo>
                <a:lnTo>
                  <a:pt x="266" y="818"/>
                </a:lnTo>
                <a:lnTo>
                  <a:pt x="267" y="817"/>
                </a:lnTo>
                <a:lnTo>
                  <a:pt x="271" y="816"/>
                </a:lnTo>
                <a:lnTo>
                  <a:pt x="275" y="816"/>
                </a:lnTo>
                <a:lnTo>
                  <a:pt x="275" y="813"/>
                </a:lnTo>
                <a:lnTo>
                  <a:pt x="274" y="812"/>
                </a:lnTo>
                <a:lnTo>
                  <a:pt x="274" y="810"/>
                </a:lnTo>
                <a:lnTo>
                  <a:pt x="269" y="810"/>
                </a:lnTo>
                <a:lnTo>
                  <a:pt x="269" y="809"/>
                </a:lnTo>
                <a:lnTo>
                  <a:pt x="267" y="809"/>
                </a:lnTo>
                <a:lnTo>
                  <a:pt x="261" y="810"/>
                </a:lnTo>
                <a:lnTo>
                  <a:pt x="260" y="810"/>
                </a:lnTo>
                <a:lnTo>
                  <a:pt x="260" y="806"/>
                </a:lnTo>
                <a:lnTo>
                  <a:pt x="261" y="806"/>
                </a:lnTo>
                <a:lnTo>
                  <a:pt x="263" y="804"/>
                </a:lnTo>
                <a:lnTo>
                  <a:pt x="265" y="804"/>
                </a:lnTo>
                <a:lnTo>
                  <a:pt x="265" y="801"/>
                </a:lnTo>
                <a:lnTo>
                  <a:pt x="266" y="800"/>
                </a:lnTo>
                <a:lnTo>
                  <a:pt x="268" y="799"/>
                </a:lnTo>
                <a:lnTo>
                  <a:pt x="274" y="797"/>
                </a:lnTo>
                <a:lnTo>
                  <a:pt x="275" y="797"/>
                </a:lnTo>
                <a:lnTo>
                  <a:pt x="276" y="795"/>
                </a:lnTo>
                <a:lnTo>
                  <a:pt x="276" y="793"/>
                </a:lnTo>
                <a:lnTo>
                  <a:pt x="275" y="794"/>
                </a:lnTo>
                <a:lnTo>
                  <a:pt x="274" y="793"/>
                </a:lnTo>
                <a:lnTo>
                  <a:pt x="272" y="793"/>
                </a:lnTo>
                <a:lnTo>
                  <a:pt x="267" y="792"/>
                </a:lnTo>
                <a:lnTo>
                  <a:pt x="266" y="791"/>
                </a:lnTo>
                <a:lnTo>
                  <a:pt x="266" y="789"/>
                </a:lnTo>
                <a:lnTo>
                  <a:pt x="267" y="789"/>
                </a:lnTo>
                <a:lnTo>
                  <a:pt x="272" y="785"/>
                </a:lnTo>
                <a:lnTo>
                  <a:pt x="268" y="785"/>
                </a:lnTo>
                <a:lnTo>
                  <a:pt x="266" y="788"/>
                </a:lnTo>
                <a:lnTo>
                  <a:pt x="265" y="793"/>
                </a:lnTo>
                <a:lnTo>
                  <a:pt x="263" y="795"/>
                </a:lnTo>
                <a:lnTo>
                  <a:pt x="255" y="800"/>
                </a:lnTo>
                <a:lnTo>
                  <a:pt x="253" y="803"/>
                </a:lnTo>
                <a:lnTo>
                  <a:pt x="251" y="805"/>
                </a:lnTo>
                <a:lnTo>
                  <a:pt x="250" y="805"/>
                </a:lnTo>
                <a:lnTo>
                  <a:pt x="249" y="806"/>
                </a:lnTo>
                <a:lnTo>
                  <a:pt x="244" y="809"/>
                </a:lnTo>
                <a:lnTo>
                  <a:pt x="243" y="809"/>
                </a:lnTo>
                <a:lnTo>
                  <a:pt x="241" y="811"/>
                </a:lnTo>
                <a:lnTo>
                  <a:pt x="240" y="813"/>
                </a:lnTo>
                <a:lnTo>
                  <a:pt x="241" y="813"/>
                </a:lnTo>
                <a:lnTo>
                  <a:pt x="243" y="811"/>
                </a:lnTo>
                <a:lnTo>
                  <a:pt x="247" y="810"/>
                </a:lnTo>
                <a:lnTo>
                  <a:pt x="251" y="806"/>
                </a:lnTo>
                <a:lnTo>
                  <a:pt x="254" y="805"/>
                </a:lnTo>
                <a:lnTo>
                  <a:pt x="256" y="807"/>
                </a:lnTo>
                <a:lnTo>
                  <a:pt x="257" y="807"/>
                </a:lnTo>
                <a:lnTo>
                  <a:pt x="259" y="809"/>
                </a:lnTo>
                <a:lnTo>
                  <a:pt x="259" y="812"/>
                </a:lnTo>
                <a:lnTo>
                  <a:pt x="257" y="812"/>
                </a:lnTo>
                <a:lnTo>
                  <a:pt x="256" y="813"/>
                </a:lnTo>
                <a:lnTo>
                  <a:pt x="256" y="815"/>
                </a:lnTo>
                <a:lnTo>
                  <a:pt x="255" y="816"/>
                </a:lnTo>
                <a:lnTo>
                  <a:pt x="255" y="818"/>
                </a:lnTo>
                <a:lnTo>
                  <a:pt x="254" y="819"/>
                </a:lnTo>
                <a:lnTo>
                  <a:pt x="253" y="822"/>
                </a:lnTo>
                <a:lnTo>
                  <a:pt x="248" y="823"/>
                </a:lnTo>
                <a:lnTo>
                  <a:pt x="245" y="825"/>
                </a:lnTo>
                <a:lnTo>
                  <a:pt x="242" y="825"/>
                </a:lnTo>
                <a:lnTo>
                  <a:pt x="241" y="827"/>
                </a:lnTo>
                <a:lnTo>
                  <a:pt x="241" y="828"/>
                </a:lnTo>
                <a:lnTo>
                  <a:pt x="240" y="830"/>
                </a:lnTo>
                <a:lnTo>
                  <a:pt x="238" y="831"/>
                </a:lnTo>
                <a:lnTo>
                  <a:pt x="236" y="832"/>
                </a:lnTo>
                <a:lnTo>
                  <a:pt x="231" y="836"/>
                </a:lnTo>
                <a:lnTo>
                  <a:pt x="229" y="836"/>
                </a:lnTo>
                <a:lnTo>
                  <a:pt x="228" y="837"/>
                </a:lnTo>
                <a:lnTo>
                  <a:pt x="224" y="837"/>
                </a:lnTo>
                <a:lnTo>
                  <a:pt x="223" y="840"/>
                </a:lnTo>
                <a:lnTo>
                  <a:pt x="220" y="840"/>
                </a:lnTo>
                <a:lnTo>
                  <a:pt x="217" y="842"/>
                </a:lnTo>
                <a:lnTo>
                  <a:pt x="216" y="843"/>
                </a:lnTo>
                <a:lnTo>
                  <a:pt x="212" y="843"/>
                </a:lnTo>
                <a:lnTo>
                  <a:pt x="211" y="842"/>
                </a:lnTo>
                <a:lnTo>
                  <a:pt x="210" y="840"/>
                </a:lnTo>
                <a:lnTo>
                  <a:pt x="210" y="838"/>
                </a:lnTo>
                <a:lnTo>
                  <a:pt x="209" y="836"/>
                </a:lnTo>
                <a:lnTo>
                  <a:pt x="210" y="835"/>
                </a:lnTo>
                <a:lnTo>
                  <a:pt x="209" y="834"/>
                </a:lnTo>
                <a:lnTo>
                  <a:pt x="207" y="834"/>
                </a:lnTo>
                <a:lnTo>
                  <a:pt x="206" y="832"/>
                </a:lnTo>
                <a:lnTo>
                  <a:pt x="206" y="830"/>
                </a:lnTo>
                <a:lnTo>
                  <a:pt x="207" y="830"/>
                </a:lnTo>
                <a:lnTo>
                  <a:pt x="206" y="829"/>
                </a:lnTo>
                <a:lnTo>
                  <a:pt x="206" y="828"/>
                </a:lnTo>
                <a:lnTo>
                  <a:pt x="205" y="828"/>
                </a:lnTo>
                <a:lnTo>
                  <a:pt x="205" y="825"/>
                </a:lnTo>
                <a:lnTo>
                  <a:pt x="207" y="824"/>
                </a:lnTo>
                <a:lnTo>
                  <a:pt x="211" y="823"/>
                </a:lnTo>
                <a:lnTo>
                  <a:pt x="216" y="821"/>
                </a:lnTo>
                <a:lnTo>
                  <a:pt x="218" y="818"/>
                </a:lnTo>
                <a:lnTo>
                  <a:pt x="217" y="818"/>
                </a:lnTo>
                <a:lnTo>
                  <a:pt x="216" y="819"/>
                </a:lnTo>
                <a:lnTo>
                  <a:pt x="214" y="819"/>
                </a:lnTo>
                <a:lnTo>
                  <a:pt x="214" y="817"/>
                </a:lnTo>
                <a:lnTo>
                  <a:pt x="216" y="817"/>
                </a:lnTo>
                <a:lnTo>
                  <a:pt x="214" y="816"/>
                </a:lnTo>
                <a:lnTo>
                  <a:pt x="214" y="817"/>
                </a:lnTo>
                <a:lnTo>
                  <a:pt x="213" y="817"/>
                </a:lnTo>
                <a:lnTo>
                  <a:pt x="213" y="818"/>
                </a:lnTo>
                <a:lnTo>
                  <a:pt x="212" y="818"/>
                </a:lnTo>
                <a:lnTo>
                  <a:pt x="210" y="819"/>
                </a:lnTo>
                <a:lnTo>
                  <a:pt x="207" y="822"/>
                </a:lnTo>
                <a:lnTo>
                  <a:pt x="205" y="822"/>
                </a:lnTo>
                <a:lnTo>
                  <a:pt x="203" y="824"/>
                </a:lnTo>
                <a:lnTo>
                  <a:pt x="199" y="824"/>
                </a:lnTo>
                <a:lnTo>
                  <a:pt x="199" y="825"/>
                </a:lnTo>
                <a:lnTo>
                  <a:pt x="198" y="825"/>
                </a:lnTo>
                <a:lnTo>
                  <a:pt x="197" y="827"/>
                </a:lnTo>
                <a:lnTo>
                  <a:pt x="194" y="828"/>
                </a:lnTo>
                <a:lnTo>
                  <a:pt x="195" y="825"/>
                </a:lnTo>
                <a:lnTo>
                  <a:pt x="195" y="822"/>
                </a:lnTo>
                <a:lnTo>
                  <a:pt x="203" y="818"/>
                </a:lnTo>
                <a:lnTo>
                  <a:pt x="205" y="818"/>
                </a:lnTo>
                <a:lnTo>
                  <a:pt x="205" y="817"/>
                </a:lnTo>
                <a:lnTo>
                  <a:pt x="197" y="818"/>
                </a:lnTo>
                <a:lnTo>
                  <a:pt x="194" y="817"/>
                </a:lnTo>
                <a:lnTo>
                  <a:pt x="200" y="813"/>
                </a:lnTo>
                <a:lnTo>
                  <a:pt x="206" y="809"/>
                </a:lnTo>
                <a:lnTo>
                  <a:pt x="209" y="809"/>
                </a:lnTo>
                <a:lnTo>
                  <a:pt x="206" y="807"/>
                </a:lnTo>
                <a:lnTo>
                  <a:pt x="205" y="806"/>
                </a:lnTo>
                <a:lnTo>
                  <a:pt x="210" y="805"/>
                </a:lnTo>
                <a:lnTo>
                  <a:pt x="210" y="806"/>
                </a:lnTo>
                <a:lnTo>
                  <a:pt x="211" y="806"/>
                </a:lnTo>
                <a:lnTo>
                  <a:pt x="212" y="805"/>
                </a:lnTo>
                <a:lnTo>
                  <a:pt x="217" y="804"/>
                </a:lnTo>
                <a:lnTo>
                  <a:pt x="219" y="801"/>
                </a:lnTo>
                <a:lnTo>
                  <a:pt x="222" y="801"/>
                </a:lnTo>
                <a:lnTo>
                  <a:pt x="222" y="800"/>
                </a:lnTo>
                <a:lnTo>
                  <a:pt x="220" y="799"/>
                </a:lnTo>
                <a:lnTo>
                  <a:pt x="219" y="799"/>
                </a:lnTo>
                <a:lnTo>
                  <a:pt x="217" y="801"/>
                </a:lnTo>
                <a:lnTo>
                  <a:pt x="216" y="801"/>
                </a:lnTo>
                <a:lnTo>
                  <a:pt x="213" y="803"/>
                </a:lnTo>
                <a:lnTo>
                  <a:pt x="212" y="804"/>
                </a:lnTo>
                <a:lnTo>
                  <a:pt x="211" y="804"/>
                </a:lnTo>
                <a:lnTo>
                  <a:pt x="212" y="801"/>
                </a:lnTo>
                <a:lnTo>
                  <a:pt x="218" y="799"/>
                </a:lnTo>
                <a:lnTo>
                  <a:pt x="219" y="797"/>
                </a:lnTo>
                <a:lnTo>
                  <a:pt x="218" y="797"/>
                </a:lnTo>
                <a:lnTo>
                  <a:pt x="218" y="798"/>
                </a:lnTo>
                <a:lnTo>
                  <a:pt x="217" y="798"/>
                </a:lnTo>
                <a:lnTo>
                  <a:pt x="217" y="797"/>
                </a:lnTo>
                <a:lnTo>
                  <a:pt x="213" y="799"/>
                </a:lnTo>
                <a:lnTo>
                  <a:pt x="211" y="799"/>
                </a:lnTo>
                <a:lnTo>
                  <a:pt x="211" y="798"/>
                </a:lnTo>
                <a:lnTo>
                  <a:pt x="212" y="797"/>
                </a:lnTo>
                <a:lnTo>
                  <a:pt x="213" y="797"/>
                </a:lnTo>
                <a:lnTo>
                  <a:pt x="213" y="792"/>
                </a:lnTo>
                <a:lnTo>
                  <a:pt x="214" y="792"/>
                </a:lnTo>
                <a:lnTo>
                  <a:pt x="214" y="787"/>
                </a:lnTo>
                <a:lnTo>
                  <a:pt x="213" y="786"/>
                </a:lnTo>
                <a:lnTo>
                  <a:pt x="213" y="785"/>
                </a:lnTo>
                <a:lnTo>
                  <a:pt x="214" y="784"/>
                </a:lnTo>
                <a:lnTo>
                  <a:pt x="218" y="787"/>
                </a:lnTo>
                <a:lnTo>
                  <a:pt x="222" y="786"/>
                </a:lnTo>
                <a:lnTo>
                  <a:pt x="223" y="785"/>
                </a:lnTo>
                <a:lnTo>
                  <a:pt x="223" y="784"/>
                </a:lnTo>
                <a:lnTo>
                  <a:pt x="222" y="785"/>
                </a:lnTo>
                <a:lnTo>
                  <a:pt x="218" y="785"/>
                </a:lnTo>
                <a:lnTo>
                  <a:pt x="219" y="784"/>
                </a:lnTo>
                <a:lnTo>
                  <a:pt x="219" y="782"/>
                </a:lnTo>
                <a:lnTo>
                  <a:pt x="220" y="782"/>
                </a:lnTo>
                <a:lnTo>
                  <a:pt x="220" y="780"/>
                </a:lnTo>
                <a:lnTo>
                  <a:pt x="222" y="780"/>
                </a:lnTo>
                <a:lnTo>
                  <a:pt x="222" y="776"/>
                </a:lnTo>
                <a:lnTo>
                  <a:pt x="224" y="776"/>
                </a:lnTo>
                <a:lnTo>
                  <a:pt x="224" y="775"/>
                </a:lnTo>
                <a:lnTo>
                  <a:pt x="228" y="775"/>
                </a:lnTo>
                <a:lnTo>
                  <a:pt x="229" y="778"/>
                </a:lnTo>
                <a:lnTo>
                  <a:pt x="230" y="778"/>
                </a:lnTo>
                <a:lnTo>
                  <a:pt x="229" y="775"/>
                </a:lnTo>
                <a:lnTo>
                  <a:pt x="228" y="774"/>
                </a:lnTo>
                <a:lnTo>
                  <a:pt x="224" y="773"/>
                </a:lnTo>
                <a:lnTo>
                  <a:pt x="225" y="772"/>
                </a:lnTo>
                <a:lnTo>
                  <a:pt x="228" y="770"/>
                </a:lnTo>
                <a:lnTo>
                  <a:pt x="228" y="769"/>
                </a:lnTo>
                <a:lnTo>
                  <a:pt x="229" y="769"/>
                </a:lnTo>
                <a:lnTo>
                  <a:pt x="231" y="770"/>
                </a:lnTo>
                <a:lnTo>
                  <a:pt x="230" y="769"/>
                </a:lnTo>
                <a:lnTo>
                  <a:pt x="230" y="768"/>
                </a:lnTo>
                <a:lnTo>
                  <a:pt x="232" y="768"/>
                </a:lnTo>
                <a:lnTo>
                  <a:pt x="234" y="767"/>
                </a:lnTo>
                <a:lnTo>
                  <a:pt x="232" y="766"/>
                </a:lnTo>
                <a:lnTo>
                  <a:pt x="232" y="762"/>
                </a:lnTo>
                <a:lnTo>
                  <a:pt x="234" y="762"/>
                </a:lnTo>
                <a:lnTo>
                  <a:pt x="234" y="761"/>
                </a:lnTo>
                <a:lnTo>
                  <a:pt x="235" y="761"/>
                </a:lnTo>
                <a:lnTo>
                  <a:pt x="237" y="763"/>
                </a:lnTo>
                <a:lnTo>
                  <a:pt x="237" y="761"/>
                </a:lnTo>
                <a:lnTo>
                  <a:pt x="235" y="761"/>
                </a:lnTo>
                <a:lnTo>
                  <a:pt x="235" y="760"/>
                </a:lnTo>
                <a:lnTo>
                  <a:pt x="237" y="760"/>
                </a:lnTo>
                <a:lnTo>
                  <a:pt x="240" y="762"/>
                </a:lnTo>
                <a:lnTo>
                  <a:pt x="241" y="761"/>
                </a:lnTo>
                <a:lnTo>
                  <a:pt x="240" y="761"/>
                </a:lnTo>
                <a:lnTo>
                  <a:pt x="240" y="758"/>
                </a:lnTo>
                <a:lnTo>
                  <a:pt x="238" y="758"/>
                </a:lnTo>
                <a:lnTo>
                  <a:pt x="238" y="757"/>
                </a:lnTo>
                <a:lnTo>
                  <a:pt x="237" y="757"/>
                </a:lnTo>
                <a:lnTo>
                  <a:pt x="237" y="756"/>
                </a:lnTo>
                <a:lnTo>
                  <a:pt x="234" y="756"/>
                </a:lnTo>
                <a:lnTo>
                  <a:pt x="234" y="755"/>
                </a:lnTo>
                <a:lnTo>
                  <a:pt x="235" y="755"/>
                </a:lnTo>
                <a:lnTo>
                  <a:pt x="235" y="754"/>
                </a:lnTo>
                <a:lnTo>
                  <a:pt x="237" y="754"/>
                </a:lnTo>
                <a:lnTo>
                  <a:pt x="241" y="757"/>
                </a:lnTo>
                <a:lnTo>
                  <a:pt x="241" y="756"/>
                </a:lnTo>
                <a:lnTo>
                  <a:pt x="240" y="755"/>
                </a:lnTo>
                <a:lnTo>
                  <a:pt x="240" y="754"/>
                </a:lnTo>
                <a:lnTo>
                  <a:pt x="238" y="755"/>
                </a:lnTo>
                <a:lnTo>
                  <a:pt x="238" y="752"/>
                </a:lnTo>
                <a:lnTo>
                  <a:pt x="240" y="752"/>
                </a:lnTo>
                <a:lnTo>
                  <a:pt x="240" y="751"/>
                </a:lnTo>
                <a:lnTo>
                  <a:pt x="241" y="752"/>
                </a:lnTo>
                <a:lnTo>
                  <a:pt x="241" y="754"/>
                </a:lnTo>
                <a:lnTo>
                  <a:pt x="242" y="755"/>
                </a:lnTo>
                <a:lnTo>
                  <a:pt x="244" y="755"/>
                </a:lnTo>
                <a:lnTo>
                  <a:pt x="245" y="756"/>
                </a:lnTo>
                <a:lnTo>
                  <a:pt x="245" y="757"/>
                </a:lnTo>
                <a:lnTo>
                  <a:pt x="248" y="760"/>
                </a:lnTo>
                <a:lnTo>
                  <a:pt x="249" y="760"/>
                </a:lnTo>
                <a:lnTo>
                  <a:pt x="250" y="758"/>
                </a:lnTo>
                <a:lnTo>
                  <a:pt x="248" y="757"/>
                </a:lnTo>
                <a:lnTo>
                  <a:pt x="247" y="756"/>
                </a:lnTo>
                <a:lnTo>
                  <a:pt x="248" y="755"/>
                </a:lnTo>
                <a:lnTo>
                  <a:pt x="248" y="754"/>
                </a:lnTo>
                <a:lnTo>
                  <a:pt x="247" y="752"/>
                </a:lnTo>
                <a:lnTo>
                  <a:pt x="242" y="752"/>
                </a:lnTo>
                <a:lnTo>
                  <a:pt x="242" y="751"/>
                </a:lnTo>
                <a:lnTo>
                  <a:pt x="243" y="750"/>
                </a:lnTo>
                <a:lnTo>
                  <a:pt x="245" y="750"/>
                </a:lnTo>
                <a:lnTo>
                  <a:pt x="245" y="749"/>
                </a:lnTo>
                <a:lnTo>
                  <a:pt x="248" y="749"/>
                </a:lnTo>
                <a:lnTo>
                  <a:pt x="249" y="750"/>
                </a:lnTo>
                <a:lnTo>
                  <a:pt x="249" y="748"/>
                </a:lnTo>
                <a:lnTo>
                  <a:pt x="248" y="748"/>
                </a:lnTo>
                <a:lnTo>
                  <a:pt x="248" y="746"/>
                </a:lnTo>
                <a:lnTo>
                  <a:pt x="249" y="745"/>
                </a:lnTo>
                <a:lnTo>
                  <a:pt x="249" y="746"/>
                </a:lnTo>
                <a:lnTo>
                  <a:pt x="251" y="749"/>
                </a:lnTo>
                <a:lnTo>
                  <a:pt x="253" y="748"/>
                </a:lnTo>
                <a:lnTo>
                  <a:pt x="254" y="748"/>
                </a:lnTo>
                <a:lnTo>
                  <a:pt x="253" y="746"/>
                </a:lnTo>
                <a:lnTo>
                  <a:pt x="253" y="745"/>
                </a:lnTo>
                <a:lnTo>
                  <a:pt x="254" y="745"/>
                </a:lnTo>
                <a:lnTo>
                  <a:pt x="255" y="746"/>
                </a:lnTo>
                <a:lnTo>
                  <a:pt x="255" y="745"/>
                </a:lnTo>
                <a:lnTo>
                  <a:pt x="254" y="745"/>
                </a:lnTo>
                <a:lnTo>
                  <a:pt x="254" y="741"/>
                </a:lnTo>
                <a:lnTo>
                  <a:pt x="253" y="739"/>
                </a:lnTo>
                <a:lnTo>
                  <a:pt x="254" y="739"/>
                </a:lnTo>
                <a:lnTo>
                  <a:pt x="254" y="737"/>
                </a:lnTo>
                <a:lnTo>
                  <a:pt x="255" y="737"/>
                </a:lnTo>
                <a:lnTo>
                  <a:pt x="256" y="738"/>
                </a:lnTo>
                <a:lnTo>
                  <a:pt x="259" y="739"/>
                </a:lnTo>
                <a:lnTo>
                  <a:pt x="259" y="743"/>
                </a:lnTo>
                <a:lnTo>
                  <a:pt x="260" y="744"/>
                </a:lnTo>
                <a:lnTo>
                  <a:pt x="260" y="745"/>
                </a:lnTo>
                <a:lnTo>
                  <a:pt x="263" y="748"/>
                </a:lnTo>
                <a:lnTo>
                  <a:pt x="263" y="752"/>
                </a:lnTo>
                <a:lnTo>
                  <a:pt x="267" y="751"/>
                </a:lnTo>
                <a:lnTo>
                  <a:pt x="268" y="752"/>
                </a:lnTo>
                <a:lnTo>
                  <a:pt x="269" y="752"/>
                </a:lnTo>
                <a:lnTo>
                  <a:pt x="271" y="754"/>
                </a:lnTo>
                <a:lnTo>
                  <a:pt x="271" y="756"/>
                </a:lnTo>
                <a:lnTo>
                  <a:pt x="267" y="760"/>
                </a:lnTo>
                <a:lnTo>
                  <a:pt x="266" y="764"/>
                </a:lnTo>
                <a:lnTo>
                  <a:pt x="267" y="764"/>
                </a:lnTo>
                <a:lnTo>
                  <a:pt x="267" y="763"/>
                </a:lnTo>
                <a:lnTo>
                  <a:pt x="268" y="760"/>
                </a:lnTo>
                <a:lnTo>
                  <a:pt x="272" y="757"/>
                </a:lnTo>
                <a:lnTo>
                  <a:pt x="273" y="756"/>
                </a:lnTo>
                <a:lnTo>
                  <a:pt x="272" y="756"/>
                </a:lnTo>
                <a:lnTo>
                  <a:pt x="272" y="755"/>
                </a:lnTo>
                <a:lnTo>
                  <a:pt x="273" y="752"/>
                </a:lnTo>
                <a:lnTo>
                  <a:pt x="273" y="751"/>
                </a:lnTo>
                <a:lnTo>
                  <a:pt x="274" y="751"/>
                </a:lnTo>
                <a:lnTo>
                  <a:pt x="274" y="752"/>
                </a:lnTo>
                <a:lnTo>
                  <a:pt x="275" y="752"/>
                </a:lnTo>
                <a:lnTo>
                  <a:pt x="278" y="750"/>
                </a:lnTo>
                <a:lnTo>
                  <a:pt x="282" y="750"/>
                </a:lnTo>
                <a:lnTo>
                  <a:pt x="284" y="749"/>
                </a:lnTo>
                <a:lnTo>
                  <a:pt x="274" y="750"/>
                </a:lnTo>
                <a:lnTo>
                  <a:pt x="275" y="749"/>
                </a:lnTo>
                <a:lnTo>
                  <a:pt x="275" y="745"/>
                </a:lnTo>
                <a:lnTo>
                  <a:pt x="279" y="745"/>
                </a:lnTo>
                <a:lnTo>
                  <a:pt x="279" y="744"/>
                </a:lnTo>
                <a:lnTo>
                  <a:pt x="278" y="744"/>
                </a:lnTo>
                <a:lnTo>
                  <a:pt x="278" y="742"/>
                </a:lnTo>
                <a:lnTo>
                  <a:pt x="280" y="742"/>
                </a:lnTo>
                <a:lnTo>
                  <a:pt x="279" y="743"/>
                </a:lnTo>
                <a:lnTo>
                  <a:pt x="280" y="743"/>
                </a:lnTo>
                <a:lnTo>
                  <a:pt x="287" y="738"/>
                </a:lnTo>
                <a:lnTo>
                  <a:pt x="288" y="737"/>
                </a:lnTo>
                <a:lnTo>
                  <a:pt x="284" y="738"/>
                </a:lnTo>
                <a:lnTo>
                  <a:pt x="282" y="739"/>
                </a:lnTo>
                <a:lnTo>
                  <a:pt x="282" y="735"/>
                </a:lnTo>
                <a:lnTo>
                  <a:pt x="281" y="735"/>
                </a:lnTo>
                <a:lnTo>
                  <a:pt x="279" y="737"/>
                </a:lnTo>
                <a:lnTo>
                  <a:pt x="281" y="737"/>
                </a:lnTo>
                <a:lnTo>
                  <a:pt x="280" y="739"/>
                </a:lnTo>
                <a:lnTo>
                  <a:pt x="279" y="741"/>
                </a:lnTo>
                <a:lnTo>
                  <a:pt x="276" y="738"/>
                </a:lnTo>
                <a:lnTo>
                  <a:pt x="275" y="736"/>
                </a:lnTo>
                <a:lnTo>
                  <a:pt x="275" y="735"/>
                </a:lnTo>
                <a:lnTo>
                  <a:pt x="274" y="735"/>
                </a:lnTo>
                <a:lnTo>
                  <a:pt x="274" y="732"/>
                </a:lnTo>
                <a:lnTo>
                  <a:pt x="273" y="732"/>
                </a:lnTo>
                <a:lnTo>
                  <a:pt x="273" y="729"/>
                </a:lnTo>
                <a:lnTo>
                  <a:pt x="274" y="729"/>
                </a:lnTo>
                <a:lnTo>
                  <a:pt x="274" y="727"/>
                </a:lnTo>
                <a:lnTo>
                  <a:pt x="273" y="727"/>
                </a:lnTo>
                <a:lnTo>
                  <a:pt x="273" y="726"/>
                </a:lnTo>
                <a:lnTo>
                  <a:pt x="274" y="726"/>
                </a:lnTo>
                <a:lnTo>
                  <a:pt x="276" y="725"/>
                </a:lnTo>
                <a:lnTo>
                  <a:pt x="279" y="723"/>
                </a:lnTo>
                <a:lnTo>
                  <a:pt x="280" y="723"/>
                </a:lnTo>
                <a:lnTo>
                  <a:pt x="281" y="724"/>
                </a:lnTo>
                <a:lnTo>
                  <a:pt x="282" y="724"/>
                </a:lnTo>
                <a:lnTo>
                  <a:pt x="281" y="723"/>
                </a:lnTo>
                <a:lnTo>
                  <a:pt x="281" y="721"/>
                </a:lnTo>
                <a:lnTo>
                  <a:pt x="280" y="721"/>
                </a:lnTo>
                <a:lnTo>
                  <a:pt x="279" y="720"/>
                </a:lnTo>
                <a:lnTo>
                  <a:pt x="290" y="719"/>
                </a:lnTo>
                <a:lnTo>
                  <a:pt x="291" y="718"/>
                </a:lnTo>
                <a:lnTo>
                  <a:pt x="292" y="718"/>
                </a:lnTo>
                <a:lnTo>
                  <a:pt x="292" y="717"/>
                </a:lnTo>
                <a:lnTo>
                  <a:pt x="286" y="717"/>
                </a:lnTo>
                <a:lnTo>
                  <a:pt x="285" y="715"/>
                </a:lnTo>
                <a:lnTo>
                  <a:pt x="284" y="715"/>
                </a:lnTo>
                <a:lnTo>
                  <a:pt x="285" y="714"/>
                </a:lnTo>
                <a:lnTo>
                  <a:pt x="290" y="714"/>
                </a:lnTo>
                <a:lnTo>
                  <a:pt x="290" y="713"/>
                </a:lnTo>
                <a:lnTo>
                  <a:pt x="288" y="712"/>
                </a:lnTo>
                <a:lnTo>
                  <a:pt x="290" y="712"/>
                </a:lnTo>
                <a:lnTo>
                  <a:pt x="288" y="712"/>
                </a:lnTo>
                <a:lnTo>
                  <a:pt x="286" y="713"/>
                </a:lnTo>
                <a:lnTo>
                  <a:pt x="285" y="714"/>
                </a:lnTo>
                <a:lnTo>
                  <a:pt x="284" y="713"/>
                </a:lnTo>
                <a:lnTo>
                  <a:pt x="286" y="712"/>
                </a:lnTo>
                <a:lnTo>
                  <a:pt x="287" y="709"/>
                </a:lnTo>
                <a:lnTo>
                  <a:pt x="288" y="708"/>
                </a:lnTo>
                <a:lnTo>
                  <a:pt x="291" y="708"/>
                </a:lnTo>
                <a:lnTo>
                  <a:pt x="294" y="705"/>
                </a:lnTo>
                <a:lnTo>
                  <a:pt x="298" y="705"/>
                </a:lnTo>
                <a:lnTo>
                  <a:pt x="301" y="701"/>
                </a:lnTo>
                <a:lnTo>
                  <a:pt x="307" y="704"/>
                </a:lnTo>
                <a:lnTo>
                  <a:pt x="306" y="701"/>
                </a:lnTo>
                <a:lnTo>
                  <a:pt x="304" y="700"/>
                </a:lnTo>
                <a:lnTo>
                  <a:pt x="299" y="700"/>
                </a:lnTo>
                <a:lnTo>
                  <a:pt x="298" y="702"/>
                </a:lnTo>
                <a:lnTo>
                  <a:pt x="294" y="702"/>
                </a:lnTo>
                <a:lnTo>
                  <a:pt x="287" y="708"/>
                </a:lnTo>
                <a:lnTo>
                  <a:pt x="282" y="711"/>
                </a:lnTo>
                <a:lnTo>
                  <a:pt x="281" y="711"/>
                </a:lnTo>
                <a:lnTo>
                  <a:pt x="282" y="712"/>
                </a:lnTo>
                <a:lnTo>
                  <a:pt x="282" y="713"/>
                </a:lnTo>
                <a:lnTo>
                  <a:pt x="279" y="715"/>
                </a:lnTo>
                <a:lnTo>
                  <a:pt x="276" y="715"/>
                </a:lnTo>
                <a:lnTo>
                  <a:pt x="276" y="717"/>
                </a:lnTo>
                <a:lnTo>
                  <a:pt x="275" y="718"/>
                </a:lnTo>
                <a:lnTo>
                  <a:pt x="275" y="719"/>
                </a:lnTo>
                <a:lnTo>
                  <a:pt x="272" y="723"/>
                </a:lnTo>
                <a:lnTo>
                  <a:pt x="267" y="724"/>
                </a:lnTo>
                <a:lnTo>
                  <a:pt x="266" y="724"/>
                </a:lnTo>
                <a:lnTo>
                  <a:pt x="267" y="723"/>
                </a:lnTo>
                <a:lnTo>
                  <a:pt x="269" y="721"/>
                </a:lnTo>
                <a:lnTo>
                  <a:pt x="271" y="720"/>
                </a:lnTo>
                <a:lnTo>
                  <a:pt x="272" y="720"/>
                </a:lnTo>
                <a:lnTo>
                  <a:pt x="274" y="717"/>
                </a:lnTo>
                <a:lnTo>
                  <a:pt x="274" y="715"/>
                </a:lnTo>
                <a:lnTo>
                  <a:pt x="271" y="717"/>
                </a:lnTo>
                <a:lnTo>
                  <a:pt x="269" y="715"/>
                </a:lnTo>
                <a:lnTo>
                  <a:pt x="266" y="715"/>
                </a:lnTo>
                <a:lnTo>
                  <a:pt x="267" y="713"/>
                </a:lnTo>
                <a:lnTo>
                  <a:pt x="268" y="713"/>
                </a:lnTo>
                <a:lnTo>
                  <a:pt x="278" y="711"/>
                </a:lnTo>
                <a:lnTo>
                  <a:pt x="284" y="708"/>
                </a:lnTo>
                <a:lnTo>
                  <a:pt x="286" y="706"/>
                </a:lnTo>
                <a:lnTo>
                  <a:pt x="285" y="706"/>
                </a:lnTo>
                <a:lnTo>
                  <a:pt x="281" y="708"/>
                </a:lnTo>
                <a:lnTo>
                  <a:pt x="267" y="712"/>
                </a:lnTo>
                <a:lnTo>
                  <a:pt x="267" y="711"/>
                </a:lnTo>
                <a:lnTo>
                  <a:pt x="273" y="705"/>
                </a:lnTo>
                <a:lnTo>
                  <a:pt x="275" y="705"/>
                </a:lnTo>
                <a:lnTo>
                  <a:pt x="279" y="708"/>
                </a:lnTo>
                <a:lnTo>
                  <a:pt x="279" y="707"/>
                </a:lnTo>
                <a:lnTo>
                  <a:pt x="280" y="707"/>
                </a:lnTo>
                <a:lnTo>
                  <a:pt x="281" y="706"/>
                </a:lnTo>
                <a:lnTo>
                  <a:pt x="281" y="705"/>
                </a:lnTo>
                <a:lnTo>
                  <a:pt x="280" y="705"/>
                </a:lnTo>
                <a:lnTo>
                  <a:pt x="279" y="707"/>
                </a:lnTo>
                <a:lnTo>
                  <a:pt x="278" y="707"/>
                </a:lnTo>
                <a:lnTo>
                  <a:pt x="276" y="705"/>
                </a:lnTo>
                <a:lnTo>
                  <a:pt x="276" y="704"/>
                </a:lnTo>
                <a:lnTo>
                  <a:pt x="280" y="702"/>
                </a:lnTo>
                <a:lnTo>
                  <a:pt x="282" y="704"/>
                </a:lnTo>
                <a:lnTo>
                  <a:pt x="282" y="701"/>
                </a:lnTo>
                <a:lnTo>
                  <a:pt x="284" y="701"/>
                </a:lnTo>
                <a:lnTo>
                  <a:pt x="284" y="702"/>
                </a:lnTo>
                <a:lnTo>
                  <a:pt x="286" y="702"/>
                </a:lnTo>
                <a:lnTo>
                  <a:pt x="288" y="700"/>
                </a:lnTo>
                <a:lnTo>
                  <a:pt x="291" y="700"/>
                </a:lnTo>
                <a:lnTo>
                  <a:pt x="291" y="699"/>
                </a:lnTo>
                <a:lnTo>
                  <a:pt x="290" y="698"/>
                </a:lnTo>
                <a:lnTo>
                  <a:pt x="290" y="696"/>
                </a:lnTo>
                <a:lnTo>
                  <a:pt x="293" y="693"/>
                </a:lnTo>
                <a:lnTo>
                  <a:pt x="294" y="693"/>
                </a:lnTo>
                <a:lnTo>
                  <a:pt x="297" y="690"/>
                </a:lnTo>
                <a:lnTo>
                  <a:pt x="299" y="692"/>
                </a:lnTo>
                <a:lnTo>
                  <a:pt x="299" y="694"/>
                </a:lnTo>
                <a:lnTo>
                  <a:pt x="300" y="693"/>
                </a:lnTo>
                <a:lnTo>
                  <a:pt x="304" y="693"/>
                </a:lnTo>
                <a:lnTo>
                  <a:pt x="305" y="694"/>
                </a:lnTo>
                <a:lnTo>
                  <a:pt x="305" y="695"/>
                </a:lnTo>
                <a:lnTo>
                  <a:pt x="306" y="696"/>
                </a:lnTo>
                <a:lnTo>
                  <a:pt x="305" y="696"/>
                </a:lnTo>
                <a:lnTo>
                  <a:pt x="305" y="698"/>
                </a:lnTo>
                <a:lnTo>
                  <a:pt x="306" y="698"/>
                </a:lnTo>
                <a:lnTo>
                  <a:pt x="307" y="696"/>
                </a:lnTo>
                <a:lnTo>
                  <a:pt x="306" y="695"/>
                </a:lnTo>
                <a:lnTo>
                  <a:pt x="306" y="693"/>
                </a:lnTo>
                <a:lnTo>
                  <a:pt x="310" y="692"/>
                </a:lnTo>
                <a:lnTo>
                  <a:pt x="313" y="688"/>
                </a:lnTo>
                <a:lnTo>
                  <a:pt x="317" y="689"/>
                </a:lnTo>
                <a:lnTo>
                  <a:pt x="318" y="688"/>
                </a:lnTo>
                <a:lnTo>
                  <a:pt x="318" y="686"/>
                </a:lnTo>
                <a:lnTo>
                  <a:pt x="319" y="686"/>
                </a:lnTo>
                <a:lnTo>
                  <a:pt x="324" y="684"/>
                </a:lnTo>
                <a:lnTo>
                  <a:pt x="325" y="684"/>
                </a:lnTo>
                <a:lnTo>
                  <a:pt x="324" y="683"/>
                </a:lnTo>
                <a:lnTo>
                  <a:pt x="324" y="682"/>
                </a:lnTo>
                <a:lnTo>
                  <a:pt x="327" y="682"/>
                </a:lnTo>
                <a:lnTo>
                  <a:pt x="329" y="678"/>
                </a:lnTo>
                <a:lnTo>
                  <a:pt x="332" y="675"/>
                </a:lnTo>
                <a:lnTo>
                  <a:pt x="332" y="672"/>
                </a:lnTo>
                <a:lnTo>
                  <a:pt x="334" y="672"/>
                </a:lnTo>
                <a:lnTo>
                  <a:pt x="337" y="666"/>
                </a:lnTo>
                <a:lnTo>
                  <a:pt x="338" y="664"/>
                </a:lnTo>
                <a:lnTo>
                  <a:pt x="337" y="664"/>
                </a:lnTo>
                <a:lnTo>
                  <a:pt x="336" y="666"/>
                </a:lnTo>
                <a:lnTo>
                  <a:pt x="332" y="670"/>
                </a:lnTo>
                <a:lnTo>
                  <a:pt x="327" y="677"/>
                </a:lnTo>
                <a:lnTo>
                  <a:pt x="322" y="681"/>
                </a:lnTo>
                <a:lnTo>
                  <a:pt x="321" y="681"/>
                </a:lnTo>
                <a:lnTo>
                  <a:pt x="319" y="683"/>
                </a:lnTo>
                <a:lnTo>
                  <a:pt x="315" y="683"/>
                </a:lnTo>
                <a:lnTo>
                  <a:pt x="313" y="682"/>
                </a:lnTo>
                <a:lnTo>
                  <a:pt x="315" y="680"/>
                </a:lnTo>
                <a:lnTo>
                  <a:pt x="318" y="680"/>
                </a:lnTo>
                <a:lnTo>
                  <a:pt x="319" y="677"/>
                </a:lnTo>
                <a:lnTo>
                  <a:pt x="317" y="677"/>
                </a:lnTo>
                <a:lnTo>
                  <a:pt x="317" y="675"/>
                </a:lnTo>
                <a:lnTo>
                  <a:pt x="313" y="675"/>
                </a:lnTo>
                <a:lnTo>
                  <a:pt x="316" y="672"/>
                </a:lnTo>
                <a:lnTo>
                  <a:pt x="317" y="672"/>
                </a:lnTo>
                <a:lnTo>
                  <a:pt x="318" y="674"/>
                </a:lnTo>
                <a:lnTo>
                  <a:pt x="319" y="674"/>
                </a:lnTo>
                <a:lnTo>
                  <a:pt x="321" y="672"/>
                </a:lnTo>
                <a:lnTo>
                  <a:pt x="328" y="672"/>
                </a:lnTo>
                <a:lnTo>
                  <a:pt x="327" y="671"/>
                </a:lnTo>
                <a:lnTo>
                  <a:pt x="323" y="671"/>
                </a:lnTo>
                <a:lnTo>
                  <a:pt x="321" y="670"/>
                </a:lnTo>
                <a:lnTo>
                  <a:pt x="319" y="671"/>
                </a:lnTo>
                <a:lnTo>
                  <a:pt x="318" y="671"/>
                </a:lnTo>
                <a:lnTo>
                  <a:pt x="318" y="670"/>
                </a:lnTo>
                <a:lnTo>
                  <a:pt x="312" y="670"/>
                </a:lnTo>
                <a:lnTo>
                  <a:pt x="312" y="671"/>
                </a:lnTo>
                <a:lnTo>
                  <a:pt x="310" y="674"/>
                </a:lnTo>
                <a:lnTo>
                  <a:pt x="309" y="674"/>
                </a:lnTo>
                <a:lnTo>
                  <a:pt x="309" y="672"/>
                </a:lnTo>
                <a:lnTo>
                  <a:pt x="311" y="670"/>
                </a:lnTo>
                <a:lnTo>
                  <a:pt x="312" y="668"/>
                </a:lnTo>
                <a:lnTo>
                  <a:pt x="312" y="666"/>
                </a:lnTo>
                <a:lnTo>
                  <a:pt x="317" y="666"/>
                </a:lnTo>
                <a:lnTo>
                  <a:pt x="318" y="664"/>
                </a:lnTo>
                <a:lnTo>
                  <a:pt x="316" y="665"/>
                </a:lnTo>
                <a:lnTo>
                  <a:pt x="316" y="664"/>
                </a:lnTo>
                <a:lnTo>
                  <a:pt x="319" y="661"/>
                </a:lnTo>
                <a:lnTo>
                  <a:pt x="319" y="662"/>
                </a:lnTo>
                <a:lnTo>
                  <a:pt x="323" y="662"/>
                </a:lnTo>
                <a:lnTo>
                  <a:pt x="322" y="661"/>
                </a:lnTo>
                <a:lnTo>
                  <a:pt x="321" y="661"/>
                </a:lnTo>
                <a:lnTo>
                  <a:pt x="321" y="657"/>
                </a:lnTo>
                <a:lnTo>
                  <a:pt x="319" y="656"/>
                </a:lnTo>
                <a:lnTo>
                  <a:pt x="319" y="653"/>
                </a:lnTo>
                <a:lnTo>
                  <a:pt x="318" y="652"/>
                </a:lnTo>
                <a:lnTo>
                  <a:pt x="322" y="652"/>
                </a:lnTo>
                <a:lnTo>
                  <a:pt x="322" y="655"/>
                </a:lnTo>
                <a:lnTo>
                  <a:pt x="323" y="656"/>
                </a:lnTo>
                <a:lnTo>
                  <a:pt x="323" y="655"/>
                </a:lnTo>
                <a:lnTo>
                  <a:pt x="324" y="653"/>
                </a:lnTo>
                <a:lnTo>
                  <a:pt x="325" y="655"/>
                </a:lnTo>
                <a:lnTo>
                  <a:pt x="325" y="656"/>
                </a:lnTo>
                <a:lnTo>
                  <a:pt x="327" y="657"/>
                </a:lnTo>
                <a:lnTo>
                  <a:pt x="327" y="659"/>
                </a:lnTo>
                <a:lnTo>
                  <a:pt x="328" y="661"/>
                </a:lnTo>
                <a:lnTo>
                  <a:pt x="327" y="657"/>
                </a:lnTo>
                <a:lnTo>
                  <a:pt x="325" y="655"/>
                </a:lnTo>
                <a:lnTo>
                  <a:pt x="325" y="652"/>
                </a:lnTo>
                <a:lnTo>
                  <a:pt x="331" y="651"/>
                </a:lnTo>
                <a:lnTo>
                  <a:pt x="329" y="650"/>
                </a:lnTo>
                <a:lnTo>
                  <a:pt x="324" y="651"/>
                </a:lnTo>
                <a:lnTo>
                  <a:pt x="324" y="650"/>
                </a:lnTo>
                <a:lnTo>
                  <a:pt x="325" y="650"/>
                </a:lnTo>
                <a:lnTo>
                  <a:pt x="327" y="649"/>
                </a:lnTo>
                <a:lnTo>
                  <a:pt x="323" y="649"/>
                </a:lnTo>
                <a:lnTo>
                  <a:pt x="323" y="647"/>
                </a:lnTo>
                <a:lnTo>
                  <a:pt x="322" y="646"/>
                </a:lnTo>
                <a:lnTo>
                  <a:pt x="324" y="644"/>
                </a:lnTo>
                <a:lnTo>
                  <a:pt x="323" y="644"/>
                </a:lnTo>
                <a:lnTo>
                  <a:pt x="323" y="638"/>
                </a:lnTo>
                <a:lnTo>
                  <a:pt x="322" y="640"/>
                </a:lnTo>
                <a:lnTo>
                  <a:pt x="321" y="644"/>
                </a:lnTo>
                <a:lnTo>
                  <a:pt x="319" y="646"/>
                </a:lnTo>
                <a:lnTo>
                  <a:pt x="318" y="645"/>
                </a:lnTo>
                <a:lnTo>
                  <a:pt x="318" y="643"/>
                </a:lnTo>
                <a:lnTo>
                  <a:pt x="319" y="643"/>
                </a:lnTo>
                <a:lnTo>
                  <a:pt x="321" y="640"/>
                </a:lnTo>
                <a:lnTo>
                  <a:pt x="321" y="639"/>
                </a:lnTo>
                <a:lnTo>
                  <a:pt x="319" y="639"/>
                </a:lnTo>
                <a:lnTo>
                  <a:pt x="318" y="643"/>
                </a:lnTo>
                <a:lnTo>
                  <a:pt x="318" y="644"/>
                </a:lnTo>
                <a:lnTo>
                  <a:pt x="316" y="644"/>
                </a:lnTo>
                <a:lnTo>
                  <a:pt x="315" y="641"/>
                </a:lnTo>
                <a:lnTo>
                  <a:pt x="316" y="639"/>
                </a:lnTo>
                <a:lnTo>
                  <a:pt x="316" y="637"/>
                </a:lnTo>
                <a:lnTo>
                  <a:pt x="315" y="637"/>
                </a:lnTo>
                <a:lnTo>
                  <a:pt x="315" y="638"/>
                </a:lnTo>
                <a:lnTo>
                  <a:pt x="313" y="638"/>
                </a:lnTo>
                <a:lnTo>
                  <a:pt x="313" y="632"/>
                </a:lnTo>
                <a:lnTo>
                  <a:pt x="315" y="629"/>
                </a:lnTo>
                <a:lnTo>
                  <a:pt x="316" y="628"/>
                </a:lnTo>
                <a:lnTo>
                  <a:pt x="316" y="627"/>
                </a:lnTo>
                <a:lnTo>
                  <a:pt x="319" y="623"/>
                </a:lnTo>
                <a:lnTo>
                  <a:pt x="322" y="623"/>
                </a:lnTo>
                <a:lnTo>
                  <a:pt x="323" y="625"/>
                </a:lnTo>
                <a:lnTo>
                  <a:pt x="323" y="628"/>
                </a:lnTo>
                <a:lnTo>
                  <a:pt x="324" y="628"/>
                </a:lnTo>
                <a:lnTo>
                  <a:pt x="324" y="632"/>
                </a:lnTo>
                <a:lnTo>
                  <a:pt x="327" y="633"/>
                </a:lnTo>
                <a:lnTo>
                  <a:pt x="328" y="632"/>
                </a:lnTo>
                <a:lnTo>
                  <a:pt x="329" y="634"/>
                </a:lnTo>
                <a:lnTo>
                  <a:pt x="330" y="634"/>
                </a:lnTo>
                <a:lnTo>
                  <a:pt x="331" y="633"/>
                </a:lnTo>
                <a:lnTo>
                  <a:pt x="331" y="632"/>
                </a:lnTo>
                <a:lnTo>
                  <a:pt x="330" y="631"/>
                </a:lnTo>
                <a:lnTo>
                  <a:pt x="327" y="631"/>
                </a:lnTo>
                <a:lnTo>
                  <a:pt x="327" y="627"/>
                </a:lnTo>
                <a:lnTo>
                  <a:pt x="323" y="623"/>
                </a:lnTo>
                <a:lnTo>
                  <a:pt x="322" y="621"/>
                </a:lnTo>
                <a:lnTo>
                  <a:pt x="322" y="620"/>
                </a:lnTo>
                <a:lnTo>
                  <a:pt x="325" y="616"/>
                </a:lnTo>
                <a:lnTo>
                  <a:pt x="325" y="615"/>
                </a:lnTo>
                <a:lnTo>
                  <a:pt x="327" y="615"/>
                </a:lnTo>
                <a:lnTo>
                  <a:pt x="328" y="616"/>
                </a:lnTo>
                <a:lnTo>
                  <a:pt x="328" y="618"/>
                </a:lnTo>
                <a:lnTo>
                  <a:pt x="329" y="618"/>
                </a:lnTo>
                <a:lnTo>
                  <a:pt x="328" y="616"/>
                </a:lnTo>
                <a:lnTo>
                  <a:pt x="328" y="613"/>
                </a:lnTo>
                <a:lnTo>
                  <a:pt x="327" y="613"/>
                </a:lnTo>
                <a:lnTo>
                  <a:pt x="324" y="614"/>
                </a:lnTo>
                <a:lnTo>
                  <a:pt x="324" y="610"/>
                </a:lnTo>
                <a:lnTo>
                  <a:pt x="325" y="610"/>
                </a:lnTo>
                <a:lnTo>
                  <a:pt x="325" y="607"/>
                </a:lnTo>
                <a:lnTo>
                  <a:pt x="327" y="604"/>
                </a:lnTo>
                <a:lnTo>
                  <a:pt x="327" y="603"/>
                </a:lnTo>
                <a:lnTo>
                  <a:pt x="331" y="600"/>
                </a:lnTo>
                <a:lnTo>
                  <a:pt x="332" y="598"/>
                </a:lnTo>
                <a:lnTo>
                  <a:pt x="334" y="600"/>
                </a:lnTo>
                <a:lnTo>
                  <a:pt x="337" y="601"/>
                </a:lnTo>
                <a:lnTo>
                  <a:pt x="338" y="603"/>
                </a:lnTo>
                <a:lnTo>
                  <a:pt x="342" y="603"/>
                </a:lnTo>
                <a:lnTo>
                  <a:pt x="342" y="604"/>
                </a:lnTo>
                <a:lnTo>
                  <a:pt x="343" y="606"/>
                </a:lnTo>
                <a:lnTo>
                  <a:pt x="343" y="607"/>
                </a:lnTo>
                <a:lnTo>
                  <a:pt x="346" y="607"/>
                </a:lnTo>
                <a:lnTo>
                  <a:pt x="346" y="608"/>
                </a:lnTo>
                <a:lnTo>
                  <a:pt x="347" y="612"/>
                </a:lnTo>
                <a:lnTo>
                  <a:pt x="348" y="610"/>
                </a:lnTo>
                <a:lnTo>
                  <a:pt x="348" y="609"/>
                </a:lnTo>
                <a:lnTo>
                  <a:pt x="347" y="607"/>
                </a:lnTo>
                <a:lnTo>
                  <a:pt x="347" y="604"/>
                </a:lnTo>
                <a:lnTo>
                  <a:pt x="346" y="603"/>
                </a:lnTo>
                <a:lnTo>
                  <a:pt x="346" y="601"/>
                </a:lnTo>
                <a:lnTo>
                  <a:pt x="342" y="601"/>
                </a:lnTo>
                <a:lnTo>
                  <a:pt x="340" y="600"/>
                </a:lnTo>
                <a:lnTo>
                  <a:pt x="338" y="598"/>
                </a:lnTo>
                <a:lnTo>
                  <a:pt x="337" y="596"/>
                </a:lnTo>
                <a:lnTo>
                  <a:pt x="338" y="596"/>
                </a:lnTo>
                <a:lnTo>
                  <a:pt x="338" y="595"/>
                </a:lnTo>
                <a:lnTo>
                  <a:pt x="340" y="594"/>
                </a:lnTo>
                <a:lnTo>
                  <a:pt x="338" y="592"/>
                </a:lnTo>
                <a:lnTo>
                  <a:pt x="340" y="590"/>
                </a:lnTo>
                <a:lnTo>
                  <a:pt x="341" y="589"/>
                </a:lnTo>
                <a:lnTo>
                  <a:pt x="342" y="586"/>
                </a:lnTo>
                <a:lnTo>
                  <a:pt x="341" y="586"/>
                </a:lnTo>
                <a:lnTo>
                  <a:pt x="337" y="589"/>
                </a:lnTo>
                <a:lnTo>
                  <a:pt x="329" y="591"/>
                </a:lnTo>
                <a:lnTo>
                  <a:pt x="329" y="590"/>
                </a:lnTo>
                <a:lnTo>
                  <a:pt x="328" y="589"/>
                </a:lnTo>
                <a:lnTo>
                  <a:pt x="327" y="589"/>
                </a:lnTo>
                <a:lnTo>
                  <a:pt x="331" y="584"/>
                </a:lnTo>
                <a:lnTo>
                  <a:pt x="332" y="584"/>
                </a:lnTo>
                <a:lnTo>
                  <a:pt x="335" y="582"/>
                </a:lnTo>
                <a:lnTo>
                  <a:pt x="342" y="579"/>
                </a:lnTo>
                <a:lnTo>
                  <a:pt x="343" y="580"/>
                </a:lnTo>
                <a:lnTo>
                  <a:pt x="344" y="580"/>
                </a:lnTo>
                <a:lnTo>
                  <a:pt x="344" y="579"/>
                </a:lnTo>
                <a:lnTo>
                  <a:pt x="347" y="578"/>
                </a:lnTo>
                <a:lnTo>
                  <a:pt x="348" y="577"/>
                </a:lnTo>
                <a:lnTo>
                  <a:pt x="350" y="576"/>
                </a:lnTo>
                <a:lnTo>
                  <a:pt x="353" y="573"/>
                </a:lnTo>
                <a:lnTo>
                  <a:pt x="362" y="571"/>
                </a:lnTo>
                <a:lnTo>
                  <a:pt x="365" y="571"/>
                </a:lnTo>
                <a:lnTo>
                  <a:pt x="365" y="573"/>
                </a:lnTo>
                <a:lnTo>
                  <a:pt x="362" y="576"/>
                </a:lnTo>
                <a:lnTo>
                  <a:pt x="365" y="576"/>
                </a:lnTo>
                <a:lnTo>
                  <a:pt x="365" y="578"/>
                </a:lnTo>
                <a:lnTo>
                  <a:pt x="363" y="579"/>
                </a:lnTo>
                <a:lnTo>
                  <a:pt x="363" y="582"/>
                </a:lnTo>
                <a:lnTo>
                  <a:pt x="362" y="583"/>
                </a:lnTo>
                <a:lnTo>
                  <a:pt x="363" y="584"/>
                </a:lnTo>
                <a:lnTo>
                  <a:pt x="365" y="584"/>
                </a:lnTo>
                <a:lnTo>
                  <a:pt x="365" y="583"/>
                </a:lnTo>
                <a:lnTo>
                  <a:pt x="366" y="580"/>
                </a:lnTo>
                <a:lnTo>
                  <a:pt x="366" y="579"/>
                </a:lnTo>
                <a:lnTo>
                  <a:pt x="371" y="579"/>
                </a:lnTo>
                <a:lnTo>
                  <a:pt x="372" y="578"/>
                </a:lnTo>
                <a:lnTo>
                  <a:pt x="373" y="578"/>
                </a:lnTo>
                <a:lnTo>
                  <a:pt x="375" y="580"/>
                </a:lnTo>
                <a:lnTo>
                  <a:pt x="375" y="578"/>
                </a:lnTo>
                <a:lnTo>
                  <a:pt x="373" y="577"/>
                </a:lnTo>
                <a:lnTo>
                  <a:pt x="371" y="578"/>
                </a:lnTo>
                <a:lnTo>
                  <a:pt x="366" y="576"/>
                </a:lnTo>
                <a:lnTo>
                  <a:pt x="367" y="572"/>
                </a:lnTo>
                <a:lnTo>
                  <a:pt x="372" y="570"/>
                </a:lnTo>
                <a:lnTo>
                  <a:pt x="374" y="571"/>
                </a:lnTo>
                <a:lnTo>
                  <a:pt x="374" y="572"/>
                </a:lnTo>
                <a:lnTo>
                  <a:pt x="373" y="573"/>
                </a:lnTo>
                <a:lnTo>
                  <a:pt x="373" y="575"/>
                </a:lnTo>
                <a:lnTo>
                  <a:pt x="374" y="575"/>
                </a:lnTo>
                <a:lnTo>
                  <a:pt x="375" y="572"/>
                </a:lnTo>
                <a:lnTo>
                  <a:pt x="381" y="571"/>
                </a:lnTo>
                <a:lnTo>
                  <a:pt x="383" y="571"/>
                </a:lnTo>
                <a:lnTo>
                  <a:pt x="383" y="567"/>
                </a:lnTo>
                <a:lnTo>
                  <a:pt x="384" y="566"/>
                </a:lnTo>
                <a:lnTo>
                  <a:pt x="385" y="566"/>
                </a:lnTo>
                <a:lnTo>
                  <a:pt x="389" y="563"/>
                </a:lnTo>
                <a:lnTo>
                  <a:pt x="389" y="560"/>
                </a:lnTo>
                <a:lnTo>
                  <a:pt x="387" y="560"/>
                </a:lnTo>
                <a:lnTo>
                  <a:pt x="385" y="563"/>
                </a:lnTo>
                <a:lnTo>
                  <a:pt x="381" y="564"/>
                </a:lnTo>
                <a:lnTo>
                  <a:pt x="380" y="565"/>
                </a:lnTo>
                <a:lnTo>
                  <a:pt x="379" y="567"/>
                </a:lnTo>
                <a:lnTo>
                  <a:pt x="374" y="566"/>
                </a:lnTo>
                <a:lnTo>
                  <a:pt x="373" y="566"/>
                </a:lnTo>
                <a:lnTo>
                  <a:pt x="373" y="565"/>
                </a:lnTo>
                <a:lnTo>
                  <a:pt x="372" y="565"/>
                </a:lnTo>
                <a:lnTo>
                  <a:pt x="372" y="566"/>
                </a:lnTo>
                <a:lnTo>
                  <a:pt x="371" y="569"/>
                </a:lnTo>
                <a:lnTo>
                  <a:pt x="369" y="570"/>
                </a:lnTo>
                <a:lnTo>
                  <a:pt x="367" y="571"/>
                </a:lnTo>
                <a:lnTo>
                  <a:pt x="365" y="569"/>
                </a:lnTo>
                <a:lnTo>
                  <a:pt x="367" y="567"/>
                </a:lnTo>
                <a:lnTo>
                  <a:pt x="365" y="565"/>
                </a:lnTo>
                <a:lnTo>
                  <a:pt x="365" y="566"/>
                </a:lnTo>
                <a:lnTo>
                  <a:pt x="361" y="569"/>
                </a:lnTo>
                <a:lnTo>
                  <a:pt x="360" y="569"/>
                </a:lnTo>
                <a:lnTo>
                  <a:pt x="358" y="570"/>
                </a:lnTo>
                <a:lnTo>
                  <a:pt x="354" y="570"/>
                </a:lnTo>
                <a:lnTo>
                  <a:pt x="349" y="575"/>
                </a:lnTo>
                <a:lnTo>
                  <a:pt x="343" y="577"/>
                </a:lnTo>
                <a:lnTo>
                  <a:pt x="342" y="577"/>
                </a:lnTo>
                <a:lnTo>
                  <a:pt x="342" y="575"/>
                </a:lnTo>
                <a:lnTo>
                  <a:pt x="344" y="572"/>
                </a:lnTo>
                <a:lnTo>
                  <a:pt x="346" y="572"/>
                </a:lnTo>
                <a:lnTo>
                  <a:pt x="346" y="570"/>
                </a:lnTo>
                <a:lnTo>
                  <a:pt x="347" y="569"/>
                </a:lnTo>
                <a:lnTo>
                  <a:pt x="354" y="564"/>
                </a:lnTo>
                <a:lnTo>
                  <a:pt x="363" y="564"/>
                </a:lnTo>
                <a:lnTo>
                  <a:pt x="362" y="563"/>
                </a:lnTo>
                <a:lnTo>
                  <a:pt x="358" y="563"/>
                </a:lnTo>
                <a:lnTo>
                  <a:pt x="358" y="561"/>
                </a:lnTo>
                <a:lnTo>
                  <a:pt x="359" y="561"/>
                </a:lnTo>
                <a:lnTo>
                  <a:pt x="360" y="560"/>
                </a:lnTo>
                <a:lnTo>
                  <a:pt x="355" y="560"/>
                </a:lnTo>
                <a:lnTo>
                  <a:pt x="355" y="558"/>
                </a:lnTo>
                <a:lnTo>
                  <a:pt x="354" y="557"/>
                </a:lnTo>
                <a:lnTo>
                  <a:pt x="354" y="560"/>
                </a:lnTo>
                <a:lnTo>
                  <a:pt x="355" y="561"/>
                </a:lnTo>
                <a:lnTo>
                  <a:pt x="354" y="561"/>
                </a:lnTo>
                <a:lnTo>
                  <a:pt x="354" y="563"/>
                </a:lnTo>
                <a:lnTo>
                  <a:pt x="350" y="565"/>
                </a:lnTo>
                <a:lnTo>
                  <a:pt x="349" y="565"/>
                </a:lnTo>
                <a:lnTo>
                  <a:pt x="347" y="564"/>
                </a:lnTo>
                <a:lnTo>
                  <a:pt x="347" y="561"/>
                </a:lnTo>
                <a:lnTo>
                  <a:pt x="346" y="561"/>
                </a:lnTo>
                <a:lnTo>
                  <a:pt x="344" y="563"/>
                </a:lnTo>
                <a:lnTo>
                  <a:pt x="342" y="563"/>
                </a:lnTo>
                <a:lnTo>
                  <a:pt x="341" y="560"/>
                </a:lnTo>
                <a:lnTo>
                  <a:pt x="341" y="558"/>
                </a:lnTo>
                <a:lnTo>
                  <a:pt x="347" y="555"/>
                </a:lnTo>
                <a:lnTo>
                  <a:pt x="348" y="553"/>
                </a:lnTo>
                <a:lnTo>
                  <a:pt x="348" y="552"/>
                </a:lnTo>
                <a:lnTo>
                  <a:pt x="347" y="552"/>
                </a:lnTo>
                <a:lnTo>
                  <a:pt x="347" y="549"/>
                </a:lnTo>
                <a:lnTo>
                  <a:pt x="344" y="548"/>
                </a:lnTo>
                <a:lnTo>
                  <a:pt x="346" y="547"/>
                </a:lnTo>
                <a:lnTo>
                  <a:pt x="347" y="547"/>
                </a:lnTo>
                <a:lnTo>
                  <a:pt x="347" y="546"/>
                </a:lnTo>
                <a:lnTo>
                  <a:pt x="344" y="546"/>
                </a:lnTo>
                <a:lnTo>
                  <a:pt x="344" y="543"/>
                </a:lnTo>
                <a:lnTo>
                  <a:pt x="342" y="543"/>
                </a:lnTo>
                <a:lnTo>
                  <a:pt x="341" y="542"/>
                </a:lnTo>
                <a:lnTo>
                  <a:pt x="340" y="542"/>
                </a:lnTo>
                <a:lnTo>
                  <a:pt x="340" y="541"/>
                </a:lnTo>
                <a:lnTo>
                  <a:pt x="344" y="539"/>
                </a:lnTo>
                <a:lnTo>
                  <a:pt x="346" y="539"/>
                </a:lnTo>
                <a:lnTo>
                  <a:pt x="346" y="540"/>
                </a:lnTo>
                <a:lnTo>
                  <a:pt x="348" y="541"/>
                </a:lnTo>
                <a:lnTo>
                  <a:pt x="349" y="542"/>
                </a:lnTo>
                <a:lnTo>
                  <a:pt x="350" y="545"/>
                </a:lnTo>
                <a:lnTo>
                  <a:pt x="350" y="548"/>
                </a:lnTo>
                <a:lnTo>
                  <a:pt x="355" y="548"/>
                </a:lnTo>
                <a:lnTo>
                  <a:pt x="358" y="547"/>
                </a:lnTo>
                <a:lnTo>
                  <a:pt x="352" y="547"/>
                </a:lnTo>
                <a:lnTo>
                  <a:pt x="352" y="545"/>
                </a:lnTo>
                <a:lnTo>
                  <a:pt x="353" y="543"/>
                </a:lnTo>
                <a:lnTo>
                  <a:pt x="353" y="542"/>
                </a:lnTo>
                <a:lnTo>
                  <a:pt x="352" y="541"/>
                </a:lnTo>
                <a:lnTo>
                  <a:pt x="353" y="541"/>
                </a:lnTo>
                <a:lnTo>
                  <a:pt x="354" y="539"/>
                </a:lnTo>
                <a:lnTo>
                  <a:pt x="360" y="539"/>
                </a:lnTo>
                <a:lnTo>
                  <a:pt x="361" y="537"/>
                </a:lnTo>
                <a:lnTo>
                  <a:pt x="362" y="539"/>
                </a:lnTo>
                <a:lnTo>
                  <a:pt x="367" y="541"/>
                </a:lnTo>
                <a:lnTo>
                  <a:pt x="368" y="541"/>
                </a:lnTo>
                <a:lnTo>
                  <a:pt x="368" y="540"/>
                </a:lnTo>
                <a:lnTo>
                  <a:pt x="367" y="539"/>
                </a:lnTo>
                <a:lnTo>
                  <a:pt x="361" y="537"/>
                </a:lnTo>
                <a:lnTo>
                  <a:pt x="360" y="536"/>
                </a:lnTo>
                <a:lnTo>
                  <a:pt x="362" y="534"/>
                </a:lnTo>
                <a:lnTo>
                  <a:pt x="366" y="532"/>
                </a:lnTo>
                <a:lnTo>
                  <a:pt x="371" y="532"/>
                </a:lnTo>
                <a:lnTo>
                  <a:pt x="369" y="530"/>
                </a:lnTo>
                <a:lnTo>
                  <a:pt x="361" y="532"/>
                </a:lnTo>
                <a:lnTo>
                  <a:pt x="360" y="533"/>
                </a:lnTo>
                <a:lnTo>
                  <a:pt x="359" y="536"/>
                </a:lnTo>
                <a:lnTo>
                  <a:pt x="358" y="537"/>
                </a:lnTo>
                <a:lnTo>
                  <a:pt x="355" y="537"/>
                </a:lnTo>
                <a:lnTo>
                  <a:pt x="352" y="539"/>
                </a:lnTo>
                <a:lnTo>
                  <a:pt x="350" y="537"/>
                </a:lnTo>
                <a:lnTo>
                  <a:pt x="349" y="537"/>
                </a:lnTo>
                <a:lnTo>
                  <a:pt x="349" y="534"/>
                </a:lnTo>
                <a:lnTo>
                  <a:pt x="350" y="533"/>
                </a:lnTo>
                <a:lnTo>
                  <a:pt x="350" y="532"/>
                </a:lnTo>
                <a:lnTo>
                  <a:pt x="352" y="532"/>
                </a:lnTo>
                <a:lnTo>
                  <a:pt x="353" y="530"/>
                </a:lnTo>
                <a:lnTo>
                  <a:pt x="358" y="530"/>
                </a:lnTo>
                <a:lnTo>
                  <a:pt x="356" y="529"/>
                </a:lnTo>
                <a:lnTo>
                  <a:pt x="352" y="529"/>
                </a:lnTo>
                <a:lnTo>
                  <a:pt x="348" y="527"/>
                </a:lnTo>
                <a:lnTo>
                  <a:pt x="348" y="526"/>
                </a:lnTo>
                <a:lnTo>
                  <a:pt x="349" y="526"/>
                </a:lnTo>
                <a:lnTo>
                  <a:pt x="350" y="527"/>
                </a:lnTo>
                <a:lnTo>
                  <a:pt x="352" y="527"/>
                </a:lnTo>
                <a:lnTo>
                  <a:pt x="353" y="526"/>
                </a:lnTo>
                <a:lnTo>
                  <a:pt x="355" y="528"/>
                </a:lnTo>
                <a:lnTo>
                  <a:pt x="356" y="528"/>
                </a:lnTo>
                <a:lnTo>
                  <a:pt x="359" y="527"/>
                </a:lnTo>
                <a:lnTo>
                  <a:pt x="360" y="527"/>
                </a:lnTo>
                <a:lnTo>
                  <a:pt x="362" y="528"/>
                </a:lnTo>
                <a:lnTo>
                  <a:pt x="363" y="528"/>
                </a:lnTo>
                <a:lnTo>
                  <a:pt x="362" y="526"/>
                </a:lnTo>
                <a:lnTo>
                  <a:pt x="361" y="524"/>
                </a:lnTo>
                <a:lnTo>
                  <a:pt x="352" y="522"/>
                </a:lnTo>
                <a:lnTo>
                  <a:pt x="350" y="521"/>
                </a:lnTo>
                <a:lnTo>
                  <a:pt x="352" y="520"/>
                </a:lnTo>
                <a:lnTo>
                  <a:pt x="361" y="521"/>
                </a:lnTo>
                <a:lnTo>
                  <a:pt x="362" y="522"/>
                </a:lnTo>
                <a:lnTo>
                  <a:pt x="362" y="523"/>
                </a:lnTo>
                <a:lnTo>
                  <a:pt x="369" y="523"/>
                </a:lnTo>
                <a:lnTo>
                  <a:pt x="371" y="522"/>
                </a:lnTo>
                <a:lnTo>
                  <a:pt x="369" y="521"/>
                </a:lnTo>
                <a:lnTo>
                  <a:pt x="374" y="521"/>
                </a:lnTo>
                <a:lnTo>
                  <a:pt x="377" y="520"/>
                </a:lnTo>
                <a:lnTo>
                  <a:pt x="378" y="518"/>
                </a:lnTo>
                <a:lnTo>
                  <a:pt x="369" y="518"/>
                </a:lnTo>
                <a:lnTo>
                  <a:pt x="366" y="521"/>
                </a:lnTo>
                <a:lnTo>
                  <a:pt x="365" y="521"/>
                </a:lnTo>
                <a:lnTo>
                  <a:pt x="363" y="520"/>
                </a:lnTo>
                <a:lnTo>
                  <a:pt x="363" y="516"/>
                </a:lnTo>
                <a:lnTo>
                  <a:pt x="366" y="515"/>
                </a:lnTo>
                <a:lnTo>
                  <a:pt x="371" y="516"/>
                </a:lnTo>
                <a:lnTo>
                  <a:pt x="372" y="515"/>
                </a:lnTo>
                <a:lnTo>
                  <a:pt x="371" y="515"/>
                </a:lnTo>
                <a:lnTo>
                  <a:pt x="365" y="514"/>
                </a:lnTo>
                <a:lnTo>
                  <a:pt x="363" y="514"/>
                </a:lnTo>
                <a:lnTo>
                  <a:pt x="363" y="515"/>
                </a:lnTo>
                <a:lnTo>
                  <a:pt x="362" y="514"/>
                </a:lnTo>
                <a:lnTo>
                  <a:pt x="363" y="511"/>
                </a:lnTo>
                <a:lnTo>
                  <a:pt x="366" y="510"/>
                </a:lnTo>
                <a:lnTo>
                  <a:pt x="369" y="510"/>
                </a:lnTo>
                <a:lnTo>
                  <a:pt x="373" y="512"/>
                </a:lnTo>
                <a:lnTo>
                  <a:pt x="383" y="512"/>
                </a:lnTo>
                <a:lnTo>
                  <a:pt x="380" y="511"/>
                </a:lnTo>
                <a:lnTo>
                  <a:pt x="374" y="510"/>
                </a:lnTo>
                <a:lnTo>
                  <a:pt x="373" y="510"/>
                </a:lnTo>
                <a:lnTo>
                  <a:pt x="373" y="508"/>
                </a:lnTo>
                <a:lnTo>
                  <a:pt x="369" y="508"/>
                </a:lnTo>
                <a:lnTo>
                  <a:pt x="369" y="504"/>
                </a:lnTo>
                <a:lnTo>
                  <a:pt x="367" y="504"/>
                </a:lnTo>
                <a:lnTo>
                  <a:pt x="367" y="500"/>
                </a:lnTo>
                <a:lnTo>
                  <a:pt x="366" y="499"/>
                </a:lnTo>
                <a:lnTo>
                  <a:pt x="363" y="500"/>
                </a:lnTo>
                <a:lnTo>
                  <a:pt x="362" y="499"/>
                </a:lnTo>
                <a:lnTo>
                  <a:pt x="365" y="497"/>
                </a:lnTo>
                <a:lnTo>
                  <a:pt x="372" y="497"/>
                </a:lnTo>
                <a:lnTo>
                  <a:pt x="373" y="496"/>
                </a:lnTo>
                <a:lnTo>
                  <a:pt x="373" y="493"/>
                </a:lnTo>
                <a:lnTo>
                  <a:pt x="377" y="493"/>
                </a:lnTo>
                <a:lnTo>
                  <a:pt x="378" y="491"/>
                </a:lnTo>
                <a:lnTo>
                  <a:pt x="379" y="491"/>
                </a:lnTo>
                <a:lnTo>
                  <a:pt x="380" y="490"/>
                </a:lnTo>
                <a:lnTo>
                  <a:pt x="381" y="490"/>
                </a:lnTo>
                <a:lnTo>
                  <a:pt x="381" y="492"/>
                </a:lnTo>
                <a:lnTo>
                  <a:pt x="380" y="493"/>
                </a:lnTo>
                <a:lnTo>
                  <a:pt x="379" y="493"/>
                </a:lnTo>
                <a:lnTo>
                  <a:pt x="378" y="494"/>
                </a:lnTo>
                <a:lnTo>
                  <a:pt x="379" y="497"/>
                </a:lnTo>
                <a:lnTo>
                  <a:pt x="380" y="498"/>
                </a:lnTo>
                <a:lnTo>
                  <a:pt x="381" y="498"/>
                </a:lnTo>
                <a:lnTo>
                  <a:pt x="380" y="497"/>
                </a:lnTo>
                <a:lnTo>
                  <a:pt x="381" y="494"/>
                </a:lnTo>
                <a:lnTo>
                  <a:pt x="381" y="493"/>
                </a:lnTo>
                <a:lnTo>
                  <a:pt x="384" y="493"/>
                </a:lnTo>
                <a:lnTo>
                  <a:pt x="385" y="492"/>
                </a:lnTo>
                <a:lnTo>
                  <a:pt x="385" y="490"/>
                </a:lnTo>
                <a:lnTo>
                  <a:pt x="384" y="489"/>
                </a:lnTo>
                <a:lnTo>
                  <a:pt x="384" y="484"/>
                </a:lnTo>
                <a:lnTo>
                  <a:pt x="385" y="483"/>
                </a:lnTo>
                <a:lnTo>
                  <a:pt x="386" y="484"/>
                </a:lnTo>
                <a:lnTo>
                  <a:pt x="386" y="486"/>
                </a:lnTo>
                <a:lnTo>
                  <a:pt x="387" y="490"/>
                </a:lnTo>
                <a:lnTo>
                  <a:pt x="387" y="491"/>
                </a:lnTo>
                <a:lnTo>
                  <a:pt x="389" y="493"/>
                </a:lnTo>
                <a:lnTo>
                  <a:pt x="390" y="492"/>
                </a:lnTo>
                <a:lnTo>
                  <a:pt x="392" y="492"/>
                </a:lnTo>
                <a:lnTo>
                  <a:pt x="392" y="490"/>
                </a:lnTo>
                <a:lnTo>
                  <a:pt x="393" y="490"/>
                </a:lnTo>
                <a:lnTo>
                  <a:pt x="394" y="487"/>
                </a:lnTo>
                <a:lnTo>
                  <a:pt x="394" y="485"/>
                </a:lnTo>
                <a:lnTo>
                  <a:pt x="393" y="484"/>
                </a:lnTo>
                <a:lnTo>
                  <a:pt x="394" y="484"/>
                </a:lnTo>
                <a:lnTo>
                  <a:pt x="400" y="483"/>
                </a:lnTo>
                <a:lnTo>
                  <a:pt x="403" y="485"/>
                </a:lnTo>
                <a:lnTo>
                  <a:pt x="405" y="485"/>
                </a:lnTo>
                <a:lnTo>
                  <a:pt x="406" y="486"/>
                </a:lnTo>
                <a:lnTo>
                  <a:pt x="406" y="487"/>
                </a:lnTo>
                <a:lnTo>
                  <a:pt x="408" y="487"/>
                </a:lnTo>
                <a:lnTo>
                  <a:pt x="408" y="484"/>
                </a:lnTo>
                <a:lnTo>
                  <a:pt x="406" y="483"/>
                </a:lnTo>
                <a:lnTo>
                  <a:pt x="404" y="483"/>
                </a:lnTo>
                <a:lnTo>
                  <a:pt x="398" y="481"/>
                </a:lnTo>
                <a:lnTo>
                  <a:pt x="394" y="481"/>
                </a:lnTo>
                <a:lnTo>
                  <a:pt x="394" y="480"/>
                </a:lnTo>
                <a:lnTo>
                  <a:pt x="396" y="479"/>
                </a:lnTo>
                <a:lnTo>
                  <a:pt x="396" y="478"/>
                </a:lnTo>
                <a:lnTo>
                  <a:pt x="397" y="477"/>
                </a:lnTo>
                <a:lnTo>
                  <a:pt x="396" y="475"/>
                </a:lnTo>
                <a:lnTo>
                  <a:pt x="397" y="474"/>
                </a:lnTo>
                <a:lnTo>
                  <a:pt x="397" y="473"/>
                </a:lnTo>
                <a:lnTo>
                  <a:pt x="398" y="472"/>
                </a:lnTo>
                <a:lnTo>
                  <a:pt x="402" y="472"/>
                </a:lnTo>
                <a:lnTo>
                  <a:pt x="402" y="473"/>
                </a:lnTo>
                <a:lnTo>
                  <a:pt x="400" y="474"/>
                </a:lnTo>
                <a:lnTo>
                  <a:pt x="400" y="478"/>
                </a:lnTo>
                <a:lnTo>
                  <a:pt x="402" y="478"/>
                </a:lnTo>
                <a:lnTo>
                  <a:pt x="402" y="475"/>
                </a:lnTo>
                <a:lnTo>
                  <a:pt x="403" y="474"/>
                </a:lnTo>
                <a:lnTo>
                  <a:pt x="402" y="474"/>
                </a:lnTo>
                <a:lnTo>
                  <a:pt x="402" y="473"/>
                </a:lnTo>
                <a:lnTo>
                  <a:pt x="411" y="472"/>
                </a:lnTo>
                <a:lnTo>
                  <a:pt x="412" y="473"/>
                </a:lnTo>
                <a:lnTo>
                  <a:pt x="414" y="477"/>
                </a:lnTo>
                <a:lnTo>
                  <a:pt x="415" y="477"/>
                </a:lnTo>
                <a:lnTo>
                  <a:pt x="415" y="474"/>
                </a:lnTo>
                <a:lnTo>
                  <a:pt x="414" y="473"/>
                </a:lnTo>
                <a:lnTo>
                  <a:pt x="414" y="472"/>
                </a:lnTo>
                <a:lnTo>
                  <a:pt x="410" y="471"/>
                </a:lnTo>
                <a:lnTo>
                  <a:pt x="404" y="471"/>
                </a:lnTo>
                <a:lnTo>
                  <a:pt x="408" y="467"/>
                </a:lnTo>
                <a:lnTo>
                  <a:pt x="410" y="469"/>
                </a:lnTo>
                <a:lnTo>
                  <a:pt x="411" y="469"/>
                </a:lnTo>
                <a:lnTo>
                  <a:pt x="412" y="468"/>
                </a:lnTo>
                <a:lnTo>
                  <a:pt x="414" y="468"/>
                </a:lnTo>
                <a:lnTo>
                  <a:pt x="416" y="466"/>
                </a:lnTo>
                <a:lnTo>
                  <a:pt x="419" y="467"/>
                </a:lnTo>
                <a:lnTo>
                  <a:pt x="424" y="466"/>
                </a:lnTo>
                <a:lnTo>
                  <a:pt x="424" y="467"/>
                </a:lnTo>
                <a:lnTo>
                  <a:pt x="422" y="467"/>
                </a:lnTo>
                <a:lnTo>
                  <a:pt x="422" y="471"/>
                </a:lnTo>
                <a:lnTo>
                  <a:pt x="421" y="472"/>
                </a:lnTo>
                <a:lnTo>
                  <a:pt x="421" y="474"/>
                </a:lnTo>
                <a:lnTo>
                  <a:pt x="423" y="479"/>
                </a:lnTo>
                <a:lnTo>
                  <a:pt x="425" y="479"/>
                </a:lnTo>
                <a:lnTo>
                  <a:pt x="425" y="478"/>
                </a:lnTo>
                <a:lnTo>
                  <a:pt x="424" y="475"/>
                </a:lnTo>
                <a:lnTo>
                  <a:pt x="422" y="473"/>
                </a:lnTo>
                <a:lnTo>
                  <a:pt x="425" y="468"/>
                </a:lnTo>
                <a:lnTo>
                  <a:pt x="425" y="467"/>
                </a:lnTo>
                <a:lnTo>
                  <a:pt x="429" y="467"/>
                </a:lnTo>
                <a:lnTo>
                  <a:pt x="430" y="468"/>
                </a:lnTo>
                <a:lnTo>
                  <a:pt x="434" y="468"/>
                </a:lnTo>
                <a:lnTo>
                  <a:pt x="437" y="472"/>
                </a:lnTo>
                <a:lnTo>
                  <a:pt x="440" y="472"/>
                </a:lnTo>
                <a:lnTo>
                  <a:pt x="441" y="473"/>
                </a:lnTo>
                <a:lnTo>
                  <a:pt x="441" y="479"/>
                </a:lnTo>
                <a:lnTo>
                  <a:pt x="445" y="483"/>
                </a:lnTo>
                <a:lnTo>
                  <a:pt x="446" y="483"/>
                </a:lnTo>
                <a:lnTo>
                  <a:pt x="446" y="481"/>
                </a:lnTo>
                <a:lnTo>
                  <a:pt x="443" y="479"/>
                </a:lnTo>
                <a:lnTo>
                  <a:pt x="443" y="477"/>
                </a:lnTo>
                <a:lnTo>
                  <a:pt x="445" y="474"/>
                </a:lnTo>
                <a:lnTo>
                  <a:pt x="445" y="471"/>
                </a:lnTo>
                <a:lnTo>
                  <a:pt x="442" y="469"/>
                </a:lnTo>
                <a:lnTo>
                  <a:pt x="441" y="468"/>
                </a:lnTo>
                <a:lnTo>
                  <a:pt x="442" y="467"/>
                </a:lnTo>
                <a:lnTo>
                  <a:pt x="445" y="467"/>
                </a:lnTo>
                <a:lnTo>
                  <a:pt x="455" y="471"/>
                </a:lnTo>
                <a:lnTo>
                  <a:pt x="456" y="471"/>
                </a:lnTo>
                <a:lnTo>
                  <a:pt x="455" y="469"/>
                </a:lnTo>
                <a:lnTo>
                  <a:pt x="455" y="468"/>
                </a:lnTo>
                <a:lnTo>
                  <a:pt x="454" y="468"/>
                </a:lnTo>
                <a:lnTo>
                  <a:pt x="454" y="466"/>
                </a:lnTo>
                <a:lnTo>
                  <a:pt x="450" y="468"/>
                </a:lnTo>
                <a:lnTo>
                  <a:pt x="448" y="466"/>
                </a:lnTo>
                <a:lnTo>
                  <a:pt x="442" y="465"/>
                </a:lnTo>
                <a:lnTo>
                  <a:pt x="440" y="465"/>
                </a:lnTo>
                <a:lnTo>
                  <a:pt x="437" y="467"/>
                </a:lnTo>
                <a:lnTo>
                  <a:pt x="436" y="466"/>
                </a:lnTo>
                <a:lnTo>
                  <a:pt x="437" y="466"/>
                </a:lnTo>
                <a:lnTo>
                  <a:pt x="440" y="463"/>
                </a:lnTo>
                <a:lnTo>
                  <a:pt x="436" y="462"/>
                </a:lnTo>
                <a:lnTo>
                  <a:pt x="436" y="463"/>
                </a:lnTo>
                <a:lnTo>
                  <a:pt x="435" y="463"/>
                </a:lnTo>
                <a:lnTo>
                  <a:pt x="434" y="465"/>
                </a:lnTo>
                <a:lnTo>
                  <a:pt x="428" y="462"/>
                </a:lnTo>
                <a:lnTo>
                  <a:pt x="428" y="461"/>
                </a:lnTo>
                <a:lnTo>
                  <a:pt x="430" y="461"/>
                </a:lnTo>
                <a:lnTo>
                  <a:pt x="430" y="460"/>
                </a:lnTo>
                <a:lnTo>
                  <a:pt x="431" y="460"/>
                </a:lnTo>
                <a:lnTo>
                  <a:pt x="431" y="456"/>
                </a:lnTo>
                <a:lnTo>
                  <a:pt x="430" y="456"/>
                </a:lnTo>
                <a:lnTo>
                  <a:pt x="427" y="457"/>
                </a:lnTo>
                <a:lnTo>
                  <a:pt x="425" y="457"/>
                </a:lnTo>
                <a:lnTo>
                  <a:pt x="425" y="460"/>
                </a:lnTo>
                <a:lnTo>
                  <a:pt x="415" y="460"/>
                </a:lnTo>
                <a:lnTo>
                  <a:pt x="416" y="461"/>
                </a:lnTo>
                <a:lnTo>
                  <a:pt x="417" y="461"/>
                </a:lnTo>
                <a:lnTo>
                  <a:pt x="418" y="462"/>
                </a:lnTo>
                <a:lnTo>
                  <a:pt x="417" y="463"/>
                </a:lnTo>
                <a:lnTo>
                  <a:pt x="411" y="466"/>
                </a:lnTo>
                <a:lnTo>
                  <a:pt x="409" y="466"/>
                </a:lnTo>
                <a:lnTo>
                  <a:pt x="411" y="465"/>
                </a:lnTo>
                <a:lnTo>
                  <a:pt x="412" y="462"/>
                </a:lnTo>
                <a:lnTo>
                  <a:pt x="412" y="460"/>
                </a:lnTo>
                <a:lnTo>
                  <a:pt x="411" y="460"/>
                </a:lnTo>
                <a:lnTo>
                  <a:pt x="406" y="462"/>
                </a:lnTo>
                <a:lnTo>
                  <a:pt x="400" y="462"/>
                </a:lnTo>
                <a:lnTo>
                  <a:pt x="399" y="463"/>
                </a:lnTo>
                <a:lnTo>
                  <a:pt x="398" y="463"/>
                </a:lnTo>
                <a:lnTo>
                  <a:pt x="397" y="465"/>
                </a:lnTo>
                <a:lnTo>
                  <a:pt x="397" y="463"/>
                </a:lnTo>
                <a:lnTo>
                  <a:pt x="400" y="460"/>
                </a:lnTo>
                <a:lnTo>
                  <a:pt x="399" y="460"/>
                </a:lnTo>
                <a:lnTo>
                  <a:pt x="402" y="457"/>
                </a:lnTo>
                <a:lnTo>
                  <a:pt x="403" y="455"/>
                </a:lnTo>
                <a:lnTo>
                  <a:pt x="408" y="449"/>
                </a:lnTo>
                <a:lnTo>
                  <a:pt x="409" y="448"/>
                </a:lnTo>
                <a:lnTo>
                  <a:pt x="408" y="447"/>
                </a:lnTo>
                <a:lnTo>
                  <a:pt x="408" y="446"/>
                </a:lnTo>
                <a:lnTo>
                  <a:pt x="409" y="446"/>
                </a:lnTo>
                <a:lnTo>
                  <a:pt x="409" y="444"/>
                </a:lnTo>
                <a:lnTo>
                  <a:pt x="410" y="443"/>
                </a:lnTo>
                <a:lnTo>
                  <a:pt x="414" y="444"/>
                </a:lnTo>
                <a:lnTo>
                  <a:pt x="415" y="443"/>
                </a:lnTo>
                <a:lnTo>
                  <a:pt x="416" y="443"/>
                </a:lnTo>
                <a:lnTo>
                  <a:pt x="417" y="446"/>
                </a:lnTo>
                <a:lnTo>
                  <a:pt x="417" y="447"/>
                </a:lnTo>
                <a:lnTo>
                  <a:pt x="416" y="448"/>
                </a:lnTo>
                <a:lnTo>
                  <a:pt x="417" y="448"/>
                </a:lnTo>
                <a:lnTo>
                  <a:pt x="421" y="444"/>
                </a:lnTo>
                <a:lnTo>
                  <a:pt x="422" y="444"/>
                </a:lnTo>
                <a:lnTo>
                  <a:pt x="424" y="443"/>
                </a:lnTo>
                <a:lnTo>
                  <a:pt x="427" y="441"/>
                </a:lnTo>
                <a:lnTo>
                  <a:pt x="422" y="442"/>
                </a:lnTo>
                <a:lnTo>
                  <a:pt x="417" y="441"/>
                </a:lnTo>
                <a:lnTo>
                  <a:pt x="418" y="440"/>
                </a:lnTo>
                <a:lnTo>
                  <a:pt x="417" y="438"/>
                </a:lnTo>
                <a:lnTo>
                  <a:pt x="425" y="438"/>
                </a:lnTo>
                <a:lnTo>
                  <a:pt x="427" y="437"/>
                </a:lnTo>
                <a:lnTo>
                  <a:pt x="427" y="436"/>
                </a:lnTo>
                <a:lnTo>
                  <a:pt x="428" y="436"/>
                </a:lnTo>
                <a:lnTo>
                  <a:pt x="429" y="435"/>
                </a:lnTo>
                <a:lnTo>
                  <a:pt x="430" y="435"/>
                </a:lnTo>
                <a:lnTo>
                  <a:pt x="433" y="432"/>
                </a:lnTo>
                <a:lnTo>
                  <a:pt x="433" y="435"/>
                </a:lnTo>
                <a:lnTo>
                  <a:pt x="434" y="436"/>
                </a:lnTo>
                <a:lnTo>
                  <a:pt x="433" y="437"/>
                </a:lnTo>
                <a:lnTo>
                  <a:pt x="431" y="437"/>
                </a:lnTo>
                <a:lnTo>
                  <a:pt x="431" y="438"/>
                </a:lnTo>
                <a:lnTo>
                  <a:pt x="433" y="438"/>
                </a:lnTo>
                <a:lnTo>
                  <a:pt x="431" y="440"/>
                </a:lnTo>
                <a:lnTo>
                  <a:pt x="431" y="442"/>
                </a:lnTo>
                <a:lnTo>
                  <a:pt x="430" y="444"/>
                </a:lnTo>
                <a:lnTo>
                  <a:pt x="434" y="441"/>
                </a:lnTo>
                <a:lnTo>
                  <a:pt x="434" y="438"/>
                </a:lnTo>
                <a:lnTo>
                  <a:pt x="435" y="437"/>
                </a:lnTo>
                <a:lnTo>
                  <a:pt x="441" y="436"/>
                </a:lnTo>
                <a:lnTo>
                  <a:pt x="443" y="437"/>
                </a:lnTo>
                <a:lnTo>
                  <a:pt x="445" y="440"/>
                </a:lnTo>
                <a:lnTo>
                  <a:pt x="445" y="441"/>
                </a:lnTo>
                <a:lnTo>
                  <a:pt x="448" y="448"/>
                </a:lnTo>
                <a:lnTo>
                  <a:pt x="448" y="451"/>
                </a:lnTo>
                <a:lnTo>
                  <a:pt x="449" y="454"/>
                </a:lnTo>
                <a:lnTo>
                  <a:pt x="452" y="456"/>
                </a:lnTo>
                <a:lnTo>
                  <a:pt x="452" y="457"/>
                </a:lnTo>
                <a:lnTo>
                  <a:pt x="450" y="457"/>
                </a:lnTo>
                <a:lnTo>
                  <a:pt x="450" y="459"/>
                </a:lnTo>
                <a:lnTo>
                  <a:pt x="452" y="460"/>
                </a:lnTo>
                <a:lnTo>
                  <a:pt x="453" y="460"/>
                </a:lnTo>
                <a:lnTo>
                  <a:pt x="454" y="456"/>
                </a:lnTo>
                <a:lnTo>
                  <a:pt x="454" y="455"/>
                </a:lnTo>
                <a:lnTo>
                  <a:pt x="452" y="454"/>
                </a:lnTo>
                <a:lnTo>
                  <a:pt x="450" y="454"/>
                </a:lnTo>
                <a:lnTo>
                  <a:pt x="450" y="448"/>
                </a:lnTo>
                <a:lnTo>
                  <a:pt x="448" y="446"/>
                </a:lnTo>
                <a:lnTo>
                  <a:pt x="447" y="443"/>
                </a:lnTo>
                <a:lnTo>
                  <a:pt x="447" y="442"/>
                </a:lnTo>
                <a:lnTo>
                  <a:pt x="449" y="441"/>
                </a:lnTo>
                <a:lnTo>
                  <a:pt x="449" y="440"/>
                </a:lnTo>
                <a:lnTo>
                  <a:pt x="448" y="440"/>
                </a:lnTo>
                <a:lnTo>
                  <a:pt x="447" y="438"/>
                </a:lnTo>
                <a:lnTo>
                  <a:pt x="448" y="436"/>
                </a:lnTo>
                <a:lnTo>
                  <a:pt x="450" y="434"/>
                </a:lnTo>
                <a:lnTo>
                  <a:pt x="458" y="430"/>
                </a:lnTo>
                <a:lnTo>
                  <a:pt x="462" y="429"/>
                </a:lnTo>
                <a:lnTo>
                  <a:pt x="461" y="426"/>
                </a:lnTo>
                <a:lnTo>
                  <a:pt x="453" y="429"/>
                </a:lnTo>
                <a:lnTo>
                  <a:pt x="448" y="434"/>
                </a:lnTo>
                <a:lnTo>
                  <a:pt x="446" y="434"/>
                </a:lnTo>
                <a:lnTo>
                  <a:pt x="436" y="432"/>
                </a:lnTo>
                <a:lnTo>
                  <a:pt x="435" y="432"/>
                </a:lnTo>
                <a:lnTo>
                  <a:pt x="434" y="431"/>
                </a:lnTo>
                <a:lnTo>
                  <a:pt x="435" y="429"/>
                </a:lnTo>
                <a:lnTo>
                  <a:pt x="435" y="428"/>
                </a:lnTo>
                <a:lnTo>
                  <a:pt x="436" y="426"/>
                </a:lnTo>
                <a:lnTo>
                  <a:pt x="435" y="425"/>
                </a:lnTo>
                <a:lnTo>
                  <a:pt x="441" y="425"/>
                </a:lnTo>
                <a:lnTo>
                  <a:pt x="442" y="426"/>
                </a:lnTo>
                <a:lnTo>
                  <a:pt x="443" y="426"/>
                </a:lnTo>
                <a:lnTo>
                  <a:pt x="443" y="429"/>
                </a:lnTo>
                <a:lnTo>
                  <a:pt x="445" y="428"/>
                </a:lnTo>
                <a:lnTo>
                  <a:pt x="445" y="426"/>
                </a:lnTo>
                <a:lnTo>
                  <a:pt x="442" y="424"/>
                </a:lnTo>
                <a:lnTo>
                  <a:pt x="442" y="423"/>
                </a:lnTo>
                <a:lnTo>
                  <a:pt x="443" y="423"/>
                </a:lnTo>
                <a:lnTo>
                  <a:pt x="442" y="422"/>
                </a:lnTo>
                <a:lnTo>
                  <a:pt x="442" y="420"/>
                </a:lnTo>
                <a:lnTo>
                  <a:pt x="441" y="420"/>
                </a:lnTo>
                <a:lnTo>
                  <a:pt x="441" y="423"/>
                </a:lnTo>
                <a:lnTo>
                  <a:pt x="437" y="423"/>
                </a:lnTo>
                <a:lnTo>
                  <a:pt x="437" y="422"/>
                </a:lnTo>
                <a:lnTo>
                  <a:pt x="436" y="422"/>
                </a:lnTo>
                <a:lnTo>
                  <a:pt x="434" y="423"/>
                </a:lnTo>
                <a:lnTo>
                  <a:pt x="433" y="423"/>
                </a:lnTo>
                <a:lnTo>
                  <a:pt x="433" y="419"/>
                </a:lnTo>
                <a:lnTo>
                  <a:pt x="437" y="414"/>
                </a:lnTo>
                <a:lnTo>
                  <a:pt x="436" y="413"/>
                </a:lnTo>
                <a:lnTo>
                  <a:pt x="437" y="411"/>
                </a:lnTo>
                <a:lnTo>
                  <a:pt x="441" y="412"/>
                </a:lnTo>
                <a:lnTo>
                  <a:pt x="442" y="414"/>
                </a:lnTo>
                <a:lnTo>
                  <a:pt x="448" y="416"/>
                </a:lnTo>
                <a:lnTo>
                  <a:pt x="447" y="414"/>
                </a:lnTo>
                <a:lnTo>
                  <a:pt x="447" y="413"/>
                </a:lnTo>
                <a:lnTo>
                  <a:pt x="453" y="416"/>
                </a:lnTo>
                <a:lnTo>
                  <a:pt x="449" y="412"/>
                </a:lnTo>
                <a:lnTo>
                  <a:pt x="448" y="412"/>
                </a:lnTo>
                <a:lnTo>
                  <a:pt x="446" y="413"/>
                </a:lnTo>
                <a:lnTo>
                  <a:pt x="445" y="412"/>
                </a:lnTo>
                <a:lnTo>
                  <a:pt x="442" y="408"/>
                </a:lnTo>
                <a:lnTo>
                  <a:pt x="450" y="407"/>
                </a:lnTo>
                <a:lnTo>
                  <a:pt x="453" y="408"/>
                </a:lnTo>
                <a:lnTo>
                  <a:pt x="459" y="416"/>
                </a:lnTo>
                <a:lnTo>
                  <a:pt x="460" y="416"/>
                </a:lnTo>
                <a:lnTo>
                  <a:pt x="460" y="413"/>
                </a:lnTo>
                <a:lnTo>
                  <a:pt x="459" y="413"/>
                </a:lnTo>
                <a:lnTo>
                  <a:pt x="458" y="412"/>
                </a:lnTo>
                <a:lnTo>
                  <a:pt x="458" y="410"/>
                </a:lnTo>
                <a:lnTo>
                  <a:pt x="453" y="406"/>
                </a:lnTo>
                <a:lnTo>
                  <a:pt x="452" y="406"/>
                </a:lnTo>
                <a:lnTo>
                  <a:pt x="452" y="405"/>
                </a:lnTo>
                <a:lnTo>
                  <a:pt x="453" y="404"/>
                </a:lnTo>
                <a:lnTo>
                  <a:pt x="453" y="403"/>
                </a:lnTo>
                <a:lnTo>
                  <a:pt x="450" y="405"/>
                </a:lnTo>
                <a:lnTo>
                  <a:pt x="442" y="403"/>
                </a:lnTo>
                <a:lnTo>
                  <a:pt x="442" y="400"/>
                </a:lnTo>
                <a:lnTo>
                  <a:pt x="443" y="398"/>
                </a:lnTo>
                <a:lnTo>
                  <a:pt x="443" y="395"/>
                </a:lnTo>
                <a:lnTo>
                  <a:pt x="442" y="395"/>
                </a:lnTo>
                <a:lnTo>
                  <a:pt x="442" y="399"/>
                </a:lnTo>
                <a:lnTo>
                  <a:pt x="441" y="395"/>
                </a:lnTo>
                <a:lnTo>
                  <a:pt x="441" y="394"/>
                </a:lnTo>
                <a:lnTo>
                  <a:pt x="440" y="397"/>
                </a:lnTo>
                <a:lnTo>
                  <a:pt x="441" y="400"/>
                </a:lnTo>
                <a:lnTo>
                  <a:pt x="441" y="401"/>
                </a:lnTo>
                <a:lnTo>
                  <a:pt x="437" y="405"/>
                </a:lnTo>
                <a:lnTo>
                  <a:pt x="436" y="407"/>
                </a:lnTo>
                <a:lnTo>
                  <a:pt x="434" y="408"/>
                </a:lnTo>
                <a:lnTo>
                  <a:pt x="433" y="411"/>
                </a:lnTo>
                <a:lnTo>
                  <a:pt x="431" y="412"/>
                </a:lnTo>
                <a:lnTo>
                  <a:pt x="427" y="416"/>
                </a:lnTo>
                <a:lnTo>
                  <a:pt x="423" y="417"/>
                </a:lnTo>
                <a:lnTo>
                  <a:pt x="422" y="418"/>
                </a:lnTo>
                <a:lnTo>
                  <a:pt x="418" y="419"/>
                </a:lnTo>
                <a:lnTo>
                  <a:pt x="417" y="418"/>
                </a:lnTo>
                <a:lnTo>
                  <a:pt x="415" y="419"/>
                </a:lnTo>
                <a:lnTo>
                  <a:pt x="414" y="417"/>
                </a:lnTo>
                <a:lnTo>
                  <a:pt x="419" y="413"/>
                </a:lnTo>
                <a:lnTo>
                  <a:pt x="419" y="412"/>
                </a:lnTo>
                <a:lnTo>
                  <a:pt x="416" y="411"/>
                </a:lnTo>
                <a:lnTo>
                  <a:pt x="416" y="410"/>
                </a:lnTo>
                <a:lnTo>
                  <a:pt x="419" y="410"/>
                </a:lnTo>
                <a:lnTo>
                  <a:pt x="430" y="408"/>
                </a:lnTo>
                <a:lnTo>
                  <a:pt x="429" y="407"/>
                </a:lnTo>
                <a:lnTo>
                  <a:pt x="425" y="407"/>
                </a:lnTo>
                <a:lnTo>
                  <a:pt x="424" y="405"/>
                </a:lnTo>
                <a:lnTo>
                  <a:pt x="425" y="405"/>
                </a:lnTo>
                <a:lnTo>
                  <a:pt x="427" y="404"/>
                </a:lnTo>
                <a:lnTo>
                  <a:pt x="419" y="405"/>
                </a:lnTo>
                <a:lnTo>
                  <a:pt x="417" y="405"/>
                </a:lnTo>
                <a:lnTo>
                  <a:pt x="417" y="403"/>
                </a:lnTo>
                <a:lnTo>
                  <a:pt x="416" y="403"/>
                </a:lnTo>
                <a:lnTo>
                  <a:pt x="416" y="404"/>
                </a:lnTo>
                <a:lnTo>
                  <a:pt x="415" y="403"/>
                </a:lnTo>
                <a:lnTo>
                  <a:pt x="415" y="400"/>
                </a:lnTo>
                <a:lnTo>
                  <a:pt x="416" y="399"/>
                </a:lnTo>
                <a:lnTo>
                  <a:pt x="419" y="399"/>
                </a:lnTo>
                <a:lnTo>
                  <a:pt x="423" y="398"/>
                </a:lnTo>
                <a:lnTo>
                  <a:pt x="428" y="398"/>
                </a:lnTo>
                <a:lnTo>
                  <a:pt x="429" y="397"/>
                </a:lnTo>
                <a:lnTo>
                  <a:pt x="428" y="395"/>
                </a:lnTo>
                <a:lnTo>
                  <a:pt x="418" y="397"/>
                </a:lnTo>
                <a:lnTo>
                  <a:pt x="424" y="391"/>
                </a:lnTo>
                <a:lnTo>
                  <a:pt x="427" y="391"/>
                </a:lnTo>
                <a:lnTo>
                  <a:pt x="428" y="392"/>
                </a:lnTo>
                <a:lnTo>
                  <a:pt x="433" y="392"/>
                </a:lnTo>
                <a:lnTo>
                  <a:pt x="435" y="394"/>
                </a:lnTo>
                <a:lnTo>
                  <a:pt x="434" y="394"/>
                </a:lnTo>
                <a:lnTo>
                  <a:pt x="434" y="395"/>
                </a:lnTo>
                <a:lnTo>
                  <a:pt x="433" y="397"/>
                </a:lnTo>
                <a:lnTo>
                  <a:pt x="433" y="398"/>
                </a:lnTo>
                <a:lnTo>
                  <a:pt x="437" y="392"/>
                </a:lnTo>
                <a:lnTo>
                  <a:pt x="437" y="391"/>
                </a:lnTo>
                <a:lnTo>
                  <a:pt x="437" y="392"/>
                </a:lnTo>
                <a:lnTo>
                  <a:pt x="440" y="392"/>
                </a:lnTo>
                <a:lnTo>
                  <a:pt x="446" y="388"/>
                </a:lnTo>
                <a:lnTo>
                  <a:pt x="448" y="388"/>
                </a:lnTo>
                <a:lnTo>
                  <a:pt x="447" y="392"/>
                </a:lnTo>
                <a:lnTo>
                  <a:pt x="448" y="391"/>
                </a:lnTo>
                <a:lnTo>
                  <a:pt x="448" y="389"/>
                </a:lnTo>
                <a:lnTo>
                  <a:pt x="449" y="389"/>
                </a:lnTo>
                <a:lnTo>
                  <a:pt x="450" y="388"/>
                </a:lnTo>
                <a:lnTo>
                  <a:pt x="450" y="387"/>
                </a:lnTo>
                <a:lnTo>
                  <a:pt x="456" y="385"/>
                </a:lnTo>
                <a:lnTo>
                  <a:pt x="458" y="385"/>
                </a:lnTo>
                <a:lnTo>
                  <a:pt x="460" y="386"/>
                </a:lnTo>
                <a:lnTo>
                  <a:pt x="460" y="391"/>
                </a:lnTo>
                <a:lnTo>
                  <a:pt x="461" y="391"/>
                </a:lnTo>
                <a:lnTo>
                  <a:pt x="461" y="387"/>
                </a:lnTo>
                <a:lnTo>
                  <a:pt x="465" y="383"/>
                </a:lnTo>
                <a:lnTo>
                  <a:pt x="465" y="382"/>
                </a:lnTo>
                <a:lnTo>
                  <a:pt x="466" y="380"/>
                </a:lnTo>
                <a:lnTo>
                  <a:pt x="465" y="380"/>
                </a:lnTo>
                <a:lnTo>
                  <a:pt x="467" y="377"/>
                </a:lnTo>
                <a:lnTo>
                  <a:pt x="470" y="379"/>
                </a:lnTo>
                <a:lnTo>
                  <a:pt x="470" y="377"/>
                </a:lnTo>
                <a:lnTo>
                  <a:pt x="462" y="376"/>
                </a:lnTo>
                <a:lnTo>
                  <a:pt x="461" y="375"/>
                </a:lnTo>
                <a:lnTo>
                  <a:pt x="461" y="374"/>
                </a:lnTo>
                <a:lnTo>
                  <a:pt x="462" y="373"/>
                </a:lnTo>
                <a:lnTo>
                  <a:pt x="462" y="371"/>
                </a:lnTo>
                <a:lnTo>
                  <a:pt x="461" y="371"/>
                </a:lnTo>
                <a:lnTo>
                  <a:pt x="460" y="374"/>
                </a:lnTo>
                <a:lnTo>
                  <a:pt x="459" y="374"/>
                </a:lnTo>
                <a:lnTo>
                  <a:pt x="458" y="375"/>
                </a:lnTo>
                <a:lnTo>
                  <a:pt x="450" y="375"/>
                </a:lnTo>
                <a:lnTo>
                  <a:pt x="449" y="374"/>
                </a:lnTo>
                <a:lnTo>
                  <a:pt x="449" y="373"/>
                </a:lnTo>
                <a:lnTo>
                  <a:pt x="448" y="371"/>
                </a:lnTo>
                <a:lnTo>
                  <a:pt x="448" y="370"/>
                </a:lnTo>
                <a:lnTo>
                  <a:pt x="447" y="371"/>
                </a:lnTo>
                <a:lnTo>
                  <a:pt x="447" y="373"/>
                </a:lnTo>
                <a:lnTo>
                  <a:pt x="441" y="376"/>
                </a:lnTo>
                <a:lnTo>
                  <a:pt x="441" y="377"/>
                </a:lnTo>
                <a:lnTo>
                  <a:pt x="442" y="379"/>
                </a:lnTo>
                <a:lnTo>
                  <a:pt x="442" y="377"/>
                </a:lnTo>
                <a:lnTo>
                  <a:pt x="443" y="379"/>
                </a:lnTo>
                <a:lnTo>
                  <a:pt x="442" y="380"/>
                </a:lnTo>
                <a:lnTo>
                  <a:pt x="440" y="380"/>
                </a:lnTo>
                <a:lnTo>
                  <a:pt x="437" y="379"/>
                </a:lnTo>
                <a:lnTo>
                  <a:pt x="436" y="375"/>
                </a:lnTo>
                <a:lnTo>
                  <a:pt x="437" y="374"/>
                </a:lnTo>
                <a:lnTo>
                  <a:pt x="437" y="373"/>
                </a:lnTo>
                <a:lnTo>
                  <a:pt x="440" y="373"/>
                </a:lnTo>
                <a:lnTo>
                  <a:pt x="440" y="370"/>
                </a:lnTo>
                <a:lnTo>
                  <a:pt x="446" y="364"/>
                </a:lnTo>
                <a:lnTo>
                  <a:pt x="446" y="368"/>
                </a:lnTo>
                <a:lnTo>
                  <a:pt x="447" y="368"/>
                </a:lnTo>
                <a:lnTo>
                  <a:pt x="447" y="367"/>
                </a:lnTo>
                <a:lnTo>
                  <a:pt x="449" y="367"/>
                </a:lnTo>
                <a:lnTo>
                  <a:pt x="452" y="364"/>
                </a:lnTo>
                <a:lnTo>
                  <a:pt x="452" y="361"/>
                </a:lnTo>
                <a:lnTo>
                  <a:pt x="453" y="361"/>
                </a:lnTo>
                <a:lnTo>
                  <a:pt x="453" y="362"/>
                </a:lnTo>
                <a:lnTo>
                  <a:pt x="455" y="363"/>
                </a:lnTo>
                <a:lnTo>
                  <a:pt x="455" y="364"/>
                </a:lnTo>
                <a:lnTo>
                  <a:pt x="454" y="365"/>
                </a:lnTo>
                <a:lnTo>
                  <a:pt x="455" y="365"/>
                </a:lnTo>
                <a:lnTo>
                  <a:pt x="455" y="367"/>
                </a:lnTo>
                <a:lnTo>
                  <a:pt x="456" y="368"/>
                </a:lnTo>
                <a:lnTo>
                  <a:pt x="455" y="369"/>
                </a:lnTo>
                <a:lnTo>
                  <a:pt x="455" y="370"/>
                </a:lnTo>
                <a:lnTo>
                  <a:pt x="452" y="368"/>
                </a:lnTo>
                <a:lnTo>
                  <a:pt x="450" y="369"/>
                </a:lnTo>
                <a:lnTo>
                  <a:pt x="452" y="370"/>
                </a:lnTo>
                <a:lnTo>
                  <a:pt x="452" y="371"/>
                </a:lnTo>
                <a:lnTo>
                  <a:pt x="450" y="373"/>
                </a:lnTo>
                <a:lnTo>
                  <a:pt x="452" y="374"/>
                </a:lnTo>
                <a:lnTo>
                  <a:pt x="453" y="374"/>
                </a:lnTo>
                <a:lnTo>
                  <a:pt x="453" y="371"/>
                </a:lnTo>
                <a:lnTo>
                  <a:pt x="455" y="371"/>
                </a:lnTo>
                <a:lnTo>
                  <a:pt x="456" y="370"/>
                </a:lnTo>
                <a:lnTo>
                  <a:pt x="456" y="369"/>
                </a:lnTo>
                <a:lnTo>
                  <a:pt x="460" y="369"/>
                </a:lnTo>
                <a:lnTo>
                  <a:pt x="460" y="368"/>
                </a:lnTo>
                <a:lnTo>
                  <a:pt x="461" y="368"/>
                </a:lnTo>
                <a:lnTo>
                  <a:pt x="462" y="365"/>
                </a:lnTo>
                <a:lnTo>
                  <a:pt x="464" y="364"/>
                </a:lnTo>
                <a:lnTo>
                  <a:pt x="461" y="360"/>
                </a:lnTo>
                <a:lnTo>
                  <a:pt x="461" y="358"/>
                </a:lnTo>
                <a:lnTo>
                  <a:pt x="462" y="357"/>
                </a:lnTo>
                <a:lnTo>
                  <a:pt x="464" y="358"/>
                </a:lnTo>
                <a:lnTo>
                  <a:pt x="465" y="358"/>
                </a:lnTo>
                <a:lnTo>
                  <a:pt x="465" y="352"/>
                </a:lnTo>
                <a:lnTo>
                  <a:pt x="466" y="351"/>
                </a:lnTo>
                <a:lnTo>
                  <a:pt x="468" y="351"/>
                </a:lnTo>
                <a:lnTo>
                  <a:pt x="468" y="354"/>
                </a:lnTo>
                <a:lnTo>
                  <a:pt x="470" y="355"/>
                </a:lnTo>
                <a:lnTo>
                  <a:pt x="470" y="358"/>
                </a:lnTo>
                <a:lnTo>
                  <a:pt x="468" y="358"/>
                </a:lnTo>
                <a:lnTo>
                  <a:pt x="468" y="361"/>
                </a:lnTo>
                <a:lnTo>
                  <a:pt x="470" y="361"/>
                </a:lnTo>
                <a:lnTo>
                  <a:pt x="471" y="360"/>
                </a:lnTo>
                <a:lnTo>
                  <a:pt x="472" y="361"/>
                </a:lnTo>
                <a:lnTo>
                  <a:pt x="471" y="363"/>
                </a:lnTo>
                <a:lnTo>
                  <a:pt x="471" y="365"/>
                </a:lnTo>
                <a:lnTo>
                  <a:pt x="470" y="367"/>
                </a:lnTo>
                <a:lnTo>
                  <a:pt x="470" y="368"/>
                </a:lnTo>
                <a:lnTo>
                  <a:pt x="471" y="371"/>
                </a:lnTo>
                <a:lnTo>
                  <a:pt x="471" y="373"/>
                </a:lnTo>
                <a:lnTo>
                  <a:pt x="470" y="374"/>
                </a:lnTo>
                <a:lnTo>
                  <a:pt x="470" y="375"/>
                </a:lnTo>
                <a:lnTo>
                  <a:pt x="468" y="376"/>
                </a:lnTo>
                <a:lnTo>
                  <a:pt x="473" y="380"/>
                </a:lnTo>
                <a:lnTo>
                  <a:pt x="476" y="381"/>
                </a:lnTo>
                <a:lnTo>
                  <a:pt x="476" y="389"/>
                </a:lnTo>
                <a:lnTo>
                  <a:pt x="477" y="392"/>
                </a:lnTo>
                <a:lnTo>
                  <a:pt x="477" y="393"/>
                </a:lnTo>
                <a:lnTo>
                  <a:pt x="479" y="393"/>
                </a:lnTo>
                <a:lnTo>
                  <a:pt x="479" y="394"/>
                </a:lnTo>
                <a:lnTo>
                  <a:pt x="480" y="395"/>
                </a:lnTo>
                <a:lnTo>
                  <a:pt x="485" y="401"/>
                </a:lnTo>
                <a:lnTo>
                  <a:pt x="487" y="403"/>
                </a:lnTo>
                <a:lnTo>
                  <a:pt x="489" y="401"/>
                </a:lnTo>
                <a:lnTo>
                  <a:pt x="487" y="401"/>
                </a:lnTo>
                <a:lnTo>
                  <a:pt x="486" y="400"/>
                </a:lnTo>
                <a:lnTo>
                  <a:pt x="486" y="397"/>
                </a:lnTo>
                <a:lnTo>
                  <a:pt x="480" y="393"/>
                </a:lnTo>
                <a:lnTo>
                  <a:pt x="478" y="392"/>
                </a:lnTo>
                <a:lnTo>
                  <a:pt x="478" y="388"/>
                </a:lnTo>
                <a:lnTo>
                  <a:pt x="479" y="387"/>
                </a:lnTo>
                <a:lnTo>
                  <a:pt x="479" y="386"/>
                </a:lnTo>
                <a:lnTo>
                  <a:pt x="478" y="383"/>
                </a:lnTo>
                <a:lnTo>
                  <a:pt x="479" y="382"/>
                </a:lnTo>
                <a:lnTo>
                  <a:pt x="476" y="379"/>
                </a:lnTo>
                <a:lnTo>
                  <a:pt x="479" y="379"/>
                </a:lnTo>
                <a:lnTo>
                  <a:pt x="480" y="380"/>
                </a:lnTo>
                <a:lnTo>
                  <a:pt x="484" y="388"/>
                </a:lnTo>
                <a:lnTo>
                  <a:pt x="484" y="389"/>
                </a:lnTo>
                <a:lnTo>
                  <a:pt x="486" y="391"/>
                </a:lnTo>
                <a:lnTo>
                  <a:pt x="486" y="386"/>
                </a:lnTo>
                <a:lnTo>
                  <a:pt x="484" y="385"/>
                </a:lnTo>
                <a:lnTo>
                  <a:pt x="484" y="383"/>
                </a:lnTo>
                <a:lnTo>
                  <a:pt x="483" y="382"/>
                </a:lnTo>
                <a:lnTo>
                  <a:pt x="481" y="380"/>
                </a:lnTo>
                <a:lnTo>
                  <a:pt x="481" y="379"/>
                </a:lnTo>
                <a:lnTo>
                  <a:pt x="484" y="379"/>
                </a:lnTo>
                <a:lnTo>
                  <a:pt x="485" y="382"/>
                </a:lnTo>
                <a:lnTo>
                  <a:pt x="487" y="385"/>
                </a:lnTo>
                <a:lnTo>
                  <a:pt x="489" y="385"/>
                </a:lnTo>
                <a:lnTo>
                  <a:pt x="490" y="383"/>
                </a:lnTo>
                <a:lnTo>
                  <a:pt x="489" y="383"/>
                </a:lnTo>
                <a:lnTo>
                  <a:pt x="487" y="382"/>
                </a:lnTo>
                <a:lnTo>
                  <a:pt x="486" y="382"/>
                </a:lnTo>
                <a:lnTo>
                  <a:pt x="486" y="381"/>
                </a:lnTo>
                <a:lnTo>
                  <a:pt x="487" y="380"/>
                </a:lnTo>
                <a:lnTo>
                  <a:pt x="489" y="377"/>
                </a:lnTo>
                <a:lnTo>
                  <a:pt x="483" y="376"/>
                </a:lnTo>
                <a:lnTo>
                  <a:pt x="483" y="374"/>
                </a:lnTo>
                <a:lnTo>
                  <a:pt x="484" y="373"/>
                </a:lnTo>
                <a:lnTo>
                  <a:pt x="484" y="371"/>
                </a:lnTo>
                <a:lnTo>
                  <a:pt x="485" y="371"/>
                </a:lnTo>
                <a:lnTo>
                  <a:pt x="486" y="370"/>
                </a:lnTo>
                <a:lnTo>
                  <a:pt x="486" y="369"/>
                </a:lnTo>
                <a:lnTo>
                  <a:pt x="487" y="369"/>
                </a:lnTo>
                <a:lnTo>
                  <a:pt x="490" y="371"/>
                </a:lnTo>
                <a:lnTo>
                  <a:pt x="495" y="374"/>
                </a:lnTo>
                <a:lnTo>
                  <a:pt x="496" y="373"/>
                </a:lnTo>
                <a:lnTo>
                  <a:pt x="495" y="373"/>
                </a:lnTo>
                <a:lnTo>
                  <a:pt x="496" y="371"/>
                </a:lnTo>
                <a:lnTo>
                  <a:pt x="491" y="369"/>
                </a:lnTo>
                <a:lnTo>
                  <a:pt x="490" y="369"/>
                </a:lnTo>
                <a:lnTo>
                  <a:pt x="489" y="367"/>
                </a:lnTo>
                <a:lnTo>
                  <a:pt x="489" y="365"/>
                </a:lnTo>
                <a:lnTo>
                  <a:pt x="486" y="367"/>
                </a:lnTo>
                <a:lnTo>
                  <a:pt x="481" y="370"/>
                </a:lnTo>
                <a:lnTo>
                  <a:pt x="479" y="369"/>
                </a:lnTo>
                <a:lnTo>
                  <a:pt x="479" y="368"/>
                </a:lnTo>
                <a:lnTo>
                  <a:pt x="480" y="367"/>
                </a:lnTo>
                <a:lnTo>
                  <a:pt x="478" y="365"/>
                </a:lnTo>
                <a:lnTo>
                  <a:pt x="477" y="364"/>
                </a:lnTo>
                <a:lnTo>
                  <a:pt x="479" y="365"/>
                </a:lnTo>
                <a:lnTo>
                  <a:pt x="480" y="365"/>
                </a:lnTo>
                <a:lnTo>
                  <a:pt x="483" y="363"/>
                </a:lnTo>
                <a:lnTo>
                  <a:pt x="484" y="364"/>
                </a:lnTo>
                <a:lnTo>
                  <a:pt x="484" y="362"/>
                </a:lnTo>
                <a:lnTo>
                  <a:pt x="487" y="362"/>
                </a:lnTo>
                <a:lnTo>
                  <a:pt x="486" y="361"/>
                </a:lnTo>
                <a:lnTo>
                  <a:pt x="486" y="360"/>
                </a:lnTo>
                <a:lnTo>
                  <a:pt x="484" y="358"/>
                </a:lnTo>
                <a:lnTo>
                  <a:pt x="490" y="361"/>
                </a:lnTo>
                <a:lnTo>
                  <a:pt x="492" y="361"/>
                </a:lnTo>
                <a:lnTo>
                  <a:pt x="491" y="360"/>
                </a:lnTo>
                <a:lnTo>
                  <a:pt x="490" y="360"/>
                </a:lnTo>
                <a:lnTo>
                  <a:pt x="486" y="356"/>
                </a:lnTo>
                <a:lnTo>
                  <a:pt x="486" y="354"/>
                </a:lnTo>
                <a:lnTo>
                  <a:pt x="485" y="354"/>
                </a:lnTo>
                <a:lnTo>
                  <a:pt x="485" y="356"/>
                </a:lnTo>
                <a:lnTo>
                  <a:pt x="474" y="356"/>
                </a:lnTo>
                <a:lnTo>
                  <a:pt x="474" y="355"/>
                </a:lnTo>
                <a:lnTo>
                  <a:pt x="476" y="354"/>
                </a:lnTo>
                <a:lnTo>
                  <a:pt x="481" y="354"/>
                </a:lnTo>
                <a:lnTo>
                  <a:pt x="481" y="351"/>
                </a:lnTo>
                <a:lnTo>
                  <a:pt x="476" y="350"/>
                </a:lnTo>
                <a:lnTo>
                  <a:pt x="472" y="349"/>
                </a:lnTo>
                <a:lnTo>
                  <a:pt x="472" y="346"/>
                </a:lnTo>
                <a:lnTo>
                  <a:pt x="473" y="344"/>
                </a:lnTo>
                <a:lnTo>
                  <a:pt x="474" y="343"/>
                </a:lnTo>
                <a:lnTo>
                  <a:pt x="476" y="344"/>
                </a:lnTo>
                <a:lnTo>
                  <a:pt x="477" y="344"/>
                </a:lnTo>
                <a:lnTo>
                  <a:pt x="478" y="345"/>
                </a:lnTo>
                <a:lnTo>
                  <a:pt x="478" y="344"/>
                </a:lnTo>
                <a:lnTo>
                  <a:pt x="479" y="344"/>
                </a:lnTo>
                <a:lnTo>
                  <a:pt x="479" y="345"/>
                </a:lnTo>
                <a:lnTo>
                  <a:pt x="480" y="345"/>
                </a:lnTo>
                <a:lnTo>
                  <a:pt x="480" y="348"/>
                </a:lnTo>
                <a:lnTo>
                  <a:pt x="484" y="348"/>
                </a:lnTo>
                <a:lnTo>
                  <a:pt x="489" y="350"/>
                </a:lnTo>
                <a:lnTo>
                  <a:pt x="491" y="352"/>
                </a:lnTo>
                <a:lnTo>
                  <a:pt x="491" y="357"/>
                </a:lnTo>
                <a:lnTo>
                  <a:pt x="498" y="363"/>
                </a:lnTo>
                <a:lnTo>
                  <a:pt x="499" y="364"/>
                </a:lnTo>
                <a:lnTo>
                  <a:pt x="501" y="364"/>
                </a:lnTo>
                <a:lnTo>
                  <a:pt x="498" y="362"/>
                </a:lnTo>
                <a:lnTo>
                  <a:pt x="498" y="360"/>
                </a:lnTo>
                <a:lnTo>
                  <a:pt x="493" y="355"/>
                </a:lnTo>
                <a:lnTo>
                  <a:pt x="492" y="352"/>
                </a:lnTo>
                <a:lnTo>
                  <a:pt x="492" y="350"/>
                </a:lnTo>
                <a:lnTo>
                  <a:pt x="491" y="348"/>
                </a:lnTo>
                <a:lnTo>
                  <a:pt x="489" y="346"/>
                </a:lnTo>
                <a:lnTo>
                  <a:pt x="484" y="345"/>
                </a:lnTo>
                <a:lnTo>
                  <a:pt x="480" y="342"/>
                </a:lnTo>
                <a:lnTo>
                  <a:pt x="478" y="343"/>
                </a:lnTo>
                <a:lnTo>
                  <a:pt x="477" y="342"/>
                </a:lnTo>
                <a:lnTo>
                  <a:pt x="479" y="340"/>
                </a:lnTo>
                <a:lnTo>
                  <a:pt x="477" y="340"/>
                </a:lnTo>
                <a:lnTo>
                  <a:pt x="477" y="339"/>
                </a:lnTo>
                <a:lnTo>
                  <a:pt x="478" y="338"/>
                </a:lnTo>
                <a:lnTo>
                  <a:pt x="481" y="337"/>
                </a:lnTo>
                <a:lnTo>
                  <a:pt x="485" y="334"/>
                </a:lnTo>
                <a:lnTo>
                  <a:pt x="496" y="333"/>
                </a:lnTo>
                <a:lnTo>
                  <a:pt x="497" y="333"/>
                </a:lnTo>
                <a:lnTo>
                  <a:pt x="501" y="336"/>
                </a:lnTo>
                <a:lnTo>
                  <a:pt x="503" y="337"/>
                </a:lnTo>
                <a:lnTo>
                  <a:pt x="504" y="337"/>
                </a:lnTo>
                <a:lnTo>
                  <a:pt x="504" y="339"/>
                </a:lnTo>
                <a:lnTo>
                  <a:pt x="502" y="342"/>
                </a:lnTo>
                <a:lnTo>
                  <a:pt x="502" y="343"/>
                </a:lnTo>
                <a:lnTo>
                  <a:pt x="503" y="343"/>
                </a:lnTo>
                <a:lnTo>
                  <a:pt x="509" y="340"/>
                </a:lnTo>
                <a:lnTo>
                  <a:pt x="510" y="338"/>
                </a:lnTo>
                <a:lnTo>
                  <a:pt x="511" y="338"/>
                </a:lnTo>
                <a:lnTo>
                  <a:pt x="515" y="337"/>
                </a:lnTo>
                <a:lnTo>
                  <a:pt x="516" y="340"/>
                </a:lnTo>
                <a:lnTo>
                  <a:pt x="517" y="340"/>
                </a:lnTo>
                <a:lnTo>
                  <a:pt x="517" y="345"/>
                </a:lnTo>
                <a:lnTo>
                  <a:pt x="518" y="348"/>
                </a:lnTo>
                <a:lnTo>
                  <a:pt x="523" y="350"/>
                </a:lnTo>
                <a:lnTo>
                  <a:pt x="522" y="352"/>
                </a:lnTo>
                <a:lnTo>
                  <a:pt x="522" y="354"/>
                </a:lnTo>
                <a:lnTo>
                  <a:pt x="523" y="355"/>
                </a:lnTo>
                <a:lnTo>
                  <a:pt x="523" y="361"/>
                </a:lnTo>
                <a:lnTo>
                  <a:pt x="524" y="360"/>
                </a:lnTo>
                <a:lnTo>
                  <a:pt x="524" y="352"/>
                </a:lnTo>
                <a:lnTo>
                  <a:pt x="527" y="352"/>
                </a:lnTo>
                <a:lnTo>
                  <a:pt x="526" y="349"/>
                </a:lnTo>
                <a:lnTo>
                  <a:pt x="524" y="346"/>
                </a:lnTo>
                <a:lnTo>
                  <a:pt x="521" y="344"/>
                </a:lnTo>
                <a:lnTo>
                  <a:pt x="520" y="343"/>
                </a:lnTo>
                <a:lnTo>
                  <a:pt x="520" y="342"/>
                </a:lnTo>
                <a:lnTo>
                  <a:pt x="518" y="340"/>
                </a:lnTo>
                <a:lnTo>
                  <a:pt x="518" y="337"/>
                </a:lnTo>
                <a:lnTo>
                  <a:pt x="520" y="336"/>
                </a:lnTo>
                <a:lnTo>
                  <a:pt x="520" y="333"/>
                </a:lnTo>
                <a:lnTo>
                  <a:pt x="523" y="333"/>
                </a:lnTo>
                <a:lnTo>
                  <a:pt x="530" y="338"/>
                </a:lnTo>
                <a:lnTo>
                  <a:pt x="534" y="338"/>
                </a:lnTo>
                <a:lnTo>
                  <a:pt x="533" y="337"/>
                </a:lnTo>
                <a:lnTo>
                  <a:pt x="524" y="332"/>
                </a:lnTo>
                <a:lnTo>
                  <a:pt x="526" y="331"/>
                </a:lnTo>
                <a:lnTo>
                  <a:pt x="532" y="331"/>
                </a:lnTo>
                <a:lnTo>
                  <a:pt x="539" y="332"/>
                </a:lnTo>
                <a:lnTo>
                  <a:pt x="543" y="336"/>
                </a:lnTo>
                <a:lnTo>
                  <a:pt x="546" y="334"/>
                </a:lnTo>
                <a:lnTo>
                  <a:pt x="543" y="334"/>
                </a:lnTo>
                <a:lnTo>
                  <a:pt x="535" y="328"/>
                </a:lnTo>
                <a:lnTo>
                  <a:pt x="529" y="328"/>
                </a:lnTo>
                <a:lnTo>
                  <a:pt x="533" y="320"/>
                </a:lnTo>
                <a:lnTo>
                  <a:pt x="533" y="319"/>
                </a:lnTo>
                <a:lnTo>
                  <a:pt x="532" y="319"/>
                </a:lnTo>
                <a:lnTo>
                  <a:pt x="529" y="320"/>
                </a:lnTo>
                <a:lnTo>
                  <a:pt x="528" y="321"/>
                </a:lnTo>
                <a:lnTo>
                  <a:pt x="524" y="322"/>
                </a:lnTo>
                <a:lnTo>
                  <a:pt x="520" y="327"/>
                </a:lnTo>
                <a:lnTo>
                  <a:pt x="511" y="330"/>
                </a:lnTo>
                <a:lnTo>
                  <a:pt x="509" y="328"/>
                </a:lnTo>
                <a:lnTo>
                  <a:pt x="510" y="327"/>
                </a:lnTo>
                <a:lnTo>
                  <a:pt x="512" y="327"/>
                </a:lnTo>
                <a:lnTo>
                  <a:pt x="514" y="326"/>
                </a:lnTo>
                <a:lnTo>
                  <a:pt x="514" y="325"/>
                </a:lnTo>
                <a:lnTo>
                  <a:pt x="511" y="322"/>
                </a:lnTo>
                <a:lnTo>
                  <a:pt x="510" y="322"/>
                </a:lnTo>
                <a:lnTo>
                  <a:pt x="509" y="321"/>
                </a:lnTo>
                <a:lnTo>
                  <a:pt x="508" y="321"/>
                </a:lnTo>
                <a:lnTo>
                  <a:pt x="505" y="325"/>
                </a:lnTo>
                <a:lnTo>
                  <a:pt x="504" y="326"/>
                </a:lnTo>
                <a:lnTo>
                  <a:pt x="503" y="328"/>
                </a:lnTo>
                <a:lnTo>
                  <a:pt x="498" y="327"/>
                </a:lnTo>
                <a:lnTo>
                  <a:pt x="496" y="330"/>
                </a:lnTo>
                <a:lnTo>
                  <a:pt x="490" y="330"/>
                </a:lnTo>
                <a:lnTo>
                  <a:pt x="489" y="328"/>
                </a:lnTo>
                <a:lnTo>
                  <a:pt x="489" y="326"/>
                </a:lnTo>
                <a:lnTo>
                  <a:pt x="487" y="325"/>
                </a:lnTo>
                <a:lnTo>
                  <a:pt x="487" y="322"/>
                </a:lnTo>
                <a:lnTo>
                  <a:pt x="486" y="321"/>
                </a:lnTo>
                <a:lnTo>
                  <a:pt x="487" y="320"/>
                </a:lnTo>
                <a:lnTo>
                  <a:pt x="487" y="319"/>
                </a:lnTo>
                <a:lnTo>
                  <a:pt x="490" y="318"/>
                </a:lnTo>
                <a:lnTo>
                  <a:pt x="491" y="318"/>
                </a:lnTo>
                <a:lnTo>
                  <a:pt x="492" y="319"/>
                </a:lnTo>
                <a:lnTo>
                  <a:pt x="493" y="319"/>
                </a:lnTo>
                <a:lnTo>
                  <a:pt x="493" y="317"/>
                </a:lnTo>
                <a:lnTo>
                  <a:pt x="492" y="315"/>
                </a:lnTo>
                <a:lnTo>
                  <a:pt x="491" y="315"/>
                </a:lnTo>
                <a:lnTo>
                  <a:pt x="491" y="309"/>
                </a:lnTo>
                <a:lnTo>
                  <a:pt x="492" y="307"/>
                </a:lnTo>
                <a:lnTo>
                  <a:pt x="493" y="306"/>
                </a:lnTo>
                <a:lnTo>
                  <a:pt x="497" y="305"/>
                </a:lnTo>
                <a:lnTo>
                  <a:pt x="502" y="301"/>
                </a:lnTo>
                <a:lnTo>
                  <a:pt x="506" y="300"/>
                </a:lnTo>
                <a:lnTo>
                  <a:pt x="508" y="299"/>
                </a:lnTo>
                <a:lnTo>
                  <a:pt x="509" y="299"/>
                </a:lnTo>
                <a:lnTo>
                  <a:pt x="510" y="300"/>
                </a:lnTo>
                <a:lnTo>
                  <a:pt x="511" y="302"/>
                </a:lnTo>
                <a:lnTo>
                  <a:pt x="512" y="303"/>
                </a:lnTo>
                <a:lnTo>
                  <a:pt x="512" y="306"/>
                </a:lnTo>
                <a:lnTo>
                  <a:pt x="515" y="307"/>
                </a:lnTo>
                <a:lnTo>
                  <a:pt x="516" y="307"/>
                </a:lnTo>
                <a:lnTo>
                  <a:pt x="517" y="306"/>
                </a:lnTo>
                <a:lnTo>
                  <a:pt x="516" y="305"/>
                </a:lnTo>
                <a:lnTo>
                  <a:pt x="515" y="305"/>
                </a:lnTo>
                <a:lnTo>
                  <a:pt x="514" y="303"/>
                </a:lnTo>
                <a:lnTo>
                  <a:pt x="514" y="300"/>
                </a:lnTo>
                <a:lnTo>
                  <a:pt x="518" y="297"/>
                </a:lnTo>
                <a:lnTo>
                  <a:pt x="520" y="296"/>
                </a:lnTo>
                <a:lnTo>
                  <a:pt x="521" y="296"/>
                </a:lnTo>
                <a:lnTo>
                  <a:pt x="522" y="299"/>
                </a:lnTo>
                <a:lnTo>
                  <a:pt x="523" y="299"/>
                </a:lnTo>
                <a:lnTo>
                  <a:pt x="524" y="297"/>
                </a:lnTo>
                <a:lnTo>
                  <a:pt x="527" y="301"/>
                </a:lnTo>
                <a:lnTo>
                  <a:pt x="527" y="302"/>
                </a:lnTo>
                <a:lnTo>
                  <a:pt x="528" y="302"/>
                </a:lnTo>
                <a:lnTo>
                  <a:pt x="529" y="303"/>
                </a:lnTo>
                <a:lnTo>
                  <a:pt x="530" y="303"/>
                </a:lnTo>
                <a:lnTo>
                  <a:pt x="534" y="302"/>
                </a:lnTo>
                <a:lnTo>
                  <a:pt x="536" y="305"/>
                </a:lnTo>
                <a:lnTo>
                  <a:pt x="537" y="303"/>
                </a:lnTo>
                <a:lnTo>
                  <a:pt x="535" y="301"/>
                </a:lnTo>
                <a:lnTo>
                  <a:pt x="530" y="300"/>
                </a:lnTo>
                <a:lnTo>
                  <a:pt x="527" y="296"/>
                </a:lnTo>
                <a:lnTo>
                  <a:pt x="527" y="294"/>
                </a:lnTo>
                <a:lnTo>
                  <a:pt x="524" y="294"/>
                </a:lnTo>
                <a:lnTo>
                  <a:pt x="524" y="295"/>
                </a:lnTo>
                <a:lnTo>
                  <a:pt x="522" y="295"/>
                </a:lnTo>
                <a:lnTo>
                  <a:pt x="520" y="293"/>
                </a:lnTo>
                <a:lnTo>
                  <a:pt x="523" y="289"/>
                </a:lnTo>
                <a:lnTo>
                  <a:pt x="526" y="288"/>
                </a:lnTo>
                <a:lnTo>
                  <a:pt x="527" y="287"/>
                </a:lnTo>
                <a:lnTo>
                  <a:pt x="529" y="285"/>
                </a:lnTo>
                <a:lnTo>
                  <a:pt x="533" y="289"/>
                </a:lnTo>
                <a:lnTo>
                  <a:pt x="540" y="290"/>
                </a:lnTo>
                <a:lnTo>
                  <a:pt x="542" y="294"/>
                </a:lnTo>
                <a:lnTo>
                  <a:pt x="542" y="290"/>
                </a:lnTo>
                <a:lnTo>
                  <a:pt x="540" y="289"/>
                </a:lnTo>
                <a:lnTo>
                  <a:pt x="536" y="288"/>
                </a:lnTo>
                <a:lnTo>
                  <a:pt x="529" y="284"/>
                </a:lnTo>
                <a:lnTo>
                  <a:pt x="533" y="282"/>
                </a:lnTo>
                <a:lnTo>
                  <a:pt x="536" y="278"/>
                </a:lnTo>
                <a:lnTo>
                  <a:pt x="537" y="278"/>
                </a:lnTo>
                <a:lnTo>
                  <a:pt x="539" y="277"/>
                </a:lnTo>
                <a:lnTo>
                  <a:pt x="540" y="277"/>
                </a:lnTo>
                <a:lnTo>
                  <a:pt x="540" y="278"/>
                </a:lnTo>
                <a:lnTo>
                  <a:pt x="541" y="279"/>
                </a:lnTo>
                <a:lnTo>
                  <a:pt x="545" y="279"/>
                </a:lnTo>
                <a:lnTo>
                  <a:pt x="543" y="276"/>
                </a:lnTo>
                <a:lnTo>
                  <a:pt x="539" y="275"/>
                </a:lnTo>
                <a:lnTo>
                  <a:pt x="539" y="274"/>
                </a:lnTo>
                <a:lnTo>
                  <a:pt x="540" y="272"/>
                </a:lnTo>
                <a:lnTo>
                  <a:pt x="532" y="274"/>
                </a:lnTo>
                <a:lnTo>
                  <a:pt x="528" y="276"/>
                </a:lnTo>
                <a:lnTo>
                  <a:pt x="527" y="276"/>
                </a:lnTo>
                <a:lnTo>
                  <a:pt x="528" y="275"/>
                </a:lnTo>
                <a:lnTo>
                  <a:pt x="529" y="270"/>
                </a:lnTo>
                <a:lnTo>
                  <a:pt x="530" y="269"/>
                </a:lnTo>
                <a:lnTo>
                  <a:pt x="532" y="269"/>
                </a:lnTo>
                <a:lnTo>
                  <a:pt x="532" y="265"/>
                </a:lnTo>
                <a:lnTo>
                  <a:pt x="530" y="265"/>
                </a:lnTo>
                <a:lnTo>
                  <a:pt x="530" y="264"/>
                </a:lnTo>
                <a:lnTo>
                  <a:pt x="535" y="257"/>
                </a:lnTo>
                <a:lnTo>
                  <a:pt x="537" y="254"/>
                </a:lnTo>
                <a:lnTo>
                  <a:pt x="537" y="253"/>
                </a:lnTo>
                <a:lnTo>
                  <a:pt x="536" y="252"/>
                </a:lnTo>
                <a:lnTo>
                  <a:pt x="537" y="250"/>
                </a:lnTo>
                <a:lnTo>
                  <a:pt x="546" y="250"/>
                </a:lnTo>
                <a:lnTo>
                  <a:pt x="549" y="246"/>
                </a:lnTo>
                <a:lnTo>
                  <a:pt x="558" y="246"/>
                </a:lnTo>
                <a:lnTo>
                  <a:pt x="554" y="242"/>
                </a:lnTo>
                <a:lnTo>
                  <a:pt x="554" y="239"/>
                </a:lnTo>
                <a:lnTo>
                  <a:pt x="555" y="239"/>
                </a:lnTo>
                <a:lnTo>
                  <a:pt x="555" y="237"/>
                </a:lnTo>
                <a:lnTo>
                  <a:pt x="554" y="235"/>
                </a:lnTo>
                <a:lnTo>
                  <a:pt x="552" y="237"/>
                </a:lnTo>
                <a:lnTo>
                  <a:pt x="551" y="237"/>
                </a:lnTo>
                <a:lnTo>
                  <a:pt x="552" y="234"/>
                </a:lnTo>
                <a:lnTo>
                  <a:pt x="552" y="228"/>
                </a:lnTo>
                <a:lnTo>
                  <a:pt x="553" y="226"/>
                </a:lnTo>
                <a:lnTo>
                  <a:pt x="557" y="225"/>
                </a:lnTo>
                <a:lnTo>
                  <a:pt x="558" y="222"/>
                </a:lnTo>
                <a:lnTo>
                  <a:pt x="557" y="220"/>
                </a:lnTo>
                <a:lnTo>
                  <a:pt x="559" y="217"/>
                </a:lnTo>
                <a:lnTo>
                  <a:pt x="559" y="213"/>
                </a:lnTo>
                <a:lnTo>
                  <a:pt x="558" y="211"/>
                </a:lnTo>
                <a:lnTo>
                  <a:pt x="558" y="209"/>
                </a:lnTo>
                <a:lnTo>
                  <a:pt x="559" y="209"/>
                </a:lnTo>
                <a:lnTo>
                  <a:pt x="559" y="208"/>
                </a:lnTo>
                <a:lnTo>
                  <a:pt x="561" y="208"/>
                </a:lnTo>
                <a:lnTo>
                  <a:pt x="561" y="207"/>
                </a:lnTo>
                <a:lnTo>
                  <a:pt x="563" y="207"/>
                </a:lnTo>
                <a:lnTo>
                  <a:pt x="563" y="205"/>
                </a:lnTo>
                <a:lnTo>
                  <a:pt x="564" y="205"/>
                </a:lnTo>
                <a:lnTo>
                  <a:pt x="566" y="208"/>
                </a:lnTo>
                <a:lnTo>
                  <a:pt x="567" y="213"/>
                </a:lnTo>
                <a:lnTo>
                  <a:pt x="567" y="217"/>
                </a:lnTo>
                <a:lnTo>
                  <a:pt x="571" y="217"/>
                </a:lnTo>
                <a:lnTo>
                  <a:pt x="572" y="219"/>
                </a:lnTo>
                <a:lnTo>
                  <a:pt x="572" y="220"/>
                </a:lnTo>
                <a:lnTo>
                  <a:pt x="573" y="222"/>
                </a:lnTo>
                <a:lnTo>
                  <a:pt x="573" y="223"/>
                </a:lnTo>
                <a:lnTo>
                  <a:pt x="572" y="228"/>
                </a:lnTo>
                <a:lnTo>
                  <a:pt x="572" y="229"/>
                </a:lnTo>
                <a:lnTo>
                  <a:pt x="573" y="231"/>
                </a:lnTo>
                <a:lnTo>
                  <a:pt x="573" y="233"/>
                </a:lnTo>
                <a:lnTo>
                  <a:pt x="572" y="233"/>
                </a:lnTo>
                <a:lnTo>
                  <a:pt x="572" y="237"/>
                </a:lnTo>
                <a:lnTo>
                  <a:pt x="573" y="233"/>
                </a:lnTo>
                <a:lnTo>
                  <a:pt x="574" y="231"/>
                </a:lnTo>
                <a:lnTo>
                  <a:pt x="574" y="221"/>
                </a:lnTo>
                <a:lnTo>
                  <a:pt x="576" y="221"/>
                </a:lnTo>
                <a:lnTo>
                  <a:pt x="576" y="225"/>
                </a:lnTo>
                <a:lnTo>
                  <a:pt x="577" y="227"/>
                </a:lnTo>
                <a:lnTo>
                  <a:pt x="577" y="228"/>
                </a:lnTo>
                <a:lnTo>
                  <a:pt x="578" y="229"/>
                </a:lnTo>
                <a:lnTo>
                  <a:pt x="579" y="229"/>
                </a:lnTo>
                <a:lnTo>
                  <a:pt x="579" y="231"/>
                </a:lnTo>
                <a:lnTo>
                  <a:pt x="580" y="232"/>
                </a:lnTo>
                <a:lnTo>
                  <a:pt x="580" y="233"/>
                </a:lnTo>
                <a:lnTo>
                  <a:pt x="582" y="233"/>
                </a:lnTo>
                <a:lnTo>
                  <a:pt x="582" y="229"/>
                </a:lnTo>
                <a:lnTo>
                  <a:pt x="580" y="229"/>
                </a:lnTo>
                <a:lnTo>
                  <a:pt x="579" y="228"/>
                </a:lnTo>
                <a:lnTo>
                  <a:pt x="580" y="226"/>
                </a:lnTo>
                <a:lnTo>
                  <a:pt x="588" y="226"/>
                </a:lnTo>
                <a:lnTo>
                  <a:pt x="591" y="229"/>
                </a:lnTo>
                <a:lnTo>
                  <a:pt x="594" y="231"/>
                </a:lnTo>
                <a:lnTo>
                  <a:pt x="595" y="231"/>
                </a:lnTo>
                <a:lnTo>
                  <a:pt x="595" y="228"/>
                </a:lnTo>
                <a:lnTo>
                  <a:pt x="594" y="228"/>
                </a:lnTo>
                <a:lnTo>
                  <a:pt x="591" y="225"/>
                </a:lnTo>
                <a:lnTo>
                  <a:pt x="579" y="220"/>
                </a:lnTo>
                <a:lnTo>
                  <a:pt x="578" y="219"/>
                </a:lnTo>
                <a:lnTo>
                  <a:pt x="577" y="219"/>
                </a:lnTo>
                <a:lnTo>
                  <a:pt x="577" y="214"/>
                </a:lnTo>
                <a:lnTo>
                  <a:pt x="576" y="213"/>
                </a:lnTo>
                <a:lnTo>
                  <a:pt x="576" y="211"/>
                </a:lnTo>
                <a:lnTo>
                  <a:pt x="571" y="211"/>
                </a:lnTo>
                <a:lnTo>
                  <a:pt x="571" y="208"/>
                </a:lnTo>
                <a:lnTo>
                  <a:pt x="572" y="207"/>
                </a:lnTo>
                <a:lnTo>
                  <a:pt x="571" y="204"/>
                </a:lnTo>
                <a:lnTo>
                  <a:pt x="571" y="202"/>
                </a:lnTo>
                <a:lnTo>
                  <a:pt x="572" y="202"/>
                </a:lnTo>
                <a:lnTo>
                  <a:pt x="576" y="201"/>
                </a:lnTo>
                <a:lnTo>
                  <a:pt x="578" y="199"/>
                </a:lnTo>
                <a:lnTo>
                  <a:pt x="588" y="198"/>
                </a:lnTo>
                <a:lnTo>
                  <a:pt x="588" y="204"/>
                </a:lnTo>
                <a:lnTo>
                  <a:pt x="589" y="204"/>
                </a:lnTo>
                <a:lnTo>
                  <a:pt x="590" y="205"/>
                </a:lnTo>
                <a:lnTo>
                  <a:pt x="590" y="209"/>
                </a:lnTo>
                <a:lnTo>
                  <a:pt x="591" y="211"/>
                </a:lnTo>
                <a:lnTo>
                  <a:pt x="594" y="213"/>
                </a:lnTo>
                <a:lnTo>
                  <a:pt x="594" y="215"/>
                </a:lnTo>
                <a:lnTo>
                  <a:pt x="595" y="216"/>
                </a:lnTo>
                <a:lnTo>
                  <a:pt x="596" y="219"/>
                </a:lnTo>
                <a:lnTo>
                  <a:pt x="599" y="222"/>
                </a:lnTo>
                <a:lnTo>
                  <a:pt x="608" y="223"/>
                </a:lnTo>
                <a:lnTo>
                  <a:pt x="609" y="226"/>
                </a:lnTo>
                <a:lnTo>
                  <a:pt x="609" y="228"/>
                </a:lnTo>
                <a:lnTo>
                  <a:pt x="605" y="232"/>
                </a:lnTo>
                <a:lnTo>
                  <a:pt x="603" y="231"/>
                </a:lnTo>
                <a:lnTo>
                  <a:pt x="601" y="233"/>
                </a:lnTo>
                <a:lnTo>
                  <a:pt x="601" y="234"/>
                </a:lnTo>
                <a:lnTo>
                  <a:pt x="602" y="234"/>
                </a:lnTo>
                <a:lnTo>
                  <a:pt x="604" y="232"/>
                </a:lnTo>
                <a:lnTo>
                  <a:pt x="605" y="233"/>
                </a:lnTo>
                <a:lnTo>
                  <a:pt x="605" y="234"/>
                </a:lnTo>
                <a:lnTo>
                  <a:pt x="604" y="235"/>
                </a:lnTo>
                <a:lnTo>
                  <a:pt x="604" y="237"/>
                </a:lnTo>
                <a:lnTo>
                  <a:pt x="607" y="238"/>
                </a:lnTo>
                <a:lnTo>
                  <a:pt x="608" y="238"/>
                </a:lnTo>
                <a:lnTo>
                  <a:pt x="609" y="235"/>
                </a:lnTo>
                <a:lnTo>
                  <a:pt x="611" y="235"/>
                </a:lnTo>
                <a:lnTo>
                  <a:pt x="614" y="238"/>
                </a:lnTo>
                <a:lnTo>
                  <a:pt x="615" y="237"/>
                </a:lnTo>
                <a:lnTo>
                  <a:pt x="614" y="235"/>
                </a:lnTo>
                <a:lnTo>
                  <a:pt x="614" y="234"/>
                </a:lnTo>
                <a:lnTo>
                  <a:pt x="613" y="233"/>
                </a:lnTo>
                <a:lnTo>
                  <a:pt x="613" y="226"/>
                </a:lnTo>
                <a:lnTo>
                  <a:pt x="611" y="223"/>
                </a:lnTo>
                <a:lnTo>
                  <a:pt x="608" y="219"/>
                </a:lnTo>
                <a:lnTo>
                  <a:pt x="598" y="219"/>
                </a:lnTo>
                <a:lnTo>
                  <a:pt x="598" y="217"/>
                </a:lnTo>
                <a:lnTo>
                  <a:pt x="597" y="215"/>
                </a:lnTo>
                <a:lnTo>
                  <a:pt x="597" y="211"/>
                </a:lnTo>
                <a:lnTo>
                  <a:pt x="596" y="211"/>
                </a:lnTo>
                <a:lnTo>
                  <a:pt x="594" y="209"/>
                </a:lnTo>
                <a:lnTo>
                  <a:pt x="594" y="203"/>
                </a:lnTo>
                <a:lnTo>
                  <a:pt x="596" y="201"/>
                </a:lnTo>
                <a:lnTo>
                  <a:pt x="601" y="198"/>
                </a:lnTo>
                <a:lnTo>
                  <a:pt x="602" y="198"/>
                </a:lnTo>
                <a:lnTo>
                  <a:pt x="603" y="201"/>
                </a:lnTo>
                <a:lnTo>
                  <a:pt x="604" y="202"/>
                </a:lnTo>
                <a:lnTo>
                  <a:pt x="604" y="199"/>
                </a:lnTo>
                <a:lnTo>
                  <a:pt x="603" y="198"/>
                </a:lnTo>
                <a:lnTo>
                  <a:pt x="603" y="196"/>
                </a:lnTo>
                <a:lnTo>
                  <a:pt x="599" y="197"/>
                </a:lnTo>
                <a:lnTo>
                  <a:pt x="598" y="197"/>
                </a:lnTo>
                <a:lnTo>
                  <a:pt x="596" y="198"/>
                </a:lnTo>
                <a:lnTo>
                  <a:pt x="595" y="199"/>
                </a:lnTo>
                <a:lnTo>
                  <a:pt x="595" y="201"/>
                </a:lnTo>
                <a:lnTo>
                  <a:pt x="592" y="198"/>
                </a:lnTo>
                <a:lnTo>
                  <a:pt x="592" y="197"/>
                </a:lnTo>
                <a:lnTo>
                  <a:pt x="591" y="190"/>
                </a:lnTo>
                <a:lnTo>
                  <a:pt x="597" y="180"/>
                </a:lnTo>
                <a:lnTo>
                  <a:pt x="598" y="176"/>
                </a:lnTo>
                <a:lnTo>
                  <a:pt x="598" y="174"/>
                </a:lnTo>
                <a:lnTo>
                  <a:pt x="602" y="174"/>
                </a:lnTo>
                <a:lnTo>
                  <a:pt x="602" y="173"/>
                </a:lnTo>
                <a:lnTo>
                  <a:pt x="604" y="171"/>
                </a:lnTo>
                <a:lnTo>
                  <a:pt x="607" y="170"/>
                </a:lnTo>
                <a:lnTo>
                  <a:pt x="613" y="171"/>
                </a:lnTo>
                <a:lnTo>
                  <a:pt x="614" y="170"/>
                </a:lnTo>
                <a:lnTo>
                  <a:pt x="624" y="166"/>
                </a:lnTo>
                <a:lnTo>
                  <a:pt x="627" y="167"/>
                </a:lnTo>
                <a:lnTo>
                  <a:pt x="627" y="168"/>
                </a:lnTo>
                <a:lnTo>
                  <a:pt x="626" y="170"/>
                </a:lnTo>
                <a:lnTo>
                  <a:pt x="624" y="173"/>
                </a:lnTo>
                <a:lnTo>
                  <a:pt x="624" y="177"/>
                </a:lnTo>
                <a:lnTo>
                  <a:pt x="622" y="182"/>
                </a:lnTo>
                <a:lnTo>
                  <a:pt x="622" y="183"/>
                </a:lnTo>
                <a:lnTo>
                  <a:pt x="624" y="188"/>
                </a:lnTo>
                <a:lnTo>
                  <a:pt x="623" y="191"/>
                </a:lnTo>
                <a:lnTo>
                  <a:pt x="623" y="194"/>
                </a:lnTo>
                <a:lnTo>
                  <a:pt x="621" y="199"/>
                </a:lnTo>
                <a:lnTo>
                  <a:pt x="621" y="201"/>
                </a:lnTo>
                <a:lnTo>
                  <a:pt x="620" y="202"/>
                </a:lnTo>
                <a:lnTo>
                  <a:pt x="620" y="207"/>
                </a:lnTo>
                <a:lnTo>
                  <a:pt x="621" y="208"/>
                </a:lnTo>
                <a:lnTo>
                  <a:pt x="621" y="210"/>
                </a:lnTo>
                <a:lnTo>
                  <a:pt x="620" y="210"/>
                </a:lnTo>
                <a:lnTo>
                  <a:pt x="619" y="211"/>
                </a:lnTo>
                <a:lnTo>
                  <a:pt x="616" y="216"/>
                </a:lnTo>
                <a:lnTo>
                  <a:pt x="622" y="211"/>
                </a:lnTo>
                <a:lnTo>
                  <a:pt x="623" y="209"/>
                </a:lnTo>
                <a:lnTo>
                  <a:pt x="623" y="205"/>
                </a:lnTo>
                <a:lnTo>
                  <a:pt x="624" y="202"/>
                </a:lnTo>
                <a:lnTo>
                  <a:pt x="623" y="201"/>
                </a:lnTo>
                <a:lnTo>
                  <a:pt x="626" y="192"/>
                </a:lnTo>
                <a:lnTo>
                  <a:pt x="626" y="191"/>
                </a:lnTo>
                <a:lnTo>
                  <a:pt x="633" y="191"/>
                </a:lnTo>
                <a:lnTo>
                  <a:pt x="635" y="194"/>
                </a:lnTo>
                <a:lnTo>
                  <a:pt x="639" y="195"/>
                </a:lnTo>
                <a:lnTo>
                  <a:pt x="638" y="194"/>
                </a:lnTo>
                <a:lnTo>
                  <a:pt x="635" y="192"/>
                </a:lnTo>
                <a:lnTo>
                  <a:pt x="633" y="190"/>
                </a:lnTo>
                <a:lnTo>
                  <a:pt x="632" y="190"/>
                </a:lnTo>
                <a:lnTo>
                  <a:pt x="629" y="189"/>
                </a:lnTo>
                <a:lnTo>
                  <a:pt x="629" y="185"/>
                </a:lnTo>
                <a:lnTo>
                  <a:pt x="628" y="184"/>
                </a:lnTo>
                <a:lnTo>
                  <a:pt x="628" y="179"/>
                </a:lnTo>
                <a:lnTo>
                  <a:pt x="629" y="177"/>
                </a:lnTo>
                <a:lnTo>
                  <a:pt x="629" y="176"/>
                </a:lnTo>
                <a:lnTo>
                  <a:pt x="630" y="174"/>
                </a:lnTo>
                <a:lnTo>
                  <a:pt x="630" y="172"/>
                </a:lnTo>
                <a:lnTo>
                  <a:pt x="633" y="170"/>
                </a:lnTo>
                <a:lnTo>
                  <a:pt x="633" y="168"/>
                </a:lnTo>
                <a:lnTo>
                  <a:pt x="635" y="164"/>
                </a:lnTo>
                <a:lnTo>
                  <a:pt x="636" y="162"/>
                </a:lnTo>
                <a:lnTo>
                  <a:pt x="636" y="165"/>
                </a:lnTo>
                <a:lnTo>
                  <a:pt x="634" y="172"/>
                </a:lnTo>
                <a:lnTo>
                  <a:pt x="636" y="172"/>
                </a:lnTo>
                <a:lnTo>
                  <a:pt x="638" y="170"/>
                </a:lnTo>
                <a:lnTo>
                  <a:pt x="639" y="162"/>
                </a:lnTo>
                <a:lnTo>
                  <a:pt x="641" y="159"/>
                </a:lnTo>
                <a:lnTo>
                  <a:pt x="642" y="153"/>
                </a:lnTo>
                <a:lnTo>
                  <a:pt x="642" y="158"/>
                </a:lnTo>
                <a:lnTo>
                  <a:pt x="644" y="159"/>
                </a:lnTo>
                <a:lnTo>
                  <a:pt x="644" y="160"/>
                </a:lnTo>
                <a:lnTo>
                  <a:pt x="645" y="161"/>
                </a:lnTo>
                <a:lnTo>
                  <a:pt x="645" y="152"/>
                </a:lnTo>
                <a:lnTo>
                  <a:pt x="646" y="151"/>
                </a:lnTo>
                <a:lnTo>
                  <a:pt x="647" y="147"/>
                </a:lnTo>
                <a:lnTo>
                  <a:pt x="648" y="147"/>
                </a:lnTo>
                <a:lnTo>
                  <a:pt x="650" y="148"/>
                </a:lnTo>
                <a:lnTo>
                  <a:pt x="653" y="156"/>
                </a:lnTo>
                <a:lnTo>
                  <a:pt x="654" y="159"/>
                </a:lnTo>
                <a:lnTo>
                  <a:pt x="653" y="160"/>
                </a:lnTo>
                <a:lnTo>
                  <a:pt x="653" y="162"/>
                </a:lnTo>
                <a:lnTo>
                  <a:pt x="652" y="164"/>
                </a:lnTo>
                <a:lnTo>
                  <a:pt x="652" y="170"/>
                </a:lnTo>
                <a:lnTo>
                  <a:pt x="651" y="171"/>
                </a:lnTo>
                <a:lnTo>
                  <a:pt x="651" y="176"/>
                </a:lnTo>
                <a:lnTo>
                  <a:pt x="650" y="177"/>
                </a:lnTo>
                <a:lnTo>
                  <a:pt x="650" y="185"/>
                </a:lnTo>
                <a:lnTo>
                  <a:pt x="652" y="188"/>
                </a:lnTo>
                <a:lnTo>
                  <a:pt x="652" y="194"/>
                </a:lnTo>
                <a:lnTo>
                  <a:pt x="651" y="194"/>
                </a:lnTo>
                <a:lnTo>
                  <a:pt x="647" y="197"/>
                </a:lnTo>
                <a:lnTo>
                  <a:pt x="648" y="199"/>
                </a:lnTo>
                <a:lnTo>
                  <a:pt x="647" y="201"/>
                </a:lnTo>
                <a:lnTo>
                  <a:pt x="647" y="208"/>
                </a:lnTo>
                <a:lnTo>
                  <a:pt x="646" y="209"/>
                </a:lnTo>
                <a:lnTo>
                  <a:pt x="645" y="208"/>
                </a:lnTo>
                <a:lnTo>
                  <a:pt x="645" y="211"/>
                </a:lnTo>
                <a:lnTo>
                  <a:pt x="644" y="215"/>
                </a:lnTo>
                <a:lnTo>
                  <a:pt x="642" y="217"/>
                </a:lnTo>
                <a:lnTo>
                  <a:pt x="641" y="219"/>
                </a:lnTo>
                <a:lnTo>
                  <a:pt x="638" y="221"/>
                </a:lnTo>
                <a:lnTo>
                  <a:pt x="635" y="222"/>
                </a:lnTo>
                <a:lnTo>
                  <a:pt x="635" y="225"/>
                </a:lnTo>
                <a:lnTo>
                  <a:pt x="636" y="226"/>
                </a:lnTo>
                <a:lnTo>
                  <a:pt x="633" y="229"/>
                </a:lnTo>
                <a:lnTo>
                  <a:pt x="633" y="232"/>
                </a:lnTo>
                <a:lnTo>
                  <a:pt x="634" y="233"/>
                </a:lnTo>
                <a:lnTo>
                  <a:pt x="634" y="232"/>
                </a:lnTo>
                <a:lnTo>
                  <a:pt x="635" y="231"/>
                </a:lnTo>
                <a:lnTo>
                  <a:pt x="638" y="226"/>
                </a:lnTo>
                <a:lnTo>
                  <a:pt x="645" y="219"/>
                </a:lnTo>
                <a:lnTo>
                  <a:pt x="647" y="217"/>
                </a:lnTo>
                <a:lnTo>
                  <a:pt x="651" y="208"/>
                </a:lnTo>
                <a:lnTo>
                  <a:pt x="652" y="207"/>
                </a:lnTo>
                <a:lnTo>
                  <a:pt x="653" y="203"/>
                </a:lnTo>
                <a:lnTo>
                  <a:pt x="654" y="202"/>
                </a:lnTo>
                <a:lnTo>
                  <a:pt x="654" y="197"/>
                </a:lnTo>
                <a:lnTo>
                  <a:pt x="655" y="197"/>
                </a:lnTo>
                <a:lnTo>
                  <a:pt x="655" y="196"/>
                </a:lnTo>
                <a:lnTo>
                  <a:pt x="657" y="195"/>
                </a:lnTo>
                <a:lnTo>
                  <a:pt x="658" y="196"/>
                </a:lnTo>
                <a:lnTo>
                  <a:pt x="658" y="197"/>
                </a:lnTo>
                <a:lnTo>
                  <a:pt x="663" y="202"/>
                </a:lnTo>
                <a:lnTo>
                  <a:pt x="669" y="203"/>
                </a:lnTo>
                <a:lnTo>
                  <a:pt x="671" y="205"/>
                </a:lnTo>
                <a:lnTo>
                  <a:pt x="672" y="205"/>
                </a:lnTo>
                <a:lnTo>
                  <a:pt x="670" y="203"/>
                </a:lnTo>
                <a:lnTo>
                  <a:pt x="666" y="201"/>
                </a:lnTo>
                <a:lnTo>
                  <a:pt x="665" y="198"/>
                </a:lnTo>
                <a:lnTo>
                  <a:pt x="664" y="195"/>
                </a:lnTo>
                <a:lnTo>
                  <a:pt x="663" y="194"/>
                </a:lnTo>
                <a:lnTo>
                  <a:pt x="659" y="191"/>
                </a:lnTo>
                <a:lnTo>
                  <a:pt x="657" y="189"/>
                </a:lnTo>
                <a:lnTo>
                  <a:pt x="657" y="186"/>
                </a:lnTo>
                <a:lnTo>
                  <a:pt x="659" y="179"/>
                </a:lnTo>
                <a:lnTo>
                  <a:pt x="658" y="177"/>
                </a:lnTo>
                <a:lnTo>
                  <a:pt x="658" y="174"/>
                </a:lnTo>
                <a:lnTo>
                  <a:pt x="657" y="173"/>
                </a:lnTo>
                <a:lnTo>
                  <a:pt x="657" y="172"/>
                </a:lnTo>
                <a:lnTo>
                  <a:pt x="658" y="172"/>
                </a:lnTo>
                <a:lnTo>
                  <a:pt x="663" y="171"/>
                </a:lnTo>
                <a:lnTo>
                  <a:pt x="669" y="167"/>
                </a:lnTo>
                <a:lnTo>
                  <a:pt x="671" y="165"/>
                </a:lnTo>
                <a:lnTo>
                  <a:pt x="671" y="162"/>
                </a:lnTo>
                <a:lnTo>
                  <a:pt x="670" y="161"/>
                </a:lnTo>
                <a:lnTo>
                  <a:pt x="670" y="160"/>
                </a:lnTo>
                <a:lnTo>
                  <a:pt x="669" y="158"/>
                </a:lnTo>
                <a:lnTo>
                  <a:pt x="671" y="158"/>
                </a:lnTo>
                <a:lnTo>
                  <a:pt x="681" y="151"/>
                </a:lnTo>
                <a:lnTo>
                  <a:pt x="682" y="149"/>
                </a:lnTo>
                <a:lnTo>
                  <a:pt x="682" y="151"/>
                </a:lnTo>
                <a:lnTo>
                  <a:pt x="677" y="155"/>
                </a:lnTo>
                <a:lnTo>
                  <a:pt x="675" y="160"/>
                </a:lnTo>
                <a:lnTo>
                  <a:pt x="673" y="160"/>
                </a:lnTo>
                <a:lnTo>
                  <a:pt x="673" y="161"/>
                </a:lnTo>
                <a:lnTo>
                  <a:pt x="675" y="162"/>
                </a:lnTo>
                <a:lnTo>
                  <a:pt x="676" y="162"/>
                </a:lnTo>
                <a:lnTo>
                  <a:pt x="677" y="164"/>
                </a:lnTo>
                <a:lnTo>
                  <a:pt x="676" y="164"/>
                </a:lnTo>
                <a:lnTo>
                  <a:pt x="676" y="166"/>
                </a:lnTo>
                <a:lnTo>
                  <a:pt x="679" y="170"/>
                </a:lnTo>
                <a:lnTo>
                  <a:pt x="681" y="168"/>
                </a:lnTo>
                <a:lnTo>
                  <a:pt x="678" y="166"/>
                </a:lnTo>
                <a:lnTo>
                  <a:pt x="678" y="165"/>
                </a:lnTo>
                <a:lnTo>
                  <a:pt x="681" y="164"/>
                </a:lnTo>
                <a:lnTo>
                  <a:pt x="681" y="160"/>
                </a:lnTo>
                <a:lnTo>
                  <a:pt x="682" y="160"/>
                </a:lnTo>
                <a:lnTo>
                  <a:pt x="685" y="159"/>
                </a:lnTo>
                <a:lnTo>
                  <a:pt x="686" y="159"/>
                </a:lnTo>
                <a:lnTo>
                  <a:pt x="685" y="161"/>
                </a:lnTo>
                <a:lnTo>
                  <a:pt x="684" y="165"/>
                </a:lnTo>
                <a:lnTo>
                  <a:pt x="683" y="166"/>
                </a:lnTo>
                <a:lnTo>
                  <a:pt x="685" y="166"/>
                </a:lnTo>
                <a:lnTo>
                  <a:pt x="686" y="164"/>
                </a:lnTo>
                <a:lnTo>
                  <a:pt x="688" y="162"/>
                </a:lnTo>
                <a:lnTo>
                  <a:pt x="688" y="161"/>
                </a:lnTo>
                <a:lnTo>
                  <a:pt x="686" y="155"/>
                </a:lnTo>
                <a:lnTo>
                  <a:pt x="691" y="155"/>
                </a:lnTo>
                <a:lnTo>
                  <a:pt x="691" y="153"/>
                </a:lnTo>
                <a:lnTo>
                  <a:pt x="689" y="152"/>
                </a:lnTo>
                <a:lnTo>
                  <a:pt x="686" y="152"/>
                </a:lnTo>
                <a:lnTo>
                  <a:pt x="688" y="147"/>
                </a:lnTo>
                <a:lnTo>
                  <a:pt x="689" y="143"/>
                </a:lnTo>
                <a:lnTo>
                  <a:pt x="690" y="141"/>
                </a:lnTo>
                <a:lnTo>
                  <a:pt x="692" y="140"/>
                </a:lnTo>
                <a:lnTo>
                  <a:pt x="695" y="140"/>
                </a:lnTo>
                <a:lnTo>
                  <a:pt x="702" y="145"/>
                </a:lnTo>
                <a:lnTo>
                  <a:pt x="702" y="148"/>
                </a:lnTo>
                <a:lnTo>
                  <a:pt x="703" y="149"/>
                </a:lnTo>
                <a:lnTo>
                  <a:pt x="702" y="152"/>
                </a:lnTo>
                <a:lnTo>
                  <a:pt x="703" y="154"/>
                </a:lnTo>
                <a:lnTo>
                  <a:pt x="706" y="155"/>
                </a:lnTo>
                <a:lnTo>
                  <a:pt x="707" y="156"/>
                </a:lnTo>
                <a:lnTo>
                  <a:pt x="710" y="158"/>
                </a:lnTo>
                <a:lnTo>
                  <a:pt x="716" y="165"/>
                </a:lnTo>
                <a:lnTo>
                  <a:pt x="717" y="167"/>
                </a:lnTo>
                <a:lnTo>
                  <a:pt x="717" y="170"/>
                </a:lnTo>
                <a:lnTo>
                  <a:pt x="722" y="174"/>
                </a:lnTo>
                <a:lnTo>
                  <a:pt x="719" y="174"/>
                </a:lnTo>
                <a:lnTo>
                  <a:pt x="720" y="176"/>
                </a:lnTo>
                <a:lnTo>
                  <a:pt x="723" y="176"/>
                </a:lnTo>
                <a:lnTo>
                  <a:pt x="725" y="174"/>
                </a:lnTo>
                <a:lnTo>
                  <a:pt x="725" y="173"/>
                </a:lnTo>
                <a:lnTo>
                  <a:pt x="722" y="172"/>
                </a:lnTo>
                <a:lnTo>
                  <a:pt x="722" y="168"/>
                </a:lnTo>
                <a:lnTo>
                  <a:pt x="721" y="166"/>
                </a:lnTo>
                <a:lnTo>
                  <a:pt x="716" y="164"/>
                </a:lnTo>
                <a:lnTo>
                  <a:pt x="717" y="162"/>
                </a:lnTo>
                <a:lnTo>
                  <a:pt x="720" y="164"/>
                </a:lnTo>
                <a:lnTo>
                  <a:pt x="721" y="162"/>
                </a:lnTo>
                <a:lnTo>
                  <a:pt x="721" y="160"/>
                </a:lnTo>
                <a:lnTo>
                  <a:pt x="720" y="160"/>
                </a:lnTo>
                <a:lnTo>
                  <a:pt x="717" y="159"/>
                </a:lnTo>
                <a:lnTo>
                  <a:pt x="717" y="153"/>
                </a:lnTo>
                <a:lnTo>
                  <a:pt x="716" y="151"/>
                </a:lnTo>
                <a:lnTo>
                  <a:pt x="717" y="148"/>
                </a:lnTo>
                <a:lnTo>
                  <a:pt x="717" y="147"/>
                </a:lnTo>
                <a:lnTo>
                  <a:pt x="716" y="146"/>
                </a:lnTo>
                <a:lnTo>
                  <a:pt x="717" y="146"/>
                </a:lnTo>
                <a:lnTo>
                  <a:pt x="717" y="145"/>
                </a:lnTo>
                <a:lnTo>
                  <a:pt x="720" y="146"/>
                </a:lnTo>
                <a:lnTo>
                  <a:pt x="721" y="145"/>
                </a:lnTo>
                <a:lnTo>
                  <a:pt x="721" y="149"/>
                </a:lnTo>
                <a:lnTo>
                  <a:pt x="722" y="151"/>
                </a:lnTo>
                <a:lnTo>
                  <a:pt x="722" y="141"/>
                </a:lnTo>
                <a:lnTo>
                  <a:pt x="723" y="141"/>
                </a:lnTo>
                <a:lnTo>
                  <a:pt x="725" y="140"/>
                </a:lnTo>
                <a:lnTo>
                  <a:pt x="719" y="142"/>
                </a:lnTo>
                <a:lnTo>
                  <a:pt x="714" y="142"/>
                </a:lnTo>
                <a:lnTo>
                  <a:pt x="711" y="139"/>
                </a:lnTo>
                <a:lnTo>
                  <a:pt x="714" y="136"/>
                </a:lnTo>
                <a:lnTo>
                  <a:pt x="720" y="136"/>
                </a:lnTo>
                <a:lnTo>
                  <a:pt x="721" y="135"/>
                </a:lnTo>
                <a:lnTo>
                  <a:pt x="722" y="133"/>
                </a:lnTo>
                <a:lnTo>
                  <a:pt x="725" y="130"/>
                </a:lnTo>
                <a:lnTo>
                  <a:pt x="725" y="129"/>
                </a:lnTo>
                <a:lnTo>
                  <a:pt x="721" y="130"/>
                </a:lnTo>
                <a:lnTo>
                  <a:pt x="720" y="133"/>
                </a:lnTo>
                <a:lnTo>
                  <a:pt x="719" y="133"/>
                </a:lnTo>
                <a:lnTo>
                  <a:pt x="714" y="131"/>
                </a:lnTo>
                <a:lnTo>
                  <a:pt x="713" y="133"/>
                </a:lnTo>
                <a:lnTo>
                  <a:pt x="713" y="134"/>
                </a:lnTo>
                <a:lnTo>
                  <a:pt x="711" y="135"/>
                </a:lnTo>
                <a:lnTo>
                  <a:pt x="708" y="136"/>
                </a:lnTo>
                <a:lnTo>
                  <a:pt x="707" y="135"/>
                </a:lnTo>
                <a:lnTo>
                  <a:pt x="704" y="131"/>
                </a:lnTo>
                <a:lnTo>
                  <a:pt x="700" y="133"/>
                </a:lnTo>
                <a:lnTo>
                  <a:pt x="697" y="130"/>
                </a:lnTo>
                <a:lnTo>
                  <a:pt x="696" y="127"/>
                </a:lnTo>
                <a:lnTo>
                  <a:pt x="696" y="124"/>
                </a:lnTo>
                <a:lnTo>
                  <a:pt x="697" y="124"/>
                </a:lnTo>
                <a:lnTo>
                  <a:pt x="698" y="123"/>
                </a:lnTo>
                <a:lnTo>
                  <a:pt x="698" y="122"/>
                </a:lnTo>
                <a:lnTo>
                  <a:pt x="694" y="123"/>
                </a:lnTo>
                <a:lnTo>
                  <a:pt x="691" y="123"/>
                </a:lnTo>
                <a:lnTo>
                  <a:pt x="689" y="121"/>
                </a:lnTo>
                <a:lnTo>
                  <a:pt x="689" y="118"/>
                </a:lnTo>
                <a:lnTo>
                  <a:pt x="686" y="118"/>
                </a:lnTo>
                <a:lnTo>
                  <a:pt x="686" y="117"/>
                </a:lnTo>
                <a:lnTo>
                  <a:pt x="688" y="116"/>
                </a:lnTo>
                <a:lnTo>
                  <a:pt x="689" y="113"/>
                </a:lnTo>
                <a:lnTo>
                  <a:pt x="691" y="112"/>
                </a:lnTo>
                <a:lnTo>
                  <a:pt x="692" y="112"/>
                </a:lnTo>
                <a:lnTo>
                  <a:pt x="695" y="110"/>
                </a:lnTo>
                <a:lnTo>
                  <a:pt x="696" y="110"/>
                </a:lnTo>
                <a:lnTo>
                  <a:pt x="696" y="112"/>
                </a:lnTo>
                <a:lnTo>
                  <a:pt x="697" y="113"/>
                </a:lnTo>
                <a:lnTo>
                  <a:pt x="698" y="117"/>
                </a:lnTo>
                <a:lnTo>
                  <a:pt x="698" y="113"/>
                </a:lnTo>
                <a:lnTo>
                  <a:pt x="700" y="112"/>
                </a:lnTo>
                <a:lnTo>
                  <a:pt x="700" y="105"/>
                </a:lnTo>
                <a:lnTo>
                  <a:pt x="701" y="104"/>
                </a:lnTo>
                <a:lnTo>
                  <a:pt x="703" y="104"/>
                </a:lnTo>
                <a:lnTo>
                  <a:pt x="703" y="108"/>
                </a:lnTo>
                <a:lnTo>
                  <a:pt x="704" y="110"/>
                </a:lnTo>
                <a:lnTo>
                  <a:pt x="704" y="111"/>
                </a:lnTo>
                <a:lnTo>
                  <a:pt x="707" y="111"/>
                </a:lnTo>
                <a:lnTo>
                  <a:pt x="708" y="112"/>
                </a:lnTo>
                <a:lnTo>
                  <a:pt x="711" y="118"/>
                </a:lnTo>
                <a:lnTo>
                  <a:pt x="711" y="119"/>
                </a:lnTo>
                <a:lnTo>
                  <a:pt x="713" y="122"/>
                </a:lnTo>
                <a:lnTo>
                  <a:pt x="713" y="123"/>
                </a:lnTo>
                <a:lnTo>
                  <a:pt x="715" y="125"/>
                </a:lnTo>
                <a:lnTo>
                  <a:pt x="715" y="119"/>
                </a:lnTo>
                <a:lnTo>
                  <a:pt x="714" y="119"/>
                </a:lnTo>
                <a:lnTo>
                  <a:pt x="714" y="118"/>
                </a:lnTo>
                <a:lnTo>
                  <a:pt x="715" y="117"/>
                </a:lnTo>
                <a:lnTo>
                  <a:pt x="711" y="113"/>
                </a:lnTo>
                <a:lnTo>
                  <a:pt x="711" y="111"/>
                </a:lnTo>
                <a:lnTo>
                  <a:pt x="720" y="103"/>
                </a:lnTo>
                <a:lnTo>
                  <a:pt x="721" y="103"/>
                </a:lnTo>
                <a:lnTo>
                  <a:pt x="721" y="105"/>
                </a:lnTo>
                <a:lnTo>
                  <a:pt x="720" y="106"/>
                </a:lnTo>
                <a:lnTo>
                  <a:pt x="720" y="108"/>
                </a:lnTo>
                <a:lnTo>
                  <a:pt x="721" y="108"/>
                </a:lnTo>
                <a:lnTo>
                  <a:pt x="723" y="105"/>
                </a:lnTo>
                <a:lnTo>
                  <a:pt x="725" y="105"/>
                </a:lnTo>
                <a:lnTo>
                  <a:pt x="725" y="115"/>
                </a:lnTo>
                <a:lnTo>
                  <a:pt x="727" y="112"/>
                </a:lnTo>
                <a:lnTo>
                  <a:pt x="727" y="111"/>
                </a:lnTo>
                <a:lnTo>
                  <a:pt x="726" y="108"/>
                </a:lnTo>
                <a:lnTo>
                  <a:pt x="732" y="106"/>
                </a:lnTo>
                <a:lnTo>
                  <a:pt x="733" y="108"/>
                </a:lnTo>
                <a:lnTo>
                  <a:pt x="733" y="111"/>
                </a:lnTo>
                <a:lnTo>
                  <a:pt x="732" y="113"/>
                </a:lnTo>
                <a:lnTo>
                  <a:pt x="731" y="115"/>
                </a:lnTo>
                <a:lnTo>
                  <a:pt x="732" y="116"/>
                </a:lnTo>
                <a:lnTo>
                  <a:pt x="732" y="121"/>
                </a:lnTo>
                <a:lnTo>
                  <a:pt x="733" y="123"/>
                </a:lnTo>
                <a:lnTo>
                  <a:pt x="732" y="124"/>
                </a:lnTo>
                <a:lnTo>
                  <a:pt x="731" y="124"/>
                </a:lnTo>
                <a:lnTo>
                  <a:pt x="731" y="125"/>
                </a:lnTo>
                <a:lnTo>
                  <a:pt x="732" y="127"/>
                </a:lnTo>
                <a:lnTo>
                  <a:pt x="738" y="125"/>
                </a:lnTo>
                <a:lnTo>
                  <a:pt x="742" y="128"/>
                </a:lnTo>
                <a:lnTo>
                  <a:pt x="744" y="128"/>
                </a:lnTo>
                <a:lnTo>
                  <a:pt x="741" y="125"/>
                </a:lnTo>
                <a:lnTo>
                  <a:pt x="734" y="123"/>
                </a:lnTo>
                <a:lnTo>
                  <a:pt x="734" y="121"/>
                </a:lnTo>
                <a:lnTo>
                  <a:pt x="735" y="117"/>
                </a:lnTo>
                <a:lnTo>
                  <a:pt x="737" y="112"/>
                </a:lnTo>
                <a:lnTo>
                  <a:pt x="735" y="112"/>
                </a:lnTo>
                <a:lnTo>
                  <a:pt x="737" y="111"/>
                </a:lnTo>
                <a:lnTo>
                  <a:pt x="740" y="111"/>
                </a:lnTo>
                <a:lnTo>
                  <a:pt x="741" y="112"/>
                </a:lnTo>
                <a:lnTo>
                  <a:pt x="744" y="113"/>
                </a:lnTo>
                <a:lnTo>
                  <a:pt x="745" y="113"/>
                </a:lnTo>
                <a:lnTo>
                  <a:pt x="745" y="116"/>
                </a:lnTo>
                <a:lnTo>
                  <a:pt x="748" y="116"/>
                </a:lnTo>
                <a:lnTo>
                  <a:pt x="760" y="117"/>
                </a:lnTo>
                <a:lnTo>
                  <a:pt x="762" y="118"/>
                </a:lnTo>
                <a:lnTo>
                  <a:pt x="762" y="119"/>
                </a:lnTo>
                <a:lnTo>
                  <a:pt x="757" y="128"/>
                </a:lnTo>
                <a:lnTo>
                  <a:pt x="756" y="129"/>
                </a:lnTo>
                <a:lnTo>
                  <a:pt x="754" y="129"/>
                </a:lnTo>
                <a:lnTo>
                  <a:pt x="744" y="133"/>
                </a:lnTo>
                <a:lnTo>
                  <a:pt x="739" y="133"/>
                </a:lnTo>
                <a:lnTo>
                  <a:pt x="737" y="135"/>
                </a:lnTo>
                <a:lnTo>
                  <a:pt x="732" y="137"/>
                </a:lnTo>
                <a:lnTo>
                  <a:pt x="733" y="139"/>
                </a:lnTo>
                <a:lnTo>
                  <a:pt x="734" y="139"/>
                </a:lnTo>
                <a:lnTo>
                  <a:pt x="737" y="136"/>
                </a:lnTo>
                <a:lnTo>
                  <a:pt x="747" y="134"/>
                </a:lnTo>
                <a:lnTo>
                  <a:pt x="751" y="131"/>
                </a:lnTo>
                <a:lnTo>
                  <a:pt x="757" y="130"/>
                </a:lnTo>
                <a:lnTo>
                  <a:pt x="762" y="125"/>
                </a:lnTo>
                <a:lnTo>
                  <a:pt x="763" y="125"/>
                </a:lnTo>
                <a:lnTo>
                  <a:pt x="763" y="139"/>
                </a:lnTo>
                <a:lnTo>
                  <a:pt x="764" y="140"/>
                </a:lnTo>
                <a:lnTo>
                  <a:pt x="765" y="140"/>
                </a:lnTo>
                <a:lnTo>
                  <a:pt x="766" y="139"/>
                </a:lnTo>
                <a:lnTo>
                  <a:pt x="768" y="139"/>
                </a:lnTo>
                <a:lnTo>
                  <a:pt x="768" y="145"/>
                </a:lnTo>
                <a:lnTo>
                  <a:pt x="769" y="147"/>
                </a:lnTo>
                <a:lnTo>
                  <a:pt x="768" y="147"/>
                </a:lnTo>
                <a:lnTo>
                  <a:pt x="768" y="148"/>
                </a:lnTo>
                <a:lnTo>
                  <a:pt x="766" y="149"/>
                </a:lnTo>
                <a:lnTo>
                  <a:pt x="768" y="151"/>
                </a:lnTo>
                <a:lnTo>
                  <a:pt x="769" y="149"/>
                </a:lnTo>
                <a:lnTo>
                  <a:pt x="775" y="145"/>
                </a:lnTo>
                <a:lnTo>
                  <a:pt x="775" y="143"/>
                </a:lnTo>
                <a:lnTo>
                  <a:pt x="776" y="143"/>
                </a:lnTo>
                <a:lnTo>
                  <a:pt x="776" y="146"/>
                </a:lnTo>
                <a:lnTo>
                  <a:pt x="777" y="146"/>
                </a:lnTo>
                <a:lnTo>
                  <a:pt x="777" y="147"/>
                </a:lnTo>
                <a:lnTo>
                  <a:pt x="776" y="149"/>
                </a:lnTo>
                <a:lnTo>
                  <a:pt x="781" y="146"/>
                </a:lnTo>
                <a:lnTo>
                  <a:pt x="782" y="145"/>
                </a:lnTo>
                <a:lnTo>
                  <a:pt x="783" y="145"/>
                </a:lnTo>
                <a:lnTo>
                  <a:pt x="783" y="142"/>
                </a:lnTo>
                <a:lnTo>
                  <a:pt x="784" y="141"/>
                </a:lnTo>
                <a:lnTo>
                  <a:pt x="785" y="141"/>
                </a:lnTo>
                <a:lnTo>
                  <a:pt x="783" y="139"/>
                </a:lnTo>
                <a:lnTo>
                  <a:pt x="775" y="139"/>
                </a:lnTo>
                <a:lnTo>
                  <a:pt x="773" y="137"/>
                </a:lnTo>
                <a:lnTo>
                  <a:pt x="770" y="131"/>
                </a:lnTo>
                <a:lnTo>
                  <a:pt x="772" y="131"/>
                </a:lnTo>
                <a:lnTo>
                  <a:pt x="772" y="130"/>
                </a:lnTo>
                <a:lnTo>
                  <a:pt x="773" y="130"/>
                </a:lnTo>
                <a:lnTo>
                  <a:pt x="773" y="129"/>
                </a:lnTo>
                <a:lnTo>
                  <a:pt x="777" y="129"/>
                </a:lnTo>
                <a:lnTo>
                  <a:pt x="778" y="128"/>
                </a:lnTo>
                <a:lnTo>
                  <a:pt x="779" y="125"/>
                </a:lnTo>
                <a:lnTo>
                  <a:pt x="778" y="124"/>
                </a:lnTo>
                <a:lnTo>
                  <a:pt x="776" y="123"/>
                </a:lnTo>
                <a:lnTo>
                  <a:pt x="775" y="123"/>
                </a:lnTo>
                <a:lnTo>
                  <a:pt x="776" y="122"/>
                </a:lnTo>
                <a:lnTo>
                  <a:pt x="779" y="121"/>
                </a:lnTo>
                <a:lnTo>
                  <a:pt x="781" y="119"/>
                </a:lnTo>
                <a:lnTo>
                  <a:pt x="776" y="119"/>
                </a:lnTo>
                <a:lnTo>
                  <a:pt x="775" y="118"/>
                </a:lnTo>
                <a:lnTo>
                  <a:pt x="772" y="117"/>
                </a:lnTo>
                <a:lnTo>
                  <a:pt x="773" y="116"/>
                </a:lnTo>
                <a:lnTo>
                  <a:pt x="778" y="115"/>
                </a:lnTo>
                <a:lnTo>
                  <a:pt x="783" y="115"/>
                </a:lnTo>
                <a:lnTo>
                  <a:pt x="783" y="113"/>
                </a:lnTo>
                <a:lnTo>
                  <a:pt x="784" y="113"/>
                </a:lnTo>
                <a:lnTo>
                  <a:pt x="782" y="111"/>
                </a:lnTo>
                <a:lnTo>
                  <a:pt x="775" y="113"/>
                </a:lnTo>
                <a:lnTo>
                  <a:pt x="776" y="111"/>
                </a:lnTo>
                <a:lnTo>
                  <a:pt x="779" y="109"/>
                </a:lnTo>
                <a:lnTo>
                  <a:pt x="787" y="108"/>
                </a:lnTo>
                <a:lnTo>
                  <a:pt x="788" y="105"/>
                </a:lnTo>
                <a:lnTo>
                  <a:pt x="784" y="106"/>
                </a:lnTo>
                <a:lnTo>
                  <a:pt x="784" y="105"/>
                </a:lnTo>
                <a:lnTo>
                  <a:pt x="785" y="103"/>
                </a:lnTo>
                <a:lnTo>
                  <a:pt x="784" y="103"/>
                </a:lnTo>
                <a:lnTo>
                  <a:pt x="783" y="104"/>
                </a:lnTo>
                <a:lnTo>
                  <a:pt x="782" y="104"/>
                </a:lnTo>
                <a:lnTo>
                  <a:pt x="783" y="103"/>
                </a:lnTo>
                <a:lnTo>
                  <a:pt x="784" y="98"/>
                </a:lnTo>
                <a:lnTo>
                  <a:pt x="785" y="97"/>
                </a:lnTo>
                <a:lnTo>
                  <a:pt x="787" y="97"/>
                </a:lnTo>
                <a:lnTo>
                  <a:pt x="788" y="96"/>
                </a:lnTo>
                <a:lnTo>
                  <a:pt x="789" y="92"/>
                </a:lnTo>
                <a:lnTo>
                  <a:pt x="794" y="87"/>
                </a:lnTo>
                <a:lnTo>
                  <a:pt x="797" y="82"/>
                </a:lnTo>
                <a:lnTo>
                  <a:pt x="797" y="81"/>
                </a:lnTo>
                <a:lnTo>
                  <a:pt x="801" y="80"/>
                </a:lnTo>
                <a:lnTo>
                  <a:pt x="813" y="81"/>
                </a:lnTo>
                <a:lnTo>
                  <a:pt x="818" y="84"/>
                </a:lnTo>
                <a:lnTo>
                  <a:pt x="818" y="85"/>
                </a:lnTo>
                <a:lnTo>
                  <a:pt x="819" y="86"/>
                </a:lnTo>
                <a:lnTo>
                  <a:pt x="820" y="86"/>
                </a:lnTo>
                <a:lnTo>
                  <a:pt x="820" y="85"/>
                </a:lnTo>
                <a:lnTo>
                  <a:pt x="818" y="82"/>
                </a:lnTo>
                <a:lnTo>
                  <a:pt x="815" y="79"/>
                </a:lnTo>
                <a:lnTo>
                  <a:pt x="814" y="78"/>
                </a:lnTo>
                <a:lnTo>
                  <a:pt x="809" y="76"/>
                </a:lnTo>
                <a:lnTo>
                  <a:pt x="809" y="74"/>
                </a:lnTo>
                <a:lnTo>
                  <a:pt x="814" y="70"/>
                </a:lnTo>
                <a:lnTo>
                  <a:pt x="814" y="68"/>
                </a:lnTo>
                <a:lnTo>
                  <a:pt x="815" y="68"/>
                </a:lnTo>
                <a:lnTo>
                  <a:pt x="815" y="67"/>
                </a:lnTo>
                <a:lnTo>
                  <a:pt x="816" y="67"/>
                </a:lnTo>
                <a:lnTo>
                  <a:pt x="816" y="60"/>
                </a:lnTo>
                <a:lnTo>
                  <a:pt x="820" y="56"/>
                </a:lnTo>
                <a:lnTo>
                  <a:pt x="822" y="57"/>
                </a:lnTo>
                <a:lnTo>
                  <a:pt x="825" y="57"/>
                </a:lnTo>
                <a:lnTo>
                  <a:pt x="826" y="59"/>
                </a:lnTo>
                <a:lnTo>
                  <a:pt x="831" y="65"/>
                </a:lnTo>
                <a:lnTo>
                  <a:pt x="833" y="67"/>
                </a:lnTo>
                <a:lnTo>
                  <a:pt x="835" y="66"/>
                </a:lnTo>
                <a:lnTo>
                  <a:pt x="835" y="60"/>
                </a:lnTo>
                <a:lnTo>
                  <a:pt x="832" y="57"/>
                </a:lnTo>
                <a:lnTo>
                  <a:pt x="832" y="54"/>
                </a:lnTo>
                <a:lnTo>
                  <a:pt x="829" y="53"/>
                </a:lnTo>
                <a:lnTo>
                  <a:pt x="828" y="51"/>
                </a:lnTo>
                <a:lnTo>
                  <a:pt x="827" y="49"/>
                </a:lnTo>
                <a:lnTo>
                  <a:pt x="824" y="49"/>
                </a:lnTo>
                <a:lnTo>
                  <a:pt x="819" y="48"/>
                </a:lnTo>
                <a:lnTo>
                  <a:pt x="816" y="47"/>
                </a:lnTo>
                <a:lnTo>
                  <a:pt x="815" y="47"/>
                </a:lnTo>
                <a:lnTo>
                  <a:pt x="815" y="44"/>
                </a:lnTo>
                <a:lnTo>
                  <a:pt x="816" y="43"/>
                </a:lnTo>
                <a:lnTo>
                  <a:pt x="816" y="37"/>
                </a:lnTo>
                <a:lnTo>
                  <a:pt x="820" y="35"/>
                </a:lnTo>
                <a:lnTo>
                  <a:pt x="821" y="33"/>
                </a:lnTo>
                <a:lnTo>
                  <a:pt x="822" y="36"/>
                </a:lnTo>
                <a:lnTo>
                  <a:pt x="822" y="37"/>
                </a:lnTo>
                <a:lnTo>
                  <a:pt x="824" y="37"/>
                </a:lnTo>
                <a:lnTo>
                  <a:pt x="825" y="38"/>
                </a:lnTo>
                <a:lnTo>
                  <a:pt x="824" y="41"/>
                </a:lnTo>
                <a:lnTo>
                  <a:pt x="826" y="41"/>
                </a:lnTo>
                <a:lnTo>
                  <a:pt x="831" y="45"/>
                </a:lnTo>
                <a:lnTo>
                  <a:pt x="832" y="45"/>
                </a:lnTo>
                <a:lnTo>
                  <a:pt x="832" y="42"/>
                </a:lnTo>
                <a:lnTo>
                  <a:pt x="829" y="39"/>
                </a:lnTo>
                <a:lnTo>
                  <a:pt x="831" y="37"/>
                </a:lnTo>
                <a:lnTo>
                  <a:pt x="831" y="33"/>
                </a:lnTo>
                <a:lnTo>
                  <a:pt x="832" y="35"/>
                </a:lnTo>
                <a:lnTo>
                  <a:pt x="834" y="35"/>
                </a:lnTo>
                <a:lnTo>
                  <a:pt x="835" y="33"/>
                </a:lnTo>
                <a:lnTo>
                  <a:pt x="832" y="31"/>
                </a:lnTo>
                <a:lnTo>
                  <a:pt x="831" y="30"/>
                </a:lnTo>
                <a:lnTo>
                  <a:pt x="831" y="29"/>
                </a:lnTo>
                <a:lnTo>
                  <a:pt x="829" y="27"/>
                </a:lnTo>
                <a:lnTo>
                  <a:pt x="829" y="26"/>
                </a:lnTo>
                <a:lnTo>
                  <a:pt x="828" y="25"/>
                </a:lnTo>
                <a:lnTo>
                  <a:pt x="829" y="24"/>
                </a:lnTo>
                <a:lnTo>
                  <a:pt x="831" y="24"/>
                </a:lnTo>
                <a:lnTo>
                  <a:pt x="832" y="23"/>
                </a:lnTo>
                <a:lnTo>
                  <a:pt x="829" y="23"/>
                </a:lnTo>
                <a:lnTo>
                  <a:pt x="829" y="22"/>
                </a:lnTo>
                <a:lnTo>
                  <a:pt x="831" y="20"/>
                </a:lnTo>
                <a:lnTo>
                  <a:pt x="832" y="20"/>
                </a:lnTo>
                <a:lnTo>
                  <a:pt x="833" y="19"/>
                </a:lnTo>
                <a:lnTo>
                  <a:pt x="837" y="20"/>
                </a:lnTo>
                <a:lnTo>
                  <a:pt x="838" y="22"/>
                </a:lnTo>
                <a:lnTo>
                  <a:pt x="838" y="23"/>
                </a:lnTo>
                <a:lnTo>
                  <a:pt x="839" y="24"/>
                </a:lnTo>
                <a:lnTo>
                  <a:pt x="840" y="24"/>
                </a:lnTo>
                <a:lnTo>
                  <a:pt x="840" y="27"/>
                </a:lnTo>
                <a:lnTo>
                  <a:pt x="839" y="29"/>
                </a:lnTo>
                <a:lnTo>
                  <a:pt x="846" y="27"/>
                </a:lnTo>
                <a:lnTo>
                  <a:pt x="845" y="26"/>
                </a:lnTo>
                <a:lnTo>
                  <a:pt x="846" y="24"/>
                </a:lnTo>
                <a:lnTo>
                  <a:pt x="846" y="23"/>
                </a:lnTo>
                <a:lnTo>
                  <a:pt x="845" y="22"/>
                </a:lnTo>
                <a:lnTo>
                  <a:pt x="846" y="20"/>
                </a:lnTo>
                <a:lnTo>
                  <a:pt x="849" y="20"/>
                </a:lnTo>
                <a:lnTo>
                  <a:pt x="850" y="23"/>
                </a:lnTo>
                <a:lnTo>
                  <a:pt x="849" y="26"/>
                </a:lnTo>
                <a:lnTo>
                  <a:pt x="846" y="31"/>
                </a:lnTo>
                <a:lnTo>
                  <a:pt x="845" y="32"/>
                </a:lnTo>
                <a:lnTo>
                  <a:pt x="843" y="33"/>
                </a:lnTo>
                <a:lnTo>
                  <a:pt x="844" y="33"/>
                </a:lnTo>
                <a:lnTo>
                  <a:pt x="845" y="32"/>
                </a:lnTo>
                <a:lnTo>
                  <a:pt x="847" y="35"/>
                </a:lnTo>
                <a:lnTo>
                  <a:pt x="849" y="35"/>
                </a:lnTo>
                <a:lnTo>
                  <a:pt x="850" y="36"/>
                </a:lnTo>
                <a:lnTo>
                  <a:pt x="850" y="32"/>
                </a:lnTo>
                <a:lnTo>
                  <a:pt x="851" y="29"/>
                </a:lnTo>
                <a:lnTo>
                  <a:pt x="852" y="27"/>
                </a:lnTo>
                <a:lnTo>
                  <a:pt x="853" y="27"/>
                </a:lnTo>
                <a:lnTo>
                  <a:pt x="853" y="29"/>
                </a:lnTo>
                <a:lnTo>
                  <a:pt x="855" y="29"/>
                </a:lnTo>
                <a:lnTo>
                  <a:pt x="857" y="33"/>
                </a:lnTo>
                <a:lnTo>
                  <a:pt x="857" y="35"/>
                </a:lnTo>
                <a:lnTo>
                  <a:pt x="858" y="39"/>
                </a:lnTo>
                <a:lnTo>
                  <a:pt x="857" y="44"/>
                </a:lnTo>
                <a:lnTo>
                  <a:pt x="858" y="44"/>
                </a:lnTo>
                <a:lnTo>
                  <a:pt x="858" y="42"/>
                </a:lnTo>
                <a:lnTo>
                  <a:pt x="859" y="41"/>
                </a:lnTo>
                <a:lnTo>
                  <a:pt x="862" y="41"/>
                </a:lnTo>
                <a:lnTo>
                  <a:pt x="863" y="32"/>
                </a:lnTo>
                <a:lnTo>
                  <a:pt x="863" y="27"/>
                </a:lnTo>
                <a:lnTo>
                  <a:pt x="862" y="26"/>
                </a:lnTo>
                <a:lnTo>
                  <a:pt x="862" y="20"/>
                </a:lnTo>
                <a:lnTo>
                  <a:pt x="864" y="22"/>
                </a:lnTo>
                <a:lnTo>
                  <a:pt x="869" y="26"/>
                </a:lnTo>
                <a:lnTo>
                  <a:pt x="869" y="31"/>
                </a:lnTo>
                <a:lnTo>
                  <a:pt x="865" y="35"/>
                </a:lnTo>
                <a:lnTo>
                  <a:pt x="864" y="35"/>
                </a:lnTo>
                <a:lnTo>
                  <a:pt x="865" y="37"/>
                </a:lnTo>
                <a:lnTo>
                  <a:pt x="866" y="37"/>
                </a:lnTo>
                <a:lnTo>
                  <a:pt x="869" y="33"/>
                </a:lnTo>
                <a:lnTo>
                  <a:pt x="870" y="36"/>
                </a:lnTo>
                <a:lnTo>
                  <a:pt x="870" y="35"/>
                </a:lnTo>
                <a:lnTo>
                  <a:pt x="871" y="32"/>
                </a:lnTo>
                <a:lnTo>
                  <a:pt x="872" y="31"/>
                </a:lnTo>
                <a:lnTo>
                  <a:pt x="875" y="30"/>
                </a:lnTo>
                <a:lnTo>
                  <a:pt x="876" y="30"/>
                </a:lnTo>
                <a:lnTo>
                  <a:pt x="877" y="32"/>
                </a:lnTo>
                <a:lnTo>
                  <a:pt x="878" y="33"/>
                </a:lnTo>
                <a:lnTo>
                  <a:pt x="878" y="35"/>
                </a:lnTo>
                <a:lnTo>
                  <a:pt x="880" y="35"/>
                </a:lnTo>
                <a:lnTo>
                  <a:pt x="880" y="32"/>
                </a:lnTo>
                <a:lnTo>
                  <a:pt x="882" y="31"/>
                </a:lnTo>
                <a:lnTo>
                  <a:pt x="883" y="31"/>
                </a:lnTo>
                <a:lnTo>
                  <a:pt x="884" y="30"/>
                </a:lnTo>
                <a:lnTo>
                  <a:pt x="886" y="32"/>
                </a:lnTo>
                <a:lnTo>
                  <a:pt x="886" y="36"/>
                </a:lnTo>
                <a:lnTo>
                  <a:pt x="884" y="36"/>
                </a:lnTo>
                <a:lnTo>
                  <a:pt x="883" y="38"/>
                </a:lnTo>
                <a:lnTo>
                  <a:pt x="881" y="41"/>
                </a:lnTo>
                <a:lnTo>
                  <a:pt x="878" y="44"/>
                </a:lnTo>
                <a:lnTo>
                  <a:pt x="877" y="45"/>
                </a:lnTo>
                <a:lnTo>
                  <a:pt x="874" y="48"/>
                </a:lnTo>
                <a:lnTo>
                  <a:pt x="874" y="49"/>
                </a:lnTo>
                <a:lnTo>
                  <a:pt x="875" y="51"/>
                </a:lnTo>
                <a:lnTo>
                  <a:pt x="872" y="54"/>
                </a:lnTo>
                <a:lnTo>
                  <a:pt x="872" y="55"/>
                </a:lnTo>
                <a:lnTo>
                  <a:pt x="870" y="55"/>
                </a:lnTo>
                <a:lnTo>
                  <a:pt x="869" y="59"/>
                </a:lnTo>
                <a:lnTo>
                  <a:pt x="865" y="60"/>
                </a:lnTo>
                <a:lnTo>
                  <a:pt x="865" y="63"/>
                </a:lnTo>
                <a:lnTo>
                  <a:pt x="862" y="67"/>
                </a:lnTo>
                <a:lnTo>
                  <a:pt x="859" y="68"/>
                </a:lnTo>
                <a:lnTo>
                  <a:pt x="859" y="69"/>
                </a:lnTo>
                <a:lnTo>
                  <a:pt x="857" y="72"/>
                </a:lnTo>
                <a:lnTo>
                  <a:pt x="857" y="73"/>
                </a:lnTo>
                <a:lnTo>
                  <a:pt x="851" y="78"/>
                </a:lnTo>
                <a:lnTo>
                  <a:pt x="850" y="80"/>
                </a:lnTo>
                <a:lnTo>
                  <a:pt x="857" y="78"/>
                </a:lnTo>
                <a:lnTo>
                  <a:pt x="859" y="80"/>
                </a:lnTo>
                <a:lnTo>
                  <a:pt x="857" y="82"/>
                </a:lnTo>
                <a:lnTo>
                  <a:pt x="850" y="82"/>
                </a:lnTo>
                <a:lnTo>
                  <a:pt x="851" y="85"/>
                </a:lnTo>
                <a:lnTo>
                  <a:pt x="857" y="84"/>
                </a:lnTo>
                <a:lnTo>
                  <a:pt x="859" y="86"/>
                </a:lnTo>
                <a:lnTo>
                  <a:pt x="858" y="86"/>
                </a:lnTo>
                <a:lnTo>
                  <a:pt x="857" y="87"/>
                </a:lnTo>
                <a:lnTo>
                  <a:pt x="857" y="90"/>
                </a:lnTo>
                <a:lnTo>
                  <a:pt x="858" y="93"/>
                </a:lnTo>
                <a:lnTo>
                  <a:pt x="858" y="96"/>
                </a:lnTo>
                <a:lnTo>
                  <a:pt x="855" y="93"/>
                </a:lnTo>
                <a:lnTo>
                  <a:pt x="853" y="94"/>
                </a:lnTo>
                <a:lnTo>
                  <a:pt x="850" y="99"/>
                </a:lnTo>
                <a:lnTo>
                  <a:pt x="852" y="99"/>
                </a:lnTo>
                <a:lnTo>
                  <a:pt x="852" y="100"/>
                </a:lnTo>
                <a:lnTo>
                  <a:pt x="851" y="102"/>
                </a:lnTo>
                <a:lnTo>
                  <a:pt x="851" y="103"/>
                </a:lnTo>
                <a:lnTo>
                  <a:pt x="852" y="104"/>
                </a:lnTo>
                <a:lnTo>
                  <a:pt x="852" y="103"/>
                </a:lnTo>
                <a:lnTo>
                  <a:pt x="853" y="102"/>
                </a:lnTo>
                <a:lnTo>
                  <a:pt x="856" y="102"/>
                </a:lnTo>
                <a:lnTo>
                  <a:pt x="856" y="105"/>
                </a:lnTo>
                <a:lnTo>
                  <a:pt x="849" y="112"/>
                </a:lnTo>
                <a:lnTo>
                  <a:pt x="847" y="112"/>
                </a:lnTo>
                <a:lnTo>
                  <a:pt x="847" y="113"/>
                </a:lnTo>
                <a:lnTo>
                  <a:pt x="846" y="115"/>
                </a:lnTo>
                <a:lnTo>
                  <a:pt x="846" y="117"/>
                </a:lnTo>
                <a:lnTo>
                  <a:pt x="845" y="118"/>
                </a:lnTo>
                <a:lnTo>
                  <a:pt x="845" y="124"/>
                </a:lnTo>
                <a:lnTo>
                  <a:pt x="844" y="125"/>
                </a:lnTo>
                <a:lnTo>
                  <a:pt x="844" y="130"/>
                </a:lnTo>
                <a:lnTo>
                  <a:pt x="845" y="134"/>
                </a:lnTo>
                <a:lnTo>
                  <a:pt x="847" y="135"/>
                </a:lnTo>
                <a:lnTo>
                  <a:pt x="849" y="135"/>
                </a:lnTo>
                <a:lnTo>
                  <a:pt x="849" y="131"/>
                </a:lnTo>
                <a:lnTo>
                  <a:pt x="847" y="131"/>
                </a:lnTo>
                <a:lnTo>
                  <a:pt x="847" y="125"/>
                </a:lnTo>
                <a:lnTo>
                  <a:pt x="851" y="124"/>
                </a:lnTo>
                <a:lnTo>
                  <a:pt x="851" y="125"/>
                </a:lnTo>
                <a:lnTo>
                  <a:pt x="850" y="128"/>
                </a:lnTo>
                <a:lnTo>
                  <a:pt x="851" y="128"/>
                </a:lnTo>
                <a:lnTo>
                  <a:pt x="851" y="129"/>
                </a:lnTo>
                <a:lnTo>
                  <a:pt x="850" y="130"/>
                </a:lnTo>
                <a:lnTo>
                  <a:pt x="851" y="131"/>
                </a:lnTo>
                <a:lnTo>
                  <a:pt x="851" y="133"/>
                </a:lnTo>
                <a:lnTo>
                  <a:pt x="852" y="134"/>
                </a:lnTo>
                <a:lnTo>
                  <a:pt x="853" y="134"/>
                </a:lnTo>
                <a:lnTo>
                  <a:pt x="856" y="133"/>
                </a:lnTo>
                <a:lnTo>
                  <a:pt x="857" y="131"/>
                </a:lnTo>
                <a:lnTo>
                  <a:pt x="858" y="128"/>
                </a:lnTo>
                <a:lnTo>
                  <a:pt x="859" y="122"/>
                </a:lnTo>
                <a:lnTo>
                  <a:pt x="862" y="119"/>
                </a:lnTo>
                <a:lnTo>
                  <a:pt x="863" y="119"/>
                </a:lnTo>
                <a:lnTo>
                  <a:pt x="863" y="118"/>
                </a:lnTo>
                <a:lnTo>
                  <a:pt x="865" y="116"/>
                </a:lnTo>
                <a:lnTo>
                  <a:pt x="865" y="112"/>
                </a:lnTo>
                <a:lnTo>
                  <a:pt x="869" y="109"/>
                </a:lnTo>
                <a:lnTo>
                  <a:pt x="870" y="106"/>
                </a:lnTo>
                <a:lnTo>
                  <a:pt x="869" y="105"/>
                </a:lnTo>
                <a:lnTo>
                  <a:pt x="864" y="103"/>
                </a:lnTo>
                <a:lnTo>
                  <a:pt x="865" y="100"/>
                </a:lnTo>
                <a:lnTo>
                  <a:pt x="875" y="88"/>
                </a:lnTo>
                <a:lnTo>
                  <a:pt x="883" y="73"/>
                </a:lnTo>
                <a:lnTo>
                  <a:pt x="884" y="72"/>
                </a:lnTo>
                <a:lnTo>
                  <a:pt x="886" y="72"/>
                </a:lnTo>
                <a:lnTo>
                  <a:pt x="887" y="69"/>
                </a:lnTo>
                <a:lnTo>
                  <a:pt x="889" y="67"/>
                </a:lnTo>
                <a:lnTo>
                  <a:pt x="889" y="65"/>
                </a:lnTo>
                <a:lnTo>
                  <a:pt x="891" y="56"/>
                </a:lnTo>
                <a:lnTo>
                  <a:pt x="891" y="54"/>
                </a:lnTo>
                <a:lnTo>
                  <a:pt x="894" y="54"/>
                </a:lnTo>
                <a:lnTo>
                  <a:pt x="895" y="53"/>
                </a:lnTo>
                <a:lnTo>
                  <a:pt x="895" y="49"/>
                </a:lnTo>
                <a:lnTo>
                  <a:pt x="896" y="48"/>
                </a:lnTo>
                <a:lnTo>
                  <a:pt x="897" y="45"/>
                </a:lnTo>
                <a:lnTo>
                  <a:pt x="900" y="43"/>
                </a:lnTo>
                <a:lnTo>
                  <a:pt x="905" y="33"/>
                </a:lnTo>
                <a:lnTo>
                  <a:pt x="915" y="24"/>
                </a:lnTo>
                <a:lnTo>
                  <a:pt x="918" y="23"/>
                </a:lnTo>
                <a:lnTo>
                  <a:pt x="918" y="24"/>
                </a:lnTo>
                <a:lnTo>
                  <a:pt x="920" y="26"/>
                </a:lnTo>
                <a:lnTo>
                  <a:pt x="919" y="27"/>
                </a:lnTo>
                <a:lnTo>
                  <a:pt x="919" y="29"/>
                </a:lnTo>
                <a:lnTo>
                  <a:pt x="920" y="29"/>
                </a:lnTo>
                <a:lnTo>
                  <a:pt x="920" y="31"/>
                </a:lnTo>
                <a:lnTo>
                  <a:pt x="919" y="32"/>
                </a:lnTo>
                <a:lnTo>
                  <a:pt x="919" y="33"/>
                </a:lnTo>
                <a:lnTo>
                  <a:pt x="916" y="36"/>
                </a:lnTo>
                <a:lnTo>
                  <a:pt x="916" y="38"/>
                </a:lnTo>
                <a:lnTo>
                  <a:pt x="918" y="38"/>
                </a:lnTo>
                <a:lnTo>
                  <a:pt x="918" y="39"/>
                </a:lnTo>
                <a:lnTo>
                  <a:pt x="919" y="39"/>
                </a:lnTo>
                <a:lnTo>
                  <a:pt x="919" y="38"/>
                </a:lnTo>
                <a:lnTo>
                  <a:pt x="920" y="37"/>
                </a:lnTo>
                <a:lnTo>
                  <a:pt x="920" y="41"/>
                </a:lnTo>
                <a:lnTo>
                  <a:pt x="919" y="42"/>
                </a:lnTo>
                <a:lnTo>
                  <a:pt x="919" y="44"/>
                </a:lnTo>
                <a:lnTo>
                  <a:pt x="918" y="47"/>
                </a:lnTo>
                <a:lnTo>
                  <a:pt x="918" y="51"/>
                </a:lnTo>
                <a:lnTo>
                  <a:pt x="916" y="55"/>
                </a:lnTo>
                <a:lnTo>
                  <a:pt x="903" y="62"/>
                </a:lnTo>
                <a:lnTo>
                  <a:pt x="905" y="63"/>
                </a:lnTo>
                <a:lnTo>
                  <a:pt x="911" y="61"/>
                </a:lnTo>
                <a:lnTo>
                  <a:pt x="912" y="60"/>
                </a:lnTo>
                <a:lnTo>
                  <a:pt x="915" y="62"/>
                </a:lnTo>
                <a:lnTo>
                  <a:pt x="916" y="63"/>
                </a:lnTo>
                <a:lnTo>
                  <a:pt x="914" y="73"/>
                </a:lnTo>
                <a:lnTo>
                  <a:pt x="914" y="76"/>
                </a:lnTo>
                <a:lnTo>
                  <a:pt x="913" y="78"/>
                </a:lnTo>
                <a:lnTo>
                  <a:pt x="913" y="84"/>
                </a:lnTo>
                <a:lnTo>
                  <a:pt x="912" y="86"/>
                </a:lnTo>
                <a:lnTo>
                  <a:pt x="911" y="87"/>
                </a:lnTo>
                <a:lnTo>
                  <a:pt x="911" y="99"/>
                </a:lnTo>
                <a:lnTo>
                  <a:pt x="913" y="99"/>
                </a:lnTo>
                <a:lnTo>
                  <a:pt x="913" y="97"/>
                </a:lnTo>
                <a:lnTo>
                  <a:pt x="914" y="96"/>
                </a:lnTo>
                <a:lnTo>
                  <a:pt x="915" y="97"/>
                </a:lnTo>
                <a:lnTo>
                  <a:pt x="916" y="96"/>
                </a:lnTo>
                <a:lnTo>
                  <a:pt x="915" y="93"/>
                </a:lnTo>
                <a:lnTo>
                  <a:pt x="915" y="92"/>
                </a:lnTo>
                <a:lnTo>
                  <a:pt x="916" y="91"/>
                </a:lnTo>
                <a:lnTo>
                  <a:pt x="916" y="90"/>
                </a:lnTo>
                <a:lnTo>
                  <a:pt x="918" y="91"/>
                </a:lnTo>
                <a:lnTo>
                  <a:pt x="919" y="91"/>
                </a:lnTo>
                <a:lnTo>
                  <a:pt x="921" y="90"/>
                </a:lnTo>
                <a:lnTo>
                  <a:pt x="921" y="88"/>
                </a:lnTo>
                <a:lnTo>
                  <a:pt x="922" y="86"/>
                </a:lnTo>
                <a:lnTo>
                  <a:pt x="922" y="85"/>
                </a:lnTo>
                <a:lnTo>
                  <a:pt x="924" y="84"/>
                </a:lnTo>
                <a:lnTo>
                  <a:pt x="928" y="82"/>
                </a:lnTo>
                <a:lnTo>
                  <a:pt x="928" y="86"/>
                </a:lnTo>
                <a:lnTo>
                  <a:pt x="933" y="84"/>
                </a:lnTo>
                <a:lnTo>
                  <a:pt x="934" y="84"/>
                </a:lnTo>
                <a:lnTo>
                  <a:pt x="936" y="85"/>
                </a:lnTo>
                <a:lnTo>
                  <a:pt x="933" y="82"/>
                </a:lnTo>
                <a:lnTo>
                  <a:pt x="932" y="80"/>
                </a:lnTo>
                <a:lnTo>
                  <a:pt x="930" y="78"/>
                </a:lnTo>
                <a:lnTo>
                  <a:pt x="930" y="76"/>
                </a:lnTo>
                <a:lnTo>
                  <a:pt x="931" y="75"/>
                </a:lnTo>
                <a:lnTo>
                  <a:pt x="931" y="73"/>
                </a:lnTo>
                <a:lnTo>
                  <a:pt x="930" y="73"/>
                </a:lnTo>
                <a:lnTo>
                  <a:pt x="932" y="68"/>
                </a:lnTo>
                <a:lnTo>
                  <a:pt x="933" y="67"/>
                </a:lnTo>
                <a:lnTo>
                  <a:pt x="934" y="67"/>
                </a:lnTo>
                <a:lnTo>
                  <a:pt x="936" y="68"/>
                </a:lnTo>
                <a:lnTo>
                  <a:pt x="938" y="68"/>
                </a:lnTo>
                <a:lnTo>
                  <a:pt x="942" y="70"/>
                </a:lnTo>
                <a:lnTo>
                  <a:pt x="943" y="70"/>
                </a:lnTo>
                <a:lnTo>
                  <a:pt x="942" y="68"/>
                </a:lnTo>
                <a:lnTo>
                  <a:pt x="937" y="65"/>
                </a:lnTo>
                <a:lnTo>
                  <a:pt x="936" y="63"/>
                </a:lnTo>
                <a:lnTo>
                  <a:pt x="936" y="61"/>
                </a:lnTo>
                <a:lnTo>
                  <a:pt x="938" y="57"/>
                </a:lnTo>
                <a:lnTo>
                  <a:pt x="937" y="57"/>
                </a:lnTo>
                <a:lnTo>
                  <a:pt x="934" y="55"/>
                </a:lnTo>
                <a:lnTo>
                  <a:pt x="936" y="51"/>
                </a:lnTo>
                <a:lnTo>
                  <a:pt x="937" y="50"/>
                </a:lnTo>
                <a:lnTo>
                  <a:pt x="945" y="50"/>
                </a:lnTo>
                <a:lnTo>
                  <a:pt x="945" y="48"/>
                </a:lnTo>
                <a:lnTo>
                  <a:pt x="944" y="48"/>
                </a:lnTo>
                <a:lnTo>
                  <a:pt x="943" y="45"/>
                </a:lnTo>
                <a:lnTo>
                  <a:pt x="944" y="43"/>
                </a:lnTo>
                <a:lnTo>
                  <a:pt x="944" y="41"/>
                </a:lnTo>
                <a:lnTo>
                  <a:pt x="945" y="39"/>
                </a:lnTo>
                <a:lnTo>
                  <a:pt x="946" y="39"/>
                </a:lnTo>
                <a:lnTo>
                  <a:pt x="958" y="42"/>
                </a:lnTo>
                <a:lnTo>
                  <a:pt x="951" y="39"/>
                </a:lnTo>
                <a:lnTo>
                  <a:pt x="951" y="38"/>
                </a:lnTo>
                <a:lnTo>
                  <a:pt x="952" y="38"/>
                </a:lnTo>
                <a:lnTo>
                  <a:pt x="953" y="37"/>
                </a:lnTo>
                <a:lnTo>
                  <a:pt x="953" y="36"/>
                </a:lnTo>
                <a:lnTo>
                  <a:pt x="952" y="35"/>
                </a:lnTo>
                <a:lnTo>
                  <a:pt x="952" y="33"/>
                </a:lnTo>
                <a:lnTo>
                  <a:pt x="951" y="35"/>
                </a:lnTo>
                <a:lnTo>
                  <a:pt x="951" y="33"/>
                </a:lnTo>
                <a:lnTo>
                  <a:pt x="950" y="33"/>
                </a:lnTo>
                <a:lnTo>
                  <a:pt x="950" y="32"/>
                </a:lnTo>
                <a:lnTo>
                  <a:pt x="947" y="32"/>
                </a:lnTo>
                <a:lnTo>
                  <a:pt x="947" y="31"/>
                </a:lnTo>
                <a:lnTo>
                  <a:pt x="949" y="29"/>
                </a:lnTo>
                <a:lnTo>
                  <a:pt x="949" y="27"/>
                </a:lnTo>
                <a:lnTo>
                  <a:pt x="947" y="29"/>
                </a:lnTo>
                <a:lnTo>
                  <a:pt x="946" y="31"/>
                </a:lnTo>
                <a:lnTo>
                  <a:pt x="945" y="32"/>
                </a:lnTo>
                <a:lnTo>
                  <a:pt x="939" y="30"/>
                </a:lnTo>
                <a:lnTo>
                  <a:pt x="937" y="27"/>
                </a:lnTo>
                <a:lnTo>
                  <a:pt x="937" y="23"/>
                </a:lnTo>
                <a:lnTo>
                  <a:pt x="938" y="22"/>
                </a:lnTo>
                <a:lnTo>
                  <a:pt x="946" y="24"/>
                </a:lnTo>
                <a:lnTo>
                  <a:pt x="945" y="23"/>
                </a:lnTo>
                <a:lnTo>
                  <a:pt x="945" y="22"/>
                </a:lnTo>
                <a:lnTo>
                  <a:pt x="940" y="17"/>
                </a:lnTo>
                <a:lnTo>
                  <a:pt x="940" y="14"/>
                </a:lnTo>
                <a:lnTo>
                  <a:pt x="942" y="13"/>
                </a:lnTo>
                <a:lnTo>
                  <a:pt x="951" y="16"/>
                </a:lnTo>
                <a:lnTo>
                  <a:pt x="952" y="18"/>
                </a:lnTo>
                <a:lnTo>
                  <a:pt x="952" y="20"/>
                </a:lnTo>
                <a:lnTo>
                  <a:pt x="953" y="23"/>
                </a:lnTo>
                <a:lnTo>
                  <a:pt x="955" y="23"/>
                </a:lnTo>
                <a:lnTo>
                  <a:pt x="956" y="20"/>
                </a:lnTo>
                <a:lnTo>
                  <a:pt x="955" y="19"/>
                </a:lnTo>
                <a:lnTo>
                  <a:pt x="955" y="16"/>
                </a:lnTo>
                <a:lnTo>
                  <a:pt x="956" y="14"/>
                </a:lnTo>
                <a:lnTo>
                  <a:pt x="955" y="14"/>
                </a:lnTo>
                <a:lnTo>
                  <a:pt x="953" y="13"/>
                </a:lnTo>
                <a:lnTo>
                  <a:pt x="953" y="6"/>
                </a:lnTo>
                <a:lnTo>
                  <a:pt x="955" y="4"/>
                </a:lnTo>
                <a:lnTo>
                  <a:pt x="957" y="5"/>
                </a:lnTo>
                <a:lnTo>
                  <a:pt x="958" y="5"/>
                </a:lnTo>
                <a:lnTo>
                  <a:pt x="958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2" name="Freeform 11">
            <a:extLst>
              <a:ext uri="{FF2B5EF4-FFF2-40B4-BE49-F238E27FC236}">
                <a16:creationId xmlns:a16="http://schemas.microsoft.com/office/drawing/2014/main" id="{E5F634EF-497B-4C15-97F3-B795CD30F0D9}"/>
              </a:ext>
            </a:extLst>
          </p:cNvPr>
          <p:cNvSpPr>
            <a:spLocks/>
          </p:cNvSpPr>
          <p:nvPr/>
        </p:nvSpPr>
        <p:spPr bwMode="auto">
          <a:xfrm>
            <a:off x="1595380" y="4921902"/>
            <a:ext cx="276748" cy="175322"/>
          </a:xfrm>
          <a:custGeom>
            <a:avLst/>
            <a:gdLst/>
            <a:ahLst/>
            <a:cxnLst>
              <a:cxn ang="0">
                <a:pos x="114" y="0"/>
              </a:cxn>
              <a:cxn ang="0">
                <a:pos x="115" y="4"/>
              </a:cxn>
              <a:cxn ang="0">
                <a:pos x="121" y="6"/>
              </a:cxn>
              <a:cxn ang="0">
                <a:pos x="129" y="7"/>
              </a:cxn>
              <a:cxn ang="0">
                <a:pos x="156" y="21"/>
              </a:cxn>
              <a:cxn ang="0">
                <a:pos x="149" y="37"/>
              </a:cxn>
              <a:cxn ang="0">
                <a:pos x="150" y="45"/>
              </a:cxn>
              <a:cxn ang="0">
                <a:pos x="164" y="49"/>
              </a:cxn>
              <a:cxn ang="0">
                <a:pos x="177" y="58"/>
              </a:cxn>
              <a:cxn ang="0">
                <a:pos x="185" y="51"/>
              </a:cxn>
              <a:cxn ang="0">
                <a:pos x="191" y="57"/>
              </a:cxn>
              <a:cxn ang="0">
                <a:pos x="189" y="64"/>
              </a:cxn>
              <a:cxn ang="0">
                <a:pos x="189" y="77"/>
              </a:cxn>
              <a:cxn ang="0">
                <a:pos x="179" y="72"/>
              </a:cxn>
              <a:cxn ang="0">
                <a:pos x="171" y="81"/>
              </a:cxn>
              <a:cxn ang="0">
                <a:pos x="176" y="88"/>
              </a:cxn>
              <a:cxn ang="0">
                <a:pos x="173" y="96"/>
              </a:cxn>
              <a:cxn ang="0">
                <a:pos x="164" y="88"/>
              </a:cxn>
              <a:cxn ang="0">
                <a:pos x="150" y="92"/>
              </a:cxn>
              <a:cxn ang="0">
                <a:pos x="146" y="80"/>
              </a:cxn>
              <a:cxn ang="0">
                <a:pos x="143" y="80"/>
              </a:cxn>
              <a:cxn ang="0">
                <a:pos x="139" y="87"/>
              </a:cxn>
              <a:cxn ang="0">
                <a:pos x="136" y="100"/>
              </a:cxn>
              <a:cxn ang="0">
                <a:pos x="131" y="107"/>
              </a:cxn>
              <a:cxn ang="0">
                <a:pos x="129" y="113"/>
              </a:cxn>
              <a:cxn ang="0">
                <a:pos x="129" y="121"/>
              </a:cxn>
              <a:cxn ang="0">
                <a:pos x="124" y="114"/>
              </a:cxn>
              <a:cxn ang="0">
                <a:pos x="121" y="106"/>
              </a:cxn>
              <a:cxn ang="0">
                <a:pos x="115" y="105"/>
              </a:cxn>
              <a:cxn ang="0">
                <a:pos x="107" y="98"/>
              </a:cxn>
              <a:cxn ang="0">
                <a:pos x="99" y="84"/>
              </a:cxn>
              <a:cxn ang="0">
                <a:pos x="90" y="94"/>
              </a:cxn>
              <a:cxn ang="0">
                <a:pos x="89" y="105"/>
              </a:cxn>
              <a:cxn ang="0">
                <a:pos x="81" y="112"/>
              </a:cxn>
              <a:cxn ang="0">
                <a:pos x="71" y="112"/>
              </a:cxn>
              <a:cxn ang="0">
                <a:pos x="61" y="115"/>
              </a:cxn>
              <a:cxn ang="0">
                <a:pos x="44" y="113"/>
              </a:cxn>
              <a:cxn ang="0">
                <a:pos x="38" y="102"/>
              </a:cxn>
              <a:cxn ang="0">
                <a:pos x="33" y="89"/>
              </a:cxn>
              <a:cxn ang="0">
                <a:pos x="23" y="83"/>
              </a:cxn>
              <a:cxn ang="0">
                <a:pos x="12" y="90"/>
              </a:cxn>
              <a:cxn ang="0">
                <a:pos x="7" y="102"/>
              </a:cxn>
              <a:cxn ang="0">
                <a:pos x="1" y="99"/>
              </a:cxn>
              <a:cxn ang="0">
                <a:pos x="6" y="92"/>
              </a:cxn>
              <a:cxn ang="0">
                <a:pos x="5" y="84"/>
              </a:cxn>
              <a:cxn ang="0">
                <a:pos x="7" y="75"/>
              </a:cxn>
              <a:cxn ang="0">
                <a:pos x="20" y="64"/>
              </a:cxn>
              <a:cxn ang="0">
                <a:pos x="21" y="52"/>
              </a:cxn>
              <a:cxn ang="0">
                <a:pos x="33" y="43"/>
              </a:cxn>
              <a:cxn ang="0">
                <a:pos x="43" y="34"/>
              </a:cxn>
              <a:cxn ang="0">
                <a:pos x="44" y="26"/>
              </a:cxn>
              <a:cxn ang="0">
                <a:pos x="43" y="22"/>
              </a:cxn>
              <a:cxn ang="0">
                <a:pos x="45" y="18"/>
              </a:cxn>
              <a:cxn ang="0">
                <a:pos x="53" y="24"/>
              </a:cxn>
              <a:cxn ang="0">
                <a:pos x="64" y="18"/>
              </a:cxn>
              <a:cxn ang="0">
                <a:pos x="69" y="13"/>
              </a:cxn>
              <a:cxn ang="0">
                <a:pos x="76" y="15"/>
              </a:cxn>
              <a:cxn ang="0">
                <a:pos x="90" y="14"/>
              </a:cxn>
              <a:cxn ang="0">
                <a:pos x="99" y="10"/>
              </a:cxn>
              <a:cxn ang="0">
                <a:pos x="111" y="13"/>
              </a:cxn>
              <a:cxn ang="0">
                <a:pos x="105" y="9"/>
              </a:cxn>
              <a:cxn ang="0">
                <a:pos x="105" y="3"/>
              </a:cxn>
            </a:cxnLst>
            <a:rect l="0" t="0" r="r" b="b"/>
            <a:pathLst>
              <a:path w="191" h="121">
                <a:moveTo>
                  <a:pt x="110" y="0"/>
                </a:moveTo>
                <a:lnTo>
                  <a:pt x="112" y="0"/>
                </a:lnTo>
                <a:lnTo>
                  <a:pt x="112" y="2"/>
                </a:lnTo>
                <a:lnTo>
                  <a:pt x="113" y="2"/>
                </a:lnTo>
                <a:lnTo>
                  <a:pt x="113" y="0"/>
                </a:lnTo>
                <a:lnTo>
                  <a:pt x="114" y="0"/>
                </a:lnTo>
                <a:lnTo>
                  <a:pt x="114" y="1"/>
                </a:lnTo>
                <a:lnTo>
                  <a:pt x="115" y="1"/>
                </a:lnTo>
                <a:lnTo>
                  <a:pt x="115" y="2"/>
                </a:lnTo>
                <a:lnTo>
                  <a:pt x="117" y="2"/>
                </a:lnTo>
                <a:lnTo>
                  <a:pt x="117" y="3"/>
                </a:lnTo>
                <a:lnTo>
                  <a:pt x="115" y="4"/>
                </a:lnTo>
                <a:lnTo>
                  <a:pt x="117" y="4"/>
                </a:lnTo>
                <a:lnTo>
                  <a:pt x="117" y="6"/>
                </a:lnTo>
                <a:lnTo>
                  <a:pt x="119" y="6"/>
                </a:lnTo>
                <a:lnTo>
                  <a:pt x="119" y="4"/>
                </a:lnTo>
                <a:lnTo>
                  <a:pt x="120" y="4"/>
                </a:lnTo>
                <a:lnTo>
                  <a:pt x="121" y="6"/>
                </a:lnTo>
                <a:lnTo>
                  <a:pt x="123" y="6"/>
                </a:lnTo>
                <a:lnTo>
                  <a:pt x="121" y="7"/>
                </a:lnTo>
                <a:lnTo>
                  <a:pt x="123" y="7"/>
                </a:lnTo>
                <a:lnTo>
                  <a:pt x="124" y="8"/>
                </a:lnTo>
                <a:lnTo>
                  <a:pt x="127" y="8"/>
                </a:lnTo>
                <a:lnTo>
                  <a:pt x="129" y="7"/>
                </a:lnTo>
                <a:lnTo>
                  <a:pt x="130" y="7"/>
                </a:lnTo>
                <a:lnTo>
                  <a:pt x="135" y="8"/>
                </a:lnTo>
                <a:lnTo>
                  <a:pt x="138" y="8"/>
                </a:lnTo>
                <a:lnTo>
                  <a:pt x="141" y="9"/>
                </a:lnTo>
                <a:lnTo>
                  <a:pt x="151" y="16"/>
                </a:lnTo>
                <a:lnTo>
                  <a:pt x="156" y="21"/>
                </a:lnTo>
                <a:lnTo>
                  <a:pt x="156" y="25"/>
                </a:lnTo>
                <a:lnTo>
                  <a:pt x="154" y="27"/>
                </a:lnTo>
                <a:lnTo>
                  <a:pt x="154" y="28"/>
                </a:lnTo>
                <a:lnTo>
                  <a:pt x="151" y="33"/>
                </a:lnTo>
                <a:lnTo>
                  <a:pt x="150" y="34"/>
                </a:lnTo>
                <a:lnTo>
                  <a:pt x="149" y="37"/>
                </a:lnTo>
                <a:lnTo>
                  <a:pt x="149" y="39"/>
                </a:lnTo>
                <a:lnTo>
                  <a:pt x="150" y="40"/>
                </a:lnTo>
                <a:lnTo>
                  <a:pt x="150" y="44"/>
                </a:lnTo>
                <a:lnTo>
                  <a:pt x="149" y="44"/>
                </a:lnTo>
                <a:lnTo>
                  <a:pt x="149" y="45"/>
                </a:lnTo>
                <a:lnTo>
                  <a:pt x="150" y="45"/>
                </a:lnTo>
                <a:lnTo>
                  <a:pt x="152" y="46"/>
                </a:lnTo>
                <a:lnTo>
                  <a:pt x="154" y="45"/>
                </a:lnTo>
                <a:lnTo>
                  <a:pt x="154" y="46"/>
                </a:lnTo>
                <a:lnTo>
                  <a:pt x="156" y="45"/>
                </a:lnTo>
                <a:lnTo>
                  <a:pt x="157" y="46"/>
                </a:lnTo>
                <a:lnTo>
                  <a:pt x="164" y="49"/>
                </a:lnTo>
                <a:lnTo>
                  <a:pt x="166" y="49"/>
                </a:lnTo>
                <a:lnTo>
                  <a:pt x="166" y="53"/>
                </a:lnTo>
                <a:lnTo>
                  <a:pt x="167" y="55"/>
                </a:lnTo>
                <a:lnTo>
                  <a:pt x="171" y="56"/>
                </a:lnTo>
                <a:lnTo>
                  <a:pt x="174" y="58"/>
                </a:lnTo>
                <a:lnTo>
                  <a:pt x="177" y="58"/>
                </a:lnTo>
                <a:lnTo>
                  <a:pt x="180" y="57"/>
                </a:lnTo>
                <a:lnTo>
                  <a:pt x="180" y="55"/>
                </a:lnTo>
                <a:lnTo>
                  <a:pt x="181" y="53"/>
                </a:lnTo>
                <a:lnTo>
                  <a:pt x="183" y="53"/>
                </a:lnTo>
                <a:lnTo>
                  <a:pt x="183" y="52"/>
                </a:lnTo>
                <a:lnTo>
                  <a:pt x="185" y="51"/>
                </a:lnTo>
                <a:lnTo>
                  <a:pt x="185" y="50"/>
                </a:lnTo>
                <a:lnTo>
                  <a:pt x="187" y="50"/>
                </a:lnTo>
                <a:lnTo>
                  <a:pt x="191" y="53"/>
                </a:lnTo>
                <a:lnTo>
                  <a:pt x="191" y="55"/>
                </a:lnTo>
                <a:lnTo>
                  <a:pt x="189" y="56"/>
                </a:lnTo>
                <a:lnTo>
                  <a:pt x="191" y="57"/>
                </a:lnTo>
                <a:lnTo>
                  <a:pt x="189" y="59"/>
                </a:lnTo>
                <a:lnTo>
                  <a:pt x="189" y="61"/>
                </a:lnTo>
                <a:lnTo>
                  <a:pt x="188" y="62"/>
                </a:lnTo>
                <a:lnTo>
                  <a:pt x="188" y="63"/>
                </a:lnTo>
                <a:lnTo>
                  <a:pt x="189" y="63"/>
                </a:lnTo>
                <a:lnTo>
                  <a:pt x="189" y="64"/>
                </a:lnTo>
                <a:lnTo>
                  <a:pt x="187" y="66"/>
                </a:lnTo>
                <a:lnTo>
                  <a:pt x="187" y="71"/>
                </a:lnTo>
                <a:lnTo>
                  <a:pt x="189" y="71"/>
                </a:lnTo>
                <a:lnTo>
                  <a:pt x="191" y="72"/>
                </a:lnTo>
                <a:lnTo>
                  <a:pt x="191" y="76"/>
                </a:lnTo>
                <a:lnTo>
                  <a:pt x="189" y="77"/>
                </a:lnTo>
                <a:lnTo>
                  <a:pt x="183" y="77"/>
                </a:lnTo>
                <a:lnTo>
                  <a:pt x="183" y="76"/>
                </a:lnTo>
                <a:lnTo>
                  <a:pt x="182" y="76"/>
                </a:lnTo>
                <a:lnTo>
                  <a:pt x="181" y="75"/>
                </a:lnTo>
                <a:lnTo>
                  <a:pt x="181" y="72"/>
                </a:lnTo>
                <a:lnTo>
                  <a:pt x="179" y="72"/>
                </a:lnTo>
                <a:lnTo>
                  <a:pt x="175" y="74"/>
                </a:lnTo>
                <a:lnTo>
                  <a:pt x="174" y="74"/>
                </a:lnTo>
                <a:lnTo>
                  <a:pt x="174" y="76"/>
                </a:lnTo>
                <a:lnTo>
                  <a:pt x="173" y="77"/>
                </a:lnTo>
                <a:lnTo>
                  <a:pt x="173" y="80"/>
                </a:lnTo>
                <a:lnTo>
                  <a:pt x="171" y="81"/>
                </a:lnTo>
                <a:lnTo>
                  <a:pt x="173" y="81"/>
                </a:lnTo>
                <a:lnTo>
                  <a:pt x="173" y="82"/>
                </a:lnTo>
                <a:lnTo>
                  <a:pt x="171" y="83"/>
                </a:lnTo>
                <a:lnTo>
                  <a:pt x="173" y="84"/>
                </a:lnTo>
                <a:lnTo>
                  <a:pt x="176" y="84"/>
                </a:lnTo>
                <a:lnTo>
                  <a:pt x="176" y="88"/>
                </a:lnTo>
                <a:lnTo>
                  <a:pt x="175" y="88"/>
                </a:lnTo>
                <a:lnTo>
                  <a:pt x="175" y="92"/>
                </a:lnTo>
                <a:lnTo>
                  <a:pt x="177" y="93"/>
                </a:lnTo>
                <a:lnTo>
                  <a:pt x="177" y="95"/>
                </a:lnTo>
                <a:lnTo>
                  <a:pt x="176" y="96"/>
                </a:lnTo>
                <a:lnTo>
                  <a:pt x="173" y="96"/>
                </a:lnTo>
                <a:lnTo>
                  <a:pt x="173" y="94"/>
                </a:lnTo>
                <a:lnTo>
                  <a:pt x="170" y="93"/>
                </a:lnTo>
                <a:lnTo>
                  <a:pt x="169" y="90"/>
                </a:lnTo>
                <a:lnTo>
                  <a:pt x="169" y="89"/>
                </a:lnTo>
                <a:lnTo>
                  <a:pt x="168" y="88"/>
                </a:lnTo>
                <a:lnTo>
                  <a:pt x="164" y="88"/>
                </a:lnTo>
                <a:lnTo>
                  <a:pt x="162" y="89"/>
                </a:lnTo>
                <a:lnTo>
                  <a:pt x="158" y="89"/>
                </a:lnTo>
                <a:lnTo>
                  <a:pt x="158" y="93"/>
                </a:lnTo>
                <a:lnTo>
                  <a:pt x="152" y="93"/>
                </a:lnTo>
                <a:lnTo>
                  <a:pt x="151" y="92"/>
                </a:lnTo>
                <a:lnTo>
                  <a:pt x="150" y="92"/>
                </a:lnTo>
                <a:lnTo>
                  <a:pt x="150" y="90"/>
                </a:lnTo>
                <a:lnTo>
                  <a:pt x="149" y="89"/>
                </a:lnTo>
                <a:lnTo>
                  <a:pt x="149" y="88"/>
                </a:lnTo>
                <a:lnTo>
                  <a:pt x="148" y="88"/>
                </a:lnTo>
                <a:lnTo>
                  <a:pt x="148" y="81"/>
                </a:lnTo>
                <a:lnTo>
                  <a:pt x="146" y="80"/>
                </a:lnTo>
                <a:lnTo>
                  <a:pt x="146" y="81"/>
                </a:lnTo>
                <a:lnTo>
                  <a:pt x="145" y="81"/>
                </a:lnTo>
                <a:lnTo>
                  <a:pt x="145" y="82"/>
                </a:lnTo>
                <a:lnTo>
                  <a:pt x="144" y="82"/>
                </a:lnTo>
                <a:lnTo>
                  <a:pt x="143" y="81"/>
                </a:lnTo>
                <a:lnTo>
                  <a:pt x="143" y="80"/>
                </a:lnTo>
                <a:lnTo>
                  <a:pt x="141" y="80"/>
                </a:lnTo>
                <a:lnTo>
                  <a:pt x="139" y="81"/>
                </a:lnTo>
                <a:lnTo>
                  <a:pt x="139" y="82"/>
                </a:lnTo>
                <a:lnTo>
                  <a:pt x="138" y="83"/>
                </a:lnTo>
                <a:lnTo>
                  <a:pt x="139" y="84"/>
                </a:lnTo>
                <a:lnTo>
                  <a:pt x="139" y="87"/>
                </a:lnTo>
                <a:lnTo>
                  <a:pt x="141" y="89"/>
                </a:lnTo>
                <a:lnTo>
                  <a:pt x="141" y="92"/>
                </a:lnTo>
                <a:lnTo>
                  <a:pt x="138" y="96"/>
                </a:lnTo>
                <a:lnTo>
                  <a:pt x="137" y="98"/>
                </a:lnTo>
                <a:lnTo>
                  <a:pt x="136" y="98"/>
                </a:lnTo>
                <a:lnTo>
                  <a:pt x="136" y="100"/>
                </a:lnTo>
                <a:lnTo>
                  <a:pt x="132" y="102"/>
                </a:lnTo>
                <a:lnTo>
                  <a:pt x="132" y="104"/>
                </a:lnTo>
                <a:lnTo>
                  <a:pt x="131" y="104"/>
                </a:lnTo>
                <a:lnTo>
                  <a:pt x="132" y="105"/>
                </a:lnTo>
                <a:lnTo>
                  <a:pt x="131" y="106"/>
                </a:lnTo>
                <a:lnTo>
                  <a:pt x="131" y="107"/>
                </a:lnTo>
                <a:lnTo>
                  <a:pt x="130" y="107"/>
                </a:lnTo>
                <a:lnTo>
                  <a:pt x="129" y="108"/>
                </a:lnTo>
                <a:lnTo>
                  <a:pt x="130" y="111"/>
                </a:lnTo>
                <a:lnTo>
                  <a:pt x="127" y="112"/>
                </a:lnTo>
                <a:lnTo>
                  <a:pt x="127" y="113"/>
                </a:lnTo>
                <a:lnTo>
                  <a:pt x="129" y="113"/>
                </a:lnTo>
                <a:lnTo>
                  <a:pt x="129" y="114"/>
                </a:lnTo>
                <a:lnTo>
                  <a:pt x="130" y="115"/>
                </a:lnTo>
                <a:lnTo>
                  <a:pt x="131" y="115"/>
                </a:lnTo>
                <a:lnTo>
                  <a:pt x="131" y="118"/>
                </a:lnTo>
                <a:lnTo>
                  <a:pt x="130" y="119"/>
                </a:lnTo>
                <a:lnTo>
                  <a:pt x="129" y="121"/>
                </a:lnTo>
                <a:lnTo>
                  <a:pt x="127" y="121"/>
                </a:lnTo>
                <a:lnTo>
                  <a:pt x="126" y="120"/>
                </a:lnTo>
                <a:lnTo>
                  <a:pt x="125" y="120"/>
                </a:lnTo>
                <a:lnTo>
                  <a:pt x="125" y="117"/>
                </a:lnTo>
                <a:lnTo>
                  <a:pt x="124" y="115"/>
                </a:lnTo>
                <a:lnTo>
                  <a:pt x="124" y="114"/>
                </a:lnTo>
                <a:lnTo>
                  <a:pt x="123" y="113"/>
                </a:lnTo>
                <a:lnTo>
                  <a:pt x="120" y="112"/>
                </a:lnTo>
                <a:lnTo>
                  <a:pt x="119" y="112"/>
                </a:lnTo>
                <a:lnTo>
                  <a:pt x="119" y="111"/>
                </a:lnTo>
                <a:lnTo>
                  <a:pt x="121" y="108"/>
                </a:lnTo>
                <a:lnTo>
                  <a:pt x="121" y="106"/>
                </a:lnTo>
                <a:lnTo>
                  <a:pt x="120" y="105"/>
                </a:lnTo>
                <a:lnTo>
                  <a:pt x="118" y="105"/>
                </a:lnTo>
                <a:lnTo>
                  <a:pt x="118" y="104"/>
                </a:lnTo>
                <a:lnTo>
                  <a:pt x="117" y="104"/>
                </a:lnTo>
                <a:lnTo>
                  <a:pt x="117" y="105"/>
                </a:lnTo>
                <a:lnTo>
                  <a:pt x="115" y="105"/>
                </a:lnTo>
                <a:lnTo>
                  <a:pt x="113" y="104"/>
                </a:lnTo>
                <a:lnTo>
                  <a:pt x="112" y="104"/>
                </a:lnTo>
                <a:lnTo>
                  <a:pt x="112" y="102"/>
                </a:lnTo>
                <a:lnTo>
                  <a:pt x="110" y="99"/>
                </a:lnTo>
                <a:lnTo>
                  <a:pt x="108" y="98"/>
                </a:lnTo>
                <a:lnTo>
                  <a:pt x="107" y="98"/>
                </a:lnTo>
                <a:lnTo>
                  <a:pt x="106" y="96"/>
                </a:lnTo>
                <a:lnTo>
                  <a:pt x="105" y="96"/>
                </a:lnTo>
                <a:lnTo>
                  <a:pt x="105" y="83"/>
                </a:lnTo>
                <a:lnTo>
                  <a:pt x="101" y="83"/>
                </a:lnTo>
                <a:lnTo>
                  <a:pt x="100" y="84"/>
                </a:lnTo>
                <a:lnTo>
                  <a:pt x="99" y="84"/>
                </a:lnTo>
                <a:lnTo>
                  <a:pt x="99" y="88"/>
                </a:lnTo>
                <a:lnTo>
                  <a:pt x="98" y="88"/>
                </a:lnTo>
                <a:lnTo>
                  <a:pt x="94" y="92"/>
                </a:lnTo>
                <a:lnTo>
                  <a:pt x="92" y="93"/>
                </a:lnTo>
                <a:lnTo>
                  <a:pt x="90" y="93"/>
                </a:lnTo>
                <a:lnTo>
                  <a:pt x="90" y="94"/>
                </a:lnTo>
                <a:lnTo>
                  <a:pt x="89" y="94"/>
                </a:lnTo>
                <a:lnTo>
                  <a:pt x="89" y="95"/>
                </a:lnTo>
                <a:lnTo>
                  <a:pt x="90" y="96"/>
                </a:lnTo>
                <a:lnTo>
                  <a:pt x="92" y="99"/>
                </a:lnTo>
                <a:lnTo>
                  <a:pt x="92" y="102"/>
                </a:lnTo>
                <a:lnTo>
                  <a:pt x="89" y="105"/>
                </a:lnTo>
                <a:lnTo>
                  <a:pt x="88" y="105"/>
                </a:lnTo>
                <a:lnTo>
                  <a:pt x="87" y="106"/>
                </a:lnTo>
                <a:lnTo>
                  <a:pt x="87" y="109"/>
                </a:lnTo>
                <a:lnTo>
                  <a:pt x="86" y="111"/>
                </a:lnTo>
                <a:lnTo>
                  <a:pt x="82" y="112"/>
                </a:lnTo>
                <a:lnTo>
                  <a:pt x="81" y="112"/>
                </a:lnTo>
                <a:lnTo>
                  <a:pt x="80" y="114"/>
                </a:lnTo>
                <a:lnTo>
                  <a:pt x="80" y="115"/>
                </a:lnTo>
                <a:lnTo>
                  <a:pt x="77" y="115"/>
                </a:lnTo>
                <a:lnTo>
                  <a:pt x="75" y="114"/>
                </a:lnTo>
                <a:lnTo>
                  <a:pt x="74" y="114"/>
                </a:lnTo>
                <a:lnTo>
                  <a:pt x="71" y="112"/>
                </a:lnTo>
                <a:lnTo>
                  <a:pt x="67" y="111"/>
                </a:lnTo>
                <a:lnTo>
                  <a:pt x="67" y="112"/>
                </a:lnTo>
                <a:lnTo>
                  <a:pt x="65" y="112"/>
                </a:lnTo>
                <a:lnTo>
                  <a:pt x="65" y="113"/>
                </a:lnTo>
                <a:lnTo>
                  <a:pt x="63" y="113"/>
                </a:lnTo>
                <a:lnTo>
                  <a:pt x="61" y="115"/>
                </a:lnTo>
                <a:lnTo>
                  <a:pt x="56" y="115"/>
                </a:lnTo>
                <a:lnTo>
                  <a:pt x="55" y="117"/>
                </a:lnTo>
                <a:lnTo>
                  <a:pt x="52" y="118"/>
                </a:lnTo>
                <a:lnTo>
                  <a:pt x="48" y="118"/>
                </a:lnTo>
                <a:lnTo>
                  <a:pt x="48" y="117"/>
                </a:lnTo>
                <a:lnTo>
                  <a:pt x="44" y="113"/>
                </a:lnTo>
                <a:lnTo>
                  <a:pt x="44" y="111"/>
                </a:lnTo>
                <a:lnTo>
                  <a:pt x="40" y="107"/>
                </a:lnTo>
                <a:lnTo>
                  <a:pt x="38" y="107"/>
                </a:lnTo>
                <a:lnTo>
                  <a:pt x="38" y="105"/>
                </a:lnTo>
                <a:lnTo>
                  <a:pt x="39" y="104"/>
                </a:lnTo>
                <a:lnTo>
                  <a:pt x="38" y="102"/>
                </a:lnTo>
                <a:lnTo>
                  <a:pt x="34" y="102"/>
                </a:lnTo>
                <a:lnTo>
                  <a:pt x="34" y="99"/>
                </a:lnTo>
                <a:lnTo>
                  <a:pt x="37" y="94"/>
                </a:lnTo>
                <a:lnTo>
                  <a:pt x="36" y="93"/>
                </a:lnTo>
                <a:lnTo>
                  <a:pt x="34" y="90"/>
                </a:lnTo>
                <a:lnTo>
                  <a:pt x="33" y="89"/>
                </a:lnTo>
                <a:lnTo>
                  <a:pt x="36" y="87"/>
                </a:lnTo>
                <a:lnTo>
                  <a:pt x="36" y="86"/>
                </a:lnTo>
                <a:lnTo>
                  <a:pt x="34" y="84"/>
                </a:lnTo>
                <a:lnTo>
                  <a:pt x="28" y="82"/>
                </a:lnTo>
                <a:lnTo>
                  <a:pt x="25" y="82"/>
                </a:lnTo>
                <a:lnTo>
                  <a:pt x="23" y="83"/>
                </a:lnTo>
                <a:lnTo>
                  <a:pt x="19" y="86"/>
                </a:lnTo>
                <a:lnTo>
                  <a:pt x="17" y="86"/>
                </a:lnTo>
                <a:lnTo>
                  <a:pt x="15" y="87"/>
                </a:lnTo>
                <a:lnTo>
                  <a:pt x="13" y="88"/>
                </a:lnTo>
                <a:lnTo>
                  <a:pt x="12" y="89"/>
                </a:lnTo>
                <a:lnTo>
                  <a:pt x="12" y="90"/>
                </a:lnTo>
                <a:lnTo>
                  <a:pt x="11" y="92"/>
                </a:lnTo>
                <a:lnTo>
                  <a:pt x="12" y="92"/>
                </a:lnTo>
                <a:lnTo>
                  <a:pt x="12" y="94"/>
                </a:lnTo>
                <a:lnTo>
                  <a:pt x="14" y="94"/>
                </a:lnTo>
                <a:lnTo>
                  <a:pt x="14" y="95"/>
                </a:lnTo>
                <a:lnTo>
                  <a:pt x="7" y="102"/>
                </a:lnTo>
                <a:lnTo>
                  <a:pt x="5" y="101"/>
                </a:lnTo>
                <a:lnTo>
                  <a:pt x="3" y="101"/>
                </a:lnTo>
                <a:lnTo>
                  <a:pt x="1" y="102"/>
                </a:lnTo>
                <a:lnTo>
                  <a:pt x="0" y="102"/>
                </a:lnTo>
                <a:lnTo>
                  <a:pt x="1" y="101"/>
                </a:lnTo>
                <a:lnTo>
                  <a:pt x="1" y="99"/>
                </a:lnTo>
                <a:lnTo>
                  <a:pt x="0" y="99"/>
                </a:lnTo>
                <a:lnTo>
                  <a:pt x="0" y="98"/>
                </a:lnTo>
                <a:lnTo>
                  <a:pt x="1" y="96"/>
                </a:lnTo>
                <a:lnTo>
                  <a:pt x="3" y="95"/>
                </a:lnTo>
                <a:lnTo>
                  <a:pt x="6" y="95"/>
                </a:lnTo>
                <a:lnTo>
                  <a:pt x="6" y="92"/>
                </a:lnTo>
                <a:lnTo>
                  <a:pt x="7" y="92"/>
                </a:lnTo>
                <a:lnTo>
                  <a:pt x="7" y="90"/>
                </a:lnTo>
                <a:lnTo>
                  <a:pt x="8" y="88"/>
                </a:lnTo>
                <a:lnTo>
                  <a:pt x="7" y="87"/>
                </a:lnTo>
                <a:lnTo>
                  <a:pt x="7" y="86"/>
                </a:lnTo>
                <a:lnTo>
                  <a:pt x="5" y="84"/>
                </a:lnTo>
                <a:lnTo>
                  <a:pt x="5" y="82"/>
                </a:lnTo>
                <a:lnTo>
                  <a:pt x="6" y="81"/>
                </a:lnTo>
                <a:lnTo>
                  <a:pt x="7" y="78"/>
                </a:lnTo>
                <a:lnTo>
                  <a:pt x="8" y="77"/>
                </a:lnTo>
                <a:lnTo>
                  <a:pt x="7" y="76"/>
                </a:lnTo>
                <a:lnTo>
                  <a:pt x="7" y="75"/>
                </a:lnTo>
                <a:lnTo>
                  <a:pt x="13" y="69"/>
                </a:lnTo>
                <a:lnTo>
                  <a:pt x="17" y="68"/>
                </a:lnTo>
                <a:lnTo>
                  <a:pt x="17" y="66"/>
                </a:lnTo>
                <a:lnTo>
                  <a:pt x="18" y="65"/>
                </a:lnTo>
                <a:lnTo>
                  <a:pt x="19" y="65"/>
                </a:lnTo>
                <a:lnTo>
                  <a:pt x="20" y="64"/>
                </a:lnTo>
                <a:lnTo>
                  <a:pt x="20" y="58"/>
                </a:lnTo>
                <a:lnTo>
                  <a:pt x="21" y="58"/>
                </a:lnTo>
                <a:lnTo>
                  <a:pt x="21" y="56"/>
                </a:lnTo>
                <a:lnTo>
                  <a:pt x="20" y="56"/>
                </a:lnTo>
                <a:lnTo>
                  <a:pt x="20" y="55"/>
                </a:lnTo>
                <a:lnTo>
                  <a:pt x="21" y="52"/>
                </a:lnTo>
                <a:lnTo>
                  <a:pt x="23" y="51"/>
                </a:lnTo>
                <a:lnTo>
                  <a:pt x="27" y="50"/>
                </a:lnTo>
                <a:lnTo>
                  <a:pt x="31" y="46"/>
                </a:lnTo>
                <a:lnTo>
                  <a:pt x="31" y="44"/>
                </a:lnTo>
                <a:lnTo>
                  <a:pt x="32" y="44"/>
                </a:lnTo>
                <a:lnTo>
                  <a:pt x="33" y="43"/>
                </a:lnTo>
                <a:lnTo>
                  <a:pt x="33" y="41"/>
                </a:lnTo>
                <a:lnTo>
                  <a:pt x="34" y="41"/>
                </a:lnTo>
                <a:lnTo>
                  <a:pt x="38" y="39"/>
                </a:lnTo>
                <a:lnTo>
                  <a:pt x="38" y="38"/>
                </a:lnTo>
                <a:lnTo>
                  <a:pt x="39" y="35"/>
                </a:lnTo>
                <a:lnTo>
                  <a:pt x="43" y="34"/>
                </a:lnTo>
                <a:lnTo>
                  <a:pt x="43" y="31"/>
                </a:lnTo>
                <a:lnTo>
                  <a:pt x="44" y="31"/>
                </a:lnTo>
                <a:lnTo>
                  <a:pt x="44" y="29"/>
                </a:lnTo>
                <a:lnTo>
                  <a:pt x="45" y="29"/>
                </a:lnTo>
                <a:lnTo>
                  <a:pt x="46" y="28"/>
                </a:lnTo>
                <a:lnTo>
                  <a:pt x="44" y="26"/>
                </a:lnTo>
                <a:lnTo>
                  <a:pt x="44" y="27"/>
                </a:lnTo>
                <a:lnTo>
                  <a:pt x="39" y="27"/>
                </a:lnTo>
                <a:lnTo>
                  <a:pt x="39" y="26"/>
                </a:lnTo>
                <a:lnTo>
                  <a:pt x="42" y="24"/>
                </a:lnTo>
                <a:lnTo>
                  <a:pt x="42" y="22"/>
                </a:lnTo>
                <a:lnTo>
                  <a:pt x="43" y="22"/>
                </a:lnTo>
                <a:lnTo>
                  <a:pt x="44" y="21"/>
                </a:lnTo>
                <a:lnTo>
                  <a:pt x="44" y="20"/>
                </a:lnTo>
                <a:lnTo>
                  <a:pt x="43" y="20"/>
                </a:lnTo>
                <a:lnTo>
                  <a:pt x="43" y="19"/>
                </a:lnTo>
                <a:lnTo>
                  <a:pt x="44" y="19"/>
                </a:lnTo>
                <a:lnTo>
                  <a:pt x="45" y="18"/>
                </a:lnTo>
                <a:lnTo>
                  <a:pt x="45" y="19"/>
                </a:lnTo>
                <a:lnTo>
                  <a:pt x="52" y="19"/>
                </a:lnTo>
                <a:lnTo>
                  <a:pt x="51" y="21"/>
                </a:lnTo>
                <a:lnTo>
                  <a:pt x="52" y="22"/>
                </a:lnTo>
                <a:lnTo>
                  <a:pt x="53" y="22"/>
                </a:lnTo>
                <a:lnTo>
                  <a:pt x="53" y="24"/>
                </a:lnTo>
                <a:lnTo>
                  <a:pt x="55" y="24"/>
                </a:lnTo>
                <a:lnTo>
                  <a:pt x="56" y="22"/>
                </a:lnTo>
                <a:lnTo>
                  <a:pt x="62" y="22"/>
                </a:lnTo>
                <a:lnTo>
                  <a:pt x="62" y="19"/>
                </a:lnTo>
                <a:lnTo>
                  <a:pt x="64" y="19"/>
                </a:lnTo>
                <a:lnTo>
                  <a:pt x="64" y="18"/>
                </a:lnTo>
                <a:lnTo>
                  <a:pt x="65" y="18"/>
                </a:lnTo>
                <a:lnTo>
                  <a:pt x="65" y="16"/>
                </a:lnTo>
                <a:lnTo>
                  <a:pt x="64" y="15"/>
                </a:lnTo>
                <a:lnTo>
                  <a:pt x="67" y="14"/>
                </a:lnTo>
                <a:lnTo>
                  <a:pt x="68" y="13"/>
                </a:lnTo>
                <a:lnTo>
                  <a:pt x="69" y="13"/>
                </a:lnTo>
                <a:lnTo>
                  <a:pt x="71" y="12"/>
                </a:lnTo>
                <a:lnTo>
                  <a:pt x="73" y="12"/>
                </a:lnTo>
                <a:lnTo>
                  <a:pt x="71" y="14"/>
                </a:lnTo>
                <a:lnTo>
                  <a:pt x="70" y="14"/>
                </a:lnTo>
                <a:lnTo>
                  <a:pt x="71" y="15"/>
                </a:lnTo>
                <a:lnTo>
                  <a:pt x="76" y="15"/>
                </a:lnTo>
                <a:lnTo>
                  <a:pt x="79" y="13"/>
                </a:lnTo>
                <a:lnTo>
                  <a:pt x="79" y="12"/>
                </a:lnTo>
                <a:lnTo>
                  <a:pt x="80" y="13"/>
                </a:lnTo>
                <a:lnTo>
                  <a:pt x="82" y="13"/>
                </a:lnTo>
                <a:lnTo>
                  <a:pt x="82" y="14"/>
                </a:lnTo>
                <a:lnTo>
                  <a:pt x="90" y="14"/>
                </a:lnTo>
                <a:lnTo>
                  <a:pt x="90" y="13"/>
                </a:lnTo>
                <a:lnTo>
                  <a:pt x="92" y="13"/>
                </a:lnTo>
                <a:lnTo>
                  <a:pt x="93" y="12"/>
                </a:lnTo>
                <a:lnTo>
                  <a:pt x="94" y="12"/>
                </a:lnTo>
                <a:lnTo>
                  <a:pt x="94" y="10"/>
                </a:lnTo>
                <a:lnTo>
                  <a:pt x="99" y="10"/>
                </a:lnTo>
                <a:lnTo>
                  <a:pt x="99" y="13"/>
                </a:lnTo>
                <a:lnTo>
                  <a:pt x="106" y="13"/>
                </a:lnTo>
                <a:lnTo>
                  <a:pt x="106" y="12"/>
                </a:lnTo>
                <a:lnTo>
                  <a:pt x="107" y="10"/>
                </a:lnTo>
                <a:lnTo>
                  <a:pt x="108" y="10"/>
                </a:lnTo>
                <a:lnTo>
                  <a:pt x="111" y="13"/>
                </a:lnTo>
                <a:lnTo>
                  <a:pt x="111" y="9"/>
                </a:lnTo>
                <a:lnTo>
                  <a:pt x="112" y="9"/>
                </a:lnTo>
                <a:lnTo>
                  <a:pt x="112" y="8"/>
                </a:lnTo>
                <a:lnTo>
                  <a:pt x="108" y="8"/>
                </a:lnTo>
                <a:lnTo>
                  <a:pt x="107" y="9"/>
                </a:lnTo>
                <a:lnTo>
                  <a:pt x="105" y="9"/>
                </a:lnTo>
                <a:lnTo>
                  <a:pt x="104" y="8"/>
                </a:lnTo>
                <a:lnTo>
                  <a:pt x="104" y="7"/>
                </a:lnTo>
                <a:lnTo>
                  <a:pt x="102" y="6"/>
                </a:lnTo>
                <a:lnTo>
                  <a:pt x="104" y="6"/>
                </a:lnTo>
                <a:lnTo>
                  <a:pt x="105" y="4"/>
                </a:lnTo>
                <a:lnTo>
                  <a:pt x="105" y="3"/>
                </a:lnTo>
                <a:lnTo>
                  <a:pt x="106" y="2"/>
                </a:lnTo>
                <a:lnTo>
                  <a:pt x="106" y="1"/>
                </a:lnTo>
                <a:lnTo>
                  <a:pt x="110" y="1"/>
                </a:lnTo>
                <a:lnTo>
                  <a:pt x="11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" name="Freeform 12">
            <a:extLst>
              <a:ext uri="{FF2B5EF4-FFF2-40B4-BE49-F238E27FC236}">
                <a16:creationId xmlns:a16="http://schemas.microsoft.com/office/drawing/2014/main" id="{9CF024F8-95CB-4CC0-8D61-CB4A28F15433}"/>
              </a:ext>
            </a:extLst>
          </p:cNvPr>
          <p:cNvSpPr>
            <a:spLocks noEditPoints="1"/>
          </p:cNvSpPr>
          <p:nvPr/>
        </p:nvSpPr>
        <p:spPr bwMode="auto">
          <a:xfrm>
            <a:off x="1911249" y="2344238"/>
            <a:ext cx="798366" cy="1832910"/>
          </a:xfrm>
          <a:custGeom>
            <a:avLst/>
            <a:gdLst/>
            <a:ahLst/>
            <a:cxnLst>
              <a:cxn ang="0">
                <a:pos x="240" y="1154"/>
              </a:cxn>
              <a:cxn ang="0">
                <a:pos x="319" y="1067"/>
              </a:cxn>
              <a:cxn ang="0">
                <a:pos x="329" y="1106"/>
              </a:cxn>
              <a:cxn ang="0">
                <a:pos x="298" y="1128"/>
              </a:cxn>
              <a:cxn ang="0">
                <a:pos x="336" y="1063"/>
              </a:cxn>
              <a:cxn ang="0">
                <a:pos x="346" y="1031"/>
              </a:cxn>
              <a:cxn ang="0">
                <a:pos x="299" y="980"/>
              </a:cxn>
              <a:cxn ang="0">
                <a:pos x="323" y="958"/>
              </a:cxn>
              <a:cxn ang="0">
                <a:pos x="330" y="947"/>
              </a:cxn>
              <a:cxn ang="0">
                <a:pos x="329" y="932"/>
              </a:cxn>
              <a:cxn ang="0">
                <a:pos x="256" y="772"/>
              </a:cxn>
              <a:cxn ang="0">
                <a:pos x="412" y="559"/>
              </a:cxn>
              <a:cxn ang="0">
                <a:pos x="474" y="387"/>
              </a:cxn>
              <a:cxn ang="0">
                <a:pos x="534" y="367"/>
              </a:cxn>
              <a:cxn ang="0">
                <a:pos x="458" y="59"/>
              </a:cxn>
              <a:cxn ang="0">
                <a:pos x="523" y="133"/>
              </a:cxn>
              <a:cxn ang="0">
                <a:pos x="541" y="253"/>
              </a:cxn>
              <a:cxn ang="0">
                <a:pos x="546" y="357"/>
              </a:cxn>
              <a:cxn ang="0">
                <a:pos x="503" y="361"/>
              </a:cxn>
              <a:cxn ang="0">
                <a:pos x="468" y="363"/>
              </a:cxn>
              <a:cxn ang="0">
                <a:pos x="456" y="372"/>
              </a:cxn>
              <a:cxn ang="0">
                <a:pos x="437" y="400"/>
              </a:cxn>
              <a:cxn ang="0">
                <a:pos x="439" y="436"/>
              </a:cxn>
              <a:cxn ang="0">
                <a:pos x="424" y="467"/>
              </a:cxn>
              <a:cxn ang="0">
                <a:pos x="442" y="490"/>
              </a:cxn>
              <a:cxn ang="0">
                <a:pos x="402" y="554"/>
              </a:cxn>
              <a:cxn ang="0">
                <a:pos x="358" y="584"/>
              </a:cxn>
              <a:cxn ang="0">
                <a:pos x="337" y="611"/>
              </a:cxn>
              <a:cxn ang="0">
                <a:pos x="317" y="620"/>
              </a:cxn>
              <a:cxn ang="0">
                <a:pos x="299" y="643"/>
              </a:cxn>
              <a:cxn ang="0">
                <a:pos x="288" y="650"/>
              </a:cxn>
              <a:cxn ang="0">
                <a:pos x="262" y="680"/>
              </a:cxn>
              <a:cxn ang="0">
                <a:pos x="262" y="736"/>
              </a:cxn>
              <a:cxn ang="0">
                <a:pos x="257" y="757"/>
              </a:cxn>
              <a:cxn ang="0">
                <a:pos x="256" y="791"/>
              </a:cxn>
              <a:cxn ang="0">
                <a:pos x="263" y="841"/>
              </a:cxn>
              <a:cxn ang="0">
                <a:pos x="307" y="874"/>
              </a:cxn>
              <a:cxn ang="0">
                <a:pos x="329" y="903"/>
              </a:cxn>
              <a:cxn ang="0">
                <a:pos x="302" y="941"/>
              </a:cxn>
              <a:cxn ang="0">
                <a:pos x="316" y="950"/>
              </a:cxn>
              <a:cxn ang="0">
                <a:pos x="302" y="970"/>
              </a:cxn>
              <a:cxn ang="0">
                <a:pos x="274" y="977"/>
              </a:cxn>
              <a:cxn ang="0">
                <a:pos x="251" y="1001"/>
              </a:cxn>
              <a:cxn ang="0">
                <a:pos x="241" y="1017"/>
              </a:cxn>
              <a:cxn ang="0">
                <a:pos x="241" y="1043"/>
              </a:cxn>
              <a:cxn ang="0">
                <a:pos x="236" y="1069"/>
              </a:cxn>
              <a:cxn ang="0">
                <a:pos x="230" y="1093"/>
              </a:cxn>
              <a:cxn ang="0">
                <a:pos x="226" y="1136"/>
              </a:cxn>
              <a:cxn ang="0">
                <a:pos x="198" y="1203"/>
              </a:cxn>
              <a:cxn ang="0">
                <a:pos x="154" y="1203"/>
              </a:cxn>
              <a:cxn ang="0">
                <a:pos x="123" y="1261"/>
              </a:cxn>
              <a:cxn ang="0">
                <a:pos x="75" y="1227"/>
              </a:cxn>
              <a:cxn ang="0">
                <a:pos x="66" y="1164"/>
              </a:cxn>
              <a:cxn ang="0">
                <a:pos x="40" y="1113"/>
              </a:cxn>
              <a:cxn ang="0">
                <a:pos x="24" y="1073"/>
              </a:cxn>
              <a:cxn ang="0">
                <a:pos x="29" y="1037"/>
              </a:cxn>
              <a:cxn ang="0">
                <a:pos x="12" y="1030"/>
              </a:cxn>
              <a:cxn ang="0">
                <a:pos x="0" y="984"/>
              </a:cxn>
              <a:cxn ang="0">
                <a:pos x="43" y="906"/>
              </a:cxn>
              <a:cxn ang="0">
                <a:pos x="50" y="697"/>
              </a:cxn>
              <a:cxn ang="0">
                <a:pos x="143" y="406"/>
              </a:cxn>
              <a:cxn ang="0">
                <a:pos x="296" y="72"/>
              </a:cxn>
            </a:cxnLst>
            <a:rect l="0" t="0" r="r" b="b"/>
            <a:pathLst>
              <a:path w="551" h="1265">
                <a:moveTo>
                  <a:pt x="192" y="1207"/>
                </a:moveTo>
                <a:lnTo>
                  <a:pt x="194" y="1207"/>
                </a:lnTo>
                <a:lnTo>
                  <a:pt x="194" y="1208"/>
                </a:lnTo>
                <a:lnTo>
                  <a:pt x="193" y="1208"/>
                </a:lnTo>
                <a:lnTo>
                  <a:pt x="193" y="1210"/>
                </a:lnTo>
                <a:lnTo>
                  <a:pt x="191" y="1209"/>
                </a:lnTo>
                <a:lnTo>
                  <a:pt x="191" y="1208"/>
                </a:lnTo>
                <a:lnTo>
                  <a:pt x="192" y="1207"/>
                </a:lnTo>
                <a:close/>
                <a:moveTo>
                  <a:pt x="225" y="1155"/>
                </a:moveTo>
                <a:lnTo>
                  <a:pt x="226" y="1155"/>
                </a:lnTo>
                <a:lnTo>
                  <a:pt x="226" y="1156"/>
                </a:lnTo>
                <a:lnTo>
                  <a:pt x="225" y="1158"/>
                </a:lnTo>
                <a:lnTo>
                  <a:pt x="224" y="1156"/>
                </a:lnTo>
                <a:lnTo>
                  <a:pt x="225" y="1155"/>
                </a:lnTo>
                <a:close/>
                <a:moveTo>
                  <a:pt x="250" y="1111"/>
                </a:moveTo>
                <a:lnTo>
                  <a:pt x="251" y="1111"/>
                </a:lnTo>
                <a:lnTo>
                  <a:pt x="251" y="1112"/>
                </a:lnTo>
                <a:lnTo>
                  <a:pt x="253" y="1112"/>
                </a:lnTo>
                <a:lnTo>
                  <a:pt x="253" y="1113"/>
                </a:lnTo>
                <a:lnTo>
                  <a:pt x="254" y="1115"/>
                </a:lnTo>
                <a:lnTo>
                  <a:pt x="253" y="1115"/>
                </a:lnTo>
                <a:lnTo>
                  <a:pt x="251" y="1116"/>
                </a:lnTo>
                <a:lnTo>
                  <a:pt x="250" y="1118"/>
                </a:lnTo>
                <a:lnTo>
                  <a:pt x="251" y="1121"/>
                </a:lnTo>
                <a:lnTo>
                  <a:pt x="251" y="1122"/>
                </a:lnTo>
                <a:lnTo>
                  <a:pt x="250" y="1124"/>
                </a:lnTo>
                <a:lnTo>
                  <a:pt x="250" y="1125"/>
                </a:lnTo>
                <a:lnTo>
                  <a:pt x="249" y="1125"/>
                </a:lnTo>
                <a:lnTo>
                  <a:pt x="249" y="1128"/>
                </a:lnTo>
                <a:lnTo>
                  <a:pt x="247" y="1131"/>
                </a:lnTo>
                <a:lnTo>
                  <a:pt x="247" y="1135"/>
                </a:lnTo>
                <a:lnTo>
                  <a:pt x="245" y="1135"/>
                </a:lnTo>
                <a:lnTo>
                  <a:pt x="244" y="1136"/>
                </a:lnTo>
                <a:lnTo>
                  <a:pt x="244" y="1137"/>
                </a:lnTo>
                <a:lnTo>
                  <a:pt x="245" y="1137"/>
                </a:lnTo>
                <a:lnTo>
                  <a:pt x="245" y="1138"/>
                </a:lnTo>
                <a:lnTo>
                  <a:pt x="244" y="1138"/>
                </a:lnTo>
                <a:lnTo>
                  <a:pt x="244" y="1140"/>
                </a:lnTo>
                <a:lnTo>
                  <a:pt x="243" y="1142"/>
                </a:lnTo>
                <a:lnTo>
                  <a:pt x="243" y="1147"/>
                </a:lnTo>
                <a:lnTo>
                  <a:pt x="242" y="1147"/>
                </a:lnTo>
                <a:lnTo>
                  <a:pt x="242" y="1152"/>
                </a:lnTo>
                <a:lnTo>
                  <a:pt x="240" y="1154"/>
                </a:lnTo>
                <a:lnTo>
                  <a:pt x="238" y="1154"/>
                </a:lnTo>
                <a:lnTo>
                  <a:pt x="238" y="1159"/>
                </a:lnTo>
                <a:lnTo>
                  <a:pt x="236" y="1167"/>
                </a:lnTo>
                <a:lnTo>
                  <a:pt x="235" y="1168"/>
                </a:lnTo>
                <a:lnTo>
                  <a:pt x="235" y="1172"/>
                </a:lnTo>
                <a:lnTo>
                  <a:pt x="234" y="1172"/>
                </a:lnTo>
                <a:lnTo>
                  <a:pt x="234" y="1173"/>
                </a:lnTo>
                <a:lnTo>
                  <a:pt x="232" y="1173"/>
                </a:lnTo>
                <a:lnTo>
                  <a:pt x="232" y="1180"/>
                </a:lnTo>
                <a:lnTo>
                  <a:pt x="231" y="1181"/>
                </a:lnTo>
                <a:lnTo>
                  <a:pt x="231" y="1184"/>
                </a:lnTo>
                <a:lnTo>
                  <a:pt x="230" y="1185"/>
                </a:lnTo>
                <a:lnTo>
                  <a:pt x="230" y="1190"/>
                </a:lnTo>
                <a:lnTo>
                  <a:pt x="229" y="1191"/>
                </a:lnTo>
                <a:lnTo>
                  <a:pt x="229" y="1192"/>
                </a:lnTo>
                <a:lnTo>
                  <a:pt x="226" y="1198"/>
                </a:lnTo>
                <a:lnTo>
                  <a:pt x="225" y="1199"/>
                </a:lnTo>
                <a:lnTo>
                  <a:pt x="224" y="1199"/>
                </a:lnTo>
                <a:lnTo>
                  <a:pt x="223" y="1198"/>
                </a:lnTo>
                <a:lnTo>
                  <a:pt x="223" y="1186"/>
                </a:lnTo>
                <a:lnTo>
                  <a:pt x="224" y="1185"/>
                </a:lnTo>
                <a:lnTo>
                  <a:pt x="223" y="1184"/>
                </a:lnTo>
                <a:lnTo>
                  <a:pt x="223" y="1173"/>
                </a:lnTo>
                <a:lnTo>
                  <a:pt x="224" y="1171"/>
                </a:lnTo>
                <a:lnTo>
                  <a:pt x="225" y="1169"/>
                </a:lnTo>
                <a:lnTo>
                  <a:pt x="225" y="1167"/>
                </a:lnTo>
                <a:lnTo>
                  <a:pt x="232" y="1149"/>
                </a:lnTo>
                <a:lnTo>
                  <a:pt x="232" y="1148"/>
                </a:lnTo>
                <a:lnTo>
                  <a:pt x="236" y="1148"/>
                </a:lnTo>
                <a:lnTo>
                  <a:pt x="237" y="1147"/>
                </a:lnTo>
                <a:lnTo>
                  <a:pt x="237" y="1144"/>
                </a:lnTo>
                <a:lnTo>
                  <a:pt x="242" y="1135"/>
                </a:lnTo>
                <a:lnTo>
                  <a:pt x="243" y="1130"/>
                </a:lnTo>
                <a:lnTo>
                  <a:pt x="244" y="1124"/>
                </a:lnTo>
                <a:lnTo>
                  <a:pt x="244" y="1123"/>
                </a:lnTo>
                <a:lnTo>
                  <a:pt x="245" y="1123"/>
                </a:lnTo>
                <a:lnTo>
                  <a:pt x="247" y="1122"/>
                </a:lnTo>
                <a:lnTo>
                  <a:pt x="247" y="1116"/>
                </a:lnTo>
                <a:lnTo>
                  <a:pt x="248" y="1115"/>
                </a:lnTo>
                <a:lnTo>
                  <a:pt x="249" y="1112"/>
                </a:lnTo>
                <a:lnTo>
                  <a:pt x="250" y="1112"/>
                </a:lnTo>
                <a:lnTo>
                  <a:pt x="250" y="1111"/>
                </a:lnTo>
                <a:close/>
                <a:moveTo>
                  <a:pt x="319" y="1067"/>
                </a:moveTo>
                <a:lnTo>
                  <a:pt x="322" y="1067"/>
                </a:lnTo>
                <a:lnTo>
                  <a:pt x="322" y="1068"/>
                </a:lnTo>
                <a:lnTo>
                  <a:pt x="323" y="1069"/>
                </a:lnTo>
                <a:lnTo>
                  <a:pt x="323" y="1074"/>
                </a:lnTo>
                <a:lnTo>
                  <a:pt x="324" y="1075"/>
                </a:lnTo>
                <a:lnTo>
                  <a:pt x="324" y="1073"/>
                </a:lnTo>
                <a:lnTo>
                  <a:pt x="327" y="1070"/>
                </a:lnTo>
                <a:lnTo>
                  <a:pt x="327" y="1069"/>
                </a:lnTo>
                <a:lnTo>
                  <a:pt x="325" y="1068"/>
                </a:lnTo>
                <a:lnTo>
                  <a:pt x="327" y="1068"/>
                </a:lnTo>
                <a:lnTo>
                  <a:pt x="329" y="1067"/>
                </a:lnTo>
                <a:lnTo>
                  <a:pt x="329" y="1068"/>
                </a:lnTo>
                <a:lnTo>
                  <a:pt x="328" y="1069"/>
                </a:lnTo>
                <a:lnTo>
                  <a:pt x="330" y="1069"/>
                </a:lnTo>
                <a:lnTo>
                  <a:pt x="331" y="1068"/>
                </a:lnTo>
                <a:lnTo>
                  <a:pt x="333" y="1068"/>
                </a:lnTo>
                <a:lnTo>
                  <a:pt x="333" y="1069"/>
                </a:lnTo>
                <a:lnTo>
                  <a:pt x="334" y="1070"/>
                </a:lnTo>
                <a:lnTo>
                  <a:pt x="334" y="1072"/>
                </a:lnTo>
                <a:lnTo>
                  <a:pt x="335" y="1072"/>
                </a:lnTo>
                <a:lnTo>
                  <a:pt x="336" y="1074"/>
                </a:lnTo>
                <a:lnTo>
                  <a:pt x="336" y="1075"/>
                </a:lnTo>
                <a:lnTo>
                  <a:pt x="334" y="1075"/>
                </a:lnTo>
                <a:lnTo>
                  <a:pt x="333" y="1076"/>
                </a:lnTo>
                <a:lnTo>
                  <a:pt x="331" y="1079"/>
                </a:lnTo>
                <a:lnTo>
                  <a:pt x="331" y="1078"/>
                </a:lnTo>
                <a:lnTo>
                  <a:pt x="330" y="1078"/>
                </a:lnTo>
                <a:lnTo>
                  <a:pt x="330" y="1082"/>
                </a:lnTo>
                <a:lnTo>
                  <a:pt x="325" y="1082"/>
                </a:lnTo>
                <a:lnTo>
                  <a:pt x="325" y="1081"/>
                </a:lnTo>
                <a:lnTo>
                  <a:pt x="324" y="1082"/>
                </a:lnTo>
                <a:lnTo>
                  <a:pt x="324" y="1087"/>
                </a:lnTo>
                <a:lnTo>
                  <a:pt x="323" y="1088"/>
                </a:lnTo>
                <a:lnTo>
                  <a:pt x="323" y="1092"/>
                </a:lnTo>
                <a:lnTo>
                  <a:pt x="324" y="1092"/>
                </a:lnTo>
                <a:lnTo>
                  <a:pt x="324" y="1097"/>
                </a:lnTo>
                <a:lnTo>
                  <a:pt x="323" y="1098"/>
                </a:lnTo>
                <a:lnTo>
                  <a:pt x="323" y="1103"/>
                </a:lnTo>
                <a:lnTo>
                  <a:pt x="324" y="1103"/>
                </a:lnTo>
                <a:lnTo>
                  <a:pt x="324" y="1104"/>
                </a:lnTo>
                <a:lnTo>
                  <a:pt x="325" y="1105"/>
                </a:lnTo>
                <a:lnTo>
                  <a:pt x="329" y="1105"/>
                </a:lnTo>
                <a:lnTo>
                  <a:pt x="329" y="1106"/>
                </a:lnTo>
                <a:lnTo>
                  <a:pt x="330" y="1107"/>
                </a:lnTo>
                <a:lnTo>
                  <a:pt x="329" y="1109"/>
                </a:lnTo>
                <a:lnTo>
                  <a:pt x="327" y="1109"/>
                </a:lnTo>
                <a:lnTo>
                  <a:pt x="325" y="1110"/>
                </a:lnTo>
                <a:lnTo>
                  <a:pt x="324" y="1110"/>
                </a:lnTo>
                <a:lnTo>
                  <a:pt x="321" y="1113"/>
                </a:lnTo>
                <a:lnTo>
                  <a:pt x="319" y="1116"/>
                </a:lnTo>
                <a:lnTo>
                  <a:pt x="318" y="1116"/>
                </a:lnTo>
                <a:lnTo>
                  <a:pt x="318" y="1118"/>
                </a:lnTo>
                <a:lnTo>
                  <a:pt x="321" y="1118"/>
                </a:lnTo>
                <a:lnTo>
                  <a:pt x="321" y="1121"/>
                </a:lnTo>
                <a:lnTo>
                  <a:pt x="319" y="1122"/>
                </a:lnTo>
                <a:lnTo>
                  <a:pt x="316" y="1123"/>
                </a:lnTo>
                <a:lnTo>
                  <a:pt x="315" y="1123"/>
                </a:lnTo>
                <a:lnTo>
                  <a:pt x="315" y="1124"/>
                </a:lnTo>
                <a:lnTo>
                  <a:pt x="313" y="1124"/>
                </a:lnTo>
                <a:lnTo>
                  <a:pt x="309" y="1128"/>
                </a:lnTo>
                <a:lnTo>
                  <a:pt x="307" y="1128"/>
                </a:lnTo>
                <a:lnTo>
                  <a:pt x="306" y="1129"/>
                </a:lnTo>
                <a:lnTo>
                  <a:pt x="310" y="1129"/>
                </a:lnTo>
                <a:lnTo>
                  <a:pt x="309" y="1130"/>
                </a:lnTo>
                <a:lnTo>
                  <a:pt x="305" y="1132"/>
                </a:lnTo>
                <a:lnTo>
                  <a:pt x="305" y="1140"/>
                </a:lnTo>
                <a:lnTo>
                  <a:pt x="304" y="1141"/>
                </a:lnTo>
                <a:lnTo>
                  <a:pt x="304" y="1143"/>
                </a:lnTo>
                <a:lnTo>
                  <a:pt x="303" y="1144"/>
                </a:lnTo>
                <a:lnTo>
                  <a:pt x="299" y="1146"/>
                </a:lnTo>
                <a:lnTo>
                  <a:pt x="297" y="1146"/>
                </a:lnTo>
                <a:lnTo>
                  <a:pt x="299" y="1141"/>
                </a:lnTo>
                <a:lnTo>
                  <a:pt x="299" y="1137"/>
                </a:lnTo>
                <a:lnTo>
                  <a:pt x="302" y="1137"/>
                </a:lnTo>
                <a:lnTo>
                  <a:pt x="302" y="1135"/>
                </a:lnTo>
                <a:lnTo>
                  <a:pt x="303" y="1132"/>
                </a:lnTo>
                <a:lnTo>
                  <a:pt x="302" y="1132"/>
                </a:lnTo>
                <a:lnTo>
                  <a:pt x="300" y="1134"/>
                </a:lnTo>
                <a:lnTo>
                  <a:pt x="300" y="1135"/>
                </a:lnTo>
                <a:lnTo>
                  <a:pt x="299" y="1135"/>
                </a:lnTo>
                <a:lnTo>
                  <a:pt x="299" y="1132"/>
                </a:lnTo>
                <a:lnTo>
                  <a:pt x="300" y="1132"/>
                </a:lnTo>
                <a:lnTo>
                  <a:pt x="300" y="1131"/>
                </a:lnTo>
                <a:lnTo>
                  <a:pt x="299" y="1130"/>
                </a:lnTo>
                <a:lnTo>
                  <a:pt x="300" y="1129"/>
                </a:lnTo>
                <a:lnTo>
                  <a:pt x="298" y="1128"/>
                </a:lnTo>
                <a:lnTo>
                  <a:pt x="297" y="1122"/>
                </a:lnTo>
                <a:lnTo>
                  <a:pt x="294" y="1119"/>
                </a:lnTo>
                <a:lnTo>
                  <a:pt x="294" y="1118"/>
                </a:lnTo>
                <a:lnTo>
                  <a:pt x="296" y="1116"/>
                </a:lnTo>
                <a:lnTo>
                  <a:pt x="298" y="1113"/>
                </a:lnTo>
                <a:lnTo>
                  <a:pt x="298" y="1109"/>
                </a:lnTo>
                <a:lnTo>
                  <a:pt x="297" y="1109"/>
                </a:lnTo>
                <a:lnTo>
                  <a:pt x="297" y="1106"/>
                </a:lnTo>
                <a:lnTo>
                  <a:pt x="296" y="1105"/>
                </a:lnTo>
                <a:lnTo>
                  <a:pt x="296" y="1097"/>
                </a:lnTo>
                <a:lnTo>
                  <a:pt x="297" y="1094"/>
                </a:lnTo>
                <a:lnTo>
                  <a:pt x="304" y="1087"/>
                </a:lnTo>
                <a:lnTo>
                  <a:pt x="310" y="1076"/>
                </a:lnTo>
                <a:lnTo>
                  <a:pt x="311" y="1075"/>
                </a:lnTo>
                <a:lnTo>
                  <a:pt x="313" y="1074"/>
                </a:lnTo>
                <a:lnTo>
                  <a:pt x="316" y="1074"/>
                </a:lnTo>
                <a:lnTo>
                  <a:pt x="316" y="1073"/>
                </a:lnTo>
                <a:lnTo>
                  <a:pt x="317" y="1072"/>
                </a:lnTo>
                <a:lnTo>
                  <a:pt x="317" y="1070"/>
                </a:lnTo>
                <a:lnTo>
                  <a:pt x="319" y="1068"/>
                </a:lnTo>
                <a:lnTo>
                  <a:pt x="319" y="1067"/>
                </a:lnTo>
                <a:close/>
                <a:moveTo>
                  <a:pt x="337" y="1062"/>
                </a:moveTo>
                <a:lnTo>
                  <a:pt x="342" y="1062"/>
                </a:lnTo>
                <a:lnTo>
                  <a:pt x="342" y="1063"/>
                </a:lnTo>
                <a:lnTo>
                  <a:pt x="347" y="1063"/>
                </a:lnTo>
                <a:lnTo>
                  <a:pt x="347" y="1064"/>
                </a:lnTo>
                <a:lnTo>
                  <a:pt x="346" y="1064"/>
                </a:lnTo>
                <a:lnTo>
                  <a:pt x="346" y="1066"/>
                </a:lnTo>
                <a:lnTo>
                  <a:pt x="343" y="1064"/>
                </a:lnTo>
                <a:lnTo>
                  <a:pt x="342" y="1066"/>
                </a:lnTo>
                <a:lnTo>
                  <a:pt x="341" y="1066"/>
                </a:lnTo>
                <a:lnTo>
                  <a:pt x="338" y="1068"/>
                </a:lnTo>
                <a:lnTo>
                  <a:pt x="338" y="1069"/>
                </a:lnTo>
                <a:lnTo>
                  <a:pt x="340" y="1069"/>
                </a:lnTo>
                <a:lnTo>
                  <a:pt x="340" y="1070"/>
                </a:lnTo>
                <a:lnTo>
                  <a:pt x="338" y="1073"/>
                </a:lnTo>
                <a:lnTo>
                  <a:pt x="337" y="1073"/>
                </a:lnTo>
                <a:lnTo>
                  <a:pt x="336" y="1072"/>
                </a:lnTo>
                <a:lnTo>
                  <a:pt x="334" y="1068"/>
                </a:lnTo>
                <a:lnTo>
                  <a:pt x="335" y="1067"/>
                </a:lnTo>
                <a:lnTo>
                  <a:pt x="335" y="1066"/>
                </a:lnTo>
                <a:lnTo>
                  <a:pt x="336" y="1064"/>
                </a:lnTo>
                <a:lnTo>
                  <a:pt x="336" y="1063"/>
                </a:lnTo>
                <a:lnTo>
                  <a:pt x="337" y="1063"/>
                </a:lnTo>
                <a:lnTo>
                  <a:pt x="337" y="1062"/>
                </a:lnTo>
                <a:close/>
                <a:moveTo>
                  <a:pt x="25" y="1056"/>
                </a:moveTo>
                <a:lnTo>
                  <a:pt x="26" y="1056"/>
                </a:lnTo>
                <a:lnTo>
                  <a:pt x="26" y="1061"/>
                </a:lnTo>
                <a:lnTo>
                  <a:pt x="25" y="1062"/>
                </a:lnTo>
                <a:lnTo>
                  <a:pt x="25" y="1060"/>
                </a:lnTo>
                <a:lnTo>
                  <a:pt x="24" y="1060"/>
                </a:lnTo>
                <a:lnTo>
                  <a:pt x="24" y="1061"/>
                </a:lnTo>
                <a:lnTo>
                  <a:pt x="23" y="1062"/>
                </a:lnTo>
                <a:lnTo>
                  <a:pt x="23" y="1064"/>
                </a:lnTo>
                <a:lnTo>
                  <a:pt x="20" y="1064"/>
                </a:lnTo>
                <a:lnTo>
                  <a:pt x="20" y="1066"/>
                </a:lnTo>
                <a:lnTo>
                  <a:pt x="19" y="1066"/>
                </a:lnTo>
                <a:lnTo>
                  <a:pt x="19" y="1064"/>
                </a:lnTo>
                <a:lnTo>
                  <a:pt x="18" y="1064"/>
                </a:lnTo>
                <a:lnTo>
                  <a:pt x="17" y="1063"/>
                </a:lnTo>
                <a:lnTo>
                  <a:pt x="17" y="1061"/>
                </a:lnTo>
                <a:lnTo>
                  <a:pt x="19" y="1061"/>
                </a:lnTo>
                <a:lnTo>
                  <a:pt x="18" y="1060"/>
                </a:lnTo>
                <a:lnTo>
                  <a:pt x="17" y="1060"/>
                </a:lnTo>
                <a:lnTo>
                  <a:pt x="15" y="1058"/>
                </a:lnTo>
                <a:lnTo>
                  <a:pt x="17" y="1057"/>
                </a:lnTo>
                <a:lnTo>
                  <a:pt x="24" y="1057"/>
                </a:lnTo>
                <a:lnTo>
                  <a:pt x="25" y="1056"/>
                </a:lnTo>
                <a:close/>
                <a:moveTo>
                  <a:pt x="12" y="1038"/>
                </a:moveTo>
                <a:lnTo>
                  <a:pt x="13" y="1038"/>
                </a:lnTo>
                <a:lnTo>
                  <a:pt x="12" y="1039"/>
                </a:lnTo>
                <a:lnTo>
                  <a:pt x="12" y="1038"/>
                </a:lnTo>
                <a:close/>
                <a:moveTo>
                  <a:pt x="13" y="1037"/>
                </a:moveTo>
                <a:lnTo>
                  <a:pt x="14" y="1037"/>
                </a:lnTo>
                <a:lnTo>
                  <a:pt x="13" y="1038"/>
                </a:lnTo>
                <a:lnTo>
                  <a:pt x="13" y="1037"/>
                </a:lnTo>
                <a:close/>
                <a:moveTo>
                  <a:pt x="242" y="1036"/>
                </a:moveTo>
                <a:lnTo>
                  <a:pt x="243" y="1037"/>
                </a:lnTo>
                <a:lnTo>
                  <a:pt x="243" y="1039"/>
                </a:lnTo>
                <a:lnTo>
                  <a:pt x="242" y="1039"/>
                </a:lnTo>
                <a:lnTo>
                  <a:pt x="241" y="1038"/>
                </a:lnTo>
                <a:lnTo>
                  <a:pt x="241" y="1037"/>
                </a:lnTo>
                <a:lnTo>
                  <a:pt x="242" y="1036"/>
                </a:lnTo>
                <a:close/>
                <a:moveTo>
                  <a:pt x="341" y="1030"/>
                </a:moveTo>
                <a:lnTo>
                  <a:pt x="343" y="1030"/>
                </a:lnTo>
                <a:lnTo>
                  <a:pt x="346" y="1031"/>
                </a:lnTo>
                <a:lnTo>
                  <a:pt x="347" y="1031"/>
                </a:lnTo>
                <a:lnTo>
                  <a:pt x="344" y="1033"/>
                </a:lnTo>
                <a:lnTo>
                  <a:pt x="343" y="1033"/>
                </a:lnTo>
                <a:lnTo>
                  <a:pt x="342" y="1032"/>
                </a:lnTo>
                <a:lnTo>
                  <a:pt x="341" y="1030"/>
                </a:lnTo>
                <a:close/>
                <a:moveTo>
                  <a:pt x="241" y="1029"/>
                </a:moveTo>
                <a:lnTo>
                  <a:pt x="242" y="1029"/>
                </a:lnTo>
                <a:lnTo>
                  <a:pt x="242" y="1030"/>
                </a:lnTo>
                <a:lnTo>
                  <a:pt x="241" y="1030"/>
                </a:lnTo>
                <a:lnTo>
                  <a:pt x="242" y="1031"/>
                </a:lnTo>
                <a:lnTo>
                  <a:pt x="241" y="1031"/>
                </a:lnTo>
                <a:lnTo>
                  <a:pt x="241" y="1032"/>
                </a:lnTo>
                <a:lnTo>
                  <a:pt x="243" y="1035"/>
                </a:lnTo>
                <a:lnTo>
                  <a:pt x="244" y="1033"/>
                </a:lnTo>
                <a:lnTo>
                  <a:pt x="244" y="1036"/>
                </a:lnTo>
                <a:lnTo>
                  <a:pt x="242" y="1036"/>
                </a:lnTo>
                <a:lnTo>
                  <a:pt x="241" y="1035"/>
                </a:lnTo>
                <a:lnTo>
                  <a:pt x="241" y="1033"/>
                </a:lnTo>
                <a:lnTo>
                  <a:pt x="240" y="1033"/>
                </a:lnTo>
                <a:lnTo>
                  <a:pt x="240" y="1030"/>
                </a:lnTo>
                <a:lnTo>
                  <a:pt x="241" y="1029"/>
                </a:lnTo>
                <a:close/>
                <a:moveTo>
                  <a:pt x="276" y="987"/>
                </a:moveTo>
                <a:lnTo>
                  <a:pt x="278" y="988"/>
                </a:lnTo>
                <a:lnTo>
                  <a:pt x="276" y="988"/>
                </a:lnTo>
                <a:lnTo>
                  <a:pt x="276" y="987"/>
                </a:lnTo>
                <a:close/>
                <a:moveTo>
                  <a:pt x="304" y="982"/>
                </a:moveTo>
                <a:lnTo>
                  <a:pt x="305" y="982"/>
                </a:lnTo>
                <a:lnTo>
                  <a:pt x="305" y="983"/>
                </a:lnTo>
                <a:lnTo>
                  <a:pt x="304" y="984"/>
                </a:lnTo>
                <a:lnTo>
                  <a:pt x="303" y="984"/>
                </a:lnTo>
                <a:lnTo>
                  <a:pt x="303" y="986"/>
                </a:lnTo>
                <a:lnTo>
                  <a:pt x="304" y="986"/>
                </a:lnTo>
                <a:lnTo>
                  <a:pt x="303" y="987"/>
                </a:lnTo>
                <a:lnTo>
                  <a:pt x="300" y="987"/>
                </a:lnTo>
                <a:lnTo>
                  <a:pt x="299" y="988"/>
                </a:lnTo>
                <a:lnTo>
                  <a:pt x="299" y="986"/>
                </a:lnTo>
                <a:lnTo>
                  <a:pt x="302" y="983"/>
                </a:lnTo>
                <a:lnTo>
                  <a:pt x="303" y="983"/>
                </a:lnTo>
                <a:lnTo>
                  <a:pt x="304" y="982"/>
                </a:lnTo>
                <a:close/>
                <a:moveTo>
                  <a:pt x="298" y="977"/>
                </a:moveTo>
                <a:lnTo>
                  <a:pt x="299" y="978"/>
                </a:lnTo>
                <a:lnTo>
                  <a:pt x="298" y="980"/>
                </a:lnTo>
                <a:lnTo>
                  <a:pt x="299" y="980"/>
                </a:lnTo>
                <a:lnTo>
                  <a:pt x="299" y="981"/>
                </a:lnTo>
                <a:lnTo>
                  <a:pt x="297" y="981"/>
                </a:lnTo>
                <a:lnTo>
                  <a:pt x="297" y="982"/>
                </a:lnTo>
                <a:lnTo>
                  <a:pt x="296" y="983"/>
                </a:lnTo>
                <a:lnTo>
                  <a:pt x="294" y="982"/>
                </a:lnTo>
                <a:lnTo>
                  <a:pt x="293" y="983"/>
                </a:lnTo>
                <a:lnTo>
                  <a:pt x="292" y="983"/>
                </a:lnTo>
                <a:lnTo>
                  <a:pt x="293" y="982"/>
                </a:lnTo>
                <a:lnTo>
                  <a:pt x="293" y="981"/>
                </a:lnTo>
                <a:lnTo>
                  <a:pt x="294" y="981"/>
                </a:lnTo>
                <a:lnTo>
                  <a:pt x="293" y="980"/>
                </a:lnTo>
                <a:lnTo>
                  <a:pt x="294" y="980"/>
                </a:lnTo>
                <a:lnTo>
                  <a:pt x="294" y="978"/>
                </a:lnTo>
                <a:lnTo>
                  <a:pt x="297" y="978"/>
                </a:lnTo>
                <a:lnTo>
                  <a:pt x="298" y="977"/>
                </a:lnTo>
                <a:close/>
                <a:moveTo>
                  <a:pt x="310" y="970"/>
                </a:moveTo>
                <a:lnTo>
                  <a:pt x="311" y="970"/>
                </a:lnTo>
                <a:lnTo>
                  <a:pt x="311" y="974"/>
                </a:lnTo>
                <a:lnTo>
                  <a:pt x="309" y="976"/>
                </a:lnTo>
                <a:lnTo>
                  <a:pt x="309" y="978"/>
                </a:lnTo>
                <a:lnTo>
                  <a:pt x="307" y="980"/>
                </a:lnTo>
                <a:lnTo>
                  <a:pt x="306" y="980"/>
                </a:lnTo>
                <a:lnTo>
                  <a:pt x="305" y="978"/>
                </a:lnTo>
                <a:lnTo>
                  <a:pt x="305" y="976"/>
                </a:lnTo>
                <a:lnTo>
                  <a:pt x="306" y="975"/>
                </a:lnTo>
                <a:lnTo>
                  <a:pt x="306" y="974"/>
                </a:lnTo>
                <a:lnTo>
                  <a:pt x="309" y="971"/>
                </a:lnTo>
                <a:lnTo>
                  <a:pt x="310" y="971"/>
                </a:lnTo>
                <a:lnTo>
                  <a:pt x="310" y="970"/>
                </a:lnTo>
                <a:close/>
                <a:moveTo>
                  <a:pt x="319" y="963"/>
                </a:moveTo>
                <a:lnTo>
                  <a:pt x="322" y="963"/>
                </a:lnTo>
                <a:lnTo>
                  <a:pt x="322" y="964"/>
                </a:lnTo>
                <a:lnTo>
                  <a:pt x="318" y="965"/>
                </a:lnTo>
                <a:lnTo>
                  <a:pt x="318" y="964"/>
                </a:lnTo>
                <a:lnTo>
                  <a:pt x="319" y="964"/>
                </a:lnTo>
                <a:lnTo>
                  <a:pt x="319" y="963"/>
                </a:lnTo>
                <a:close/>
                <a:moveTo>
                  <a:pt x="305" y="960"/>
                </a:moveTo>
                <a:lnTo>
                  <a:pt x="309" y="964"/>
                </a:lnTo>
                <a:lnTo>
                  <a:pt x="305" y="960"/>
                </a:lnTo>
                <a:close/>
                <a:moveTo>
                  <a:pt x="322" y="956"/>
                </a:moveTo>
                <a:lnTo>
                  <a:pt x="324" y="956"/>
                </a:lnTo>
                <a:lnTo>
                  <a:pt x="324" y="958"/>
                </a:lnTo>
                <a:lnTo>
                  <a:pt x="323" y="958"/>
                </a:lnTo>
                <a:lnTo>
                  <a:pt x="323" y="959"/>
                </a:lnTo>
                <a:lnTo>
                  <a:pt x="322" y="959"/>
                </a:lnTo>
                <a:lnTo>
                  <a:pt x="321" y="958"/>
                </a:lnTo>
                <a:lnTo>
                  <a:pt x="322" y="957"/>
                </a:lnTo>
                <a:lnTo>
                  <a:pt x="322" y="956"/>
                </a:lnTo>
                <a:close/>
                <a:moveTo>
                  <a:pt x="305" y="956"/>
                </a:moveTo>
                <a:lnTo>
                  <a:pt x="312" y="956"/>
                </a:lnTo>
                <a:lnTo>
                  <a:pt x="316" y="959"/>
                </a:lnTo>
                <a:lnTo>
                  <a:pt x="313" y="959"/>
                </a:lnTo>
                <a:lnTo>
                  <a:pt x="313" y="958"/>
                </a:lnTo>
                <a:lnTo>
                  <a:pt x="312" y="958"/>
                </a:lnTo>
                <a:lnTo>
                  <a:pt x="312" y="960"/>
                </a:lnTo>
                <a:lnTo>
                  <a:pt x="315" y="960"/>
                </a:lnTo>
                <a:lnTo>
                  <a:pt x="313" y="962"/>
                </a:lnTo>
                <a:lnTo>
                  <a:pt x="312" y="962"/>
                </a:lnTo>
                <a:lnTo>
                  <a:pt x="310" y="959"/>
                </a:lnTo>
                <a:lnTo>
                  <a:pt x="309" y="959"/>
                </a:lnTo>
                <a:lnTo>
                  <a:pt x="309" y="958"/>
                </a:lnTo>
                <a:lnTo>
                  <a:pt x="307" y="958"/>
                </a:lnTo>
                <a:lnTo>
                  <a:pt x="307" y="957"/>
                </a:lnTo>
                <a:lnTo>
                  <a:pt x="305" y="956"/>
                </a:lnTo>
                <a:close/>
                <a:moveTo>
                  <a:pt x="317" y="950"/>
                </a:moveTo>
                <a:lnTo>
                  <a:pt x="321" y="950"/>
                </a:lnTo>
                <a:lnTo>
                  <a:pt x="322" y="951"/>
                </a:lnTo>
                <a:lnTo>
                  <a:pt x="322" y="953"/>
                </a:lnTo>
                <a:lnTo>
                  <a:pt x="319" y="956"/>
                </a:lnTo>
                <a:lnTo>
                  <a:pt x="318" y="954"/>
                </a:lnTo>
                <a:lnTo>
                  <a:pt x="319" y="954"/>
                </a:lnTo>
                <a:lnTo>
                  <a:pt x="319" y="952"/>
                </a:lnTo>
                <a:lnTo>
                  <a:pt x="317" y="950"/>
                </a:lnTo>
                <a:close/>
                <a:moveTo>
                  <a:pt x="294" y="949"/>
                </a:moveTo>
                <a:lnTo>
                  <a:pt x="296" y="949"/>
                </a:lnTo>
                <a:lnTo>
                  <a:pt x="300" y="950"/>
                </a:lnTo>
                <a:lnTo>
                  <a:pt x="299" y="950"/>
                </a:lnTo>
                <a:lnTo>
                  <a:pt x="300" y="951"/>
                </a:lnTo>
                <a:lnTo>
                  <a:pt x="299" y="952"/>
                </a:lnTo>
                <a:lnTo>
                  <a:pt x="298" y="952"/>
                </a:lnTo>
                <a:lnTo>
                  <a:pt x="297" y="951"/>
                </a:lnTo>
                <a:lnTo>
                  <a:pt x="296" y="951"/>
                </a:lnTo>
                <a:lnTo>
                  <a:pt x="296" y="950"/>
                </a:lnTo>
                <a:lnTo>
                  <a:pt x="294" y="949"/>
                </a:lnTo>
                <a:close/>
                <a:moveTo>
                  <a:pt x="329" y="946"/>
                </a:moveTo>
                <a:lnTo>
                  <a:pt x="330" y="947"/>
                </a:lnTo>
                <a:lnTo>
                  <a:pt x="330" y="950"/>
                </a:lnTo>
                <a:lnTo>
                  <a:pt x="329" y="949"/>
                </a:lnTo>
                <a:lnTo>
                  <a:pt x="329" y="947"/>
                </a:lnTo>
                <a:lnTo>
                  <a:pt x="328" y="947"/>
                </a:lnTo>
                <a:lnTo>
                  <a:pt x="329" y="946"/>
                </a:lnTo>
                <a:close/>
                <a:moveTo>
                  <a:pt x="329" y="943"/>
                </a:moveTo>
                <a:lnTo>
                  <a:pt x="329" y="946"/>
                </a:lnTo>
                <a:lnTo>
                  <a:pt x="328" y="946"/>
                </a:lnTo>
                <a:lnTo>
                  <a:pt x="327" y="945"/>
                </a:lnTo>
                <a:lnTo>
                  <a:pt x="329" y="943"/>
                </a:lnTo>
                <a:close/>
                <a:moveTo>
                  <a:pt x="317" y="934"/>
                </a:moveTo>
                <a:lnTo>
                  <a:pt x="318" y="934"/>
                </a:lnTo>
                <a:lnTo>
                  <a:pt x="319" y="935"/>
                </a:lnTo>
                <a:lnTo>
                  <a:pt x="322" y="935"/>
                </a:lnTo>
                <a:lnTo>
                  <a:pt x="319" y="937"/>
                </a:lnTo>
                <a:lnTo>
                  <a:pt x="317" y="939"/>
                </a:lnTo>
                <a:lnTo>
                  <a:pt x="317" y="940"/>
                </a:lnTo>
                <a:lnTo>
                  <a:pt x="316" y="939"/>
                </a:lnTo>
                <a:lnTo>
                  <a:pt x="316" y="943"/>
                </a:lnTo>
                <a:lnTo>
                  <a:pt x="315" y="943"/>
                </a:lnTo>
                <a:lnTo>
                  <a:pt x="315" y="945"/>
                </a:lnTo>
                <a:lnTo>
                  <a:pt x="313" y="945"/>
                </a:lnTo>
                <a:lnTo>
                  <a:pt x="313" y="944"/>
                </a:lnTo>
                <a:lnTo>
                  <a:pt x="312" y="943"/>
                </a:lnTo>
                <a:lnTo>
                  <a:pt x="312" y="939"/>
                </a:lnTo>
                <a:lnTo>
                  <a:pt x="313" y="939"/>
                </a:lnTo>
                <a:lnTo>
                  <a:pt x="313" y="938"/>
                </a:lnTo>
                <a:lnTo>
                  <a:pt x="317" y="934"/>
                </a:lnTo>
                <a:close/>
                <a:moveTo>
                  <a:pt x="323" y="932"/>
                </a:moveTo>
                <a:lnTo>
                  <a:pt x="324" y="932"/>
                </a:lnTo>
                <a:lnTo>
                  <a:pt x="323" y="933"/>
                </a:lnTo>
                <a:lnTo>
                  <a:pt x="322" y="933"/>
                </a:lnTo>
                <a:lnTo>
                  <a:pt x="323" y="932"/>
                </a:lnTo>
                <a:close/>
                <a:moveTo>
                  <a:pt x="325" y="931"/>
                </a:moveTo>
                <a:lnTo>
                  <a:pt x="325" y="932"/>
                </a:lnTo>
                <a:lnTo>
                  <a:pt x="324" y="932"/>
                </a:lnTo>
                <a:lnTo>
                  <a:pt x="325" y="931"/>
                </a:lnTo>
                <a:close/>
                <a:moveTo>
                  <a:pt x="330" y="926"/>
                </a:moveTo>
                <a:lnTo>
                  <a:pt x="331" y="927"/>
                </a:lnTo>
                <a:lnTo>
                  <a:pt x="331" y="928"/>
                </a:lnTo>
                <a:lnTo>
                  <a:pt x="330" y="929"/>
                </a:lnTo>
                <a:lnTo>
                  <a:pt x="329" y="928"/>
                </a:lnTo>
                <a:lnTo>
                  <a:pt x="329" y="932"/>
                </a:lnTo>
                <a:lnTo>
                  <a:pt x="327" y="932"/>
                </a:lnTo>
                <a:lnTo>
                  <a:pt x="327" y="931"/>
                </a:lnTo>
                <a:lnTo>
                  <a:pt x="329" y="927"/>
                </a:lnTo>
                <a:lnTo>
                  <a:pt x="330" y="926"/>
                </a:lnTo>
                <a:close/>
                <a:moveTo>
                  <a:pt x="329" y="926"/>
                </a:moveTo>
                <a:lnTo>
                  <a:pt x="329" y="927"/>
                </a:lnTo>
                <a:lnTo>
                  <a:pt x="327" y="929"/>
                </a:lnTo>
                <a:lnTo>
                  <a:pt x="327" y="931"/>
                </a:lnTo>
                <a:lnTo>
                  <a:pt x="325" y="931"/>
                </a:lnTo>
                <a:lnTo>
                  <a:pt x="325" y="929"/>
                </a:lnTo>
                <a:lnTo>
                  <a:pt x="329" y="926"/>
                </a:lnTo>
                <a:close/>
                <a:moveTo>
                  <a:pt x="334" y="906"/>
                </a:moveTo>
                <a:lnTo>
                  <a:pt x="336" y="906"/>
                </a:lnTo>
                <a:lnTo>
                  <a:pt x="335" y="907"/>
                </a:lnTo>
                <a:lnTo>
                  <a:pt x="334" y="906"/>
                </a:lnTo>
                <a:close/>
                <a:moveTo>
                  <a:pt x="321" y="878"/>
                </a:moveTo>
                <a:lnTo>
                  <a:pt x="322" y="879"/>
                </a:lnTo>
                <a:lnTo>
                  <a:pt x="323" y="879"/>
                </a:lnTo>
                <a:lnTo>
                  <a:pt x="323" y="880"/>
                </a:lnTo>
                <a:lnTo>
                  <a:pt x="324" y="882"/>
                </a:lnTo>
                <a:lnTo>
                  <a:pt x="324" y="883"/>
                </a:lnTo>
                <a:lnTo>
                  <a:pt x="323" y="884"/>
                </a:lnTo>
                <a:lnTo>
                  <a:pt x="321" y="884"/>
                </a:lnTo>
                <a:lnTo>
                  <a:pt x="321" y="878"/>
                </a:lnTo>
                <a:close/>
                <a:moveTo>
                  <a:pt x="306" y="853"/>
                </a:moveTo>
                <a:lnTo>
                  <a:pt x="309" y="855"/>
                </a:lnTo>
                <a:lnTo>
                  <a:pt x="309" y="858"/>
                </a:lnTo>
                <a:lnTo>
                  <a:pt x="310" y="859"/>
                </a:lnTo>
                <a:lnTo>
                  <a:pt x="310" y="860"/>
                </a:lnTo>
                <a:lnTo>
                  <a:pt x="309" y="859"/>
                </a:lnTo>
                <a:lnTo>
                  <a:pt x="309" y="860"/>
                </a:lnTo>
                <a:lnTo>
                  <a:pt x="310" y="865"/>
                </a:lnTo>
                <a:lnTo>
                  <a:pt x="311" y="866"/>
                </a:lnTo>
                <a:lnTo>
                  <a:pt x="312" y="866"/>
                </a:lnTo>
                <a:lnTo>
                  <a:pt x="312" y="867"/>
                </a:lnTo>
                <a:lnTo>
                  <a:pt x="313" y="867"/>
                </a:lnTo>
                <a:lnTo>
                  <a:pt x="313" y="870"/>
                </a:lnTo>
                <a:lnTo>
                  <a:pt x="315" y="870"/>
                </a:lnTo>
                <a:lnTo>
                  <a:pt x="315" y="871"/>
                </a:lnTo>
                <a:lnTo>
                  <a:pt x="313" y="871"/>
                </a:lnTo>
                <a:lnTo>
                  <a:pt x="306" y="864"/>
                </a:lnTo>
                <a:lnTo>
                  <a:pt x="306" y="853"/>
                </a:lnTo>
                <a:close/>
                <a:moveTo>
                  <a:pt x="256" y="772"/>
                </a:moveTo>
                <a:lnTo>
                  <a:pt x="257" y="772"/>
                </a:lnTo>
                <a:lnTo>
                  <a:pt x="257" y="773"/>
                </a:lnTo>
                <a:lnTo>
                  <a:pt x="256" y="773"/>
                </a:lnTo>
                <a:lnTo>
                  <a:pt x="256" y="772"/>
                </a:lnTo>
                <a:close/>
                <a:moveTo>
                  <a:pt x="292" y="654"/>
                </a:moveTo>
                <a:lnTo>
                  <a:pt x="294" y="654"/>
                </a:lnTo>
                <a:lnTo>
                  <a:pt x="294" y="655"/>
                </a:lnTo>
                <a:lnTo>
                  <a:pt x="297" y="655"/>
                </a:lnTo>
                <a:lnTo>
                  <a:pt x="297" y="658"/>
                </a:lnTo>
                <a:lnTo>
                  <a:pt x="296" y="658"/>
                </a:lnTo>
                <a:lnTo>
                  <a:pt x="296" y="659"/>
                </a:lnTo>
                <a:lnTo>
                  <a:pt x="293" y="661"/>
                </a:lnTo>
                <a:lnTo>
                  <a:pt x="292" y="661"/>
                </a:lnTo>
                <a:lnTo>
                  <a:pt x="291" y="658"/>
                </a:lnTo>
                <a:lnTo>
                  <a:pt x="291" y="657"/>
                </a:lnTo>
                <a:lnTo>
                  <a:pt x="292" y="656"/>
                </a:lnTo>
                <a:lnTo>
                  <a:pt x="292" y="654"/>
                </a:lnTo>
                <a:close/>
                <a:moveTo>
                  <a:pt x="411" y="568"/>
                </a:moveTo>
                <a:lnTo>
                  <a:pt x="411" y="570"/>
                </a:lnTo>
                <a:lnTo>
                  <a:pt x="410" y="571"/>
                </a:lnTo>
                <a:lnTo>
                  <a:pt x="410" y="570"/>
                </a:lnTo>
                <a:lnTo>
                  <a:pt x="411" y="568"/>
                </a:lnTo>
                <a:close/>
                <a:moveTo>
                  <a:pt x="415" y="558"/>
                </a:moveTo>
                <a:lnTo>
                  <a:pt x="415" y="560"/>
                </a:lnTo>
                <a:lnTo>
                  <a:pt x="414" y="562"/>
                </a:lnTo>
                <a:lnTo>
                  <a:pt x="415" y="562"/>
                </a:lnTo>
                <a:lnTo>
                  <a:pt x="415" y="563"/>
                </a:lnTo>
                <a:lnTo>
                  <a:pt x="414" y="564"/>
                </a:lnTo>
                <a:lnTo>
                  <a:pt x="414" y="566"/>
                </a:lnTo>
                <a:lnTo>
                  <a:pt x="411" y="566"/>
                </a:lnTo>
                <a:lnTo>
                  <a:pt x="412" y="562"/>
                </a:lnTo>
                <a:lnTo>
                  <a:pt x="412" y="560"/>
                </a:lnTo>
                <a:lnTo>
                  <a:pt x="414" y="560"/>
                </a:lnTo>
                <a:lnTo>
                  <a:pt x="414" y="559"/>
                </a:lnTo>
                <a:lnTo>
                  <a:pt x="415" y="558"/>
                </a:lnTo>
                <a:close/>
                <a:moveTo>
                  <a:pt x="398" y="557"/>
                </a:moveTo>
                <a:lnTo>
                  <a:pt x="398" y="558"/>
                </a:lnTo>
                <a:lnTo>
                  <a:pt x="397" y="558"/>
                </a:lnTo>
                <a:lnTo>
                  <a:pt x="398" y="557"/>
                </a:lnTo>
                <a:close/>
                <a:moveTo>
                  <a:pt x="411" y="556"/>
                </a:moveTo>
                <a:lnTo>
                  <a:pt x="414" y="558"/>
                </a:lnTo>
                <a:lnTo>
                  <a:pt x="411" y="560"/>
                </a:lnTo>
                <a:lnTo>
                  <a:pt x="412" y="559"/>
                </a:lnTo>
                <a:lnTo>
                  <a:pt x="411" y="558"/>
                </a:lnTo>
                <a:lnTo>
                  <a:pt x="410" y="559"/>
                </a:lnTo>
                <a:lnTo>
                  <a:pt x="411" y="556"/>
                </a:lnTo>
                <a:close/>
                <a:moveTo>
                  <a:pt x="429" y="471"/>
                </a:moveTo>
                <a:lnTo>
                  <a:pt x="430" y="471"/>
                </a:lnTo>
                <a:lnTo>
                  <a:pt x="430" y="472"/>
                </a:lnTo>
                <a:lnTo>
                  <a:pt x="429" y="471"/>
                </a:lnTo>
                <a:close/>
                <a:moveTo>
                  <a:pt x="440" y="398"/>
                </a:moveTo>
                <a:lnTo>
                  <a:pt x="442" y="398"/>
                </a:lnTo>
                <a:lnTo>
                  <a:pt x="442" y="399"/>
                </a:lnTo>
                <a:lnTo>
                  <a:pt x="440" y="398"/>
                </a:lnTo>
                <a:close/>
                <a:moveTo>
                  <a:pt x="474" y="392"/>
                </a:moveTo>
                <a:lnTo>
                  <a:pt x="476" y="392"/>
                </a:lnTo>
                <a:lnTo>
                  <a:pt x="477" y="393"/>
                </a:lnTo>
                <a:lnTo>
                  <a:pt x="477" y="394"/>
                </a:lnTo>
                <a:lnTo>
                  <a:pt x="476" y="394"/>
                </a:lnTo>
                <a:lnTo>
                  <a:pt x="476" y="396"/>
                </a:lnTo>
                <a:lnTo>
                  <a:pt x="471" y="396"/>
                </a:lnTo>
                <a:lnTo>
                  <a:pt x="471" y="394"/>
                </a:lnTo>
                <a:lnTo>
                  <a:pt x="472" y="393"/>
                </a:lnTo>
                <a:lnTo>
                  <a:pt x="473" y="393"/>
                </a:lnTo>
                <a:lnTo>
                  <a:pt x="473" y="394"/>
                </a:lnTo>
                <a:lnTo>
                  <a:pt x="474" y="393"/>
                </a:lnTo>
                <a:lnTo>
                  <a:pt x="474" y="392"/>
                </a:lnTo>
                <a:close/>
                <a:moveTo>
                  <a:pt x="465" y="391"/>
                </a:moveTo>
                <a:lnTo>
                  <a:pt x="466" y="391"/>
                </a:lnTo>
                <a:lnTo>
                  <a:pt x="468" y="392"/>
                </a:lnTo>
                <a:lnTo>
                  <a:pt x="468" y="396"/>
                </a:lnTo>
                <a:lnTo>
                  <a:pt x="466" y="396"/>
                </a:lnTo>
                <a:lnTo>
                  <a:pt x="465" y="394"/>
                </a:lnTo>
                <a:lnTo>
                  <a:pt x="465" y="391"/>
                </a:lnTo>
                <a:close/>
                <a:moveTo>
                  <a:pt x="483" y="384"/>
                </a:moveTo>
                <a:lnTo>
                  <a:pt x="485" y="386"/>
                </a:lnTo>
                <a:lnTo>
                  <a:pt x="485" y="387"/>
                </a:lnTo>
                <a:lnTo>
                  <a:pt x="484" y="387"/>
                </a:lnTo>
                <a:lnTo>
                  <a:pt x="483" y="386"/>
                </a:lnTo>
                <a:lnTo>
                  <a:pt x="483" y="384"/>
                </a:lnTo>
                <a:close/>
                <a:moveTo>
                  <a:pt x="467" y="384"/>
                </a:moveTo>
                <a:lnTo>
                  <a:pt x="468" y="384"/>
                </a:lnTo>
                <a:lnTo>
                  <a:pt x="472" y="386"/>
                </a:lnTo>
                <a:lnTo>
                  <a:pt x="473" y="386"/>
                </a:lnTo>
                <a:lnTo>
                  <a:pt x="473" y="387"/>
                </a:lnTo>
                <a:lnTo>
                  <a:pt x="474" y="387"/>
                </a:lnTo>
                <a:lnTo>
                  <a:pt x="474" y="388"/>
                </a:lnTo>
                <a:lnTo>
                  <a:pt x="473" y="390"/>
                </a:lnTo>
                <a:lnTo>
                  <a:pt x="473" y="388"/>
                </a:lnTo>
                <a:lnTo>
                  <a:pt x="472" y="387"/>
                </a:lnTo>
                <a:lnTo>
                  <a:pt x="471" y="387"/>
                </a:lnTo>
                <a:lnTo>
                  <a:pt x="471" y="390"/>
                </a:lnTo>
                <a:lnTo>
                  <a:pt x="467" y="386"/>
                </a:lnTo>
                <a:lnTo>
                  <a:pt x="467" y="384"/>
                </a:lnTo>
                <a:close/>
                <a:moveTo>
                  <a:pt x="485" y="379"/>
                </a:moveTo>
                <a:lnTo>
                  <a:pt x="486" y="379"/>
                </a:lnTo>
                <a:lnTo>
                  <a:pt x="486" y="380"/>
                </a:lnTo>
                <a:lnTo>
                  <a:pt x="485" y="380"/>
                </a:lnTo>
                <a:lnTo>
                  <a:pt x="485" y="382"/>
                </a:lnTo>
                <a:lnTo>
                  <a:pt x="483" y="382"/>
                </a:lnTo>
                <a:lnTo>
                  <a:pt x="481" y="381"/>
                </a:lnTo>
                <a:lnTo>
                  <a:pt x="481" y="380"/>
                </a:lnTo>
                <a:lnTo>
                  <a:pt x="484" y="380"/>
                </a:lnTo>
                <a:lnTo>
                  <a:pt x="485" y="379"/>
                </a:lnTo>
                <a:close/>
                <a:moveTo>
                  <a:pt x="483" y="376"/>
                </a:moveTo>
                <a:lnTo>
                  <a:pt x="484" y="376"/>
                </a:lnTo>
                <a:lnTo>
                  <a:pt x="485" y="378"/>
                </a:lnTo>
                <a:lnTo>
                  <a:pt x="484" y="379"/>
                </a:lnTo>
                <a:lnTo>
                  <a:pt x="483" y="379"/>
                </a:lnTo>
                <a:lnTo>
                  <a:pt x="483" y="376"/>
                </a:lnTo>
                <a:close/>
                <a:moveTo>
                  <a:pt x="497" y="363"/>
                </a:moveTo>
                <a:lnTo>
                  <a:pt x="498" y="363"/>
                </a:lnTo>
                <a:lnTo>
                  <a:pt x="499" y="364"/>
                </a:lnTo>
                <a:lnTo>
                  <a:pt x="499" y="366"/>
                </a:lnTo>
                <a:lnTo>
                  <a:pt x="501" y="367"/>
                </a:lnTo>
                <a:lnTo>
                  <a:pt x="501" y="368"/>
                </a:lnTo>
                <a:lnTo>
                  <a:pt x="499" y="368"/>
                </a:lnTo>
                <a:lnTo>
                  <a:pt x="499" y="369"/>
                </a:lnTo>
                <a:lnTo>
                  <a:pt x="501" y="370"/>
                </a:lnTo>
                <a:lnTo>
                  <a:pt x="499" y="370"/>
                </a:lnTo>
                <a:lnTo>
                  <a:pt x="498" y="369"/>
                </a:lnTo>
                <a:lnTo>
                  <a:pt x="497" y="367"/>
                </a:lnTo>
                <a:lnTo>
                  <a:pt x="496" y="366"/>
                </a:lnTo>
                <a:lnTo>
                  <a:pt x="497" y="363"/>
                </a:lnTo>
                <a:close/>
                <a:moveTo>
                  <a:pt x="534" y="362"/>
                </a:moveTo>
                <a:lnTo>
                  <a:pt x="535" y="363"/>
                </a:lnTo>
                <a:lnTo>
                  <a:pt x="535" y="364"/>
                </a:lnTo>
                <a:lnTo>
                  <a:pt x="534" y="364"/>
                </a:lnTo>
                <a:lnTo>
                  <a:pt x="534" y="367"/>
                </a:lnTo>
                <a:lnTo>
                  <a:pt x="533" y="368"/>
                </a:lnTo>
                <a:lnTo>
                  <a:pt x="530" y="367"/>
                </a:lnTo>
                <a:lnTo>
                  <a:pt x="530" y="363"/>
                </a:lnTo>
                <a:lnTo>
                  <a:pt x="534" y="363"/>
                </a:lnTo>
                <a:lnTo>
                  <a:pt x="534" y="362"/>
                </a:lnTo>
                <a:close/>
                <a:moveTo>
                  <a:pt x="490" y="361"/>
                </a:moveTo>
                <a:lnTo>
                  <a:pt x="491" y="361"/>
                </a:lnTo>
                <a:lnTo>
                  <a:pt x="492" y="362"/>
                </a:lnTo>
                <a:lnTo>
                  <a:pt x="493" y="364"/>
                </a:lnTo>
                <a:lnTo>
                  <a:pt x="493" y="367"/>
                </a:lnTo>
                <a:lnTo>
                  <a:pt x="491" y="367"/>
                </a:lnTo>
                <a:lnTo>
                  <a:pt x="490" y="366"/>
                </a:lnTo>
                <a:lnTo>
                  <a:pt x="490" y="361"/>
                </a:lnTo>
                <a:close/>
                <a:moveTo>
                  <a:pt x="402" y="0"/>
                </a:moveTo>
                <a:lnTo>
                  <a:pt x="403" y="3"/>
                </a:lnTo>
                <a:lnTo>
                  <a:pt x="409" y="4"/>
                </a:lnTo>
                <a:lnTo>
                  <a:pt x="411" y="6"/>
                </a:lnTo>
                <a:lnTo>
                  <a:pt x="414" y="7"/>
                </a:lnTo>
                <a:lnTo>
                  <a:pt x="415" y="9"/>
                </a:lnTo>
                <a:lnTo>
                  <a:pt x="415" y="11"/>
                </a:lnTo>
                <a:lnTo>
                  <a:pt x="414" y="13"/>
                </a:lnTo>
                <a:lnTo>
                  <a:pt x="412" y="13"/>
                </a:lnTo>
                <a:lnTo>
                  <a:pt x="412" y="16"/>
                </a:lnTo>
                <a:lnTo>
                  <a:pt x="414" y="17"/>
                </a:lnTo>
                <a:lnTo>
                  <a:pt x="420" y="20"/>
                </a:lnTo>
                <a:lnTo>
                  <a:pt x="423" y="24"/>
                </a:lnTo>
                <a:lnTo>
                  <a:pt x="427" y="26"/>
                </a:lnTo>
                <a:lnTo>
                  <a:pt x="429" y="31"/>
                </a:lnTo>
                <a:lnTo>
                  <a:pt x="429" y="34"/>
                </a:lnTo>
                <a:lnTo>
                  <a:pt x="434" y="34"/>
                </a:lnTo>
                <a:lnTo>
                  <a:pt x="434" y="35"/>
                </a:lnTo>
                <a:lnTo>
                  <a:pt x="435" y="36"/>
                </a:lnTo>
                <a:lnTo>
                  <a:pt x="435" y="37"/>
                </a:lnTo>
                <a:lnTo>
                  <a:pt x="436" y="41"/>
                </a:lnTo>
                <a:lnTo>
                  <a:pt x="436" y="42"/>
                </a:lnTo>
                <a:lnTo>
                  <a:pt x="437" y="43"/>
                </a:lnTo>
                <a:lnTo>
                  <a:pt x="441" y="44"/>
                </a:lnTo>
                <a:lnTo>
                  <a:pt x="445" y="48"/>
                </a:lnTo>
                <a:lnTo>
                  <a:pt x="447" y="49"/>
                </a:lnTo>
                <a:lnTo>
                  <a:pt x="448" y="53"/>
                </a:lnTo>
                <a:lnTo>
                  <a:pt x="455" y="55"/>
                </a:lnTo>
                <a:lnTo>
                  <a:pt x="458" y="58"/>
                </a:lnTo>
                <a:lnTo>
                  <a:pt x="458" y="59"/>
                </a:lnTo>
                <a:lnTo>
                  <a:pt x="460" y="61"/>
                </a:lnTo>
                <a:lnTo>
                  <a:pt x="460" y="62"/>
                </a:lnTo>
                <a:lnTo>
                  <a:pt x="461" y="62"/>
                </a:lnTo>
                <a:lnTo>
                  <a:pt x="461" y="65"/>
                </a:lnTo>
                <a:lnTo>
                  <a:pt x="462" y="66"/>
                </a:lnTo>
                <a:lnTo>
                  <a:pt x="472" y="66"/>
                </a:lnTo>
                <a:lnTo>
                  <a:pt x="474" y="67"/>
                </a:lnTo>
                <a:lnTo>
                  <a:pt x="476" y="67"/>
                </a:lnTo>
                <a:lnTo>
                  <a:pt x="474" y="68"/>
                </a:lnTo>
                <a:lnTo>
                  <a:pt x="478" y="68"/>
                </a:lnTo>
                <a:lnTo>
                  <a:pt x="481" y="71"/>
                </a:lnTo>
                <a:lnTo>
                  <a:pt x="483" y="71"/>
                </a:lnTo>
                <a:lnTo>
                  <a:pt x="485" y="72"/>
                </a:lnTo>
                <a:lnTo>
                  <a:pt x="487" y="72"/>
                </a:lnTo>
                <a:lnTo>
                  <a:pt x="489" y="73"/>
                </a:lnTo>
                <a:lnTo>
                  <a:pt x="490" y="75"/>
                </a:lnTo>
                <a:lnTo>
                  <a:pt x="491" y="77"/>
                </a:lnTo>
                <a:lnTo>
                  <a:pt x="493" y="75"/>
                </a:lnTo>
                <a:lnTo>
                  <a:pt x="495" y="77"/>
                </a:lnTo>
                <a:lnTo>
                  <a:pt x="496" y="80"/>
                </a:lnTo>
                <a:lnTo>
                  <a:pt x="497" y="83"/>
                </a:lnTo>
                <a:lnTo>
                  <a:pt x="503" y="86"/>
                </a:lnTo>
                <a:lnTo>
                  <a:pt x="504" y="87"/>
                </a:lnTo>
                <a:lnTo>
                  <a:pt x="504" y="90"/>
                </a:lnTo>
                <a:lnTo>
                  <a:pt x="505" y="90"/>
                </a:lnTo>
                <a:lnTo>
                  <a:pt x="505" y="91"/>
                </a:lnTo>
                <a:lnTo>
                  <a:pt x="508" y="93"/>
                </a:lnTo>
                <a:lnTo>
                  <a:pt x="508" y="105"/>
                </a:lnTo>
                <a:lnTo>
                  <a:pt x="509" y="106"/>
                </a:lnTo>
                <a:lnTo>
                  <a:pt x="512" y="104"/>
                </a:lnTo>
                <a:lnTo>
                  <a:pt x="515" y="104"/>
                </a:lnTo>
                <a:lnTo>
                  <a:pt x="515" y="105"/>
                </a:lnTo>
                <a:lnTo>
                  <a:pt x="517" y="112"/>
                </a:lnTo>
                <a:lnTo>
                  <a:pt x="517" y="115"/>
                </a:lnTo>
                <a:lnTo>
                  <a:pt x="521" y="117"/>
                </a:lnTo>
                <a:lnTo>
                  <a:pt x="522" y="118"/>
                </a:lnTo>
                <a:lnTo>
                  <a:pt x="526" y="123"/>
                </a:lnTo>
                <a:lnTo>
                  <a:pt x="528" y="124"/>
                </a:lnTo>
                <a:lnTo>
                  <a:pt x="529" y="126"/>
                </a:lnTo>
                <a:lnTo>
                  <a:pt x="529" y="128"/>
                </a:lnTo>
                <a:lnTo>
                  <a:pt x="528" y="130"/>
                </a:lnTo>
                <a:lnTo>
                  <a:pt x="527" y="132"/>
                </a:lnTo>
                <a:lnTo>
                  <a:pt x="523" y="133"/>
                </a:lnTo>
                <a:lnTo>
                  <a:pt x="522" y="134"/>
                </a:lnTo>
                <a:lnTo>
                  <a:pt x="522" y="153"/>
                </a:lnTo>
                <a:lnTo>
                  <a:pt x="523" y="158"/>
                </a:lnTo>
                <a:lnTo>
                  <a:pt x="523" y="159"/>
                </a:lnTo>
                <a:lnTo>
                  <a:pt x="524" y="163"/>
                </a:lnTo>
                <a:lnTo>
                  <a:pt x="524" y="167"/>
                </a:lnTo>
                <a:lnTo>
                  <a:pt x="522" y="169"/>
                </a:lnTo>
                <a:lnTo>
                  <a:pt x="521" y="170"/>
                </a:lnTo>
                <a:lnTo>
                  <a:pt x="522" y="171"/>
                </a:lnTo>
                <a:lnTo>
                  <a:pt x="520" y="176"/>
                </a:lnTo>
                <a:lnTo>
                  <a:pt x="520" y="181"/>
                </a:lnTo>
                <a:lnTo>
                  <a:pt x="522" y="182"/>
                </a:lnTo>
                <a:lnTo>
                  <a:pt x="527" y="182"/>
                </a:lnTo>
                <a:lnTo>
                  <a:pt x="529" y="183"/>
                </a:lnTo>
                <a:lnTo>
                  <a:pt x="533" y="184"/>
                </a:lnTo>
                <a:lnTo>
                  <a:pt x="534" y="185"/>
                </a:lnTo>
                <a:lnTo>
                  <a:pt x="534" y="188"/>
                </a:lnTo>
                <a:lnTo>
                  <a:pt x="533" y="190"/>
                </a:lnTo>
                <a:lnTo>
                  <a:pt x="533" y="192"/>
                </a:lnTo>
                <a:lnTo>
                  <a:pt x="534" y="194"/>
                </a:lnTo>
                <a:lnTo>
                  <a:pt x="534" y="197"/>
                </a:lnTo>
                <a:lnTo>
                  <a:pt x="533" y="200"/>
                </a:lnTo>
                <a:lnTo>
                  <a:pt x="528" y="201"/>
                </a:lnTo>
                <a:lnTo>
                  <a:pt x="527" y="202"/>
                </a:lnTo>
                <a:lnTo>
                  <a:pt x="527" y="210"/>
                </a:lnTo>
                <a:lnTo>
                  <a:pt x="526" y="212"/>
                </a:lnTo>
                <a:lnTo>
                  <a:pt x="526" y="214"/>
                </a:lnTo>
                <a:lnTo>
                  <a:pt x="528" y="216"/>
                </a:lnTo>
                <a:lnTo>
                  <a:pt x="529" y="219"/>
                </a:lnTo>
                <a:lnTo>
                  <a:pt x="529" y="224"/>
                </a:lnTo>
                <a:lnTo>
                  <a:pt x="530" y="225"/>
                </a:lnTo>
                <a:lnTo>
                  <a:pt x="532" y="228"/>
                </a:lnTo>
                <a:lnTo>
                  <a:pt x="533" y="231"/>
                </a:lnTo>
                <a:lnTo>
                  <a:pt x="534" y="231"/>
                </a:lnTo>
                <a:lnTo>
                  <a:pt x="536" y="233"/>
                </a:lnTo>
                <a:lnTo>
                  <a:pt x="539" y="239"/>
                </a:lnTo>
                <a:lnTo>
                  <a:pt x="540" y="241"/>
                </a:lnTo>
                <a:lnTo>
                  <a:pt x="541" y="243"/>
                </a:lnTo>
                <a:lnTo>
                  <a:pt x="542" y="245"/>
                </a:lnTo>
                <a:lnTo>
                  <a:pt x="543" y="251"/>
                </a:lnTo>
                <a:lnTo>
                  <a:pt x="543" y="252"/>
                </a:lnTo>
                <a:lnTo>
                  <a:pt x="542" y="253"/>
                </a:lnTo>
                <a:lnTo>
                  <a:pt x="541" y="253"/>
                </a:lnTo>
                <a:lnTo>
                  <a:pt x="540" y="255"/>
                </a:lnTo>
                <a:lnTo>
                  <a:pt x="539" y="257"/>
                </a:lnTo>
                <a:lnTo>
                  <a:pt x="539" y="258"/>
                </a:lnTo>
                <a:lnTo>
                  <a:pt x="540" y="262"/>
                </a:lnTo>
                <a:lnTo>
                  <a:pt x="540" y="264"/>
                </a:lnTo>
                <a:lnTo>
                  <a:pt x="539" y="267"/>
                </a:lnTo>
                <a:lnTo>
                  <a:pt x="539" y="277"/>
                </a:lnTo>
                <a:lnTo>
                  <a:pt x="538" y="278"/>
                </a:lnTo>
                <a:lnTo>
                  <a:pt x="535" y="280"/>
                </a:lnTo>
                <a:lnTo>
                  <a:pt x="535" y="281"/>
                </a:lnTo>
                <a:lnTo>
                  <a:pt x="533" y="283"/>
                </a:lnTo>
                <a:lnTo>
                  <a:pt x="533" y="286"/>
                </a:lnTo>
                <a:lnTo>
                  <a:pt x="532" y="286"/>
                </a:lnTo>
                <a:lnTo>
                  <a:pt x="529" y="288"/>
                </a:lnTo>
                <a:lnTo>
                  <a:pt x="528" y="290"/>
                </a:lnTo>
                <a:lnTo>
                  <a:pt x="529" y="292"/>
                </a:lnTo>
                <a:lnTo>
                  <a:pt x="529" y="296"/>
                </a:lnTo>
                <a:lnTo>
                  <a:pt x="530" y="299"/>
                </a:lnTo>
                <a:lnTo>
                  <a:pt x="530" y="300"/>
                </a:lnTo>
                <a:lnTo>
                  <a:pt x="529" y="301"/>
                </a:lnTo>
                <a:lnTo>
                  <a:pt x="529" y="305"/>
                </a:lnTo>
                <a:lnTo>
                  <a:pt x="530" y="307"/>
                </a:lnTo>
                <a:lnTo>
                  <a:pt x="530" y="310"/>
                </a:lnTo>
                <a:lnTo>
                  <a:pt x="532" y="316"/>
                </a:lnTo>
                <a:lnTo>
                  <a:pt x="534" y="318"/>
                </a:lnTo>
                <a:lnTo>
                  <a:pt x="539" y="320"/>
                </a:lnTo>
                <a:lnTo>
                  <a:pt x="540" y="321"/>
                </a:lnTo>
                <a:lnTo>
                  <a:pt x="542" y="329"/>
                </a:lnTo>
                <a:lnTo>
                  <a:pt x="543" y="330"/>
                </a:lnTo>
                <a:lnTo>
                  <a:pt x="543" y="331"/>
                </a:lnTo>
                <a:lnTo>
                  <a:pt x="545" y="331"/>
                </a:lnTo>
                <a:lnTo>
                  <a:pt x="545" y="333"/>
                </a:lnTo>
                <a:lnTo>
                  <a:pt x="546" y="338"/>
                </a:lnTo>
                <a:lnTo>
                  <a:pt x="546" y="342"/>
                </a:lnTo>
                <a:lnTo>
                  <a:pt x="548" y="347"/>
                </a:lnTo>
                <a:lnTo>
                  <a:pt x="548" y="350"/>
                </a:lnTo>
                <a:lnTo>
                  <a:pt x="551" y="353"/>
                </a:lnTo>
                <a:lnTo>
                  <a:pt x="551" y="355"/>
                </a:lnTo>
                <a:lnTo>
                  <a:pt x="549" y="357"/>
                </a:lnTo>
                <a:lnTo>
                  <a:pt x="548" y="357"/>
                </a:lnTo>
                <a:lnTo>
                  <a:pt x="545" y="356"/>
                </a:lnTo>
                <a:lnTo>
                  <a:pt x="545" y="357"/>
                </a:lnTo>
                <a:lnTo>
                  <a:pt x="546" y="357"/>
                </a:lnTo>
                <a:lnTo>
                  <a:pt x="545" y="359"/>
                </a:lnTo>
                <a:lnTo>
                  <a:pt x="542" y="357"/>
                </a:lnTo>
                <a:lnTo>
                  <a:pt x="542" y="359"/>
                </a:lnTo>
                <a:lnTo>
                  <a:pt x="541" y="359"/>
                </a:lnTo>
                <a:lnTo>
                  <a:pt x="541" y="361"/>
                </a:lnTo>
                <a:lnTo>
                  <a:pt x="539" y="361"/>
                </a:lnTo>
                <a:lnTo>
                  <a:pt x="539" y="357"/>
                </a:lnTo>
                <a:lnTo>
                  <a:pt x="538" y="357"/>
                </a:lnTo>
                <a:lnTo>
                  <a:pt x="538" y="359"/>
                </a:lnTo>
                <a:lnTo>
                  <a:pt x="534" y="359"/>
                </a:lnTo>
                <a:lnTo>
                  <a:pt x="534" y="355"/>
                </a:lnTo>
                <a:lnTo>
                  <a:pt x="533" y="354"/>
                </a:lnTo>
                <a:lnTo>
                  <a:pt x="530" y="354"/>
                </a:lnTo>
                <a:lnTo>
                  <a:pt x="530" y="355"/>
                </a:lnTo>
                <a:lnTo>
                  <a:pt x="529" y="357"/>
                </a:lnTo>
                <a:lnTo>
                  <a:pt x="527" y="357"/>
                </a:lnTo>
                <a:lnTo>
                  <a:pt x="527" y="356"/>
                </a:lnTo>
                <a:lnTo>
                  <a:pt x="522" y="356"/>
                </a:lnTo>
                <a:lnTo>
                  <a:pt x="522" y="354"/>
                </a:lnTo>
                <a:lnTo>
                  <a:pt x="521" y="354"/>
                </a:lnTo>
                <a:lnTo>
                  <a:pt x="521" y="356"/>
                </a:lnTo>
                <a:lnTo>
                  <a:pt x="520" y="356"/>
                </a:lnTo>
                <a:lnTo>
                  <a:pt x="520" y="361"/>
                </a:lnTo>
                <a:lnTo>
                  <a:pt x="518" y="361"/>
                </a:lnTo>
                <a:lnTo>
                  <a:pt x="517" y="360"/>
                </a:lnTo>
                <a:lnTo>
                  <a:pt x="517" y="355"/>
                </a:lnTo>
                <a:lnTo>
                  <a:pt x="516" y="355"/>
                </a:lnTo>
                <a:lnTo>
                  <a:pt x="516" y="356"/>
                </a:lnTo>
                <a:lnTo>
                  <a:pt x="515" y="357"/>
                </a:lnTo>
                <a:lnTo>
                  <a:pt x="512" y="357"/>
                </a:lnTo>
                <a:lnTo>
                  <a:pt x="511" y="355"/>
                </a:lnTo>
                <a:lnTo>
                  <a:pt x="509" y="355"/>
                </a:lnTo>
                <a:lnTo>
                  <a:pt x="509" y="359"/>
                </a:lnTo>
                <a:lnTo>
                  <a:pt x="511" y="361"/>
                </a:lnTo>
                <a:lnTo>
                  <a:pt x="508" y="362"/>
                </a:lnTo>
                <a:lnTo>
                  <a:pt x="508" y="363"/>
                </a:lnTo>
                <a:lnTo>
                  <a:pt x="507" y="364"/>
                </a:lnTo>
                <a:lnTo>
                  <a:pt x="507" y="366"/>
                </a:lnTo>
                <a:lnTo>
                  <a:pt x="505" y="367"/>
                </a:lnTo>
                <a:lnTo>
                  <a:pt x="504" y="367"/>
                </a:lnTo>
                <a:lnTo>
                  <a:pt x="505" y="364"/>
                </a:lnTo>
                <a:lnTo>
                  <a:pt x="504" y="362"/>
                </a:lnTo>
                <a:lnTo>
                  <a:pt x="503" y="361"/>
                </a:lnTo>
                <a:lnTo>
                  <a:pt x="501" y="361"/>
                </a:lnTo>
                <a:lnTo>
                  <a:pt x="499" y="360"/>
                </a:lnTo>
                <a:lnTo>
                  <a:pt x="498" y="360"/>
                </a:lnTo>
                <a:lnTo>
                  <a:pt x="498" y="357"/>
                </a:lnTo>
                <a:lnTo>
                  <a:pt x="496" y="357"/>
                </a:lnTo>
                <a:lnTo>
                  <a:pt x="495" y="356"/>
                </a:lnTo>
                <a:lnTo>
                  <a:pt x="493" y="353"/>
                </a:lnTo>
                <a:lnTo>
                  <a:pt x="492" y="350"/>
                </a:lnTo>
                <a:lnTo>
                  <a:pt x="487" y="347"/>
                </a:lnTo>
                <a:lnTo>
                  <a:pt x="486" y="347"/>
                </a:lnTo>
                <a:lnTo>
                  <a:pt x="486" y="348"/>
                </a:lnTo>
                <a:lnTo>
                  <a:pt x="487" y="349"/>
                </a:lnTo>
                <a:lnTo>
                  <a:pt x="487" y="350"/>
                </a:lnTo>
                <a:lnTo>
                  <a:pt x="489" y="351"/>
                </a:lnTo>
                <a:lnTo>
                  <a:pt x="489" y="360"/>
                </a:lnTo>
                <a:lnTo>
                  <a:pt x="487" y="361"/>
                </a:lnTo>
                <a:lnTo>
                  <a:pt x="487" y="362"/>
                </a:lnTo>
                <a:lnTo>
                  <a:pt x="486" y="362"/>
                </a:lnTo>
                <a:lnTo>
                  <a:pt x="486" y="360"/>
                </a:lnTo>
                <a:lnTo>
                  <a:pt x="485" y="359"/>
                </a:lnTo>
                <a:lnTo>
                  <a:pt x="483" y="357"/>
                </a:lnTo>
                <a:lnTo>
                  <a:pt x="483" y="359"/>
                </a:lnTo>
                <a:lnTo>
                  <a:pt x="481" y="360"/>
                </a:lnTo>
                <a:lnTo>
                  <a:pt x="480" y="360"/>
                </a:lnTo>
                <a:lnTo>
                  <a:pt x="480" y="357"/>
                </a:lnTo>
                <a:lnTo>
                  <a:pt x="481" y="357"/>
                </a:lnTo>
                <a:lnTo>
                  <a:pt x="481" y="355"/>
                </a:lnTo>
                <a:lnTo>
                  <a:pt x="479" y="353"/>
                </a:lnTo>
                <a:lnTo>
                  <a:pt x="479" y="351"/>
                </a:lnTo>
                <a:lnTo>
                  <a:pt x="477" y="350"/>
                </a:lnTo>
                <a:lnTo>
                  <a:pt x="474" y="351"/>
                </a:lnTo>
                <a:lnTo>
                  <a:pt x="474" y="353"/>
                </a:lnTo>
                <a:lnTo>
                  <a:pt x="473" y="354"/>
                </a:lnTo>
                <a:lnTo>
                  <a:pt x="474" y="356"/>
                </a:lnTo>
                <a:lnTo>
                  <a:pt x="474" y="357"/>
                </a:lnTo>
                <a:lnTo>
                  <a:pt x="473" y="357"/>
                </a:lnTo>
                <a:lnTo>
                  <a:pt x="473" y="360"/>
                </a:lnTo>
                <a:lnTo>
                  <a:pt x="474" y="361"/>
                </a:lnTo>
                <a:lnTo>
                  <a:pt x="473" y="364"/>
                </a:lnTo>
                <a:lnTo>
                  <a:pt x="471" y="363"/>
                </a:lnTo>
                <a:lnTo>
                  <a:pt x="470" y="361"/>
                </a:lnTo>
                <a:lnTo>
                  <a:pt x="468" y="361"/>
                </a:lnTo>
                <a:lnTo>
                  <a:pt x="468" y="363"/>
                </a:lnTo>
                <a:lnTo>
                  <a:pt x="470" y="364"/>
                </a:lnTo>
                <a:lnTo>
                  <a:pt x="471" y="364"/>
                </a:lnTo>
                <a:lnTo>
                  <a:pt x="473" y="366"/>
                </a:lnTo>
                <a:lnTo>
                  <a:pt x="474" y="366"/>
                </a:lnTo>
                <a:lnTo>
                  <a:pt x="476" y="368"/>
                </a:lnTo>
                <a:lnTo>
                  <a:pt x="476" y="370"/>
                </a:lnTo>
                <a:lnTo>
                  <a:pt x="474" y="370"/>
                </a:lnTo>
                <a:lnTo>
                  <a:pt x="473" y="372"/>
                </a:lnTo>
                <a:lnTo>
                  <a:pt x="473" y="369"/>
                </a:lnTo>
                <a:lnTo>
                  <a:pt x="471" y="367"/>
                </a:lnTo>
                <a:lnTo>
                  <a:pt x="470" y="368"/>
                </a:lnTo>
                <a:lnTo>
                  <a:pt x="471" y="369"/>
                </a:lnTo>
                <a:lnTo>
                  <a:pt x="471" y="370"/>
                </a:lnTo>
                <a:lnTo>
                  <a:pt x="470" y="372"/>
                </a:lnTo>
                <a:lnTo>
                  <a:pt x="471" y="372"/>
                </a:lnTo>
                <a:lnTo>
                  <a:pt x="471" y="375"/>
                </a:lnTo>
                <a:lnTo>
                  <a:pt x="467" y="375"/>
                </a:lnTo>
                <a:lnTo>
                  <a:pt x="471" y="376"/>
                </a:lnTo>
                <a:lnTo>
                  <a:pt x="472" y="376"/>
                </a:lnTo>
                <a:lnTo>
                  <a:pt x="473" y="374"/>
                </a:lnTo>
                <a:lnTo>
                  <a:pt x="472" y="374"/>
                </a:lnTo>
                <a:lnTo>
                  <a:pt x="471" y="372"/>
                </a:lnTo>
                <a:lnTo>
                  <a:pt x="472" y="370"/>
                </a:lnTo>
                <a:lnTo>
                  <a:pt x="473" y="372"/>
                </a:lnTo>
                <a:lnTo>
                  <a:pt x="473" y="373"/>
                </a:lnTo>
                <a:lnTo>
                  <a:pt x="476" y="374"/>
                </a:lnTo>
                <a:lnTo>
                  <a:pt x="476" y="375"/>
                </a:lnTo>
                <a:lnTo>
                  <a:pt x="473" y="376"/>
                </a:lnTo>
                <a:lnTo>
                  <a:pt x="473" y="379"/>
                </a:lnTo>
                <a:lnTo>
                  <a:pt x="474" y="379"/>
                </a:lnTo>
                <a:lnTo>
                  <a:pt x="477" y="380"/>
                </a:lnTo>
                <a:lnTo>
                  <a:pt x="477" y="384"/>
                </a:lnTo>
                <a:lnTo>
                  <a:pt x="474" y="381"/>
                </a:lnTo>
                <a:lnTo>
                  <a:pt x="473" y="381"/>
                </a:lnTo>
                <a:lnTo>
                  <a:pt x="471" y="379"/>
                </a:lnTo>
                <a:lnTo>
                  <a:pt x="470" y="380"/>
                </a:lnTo>
                <a:lnTo>
                  <a:pt x="470" y="381"/>
                </a:lnTo>
                <a:lnTo>
                  <a:pt x="468" y="381"/>
                </a:lnTo>
                <a:lnTo>
                  <a:pt x="465" y="378"/>
                </a:lnTo>
                <a:lnTo>
                  <a:pt x="461" y="376"/>
                </a:lnTo>
                <a:lnTo>
                  <a:pt x="460" y="374"/>
                </a:lnTo>
                <a:lnTo>
                  <a:pt x="459" y="374"/>
                </a:lnTo>
                <a:lnTo>
                  <a:pt x="456" y="372"/>
                </a:lnTo>
                <a:lnTo>
                  <a:pt x="454" y="370"/>
                </a:lnTo>
                <a:lnTo>
                  <a:pt x="453" y="369"/>
                </a:lnTo>
                <a:lnTo>
                  <a:pt x="452" y="367"/>
                </a:lnTo>
                <a:lnTo>
                  <a:pt x="449" y="366"/>
                </a:lnTo>
                <a:lnTo>
                  <a:pt x="449" y="364"/>
                </a:lnTo>
                <a:lnTo>
                  <a:pt x="449" y="366"/>
                </a:lnTo>
                <a:lnTo>
                  <a:pt x="450" y="369"/>
                </a:lnTo>
                <a:lnTo>
                  <a:pt x="453" y="372"/>
                </a:lnTo>
                <a:lnTo>
                  <a:pt x="458" y="374"/>
                </a:lnTo>
                <a:lnTo>
                  <a:pt x="464" y="380"/>
                </a:lnTo>
                <a:lnTo>
                  <a:pt x="465" y="380"/>
                </a:lnTo>
                <a:lnTo>
                  <a:pt x="465" y="381"/>
                </a:lnTo>
                <a:lnTo>
                  <a:pt x="467" y="384"/>
                </a:lnTo>
                <a:lnTo>
                  <a:pt x="465" y="384"/>
                </a:lnTo>
                <a:lnTo>
                  <a:pt x="464" y="385"/>
                </a:lnTo>
                <a:lnTo>
                  <a:pt x="462" y="385"/>
                </a:lnTo>
                <a:lnTo>
                  <a:pt x="462" y="386"/>
                </a:lnTo>
                <a:lnTo>
                  <a:pt x="460" y="386"/>
                </a:lnTo>
                <a:lnTo>
                  <a:pt x="454" y="385"/>
                </a:lnTo>
                <a:lnTo>
                  <a:pt x="453" y="385"/>
                </a:lnTo>
                <a:lnTo>
                  <a:pt x="455" y="388"/>
                </a:lnTo>
                <a:lnTo>
                  <a:pt x="456" y="390"/>
                </a:lnTo>
                <a:lnTo>
                  <a:pt x="456" y="387"/>
                </a:lnTo>
                <a:lnTo>
                  <a:pt x="459" y="391"/>
                </a:lnTo>
                <a:lnTo>
                  <a:pt x="460" y="392"/>
                </a:lnTo>
                <a:lnTo>
                  <a:pt x="460" y="394"/>
                </a:lnTo>
                <a:lnTo>
                  <a:pt x="459" y="396"/>
                </a:lnTo>
                <a:lnTo>
                  <a:pt x="456" y="393"/>
                </a:lnTo>
                <a:lnTo>
                  <a:pt x="456" y="398"/>
                </a:lnTo>
                <a:lnTo>
                  <a:pt x="454" y="398"/>
                </a:lnTo>
                <a:lnTo>
                  <a:pt x="454" y="397"/>
                </a:lnTo>
                <a:lnTo>
                  <a:pt x="453" y="398"/>
                </a:lnTo>
                <a:lnTo>
                  <a:pt x="450" y="398"/>
                </a:lnTo>
                <a:lnTo>
                  <a:pt x="447" y="397"/>
                </a:lnTo>
                <a:lnTo>
                  <a:pt x="446" y="397"/>
                </a:lnTo>
                <a:lnTo>
                  <a:pt x="447" y="398"/>
                </a:lnTo>
                <a:lnTo>
                  <a:pt x="443" y="398"/>
                </a:lnTo>
                <a:lnTo>
                  <a:pt x="442" y="397"/>
                </a:lnTo>
                <a:lnTo>
                  <a:pt x="440" y="397"/>
                </a:lnTo>
                <a:lnTo>
                  <a:pt x="440" y="398"/>
                </a:lnTo>
                <a:lnTo>
                  <a:pt x="437" y="399"/>
                </a:lnTo>
                <a:lnTo>
                  <a:pt x="436" y="400"/>
                </a:lnTo>
                <a:lnTo>
                  <a:pt x="437" y="400"/>
                </a:lnTo>
                <a:lnTo>
                  <a:pt x="437" y="402"/>
                </a:lnTo>
                <a:lnTo>
                  <a:pt x="436" y="403"/>
                </a:lnTo>
                <a:lnTo>
                  <a:pt x="437" y="404"/>
                </a:lnTo>
                <a:lnTo>
                  <a:pt x="439" y="404"/>
                </a:lnTo>
                <a:lnTo>
                  <a:pt x="440" y="405"/>
                </a:lnTo>
                <a:lnTo>
                  <a:pt x="440" y="406"/>
                </a:lnTo>
                <a:lnTo>
                  <a:pt x="442" y="406"/>
                </a:lnTo>
                <a:lnTo>
                  <a:pt x="442" y="405"/>
                </a:lnTo>
                <a:lnTo>
                  <a:pt x="443" y="405"/>
                </a:lnTo>
                <a:lnTo>
                  <a:pt x="445" y="407"/>
                </a:lnTo>
                <a:lnTo>
                  <a:pt x="447" y="410"/>
                </a:lnTo>
                <a:lnTo>
                  <a:pt x="447" y="411"/>
                </a:lnTo>
                <a:lnTo>
                  <a:pt x="443" y="415"/>
                </a:lnTo>
                <a:lnTo>
                  <a:pt x="441" y="415"/>
                </a:lnTo>
                <a:lnTo>
                  <a:pt x="440" y="413"/>
                </a:lnTo>
                <a:lnTo>
                  <a:pt x="440" y="412"/>
                </a:lnTo>
                <a:lnTo>
                  <a:pt x="439" y="410"/>
                </a:lnTo>
                <a:lnTo>
                  <a:pt x="439" y="409"/>
                </a:lnTo>
                <a:lnTo>
                  <a:pt x="436" y="406"/>
                </a:lnTo>
                <a:lnTo>
                  <a:pt x="435" y="406"/>
                </a:lnTo>
                <a:lnTo>
                  <a:pt x="434" y="405"/>
                </a:lnTo>
                <a:lnTo>
                  <a:pt x="433" y="403"/>
                </a:lnTo>
                <a:lnTo>
                  <a:pt x="431" y="402"/>
                </a:lnTo>
                <a:lnTo>
                  <a:pt x="430" y="403"/>
                </a:lnTo>
                <a:lnTo>
                  <a:pt x="429" y="403"/>
                </a:lnTo>
                <a:lnTo>
                  <a:pt x="428" y="405"/>
                </a:lnTo>
                <a:lnTo>
                  <a:pt x="434" y="406"/>
                </a:lnTo>
                <a:lnTo>
                  <a:pt x="435" y="407"/>
                </a:lnTo>
                <a:lnTo>
                  <a:pt x="437" y="412"/>
                </a:lnTo>
                <a:lnTo>
                  <a:pt x="440" y="416"/>
                </a:lnTo>
                <a:lnTo>
                  <a:pt x="442" y="422"/>
                </a:lnTo>
                <a:lnTo>
                  <a:pt x="443" y="424"/>
                </a:lnTo>
                <a:lnTo>
                  <a:pt x="440" y="424"/>
                </a:lnTo>
                <a:lnTo>
                  <a:pt x="441" y="425"/>
                </a:lnTo>
                <a:lnTo>
                  <a:pt x="441" y="428"/>
                </a:lnTo>
                <a:lnTo>
                  <a:pt x="440" y="430"/>
                </a:lnTo>
                <a:lnTo>
                  <a:pt x="441" y="431"/>
                </a:lnTo>
                <a:lnTo>
                  <a:pt x="442" y="431"/>
                </a:lnTo>
                <a:lnTo>
                  <a:pt x="441" y="433"/>
                </a:lnTo>
                <a:lnTo>
                  <a:pt x="436" y="433"/>
                </a:lnTo>
                <a:lnTo>
                  <a:pt x="437" y="435"/>
                </a:lnTo>
                <a:lnTo>
                  <a:pt x="437" y="436"/>
                </a:lnTo>
                <a:lnTo>
                  <a:pt x="439" y="436"/>
                </a:lnTo>
                <a:lnTo>
                  <a:pt x="437" y="437"/>
                </a:lnTo>
                <a:lnTo>
                  <a:pt x="435" y="437"/>
                </a:lnTo>
                <a:lnTo>
                  <a:pt x="435" y="439"/>
                </a:lnTo>
                <a:lnTo>
                  <a:pt x="434" y="439"/>
                </a:lnTo>
                <a:lnTo>
                  <a:pt x="433" y="440"/>
                </a:lnTo>
                <a:lnTo>
                  <a:pt x="433" y="441"/>
                </a:lnTo>
                <a:lnTo>
                  <a:pt x="434" y="442"/>
                </a:lnTo>
                <a:lnTo>
                  <a:pt x="433" y="442"/>
                </a:lnTo>
                <a:lnTo>
                  <a:pt x="428" y="443"/>
                </a:lnTo>
                <a:lnTo>
                  <a:pt x="427" y="443"/>
                </a:lnTo>
                <a:lnTo>
                  <a:pt x="427" y="445"/>
                </a:lnTo>
                <a:lnTo>
                  <a:pt x="428" y="445"/>
                </a:lnTo>
                <a:lnTo>
                  <a:pt x="428" y="446"/>
                </a:lnTo>
                <a:lnTo>
                  <a:pt x="427" y="447"/>
                </a:lnTo>
                <a:lnTo>
                  <a:pt x="427" y="448"/>
                </a:lnTo>
                <a:lnTo>
                  <a:pt x="425" y="448"/>
                </a:lnTo>
                <a:lnTo>
                  <a:pt x="425" y="453"/>
                </a:lnTo>
                <a:lnTo>
                  <a:pt x="424" y="453"/>
                </a:lnTo>
                <a:lnTo>
                  <a:pt x="424" y="455"/>
                </a:lnTo>
                <a:lnTo>
                  <a:pt x="422" y="456"/>
                </a:lnTo>
                <a:lnTo>
                  <a:pt x="421" y="455"/>
                </a:lnTo>
                <a:lnTo>
                  <a:pt x="421" y="453"/>
                </a:lnTo>
                <a:lnTo>
                  <a:pt x="420" y="453"/>
                </a:lnTo>
                <a:lnTo>
                  <a:pt x="418" y="454"/>
                </a:lnTo>
                <a:lnTo>
                  <a:pt x="418" y="456"/>
                </a:lnTo>
                <a:lnTo>
                  <a:pt x="420" y="456"/>
                </a:lnTo>
                <a:lnTo>
                  <a:pt x="421" y="458"/>
                </a:lnTo>
                <a:lnTo>
                  <a:pt x="421" y="460"/>
                </a:lnTo>
                <a:lnTo>
                  <a:pt x="427" y="460"/>
                </a:lnTo>
                <a:lnTo>
                  <a:pt x="429" y="461"/>
                </a:lnTo>
                <a:lnTo>
                  <a:pt x="430" y="461"/>
                </a:lnTo>
                <a:lnTo>
                  <a:pt x="430" y="462"/>
                </a:lnTo>
                <a:lnTo>
                  <a:pt x="429" y="464"/>
                </a:lnTo>
                <a:lnTo>
                  <a:pt x="427" y="464"/>
                </a:lnTo>
                <a:lnTo>
                  <a:pt x="428" y="465"/>
                </a:lnTo>
                <a:lnTo>
                  <a:pt x="428" y="466"/>
                </a:lnTo>
                <a:lnTo>
                  <a:pt x="430" y="468"/>
                </a:lnTo>
                <a:lnTo>
                  <a:pt x="430" y="470"/>
                </a:lnTo>
                <a:lnTo>
                  <a:pt x="429" y="470"/>
                </a:lnTo>
                <a:lnTo>
                  <a:pt x="429" y="471"/>
                </a:lnTo>
                <a:lnTo>
                  <a:pt x="427" y="468"/>
                </a:lnTo>
                <a:lnTo>
                  <a:pt x="425" y="468"/>
                </a:lnTo>
                <a:lnTo>
                  <a:pt x="424" y="467"/>
                </a:lnTo>
                <a:lnTo>
                  <a:pt x="424" y="466"/>
                </a:lnTo>
                <a:lnTo>
                  <a:pt x="423" y="465"/>
                </a:lnTo>
                <a:lnTo>
                  <a:pt x="422" y="465"/>
                </a:lnTo>
                <a:lnTo>
                  <a:pt x="422" y="470"/>
                </a:lnTo>
                <a:lnTo>
                  <a:pt x="424" y="472"/>
                </a:lnTo>
                <a:lnTo>
                  <a:pt x="427" y="472"/>
                </a:lnTo>
                <a:lnTo>
                  <a:pt x="428" y="474"/>
                </a:lnTo>
                <a:lnTo>
                  <a:pt x="427" y="474"/>
                </a:lnTo>
                <a:lnTo>
                  <a:pt x="428" y="476"/>
                </a:lnTo>
                <a:lnTo>
                  <a:pt x="428" y="477"/>
                </a:lnTo>
                <a:lnTo>
                  <a:pt x="430" y="477"/>
                </a:lnTo>
                <a:lnTo>
                  <a:pt x="430" y="479"/>
                </a:lnTo>
                <a:lnTo>
                  <a:pt x="431" y="479"/>
                </a:lnTo>
                <a:lnTo>
                  <a:pt x="431" y="482"/>
                </a:lnTo>
                <a:lnTo>
                  <a:pt x="433" y="480"/>
                </a:lnTo>
                <a:lnTo>
                  <a:pt x="433" y="477"/>
                </a:lnTo>
                <a:lnTo>
                  <a:pt x="435" y="479"/>
                </a:lnTo>
                <a:lnTo>
                  <a:pt x="435" y="482"/>
                </a:lnTo>
                <a:lnTo>
                  <a:pt x="436" y="482"/>
                </a:lnTo>
                <a:lnTo>
                  <a:pt x="436" y="479"/>
                </a:lnTo>
                <a:lnTo>
                  <a:pt x="437" y="479"/>
                </a:lnTo>
                <a:lnTo>
                  <a:pt x="437" y="483"/>
                </a:lnTo>
                <a:lnTo>
                  <a:pt x="440" y="485"/>
                </a:lnTo>
                <a:lnTo>
                  <a:pt x="439" y="486"/>
                </a:lnTo>
                <a:lnTo>
                  <a:pt x="437" y="485"/>
                </a:lnTo>
                <a:lnTo>
                  <a:pt x="437" y="484"/>
                </a:lnTo>
                <a:lnTo>
                  <a:pt x="436" y="483"/>
                </a:lnTo>
                <a:lnTo>
                  <a:pt x="435" y="485"/>
                </a:lnTo>
                <a:lnTo>
                  <a:pt x="434" y="486"/>
                </a:lnTo>
                <a:lnTo>
                  <a:pt x="433" y="485"/>
                </a:lnTo>
                <a:lnTo>
                  <a:pt x="433" y="484"/>
                </a:lnTo>
                <a:lnTo>
                  <a:pt x="431" y="484"/>
                </a:lnTo>
                <a:lnTo>
                  <a:pt x="431" y="485"/>
                </a:lnTo>
                <a:lnTo>
                  <a:pt x="433" y="485"/>
                </a:lnTo>
                <a:lnTo>
                  <a:pt x="434" y="487"/>
                </a:lnTo>
                <a:lnTo>
                  <a:pt x="434" y="486"/>
                </a:lnTo>
                <a:lnTo>
                  <a:pt x="437" y="486"/>
                </a:lnTo>
                <a:lnTo>
                  <a:pt x="437" y="492"/>
                </a:lnTo>
                <a:lnTo>
                  <a:pt x="439" y="492"/>
                </a:lnTo>
                <a:lnTo>
                  <a:pt x="440" y="491"/>
                </a:lnTo>
                <a:lnTo>
                  <a:pt x="441" y="491"/>
                </a:lnTo>
                <a:lnTo>
                  <a:pt x="441" y="490"/>
                </a:lnTo>
                <a:lnTo>
                  <a:pt x="442" y="490"/>
                </a:lnTo>
                <a:lnTo>
                  <a:pt x="442" y="493"/>
                </a:lnTo>
                <a:lnTo>
                  <a:pt x="441" y="493"/>
                </a:lnTo>
                <a:lnTo>
                  <a:pt x="441" y="495"/>
                </a:lnTo>
                <a:lnTo>
                  <a:pt x="440" y="495"/>
                </a:lnTo>
                <a:lnTo>
                  <a:pt x="439" y="496"/>
                </a:lnTo>
                <a:lnTo>
                  <a:pt x="436" y="501"/>
                </a:lnTo>
                <a:lnTo>
                  <a:pt x="433" y="504"/>
                </a:lnTo>
                <a:lnTo>
                  <a:pt x="431" y="503"/>
                </a:lnTo>
                <a:lnTo>
                  <a:pt x="431" y="502"/>
                </a:lnTo>
                <a:lnTo>
                  <a:pt x="430" y="502"/>
                </a:lnTo>
                <a:lnTo>
                  <a:pt x="430" y="505"/>
                </a:lnTo>
                <a:lnTo>
                  <a:pt x="431" y="505"/>
                </a:lnTo>
                <a:lnTo>
                  <a:pt x="431" y="507"/>
                </a:lnTo>
                <a:lnTo>
                  <a:pt x="430" y="507"/>
                </a:lnTo>
                <a:lnTo>
                  <a:pt x="429" y="508"/>
                </a:lnTo>
                <a:lnTo>
                  <a:pt x="428" y="508"/>
                </a:lnTo>
                <a:lnTo>
                  <a:pt x="428" y="507"/>
                </a:lnTo>
                <a:lnTo>
                  <a:pt x="427" y="507"/>
                </a:lnTo>
                <a:lnTo>
                  <a:pt x="422" y="515"/>
                </a:lnTo>
                <a:lnTo>
                  <a:pt x="420" y="515"/>
                </a:lnTo>
                <a:lnTo>
                  <a:pt x="418" y="519"/>
                </a:lnTo>
                <a:lnTo>
                  <a:pt x="416" y="522"/>
                </a:lnTo>
                <a:lnTo>
                  <a:pt x="415" y="525"/>
                </a:lnTo>
                <a:lnTo>
                  <a:pt x="415" y="527"/>
                </a:lnTo>
                <a:lnTo>
                  <a:pt x="414" y="530"/>
                </a:lnTo>
                <a:lnTo>
                  <a:pt x="414" y="534"/>
                </a:lnTo>
                <a:lnTo>
                  <a:pt x="412" y="535"/>
                </a:lnTo>
                <a:lnTo>
                  <a:pt x="412" y="539"/>
                </a:lnTo>
                <a:lnTo>
                  <a:pt x="411" y="539"/>
                </a:lnTo>
                <a:lnTo>
                  <a:pt x="411" y="540"/>
                </a:lnTo>
                <a:lnTo>
                  <a:pt x="410" y="540"/>
                </a:lnTo>
                <a:lnTo>
                  <a:pt x="410" y="542"/>
                </a:lnTo>
                <a:lnTo>
                  <a:pt x="409" y="545"/>
                </a:lnTo>
                <a:lnTo>
                  <a:pt x="408" y="548"/>
                </a:lnTo>
                <a:lnTo>
                  <a:pt x="408" y="550"/>
                </a:lnTo>
                <a:lnTo>
                  <a:pt x="405" y="551"/>
                </a:lnTo>
                <a:lnTo>
                  <a:pt x="404" y="551"/>
                </a:lnTo>
                <a:lnTo>
                  <a:pt x="403" y="552"/>
                </a:lnTo>
                <a:lnTo>
                  <a:pt x="403" y="553"/>
                </a:lnTo>
                <a:lnTo>
                  <a:pt x="405" y="553"/>
                </a:lnTo>
                <a:lnTo>
                  <a:pt x="404" y="556"/>
                </a:lnTo>
                <a:lnTo>
                  <a:pt x="403" y="557"/>
                </a:lnTo>
                <a:lnTo>
                  <a:pt x="402" y="554"/>
                </a:lnTo>
                <a:lnTo>
                  <a:pt x="402" y="553"/>
                </a:lnTo>
                <a:lnTo>
                  <a:pt x="400" y="553"/>
                </a:lnTo>
                <a:lnTo>
                  <a:pt x="398" y="556"/>
                </a:lnTo>
                <a:lnTo>
                  <a:pt x="396" y="553"/>
                </a:lnTo>
                <a:lnTo>
                  <a:pt x="394" y="558"/>
                </a:lnTo>
                <a:lnTo>
                  <a:pt x="393" y="559"/>
                </a:lnTo>
                <a:lnTo>
                  <a:pt x="392" y="559"/>
                </a:lnTo>
                <a:lnTo>
                  <a:pt x="392" y="566"/>
                </a:lnTo>
                <a:lnTo>
                  <a:pt x="391" y="568"/>
                </a:lnTo>
                <a:lnTo>
                  <a:pt x="390" y="568"/>
                </a:lnTo>
                <a:lnTo>
                  <a:pt x="390" y="562"/>
                </a:lnTo>
                <a:lnTo>
                  <a:pt x="389" y="560"/>
                </a:lnTo>
                <a:lnTo>
                  <a:pt x="389" y="568"/>
                </a:lnTo>
                <a:lnTo>
                  <a:pt x="387" y="570"/>
                </a:lnTo>
                <a:lnTo>
                  <a:pt x="386" y="569"/>
                </a:lnTo>
                <a:lnTo>
                  <a:pt x="386" y="565"/>
                </a:lnTo>
                <a:lnTo>
                  <a:pt x="387" y="563"/>
                </a:lnTo>
                <a:lnTo>
                  <a:pt x="385" y="565"/>
                </a:lnTo>
                <a:lnTo>
                  <a:pt x="385" y="570"/>
                </a:lnTo>
                <a:lnTo>
                  <a:pt x="381" y="570"/>
                </a:lnTo>
                <a:lnTo>
                  <a:pt x="380" y="571"/>
                </a:lnTo>
                <a:lnTo>
                  <a:pt x="379" y="570"/>
                </a:lnTo>
                <a:lnTo>
                  <a:pt x="379" y="569"/>
                </a:lnTo>
                <a:lnTo>
                  <a:pt x="377" y="569"/>
                </a:lnTo>
                <a:lnTo>
                  <a:pt x="377" y="570"/>
                </a:lnTo>
                <a:lnTo>
                  <a:pt x="375" y="570"/>
                </a:lnTo>
                <a:lnTo>
                  <a:pt x="375" y="572"/>
                </a:lnTo>
                <a:lnTo>
                  <a:pt x="377" y="575"/>
                </a:lnTo>
                <a:lnTo>
                  <a:pt x="373" y="573"/>
                </a:lnTo>
                <a:lnTo>
                  <a:pt x="372" y="573"/>
                </a:lnTo>
                <a:lnTo>
                  <a:pt x="369" y="575"/>
                </a:lnTo>
                <a:lnTo>
                  <a:pt x="369" y="577"/>
                </a:lnTo>
                <a:lnTo>
                  <a:pt x="365" y="582"/>
                </a:lnTo>
                <a:lnTo>
                  <a:pt x="365" y="588"/>
                </a:lnTo>
                <a:lnTo>
                  <a:pt x="363" y="588"/>
                </a:lnTo>
                <a:lnTo>
                  <a:pt x="363" y="589"/>
                </a:lnTo>
                <a:lnTo>
                  <a:pt x="362" y="590"/>
                </a:lnTo>
                <a:lnTo>
                  <a:pt x="361" y="590"/>
                </a:lnTo>
                <a:lnTo>
                  <a:pt x="360" y="589"/>
                </a:lnTo>
                <a:lnTo>
                  <a:pt x="360" y="587"/>
                </a:lnTo>
                <a:lnTo>
                  <a:pt x="359" y="585"/>
                </a:lnTo>
                <a:lnTo>
                  <a:pt x="359" y="584"/>
                </a:lnTo>
                <a:lnTo>
                  <a:pt x="358" y="584"/>
                </a:lnTo>
                <a:lnTo>
                  <a:pt x="358" y="582"/>
                </a:lnTo>
                <a:lnTo>
                  <a:pt x="355" y="582"/>
                </a:lnTo>
                <a:lnTo>
                  <a:pt x="353" y="579"/>
                </a:lnTo>
                <a:lnTo>
                  <a:pt x="353" y="578"/>
                </a:lnTo>
                <a:lnTo>
                  <a:pt x="352" y="578"/>
                </a:lnTo>
                <a:lnTo>
                  <a:pt x="350" y="579"/>
                </a:lnTo>
                <a:lnTo>
                  <a:pt x="350" y="581"/>
                </a:lnTo>
                <a:lnTo>
                  <a:pt x="353" y="581"/>
                </a:lnTo>
                <a:lnTo>
                  <a:pt x="352" y="583"/>
                </a:lnTo>
                <a:lnTo>
                  <a:pt x="353" y="584"/>
                </a:lnTo>
                <a:lnTo>
                  <a:pt x="354" y="584"/>
                </a:lnTo>
                <a:lnTo>
                  <a:pt x="355" y="585"/>
                </a:lnTo>
                <a:lnTo>
                  <a:pt x="354" y="587"/>
                </a:lnTo>
                <a:lnTo>
                  <a:pt x="352" y="587"/>
                </a:lnTo>
                <a:lnTo>
                  <a:pt x="353" y="588"/>
                </a:lnTo>
                <a:lnTo>
                  <a:pt x="354" y="590"/>
                </a:lnTo>
                <a:lnTo>
                  <a:pt x="354" y="593"/>
                </a:lnTo>
                <a:lnTo>
                  <a:pt x="353" y="593"/>
                </a:lnTo>
                <a:lnTo>
                  <a:pt x="352" y="590"/>
                </a:lnTo>
                <a:lnTo>
                  <a:pt x="347" y="585"/>
                </a:lnTo>
                <a:lnTo>
                  <a:pt x="347" y="587"/>
                </a:lnTo>
                <a:lnTo>
                  <a:pt x="348" y="589"/>
                </a:lnTo>
                <a:lnTo>
                  <a:pt x="347" y="590"/>
                </a:lnTo>
                <a:lnTo>
                  <a:pt x="347" y="589"/>
                </a:lnTo>
                <a:lnTo>
                  <a:pt x="346" y="588"/>
                </a:lnTo>
                <a:lnTo>
                  <a:pt x="344" y="588"/>
                </a:lnTo>
                <a:lnTo>
                  <a:pt x="344" y="599"/>
                </a:lnTo>
                <a:lnTo>
                  <a:pt x="343" y="601"/>
                </a:lnTo>
                <a:lnTo>
                  <a:pt x="342" y="601"/>
                </a:lnTo>
                <a:lnTo>
                  <a:pt x="342" y="599"/>
                </a:lnTo>
                <a:lnTo>
                  <a:pt x="341" y="601"/>
                </a:lnTo>
                <a:lnTo>
                  <a:pt x="340" y="601"/>
                </a:lnTo>
                <a:lnTo>
                  <a:pt x="338" y="602"/>
                </a:lnTo>
                <a:lnTo>
                  <a:pt x="338" y="605"/>
                </a:lnTo>
                <a:lnTo>
                  <a:pt x="337" y="607"/>
                </a:lnTo>
                <a:lnTo>
                  <a:pt x="337" y="608"/>
                </a:lnTo>
                <a:lnTo>
                  <a:pt x="338" y="608"/>
                </a:lnTo>
                <a:lnTo>
                  <a:pt x="337" y="609"/>
                </a:lnTo>
                <a:lnTo>
                  <a:pt x="336" y="609"/>
                </a:lnTo>
                <a:lnTo>
                  <a:pt x="335" y="607"/>
                </a:lnTo>
                <a:lnTo>
                  <a:pt x="334" y="609"/>
                </a:lnTo>
                <a:lnTo>
                  <a:pt x="335" y="611"/>
                </a:lnTo>
                <a:lnTo>
                  <a:pt x="337" y="611"/>
                </a:lnTo>
                <a:lnTo>
                  <a:pt x="337" y="612"/>
                </a:lnTo>
                <a:lnTo>
                  <a:pt x="336" y="612"/>
                </a:lnTo>
                <a:lnTo>
                  <a:pt x="335" y="613"/>
                </a:lnTo>
                <a:lnTo>
                  <a:pt x="335" y="614"/>
                </a:lnTo>
                <a:lnTo>
                  <a:pt x="334" y="614"/>
                </a:lnTo>
                <a:lnTo>
                  <a:pt x="333" y="613"/>
                </a:lnTo>
                <a:lnTo>
                  <a:pt x="333" y="612"/>
                </a:lnTo>
                <a:lnTo>
                  <a:pt x="331" y="611"/>
                </a:lnTo>
                <a:lnTo>
                  <a:pt x="331" y="609"/>
                </a:lnTo>
                <a:lnTo>
                  <a:pt x="329" y="607"/>
                </a:lnTo>
                <a:lnTo>
                  <a:pt x="329" y="606"/>
                </a:lnTo>
                <a:lnTo>
                  <a:pt x="328" y="606"/>
                </a:lnTo>
                <a:lnTo>
                  <a:pt x="328" y="608"/>
                </a:lnTo>
                <a:lnTo>
                  <a:pt x="327" y="608"/>
                </a:lnTo>
                <a:lnTo>
                  <a:pt x="324" y="607"/>
                </a:lnTo>
                <a:lnTo>
                  <a:pt x="322" y="607"/>
                </a:lnTo>
                <a:lnTo>
                  <a:pt x="322" y="608"/>
                </a:lnTo>
                <a:lnTo>
                  <a:pt x="329" y="612"/>
                </a:lnTo>
                <a:lnTo>
                  <a:pt x="328" y="613"/>
                </a:lnTo>
                <a:lnTo>
                  <a:pt x="324" y="613"/>
                </a:lnTo>
                <a:lnTo>
                  <a:pt x="324" y="615"/>
                </a:lnTo>
                <a:lnTo>
                  <a:pt x="323" y="615"/>
                </a:lnTo>
                <a:lnTo>
                  <a:pt x="323" y="614"/>
                </a:lnTo>
                <a:lnTo>
                  <a:pt x="322" y="613"/>
                </a:lnTo>
                <a:lnTo>
                  <a:pt x="322" y="612"/>
                </a:lnTo>
                <a:lnTo>
                  <a:pt x="325" y="612"/>
                </a:lnTo>
                <a:lnTo>
                  <a:pt x="325" y="611"/>
                </a:lnTo>
                <a:lnTo>
                  <a:pt x="321" y="609"/>
                </a:lnTo>
                <a:lnTo>
                  <a:pt x="319" y="611"/>
                </a:lnTo>
                <a:lnTo>
                  <a:pt x="321" y="611"/>
                </a:lnTo>
                <a:lnTo>
                  <a:pt x="321" y="613"/>
                </a:lnTo>
                <a:lnTo>
                  <a:pt x="322" y="615"/>
                </a:lnTo>
                <a:lnTo>
                  <a:pt x="322" y="616"/>
                </a:lnTo>
                <a:lnTo>
                  <a:pt x="316" y="614"/>
                </a:lnTo>
                <a:lnTo>
                  <a:pt x="315" y="614"/>
                </a:lnTo>
                <a:lnTo>
                  <a:pt x="315" y="615"/>
                </a:lnTo>
                <a:lnTo>
                  <a:pt x="316" y="615"/>
                </a:lnTo>
                <a:lnTo>
                  <a:pt x="317" y="616"/>
                </a:lnTo>
                <a:lnTo>
                  <a:pt x="317" y="618"/>
                </a:lnTo>
                <a:lnTo>
                  <a:pt x="318" y="619"/>
                </a:lnTo>
                <a:lnTo>
                  <a:pt x="318" y="620"/>
                </a:lnTo>
                <a:lnTo>
                  <a:pt x="317" y="621"/>
                </a:lnTo>
                <a:lnTo>
                  <a:pt x="317" y="620"/>
                </a:lnTo>
                <a:lnTo>
                  <a:pt x="313" y="620"/>
                </a:lnTo>
                <a:lnTo>
                  <a:pt x="313" y="624"/>
                </a:lnTo>
                <a:lnTo>
                  <a:pt x="312" y="626"/>
                </a:lnTo>
                <a:lnTo>
                  <a:pt x="311" y="626"/>
                </a:lnTo>
                <a:lnTo>
                  <a:pt x="311" y="630"/>
                </a:lnTo>
                <a:lnTo>
                  <a:pt x="307" y="626"/>
                </a:lnTo>
                <a:lnTo>
                  <a:pt x="306" y="626"/>
                </a:lnTo>
                <a:lnTo>
                  <a:pt x="306" y="627"/>
                </a:lnTo>
                <a:lnTo>
                  <a:pt x="307" y="628"/>
                </a:lnTo>
                <a:lnTo>
                  <a:pt x="309" y="628"/>
                </a:lnTo>
                <a:lnTo>
                  <a:pt x="309" y="630"/>
                </a:lnTo>
                <a:lnTo>
                  <a:pt x="306" y="630"/>
                </a:lnTo>
                <a:lnTo>
                  <a:pt x="305" y="628"/>
                </a:lnTo>
                <a:lnTo>
                  <a:pt x="303" y="631"/>
                </a:lnTo>
                <a:lnTo>
                  <a:pt x="300" y="631"/>
                </a:lnTo>
                <a:lnTo>
                  <a:pt x="302" y="632"/>
                </a:lnTo>
                <a:lnTo>
                  <a:pt x="313" y="632"/>
                </a:lnTo>
                <a:lnTo>
                  <a:pt x="315" y="633"/>
                </a:lnTo>
                <a:lnTo>
                  <a:pt x="315" y="636"/>
                </a:lnTo>
                <a:lnTo>
                  <a:pt x="313" y="636"/>
                </a:lnTo>
                <a:lnTo>
                  <a:pt x="313" y="633"/>
                </a:lnTo>
                <a:lnTo>
                  <a:pt x="312" y="636"/>
                </a:lnTo>
                <a:lnTo>
                  <a:pt x="311" y="636"/>
                </a:lnTo>
                <a:lnTo>
                  <a:pt x="307" y="634"/>
                </a:lnTo>
                <a:lnTo>
                  <a:pt x="307" y="637"/>
                </a:lnTo>
                <a:lnTo>
                  <a:pt x="309" y="638"/>
                </a:lnTo>
                <a:lnTo>
                  <a:pt x="312" y="638"/>
                </a:lnTo>
                <a:lnTo>
                  <a:pt x="312" y="640"/>
                </a:lnTo>
                <a:lnTo>
                  <a:pt x="310" y="640"/>
                </a:lnTo>
                <a:lnTo>
                  <a:pt x="307" y="639"/>
                </a:lnTo>
                <a:lnTo>
                  <a:pt x="307" y="640"/>
                </a:lnTo>
                <a:lnTo>
                  <a:pt x="310" y="642"/>
                </a:lnTo>
                <a:lnTo>
                  <a:pt x="310" y="644"/>
                </a:lnTo>
                <a:lnTo>
                  <a:pt x="309" y="645"/>
                </a:lnTo>
                <a:lnTo>
                  <a:pt x="307" y="645"/>
                </a:lnTo>
                <a:lnTo>
                  <a:pt x="307" y="646"/>
                </a:lnTo>
                <a:lnTo>
                  <a:pt x="304" y="646"/>
                </a:lnTo>
                <a:lnTo>
                  <a:pt x="304" y="645"/>
                </a:lnTo>
                <a:lnTo>
                  <a:pt x="303" y="643"/>
                </a:lnTo>
                <a:lnTo>
                  <a:pt x="302" y="642"/>
                </a:lnTo>
                <a:lnTo>
                  <a:pt x="300" y="642"/>
                </a:lnTo>
                <a:lnTo>
                  <a:pt x="302" y="643"/>
                </a:lnTo>
                <a:lnTo>
                  <a:pt x="299" y="643"/>
                </a:lnTo>
                <a:lnTo>
                  <a:pt x="299" y="646"/>
                </a:lnTo>
                <a:lnTo>
                  <a:pt x="300" y="648"/>
                </a:lnTo>
                <a:lnTo>
                  <a:pt x="302" y="645"/>
                </a:lnTo>
                <a:lnTo>
                  <a:pt x="303" y="646"/>
                </a:lnTo>
                <a:lnTo>
                  <a:pt x="302" y="649"/>
                </a:lnTo>
                <a:lnTo>
                  <a:pt x="299" y="651"/>
                </a:lnTo>
                <a:lnTo>
                  <a:pt x="299" y="652"/>
                </a:lnTo>
                <a:lnTo>
                  <a:pt x="298" y="651"/>
                </a:lnTo>
                <a:lnTo>
                  <a:pt x="298" y="650"/>
                </a:lnTo>
                <a:lnTo>
                  <a:pt x="299" y="649"/>
                </a:lnTo>
                <a:lnTo>
                  <a:pt x="298" y="649"/>
                </a:lnTo>
                <a:lnTo>
                  <a:pt x="298" y="650"/>
                </a:lnTo>
                <a:lnTo>
                  <a:pt x="297" y="651"/>
                </a:lnTo>
                <a:lnTo>
                  <a:pt x="297" y="652"/>
                </a:lnTo>
                <a:lnTo>
                  <a:pt x="293" y="652"/>
                </a:lnTo>
                <a:lnTo>
                  <a:pt x="294" y="651"/>
                </a:lnTo>
                <a:lnTo>
                  <a:pt x="293" y="650"/>
                </a:lnTo>
                <a:lnTo>
                  <a:pt x="291" y="650"/>
                </a:lnTo>
                <a:lnTo>
                  <a:pt x="292" y="649"/>
                </a:lnTo>
                <a:lnTo>
                  <a:pt x="296" y="649"/>
                </a:lnTo>
                <a:lnTo>
                  <a:pt x="297" y="648"/>
                </a:lnTo>
                <a:lnTo>
                  <a:pt x="294" y="646"/>
                </a:lnTo>
                <a:lnTo>
                  <a:pt x="293" y="645"/>
                </a:lnTo>
                <a:lnTo>
                  <a:pt x="291" y="646"/>
                </a:lnTo>
                <a:lnTo>
                  <a:pt x="290" y="648"/>
                </a:lnTo>
                <a:lnTo>
                  <a:pt x="290" y="649"/>
                </a:lnTo>
                <a:lnTo>
                  <a:pt x="287" y="649"/>
                </a:lnTo>
                <a:lnTo>
                  <a:pt x="287" y="639"/>
                </a:lnTo>
                <a:lnTo>
                  <a:pt x="285" y="639"/>
                </a:lnTo>
                <a:lnTo>
                  <a:pt x="284" y="636"/>
                </a:lnTo>
                <a:lnTo>
                  <a:pt x="284" y="634"/>
                </a:lnTo>
                <a:lnTo>
                  <a:pt x="282" y="633"/>
                </a:lnTo>
                <a:lnTo>
                  <a:pt x="284" y="631"/>
                </a:lnTo>
                <a:lnTo>
                  <a:pt x="282" y="631"/>
                </a:lnTo>
                <a:lnTo>
                  <a:pt x="281" y="633"/>
                </a:lnTo>
                <a:lnTo>
                  <a:pt x="280" y="633"/>
                </a:lnTo>
                <a:lnTo>
                  <a:pt x="278" y="631"/>
                </a:lnTo>
                <a:lnTo>
                  <a:pt x="278" y="632"/>
                </a:lnTo>
                <a:lnTo>
                  <a:pt x="284" y="638"/>
                </a:lnTo>
                <a:lnTo>
                  <a:pt x="286" y="643"/>
                </a:lnTo>
                <a:lnTo>
                  <a:pt x="286" y="649"/>
                </a:lnTo>
                <a:lnTo>
                  <a:pt x="287" y="650"/>
                </a:lnTo>
                <a:lnTo>
                  <a:pt x="288" y="650"/>
                </a:lnTo>
                <a:lnTo>
                  <a:pt x="288" y="655"/>
                </a:lnTo>
                <a:lnTo>
                  <a:pt x="290" y="656"/>
                </a:lnTo>
                <a:lnTo>
                  <a:pt x="291" y="658"/>
                </a:lnTo>
                <a:lnTo>
                  <a:pt x="291" y="659"/>
                </a:lnTo>
                <a:lnTo>
                  <a:pt x="290" y="661"/>
                </a:lnTo>
                <a:lnTo>
                  <a:pt x="290" y="662"/>
                </a:lnTo>
                <a:lnTo>
                  <a:pt x="291" y="662"/>
                </a:lnTo>
                <a:lnTo>
                  <a:pt x="290" y="663"/>
                </a:lnTo>
                <a:lnTo>
                  <a:pt x="288" y="662"/>
                </a:lnTo>
                <a:lnTo>
                  <a:pt x="285" y="662"/>
                </a:lnTo>
                <a:lnTo>
                  <a:pt x="286" y="663"/>
                </a:lnTo>
                <a:lnTo>
                  <a:pt x="292" y="665"/>
                </a:lnTo>
                <a:lnTo>
                  <a:pt x="292" y="668"/>
                </a:lnTo>
                <a:lnTo>
                  <a:pt x="293" y="668"/>
                </a:lnTo>
                <a:lnTo>
                  <a:pt x="293" y="669"/>
                </a:lnTo>
                <a:lnTo>
                  <a:pt x="292" y="669"/>
                </a:lnTo>
                <a:lnTo>
                  <a:pt x="290" y="671"/>
                </a:lnTo>
                <a:lnTo>
                  <a:pt x="288" y="671"/>
                </a:lnTo>
                <a:lnTo>
                  <a:pt x="288" y="667"/>
                </a:lnTo>
                <a:lnTo>
                  <a:pt x="287" y="667"/>
                </a:lnTo>
                <a:lnTo>
                  <a:pt x="287" y="673"/>
                </a:lnTo>
                <a:lnTo>
                  <a:pt x="286" y="673"/>
                </a:lnTo>
                <a:lnTo>
                  <a:pt x="285" y="674"/>
                </a:lnTo>
                <a:lnTo>
                  <a:pt x="286" y="675"/>
                </a:lnTo>
                <a:lnTo>
                  <a:pt x="285" y="677"/>
                </a:lnTo>
                <a:lnTo>
                  <a:pt x="284" y="679"/>
                </a:lnTo>
                <a:lnTo>
                  <a:pt x="282" y="679"/>
                </a:lnTo>
                <a:lnTo>
                  <a:pt x="281" y="677"/>
                </a:lnTo>
                <a:lnTo>
                  <a:pt x="281" y="676"/>
                </a:lnTo>
                <a:lnTo>
                  <a:pt x="279" y="676"/>
                </a:lnTo>
                <a:lnTo>
                  <a:pt x="276" y="679"/>
                </a:lnTo>
                <a:lnTo>
                  <a:pt x="276" y="681"/>
                </a:lnTo>
                <a:lnTo>
                  <a:pt x="278" y="682"/>
                </a:lnTo>
                <a:lnTo>
                  <a:pt x="278" y="683"/>
                </a:lnTo>
                <a:lnTo>
                  <a:pt x="273" y="682"/>
                </a:lnTo>
                <a:lnTo>
                  <a:pt x="272" y="682"/>
                </a:lnTo>
                <a:lnTo>
                  <a:pt x="271" y="681"/>
                </a:lnTo>
                <a:lnTo>
                  <a:pt x="267" y="674"/>
                </a:lnTo>
                <a:lnTo>
                  <a:pt x="266" y="674"/>
                </a:lnTo>
                <a:lnTo>
                  <a:pt x="265" y="676"/>
                </a:lnTo>
                <a:lnTo>
                  <a:pt x="263" y="677"/>
                </a:lnTo>
                <a:lnTo>
                  <a:pt x="262" y="677"/>
                </a:lnTo>
                <a:lnTo>
                  <a:pt x="262" y="680"/>
                </a:lnTo>
                <a:lnTo>
                  <a:pt x="265" y="683"/>
                </a:lnTo>
                <a:lnTo>
                  <a:pt x="265" y="686"/>
                </a:lnTo>
                <a:lnTo>
                  <a:pt x="262" y="686"/>
                </a:lnTo>
                <a:lnTo>
                  <a:pt x="263" y="687"/>
                </a:lnTo>
                <a:lnTo>
                  <a:pt x="263" y="692"/>
                </a:lnTo>
                <a:lnTo>
                  <a:pt x="265" y="693"/>
                </a:lnTo>
                <a:lnTo>
                  <a:pt x="267" y="693"/>
                </a:lnTo>
                <a:lnTo>
                  <a:pt x="267" y="694"/>
                </a:lnTo>
                <a:lnTo>
                  <a:pt x="268" y="694"/>
                </a:lnTo>
                <a:lnTo>
                  <a:pt x="268" y="697"/>
                </a:lnTo>
                <a:lnTo>
                  <a:pt x="269" y="697"/>
                </a:lnTo>
                <a:lnTo>
                  <a:pt x="269" y="698"/>
                </a:lnTo>
                <a:lnTo>
                  <a:pt x="268" y="698"/>
                </a:lnTo>
                <a:lnTo>
                  <a:pt x="272" y="700"/>
                </a:lnTo>
                <a:lnTo>
                  <a:pt x="273" y="700"/>
                </a:lnTo>
                <a:lnTo>
                  <a:pt x="275" y="701"/>
                </a:lnTo>
                <a:lnTo>
                  <a:pt x="272" y="704"/>
                </a:lnTo>
                <a:lnTo>
                  <a:pt x="272" y="705"/>
                </a:lnTo>
                <a:lnTo>
                  <a:pt x="271" y="704"/>
                </a:lnTo>
                <a:lnTo>
                  <a:pt x="272" y="701"/>
                </a:lnTo>
                <a:lnTo>
                  <a:pt x="271" y="701"/>
                </a:lnTo>
                <a:lnTo>
                  <a:pt x="271" y="702"/>
                </a:lnTo>
                <a:lnTo>
                  <a:pt x="269" y="702"/>
                </a:lnTo>
                <a:lnTo>
                  <a:pt x="269" y="710"/>
                </a:lnTo>
                <a:lnTo>
                  <a:pt x="268" y="711"/>
                </a:lnTo>
                <a:lnTo>
                  <a:pt x="268" y="716"/>
                </a:lnTo>
                <a:lnTo>
                  <a:pt x="267" y="717"/>
                </a:lnTo>
                <a:lnTo>
                  <a:pt x="268" y="717"/>
                </a:lnTo>
                <a:lnTo>
                  <a:pt x="268" y="718"/>
                </a:lnTo>
                <a:lnTo>
                  <a:pt x="266" y="720"/>
                </a:lnTo>
                <a:lnTo>
                  <a:pt x="267" y="720"/>
                </a:lnTo>
                <a:lnTo>
                  <a:pt x="267" y="722"/>
                </a:lnTo>
                <a:lnTo>
                  <a:pt x="268" y="723"/>
                </a:lnTo>
                <a:lnTo>
                  <a:pt x="265" y="723"/>
                </a:lnTo>
                <a:lnTo>
                  <a:pt x="265" y="726"/>
                </a:lnTo>
                <a:lnTo>
                  <a:pt x="263" y="726"/>
                </a:lnTo>
                <a:lnTo>
                  <a:pt x="263" y="728"/>
                </a:lnTo>
                <a:lnTo>
                  <a:pt x="262" y="729"/>
                </a:lnTo>
                <a:lnTo>
                  <a:pt x="262" y="730"/>
                </a:lnTo>
                <a:lnTo>
                  <a:pt x="263" y="731"/>
                </a:lnTo>
                <a:lnTo>
                  <a:pt x="263" y="734"/>
                </a:lnTo>
                <a:lnTo>
                  <a:pt x="262" y="735"/>
                </a:lnTo>
                <a:lnTo>
                  <a:pt x="262" y="736"/>
                </a:lnTo>
                <a:lnTo>
                  <a:pt x="263" y="736"/>
                </a:lnTo>
                <a:lnTo>
                  <a:pt x="263" y="737"/>
                </a:lnTo>
                <a:lnTo>
                  <a:pt x="262" y="737"/>
                </a:lnTo>
                <a:lnTo>
                  <a:pt x="262" y="740"/>
                </a:lnTo>
                <a:lnTo>
                  <a:pt x="263" y="740"/>
                </a:lnTo>
                <a:lnTo>
                  <a:pt x="266" y="738"/>
                </a:lnTo>
                <a:lnTo>
                  <a:pt x="265" y="740"/>
                </a:lnTo>
                <a:lnTo>
                  <a:pt x="265" y="741"/>
                </a:lnTo>
                <a:lnTo>
                  <a:pt x="263" y="741"/>
                </a:lnTo>
                <a:lnTo>
                  <a:pt x="265" y="742"/>
                </a:lnTo>
                <a:lnTo>
                  <a:pt x="265" y="748"/>
                </a:lnTo>
                <a:lnTo>
                  <a:pt x="267" y="747"/>
                </a:lnTo>
                <a:lnTo>
                  <a:pt x="269" y="747"/>
                </a:lnTo>
                <a:lnTo>
                  <a:pt x="269" y="748"/>
                </a:lnTo>
                <a:lnTo>
                  <a:pt x="271" y="749"/>
                </a:lnTo>
                <a:lnTo>
                  <a:pt x="271" y="750"/>
                </a:lnTo>
                <a:lnTo>
                  <a:pt x="269" y="751"/>
                </a:lnTo>
                <a:lnTo>
                  <a:pt x="269" y="755"/>
                </a:lnTo>
                <a:lnTo>
                  <a:pt x="268" y="756"/>
                </a:lnTo>
                <a:lnTo>
                  <a:pt x="266" y="754"/>
                </a:lnTo>
                <a:lnTo>
                  <a:pt x="265" y="750"/>
                </a:lnTo>
                <a:lnTo>
                  <a:pt x="262" y="748"/>
                </a:lnTo>
                <a:lnTo>
                  <a:pt x="262" y="750"/>
                </a:lnTo>
                <a:lnTo>
                  <a:pt x="263" y="751"/>
                </a:lnTo>
                <a:lnTo>
                  <a:pt x="261" y="751"/>
                </a:lnTo>
                <a:lnTo>
                  <a:pt x="261" y="749"/>
                </a:lnTo>
                <a:lnTo>
                  <a:pt x="260" y="748"/>
                </a:lnTo>
                <a:lnTo>
                  <a:pt x="257" y="747"/>
                </a:lnTo>
                <a:lnTo>
                  <a:pt x="254" y="747"/>
                </a:lnTo>
                <a:lnTo>
                  <a:pt x="255" y="748"/>
                </a:lnTo>
                <a:lnTo>
                  <a:pt x="255" y="749"/>
                </a:lnTo>
                <a:lnTo>
                  <a:pt x="256" y="749"/>
                </a:lnTo>
                <a:lnTo>
                  <a:pt x="260" y="750"/>
                </a:lnTo>
                <a:lnTo>
                  <a:pt x="256" y="754"/>
                </a:lnTo>
                <a:lnTo>
                  <a:pt x="255" y="754"/>
                </a:lnTo>
                <a:lnTo>
                  <a:pt x="256" y="755"/>
                </a:lnTo>
                <a:lnTo>
                  <a:pt x="255" y="755"/>
                </a:lnTo>
                <a:lnTo>
                  <a:pt x="253" y="754"/>
                </a:lnTo>
                <a:lnTo>
                  <a:pt x="253" y="755"/>
                </a:lnTo>
                <a:lnTo>
                  <a:pt x="257" y="756"/>
                </a:lnTo>
                <a:lnTo>
                  <a:pt x="259" y="757"/>
                </a:lnTo>
                <a:lnTo>
                  <a:pt x="257" y="759"/>
                </a:lnTo>
                <a:lnTo>
                  <a:pt x="257" y="757"/>
                </a:lnTo>
                <a:lnTo>
                  <a:pt x="255" y="757"/>
                </a:lnTo>
                <a:lnTo>
                  <a:pt x="255" y="756"/>
                </a:lnTo>
                <a:lnTo>
                  <a:pt x="251" y="757"/>
                </a:lnTo>
                <a:lnTo>
                  <a:pt x="254" y="757"/>
                </a:lnTo>
                <a:lnTo>
                  <a:pt x="254" y="759"/>
                </a:lnTo>
                <a:lnTo>
                  <a:pt x="253" y="760"/>
                </a:lnTo>
                <a:lnTo>
                  <a:pt x="250" y="760"/>
                </a:lnTo>
                <a:lnTo>
                  <a:pt x="251" y="761"/>
                </a:lnTo>
                <a:lnTo>
                  <a:pt x="256" y="762"/>
                </a:lnTo>
                <a:lnTo>
                  <a:pt x="251" y="762"/>
                </a:lnTo>
                <a:lnTo>
                  <a:pt x="251" y="763"/>
                </a:lnTo>
                <a:lnTo>
                  <a:pt x="253" y="763"/>
                </a:lnTo>
                <a:lnTo>
                  <a:pt x="254" y="765"/>
                </a:lnTo>
                <a:lnTo>
                  <a:pt x="255" y="765"/>
                </a:lnTo>
                <a:lnTo>
                  <a:pt x="255" y="766"/>
                </a:lnTo>
                <a:lnTo>
                  <a:pt x="254" y="766"/>
                </a:lnTo>
                <a:lnTo>
                  <a:pt x="256" y="768"/>
                </a:lnTo>
                <a:lnTo>
                  <a:pt x="255" y="769"/>
                </a:lnTo>
                <a:lnTo>
                  <a:pt x="255" y="773"/>
                </a:lnTo>
                <a:lnTo>
                  <a:pt x="256" y="773"/>
                </a:lnTo>
                <a:lnTo>
                  <a:pt x="256" y="774"/>
                </a:lnTo>
                <a:lnTo>
                  <a:pt x="255" y="774"/>
                </a:lnTo>
                <a:lnTo>
                  <a:pt x="254" y="773"/>
                </a:lnTo>
                <a:lnTo>
                  <a:pt x="254" y="774"/>
                </a:lnTo>
                <a:lnTo>
                  <a:pt x="253" y="775"/>
                </a:lnTo>
                <a:lnTo>
                  <a:pt x="253" y="777"/>
                </a:lnTo>
                <a:lnTo>
                  <a:pt x="254" y="779"/>
                </a:lnTo>
                <a:lnTo>
                  <a:pt x="255" y="780"/>
                </a:lnTo>
                <a:lnTo>
                  <a:pt x="256" y="780"/>
                </a:lnTo>
                <a:lnTo>
                  <a:pt x="256" y="781"/>
                </a:lnTo>
                <a:lnTo>
                  <a:pt x="260" y="784"/>
                </a:lnTo>
                <a:lnTo>
                  <a:pt x="257" y="784"/>
                </a:lnTo>
                <a:lnTo>
                  <a:pt x="255" y="783"/>
                </a:lnTo>
                <a:lnTo>
                  <a:pt x="255" y="784"/>
                </a:lnTo>
                <a:lnTo>
                  <a:pt x="256" y="785"/>
                </a:lnTo>
                <a:lnTo>
                  <a:pt x="257" y="785"/>
                </a:lnTo>
                <a:lnTo>
                  <a:pt x="259" y="786"/>
                </a:lnTo>
                <a:lnTo>
                  <a:pt x="256" y="786"/>
                </a:lnTo>
                <a:lnTo>
                  <a:pt x="255" y="785"/>
                </a:lnTo>
                <a:lnTo>
                  <a:pt x="256" y="787"/>
                </a:lnTo>
                <a:lnTo>
                  <a:pt x="256" y="788"/>
                </a:lnTo>
                <a:lnTo>
                  <a:pt x="257" y="791"/>
                </a:lnTo>
                <a:lnTo>
                  <a:pt x="256" y="791"/>
                </a:lnTo>
                <a:lnTo>
                  <a:pt x="255" y="792"/>
                </a:lnTo>
                <a:lnTo>
                  <a:pt x="255" y="793"/>
                </a:lnTo>
                <a:lnTo>
                  <a:pt x="256" y="794"/>
                </a:lnTo>
                <a:lnTo>
                  <a:pt x="256" y="797"/>
                </a:lnTo>
                <a:lnTo>
                  <a:pt x="255" y="797"/>
                </a:lnTo>
                <a:lnTo>
                  <a:pt x="255" y="798"/>
                </a:lnTo>
                <a:lnTo>
                  <a:pt x="256" y="799"/>
                </a:lnTo>
                <a:lnTo>
                  <a:pt x="256" y="800"/>
                </a:lnTo>
                <a:lnTo>
                  <a:pt x="255" y="802"/>
                </a:lnTo>
                <a:lnTo>
                  <a:pt x="256" y="802"/>
                </a:lnTo>
                <a:lnTo>
                  <a:pt x="256" y="804"/>
                </a:lnTo>
                <a:lnTo>
                  <a:pt x="255" y="805"/>
                </a:lnTo>
                <a:lnTo>
                  <a:pt x="255" y="808"/>
                </a:lnTo>
                <a:lnTo>
                  <a:pt x="256" y="808"/>
                </a:lnTo>
                <a:lnTo>
                  <a:pt x="256" y="809"/>
                </a:lnTo>
                <a:lnTo>
                  <a:pt x="255" y="809"/>
                </a:lnTo>
                <a:lnTo>
                  <a:pt x="255" y="810"/>
                </a:lnTo>
                <a:lnTo>
                  <a:pt x="257" y="809"/>
                </a:lnTo>
                <a:lnTo>
                  <a:pt x="259" y="809"/>
                </a:lnTo>
                <a:lnTo>
                  <a:pt x="259" y="810"/>
                </a:lnTo>
                <a:lnTo>
                  <a:pt x="256" y="811"/>
                </a:lnTo>
                <a:lnTo>
                  <a:pt x="255" y="812"/>
                </a:lnTo>
                <a:lnTo>
                  <a:pt x="255" y="816"/>
                </a:lnTo>
                <a:lnTo>
                  <a:pt x="256" y="817"/>
                </a:lnTo>
                <a:lnTo>
                  <a:pt x="257" y="817"/>
                </a:lnTo>
                <a:lnTo>
                  <a:pt x="256" y="818"/>
                </a:lnTo>
                <a:lnTo>
                  <a:pt x="257" y="818"/>
                </a:lnTo>
                <a:lnTo>
                  <a:pt x="257" y="820"/>
                </a:lnTo>
                <a:lnTo>
                  <a:pt x="259" y="820"/>
                </a:lnTo>
                <a:lnTo>
                  <a:pt x="260" y="826"/>
                </a:lnTo>
                <a:lnTo>
                  <a:pt x="259" y="826"/>
                </a:lnTo>
                <a:lnTo>
                  <a:pt x="259" y="827"/>
                </a:lnTo>
                <a:lnTo>
                  <a:pt x="260" y="827"/>
                </a:lnTo>
                <a:lnTo>
                  <a:pt x="260" y="830"/>
                </a:lnTo>
                <a:lnTo>
                  <a:pt x="261" y="830"/>
                </a:lnTo>
                <a:lnTo>
                  <a:pt x="261" y="831"/>
                </a:lnTo>
                <a:lnTo>
                  <a:pt x="262" y="831"/>
                </a:lnTo>
                <a:lnTo>
                  <a:pt x="262" y="833"/>
                </a:lnTo>
                <a:lnTo>
                  <a:pt x="261" y="833"/>
                </a:lnTo>
                <a:lnTo>
                  <a:pt x="256" y="837"/>
                </a:lnTo>
                <a:lnTo>
                  <a:pt x="259" y="837"/>
                </a:lnTo>
                <a:lnTo>
                  <a:pt x="261" y="840"/>
                </a:lnTo>
                <a:lnTo>
                  <a:pt x="263" y="841"/>
                </a:lnTo>
                <a:lnTo>
                  <a:pt x="262" y="842"/>
                </a:lnTo>
                <a:lnTo>
                  <a:pt x="262" y="843"/>
                </a:lnTo>
                <a:lnTo>
                  <a:pt x="265" y="843"/>
                </a:lnTo>
                <a:lnTo>
                  <a:pt x="266" y="842"/>
                </a:lnTo>
                <a:lnTo>
                  <a:pt x="272" y="841"/>
                </a:lnTo>
                <a:lnTo>
                  <a:pt x="273" y="841"/>
                </a:lnTo>
                <a:lnTo>
                  <a:pt x="273" y="842"/>
                </a:lnTo>
                <a:lnTo>
                  <a:pt x="275" y="845"/>
                </a:lnTo>
                <a:lnTo>
                  <a:pt x="276" y="845"/>
                </a:lnTo>
                <a:lnTo>
                  <a:pt x="274" y="847"/>
                </a:lnTo>
                <a:lnTo>
                  <a:pt x="274" y="852"/>
                </a:lnTo>
                <a:lnTo>
                  <a:pt x="276" y="854"/>
                </a:lnTo>
                <a:lnTo>
                  <a:pt x="279" y="854"/>
                </a:lnTo>
                <a:lnTo>
                  <a:pt x="279" y="852"/>
                </a:lnTo>
                <a:lnTo>
                  <a:pt x="280" y="849"/>
                </a:lnTo>
                <a:lnTo>
                  <a:pt x="282" y="847"/>
                </a:lnTo>
                <a:lnTo>
                  <a:pt x="287" y="846"/>
                </a:lnTo>
                <a:lnTo>
                  <a:pt x="288" y="846"/>
                </a:lnTo>
                <a:lnTo>
                  <a:pt x="290" y="847"/>
                </a:lnTo>
                <a:lnTo>
                  <a:pt x="290" y="852"/>
                </a:lnTo>
                <a:lnTo>
                  <a:pt x="288" y="853"/>
                </a:lnTo>
                <a:lnTo>
                  <a:pt x="290" y="853"/>
                </a:lnTo>
                <a:lnTo>
                  <a:pt x="294" y="858"/>
                </a:lnTo>
                <a:lnTo>
                  <a:pt x="294" y="859"/>
                </a:lnTo>
                <a:lnTo>
                  <a:pt x="298" y="863"/>
                </a:lnTo>
                <a:lnTo>
                  <a:pt x="302" y="865"/>
                </a:lnTo>
                <a:lnTo>
                  <a:pt x="300" y="865"/>
                </a:lnTo>
                <a:lnTo>
                  <a:pt x="299" y="866"/>
                </a:lnTo>
                <a:lnTo>
                  <a:pt x="299" y="869"/>
                </a:lnTo>
                <a:lnTo>
                  <a:pt x="302" y="869"/>
                </a:lnTo>
                <a:lnTo>
                  <a:pt x="302" y="867"/>
                </a:lnTo>
                <a:lnTo>
                  <a:pt x="303" y="866"/>
                </a:lnTo>
                <a:lnTo>
                  <a:pt x="304" y="866"/>
                </a:lnTo>
                <a:lnTo>
                  <a:pt x="305" y="867"/>
                </a:lnTo>
                <a:lnTo>
                  <a:pt x="309" y="867"/>
                </a:lnTo>
                <a:lnTo>
                  <a:pt x="309" y="870"/>
                </a:lnTo>
                <a:lnTo>
                  <a:pt x="310" y="871"/>
                </a:lnTo>
                <a:lnTo>
                  <a:pt x="310" y="872"/>
                </a:lnTo>
                <a:lnTo>
                  <a:pt x="309" y="872"/>
                </a:lnTo>
                <a:lnTo>
                  <a:pt x="315" y="874"/>
                </a:lnTo>
                <a:lnTo>
                  <a:pt x="316" y="877"/>
                </a:lnTo>
                <a:lnTo>
                  <a:pt x="315" y="878"/>
                </a:lnTo>
                <a:lnTo>
                  <a:pt x="307" y="874"/>
                </a:lnTo>
                <a:lnTo>
                  <a:pt x="306" y="873"/>
                </a:lnTo>
                <a:lnTo>
                  <a:pt x="304" y="870"/>
                </a:lnTo>
                <a:lnTo>
                  <a:pt x="304" y="872"/>
                </a:lnTo>
                <a:lnTo>
                  <a:pt x="306" y="874"/>
                </a:lnTo>
                <a:lnTo>
                  <a:pt x="309" y="879"/>
                </a:lnTo>
                <a:lnTo>
                  <a:pt x="307" y="878"/>
                </a:lnTo>
                <a:lnTo>
                  <a:pt x="307" y="879"/>
                </a:lnTo>
                <a:lnTo>
                  <a:pt x="312" y="884"/>
                </a:lnTo>
                <a:lnTo>
                  <a:pt x="313" y="883"/>
                </a:lnTo>
                <a:lnTo>
                  <a:pt x="313" y="886"/>
                </a:lnTo>
                <a:lnTo>
                  <a:pt x="315" y="889"/>
                </a:lnTo>
                <a:lnTo>
                  <a:pt x="315" y="890"/>
                </a:lnTo>
                <a:lnTo>
                  <a:pt x="316" y="889"/>
                </a:lnTo>
                <a:lnTo>
                  <a:pt x="316" y="888"/>
                </a:lnTo>
                <a:lnTo>
                  <a:pt x="315" y="886"/>
                </a:lnTo>
                <a:lnTo>
                  <a:pt x="315" y="885"/>
                </a:lnTo>
                <a:lnTo>
                  <a:pt x="316" y="884"/>
                </a:lnTo>
                <a:lnTo>
                  <a:pt x="318" y="884"/>
                </a:lnTo>
                <a:lnTo>
                  <a:pt x="322" y="888"/>
                </a:lnTo>
                <a:lnTo>
                  <a:pt x="322" y="892"/>
                </a:lnTo>
                <a:lnTo>
                  <a:pt x="323" y="894"/>
                </a:lnTo>
                <a:lnTo>
                  <a:pt x="323" y="895"/>
                </a:lnTo>
                <a:lnTo>
                  <a:pt x="324" y="896"/>
                </a:lnTo>
                <a:lnTo>
                  <a:pt x="324" y="895"/>
                </a:lnTo>
                <a:lnTo>
                  <a:pt x="323" y="894"/>
                </a:lnTo>
                <a:lnTo>
                  <a:pt x="323" y="892"/>
                </a:lnTo>
                <a:lnTo>
                  <a:pt x="322" y="890"/>
                </a:lnTo>
                <a:lnTo>
                  <a:pt x="323" y="888"/>
                </a:lnTo>
                <a:lnTo>
                  <a:pt x="324" y="886"/>
                </a:lnTo>
                <a:lnTo>
                  <a:pt x="325" y="886"/>
                </a:lnTo>
                <a:lnTo>
                  <a:pt x="325" y="891"/>
                </a:lnTo>
                <a:lnTo>
                  <a:pt x="327" y="897"/>
                </a:lnTo>
                <a:lnTo>
                  <a:pt x="329" y="901"/>
                </a:lnTo>
                <a:lnTo>
                  <a:pt x="329" y="902"/>
                </a:lnTo>
                <a:lnTo>
                  <a:pt x="331" y="903"/>
                </a:lnTo>
                <a:lnTo>
                  <a:pt x="333" y="903"/>
                </a:lnTo>
                <a:lnTo>
                  <a:pt x="333" y="906"/>
                </a:lnTo>
                <a:lnTo>
                  <a:pt x="334" y="907"/>
                </a:lnTo>
                <a:lnTo>
                  <a:pt x="335" y="907"/>
                </a:lnTo>
                <a:lnTo>
                  <a:pt x="335" y="910"/>
                </a:lnTo>
                <a:lnTo>
                  <a:pt x="334" y="910"/>
                </a:lnTo>
                <a:lnTo>
                  <a:pt x="330" y="906"/>
                </a:lnTo>
                <a:lnTo>
                  <a:pt x="329" y="903"/>
                </a:lnTo>
                <a:lnTo>
                  <a:pt x="328" y="903"/>
                </a:lnTo>
                <a:lnTo>
                  <a:pt x="328" y="904"/>
                </a:lnTo>
                <a:lnTo>
                  <a:pt x="330" y="907"/>
                </a:lnTo>
                <a:lnTo>
                  <a:pt x="330" y="908"/>
                </a:lnTo>
                <a:lnTo>
                  <a:pt x="329" y="909"/>
                </a:lnTo>
                <a:lnTo>
                  <a:pt x="327" y="914"/>
                </a:lnTo>
                <a:lnTo>
                  <a:pt x="322" y="914"/>
                </a:lnTo>
                <a:lnTo>
                  <a:pt x="322" y="916"/>
                </a:lnTo>
                <a:lnTo>
                  <a:pt x="324" y="915"/>
                </a:lnTo>
                <a:lnTo>
                  <a:pt x="328" y="915"/>
                </a:lnTo>
                <a:lnTo>
                  <a:pt x="328" y="913"/>
                </a:lnTo>
                <a:lnTo>
                  <a:pt x="330" y="909"/>
                </a:lnTo>
                <a:lnTo>
                  <a:pt x="331" y="908"/>
                </a:lnTo>
                <a:lnTo>
                  <a:pt x="331" y="909"/>
                </a:lnTo>
                <a:lnTo>
                  <a:pt x="333" y="909"/>
                </a:lnTo>
                <a:lnTo>
                  <a:pt x="333" y="915"/>
                </a:lnTo>
                <a:lnTo>
                  <a:pt x="335" y="915"/>
                </a:lnTo>
                <a:lnTo>
                  <a:pt x="336" y="916"/>
                </a:lnTo>
                <a:lnTo>
                  <a:pt x="336" y="917"/>
                </a:lnTo>
                <a:lnTo>
                  <a:pt x="334" y="920"/>
                </a:lnTo>
                <a:lnTo>
                  <a:pt x="331" y="921"/>
                </a:lnTo>
                <a:lnTo>
                  <a:pt x="331" y="920"/>
                </a:lnTo>
                <a:lnTo>
                  <a:pt x="330" y="920"/>
                </a:lnTo>
                <a:lnTo>
                  <a:pt x="329" y="919"/>
                </a:lnTo>
                <a:lnTo>
                  <a:pt x="327" y="921"/>
                </a:lnTo>
                <a:lnTo>
                  <a:pt x="323" y="922"/>
                </a:lnTo>
                <a:lnTo>
                  <a:pt x="322" y="922"/>
                </a:lnTo>
                <a:lnTo>
                  <a:pt x="322" y="923"/>
                </a:lnTo>
                <a:lnTo>
                  <a:pt x="321" y="925"/>
                </a:lnTo>
                <a:lnTo>
                  <a:pt x="321" y="926"/>
                </a:lnTo>
                <a:lnTo>
                  <a:pt x="322" y="926"/>
                </a:lnTo>
                <a:lnTo>
                  <a:pt x="322" y="927"/>
                </a:lnTo>
                <a:lnTo>
                  <a:pt x="321" y="928"/>
                </a:lnTo>
                <a:lnTo>
                  <a:pt x="319" y="928"/>
                </a:lnTo>
                <a:lnTo>
                  <a:pt x="318" y="927"/>
                </a:lnTo>
                <a:lnTo>
                  <a:pt x="319" y="929"/>
                </a:lnTo>
                <a:lnTo>
                  <a:pt x="319" y="931"/>
                </a:lnTo>
                <a:lnTo>
                  <a:pt x="318" y="931"/>
                </a:lnTo>
                <a:lnTo>
                  <a:pt x="313" y="935"/>
                </a:lnTo>
                <a:lnTo>
                  <a:pt x="311" y="935"/>
                </a:lnTo>
                <a:lnTo>
                  <a:pt x="305" y="941"/>
                </a:lnTo>
                <a:lnTo>
                  <a:pt x="302" y="940"/>
                </a:lnTo>
                <a:lnTo>
                  <a:pt x="302" y="941"/>
                </a:lnTo>
                <a:lnTo>
                  <a:pt x="303" y="943"/>
                </a:lnTo>
                <a:lnTo>
                  <a:pt x="300" y="943"/>
                </a:lnTo>
                <a:lnTo>
                  <a:pt x="302" y="944"/>
                </a:lnTo>
                <a:lnTo>
                  <a:pt x="303" y="944"/>
                </a:lnTo>
                <a:lnTo>
                  <a:pt x="302" y="945"/>
                </a:lnTo>
                <a:lnTo>
                  <a:pt x="303" y="946"/>
                </a:lnTo>
                <a:lnTo>
                  <a:pt x="305" y="946"/>
                </a:lnTo>
                <a:lnTo>
                  <a:pt x="304" y="947"/>
                </a:lnTo>
                <a:lnTo>
                  <a:pt x="300" y="947"/>
                </a:lnTo>
                <a:lnTo>
                  <a:pt x="298" y="946"/>
                </a:lnTo>
                <a:lnTo>
                  <a:pt x="297" y="945"/>
                </a:lnTo>
                <a:lnTo>
                  <a:pt x="299" y="945"/>
                </a:lnTo>
                <a:lnTo>
                  <a:pt x="299" y="943"/>
                </a:lnTo>
                <a:lnTo>
                  <a:pt x="297" y="943"/>
                </a:lnTo>
                <a:lnTo>
                  <a:pt x="297" y="944"/>
                </a:lnTo>
                <a:lnTo>
                  <a:pt x="296" y="943"/>
                </a:lnTo>
                <a:lnTo>
                  <a:pt x="294" y="944"/>
                </a:lnTo>
                <a:lnTo>
                  <a:pt x="294" y="946"/>
                </a:lnTo>
                <a:lnTo>
                  <a:pt x="293" y="947"/>
                </a:lnTo>
                <a:lnTo>
                  <a:pt x="292" y="947"/>
                </a:lnTo>
                <a:lnTo>
                  <a:pt x="291" y="946"/>
                </a:lnTo>
                <a:lnTo>
                  <a:pt x="297" y="952"/>
                </a:lnTo>
                <a:lnTo>
                  <a:pt x="294" y="952"/>
                </a:lnTo>
                <a:lnTo>
                  <a:pt x="294" y="953"/>
                </a:lnTo>
                <a:lnTo>
                  <a:pt x="298" y="953"/>
                </a:lnTo>
                <a:lnTo>
                  <a:pt x="299" y="952"/>
                </a:lnTo>
                <a:lnTo>
                  <a:pt x="299" y="953"/>
                </a:lnTo>
                <a:lnTo>
                  <a:pt x="302" y="950"/>
                </a:lnTo>
                <a:lnTo>
                  <a:pt x="304" y="949"/>
                </a:lnTo>
                <a:lnTo>
                  <a:pt x="309" y="951"/>
                </a:lnTo>
                <a:lnTo>
                  <a:pt x="309" y="952"/>
                </a:lnTo>
                <a:lnTo>
                  <a:pt x="310" y="952"/>
                </a:lnTo>
                <a:lnTo>
                  <a:pt x="311" y="951"/>
                </a:lnTo>
                <a:lnTo>
                  <a:pt x="310" y="949"/>
                </a:lnTo>
                <a:lnTo>
                  <a:pt x="309" y="947"/>
                </a:lnTo>
                <a:lnTo>
                  <a:pt x="311" y="947"/>
                </a:lnTo>
                <a:lnTo>
                  <a:pt x="309" y="945"/>
                </a:lnTo>
                <a:lnTo>
                  <a:pt x="309" y="944"/>
                </a:lnTo>
                <a:lnTo>
                  <a:pt x="311" y="944"/>
                </a:lnTo>
                <a:lnTo>
                  <a:pt x="313" y="946"/>
                </a:lnTo>
                <a:lnTo>
                  <a:pt x="313" y="947"/>
                </a:lnTo>
                <a:lnTo>
                  <a:pt x="316" y="949"/>
                </a:lnTo>
                <a:lnTo>
                  <a:pt x="316" y="950"/>
                </a:lnTo>
                <a:lnTo>
                  <a:pt x="315" y="950"/>
                </a:lnTo>
                <a:lnTo>
                  <a:pt x="316" y="951"/>
                </a:lnTo>
                <a:lnTo>
                  <a:pt x="317" y="951"/>
                </a:lnTo>
                <a:lnTo>
                  <a:pt x="318" y="953"/>
                </a:lnTo>
                <a:lnTo>
                  <a:pt x="317" y="954"/>
                </a:lnTo>
                <a:lnTo>
                  <a:pt x="313" y="954"/>
                </a:lnTo>
                <a:lnTo>
                  <a:pt x="313" y="956"/>
                </a:lnTo>
                <a:lnTo>
                  <a:pt x="312" y="956"/>
                </a:lnTo>
                <a:lnTo>
                  <a:pt x="311" y="954"/>
                </a:lnTo>
                <a:lnTo>
                  <a:pt x="305" y="954"/>
                </a:lnTo>
                <a:lnTo>
                  <a:pt x="305" y="952"/>
                </a:lnTo>
                <a:lnTo>
                  <a:pt x="304" y="952"/>
                </a:lnTo>
                <a:lnTo>
                  <a:pt x="304" y="953"/>
                </a:lnTo>
                <a:lnTo>
                  <a:pt x="303" y="953"/>
                </a:lnTo>
                <a:lnTo>
                  <a:pt x="302" y="954"/>
                </a:lnTo>
                <a:lnTo>
                  <a:pt x="303" y="954"/>
                </a:lnTo>
                <a:lnTo>
                  <a:pt x="303" y="956"/>
                </a:lnTo>
                <a:lnTo>
                  <a:pt x="304" y="956"/>
                </a:lnTo>
                <a:lnTo>
                  <a:pt x="304" y="957"/>
                </a:lnTo>
                <a:lnTo>
                  <a:pt x="302" y="957"/>
                </a:lnTo>
                <a:lnTo>
                  <a:pt x="305" y="960"/>
                </a:lnTo>
                <a:lnTo>
                  <a:pt x="304" y="960"/>
                </a:lnTo>
                <a:lnTo>
                  <a:pt x="304" y="963"/>
                </a:lnTo>
                <a:lnTo>
                  <a:pt x="306" y="963"/>
                </a:lnTo>
                <a:lnTo>
                  <a:pt x="306" y="965"/>
                </a:lnTo>
                <a:lnTo>
                  <a:pt x="307" y="964"/>
                </a:lnTo>
                <a:lnTo>
                  <a:pt x="307" y="965"/>
                </a:lnTo>
                <a:lnTo>
                  <a:pt x="309" y="965"/>
                </a:lnTo>
                <a:lnTo>
                  <a:pt x="309" y="968"/>
                </a:lnTo>
                <a:lnTo>
                  <a:pt x="307" y="969"/>
                </a:lnTo>
                <a:lnTo>
                  <a:pt x="307" y="968"/>
                </a:lnTo>
                <a:lnTo>
                  <a:pt x="306" y="968"/>
                </a:lnTo>
                <a:lnTo>
                  <a:pt x="305" y="969"/>
                </a:lnTo>
                <a:lnTo>
                  <a:pt x="304" y="969"/>
                </a:lnTo>
                <a:lnTo>
                  <a:pt x="303" y="970"/>
                </a:lnTo>
                <a:lnTo>
                  <a:pt x="304" y="970"/>
                </a:lnTo>
                <a:lnTo>
                  <a:pt x="304" y="971"/>
                </a:lnTo>
                <a:lnTo>
                  <a:pt x="300" y="974"/>
                </a:lnTo>
                <a:lnTo>
                  <a:pt x="299" y="974"/>
                </a:lnTo>
                <a:lnTo>
                  <a:pt x="299" y="972"/>
                </a:lnTo>
                <a:lnTo>
                  <a:pt x="300" y="972"/>
                </a:lnTo>
                <a:lnTo>
                  <a:pt x="302" y="971"/>
                </a:lnTo>
                <a:lnTo>
                  <a:pt x="302" y="970"/>
                </a:lnTo>
                <a:lnTo>
                  <a:pt x="300" y="970"/>
                </a:lnTo>
                <a:lnTo>
                  <a:pt x="298" y="972"/>
                </a:lnTo>
                <a:lnTo>
                  <a:pt x="296" y="972"/>
                </a:lnTo>
                <a:lnTo>
                  <a:pt x="294" y="975"/>
                </a:lnTo>
                <a:lnTo>
                  <a:pt x="292" y="975"/>
                </a:lnTo>
                <a:lnTo>
                  <a:pt x="292" y="976"/>
                </a:lnTo>
                <a:lnTo>
                  <a:pt x="291" y="976"/>
                </a:lnTo>
                <a:lnTo>
                  <a:pt x="291" y="980"/>
                </a:lnTo>
                <a:lnTo>
                  <a:pt x="290" y="981"/>
                </a:lnTo>
                <a:lnTo>
                  <a:pt x="288" y="983"/>
                </a:lnTo>
                <a:lnTo>
                  <a:pt x="288" y="984"/>
                </a:lnTo>
                <a:lnTo>
                  <a:pt x="290" y="984"/>
                </a:lnTo>
                <a:lnTo>
                  <a:pt x="290" y="986"/>
                </a:lnTo>
                <a:lnTo>
                  <a:pt x="287" y="988"/>
                </a:lnTo>
                <a:lnTo>
                  <a:pt x="286" y="987"/>
                </a:lnTo>
                <a:lnTo>
                  <a:pt x="286" y="992"/>
                </a:lnTo>
                <a:lnTo>
                  <a:pt x="285" y="990"/>
                </a:lnTo>
                <a:lnTo>
                  <a:pt x="285" y="987"/>
                </a:lnTo>
                <a:lnTo>
                  <a:pt x="284" y="987"/>
                </a:lnTo>
                <a:lnTo>
                  <a:pt x="281" y="984"/>
                </a:lnTo>
                <a:lnTo>
                  <a:pt x="281" y="986"/>
                </a:lnTo>
                <a:lnTo>
                  <a:pt x="282" y="988"/>
                </a:lnTo>
                <a:lnTo>
                  <a:pt x="281" y="989"/>
                </a:lnTo>
                <a:lnTo>
                  <a:pt x="281" y="987"/>
                </a:lnTo>
                <a:lnTo>
                  <a:pt x="280" y="987"/>
                </a:lnTo>
                <a:lnTo>
                  <a:pt x="280" y="983"/>
                </a:lnTo>
                <a:lnTo>
                  <a:pt x="279" y="981"/>
                </a:lnTo>
                <a:lnTo>
                  <a:pt x="280" y="980"/>
                </a:lnTo>
                <a:lnTo>
                  <a:pt x="280" y="970"/>
                </a:lnTo>
                <a:lnTo>
                  <a:pt x="279" y="970"/>
                </a:lnTo>
                <a:lnTo>
                  <a:pt x="279" y="975"/>
                </a:lnTo>
                <a:lnTo>
                  <a:pt x="278" y="976"/>
                </a:lnTo>
                <a:lnTo>
                  <a:pt x="278" y="975"/>
                </a:lnTo>
                <a:lnTo>
                  <a:pt x="276" y="974"/>
                </a:lnTo>
                <a:lnTo>
                  <a:pt x="276" y="972"/>
                </a:lnTo>
                <a:lnTo>
                  <a:pt x="278" y="970"/>
                </a:lnTo>
                <a:lnTo>
                  <a:pt x="278" y="969"/>
                </a:lnTo>
                <a:lnTo>
                  <a:pt x="276" y="968"/>
                </a:lnTo>
                <a:lnTo>
                  <a:pt x="276" y="970"/>
                </a:lnTo>
                <a:lnTo>
                  <a:pt x="275" y="971"/>
                </a:lnTo>
                <a:lnTo>
                  <a:pt x="275" y="972"/>
                </a:lnTo>
                <a:lnTo>
                  <a:pt x="274" y="972"/>
                </a:lnTo>
                <a:lnTo>
                  <a:pt x="274" y="977"/>
                </a:lnTo>
                <a:lnTo>
                  <a:pt x="275" y="978"/>
                </a:lnTo>
                <a:lnTo>
                  <a:pt x="274" y="980"/>
                </a:lnTo>
                <a:lnTo>
                  <a:pt x="274" y="982"/>
                </a:lnTo>
                <a:lnTo>
                  <a:pt x="275" y="981"/>
                </a:lnTo>
                <a:lnTo>
                  <a:pt x="275" y="974"/>
                </a:lnTo>
                <a:lnTo>
                  <a:pt x="276" y="974"/>
                </a:lnTo>
                <a:lnTo>
                  <a:pt x="276" y="975"/>
                </a:lnTo>
                <a:lnTo>
                  <a:pt x="278" y="976"/>
                </a:lnTo>
                <a:lnTo>
                  <a:pt x="278" y="987"/>
                </a:lnTo>
                <a:lnTo>
                  <a:pt x="275" y="987"/>
                </a:lnTo>
                <a:lnTo>
                  <a:pt x="275" y="983"/>
                </a:lnTo>
                <a:lnTo>
                  <a:pt x="274" y="983"/>
                </a:lnTo>
                <a:lnTo>
                  <a:pt x="273" y="982"/>
                </a:lnTo>
                <a:lnTo>
                  <a:pt x="273" y="984"/>
                </a:lnTo>
                <a:lnTo>
                  <a:pt x="274" y="984"/>
                </a:lnTo>
                <a:lnTo>
                  <a:pt x="274" y="988"/>
                </a:lnTo>
                <a:lnTo>
                  <a:pt x="273" y="989"/>
                </a:lnTo>
                <a:lnTo>
                  <a:pt x="272" y="988"/>
                </a:lnTo>
                <a:lnTo>
                  <a:pt x="271" y="988"/>
                </a:lnTo>
                <a:lnTo>
                  <a:pt x="272" y="989"/>
                </a:lnTo>
                <a:lnTo>
                  <a:pt x="272" y="990"/>
                </a:lnTo>
                <a:lnTo>
                  <a:pt x="273" y="990"/>
                </a:lnTo>
                <a:lnTo>
                  <a:pt x="273" y="992"/>
                </a:lnTo>
                <a:lnTo>
                  <a:pt x="272" y="992"/>
                </a:lnTo>
                <a:lnTo>
                  <a:pt x="268" y="989"/>
                </a:lnTo>
                <a:lnTo>
                  <a:pt x="268" y="993"/>
                </a:lnTo>
                <a:lnTo>
                  <a:pt x="267" y="994"/>
                </a:lnTo>
                <a:lnTo>
                  <a:pt x="267" y="995"/>
                </a:lnTo>
                <a:lnTo>
                  <a:pt x="268" y="995"/>
                </a:lnTo>
                <a:lnTo>
                  <a:pt x="269" y="996"/>
                </a:lnTo>
                <a:lnTo>
                  <a:pt x="268" y="997"/>
                </a:lnTo>
                <a:lnTo>
                  <a:pt x="262" y="996"/>
                </a:lnTo>
                <a:lnTo>
                  <a:pt x="265" y="999"/>
                </a:lnTo>
                <a:lnTo>
                  <a:pt x="263" y="1000"/>
                </a:lnTo>
                <a:lnTo>
                  <a:pt x="261" y="1000"/>
                </a:lnTo>
                <a:lnTo>
                  <a:pt x="260" y="1001"/>
                </a:lnTo>
                <a:lnTo>
                  <a:pt x="260" y="1002"/>
                </a:lnTo>
                <a:lnTo>
                  <a:pt x="255" y="1002"/>
                </a:lnTo>
                <a:lnTo>
                  <a:pt x="251" y="999"/>
                </a:lnTo>
                <a:lnTo>
                  <a:pt x="251" y="1000"/>
                </a:lnTo>
                <a:lnTo>
                  <a:pt x="249" y="1000"/>
                </a:lnTo>
                <a:lnTo>
                  <a:pt x="250" y="1001"/>
                </a:lnTo>
                <a:lnTo>
                  <a:pt x="251" y="1001"/>
                </a:lnTo>
                <a:lnTo>
                  <a:pt x="251" y="1003"/>
                </a:lnTo>
                <a:lnTo>
                  <a:pt x="250" y="1003"/>
                </a:lnTo>
                <a:lnTo>
                  <a:pt x="251" y="1005"/>
                </a:lnTo>
                <a:lnTo>
                  <a:pt x="254" y="1003"/>
                </a:lnTo>
                <a:lnTo>
                  <a:pt x="254" y="1006"/>
                </a:lnTo>
                <a:lnTo>
                  <a:pt x="253" y="1007"/>
                </a:lnTo>
                <a:lnTo>
                  <a:pt x="253" y="1008"/>
                </a:lnTo>
                <a:lnTo>
                  <a:pt x="251" y="1007"/>
                </a:lnTo>
                <a:lnTo>
                  <a:pt x="249" y="1006"/>
                </a:lnTo>
                <a:lnTo>
                  <a:pt x="247" y="1006"/>
                </a:lnTo>
                <a:lnTo>
                  <a:pt x="247" y="1007"/>
                </a:lnTo>
                <a:lnTo>
                  <a:pt x="248" y="1007"/>
                </a:lnTo>
                <a:lnTo>
                  <a:pt x="250" y="1009"/>
                </a:lnTo>
                <a:lnTo>
                  <a:pt x="249" y="1009"/>
                </a:lnTo>
                <a:lnTo>
                  <a:pt x="245" y="1011"/>
                </a:lnTo>
                <a:lnTo>
                  <a:pt x="230" y="1008"/>
                </a:lnTo>
                <a:lnTo>
                  <a:pt x="216" y="1007"/>
                </a:lnTo>
                <a:lnTo>
                  <a:pt x="217" y="1008"/>
                </a:lnTo>
                <a:lnTo>
                  <a:pt x="217" y="1009"/>
                </a:lnTo>
                <a:lnTo>
                  <a:pt x="213" y="1009"/>
                </a:lnTo>
                <a:lnTo>
                  <a:pt x="213" y="1011"/>
                </a:lnTo>
                <a:lnTo>
                  <a:pt x="215" y="1009"/>
                </a:lnTo>
                <a:lnTo>
                  <a:pt x="215" y="1011"/>
                </a:lnTo>
                <a:lnTo>
                  <a:pt x="216" y="1011"/>
                </a:lnTo>
                <a:lnTo>
                  <a:pt x="218" y="1012"/>
                </a:lnTo>
                <a:lnTo>
                  <a:pt x="219" y="1011"/>
                </a:lnTo>
                <a:lnTo>
                  <a:pt x="219" y="1009"/>
                </a:lnTo>
                <a:lnTo>
                  <a:pt x="220" y="1009"/>
                </a:lnTo>
                <a:lnTo>
                  <a:pt x="222" y="1011"/>
                </a:lnTo>
                <a:lnTo>
                  <a:pt x="222" y="1013"/>
                </a:lnTo>
                <a:lnTo>
                  <a:pt x="223" y="1013"/>
                </a:lnTo>
                <a:lnTo>
                  <a:pt x="224" y="1012"/>
                </a:lnTo>
                <a:lnTo>
                  <a:pt x="224" y="1008"/>
                </a:lnTo>
                <a:lnTo>
                  <a:pt x="225" y="1009"/>
                </a:lnTo>
                <a:lnTo>
                  <a:pt x="228" y="1011"/>
                </a:lnTo>
                <a:lnTo>
                  <a:pt x="234" y="1011"/>
                </a:lnTo>
                <a:lnTo>
                  <a:pt x="235" y="1012"/>
                </a:lnTo>
                <a:lnTo>
                  <a:pt x="240" y="1012"/>
                </a:lnTo>
                <a:lnTo>
                  <a:pt x="238" y="1013"/>
                </a:lnTo>
                <a:lnTo>
                  <a:pt x="240" y="1014"/>
                </a:lnTo>
                <a:lnTo>
                  <a:pt x="240" y="1015"/>
                </a:lnTo>
                <a:lnTo>
                  <a:pt x="241" y="1015"/>
                </a:lnTo>
                <a:lnTo>
                  <a:pt x="241" y="1017"/>
                </a:lnTo>
                <a:lnTo>
                  <a:pt x="242" y="1017"/>
                </a:lnTo>
                <a:lnTo>
                  <a:pt x="242" y="1018"/>
                </a:lnTo>
                <a:lnTo>
                  <a:pt x="241" y="1018"/>
                </a:lnTo>
                <a:lnTo>
                  <a:pt x="242" y="1019"/>
                </a:lnTo>
                <a:lnTo>
                  <a:pt x="243" y="1019"/>
                </a:lnTo>
                <a:lnTo>
                  <a:pt x="245" y="1021"/>
                </a:lnTo>
                <a:lnTo>
                  <a:pt x="244" y="1023"/>
                </a:lnTo>
                <a:lnTo>
                  <a:pt x="242" y="1023"/>
                </a:lnTo>
                <a:lnTo>
                  <a:pt x="242" y="1024"/>
                </a:lnTo>
                <a:lnTo>
                  <a:pt x="241" y="1025"/>
                </a:lnTo>
                <a:lnTo>
                  <a:pt x="238" y="1025"/>
                </a:lnTo>
                <a:lnTo>
                  <a:pt x="238" y="1026"/>
                </a:lnTo>
                <a:lnTo>
                  <a:pt x="236" y="1026"/>
                </a:lnTo>
                <a:lnTo>
                  <a:pt x="231" y="1025"/>
                </a:lnTo>
                <a:lnTo>
                  <a:pt x="224" y="1021"/>
                </a:lnTo>
                <a:lnTo>
                  <a:pt x="223" y="1023"/>
                </a:lnTo>
                <a:lnTo>
                  <a:pt x="225" y="1023"/>
                </a:lnTo>
                <a:lnTo>
                  <a:pt x="234" y="1027"/>
                </a:lnTo>
                <a:lnTo>
                  <a:pt x="235" y="1027"/>
                </a:lnTo>
                <a:lnTo>
                  <a:pt x="236" y="1029"/>
                </a:lnTo>
                <a:lnTo>
                  <a:pt x="236" y="1032"/>
                </a:lnTo>
                <a:lnTo>
                  <a:pt x="237" y="1032"/>
                </a:lnTo>
                <a:lnTo>
                  <a:pt x="237" y="1031"/>
                </a:lnTo>
                <a:lnTo>
                  <a:pt x="238" y="1031"/>
                </a:lnTo>
                <a:lnTo>
                  <a:pt x="238" y="1033"/>
                </a:lnTo>
                <a:lnTo>
                  <a:pt x="232" y="1032"/>
                </a:lnTo>
                <a:lnTo>
                  <a:pt x="236" y="1036"/>
                </a:lnTo>
                <a:lnTo>
                  <a:pt x="235" y="1036"/>
                </a:lnTo>
                <a:lnTo>
                  <a:pt x="236" y="1037"/>
                </a:lnTo>
                <a:lnTo>
                  <a:pt x="237" y="1037"/>
                </a:lnTo>
                <a:lnTo>
                  <a:pt x="237" y="1036"/>
                </a:lnTo>
                <a:lnTo>
                  <a:pt x="236" y="1036"/>
                </a:lnTo>
                <a:lnTo>
                  <a:pt x="238" y="1035"/>
                </a:lnTo>
                <a:lnTo>
                  <a:pt x="240" y="1035"/>
                </a:lnTo>
                <a:lnTo>
                  <a:pt x="240" y="1037"/>
                </a:lnTo>
                <a:lnTo>
                  <a:pt x="238" y="1037"/>
                </a:lnTo>
                <a:lnTo>
                  <a:pt x="238" y="1038"/>
                </a:lnTo>
                <a:lnTo>
                  <a:pt x="236" y="1038"/>
                </a:lnTo>
                <a:lnTo>
                  <a:pt x="236" y="1039"/>
                </a:lnTo>
                <a:lnTo>
                  <a:pt x="237" y="1039"/>
                </a:lnTo>
                <a:lnTo>
                  <a:pt x="240" y="1042"/>
                </a:lnTo>
                <a:lnTo>
                  <a:pt x="240" y="1043"/>
                </a:lnTo>
                <a:lnTo>
                  <a:pt x="241" y="1043"/>
                </a:lnTo>
                <a:lnTo>
                  <a:pt x="241" y="1046"/>
                </a:lnTo>
                <a:lnTo>
                  <a:pt x="240" y="1046"/>
                </a:lnTo>
                <a:lnTo>
                  <a:pt x="240" y="1048"/>
                </a:lnTo>
                <a:lnTo>
                  <a:pt x="241" y="1048"/>
                </a:lnTo>
                <a:lnTo>
                  <a:pt x="238" y="1050"/>
                </a:lnTo>
                <a:lnTo>
                  <a:pt x="236" y="1049"/>
                </a:lnTo>
                <a:lnTo>
                  <a:pt x="234" y="1046"/>
                </a:lnTo>
                <a:lnTo>
                  <a:pt x="232" y="1044"/>
                </a:lnTo>
                <a:lnTo>
                  <a:pt x="232" y="1046"/>
                </a:lnTo>
                <a:lnTo>
                  <a:pt x="235" y="1048"/>
                </a:lnTo>
                <a:lnTo>
                  <a:pt x="235" y="1049"/>
                </a:lnTo>
                <a:lnTo>
                  <a:pt x="234" y="1049"/>
                </a:lnTo>
                <a:lnTo>
                  <a:pt x="235" y="1050"/>
                </a:lnTo>
                <a:lnTo>
                  <a:pt x="236" y="1052"/>
                </a:lnTo>
                <a:lnTo>
                  <a:pt x="237" y="1054"/>
                </a:lnTo>
                <a:lnTo>
                  <a:pt x="236" y="1055"/>
                </a:lnTo>
                <a:lnTo>
                  <a:pt x="236" y="1056"/>
                </a:lnTo>
                <a:lnTo>
                  <a:pt x="235" y="1056"/>
                </a:lnTo>
                <a:lnTo>
                  <a:pt x="236" y="1057"/>
                </a:lnTo>
                <a:lnTo>
                  <a:pt x="237" y="1057"/>
                </a:lnTo>
                <a:lnTo>
                  <a:pt x="238" y="1058"/>
                </a:lnTo>
                <a:lnTo>
                  <a:pt x="237" y="1060"/>
                </a:lnTo>
                <a:lnTo>
                  <a:pt x="236" y="1058"/>
                </a:lnTo>
                <a:lnTo>
                  <a:pt x="235" y="1060"/>
                </a:lnTo>
                <a:lnTo>
                  <a:pt x="236" y="1061"/>
                </a:lnTo>
                <a:lnTo>
                  <a:pt x="235" y="1061"/>
                </a:lnTo>
                <a:lnTo>
                  <a:pt x="234" y="1058"/>
                </a:lnTo>
                <a:lnTo>
                  <a:pt x="234" y="1057"/>
                </a:lnTo>
                <a:lnTo>
                  <a:pt x="232" y="1058"/>
                </a:lnTo>
                <a:lnTo>
                  <a:pt x="232" y="1060"/>
                </a:lnTo>
                <a:lnTo>
                  <a:pt x="234" y="1062"/>
                </a:lnTo>
                <a:lnTo>
                  <a:pt x="235" y="1062"/>
                </a:lnTo>
                <a:lnTo>
                  <a:pt x="236" y="1063"/>
                </a:lnTo>
                <a:lnTo>
                  <a:pt x="237" y="1063"/>
                </a:lnTo>
                <a:lnTo>
                  <a:pt x="237" y="1066"/>
                </a:lnTo>
                <a:lnTo>
                  <a:pt x="240" y="1068"/>
                </a:lnTo>
                <a:lnTo>
                  <a:pt x="238" y="1068"/>
                </a:lnTo>
                <a:lnTo>
                  <a:pt x="237" y="1067"/>
                </a:lnTo>
                <a:lnTo>
                  <a:pt x="237" y="1068"/>
                </a:lnTo>
                <a:lnTo>
                  <a:pt x="238" y="1069"/>
                </a:lnTo>
                <a:lnTo>
                  <a:pt x="238" y="1070"/>
                </a:lnTo>
                <a:lnTo>
                  <a:pt x="236" y="1070"/>
                </a:lnTo>
                <a:lnTo>
                  <a:pt x="236" y="1069"/>
                </a:lnTo>
                <a:lnTo>
                  <a:pt x="235" y="1068"/>
                </a:lnTo>
                <a:lnTo>
                  <a:pt x="235" y="1069"/>
                </a:lnTo>
                <a:lnTo>
                  <a:pt x="231" y="1069"/>
                </a:lnTo>
                <a:lnTo>
                  <a:pt x="232" y="1068"/>
                </a:lnTo>
                <a:lnTo>
                  <a:pt x="231" y="1067"/>
                </a:lnTo>
                <a:lnTo>
                  <a:pt x="234" y="1067"/>
                </a:lnTo>
                <a:lnTo>
                  <a:pt x="228" y="1061"/>
                </a:lnTo>
                <a:lnTo>
                  <a:pt x="226" y="1061"/>
                </a:lnTo>
                <a:lnTo>
                  <a:pt x="226" y="1063"/>
                </a:lnTo>
                <a:lnTo>
                  <a:pt x="228" y="1063"/>
                </a:lnTo>
                <a:lnTo>
                  <a:pt x="229" y="1064"/>
                </a:lnTo>
                <a:lnTo>
                  <a:pt x="231" y="1066"/>
                </a:lnTo>
                <a:lnTo>
                  <a:pt x="230" y="1067"/>
                </a:lnTo>
                <a:lnTo>
                  <a:pt x="230" y="1069"/>
                </a:lnTo>
                <a:lnTo>
                  <a:pt x="229" y="1069"/>
                </a:lnTo>
                <a:lnTo>
                  <a:pt x="228" y="1068"/>
                </a:lnTo>
                <a:lnTo>
                  <a:pt x="226" y="1068"/>
                </a:lnTo>
                <a:lnTo>
                  <a:pt x="226" y="1069"/>
                </a:lnTo>
                <a:lnTo>
                  <a:pt x="225" y="1069"/>
                </a:lnTo>
                <a:lnTo>
                  <a:pt x="235" y="1080"/>
                </a:lnTo>
                <a:lnTo>
                  <a:pt x="236" y="1081"/>
                </a:lnTo>
                <a:lnTo>
                  <a:pt x="235" y="1081"/>
                </a:lnTo>
                <a:lnTo>
                  <a:pt x="232" y="1080"/>
                </a:lnTo>
                <a:lnTo>
                  <a:pt x="232" y="1079"/>
                </a:lnTo>
                <a:lnTo>
                  <a:pt x="229" y="1074"/>
                </a:lnTo>
                <a:lnTo>
                  <a:pt x="224" y="1069"/>
                </a:lnTo>
                <a:lnTo>
                  <a:pt x="224" y="1072"/>
                </a:lnTo>
                <a:lnTo>
                  <a:pt x="226" y="1073"/>
                </a:lnTo>
                <a:lnTo>
                  <a:pt x="229" y="1075"/>
                </a:lnTo>
                <a:lnTo>
                  <a:pt x="230" y="1078"/>
                </a:lnTo>
                <a:lnTo>
                  <a:pt x="234" y="1081"/>
                </a:lnTo>
                <a:lnTo>
                  <a:pt x="234" y="1082"/>
                </a:lnTo>
                <a:lnTo>
                  <a:pt x="235" y="1082"/>
                </a:lnTo>
                <a:lnTo>
                  <a:pt x="236" y="1083"/>
                </a:lnTo>
                <a:lnTo>
                  <a:pt x="236" y="1086"/>
                </a:lnTo>
                <a:lnTo>
                  <a:pt x="232" y="1085"/>
                </a:lnTo>
                <a:lnTo>
                  <a:pt x="231" y="1085"/>
                </a:lnTo>
                <a:lnTo>
                  <a:pt x="231" y="1086"/>
                </a:lnTo>
                <a:lnTo>
                  <a:pt x="232" y="1087"/>
                </a:lnTo>
                <a:lnTo>
                  <a:pt x="232" y="1091"/>
                </a:lnTo>
                <a:lnTo>
                  <a:pt x="231" y="1091"/>
                </a:lnTo>
                <a:lnTo>
                  <a:pt x="231" y="1092"/>
                </a:lnTo>
                <a:lnTo>
                  <a:pt x="230" y="1093"/>
                </a:lnTo>
                <a:lnTo>
                  <a:pt x="229" y="1092"/>
                </a:lnTo>
                <a:lnTo>
                  <a:pt x="229" y="1093"/>
                </a:lnTo>
                <a:lnTo>
                  <a:pt x="228" y="1093"/>
                </a:lnTo>
                <a:lnTo>
                  <a:pt x="229" y="1094"/>
                </a:lnTo>
                <a:lnTo>
                  <a:pt x="228" y="1094"/>
                </a:lnTo>
                <a:lnTo>
                  <a:pt x="228" y="1095"/>
                </a:lnTo>
                <a:lnTo>
                  <a:pt x="232" y="1095"/>
                </a:lnTo>
                <a:lnTo>
                  <a:pt x="234" y="1099"/>
                </a:lnTo>
                <a:lnTo>
                  <a:pt x="235" y="1101"/>
                </a:lnTo>
                <a:lnTo>
                  <a:pt x="235" y="1103"/>
                </a:lnTo>
                <a:lnTo>
                  <a:pt x="234" y="1103"/>
                </a:lnTo>
                <a:lnTo>
                  <a:pt x="235" y="1104"/>
                </a:lnTo>
                <a:lnTo>
                  <a:pt x="232" y="1104"/>
                </a:lnTo>
                <a:lnTo>
                  <a:pt x="232" y="1106"/>
                </a:lnTo>
                <a:lnTo>
                  <a:pt x="234" y="1106"/>
                </a:lnTo>
                <a:lnTo>
                  <a:pt x="235" y="1107"/>
                </a:lnTo>
                <a:lnTo>
                  <a:pt x="232" y="1107"/>
                </a:lnTo>
                <a:lnTo>
                  <a:pt x="232" y="1110"/>
                </a:lnTo>
                <a:lnTo>
                  <a:pt x="230" y="1109"/>
                </a:lnTo>
                <a:lnTo>
                  <a:pt x="229" y="1110"/>
                </a:lnTo>
                <a:lnTo>
                  <a:pt x="229" y="1111"/>
                </a:lnTo>
                <a:lnTo>
                  <a:pt x="230" y="1112"/>
                </a:lnTo>
                <a:lnTo>
                  <a:pt x="230" y="1113"/>
                </a:lnTo>
                <a:lnTo>
                  <a:pt x="229" y="1113"/>
                </a:lnTo>
                <a:lnTo>
                  <a:pt x="230" y="1115"/>
                </a:lnTo>
                <a:lnTo>
                  <a:pt x="226" y="1117"/>
                </a:lnTo>
                <a:lnTo>
                  <a:pt x="225" y="1118"/>
                </a:lnTo>
                <a:lnTo>
                  <a:pt x="226" y="1121"/>
                </a:lnTo>
                <a:lnTo>
                  <a:pt x="225" y="1122"/>
                </a:lnTo>
                <a:lnTo>
                  <a:pt x="225" y="1125"/>
                </a:lnTo>
                <a:lnTo>
                  <a:pt x="226" y="1128"/>
                </a:lnTo>
                <a:lnTo>
                  <a:pt x="228" y="1129"/>
                </a:lnTo>
                <a:lnTo>
                  <a:pt x="228" y="1130"/>
                </a:lnTo>
                <a:lnTo>
                  <a:pt x="229" y="1130"/>
                </a:lnTo>
                <a:lnTo>
                  <a:pt x="229" y="1131"/>
                </a:lnTo>
                <a:lnTo>
                  <a:pt x="230" y="1132"/>
                </a:lnTo>
                <a:lnTo>
                  <a:pt x="229" y="1134"/>
                </a:lnTo>
                <a:lnTo>
                  <a:pt x="230" y="1134"/>
                </a:lnTo>
                <a:lnTo>
                  <a:pt x="230" y="1136"/>
                </a:lnTo>
                <a:lnTo>
                  <a:pt x="229" y="1135"/>
                </a:lnTo>
                <a:lnTo>
                  <a:pt x="228" y="1135"/>
                </a:lnTo>
                <a:lnTo>
                  <a:pt x="228" y="1136"/>
                </a:lnTo>
                <a:lnTo>
                  <a:pt x="226" y="1136"/>
                </a:lnTo>
                <a:lnTo>
                  <a:pt x="225" y="1135"/>
                </a:lnTo>
                <a:lnTo>
                  <a:pt x="224" y="1135"/>
                </a:lnTo>
                <a:lnTo>
                  <a:pt x="225" y="1136"/>
                </a:lnTo>
                <a:lnTo>
                  <a:pt x="225" y="1137"/>
                </a:lnTo>
                <a:lnTo>
                  <a:pt x="224" y="1138"/>
                </a:lnTo>
                <a:lnTo>
                  <a:pt x="224" y="1141"/>
                </a:lnTo>
                <a:lnTo>
                  <a:pt x="225" y="1142"/>
                </a:lnTo>
                <a:lnTo>
                  <a:pt x="225" y="1144"/>
                </a:lnTo>
                <a:lnTo>
                  <a:pt x="224" y="1147"/>
                </a:lnTo>
                <a:lnTo>
                  <a:pt x="224" y="1150"/>
                </a:lnTo>
                <a:lnTo>
                  <a:pt x="223" y="1154"/>
                </a:lnTo>
                <a:lnTo>
                  <a:pt x="223" y="1155"/>
                </a:lnTo>
                <a:lnTo>
                  <a:pt x="224" y="1155"/>
                </a:lnTo>
                <a:lnTo>
                  <a:pt x="224" y="1156"/>
                </a:lnTo>
                <a:lnTo>
                  <a:pt x="223" y="1156"/>
                </a:lnTo>
                <a:lnTo>
                  <a:pt x="222" y="1158"/>
                </a:lnTo>
                <a:lnTo>
                  <a:pt x="220" y="1158"/>
                </a:lnTo>
                <a:lnTo>
                  <a:pt x="222" y="1159"/>
                </a:lnTo>
                <a:lnTo>
                  <a:pt x="222" y="1166"/>
                </a:lnTo>
                <a:lnTo>
                  <a:pt x="219" y="1166"/>
                </a:lnTo>
                <a:lnTo>
                  <a:pt x="219" y="1165"/>
                </a:lnTo>
                <a:lnTo>
                  <a:pt x="218" y="1166"/>
                </a:lnTo>
                <a:lnTo>
                  <a:pt x="217" y="1166"/>
                </a:lnTo>
                <a:lnTo>
                  <a:pt x="217" y="1167"/>
                </a:lnTo>
                <a:lnTo>
                  <a:pt x="216" y="1169"/>
                </a:lnTo>
                <a:lnTo>
                  <a:pt x="216" y="1171"/>
                </a:lnTo>
                <a:lnTo>
                  <a:pt x="215" y="1172"/>
                </a:lnTo>
                <a:lnTo>
                  <a:pt x="215" y="1175"/>
                </a:lnTo>
                <a:lnTo>
                  <a:pt x="213" y="1175"/>
                </a:lnTo>
                <a:lnTo>
                  <a:pt x="213" y="1177"/>
                </a:lnTo>
                <a:lnTo>
                  <a:pt x="210" y="1184"/>
                </a:lnTo>
                <a:lnTo>
                  <a:pt x="209" y="1190"/>
                </a:lnTo>
                <a:lnTo>
                  <a:pt x="207" y="1197"/>
                </a:lnTo>
                <a:lnTo>
                  <a:pt x="206" y="1198"/>
                </a:lnTo>
                <a:lnTo>
                  <a:pt x="206" y="1199"/>
                </a:lnTo>
                <a:lnTo>
                  <a:pt x="203" y="1203"/>
                </a:lnTo>
                <a:lnTo>
                  <a:pt x="200" y="1208"/>
                </a:lnTo>
                <a:lnTo>
                  <a:pt x="200" y="1209"/>
                </a:lnTo>
                <a:lnTo>
                  <a:pt x="198" y="1209"/>
                </a:lnTo>
                <a:lnTo>
                  <a:pt x="197" y="1208"/>
                </a:lnTo>
                <a:lnTo>
                  <a:pt x="198" y="1205"/>
                </a:lnTo>
                <a:lnTo>
                  <a:pt x="199" y="1204"/>
                </a:lnTo>
                <a:lnTo>
                  <a:pt x="198" y="1203"/>
                </a:lnTo>
                <a:lnTo>
                  <a:pt x="195" y="1204"/>
                </a:lnTo>
                <a:lnTo>
                  <a:pt x="194" y="1204"/>
                </a:lnTo>
                <a:lnTo>
                  <a:pt x="194" y="1203"/>
                </a:lnTo>
                <a:lnTo>
                  <a:pt x="193" y="1203"/>
                </a:lnTo>
                <a:lnTo>
                  <a:pt x="193" y="1202"/>
                </a:lnTo>
                <a:lnTo>
                  <a:pt x="192" y="1202"/>
                </a:lnTo>
                <a:lnTo>
                  <a:pt x="191" y="1201"/>
                </a:lnTo>
                <a:lnTo>
                  <a:pt x="191" y="1202"/>
                </a:lnTo>
                <a:lnTo>
                  <a:pt x="188" y="1204"/>
                </a:lnTo>
                <a:lnTo>
                  <a:pt x="188" y="1202"/>
                </a:lnTo>
                <a:lnTo>
                  <a:pt x="189" y="1201"/>
                </a:lnTo>
                <a:lnTo>
                  <a:pt x="188" y="1201"/>
                </a:lnTo>
                <a:lnTo>
                  <a:pt x="186" y="1202"/>
                </a:lnTo>
                <a:lnTo>
                  <a:pt x="185" y="1203"/>
                </a:lnTo>
                <a:lnTo>
                  <a:pt x="185" y="1204"/>
                </a:lnTo>
                <a:lnTo>
                  <a:pt x="184" y="1204"/>
                </a:lnTo>
                <a:lnTo>
                  <a:pt x="182" y="1203"/>
                </a:lnTo>
                <a:lnTo>
                  <a:pt x="182" y="1202"/>
                </a:lnTo>
                <a:lnTo>
                  <a:pt x="181" y="1202"/>
                </a:lnTo>
                <a:lnTo>
                  <a:pt x="180" y="1203"/>
                </a:lnTo>
                <a:lnTo>
                  <a:pt x="180" y="1205"/>
                </a:lnTo>
                <a:lnTo>
                  <a:pt x="176" y="1205"/>
                </a:lnTo>
                <a:lnTo>
                  <a:pt x="176" y="1202"/>
                </a:lnTo>
                <a:lnTo>
                  <a:pt x="174" y="1204"/>
                </a:lnTo>
                <a:lnTo>
                  <a:pt x="172" y="1204"/>
                </a:lnTo>
                <a:lnTo>
                  <a:pt x="170" y="1203"/>
                </a:lnTo>
                <a:lnTo>
                  <a:pt x="169" y="1203"/>
                </a:lnTo>
                <a:lnTo>
                  <a:pt x="169" y="1204"/>
                </a:lnTo>
                <a:lnTo>
                  <a:pt x="168" y="1204"/>
                </a:lnTo>
                <a:lnTo>
                  <a:pt x="167" y="1203"/>
                </a:lnTo>
                <a:lnTo>
                  <a:pt x="167" y="1202"/>
                </a:lnTo>
                <a:lnTo>
                  <a:pt x="166" y="1202"/>
                </a:lnTo>
                <a:lnTo>
                  <a:pt x="166" y="1204"/>
                </a:lnTo>
                <a:lnTo>
                  <a:pt x="163" y="1203"/>
                </a:lnTo>
                <a:lnTo>
                  <a:pt x="161" y="1203"/>
                </a:lnTo>
                <a:lnTo>
                  <a:pt x="160" y="1204"/>
                </a:lnTo>
                <a:lnTo>
                  <a:pt x="158" y="1203"/>
                </a:lnTo>
                <a:lnTo>
                  <a:pt x="157" y="1203"/>
                </a:lnTo>
                <a:lnTo>
                  <a:pt x="157" y="1204"/>
                </a:lnTo>
                <a:lnTo>
                  <a:pt x="156" y="1205"/>
                </a:lnTo>
                <a:lnTo>
                  <a:pt x="156" y="1204"/>
                </a:lnTo>
                <a:lnTo>
                  <a:pt x="155" y="1204"/>
                </a:lnTo>
                <a:lnTo>
                  <a:pt x="154" y="1203"/>
                </a:lnTo>
                <a:lnTo>
                  <a:pt x="153" y="1203"/>
                </a:lnTo>
                <a:lnTo>
                  <a:pt x="151" y="1204"/>
                </a:lnTo>
                <a:lnTo>
                  <a:pt x="150" y="1204"/>
                </a:lnTo>
                <a:lnTo>
                  <a:pt x="150" y="1208"/>
                </a:lnTo>
                <a:lnTo>
                  <a:pt x="151" y="1208"/>
                </a:lnTo>
                <a:lnTo>
                  <a:pt x="151" y="1209"/>
                </a:lnTo>
                <a:lnTo>
                  <a:pt x="153" y="1209"/>
                </a:lnTo>
                <a:lnTo>
                  <a:pt x="154" y="1211"/>
                </a:lnTo>
                <a:lnTo>
                  <a:pt x="154" y="1214"/>
                </a:lnTo>
                <a:lnTo>
                  <a:pt x="153" y="1214"/>
                </a:lnTo>
                <a:lnTo>
                  <a:pt x="153" y="1215"/>
                </a:lnTo>
                <a:lnTo>
                  <a:pt x="151" y="1216"/>
                </a:lnTo>
                <a:lnTo>
                  <a:pt x="151" y="1215"/>
                </a:lnTo>
                <a:lnTo>
                  <a:pt x="148" y="1215"/>
                </a:lnTo>
                <a:lnTo>
                  <a:pt x="148" y="1212"/>
                </a:lnTo>
                <a:lnTo>
                  <a:pt x="145" y="1212"/>
                </a:lnTo>
                <a:lnTo>
                  <a:pt x="145" y="1211"/>
                </a:lnTo>
                <a:lnTo>
                  <a:pt x="144" y="1212"/>
                </a:lnTo>
                <a:lnTo>
                  <a:pt x="143" y="1212"/>
                </a:lnTo>
                <a:lnTo>
                  <a:pt x="142" y="1214"/>
                </a:lnTo>
                <a:lnTo>
                  <a:pt x="141" y="1216"/>
                </a:lnTo>
                <a:lnTo>
                  <a:pt x="138" y="1217"/>
                </a:lnTo>
                <a:lnTo>
                  <a:pt x="138" y="1218"/>
                </a:lnTo>
                <a:lnTo>
                  <a:pt x="137" y="1218"/>
                </a:lnTo>
                <a:lnTo>
                  <a:pt x="136" y="1220"/>
                </a:lnTo>
                <a:lnTo>
                  <a:pt x="136" y="1221"/>
                </a:lnTo>
                <a:lnTo>
                  <a:pt x="135" y="1222"/>
                </a:lnTo>
                <a:lnTo>
                  <a:pt x="135" y="1223"/>
                </a:lnTo>
                <a:lnTo>
                  <a:pt x="133" y="1223"/>
                </a:lnTo>
                <a:lnTo>
                  <a:pt x="131" y="1226"/>
                </a:lnTo>
                <a:lnTo>
                  <a:pt x="130" y="1229"/>
                </a:lnTo>
                <a:lnTo>
                  <a:pt x="130" y="1238"/>
                </a:lnTo>
                <a:lnTo>
                  <a:pt x="133" y="1241"/>
                </a:lnTo>
                <a:lnTo>
                  <a:pt x="133" y="1245"/>
                </a:lnTo>
                <a:lnTo>
                  <a:pt x="137" y="1248"/>
                </a:lnTo>
                <a:lnTo>
                  <a:pt x="137" y="1252"/>
                </a:lnTo>
                <a:lnTo>
                  <a:pt x="136" y="1252"/>
                </a:lnTo>
                <a:lnTo>
                  <a:pt x="133" y="1255"/>
                </a:lnTo>
                <a:lnTo>
                  <a:pt x="132" y="1257"/>
                </a:lnTo>
                <a:lnTo>
                  <a:pt x="131" y="1260"/>
                </a:lnTo>
                <a:lnTo>
                  <a:pt x="130" y="1260"/>
                </a:lnTo>
                <a:lnTo>
                  <a:pt x="129" y="1261"/>
                </a:lnTo>
                <a:lnTo>
                  <a:pt x="123" y="1261"/>
                </a:lnTo>
                <a:lnTo>
                  <a:pt x="120" y="1258"/>
                </a:lnTo>
                <a:lnTo>
                  <a:pt x="116" y="1258"/>
                </a:lnTo>
                <a:lnTo>
                  <a:pt x="114" y="1259"/>
                </a:lnTo>
                <a:lnTo>
                  <a:pt x="112" y="1258"/>
                </a:lnTo>
                <a:lnTo>
                  <a:pt x="107" y="1259"/>
                </a:lnTo>
                <a:lnTo>
                  <a:pt x="106" y="1259"/>
                </a:lnTo>
                <a:lnTo>
                  <a:pt x="106" y="1260"/>
                </a:lnTo>
                <a:lnTo>
                  <a:pt x="105" y="1260"/>
                </a:lnTo>
                <a:lnTo>
                  <a:pt x="105" y="1261"/>
                </a:lnTo>
                <a:lnTo>
                  <a:pt x="100" y="1261"/>
                </a:lnTo>
                <a:lnTo>
                  <a:pt x="97" y="1264"/>
                </a:lnTo>
                <a:lnTo>
                  <a:pt x="95" y="1265"/>
                </a:lnTo>
                <a:lnTo>
                  <a:pt x="92" y="1265"/>
                </a:lnTo>
                <a:lnTo>
                  <a:pt x="85" y="1263"/>
                </a:lnTo>
                <a:lnTo>
                  <a:pt x="82" y="1263"/>
                </a:lnTo>
                <a:lnTo>
                  <a:pt x="81" y="1261"/>
                </a:lnTo>
                <a:lnTo>
                  <a:pt x="80" y="1261"/>
                </a:lnTo>
                <a:lnTo>
                  <a:pt x="80" y="1260"/>
                </a:lnTo>
                <a:lnTo>
                  <a:pt x="77" y="1260"/>
                </a:lnTo>
                <a:lnTo>
                  <a:pt x="77" y="1261"/>
                </a:lnTo>
                <a:lnTo>
                  <a:pt x="73" y="1261"/>
                </a:lnTo>
                <a:lnTo>
                  <a:pt x="73" y="1260"/>
                </a:lnTo>
                <a:lnTo>
                  <a:pt x="74" y="1258"/>
                </a:lnTo>
                <a:lnTo>
                  <a:pt x="75" y="1258"/>
                </a:lnTo>
                <a:lnTo>
                  <a:pt x="75" y="1259"/>
                </a:lnTo>
                <a:lnTo>
                  <a:pt x="76" y="1259"/>
                </a:lnTo>
                <a:lnTo>
                  <a:pt x="77" y="1258"/>
                </a:lnTo>
                <a:lnTo>
                  <a:pt x="77" y="1257"/>
                </a:lnTo>
                <a:lnTo>
                  <a:pt x="79" y="1257"/>
                </a:lnTo>
                <a:lnTo>
                  <a:pt x="79" y="1255"/>
                </a:lnTo>
                <a:lnTo>
                  <a:pt x="76" y="1252"/>
                </a:lnTo>
                <a:lnTo>
                  <a:pt x="76" y="1247"/>
                </a:lnTo>
                <a:lnTo>
                  <a:pt x="77" y="1246"/>
                </a:lnTo>
                <a:lnTo>
                  <a:pt x="81" y="1244"/>
                </a:lnTo>
                <a:lnTo>
                  <a:pt x="81" y="1242"/>
                </a:lnTo>
                <a:lnTo>
                  <a:pt x="82" y="1241"/>
                </a:lnTo>
                <a:lnTo>
                  <a:pt x="82" y="1239"/>
                </a:lnTo>
                <a:lnTo>
                  <a:pt x="80" y="1236"/>
                </a:lnTo>
                <a:lnTo>
                  <a:pt x="79" y="1236"/>
                </a:lnTo>
                <a:lnTo>
                  <a:pt x="77" y="1235"/>
                </a:lnTo>
                <a:lnTo>
                  <a:pt x="76" y="1235"/>
                </a:lnTo>
                <a:lnTo>
                  <a:pt x="76" y="1228"/>
                </a:lnTo>
                <a:lnTo>
                  <a:pt x="75" y="1227"/>
                </a:lnTo>
                <a:lnTo>
                  <a:pt x="73" y="1226"/>
                </a:lnTo>
                <a:lnTo>
                  <a:pt x="71" y="1224"/>
                </a:lnTo>
                <a:lnTo>
                  <a:pt x="71" y="1221"/>
                </a:lnTo>
                <a:lnTo>
                  <a:pt x="70" y="1221"/>
                </a:lnTo>
                <a:lnTo>
                  <a:pt x="70" y="1220"/>
                </a:lnTo>
                <a:lnTo>
                  <a:pt x="69" y="1218"/>
                </a:lnTo>
                <a:lnTo>
                  <a:pt x="69" y="1216"/>
                </a:lnTo>
                <a:lnTo>
                  <a:pt x="67" y="1214"/>
                </a:lnTo>
                <a:lnTo>
                  <a:pt x="67" y="1212"/>
                </a:lnTo>
                <a:lnTo>
                  <a:pt x="63" y="1207"/>
                </a:lnTo>
                <a:lnTo>
                  <a:pt x="61" y="1203"/>
                </a:lnTo>
                <a:lnTo>
                  <a:pt x="61" y="1199"/>
                </a:lnTo>
                <a:lnTo>
                  <a:pt x="60" y="1199"/>
                </a:lnTo>
                <a:lnTo>
                  <a:pt x="60" y="1197"/>
                </a:lnTo>
                <a:lnTo>
                  <a:pt x="58" y="1195"/>
                </a:lnTo>
                <a:lnTo>
                  <a:pt x="56" y="1192"/>
                </a:lnTo>
                <a:lnTo>
                  <a:pt x="64" y="1196"/>
                </a:lnTo>
                <a:lnTo>
                  <a:pt x="64" y="1197"/>
                </a:lnTo>
                <a:lnTo>
                  <a:pt x="67" y="1199"/>
                </a:lnTo>
                <a:lnTo>
                  <a:pt x="68" y="1199"/>
                </a:lnTo>
                <a:lnTo>
                  <a:pt x="68" y="1198"/>
                </a:lnTo>
                <a:lnTo>
                  <a:pt x="71" y="1198"/>
                </a:lnTo>
                <a:lnTo>
                  <a:pt x="73" y="1197"/>
                </a:lnTo>
                <a:lnTo>
                  <a:pt x="73" y="1195"/>
                </a:lnTo>
                <a:lnTo>
                  <a:pt x="70" y="1193"/>
                </a:lnTo>
                <a:lnTo>
                  <a:pt x="69" y="1192"/>
                </a:lnTo>
                <a:lnTo>
                  <a:pt x="68" y="1189"/>
                </a:lnTo>
                <a:lnTo>
                  <a:pt x="64" y="1186"/>
                </a:lnTo>
                <a:lnTo>
                  <a:pt x="63" y="1184"/>
                </a:lnTo>
                <a:lnTo>
                  <a:pt x="66" y="1181"/>
                </a:lnTo>
                <a:lnTo>
                  <a:pt x="68" y="1180"/>
                </a:lnTo>
                <a:lnTo>
                  <a:pt x="73" y="1183"/>
                </a:lnTo>
                <a:lnTo>
                  <a:pt x="75" y="1181"/>
                </a:lnTo>
                <a:lnTo>
                  <a:pt x="75" y="1180"/>
                </a:lnTo>
                <a:lnTo>
                  <a:pt x="76" y="1179"/>
                </a:lnTo>
                <a:lnTo>
                  <a:pt x="76" y="1174"/>
                </a:lnTo>
                <a:lnTo>
                  <a:pt x="75" y="1171"/>
                </a:lnTo>
                <a:lnTo>
                  <a:pt x="75" y="1167"/>
                </a:lnTo>
                <a:lnTo>
                  <a:pt x="74" y="1166"/>
                </a:lnTo>
                <a:lnTo>
                  <a:pt x="71" y="1166"/>
                </a:lnTo>
                <a:lnTo>
                  <a:pt x="70" y="1167"/>
                </a:lnTo>
                <a:lnTo>
                  <a:pt x="68" y="1167"/>
                </a:lnTo>
                <a:lnTo>
                  <a:pt x="66" y="1164"/>
                </a:lnTo>
                <a:lnTo>
                  <a:pt x="66" y="1161"/>
                </a:lnTo>
                <a:lnTo>
                  <a:pt x="64" y="1161"/>
                </a:lnTo>
                <a:lnTo>
                  <a:pt x="64" y="1160"/>
                </a:lnTo>
                <a:lnTo>
                  <a:pt x="63" y="1159"/>
                </a:lnTo>
                <a:lnTo>
                  <a:pt x="62" y="1155"/>
                </a:lnTo>
                <a:lnTo>
                  <a:pt x="63" y="1154"/>
                </a:lnTo>
                <a:lnTo>
                  <a:pt x="62" y="1153"/>
                </a:lnTo>
                <a:lnTo>
                  <a:pt x="60" y="1152"/>
                </a:lnTo>
                <a:lnTo>
                  <a:pt x="60" y="1150"/>
                </a:lnTo>
                <a:lnTo>
                  <a:pt x="58" y="1150"/>
                </a:lnTo>
                <a:lnTo>
                  <a:pt x="58" y="1149"/>
                </a:lnTo>
                <a:lnTo>
                  <a:pt x="56" y="1147"/>
                </a:lnTo>
                <a:lnTo>
                  <a:pt x="55" y="1147"/>
                </a:lnTo>
                <a:lnTo>
                  <a:pt x="54" y="1146"/>
                </a:lnTo>
                <a:lnTo>
                  <a:pt x="52" y="1146"/>
                </a:lnTo>
                <a:lnTo>
                  <a:pt x="51" y="1144"/>
                </a:lnTo>
                <a:lnTo>
                  <a:pt x="51" y="1142"/>
                </a:lnTo>
                <a:lnTo>
                  <a:pt x="52" y="1141"/>
                </a:lnTo>
                <a:lnTo>
                  <a:pt x="52" y="1138"/>
                </a:lnTo>
                <a:lnTo>
                  <a:pt x="51" y="1138"/>
                </a:lnTo>
                <a:lnTo>
                  <a:pt x="51" y="1137"/>
                </a:lnTo>
                <a:lnTo>
                  <a:pt x="50" y="1137"/>
                </a:lnTo>
                <a:lnTo>
                  <a:pt x="48" y="1135"/>
                </a:lnTo>
                <a:lnTo>
                  <a:pt x="48" y="1132"/>
                </a:lnTo>
                <a:lnTo>
                  <a:pt x="46" y="1132"/>
                </a:lnTo>
                <a:lnTo>
                  <a:pt x="48" y="1131"/>
                </a:lnTo>
                <a:lnTo>
                  <a:pt x="48" y="1130"/>
                </a:lnTo>
                <a:lnTo>
                  <a:pt x="45" y="1128"/>
                </a:lnTo>
                <a:lnTo>
                  <a:pt x="45" y="1125"/>
                </a:lnTo>
                <a:lnTo>
                  <a:pt x="44" y="1125"/>
                </a:lnTo>
                <a:lnTo>
                  <a:pt x="45" y="1123"/>
                </a:lnTo>
                <a:lnTo>
                  <a:pt x="44" y="1123"/>
                </a:lnTo>
                <a:lnTo>
                  <a:pt x="42" y="1121"/>
                </a:lnTo>
                <a:lnTo>
                  <a:pt x="43" y="1121"/>
                </a:lnTo>
                <a:lnTo>
                  <a:pt x="43" y="1119"/>
                </a:lnTo>
                <a:lnTo>
                  <a:pt x="42" y="1119"/>
                </a:lnTo>
                <a:lnTo>
                  <a:pt x="42" y="1118"/>
                </a:lnTo>
                <a:lnTo>
                  <a:pt x="43" y="1118"/>
                </a:lnTo>
                <a:lnTo>
                  <a:pt x="43" y="1113"/>
                </a:lnTo>
                <a:lnTo>
                  <a:pt x="42" y="1113"/>
                </a:lnTo>
                <a:lnTo>
                  <a:pt x="42" y="1112"/>
                </a:lnTo>
                <a:lnTo>
                  <a:pt x="40" y="1112"/>
                </a:lnTo>
                <a:lnTo>
                  <a:pt x="40" y="1113"/>
                </a:lnTo>
                <a:lnTo>
                  <a:pt x="39" y="1112"/>
                </a:lnTo>
                <a:lnTo>
                  <a:pt x="40" y="1111"/>
                </a:lnTo>
                <a:lnTo>
                  <a:pt x="40" y="1110"/>
                </a:lnTo>
                <a:lnTo>
                  <a:pt x="42" y="1109"/>
                </a:lnTo>
                <a:lnTo>
                  <a:pt x="40" y="1109"/>
                </a:lnTo>
                <a:lnTo>
                  <a:pt x="42" y="1107"/>
                </a:lnTo>
                <a:lnTo>
                  <a:pt x="40" y="1106"/>
                </a:lnTo>
                <a:lnTo>
                  <a:pt x="39" y="1104"/>
                </a:lnTo>
                <a:lnTo>
                  <a:pt x="38" y="1104"/>
                </a:lnTo>
                <a:lnTo>
                  <a:pt x="37" y="1105"/>
                </a:lnTo>
                <a:lnTo>
                  <a:pt x="37" y="1112"/>
                </a:lnTo>
                <a:lnTo>
                  <a:pt x="36" y="1111"/>
                </a:lnTo>
                <a:lnTo>
                  <a:pt x="35" y="1111"/>
                </a:lnTo>
                <a:lnTo>
                  <a:pt x="35" y="1109"/>
                </a:lnTo>
                <a:lnTo>
                  <a:pt x="33" y="1109"/>
                </a:lnTo>
                <a:lnTo>
                  <a:pt x="33" y="1103"/>
                </a:lnTo>
                <a:lnTo>
                  <a:pt x="35" y="1101"/>
                </a:lnTo>
                <a:lnTo>
                  <a:pt x="35" y="1100"/>
                </a:lnTo>
                <a:lnTo>
                  <a:pt x="33" y="1100"/>
                </a:lnTo>
                <a:lnTo>
                  <a:pt x="35" y="1099"/>
                </a:lnTo>
                <a:lnTo>
                  <a:pt x="33" y="1099"/>
                </a:lnTo>
                <a:lnTo>
                  <a:pt x="33" y="1091"/>
                </a:lnTo>
                <a:lnTo>
                  <a:pt x="32" y="1092"/>
                </a:lnTo>
                <a:lnTo>
                  <a:pt x="31" y="1091"/>
                </a:lnTo>
                <a:lnTo>
                  <a:pt x="31" y="1088"/>
                </a:lnTo>
                <a:lnTo>
                  <a:pt x="30" y="1087"/>
                </a:lnTo>
                <a:lnTo>
                  <a:pt x="31" y="1086"/>
                </a:lnTo>
                <a:lnTo>
                  <a:pt x="33" y="1086"/>
                </a:lnTo>
                <a:lnTo>
                  <a:pt x="35" y="1085"/>
                </a:lnTo>
                <a:lnTo>
                  <a:pt x="30" y="1085"/>
                </a:lnTo>
                <a:lnTo>
                  <a:pt x="27" y="1083"/>
                </a:lnTo>
                <a:lnTo>
                  <a:pt x="26" y="1083"/>
                </a:lnTo>
                <a:lnTo>
                  <a:pt x="26" y="1085"/>
                </a:lnTo>
                <a:lnTo>
                  <a:pt x="25" y="1085"/>
                </a:lnTo>
                <a:lnTo>
                  <a:pt x="25" y="1082"/>
                </a:lnTo>
                <a:lnTo>
                  <a:pt x="29" y="1079"/>
                </a:lnTo>
                <a:lnTo>
                  <a:pt x="30" y="1079"/>
                </a:lnTo>
                <a:lnTo>
                  <a:pt x="29" y="1078"/>
                </a:lnTo>
                <a:lnTo>
                  <a:pt x="26" y="1078"/>
                </a:lnTo>
                <a:lnTo>
                  <a:pt x="26" y="1076"/>
                </a:lnTo>
                <a:lnTo>
                  <a:pt x="24" y="1074"/>
                </a:lnTo>
                <a:lnTo>
                  <a:pt x="23" y="1074"/>
                </a:lnTo>
                <a:lnTo>
                  <a:pt x="24" y="1073"/>
                </a:lnTo>
                <a:lnTo>
                  <a:pt x="24" y="1072"/>
                </a:lnTo>
                <a:lnTo>
                  <a:pt x="25" y="1072"/>
                </a:lnTo>
                <a:lnTo>
                  <a:pt x="24" y="1070"/>
                </a:lnTo>
                <a:lnTo>
                  <a:pt x="25" y="1069"/>
                </a:lnTo>
                <a:lnTo>
                  <a:pt x="27" y="1069"/>
                </a:lnTo>
                <a:lnTo>
                  <a:pt x="27" y="1067"/>
                </a:lnTo>
                <a:lnTo>
                  <a:pt x="26" y="1066"/>
                </a:lnTo>
                <a:lnTo>
                  <a:pt x="26" y="1064"/>
                </a:lnTo>
                <a:lnTo>
                  <a:pt x="29" y="1061"/>
                </a:lnTo>
                <a:lnTo>
                  <a:pt x="29" y="1052"/>
                </a:lnTo>
                <a:lnTo>
                  <a:pt x="30" y="1052"/>
                </a:lnTo>
                <a:lnTo>
                  <a:pt x="30" y="1049"/>
                </a:lnTo>
                <a:lnTo>
                  <a:pt x="29" y="1051"/>
                </a:lnTo>
                <a:lnTo>
                  <a:pt x="27" y="1051"/>
                </a:lnTo>
                <a:lnTo>
                  <a:pt x="25" y="1052"/>
                </a:lnTo>
                <a:lnTo>
                  <a:pt x="21" y="1052"/>
                </a:lnTo>
                <a:lnTo>
                  <a:pt x="21" y="1051"/>
                </a:lnTo>
                <a:lnTo>
                  <a:pt x="19" y="1051"/>
                </a:lnTo>
                <a:lnTo>
                  <a:pt x="17" y="1054"/>
                </a:lnTo>
                <a:lnTo>
                  <a:pt x="15" y="1054"/>
                </a:lnTo>
                <a:lnTo>
                  <a:pt x="12" y="1050"/>
                </a:lnTo>
                <a:lnTo>
                  <a:pt x="12" y="1049"/>
                </a:lnTo>
                <a:lnTo>
                  <a:pt x="13" y="1048"/>
                </a:lnTo>
                <a:lnTo>
                  <a:pt x="18" y="1044"/>
                </a:lnTo>
                <a:lnTo>
                  <a:pt x="20" y="1042"/>
                </a:lnTo>
                <a:lnTo>
                  <a:pt x="23" y="1042"/>
                </a:lnTo>
                <a:lnTo>
                  <a:pt x="23" y="1039"/>
                </a:lnTo>
                <a:lnTo>
                  <a:pt x="24" y="1039"/>
                </a:lnTo>
                <a:lnTo>
                  <a:pt x="24" y="1038"/>
                </a:lnTo>
                <a:lnTo>
                  <a:pt x="25" y="1037"/>
                </a:lnTo>
                <a:lnTo>
                  <a:pt x="26" y="1038"/>
                </a:lnTo>
                <a:lnTo>
                  <a:pt x="26" y="1039"/>
                </a:lnTo>
                <a:lnTo>
                  <a:pt x="29" y="1042"/>
                </a:lnTo>
                <a:lnTo>
                  <a:pt x="29" y="1043"/>
                </a:lnTo>
                <a:lnTo>
                  <a:pt x="30" y="1044"/>
                </a:lnTo>
                <a:lnTo>
                  <a:pt x="30" y="1045"/>
                </a:lnTo>
                <a:lnTo>
                  <a:pt x="32" y="1045"/>
                </a:lnTo>
                <a:lnTo>
                  <a:pt x="32" y="1044"/>
                </a:lnTo>
                <a:lnTo>
                  <a:pt x="31" y="1043"/>
                </a:lnTo>
                <a:lnTo>
                  <a:pt x="31" y="1040"/>
                </a:lnTo>
                <a:lnTo>
                  <a:pt x="30" y="1039"/>
                </a:lnTo>
                <a:lnTo>
                  <a:pt x="30" y="1038"/>
                </a:lnTo>
                <a:lnTo>
                  <a:pt x="29" y="1037"/>
                </a:lnTo>
                <a:lnTo>
                  <a:pt x="30" y="1036"/>
                </a:lnTo>
                <a:lnTo>
                  <a:pt x="32" y="1035"/>
                </a:lnTo>
                <a:lnTo>
                  <a:pt x="32" y="1033"/>
                </a:lnTo>
                <a:lnTo>
                  <a:pt x="31" y="1033"/>
                </a:lnTo>
                <a:lnTo>
                  <a:pt x="29" y="1035"/>
                </a:lnTo>
                <a:lnTo>
                  <a:pt x="26" y="1035"/>
                </a:lnTo>
                <a:lnTo>
                  <a:pt x="26" y="1036"/>
                </a:lnTo>
                <a:lnTo>
                  <a:pt x="24" y="1036"/>
                </a:lnTo>
                <a:lnTo>
                  <a:pt x="21" y="1038"/>
                </a:lnTo>
                <a:lnTo>
                  <a:pt x="21" y="1039"/>
                </a:lnTo>
                <a:lnTo>
                  <a:pt x="20" y="1040"/>
                </a:lnTo>
                <a:lnTo>
                  <a:pt x="18" y="1040"/>
                </a:lnTo>
                <a:lnTo>
                  <a:pt x="18" y="1042"/>
                </a:lnTo>
                <a:lnTo>
                  <a:pt x="17" y="1042"/>
                </a:lnTo>
                <a:lnTo>
                  <a:pt x="15" y="1040"/>
                </a:lnTo>
                <a:lnTo>
                  <a:pt x="17" y="1038"/>
                </a:lnTo>
                <a:lnTo>
                  <a:pt x="17" y="1037"/>
                </a:lnTo>
                <a:lnTo>
                  <a:pt x="19" y="1032"/>
                </a:lnTo>
                <a:lnTo>
                  <a:pt x="21" y="1030"/>
                </a:lnTo>
                <a:lnTo>
                  <a:pt x="20" y="1030"/>
                </a:lnTo>
                <a:lnTo>
                  <a:pt x="21" y="1029"/>
                </a:lnTo>
                <a:lnTo>
                  <a:pt x="21" y="1027"/>
                </a:lnTo>
                <a:lnTo>
                  <a:pt x="24" y="1027"/>
                </a:lnTo>
                <a:lnTo>
                  <a:pt x="23" y="1026"/>
                </a:lnTo>
                <a:lnTo>
                  <a:pt x="21" y="1026"/>
                </a:lnTo>
                <a:lnTo>
                  <a:pt x="20" y="1027"/>
                </a:lnTo>
                <a:lnTo>
                  <a:pt x="20" y="1029"/>
                </a:lnTo>
                <a:lnTo>
                  <a:pt x="19" y="1027"/>
                </a:lnTo>
                <a:lnTo>
                  <a:pt x="19" y="1025"/>
                </a:lnTo>
                <a:lnTo>
                  <a:pt x="18" y="1024"/>
                </a:lnTo>
                <a:lnTo>
                  <a:pt x="18" y="1032"/>
                </a:lnTo>
                <a:lnTo>
                  <a:pt x="17" y="1033"/>
                </a:lnTo>
                <a:lnTo>
                  <a:pt x="15" y="1036"/>
                </a:lnTo>
                <a:lnTo>
                  <a:pt x="14" y="1037"/>
                </a:lnTo>
                <a:lnTo>
                  <a:pt x="14" y="1036"/>
                </a:lnTo>
                <a:lnTo>
                  <a:pt x="13" y="1036"/>
                </a:lnTo>
                <a:lnTo>
                  <a:pt x="12" y="1037"/>
                </a:lnTo>
                <a:lnTo>
                  <a:pt x="11" y="1036"/>
                </a:lnTo>
                <a:lnTo>
                  <a:pt x="12" y="1035"/>
                </a:lnTo>
                <a:lnTo>
                  <a:pt x="12" y="1033"/>
                </a:lnTo>
                <a:lnTo>
                  <a:pt x="13" y="1033"/>
                </a:lnTo>
                <a:lnTo>
                  <a:pt x="13" y="1030"/>
                </a:lnTo>
                <a:lnTo>
                  <a:pt x="12" y="1030"/>
                </a:lnTo>
                <a:lnTo>
                  <a:pt x="12" y="1031"/>
                </a:lnTo>
                <a:lnTo>
                  <a:pt x="11" y="1032"/>
                </a:lnTo>
                <a:lnTo>
                  <a:pt x="11" y="1033"/>
                </a:lnTo>
                <a:lnTo>
                  <a:pt x="10" y="1033"/>
                </a:lnTo>
                <a:lnTo>
                  <a:pt x="10" y="1032"/>
                </a:lnTo>
                <a:lnTo>
                  <a:pt x="12" y="1029"/>
                </a:lnTo>
                <a:lnTo>
                  <a:pt x="12" y="1027"/>
                </a:lnTo>
                <a:lnTo>
                  <a:pt x="10" y="1030"/>
                </a:lnTo>
                <a:lnTo>
                  <a:pt x="10" y="1031"/>
                </a:lnTo>
                <a:lnTo>
                  <a:pt x="8" y="1032"/>
                </a:lnTo>
                <a:lnTo>
                  <a:pt x="7" y="1031"/>
                </a:lnTo>
                <a:lnTo>
                  <a:pt x="6" y="1031"/>
                </a:lnTo>
                <a:lnTo>
                  <a:pt x="5" y="1033"/>
                </a:lnTo>
                <a:lnTo>
                  <a:pt x="5" y="1031"/>
                </a:lnTo>
                <a:lnTo>
                  <a:pt x="4" y="1029"/>
                </a:lnTo>
                <a:lnTo>
                  <a:pt x="4" y="1027"/>
                </a:lnTo>
                <a:lnTo>
                  <a:pt x="5" y="1026"/>
                </a:lnTo>
                <a:lnTo>
                  <a:pt x="6" y="1027"/>
                </a:lnTo>
                <a:lnTo>
                  <a:pt x="6" y="1025"/>
                </a:lnTo>
                <a:lnTo>
                  <a:pt x="7" y="1024"/>
                </a:lnTo>
                <a:lnTo>
                  <a:pt x="7" y="1023"/>
                </a:lnTo>
                <a:lnTo>
                  <a:pt x="6" y="1023"/>
                </a:lnTo>
                <a:lnTo>
                  <a:pt x="6" y="1021"/>
                </a:lnTo>
                <a:lnTo>
                  <a:pt x="5" y="1020"/>
                </a:lnTo>
                <a:lnTo>
                  <a:pt x="6" y="1019"/>
                </a:lnTo>
                <a:lnTo>
                  <a:pt x="6" y="1015"/>
                </a:lnTo>
                <a:lnTo>
                  <a:pt x="7" y="1015"/>
                </a:lnTo>
                <a:lnTo>
                  <a:pt x="7" y="1014"/>
                </a:lnTo>
                <a:lnTo>
                  <a:pt x="6" y="1014"/>
                </a:lnTo>
                <a:lnTo>
                  <a:pt x="6" y="1008"/>
                </a:lnTo>
                <a:lnTo>
                  <a:pt x="4" y="1006"/>
                </a:lnTo>
                <a:lnTo>
                  <a:pt x="4" y="1005"/>
                </a:lnTo>
                <a:lnTo>
                  <a:pt x="5" y="1003"/>
                </a:lnTo>
                <a:lnTo>
                  <a:pt x="2" y="1003"/>
                </a:lnTo>
                <a:lnTo>
                  <a:pt x="2" y="1001"/>
                </a:lnTo>
                <a:lnTo>
                  <a:pt x="4" y="1000"/>
                </a:lnTo>
                <a:lnTo>
                  <a:pt x="4" y="997"/>
                </a:lnTo>
                <a:lnTo>
                  <a:pt x="5" y="997"/>
                </a:lnTo>
                <a:lnTo>
                  <a:pt x="5" y="993"/>
                </a:lnTo>
                <a:lnTo>
                  <a:pt x="4" y="993"/>
                </a:lnTo>
                <a:lnTo>
                  <a:pt x="4" y="987"/>
                </a:lnTo>
                <a:lnTo>
                  <a:pt x="1" y="986"/>
                </a:lnTo>
                <a:lnTo>
                  <a:pt x="0" y="984"/>
                </a:lnTo>
                <a:lnTo>
                  <a:pt x="0" y="982"/>
                </a:lnTo>
                <a:lnTo>
                  <a:pt x="1" y="982"/>
                </a:lnTo>
                <a:lnTo>
                  <a:pt x="2" y="981"/>
                </a:lnTo>
                <a:lnTo>
                  <a:pt x="0" y="981"/>
                </a:lnTo>
                <a:lnTo>
                  <a:pt x="0" y="977"/>
                </a:lnTo>
                <a:lnTo>
                  <a:pt x="5" y="972"/>
                </a:lnTo>
                <a:lnTo>
                  <a:pt x="10" y="972"/>
                </a:lnTo>
                <a:lnTo>
                  <a:pt x="11" y="975"/>
                </a:lnTo>
                <a:lnTo>
                  <a:pt x="11" y="976"/>
                </a:lnTo>
                <a:lnTo>
                  <a:pt x="12" y="978"/>
                </a:lnTo>
                <a:lnTo>
                  <a:pt x="13" y="980"/>
                </a:lnTo>
                <a:lnTo>
                  <a:pt x="13" y="981"/>
                </a:lnTo>
                <a:lnTo>
                  <a:pt x="14" y="983"/>
                </a:lnTo>
                <a:lnTo>
                  <a:pt x="14" y="988"/>
                </a:lnTo>
                <a:lnTo>
                  <a:pt x="15" y="989"/>
                </a:lnTo>
                <a:lnTo>
                  <a:pt x="21" y="989"/>
                </a:lnTo>
                <a:lnTo>
                  <a:pt x="23" y="987"/>
                </a:lnTo>
                <a:lnTo>
                  <a:pt x="24" y="982"/>
                </a:lnTo>
                <a:lnTo>
                  <a:pt x="25" y="980"/>
                </a:lnTo>
                <a:lnTo>
                  <a:pt x="25" y="978"/>
                </a:lnTo>
                <a:lnTo>
                  <a:pt x="26" y="975"/>
                </a:lnTo>
                <a:lnTo>
                  <a:pt x="26" y="969"/>
                </a:lnTo>
                <a:lnTo>
                  <a:pt x="27" y="963"/>
                </a:lnTo>
                <a:lnTo>
                  <a:pt x="29" y="962"/>
                </a:lnTo>
                <a:lnTo>
                  <a:pt x="29" y="960"/>
                </a:lnTo>
                <a:lnTo>
                  <a:pt x="30" y="959"/>
                </a:lnTo>
                <a:lnTo>
                  <a:pt x="30" y="958"/>
                </a:lnTo>
                <a:lnTo>
                  <a:pt x="29" y="956"/>
                </a:lnTo>
                <a:lnTo>
                  <a:pt x="29" y="950"/>
                </a:lnTo>
                <a:lnTo>
                  <a:pt x="24" y="934"/>
                </a:lnTo>
                <a:lnTo>
                  <a:pt x="24" y="928"/>
                </a:lnTo>
                <a:lnTo>
                  <a:pt x="30" y="926"/>
                </a:lnTo>
                <a:lnTo>
                  <a:pt x="31" y="925"/>
                </a:lnTo>
                <a:lnTo>
                  <a:pt x="32" y="921"/>
                </a:lnTo>
                <a:lnTo>
                  <a:pt x="33" y="921"/>
                </a:lnTo>
                <a:lnTo>
                  <a:pt x="33" y="915"/>
                </a:lnTo>
                <a:lnTo>
                  <a:pt x="32" y="914"/>
                </a:lnTo>
                <a:lnTo>
                  <a:pt x="32" y="913"/>
                </a:lnTo>
                <a:lnTo>
                  <a:pt x="31" y="911"/>
                </a:lnTo>
                <a:lnTo>
                  <a:pt x="31" y="908"/>
                </a:lnTo>
                <a:lnTo>
                  <a:pt x="32" y="907"/>
                </a:lnTo>
                <a:lnTo>
                  <a:pt x="32" y="906"/>
                </a:lnTo>
                <a:lnTo>
                  <a:pt x="43" y="906"/>
                </a:lnTo>
                <a:lnTo>
                  <a:pt x="50" y="901"/>
                </a:lnTo>
                <a:lnTo>
                  <a:pt x="56" y="892"/>
                </a:lnTo>
                <a:lnTo>
                  <a:pt x="57" y="890"/>
                </a:lnTo>
                <a:lnTo>
                  <a:pt x="60" y="883"/>
                </a:lnTo>
                <a:lnTo>
                  <a:pt x="60" y="880"/>
                </a:lnTo>
                <a:lnTo>
                  <a:pt x="58" y="874"/>
                </a:lnTo>
                <a:lnTo>
                  <a:pt x="58" y="870"/>
                </a:lnTo>
                <a:lnTo>
                  <a:pt x="61" y="866"/>
                </a:lnTo>
                <a:lnTo>
                  <a:pt x="62" y="865"/>
                </a:lnTo>
                <a:lnTo>
                  <a:pt x="62" y="864"/>
                </a:lnTo>
                <a:lnTo>
                  <a:pt x="63" y="861"/>
                </a:lnTo>
                <a:lnTo>
                  <a:pt x="63" y="855"/>
                </a:lnTo>
                <a:lnTo>
                  <a:pt x="62" y="853"/>
                </a:lnTo>
                <a:lnTo>
                  <a:pt x="57" y="841"/>
                </a:lnTo>
                <a:lnTo>
                  <a:pt x="54" y="833"/>
                </a:lnTo>
                <a:lnTo>
                  <a:pt x="51" y="826"/>
                </a:lnTo>
                <a:lnTo>
                  <a:pt x="50" y="820"/>
                </a:lnTo>
                <a:lnTo>
                  <a:pt x="50" y="817"/>
                </a:lnTo>
                <a:lnTo>
                  <a:pt x="48" y="812"/>
                </a:lnTo>
                <a:lnTo>
                  <a:pt x="48" y="811"/>
                </a:lnTo>
                <a:lnTo>
                  <a:pt x="49" y="810"/>
                </a:lnTo>
                <a:lnTo>
                  <a:pt x="58" y="806"/>
                </a:lnTo>
                <a:lnTo>
                  <a:pt x="61" y="806"/>
                </a:lnTo>
                <a:lnTo>
                  <a:pt x="66" y="808"/>
                </a:lnTo>
                <a:lnTo>
                  <a:pt x="67" y="808"/>
                </a:lnTo>
                <a:lnTo>
                  <a:pt x="67" y="806"/>
                </a:lnTo>
                <a:lnTo>
                  <a:pt x="68" y="805"/>
                </a:lnTo>
                <a:lnTo>
                  <a:pt x="68" y="799"/>
                </a:lnTo>
                <a:lnTo>
                  <a:pt x="69" y="798"/>
                </a:lnTo>
                <a:lnTo>
                  <a:pt x="74" y="788"/>
                </a:lnTo>
                <a:lnTo>
                  <a:pt x="75" y="780"/>
                </a:lnTo>
                <a:lnTo>
                  <a:pt x="75" y="779"/>
                </a:lnTo>
                <a:lnTo>
                  <a:pt x="74" y="779"/>
                </a:lnTo>
                <a:lnTo>
                  <a:pt x="63" y="763"/>
                </a:lnTo>
                <a:lnTo>
                  <a:pt x="61" y="761"/>
                </a:lnTo>
                <a:lnTo>
                  <a:pt x="56" y="761"/>
                </a:lnTo>
                <a:lnTo>
                  <a:pt x="55" y="760"/>
                </a:lnTo>
                <a:lnTo>
                  <a:pt x="51" y="755"/>
                </a:lnTo>
                <a:lnTo>
                  <a:pt x="44" y="748"/>
                </a:lnTo>
                <a:lnTo>
                  <a:pt x="44" y="747"/>
                </a:lnTo>
                <a:lnTo>
                  <a:pt x="48" y="724"/>
                </a:lnTo>
                <a:lnTo>
                  <a:pt x="50" y="701"/>
                </a:lnTo>
                <a:lnTo>
                  <a:pt x="50" y="697"/>
                </a:lnTo>
                <a:lnTo>
                  <a:pt x="49" y="692"/>
                </a:lnTo>
                <a:lnTo>
                  <a:pt x="40" y="669"/>
                </a:lnTo>
                <a:lnTo>
                  <a:pt x="40" y="668"/>
                </a:lnTo>
                <a:lnTo>
                  <a:pt x="42" y="665"/>
                </a:lnTo>
                <a:lnTo>
                  <a:pt x="43" y="661"/>
                </a:lnTo>
                <a:lnTo>
                  <a:pt x="44" y="658"/>
                </a:lnTo>
                <a:lnTo>
                  <a:pt x="44" y="656"/>
                </a:lnTo>
                <a:lnTo>
                  <a:pt x="42" y="642"/>
                </a:lnTo>
                <a:lnTo>
                  <a:pt x="42" y="638"/>
                </a:lnTo>
                <a:lnTo>
                  <a:pt x="46" y="631"/>
                </a:lnTo>
                <a:lnTo>
                  <a:pt x="39" y="612"/>
                </a:lnTo>
                <a:lnTo>
                  <a:pt x="37" y="605"/>
                </a:lnTo>
                <a:lnTo>
                  <a:pt x="46" y="589"/>
                </a:lnTo>
                <a:lnTo>
                  <a:pt x="46" y="584"/>
                </a:lnTo>
                <a:lnTo>
                  <a:pt x="44" y="575"/>
                </a:lnTo>
                <a:lnTo>
                  <a:pt x="50" y="570"/>
                </a:lnTo>
                <a:lnTo>
                  <a:pt x="57" y="554"/>
                </a:lnTo>
                <a:lnTo>
                  <a:pt x="66" y="541"/>
                </a:lnTo>
                <a:lnTo>
                  <a:pt x="69" y="538"/>
                </a:lnTo>
                <a:lnTo>
                  <a:pt x="79" y="530"/>
                </a:lnTo>
                <a:lnTo>
                  <a:pt x="89" y="528"/>
                </a:lnTo>
                <a:lnTo>
                  <a:pt x="104" y="532"/>
                </a:lnTo>
                <a:lnTo>
                  <a:pt x="119" y="535"/>
                </a:lnTo>
                <a:lnTo>
                  <a:pt x="120" y="535"/>
                </a:lnTo>
                <a:lnTo>
                  <a:pt x="120" y="534"/>
                </a:lnTo>
                <a:lnTo>
                  <a:pt x="128" y="520"/>
                </a:lnTo>
                <a:lnTo>
                  <a:pt x="129" y="519"/>
                </a:lnTo>
                <a:lnTo>
                  <a:pt x="129" y="516"/>
                </a:lnTo>
                <a:lnTo>
                  <a:pt x="126" y="493"/>
                </a:lnTo>
                <a:lnTo>
                  <a:pt x="125" y="491"/>
                </a:lnTo>
                <a:lnTo>
                  <a:pt x="124" y="490"/>
                </a:lnTo>
                <a:lnTo>
                  <a:pt x="120" y="490"/>
                </a:lnTo>
                <a:lnTo>
                  <a:pt x="119" y="489"/>
                </a:lnTo>
                <a:lnTo>
                  <a:pt x="106" y="479"/>
                </a:lnTo>
                <a:lnTo>
                  <a:pt x="118" y="460"/>
                </a:lnTo>
                <a:lnTo>
                  <a:pt x="129" y="440"/>
                </a:lnTo>
                <a:lnTo>
                  <a:pt x="135" y="430"/>
                </a:lnTo>
                <a:lnTo>
                  <a:pt x="136" y="427"/>
                </a:lnTo>
                <a:lnTo>
                  <a:pt x="137" y="417"/>
                </a:lnTo>
                <a:lnTo>
                  <a:pt x="138" y="415"/>
                </a:lnTo>
                <a:lnTo>
                  <a:pt x="138" y="412"/>
                </a:lnTo>
                <a:lnTo>
                  <a:pt x="142" y="410"/>
                </a:lnTo>
                <a:lnTo>
                  <a:pt x="143" y="406"/>
                </a:lnTo>
                <a:lnTo>
                  <a:pt x="143" y="392"/>
                </a:lnTo>
                <a:lnTo>
                  <a:pt x="145" y="368"/>
                </a:lnTo>
                <a:lnTo>
                  <a:pt x="145" y="366"/>
                </a:lnTo>
                <a:lnTo>
                  <a:pt x="149" y="360"/>
                </a:lnTo>
                <a:lnTo>
                  <a:pt x="149" y="353"/>
                </a:lnTo>
                <a:lnTo>
                  <a:pt x="144" y="324"/>
                </a:lnTo>
                <a:lnTo>
                  <a:pt x="155" y="323"/>
                </a:lnTo>
                <a:lnTo>
                  <a:pt x="166" y="320"/>
                </a:lnTo>
                <a:lnTo>
                  <a:pt x="185" y="308"/>
                </a:lnTo>
                <a:lnTo>
                  <a:pt x="185" y="301"/>
                </a:lnTo>
                <a:lnTo>
                  <a:pt x="184" y="300"/>
                </a:lnTo>
                <a:lnTo>
                  <a:pt x="182" y="288"/>
                </a:lnTo>
                <a:lnTo>
                  <a:pt x="182" y="286"/>
                </a:lnTo>
                <a:lnTo>
                  <a:pt x="192" y="274"/>
                </a:lnTo>
                <a:lnTo>
                  <a:pt x="207" y="243"/>
                </a:lnTo>
                <a:lnTo>
                  <a:pt x="211" y="238"/>
                </a:lnTo>
                <a:lnTo>
                  <a:pt x="219" y="230"/>
                </a:lnTo>
                <a:lnTo>
                  <a:pt x="222" y="228"/>
                </a:lnTo>
                <a:lnTo>
                  <a:pt x="223" y="227"/>
                </a:lnTo>
                <a:lnTo>
                  <a:pt x="224" y="225"/>
                </a:lnTo>
                <a:lnTo>
                  <a:pt x="225" y="210"/>
                </a:lnTo>
                <a:lnTo>
                  <a:pt x="224" y="209"/>
                </a:lnTo>
                <a:lnTo>
                  <a:pt x="211" y="184"/>
                </a:lnTo>
                <a:lnTo>
                  <a:pt x="213" y="177"/>
                </a:lnTo>
                <a:lnTo>
                  <a:pt x="215" y="175"/>
                </a:lnTo>
                <a:lnTo>
                  <a:pt x="222" y="173"/>
                </a:lnTo>
                <a:lnTo>
                  <a:pt x="224" y="172"/>
                </a:lnTo>
                <a:lnTo>
                  <a:pt x="226" y="170"/>
                </a:lnTo>
                <a:lnTo>
                  <a:pt x="231" y="163"/>
                </a:lnTo>
                <a:lnTo>
                  <a:pt x="231" y="160"/>
                </a:lnTo>
                <a:lnTo>
                  <a:pt x="238" y="134"/>
                </a:lnTo>
                <a:lnTo>
                  <a:pt x="240" y="132"/>
                </a:lnTo>
                <a:lnTo>
                  <a:pt x="240" y="130"/>
                </a:lnTo>
                <a:lnTo>
                  <a:pt x="257" y="116"/>
                </a:lnTo>
                <a:lnTo>
                  <a:pt x="261" y="109"/>
                </a:lnTo>
                <a:lnTo>
                  <a:pt x="262" y="109"/>
                </a:lnTo>
                <a:lnTo>
                  <a:pt x="286" y="123"/>
                </a:lnTo>
                <a:lnTo>
                  <a:pt x="287" y="123"/>
                </a:lnTo>
                <a:lnTo>
                  <a:pt x="290" y="118"/>
                </a:lnTo>
                <a:lnTo>
                  <a:pt x="298" y="103"/>
                </a:lnTo>
                <a:lnTo>
                  <a:pt x="298" y="98"/>
                </a:lnTo>
                <a:lnTo>
                  <a:pt x="296" y="75"/>
                </a:lnTo>
                <a:lnTo>
                  <a:pt x="296" y="72"/>
                </a:lnTo>
                <a:lnTo>
                  <a:pt x="297" y="61"/>
                </a:lnTo>
                <a:lnTo>
                  <a:pt x="297" y="60"/>
                </a:lnTo>
                <a:lnTo>
                  <a:pt x="298" y="59"/>
                </a:lnTo>
                <a:lnTo>
                  <a:pt x="309" y="55"/>
                </a:lnTo>
                <a:lnTo>
                  <a:pt x="311" y="56"/>
                </a:lnTo>
                <a:lnTo>
                  <a:pt x="317" y="63"/>
                </a:lnTo>
                <a:lnTo>
                  <a:pt x="319" y="63"/>
                </a:lnTo>
                <a:lnTo>
                  <a:pt x="334" y="62"/>
                </a:lnTo>
                <a:lnTo>
                  <a:pt x="353" y="72"/>
                </a:lnTo>
                <a:lnTo>
                  <a:pt x="372" y="80"/>
                </a:lnTo>
                <a:lnTo>
                  <a:pt x="373" y="80"/>
                </a:lnTo>
                <a:lnTo>
                  <a:pt x="375" y="79"/>
                </a:lnTo>
                <a:lnTo>
                  <a:pt x="385" y="66"/>
                </a:lnTo>
                <a:lnTo>
                  <a:pt x="373" y="59"/>
                </a:lnTo>
                <a:lnTo>
                  <a:pt x="381" y="50"/>
                </a:lnTo>
                <a:lnTo>
                  <a:pt x="385" y="44"/>
                </a:lnTo>
                <a:lnTo>
                  <a:pt x="389" y="32"/>
                </a:lnTo>
                <a:lnTo>
                  <a:pt x="390" y="30"/>
                </a:lnTo>
                <a:lnTo>
                  <a:pt x="390" y="16"/>
                </a:lnTo>
                <a:lnTo>
                  <a:pt x="379" y="3"/>
                </a:lnTo>
                <a:lnTo>
                  <a:pt x="390" y="1"/>
                </a:lnTo>
                <a:lnTo>
                  <a:pt x="402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Freeform 14">
            <a:extLst>
              <a:ext uri="{FF2B5EF4-FFF2-40B4-BE49-F238E27FC236}">
                <a16:creationId xmlns:a16="http://schemas.microsoft.com/office/drawing/2014/main" id="{F0466D18-CC5F-46EE-9321-385B0CE3C39D}"/>
              </a:ext>
            </a:extLst>
          </p:cNvPr>
          <p:cNvSpPr>
            <a:spLocks/>
          </p:cNvSpPr>
          <p:nvPr/>
        </p:nvSpPr>
        <p:spPr bwMode="auto">
          <a:xfrm>
            <a:off x="1989492" y="5255159"/>
            <a:ext cx="5796" cy="8694"/>
          </a:xfrm>
          <a:custGeom>
            <a:avLst/>
            <a:gdLst/>
            <a:ahLst/>
            <a:cxnLst>
              <a:cxn ang="0">
                <a:pos x="3" y="0"/>
              </a:cxn>
              <a:cxn ang="0">
                <a:pos x="4" y="1"/>
              </a:cxn>
              <a:cxn ang="0">
                <a:pos x="4" y="3"/>
              </a:cxn>
              <a:cxn ang="0">
                <a:pos x="3" y="4"/>
              </a:cxn>
              <a:cxn ang="0">
                <a:pos x="3" y="6"/>
              </a:cxn>
              <a:cxn ang="0">
                <a:pos x="1" y="6"/>
              </a:cxn>
              <a:cxn ang="0">
                <a:pos x="0" y="5"/>
              </a:cxn>
              <a:cxn ang="0">
                <a:pos x="0" y="3"/>
              </a:cxn>
              <a:cxn ang="0">
                <a:pos x="1" y="1"/>
              </a:cxn>
              <a:cxn ang="0">
                <a:pos x="2" y="1"/>
              </a:cxn>
              <a:cxn ang="0">
                <a:pos x="3" y="0"/>
              </a:cxn>
            </a:cxnLst>
            <a:rect l="0" t="0" r="r" b="b"/>
            <a:pathLst>
              <a:path w="4" h="6">
                <a:moveTo>
                  <a:pt x="3" y="0"/>
                </a:moveTo>
                <a:lnTo>
                  <a:pt x="4" y="1"/>
                </a:lnTo>
                <a:lnTo>
                  <a:pt x="4" y="3"/>
                </a:lnTo>
                <a:lnTo>
                  <a:pt x="3" y="4"/>
                </a:lnTo>
                <a:lnTo>
                  <a:pt x="3" y="6"/>
                </a:lnTo>
                <a:lnTo>
                  <a:pt x="1" y="6"/>
                </a:lnTo>
                <a:lnTo>
                  <a:pt x="0" y="5"/>
                </a:lnTo>
                <a:lnTo>
                  <a:pt x="0" y="3"/>
                </a:lnTo>
                <a:lnTo>
                  <a:pt x="1" y="1"/>
                </a:lnTo>
                <a:lnTo>
                  <a:pt x="2" y="1"/>
                </a:lnTo>
                <a:lnTo>
                  <a:pt x="3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" name="Freeform 15">
            <a:extLst>
              <a:ext uri="{FF2B5EF4-FFF2-40B4-BE49-F238E27FC236}">
                <a16:creationId xmlns:a16="http://schemas.microsoft.com/office/drawing/2014/main" id="{FEBE9562-62BF-482C-A012-D81E56572736}"/>
              </a:ext>
            </a:extLst>
          </p:cNvPr>
          <p:cNvSpPr>
            <a:spLocks/>
          </p:cNvSpPr>
          <p:nvPr/>
        </p:nvSpPr>
        <p:spPr bwMode="auto">
          <a:xfrm>
            <a:off x="2048898" y="5004492"/>
            <a:ext cx="192709" cy="127507"/>
          </a:xfrm>
          <a:custGeom>
            <a:avLst/>
            <a:gdLst/>
            <a:ahLst/>
            <a:cxnLst>
              <a:cxn ang="0">
                <a:pos x="123" y="6"/>
              </a:cxn>
              <a:cxn ang="0">
                <a:pos x="128" y="13"/>
              </a:cxn>
              <a:cxn ang="0">
                <a:pos x="129" y="17"/>
              </a:cxn>
              <a:cxn ang="0">
                <a:pos x="131" y="21"/>
              </a:cxn>
              <a:cxn ang="0">
                <a:pos x="124" y="21"/>
              </a:cxn>
              <a:cxn ang="0">
                <a:pos x="122" y="26"/>
              </a:cxn>
              <a:cxn ang="0">
                <a:pos x="118" y="31"/>
              </a:cxn>
              <a:cxn ang="0">
                <a:pos x="115" y="31"/>
              </a:cxn>
              <a:cxn ang="0">
                <a:pos x="111" y="36"/>
              </a:cxn>
              <a:cxn ang="0">
                <a:pos x="104" y="38"/>
              </a:cxn>
              <a:cxn ang="0">
                <a:pos x="96" y="42"/>
              </a:cxn>
              <a:cxn ang="0">
                <a:pos x="97" y="50"/>
              </a:cxn>
              <a:cxn ang="0">
                <a:pos x="97" y="63"/>
              </a:cxn>
              <a:cxn ang="0">
                <a:pos x="91" y="64"/>
              </a:cxn>
              <a:cxn ang="0">
                <a:pos x="81" y="69"/>
              </a:cxn>
              <a:cxn ang="0">
                <a:pos x="80" y="73"/>
              </a:cxn>
              <a:cxn ang="0">
                <a:pos x="81" y="75"/>
              </a:cxn>
              <a:cxn ang="0">
                <a:pos x="81" y="84"/>
              </a:cxn>
              <a:cxn ang="0">
                <a:pos x="78" y="87"/>
              </a:cxn>
              <a:cxn ang="0">
                <a:pos x="68" y="85"/>
              </a:cxn>
              <a:cxn ang="0">
                <a:pos x="65" y="82"/>
              </a:cxn>
              <a:cxn ang="0">
                <a:pos x="60" y="84"/>
              </a:cxn>
              <a:cxn ang="0">
                <a:pos x="53" y="78"/>
              </a:cxn>
              <a:cxn ang="0">
                <a:pos x="49" y="75"/>
              </a:cxn>
              <a:cxn ang="0">
                <a:pos x="42" y="85"/>
              </a:cxn>
              <a:cxn ang="0">
                <a:pos x="33" y="85"/>
              </a:cxn>
              <a:cxn ang="0">
                <a:pos x="27" y="82"/>
              </a:cxn>
              <a:cxn ang="0">
                <a:pos x="22" y="88"/>
              </a:cxn>
              <a:cxn ang="0">
                <a:pos x="17" y="86"/>
              </a:cxn>
              <a:cxn ang="0">
                <a:pos x="9" y="82"/>
              </a:cxn>
              <a:cxn ang="0">
                <a:pos x="16" y="79"/>
              </a:cxn>
              <a:cxn ang="0">
                <a:pos x="18" y="79"/>
              </a:cxn>
              <a:cxn ang="0">
                <a:pos x="22" y="75"/>
              </a:cxn>
              <a:cxn ang="0">
                <a:pos x="15" y="68"/>
              </a:cxn>
              <a:cxn ang="0">
                <a:pos x="9" y="62"/>
              </a:cxn>
              <a:cxn ang="0">
                <a:pos x="10" y="54"/>
              </a:cxn>
              <a:cxn ang="0">
                <a:pos x="4" y="54"/>
              </a:cxn>
              <a:cxn ang="0">
                <a:pos x="10" y="45"/>
              </a:cxn>
              <a:cxn ang="0">
                <a:pos x="6" y="41"/>
              </a:cxn>
              <a:cxn ang="0">
                <a:pos x="3" y="41"/>
              </a:cxn>
              <a:cxn ang="0">
                <a:pos x="0" y="36"/>
              </a:cxn>
              <a:cxn ang="0">
                <a:pos x="5" y="31"/>
              </a:cxn>
              <a:cxn ang="0">
                <a:pos x="15" y="21"/>
              </a:cxn>
              <a:cxn ang="0">
                <a:pos x="22" y="23"/>
              </a:cxn>
              <a:cxn ang="0">
                <a:pos x="43" y="26"/>
              </a:cxn>
              <a:cxn ang="0">
                <a:pos x="47" y="29"/>
              </a:cxn>
              <a:cxn ang="0">
                <a:pos x="50" y="30"/>
              </a:cxn>
              <a:cxn ang="0">
                <a:pos x="54" y="26"/>
              </a:cxn>
              <a:cxn ang="0">
                <a:pos x="58" y="24"/>
              </a:cxn>
              <a:cxn ang="0">
                <a:pos x="61" y="20"/>
              </a:cxn>
              <a:cxn ang="0">
                <a:pos x="65" y="17"/>
              </a:cxn>
              <a:cxn ang="0">
                <a:pos x="69" y="14"/>
              </a:cxn>
              <a:cxn ang="0">
                <a:pos x="87" y="15"/>
              </a:cxn>
              <a:cxn ang="0">
                <a:pos x="96" y="12"/>
              </a:cxn>
              <a:cxn ang="0">
                <a:pos x="100" y="11"/>
              </a:cxn>
              <a:cxn ang="0">
                <a:pos x="110" y="11"/>
              </a:cxn>
              <a:cxn ang="0">
                <a:pos x="110" y="2"/>
              </a:cxn>
              <a:cxn ang="0">
                <a:pos x="122" y="0"/>
              </a:cxn>
            </a:cxnLst>
            <a:rect l="0" t="0" r="r" b="b"/>
            <a:pathLst>
              <a:path w="133" h="88">
                <a:moveTo>
                  <a:pt x="122" y="0"/>
                </a:moveTo>
                <a:lnTo>
                  <a:pt x="124" y="2"/>
                </a:lnTo>
                <a:lnTo>
                  <a:pt x="124" y="5"/>
                </a:lnTo>
                <a:lnTo>
                  <a:pt x="123" y="6"/>
                </a:lnTo>
                <a:lnTo>
                  <a:pt x="124" y="8"/>
                </a:lnTo>
                <a:lnTo>
                  <a:pt x="127" y="11"/>
                </a:lnTo>
                <a:lnTo>
                  <a:pt x="128" y="11"/>
                </a:lnTo>
                <a:lnTo>
                  <a:pt x="128" y="13"/>
                </a:lnTo>
                <a:lnTo>
                  <a:pt x="127" y="13"/>
                </a:lnTo>
                <a:lnTo>
                  <a:pt x="127" y="15"/>
                </a:lnTo>
                <a:lnTo>
                  <a:pt x="128" y="15"/>
                </a:lnTo>
                <a:lnTo>
                  <a:pt x="129" y="17"/>
                </a:lnTo>
                <a:lnTo>
                  <a:pt x="130" y="19"/>
                </a:lnTo>
                <a:lnTo>
                  <a:pt x="133" y="20"/>
                </a:lnTo>
                <a:lnTo>
                  <a:pt x="133" y="23"/>
                </a:lnTo>
                <a:lnTo>
                  <a:pt x="131" y="21"/>
                </a:lnTo>
                <a:lnTo>
                  <a:pt x="129" y="21"/>
                </a:lnTo>
                <a:lnTo>
                  <a:pt x="129" y="20"/>
                </a:lnTo>
                <a:lnTo>
                  <a:pt x="125" y="20"/>
                </a:lnTo>
                <a:lnTo>
                  <a:pt x="124" y="21"/>
                </a:lnTo>
                <a:lnTo>
                  <a:pt x="122" y="21"/>
                </a:lnTo>
                <a:lnTo>
                  <a:pt x="121" y="24"/>
                </a:lnTo>
                <a:lnTo>
                  <a:pt x="121" y="25"/>
                </a:lnTo>
                <a:lnTo>
                  <a:pt x="122" y="26"/>
                </a:lnTo>
                <a:lnTo>
                  <a:pt x="122" y="29"/>
                </a:lnTo>
                <a:lnTo>
                  <a:pt x="123" y="30"/>
                </a:lnTo>
                <a:lnTo>
                  <a:pt x="123" y="31"/>
                </a:lnTo>
                <a:lnTo>
                  <a:pt x="118" y="31"/>
                </a:lnTo>
                <a:lnTo>
                  <a:pt x="117" y="30"/>
                </a:lnTo>
                <a:lnTo>
                  <a:pt x="116" y="30"/>
                </a:lnTo>
                <a:lnTo>
                  <a:pt x="116" y="31"/>
                </a:lnTo>
                <a:lnTo>
                  <a:pt x="115" y="31"/>
                </a:lnTo>
                <a:lnTo>
                  <a:pt x="114" y="30"/>
                </a:lnTo>
                <a:lnTo>
                  <a:pt x="114" y="35"/>
                </a:lnTo>
                <a:lnTo>
                  <a:pt x="112" y="35"/>
                </a:lnTo>
                <a:lnTo>
                  <a:pt x="111" y="36"/>
                </a:lnTo>
                <a:lnTo>
                  <a:pt x="109" y="36"/>
                </a:lnTo>
                <a:lnTo>
                  <a:pt x="108" y="37"/>
                </a:lnTo>
                <a:lnTo>
                  <a:pt x="106" y="37"/>
                </a:lnTo>
                <a:lnTo>
                  <a:pt x="104" y="38"/>
                </a:lnTo>
                <a:lnTo>
                  <a:pt x="102" y="38"/>
                </a:lnTo>
                <a:lnTo>
                  <a:pt x="102" y="41"/>
                </a:lnTo>
                <a:lnTo>
                  <a:pt x="96" y="41"/>
                </a:lnTo>
                <a:lnTo>
                  <a:pt x="96" y="42"/>
                </a:lnTo>
                <a:lnTo>
                  <a:pt x="94" y="43"/>
                </a:lnTo>
                <a:lnTo>
                  <a:pt x="93" y="45"/>
                </a:lnTo>
                <a:lnTo>
                  <a:pt x="93" y="47"/>
                </a:lnTo>
                <a:lnTo>
                  <a:pt x="97" y="50"/>
                </a:lnTo>
                <a:lnTo>
                  <a:pt x="98" y="50"/>
                </a:lnTo>
                <a:lnTo>
                  <a:pt x="98" y="52"/>
                </a:lnTo>
                <a:lnTo>
                  <a:pt x="97" y="54"/>
                </a:lnTo>
                <a:lnTo>
                  <a:pt x="97" y="63"/>
                </a:lnTo>
                <a:lnTo>
                  <a:pt x="96" y="64"/>
                </a:lnTo>
                <a:lnTo>
                  <a:pt x="92" y="64"/>
                </a:lnTo>
                <a:lnTo>
                  <a:pt x="91" y="63"/>
                </a:lnTo>
                <a:lnTo>
                  <a:pt x="91" y="64"/>
                </a:lnTo>
                <a:lnTo>
                  <a:pt x="87" y="64"/>
                </a:lnTo>
                <a:lnTo>
                  <a:pt x="87" y="67"/>
                </a:lnTo>
                <a:lnTo>
                  <a:pt x="81" y="68"/>
                </a:lnTo>
                <a:lnTo>
                  <a:pt x="81" y="69"/>
                </a:lnTo>
                <a:lnTo>
                  <a:pt x="80" y="69"/>
                </a:lnTo>
                <a:lnTo>
                  <a:pt x="79" y="70"/>
                </a:lnTo>
                <a:lnTo>
                  <a:pt x="80" y="72"/>
                </a:lnTo>
                <a:lnTo>
                  <a:pt x="80" y="73"/>
                </a:lnTo>
                <a:lnTo>
                  <a:pt x="84" y="73"/>
                </a:lnTo>
                <a:lnTo>
                  <a:pt x="84" y="74"/>
                </a:lnTo>
                <a:lnTo>
                  <a:pt x="85" y="75"/>
                </a:lnTo>
                <a:lnTo>
                  <a:pt x="81" y="75"/>
                </a:lnTo>
                <a:lnTo>
                  <a:pt x="80" y="78"/>
                </a:lnTo>
                <a:lnTo>
                  <a:pt x="80" y="79"/>
                </a:lnTo>
                <a:lnTo>
                  <a:pt x="81" y="81"/>
                </a:lnTo>
                <a:lnTo>
                  <a:pt x="81" y="84"/>
                </a:lnTo>
                <a:lnTo>
                  <a:pt x="84" y="85"/>
                </a:lnTo>
                <a:lnTo>
                  <a:pt x="81" y="86"/>
                </a:lnTo>
                <a:lnTo>
                  <a:pt x="80" y="86"/>
                </a:lnTo>
                <a:lnTo>
                  <a:pt x="78" y="87"/>
                </a:lnTo>
                <a:lnTo>
                  <a:pt x="77" y="88"/>
                </a:lnTo>
                <a:lnTo>
                  <a:pt x="74" y="87"/>
                </a:lnTo>
                <a:lnTo>
                  <a:pt x="72" y="85"/>
                </a:lnTo>
                <a:lnTo>
                  <a:pt x="68" y="85"/>
                </a:lnTo>
                <a:lnTo>
                  <a:pt x="68" y="84"/>
                </a:lnTo>
                <a:lnTo>
                  <a:pt x="67" y="84"/>
                </a:lnTo>
                <a:lnTo>
                  <a:pt x="66" y="82"/>
                </a:lnTo>
                <a:lnTo>
                  <a:pt x="65" y="82"/>
                </a:lnTo>
                <a:lnTo>
                  <a:pt x="65" y="84"/>
                </a:lnTo>
                <a:lnTo>
                  <a:pt x="62" y="86"/>
                </a:lnTo>
                <a:lnTo>
                  <a:pt x="60" y="86"/>
                </a:lnTo>
                <a:lnTo>
                  <a:pt x="60" y="84"/>
                </a:lnTo>
                <a:lnTo>
                  <a:pt x="55" y="82"/>
                </a:lnTo>
                <a:lnTo>
                  <a:pt x="55" y="79"/>
                </a:lnTo>
                <a:lnTo>
                  <a:pt x="54" y="79"/>
                </a:lnTo>
                <a:lnTo>
                  <a:pt x="53" y="78"/>
                </a:lnTo>
                <a:lnTo>
                  <a:pt x="52" y="78"/>
                </a:lnTo>
                <a:lnTo>
                  <a:pt x="52" y="74"/>
                </a:lnTo>
                <a:lnTo>
                  <a:pt x="50" y="74"/>
                </a:lnTo>
                <a:lnTo>
                  <a:pt x="49" y="75"/>
                </a:lnTo>
                <a:lnTo>
                  <a:pt x="49" y="76"/>
                </a:lnTo>
                <a:lnTo>
                  <a:pt x="47" y="79"/>
                </a:lnTo>
                <a:lnTo>
                  <a:pt x="47" y="82"/>
                </a:lnTo>
                <a:lnTo>
                  <a:pt x="42" y="85"/>
                </a:lnTo>
                <a:lnTo>
                  <a:pt x="38" y="85"/>
                </a:lnTo>
                <a:lnTo>
                  <a:pt x="37" y="84"/>
                </a:lnTo>
                <a:lnTo>
                  <a:pt x="35" y="84"/>
                </a:lnTo>
                <a:lnTo>
                  <a:pt x="33" y="85"/>
                </a:lnTo>
                <a:lnTo>
                  <a:pt x="29" y="85"/>
                </a:lnTo>
                <a:lnTo>
                  <a:pt x="29" y="84"/>
                </a:lnTo>
                <a:lnTo>
                  <a:pt x="28" y="84"/>
                </a:lnTo>
                <a:lnTo>
                  <a:pt x="27" y="82"/>
                </a:lnTo>
                <a:lnTo>
                  <a:pt x="25" y="82"/>
                </a:lnTo>
                <a:lnTo>
                  <a:pt x="25" y="86"/>
                </a:lnTo>
                <a:lnTo>
                  <a:pt x="23" y="87"/>
                </a:lnTo>
                <a:lnTo>
                  <a:pt x="22" y="88"/>
                </a:lnTo>
                <a:lnTo>
                  <a:pt x="19" y="88"/>
                </a:lnTo>
                <a:lnTo>
                  <a:pt x="19" y="87"/>
                </a:lnTo>
                <a:lnTo>
                  <a:pt x="18" y="87"/>
                </a:lnTo>
                <a:lnTo>
                  <a:pt x="17" y="86"/>
                </a:lnTo>
                <a:lnTo>
                  <a:pt x="11" y="86"/>
                </a:lnTo>
                <a:lnTo>
                  <a:pt x="10" y="85"/>
                </a:lnTo>
                <a:lnTo>
                  <a:pt x="10" y="82"/>
                </a:lnTo>
                <a:lnTo>
                  <a:pt x="9" y="82"/>
                </a:lnTo>
                <a:lnTo>
                  <a:pt x="9" y="81"/>
                </a:lnTo>
                <a:lnTo>
                  <a:pt x="13" y="81"/>
                </a:lnTo>
                <a:lnTo>
                  <a:pt x="16" y="80"/>
                </a:lnTo>
                <a:lnTo>
                  <a:pt x="16" y="79"/>
                </a:lnTo>
                <a:lnTo>
                  <a:pt x="15" y="79"/>
                </a:lnTo>
                <a:lnTo>
                  <a:pt x="15" y="78"/>
                </a:lnTo>
                <a:lnTo>
                  <a:pt x="17" y="78"/>
                </a:lnTo>
                <a:lnTo>
                  <a:pt x="18" y="79"/>
                </a:lnTo>
                <a:lnTo>
                  <a:pt x="21" y="79"/>
                </a:lnTo>
                <a:lnTo>
                  <a:pt x="21" y="78"/>
                </a:lnTo>
                <a:lnTo>
                  <a:pt x="22" y="76"/>
                </a:lnTo>
                <a:lnTo>
                  <a:pt x="22" y="75"/>
                </a:lnTo>
                <a:lnTo>
                  <a:pt x="21" y="75"/>
                </a:lnTo>
                <a:lnTo>
                  <a:pt x="21" y="74"/>
                </a:lnTo>
                <a:lnTo>
                  <a:pt x="17" y="69"/>
                </a:lnTo>
                <a:lnTo>
                  <a:pt x="15" y="68"/>
                </a:lnTo>
                <a:lnTo>
                  <a:pt x="12" y="66"/>
                </a:lnTo>
                <a:lnTo>
                  <a:pt x="10" y="66"/>
                </a:lnTo>
                <a:lnTo>
                  <a:pt x="9" y="64"/>
                </a:lnTo>
                <a:lnTo>
                  <a:pt x="9" y="62"/>
                </a:lnTo>
                <a:lnTo>
                  <a:pt x="10" y="58"/>
                </a:lnTo>
                <a:lnTo>
                  <a:pt x="10" y="56"/>
                </a:lnTo>
                <a:lnTo>
                  <a:pt x="11" y="55"/>
                </a:lnTo>
                <a:lnTo>
                  <a:pt x="10" y="54"/>
                </a:lnTo>
                <a:lnTo>
                  <a:pt x="9" y="55"/>
                </a:lnTo>
                <a:lnTo>
                  <a:pt x="6" y="55"/>
                </a:lnTo>
                <a:lnTo>
                  <a:pt x="5" y="54"/>
                </a:lnTo>
                <a:lnTo>
                  <a:pt x="4" y="54"/>
                </a:lnTo>
                <a:lnTo>
                  <a:pt x="4" y="52"/>
                </a:lnTo>
                <a:lnTo>
                  <a:pt x="5" y="52"/>
                </a:lnTo>
                <a:lnTo>
                  <a:pt x="5" y="50"/>
                </a:lnTo>
                <a:lnTo>
                  <a:pt x="10" y="45"/>
                </a:lnTo>
                <a:lnTo>
                  <a:pt x="11" y="43"/>
                </a:lnTo>
                <a:lnTo>
                  <a:pt x="11" y="42"/>
                </a:lnTo>
                <a:lnTo>
                  <a:pt x="7" y="42"/>
                </a:lnTo>
                <a:lnTo>
                  <a:pt x="6" y="41"/>
                </a:lnTo>
                <a:lnTo>
                  <a:pt x="5" y="41"/>
                </a:lnTo>
                <a:lnTo>
                  <a:pt x="4" y="39"/>
                </a:lnTo>
                <a:lnTo>
                  <a:pt x="3" y="39"/>
                </a:lnTo>
                <a:lnTo>
                  <a:pt x="3" y="41"/>
                </a:lnTo>
                <a:lnTo>
                  <a:pt x="2" y="41"/>
                </a:lnTo>
                <a:lnTo>
                  <a:pt x="2" y="39"/>
                </a:lnTo>
                <a:lnTo>
                  <a:pt x="0" y="38"/>
                </a:lnTo>
                <a:lnTo>
                  <a:pt x="0" y="36"/>
                </a:lnTo>
                <a:lnTo>
                  <a:pt x="2" y="35"/>
                </a:lnTo>
                <a:lnTo>
                  <a:pt x="2" y="33"/>
                </a:lnTo>
                <a:lnTo>
                  <a:pt x="4" y="31"/>
                </a:lnTo>
                <a:lnTo>
                  <a:pt x="5" y="31"/>
                </a:lnTo>
                <a:lnTo>
                  <a:pt x="10" y="26"/>
                </a:lnTo>
                <a:lnTo>
                  <a:pt x="13" y="26"/>
                </a:lnTo>
                <a:lnTo>
                  <a:pt x="13" y="21"/>
                </a:lnTo>
                <a:lnTo>
                  <a:pt x="15" y="21"/>
                </a:lnTo>
                <a:lnTo>
                  <a:pt x="17" y="23"/>
                </a:lnTo>
                <a:lnTo>
                  <a:pt x="18" y="23"/>
                </a:lnTo>
                <a:lnTo>
                  <a:pt x="21" y="21"/>
                </a:lnTo>
                <a:lnTo>
                  <a:pt x="22" y="23"/>
                </a:lnTo>
                <a:lnTo>
                  <a:pt x="25" y="24"/>
                </a:lnTo>
                <a:lnTo>
                  <a:pt x="30" y="24"/>
                </a:lnTo>
                <a:lnTo>
                  <a:pt x="33" y="26"/>
                </a:lnTo>
                <a:lnTo>
                  <a:pt x="43" y="26"/>
                </a:lnTo>
                <a:lnTo>
                  <a:pt x="44" y="27"/>
                </a:lnTo>
                <a:lnTo>
                  <a:pt x="46" y="27"/>
                </a:lnTo>
                <a:lnTo>
                  <a:pt x="46" y="29"/>
                </a:lnTo>
                <a:lnTo>
                  <a:pt x="47" y="29"/>
                </a:lnTo>
                <a:lnTo>
                  <a:pt x="48" y="27"/>
                </a:lnTo>
                <a:lnTo>
                  <a:pt x="48" y="29"/>
                </a:lnTo>
                <a:lnTo>
                  <a:pt x="49" y="30"/>
                </a:lnTo>
                <a:lnTo>
                  <a:pt x="50" y="30"/>
                </a:lnTo>
                <a:lnTo>
                  <a:pt x="50" y="27"/>
                </a:lnTo>
                <a:lnTo>
                  <a:pt x="52" y="27"/>
                </a:lnTo>
                <a:lnTo>
                  <a:pt x="52" y="26"/>
                </a:lnTo>
                <a:lnTo>
                  <a:pt x="54" y="26"/>
                </a:lnTo>
                <a:lnTo>
                  <a:pt x="54" y="25"/>
                </a:lnTo>
                <a:lnTo>
                  <a:pt x="55" y="25"/>
                </a:lnTo>
                <a:lnTo>
                  <a:pt x="58" y="23"/>
                </a:lnTo>
                <a:lnTo>
                  <a:pt x="58" y="24"/>
                </a:lnTo>
                <a:lnTo>
                  <a:pt x="59" y="23"/>
                </a:lnTo>
                <a:lnTo>
                  <a:pt x="60" y="23"/>
                </a:lnTo>
                <a:lnTo>
                  <a:pt x="60" y="21"/>
                </a:lnTo>
                <a:lnTo>
                  <a:pt x="61" y="20"/>
                </a:lnTo>
                <a:lnTo>
                  <a:pt x="61" y="19"/>
                </a:lnTo>
                <a:lnTo>
                  <a:pt x="62" y="18"/>
                </a:lnTo>
                <a:lnTo>
                  <a:pt x="62" y="17"/>
                </a:lnTo>
                <a:lnTo>
                  <a:pt x="65" y="17"/>
                </a:lnTo>
                <a:lnTo>
                  <a:pt x="66" y="15"/>
                </a:lnTo>
                <a:lnTo>
                  <a:pt x="67" y="15"/>
                </a:lnTo>
                <a:lnTo>
                  <a:pt x="67" y="17"/>
                </a:lnTo>
                <a:lnTo>
                  <a:pt x="69" y="14"/>
                </a:lnTo>
                <a:lnTo>
                  <a:pt x="72" y="13"/>
                </a:lnTo>
                <a:lnTo>
                  <a:pt x="72" y="14"/>
                </a:lnTo>
                <a:lnTo>
                  <a:pt x="86" y="14"/>
                </a:lnTo>
                <a:lnTo>
                  <a:pt x="87" y="15"/>
                </a:lnTo>
                <a:lnTo>
                  <a:pt x="91" y="15"/>
                </a:lnTo>
                <a:lnTo>
                  <a:pt x="91" y="13"/>
                </a:lnTo>
                <a:lnTo>
                  <a:pt x="92" y="12"/>
                </a:lnTo>
                <a:lnTo>
                  <a:pt x="96" y="12"/>
                </a:lnTo>
                <a:lnTo>
                  <a:pt x="96" y="9"/>
                </a:lnTo>
                <a:lnTo>
                  <a:pt x="97" y="9"/>
                </a:lnTo>
                <a:lnTo>
                  <a:pt x="99" y="11"/>
                </a:lnTo>
                <a:lnTo>
                  <a:pt x="100" y="11"/>
                </a:lnTo>
                <a:lnTo>
                  <a:pt x="102" y="9"/>
                </a:lnTo>
                <a:lnTo>
                  <a:pt x="106" y="9"/>
                </a:lnTo>
                <a:lnTo>
                  <a:pt x="109" y="11"/>
                </a:lnTo>
                <a:lnTo>
                  <a:pt x="110" y="11"/>
                </a:lnTo>
                <a:lnTo>
                  <a:pt x="111" y="12"/>
                </a:lnTo>
                <a:lnTo>
                  <a:pt x="111" y="9"/>
                </a:lnTo>
                <a:lnTo>
                  <a:pt x="110" y="9"/>
                </a:lnTo>
                <a:lnTo>
                  <a:pt x="110" y="2"/>
                </a:lnTo>
                <a:lnTo>
                  <a:pt x="112" y="2"/>
                </a:lnTo>
                <a:lnTo>
                  <a:pt x="114" y="1"/>
                </a:lnTo>
                <a:lnTo>
                  <a:pt x="118" y="1"/>
                </a:lnTo>
                <a:lnTo>
                  <a:pt x="122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" name="Freeform 16">
            <a:extLst>
              <a:ext uri="{FF2B5EF4-FFF2-40B4-BE49-F238E27FC236}">
                <a16:creationId xmlns:a16="http://schemas.microsoft.com/office/drawing/2014/main" id="{CAF67BD8-C08E-4247-AFAB-BC7E31F69966}"/>
              </a:ext>
            </a:extLst>
          </p:cNvPr>
          <p:cNvSpPr>
            <a:spLocks/>
          </p:cNvSpPr>
          <p:nvPr/>
        </p:nvSpPr>
        <p:spPr bwMode="auto">
          <a:xfrm>
            <a:off x="2261892" y="4753825"/>
            <a:ext cx="346297" cy="170975"/>
          </a:xfrm>
          <a:custGeom>
            <a:avLst/>
            <a:gdLst/>
            <a:ahLst/>
            <a:cxnLst>
              <a:cxn ang="0">
                <a:pos x="112" y="5"/>
              </a:cxn>
              <a:cxn ang="0">
                <a:pos x="119" y="14"/>
              </a:cxn>
              <a:cxn ang="0">
                <a:pos x="124" y="21"/>
              </a:cxn>
              <a:cxn ang="0">
                <a:pos x="123" y="26"/>
              </a:cxn>
              <a:cxn ang="0">
                <a:pos x="131" y="25"/>
              </a:cxn>
              <a:cxn ang="0">
                <a:pos x="137" y="21"/>
              </a:cxn>
              <a:cxn ang="0">
                <a:pos x="145" y="18"/>
              </a:cxn>
              <a:cxn ang="0">
                <a:pos x="155" y="15"/>
              </a:cxn>
              <a:cxn ang="0">
                <a:pos x="162" y="13"/>
              </a:cxn>
              <a:cxn ang="0">
                <a:pos x="170" y="20"/>
              </a:cxn>
              <a:cxn ang="0">
                <a:pos x="179" y="15"/>
              </a:cxn>
              <a:cxn ang="0">
                <a:pos x="178" y="12"/>
              </a:cxn>
              <a:cxn ang="0">
                <a:pos x="187" y="11"/>
              </a:cxn>
              <a:cxn ang="0">
                <a:pos x="195" y="13"/>
              </a:cxn>
              <a:cxn ang="0">
                <a:pos x="205" y="14"/>
              </a:cxn>
              <a:cxn ang="0">
                <a:pos x="212" y="16"/>
              </a:cxn>
              <a:cxn ang="0">
                <a:pos x="218" y="26"/>
              </a:cxn>
              <a:cxn ang="0">
                <a:pos x="226" y="28"/>
              </a:cxn>
              <a:cxn ang="0">
                <a:pos x="238" y="33"/>
              </a:cxn>
              <a:cxn ang="0">
                <a:pos x="235" y="44"/>
              </a:cxn>
              <a:cxn ang="0">
                <a:pos x="232" y="54"/>
              </a:cxn>
              <a:cxn ang="0">
                <a:pos x="228" y="61"/>
              </a:cxn>
              <a:cxn ang="0">
                <a:pos x="214" y="79"/>
              </a:cxn>
              <a:cxn ang="0">
                <a:pos x="204" y="79"/>
              </a:cxn>
              <a:cxn ang="0">
                <a:pos x="197" y="69"/>
              </a:cxn>
              <a:cxn ang="0">
                <a:pos x="191" y="68"/>
              </a:cxn>
              <a:cxn ang="0">
                <a:pos x="186" y="71"/>
              </a:cxn>
              <a:cxn ang="0">
                <a:pos x="178" y="70"/>
              </a:cxn>
              <a:cxn ang="0">
                <a:pos x="166" y="67"/>
              </a:cxn>
              <a:cxn ang="0">
                <a:pos x="154" y="73"/>
              </a:cxn>
              <a:cxn ang="0">
                <a:pos x="148" y="83"/>
              </a:cxn>
              <a:cxn ang="0">
                <a:pos x="138" y="87"/>
              </a:cxn>
              <a:cxn ang="0">
                <a:pos x="135" y="92"/>
              </a:cxn>
              <a:cxn ang="0">
                <a:pos x="126" y="93"/>
              </a:cxn>
              <a:cxn ang="0">
                <a:pos x="118" y="89"/>
              </a:cxn>
              <a:cxn ang="0">
                <a:pos x="112" y="93"/>
              </a:cxn>
              <a:cxn ang="0">
                <a:pos x="100" y="99"/>
              </a:cxn>
              <a:cxn ang="0">
                <a:pos x="83" y="101"/>
              </a:cxn>
              <a:cxn ang="0">
                <a:pos x="83" y="113"/>
              </a:cxn>
              <a:cxn ang="0">
                <a:pos x="75" y="117"/>
              </a:cxn>
              <a:cxn ang="0">
                <a:pos x="38" y="118"/>
              </a:cxn>
              <a:cxn ang="0">
                <a:pos x="32" y="113"/>
              </a:cxn>
              <a:cxn ang="0">
                <a:pos x="21" y="104"/>
              </a:cxn>
              <a:cxn ang="0">
                <a:pos x="12" y="102"/>
              </a:cxn>
              <a:cxn ang="0">
                <a:pos x="8" y="99"/>
              </a:cxn>
              <a:cxn ang="0">
                <a:pos x="7" y="94"/>
              </a:cxn>
              <a:cxn ang="0">
                <a:pos x="2" y="85"/>
              </a:cxn>
              <a:cxn ang="0">
                <a:pos x="0" y="74"/>
              </a:cxn>
              <a:cxn ang="0">
                <a:pos x="5" y="68"/>
              </a:cxn>
              <a:cxn ang="0">
                <a:pos x="8" y="54"/>
              </a:cxn>
              <a:cxn ang="0">
                <a:pos x="17" y="49"/>
              </a:cxn>
              <a:cxn ang="0">
                <a:pos x="27" y="51"/>
              </a:cxn>
              <a:cxn ang="0">
                <a:pos x="39" y="44"/>
              </a:cxn>
              <a:cxn ang="0">
                <a:pos x="45" y="38"/>
              </a:cxn>
              <a:cxn ang="0">
                <a:pos x="54" y="24"/>
              </a:cxn>
              <a:cxn ang="0">
                <a:pos x="67" y="14"/>
              </a:cxn>
              <a:cxn ang="0">
                <a:pos x="74" y="8"/>
              </a:cxn>
              <a:cxn ang="0">
                <a:pos x="83" y="6"/>
              </a:cxn>
              <a:cxn ang="0">
                <a:pos x="89" y="11"/>
              </a:cxn>
              <a:cxn ang="0">
                <a:pos x="94" y="14"/>
              </a:cxn>
              <a:cxn ang="0">
                <a:pos x="99" y="9"/>
              </a:cxn>
              <a:cxn ang="0">
                <a:pos x="110" y="0"/>
              </a:cxn>
            </a:cxnLst>
            <a:rect l="0" t="0" r="r" b="b"/>
            <a:pathLst>
              <a:path w="239" h="118">
                <a:moveTo>
                  <a:pt x="110" y="0"/>
                </a:moveTo>
                <a:lnTo>
                  <a:pt x="110" y="1"/>
                </a:lnTo>
                <a:lnTo>
                  <a:pt x="111" y="2"/>
                </a:lnTo>
                <a:lnTo>
                  <a:pt x="112" y="2"/>
                </a:lnTo>
                <a:lnTo>
                  <a:pt x="112" y="5"/>
                </a:lnTo>
                <a:lnTo>
                  <a:pt x="114" y="9"/>
                </a:lnTo>
                <a:lnTo>
                  <a:pt x="114" y="11"/>
                </a:lnTo>
                <a:lnTo>
                  <a:pt x="117" y="11"/>
                </a:lnTo>
                <a:lnTo>
                  <a:pt x="117" y="13"/>
                </a:lnTo>
                <a:lnTo>
                  <a:pt x="119" y="14"/>
                </a:lnTo>
                <a:lnTo>
                  <a:pt x="121" y="14"/>
                </a:lnTo>
                <a:lnTo>
                  <a:pt x="123" y="13"/>
                </a:lnTo>
                <a:lnTo>
                  <a:pt x="123" y="14"/>
                </a:lnTo>
                <a:lnTo>
                  <a:pt x="124" y="15"/>
                </a:lnTo>
                <a:lnTo>
                  <a:pt x="124" y="21"/>
                </a:lnTo>
                <a:lnTo>
                  <a:pt x="125" y="21"/>
                </a:lnTo>
                <a:lnTo>
                  <a:pt x="125" y="22"/>
                </a:lnTo>
                <a:lnTo>
                  <a:pt x="124" y="22"/>
                </a:lnTo>
                <a:lnTo>
                  <a:pt x="123" y="25"/>
                </a:lnTo>
                <a:lnTo>
                  <a:pt x="123" y="26"/>
                </a:lnTo>
                <a:lnTo>
                  <a:pt x="124" y="27"/>
                </a:lnTo>
                <a:lnTo>
                  <a:pt x="126" y="27"/>
                </a:lnTo>
                <a:lnTo>
                  <a:pt x="127" y="26"/>
                </a:lnTo>
                <a:lnTo>
                  <a:pt x="127" y="25"/>
                </a:lnTo>
                <a:lnTo>
                  <a:pt x="131" y="25"/>
                </a:lnTo>
                <a:lnTo>
                  <a:pt x="135" y="28"/>
                </a:lnTo>
                <a:lnTo>
                  <a:pt x="136" y="27"/>
                </a:lnTo>
                <a:lnTo>
                  <a:pt x="136" y="24"/>
                </a:lnTo>
                <a:lnTo>
                  <a:pt x="137" y="22"/>
                </a:lnTo>
                <a:lnTo>
                  <a:pt x="137" y="21"/>
                </a:lnTo>
                <a:lnTo>
                  <a:pt x="138" y="20"/>
                </a:lnTo>
                <a:lnTo>
                  <a:pt x="138" y="19"/>
                </a:lnTo>
                <a:lnTo>
                  <a:pt x="139" y="19"/>
                </a:lnTo>
                <a:lnTo>
                  <a:pt x="141" y="18"/>
                </a:lnTo>
                <a:lnTo>
                  <a:pt x="145" y="18"/>
                </a:lnTo>
                <a:lnTo>
                  <a:pt x="145" y="14"/>
                </a:lnTo>
                <a:lnTo>
                  <a:pt x="150" y="14"/>
                </a:lnTo>
                <a:lnTo>
                  <a:pt x="150" y="13"/>
                </a:lnTo>
                <a:lnTo>
                  <a:pt x="151" y="13"/>
                </a:lnTo>
                <a:lnTo>
                  <a:pt x="155" y="15"/>
                </a:lnTo>
                <a:lnTo>
                  <a:pt x="157" y="15"/>
                </a:lnTo>
                <a:lnTo>
                  <a:pt x="157" y="14"/>
                </a:lnTo>
                <a:lnTo>
                  <a:pt x="158" y="14"/>
                </a:lnTo>
                <a:lnTo>
                  <a:pt x="158" y="13"/>
                </a:lnTo>
                <a:lnTo>
                  <a:pt x="162" y="13"/>
                </a:lnTo>
                <a:lnTo>
                  <a:pt x="166" y="18"/>
                </a:lnTo>
                <a:lnTo>
                  <a:pt x="167" y="18"/>
                </a:lnTo>
                <a:lnTo>
                  <a:pt x="167" y="19"/>
                </a:lnTo>
                <a:lnTo>
                  <a:pt x="169" y="19"/>
                </a:lnTo>
                <a:lnTo>
                  <a:pt x="170" y="20"/>
                </a:lnTo>
                <a:lnTo>
                  <a:pt x="173" y="20"/>
                </a:lnTo>
                <a:lnTo>
                  <a:pt x="175" y="18"/>
                </a:lnTo>
                <a:lnTo>
                  <a:pt x="175" y="16"/>
                </a:lnTo>
                <a:lnTo>
                  <a:pt x="178" y="16"/>
                </a:lnTo>
                <a:lnTo>
                  <a:pt x="179" y="15"/>
                </a:lnTo>
                <a:lnTo>
                  <a:pt x="178" y="14"/>
                </a:lnTo>
                <a:lnTo>
                  <a:pt x="176" y="14"/>
                </a:lnTo>
                <a:lnTo>
                  <a:pt x="176" y="13"/>
                </a:lnTo>
                <a:lnTo>
                  <a:pt x="178" y="13"/>
                </a:lnTo>
                <a:lnTo>
                  <a:pt x="178" y="12"/>
                </a:lnTo>
                <a:lnTo>
                  <a:pt x="181" y="12"/>
                </a:lnTo>
                <a:lnTo>
                  <a:pt x="181" y="13"/>
                </a:lnTo>
                <a:lnTo>
                  <a:pt x="183" y="13"/>
                </a:lnTo>
                <a:lnTo>
                  <a:pt x="185" y="11"/>
                </a:lnTo>
                <a:lnTo>
                  <a:pt x="187" y="11"/>
                </a:lnTo>
                <a:lnTo>
                  <a:pt x="189" y="12"/>
                </a:lnTo>
                <a:lnTo>
                  <a:pt x="193" y="13"/>
                </a:lnTo>
                <a:lnTo>
                  <a:pt x="194" y="13"/>
                </a:lnTo>
                <a:lnTo>
                  <a:pt x="195" y="12"/>
                </a:lnTo>
                <a:lnTo>
                  <a:pt x="195" y="13"/>
                </a:lnTo>
                <a:lnTo>
                  <a:pt x="197" y="12"/>
                </a:lnTo>
                <a:lnTo>
                  <a:pt x="201" y="12"/>
                </a:lnTo>
                <a:lnTo>
                  <a:pt x="203" y="13"/>
                </a:lnTo>
                <a:lnTo>
                  <a:pt x="204" y="13"/>
                </a:lnTo>
                <a:lnTo>
                  <a:pt x="205" y="14"/>
                </a:lnTo>
                <a:lnTo>
                  <a:pt x="206" y="16"/>
                </a:lnTo>
                <a:lnTo>
                  <a:pt x="207" y="16"/>
                </a:lnTo>
                <a:lnTo>
                  <a:pt x="208" y="15"/>
                </a:lnTo>
                <a:lnTo>
                  <a:pt x="211" y="15"/>
                </a:lnTo>
                <a:lnTo>
                  <a:pt x="212" y="16"/>
                </a:lnTo>
                <a:lnTo>
                  <a:pt x="214" y="18"/>
                </a:lnTo>
                <a:lnTo>
                  <a:pt x="216" y="19"/>
                </a:lnTo>
                <a:lnTo>
                  <a:pt x="217" y="21"/>
                </a:lnTo>
                <a:lnTo>
                  <a:pt x="217" y="24"/>
                </a:lnTo>
                <a:lnTo>
                  <a:pt x="218" y="26"/>
                </a:lnTo>
                <a:lnTo>
                  <a:pt x="219" y="26"/>
                </a:lnTo>
                <a:lnTo>
                  <a:pt x="222" y="27"/>
                </a:lnTo>
                <a:lnTo>
                  <a:pt x="223" y="27"/>
                </a:lnTo>
                <a:lnTo>
                  <a:pt x="224" y="28"/>
                </a:lnTo>
                <a:lnTo>
                  <a:pt x="226" y="28"/>
                </a:lnTo>
                <a:lnTo>
                  <a:pt x="226" y="30"/>
                </a:lnTo>
                <a:lnTo>
                  <a:pt x="229" y="31"/>
                </a:lnTo>
                <a:lnTo>
                  <a:pt x="231" y="31"/>
                </a:lnTo>
                <a:lnTo>
                  <a:pt x="234" y="33"/>
                </a:lnTo>
                <a:lnTo>
                  <a:pt x="238" y="33"/>
                </a:lnTo>
                <a:lnTo>
                  <a:pt x="239" y="34"/>
                </a:lnTo>
                <a:lnTo>
                  <a:pt x="239" y="39"/>
                </a:lnTo>
                <a:lnTo>
                  <a:pt x="238" y="40"/>
                </a:lnTo>
                <a:lnTo>
                  <a:pt x="236" y="40"/>
                </a:lnTo>
                <a:lnTo>
                  <a:pt x="235" y="44"/>
                </a:lnTo>
                <a:lnTo>
                  <a:pt x="235" y="46"/>
                </a:lnTo>
                <a:lnTo>
                  <a:pt x="234" y="46"/>
                </a:lnTo>
                <a:lnTo>
                  <a:pt x="234" y="48"/>
                </a:lnTo>
                <a:lnTo>
                  <a:pt x="232" y="49"/>
                </a:lnTo>
                <a:lnTo>
                  <a:pt x="232" y="54"/>
                </a:lnTo>
                <a:lnTo>
                  <a:pt x="231" y="55"/>
                </a:lnTo>
                <a:lnTo>
                  <a:pt x="231" y="58"/>
                </a:lnTo>
                <a:lnTo>
                  <a:pt x="230" y="59"/>
                </a:lnTo>
                <a:lnTo>
                  <a:pt x="230" y="61"/>
                </a:lnTo>
                <a:lnTo>
                  <a:pt x="228" y="61"/>
                </a:lnTo>
                <a:lnTo>
                  <a:pt x="228" y="62"/>
                </a:lnTo>
                <a:lnTo>
                  <a:pt x="223" y="67"/>
                </a:lnTo>
                <a:lnTo>
                  <a:pt x="223" y="77"/>
                </a:lnTo>
                <a:lnTo>
                  <a:pt x="222" y="79"/>
                </a:lnTo>
                <a:lnTo>
                  <a:pt x="214" y="79"/>
                </a:lnTo>
                <a:lnTo>
                  <a:pt x="213" y="80"/>
                </a:lnTo>
                <a:lnTo>
                  <a:pt x="211" y="80"/>
                </a:lnTo>
                <a:lnTo>
                  <a:pt x="208" y="81"/>
                </a:lnTo>
                <a:lnTo>
                  <a:pt x="207" y="82"/>
                </a:lnTo>
                <a:lnTo>
                  <a:pt x="204" y="79"/>
                </a:lnTo>
                <a:lnTo>
                  <a:pt x="201" y="75"/>
                </a:lnTo>
                <a:lnTo>
                  <a:pt x="200" y="73"/>
                </a:lnTo>
                <a:lnTo>
                  <a:pt x="200" y="71"/>
                </a:lnTo>
                <a:lnTo>
                  <a:pt x="197" y="71"/>
                </a:lnTo>
                <a:lnTo>
                  <a:pt x="197" y="69"/>
                </a:lnTo>
                <a:lnTo>
                  <a:pt x="195" y="69"/>
                </a:lnTo>
                <a:lnTo>
                  <a:pt x="195" y="68"/>
                </a:lnTo>
                <a:lnTo>
                  <a:pt x="193" y="68"/>
                </a:lnTo>
                <a:lnTo>
                  <a:pt x="193" y="67"/>
                </a:lnTo>
                <a:lnTo>
                  <a:pt x="191" y="68"/>
                </a:lnTo>
                <a:lnTo>
                  <a:pt x="188" y="68"/>
                </a:lnTo>
                <a:lnTo>
                  <a:pt x="188" y="69"/>
                </a:lnTo>
                <a:lnTo>
                  <a:pt x="187" y="69"/>
                </a:lnTo>
                <a:lnTo>
                  <a:pt x="187" y="70"/>
                </a:lnTo>
                <a:lnTo>
                  <a:pt x="186" y="71"/>
                </a:lnTo>
                <a:lnTo>
                  <a:pt x="186" y="70"/>
                </a:lnTo>
                <a:lnTo>
                  <a:pt x="182" y="70"/>
                </a:lnTo>
                <a:lnTo>
                  <a:pt x="180" y="71"/>
                </a:lnTo>
                <a:lnTo>
                  <a:pt x="179" y="71"/>
                </a:lnTo>
                <a:lnTo>
                  <a:pt x="178" y="70"/>
                </a:lnTo>
                <a:lnTo>
                  <a:pt x="173" y="70"/>
                </a:lnTo>
                <a:lnTo>
                  <a:pt x="170" y="68"/>
                </a:lnTo>
                <a:lnTo>
                  <a:pt x="168" y="68"/>
                </a:lnTo>
                <a:lnTo>
                  <a:pt x="167" y="67"/>
                </a:lnTo>
                <a:lnTo>
                  <a:pt x="166" y="67"/>
                </a:lnTo>
                <a:lnTo>
                  <a:pt x="157" y="69"/>
                </a:lnTo>
                <a:lnTo>
                  <a:pt x="154" y="69"/>
                </a:lnTo>
                <a:lnTo>
                  <a:pt x="152" y="70"/>
                </a:lnTo>
                <a:lnTo>
                  <a:pt x="154" y="71"/>
                </a:lnTo>
                <a:lnTo>
                  <a:pt x="154" y="73"/>
                </a:lnTo>
                <a:lnTo>
                  <a:pt x="151" y="75"/>
                </a:lnTo>
                <a:lnTo>
                  <a:pt x="150" y="75"/>
                </a:lnTo>
                <a:lnTo>
                  <a:pt x="150" y="76"/>
                </a:lnTo>
                <a:lnTo>
                  <a:pt x="149" y="81"/>
                </a:lnTo>
                <a:lnTo>
                  <a:pt x="148" y="83"/>
                </a:lnTo>
                <a:lnTo>
                  <a:pt x="144" y="87"/>
                </a:lnTo>
                <a:lnTo>
                  <a:pt x="143" y="86"/>
                </a:lnTo>
                <a:lnTo>
                  <a:pt x="142" y="86"/>
                </a:lnTo>
                <a:lnTo>
                  <a:pt x="141" y="87"/>
                </a:lnTo>
                <a:lnTo>
                  <a:pt x="138" y="87"/>
                </a:lnTo>
                <a:lnTo>
                  <a:pt x="138" y="88"/>
                </a:lnTo>
                <a:lnTo>
                  <a:pt x="137" y="89"/>
                </a:lnTo>
                <a:lnTo>
                  <a:pt x="137" y="91"/>
                </a:lnTo>
                <a:lnTo>
                  <a:pt x="136" y="91"/>
                </a:lnTo>
                <a:lnTo>
                  <a:pt x="135" y="92"/>
                </a:lnTo>
                <a:lnTo>
                  <a:pt x="132" y="92"/>
                </a:lnTo>
                <a:lnTo>
                  <a:pt x="132" y="93"/>
                </a:lnTo>
                <a:lnTo>
                  <a:pt x="130" y="94"/>
                </a:lnTo>
                <a:lnTo>
                  <a:pt x="129" y="95"/>
                </a:lnTo>
                <a:lnTo>
                  <a:pt x="126" y="93"/>
                </a:lnTo>
                <a:lnTo>
                  <a:pt x="123" y="93"/>
                </a:lnTo>
                <a:lnTo>
                  <a:pt x="123" y="91"/>
                </a:lnTo>
                <a:lnTo>
                  <a:pt x="121" y="89"/>
                </a:lnTo>
                <a:lnTo>
                  <a:pt x="119" y="91"/>
                </a:lnTo>
                <a:lnTo>
                  <a:pt x="118" y="89"/>
                </a:lnTo>
                <a:lnTo>
                  <a:pt x="118" y="88"/>
                </a:lnTo>
                <a:lnTo>
                  <a:pt x="117" y="88"/>
                </a:lnTo>
                <a:lnTo>
                  <a:pt x="113" y="89"/>
                </a:lnTo>
                <a:lnTo>
                  <a:pt x="112" y="89"/>
                </a:lnTo>
                <a:lnTo>
                  <a:pt x="112" y="93"/>
                </a:lnTo>
                <a:lnTo>
                  <a:pt x="111" y="94"/>
                </a:lnTo>
                <a:lnTo>
                  <a:pt x="111" y="95"/>
                </a:lnTo>
                <a:lnTo>
                  <a:pt x="108" y="98"/>
                </a:lnTo>
                <a:lnTo>
                  <a:pt x="102" y="98"/>
                </a:lnTo>
                <a:lnTo>
                  <a:pt x="100" y="99"/>
                </a:lnTo>
                <a:lnTo>
                  <a:pt x="95" y="98"/>
                </a:lnTo>
                <a:lnTo>
                  <a:pt x="92" y="99"/>
                </a:lnTo>
                <a:lnTo>
                  <a:pt x="88" y="99"/>
                </a:lnTo>
                <a:lnTo>
                  <a:pt x="83" y="100"/>
                </a:lnTo>
                <a:lnTo>
                  <a:pt x="83" y="101"/>
                </a:lnTo>
                <a:lnTo>
                  <a:pt x="82" y="104"/>
                </a:lnTo>
                <a:lnTo>
                  <a:pt x="80" y="104"/>
                </a:lnTo>
                <a:lnTo>
                  <a:pt x="80" y="111"/>
                </a:lnTo>
                <a:lnTo>
                  <a:pt x="81" y="112"/>
                </a:lnTo>
                <a:lnTo>
                  <a:pt x="83" y="113"/>
                </a:lnTo>
                <a:lnTo>
                  <a:pt x="82" y="113"/>
                </a:lnTo>
                <a:lnTo>
                  <a:pt x="81" y="114"/>
                </a:lnTo>
                <a:lnTo>
                  <a:pt x="80" y="114"/>
                </a:lnTo>
                <a:lnTo>
                  <a:pt x="77" y="117"/>
                </a:lnTo>
                <a:lnTo>
                  <a:pt x="75" y="117"/>
                </a:lnTo>
                <a:lnTo>
                  <a:pt x="74" y="116"/>
                </a:lnTo>
                <a:lnTo>
                  <a:pt x="71" y="116"/>
                </a:lnTo>
                <a:lnTo>
                  <a:pt x="63" y="117"/>
                </a:lnTo>
                <a:lnTo>
                  <a:pt x="60" y="118"/>
                </a:lnTo>
                <a:lnTo>
                  <a:pt x="38" y="118"/>
                </a:lnTo>
                <a:lnTo>
                  <a:pt x="37" y="117"/>
                </a:lnTo>
                <a:lnTo>
                  <a:pt x="34" y="116"/>
                </a:lnTo>
                <a:lnTo>
                  <a:pt x="34" y="114"/>
                </a:lnTo>
                <a:lnTo>
                  <a:pt x="33" y="114"/>
                </a:lnTo>
                <a:lnTo>
                  <a:pt x="32" y="113"/>
                </a:lnTo>
                <a:lnTo>
                  <a:pt x="30" y="113"/>
                </a:lnTo>
                <a:lnTo>
                  <a:pt x="29" y="111"/>
                </a:lnTo>
                <a:lnTo>
                  <a:pt x="27" y="111"/>
                </a:lnTo>
                <a:lnTo>
                  <a:pt x="26" y="110"/>
                </a:lnTo>
                <a:lnTo>
                  <a:pt x="21" y="104"/>
                </a:lnTo>
                <a:lnTo>
                  <a:pt x="20" y="102"/>
                </a:lnTo>
                <a:lnTo>
                  <a:pt x="18" y="102"/>
                </a:lnTo>
                <a:lnTo>
                  <a:pt x="15" y="101"/>
                </a:lnTo>
                <a:lnTo>
                  <a:pt x="14" y="101"/>
                </a:lnTo>
                <a:lnTo>
                  <a:pt x="12" y="102"/>
                </a:lnTo>
                <a:lnTo>
                  <a:pt x="12" y="101"/>
                </a:lnTo>
                <a:lnTo>
                  <a:pt x="11" y="101"/>
                </a:lnTo>
                <a:lnTo>
                  <a:pt x="9" y="100"/>
                </a:lnTo>
                <a:lnTo>
                  <a:pt x="9" y="99"/>
                </a:lnTo>
                <a:lnTo>
                  <a:pt x="8" y="99"/>
                </a:lnTo>
                <a:lnTo>
                  <a:pt x="9" y="98"/>
                </a:lnTo>
                <a:lnTo>
                  <a:pt x="9" y="97"/>
                </a:lnTo>
                <a:lnTo>
                  <a:pt x="8" y="95"/>
                </a:lnTo>
                <a:lnTo>
                  <a:pt x="8" y="94"/>
                </a:lnTo>
                <a:lnTo>
                  <a:pt x="7" y="94"/>
                </a:lnTo>
                <a:lnTo>
                  <a:pt x="5" y="92"/>
                </a:lnTo>
                <a:lnTo>
                  <a:pt x="5" y="86"/>
                </a:lnTo>
                <a:lnTo>
                  <a:pt x="3" y="86"/>
                </a:lnTo>
                <a:lnTo>
                  <a:pt x="3" y="85"/>
                </a:lnTo>
                <a:lnTo>
                  <a:pt x="2" y="85"/>
                </a:lnTo>
                <a:lnTo>
                  <a:pt x="2" y="81"/>
                </a:lnTo>
                <a:lnTo>
                  <a:pt x="1" y="81"/>
                </a:lnTo>
                <a:lnTo>
                  <a:pt x="1" y="80"/>
                </a:lnTo>
                <a:lnTo>
                  <a:pt x="0" y="80"/>
                </a:lnTo>
                <a:lnTo>
                  <a:pt x="0" y="74"/>
                </a:lnTo>
                <a:lnTo>
                  <a:pt x="2" y="71"/>
                </a:lnTo>
                <a:lnTo>
                  <a:pt x="2" y="70"/>
                </a:lnTo>
                <a:lnTo>
                  <a:pt x="3" y="69"/>
                </a:lnTo>
                <a:lnTo>
                  <a:pt x="3" y="68"/>
                </a:lnTo>
                <a:lnTo>
                  <a:pt x="5" y="68"/>
                </a:lnTo>
                <a:lnTo>
                  <a:pt x="3" y="64"/>
                </a:lnTo>
                <a:lnTo>
                  <a:pt x="3" y="63"/>
                </a:lnTo>
                <a:lnTo>
                  <a:pt x="5" y="62"/>
                </a:lnTo>
                <a:lnTo>
                  <a:pt x="7" y="56"/>
                </a:lnTo>
                <a:lnTo>
                  <a:pt x="8" y="54"/>
                </a:lnTo>
                <a:lnTo>
                  <a:pt x="11" y="51"/>
                </a:lnTo>
                <a:lnTo>
                  <a:pt x="11" y="50"/>
                </a:lnTo>
                <a:lnTo>
                  <a:pt x="13" y="48"/>
                </a:lnTo>
                <a:lnTo>
                  <a:pt x="15" y="48"/>
                </a:lnTo>
                <a:lnTo>
                  <a:pt x="17" y="49"/>
                </a:lnTo>
                <a:lnTo>
                  <a:pt x="21" y="51"/>
                </a:lnTo>
                <a:lnTo>
                  <a:pt x="23" y="50"/>
                </a:lnTo>
                <a:lnTo>
                  <a:pt x="24" y="50"/>
                </a:lnTo>
                <a:lnTo>
                  <a:pt x="25" y="49"/>
                </a:lnTo>
                <a:lnTo>
                  <a:pt x="27" y="51"/>
                </a:lnTo>
                <a:lnTo>
                  <a:pt x="29" y="51"/>
                </a:lnTo>
                <a:lnTo>
                  <a:pt x="37" y="48"/>
                </a:lnTo>
                <a:lnTo>
                  <a:pt x="38" y="48"/>
                </a:lnTo>
                <a:lnTo>
                  <a:pt x="39" y="45"/>
                </a:lnTo>
                <a:lnTo>
                  <a:pt x="39" y="44"/>
                </a:lnTo>
                <a:lnTo>
                  <a:pt x="43" y="44"/>
                </a:lnTo>
                <a:lnTo>
                  <a:pt x="43" y="43"/>
                </a:lnTo>
                <a:lnTo>
                  <a:pt x="44" y="43"/>
                </a:lnTo>
                <a:lnTo>
                  <a:pt x="44" y="39"/>
                </a:lnTo>
                <a:lnTo>
                  <a:pt x="45" y="38"/>
                </a:lnTo>
                <a:lnTo>
                  <a:pt x="49" y="38"/>
                </a:lnTo>
                <a:lnTo>
                  <a:pt x="52" y="34"/>
                </a:lnTo>
                <a:lnTo>
                  <a:pt x="52" y="28"/>
                </a:lnTo>
                <a:lnTo>
                  <a:pt x="54" y="26"/>
                </a:lnTo>
                <a:lnTo>
                  <a:pt x="54" y="24"/>
                </a:lnTo>
                <a:lnTo>
                  <a:pt x="56" y="21"/>
                </a:lnTo>
                <a:lnTo>
                  <a:pt x="62" y="19"/>
                </a:lnTo>
                <a:lnTo>
                  <a:pt x="64" y="16"/>
                </a:lnTo>
                <a:lnTo>
                  <a:pt x="64" y="14"/>
                </a:lnTo>
                <a:lnTo>
                  <a:pt x="67" y="14"/>
                </a:lnTo>
                <a:lnTo>
                  <a:pt x="70" y="11"/>
                </a:lnTo>
                <a:lnTo>
                  <a:pt x="70" y="8"/>
                </a:lnTo>
                <a:lnTo>
                  <a:pt x="71" y="8"/>
                </a:lnTo>
                <a:lnTo>
                  <a:pt x="71" y="7"/>
                </a:lnTo>
                <a:lnTo>
                  <a:pt x="74" y="8"/>
                </a:lnTo>
                <a:lnTo>
                  <a:pt x="75" y="7"/>
                </a:lnTo>
                <a:lnTo>
                  <a:pt x="77" y="8"/>
                </a:lnTo>
                <a:lnTo>
                  <a:pt x="80" y="8"/>
                </a:lnTo>
                <a:lnTo>
                  <a:pt x="82" y="6"/>
                </a:lnTo>
                <a:lnTo>
                  <a:pt x="83" y="6"/>
                </a:lnTo>
                <a:lnTo>
                  <a:pt x="88" y="7"/>
                </a:lnTo>
                <a:lnTo>
                  <a:pt x="89" y="7"/>
                </a:lnTo>
                <a:lnTo>
                  <a:pt x="88" y="8"/>
                </a:lnTo>
                <a:lnTo>
                  <a:pt x="88" y="9"/>
                </a:lnTo>
                <a:lnTo>
                  <a:pt x="89" y="11"/>
                </a:lnTo>
                <a:lnTo>
                  <a:pt x="89" y="14"/>
                </a:lnTo>
                <a:lnTo>
                  <a:pt x="91" y="14"/>
                </a:lnTo>
                <a:lnTo>
                  <a:pt x="93" y="13"/>
                </a:lnTo>
                <a:lnTo>
                  <a:pt x="94" y="13"/>
                </a:lnTo>
                <a:lnTo>
                  <a:pt x="94" y="14"/>
                </a:lnTo>
                <a:lnTo>
                  <a:pt x="96" y="14"/>
                </a:lnTo>
                <a:lnTo>
                  <a:pt x="99" y="12"/>
                </a:lnTo>
                <a:lnTo>
                  <a:pt x="99" y="11"/>
                </a:lnTo>
                <a:lnTo>
                  <a:pt x="100" y="11"/>
                </a:lnTo>
                <a:lnTo>
                  <a:pt x="99" y="9"/>
                </a:lnTo>
                <a:lnTo>
                  <a:pt x="100" y="7"/>
                </a:lnTo>
                <a:lnTo>
                  <a:pt x="100" y="6"/>
                </a:lnTo>
                <a:lnTo>
                  <a:pt x="105" y="6"/>
                </a:lnTo>
                <a:lnTo>
                  <a:pt x="105" y="5"/>
                </a:lnTo>
                <a:lnTo>
                  <a:pt x="11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" name="Freeform 17">
            <a:extLst>
              <a:ext uri="{FF2B5EF4-FFF2-40B4-BE49-F238E27FC236}">
                <a16:creationId xmlns:a16="http://schemas.microsoft.com/office/drawing/2014/main" id="{A1D5DB91-47F6-4EBE-97CA-C8EE6C612A26}"/>
              </a:ext>
            </a:extLst>
          </p:cNvPr>
          <p:cNvSpPr>
            <a:spLocks/>
          </p:cNvSpPr>
          <p:nvPr/>
        </p:nvSpPr>
        <p:spPr bwMode="auto">
          <a:xfrm>
            <a:off x="2385052" y="5066796"/>
            <a:ext cx="252116" cy="366582"/>
          </a:xfrm>
          <a:custGeom>
            <a:avLst/>
            <a:gdLst/>
            <a:ahLst/>
            <a:cxnLst>
              <a:cxn ang="0">
                <a:pos x="45" y="0"/>
              </a:cxn>
              <a:cxn ang="0">
                <a:pos x="60" y="7"/>
              </a:cxn>
              <a:cxn ang="0">
                <a:pos x="72" y="17"/>
              </a:cxn>
              <a:cxn ang="0">
                <a:pos x="79" y="26"/>
              </a:cxn>
              <a:cxn ang="0">
                <a:pos x="82" y="39"/>
              </a:cxn>
              <a:cxn ang="0">
                <a:pos x="94" y="52"/>
              </a:cxn>
              <a:cxn ang="0">
                <a:pos x="102" y="57"/>
              </a:cxn>
              <a:cxn ang="0">
                <a:pos x="108" y="67"/>
              </a:cxn>
              <a:cxn ang="0">
                <a:pos x="109" y="73"/>
              </a:cxn>
              <a:cxn ang="0">
                <a:pos x="106" y="79"/>
              </a:cxn>
              <a:cxn ang="0">
                <a:pos x="116" y="87"/>
              </a:cxn>
              <a:cxn ang="0">
                <a:pos x="134" y="94"/>
              </a:cxn>
              <a:cxn ang="0">
                <a:pos x="145" y="91"/>
              </a:cxn>
              <a:cxn ang="0">
                <a:pos x="152" y="87"/>
              </a:cxn>
              <a:cxn ang="0">
                <a:pos x="160" y="98"/>
              </a:cxn>
              <a:cxn ang="0">
                <a:pos x="152" y="100"/>
              </a:cxn>
              <a:cxn ang="0">
                <a:pos x="159" y="117"/>
              </a:cxn>
              <a:cxn ang="0">
                <a:pos x="153" y="128"/>
              </a:cxn>
              <a:cxn ang="0">
                <a:pos x="149" y="147"/>
              </a:cxn>
              <a:cxn ang="0">
                <a:pos x="154" y="160"/>
              </a:cxn>
              <a:cxn ang="0">
                <a:pos x="166" y="168"/>
              </a:cxn>
              <a:cxn ang="0">
                <a:pos x="170" y="183"/>
              </a:cxn>
              <a:cxn ang="0">
                <a:pos x="153" y="195"/>
              </a:cxn>
              <a:cxn ang="0">
                <a:pos x="152" y="204"/>
              </a:cxn>
              <a:cxn ang="0">
                <a:pos x="153" y="222"/>
              </a:cxn>
              <a:cxn ang="0">
                <a:pos x="144" y="226"/>
              </a:cxn>
              <a:cxn ang="0">
                <a:pos x="129" y="226"/>
              </a:cxn>
              <a:cxn ang="0">
                <a:pos x="116" y="230"/>
              </a:cxn>
              <a:cxn ang="0">
                <a:pos x="108" y="233"/>
              </a:cxn>
              <a:cxn ang="0">
                <a:pos x="101" y="239"/>
              </a:cxn>
              <a:cxn ang="0">
                <a:pos x="91" y="236"/>
              </a:cxn>
              <a:cxn ang="0">
                <a:pos x="79" y="251"/>
              </a:cxn>
              <a:cxn ang="0">
                <a:pos x="72" y="252"/>
              </a:cxn>
              <a:cxn ang="0">
                <a:pos x="71" y="236"/>
              </a:cxn>
              <a:cxn ang="0">
                <a:pos x="57" y="226"/>
              </a:cxn>
              <a:cxn ang="0">
                <a:pos x="51" y="215"/>
              </a:cxn>
              <a:cxn ang="0">
                <a:pos x="52" y="201"/>
              </a:cxn>
              <a:cxn ang="0">
                <a:pos x="62" y="193"/>
              </a:cxn>
              <a:cxn ang="0">
                <a:pos x="45" y="181"/>
              </a:cxn>
              <a:cxn ang="0">
                <a:pos x="36" y="180"/>
              </a:cxn>
              <a:cxn ang="0">
                <a:pos x="27" y="173"/>
              </a:cxn>
              <a:cxn ang="0">
                <a:pos x="14" y="156"/>
              </a:cxn>
              <a:cxn ang="0">
                <a:pos x="21" y="153"/>
              </a:cxn>
              <a:cxn ang="0">
                <a:pos x="27" y="150"/>
              </a:cxn>
              <a:cxn ang="0">
                <a:pos x="15" y="130"/>
              </a:cxn>
              <a:cxn ang="0">
                <a:pos x="31" y="129"/>
              </a:cxn>
              <a:cxn ang="0">
                <a:pos x="27" y="124"/>
              </a:cxn>
              <a:cxn ang="0">
                <a:pos x="15" y="113"/>
              </a:cxn>
              <a:cxn ang="0">
                <a:pos x="14" y="98"/>
              </a:cxn>
              <a:cxn ang="0">
                <a:pos x="21" y="79"/>
              </a:cxn>
              <a:cxn ang="0">
                <a:pos x="14" y="76"/>
              </a:cxn>
              <a:cxn ang="0">
                <a:pos x="7" y="75"/>
              </a:cxn>
              <a:cxn ang="0">
                <a:pos x="8" y="62"/>
              </a:cxn>
              <a:cxn ang="0">
                <a:pos x="17" y="60"/>
              </a:cxn>
              <a:cxn ang="0">
                <a:pos x="10" y="51"/>
              </a:cxn>
              <a:cxn ang="0">
                <a:pos x="6" y="44"/>
              </a:cxn>
              <a:cxn ang="0">
                <a:pos x="4" y="37"/>
              </a:cxn>
              <a:cxn ang="0">
                <a:pos x="2" y="29"/>
              </a:cxn>
              <a:cxn ang="0">
                <a:pos x="2" y="15"/>
              </a:cxn>
              <a:cxn ang="0">
                <a:pos x="8" y="13"/>
              </a:cxn>
              <a:cxn ang="0">
                <a:pos x="17" y="9"/>
              </a:cxn>
              <a:cxn ang="0">
                <a:pos x="26" y="5"/>
              </a:cxn>
            </a:cxnLst>
            <a:rect l="0" t="0" r="r" b="b"/>
            <a:pathLst>
              <a:path w="174" h="253">
                <a:moveTo>
                  <a:pt x="29" y="0"/>
                </a:moveTo>
                <a:lnTo>
                  <a:pt x="34" y="0"/>
                </a:lnTo>
                <a:lnTo>
                  <a:pt x="35" y="1"/>
                </a:lnTo>
                <a:lnTo>
                  <a:pt x="38" y="2"/>
                </a:lnTo>
                <a:lnTo>
                  <a:pt x="39" y="2"/>
                </a:lnTo>
                <a:lnTo>
                  <a:pt x="42" y="1"/>
                </a:lnTo>
                <a:lnTo>
                  <a:pt x="44" y="1"/>
                </a:lnTo>
                <a:lnTo>
                  <a:pt x="45" y="0"/>
                </a:lnTo>
                <a:lnTo>
                  <a:pt x="47" y="1"/>
                </a:lnTo>
                <a:lnTo>
                  <a:pt x="53" y="1"/>
                </a:lnTo>
                <a:lnTo>
                  <a:pt x="53" y="2"/>
                </a:lnTo>
                <a:lnTo>
                  <a:pt x="54" y="2"/>
                </a:lnTo>
                <a:lnTo>
                  <a:pt x="54" y="1"/>
                </a:lnTo>
                <a:lnTo>
                  <a:pt x="56" y="2"/>
                </a:lnTo>
                <a:lnTo>
                  <a:pt x="58" y="4"/>
                </a:lnTo>
                <a:lnTo>
                  <a:pt x="60" y="7"/>
                </a:lnTo>
                <a:lnTo>
                  <a:pt x="62" y="8"/>
                </a:lnTo>
                <a:lnTo>
                  <a:pt x="62" y="11"/>
                </a:lnTo>
                <a:lnTo>
                  <a:pt x="63" y="12"/>
                </a:lnTo>
                <a:lnTo>
                  <a:pt x="64" y="12"/>
                </a:lnTo>
                <a:lnTo>
                  <a:pt x="65" y="13"/>
                </a:lnTo>
                <a:lnTo>
                  <a:pt x="66" y="13"/>
                </a:lnTo>
                <a:lnTo>
                  <a:pt x="70" y="17"/>
                </a:lnTo>
                <a:lnTo>
                  <a:pt x="72" y="17"/>
                </a:lnTo>
                <a:lnTo>
                  <a:pt x="73" y="19"/>
                </a:lnTo>
                <a:lnTo>
                  <a:pt x="73" y="20"/>
                </a:lnTo>
                <a:lnTo>
                  <a:pt x="75" y="20"/>
                </a:lnTo>
                <a:lnTo>
                  <a:pt x="75" y="23"/>
                </a:lnTo>
                <a:lnTo>
                  <a:pt x="76" y="24"/>
                </a:lnTo>
                <a:lnTo>
                  <a:pt x="76" y="25"/>
                </a:lnTo>
                <a:lnTo>
                  <a:pt x="77" y="26"/>
                </a:lnTo>
                <a:lnTo>
                  <a:pt x="79" y="26"/>
                </a:lnTo>
                <a:lnTo>
                  <a:pt x="79" y="25"/>
                </a:lnTo>
                <a:lnTo>
                  <a:pt x="81" y="25"/>
                </a:lnTo>
                <a:lnTo>
                  <a:pt x="81" y="31"/>
                </a:lnTo>
                <a:lnTo>
                  <a:pt x="79" y="32"/>
                </a:lnTo>
                <a:lnTo>
                  <a:pt x="79" y="35"/>
                </a:lnTo>
                <a:lnTo>
                  <a:pt x="81" y="37"/>
                </a:lnTo>
                <a:lnTo>
                  <a:pt x="82" y="38"/>
                </a:lnTo>
                <a:lnTo>
                  <a:pt x="82" y="39"/>
                </a:lnTo>
                <a:lnTo>
                  <a:pt x="81" y="41"/>
                </a:lnTo>
                <a:lnTo>
                  <a:pt x="79" y="41"/>
                </a:lnTo>
                <a:lnTo>
                  <a:pt x="82" y="43"/>
                </a:lnTo>
                <a:lnTo>
                  <a:pt x="83" y="43"/>
                </a:lnTo>
                <a:lnTo>
                  <a:pt x="84" y="45"/>
                </a:lnTo>
                <a:lnTo>
                  <a:pt x="90" y="51"/>
                </a:lnTo>
                <a:lnTo>
                  <a:pt x="93" y="52"/>
                </a:lnTo>
                <a:lnTo>
                  <a:pt x="94" y="52"/>
                </a:lnTo>
                <a:lnTo>
                  <a:pt x="94" y="54"/>
                </a:lnTo>
                <a:lnTo>
                  <a:pt x="95" y="54"/>
                </a:lnTo>
                <a:lnTo>
                  <a:pt x="95" y="52"/>
                </a:lnTo>
                <a:lnTo>
                  <a:pt x="96" y="52"/>
                </a:lnTo>
                <a:lnTo>
                  <a:pt x="98" y="55"/>
                </a:lnTo>
                <a:lnTo>
                  <a:pt x="98" y="56"/>
                </a:lnTo>
                <a:lnTo>
                  <a:pt x="100" y="57"/>
                </a:lnTo>
                <a:lnTo>
                  <a:pt x="102" y="57"/>
                </a:lnTo>
                <a:lnTo>
                  <a:pt x="107" y="58"/>
                </a:lnTo>
                <a:lnTo>
                  <a:pt x="108" y="60"/>
                </a:lnTo>
                <a:lnTo>
                  <a:pt x="109" y="60"/>
                </a:lnTo>
                <a:lnTo>
                  <a:pt x="110" y="61"/>
                </a:lnTo>
                <a:lnTo>
                  <a:pt x="110" y="63"/>
                </a:lnTo>
                <a:lnTo>
                  <a:pt x="109" y="63"/>
                </a:lnTo>
                <a:lnTo>
                  <a:pt x="109" y="66"/>
                </a:lnTo>
                <a:lnTo>
                  <a:pt x="108" y="67"/>
                </a:lnTo>
                <a:lnTo>
                  <a:pt x="108" y="68"/>
                </a:lnTo>
                <a:lnTo>
                  <a:pt x="107" y="69"/>
                </a:lnTo>
                <a:lnTo>
                  <a:pt x="106" y="69"/>
                </a:lnTo>
                <a:lnTo>
                  <a:pt x="104" y="70"/>
                </a:lnTo>
                <a:lnTo>
                  <a:pt x="104" y="72"/>
                </a:lnTo>
                <a:lnTo>
                  <a:pt x="106" y="72"/>
                </a:lnTo>
                <a:lnTo>
                  <a:pt x="106" y="73"/>
                </a:lnTo>
                <a:lnTo>
                  <a:pt x="109" y="73"/>
                </a:lnTo>
                <a:lnTo>
                  <a:pt x="110" y="74"/>
                </a:lnTo>
                <a:lnTo>
                  <a:pt x="112" y="74"/>
                </a:lnTo>
                <a:lnTo>
                  <a:pt x="113" y="75"/>
                </a:lnTo>
                <a:lnTo>
                  <a:pt x="113" y="78"/>
                </a:lnTo>
                <a:lnTo>
                  <a:pt x="110" y="78"/>
                </a:lnTo>
                <a:lnTo>
                  <a:pt x="109" y="79"/>
                </a:lnTo>
                <a:lnTo>
                  <a:pt x="107" y="78"/>
                </a:lnTo>
                <a:lnTo>
                  <a:pt x="106" y="79"/>
                </a:lnTo>
                <a:lnTo>
                  <a:pt x="104" y="79"/>
                </a:lnTo>
                <a:lnTo>
                  <a:pt x="104" y="80"/>
                </a:lnTo>
                <a:lnTo>
                  <a:pt x="107" y="82"/>
                </a:lnTo>
                <a:lnTo>
                  <a:pt x="107" y="84"/>
                </a:lnTo>
                <a:lnTo>
                  <a:pt x="114" y="84"/>
                </a:lnTo>
                <a:lnTo>
                  <a:pt x="115" y="85"/>
                </a:lnTo>
                <a:lnTo>
                  <a:pt x="115" y="86"/>
                </a:lnTo>
                <a:lnTo>
                  <a:pt x="116" y="87"/>
                </a:lnTo>
                <a:lnTo>
                  <a:pt x="118" y="90"/>
                </a:lnTo>
                <a:lnTo>
                  <a:pt x="123" y="90"/>
                </a:lnTo>
                <a:lnTo>
                  <a:pt x="126" y="88"/>
                </a:lnTo>
                <a:lnTo>
                  <a:pt x="127" y="88"/>
                </a:lnTo>
                <a:lnTo>
                  <a:pt x="131" y="91"/>
                </a:lnTo>
                <a:lnTo>
                  <a:pt x="132" y="91"/>
                </a:lnTo>
                <a:lnTo>
                  <a:pt x="133" y="94"/>
                </a:lnTo>
                <a:lnTo>
                  <a:pt x="134" y="94"/>
                </a:lnTo>
                <a:lnTo>
                  <a:pt x="134" y="97"/>
                </a:lnTo>
                <a:lnTo>
                  <a:pt x="135" y="97"/>
                </a:lnTo>
                <a:lnTo>
                  <a:pt x="135" y="99"/>
                </a:lnTo>
                <a:lnTo>
                  <a:pt x="137" y="99"/>
                </a:lnTo>
                <a:lnTo>
                  <a:pt x="138" y="100"/>
                </a:lnTo>
                <a:lnTo>
                  <a:pt x="139" y="100"/>
                </a:lnTo>
                <a:lnTo>
                  <a:pt x="140" y="99"/>
                </a:lnTo>
                <a:lnTo>
                  <a:pt x="145" y="91"/>
                </a:lnTo>
                <a:lnTo>
                  <a:pt x="145" y="90"/>
                </a:lnTo>
                <a:lnTo>
                  <a:pt x="146" y="90"/>
                </a:lnTo>
                <a:lnTo>
                  <a:pt x="147" y="88"/>
                </a:lnTo>
                <a:lnTo>
                  <a:pt x="149" y="88"/>
                </a:lnTo>
                <a:lnTo>
                  <a:pt x="150" y="87"/>
                </a:lnTo>
                <a:lnTo>
                  <a:pt x="150" y="86"/>
                </a:lnTo>
                <a:lnTo>
                  <a:pt x="152" y="86"/>
                </a:lnTo>
                <a:lnTo>
                  <a:pt x="152" y="87"/>
                </a:lnTo>
                <a:lnTo>
                  <a:pt x="156" y="90"/>
                </a:lnTo>
                <a:lnTo>
                  <a:pt x="158" y="92"/>
                </a:lnTo>
                <a:lnTo>
                  <a:pt x="162" y="92"/>
                </a:lnTo>
                <a:lnTo>
                  <a:pt x="163" y="93"/>
                </a:lnTo>
                <a:lnTo>
                  <a:pt x="164" y="95"/>
                </a:lnTo>
                <a:lnTo>
                  <a:pt x="164" y="97"/>
                </a:lnTo>
                <a:lnTo>
                  <a:pt x="163" y="98"/>
                </a:lnTo>
                <a:lnTo>
                  <a:pt x="160" y="98"/>
                </a:lnTo>
                <a:lnTo>
                  <a:pt x="158" y="95"/>
                </a:lnTo>
                <a:lnTo>
                  <a:pt x="157" y="95"/>
                </a:lnTo>
                <a:lnTo>
                  <a:pt x="157" y="97"/>
                </a:lnTo>
                <a:lnTo>
                  <a:pt x="156" y="97"/>
                </a:lnTo>
                <a:lnTo>
                  <a:pt x="156" y="99"/>
                </a:lnTo>
                <a:lnTo>
                  <a:pt x="154" y="99"/>
                </a:lnTo>
                <a:lnTo>
                  <a:pt x="153" y="100"/>
                </a:lnTo>
                <a:lnTo>
                  <a:pt x="152" y="100"/>
                </a:lnTo>
                <a:lnTo>
                  <a:pt x="152" y="103"/>
                </a:lnTo>
                <a:lnTo>
                  <a:pt x="153" y="104"/>
                </a:lnTo>
                <a:lnTo>
                  <a:pt x="153" y="106"/>
                </a:lnTo>
                <a:lnTo>
                  <a:pt x="158" y="111"/>
                </a:lnTo>
                <a:lnTo>
                  <a:pt x="160" y="111"/>
                </a:lnTo>
                <a:lnTo>
                  <a:pt x="162" y="112"/>
                </a:lnTo>
                <a:lnTo>
                  <a:pt x="162" y="116"/>
                </a:lnTo>
                <a:lnTo>
                  <a:pt x="159" y="117"/>
                </a:lnTo>
                <a:lnTo>
                  <a:pt x="158" y="118"/>
                </a:lnTo>
                <a:lnTo>
                  <a:pt x="158" y="121"/>
                </a:lnTo>
                <a:lnTo>
                  <a:pt x="157" y="122"/>
                </a:lnTo>
                <a:lnTo>
                  <a:pt x="157" y="123"/>
                </a:lnTo>
                <a:lnTo>
                  <a:pt x="158" y="124"/>
                </a:lnTo>
                <a:lnTo>
                  <a:pt x="158" y="125"/>
                </a:lnTo>
                <a:lnTo>
                  <a:pt x="156" y="125"/>
                </a:lnTo>
                <a:lnTo>
                  <a:pt x="153" y="128"/>
                </a:lnTo>
                <a:lnTo>
                  <a:pt x="153" y="129"/>
                </a:lnTo>
                <a:lnTo>
                  <a:pt x="150" y="129"/>
                </a:lnTo>
                <a:lnTo>
                  <a:pt x="149" y="130"/>
                </a:lnTo>
                <a:lnTo>
                  <a:pt x="149" y="136"/>
                </a:lnTo>
                <a:lnTo>
                  <a:pt x="147" y="138"/>
                </a:lnTo>
                <a:lnTo>
                  <a:pt x="147" y="142"/>
                </a:lnTo>
                <a:lnTo>
                  <a:pt x="149" y="143"/>
                </a:lnTo>
                <a:lnTo>
                  <a:pt x="149" y="147"/>
                </a:lnTo>
                <a:lnTo>
                  <a:pt x="150" y="148"/>
                </a:lnTo>
                <a:lnTo>
                  <a:pt x="150" y="149"/>
                </a:lnTo>
                <a:lnTo>
                  <a:pt x="151" y="149"/>
                </a:lnTo>
                <a:lnTo>
                  <a:pt x="152" y="150"/>
                </a:lnTo>
                <a:lnTo>
                  <a:pt x="152" y="155"/>
                </a:lnTo>
                <a:lnTo>
                  <a:pt x="153" y="156"/>
                </a:lnTo>
                <a:lnTo>
                  <a:pt x="153" y="159"/>
                </a:lnTo>
                <a:lnTo>
                  <a:pt x="154" y="160"/>
                </a:lnTo>
                <a:lnTo>
                  <a:pt x="154" y="161"/>
                </a:lnTo>
                <a:lnTo>
                  <a:pt x="157" y="161"/>
                </a:lnTo>
                <a:lnTo>
                  <a:pt x="157" y="162"/>
                </a:lnTo>
                <a:lnTo>
                  <a:pt x="159" y="162"/>
                </a:lnTo>
                <a:lnTo>
                  <a:pt x="159" y="165"/>
                </a:lnTo>
                <a:lnTo>
                  <a:pt x="163" y="165"/>
                </a:lnTo>
                <a:lnTo>
                  <a:pt x="163" y="166"/>
                </a:lnTo>
                <a:lnTo>
                  <a:pt x="166" y="168"/>
                </a:lnTo>
                <a:lnTo>
                  <a:pt x="166" y="171"/>
                </a:lnTo>
                <a:lnTo>
                  <a:pt x="171" y="176"/>
                </a:lnTo>
                <a:lnTo>
                  <a:pt x="172" y="176"/>
                </a:lnTo>
                <a:lnTo>
                  <a:pt x="174" y="177"/>
                </a:lnTo>
                <a:lnTo>
                  <a:pt x="174" y="179"/>
                </a:lnTo>
                <a:lnTo>
                  <a:pt x="172" y="181"/>
                </a:lnTo>
                <a:lnTo>
                  <a:pt x="171" y="183"/>
                </a:lnTo>
                <a:lnTo>
                  <a:pt x="170" y="183"/>
                </a:lnTo>
                <a:lnTo>
                  <a:pt x="170" y="185"/>
                </a:lnTo>
                <a:lnTo>
                  <a:pt x="166" y="189"/>
                </a:lnTo>
                <a:lnTo>
                  <a:pt x="165" y="189"/>
                </a:lnTo>
                <a:lnTo>
                  <a:pt x="164" y="190"/>
                </a:lnTo>
                <a:lnTo>
                  <a:pt x="164" y="192"/>
                </a:lnTo>
                <a:lnTo>
                  <a:pt x="163" y="193"/>
                </a:lnTo>
                <a:lnTo>
                  <a:pt x="163" y="195"/>
                </a:lnTo>
                <a:lnTo>
                  <a:pt x="153" y="195"/>
                </a:lnTo>
                <a:lnTo>
                  <a:pt x="153" y="196"/>
                </a:lnTo>
                <a:lnTo>
                  <a:pt x="152" y="197"/>
                </a:lnTo>
                <a:lnTo>
                  <a:pt x="151" y="197"/>
                </a:lnTo>
                <a:lnTo>
                  <a:pt x="151" y="198"/>
                </a:lnTo>
                <a:lnTo>
                  <a:pt x="150" y="198"/>
                </a:lnTo>
                <a:lnTo>
                  <a:pt x="151" y="201"/>
                </a:lnTo>
                <a:lnTo>
                  <a:pt x="152" y="202"/>
                </a:lnTo>
                <a:lnTo>
                  <a:pt x="152" y="204"/>
                </a:lnTo>
                <a:lnTo>
                  <a:pt x="151" y="205"/>
                </a:lnTo>
                <a:lnTo>
                  <a:pt x="151" y="209"/>
                </a:lnTo>
                <a:lnTo>
                  <a:pt x="150" y="211"/>
                </a:lnTo>
                <a:lnTo>
                  <a:pt x="150" y="213"/>
                </a:lnTo>
                <a:lnTo>
                  <a:pt x="152" y="214"/>
                </a:lnTo>
                <a:lnTo>
                  <a:pt x="154" y="216"/>
                </a:lnTo>
                <a:lnTo>
                  <a:pt x="154" y="221"/>
                </a:lnTo>
                <a:lnTo>
                  <a:pt x="153" y="222"/>
                </a:lnTo>
                <a:lnTo>
                  <a:pt x="152" y="222"/>
                </a:lnTo>
                <a:lnTo>
                  <a:pt x="151" y="223"/>
                </a:lnTo>
                <a:lnTo>
                  <a:pt x="151" y="226"/>
                </a:lnTo>
                <a:lnTo>
                  <a:pt x="150" y="226"/>
                </a:lnTo>
                <a:lnTo>
                  <a:pt x="150" y="227"/>
                </a:lnTo>
                <a:lnTo>
                  <a:pt x="145" y="227"/>
                </a:lnTo>
                <a:lnTo>
                  <a:pt x="145" y="226"/>
                </a:lnTo>
                <a:lnTo>
                  <a:pt x="144" y="226"/>
                </a:lnTo>
                <a:lnTo>
                  <a:pt x="144" y="223"/>
                </a:lnTo>
                <a:lnTo>
                  <a:pt x="143" y="223"/>
                </a:lnTo>
                <a:lnTo>
                  <a:pt x="143" y="224"/>
                </a:lnTo>
                <a:lnTo>
                  <a:pt x="137" y="227"/>
                </a:lnTo>
                <a:lnTo>
                  <a:pt x="134" y="228"/>
                </a:lnTo>
                <a:lnTo>
                  <a:pt x="133" y="228"/>
                </a:lnTo>
                <a:lnTo>
                  <a:pt x="132" y="227"/>
                </a:lnTo>
                <a:lnTo>
                  <a:pt x="129" y="226"/>
                </a:lnTo>
                <a:lnTo>
                  <a:pt x="128" y="226"/>
                </a:lnTo>
                <a:lnTo>
                  <a:pt x="127" y="227"/>
                </a:lnTo>
                <a:lnTo>
                  <a:pt x="125" y="227"/>
                </a:lnTo>
                <a:lnTo>
                  <a:pt x="120" y="230"/>
                </a:lnTo>
                <a:lnTo>
                  <a:pt x="119" y="230"/>
                </a:lnTo>
                <a:lnTo>
                  <a:pt x="119" y="232"/>
                </a:lnTo>
                <a:lnTo>
                  <a:pt x="118" y="232"/>
                </a:lnTo>
                <a:lnTo>
                  <a:pt x="116" y="230"/>
                </a:lnTo>
                <a:lnTo>
                  <a:pt x="114" y="230"/>
                </a:lnTo>
                <a:lnTo>
                  <a:pt x="112" y="232"/>
                </a:lnTo>
                <a:lnTo>
                  <a:pt x="110" y="230"/>
                </a:lnTo>
                <a:lnTo>
                  <a:pt x="110" y="232"/>
                </a:lnTo>
                <a:lnTo>
                  <a:pt x="109" y="232"/>
                </a:lnTo>
                <a:lnTo>
                  <a:pt x="109" y="230"/>
                </a:lnTo>
                <a:lnTo>
                  <a:pt x="108" y="230"/>
                </a:lnTo>
                <a:lnTo>
                  <a:pt x="108" y="233"/>
                </a:lnTo>
                <a:lnTo>
                  <a:pt x="106" y="232"/>
                </a:lnTo>
                <a:lnTo>
                  <a:pt x="104" y="233"/>
                </a:lnTo>
                <a:lnTo>
                  <a:pt x="102" y="236"/>
                </a:lnTo>
                <a:lnTo>
                  <a:pt x="102" y="238"/>
                </a:lnTo>
                <a:lnTo>
                  <a:pt x="103" y="239"/>
                </a:lnTo>
                <a:lnTo>
                  <a:pt x="102" y="239"/>
                </a:lnTo>
                <a:lnTo>
                  <a:pt x="102" y="240"/>
                </a:lnTo>
                <a:lnTo>
                  <a:pt x="101" y="239"/>
                </a:lnTo>
                <a:lnTo>
                  <a:pt x="100" y="239"/>
                </a:lnTo>
                <a:lnTo>
                  <a:pt x="98" y="238"/>
                </a:lnTo>
                <a:lnTo>
                  <a:pt x="98" y="236"/>
                </a:lnTo>
                <a:lnTo>
                  <a:pt x="97" y="235"/>
                </a:lnTo>
                <a:lnTo>
                  <a:pt x="95" y="234"/>
                </a:lnTo>
                <a:lnTo>
                  <a:pt x="93" y="234"/>
                </a:lnTo>
                <a:lnTo>
                  <a:pt x="91" y="235"/>
                </a:lnTo>
                <a:lnTo>
                  <a:pt x="91" y="236"/>
                </a:lnTo>
                <a:lnTo>
                  <a:pt x="90" y="236"/>
                </a:lnTo>
                <a:lnTo>
                  <a:pt x="89" y="238"/>
                </a:lnTo>
                <a:lnTo>
                  <a:pt x="85" y="238"/>
                </a:lnTo>
                <a:lnTo>
                  <a:pt x="82" y="240"/>
                </a:lnTo>
                <a:lnTo>
                  <a:pt x="81" y="240"/>
                </a:lnTo>
                <a:lnTo>
                  <a:pt x="81" y="241"/>
                </a:lnTo>
                <a:lnTo>
                  <a:pt x="79" y="242"/>
                </a:lnTo>
                <a:lnTo>
                  <a:pt x="79" y="251"/>
                </a:lnTo>
                <a:lnTo>
                  <a:pt x="78" y="252"/>
                </a:lnTo>
                <a:lnTo>
                  <a:pt x="78" y="253"/>
                </a:lnTo>
                <a:lnTo>
                  <a:pt x="76" y="253"/>
                </a:lnTo>
                <a:lnTo>
                  <a:pt x="76" y="252"/>
                </a:lnTo>
                <a:lnTo>
                  <a:pt x="75" y="252"/>
                </a:lnTo>
                <a:lnTo>
                  <a:pt x="75" y="253"/>
                </a:lnTo>
                <a:lnTo>
                  <a:pt x="72" y="253"/>
                </a:lnTo>
                <a:lnTo>
                  <a:pt x="72" y="252"/>
                </a:lnTo>
                <a:lnTo>
                  <a:pt x="71" y="251"/>
                </a:lnTo>
                <a:lnTo>
                  <a:pt x="72" y="250"/>
                </a:lnTo>
                <a:lnTo>
                  <a:pt x="72" y="248"/>
                </a:lnTo>
                <a:lnTo>
                  <a:pt x="73" y="247"/>
                </a:lnTo>
                <a:lnTo>
                  <a:pt x="72" y="246"/>
                </a:lnTo>
                <a:lnTo>
                  <a:pt x="72" y="245"/>
                </a:lnTo>
                <a:lnTo>
                  <a:pt x="71" y="241"/>
                </a:lnTo>
                <a:lnTo>
                  <a:pt x="71" y="236"/>
                </a:lnTo>
                <a:lnTo>
                  <a:pt x="69" y="233"/>
                </a:lnTo>
                <a:lnTo>
                  <a:pt x="69" y="232"/>
                </a:lnTo>
                <a:lnTo>
                  <a:pt x="67" y="232"/>
                </a:lnTo>
                <a:lnTo>
                  <a:pt x="67" y="230"/>
                </a:lnTo>
                <a:lnTo>
                  <a:pt x="62" y="227"/>
                </a:lnTo>
                <a:lnTo>
                  <a:pt x="58" y="227"/>
                </a:lnTo>
                <a:lnTo>
                  <a:pt x="58" y="226"/>
                </a:lnTo>
                <a:lnTo>
                  <a:pt x="57" y="226"/>
                </a:lnTo>
                <a:lnTo>
                  <a:pt x="57" y="223"/>
                </a:lnTo>
                <a:lnTo>
                  <a:pt x="56" y="223"/>
                </a:lnTo>
                <a:lnTo>
                  <a:pt x="56" y="222"/>
                </a:lnTo>
                <a:lnTo>
                  <a:pt x="57" y="221"/>
                </a:lnTo>
                <a:lnTo>
                  <a:pt x="56" y="220"/>
                </a:lnTo>
                <a:lnTo>
                  <a:pt x="54" y="216"/>
                </a:lnTo>
                <a:lnTo>
                  <a:pt x="53" y="216"/>
                </a:lnTo>
                <a:lnTo>
                  <a:pt x="51" y="215"/>
                </a:lnTo>
                <a:lnTo>
                  <a:pt x="51" y="210"/>
                </a:lnTo>
                <a:lnTo>
                  <a:pt x="52" y="209"/>
                </a:lnTo>
                <a:lnTo>
                  <a:pt x="52" y="207"/>
                </a:lnTo>
                <a:lnTo>
                  <a:pt x="48" y="203"/>
                </a:lnTo>
                <a:lnTo>
                  <a:pt x="48" y="202"/>
                </a:lnTo>
                <a:lnTo>
                  <a:pt x="50" y="202"/>
                </a:lnTo>
                <a:lnTo>
                  <a:pt x="50" y="201"/>
                </a:lnTo>
                <a:lnTo>
                  <a:pt x="52" y="201"/>
                </a:lnTo>
                <a:lnTo>
                  <a:pt x="54" y="202"/>
                </a:lnTo>
                <a:lnTo>
                  <a:pt x="56" y="203"/>
                </a:lnTo>
                <a:lnTo>
                  <a:pt x="57" y="202"/>
                </a:lnTo>
                <a:lnTo>
                  <a:pt x="57" y="198"/>
                </a:lnTo>
                <a:lnTo>
                  <a:pt x="59" y="198"/>
                </a:lnTo>
                <a:lnTo>
                  <a:pt x="63" y="197"/>
                </a:lnTo>
                <a:lnTo>
                  <a:pt x="63" y="193"/>
                </a:lnTo>
                <a:lnTo>
                  <a:pt x="62" y="193"/>
                </a:lnTo>
                <a:lnTo>
                  <a:pt x="59" y="192"/>
                </a:lnTo>
                <a:lnTo>
                  <a:pt x="57" y="190"/>
                </a:lnTo>
                <a:lnTo>
                  <a:pt x="53" y="190"/>
                </a:lnTo>
                <a:lnTo>
                  <a:pt x="53" y="189"/>
                </a:lnTo>
                <a:lnTo>
                  <a:pt x="50" y="186"/>
                </a:lnTo>
                <a:lnTo>
                  <a:pt x="46" y="183"/>
                </a:lnTo>
                <a:lnTo>
                  <a:pt x="45" y="183"/>
                </a:lnTo>
                <a:lnTo>
                  <a:pt x="45" y="181"/>
                </a:lnTo>
                <a:lnTo>
                  <a:pt x="44" y="180"/>
                </a:lnTo>
                <a:lnTo>
                  <a:pt x="44" y="181"/>
                </a:lnTo>
                <a:lnTo>
                  <a:pt x="42" y="181"/>
                </a:lnTo>
                <a:lnTo>
                  <a:pt x="42" y="183"/>
                </a:lnTo>
                <a:lnTo>
                  <a:pt x="40" y="183"/>
                </a:lnTo>
                <a:lnTo>
                  <a:pt x="39" y="181"/>
                </a:lnTo>
                <a:lnTo>
                  <a:pt x="38" y="181"/>
                </a:lnTo>
                <a:lnTo>
                  <a:pt x="36" y="180"/>
                </a:lnTo>
                <a:lnTo>
                  <a:pt x="35" y="178"/>
                </a:lnTo>
                <a:lnTo>
                  <a:pt x="34" y="179"/>
                </a:lnTo>
                <a:lnTo>
                  <a:pt x="34" y="178"/>
                </a:lnTo>
                <a:lnTo>
                  <a:pt x="31" y="178"/>
                </a:lnTo>
                <a:lnTo>
                  <a:pt x="31" y="177"/>
                </a:lnTo>
                <a:lnTo>
                  <a:pt x="29" y="176"/>
                </a:lnTo>
                <a:lnTo>
                  <a:pt x="28" y="176"/>
                </a:lnTo>
                <a:lnTo>
                  <a:pt x="27" y="173"/>
                </a:lnTo>
                <a:lnTo>
                  <a:pt x="26" y="172"/>
                </a:lnTo>
                <a:lnTo>
                  <a:pt x="26" y="171"/>
                </a:lnTo>
                <a:lnTo>
                  <a:pt x="21" y="166"/>
                </a:lnTo>
                <a:lnTo>
                  <a:pt x="21" y="165"/>
                </a:lnTo>
                <a:lnTo>
                  <a:pt x="15" y="162"/>
                </a:lnTo>
                <a:lnTo>
                  <a:pt x="13" y="160"/>
                </a:lnTo>
                <a:lnTo>
                  <a:pt x="13" y="158"/>
                </a:lnTo>
                <a:lnTo>
                  <a:pt x="14" y="156"/>
                </a:lnTo>
                <a:lnTo>
                  <a:pt x="15" y="156"/>
                </a:lnTo>
                <a:lnTo>
                  <a:pt x="15" y="155"/>
                </a:lnTo>
                <a:lnTo>
                  <a:pt x="16" y="154"/>
                </a:lnTo>
                <a:lnTo>
                  <a:pt x="16" y="153"/>
                </a:lnTo>
                <a:lnTo>
                  <a:pt x="17" y="154"/>
                </a:lnTo>
                <a:lnTo>
                  <a:pt x="19" y="154"/>
                </a:lnTo>
                <a:lnTo>
                  <a:pt x="19" y="153"/>
                </a:lnTo>
                <a:lnTo>
                  <a:pt x="21" y="153"/>
                </a:lnTo>
                <a:lnTo>
                  <a:pt x="22" y="154"/>
                </a:lnTo>
                <a:lnTo>
                  <a:pt x="22" y="155"/>
                </a:lnTo>
                <a:lnTo>
                  <a:pt x="23" y="156"/>
                </a:lnTo>
                <a:lnTo>
                  <a:pt x="23" y="154"/>
                </a:lnTo>
                <a:lnTo>
                  <a:pt x="25" y="154"/>
                </a:lnTo>
                <a:lnTo>
                  <a:pt x="26" y="155"/>
                </a:lnTo>
                <a:lnTo>
                  <a:pt x="26" y="152"/>
                </a:lnTo>
                <a:lnTo>
                  <a:pt x="27" y="150"/>
                </a:lnTo>
                <a:lnTo>
                  <a:pt x="27" y="148"/>
                </a:lnTo>
                <a:lnTo>
                  <a:pt x="25" y="143"/>
                </a:lnTo>
                <a:lnTo>
                  <a:pt x="21" y="138"/>
                </a:lnTo>
                <a:lnTo>
                  <a:pt x="19" y="135"/>
                </a:lnTo>
                <a:lnTo>
                  <a:pt x="16" y="133"/>
                </a:lnTo>
                <a:lnTo>
                  <a:pt x="15" y="133"/>
                </a:lnTo>
                <a:lnTo>
                  <a:pt x="16" y="131"/>
                </a:lnTo>
                <a:lnTo>
                  <a:pt x="15" y="130"/>
                </a:lnTo>
                <a:lnTo>
                  <a:pt x="16" y="129"/>
                </a:lnTo>
                <a:lnTo>
                  <a:pt x="19" y="129"/>
                </a:lnTo>
                <a:lnTo>
                  <a:pt x="21" y="131"/>
                </a:lnTo>
                <a:lnTo>
                  <a:pt x="22" y="131"/>
                </a:lnTo>
                <a:lnTo>
                  <a:pt x="25" y="130"/>
                </a:lnTo>
                <a:lnTo>
                  <a:pt x="27" y="131"/>
                </a:lnTo>
                <a:lnTo>
                  <a:pt x="28" y="131"/>
                </a:lnTo>
                <a:lnTo>
                  <a:pt x="31" y="129"/>
                </a:lnTo>
                <a:lnTo>
                  <a:pt x="32" y="129"/>
                </a:lnTo>
                <a:lnTo>
                  <a:pt x="32" y="127"/>
                </a:lnTo>
                <a:lnTo>
                  <a:pt x="31" y="125"/>
                </a:lnTo>
                <a:lnTo>
                  <a:pt x="31" y="127"/>
                </a:lnTo>
                <a:lnTo>
                  <a:pt x="29" y="127"/>
                </a:lnTo>
                <a:lnTo>
                  <a:pt x="29" y="125"/>
                </a:lnTo>
                <a:lnTo>
                  <a:pt x="28" y="124"/>
                </a:lnTo>
                <a:lnTo>
                  <a:pt x="27" y="124"/>
                </a:lnTo>
                <a:lnTo>
                  <a:pt x="27" y="123"/>
                </a:lnTo>
                <a:lnTo>
                  <a:pt x="26" y="123"/>
                </a:lnTo>
                <a:lnTo>
                  <a:pt x="26" y="121"/>
                </a:lnTo>
                <a:lnTo>
                  <a:pt x="23" y="121"/>
                </a:lnTo>
                <a:lnTo>
                  <a:pt x="21" y="118"/>
                </a:lnTo>
                <a:lnTo>
                  <a:pt x="21" y="116"/>
                </a:lnTo>
                <a:lnTo>
                  <a:pt x="19" y="113"/>
                </a:lnTo>
                <a:lnTo>
                  <a:pt x="15" y="113"/>
                </a:lnTo>
                <a:lnTo>
                  <a:pt x="13" y="112"/>
                </a:lnTo>
                <a:lnTo>
                  <a:pt x="10" y="110"/>
                </a:lnTo>
                <a:lnTo>
                  <a:pt x="10" y="106"/>
                </a:lnTo>
                <a:lnTo>
                  <a:pt x="11" y="105"/>
                </a:lnTo>
                <a:lnTo>
                  <a:pt x="11" y="99"/>
                </a:lnTo>
                <a:lnTo>
                  <a:pt x="13" y="99"/>
                </a:lnTo>
                <a:lnTo>
                  <a:pt x="13" y="98"/>
                </a:lnTo>
                <a:lnTo>
                  <a:pt x="14" y="98"/>
                </a:lnTo>
                <a:lnTo>
                  <a:pt x="14" y="94"/>
                </a:lnTo>
                <a:lnTo>
                  <a:pt x="16" y="92"/>
                </a:lnTo>
                <a:lnTo>
                  <a:pt x="17" y="90"/>
                </a:lnTo>
                <a:lnTo>
                  <a:pt x="17" y="88"/>
                </a:lnTo>
                <a:lnTo>
                  <a:pt x="19" y="88"/>
                </a:lnTo>
                <a:lnTo>
                  <a:pt x="19" y="87"/>
                </a:lnTo>
                <a:lnTo>
                  <a:pt x="20" y="86"/>
                </a:lnTo>
                <a:lnTo>
                  <a:pt x="21" y="79"/>
                </a:lnTo>
                <a:lnTo>
                  <a:pt x="21" y="76"/>
                </a:lnTo>
                <a:lnTo>
                  <a:pt x="20" y="76"/>
                </a:lnTo>
                <a:lnTo>
                  <a:pt x="19" y="75"/>
                </a:lnTo>
                <a:lnTo>
                  <a:pt x="17" y="76"/>
                </a:lnTo>
                <a:lnTo>
                  <a:pt x="16" y="75"/>
                </a:lnTo>
                <a:lnTo>
                  <a:pt x="15" y="75"/>
                </a:lnTo>
                <a:lnTo>
                  <a:pt x="15" y="76"/>
                </a:lnTo>
                <a:lnTo>
                  <a:pt x="14" y="76"/>
                </a:lnTo>
                <a:lnTo>
                  <a:pt x="14" y="75"/>
                </a:lnTo>
                <a:lnTo>
                  <a:pt x="13" y="75"/>
                </a:lnTo>
                <a:lnTo>
                  <a:pt x="9" y="78"/>
                </a:lnTo>
                <a:lnTo>
                  <a:pt x="8" y="78"/>
                </a:lnTo>
                <a:lnTo>
                  <a:pt x="7" y="79"/>
                </a:lnTo>
                <a:lnTo>
                  <a:pt x="6" y="76"/>
                </a:lnTo>
                <a:lnTo>
                  <a:pt x="6" y="75"/>
                </a:lnTo>
                <a:lnTo>
                  <a:pt x="7" y="75"/>
                </a:lnTo>
                <a:lnTo>
                  <a:pt x="8" y="76"/>
                </a:lnTo>
                <a:lnTo>
                  <a:pt x="11" y="73"/>
                </a:lnTo>
                <a:lnTo>
                  <a:pt x="10" y="72"/>
                </a:lnTo>
                <a:lnTo>
                  <a:pt x="10" y="73"/>
                </a:lnTo>
                <a:lnTo>
                  <a:pt x="9" y="72"/>
                </a:lnTo>
                <a:lnTo>
                  <a:pt x="9" y="64"/>
                </a:lnTo>
                <a:lnTo>
                  <a:pt x="8" y="63"/>
                </a:lnTo>
                <a:lnTo>
                  <a:pt x="8" y="62"/>
                </a:lnTo>
                <a:lnTo>
                  <a:pt x="11" y="62"/>
                </a:lnTo>
                <a:lnTo>
                  <a:pt x="11" y="60"/>
                </a:lnTo>
                <a:lnTo>
                  <a:pt x="10" y="58"/>
                </a:lnTo>
                <a:lnTo>
                  <a:pt x="13" y="58"/>
                </a:lnTo>
                <a:lnTo>
                  <a:pt x="13" y="60"/>
                </a:lnTo>
                <a:lnTo>
                  <a:pt x="14" y="61"/>
                </a:lnTo>
                <a:lnTo>
                  <a:pt x="17" y="61"/>
                </a:lnTo>
                <a:lnTo>
                  <a:pt x="17" y="60"/>
                </a:lnTo>
                <a:lnTo>
                  <a:pt x="19" y="61"/>
                </a:lnTo>
                <a:lnTo>
                  <a:pt x="22" y="61"/>
                </a:lnTo>
                <a:lnTo>
                  <a:pt x="22" y="57"/>
                </a:lnTo>
                <a:lnTo>
                  <a:pt x="21" y="57"/>
                </a:lnTo>
                <a:lnTo>
                  <a:pt x="21" y="56"/>
                </a:lnTo>
                <a:lnTo>
                  <a:pt x="13" y="54"/>
                </a:lnTo>
                <a:lnTo>
                  <a:pt x="10" y="52"/>
                </a:lnTo>
                <a:lnTo>
                  <a:pt x="10" y="51"/>
                </a:lnTo>
                <a:lnTo>
                  <a:pt x="9" y="51"/>
                </a:lnTo>
                <a:lnTo>
                  <a:pt x="9" y="49"/>
                </a:lnTo>
                <a:lnTo>
                  <a:pt x="6" y="49"/>
                </a:lnTo>
                <a:lnTo>
                  <a:pt x="6" y="48"/>
                </a:lnTo>
                <a:lnTo>
                  <a:pt x="4" y="47"/>
                </a:lnTo>
                <a:lnTo>
                  <a:pt x="7" y="45"/>
                </a:lnTo>
                <a:lnTo>
                  <a:pt x="7" y="44"/>
                </a:lnTo>
                <a:lnTo>
                  <a:pt x="6" y="44"/>
                </a:lnTo>
                <a:lnTo>
                  <a:pt x="6" y="41"/>
                </a:lnTo>
                <a:lnTo>
                  <a:pt x="9" y="41"/>
                </a:lnTo>
                <a:lnTo>
                  <a:pt x="10" y="39"/>
                </a:lnTo>
                <a:lnTo>
                  <a:pt x="9" y="39"/>
                </a:lnTo>
                <a:lnTo>
                  <a:pt x="9" y="38"/>
                </a:lnTo>
                <a:lnTo>
                  <a:pt x="7" y="38"/>
                </a:lnTo>
                <a:lnTo>
                  <a:pt x="7" y="37"/>
                </a:lnTo>
                <a:lnTo>
                  <a:pt x="4" y="37"/>
                </a:lnTo>
                <a:lnTo>
                  <a:pt x="4" y="38"/>
                </a:lnTo>
                <a:lnTo>
                  <a:pt x="3" y="38"/>
                </a:lnTo>
                <a:lnTo>
                  <a:pt x="2" y="37"/>
                </a:lnTo>
                <a:lnTo>
                  <a:pt x="2" y="33"/>
                </a:lnTo>
                <a:lnTo>
                  <a:pt x="4" y="31"/>
                </a:lnTo>
                <a:lnTo>
                  <a:pt x="4" y="30"/>
                </a:lnTo>
                <a:lnTo>
                  <a:pt x="3" y="29"/>
                </a:lnTo>
                <a:lnTo>
                  <a:pt x="2" y="29"/>
                </a:lnTo>
                <a:lnTo>
                  <a:pt x="2" y="25"/>
                </a:lnTo>
                <a:lnTo>
                  <a:pt x="0" y="23"/>
                </a:lnTo>
                <a:lnTo>
                  <a:pt x="0" y="19"/>
                </a:lnTo>
                <a:lnTo>
                  <a:pt x="1" y="19"/>
                </a:lnTo>
                <a:lnTo>
                  <a:pt x="2" y="18"/>
                </a:lnTo>
                <a:lnTo>
                  <a:pt x="1" y="18"/>
                </a:lnTo>
                <a:lnTo>
                  <a:pt x="1" y="15"/>
                </a:lnTo>
                <a:lnTo>
                  <a:pt x="2" y="15"/>
                </a:lnTo>
                <a:lnTo>
                  <a:pt x="2" y="14"/>
                </a:lnTo>
                <a:lnTo>
                  <a:pt x="4" y="14"/>
                </a:lnTo>
                <a:lnTo>
                  <a:pt x="4" y="15"/>
                </a:lnTo>
                <a:lnTo>
                  <a:pt x="6" y="15"/>
                </a:lnTo>
                <a:lnTo>
                  <a:pt x="6" y="14"/>
                </a:lnTo>
                <a:lnTo>
                  <a:pt x="4" y="14"/>
                </a:lnTo>
                <a:lnTo>
                  <a:pt x="4" y="13"/>
                </a:lnTo>
                <a:lnTo>
                  <a:pt x="8" y="13"/>
                </a:lnTo>
                <a:lnTo>
                  <a:pt x="8" y="9"/>
                </a:lnTo>
                <a:lnTo>
                  <a:pt x="10" y="9"/>
                </a:lnTo>
                <a:lnTo>
                  <a:pt x="10" y="11"/>
                </a:lnTo>
                <a:lnTo>
                  <a:pt x="11" y="11"/>
                </a:lnTo>
                <a:lnTo>
                  <a:pt x="15" y="12"/>
                </a:lnTo>
                <a:lnTo>
                  <a:pt x="16" y="12"/>
                </a:lnTo>
                <a:lnTo>
                  <a:pt x="17" y="11"/>
                </a:lnTo>
                <a:lnTo>
                  <a:pt x="17" y="9"/>
                </a:lnTo>
                <a:lnTo>
                  <a:pt x="19" y="9"/>
                </a:lnTo>
                <a:lnTo>
                  <a:pt x="19" y="8"/>
                </a:lnTo>
                <a:lnTo>
                  <a:pt x="22" y="8"/>
                </a:lnTo>
                <a:lnTo>
                  <a:pt x="22" y="7"/>
                </a:lnTo>
                <a:lnTo>
                  <a:pt x="23" y="6"/>
                </a:lnTo>
                <a:lnTo>
                  <a:pt x="25" y="6"/>
                </a:lnTo>
                <a:lnTo>
                  <a:pt x="25" y="5"/>
                </a:lnTo>
                <a:lnTo>
                  <a:pt x="26" y="5"/>
                </a:lnTo>
                <a:lnTo>
                  <a:pt x="27" y="4"/>
                </a:lnTo>
                <a:lnTo>
                  <a:pt x="26" y="2"/>
                </a:lnTo>
                <a:lnTo>
                  <a:pt x="27" y="1"/>
                </a:lnTo>
                <a:lnTo>
                  <a:pt x="28" y="1"/>
                </a:lnTo>
                <a:lnTo>
                  <a:pt x="29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" name="Freeform 18">
            <a:extLst>
              <a:ext uri="{FF2B5EF4-FFF2-40B4-BE49-F238E27FC236}">
                <a16:creationId xmlns:a16="http://schemas.microsoft.com/office/drawing/2014/main" id="{B0E58545-7F42-4ED7-BC8D-12DC199EDF1A}"/>
              </a:ext>
            </a:extLst>
          </p:cNvPr>
          <p:cNvSpPr>
            <a:spLocks noEditPoints="1"/>
          </p:cNvSpPr>
          <p:nvPr/>
        </p:nvSpPr>
        <p:spPr bwMode="auto">
          <a:xfrm>
            <a:off x="2431418" y="2181957"/>
            <a:ext cx="2584909" cy="3305033"/>
          </a:xfrm>
          <a:custGeom>
            <a:avLst/>
            <a:gdLst/>
            <a:ahLst/>
            <a:cxnLst>
              <a:cxn ang="0">
                <a:pos x="130" y="1431"/>
              </a:cxn>
              <a:cxn ang="0">
                <a:pos x="423" y="1007"/>
              </a:cxn>
              <a:cxn ang="0">
                <a:pos x="861" y="574"/>
              </a:cxn>
              <a:cxn ang="0">
                <a:pos x="1465" y="195"/>
              </a:cxn>
              <a:cxn ang="0">
                <a:pos x="1501" y="128"/>
              </a:cxn>
              <a:cxn ang="0">
                <a:pos x="1264" y="132"/>
              </a:cxn>
              <a:cxn ang="0">
                <a:pos x="566" y="43"/>
              </a:cxn>
              <a:cxn ang="0">
                <a:pos x="578" y="63"/>
              </a:cxn>
              <a:cxn ang="0">
                <a:pos x="655" y="92"/>
              </a:cxn>
              <a:cxn ang="0">
                <a:pos x="797" y="190"/>
              </a:cxn>
              <a:cxn ang="0">
                <a:pos x="914" y="318"/>
              </a:cxn>
              <a:cxn ang="0">
                <a:pos x="643" y="386"/>
              </a:cxn>
              <a:cxn ang="0">
                <a:pos x="555" y="333"/>
              </a:cxn>
              <a:cxn ang="0">
                <a:pos x="584" y="388"/>
              </a:cxn>
              <a:cxn ang="0">
                <a:pos x="635" y="455"/>
              </a:cxn>
              <a:cxn ang="0">
                <a:pos x="637" y="543"/>
              </a:cxn>
              <a:cxn ang="0">
                <a:pos x="690" y="628"/>
              </a:cxn>
              <a:cxn ang="0">
                <a:pos x="722" y="582"/>
              </a:cxn>
              <a:cxn ang="0">
                <a:pos x="796" y="573"/>
              </a:cxn>
              <a:cxn ang="0">
                <a:pos x="877" y="574"/>
              </a:cxn>
              <a:cxn ang="0">
                <a:pos x="1002" y="437"/>
              </a:cxn>
              <a:cxn ang="0">
                <a:pos x="1044" y="331"/>
              </a:cxn>
              <a:cxn ang="0">
                <a:pos x="1038" y="171"/>
              </a:cxn>
              <a:cxn ang="0">
                <a:pos x="1125" y="359"/>
              </a:cxn>
              <a:cxn ang="0">
                <a:pos x="1238" y="266"/>
              </a:cxn>
              <a:cxn ang="0">
                <a:pos x="1373" y="190"/>
              </a:cxn>
              <a:cxn ang="0">
                <a:pos x="1447" y="174"/>
              </a:cxn>
              <a:cxn ang="0">
                <a:pos x="1532" y="158"/>
              </a:cxn>
              <a:cxn ang="0">
                <a:pos x="1666" y="173"/>
              </a:cxn>
              <a:cxn ang="0">
                <a:pos x="1747" y="15"/>
              </a:cxn>
              <a:cxn ang="0">
                <a:pos x="1758" y="1511"/>
              </a:cxn>
              <a:cxn ang="0">
                <a:pos x="1718" y="1637"/>
              </a:cxn>
              <a:cxn ang="0">
                <a:pos x="1652" y="1700"/>
              </a:cxn>
              <a:cxn ang="0">
                <a:pos x="1549" y="1690"/>
              </a:cxn>
              <a:cxn ang="0">
                <a:pos x="1450" y="1672"/>
              </a:cxn>
              <a:cxn ang="0">
                <a:pos x="1333" y="1646"/>
              </a:cxn>
              <a:cxn ang="0">
                <a:pos x="1234" y="1745"/>
              </a:cxn>
              <a:cxn ang="0">
                <a:pos x="1157" y="1877"/>
              </a:cxn>
              <a:cxn ang="0">
                <a:pos x="1233" y="1996"/>
              </a:cxn>
              <a:cxn ang="0">
                <a:pos x="1180" y="2015"/>
              </a:cxn>
              <a:cxn ang="0">
                <a:pos x="1150" y="2077"/>
              </a:cxn>
              <a:cxn ang="0">
                <a:pos x="1178" y="2164"/>
              </a:cxn>
              <a:cxn ang="0">
                <a:pos x="1153" y="2256"/>
              </a:cxn>
              <a:cxn ang="0">
                <a:pos x="1026" y="2205"/>
              </a:cxn>
              <a:cxn ang="0">
                <a:pos x="844" y="2141"/>
              </a:cxn>
              <a:cxn ang="0">
                <a:pos x="724" y="2039"/>
              </a:cxn>
              <a:cxn ang="0">
                <a:pos x="765" y="2018"/>
              </a:cxn>
              <a:cxn ang="0">
                <a:pos x="799" y="1961"/>
              </a:cxn>
              <a:cxn ang="0">
                <a:pos x="784" y="1928"/>
              </a:cxn>
              <a:cxn ang="0">
                <a:pos x="858" y="1823"/>
              </a:cxn>
              <a:cxn ang="0">
                <a:pos x="780" y="1754"/>
              </a:cxn>
              <a:cxn ang="0">
                <a:pos x="664" y="1680"/>
              </a:cxn>
              <a:cxn ang="0">
                <a:pos x="583" y="1592"/>
              </a:cxn>
              <a:cxn ang="0">
                <a:pos x="498" y="1532"/>
              </a:cxn>
              <a:cxn ang="0">
                <a:pos x="493" y="1458"/>
              </a:cxn>
              <a:cxn ang="0">
                <a:pos x="432" y="1340"/>
              </a:cxn>
              <a:cxn ang="0">
                <a:pos x="343" y="1246"/>
              </a:cxn>
              <a:cxn ang="0">
                <a:pos x="358" y="1026"/>
              </a:cxn>
              <a:cxn ang="0">
                <a:pos x="373" y="960"/>
              </a:cxn>
              <a:cxn ang="0">
                <a:pos x="417" y="883"/>
              </a:cxn>
              <a:cxn ang="0">
                <a:pos x="442" y="614"/>
              </a:cxn>
              <a:cxn ang="0">
                <a:pos x="399" y="361"/>
              </a:cxn>
              <a:cxn ang="0">
                <a:pos x="460" y="52"/>
              </a:cxn>
            </a:cxnLst>
            <a:rect l="0" t="0" r="r" b="b"/>
            <a:pathLst>
              <a:path w="1784" h="2281">
                <a:moveTo>
                  <a:pt x="1190" y="2120"/>
                </a:moveTo>
                <a:lnTo>
                  <a:pt x="1190" y="2121"/>
                </a:lnTo>
                <a:lnTo>
                  <a:pt x="1192" y="2121"/>
                </a:lnTo>
                <a:lnTo>
                  <a:pt x="1187" y="2125"/>
                </a:lnTo>
                <a:lnTo>
                  <a:pt x="1184" y="2125"/>
                </a:lnTo>
                <a:lnTo>
                  <a:pt x="1183" y="2124"/>
                </a:lnTo>
                <a:lnTo>
                  <a:pt x="1182" y="2124"/>
                </a:lnTo>
                <a:lnTo>
                  <a:pt x="1181" y="2122"/>
                </a:lnTo>
                <a:lnTo>
                  <a:pt x="1182" y="2121"/>
                </a:lnTo>
                <a:lnTo>
                  <a:pt x="1189" y="2121"/>
                </a:lnTo>
                <a:lnTo>
                  <a:pt x="1190" y="2120"/>
                </a:lnTo>
                <a:close/>
                <a:moveTo>
                  <a:pt x="757" y="2043"/>
                </a:moveTo>
                <a:lnTo>
                  <a:pt x="758" y="2045"/>
                </a:lnTo>
                <a:lnTo>
                  <a:pt x="759" y="2043"/>
                </a:lnTo>
                <a:lnTo>
                  <a:pt x="757" y="2043"/>
                </a:lnTo>
                <a:close/>
                <a:moveTo>
                  <a:pt x="1194" y="2023"/>
                </a:moveTo>
                <a:lnTo>
                  <a:pt x="1195" y="2023"/>
                </a:lnTo>
                <a:lnTo>
                  <a:pt x="1195" y="2026"/>
                </a:lnTo>
                <a:lnTo>
                  <a:pt x="1196" y="2027"/>
                </a:lnTo>
                <a:lnTo>
                  <a:pt x="1196" y="2029"/>
                </a:lnTo>
                <a:lnTo>
                  <a:pt x="1198" y="2030"/>
                </a:lnTo>
                <a:lnTo>
                  <a:pt x="1198" y="2035"/>
                </a:lnTo>
                <a:lnTo>
                  <a:pt x="1196" y="2035"/>
                </a:lnTo>
                <a:lnTo>
                  <a:pt x="1196" y="2034"/>
                </a:lnTo>
                <a:lnTo>
                  <a:pt x="1195" y="2033"/>
                </a:lnTo>
                <a:lnTo>
                  <a:pt x="1195" y="2032"/>
                </a:lnTo>
                <a:lnTo>
                  <a:pt x="1194" y="2029"/>
                </a:lnTo>
                <a:lnTo>
                  <a:pt x="1194" y="2023"/>
                </a:lnTo>
                <a:close/>
                <a:moveTo>
                  <a:pt x="1231" y="1993"/>
                </a:moveTo>
                <a:lnTo>
                  <a:pt x="1232" y="1995"/>
                </a:lnTo>
                <a:lnTo>
                  <a:pt x="1232" y="1993"/>
                </a:lnTo>
                <a:lnTo>
                  <a:pt x="1231" y="1993"/>
                </a:lnTo>
                <a:close/>
                <a:moveTo>
                  <a:pt x="72" y="1381"/>
                </a:moveTo>
                <a:lnTo>
                  <a:pt x="74" y="1381"/>
                </a:lnTo>
                <a:lnTo>
                  <a:pt x="75" y="1382"/>
                </a:lnTo>
                <a:lnTo>
                  <a:pt x="77" y="1387"/>
                </a:lnTo>
                <a:lnTo>
                  <a:pt x="80" y="1388"/>
                </a:lnTo>
                <a:lnTo>
                  <a:pt x="83" y="1388"/>
                </a:lnTo>
                <a:lnTo>
                  <a:pt x="86" y="1389"/>
                </a:lnTo>
                <a:lnTo>
                  <a:pt x="89" y="1393"/>
                </a:lnTo>
                <a:lnTo>
                  <a:pt x="93" y="1394"/>
                </a:lnTo>
                <a:lnTo>
                  <a:pt x="94" y="1395"/>
                </a:lnTo>
                <a:lnTo>
                  <a:pt x="95" y="1395"/>
                </a:lnTo>
                <a:lnTo>
                  <a:pt x="96" y="1396"/>
                </a:lnTo>
                <a:lnTo>
                  <a:pt x="99" y="1396"/>
                </a:lnTo>
                <a:lnTo>
                  <a:pt x="99" y="1395"/>
                </a:lnTo>
                <a:lnTo>
                  <a:pt x="100" y="1395"/>
                </a:lnTo>
                <a:lnTo>
                  <a:pt x="101" y="1396"/>
                </a:lnTo>
                <a:lnTo>
                  <a:pt x="101" y="1399"/>
                </a:lnTo>
                <a:lnTo>
                  <a:pt x="102" y="1400"/>
                </a:lnTo>
                <a:lnTo>
                  <a:pt x="105" y="1400"/>
                </a:lnTo>
                <a:lnTo>
                  <a:pt x="106" y="1399"/>
                </a:lnTo>
                <a:lnTo>
                  <a:pt x="111" y="1397"/>
                </a:lnTo>
                <a:lnTo>
                  <a:pt x="112" y="1397"/>
                </a:lnTo>
                <a:lnTo>
                  <a:pt x="119" y="1399"/>
                </a:lnTo>
                <a:lnTo>
                  <a:pt x="122" y="1396"/>
                </a:lnTo>
                <a:lnTo>
                  <a:pt x="125" y="1399"/>
                </a:lnTo>
                <a:lnTo>
                  <a:pt x="125" y="1400"/>
                </a:lnTo>
                <a:lnTo>
                  <a:pt x="126" y="1403"/>
                </a:lnTo>
                <a:lnTo>
                  <a:pt x="126" y="1405"/>
                </a:lnTo>
                <a:lnTo>
                  <a:pt x="127" y="1406"/>
                </a:lnTo>
                <a:lnTo>
                  <a:pt x="131" y="1406"/>
                </a:lnTo>
                <a:lnTo>
                  <a:pt x="131" y="1407"/>
                </a:lnTo>
                <a:lnTo>
                  <a:pt x="132" y="1407"/>
                </a:lnTo>
                <a:lnTo>
                  <a:pt x="131" y="1408"/>
                </a:lnTo>
                <a:lnTo>
                  <a:pt x="132" y="1409"/>
                </a:lnTo>
                <a:lnTo>
                  <a:pt x="134" y="1410"/>
                </a:lnTo>
                <a:lnTo>
                  <a:pt x="136" y="1412"/>
                </a:lnTo>
                <a:lnTo>
                  <a:pt x="136" y="1419"/>
                </a:lnTo>
                <a:lnTo>
                  <a:pt x="134" y="1419"/>
                </a:lnTo>
                <a:lnTo>
                  <a:pt x="133" y="1420"/>
                </a:lnTo>
                <a:lnTo>
                  <a:pt x="133" y="1421"/>
                </a:lnTo>
                <a:lnTo>
                  <a:pt x="132" y="1421"/>
                </a:lnTo>
                <a:lnTo>
                  <a:pt x="132" y="1422"/>
                </a:lnTo>
                <a:lnTo>
                  <a:pt x="131" y="1422"/>
                </a:lnTo>
                <a:lnTo>
                  <a:pt x="131" y="1424"/>
                </a:lnTo>
                <a:lnTo>
                  <a:pt x="130" y="1425"/>
                </a:lnTo>
                <a:lnTo>
                  <a:pt x="130" y="1431"/>
                </a:lnTo>
                <a:lnTo>
                  <a:pt x="128" y="1433"/>
                </a:lnTo>
                <a:lnTo>
                  <a:pt x="128" y="1443"/>
                </a:lnTo>
                <a:lnTo>
                  <a:pt x="130" y="1445"/>
                </a:lnTo>
                <a:lnTo>
                  <a:pt x="132" y="1449"/>
                </a:lnTo>
                <a:lnTo>
                  <a:pt x="130" y="1450"/>
                </a:lnTo>
                <a:lnTo>
                  <a:pt x="121" y="1450"/>
                </a:lnTo>
                <a:lnTo>
                  <a:pt x="112" y="1449"/>
                </a:lnTo>
                <a:lnTo>
                  <a:pt x="88" y="1448"/>
                </a:lnTo>
                <a:lnTo>
                  <a:pt x="70" y="1448"/>
                </a:lnTo>
                <a:lnTo>
                  <a:pt x="55" y="1446"/>
                </a:lnTo>
                <a:lnTo>
                  <a:pt x="31" y="1445"/>
                </a:lnTo>
                <a:lnTo>
                  <a:pt x="14" y="1444"/>
                </a:lnTo>
                <a:lnTo>
                  <a:pt x="2" y="1444"/>
                </a:lnTo>
                <a:lnTo>
                  <a:pt x="0" y="1443"/>
                </a:lnTo>
                <a:lnTo>
                  <a:pt x="0" y="1442"/>
                </a:lnTo>
                <a:lnTo>
                  <a:pt x="4" y="1437"/>
                </a:lnTo>
                <a:lnTo>
                  <a:pt x="8" y="1432"/>
                </a:lnTo>
                <a:lnTo>
                  <a:pt x="10" y="1427"/>
                </a:lnTo>
                <a:lnTo>
                  <a:pt x="12" y="1427"/>
                </a:lnTo>
                <a:lnTo>
                  <a:pt x="12" y="1424"/>
                </a:lnTo>
                <a:lnTo>
                  <a:pt x="13" y="1422"/>
                </a:lnTo>
                <a:lnTo>
                  <a:pt x="14" y="1420"/>
                </a:lnTo>
                <a:lnTo>
                  <a:pt x="14" y="1415"/>
                </a:lnTo>
                <a:lnTo>
                  <a:pt x="13" y="1412"/>
                </a:lnTo>
                <a:lnTo>
                  <a:pt x="13" y="1407"/>
                </a:lnTo>
                <a:lnTo>
                  <a:pt x="15" y="1405"/>
                </a:lnTo>
                <a:lnTo>
                  <a:pt x="16" y="1406"/>
                </a:lnTo>
                <a:lnTo>
                  <a:pt x="33" y="1406"/>
                </a:lnTo>
                <a:lnTo>
                  <a:pt x="37" y="1405"/>
                </a:lnTo>
                <a:lnTo>
                  <a:pt x="43" y="1399"/>
                </a:lnTo>
                <a:lnTo>
                  <a:pt x="50" y="1389"/>
                </a:lnTo>
                <a:lnTo>
                  <a:pt x="51" y="1389"/>
                </a:lnTo>
                <a:lnTo>
                  <a:pt x="55" y="1382"/>
                </a:lnTo>
                <a:lnTo>
                  <a:pt x="57" y="1382"/>
                </a:lnTo>
                <a:lnTo>
                  <a:pt x="56" y="1383"/>
                </a:lnTo>
                <a:lnTo>
                  <a:pt x="56" y="1384"/>
                </a:lnTo>
                <a:lnTo>
                  <a:pt x="55" y="1385"/>
                </a:lnTo>
                <a:lnTo>
                  <a:pt x="53" y="1385"/>
                </a:lnTo>
                <a:lnTo>
                  <a:pt x="53" y="1388"/>
                </a:lnTo>
                <a:lnTo>
                  <a:pt x="52" y="1388"/>
                </a:lnTo>
                <a:lnTo>
                  <a:pt x="52" y="1389"/>
                </a:lnTo>
                <a:lnTo>
                  <a:pt x="51" y="1391"/>
                </a:lnTo>
                <a:lnTo>
                  <a:pt x="49" y="1394"/>
                </a:lnTo>
                <a:lnTo>
                  <a:pt x="45" y="1399"/>
                </a:lnTo>
                <a:lnTo>
                  <a:pt x="39" y="1403"/>
                </a:lnTo>
                <a:lnTo>
                  <a:pt x="39" y="1405"/>
                </a:lnTo>
                <a:lnTo>
                  <a:pt x="38" y="1405"/>
                </a:lnTo>
                <a:lnTo>
                  <a:pt x="38" y="1406"/>
                </a:lnTo>
                <a:lnTo>
                  <a:pt x="39" y="1406"/>
                </a:lnTo>
                <a:lnTo>
                  <a:pt x="39" y="1407"/>
                </a:lnTo>
                <a:lnTo>
                  <a:pt x="40" y="1407"/>
                </a:lnTo>
                <a:lnTo>
                  <a:pt x="47" y="1406"/>
                </a:lnTo>
                <a:lnTo>
                  <a:pt x="50" y="1407"/>
                </a:lnTo>
                <a:lnTo>
                  <a:pt x="52" y="1409"/>
                </a:lnTo>
                <a:lnTo>
                  <a:pt x="62" y="1409"/>
                </a:lnTo>
                <a:lnTo>
                  <a:pt x="63" y="1408"/>
                </a:lnTo>
                <a:lnTo>
                  <a:pt x="66" y="1408"/>
                </a:lnTo>
                <a:lnTo>
                  <a:pt x="68" y="1407"/>
                </a:lnTo>
                <a:lnTo>
                  <a:pt x="68" y="1401"/>
                </a:lnTo>
                <a:lnTo>
                  <a:pt x="66" y="1393"/>
                </a:lnTo>
                <a:lnTo>
                  <a:pt x="66" y="1391"/>
                </a:lnTo>
                <a:lnTo>
                  <a:pt x="65" y="1390"/>
                </a:lnTo>
                <a:lnTo>
                  <a:pt x="65" y="1388"/>
                </a:lnTo>
                <a:lnTo>
                  <a:pt x="66" y="1387"/>
                </a:lnTo>
                <a:lnTo>
                  <a:pt x="68" y="1387"/>
                </a:lnTo>
                <a:lnTo>
                  <a:pt x="68" y="1388"/>
                </a:lnTo>
                <a:lnTo>
                  <a:pt x="69" y="1388"/>
                </a:lnTo>
                <a:lnTo>
                  <a:pt x="69" y="1387"/>
                </a:lnTo>
                <a:lnTo>
                  <a:pt x="70" y="1385"/>
                </a:lnTo>
                <a:lnTo>
                  <a:pt x="69" y="1384"/>
                </a:lnTo>
                <a:lnTo>
                  <a:pt x="72" y="1381"/>
                </a:lnTo>
                <a:close/>
                <a:moveTo>
                  <a:pt x="423" y="1007"/>
                </a:moveTo>
                <a:lnTo>
                  <a:pt x="425" y="1007"/>
                </a:lnTo>
                <a:lnTo>
                  <a:pt x="429" y="1009"/>
                </a:lnTo>
                <a:lnTo>
                  <a:pt x="429" y="1010"/>
                </a:lnTo>
                <a:lnTo>
                  <a:pt x="426" y="1009"/>
                </a:lnTo>
                <a:lnTo>
                  <a:pt x="425" y="1008"/>
                </a:lnTo>
                <a:lnTo>
                  <a:pt x="423" y="1007"/>
                </a:lnTo>
                <a:close/>
                <a:moveTo>
                  <a:pt x="345" y="1007"/>
                </a:moveTo>
                <a:lnTo>
                  <a:pt x="347" y="1007"/>
                </a:lnTo>
                <a:lnTo>
                  <a:pt x="348" y="1008"/>
                </a:lnTo>
                <a:lnTo>
                  <a:pt x="349" y="1008"/>
                </a:lnTo>
                <a:lnTo>
                  <a:pt x="349" y="1009"/>
                </a:lnTo>
                <a:lnTo>
                  <a:pt x="348" y="1009"/>
                </a:lnTo>
                <a:lnTo>
                  <a:pt x="345" y="1010"/>
                </a:lnTo>
                <a:lnTo>
                  <a:pt x="345" y="1007"/>
                </a:lnTo>
                <a:close/>
                <a:moveTo>
                  <a:pt x="308" y="1001"/>
                </a:moveTo>
                <a:lnTo>
                  <a:pt x="310" y="1001"/>
                </a:lnTo>
                <a:lnTo>
                  <a:pt x="311" y="1002"/>
                </a:lnTo>
                <a:lnTo>
                  <a:pt x="311" y="1003"/>
                </a:lnTo>
                <a:lnTo>
                  <a:pt x="312" y="1004"/>
                </a:lnTo>
                <a:lnTo>
                  <a:pt x="312" y="1008"/>
                </a:lnTo>
                <a:lnTo>
                  <a:pt x="311" y="1008"/>
                </a:lnTo>
                <a:lnTo>
                  <a:pt x="311" y="1007"/>
                </a:lnTo>
                <a:lnTo>
                  <a:pt x="310" y="1007"/>
                </a:lnTo>
                <a:lnTo>
                  <a:pt x="310" y="1004"/>
                </a:lnTo>
                <a:lnTo>
                  <a:pt x="308" y="1001"/>
                </a:lnTo>
                <a:close/>
                <a:moveTo>
                  <a:pt x="376" y="979"/>
                </a:moveTo>
                <a:lnTo>
                  <a:pt x="378" y="979"/>
                </a:lnTo>
                <a:lnTo>
                  <a:pt x="378" y="981"/>
                </a:lnTo>
                <a:lnTo>
                  <a:pt x="380" y="981"/>
                </a:lnTo>
                <a:lnTo>
                  <a:pt x="384" y="984"/>
                </a:lnTo>
                <a:lnTo>
                  <a:pt x="384" y="985"/>
                </a:lnTo>
                <a:lnTo>
                  <a:pt x="382" y="985"/>
                </a:lnTo>
                <a:lnTo>
                  <a:pt x="382" y="986"/>
                </a:lnTo>
                <a:lnTo>
                  <a:pt x="380" y="986"/>
                </a:lnTo>
                <a:lnTo>
                  <a:pt x="376" y="983"/>
                </a:lnTo>
                <a:lnTo>
                  <a:pt x="376" y="979"/>
                </a:lnTo>
                <a:close/>
                <a:moveTo>
                  <a:pt x="372" y="978"/>
                </a:moveTo>
                <a:lnTo>
                  <a:pt x="374" y="978"/>
                </a:lnTo>
                <a:lnTo>
                  <a:pt x="374" y="979"/>
                </a:lnTo>
                <a:lnTo>
                  <a:pt x="375" y="979"/>
                </a:lnTo>
                <a:lnTo>
                  <a:pt x="375" y="983"/>
                </a:lnTo>
                <a:lnTo>
                  <a:pt x="374" y="983"/>
                </a:lnTo>
                <a:lnTo>
                  <a:pt x="374" y="982"/>
                </a:lnTo>
                <a:lnTo>
                  <a:pt x="372" y="979"/>
                </a:lnTo>
                <a:lnTo>
                  <a:pt x="372" y="978"/>
                </a:lnTo>
                <a:close/>
                <a:moveTo>
                  <a:pt x="378" y="954"/>
                </a:moveTo>
                <a:lnTo>
                  <a:pt x="380" y="954"/>
                </a:lnTo>
                <a:lnTo>
                  <a:pt x="380" y="958"/>
                </a:lnTo>
                <a:lnTo>
                  <a:pt x="379" y="960"/>
                </a:lnTo>
                <a:lnTo>
                  <a:pt x="378" y="959"/>
                </a:lnTo>
                <a:lnTo>
                  <a:pt x="378" y="958"/>
                </a:lnTo>
                <a:lnTo>
                  <a:pt x="376" y="957"/>
                </a:lnTo>
                <a:lnTo>
                  <a:pt x="378" y="955"/>
                </a:lnTo>
                <a:lnTo>
                  <a:pt x="378" y="954"/>
                </a:lnTo>
                <a:close/>
                <a:moveTo>
                  <a:pt x="687" y="608"/>
                </a:moveTo>
                <a:lnTo>
                  <a:pt x="692" y="613"/>
                </a:lnTo>
                <a:lnTo>
                  <a:pt x="692" y="615"/>
                </a:lnTo>
                <a:lnTo>
                  <a:pt x="691" y="616"/>
                </a:lnTo>
                <a:lnTo>
                  <a:pt x="690" y="616"/>
                </a:lnTo>
                <a:lnTo>
                  <a:pt x="685" y="611"/>
                </a:lnTo>
                <a:lnTo>
                  <a:pt x="685" y="609"/>
                </a:lnTo>
                <a:lnTo>
                  <a:pt x="686" y="609"/>
                </a:lnTo>
                <a:lnTo>
                  <a:pt x="687" y="608"/>
                </a:lnTo>
                <a:close/>
                <a:moveTo>
                  <a:pt x="858" y="576"/>
                </a:moveTo>
                <a:lnTo>
                  <a:pt x="859" y="576"/>
                </a:lnTo>
                <a:lnTo>
                  <a:pt x="859" y="577"/>
                </a:lnTo>
                <a:lnTo>
                  <a:pt x="857" y="578"/>
                </a:lnTo>
                <a:lnTo>
                  <a:pt x="858" y="576"/>
                </a:lnTo>
                <a:close/>
                <a:moveTo>
                  <a:pt x="864" y="572"/>
                </a:moveTo>
                <a:lnTo>
                  <a:pt x="869" y="572"/>
                </a:lnTo>
                <a:lnTo>
                  <a:pt x="873" y="573"/>
                </a:lnTo>
                <a:lnTo>
                  <a:pt x="875" y="574"/>
                </a:lnTo>
                <a:lnTo>
                  <a:pt x="877" y="579"/>
                </a:lnTo>
                <a:lnTo>
                  <a:pt x="877" y="586"/>
                </a:lnTo>
                <a:lnTo>
                  <a:pt x="876" y="588"/>
                </a:lnTo>
                <a:lnTo>
                  <a:pt x="873" y="586"/>
                </a:lnTo>
                <a:lnTo>
                  <a:pt x="872" y="585"/>
                </a:lnTo>
                <a:lnTo>
                  <a:pt x="872" y="583"/>
                </a:lnTo>
                <a:lnTo>
                  <a:pt x="870" y="580"/>
                </a:lnTo>
                <a:lnTo>
                  <a:pt x="869" y="578"/>
                </a:lnTo>
                <a:lnTo>
                  <a:pt x="867" y="578"/>
                </a:lnTo>
                <a:lnTo>
                  <a:pt x="866" y="577"/>
                </a:lnTo>
                <a:lnTo>
                  <a:pt x="863" y="574"/>
                </a:lnTo>
                <a:lnTo>
                  <a:pt x="861" y="574"/>
                </a:lnTo>
                <a:lnTo>
                  <a:pt x="861" y="573"/>
                </a:lnTo>
                <a:lnTo>
                  <a:pt x="864" y="572"/>
                </a:lnTo>
                <a:close/>
                <a:moveTo>
                  <a:pt x="687" y="545"/>
                </a:moveTo>
                <a:lnTo>
                  <a:pt x="691" y="545"/>
                </a:lnTo>
                <a:lnTo>
                  <a:pt x="691" y="546"/>
                </a:lnTo>
                <a:lnTo>
                  <a:pt x="692" y="546"/>
                </a:lnTo>
                <a:lnTo>
                  <a:pt x="692" y="547"/>
                </a:lnTo>
                <a:lnTo>
                  <a:pt x="691" y="548"/>
                </a:lnTo>
                <a:lnTo>
                  <a:pt x="686" y="548"/>
                </a:lnTo>
                <a:lnTo>
                  <a:pt x="686" y="546"/>
                </a:lnTo>
                <a:lnTo>
                  <a:pt x="687" y="545"/>
                </a:lnTo>
                <a:close/>
                <a:moveTo>
                  <a:pt x="679" y="533"/>
                </a:moveTo>
                <a:lnTo>
                  <a:pt x="681" y="534"/>
                </a:lnTo>
                <a:lnTo>
                  <a:pt x="683" y="535"/>
                </a:lnTo>
                <a:lnTo>
                  <a:pt x="685" y="542"/>
                </a:lnTo>
                <a:lnTo>
                  <a:pt x="685" y="545"/>
                </a:lnTo>
                <a:lnTo>
                  <a:pt x="684" y="543"/>
                </a:lnTo>
                <a:lnTo>
                  <a:pt x="683" y="541"/>
                </a:lnTo>
                <a:lnTo>
                  <a:pt x="683" y="539"/>
                </a:lnTo>
                <a:lnTo>
                  <a:pt x="681" y="541"/>
                </a:lnTo>
                <a:lnTo>
                  <a:pt x="681" y="543"/>
                </a:lnTo>
                <a:lnTo>
                  <a:pt x="684" y="546"/>
                </a:lnTo>
                <a:lnTo>
                  <a:pt x="685" y="546"/>
                </a:lnTo>
                <a:lnTo>
                  <a:pt x="685" y="551"/>
                </a:lnTo>
                <a:lnTo>
                  <a:pt x="684" y="551"/>
                </a:lnTo>
                <a:lnTo>
                  <a:pt x="684" y="552"/>
                </a:lnTo>
                <a:lnTo>
                  <a:pt x="683" y="553"/>
                </a:lnTo>
                <a:lnTo>
                  <a:pt x="680" y="554"/>
                </a:lnTo>
                <a:lnTo>
                  <a:pt x="679" y="553"/>
                </a:lnTo>
                <a:lnTo>
                  <a:pt x="679" y="548"/>
                </a:lnTo>
                <a:lnTo>
                  <a:pt x="678" y="547"/>
                </a:lnTo>
                <a:lnTo>
                  <a:pt x="674" y="547"/>
                </a:lnTo>
                <a:lnTo>
                  <a:pt x="672" y="546"/>
                </a:lnTo>
                <a:lnTo>
                  <a:pt x="670" y="541"/>
                </a:lnTo>
                <a:lnTo>
                  <a:pt x="670" y="539"/>
                </a:lnTo>
                <a:lnTo>
                  <a:pt x="671" y="536"/>
                </a:lnTo>
                <a:lnTo>
                  <a:pt x="672" y="535"/>
                </a:lnTo>
                <a:lnTo>
                  <a:pt x="676" y="535"/>
                </a:lnTo>
                <a:lnTo>
                  <a:pt x="677" y="534"/>
                </a:lnTo>
                <a:lnTo>
                  <a:pt x="678" y="534"/>
                </a:lnTo>
                <a:lnTo>
                  <a:pt x="679" y="533"/>
                </a:lnTo>
                <a:close/>
                <a:moveTo>
                  <a:pt x="690" y="531"/>
                </a:moveTo>
                <a:lnTo>
                  <a:pt x="691" y="531"/>
                </a:lnTo>
                <a:lnTo>
                  <a:pt x="691" y="533"/>
                </a:lnTo>
                <a:lnTo>
                  <a:pt x="692" y="533"/>
                </a:lnTo>
                <a:lnTo>
                  <a:pt x="692" y="534"/>
                </a:lnTo>
                <a:lnTo>
                  <a:pt x="693" y="534"/>
                </a:lnTo>
                <a:lnTo>
                  <a:pt x="693" y="535"/>
                </a:lnTo>
                <a:lnTo>
                  <a:pt x="702" y="535"/>
                </a:lnTo>
                <a:lnTo>
                  <a:pt x="701" y="536"/>
                </a:lnTo>
                <a:lnTo>
                  <a:pt x="697" y="536"/>
                </a:lnTo>
                <a:lnTo>
                  <a:pt x="695" y="537"/>
                </a:lnTo>
                <a:lnTo>
                  <a:pt x="692" y="537"/>
                </a:lnTo>
                <a:lnTo>
                  <a:pt x="689" y="536"/>
                </a:lnTo>
                <a:lnTo>
                  <a:pt x="689" y="533"/>
                </a:lnTo>
                <a:lnTo>
                  <a:pt x="690" y="531"/>
                </a:lnTo>
                <a:close/>
                <a:moveTo>
                  <a:pt x="963" y="367"/>
                </a:moveTo>
                <a:lnTo>
                  <a:pt x="966" y="367"/>
                </a:lnTo>
                <a:lnTo>
                  <a:pt x="971" y="369"/>
                </a:lnTo>
                <a:lnTo>
                  <a:pt x="971" y="370"/>
                </a:lnTo>
                <a:lnTo>
                  <a:pt x="972" y="373"/>
                </a:lnTo>
                <a:lnTo>
                  <a:pt x="972" y="379"/>
                </a:lnTo>
                <a:lnTo>
                  <a:pt x="971" y="379"/>
                </a:lnTo>
                <a:lnTo>
                  <a:pt x="969" y="377"/>
                </a:lnTo>
                <a:lnTo>
                  <a:pt x="964" y="374"/>
                </a:lnTo>
                <a:lnTo>
                  <a:pt x="962" y="369"/>
                </a:lnTo>
                <a:lnTo>
                  <a:pt x="963" y="367"/>
                </a:lnTo>
                <a:close/>
                <a:moveTo>
                  <a:pt x="537" y="327"/>
                </a:moveTo>
                <a:lnTo>
                  <a:pt x="537" y="328"/>
                </a:lnTo>
                <a:lnTo>
                  <a:pt x="538" y="328"/>
                </a:lnTo>
                <a:lnTo>
                  <a:pt x="540" y="330"/>
                </a:lnTo>
                <a:lnTo>
                  <a:pt x="540" y="331"/>
                </a:lnTo>
                <a:lnTo>
                  <a:pt x="538" y="332"/>
                </a:lnTo>
                <a:lnTo>
                  <a:pt x="536" y="330"/>
                </a:lnTo>
                <a:lnTo>
                  <a:pt x="536" y="328"/>
                </a:lnTo>
                <a:lnTo>
                  <a:pt x="537" y="327"/>
                </a:lnTo>
                <a:close/>
                <a:moveTo>
                  <a:pt x="1463" y="195"/>
                </a:moveTo>
                <a:lnTo>
                  <a:pt x="1465" y="195"/>
                </a:lnTo>
                <a:lnTo>
                  <a:pt x="1465" y="196"/>
                </a:lnTo>
                <a:lnTo>
                  <a:pt x="1463" y="196"/>
                </a:lnTo>
                <a:lnTo>
                  <a:pt x="1463" y="197"/>
                </a:lnTo>
                <a:lnTo>
                  <a:pt x="1465" y="197"/>
                </a:lnTo>
                <a:lnTo>
                  <a:pt x="1465" y="203"/>
                </a:lnTo>
                <a:lnTo>
                  <a:pt x="1463" y="203"/>
                </a:lnTo>
                <a:lnTo>
                  <a:pt x="1460" y="204"/>
                </a:lnTo>
                <a:lnTo>
                  <a:pt x="1459" y="204"/>
                </a:lnTo>
                <a:lnTo>
                  <a:pt x="1459" y="201"/>
                </a:lnTo>
                <a:lnTo>
                  <a:pt x="1460" y="199"/>
                </a:lnTo>
                <a:lnTo>
                  <a:pt x="1460" y="198"/>
                </a:lnTo>
                <a:lnTo>
                  <a:pt x="1463" y="195"/>
                </a:lnTo>
                <a:close/>
                <a:moveTo>
                  <a:pt x="1447" y="191"/>
                </a:moveTo>
                <a:lnTo>
                  <a:pt x="1449" y="191"/>
                </a:lnTo>
                <a:lnTo>
                  <a:pt x="1450" y="193"/>
                </a:lnTo>
                <a:lnTo>
                  <a:pt x="1449" y="196"/>
                </a:lnTo>
                <a:lnTo>
                  <a:pt x="1449" y="199"/>
                </a:lnTo>
                <a:lnTo>
                  <a:pt x="1447" y="199"/>
                </a:lnTo>
                <a:lnTo>
                  <a:pt x="1444" y="197"/>
                </a:lnTo>
                <a:lnTo>
                  <a:pt x="1444" y="193"/>
                </a:lnTo>
                <a:lnTo>
                  <a:pt x="1447" y="191"/>
                </a:lnTo>
                <a:close/>
                <a:moveTo>
                  <a:pt x="1331" y="175"/>
                </a:moveTo>
                <a:lnTo>
                  <a:pt x="1336" y="175"/>
                </a:lnTo>
                <a:lnTo>
                  <a:pt x="1344" y="177"/>
                </a:lnTo>
                <a:lnTo>
                  <a:pt x="1343" y="178"/>
                </a:lnTo>
                <a:lnTo>
                  <a:pt x="1331" y="180"/>
                </a:lnTo>
                <a:lnTo>
                  <a:pt x="1327" y="184"/>
                </a:lnTo>
                <a:lnTo>
                  <a:pt x="1324" y="184"/>
                </a:lnTo>
                <a:lnTo>
                  <a:pt x="1322" y="187"/>
                </a:lnTo>
                <a:lnTo>
                  <a:pt x="1318" y="187"/>
                </a:lnTo>
                <a:lnTo>
                  <a:pt x="1318" y="189"/>
                </a:lnTo>
                <a:lnTo>
                  <a:pt x="1314" y="189"/>
                </a:lnTo>
                <a:lnTo>
                  <a:pt x="1317" y="186"/>
                </a:lnTo>
                <a:lnTo>
                  <a:pt x="1318" y="184"/>
                </a:lnTo>
                <a:lnTo>
                  <a:pt x="1331" y="175"/>
                </a:lnTo>
                <a:close/>
                <a:moveTo>
                  <a:pt x="1230" y="153"/>
                </a:moveTo>
                <a:lnTo>
                  <a:pt x="1231" y="153"/>
                </a:lnTo>
                <a:lnTo>
                  <a:pt x="1242" y="155"/>
                </a:lnTo>
                <a:lnTo>
                  <a:pt x="1243" y="155"/>
                </a:lnTo>
                <a:lnTo>
                  <a:pt x="1244" y="156"/>
                </a:lnTo>
                <a:lnTo>
                  <a:pt x="1230" y="153"/>
                </a:lnTo>
                <a:close/>
                <a:moveTo>
                  <a:pt x="1459" y="138"/>
                </a:moveTo>
                <a:lnTo>
                  <a:pt x="1461" y="138"/>
                </a:lnTo>
                <a:lnTo>
                  <a:pt x="1466" y="142"/>
                </a:lnTo>
                <a:lnTo>
                  <a:pt x="1467" y="142"/>
                </a:lnTo>
                <a:lnTo>
                  <a:pt x="1467" y="143"/>
                </a:lnTo>
                <a:lnTo>
                  <a:pt x="1460" y="141"/>
                </a:lnTo>
                <a:lnTo>
                  <a:pt x="1459" y="141"/>
                </a:lnTo>
                <a:lnTo>
                  <a:pt x="1459" y="138"/>
                </a:lnTo>
                <a:close/>
                <a:moveTo>
                  <a:pt x="1263" y="138"/>
                </a:moveTo>
                <a:lnTo>
                  <a:pt x="1264" y="138"/>
                </a:lnTo>
                <a:lnTo>
                  <a:pt x="1264" y="140"/>
                </a:lnTo>
                <a:lnTo>
                  <a:pt x="1263" y="141"/>
                </a:lnTo>
                <a:lnTo>
                  <a:pt x="1261" y="142"/>
                </a:lnTo>
                <a:lnTo>
                  <a:pt x="1260" y="141"/>
                </a:lnTo>
                <a:lnTo>
                  <a:pt x="1263" y="140"/>
                </a:lnTo>
                <a:lnTo>
                  <a:pt x="1263" y="138"/>
                </a:lnTo>
                <a:close/>
                <a:moveTo>
                  <a:pt x="1275" y="128"/>
                </a:moveTo>
                <a:lnTo>
                  <a:pt x="1275" y="129"/>
                </a:lnTo>
                <a:lnTo>
                  <a:pt x="1273" y="131"/>
                </a:lnTo>
                <a:lnTo>
                  <a:pt x="1271" y="131"/>
                </a:lnTo>
                <a:lnTo>
                  <a:pt x="1275" y="128"/>
                </a:lnTo>
                <a:close/>
                <a:moveTo>
                  <a:pt x="1488" y="124"/>
                </a:moveTo>
                <a:lnTo>
                  <a:pt x="1493" y="124"/>
                </a:lnTo>
                <a:lnTo>
                  <a:pt x="1493" y="127"/>
                </a:lnTo>
                <a:lnTo>
                  <a:pt x="1492" y="128"/>
                </a:lnTo>
                <a:lnTo>
                  <a:pt x="1491" y="127"/>
                </a:lnTo>
                <a:lnTo>
                  <a:pt x="1490" y="127"/>
                </a:lnTo>
                <a:lnTo>
                  <a:pt x="1488" y="125"/>
                </a:lnTo>
                <a:lnTo>
                  <a:pt x="1488" y="124"/>
                </a:lnTo>
                <a:close/>
                <a:moveTo>
                  <a:pt x="1506" y="123"/>
                </a:moveTo>
                <a:lnTo>
                  <a:pt x="1507" y="123"/>
                </a:lnTo>
                <a:lnTo>
                  <a:pt x="1511" y="124"/>
                </a:lnTo>
                <a:lnTo>
                  <a:pt x="1512" y="125"/>
                </a:lnTo>
                <a:lnTo>
                  <a:pt x="1513" y="128"/>
                </a:lnTo>
                <a:lnTo>
                  <a:pt x="1507" y="125"/>
                </a:lnTo>
                <a:lnTo>
                  <a:pt x="1504" y="128"/>
                </a:lnTo>
                <a:lnTo>
                  <a:pt x="1501" y="128"/>
                </a:lnTo>
                <a:lnTo>
                  <a:pt x="1503" y="125"/>
                </a:lnTo>
                <a:lnTo>
                  <a:pt x="1506" y="123"/>
                </a:lnTo>
                <a:close/>
                <a:moveTo>
                  <a:pt x="1285" y="122"/>
                </a:moveTo>
                <a:lnTo>
                  <a:pt x="1286" y="122"/>
                </a:lnTo>
                <a:lnTo>
                  <a:pt x="1286" y="123"/>
                </a:lnTo>
                <a:lnTo>
                  <a:pt x="1285" y="124"/>
                </a:lnTo>
                <a:lnTo>
                  <a:pt x="1282" y="125"/>
                </a:lnTo>
                <a:lnTo>
                  <a:pt x="1281" y="125"/>
                </a:lnTo>
                <a:lnTo>
                  <a:pt x="1285" y="122"/>
                </a:lnTo>
                <a:close/>
                <a:moveTo>
                  <a:pt x="1476" y="116"/>
                </a:moveTo>
                <a:lnTo>
                  <a:pt x="1479" y="116"/>
                </a:lnTo>
                <a:lnTo>
                  <a:pt x="1480" y="117"/>
                </a:lnTo>
                <a:lnTo>
                  <a:pt x="1480" y="119"/>
                </a:lnTo>
                <a:lnTo>
                  <a:pt x="1479" y="121"/>
                </a:lnTo>
                <a:lnTo>
                  <a:pt x="1479" y="122"/>
                </a:lnTo>
                <a:lnTo>
                  <a:pt x="1478" y="122"/>
                </a:lnTo>
                <a:lnTo>
                  <a:pt x="1475" y="123"/>
                </a:lnTo>
                <a:lnTo>
                  <a:pt x="1475" y="122"/>
                </a:lnTo>
                <a:lnTo>
                  <a:pt x="1474" y="122"/>
                </a:lnTo>
                <a:lnTo>
                  <a:pt x="1476" y="117"/>
                </a:lnTo>
                <a:lnTo>
                  <a:pt x="1476" y="116"/>
                </a:lnTo>
                <a:close/>
                <a:moveTo>
                  <a:pt x="1652" y="76"/>
                </a:moveTo>
                <a:lnTo>
                  <a:pt x="1653" y="76"/>
                </a:lnTo>
                <a:lnTo>
                  <a:pt x="1667" y="87"/>
                </a:lnTo>
                <a:lnTo>
                  <a:pt x="1670" y="90"/>
                </a:lnTo>
                <a:lnTo>
                  <a:pt x="1670" y="91"/>
                </a:lnTo>
                <a:lnTo>
                  <a:pt x="1668" y="92"/>
                </a:lnTo>
                <a:lnTo>
                  <a:pt x="1672" y="95"/>
                </a:lnTo>
                <a:lnTo>
                  <a:pt x="1672" y="100"/>
                </a:lnTo>
                <a:lnTo>
                  <a:pt x="1671" y="99"/>
                </a:lnTo>
                <a:lnTo>
                  <a:pt x="1671" y="98"/>
                </a:lnTo>
                <a:lnTo>
                  <a:pt x="1670" y="98"/>
                </a:lnTo>
                <a:lnTo>
                  <a:pt x="1668" y="97"/>
                </a:lnTo>
                <a:lnTo>
                  <a:pt x="1667" y="94"/>
                </a:lnTo>
                <a:lnTo>
                  <a:pt x="1666" y="94"/>
                </a:lnTo>
                <a:lnTo>
                  <a:pt x="1665" y="90"/>
                </a:lnTo>
                <a:lnTo>
                  <a:pt x="1664" y="88"/>
                </a:lnTo>
                <a:lnTo>
                  <a:pt x="1652" y="79"/>
                </a:lnTo>
                <a:lnTo>
                  <a:pt x="1652" y="76"/>
                </a:lnTo>
                <a:close/>
                <a:moveTo>
                  <a:pt x="616" y="68"/>
                </a:moveTo>
                <a:lnTo>
                  <a:pt x="623" y="75"/>
                </a:lnTo>
                <a:lnTo>
                  <a:pt x="623" y="76"/>
                </a:lnTo>
                <a:lnTo>
                  <a:pt x="608" y="75"/>
                </a:lnTo>
                <a:lnTo>
                  <a:pt x="605" y="74"/>
                </a:lnTo>
                <a:lnTo>
                  <a:pt x="605" y="72"/>
                </a:lnTo>
                <a:lnTo>
                  <a:pt x="606" y="70"/>
                </a:lnTo>
                <a:lnTo>
                  <a:pt x="608" y="70"/>
                </a:lnTo>
                <a:lnTo>
                  <a:pt x="611" y="69"/>
                </a:lnTo>
                <a:lnTo>
                  <a:pt x="616" y="68"/>
                </a:lnTo>
                <a:close/>
                <a:moveTo>
                  <a:pt x="1243" y="55"/>
                </a:moveTo>
                <a:lnTo>
                  <a:pt x="1251" y="56"/>
                </a:lnTo>
                <a:lnTo>
                  <a:pt x="1269" y="69"/>
                </a:lnTo>
                <a:lnTo>
                  <a:pt x="1282" y="81"/>
                </a:lnTo>
                <a:lnTo>
                  <a:pt x="1288" y="86"/>
                </a:lnTo>
                <a:lnTo>
                  <a:pt x="1291" y="90"/>
                </a:lnTo>
                <a:lnTo>
                  <a:pt x="1295" y="99"/>
                </a:lnTo>
                <a:lnTo>
                  <a:pt x="1294" y="104"/>
                </a:lnTo>
                <a:lnTo>
                  <a:pt x="1292" y="110"/>
                </a:lnTo>
                <a:lnTo>
                  <a:pt x="1288" y="116"/>
                </a:lnTo>
                <a:lnTo>
                  <a:pt x="1286" y="117"/>
                </a:lnTo>
                <a:lnTo>
                  <a:pt x="1287" y="116"/>
                </a:lnTo>
                <a:lnTo>
                  <a:pt x="1287" y="110"/>
                </a:lnTo>
                <a:lnTo>
                  <a:pt x="1289" y="105"/>
                </a:lnTo>
                <a:lnTo>
                  <a:pt x="1291" y="100"/>
                </a:lnTo>
                <a:lnTo>
                  <a:pt x="1291" y="98"/>
                </a:lnTo>
                <a:lnTo>
                  <a:pt x="1289" y="99"/>
                </a:lnTo>
                <a:lnTo>
                  <a:pt x="1287" y="100"/>
                </a:lnTo>
                <a:lnTo>
                  <a:pt x="1282" y="106"/>
                </a:lnTo>
                <a:lnTo>
                  <a:pt x="1280" y="109"/>
                </a:lnTo>
                <a:lnTo>
                  <a:pt x="1276" y="115"/>
                </a:lnTo>
                <a:lnTo>
                  <a:pt x="1275" y="116"/>
                </a:lnTo>
                <a:lnTo>
                  <a:pt x="1277" y="116"/>
                </a:lnTo>
                <a:lnTo>
                  <a:pt x="1277" y="119"/>
                </a:lnTo>
                <a:lnTo>
                  <a:pt x="1274" y="121"/>
                </a:lnTo>
                <a:lnTo>
                  <a:pt x="1270" y="130"/>
                </a:lnTo>
                <a:lnTo>
                  <a:pt x="1268" y="131"/>
                </a:lnTo>
                <a:lnTo>
                  <a:pt x="1267" y="131"/>
                </a:lnTo>
                <a:lnTo>
                  <a:pt x="1264" y="132"/>
                </a:lnTo>
                <a:lnTo>
                  <a:pt x="1262" y="136"/>
                </a:lnTo>
                <a:lnTo>
                  <a:pt x="1257" y="140"/>
                </a:lnTo>
                <a:lnTo>
                  <a:pt x="1254" y="138"/>
                </a:lnTo>
                <a:lnTo>
                  <a:pt x="1252" y="140"/>
                </a:lnTo>
                <a:lnTo>
                  <a:pt x="1250" y="143"/>
                </a:lnTo>
                <a:lnTo>
                  <a:pt x="1231" y="149"/>
                </a:lnTo>
                <a:lnTo>
                  <a:pt x="1230" y="148"/>
                </a:lnTo>
                <a:lnTo>
                  <a:pt x="1230" y="147"/>
                </a:lnTo>
                <a:lnTo>
                  <a:pt x="1229" y="147"/>
                </a:lnTo>
                <a:lnTo>
                  <a:pt x="1229" y="146"/>
                </a:lnTo>
                <a:lnTo>
                  <a:pt x="1227" y="146"/>
                </a:lnTo>
                <a:lnTo>
                  <a:pt x="1226" y="147"/>
                </a:lnTo>
                <a:lnTo>
                  <a:pt x="1226" y="148"/>
                </a:lnTo>
                <a:lnTo>
                  <a:pt x="1223" y="148"/>
                </a:lnTo>
                <a:lnTo>
                  <a:pt x="1221" y="147"/>
                </a:lnTo>
                <a:lnTo>
                  <a:pt x="1219" y="143"/>
                </a:lnTo>
                <a:lnTo>
                  <a:pt x="1214" y="138"/>
                </a:lnTo>
                <a:lnTo>
                  <a:pt x="1213" y="138"/>
                </a:lnTo>
                <a:lnTo>
                  <a:pt x="1212" y="136"/>
                </a:lnTo>
                <a:lnTo>
                  <a:pt x="1212" y="135"/>
                </a:lnTo>
                <a:lnTo>
                  <a:pt x="1211" y="135"/>
                </a:lnTo>
                <a:lnTo>
                  <a:pt x="1209" y="132"/>
                </a:lnTo>
                <a:lnTo>
                  <a:pt x="1211" y="131"/>
                </a:lnTo>
                <a:lnTo>
                  <a:pt x="1211" y="130"/>
                </a:lnTo>
                <a:lnTo>
                  <a:pt x="1209" y="129"/>
                </a:lnTo>
                <a:lnTo>
                  <a:pt x="1208" y="129"/>
                </a:lnTo>
                <a:lnTo>
                  <a:pt x="1207" y="131"/>
                </a:lnTo>
                <a:lnTo>
                  <a:pt x="1206" y="129"/>
                </a:lnTo>
                <a:lnTo>
                  <a:pt x="1206" y="128"/>
                </a:lnTo>
                <a:lnTo>
                  <a:pt x="1207" y="125"/>
                </a:lnTo>
                <a:lnTo>
                  <a:pt x="1207" y="122"/>
                </a:lnTo>
                <a:lnTo>
                  <a:pt x="1208" y="121"/>
                </a:lnTo>
                <a:lnTo>
                  <a:pt x="1208" y="119"/>
                </a:lnTo>
                <a:lnTo>
                  <a:pt x="1207" y="117"/>
                </a:lnTo>
                <a:lnTo>
                  <a:pt x="1207" y="118"/>
                </a:lnTo>
                <a:lnTo>
                  <a:pt x="1206" y="117"/>
                </a:lnTo>
                <a:lnTo>
                  <a:pt x="1206" y="115"/>
                </a:lnTo>
                <a:lnTo>
                  <a:pt x="1208" y="112"/>
                </a:lnTo>
                <a:lnTo>
                  <a:pt x="1206" y="111"/>
                </a:lnTo>
                <a:lnTo>
                  <a:pt x="1206" y="109"/>
                </a:lnTo>
                <a:lnTo>
                  <a:pt x="1207" y="105"/>
                </a:lnTo>
                <a:lnTo>
                  <a:pt x="1208" y="103"/>
                </a:lnTo>
                <a:lnTo>
                  <a:pt x="1208" y="91"/>
                </a:lnTo>
                <a:lnTo>
                  <a:pt x="1209" y="87"/>
                </a:lnTo>
                <a:lnTo>
                  <a:pt x="1209" y="85"/>
                </a:lnTo>
                <a:lnTo>
                  <a:pt x="1211" y="81"/>
                </a:lnTo>
                <a:lnTo>
                  <a:pt x="1214" y="76"/>
                </a:lnTo>
                <a:lnTo>
                  <a:pt x="1215" y="74"/>
                </a:lnTo>
                <a:lnTo>
                  <a:pt x="1215" y="73"/>
                </a:lnTo>
                <a:lnTo>
                  <a:pt x="1219" y="70"/>
                </a:lnTo>
                <a:lnTo>
                  <a:pt x="1221" y="67"/>
                </a:lnTo>
                <a:lnTo>
                  <a:pt x="1231" y="58"/>
                </a:lnTo>
                <a:lnTo>
                  <a:pt x="1236" y="56"/>
                </a:lnTo>
                <a:lnTo>
                  <a:pt x="1243" y="55"/>
                </a:lnTo>
                <a:close/>
                <a:moveTo>
                  <a:pt x="521" y="0"/>
                </a:moveTo>
                <a:lnTo>
                  <a:pt x="522" y="0"/>
                </a:lnTo>
                <a:lnTo>
                  <a:pt x="524" y="1"/>
                </a:lnTo>
                <a:lnTo>
                  <a:pt x="532" y="11"/>
                </a:lnTo>
                <a:lnTo>
                  <a:pt x="534" y="12"/>
                </a:lnTo>
                <a:lnTo>
                  <a:pt x="537" y="11"/>
                </a:lnTo>
                <a:lnTo>
                  <a:pt x="538" y="12"/>
                </a:lnTo>
                <a:lnTo>
                  <a:pt x="543" y="14"/>
                </a:lnTo>
                <a:lnTo>
                  <a:pt x="544" y="17"/>
                </a:lnTo>
                <a:lnTo>
                  <a:pt x="543" y="18"/>
                </a:lnTo>
                <a:lnTo>
                  <a:pt x="543" y="19"/>
                </a:lnTo>
                <a:lnTo>
                  <a:pt x="544" y="20"/>
                </a:lnTo>
                <a:lnTo>
                  <a:pt x="548" y="23"/>
                </a:lnTo>
                <a:lnTo>
                  <a:pt x="553" y="21"/>
                </a:lnTo>
                <a:lnTo>
                  <a:pt x="561" y="24"/>
                </a:lnTo>
                <a:lnTo>
                  <a:pt x="565" y="26"/>
                </a:lnTo>
                <a:lnTo>
                  <a:pt x="566" y="29"/>
                </a:lnTo>
                <a:lnTo>
                  <a:pt x="567" y="29"/>
                </a:lnTo>
                <a:lnTo>
                  <a:pt x="568" y="27"/>
                </a:lnTo>
                <a:lnTo>
                  <a:pt x="569" y="27"/>
                </a:lnTo>
                <a:lnTo>
                  <a:pt x="569" y="38"/>
                </a:lnTo>
                <a:lnTo>
                  <a:pt x="568" y="39"/>
                </a:lnTo>
                <a:lnTo>
                  <a:pt x="567" y="42"/>
                </a:lnTo>
                <a:lnTo>
                  <a:pt x="566" y="43"/>
                </a:lnTo>
                <a:lnTo>
                  <a:pt x="559" y="48"/>
                </a:lnTo>
                <a:lnTo>
                  <a:pt x="543" y="42"/>
                </a:lnTo>
                <a:lnTo>
                  <a:pt x="541" y="39"/>
                </a:lnTo>
                <a:lnTo>
                  <a:pt x="540" y="39"/>
                </a:lnTo>
                <a:lnTo>
                  <a:pt x="537" y="41"/>
                </a:lnTo>
                <a:lnTo>
                  <a:pt x="531" y="38"/>
                </a:lnTo>
                <a:lnTo>
                  <a:pt x="530" y="39"/>
                </a:lnTo>
                <a:lnTo>
                  <a:pt x="529" y="38"/>
                </a:lnTo>
                <a:lnTo>
                  <a:pt x="529" y="33"/>
                </a:lnTo>
                <a:lnTo>
                  <a:pt x="530" y="32"/>
                </a:lnTo>
                <a:lnTo>
                  <a:pt x="530" y="31"/>
                </a:lnTo>
                <a:lnTo>
                  <a:pt x="529" y="30"/>
                </a:lnTo>
                <a:lnTo>
                  <a:pt x="529" y="29"/>
                </a:lnTo>
                <a:lnTo>
                  <a:pt x="528" y="27"/>
                </a:lnTo>
                <a:lnTo>
                  <a:pt x="528" y="26"/>
                </a:lnTo>
                <a:lnTo>
                  <a:pt x="527" y="26"/>
                </a:lnTo>
                <a:lnTo>
                  <a:pt x="527" y="36"/>
                </a:lnTo>
                <a:lnTo>
                  <a:pt x="524" y="38"/>
                </a:lnTo>
                <a:lnTo>
                  <a:pt x="521" y="38"/>
                </a:lnTo>
                <a:lnTo>
                  <a:pt x="523" y="41"/>
                </a:lnTo>
                <a:lnTo>
                  <a:pt x="524" y="41"/>
                </a:lnTo>
                <a:lnTo>
                  <a:pt x="524" y="45"/>
                </a:lnTo>
                <a:lnTo>
                  <a:pt x="523" y="47"/>
                </a:lnTo>
                <a:lnTo>
                  <a:pt x="523" y="50"/>
                </a:lnTo>
                <a:lnTo>
                  <a:pt x="525" y="47"/>
                </a:lnTo>
                <a:lnTo>
                  <a:pt x="528" y="45"/>
                </a:lnTo>
                <a:lnTo>
                  <a:pt x="532" y="48"/>
                </a:lnTo>
                <a:lnTo>
                  <a:pt x="534" y="49"/>
                </a:lnTo>
                <a:lnTo>
                  <a:pt x="538" y="47"/>
                </a:lnTo>
                <a:lnTo>
                  <a:pt x="538" y="48"/>
                </a:lnTo>
                <a:lnTo>
                  <a:pt x="540" y="48"/>
                </a:lnTo>
                <a:lnTo>
                  <a:pt x="540" y="49"/>
                </a:lnTo>
                <a:lnTo>
                  <a:pt x="541" y="50"/>
                </a:lnTo>
                <a:lnTo>
                  <a:pt x="540" y="50"/>
                </a:lnTo>
                <a:lnTo>
                  <a:pt x="538" y="52"/>
                </a:lnTo>
                <a:lnTo>
                  <a:pt x="540" y="52"/>
                </a:lnTo>
                <a:lnTo>
                  <a:pt x="543" y="55"/>
                </a:lnTo>
                <a:lnTo>
                  <a:pt x="542" y="57"/>
                </a:lnTo>
                <a:lnTo>
                  <a:pt x="540" y="57"/>
                </a:lnTo>
                <a:lnTo>
                  <a:pt x="540" y="58"/>
                </a:lnTo>
                <a:lnTo>
                  <a:pt x="538" y="61"/>
                </a:lnTo>
                <a:lnTo>
                  <a:pt x="537" y="61"/>
                </a:lnTo>
                <a:lnTo>
                  <a:pt x="536" y="62"/>
                </a:lnTo>
                <a:lnTo>
                  <a:pt x="532" y="64"/>
                </a:lnTo>
                <a:lnTo>
                  <a:pt x="530" y="66"/>
                </a:lnTo>
                <a:lnTo>
                  <a:pt x="532" y="67"/>
                </a:lnTo>
                <a:lnTo>
                  <a:pt x="534" y="66"/>
                </a:lnTo>
                <a:lnTo>
                  <a:pt x="538" y="62"/>
                </a:lnTo>
                <a:lnTo>
                  <a:pt x="540" y="62"/>
                </a:lnTo>
                <a:lnTo>
                  <a:pt x="540" y="61"/>
                </a:lnTo>
                <a:lnTo>
                  <a:pt x="541" y="58"/>
                </a:lnTo>
                <a:lnTo>
                  <a:pt x="544" y="58"/>
                </a:lnTo>
                <a:lnTo>
                  <a:pt x="544" y="56"/>
                </a:lnTo>
                <a:lnTo>
                  <a:pt x="546" y="56"/>
                </a:lnTo>
                <a:lnTo>
                  <a:pt x="547" y="60"/>
                </a:lnTo>
                <a:lnTo>
                  <a:pt x="548" y="60"/>
                </a:lnTo>
                <a:lnTo>
                  <a:pt x="549" y="57"/>
                </a:lnTo>
                <a:lnTo>
                  <a:pt x="552" y="57"/>
                </a:lnTo>
                <a:lnTo>
                  <a:pt x="555" y="58"/>
                </a:lnTo>
                <a:lnTo>
                  <a:pt x="559" y="58"/>
                </a:lnTo>
                <a:lnTo>
                  <a:pt x="560" y="60"/>
                </a:lnTo>
                <a:lnTo>
                  <a:pt x="555" y="64"/>
                </a:lnTo>
                <a:lnTo>
                  <a:pt x="554" y="68"/>
                </a:lnTo>
                <a:lnTo>
                  <a:pt x="560" y="62"/>
                </a:lnTo>
                <a:lnTo>
                  <a:pt x="563" y="61"/>
                </a:lnTo>
                <a:lnTo>
                  <a:pt x="568" y="61"/>
                </a:lnTo>
                <a:lnTo>
                  <a:pt x="559" y="74"/>
                </a:lnTo>
                <a:lnTo>
                  <a:pt x="558" y="78"/>
                </a:lnTo>
                <a:lnTo>
                  <a:pt x="556" y="79"/>
                </a:lnTo>
                <a:lnTo>
                  <a:pt x="556" y="81"/>
                </a:lnTo>
                <a:lnTo>
                  <a:pt x="558" y="81"/>
                </a:lnTo>
                <a:lnTo>
                  <a:pt x="558" y="80"/>
                </a:lnTo>
                <a:lnTo>
                  <a:pt x="560" y="80"/>
                </a:lnTo>
                <a:lnTo>
                  <a:pt x="560" y="79"/>
                </a:lnTo>
                <a:lnTo>
                  <a:pt x="562" y="72"/>
                </a:lnTo>
                <a:lnTo>
                  <a:pt x="563" y="70"/>
                </a:lnTo>
                <a:lnTo>
                  <a:pt x="577" y="64"/>
                </a:lnTo>
                <a:lnTo>
                  <a:pt x="578" y="63"/>
                </a:lnTo>
                <a:lnTo>
                  <a:pt x="579" y="64"/>
                </a:lnTo>
                <a:lnTo>
                  <a:pt x="579" y="66"/>
                </a:lnTo>
                <a:lnTo>
                  <a:pt x="580" y="66"/>
                </a:lnTo>
                <a:lnTo>
                  <a:pt x="583" y="63"/>
                </a:lnTo>
                <a:lnTo>
                  <a:pt x="585" y="66"/>
                </a:lnTo>
                <a:lnTo>
                  <a:pt x="586" y="66"/>
                </a:lnTo>
                <a:lnTo>
                  <a:pt x="586" y="69"/>
                </a:lnTo>
                <a:lnTo>
                  <a:pt x="584" y="70"/>
                </a:lnTo>
                <a:lnTo>
                  <a:pt x="583" y="70"/>
                </a:lnTo>
                <a:lnTo>
                  <a:pt x="581" y="73"/>
                </a:lnTo>
                <a:lnTo>
                  <a:pt x="583" y="73"/>
                </a:lnTo>
                <a:lnTo>
                  <a:pt x="585" y="72"/>
                </a:lnTo>
                <a:lnTo>
                  <a:pt x="584" y="74"/>
                </a:lnTo>
                <a:lnTo>
                  <a:pt x="581" y="78"/>
                </a:lnTo>
                <a:lnTo>
                  <a:pt x="579" y="82"/>
                </a:lnTo>
                <a:lnTo>
                  <a:pt x="575" y="82"/>
                </a:lnTo>
                <a:lnTo>
                  <a:pt x="574" y="85"/>
                </a:lnTo>
                <a:lnTo>
                  <a:pt x="577" y="85"/>
                </a:lnTo>
                <a:lnTo>
                  <a:pt x="577" y="84"/>
                </a:lnTo>
                <a:lnTo>
                  <a:pt x="581" y="82"/>
                </a:lnTo>
                <a:lnTo>
                  <a:pt x="583" y="82"/>
                </a:lnTo>
                <a:lnTo>
                  <a:pt x="584" y="85"/>
                </a:lnTo>
                <a:lnTo>
                  <a:pt x="580" y="87"/>
                </a:lnTo>
                <a:lnTo>
                  <a:pt x="579" y="88"/>
                </a:lnTo>
                <a:lnTo>
                  <a:pt x="578" y="88"/>
                </a:lnTo>
                <a:lnTo>
                  <a:pt x="577" y="90"/>
                </a:lnTo>
                <a:lnTo>
                  <a:pt x="581" y="90"/>
                </a:lnTo>
                <a:lnTo>
                  <a:pt x="581" y="92"/>
                </a:lnTo>
                <a:lnTo>
                  <a:pt x="583" y="92"/>
                </a:lnTo>
                <a:lnTo>
                  <a:pt x="584" y="91"/>
                </a:lnTo>
                <a:lnTo>
                  <a:pt x="586" y="91"/>
                </a:lnTo>
                <a:lnTo>
                  <a:pt x="587" y="92"/>
                </a:lnTo>
                <a:lnTo>
                  <a:pt x="586" y="95"/>
                </a:lnTo>
                <a:lnTo>
                  <a:pt x="581" y="99"/>
                </a:lnTo>
                <a:lnTo>
                  <a:pt x="577" y="104"/>
                </a:lnTo>
                <a:lnTo>
                  <a:pt x="574" y="104"/>
                </a:lnTo>
                <a:lnTo>
                  <a:pt x="571" y="106"/>
                </a:lnTo>
                <a:lnTo>
                  <a:pt x="568" y="106"/>
                </a:lnTo>
                <a:lnTo>
                  <a:pt x="565" y="110"/>
                </a:lnTo>
                <a:lnTo>
                  <a:pt x="565" y="122"/>
                </a:lnTo>
                <a:lnTo>
                  <a:pt x="566" y="119"/>
                </a:lnTo>
                <a:lnTo>
                  <a:pt x="566" y="113"/>
                </a:lnTo>
                <a:lnTo>
                  <a:pt x="567" y="110"/>
                </a:lnTo>
                <a:lnTo>
                  <a:pt x="569" y="109"/>
                </a:lnTo>
                <a:lnTo>
                  <a:pt x="574" y="109"/>
                </a:lnTo>
                <a:lnTo>
                  <a:pt x="578" y="105"/>
                </a:lnTo>
                <a:lnTo>
                  <a:pt x="583" y="105"/>
                </a:lnTo>
                <a:lnTo>
                  <a:pt x="583" y="101"/>
                </a:lnTo>
                <a:lnTo>
                  <a:pt x="584" y="100"/>
                </a:lnTo>
                <a:lnTo>
                  <a:pt x="584" y="99"/>
                </a:lnTo>
                <a:lnTo>
                  <a:pt x="589" y="95"/>
                </a:lnTo>
                <a:lnTo>
                  <a:pt x="589" y="81"/>
                </a:lnTo>
                <a:lnTo>
                  <a:pt x="590" y="79"/>
                </a:lnTo>
                <a:lnTo>
                  <a:pt x="591" y="78"/>
                </a:lnTo>
                <a:lnTo>
                  <a:pt x="596" y="78"/>
                </a:lnTo>
                <a:lnTo>
                  <a:pt x="596" y="80"/>
                </a:lnTo>
                <a:lnTo>
                  <a:pt x="594" y="81"/>
                </a:lnTo>
                <a:lnTo>
                  <a:pt x="596" y="81"/>
                </a:lnTo>
                <a:lnTo>
                  <a:pt x="597" y="79"/>
                </a:lnTo>
                <a:lnTo>
                  <a:pt x="598" y="80"/>
                </a:lnTo>
                <a:lnTo>
                  <a:pt x="602" y="80"/>
                </a:lnTo>
                <a:lnTo>
                  <a:pt x="600" y="79"/>
                </a:lnTo>
                <a:lnTo>
                  <a:pt x="600" y="76"/>
                </a:lnTo>
                <a:lnTo>
                  <a:pt x="612" y="79"/>
                </a:lnTo>
                <a:lnTo>
                  <a:pt x="624" y="80"/>
                </a:lnTo>
                <a:lnTo>
                  <a:pt x="624" y="82"/>
                </a:lnTo>
                <a:lnTo>
                  <a:pt x="625" y="84"/>
                </a:lnTo>
                <a:lnTo>
                  <a:pt x="629" y="85"/>
                </a:lnTo>
                <a:lnTo>
                  <a:pt x="631" y="85"/>
                </a:lnTo>
                <a:lnTo>
                  <a:pt x="634" y="87"/>
                </a:lnTo>
                <a:lnTo>
                  <a:pt x="648" y="90"/>
                </a:lnTo>
                <a:lnTo>
                  <a:pt x="648" y="91"/>
                </a:lnTo>
                <a:lnTo>
                  <a:pt x="647" y="93"/>
                </a:lnTo>
                <a:lnTo>
                  <a:pt x="647" y="94"/>
                </a:lnTo>
                <a:lnTo>
                  <a:pt x="650" y="91"/>
                </a:lnTo>
                <a:lnTo>
                  <a:pt x="654" y="91"/>
                </a:lnTo>
                <a:lnTo>
                  <a:pt x="654" y="92"/>
                </a:lnTo>
                <a:lnTo>
                  <a:pt x="655" y="92"/>
                </a:lnTo>
                <a:lnTo>
                  <a:pt x="655" y="93"/>
                </a:lnTo>
                <a:lnTo>
                  <a:pt x="654" y="94"/>
                </a:lnTo>
                <a:lnTo>
                  <a:pt x="655" y="94"/>
                </a:lnTo>
                <a:lnTo>
                  <a:pt x="655" y="95"/>
                </a:lnTo>
                <a:lnTo>
                  <a:pt x="656" y="95"/>
                </a:lnTo>
                <a:lnTo>
                  <a:pt x="656" y="94"/>
                </a:lnTo>
                <a:lnTo>
                  <a:pt x="658" y="94"/>
                </a:lnTo>
                <a:lnTo>
                  <a:pt x="658" y="93"/>
                </a:lnTo>
                <a:lnTo>
                  <a:pt x="659" y="92"/>
                </a:lnTo>
                <a:lnTo>
                  <a:pt x="660" y="92"/>
                </a:lnTo>
                <a:lnTo>
                  <a:pt x="659" y="90"/>
                </a:lnTo>
                <a:lnTo>
                  <a:pt x="656" y="86"/>
                </a:lnTo>
                <a:lnTo>
                  <a:pt x="655" y="85"/>
                </a:lnTo>
                <a:lnTo>
                  <a:pt x="656" y="84"/>
                </a:lnTo>
                <a:lnTo>
                  <a:pt x="660" y="85"/>
                </a:lnTo>
                <a:lnTo>
                  <a:pt x="662" y="85"/>
                </a:lnTo>
                <a:lnTo>
                  <a:pt x="683" y="94"/>
                </a:lnTo>
                <a:lnTo>
                  <a:pt x="685" y="94"/>
                </a:lnTo>
                <a:lnTo>
                  <a:pt x="690" y="97"/>
                </a:lnTo>
                <a:lnTo>
                  <a:pt x="692" y="99"/>
                </a:lnTo>
                <a:lnTo>
                  <a:pt x="692" y="101"/>
                </a:lnTo>
                <a:lnTo>
                  <a:pt x="695" y="101"/>
                </a:lnTo>
                <a:lnTo>
                  <a:pt x="702" y="104"/>
                </a:lnTo>
                <a:lnTo>
                  <a:pt x="703" y="105"/>
                </a:lnTo>
                <a:lnTo>
                  <a:pt x="702" y="107"/>
                </a:lnTo>
                <a:lnTo>
                  <a:pt x="704" y="110"/>
                </a:lnTo>
                <a:lnTo>
                  <a:pt x="712" y="113"/>
                </a:lnTo>
                <a:lnTo>
                  <a:pt x="720" y="119"/>
                </a:lnTo>
                <a:lnTo>
                  <a:pt x="722" y="119"/>
                </a:lnTo>
                <a:lnTo>
                  <a:pt x="722" y="122"/>
                </a:lnTo>
                <a:lnTo>
                  <a:pt x="723" y="122"/>
                </a:lnTo>
                <a:lnTo>
                  <a:pt x="724" y="123"/>
                </a:lnTo>
                <a:lnTo>
                  <a:pt x="727" y="123"/>
                </a:lnTo>
                <a:lnTo>
                  <a:pt x="734" y="129"/>
                </a:lnTo>
                <a:lnTo>
                  <a:pt x="734" y="131"/>
                </a:lnTo>
                <a:lnTo>
                  <a:pt x="735" y="131"/>
                </a:lnTo>
                <a:lnTo>
                  <a:pt x="737" y="134"/>
                </a:lnTo>
                <a:lnTo>
                  <a:pt x="741" y="135"/>
                </a:lnTo>
                <a:lnTo>
                  <a:pt x="742" y="135"/>
                </a:lnTo>
                <a:lnTo>
                  <a:pt x="742" y="138"/>
                </a:lnTo>
                <a:lnTo>
                  <a:pt x="743" y="140"/>
                </a:lnTo>
                <a:lnTo>
                  <a:pt x="748" y="142"/>
                </a:lnTo>
                <a:lnTo>
                  <a:pt x="751" y="146"/>
                </a:lnTo>
                <a:lnTo>
                  <a:pt x="752" y="146"/>
                </a:lnTo>
                <a:lnTo>
                  <a:pt x="752" y="147"/>
                </a:lnTo>
                <a:lnTo>
                  <a:pt x="754" y="147"/>
                </a:lnTo>
                <a:lnTo>
                  <a:pt x="755" y="148"/>
                </a:lnTo>
                <a:lnTo>
                  <a:pt x="758" y="148"/>
                </a:lnTo>
                <a:lnTo>
                  <a:pt x="758" y="149"/>
                </a:lnTo>
                <a:lnTo>
                  <a:pt x="761" y="150"/>
                </a:lnTo>
                <a:lnTo>
                  <a:pt x="763" y="152"/>
                </a:lnTo>
                <a:lnTo>
                  <a:pt x="764" y="154"/>
                </a:lnTo>
                <a:lnTo>
                  <a:pt x="767" y="156"/>
                </a:lnTo>
                <a:lnTo>
                  <a:pt x="773" y="164"/>
                </a:lnTo>
                <a:lnTo>
                  <a:pt x="774" y="167"/>
                </a:lnTo>
                <a:lnTo>
                  <a:pt x="776" y="170"/>
                </a:lnTo>
                <a:lnTo>
                  <a:pt x="777" y="171"/>
                </a:lnTo>
                <a:lnTo>
                  <a:pt x="778" y="173"/>
                </a:lnTo>
                <a:lnTo>
                  <a:pt x="778" y="174"/>
                </a:lnTo>
                <a:lnTo>
                  <a:pt x="779" y="175"/>
                </a:lnTo>
                <a:lnTo>
                  <a:pt x="783" y="175"/>
                </a:lnTo>
                <a:lnTo>
                  <a:pt x="784" y="177"/>
                </a:lnTo>
                <a:lnTo>
                  <a:pt x="784" y="180"/>
                </a:lnTo>
                <a:lnTo>
                  <a:pt x="789" y="181"/>
                </a:lnTo>
                <a:lnTo>
                  <a:pt x="790" y="185"/>
                </a:lnTo>
                <a:lnTo>
                  <a:pt x="791" y="186"/>
                </a:lnTo>
                <a:lnTo>
                  <a:pt x="791" y="193"/>
                </a:lnTo>
                <a:lnTo>
                  <a:pt x="794" y="193"/>
                </a:lnTo>
                <a:lnTo>
                  <a:pt x="794" y="191"/>
                </a:lnTo>
                <a:lnTo>
                  <a:pt x="795" y="192"/>
                </a:lnTo>
                <a:lnTo>
                  <a:pt x="795" y="193"/>
                </a:lnTo>
                <a:lnTo>
                  <a:pt x="796" y="193"/>
                </a:lnTo>
                <a:lnTo>
                  <a:pt x="805" y="199"/>
                </a:lnTo>
                <a:lnTo>
                  <a:pt x="808" y="199"/>
                </a:lnTo>
                <a:lnTo>
                  <a:pt x="805" y="197"/>
                </a:lnTo>
                <a:lnTo>
                  <a:pt x="801" y="195"/>
                </a:lnTo>
                <a:lnTo>
                  <a:pt x="797" y="192"/>
                </a:lnTo>
                <a:lnTo>
                  <a:pt x="797" y="190"/>
                </a:lnTo>
                <a:lnTo>
                  <a:pt x="798" y="190"/>
                </a:lnTo>
                <a:lnTo>
                  <a:pt x="799" y="191"/>
                </a:lnTo>
                <a:lnTo>
                  <a:pt x="801" y="191"/>
                </a:lnTo>
                <a:lnTo>
                  <a:pt x="801" y="189"/>
                </a:lnTo>
                <a:lnTo>
                  <a:pt x="803" y="189"/>
                </a:lnTo>
                <a:lnTo>
                  <a:pt x="809" y="195"/>
                </a:lnTo>
                <a:lnTo>
                  <a:pt x="814" y="196"/>
                </a:lnTo>
                <a:lnTo>
                  <a:pt x="814" y="197"/>
                </a:lnTo>
                <a:lnTo>
                  <a:pt x="815" y="198"/>
                </a:lnTo>
                <a:lnTo>
                  <a:pt x="815" y="202"/>
                </a:lnTo>
                <a:lnTo>
                  <a:pt x="819" y="204"/>
                </a:lnTo>
                <a:lnTo>
                  <a:pt x="828" y="213"/>
                </a:lnTo>
                <a:lnTo>
                  <a:pt x="833" y="215"/>
                </a:lnTo>
                <a:lnTo>
                  <a:pt x="839" y="223"/>
                </a:lnTo>
                <a:lnTo>
                  <a:pt x="844" y="226"/>
                </a:lnTo>
                <a:lnTo>
                  <a:pt x="846" y="226"/>
                </a:lnTo>
                <a:lnTo>
                  <a:pt x="848" y="227"/>
                </a:lnTo>
                <a:lnTo>
                  <a:pt x="853" y="227"/>
                </a:lnTo>
                <a:lnTo>
                  <a:pt x="854" y="226"/>
                </a:lnTo>
                <a:lnTo>
                  <a:pt x="853" y="226"/>
                </a:lnTo>
                <a:lnTo>
                  <a:pt x="853" y="224"/>
                </a:lnTo>
                <a:lnTo>
                  <a:pt x="851" y="218"/>
                </a:lnTo>
                <a:lnTo>
                  <a:pt x="851" y="217"/>
                </a:lnTo>
                <a:lnTo>
                  <a:pt x="847" y="214"/>
                </a:lnTo>
                <a:lnTo>
                  <a:pt x="848" y="213"/>
                </a:lnTo>
                <a:lnTo>
                  <a:pt x="850" y="213"/>
                </a:lnTo>
                <a:lnTo>
                  <a:pt x="857" y="220"/>
                </a:lnTo>
                <a:lnTo>
                  <a:pt x="857" y="224"/>
                </a:lnTo>
                <a:lnTo>
                  <a:pt x="859" y="229"/>
                </a:lnTo>
                <a:lnTo>
                  <a:pt x="860" y="230"/>
                </a:lnTo>
                <a:lnTo>
                  <a:pt x="861" y="230"/>
                </a:lnTo>
                <a:lnTo>
                  <a:pt x="861" y="232"/>
                </a:lnTo>
                <a:lnTo>
                  <a:pt x="863" y="232"/>
                </a:lnTo>
                <a:lnTo>
                  <a:pt x="865" y="235"/>
                </a:lnTo>
                <a:lnTo>
                  <a:pt x="866" y="238"/>
                </a:lnTo>
                <a:lnTo>
                  <a:pt x="872" y="242"/>
                </a:lnTo>
                <a:lnTo>
                  <a:pt x="872" y="244"/>
                </a:lnTo>
                <a:lnTo>
                  <a:pt x="873" y="242"/>
                </a:lnTo>
                <a:lnTo>
                  <a:pt x="875" y="242"/>
                </a:lnTo>
                <a:lnTo>
                  <a:pt x="875" y="244"/>
                </a:lnTo>
                <a:lnTo>
                  <a:pt x="877" y="246"/>
                </a:lnTo>
                <a:lnTo>
                  <a:pt x="877" y="248"/>
                </a:lnTo>
                <a:lnTo>
                  <a:pt x="876" y="250"/>
                </a:lnTo>
                <a:lnTo>
                  <a:pt x="873" y="250"/>
                </a:lnTo>
                <a:lnTo>
                  <a:pt x="876" y="254"/>
                </a:lnTo>
                <a:lnTo>
                  <a:pt x="879" y="259"/>
                </a:lnTo>
                <a:lnTo>
                  <a:pt x="881" y="260"/>
                </a:lnTo>
                <a:lnTo>
                  <a:pt x="882" y="260"/>
                </a:lnTo>
                <a:lnTo>
                  <a:pt x="884" y="257"/>
                </a:lnTo>
                <a:lnTo>
                  <a:pt x="884" y="256"/>
                </a:lnTo>
                <a:lnTo>
                  <a:pt x="883" y="256"/>
                </a:lnTo>
                <a:lnTo>
                  <a:pt x="883" y="254"/>
                </a:lnTo>
                <a:lnTo>
                  <a:pt x="884" y="253"/>
                </a:lnTo>
                <a:lnTo>
                  <a:pt x="888" y="253"/>
                </a:lnTo>
                <a:lnTo>
                  <a:pt x="888" y="256"/>
                </a:lnTo>
                <a:lnTo>
                  <a:pt x="889" y="257"/>
                </a:lnTo>
                <a:lnTo>
                  <a:pt x="889" y="258"/>
                </a:lnTo>
                <a:lnTo>
                  <a:pt x="894" y="263"/>
                </a:lnTo>
                <a:lnTo>
                  <a:pt x="895" y="263"/>
                </a:lnTo>
                <a:lnTo>
                  <a:pt x="898" y="261"/>
                </a:lnTo>
                <a:lnTo>
                  <a:pt x="901" y="263"/>
                </a:lnTo>
                <a:lnTo>
                  <a:pt x="902" y="266"/>
                </a:lnTo>
                <a:lnTo>
                  <a:pt x="904" y="271"/>
                </a:lnTo>
                <a:lnTo>
                  <a:pt x="904" y="275"/>
                </a:lnTo>
                <a:lnTo>
                  <a:pt x="902" y="279"/>
                </a:lnTo>
                <a:lnTo>
                  <a:pt x="901" y="281"/>
                </a:lnTo>
                <a:lnTo>
                  <a:pt x="901" y="282"/>
                </a:lnTo>
                <a:lnTo>
                  <a:pt x="902" y="283"/>
                </a:lnTo>
                <a:lnTo>
                  <a:pt x="902" y="291"/>
                </a:lnTo>
                <a:lnTo>
                  <a:pt x="904" y="291"/>
                </a:lnTo>
                <a:lnTo>
                  <a:pt x="907" y="294"/>
                </a:lnTo>
                <a:lnTo>
                  <a:pt x="908" y="296"/>
                </a:lnTo>
                <a:lnTo>
                  <a:pt x="908" y="309"/>
                </a:lnTo>
                <a:lnTo>
                  <a:pt x="907" y="312"/>
                </a:lnTo>
                <a:lnTo>
                  <a:pt x="907" y="315"/>
                </a:lnTo>
                <a:lnTo>
                  <a:pt x="908" y="318"/>
                </a:lnTo>
                <a:lnTo>
                  <a:pt x="912" y="320"/>
                </a:lnTo>
                <a:lnTo>
                  <a:pt x="914" y="318"/>
                </a:lnTo>
                <a:lnTo>
                  <a:pt x="915" y="318"/>
                </a:lnTo>
                <a:lnTo>
                  <a:pt x="916" y="319"/>
                </a:lnTo>
                <a:lnTo>
                  <a:pt x="916" y="320"/>
                </a:lnTo>
                <a:lnTo>
                  <a:pt x="917" y="320"/>
                </a:lnTo>
                <a:lnTo>
                  <a:pt x="917" y="322"/>
                </a:lnTo>
                <a:lnTo>
                  <a:pt x="916" y="324"/>
                </a:lnTo>
                <a:lnTo>
                  <a:pt x="916" y="326"/>
                </a:lnTo>
                <a:lnTo>
                  <a:pt x="917" y="327"/>
                </a:lnTo>
                <a:lnTo>
                  <a:pt x="919" y="330"/>
                </a:lnTo>
                <a:lnTo>
                  <a:pt x="917" y="331"/>
                </a:lnTo>
                <a:lnTo>
                  <a:pt x="917" y="332"/>
                </a:lnTo>
                <a:lnTo>
                  <a:pt x="916" y="332"/>
                </a:lnTo>
                <a:lnTo>
                  <a:pt x="916" y="340"/>
                </a:lnTo>
                <a:lnTo>
                  <a:pt x="917" y="342"/>
                </a:lnTo>
                <a:lnTo>
                  <a:pt x="916" y="343"/>
                </a:lnTo>
                <a:lnTo>
                  <a:pt x="914" y="343"/>
                </a:lnTo>
                <a:lnTo>
                  <a:pt x="913" y="344"/>
                </a:lnTo>
                <a:lnTo>
                  <a:pt x="915" y="346"/>
                </a:lnTo>
                <a:lnTo>
                  <a:pt x="915" y="347"/>
                </a:lnTo>
                <a:lnTo>
                  <a:pt x="913" y="353"/>
                </a:lnTo>
                <a:lnTo>
                  <a:pt x="909" y="363"/>
                </a:lnTo>
                <a:lnTo>
                  <a:pt x="908" y="365"/>
                </a:lnTo>
                <a:lnTo>
                  <a:pt x="903" y="370"/>
                </a:lnTo>
                <a:lnTo>
                  <a:pt x="898" y="377"/>
                </a:lnTo>
                <a:lnTo>
                  <a:pt x="896" y="380"/>
                </a:lnTo>
                <a:lnTo>
                  <a:pt x="895" y="382"/>
                </a:lnTo>
                <a:lnTo>
                  <a:pt x="894" y="383"/>
                </a:lnTo>
                <a:lnTo>
                  <a:pt x="894" y="385"/>
                </a:lnTo>
                <a:lnTo>
                  <a:pt x="891" y="385"/>
                </a:lnTo>
                <a:lnTo>
                  <a:pt x="891" y="386"/>
                </a:lnTo>
                <a:lnTo>
                  <a:pt x="890" y="387"/>
                </a:lnTo>
                <a:lnTo>
                  <a:pt x="890" y="392"/>
                </a:lnTo>
                <a:lnTo>
                  <a:pt x="889" y="393"/>
                </a:lnTo>
                <a:lnTo>
                  <a:pt x="888" y="395"/>
                </a:lnTo>
                <a:lnTo>
                  <a:pt x="886" y="395"/>
                </a:lnTo>
                <a:lnTo>
                  <a:pt x="885" y="396"/>
                </a:lnTo>
                <a:lnTo>
                  <a:pt x="884" y="400"/>
                </a:lnTo>
                <a:lnTo>
                  <a:pt x="883" y="401"/>
                </a:lnTo>
                <a:lnTo>
                  <a:pt x="881" y="402"/>
                </a:lnTo>
                <a:lnTo>
                  <a:pt x="878" y="406"/>
                </a:lnTo>
                <a:lnTo>
                  <a:pt x="877" y="407"/>
                </a:lnTo>
                <a:lnTo>
                  <a:pt x="872" y="408"/>
                </a:lnTo>
                <a:lnTo>
                  <a:pt x="863" y="418"/>
                </a:lnTo>
                <a:lnTo>
                  <a:pt x="853" y="423"/>
                </a:lnTo>
                <a:lnTo>
                  <a:pt x="852" y="425"/>
                </a:lnTo>
                <a:lnTo>
                  <a:pt x="850" y="425"/>
                </a:lnTo>
                <a:lnTo>
                  <a:pt x="847" y="428"/>
                </a:lnTo>
                <a:lnTo>
                  <a:pt x="836" y="430"/>
                </a:lnTo>
                <a:lnTo>
                  <a:pt x="834" y="433"/>
                </a:lnTo>
                <a:lnTo>
                  <a:pt x="832" y="435"/>
                </a:lnTo>
                <a:lnTo>
                  <a:pt x="820" y="438"/>
                </a:lnTo>
                <a:lnTo>
                  <a:pt x="816" y="437"/>
                </a:lnTo>
                <a:lnTo>
                  <a:pt x="815" y="437"/>
                </a:lnTo>
                <a:lnTo>
                  <a:pt x="815" y="438"/>
                </a:lnTo>
                <a:lnTo>
                  <a:pt x="798" y="443"/>
                </a:lnTo>
                <a:lnTo>
                  <a:pt x="785" y="441"/>
                </a:lnTo>
                <a:lnTo>
                  <a:pt x="772" y="439"/>
                </a:lnTo>
                <a:lnTo>
                  <a:pt x="767" y="437"/>
                </a:lnTo>
                <a:lnTo>
                  <a:pt x="760" y="436"/>
                </a:lnTo>
                <a:lnTo>
                  <a:pt x="757" y="433"/>
                </a:lnTo>
                <a:lnTo>
                  <a:pt x="752" y="429"/>
                </a:lnTo>
                <a:lnTo>
                  <a:pt x="748" y="428"/>
                </a:lnTo>
                <a:lnTo>
                  <a:pt x="745" y="425"/>
                </a:lnTo>
                <a:lnTo>
                  <a:pt x="728" y="419"/>
                </a:lnTo>
                <a:lnTo>
                  <a:pt x="726" y="419"/>
                </a:lnTo>
                <a:lnTo>
                  <a:pt x="722" y="418"/>
                </a:lnTo>
                <a:lnTo>
                  <a:pt x="717" y="419"/>
                </a:lnTo>
                <a:lnTo>
                  <a:pt x="712" y="417"/>
                </a:lnTo>
                <a:lnTo>
                  <a:pt x="708" y="418"/>
                </a:lnTo>
                <a:lnTo>
                  <a:pt x="703" y="416"/>
                </a:lnTo>
                <a:lnTo>
                  <a:pt x="681" y="411"/>
                </a:lnTo>
                <a:lnTo>
                  <a:pt x="677" y="408"/>
                </a:lnTo>
                <a:lnTo>
                  <a:pt x="672" y="408"/>
                </a:lnTo>
                <a:lnTo>
                  <a:pt x="665" y="405"/>
                </a:lnTo>
                <a:lnTo>
                  <a:pt x="662" y="401"/>
                </a:lnTo>
                <a:lnTo>
                  <a:pt x="658" y="400"/>
                </a:lnTo>
                <a:lnTo>
                  <a:pt x="656" y="398"/>
                </a:lnTo>
                <a:lnTo>
                  <a:pt x="643" y="386"/>
                </a:lnTo>
                <a:lnTo>
                  <a:pt x="640" y="385"/>
                </a:lnTo>
                <a:lnTo>
                  <a:pt x="637" y="386"/>
                </a:lnTo>
                <a:lnTo>
                  <a:pt x="634" y="389"/>
                </a:lnTo>
                <a:lnTo>
                  <a:pt x="630" y="392"/>
                </a:lnTo>
                <a:lnTo>
                  <a:pt x="624" y="392"/>
                </a:lnTo>
                <a:lnTo>
                  <a:pt x="623" y="387"/>
                </a:lnTo>
                <a:lnTo>
                  <a:pt x="622" y="385"/>
                </a:lnTo>
                <a:lnTo>
                  <a:pt x="622" y="382"/>
                </a:lnTo>
                <a:lnTo>
                  <a:pt x="623" y="381"/>
                </a:lnTo>
                <a:lnTo>
                  <a:pt x="624" y="381"/>
                </a:lnTo>
                <a:lnTo>
                  <a:pt x="627" y="382"/>
                </a:lnTo>
                <a:lnTo>
                  <a:pt x="628" y="381"/>
                </a:lnTo>
                <a:lnTo>
                  <a:pt x="629" y="381"/>
                </a:lnTo>
                <a:lnTo>
                  <a:pt x="629" y="380"/>
                </a:lnTo>
                <a:lnTo>
                  <a:pt x="628" y="379"/>
                </a:lnTo>
                <a:lnTo>
                  <a:pt x="627" y="380"/>
                </a:lnTo>
                <a:lnTo>
                  <a:pt x="628" y="380"/>
                </a:lnTo>
                <a:lnTo>
                  <a:pt x="627" y="381"/>
                </a:lnTo>
                <a:lnTo>
                  <a:pt x="618" y="377"/>
                </a:lnTo>
                <a:lnTo>
                  <a:pt x="615" y="377"/>
                </a:lnTo>
                <a:lnTo>
                  <a:pt x="615" y="376"/>
                </a:lnTo>
                <a:lnTo>
                  <a:pt x="614" y="376"/>
                </a:lnTo>
                <a:lnTo>
                  <a:pt x="612" y="379"/>
                </a:lnTo>
                <a:lnTo>
                  <a:pt x="611" y="379"/>
                </a:lnTo>
                <a:lnTo>
                  <a:pt x="610" y="377"/>
                </a:lnTo>
                <a:lnTo>
                  <a:pt x="612" y="375"/>
                </a:lnTo>
                <a:lnTo>
                  <a:pt x="612" y="374"/>
                </a:lnTo>
                <a:lnTo>
                  <a:pt x="614" y="371"/>
                </a:lnTo>
                <a:lnTo>
                  <a:pt x="614" y="368"/>
                </a:lnTo>
                <a:lnTo>
                  <a:pt x="612" y="368"/>
                </a:lnTo>
                <a:lnTo>
                  <a:pt x="612" y="370"/>
                </a:lnTo>
                <a:lnTo>
                  <a:pt x="611" y="371"/>
                </a:lnTo>
                <a:lnTo>
                  <a:pt x="610" y="374"/>
                </a:lnTo>
                <a:lnTo>
                  <a:pt x="609" y="375"/>
                </a:lnTo>
                <a:lnTo>
                  <a:pt x="609" y="376"/>
                </a:lnTo>
                <a:lnTo>
                  <a:pt x="604" y="376"/>
                </a:lnTo>
                <a:lnTo>
                  <a:pt x="602" y="374"/>
                </a:lnTo>
                <a:lnTo>
                  <a:pt x="600" y="374"/>
                </a:lnTo>
                <a:lnTo>
                  <a:pt x="600" y="376"/>
                </a:lnTo>
                <a:lnTo>
                  <a:pt x="598" y="374"/>
                </a:lnTo>
                <a:lnTo>
                  <a:pt x="597" y="369"/>
                </a:lnTo>
                <a:lnTo>
                  <a:pt x="597" y="368"/>
                </a:lnTo>
                <a:lnTo>
                  <a:pt x="593" y="364"/>
                </a:lnTo>
                <a:lnTo>
                  <a:pt x="591" y="364"/>
                </a:lnTo>
                <a:lnTo>
                  <a:pt x="591" y="363"/>
                </a:lnTo>
                <a:lnTo>
                  <a:pt x="590" y="361"/>
                </a:lnTo>
                <a:lnTo>
                  <a:pt x="589" y="362"/>
                </a:lnTo>
                <a:lnTo>
                  <a:pt x="590" y="363"/>
                </a:lnTo>
                <a:lnTo>
                  <a:pt x="590" y="365"/>
                </a:lnTo>
                <a:lnTo>
                  <a:pt x="587" y="363"/>
                </a:lnTo>
                <a:lnTo>
                  <a:pt x="586" y="361"/>
                </a:lnTo>
                <a:lnTo>
                  <a:pt x="586" y="364"/>
                </a:lnTo>
                <a:lnTo>
                  <a:pt x="587" y="367"/>
                </a:lnTo>
                <a:lnTo>
                  <a:pt x="586" y="367"/>
                </a:lnTo>
                <a:lnTo>
                  <a:pt x="587" y="368"/>
                </a:lnTo>
                <a:lnTo>
                  <a:pt x="587" y="369"/>
                </a:lnTo>
                <a:lnTo>
                  <a:pt x="589" y="370"/>
                </a:lnTo>
                <a:lnTo>
                  <a:pt x="587" y="370"/>
                </a:lnTo>
                <a:lnTo>
                  <a:pt x="586" y="368"/>
                </a:lnTo>
                <a:lnTo>
                  <a:pt x="585" y="368"/>
                </a:lnTo>
                <a:lnTo>
                  <a:pt x="585" y="369"/>
                </a:lnTo>
                <a:lnTo>
                  <a:pt x="587" y="370"/>
                </a:lnTo>
                <a:lnTo>
                  <a:pt x="587" y="371"/>
                </a:lnTo>
                <a:lnTo>
                  <a:pt x="586" y="373"/>
                </a:lnTo>
                <a:lnTo>
                  <a:pt x="585" y="371"/>
                </a:lnTo>
                <a:lnTo>
                  <a:pt x="568" y="358"/>
                </a:lnTo>
                <a:lnTo>
                  <a:pt x="558" y="345"/>
                </a:lnTo>
                <a:lnTo>
                  <a:pt x="556" y="344"/>
                </a:lnTo>
                <a:lnTo>
                  <a:pt x="556" y="342"/>
                </a:lnTo>
                <a:lnTo>
                  <a:pt x="555" y="339"/>
                </a:lnTo>
                <a:lnTo>
                  <a:pt x="556" y="338"/>
                </a:lnTo>
                <a:lnTo>
                  <a:pt x="556" y="336"/>
                </a:lnTo>
                <a:lnTo>
                  <a:pt x="558" y="334"/>
                </a:lnTo>
                <a:lnTo>
                  <a:pt x="561" y="334"/>
                </a:lnTo>
                <a:lnTo>
                  <a:pt x="563" y="333"/>
                </a:lnTo>
                <a:lnTo>
                  <a:pt x="561" y="332"/>
                </a:lnTo>
                <a:lnTo>
                  <a:pt x="556" y="333"/>
                </a:lnTo>
                <a:lnTo>
                  <a:pt x="555" y="333"/>
                </a:lnTo>
                <a:lnTo>
                  <a:pt x="553" y="332"/>
                </a:lnTo>
                <a:lnTo>
                  <a:pt x="549" y="328"/>
                </a:lnTo>
                <a:lnTo>
                  <a:pt x="541" y="328"/>
                </a:lnTo>
                <a:lnTo>
                  <a:pt x="541" y="327"/>
                </a:lnTo>
                <a:lnTo>
                  <a:pt x="538" y="326"/>
                </a:lnTo>
                <a:lnTo>
                  <a:pt x="538" y="325"/>
                </a:lnTo>
                <a:lnTo>
                  <a:pt x="536" y="326"/>
                </a:lnTo>
                <a:lnTo>
                  <a:pt x="535" y="326"/>
                </a:lnTo>
                <a:lnTo>
                  <a:pt x="534" y="327"/>
                </a:lnTo>
                <a:lnTo>
                  <a:pt x="532" y="327"/>
                </a:lnTo>
                <a:lnTo>
                  <a:pt x="530" y="326"/>
                </a:lnTo>
                <a:lnTo>
                  <a:pt x="525" y="327"/>
                </a:lnTo>
                <a:lnTo>
                  <a:pt x="524" y="327"/>
                </a:lnTo>
                <a:lnTo>
                  <a:pt x="519" y="325"/>
                </a:lnTo>
                <a:lnTo>
                  <a:pt x="517" y="325"/>
                </a:lnTo>
                <a:lnTo>
                  <a:pt x="516" y="326"/>
                </a:lnTo>
                <a:lnTo>
                  <a:pt x="519" y="326"/>
                </a:lnTo>
                <a:lnTo>
                  <a:pt x="518" y="327"/>
                </a:lnTo>
                <a:lnTo>
                  <a:pt x="518" y="330"/>
                </a:lnTo>
                <a:lnTo>
                  <a:pt x="527" y="330"/>
                </a:lnTo>
                <a:lnTo>
                  <a:pt x="530" y="328"/>
                </a:lnTo>
                <a:lnTo>
                  <a:pt x="532" y="328"/>
                </a:lnTo>
                <a:lnTo>
                  <a:pt x="534" y="330"/>
                </a:lnTo>
                <a:lnTo>
                  <a:pt x="535" y="332"/>
                </a:lnTo>
                <a:lnTo>
                  <a:pt x="536" y="333"/>
                </a:lnTo>
                <a:lnTo>
                  <a:pt x="537" y="336"/>
                </a:lnTo>
                <a:lnTo>
                  <a:pt x="536" y="334"/>
                </a:lnTo>
                <a:lnTo>
                  <a:pt x="534" y="334"/>
                </a:lnTo>
                <a:lnTo>
                  <a:pt x="535" y="337"/>
                </a:lnTo>
                <a:lnTo>
                  <a:pt x="540" y="337"/>
                </a:lnTo>
                <a:lnTo>
                  <a:pt x="543" y="339"/>
                </a:lnTo>
                <a:lnTo>
                  <a:pt x="544" y="342"/>
                </a:lnTo>
                <a:lnTo>
                  <a:pt x="546" y="343"/>
                </a:lnTo>
                <a:lnTo>
                  <a:pt x="546" y="345"/>
                </a:lnTo>
                <a:lnTo>
                  <a:pt x="544" y="347"/>
                </a:lnTo>
                <a:lnTo>
                  <a:pt x="543" y="349"/>
                </a:lnTo>
                <a:lnTo>
                  <a:pt x="540" y="347"/>
                </a:lnTo>
                <a:lnTo>
                  <a:pt x="538" y="347"/>
                </a:lnTo>
                <a:lnTo>
                  <a:pt x="540" y="349"/>
                </a:lnTo>
                <a:lnTo>
                  <a:pt x="542" y="349"/>
                </a:lnTo>
                <a:lnTo>
                  <a:pt x="543" y="350"/>
                </a:lnTo>
                <a:lnTo>
                  <a:pt x="542" y="350"/>
                </a:lnTo>
                <a:lnTo>
                  <a:pt x="542" y="353"/>
                </a:lnTo>
                <a:lnTo>
                  <a:pt x="540" y="355"/>
                </a:lnTo>
                <a:lnTo>
                  <a:pt x="544" y="355"/>
                </a:lnTo>
                <a:lnTo>
                  <a:pt x="546" y="356"/>
                </a:lnTo>
                <a:lnTo>
                  <a:pt x="547" y="358"/>
                </a:lnTo>
                <a:lnTo>
                  <a:pt x="549" y="359"/>
                </a:lnTo>
                <a:lnTo>
                  <a:pt x="550" y="361"/>
                </a:lnTo>
                <a:lnTo>
                  <a:pt x="550" y="363"/>
                </a:lnTo>
                <a:lnTo>
                  <a:pt x="552" y="364"/>
                </a:lnTo>
                <a:lnTo>
                  <a:pt x="560" y="367"/>
                </a:lnTo>
                <a:lnTo>
                  <a:pt x="561" y="368"/>
                </a:lnTo>
                <a:lnTo>
                  <a:pt x="561" y="371"/>
                </a:lnTo>
                <a:lnTo>
                  <a:pt x="556" y="371"/>
                </a:lnTo>
                <a:lnTo>
                  <a:pt x="554" y="370"/>
                </a:lnTo>
                <a:lnTo>
                  <a:pt x="563" y="376"/>
                </a:lnTo>
                <a:lnTo>
                  <a:pt x="572" y="376"/>
                </a:lnTo>
                <a:lnTo>
                  <a:pt x="578" y="380"/>
                </a:lnTo>
                <a:lnTo>
                  <a:pt x="578" y="382"/>
                </a:lnTo>
                <a:lnTo>
                  <a:pt x="577" y="382"/>
                </a:lnTo>
                <a:lnTo>
                  <a:pt x="574" y="381"/>
                </a:lnTo>
                <a:lnTo>
                  <a:pt x="571" y="380"/>
                </a:lnTo>
                <a:lnTo>
                  <a:pt x="569" y="380"/>
                </a:lnTo>
                <a:lnTo>
                  <a:pt x="568" y="382"/>
                </a:lnTo>
                <a:lnTo>
                  <a:pt x="568" y="385"/>
                </a:lnTo>
                <a:lnTo>
                  <a:pt x="566" y="387"/>
                </a:lnTo>
                <a:lnTo>
                  <a:pt x="565" y="387"/>
                </a:lnTo>
                <a:lnTo>
                  <a:pt x="563" y="386"/>
                </a:lnTo>
                <a:lnTo>
                  <a:pt x="559" y="386"/>
                </a:lnTo>
                <a:lnTo>
                  <a:pt x="560" y="388"/>
                </a:lnTo>
                <a:lnTo>
                  <a:pt x="568" y="388"/>
                </a:lnTo>
                <a:lnTo>
                  <a:pt x="568" y="386"/>
                </a:lnTo>
                <a:lnTo>
                  <a:pt x="573" y="386"/>
                </a:lnTo>
                <a:lnTo>
                  <a:pt x="573" y="383"/>
                </a:lnTo>
                <a:lnTo>
                  <a:pt x="575" y="383"/>
                </a:lnTo>
                <a:lnTo>
                  <a:pt x="583" y="387"/>
                </a:lnTo>
                <a:lnTo>
                  <a:pt x="584" y="388"/>
                </a:lnTo>
                <a:lnTo>
                  <a:pt x="584" y="390"/>
                </a:lnTo>
                <a:lnTo>
                  <a:pt x="585" y="390"/>
                </a:lnTo>
                <a:lnTo>
                  <a:pt x="587" y="393"/>
                </a:lnTo>
                <a:lnTo>
                  <a:pt x="585" y="394"/>
                </a:lnTo>
                <a:lnTo>
                  <a:pt x="572" y="388"/>
                </a:lnTo>
                <a:lnTo>
                  <a:pt x="571" y="389"/>
                </a:lnTo>
                <a:lnTo>
                  <a:pt x="572" y="389"/>
                </a:lnTo>
                <a:lnTo>
                  <a:pt x="572" y="390"/>
                </a:lnTo>
                <a:lnTo>
                  <a:pt x="567" y="390"/>
                </a:lnTo>
                <a:lnTo>
                  <a:pt x="566" y="392"/>
                </a:lnTo>
                <a:lnTo>
                  <a:pt x="563" y="392"/>
                </a:lnTo>
                <a:lnTo>
                  <a:pt x="562" y="393"/>
                </a:lnTo>
                <a:lnTo>
                  <a:pt x="563" y="395"/>
                </a:lnTo>
                <a:lnTo>
                  <a:pt x="568" y="395"/>
                </a:lnTo>
                <a:lnTo>
                  <a:pt x="572" y="393"/>
                </a:lnTo>
                <a:lnTo>
                  <a:pt x="574" y="393"/>
                </a:lnTo>
                <a:lnTo>
                  <a:pt x="577" y="394"/>
                </a:lnTo>
                <a:lnTo>
                  <a:pt x="577" y="395"/>
                </a:lnTo>
                <a:lnTo>
                  <a:pt x="578" y="396"/>
                </a:lnTo>
                <a:lnTo>
                  <a:pt x="578" y="398"/>
                </a:lnTo>
                <a:lnTo>
                  <a:pt x="579" y="399"/>
                </a:lnTo>
                <a:lnTo>
                  <a:pt x="586" y="400"/>
                </a:lnTo>
                <a:lnTo>
                  <a:pt x="587" y="399"/>
                </a:lnTo>
                <a:lnTo>
                  <a:pt x="589" y="396"/>
                </a:lnTo>
                <a:lnTo>
                  <a:pt x="590" y="396"/>
                </a:lnTo>
                <a:lnTo>
                  <a:pt x="591" y="398"/>
                </a:lnTo>
                <a:lnTo>
                  <a:pt x="591" y="400"/>
                </a:lnTo>
                <a:lnTo>
                  <a:pt x="589" y="400"/>
                </a:lnTo>
                <a:lnTo>
                  <a:pt x="591" y="401"/>
                </a:lnTo>
                <a:lnTo>
                  <a:pt x="594" y="402"/>
                </a:lnTo>
                <a:lnTo>
                  <a:pt x="596" y="404"/>
                </a:lnTo>
                <a:lnTo>
                  <a:pt x="593" y="405"/>
                </a:lnTo>
                <a:lnTo>
                  <a:pt x="589" y="405"/>
                </a:lnTo>
                <a:lnTo>
                  <a:pt x="586" y="406"/>
                </a:lnTo>
                <a:lnTo>
                  <a:pt x="587" y="407"/>
                </a:lnTo>
                <a:lnTo>
                  <a:pt x="591" y="410"/>
                </a:lnTo>
                <a:lnTo>
                  <a:pt x="593" y="411"/>
                </a:lnTo>
                <a:lnTo>
                  <a:pt x="591" y="413"/>
                </a:lnTo>
                <a:lnTo>
                  <a:pt x="584" y="412"/>
                </a:lnTo>
                <a:lnTo>
                  <a:pt x="580" y="413"/>
                </a:lnTo>
                <a:lnTo>
                  <a:pt x="579" y="413"/>
                </a:lnTo>
                <a:lnTo>
                  <a:pt x="578" y="416"/>
                </a:lnTo>
                <a:lnTo>
                  <a:pt x="585" y="416"/>
                </a:lnTo>
                <a:lnTo>
                  <a:pt x="590" y="414"/>
                </a:lnTo>
                <a:lnTo>
                  <a:pt x="591" y="416"/>
                </a:lnTo>
                <a:lnTo>
                  <a:pt x="591" y="417"/>
                </a:lnTo>
                <a:lnTo>
                  <a:pt x="600" y="420"/>
                </a:lnTo>
                <a:lnTo>
                  <a:pt x="602" y="422"/>
                </a:lnTo>
                <a:lnTo>
                  <a:pt x="602" y="425"/>
                </a:lnTo>
                <a:lnTo>
                  <a:pt x="603" y="424"/>
                </a:lnTo>
                <a:lnTo>
                  <a:pt x="604" y="424"/>
                </a:lnTo>
                <a:lnTo>
                  <a:pt x="604" y="423"/>
                </a:lnTo>
                <a:lnTo>
                  <a:pt x="611" y="423"/>
                </a:lnTo>
                <a:lnTo>
                  <a:pt x="611" y="424"/>
                </a:lnTo>
                <a:lnTo>
                  <a:pt x="612" y="425"/>
                </a:lnTo>
                <a:lnTo>
                  <a:pt x="614" y="425"/>
                </a:lnTo>
                <a:lnTo>
                  <a:pt x="614" y="426"/>
                </a:lnTo>
                <a:lnTo>
                  <a:pt x="612" y="428"/>
                </a:lnTo>
                <a:lnTo>
                  <a:pt x="612" y="429"/>
                </a:lnTo>
                <a:lnTo>
                  <a:pt x="614" y="429"/>
                </a:lnTo>
                <a:lnTo>
                  <a:pt x="616" y="430"/>
                </a:lnTo>
                <a:lnTo>
                  <a:pt x="617" y="431"/>
                </a:lnTo>
                <a:lnTo>
                  <a:pt x="621" y="431"/>
                </a:lnTo>
                <a:lnTo>
                  <a:pt x="628" y="437"/>
                </a:lnTo>
                <a:lnTo>
                  <a:pt x="629" y="439"/>
                </a:lnTo>
                <a:lnTo>
                  <a:pt x="629" y="438"/>
                </a:lnTo>
                <a:lnTo>
                  <a:pt x="630" y="439"/>
                </a:lnTo>
                <a:lnTo>
                  <a:pt x="630" y="442"/>
                </a:lnTo>
                <a:lnTo>
                  <a:pt x="633" y="443"/>
                </a:lnTo>
                <a:lnTo>
                  <a:pt x="634" y="445"/>
                </a:lnTo>
                <a:lnTo>
                  <a:pt x="635" y="447"/>
                </a:lnTo>
                <a:lnTo>
                  <a:pt x="636" y="449"/>
                </a:lnTo>
                <a:lnTo>
                  <a:pt x="637" y="450"/>
                </a:lnTo>
                <a:lnTo>
                  <a:pt x="636" y="451"/>
                </a:lnTo>
                <a:lnTo>
                  <a:pt x="636" y="453"/>
                </a:lnTo>
                <a:lnTo>
                  <a:pt x="634" y="454"/>
                </a:lnTo>
                <a:lnTo>
                  <a:pt x="635" y="454"/>
                </a:lnTo>
                <a:lnTo>
                  <a:pt x="635" y="455"/>
                </a:lnTo>
                <a:lnTo>
                  <a:pt x="636" y="456"/>
                </a:lnTo>
                <a:lnTo>
                  <a:pt x="636" y="459"/>
                </a:lnTo>
                <a:lnTo>
                  <a:pt x="637" y="459"/>
                </a:lnTo>
                <a:lnTo>
                  <a:pt x="639" y="457"/>
                </a:lnTo>
                <a:lnTo>
                  <a:pt x="640" y="457"/>
                </a:lnTo>
                <a:lnTo>
                  <a:pt x="640" y="459"/>
                </a:lnTo>
                <a:lnTo>
                  <a:pt x="642" y="459"/>
                </a:lnTo>
                <a:lnTo>
                  <a:pt x="642" y="460"/>
                </a:lnTo>
                <a:lnTo>
                  <a:pt x="643" y="461"/>
                </a:lnTo>
                <a:lnTo>
                  <a:pt x="642" y="462"/>
                </a:lnTo>
                <a:lnTo>
                  <a:pt x="641" y="465"/>
                </a:lnTo>
                <a:lnTo>
                  <a:pt x="642" y="467"/>
                </a:lnTo>
                <a:lnTo>
                  <a:pt x="645" y="466"/>
                </a:lnTo>
                <a:lnTo>
                  <a:pt x="645" y="469"/>
                </a:lnTo>
                <a:lnTo>
                  <a:pt x="643" y="471"/>
                </a:lnTo>
                <a:lnTo>
                  <a:pt x="643" y="473"/>
                </a:lnTo>
                <a:lnTo>
                  <a:pt x="647" y="476"/>
                </a:lnTo>
                <a:lnTo>
                  <a:pt x="647" y="478"/>
                </a:lnTo>
                <a:lnTo>
                  <a:pt x="646" y="479"/>
                </a:lnTo>
                <a:lnTo>
                  <a:pt x="645" y="479"/>
                </a:lnTo>
                <a:lnTo>
                  <a:pt x="639" y="472"/>
                </a:lnTo>
                <a:lnTo>
                  <a:pt x="635" y="468"/>
                </a:lnTo>
                <a:lnTo>
                  <a:pt x="635" y="473"/>
                </a:lnTo>
                <a:lnTo>
                  <a:pt x="636" y="476"/>
                </a:lnTo>
                <a:lnTo>
                  <a:pt x="635" y="476"/>
                </a:lnTo>
                <a:lnTo>
                  <a:pt x="636" y="478"/>
                </a:lnTo>
                <a:lnTo>
                  <a:pt x="639" y="478"/>
                </a:lnTo>
                <a:lnTo>
                  <a:pt x="639" y="479"/>
                </a:lnTo>
                <a:lnTo>
                  <a:pt x="636" y="481"/>
                </a:lnTo>
                <a:lnTo>
                  <a:pt x="636" y="482"/>
                </a:lnTo>
                <a:lnTo>
                  <a:pt x="637" y="482"/>
                </a:lnTo>
                <a:lnTo>
                  <a:pt x="637" y="484"/>
                </a:lnTo>
                <a:lnTo>
                  <a:pt x="639" y="486"/>
                </a:lnTo>
                <a:lnTo>
                  <a:pt x="639" y="488"/>
                </a:lnTo>
                <a:lnTo>
                  <a:pt x="640" y="490"/>
                </a:lnTo>
                <a:lnTo>
                  <a:pt x="637" y="492"/>
                </a:lnTo>
                <a:lnTo>
                  <a:pt x="637" y="496"/>
                </a:lnTo>
                <a:lnTo>
                  <a:pt x="636" y="498"/>
                </a:lnTo>
                <a:lnTo>
                  <a:pt x="634" y="499"/>
                </a:lnTo>
                <a:lnTo>
                  <a:pt x="633" y="502"/>
                </a:lnTo>
                <a:lnTo>
                  <a:pt x="635" y="502"/>
                </a:lnTo>
                <a:lnTo>
                  <a:pt x="635" y="505"/>
                </a:lnTo>
                <a:lnTo>
                  <a:pt x="634" y="505"/>
                </a:lnTo>
                <a:lnTo>
                  <a:pt x="629" y="504"/>
                </a:lnTo>
                <a:lnTo>
                  <a:pt x="627" y="506"/>
                </a:lnTo>
                <a:lnTo>
                  <a:pt x="628" y="509"/>
                </a:lnTo>
                <a:lnTo>
                  <a:pt x="627" y="510"/>
                </a:lnTo>
                <a:lnTo>
                  <a:pt x="627" y="509"/>
                </a:lnTo>
                <a:lnTo>
                  <a:pt x="625" y="509"/>
                </a:lnTo>
                <a:lnTo>
                  <a:pt x="624" y="508"/>
                </a:lnTo>
                <a:lnTo>
                  <a:pt x="623" y="509"/>
                </a:lnTo>
                <a:lnTo>
                  <a:pt x="622" y="509"/>
                </a:lnTo>
                <a:lnTo>
                  <a:pt x="622" y="510"/>
                </a:lnTo>
                <a:lnTo>
                  <a:pt x="623" y="510"/>
                </a:lnTo>
                <a:lnTo>
                  <a:pt x="622" y="511"/>
                </a:lnTo>
                <a:lnTo>
                  <a:pt x="619" y="510"/>
                </a:lnTo>
                <a:lnTo>
                  <a:pt x="619" y="511"/>
                </a:lnTo>
                <a:lnTo>
                  <a:pt x="625" y="514"/>
                </a:lnTo>
                <a:lnTo>
                  <a:pt x="627" y="516"/>
                </a:lnTo>
                <a:lnTo>
                  <a:pt x="627" y="517"/>
                </a:lnTo>
                <a:lnTo>
                  <a:pt x="625" y="518"/>
                </a:lnTo>
                <a:lnTo>
                  <a:pt x="627" y="522"/>
                </a:lnTo>
                <a:lnTo>
                  <a:pt x="628" y="523"/>
                </a:lnTo>
                <a:lnTo>
                  <a:pt x="629" y="523"/>
                </a:lnTo>
                <a:lnTo>
                  <a:pt x="629" y="524"/>
                </a:lnTo>
                <a:lnTo>
                  <a:pt x="630" y="525"/>
                </a:lnTo>
                <a:lnTo>
                  <a:pt x="633" y="525"/>
                </a:lnTo>
                <a:lnTo>
                  <a:pt x="634" y="527"/>
                </a:lnTo>
                <a:lnTo>
                  <a:pt x="631" y="528"/>
                </a:lnTo>
                <a:lnTo>
                  <a:pt x="634" y="528"/>
                </a:lnTo>
                <a:lnTo>
                  <a:pt x="635" y="530"/>
                </a:lnTo>
                <a:lnTo>
                  <a:pt x="635" y="533"/>
                </a:lnTo>
                <a:lnTo>
                  <a:pt x="633" y="533"/>
                </a:lnTo>
                <a:lnTo>
                  <a:pt x="635" y="535"/>
                </a:lnTo>
                <a:lnTo>
                  <a:pt x="635" y="539"/>
                </a:lnTo>
                <a:lnTo>
                  <a:pt x="639" y="540"/>
                </a:lnTo>
                <a:lnTo>
                  <a:pt x="639" y="542"/>
                </a:lnTo>
                <a:lnTo>
                  <a:pt x="637" y="543"/>
                </a:lnTo>
                <a:lnTo>
                  <a:pt x="640" y="546"/>
                </a:lnTo>
                <a:lnTo>
                  <a:pt x="641" y="546"/>
                </a:lnTo>
                <a:lnTo>
                  <a:pt x="640" y="548"/>
                </a:lnTo>
                <a:lnTo>
                  <a:pt x="639" y="549"/>
                </a:lnTo>
                <a:lnTo>
                  <a:pt x="637" y="549"/>
                </a:lnTo>
                <a:lnTo>
                  <a:pt x="636" y="551"/>
                </a:lnTo>
                <a:lnTo>
                  <a:pt x="636" y="553"/>
                </a:lnTo>
                <a:lnTo>
                  <a:pt x="637" y="553"/>
                </a:lnTo>
                <a:lnTo>
                  <a:pt x="640" y="554"/>
                </a:lnTo>
                <a:lnTo>
                  <a:pt x="641" y="555"/>
                </a:lnTo>
                <a:lnTo>
                  <a:pt x="642" y="558"/>
                </a:lnTo>
                <a:lnTo>
                  <a:pt x="642" y="559"/>
                </a:lnTo>
                <a:lnTo>
                  <a:pt x="643" y="559"/>
                </a:lnTo>
                <a:lnTo>
                  <a:pt x="643" y="562"/>
                </a:lnTo>
                <a:lnTo>
                  <a:pt x="645" y="562"/>
                </a:lnTo>
                <a:lnTo>
                  <a:pt x="645" y="564"/>
                </a:lnTo>
                <a:lnTo>
                  <a:pt x="646" y="565"/>
                </a:lnTo>
                <a:lnTo>
                  <a:pt x="646" y="566"/>
                </a:lnTo>
                <a:lnTo>
                  <a:pt x="645" y="567"/>
                </a:lnTo>
                <a:lnTo>
                  <a:pt x="643" y="570"/>
                </a:lnTo>
                <a:lnTo>
                  <a:pt x="642" y="571"/>
                </a:lnTo>
                <a:lnTo>
                  <a:pt x="640" y="572"/>
                </a:lnTo>
                <a:lnTo>
                  <a:pt x="639" y="573"/>
                </a:lnTo>
                <a:lnTo>
                  <a:pt x="640" y="574"/>
                </a:lnTo>
                <a:lnTo>
                  <a:pt x="643" y="574"/>
                </a:lnTo>
                <a:lnTo>
                  <a:pt x="646" y="573"/>
                </a:lnTo>
                <a:lnTo>
                  <a:pt x="648" y="573"/>
                </a:lnTo>
                <a:lnTo>
                  <a:pt x="649" y="576"/>
                </a:lnTo>
                <a:lnTo>
                  <a:pt x="647" y="578"/>
                </a:lnTo>
                <a:lnTo>
                  <a:pt x="643" y="578"/>
                </a:lnTo>
                <a:lnTo>
                  <a:pt x="642" y="579"/>
                </a:lnTo>
                <a:lnTo>
                  <a:pt x="642" y="580"/>
                </a:lnTo>
                <a:lnTo>
                  <a:pt x="641" y="580"/>
                </a:lnTo>
                <a:lnTo>
                  <a:pt x="645" y="584"/>
                </a:lnTo>
                <a:lnTo>
                  <a:pt x="646" y="586"/>
                </a:lnTo>
                <a:lnTo>
                  <a:pt x="648" y="589"/>
                </a:lnTo>
                <a:lnTo>
                  <a:pt x="646" y="591"/>
                </a:lnTo>
                <a:lnTo>
                  <a:pt x="643" y="592"/>
                </a:lnTo>
                <a:lnTo>
                  <a:pt x="641" y="595"/>
                </a:lnTo>
                <a:lnTo>
                  <a:pt x="639" y="594"/>
                </a:lnTo>
                <a:lnTo>
                  <a:pt x="637" y="595"/>
                </a:lnTo>
                <a:lnTo>
                  <a:pt x="640" y="595"/>
                </a:lnTo>
                <a:lnTo>
                  <a:pt x="640" y="596"/>
                </a:lnTo>
                <a:lnTo>
                  <a:pt x="642" y="597"/>
                </a:lnTo>
                <a:lnTo>
                  <a:pt x="646" y="597"/>
                </a:lnTo>
                <a:lnTo>
                  <a:pt x="647" y="599"/>
                </a:lnTo>
                <a:lnTo>
                  <a:pt x="649" y="601"/>
                </a:lnTo>
                <a:lnTo>
                  <a:pt x="648" y="603"/>
                </a:lnTo>
                <a:lnTo>
                  <a:pt x="647" y="604"/>
                </a:lnTo>
                <a:lnTo>
                  <a:pt x="649" y="608"/>
                </a:lnTo>
                <a:lnTo>
                  <a:pt x="650" y="608"/>
                </a:lnTo>
                <a:lnTo>
                  <a:pt x="654" y="609"/>
                </a:lnTo>
                <a:lnTo>
                  <a:pt x="654" y="610"/>
                </a:lnTo>
                <a:lnTo>
                  <a:pt x="655" y="611"/>
                </a:lnTo>
                <a:lnTo>
                  <a:pt x="660" y="611"/>
                </a:lnTo>
                <a:lnTo>
                  <a:pt x="662" y="614"/>
                </a:lnTo>
                <a:lnTo>
                  <a:pt x="661" y="615"/>
                </a:lnTo>
                <a:lnTo>
                  <a:pt x="662" y="616"/>
                </a:lnTo>
                <a:lnTo>
                  <a:pt x="662" y="619"/>
                </a:lnTo>
                <a:lnTo>
                  <a:pt x="664" y="620"/>
                </a:lnTo>
                <a:lnTo>
                  <a:pt x="666" y="621"/>
                </a:lnTo>
                <a:lnTo>
                  <a:pt x="668" y="619"/>
                </a:lnTo>
                <a:lnTo>
                  <a:pt x="671" y="617"/>
                </a:lnTo>
                <a:lnTo>
                  <a:pt x="673" y="617"/>
                </a:lnTo>
                <a:lnTo>
                  <a:pt x="674" y="615"/>
                </a:lnTo>
                <a:lnTo>
                  <a:pt x="674" y="613"/>
                </a:lnTo>
                <a:lnTo>
                  <a:pt x="673" y="611"/>
                </a:lnTo>
                <a:lnTo>
                  <a:pt x="673" y="610"/>
                </a:lnTo>
                <a:lnTo>
                  <a:pt x="672" y="609"/>
                </a:lnTo>
                <a:lnTo>
                  <a:pt x="673" y="609"/>
                </a:lnTo>
                <a:lnTo>
                  <a:pt x="676" y="611"/>
                </a:lnTo>
                <a:lnTo>
                  <a:pt x="679" y="614"/>
                </a:lnTo>
                <a:lnTo>
                  <a:pt x="683" y="615"/>
                </a:lnTo>
                <a:lnTo>
                  <a:pt x="685" y="617"/>
                </a:lnTo>
                <a:lnTo>
                  <a:pt x="686" y="620"/>
                </a:lnTo>
                <a:lnTo>
                  <a:pt x="686" y="623"/>
                </a:lnTo>
                <a:lnTo>
                  <a:pt x="689" y="626"/>
                </a:lnTo>
                <a:lnTo>
                  <a:pt x="690" y="628"/>
                </a:lnTo>
                <a:lnTo>
                  <a:pt x="690" y="629"/>
                </a:lnTo>
                <a:lnTo>
                  <a:pt x="691" y="629"/>
                </a:lnTo>
                <a:lnTo>
                  <a:pt x="693" y="627"/>
                </a:lnTo>
                <a:lnTo>
                  <a:pt x="698" y="632"/>
                </a:lnTo>
                <a:lnTo>
                  <a:pt x="698" y="634"/>
                </a:lnTo>
                <a:lnTo>
                  <a:pt x="701" y="635"/>
                </a:lnTo>
                <a:lnTo>
                  <a:pt x="701" y="638"/>
                </a:lnTo>
                <a:lnTo>
                  <a:pt x="699" y="639"/>
                </a:lnTo>
                <a:lnTo>
                  <a:pt x="701" y="641"/>
                </a:lnTo>
                <a:lnTo>
                  <a:pt x="703" y="644"/>
                </a:lnTo>
                <a:lnTo>
                  <a:pt x="702" y="645"/>
                </a:lnTo>
                <a:lnTo>
                  <a:pt x="702" y="646"/>
                </a:lnTo>
                <a:lnTo>
                  <a:pt x="703" y="647"/>
                </a:lnTo>
                <a:lnTo>
                  <a:pt x="707" y="648"/>
                </a:lnTo>
                <a:lnTo>
                  <a:pt x="709" y="648"/>
                </a:lnTo>
                <a:lnTo>
                  <a:pt x="711" y="651"/>
                </a:lnTo>
                <a:lnTo>
                  <a:pt x="715" y="651"/>
                </a:lnTo>
                <a:lnTo>
                  <a:pt x="715" y="652"/>
                </a:lnTo>
                <a:lnTo>
                  <a:pt x="717" y="653"/>
                </a:lnTo>
                <a:lnTo>
                  <a:pt x="718" y="653"/>
                </a:lnTo>
                <a:lnTo>
                  <a:pt x="720" y="656"/>
                </a:lnTo>
                <a:lnTo>
                  <a:pt x="721" y="656"/>
                </a:lnTo>
                <a:lnTo>
                  <a:pt x="723" y="654"/>
                </a:lnTo>
                <a:lnTo>
                  <a:pt x="724" y="654"/>
                </a:lnTo>
                <a:lnTo>
                  <a:pt x="724" y="656"/>
                </a:lnTo>
                <a:lnTo>
                  <a:pt x="726" y="657"/>
                </a:lnTo>
                <a:lnTo>
                  <a:pt x="728" y="657"/>
                </a:lnTo>
                <a:lnTo>
                  <a:pt x="729" y="656"/>
                </a:lnTo>
                <a:lnTo>
                  <a:pt x="732" y="656"/>
                </a:lnTo>
                <a:lnTo>
                  <a:pt x="733" y="658"/>
                </a:lnTo>
                <a:lnTo>
                  <a:pt x="734" y="658"/>
                </a:lnTo>
                <a:lnTo>
                  <a:pt x="740" y="659"/>
                </a:lnTo>
                <a:lnTo>
                  <a:pt x="741" y="659"/>
                </a:lnTo>
                <a:lnTo>
                  <a:pt x="742" y="660"/>
                </a:lnTo>
                <a:lnTo>
                  <a:pt x="743" y="663"/>
                </a:lnTo>
                <a:lnTo>
                  <a:pt x="743" y="664"/>
                </a:lnTo>
                <a:lnTo>
                  <a:pt x="746" y="666"/>
                </a:lnTo>
                <a:lnTo>
                  <a:pt x="752" y="669"/>
                </a:lnTo>
                <a:lnTo>
                  <a:pt x="759" y="666"/>
                </a:lnTo>
                <a:lnTo>
                  <a:pt x="759" y="660"/>
                </a:lnTo>
                <a:lnTo>
                  <a:pt x="761" y="658"/>
                </a:lnTo>
                <a:lnTo>
                  <a:pt x="768" y="658"/>
                </a:lnTo>
                <a:lnTo>
                  <a:pt x="770" y="657"/>
                </a:lnTo>
                <a:lnTo>
                  <a:pt x="773" y="654"/>
                </a:lnTo>
                <a:lnTo>
                  <a:pt x="774" y="653"/>
                </a:lnTo>
                <a:lnTo>
                  <a:pt x="776" y="653"/>
                </a:lnTo>
                <a:lnTo>
                  <a:pt x="778" y="647"/>
                </a:lnTo>
                <a:lnTo>
                  <a:pt x="779" y="645"/>
                </a:lnTo>
                <a:lnTo>
                  <a:pt x="779" y="642"/>
                </a:lnTo>
                <a:lnTo>
                  <a:pt x="777" y="634"/>
                </a:lnTo>
                <a:lnTo>
                  <a:pt x="777" y="633"/>
                </a:lnTo>
                <a:lnTo>
                  <a:pt x="773" y="629"/>
                </a:lnTo>
                <a:lnTo>
                  <a:pt x="772" y="627"/>
                </a:lnTo>
                <a:lnTo>
                  <a:pt x="771" y="626"/>
                </a:lnTo>
                <a:lnTo>
                  <a:pt x="772" y="623"/>
                </a:lnTo>
                <a:lnTo>
                  <a:pt x="776" y="622"/>
                </a:lnTo>
                <a:lnTo>
                  <a:pt x="777" y="620"/>
                </a:lnTo>
                <a:lnTo>
                  <a:pt x="776" y="619"/>
                </a:lnTo>
                <a:lnTo>
                  <a:pt x="776" y="617"/>
                </a:lnTo>
                <a:lnTo>
                  <a:pt x="773" y="617"/>
                </a:lnTo>
                <a:lnTo>
                  <a:pt x="771" y="615"/>
                </a:lnTo>
                <a:lnTo>
                  <a:pt x="772" y="614"/>
                </a:lnTo>
                <a:lnTo>
                  <a:pt x="768" y="614"/>
                </a:lnTo>
                <a:lnTo>
                  <a:pt x="766" y="611"/>
                </a:lnTo>
                <a:lnTo>
                  <a:pt x="767" y="608"/>
                </a:lnTo>
                <a:lnTo>
                  <a:pt x="765" y="605"/>
                </a:lnTo>
                <a:lnTo>
                  <a:pt x="763" y="607"/>
                </a:lnTo>
                <a:lnTo>
                  <a:pt x="760" y="609"/>
                </a:lnTo>
                <a:lnTo>
                  <a:pt x="760" y="611"/>
                </a:lnTo>
                <a:lnTo>
                  <a:pt x="753" y="611"/>
                </a:lnTo>
                <a:lnTo>
                  <a:pt x="749" y="614"/>
                </a:lnTo>
                <a:lnTo>
                  <a:pt x="747" y="615"/>
                </a:lnTo>
                <a:lnTo>
                  <a:pt x="745" y="614"/>
                </a:lnTo>
                <a:lnTo>
                  <a:pt x="739" y="610"/>
                </a:lnTo>
                <a:lnTo>
                  <a:pt x="735" y="605"/>
                </a:lnTo>
                <a:lnTo>
                  <a:pt x="726" y="591"/>
                </a:lnTo>
                <a:lnTo>
                  <a:pt x="724" y="586"/>
                </a:lnTo>
                <a:lnTo>
                  <a:pt x="722" y="582"/>
                </a:lnTo>
                <a:lnTo>
                  <a:pt x="718" y="578"/>
                </a:lnTo>
                <a:lnTo>
                  <a:pt x="715" y="578"/>
                </a:lnTo>
                <a:lnTo>
                  <a:pt x="712" y="573"/>
                </a:lnTo>
                <a:lnTo>
                  <a:pt x="714" y="571"/>
                </a:lnTo>
                <a:lnTo>
                  <a:pt x="712" y="570"/>
                </a:lnTo>
                <a:lnTo>
                  <a:pt x="712" y="567"/>
                </a:lnTo>
                <a:lnTo>
                  <a:pt x="714" y="568"/>
                </a:lnTo>
                <a:lnTo>
                  <a:pt x="715" y="567"/>
                </a:lnTo>
                <a:lnTo>
                  <a:pt x="711" y="565"/>
                </a:lnTo>
                <a:lnTo>
                  <a:pt x="711" y="564"/>
                </a:lnTo>
                <a:lnTo>
                  <a:pt x="709" y="559"/>
                </a:lnTo>
                <a:lnTo>
                  <a:pt x="710" y="557"/>
                </a:lnTo>
                <a:lnTo>
                  <a:pt x="714" y="558"/>
                </a:lnTo>
                <a:lnTo>
                  <a:pt x="715" y="560"/>
                </a:lnTo>
                <a:lnTo>
                  <a:pt x="717" y="560"/>
                </a:lnTo>
                <a:lnTo>
                  <a:pt x="718" y="558"/>
                </a:lnTo>
                <a:lnTo>
                  <a:pt x="720" y="557"/>
                </a:lnTo>
                <a:lnTo>
                  <a:pt x="723" y="555"/>
                </a:lnTo>
                <a:lnTo>
                  <a:pt x="726" y="553"/>
                </a:lnTo>
                <a:lnTo>
                  <a:pt x="724" y="551"/>
                </a:lnTo>
                <a:lnTo>
                  <a:pt x="726" y="548"/>
                </a:lnTo>
                <a:lnTo>
                  <a:pt x="726" y="547"/>
                </a:lnTo>
                <a:lnTo>
                  <a:pt x="727" y="545"/>
                </a:lnTo>
                <a:lnTo>
                  <a:pt x="728" y="543"/>
                </a:lnTo>
                <a:lnTo>
                  <a:pt x="727" y="539"/>
                </a:lnTo>
                <a:lnTo>
                  <a:pt x="726" y="537"/>
                </a:lnTo>
                <a:lnTo>
                  <a:pt x="726" y="536"/>
                </a:lnTo>
                <a:lnTo>
                  <a:pt x="729" y="535"/>
                </a:lnTo>
                <a:lnTo>
                  <a:pt x="730" y="535"/>
                </a:lnTo>
                <a:lnTo>
                  <a:pt x="732" y="534"/>
                </a:lnTo>
                <a:lnTo>
                  <a:pt x="734" y="533"/>
                </a:lnTo>
                <a:lnTo>
                  <a:pt x="735" y="534"/>
                </a:lnTo>
                <a:lnTo>
                  <a:pt x="742" y="536"/>
                </a:lnTo>
                <a:lnTo>
                  <a:pt x="749" y="540"/>
                </a:lnTo>
                <a:lnTo>
                  <a:pt x="754" y="543"/>
                </a:lnTo>
                <a:lnTo>
                  <a:pt x="757" y="546"/>
                </a:lnTo>
                <a:lnTo>
                  <a:pt x="759" y="546"/>
                </a:lnTo>
                <a:lnTo>
                  <a:pt x="761" y="547"/>
                </a:lnTo>
                <a:lnTo>
                  <a:pt x="763" y="548"/>
                </a:lnTo>
                <a:lnTo>
                  <a:pt x="764" y="551"/>
                </a:lnTo>
                <a:lnTo>
                  <a:pt x="763" y="553"/>
                </a:lnTo>
                <a:lnTo>
                  <a:pt x="764" y="554"/>
                </a:lnTo>
                <a:lnTo>
                  <a:pt x="766" y="559"/>
                </a:lnTo>
                <a:lnTo>
                  <a:pt x="777" y="565"/>
                </a:lnTo>
                <a:lnTo>
                  <a:pt x="782" y="566"/>
                </a:lnTo>
                <a:lnTo>
                  <a:pt x="786" y="566"/>
                </a:lnTo>
                <a:lnTo>
                  <a:pt x="790" y="565"/>
                </a:lnTo>
                <a:lnTo>
                  <a:pt x="791" y="566"/>
                </a:lnTo>
                <a:lnTo>
                  <a:pt x="791" y="571"/>
                </a:lnTo>
                <a:lnTo>
                  <a:pt x="792" y="572"/>
                </a:lnTo>
                <a:lnTo>
                  <a:pt x="792" y="573"/>
                </a:lnTo>
                <a:lnTo>
                  <a:pt x="791" y="572"/>
                </a:lnTo>
                <a:lnTo>
                  <a:pt x="789" y="571"/>
                </a:lnTo>
                <a:lnTo>
                  <a:pt x="788" y="570"/>
                </a:lnTo>
                <a:lnTo>
                  <a:pt x="786" y="572"/>
                </a:lnTo>
                <a:lnTo>
                  <a:pt x="778" y="572"/>
                </a:lnTo>
                <a:lnTo>
                  <a:pt x="777" y="574"/>
                </a:lnTo>
                <a:lnTo>
                  <a:pt x="777" y="576"/>
                </a:lnTo>
                <a:lnTo>
                  <a:pt x="780" y="580"/>
                </a:lnTo>
                <a:lnTo>
                  <a:pt x="780" y="582"/>
                </a:lnTo>
                <a:lnTo>
                  <a:pt x="779" y="583"/>
                </a:lnTo>
                <a:lnTo>
                  <a:pt x="777" y="584"/>
                </a:lnTo>
                <a:lnTo>
                  <a:pt x="777" y="585"/>
                </a:lnTo>
                <a:lnTo>
                  <a:pt x="778" y="586"/>
                </a:lnTo>
                <a:lnTo>
                  <a:pt x="778" y="585"/>
                </a:lnTo>
                <a:lnTo>
                  <a:pt x="779" y="585"/>
                </a:lnTo>
                <a:lnTo>
                  <a:pt x="780" y="584"/>
                </a:lnTo>
                <a:lnTo>
                  <a:pt x="782" y="584"/>
                </a:lnTo>
                <a:lnTo>
                  <a:pt x="782" y="583"/>
                </a:lnTo>
                <a:lnTo>
                  <a:pt x="783" y="582"/>
                </a:lnTo>
                <a:lnTo>
                  <a:pt x="783" y="578"/>
                </a:lnTo>
                <a:lnTo>
                  <a:pt x="785" y="578"/>
                </a:lnTo>
                <a:lnTo>
                  <a:pt x="786" y="577"/>
                </a:lnTo>
                <a:lnTo>
                  <a:pt x="790" y="574"/>
                </a:lnTo>
                <a:lnTo>
                  <a:pt x="791" y="574"/>
                </a:lnTo>
                <a:lnTo>
                  <a:pt x="794" y="576"/>
                </a:lnTo>
                <a:lnTo>
                  <a:pt x="795" y="576"/>
                </a:lnTo>
                <a:lnTo>
                  <a:pt x="796" y="573"/>
                </a:lnTo>
                <a:lnTo>
                  <a:pt x="792" y="570"/>
                </a:lnTo>
                <a:lnTo>
                  <a:pt x="792" y="568"/>
                </a:lnTo>
                <a:lnTo>
                  <a:pt x="794" y="568"/>
                </a:lnTo>
                <a:lnTo>
                  <a:pt x="797" y="572"/>
                </a:lnTo>
                <a:lnTo>
                  <a:pt x="802" y="573"/>
                </a:lnTo>
                <a:lnTo>
                  <a:pt x="807" y="576"/>
                </a:lnTo>
                <a:lnTo>
                  <a:pt x="813" y="576"/>
                </a:lnTo>
                <a:lnTo>
                  <a:pt x="814" y="577"/>
                </a:lnTo>
                <a:lnTo>
                  <a:pt x="820" y="580"/>
                </a:lnTo>
                <a:lnTo>
                  <a:pt x="823" y="584"/>
                </a:lnTo>
                <a:lnTo>
                  <a:pt x="828" y="585"/>
                </a:lnTo>
                <a:lnTo>
                  <a:pt x="830" y="585"/>
                </a:lnTo>
                <a:lnTo>
                  <a:pt x="832" y="586"/>
                </a:lnTo>
                <a:lnTo>
                  <a:pt x="832" y="588"/>
                </a:lnTo>
                <a:lnTo>
                  <a:pt x="836" y="592"/>
                </a:lnTo>
                <a:lnTo>
                  <a:pt x="841" y="596"/>
                </a:lnTo>
                <a:lnTo>
                  <a:pt x="848" y="595"/>
                </a:lnTo>
                <a:lnTo>
                  <a:pt x="850" y="594"/>
                </a:lnTo>
                <a:lnTo>
                  <a:pt x="848" y="592"/>
                </a:lnTo>
                <a:lnTo>
                  <a:pt x="850" y="592"/>
                </a:lnTo>
                <a:lnTo>
                  <a:pt x="852" y="591"/>
                </a:lnTo>
                <a:lnTo>
                  <a:pt x="853" y="591"/>
                </a:lnTo>
                <a:lnTo>
                  <a:pt x="855" y="590"/>
                </a:lnTo>
                <a:lnTo>
                  <a:pt x="857" y="590"/>
                </a:lnTo>
                <a:lnTo>
                  <a:pt x="855" y="588"/>
                </a:lnTo>
                <a:lnTo>
                  <a:pt x="854" y="589"/>
                </a:lnTo>
                <a:lnTo>
                  <a:pt x="852" y="590"/>
                </a:lnTo>
                <a:lnTo>
                  <a:pt x="851" y="590"/>
                </a:lnTo>
                <a:lnTo>
                  <a:pt x="851" y="589"/>
                </a:lnTo>
                <a:lnTo>
                  <a:pt x="852" y="584"/>
                </a:lnTo>
                <a:lnTo>
                  <a:pt x="852" y="583"/>
                </a:lnTo>
                <a:lnTo>
                  <a:pt x="855" y="583"/>
                </a:lnTo>
                <a:lnTo>
                  <a:pt x="854" y="582"/>
                </a:lnTo>
                <a:lnTo>
                  <a:pt x="853" y="582"/>
                </a:lnTo>
                <a:lnTo>
                  <a:pt x="853" y="580"/>
                </a:lnTo>
                <a:lnTo>
                  <a:pt x="855" y="579"/>
                </a:lnTo>
                <a:lnTo>
                  <a:pt x="859" y="578"/>
                </a:lnTo>
                <a:lnTo>
                  <a:pt x="861" y="580"/>
                </a:lnTo>
                <a:lnTo>
                  <a:pt x="863" y="580"/>
                </a:lnTo>
                <a:lnTo>
                  <a:pt x="866" y="579"/>
                </a:lnTo>
                <a:lnTo>
                  <a:pt x="867" y="579"/>
                </a:lnTo>
                <a:lnTo>
                  <a:pt x="870" y="580"/>
                </a:lnTo>
                <a:lnTo>
                  <a:pt x="870" y="582"/>
                </a:lnTo>
                <a:lnTo>
                  <a:pt x="871" y="583"/>
                </a:lnTo>
                <a:lnTo>
                  <a:pt x="871" y="585"/>
                </a:lnTo>
                <a:lnTo>
                  <a:pt x="872" y="586"/>
                </a:lnTo>
                <a:lnTo>
                  <a:pt x="875" y="588"/>
                </a:lnTo>
                <a:lnTo>
                  <a:pt x="876" y="589"/>
                </a:lnTo>
                <a:lnTo>
                  <a:pt x="878" y="589"/>
                </a:lnTo>
                <a:lnTo>
                  <a:pt x="878" y="591"/>
                </a:lnTo>
                <a:lnTo>
                  <a:pt x="879" y="592"/>
                </a:lnTo>
                <a:lnTo>
                  <a:pt x="879" y="594"/>
                </a:lnTo>
                <a:lnTo>
                  <a:pt x="878" y="594"/>
                </a:lnTo>
                <a:lnTo>
                  <a:pt x="873" y="592"/>
                </a:lnTo>
                <a:lnTo>
                  <a:pt x="867" y="592"/>
                </a:lnTo>
                <a:lnTo>
                  <a:pt x="866" y="591"/>
                </a:lnTo>
                <a:lnTo>
                  <a:pt x="865" y="589"/>
                </a:lnTo>
                <a:lnTo>
                  <a:pt x="864" y="588"/>
                </a:lnTo>
                <a:lnTo>
                  <a:pt x="863" y="585"/>
                </a:lnTo>
                <a:lnTo>
                  <a:pt x="861" y="585"/>
                </a:lnTo>
                <a:lnTo>
                  <a:pt x="860" y="584"/>
                </a:lnTo>
                <a:lnTo>
                  <a:pt x="858" y="584"/>
                </a:lnTo>
                <a:lnTo>
                  <a:pt x="863" y="588"/>
                </a:lnTo>
                <a:lnTo>
                  <a:pt x="864" y="590"/>
                </a:lnTo>
                <a:lnTo>
                  <a:pt x="866" y="592"/>
                </a:lnTo>
                <a:lnTo>
                  <a:pt x="867" y="595"/>
                </a:lnTo>
                <a:lnTo>
                  <a:pt x="869" y="595"/>
                </a:lnTo>
                <a:lnTo>
                  <a:pt x="875" y="594"/>
                </a:lnTo>
                <a:lnTo>
                  <a:pt x="876" y="594"/>
                </a:lnTo>
                <a:lnTo>
                  <a:pt x="877" y="595"/>
                </a:lnTo>
                <a:lnTo>
                  <a:pt x="879" y="596"/>
                </a:lnTo>
                <a:lnTo>
                  <a:pt x="882" y="596"/>
                </a:lnTo>
                <a:lnTo>
                  <a:pt x="882" y="591"/>
                </a:lnTo>
                <a:lnTo>
                  <a:pt x="879" y="586"/>
                </a:lnTo>
                <a:lnTo>
                  <a:pt x="878" y="580"/>
                </a:lnTo>
                <a:lnTo>
                  <a:pt x="878" y="579"/>
                </a:lnTo>
                <a:lnTo>
                  <a:pt x="877" y="579"/>
                </a:lnTo>
                <a:lnTo>
                  <a:pt x="877" y="574"/>
                </a:lnTo>
                <a:lnTo>
                  <a:pt x="878" y="573"/>
                </a:lnTo>
                <a:lnTo>
                  <a:pt x="879" y="573"/>
                </a:lnTo>
                <a:lnTo>
                  <a:pt x="881" y="574"/>
                </a:lnTo>
                <a:lnTo>
                  <a:pt x="882" y="574"/>
                </a:lnTo>
                <a:lnTo>
                  <a:pt x="882" y="573"/>
                </a:lnTo>
                <a:lnTo>
                  <a:pt x="878" y="570"/>
                </a:lnTo>
                <a:lnTo>
                  <a:pt x="877" y="567"/>
                </a:lnTo>
                <a:lnTo>
                  <a:pt x="876" y="558"/>
                </a:lnTo>
                <a:lnTo>
                  <a:pt x="875" y="557"/>
                </a:lnTo>
                <a:lnTo>
                  <a:pt x="875" y="555"/>
                </a:lnTo>
                <a:lnTo>
                  <a:pt x="872" y="553"/>
                </a:lnTo>
                <a:lnTo>
                  <a:pt x="872" y="552"/>
                </a:lnTo>
                <a:lnTo>
                  <a:pt x="871" y="549"/>
                </a:lnTo>
                <a:lnTo>
                  <a:pt x="871" y="548"/>
                </a:lnTo>
                <a:lnTo>
                  <a:pt x="870" y="547"/>
                </a:lnTo>
                <a:lnTo>
                  <a:pt x="865" y="545"/>
                </a:lnTo>
                <a:lnTo>
                  <a:pt x="864" y="543"/>
                </a:lnTo>
                <a:lnTo>
                  <a:pt x="854" y="523"/>
                </a:lnTo>
                <a:lnTo>
                  <a:pt x="851" y="518"/>
                </a:lnTo>
                <a:lnTo>
                  <a:pt x="848" y="515"/>
                </a:lnTo>
                <a:lnTo>
                  <a:pt x="848" y="512"/>
                </a:lnTo>
                <a:lnTo>
                  <a:pt x="847" y="510"/>
                </a:lnTo>
                <a:lnTo>
                  <a:pt x="847" y="500"/>
                </a:lnTo>
                <a:lnTo>
                  <a:pt x="848" y="498"/>
                </a:lnTo>
                <a:lnTo>
                  <a:pt x="848" y="496"/>
                </a:lnTo>
                <a:lnTo>
                  <a:pt x="850" y="494"/>
                </a:lnTo>
                <a:lnTo>
                  <a:pt x="852" y="490"/>
                </a:lnTo>
                <a:lnTo>
                  <a:pt x="859" y="484"/>
                </a:lnTo>
                <a:lnTo>
                  <a:pt x="863" y="482"/>
                </a:lnTo>
                <a:lnTo>
                  <a:pt x="871" y="476"/>
                </a:lnTo>
                <a:lnTo>
                  <a:pt x="879" y="468"/>
                </a:lnTo>
                <a:lnTo>
                  <a:pt x="886" y="456"/>
                </a:lnTo>
                <a:lnTo>
                  <a:pt x="890" y="451"/>
                </a:lnTo>
                <a:lnTo>
                  <a:pt x="894" y="449"/>
                </a:lnTo>
                <a:lnTo>
                  <a:pt x="902" y="448"/>
                </a:lnTo>
                <a:lnTo>
                  <a:pt x="907" y="445"/>
                </a:lnTo>
                <a:lnTo>
                  <a:pt x="916" y="442"/>
                </a:lnTo>
                <a:lnTo>
                  <a:pt x="919" y="439"/>
                </a:lnTo>
                <a:lnTo>
                  <a:pt x="920" y="439"/>
                </a:lnTo>
                <a:lnTo>
                  <a:pt x="920" y="438"/>
                </a:lnTo>
                <a:lnTo>
                  <a:pt x="921" y="436"/>
                </a:lnTo>
                <a:lnTo>
                  <a:pt x="922" y="436"/>
                </a:lnTo>
                <a:lnTo>
                  <a:pt x="925" y="432"/>
                </a:lnTo>
                <a:lnTo>
                  <a:pt x="928" y="431"/>
                </a:lnTo>
                <a:lnTo>
                  <a:pt x="929" y="431"/>
                </a:lnTo>
                <a:lnTo>
                  <a:pt x="928" y="430"/>
                </a:lnTo>
                <a:lnTo>
                  <a:pt x="929" y="429"/>
                </a:lnTo>
                <a:lnTo>
                  <a:pt x="938" y="418"/>
                </a:lnTo>
                <a:lnTo>
                  <a:pt x="945" y="406"/>
                </a:lnTo>
                <a:lnTo>
                  <a:pt x="948" y="395"/>
                </a:lnTo>
                <a:lnTo>
                  <a:pt x="951" y="393"/>
                </a:lnTo>
                <a:lnTo>
                  <a:pt x="952" y="393"/>
                </a:lnTo>
                <a:lnTo>
                  <a:pt x="959" y="395"/>
                </a:lnTo>
                <a:lnTo>
                  <a:pt x="971" y="401"/>
                </a:lnTo>
                <a:lnTo>
                  <a:pt x="972" y="402"/>
                </a:lnTo>
                <a:lnTo>
                  <a:pt x="972" y="404"/>
                </a:lnTo>
                <a:lnTo>
                  <a:pt x="969" y="406"/>
                </a:lnTo>
                <a:lnTo>
                  <a:pt x="968" y="408"/>
                </a:lnTo>
                <a:lnTo>
                  <a:pt x="976" y="407"/>
                </a:lnTo>
                <a:lnTo>
                  <a:pt x="984" y="405"/>
                </a:lnTo>
                <a:lnTo>
                  <a:pt x="991" y="405"/>
                </a:lnTo>
                <a:lnTo>
                  <a:pt x="997" y="402"/>
                </a:lnTo>
                <a:lnTo>
                  <a:pt x="999" y="404"/>
                </a:lnTo>
                <a:lnTo>
                  <a:pt x="1000" y="406"/>
                </a:lnTo>
                <a:lnTo>
                  <a:pt x="1001" y="411"/>
                </a:lnTo>
                <a:lnTo>
                  <a:pt x="1002" y="412"/>
                </a:lnTo>
                <a:lnTo>
                  <a:pt x="1003" y="414"/>
                </a:lnTo>
                <a:lnTo>
                  <a:pt x="1009" y="414"/>
                </a:lnTo>
                <a:lnTo>
                  <a:pt x="1015" y="420"/>
                </a:lnTo>
                <a:lnTo>
                  <a:pt x="1015" y="424"/>
                </a:lnTo>
                <a:lnTo>
                  <a:pt x="1014" y="426"/>
                </a:lnTo>
                <a:lnTo>
                  <a:pt x="1008" y="430"/>
                </a:lnTo>
                <a:lnTo>
                  <a:pt x="1006" y="431"/>
                </a:lnTo>
                <a:lnTo>
                  <a:pt x="1004" y="433"/>
                </a:lnTo>
                <a:lnTo>
                  <a:pt x="1004" y="435"/>
                </a:lnTo>
                <a:lnTo>
                  <a:pt x="1003" y="436"/>
                </a:lnTo>
                <a:lnTo>
                  <a:pt x="1002" y="436"/>
                </a:lnTo>
                <a:lnTo>
                  <a:pt x="1002" y="437"/>
                </a:lnTo>
                <a:lnTo>
                  <a:pt x="1000" y="437"/>
                </a:lnTo>
                <a:lnTo>
                  <a:pt x="999" y="438"/>
                </a:lnTo>
                <a:lnTo>
                  <a:pt x="999" y="439"/>
                </a:lnTo>
                <a:lnTo>
                  <a:pt x="1001" y="442"/>
                </a:lnTo>
                <a:lnTo>
                  <a:pt x="1001" y="444"/>
                </a:lnTo>
                <a:lnTo>
                  <a:pt x="1006" y="444"/>
                </a:lnTo>
                <a:lnTo>
                  <a:pt x="1006" y="447"/>
                </a:lnTo>
                <a:lnTo>
                  <a:pt x="1008" y="451"/>
                </a:lnTo>
                <a:lnTo>
                  <a:pt x="1008" y="445"/>
                </a:lnTo>
                <a:lnTo>
                  <a:pt x="1007" y="443"/>
                </a:lnTo>
                <a:lnTo>
                  <a:pt x="1003" y="442"/>
                </a:lnTo>
                <a:lnTo>
                  <a:pt x="1002" y="441"/>
                </a:lnTo>
                <a:lnTo>
                  <a:pt x="1003" y="438"/>
                </a:lnTo>
                <a:lnTo>
                  <a:pt x="1007" y="435"/>
                </a:lnTo>
                <a:lnTo>
                  <a:pt x="1008" y="435"/>
                </a:lnTo>
                <a:lnTo>
                  <a:pt x="1009" y="433"/>
                </a:lnTo>
                <a:lnTo>
                  <a:pt x="1010" y="433"/>
                </a:lnTo>
                <a:lnTo>
                  <a:pt x="1013" y="432"/>
                </a:lnTo>
                <a:lnTo>
                  <a:pt x="1014" y="432"/>
                </a:lnTo>
                <a:lnTo>
                  <a:pt x="1014" y="430"/>
                </a:lnTo>
                <a:lnTo>
                  <a:pt x="1015" y="430"/>
                </a:lnTo>
                <a:lnTo>
                  <a:pt x="1016" y="429"/>
                </a:lnTo>
                <a:lnTo>
                  <a:pt x="1019" y="430"/>
                </a:lnTo>
                <a:lnTo>
                  <a:pt x="1021" y="429"/>
                </a:lnTo>
                <a:lnTo>
                  <a:pt x="1022" y="430"/>
                </a:lnTo>
                <a:lnTo>
                  <a:pt x="1024" y="432"/>
                </a:lnTo>
                <a:lnTo>
                  <a:pt x="1026" y="433"/>
                </a:lnTo>
                <a:lnTo>
                  <a:pt x="1031" y="441"/>
                </a:lnTo>
                <a:lnTo>
                  <a:pt x="1031" y="443"/>
                </a:lnTo>
                <a:lnTo>
                  <a:pt x="1029" y="444"/>
                </a:lnTo>
                <a:lnTo>
                  <a:pt x="1029" y="449"/>
                </a:lnTo>
                <a:lnTo>
                  <a:pt x="1032" y="453"/>
                </a:lnTo>
                <a:lnTo>
                  <a:pt x="1035" y="461"/>
                </a:lnTo>
                <a:lnTo>
                  <a:pt x="1035" y="462"/>
                </a:lnTo>
                <a:lnTo>
                  <a:pt x="1037" y="459"/>
                </a:lnTo>
                <a:lnTo>
                  <a:pt x="1035" y="455"/>
                </a:lnTo>
                <a:lnTo>
                  <a:pt x="1033" y="450"/>
                </a:lnTo>
                <a:lnTo>
                  <a:pt x="1033" y="448"/>
                </a:lnTo>
                <a:lnTo>
                  <a:pt x="1034" y="443"/>
                </a:lnTo>
                <a:lnTo>
                  <a:pt x="1035" y="439"/>
                </a:lnTo>
                <a:lnTo>
                  <a:pt x="1034" y="438"/>
                </a:lnTo>
                <a:lnTo>
                  <a:pt x="1033" y="433"/>
                </a:lnTo>
                <a:lnTo>
                  <a:pt x="1032" y="432"/>
                </a:lnTo>
                <a:lnTo>
                  <a:pt x="1032" y="422"/>
                </a:lnTo>
                <a:lnTo>
                  <a:pt x="1033" y="416"/>
                </a:lnTo>
                <a:lnTo>
                  <a:pt x="1034" y="411"/>
                </a:lnTo>
                <a:lnTo>
                  <a:pt x="1035" y="410"/>
                </a:lnTo>
                <a:lnTo>
                  <a:pt x="1037" y="406"/>
                </a:lnTo>
                <a:lnTo>
                  <a:pt x="1038" y="405"/>
                </a:lnTo>
                <a:lnTo>
                  <a:pt x="1038" y="401"/>
                </a:lnTo>
                <a:lnTo>
                  <a:pt x="1039" y="401"/>
                </a:lnTo>
                <a:lnTo>
                  <a:pt x="1043" y="396"/>
                </a:lnTo>
                <a:lnTo>
                  <a:pt x="1044" y="395"/>
                </a:lnTo>
                <a:lnTo>
                  <a:pt x="1044" y="392"/>
                </a:lnTo>
                <a:lnTo>
                  <a:pt x="1045" y="386"/>
                </a:lnTo>
                <a:lnTo>
                  <a:pt x="1045" y="383"/>
                </a:lnTo>
                <a:lnTo>
                  <a:pt x="1046" y="381"/>
                </a:lnTo>
                <a:lnTo>
                  <a:pt x="1049" y="380"/>
                </a:lnTo>
                <a:lnTo>
                  <a:pt x="1052" y="379"/>
                </a:lnTo>
                <a:lnTo>
                  <a:pt x="1052" y="377"/>
                </a:lnTo>
                <a:lnTo>
                  <a:pt x="1049" y="377"/>
                </a:lnTo>
                <a:lnTo>
                  <a:pt x="1047" y="376"/>
                </a:lnTo>
                <a:lnTo>
                  <a:pt x="1047" y="375"/>
                </a:lnTo>
                <a:lnTo>
                  <a:pt x="1045" y="368"/>
                </a:lnTo>
                <a:lnTo>
                  <a:pt x="1044" y="367"/>
                </a:lnTo>
                <a:lnTo>
                  <a:pt x="1044" y="364"/>
                </a:lnTo>
                <a:lnTo>
                  <a:pt x="1049" y="362"/>
                </a:lnTo>
                <a:lnTo>
                  <a:pt x="1049" y="353"/>
                </a:lnTo>
                <a:lnTo>
                  <a:pt x="1050" y="351"/>
                </a:lnTo>
                <a:lnTo>
                  <a:pt x="1049" y="350"/>
                </a:lnTo>
                <a:lnTo>
                  <a:pt x="1049" y="347"/>
                </a:lnTo>
                <a:lnTo>
                  <a:pt x="1046" y="345"/>
                </a:lnTo>
                <a:lnTo>
                  <a:pt x="1046" y="342"/>
                </a:lnTo>
                <a:lnTo>
                  <a:pt x="1041" y="337"/>
                </a:lnTo>
                <a:lnTo>
                  <a:pt x="1041" y="334"/>
                </a:lnTo>
                <a:lnTo>
                  <a:pt x="1043" y="333"/>
                </a:lnTo>
                <a:lnTo>
                  <a:pt x="1044" y="333"/>
                </a:lnTo>
                <a:lnTo>
                  <a:pt x="1044" y="331"/>
                </a:lnTo>
                <a:lnTo>
                  <a:pt x="1040" y="333"/>
                </a:lnTo>
                <a:lnTo>
                  <a:pt x="1039" y="332"/>
                </a:lnTo>
                <a:lnTo>
                  <a:pt x="1039" y="331"/>
                </a:lnTo>
                <a:lnTo>
                  <a:pt x="1037" y="330"/>
                </a:lnTo>
                <a:lnTo>
                  <a:pt x="1034" y="327"/>
                </a:lnTo>
                <a:lnTo>
                  <a:pt x="1029" y="325"/>
                </a:lnTo>
                <a:lnTo>
                  <a:pt x="1025" y="325"/>
                </a:lnTo>
                <a:lnTo>
                  <a:pt x="1022" y="324"/>
                </a:lnTo>
                <a:lnTo>
                  <a:pt x="1020" y="324"/>
                </a:lnTo>
                <a:lnTo>
                  <a:pt x="1019" y="320"/>
                </a:lnTo>
                <a:lnTo>
                  <a:pt x="1019" y="313"/>
                </a:lnTo>
                <a:lnTo>
                  <a:pt x="1020" y="306"/>
                </a:lnTo>
                <a:lnTo>
                  <a:pt x="1022" y="296"/>
                </a:lnTo>
                <a:lnTo>
                  <a:pt x="1028" y="279"/>
                </a:lnTo>
                <a:lnTo>
                  <a:pt x="1029" y="275"/>
                </a:lnTo>
                <a:lnTo>
                  <a:pt x="1029" y="269"/>
                </a:lnTo>
                <a:lnTo>
                  <a:pt x="1031" y="269"/>
                </a:lnTo>
                <a:lnTo>
                  <a:pt x="1031" y="267"/>
                </a:lnTo>
                <a:lnTo>
                  <a:pt x="1032" y="267"/>
                </a:lnTo>
                <a:lnTo>
                  <a:pt x="1032" y="270"/>
                </a:lnTo>
                <a:lnTo>
                  <a:pt x="1033" y="270"/>
                </a:lnTo>
                <a:lnTo>
                  <a:pt x="1034" y="269"/>
                </a:lnTo>
                <a:lnTo>
                  <a:pt x="1034" y="265"/>
                </a:lnTo>
                <a:lnTo>
                  <a:pt x="1032" y="265"/>
                </a:lnTo>
                <a:lnTo>
                  <a:pt x="1031" y="264"/>
                </a:lnTo>
                <a:lnTo>
                  <a:pt x="1032" y="263"/>
                </a:lnTo>
                <a:lnTo>
                  <a:pt x="1033" y="260"/>
                </a:lnTo>
                <a:lnTo>
                  <a:pt x="1033" y="257"/>
                </a:lnTo>
                <a:lnTo>
                  <a:pt x="1034" y="256"/>
                </a:lnTo>
                <a:lnTo>
                  <a:pt x="1034" y="254"/>
                </a:lnTo>
                <a:lnTo>
                  <a:pt x="1033" y="253"/>
                </a:lnTo>
                <a:lnTo>
                  <a:pt x="1033" y="251"/>
                </a:lnTo>
                <a:lnTo>
                  <a:pt x="1032" y="250"/>
                </a:lnTo>
                <a:lnTo>
                  <a:pt x="1032" y="245"/>
                </a:lnTo>
                <a:lnTo>
                  <a:pt x="1037" y="245"/>
                </a:lnTo>
                <a:lnTo>
                  <a:pt x="1038" y="244"/>
                </a:lnTo>
                <a:lnTo>
                  <a:pt x="1039" y="241"/>
                </a:lnTo>
                <a:lnTo>
                  <a:pt x="1040" y="240"/>
                </a:lnTo>
                <a:lnTo>
                  <a:pt x="1038" y="239"/>
                </a:lnTo>
                <a:lnTo>
                  <a:pt x="1034" y="241"/>
                </a:lnTo>
                <a:lnTo>
                  <a:pt x="1033" y="240"/>
                </a:lnTo>
                <a:lnTo>
                  <a:pt x="1034" y="235"/>
                </a:lnTo>
                <a:lnTo>
                  <a:pt x="1035" y="234"/>
                </a:lnTo>
                <a:lnTo>
                  <a:pt x="1038" y="234"/>
                </a:lnTo>
                <a:lnTo>
                  <a:pt x="1037" y="233"/>
                </a:lnTo>
                <a:lnTo>
                  <a:pt x="1034" y="233"/>
                </a:lnTo>
                <a:lnTo>
                  <a:pt x="1035" y="230"/>
                </a:lnTo>
                <a:lnTo>
                  <a:pt x="1043" y="226"/>
                </a:lnTo>
                <a:lnTo>
                  <a:pt x="1046" y="226"/>
                </a:lnTo>
                <a:lnTo>
                  <a:pt x="1045" y="224"/>
                </a:lnTo>
                <a:lnTo>
                  <a:pt x="1041" y="224"/>
                </a:lnTo>
                <a:lnTo>
                  <a:pt x="1039" y="226"/>
                </a:lnTo>
                <a:lnTo>
                  <a:pt x="1038" y="228"/>
                </a:lnTo>
                <a:lnTo>
                  <a:pt x="1035" y="228"/>
                </a:lnTo>
                <a:lnTo>
                  <a:pt x="1035" y="222"/>
                </a:lnTo>
                <a:lnTo>
                  <a:pt x="1037" y="220"/>
                </a:lnTo>
                <a:lnTo>
                  <a:pt x="1037" y="213"/>
                </a:lnTo>
                <a:lnTo>
                  <a:pt x="1038" y="207"/>
                </a:lnTo>
                <a:lnTo>
                  <a:pt x="1039" y="203"/>
                </a:lnTo>
                <a:lnTo>
                  <a:pt x="1039" y="201"/>
                </a:lnTo>
                <a:lnTo>
                  <a:pt x="1038" y="198"/>
                </a:lnTo>
                <a:lnTo>
                  <a:pt x="1035" y="195"/>
                </a:lnTo>
                <a:lnTo>
                  <a:pt x="1018" y="178"/>
                </a:lnTo>
                <a:lnTo>
                  <a:pt x="1000" y="162"/>
                </a:lnTo>
                <a:lnTo>
                  <a:pt x="997" y="158"/>
                </a:lnTo>
                <a:lnTo>
                  <a:pt x="1000" y="156"/>
                </a:lnTo>
                <a:lnTo>
                  <a:pt x="1002" y="156"/>
                </a:lnTo>
                <a:lnTo>
                  <a:pt x="1007" y="155"/>
                </a:lnTo>
                <a:lnTo>
                  <a:pt x="1012" y="159"/>
                </a:lnTo>
                <a:lnTo>
                  <a:pt x="1013" y="159"/>
                </a:lnTo>
                <a:lnTo>
                  <a:pt x="1015" y="161"/>
                </a:lnTo>
                <a:lnTo>
                  <a:pt x="1018" y="162"/>
                </a:lnTo>
                <a:lnTo>
                  <a:pt x="1019" y="164"/>
                </a:lnTo>
                <a:lnTo>
                  <a:pt x="1020" y="164"/>
                </a:lnTo>
                <a:lnTo>
                  <a:pt x="1021" y="165"/>
                </a:lnTo>
                <a:lnTo>
                  <a:pt x="1022" y="165"/>
                </a:lnTo>
                <a:lnTo>
                  <a:pt x="1027" y="170"/>
                </a:lnTo>
                <a:lnTo>
                  <a:pt x="1038" y="171"/>
                </a:lnTo>
                <a:lnTo>
                  <a:pt x="1050" y="170"/>
                </a:lnTo>
                <a:lnTo>
                  <a:pt x="1083" y="170"/>
                </a:lnTo>
                <a:lnTo>
                  <a:pt x="1095" y="173"/>
                </a:lnTo>
                <a:lnTo>
                  <a:pt x="1108" y="180"/>
                </a:lnTo>
                <a:lnTo>
                  <a:pt x="1111" y="181"/>
                </a:lnTo>
                <a:lnTo>
                  <a:pt x="1111" y="185"/>
                </a:lnTo>
                <a:lnTo>
                  <a:pt x="1112" y="187"/>
                </a:lnTo>
                <a:lnTo>
                  <a:pt x="1112" y="189"/>
                </a:lnTo>
                <a:lnTo>
                  <a:pt x="1113" y="190"/>
                </a:lnTo>
                <a:lnTo>
                  <a:pt x="1113" y="191"/>
                </a:lnTo>
                <a:lnTo>
                  <a:pt x="1114" y="192"/>
                </a:lnTo>
                <a:lnTo>
                  <a:pt x="1114" y="196"/>
                </a:lnTo>
                <a:lnTo>
                  <a:pt x="1117" y="197"/>
                </a:lnTo>
                <a:lnTo>
                  <a:pt x="1120" y="202"/>
                </a:lnTo>
                <a:lnTo>
                  <a:pt x="1122" y="205"/>
                </a:lnTo>
                <a:lnTo>
                  <a:pt x="1125" y="208"/>
                </a:lnTo>
                <a:lnTo>
                  <a:pt x="1125" y="209"/>
                </a:lnTo>
                <a:lnTo>
                  <a:pt x="1127" y="208"/>
                </a:lnTo>
                <a:lnTo>
                  <a:pt x="1130" y="210"/>
                </a:lnTo>
                <a:lnTo>
                  <a:pt x="1131" y="210"/>
                </a:lnTo>
                <a:lnTo>
                  <a:pt x="1132" y="213"/>
                </a:lnTo>
                <a:lnTo>
                  <a:pt x="1136" y="217"/>
                </a:lnTo>
                <a:lnTo>
                  <a:pt x="1133" y="220"/>
                </a:lnTo>
                <a:lnTo>
                  <a:pt x="1136" y="220"/>
                </a:lnTo>
                <a:lnTo>
                  <a:pt x="1136" y="229"/>
                </a:lnTo>
                <a:lnTo>
                  <a:pt x="1137" y="230"/>
                </a:lnTo>
                <a:lnTo>
                  <a:pt x="1137" y="233"/>
                </a:lnTo>
                <a:lnTo>
                  <a:pt x="1138" y="234"/>
                </a:lnTo>
                <a:lnTo>
                  <a:pt x="1139" y="234"/>
                </a:lnTo>
                <a:lnTo>
                  <a:pt x="1139" y="236"/>
                </a:lnTo>
                <a:lnTo>
                  <a:pt x="1140" y="236"/>
                </a:lnTo>
                <a:lnTo>
                  <a:pt x="1140" y="239"/>
                </a:lnTo>
                <a:lnTo>
                  <a:pt x="1142" y="242"/>
                </a:lnTo>
                <a:lnTo>
                  <a:pt x="1143" y="245"/>
                </a:lnTo>
                <a:lnTo>
                  <a:pt x="1143" y="253"/>
                </a:lnTo>
                <a:lnTo>
                  <a:pt x="1140" y="254"/>
                </a:lnTo>
                <a:lnTo>
                  <a:pt x="1137" y="253"/>
                </a:lnTo>
                <a:lnTo>
                  <a:pt x="1128" y="253"/>
                </a:lnTo>
                <a:lnTo>
                  <a:pt x="1121" y="254"/>
                </a:lnTo>
                <a:lnTo>
                  <a:pt x="1113" y="258"/>
                </a:lnTo>
                <a:lnTo>
                  <a:pt x="1096" y="260"/>
                </a:lnTo>
                <a:lnTo>
                  <a:pt x="1089" y="263"/>
                </a:lnTo>
                <a:lnTo>
                  <a:pt x="1086" y="263"/>
                </a:lnTo>
                <a:lnTo>
                  <a:pt x="1083" y="264"/>
                </a:lnTo>
                <a:lnTo>
                  <a:pt x="1083" y="266"/>
                </a:lnTo>
                <a:lnTo>
                  <a:pt x="1084" y="267"/>
                </a:lnTo>
                <a:lnTo>
                  <a:pt x="1086" y="267"/>
                </a:lnTo>
                <a:lnTo>
                  <a:pt x="1086" y="271"/>
                </a:lnTo>
                <a:lnTo>
                  <a:pt x="1084" y="275"/>
                </a:lnTo>
                <a:lnTo>
                  <a:pt x="1084" y="278"/>
                </a:lnTo>
                <a:lnTo>
                  <a:pt x="1077" y="278"/>
                </a:lnTo>
                <a:lnTo>
                  <a:pt x="1071" y="284"/>
                </a:lnTo>
                <a:lnTo>
                  <a:pt x="1069" y="289"/>
                </a:lnTo>
                <a:lnTo>
                  <a:pt x="1068" y="295"/>
                </a:lnTo>
                <a:lnTo>
                  <a:pt x="1068" y="299"/>
                </a:lnTo>
                <a:lnTo>
                  <a:pt x="1066" y="300"/>
                </a:lnTo>
                <a:lnTo>
                  <a:pt x="1066" y="302"/>
                </a:lnTo>
                <a:lnTo>
                  <a:pt x="1068" y="304"/>
                </a:lnTo>
                <a:lnTo>
                  <a:pt x="1069" y="308"/>
                </a:lnTo>
                <a:lnTo>
                  <a:pt x="1072" y="312"/>
                </a:lnTo>
                <a:lnTo>
                  <a:pt x="1077" y="315"/>
                </a:lnTo>
                <a:lnTo>
                  <a:pt x="1080" y="318"/>
                </a:lnTo>
                <a:lnTo>
                  <a:pt x="1083" y="320"/>
                </a:lnTo>
                <a:lnTo>
                  <a:pt x="1088" y="321"/>
                </a:lnTo>
                <a:lnTo>
                  <a:pt x="1091" y="322"/>
                </a:lnTo>
                <a:lnTo>
                  <a:pt x="1095" y="326"/>
                </a:lnTo>
                <a:lnTo>
                  <a:pt x="1097" y="331"/>
                </a:lnTo>
                <a:lnTo>
                  <a:pt x="1097" y="333"/>
                </a:lnTo>
                <a:lnTo>
                  <a:pt x="1099" y="336"/>
                </a:lnTo>
                <a:lnTo>
                  <a:pt x="1103" y="346"/>
                </a:lnTo>
                <a:lnTo>
                  <a:pt x="1105" y="347"/>
                </a:lnTo>
                <a:lnTo>
                  <a:pt x="1105" y="351"/>
                </a:lnTo>
                <a:lnTo>
                  <a:pt x="1106" y="353"/>
                </a:lnTo>
                <a:lnTo>
                  <a:pt x="1107" y="355"/>
                </a:lnTo>
                <a:lnTo>
                  <a:pt x="1112" y="357"/>
                </a:lnTo>
                <a:lnTo>
                  <a:pt x="1112" y="358"/>
                </a:lnTo>
                <a:lnTo>
                  <a:pt x="1114" y="361"/>
                </a:lnTo>
                <a:lnTo>
                  <a:pt x="1125" y="359"/>
                </a:lnTo>
                <a:lnTo>
                  <a:pt x="1133" y="356"/>
                </a:lnTo>
                <a:lnTo>
                  <a:pt x="1137" y="356"/>
                </a:lnTo>
                <a:lnTo>
                  <a:pt x="1138" y="358"/>
                </a:lnTo>
                <a:lnTo>
                  <a:pt x="1138" y="361"/>
                </a:lnTo>
                <a:lnTo>
                  <a:pt x="1136" y="361"/>
                </a:lnTo>
                <a:lnTo>
                  <a:pt x="1136" y="362"/>
                </a:lnTo>
                <a:lnTo>
                  <a:pt x="1134" y="364"/>
                </a:lnTo>
                <a:lnTo>
                  <a:pt x="1128" y="370"/>
                </a:lnTo>
                <a:lnTo>
                  <a:pt x="1130" y="370"/>
                </a:lnTo>
                <a:lnTo>
                  <a:pt x="1132" y="369"/>
                </a:lnTo>
                <a:lnTo>
                  <a:pt x="1133" y="368"/>
                </a:lnTo>
                <a:lnTo>
                  <a:pt x="1136" y="364"/>
                </a:lnTo>
                <a:lnTo>
                  <a:pt x="1137" y="363"/>
                </a:lnTo>
                <a:lnTo>
                  <a:pt x="1147" y="359"/>
                </a:lnTo>
                <a:lnTo>
                  <a:pt x="1152" y="359"/>
                </a:lnTo>
                <a:lnTo>
                  <a:pt x="1155" y="357"/>
                </a:lnTo>
                <a:lnTo>
                  <a:pt x="1156" y="358"/>
                </a:lnTo>
                <a:lnTo>
                  <a:pt x="1173" y="350"/>
                </a:lnTo>
                <a:lnTo>
                  <a:pt x="1174" y="351"/>
                </a:lnTo>
                <a:lnTo>
                  <a:pt x="1178" y="353"/>
                </a:lnTo>
                <a:lnTo>
                  <a:pt x="1180" y="355"/>
                </a:lnTo>
                <a:lnTo>
                  <a:pt x="1178" y="357"/>
                </a:lnTo>
                <a:lnTo>
                  <a:pt x="1180" y="357"/>
                </a:lnTo>
                <a:lnTo>
                  <a:pt x="1180" y="356"/>
                </a:lnTo>
                <a:lnTo>
                  <a:pt x="1181" y="355"/>
                </a:lnTo>
                <a:lnTo>
                  <a:pt x="1180" y="352"/>
                </a:lnTo>
                <a:lnTo>
                  <a:pt x="1180" y="350"/>
                </a:lnTo>
                <a:lnTo>
                  <a:pt x="1181" y="349"/>
                </a:lnTo>
                <a:lnTo>
                  <a:pt x="1181" y="347"/>
                </a:lnTo>
                <a:lnTo>
                  <a:pt x="1183" y="344"/>
                </a:lnTo>
                <a:lnTo>
                  <a:pt x="1184" y="344"/>
                </a:lnTo>
                <a:lnTo>
                  <a:pt x="1186" y="343"/>
                </a:lnTo>
                <a:lnTo>
                  <a:pt x="1186" y="339"/>
                </a:lnTo>
                <a:lnTo>
                  <a:pt x="1187" y="336"/>
                </a:lnTo>
                <a:lnTo>
                  <a:pt x="1187" y="328"/>
                </a:lnTo>
                <a:lnTo>
                  <a:pt x="1186" y="327"/>
                </a:lnTo>
                <a:lnTo>
                  <a:pt x="1184" y="324"/>
                </a:lnTo>
                <a:lnTo>
                  <a:pt x="1184" y="320"/>
                </a:lnTo>
                <a:lnTo>
                  <a:pt x="1188" y="316"/>
                </a:lnTo>
                <a:lnTo>
                  <a:pt x="1188" y="306"/>
                </a:lnTo>
                <a:lnTo>
                  <a:pt x="1187" y="306"/>
                </a:lnTo>
                <a:lnTo>
                  <a:pt x="1188" y="303"/>
                </a:lnTo>
                <a:lnTo>
                  <a:pt x="1193" y="299"/>
                </a:lnTo>
                <a:lnTo>
                  <a:pt x="1195" y="294"/>
                </a:lnTo>
                <a:lnTo>
                  <a:pt x="1195" y="291"/>
                </a:lnTo>
                <a:lnTo>
                  <a:pt x="1194" y="289"/>
                </a:lnTo>
                <a:lnTo>
                  <a:pt x="1189" y="282"/>
                </a:lnTo>
                <a:lnTo>
                  <a:pt x="1189" y="279"/>
                </a:lnTo>
                <a:lnTo>
                  <a:pt x="1190" y="277"/>
                </a:lnTo>
                <a:lnTo>
                  <a:pt x="1198" y="271"/>
                </a:lnTo>
                <a:lnTo>
                  <a:pt x="1199" y="271"/>
                </a:lnTo>
                <a:lnTo>
                  <a:pt x="1201" y="272"/>
                </a:lnTo>
                <a:lnTo>
                  <a:pt x="1201" y="273"/>
                </a:lnTo>
                <a:lnTo>
                  <a:pt x="1200" y="275"/>
                </a:lnTo>
                <a:lnTo>
                  <a:pt x="1200" y="278"/>
                </a:lnTo>
                <a:lnTo>
                  <a:pt x="1201" y="278"/>
                </a:lnTo>
                <a:lnTo>
                  <a:pt x="1202" y="277"/>
                </a:lnTo>
                <a:lnTo>
                  <a:pt x="1204" y="273"/>
                </a:lnTo>
                <a:lnTo>
                  <a:pt x="1206" y="271"/>
                </a:lnTo>
                <a:lnTo>
                  <a:pt x="1206" y="270"/>
                </a:lnTo>
                <a:lnTo>
                  <a:pt x="1208" y="267"/>
                </a:lnTo>
                <a:lnTo>
                  <a:pt x="1212" y="267"/>
                </a:lnTo>
                <a:lnTo>
                  <a:pt x="1215" y="270"/>
                </a:lnTo>
                <a:lnTo>
                  <a:pt x="1219" y="270"/>
                </a:lnTo>
                <a:lnTo>
                  <a:pt x="1225" y="265"/>
                </a:lnTo>
                <a:lnTo>
                  <a:pt x="1226" y="264"/>
                </a:lnTo>
                <a:lnTo>
                  <a:pt x="1229" y="266"/>
                </a:lnTo>
                <a:lnTo>
                  <a:pt x="1226" y="266"/>
                </a:lnTo>
                <a:lnTo>
                  <a:pt x="1236" y="267"/>
                </a:lnTo>
                <a:lnTo>
                  <a:pt x="1239" y="270"/>
                </a:lnTo>
                <a:lnTo>
                  <a:pt x="1238" y="271"/>
                </a:lnTo>
                <a:lnTo>
                  <a:pt x="1240" y="273"/>
                </a:lnTo>
                <a:lnTo>
                  <a:pt x="1243" y="273"/>
                </a:lnTo>
                <a:lnTo>
                  <a:pt x="1244" y="272"/>
                </a:lnTo>
                <a:lnTo>
                  <a:pt x="1243" y="271"/>
                </a:lnTo>
                <a:lnTo>
                  <a:pt x="1242" y="271"/>
                </a:lnTo>
                <a:lnTo>
                  <a:pt x="1242" y="269"/>
                </a:lnTo>
                <a:lnTo>
                  <a:pt x="1238" y="266"/>
                </a:lnTo>
                <a:lnTo>
                  <a:pt x="1237" y="266"/>
                </a:lnTo>
                <a:lnTo>
                  <a:pt x="1236" y="265"/>
                </a:lnTo>
                <a:lnTo>
                  <a:pt x="1234" y="263"/>
                </a:lnTo>
                <a:lnTo>
                  <a:pt x="1233" y="261"/>
                </a:lnTo>
                <a:lnTo>
                  <a:pt x="1231" y="263"/>
                </a:lnTo>
                <a:lnTo>
                  <a:pt x="1230" y="263"/>
                </a:lnTo>
                <a:lnTo>
                  <a:pt x="1230" y="260"/>
                </a:lnTo>
                <a:lnTo>
                  <a:pt x="1231" y="259"/>
                </a:lnTo>
                <a:lnTo>
                  <a:pt x="1231" y="251"/>
                </a:lnTo>
                <a:lnTo>
                  <a:pt x="1221" y="240"/>
                </a:lnTo>
                <a:lnTo>
                  <a:pt x="1224" y="239"/>
                </a:lnTo>
                <a:lnTo>
                  <a:pt x="1232" y="247"/>
                </a:lnTo>
                <a:lnTo>
                  <a:pt x="1238" y="250"/>
                </a:lnTo>
                <a:lnTo>
                  <a:pt x="1245" y="247"/>
                </a:lnTo>
                <a:lnTo>
                  <a:pt x="1246" y="246"/>
                </a:lnTo>
                <a:lnTo>
                  <a:pt x="1252" y="244"/>
                </a:lnTo>
                <a:lnTo>
                  <a:pt x="1261" y="238"/>
                </a:lnTo>
                <a:lnTo>
                  <a:pt x="1267" y="234"/>
                </a:lnTo>
                <a:lnTo>
                  <a:pt x="1273" y="228"/>
                </a:lnTo>
                <a:lnTo>
                  <a:pt x="1280" y="222"/>
                </a:lnTo>
                <a:lnTo>
                  <a:pt x="1282" y="222"/>
                </a:lnTo>
                <a:lnTo>
                  <a:pt x="1281" y="226"/>
                </a:lnTo>
                <a:lnTo>
                  <a:pt x="1276" y="228"/>
                </a:lnTo>
                <a:lnTo>
                  <a:pt x="1275" y="230"/>
                </a:lnTo>
                <a:lnTo>
                  <a:pt x="1281" y="226"/>
                </a:lnTo>
                <a:lnTo>
                  <a:pt x="1283" y="222"/>
                </a:lnTo>
                <a:lnTo>
                  <a:pt x="1285" y="221"/>
                </a:lnTo>
                <a:lnTo>
                  <a:pt x="1286" y="218"/>
                </a:lnTo>
                <a:lnTo>
                  <a:pt x="1291" y="214"/>
                </a:lnTo>
                <a:lnTo>
                  <a:pt x="1293" y="213"/>
                </a:lnTo>
                <a:lnTo>
                  <a:pt x="1296" y="209"/>
                </a:lnTo>
                <a:lnTo>
                  <a:pt x="1300" y="208"/>
                </a:lnTo>
                <a:lnTo>
                  <a:pt x="1308" y="198"/>
                </a:lnTo>
                <a:lnTo>
                  <a:pt x="1311" y="195"/>
                </a:lnTo>
                <a:lnTo>
                  <a:pt x="1312" y="193"/>
                </a:lnTo>
                <a:lnTo>
                  <a:pt x="1313" y="190"/>
                </a:lnTo>
                <a:lnTo>
                  <a:pt x="1314" y="189"/>
                </a:lnTo>
                <a:lnTo>
                  <a:pt x="1316" y="190"/>
                </a:lnTo>
                <a:lnTo>
                  <a:pt x="1317" y="192"/>
                </a:lnTo>
                <a:lnTo>
                  <a:pt x="1319" y="193"/>
                </a:lnTo>
                <a:lnTo>
                  <a:pt x="1322" y="193"/>
                </a:lnTo>
                <a:lnTo>
                  <a:pt x="1326" y="192"/>
                </a:lnTo>
                <a:lnTo>
                  <a:pt x="1327" y="192"/>
                </a:lnTo>
                <a:lnTo>
                  <a:pt x="1329" y="190"/>
                </a:lnTo>
                <a:lnTo>
                  <a:pt x="1330" y="189"/>
                </a:lnTo>
                <a:lnTo>
                  <a:pt x="1332" y="189"/>
                </a:lnTo>
                <a:lnTo>
                  <a:pt x="1338" y="186"/>
                </a:lnTo>
                <a:lnTo>
                  <a:pt x="1342" y="183"/>
                </a:lnTo>
                <a:lnTo>
                  <a:pt x="1343" y="183"/>
                </a:lnTo>
                <a:lnTo>
                  <a:pt x="1344" y="184"/>
                </a:lnTo>
                <a:lnTo>
                  <a:pt x="1345" y="184"/>
                </a:lnTo>
                <a:lnTo>
                  <a:pt x="1348" y="183"/>
                </a:lnTo>
                <a:lnTo>
                  <a:pt x="1349" y="181"/>
                </a:lnTo>
                <a:lnTo>
                  <a:pt x="1348" y="181"/>
                </a:lnTo>
                <a:lnTo>
                  <a:pt x="1347" y="180"/>
                </a:lnTo>
                <a:lnTo>
                  <a:pt x="1348" y="177"/>
                </a:lnTo>
                <a:lnTo>
                  <a:pt x="1354" y="177"/>
                </a:lnTo>
                <a:lnTo>
                  <a:pt x="1368" y="171"/>
                </a:lnTo>
                <a:lnTo>
                  <a:pt x="1373" y="166"/>
                </a:lnTo>
                <a:lnTo>
                  <a:pt x="1375" y="166"/>
                </a:lnTo>
                <a:lnTo>
                  <a:pt x="1374" y="168"/>
                </a:lnTo>
                <a:lnTo>
                  <a:pt x="1374" y="171"/>
                </a:lnTo>
                <a:lnTo>
                  <a:pt x="1372" y="173"/>
                </a:lnTo>
                <a:lnTo>
                  <a:pt x="1368" y="173"/>
                </a:lnTo>
                <a:lnTo>
                  <a:pt x="1368" y="177"/>
                </a:lnTo>
                <a:lnTo>
                  <a:pt x="1369" y="178"/>
                </a:lnTo>
                <a:lnTo>
                  <a:pt x="1373" y="174"/>
                </a:lnTo>
                <a:lnTo>
                  <a:pt x="1379" y="175"/>
                </a:lnTo>
                <a:lnTo>
                  <a:pt x="1380" y="175"/>
                </a:lnTo>
                <a:lnTo>
                  <a:pt x="1381" y="178"/>
                </a:lnTo>
                <a:lnTo>
                  <a:pt x="1379" y="178"/>
                </a:lnTo>
                <a:lnTo>
                  <a:pt x="1378" y="180"/>
                </a:lnTo>
                <a:lnTo>
                  <a:pt x="1379" y="181"/>
                </a:lnTo>
                <a:lnTo>
                  <a:pt x="1379" y="184"/>
                </a:lnTo>
                <a:lnTo>
                  <a:pt x="1376" y="186"/>
                </a:lnTo>
                <a:lnTo>
                  <a:pt x="1373" y="187"/>
                </a:lnTo>
                <a:lnTo>
                  <a:pt x="1372" y="189"/>
                </a:lnTo>
                <a:lnTo>
                  <a:pt x="1373" y="190"/>
                </a:lnTo>
                <a:lnTo>
                  <a:pt x="1376" y="196"/>
                </a:lnTo>
                <a:lnTo>
                  <a:pt x="1378" y="197"/>
                </a:lnTo>
                <a:lnTo>
                  <a:pt x="1380" y="195"/>
                </a:lnTo>
                <a:lnTo>
                  <a:pt x="1382" y="193"/>
                </a:lnTo>
                <a:lnTo>
                  <a:pt x="1383" y="193"/>
                </a:lnTo>
                <a:lnTo>
                  <a:pt x="1392" y="185"/>
                </a:lnTo>
                <a:lnTo>
                  <a:pt x="1394" y="184"/>
                </a:lnTo>
                <a:lnTo>
                  <a:pt x="1395" y="183"/>
                </a:lnTo>
                <a:lnTo>
                  <a:pt x="1397" y="180"/>
                </a:lnTo>
                <a:lnTo>
                  <a:pt x="1397" y="177"/>
                </a:lnTo>
                <a:lnTo>
                  <a:pt x="1394" y="174"/>
                </a:lnTo>
                <a:lnTo>
                  <a:pt x="1391" y="173"/>
                </a:lnTo>
                <a:lnTo>
                  <a:pt x="1389" y="171"/>
                </a:lnTo>
                <a:lnTo>
                  <a:pt x="1389" y="170"/>
                </a:lnTo>
                <a:lnTo>
                  <a:pt x="1388" y="168"/>
                </a:lnTo>
                <a:lnTo>
                  <a:pt x="1388" y="166"/>
                </a:lnTo>
                <a:lnTo>
                  <a:pt x="1387" y="165"/>
                </a:lnTo>
                <a:lnTo>
                  <a:pt x="1387" y="161"/>
                </a:lnTo>
                <a:lnTo>
                  <a:pt x="1392" y="161"/>
                </a:lnTo>
                <a:lnTo>
                  <a:pt x="1392" y="160"/>
                </a:lnTo>
                <a:lnTo>
                  <a:pt x="1393" y="160"/>
                </a:lnTo>
                <a:lnTo>
                  <a:pt x="1393" y="156"/>
                </a:lnTo>
                <a:lnTo>
                  <a:pt x="1392" y="156"/>
                </a:lnTo>
                <a:lnTo>
                  <a:pt x="1387" y="159"/>
                </a:lnTo>
                <a:lnTo>
                  <a:pt x="1386" y="160"/>
                </a:lnTo>
                <a:lnTo>
                  <a:pt x="1385" y="164"/>
                </a:lnTo>
                <a:lnTo>
                  <a:pt x="1383" y="165"/>
                </a:lnTo>
                <a:lnTo>
                  <a:pt x="1379" y="165"/>
                </a:lnTo>
                <a:lnTo>
                  <a:pt x="1378" y="164"/>
                </a:lnTo>
                <a:lnTo>
                  <a:pt x="1378" y="162"/>
                </a:lnTo>
                <a:lnTo>
                  <a:pt x="1380" y="160"/>
                </a:lnTo>
                <a:lnTo>
                  <a:pt x="1385" y="158"/>
                </a:lnTo>
                <a:lnTo>
                  <a:pt x="1400" y="144"/>
                </a:lnTo>
                <a:lnTo>
                  <a:pt x="1406" y="142"/>
                </a:lnTo>
                <a:lnTo>
                  <a:pt x="1411" y="137"/>
                </a:lnTo>
                <a:lnTo>
                  <a:pt x="1414" y="135"/>
                </a:lnTo>
                <a:lnTo>
                  <a:pt x="1418" y="131"/>
                </a:lnTo>
                <a:lnTo>
                  <a:pt x="1423" y="130"/>
                </a:lnTo>
                <a:lnTo>
                  <a:pt x="1426" y="127"/>
                </a:lnTo>
                <a:lnTo>
                  <a:pt x="1445" y="121"/>
                </a:lnTo>
                <a:lnTo>
                  <a:pt x="1455" y="117"/>
                </a:lnTo>
                <a:lnTo>
                  <a:pt x="1463" y="117"/>
                </a:lnTo>
                <a:lnTo>
                  <a:pt x="1465" y="116"/>
                </a:lnTo>
                <a:lnTo>
                  <a:pt x="1473" y="116"/>
                </a:lnTo>
                <a:lnTo>
                  <a:pt x="1474" y="117"/>
                </a:lnTo>
                <a:lnTo>
                  <a:pt x="1474" y="118"/>
                </a:lnTo>
                <a:lnTo>
                  <a:pt x="1473" y="118"/>
                </a:lnTo>
                <a:lnTo>
                  <a:pt x="1473" y="119"/>
                </a:lnTo>
                <a:lnTo>
                  <a:pt x="1468" y="119"/>
                </a:lnTo>
                <a:lnTo>
                  <a:pt x="1466" y="122"/>
                </a:lnTo>
                <a:lnTo>
                  <a:pt x="1449" y="124"/>
                </a:lnTo>
                <a:lnTo>
                  <a:pt x="1434" y="128"/>
                </a:lnTo>
                <a:lnTo>
                  <a:pt x="1434" y="129"/>
                </a:lnTo>
                <a:lnTo>
                  <a:pt x="1435" y="130"/>
                </a:lnTo>
                <a:lnTo>
                  <a:pt x="1435" y="131"/>
                </a:lnTo>
                <a:lnTo>
                  <a:pt x="1436" y="132"/>
                </a:lnTo>
                <a:lnTo>
                  <a:pt x="1438" y="134"/>
                </a:lnTo>
                <a:lnTo>
                  <a:pt x="1439" y="132"/>
                </a:lnTo>
                <a:lnTo>
                  <a:pt x="1438" y="132"/>
                </a:lnTo>
                <a:lnTo>
                  <a:pt x="1438" y="131"/>
                </a:lnTo>
                <a:lnTo>
                  <a:pt x="1437" y="131"/>
                </a:lnTo>
                <a:lnTo>
                  <a:pt x="1437" y="130"/>
                </a:lnTo>
                <a:lnTo>
                  <a:pt x="1438" y="129"/>
                </a:lnTo>
                <a:lnTo>
                  <a:pt x="1449" y="131"/>
                </a:lnTo>
                <a:lnTo>
                  <a:pt x="1450" y="132"/>
                </a:lnTo>
                <a:lnTo>
                  <a:pt x="1451" y="135"/>
                </a:lnTo>
                <a:lnTo>
                  <a:pt x="1447" y="140"/>
                </a:lnTo>
                <a:lnTo>
                  <a:pt x="1445" y="140"/>
                </a:lnTo>
                <a:lnTo>
                  <a:pt x="1444" y="141"/>
                </a:lnTo>
                <a:lnTo>
                  <a:pt x="1443" y="144"/>
                </a:lnTo>
                <a:lnTo>
                  <a:pt x="1443" y="153"/>
                </a:lnTo>
                <a:lnTo>
                  <a:pt x="1438" y="158"/>
                </a:lnTo>
                <a:lnTo>
                  <a:pt x="1438" y="160"/>
                </a:lnTo>
                <a:lnTo>
                  <a:pt x="1439" y="162"/>
                </a:lnTo>
                <a:lnTo>
                  <a:pt x="1442" y="165"/>
                </a:lnTo>
                <a:lnTo>
                  <a:pt x="1445" y="172"/>
                </a:lnTo>
                <a:lnTo>
                  <a:pt x="1445" y="173"/>
                </a:lnTo>
                <a:lnTo>
                  <a:pt x="1447" y="174"/>
                </a:lnTo>
                <a:lnTo>
                  <a:pt x="1447" y="183"/>
                </a:lnTo>
                <a:lnTo>
                  <a:pt x="1448" y="185"/>
                </a:lnTo>
                <a:lnTo>
                  <a:pt x="1448" y="187"/>
                </a:lnTo>
                <a:lnTo>
                  <a:pt x="1447" y="189"/>
                </a:lnTo>
                <a:lnTo>
                  <a:pt x="1444" y="189"/>
                </a:lnTo>
                <a:lnTo>
                  <a:pt x="1444" y="190"/>
                </a:lnTo>
                <a:lnTo>
                  <a:pt x="1443" y="192"/>
                </a:lnTo>
                <a:lnTo>
                  <a:pt x="1442" y="193"/>
                </a:lnTo>
                <a:lnTo>
                  <a:pt x="1442" y="192"/>
                </a:lnTo>
                <a:lnTo>
                  <a:pt x="1436" y="186"/>
                </a:lnTo>
                <a:lnTo>
                  <a:pt x="1434" y="185"/>
                </a:lnTo>
                <a:lnTo>
                  <a:pt x="1432" y="186"/>
                </a:lnTo>
                <a:lnTo>
                  <a:pt x="1436" y="190"/>
                </a:lnTo>
                <a:lnTo>
                  <a:pt x="1436" y="191"/>
                </a:lnTo>
                <a:lnTo>
                  <a:pt x="1437" y="193"/>
                </a:lnTo>
                <a:lnTo>
                  <a:pt x="1436" y="195"/>
                </a:lnTo>
                <a:lnTo>
                  <a:pt x="1435" y="195"/>
                </a:lnTo>
                <a:lnTo>
                  <a:pt x="1431" y="191"/>
                </a:lnTo>
                <a:lnTo>
                  <a:pt x="1426" y="190"/>
                </a:lnTo>
                <a:lnTo>
                  <a:pt x="1425" y="191"/>
                </a:lnTo>
                <a:lnTo>
                  <a:pt x="1424" y="193"/>
                </a:lnTo>
                <a:lnTo>
                  <a:pt x="1423" y="193"/>
                </a:lnTo>
                <a:lnTo>
                  <a:pt x="1423" y="192"/>
                </a:lnTo>
                <a:lnTo>
                  <a:pt x="1422" y="192"/>
                </a:lnTo>
                <a:lnTo>
                  <a:pt x="1420" y="195"/>
                </a:lnTo>
                <a:lnTo>
                  <a:pt x="1418" y="198"/>
                </a:lnTo>
                <a:lnTo>
                  <a:pt x="1417" y="202"/>
                </a:lnTo>
                <a:lnTo>
                  <a:pt x="1418" y="203"/>
                </a:lnTo>
                <a:lnTo>
                  <a:pt x="1422" y="205"/>
                </a:lnTo>
                <a:lnTo>
                  <a:pt x="1424" y="204"/>
                </a:lnTo>
                <a:lnTo>
                  <a:pt x="1428" y="203"/>
                </a:lnTo>
                <a:lnTo>
                  <a:pt x="1442" y="204"/>
                </a:lnTo>
                <a:lnTo>
                  <a:pt x="1443" y="204"/>
                </a:lnTo>
                <a:lnTo>
                  <a:pt x="1445" y="207"/>
                </a:lnTo>
                <a:lnTo>
                  <a:pt x="1445" y="208"/>
                </a:lnTo>
                <a:lnTo>
                  <a:pt x="1450" y="208"/>
                </a:lnTo>
                <a:lnTo>
                  <a:pt x="1454" y="204"/>
                </a:lnTo>
                <a:lnTo>
                  <a:pt x="1456" y="198"/>
                </a:lnTo>
                <a:lnTo>
                  <a:pt x="1459" y="196"/>
                </a:lnTo>
                <a:lnTo>
                  <a:pt x="1460" y="196"/>
                </a:lnTo>
                <a:lnTo>
                  <a:pt x="1457" y="201"/>
                </a:lnTo>
                <a:lnTo>
                  <a:pt x="1457" y="205"/>
                </a:lnTo>
                <a:lnTo>
                  <a:pt x="1459" y="209"/>
                </a:lnTo>
                <a:lnTo>
                  <a:pt x="1461" y="208"/>
                </a:lnTo>
                <a:lnTo>
                  <a:pt x="1469" y="198"/>
                </a:lnTo>
                <a:lnTo>
                  <a:pt x="1472" y="197"/>
                </a:lnTo>
                <a:lnTo>
                  <a:pt x="1473" y="197"/>
                </a:lnTo>
                <a:lnTo>
                  <a:pt x="1474" y="199"/>
                </a:lnTo>
                <a:lnTo>
                  <a:pt x="1478" y="210"/>
                </a:lnTo>
                <a:lnTo>
                  <a:pt x="1479" y="213"/>
                </a:lnTo>
                <a:lnTo>
                  <a:pt x="1486" y="213"/>
                </a:lnTo>
                <a:lnTo>
                  <a:pt x="1487" y="211"/>
                </a:lnTo>
                <a:lnTo>
                  <a:pt x="1487" y="209"/>
                </a:lnTo>
                <a:lnTo>
                  <a:pt x="1488" y="207"/>
                </a:lnTo>
                <a:lnTo>
                  <a:pt x="1490" y="205"/>
                </a:lnTo>
                <a:lnTo>
                  <a:pt x="1490" y="204"/>
                </a:lnTo>
                <a:lnTo>
                  <a:pt x="1488" y="201"/>
                </a:lnTo>
                <a:lnTo>
                  <a:pt x="1488" y="198"/>
                </a:lnTo>
                <a:lnTo>
                  <a:pt x="1487" y="198"/>
                </a:lnTo>
                <a:lnTo>
                  <a:pt x="1486" y="196"/>
                </a:lnTo>
                <a:lnTo>
                  <a:pt x="1488" y="196"/>
                </a:lnTo>
                <a:lnTo>
                  <a:pt x="1488" y="193"/>
                </a:lnTo>
                <a:lnTo>
                  <a:pt x="1490" y="190"/>
                </a:lnTo>
                <a:lnTo>
                  <a:pt x="1490" y="187"/>
                </a:lnTo>
                <a:lnTo>
                  <a:pt x="1492" y="183"/>
                </a:lnTo>
                <a:lnTo>
                  <a:pt x="1493" y="181"/>
                </a:lnTo>
                <a:lnTo>
                  <a:pt x="1494" y="183"/>
                </a:lnTo>
                <a:lnTo>
                  <a:pt x="1496" y="181"/>
                </a:lnTo>
                <a:lnTo>
                  <a:pt x="1497" y="178"/>
                </a:lnTo>
                <a:lnTo>
                  <a:pt x="1500" y="177"/>
                </a:lnTo>
                <a:lnTo>
                  <a:pt x="1501" y="175"/>
                </a:lnTo>
                <a:lnTo>
                  <a:pt x="1501" y="173"/>
                </a:lnTo>
                <a:lnTo>
                  <a:pt x="1503" y="172"/>
                </a:lnTo>
                <a:lnTo>
                  <a:pt x="1509" y="168"/>
                </a:lnTo>
                <a:lnTo>
                  <a:pt x="1513" y="167"/>
                </a:lnTo>
                <a:lnTo>
                  <a:pt x="1518" y="167"/>
                </a:lnTo>
                <a:lnTo>
                  <a:pt x="1525" y="165"/>
                </a:lnTo>
                <a:lnTo>
                  <a:pt x="1532" y="158"/>
                </a:lnTo>
                <a:lnTo>
                  <a:pt x="1535" y="156"/>
                </a:lnTo>
                <a:lnTo>
                  <a:pt x="1537" y="158"/>
                </a:lnTo>
                <a:lnTo>
                  <a:pt x="1541" y="161"/>
                </a:lnTo>
                <a:lnTo>
                  <a:pt x="1543" y="161"/>
                </a:lnTo>
                <a:lnTo>
                  <a:pt x="1556" y="160"/>
                </a:lnTo>
                <a:lnTo>
                  <a:pt x="1556" y="161"/>
                </a:lnTo>
                <a:lnTo>
                  <a:pt x="1555" y="166"/>
                </a:lnTo>
                <a:lnTo>
                  <a:pt x="1556" y="165"/>
                </a:lnTo>
                <a:lnTo>
                  <a:pt x="1559" y="160"/>
                </a:lnTo>
                <a:lnTo>
                  <a:pt x="1560" y="159"/>
                </a:lnTo>
                <a:lnTo>
                  <a:pt x="1562" y="159"/>
                </a:lnTo>
                <a:lnTo>
                  <a:pt x="1571" y="167"/>
                </a:lnTo>
                <a:lnTo>
                  <a:pt x="1580" y="170"/>
                </a:lnTo>
                <a:lnTo>
                  <a:pt x="1591" y="168"/>
                </a:lnTo>
                <a:lnTo>
                  <a:pt x="1593" y="166"/>
                </a:lnTo>
                <a:lnTo>
                  <a:pt x="1594" y="164"/>
                </a:lnTo>
                <a:lnTo>
                  <a:pt x="1596" y="159"/>
                </a:lnTo>
                <a:lnTo>
                  <a:pt x="1597" y="156"/>
                </a:lnTo>
                <a:lnTo>
                  <a:pt x="1599" y="154"/>
                </a:lnTo>
                <a:lnTo>
                  <a:pt x="1600" y="152"/>
                </a:lnTo>
                <a:lnTo>
                  <a:pt x="1602" y="148"/>
                </a:lnTo>
                <a:lnTo>
                  <a:pt x="1603" y="147"/>
                </a:lnTo>
                <a:lnTo>
                  <a:pt x="1616" y="146"/>
                </a:lnTo>
                <a:lnTo>
                  <a:pt x="1618" y="141"/>
                </a:lnTo>
                <a:lnTo>
                  <a:pt x="1617" y="140"/>
                </a:lnTo>
                <a:lnTo>
                  <a:pt x="1617" y="135"/>
                </a:lnTo>
                <a:lnTo>
                  <a:pt x="1618" y="134"/>
                </a:lnTo>
                <a:lnTo>
                  <a:pt x="1627" y="130"/>
                </a:lnTo>
                <a:lnTo>
                  <a:pt x="1629" y="130"/>
                </a:lnTo>
                <a:lnTo>
                  <a:pt x="1629" y="131"/>
                </a:lnTo>
                <a:lnTo>
                  <a:pt x="1628" y="135"/>
                </a:lnTo>
                <a:lnTo>
                  <a:pt x="1628" y="137"/>
                </a:lnTo>
                <a:lnTo>
                  <a:pt x="1629" y="138"/>
                </a:lnTo>
                <a:lnTo>
                  <a:pt x="1630" y="141"/>
                </a:lnTo>
                <a:lnTo>
                  <a:pt x="1630" y="143"/>
                </a:lnTo>
                <a:lnTo>
                  <a:pt x="1635" y="146"/>
                </a:lnTo>
                <a:lnTo>
                  <a:pt x="1634" y="148"/>
                </a:lnTo>
                <a:lnTo>
                  <a:pt x="1636" y="148"/>
                </a:lnTo>
                <a:lnTo>
                  <a:pt x="1637" y="147"/>
                </a:lnTo>
                <a:lnTo>
                  <a:pt x="1637" y="144"/>
                </a:lnTo>
                <a:lnTo>
                  <a:pt x="1636" y="144"/>
                </a:lnTo>
                <a:lnTo>
                  <a:pt x="1635" y="143"/>
                </a:lnTo>
                <a:lnTo>
                  <a:pt x="1635" y="142"/>
                </a:lnTo>
                <a:lnTo>
                  <a:pt x="1631" y="142"/>
                </a:lnTo>
                <a:lnTo>
                  <a:pt x="1631" y="137"/>
                </a:lnTo>
                <a:lnTo>
                  <a:pt x="1630" y="137"/>
                </a:lnTo>
                <a:lnTo>
                  <a:pt x="1630" y="129"/>
                </a:lnTo>
                <a:lnTo>
                  <a:pt x="1631" y="129"/>
                </a:lnTo>
                <a:lnTo>
                  <a:pt x="1631" y="128"/>
                </a:lnTo>
                <a:lnTo>
                  <a:pt x="1643" y="122"/>
                </a:lnTo>
                <a:lnTo>
                  <a:pt x="1656" y="117"/>
                </a:lnTo>
                <a:lnTo>
                  <a:pt x="1671" y="117"/>
                </a:lnTo>
                <a:lnTo>
                  <a:pt x="1672" y="118"/>
                </a:lnTo>
                <a:lnTo>
                  <a:pt x="1671" y="119"/>
                </a:lnTo>
                <a:lnTo>
                  <a:pt x="1668" y="118"/>
                </a:lnTo>
                <a:lnTo>
                  <a:pt x="1667" y="118"/>
                </a:lnTo>
                <a:lnTo>
                  <a:pt x="1666" y="119"/>
                </a:lnTo>
                <a:lnTo>
                  <a:pt x="1660" y="121"/>
                </a:lnTo>
                <a:lnTo>
                  <a:pt x="1658" y="123"/>
                </a:lnTo>
                <a:lnTo>
                  <a:pt x="1656" y="125"/>
                </a:lnTo>
                <a:lnTo>
                  <a:pt x="1660" y="125"/>
                </a:lnTo>
                <a:lnTo>
                  <a:pt x="1666" y="129"/>
                </a:lnTo>
                <a:lnTo>
                  <a:pt x="1679" y="144"/>
                </a:lnTo>
                <a:lnTo>
                  <a:pt x="1679" y="150"/>
                </a:lnTo>
                <a:lnTo>
                  <a:pt x="1678" y="152"/>
                </a:lnTo>
                <a:lnTo>
                  <a:pt x="1675" y="152"/>
                </a:lnTo>
                <a:lnTo>
                  <a:pt x="1673" y="150"/>
                </a:lnTo>
                <a:lnTo>
                  <a:pt x="1671" y="150"/>
                </a:lnTo>
                <a:lnTo>
                  <a:pt x="1668" y="153"/>
                </a:lnTo>
                <a:lnTo>
                  <a:pt x="1667" y="155"/>
                </a:lnTo>
                <a:lnTo>
                  <a:pt x="1667" y="158"/>
                </a:lnTo>
                <a:lnTo>
                  <a:pt x="1666" y="159"/>
                </a:lnTo>
                <a:lnTo>
                  <a:pt x="1666" y="160"/>
                </a:lnTo>
                <a:lnTo>
                  <a:pt x="1665" y="160"/>
                </a:lnTo>
                <a:lnTo>
                  <a:pt x="1664" y="161"/>
                </a:lnTo>
                <a:lnTo>
                  <a:pt x="1664" y="167"/>
                </a:lnTo>
                <a:lnTo>
                  <a:pt x="1666" y="170"/>
                </a:lnTo>
                <a:lnTo>
                  <a:pt x="1666" y="173"/>
                </a:lnTo>
                <a:lnTo>
                  <a:pt x="1665" y="175"/>
                </a:lnTo>
                <a:lnTo>
                  <a:pt x="1665" y="185"/>
                </a:lnTo>
                <a:lnTo>
                  <a:pt x="1666" y="186"/>
                </a:lnTo>
                <a:lnTo>
                  <a:pt x="1678" y="190"/>
                </a:lnTo>
                <a:lnTo>
                  <a:pt x="1690" y="195"/>
                </a:lnTo>
                <a:lnTo>
                  <a:pt x="1697" y="189"/>
                </a:lnTo>
                <a:lnTo>
                  <a:pt x="1699" y="186"/>
                </a:lnTo>
                <a:lnTo>
                  <a:pt x="1702" y="179"/>
                </a:lnTo>
                <a:lnTo>
                  <a:pt x="1702" y="173"/>
                </a:lnTo>
                <a:lnTo>
                  <a:pt x="1698" y="166"/>
                </a:lnTo>
                <a:lnTo>
                  <a:pt x="1696" y="162"/>
                </a:lnTo>
                <a:lnTo>
                  <a:pt x="1695" y="161"/>
                </a:lnTo>
                <a:lnTo>
                  <a:pt x="1693" y="161"/>
                </a:lnTo>
                <a:lnTo>
                  <a:pt x="1693" y="156"/>
                </a:lnTo>
                <a:lnTo>
                  <a:pt x="1696" y="154"/>
                </a:lnTo>
                <a:lnTo>
                  <a:pt x="1699" y="149"/>
                </a:lnTo>
                <a:lnTo>
                  <a:pt x="1701" y="149"/>
                </a:lnTo>
                <a:lnTo>
                  <a:pt x="1705" y="153"/>
                </a:lnTo>
                <a:lnTo>
                  <a:pt x="1706" y="154"/>
                </a:lnTo>
                <a:lnTo>
                  <a:pt x="1723" y="149"/>
                </a:lnTo>
                <a:lnTo>
                  <a:pt x="1727" y="147"/>
                </a:lnTo>
                <a:lnTo>
                  <a:pt x="1733" y="138"/>
                </a:lnTo>
                <a:lnTo>
                  <a:pt x="1734" y="137"/>
                </a:lnTo>
                <a:lnTo>
                  <a:pt x="1735" y="132"/>
                </a:lnTo>
                <a:lnTo>
                  <a:pt x="1736" y="131"/>
                </a:lnTo>
                <a:lnTo>
                  <a:pt x="1737" y="129"/>
                </a:lnTo>
                <a:lnTo>
                  <a:pt x="1740" y="129"/>
                </a:lnTo>
                <a:lnTo>
                  <a:pt x="1745" y="128"/>
                </a:lnTo>
                <a:lnTo>
                  <a:pt x="1743" y="128"/>
                </a:lnTo>
                <a:lnTo>
                  <a:pt x="1742" y="127"/>
                </a:lnTo>
                <a:lnTo>
                  <a:pt x="1742" y="124"/>
                </a:lnTo>
                <a:lnTo>
                  <a:pt x="1743" y="122"/>
                </a:lnTo>
                <a:lnTo>
                  <a:pt x="1743" y="113"/>
                </a:lnTo>
                <a:lnTo>
                  <a:pt x="1742" y="112"/>
                </a:lnTo>
                <a:lnTo>
                  <a:pt x="1743" y="109"/>
                </a:lnTo>
                <a:lnTo>
                  <a:pt x="1742" y="107"/>
                </a:lnTo>
                <a:lnTo>
                  <a:pt x="1741" y="103"/>
                </a:lnTo>
                <a:lnTo>
                  <a:pt x="1739" y="98"/>
                </a:lnTo>
                <a:lnTo>
                  <a:pt x="1736" y="95"/>
                </a:lnTo>
                <a:lnTo>
                  <a:pt x="1734" y="97"/>
                </a:lnTo>
                <a:lnTo>
                  <a:pt x="1734" y="103"/>
                </a:lnTo>
                <a:lnTo>
                  <a:pt x="1735" y="103"/>
                </a:lnTo>
                <a:lnTo>
                  <a:pt x="1734" y="105"/>
                </a:lnTo>
                <a:lnTo>
                  <a:pt x="1732" y="104"/>
                </a:lnTo>
                <a:lnTo>
                  <a:pt x="1729" y="104"/>
                </a:lnTo>
                <a:lnTo>
                  <a:pt x="1728" y="101"/>
                </a:lnTo>
                <a:lnTo>
                  <a:pt x="1728" y="85"/>
                </a:lnTo>
                <a:lnTo>
                  <a:pt x="1727" y="82"/>
                </a:lnTo>
                <a:lnTo>
                  <a:pt x="1727" y="80"/>
                </a:lnTo>
                <a:lnTo>
                  <a:pt x="1726" y="78"/>
                </a:lnTo>
                <a:lnTo>
                  <a:pt x="1722" y="74"/>
                </a:lnTo>
                <a:lnTo>
                  <a:pt x="1722" y="69"/>
                </a:lnTo>
                <a:lnTo>
                  <a:pt x="1721" y="68"/>
                </a:lnTo>
                <a:lnTo>
                  <a:pt x="1717" y="63"/>
                </a:lnTo>
                <a:lnTo>
                  <a:pt x="1716" y="63"/>
                </a:lnTo>
                <a:lnTo>
                  <a:pt x="1715" y="57"/>
                </a:lnTo>
                <a:lnTo>
                  <a:pt x="1712" y="55"/>
                </a:lnTo>
                <a:lnTo>
                  <a:pt x="1712" y="51"/>
                </a:lnTo>
                <a:lnTo>
                  <a:pt x="1709" y="48"/>
                </a:lnTo>
                <a:lnTo>
                  <a:pt x="1710" y="45"/>
                </a:lnTo>
                <a:lnTo>
                  <a:pt x="1710" y="42"/>
                </a:lnTo>
                <a:lnTo>
                  <a:pt x="1711" y="39"/>
                </a:lnTo>
                <a:lnTo>
                  <a:pt x="1714" y="37"/>
                </a:lnTo>
                <a:lnTo>
                  <a:pt x="1732" y="37"/>
                </a:lnTo>
                <a:lnTo>
                  <a:pt x="1732" y="32"/>
                </a:lnTo>
                <a:lnTo>
                  <a:pt x="1730" y="31"/>
                </a:lnTo>
                <a:lnTo>
                  <a:pt x="1730" y="29"/>
                </a:lnTo>
                <a:lnTo>
                  <a:pt x="1732" y="29"/>
                </a:lnTo>
                <a:lnTo>
                  <a:pt x="1733" y="30"/>
                </a:lnTo>
                <a:lnTo>
                  <a:pt x="1734" y="30"/>
                </a:lnTo>
                <a:lnTo>
                  <a:pt x="1734" y="27"/>
                </a:lnTo>
                <a:lnTo>
                  <a:pt x="1733" y="27"/>
                </a:lnTo>
                <a:lnTo>
                  <a:pt x="1733" y="18"/>
                </a:lnTo>
                <a:lnTo>
                  <a:pt x="1734" y="17"/>
                </a:lnTo>
                <a:lnTo>
                  <a:pt x="1736" y="15"/>
                </a:lnTo>
                <a:lnTo>
                  <a:pt x="1742" y="13"/>
                </a:lnTo>
                <a:lnTo>
                  <a:pt x="1745" y="13"/>
                </a:lnTo>
                <a:lnTo>
                  <a:pt x="1747" y="15"/>
                </a:lnTo>
                <a:lnTo>
                  <a:pt x="1748" y="15"/>
                </a:lnTo>
                <a:lnTo>
                  <a:pt x="1749" y="13"/>
                </a:lnTo>
                <a:lnTo>
                  <a:pt x="1751" y="13"/>
                </a:lnTo>
                <a:lnTo>
                  <a:pt x="1751" y="15"/>
                </a:lnTo>
                <a:lnTo>
                  <a:pt x="1752" y="17"/>
                </a:lnTo>
                <a:lnTo>
                  <a:pt x="1759" y="18"/>
                </a:lnTo>
                <a:lnTo>
                  <a:pt x="1762" y="21"/>
                </a:lnTo>
                <a:lnTo>
                  <a:pt x="1778" y="25"/>
                </a:lnTo>
                <a:lnTo>
                  <a:pt x="1784" y="26"/>
                </a:lnTo>
                <a:lnTo>
                  <a:pt x="1784" y="1480"/>
                </a:lnTo>
                <a:lnTo>
                  <a:pt x="1783" y="1480"/>
                </a:lnTo>
                <a:lnTo>
                  <a:pt x="1782" y="1479"/>
                </a:lnTo>
                <a:lnTo>
                  <a:pt x="1780" y="1479"/>
                </a:lnTo>
                <a:lnTo>
                  <a:pt x="1780" y="1475"/>
                </a:lnTo>
                <a:lnTo>
                  <a:pt x="1778" y="1475"/>
                </a:lnTo>
                <a:lnTo>
                  <a:pt x="1778" y="1476"/>
                </a:lnTo>
                <a:lnTo>
                  <a:pt x="1777" y="1476"/>
                </a:lnTo>
                <a:lnTo>
                  <a:pt x="1776" y="1475"/>
                </a:lnTo>
                <a:lnTo>
                  <a:pt x="1772" y="1475"/>
                </a:lnTo>
                <a:lnTo>
                  <a:pt x="1772" y="1477"/>
                </a:lnTo>
                <a:lnTo>
                  <a:pt x="1771" y="1477"/>
                </a:lnTo>
                <a:lnTo>
                  <a:pt x="1771" y="1479"/>
                </a:lnTo>
                <a:lnTo>
                  <a:pt x="1770" y="1479"/>
                </a:lnTo>
                <a:lnTo>
                  <a:pt x="1768" y="1477"/>
                </a:lnTo>
                <a:lnTo>
                  <a:pt x="1768" y="1475"/>
                </a:lnTo>
                <a:lnTo>
                  <a:pt x="1766" y="1475"/>
                </a:lnTo>
                <a:lnTo>
                  <a:pt x="1765" y="1474"/>
                </a:lnTo>
                <a:lnTo>
                  <a:pt x="1764" y="1471"/>
                </a:lnTo>
                <a:lnTo>
                  <a:pt x="1760" y="1470"/>
                </a:lnTo>
                <a:lnTo>
                  <a:pt x="1759" y="1470"/>
                </a:lnTo>
                <a:lnTo>
                  <a:pt x="1758" y="1471"/>
                </a:lnTo>
                <a:lnTo>
                  <a:pt x="1758" y="1473"/>
                </a:lnTo>
                <a:lnTo>
                  <a:pt x="1757" y="1474"/>
                </a:lnTo>
                <a:lnTo>
                  <a:pt x="1754" y="1474"/>
                </a:lnTo>
                <a:lnTo>
                  <a:pt x="1754" y="1475"/>
                </a:lnTo>
                <a:lnTo>
                  <a:pt x="1755" y="1477"/>
                </a:lnTo>
                <a:lnTo>
                  <a:pt x="1755" y="1480"/>
                </a:lnTo>
                <a:lnTo>
                  <a:pt x="1754" y="1481"/>
                </a:lnTo>
                <a:lnTo>
                  <a:pt x="1754" y="1482"/>
                </a:lnTo>
                <a:lnTo>
                  <a:pt x="1753" y="1481"/>
                </a:lnTo>
                <a:lnTo>
                  <a:pt x="1753" y="1480"/>
                </a:lnTo>
                <a:lnTo>
                  <a:pt x="1752" y="1480"/>
                </a:lnTo>
                <a:lnTo>
                  <a:pt x="1752" y="1479"/>
                </a:lnTo>
                <a:lnTo>
                  <a:pt x="1746" y="1479"/>
                </a:lnTo>
                <a:lnTo>
                  <a:pt x="1745" y="1480"/>
                </a:lnTo>
                <a:lnTo>
                  <a:pt x="1745" y="1483"/>
                </a:lnTo>
                <a:lnTo>
                  <a:pt x="1749" y="1483"/>
                </a:lnTo>
                <a:lnTo>
                  <a:pt x="1749" y="1485"/>
                </a:lnTo>
                <a:lnTo>
                  <a:pt x="1751" y="1486"/>
                </a:lnTo>
                <a:lnTo>
                  <a:pt x="1752" y="1486"/>
                </a:lnTo>
                <a:lnTo>
                  <a:pt x="1754" y="1488"/>
                </a:lnTo>
                <a:lnTo>
                  <a:pt x="1754" y="1489"/>
                </a:lnTo>
                <a:lnTo>
                  <a:pt x="1751" y="1493"/>
                </a:lnTo>
                <a:lnTo>
                  <a:pt x="1751" y="1495"/>
                </a:lnTo>
                <a:lnTo>
                  <a:pt x="1748" y="1495"/>
                </a:lnTo>
                <a:lnTo>
                  <a:pt x="1748" y="1496"/>
                </a:lnTo>
                <a:lnTo>
                  <a:pt x="1747" y="1496"/>
                </a:lnTo>
                <a:lnTo>
                  <a:pt x="1747" y="1500"/>
                </a:lnTo>
                <a:lnTo>
                  <a:pt x="1746" y="1501"/>
                </a:lnTo>
                <a:lnTo>
                  <a:pt x="1741" y="1499"/>
                </a:lnTo>
                <a:lnTo>
                  <a:pt x="1741" y="1501"/>
                </a:lnTo>
                <a:lnTo>
                  <a:pt x="1742" y="1502"/>
                </a:lnTo>
                <a:lnTo>
                  <a:pt x="1747" y="1502"/>
                </a:lnTo>
                <a:lnTo>
                  <a:pt x="1749" y="1504"/>
                </a:lnTo>
                <a:lnTo>
                  <a:pt x="1751" y="1505"/>
                </a:lnTo>
                <a:lnTo>
                  <a:pt x="1751" y="1506"/>
                </a:lnTo>
                <a:lnTo>
                  <a:pt x="1752" y="1506"/>
                </a:lnTo>
                <a:lnTo>
                  <a:pt x="1758" y="1507"/>
                </a:lnTo>
                <a:lnTo>
                  <a:pt x="1759" y="1507"/>
                </a:lnTo>
                <a:lnTo>
                  <a:pt x="1761" y="1505"/>
                </a:lnTo>
                <a:lnTo>
                  <a:pt x="1767" y="1505"/>
                </a:lnTo>
                <a:lnTo>
                  <a:pt x="1768" y="1506"/>
                </a:lnTo>
                <a:lnTo>
                  <a:pt x="1768" y="1510"/>
                </a:lnTo>
                <a:lnTo>
                  <a:pt x="1762" y="1516"/>
                </a:lnTo>
                <a:lnTo>
                  <a:pt x="1761" y="1516"/>
                </a:lnTo>
                <a:lnTo>
                  <a:pt x="1759" y="1513"/>
                </a:lnTo>
                <a:lnTo>
                  <a:pt x="1759" y="1511"/>
                </a:lnTo>
                <a:lnTo>
                  <a:pt x="1758" y="1511"/>
                </a:lnTo>
                <a:lnTo>
                  <a:pt x="1757" y="1510"/>
                </a:lnTo>
                <a:lnTo>
                  <a:pt x="1755" y="1511"/>
                </a:lnTo>
                <a:lnTo>
                  <a:pt x="1754" y="1513"/>
                </a:lnTo>
                <a:lnTo>
                  <a:pt x="1754" y="1516"/>
                </a:lnTo>
                <a:lnTo>
                  <a:pt x="1752" y="1518"/>
                </a:lnTo>
                <a:lnTo>
                  <a:pt x="1752" y="1523"/>
                </a:lnTo>
                <a:lnTo>
                  <a:pt x="1753" y="1525"/>
                </a:lnTo>
                <a:lnTo>
                  <a:pt x="1754" y="1526"/>
                </a:lnTo>
                <a:lnTo>
                  <a:pt x="1760" y="1526"/>
                </a:lnTo>
                <a:lnTo>
                  <a:pt x="1761" y="1528"/>
                </a:lnTo>
                <a:lnTo>
                  <a:pt x="1766" y="1531"/>
                </a:lnTo>
                <a:lnTo>
                  <a:pt x="1768" y="1531"/>
                </a:lnTo>
                <a:lnTo>
                  <a:pt x="1773" y="1529"/>
                </a:lnTo>
                <a:lnTo>
                  <a:pt x="1778" y="1533"/>
                </a:lnTo>
                <a:lnTo>
                  <a:pt x="1780" y="1535"/>
                </a:lnTo>
                <a:lnTo>
                  <a:pt x="1784" y="1536"/>
                </a:lnTo>
                <a:lnTo>
                  <a:pt x="1784" y="1550"/>
                </a:lnTo>
                <a:lnTo>
                  <a:pt x="1782" y="1548"/>
                </a:lnTo>
                <a:lnTo>
                  <a:pt x="1773" y="1548"/>
                </a:lnTo>
                <a:lnTo>
                  <a:pt x="1772" y="1549"/>
                </a:lnTo>
                <a:lnTo>
                  <a:pt x="1770" y="1549"/>
                </a:lnTo>
                <a:lnTo>
                  <a:pt x="1765" y="1544"/>
                </a:lnTo>
                <a:lnTo>
                  <a:pt x="1764" y="1544"/>
                </a:lnTo>
                <a:lnTo>
                  <a:pt x="1761" y="1547"/>
                </a:lnTo>
                <a:lnTo>
                  <a:pt x="1757" y="1547"/>
                </a:lnTo>
                <a:lnTo>
                  <a:pt x="1755" y="1545"/>
                </a:lnTo>
                <a:lnTo>
                  <a:pt x="1752" y="1545"/>
                </a:lnTo>
                <a:lnTo>
                  <a:pt x="1749" y="1548"/>
                </a:lnTo>
                <a:lnTo>
                  <a:pt x="1745" y="1548"/>
                </a:lnTo>
                <a:lnTo>
                  <a:pt x="1748" y="1551"/>
                </a:lnTo>
                <a:lnTo>
                  <a:pt x="1741" y="1559"/>
                </a:lnTo>
                <a:lnTo>
                  <a:pt x="1740" y="1559"/>
                </a:lnTo>
                <a:lnTo>
                  <a:pt x="1739" y="1561"/>
                </a:lnTo>
                <a:lnTo>
                  <a:pt x="1739" y="1562"/>
                </a:lnTo>
                <a:lnTo>
                  <a:pt x="1736" y="1562"/>
                </a:lnTo>
                <a:lnTo>
                  <a:pt x="1735" y="1563"/>
                </a:lnTo>
                <a:lnTo>
                  <a:pt x="1733" y="1565"/>
                </a:lnTo>
                <a:lnTo>
                  <a:pt x="1732" y="1567"/>
                </a:lnTo>
                <a:lnTo>
                  <a:pt x="1732" y="1569"/>
                </a:lnTo>
                <a:lnTo>
                  <a:pt x="1733" y="1569"/>
                </a:lnTo>
                <a:lnTo>
                  <a:pt x="1733" y="1571"/>
                </a:lnTo>
                <a:lnTo>
                  <a:pt x="1734" y="1572"/>
                </a:lnTo>
                <a:lnTo>
                  <a:pt x="1737" y="1572"/>
                </a:lnTo>
                <a:lnTo>
                  <a:pt x="1737" y="1579"/>
                </a:lnTo>
                <a:lnTo>
                  <a:pt x="1739" y="1580"/>
                </a:lnTo>
                <a:lnTo>
                  <a:pt x="1742" y="1581"/>
                </a:lnTo>
                <a:lnTo>
                  <a:pt x="1743" y="1581"/>
                </a:lnTo>
                <a:lnTo>
                  <a:pt x="1743" y="1587"/>
                </a:lnTo>
                <a:lnTo>
                  <a:pt x="1745" y="1588"/>
                </a:lnTo>
                <a:lnTo>
                  <a:pt x="1747" y="1592"/>
                </a:lnTo>
                <a:lnTo>
                  <a:pt x="1741" y="1598"/>
                </a:lnTo>
                <a:lnTo>
                  <a:pt x="1740" y="1598"/>
                </a:lnTo>
                <a:lnTo>
                  <a:pt x="1736" y="1600"/>
                </a:lnTo>
                <a:lnTo>
                  <a:pt x="1735" y="1600"/>
                </a:lnTo>
                <a:lnTo>
                  <a:pt x="1734" y="1604"/>
                </a:lnTo>
                <a:lnTo>
                  <a:pt x="1732" y="1605"/>
                </a:lnTo>
                <a:lnTo>
                  <a:pt x="1724" y="1605"/>
                </a:lnTo>
                <a:lnTo>
                  <a:pt x="1721" y="1606"/>
                </a:lnTo>
                <a:lnTo>
                  <a:pt x="1718" y="1609"/>
                </a:lnTo>
                <a:lnTo>
                  <a:pt x="1712" y="1616"/>
                </a:lnTo>
                <a:lnTo>
                  <a:pt x="1704" y="1616"/>
                </a:lnTo>
                <a:lnTo>
                  <a:pt x="1703" y="1617"/>
                </a:lnTo>
                <a:lnTo>
                  <a:pt x="1703" y="1619"/>
                </a:lnTo>
                <a:lnTo>
                  <a:pt x="1705" y="1624"/>
                </a:lnTo>
                <a:lnTo>
                  <a:pt x="1706" y="1624"/>
                </a:lnTo>
                <a:lnTo>
                  <a:pt x="1708" y="1625"/>
                </a:lnTo>
                <a:lnTo>
                  <a:pt x="1709" y="1624"/>
                </a:lnTo>
                <a:lnTo>
                  <a:pt x="1709" y="1623"/>
                </a:lnTo>
                <a:lnTo>
                  <a:pt x="1711" y="1623"/>
                </a:lnTo>
                <a:lnTo>
                  <a:pt x="1715" y="1627"/>
                </a:lnTo>
                <a:lnTo>
                  <a:pt x="1722" y="1628"/>
                </a:lnTo>
                <a:lnTo>
                  <a:pt x="1723" y="1630"/>
                </a:lnTo>
                <a:lnTo>
                  <a:pt x="1723" y="1631"/>
                </a:lnTo>
                <a:lnTo>
                  <a:pt x="1722" y="1631"/>
                </a:lnTo>
                <a:lnTo>
                  <a:pt x="1722" y="1634"/>
                </a:lnTo>
                <a:lnTo>
                  <a:pt x="1721" y="1634"/>
                </a:lnTo>
                <a:lnTo>
                  <a:pt x="1718" y="1636"/>
                </a:lnTo>
                <a:lnTo>
                  <a:pt x="1718" y="1637"/>
                </a:lnTo>
                <a:lnTo>
                  <a:pt x="1720" y="1639"/>
                </a:lnTo>
                <a:lnTo>
                  <a:pt x="1724" y="1639"/>
                </a:lnTo>
                <a:lnTo>
                  <a:pt x="1724" y="1641"/>
                </a:lnTo>
                <a:lnTo>
                  <a:pt x="1726" y="1641"/>
                </a:lnTo>
                <a:lnTo>
                  <a:pt x="1742" y="1642"/>
                </a:lnTo>
                <a:lnTo>
                  <a:pt x="1742" y="1645"/>
                </a:lnTo>
                <a:lnTo>
                  <a:pt x="1743" y="1646"/>
                </a:lnTo>
                <a:lnTo>
                  <a:pt x="1743" y="1647"/>
                </a:lnTo>
                <a:lnTo>
                  <a:pt x="1747" y="1651"/>
                </a:lnTo>
                <a:lnTo>
                  <a:pt x="1749" y="1651"/>
                </a:lnTo>
                <a:lnTo>
                  <a:pt x="1752" y="1652"/>
                </a:lnTo>
                <a:lnTo>
                  <a:pt x="1758" y="1652"/>
                </a:lnTo>
                <a:lnTo>
                  <a:pt x="1759" y="1653"/>
                </a:lnTo>
                <a:lnTo>
                  <a:pt x="1759" y="1652"/>
                </a:lnTo>
                <a:lnTo>
                  <a:pt x="1760" y="1652"/>
                </a:lnTo>
                <a:lnTo>
                  <a:pt x="1762" y="1653"/>
                </a:lnTo>
                <a:lnTo>
                  <a:pt x="1764" y="1654"/>
                </a:lnTo>
                <a:lnTo>
                  <a:pt x="1766" y="1654"/>
                </a:lnTo>
                <a:lnTo>
                  <a:pt x="1766" y="1655"/>
                </a:lnTo>
                <a:lnTo>
                  <a:pt x="1768" y="1661"/>
                </a:lnTo>
                <a:lnTo>
                  <a:pt x="1771" y="1664"/>
                </a:lnTo>
                <a:lnTo>
                  <a:pt x="1773" y="1665"/>
                </a:lnTo>
                <a:lnTo>
                  <a:pt x="1773" y="1666"/>
                </a:lnTo>
                <a:lnTo>
                  <a:pt x="1771" y="1666"/>
                </a:lnTo>
                <a:lnTo>
                  <a:pt x="1768" y="1668"/>
                </a:lnTo>
                <a:lnTo>
                  <a:pt x="1767" y="1672"/>
                </a:lnTo>
                <a:lnTo>
                  <a:pt x="1765" y="1683"/>
                </a:lnTo>
                <a:lnTo>
                  <a:pt x="1765" y="1685"/>
                </a:lnTo>
                <a:lnTo>
                  <a:pt x="1764" y="1691"/>
                </a:lnTo>
                <a:lnTo>
                  <a:pt x="1764" y="1694"/>
                </a:lnTo>
                <a:lnTo>
                  <a:pt x="1762" y="1696"/>
                </a:lnTo>
                <a:lnTo>
                  <a:pt x="1761" y="1697"/>
                </a:lnTo>
                <a:lnTo>
                  <a:pt x="1749" y="1702"/>
                </a:lnTo>
                <a:lnTo>
                  <a:pt x="1737" y="1705"/>
                </a:lnTo>
                <a:lnTo>
                  <a:pt x="1734" y="1705"/>
                </a:lnTo>
                <a:lnTo>
                  <a:pt x="1716" y="1704"/>
                </a:lnTo>
                <a:lnTo>
                  <a:pt x="1714" y="1703"/>
                </a:lnTo>
                <a:lnTo>
                  <a:pt x="1712" y="1702"/>
                </a:lnTo>
                <a:lnTo>
                  <a:pt x="1711" y="1700"/>
                </a:lnTo>
                <a:lnTo>
                  <a:pt x="1710" y="1698"/>
                </a:lnTo>
                <a:lnTo>
                  <a:pt x="1710" y="1696"/>
                </a:lnTo>
                <a:lnTo>
                  <a:pt x="1709" y="1694"/>
                </a:lnTo>
                <a:lnTo>
                  <a:pt x="1706" y="1692"/>
                </a:lnTo>
                <a:lnTo>
                  <a:pt x="1704" y="1692"/>
                </a:lnTo>
                <a:lnTo>
                  <a:pt x="1703" y="1694"/>
                </a:lnTo>
                <a:lnTo>
                  <a:pt x="1702" y="1694"/>
                </a:lnTo>
                <a:lnTo>
                  <a:pt x="1702" y="1695"/>
                </a:lnTo>
                <a:lnTo>
                  <a:pt x="1701" y="1698"/>
                </a:lnTo>
                <a:lnTo>
                  <a:pt x="1699" y="1700"/>
                </a:lnTo>
                <a:lnTo>
                  <a:pt x="1699" y="1701"/>
                </a:lnTo>
                <a:lnTo>
                  <a:pt x="1701" y="1703"/>
                </a:lnTo>
                <a:lnTo>
                  <a:pt x="1699" y="1704"/>
                </a:lnTo>
                <a:lnTo>
                  <a:pt x="1699" y="1705"/>
                </a:lnTo>
                <a:lnTo>
                  <a:pt x="1697" y="1708"/>
                </a:lnTo>
                <a:lnTo>
                  <a:pt x="1696" y="1711"/>
                </a:lnTo>
                <a:lnTo>
                  <a:pt x="1693" y="1714"/>
                </a:lnTo>
                <a:lnTo>
                  <a:pt x="1690" y="1714"/>
                </a:lnTo>
                <a:lnTo>
                  <a:pt x="1687" y="1715"/>
                </a:lnTo>
                <a:lnTo>
                  <a:pt x="1685" y="1717"/>
                </a:lnTo>
                <a:lnTo>
                  <a:pt x="1684" y="1717"/>
                </a:lnTo>
                <a:lnTo>
                  <a:pt x="1681" y="1716"/>
                </a:lnTo>
                <a:lnTo>
                  <a:pt x="1680" y="1715"/>
                </a:lnTo>
                <a:lnTo>
                  <a:pt x="1680" y="1714"/>
                </a:lnTo>
                <a:lnTo>
                  <a:pt x="1681" y="1713"/>
                </a:lnTo>
                <a:lnTo>
                  <a:pt x="1685" y="1713"/>
                </a:lnTo>
                <a:lnTo>
                  <a:pt x="1685" y="1710"/>
                </a:lnTo>
                <a:lnTo>
                  <a:pt x="1683" y="1709"/>
                </a:lnTo>
                <a:lnTo>
                  <a:pt x="1681" y="1709"/>
                </a:lnTo>
                <a:lnTo>
                  <a:pt x="1680" y="1708"/>
                </a:lnTo>
                <a:lnTo>
                  <a:pt x="1678" y="1708"/>
                </a:lnTo>
                <a:lnTo>
                  <a:pt x="1673" y="1709"/>
                </a:lnTo>
                <a:lnTo>
                  <a:pt x="1671" y="1707"/>
                </a:lnTo>
                <a:lnTo>
                  <a:pt x="1671" y="1705"/>
                </a:lnTo>
                <a:lnTo>
                  <a:pt x="1670" y="1705"/>
                </a:lnTo>
                <a:lnTo>
                  <a:pt x="1658" y="1704"/>
                </a:lnTo>
                <a:lnTo>
                  <a:pt x="1656" y="1703"/>
                </a:lnTo>
                <a:lnTo>
                  <a:pt x="1653" y="1701"/>
                </a:lnTo>
                <a:lnTo>
                  <a:pt x="1652" y="1700"/>
                </a:lnTo>
                <a:lnTo>
                  <a:pt x="1652" y="1697"/>
                </a:lnTo>
                <a:lnTo>
                  <a:pt x="1647" y="1697"/>
                </a:lnTo>
                <a:lnTo>
                  <a:pt x="1647" y="1696"/>
                </a:lnTo>
                <a:lnTo>
                  <a:pt x="1646" y="1695"/>
                </a:lnTo>
                <a:lnTo>
                  <a:pt x="1647" y="1692"/>
                </a:lnTo>
                <a:lnTo>
                  <a:pt x="1643" y="1692"/>
                </a:lnTo>
                <a:lnTo>
                  <a:pt x="1642" y="1691"/>
                </a:lnTo>
                <a:lnTo>
                  <a:pt x="1642" y="1688"/>
                </a:lnTo>
                <a:lnTo>
                  <a:pt x="1643" y="1688"/>
                </a:lnTo>
                <a:lnTo>
                  <a:pt x="1643" y="1686"/>
                </a:lnTo>
                <a:lnTo>
                  <a:pt x="1644" y="1685"/>
                </a:lnTo>
                <a:lnTo>
                  <a:pt x="1644" y="1682"/>
                </a:lnTo>
                <a:lnTo>
                  <a:pt x="1643" y="1679"/>
                </a:lnTo>
                <a:lnTo>
                  <a:pt x="1641" y="1679"/>
                </a:lnTo>
                <a:lnTo>
                  <a:pt x="1636" y="1678"/>
                </a:lnTo>
                <a:lnTo>
                  <a:pt x="1635" y="1678"/>
                </a:lnTo>
                <a:lnTo>
                  <a:pt x="1635" y="1676"/>
                </a:lnTo>
                <a:lnTo>
                  <a:pt x="1633" y="1673"/>
                </a:lnTo>
                <a:lnTo>
                  <a:pt x="1630" y="1673"/>
                </a:lnTo>
                <a:lnTo>
                  <a:pt x="1628" y="1676"/>
                </a:lnTo>
                <a:lnTo>
                  <a:pt x="1628" y="1677"/>
                </a:lnTo>
                <a:lnTo>
                  <a:pt x="1627" y="1678"/>
                </a:lnTo>
                <a:lnTo>
                  <a:pt x="1627" y="1679"/>
                </a:lnTo>
                <a:lnTo>
                  <a:pt x="1625" y="1679"/>
                </a:lnTo>
                <a:lnTo>
                  <a:pt x="1624" y="1678"/>
                </a:lnTo>
                <a:lnTo>
                  <a:pt x="1623" y="1678"/>
                </a:lnTo>
                <a:lnTo>
                  <a:pt x="1623" y="1677"/>
                </a:lnTo>
                <a:lnTo>
                  <a:pt x="1618" y="1677"/>
                </a:lnTo>
                <a:lnTo>
                  <a:pt x="1617" y="1678"/>
                </a:lnTo>
                <a:lnTo>
                  <a:pt x="1616" y="1677"/>
                </a:lnTo>
                <a:lnTo>
                  <a:pt x="1616" y="1676"/>
                </a:lnTo>
                <a:lnTo>
                  <a:pt x="1612" y="1676"/>
                </a:lnTo>
                <a:lnTo>
                  <a:pt x="1610" y="1674"/>
                </a:lnTo>
                <a:lnTo>
                  <a:pt x="1609" y="1674"/>
                </a:lnTo>
                <a:lnTo>
                  <a:pt x="1609" y="1677"/>
                </a:lnTo>
                <a:lnTo>
                  <a:pt x="1608" y="1678"/>
                </a:lnTo>
                <a:lnTo>
                  <a:pt x="1608" y="1689"/>
                </a:lnTo>
                <a:lnTo>
                  <a:pt x="1606" y="1690"/>
                </a:lnTo>
                <a:lnTo>
                  <a:pt x="1602" y="1689"/>
                </a:lnTo>
                <a:lnTo>
                  <a:pt x="1599" y="1689"/>
                </a:lnTo>
                <a:lnTo>
                  <a:pt x="1599" y="1690"/>
                </a:lnTo>
                <a:lnTo>
                  <a:pt x="1598" y="1691"/>
                </a:lnTo>
                <a:lnTo>
                  <a:pt x="1598" y="1692"/>
                </a:lnTo>
                <a:lnTo>
                  <a:pt x="1594" y="1692"/>
                </a:lnTo>
                <a:lnTo>
                  <a:pt x="1592" y="1690"/>
                </a:lnTo>
                <a:lnTo>
                  <a:pt x="1591" y="1690"/>
                </a:lnTo>
                <a:lnTo>
                  <a:pt x="1591" y="1689"/>
                </a:lnTo>
                <a:lnTo>
                  <a:pt x="1590" y="1688"/>
                </a:lnTo>
                <a:lnTo>
                  <a:pt x="1590" y="1685"/>
                </a:lnTo>
                <a:lnTo>
                  <a:pt x="1588" y="1684"/>
                </a:lnTo>
                <a:lnTo>
                  <a:pt x="1588" y="1683"/>
                </a:lnTo>
                <a:lnTo>
                  <a:pt x="1587" y="1683"/>
                </a:lnTo>
                <a:lnTo>
                  <a:pt x="1586" y="1682"/>
                </a:lnTo>
                <a:lnTo>
                  <a:pt x="1585" y="1682"/>
                </a:lnTo>
                <a:lnTo>
                  <a:pt x="1585" y="1678"/>
                </a:lnTo>
                <a:lnTo>
                  <a:pt x="1584" y="1677"/>
                </a:lnTo>
                <a:lnTo>
                  <a:pt x="1584" y="1676"/>
                </a:lnTo>
                <a:lnTo>
                  <a:pt x="1583" y="1677"/>
                </a:lnTo>
                <a:lnTo>
                  <a:pt x="1578" y="1679"/>
                </a:lnTo>
                <a:lnTo>
                  <a:pt x="1574" y="1678"/>
                </a:lnTo>
                <a:lnTo>
                  <a:pt x="1573" y="1678"/>
                </a:lnTo>
                <a:lnTo>
                  <a:pt x="1572" y="1679"/>
                </a:lnTo>
                <a:lnTo>
                  <a:pt x="1569" y="1679"/>
                </a:lnTo>
                <a:lnTo>
                  <a:pt x="1567" y="1678"/>
                </a:lnTo>
                <a:lnTo>
                  <a:pt x="1563" y="1678"/>
                </a:lnTo>
                <a:lnTo>
                  <a:pt x="1563" y="1680"/>
                </a:lnTo>
                <a:lnTo>
                  <a:pt x="1565" y="1683"/>
                </a:lnTo>
                <a:lnTo>
                  <a:pt x="1565" y="1685"/>
                </a:lnTo>
                <a:lnTo>
                  <a:pt x="1563" y="1685"/>
                </a:lnTo>
                <a:lnTo>
                  <a:pt x="1561" y="1684"/>
                </a:lnTo>
                <a:lnTo>
                  <a:pt x="1560" y="1684"/>
                </a:lnTo>
                <a:lnTo>
                  <a:pt x="1556" y="1678"/>
                </a:lnTo>
                <a:lnTo>
                  <a:pt x="1555" y="1678"/>
                </a:lnTo>
                <a:lnTo>
                  <a:pt x="1553" y="1680"/>
                </a:lnTo>
                <a:lnTo>
                  <a:pt x="1553" y="1685"/>
                </a:lnTo>
                <a:lnTo>
                  <a:pt x="1550" y="1685"/>
                </a:lnTo>
                <a:lnTo>
                  <a:pt x="1549" y="1686"/>
                </a:lnTo>
                <a:lnTo>
                  <a:pt x="1549" y="1690"/>
                </a:lnTo>
                <a:lnTo>
                  <a:pt x="1548" y="1691"/>
                </a:lnTo>
                <a:lnTo>
                  <a:pt x="1546" y="1691"/>
                </a:lnTo>
                <a:lnTo>
                  <a:pt x="1542" y="1689"/>
                </a:lnTo>
                <a:lnTo>
                  <a:pt x="1541" y="1689"/>
                </a:lnTo>
                <a:lnTo>
                  <a:pt x="1541" y="1691"/>
                </a:lnTo>
                <a:lnTo>
                  <a:pt x="1538" y="1700"/>
                </a:lnTo>
                <a:lnTo>
                  <a:pt x="1538" y="1701"/>
                </a:lnTo>
                <a:lnTo>
                  <a:pt x="1531" y="1707"/>
                </a:lnTo>
                <a:lnTo>
                  <a:pt x="1525" y="1710"/>
                </a:lnTo>
                <a:lnTo>
                  <a:pt x="1522" y="1714"/>
                </a:lnTo>
                <a:lnTo>
                  <a:pt x="1521" y="1714"/>
                </a:lnTo>
                <a:lnTo>
                  <a:pt x="1518" y="1713"/>
                </a:lnTo>
                <a:lnTo>
                  <a:pt x="1517" y="1711"/>
                </a:lnTo>
                <a:lnTo>
                  <a:pt x="1517" y="1710"/>
                </a:lnTo>
                <a:lnTo>
                  <a:pt x="1515" y="1709"/>
                </a:lnTo>
                <a:lnTo>
                  <a:pt x="1513" y="1708"/>
                </a:lnTo>
                <a:lnTo>
                  <a:pt x="1513" y="1707"/>
                </a:lnTo>
                <a:lnTo>
                  <a:pt x="1512" y="1705"/>
                </a:lnTo>
                <a:lnTo>
                  <a:pt x="1507" y="1705"/>
                </a:lnTo>
                <a:lnTo>
                  <a:pt x="1507" y="1707"/>
                </a:lnTo>
                <a:lnTo>
                  <a:pt x="1506" y="1705"/>
                </a:lnTo>
                <a:lnTo>
                  <a:pt x="1505" y="1705"/>
                </a:lnTo>
                <a:lnTo>
                  <a:pt x="1496" y="1696"/>
                </a:lnTo>
                <a:lnTo>
                  <a:pt x="1496" y="1692"/>
                </a:lnTo>
                <a:lnTo>
                  <a:pt x="1494" y="1691"/>
                </a:lnTo>
                <a:lnTo>
                  <a:pt x="1488" y="1689"/>
                </a:lnTo>
                <a:lnTo>
                  <a:pt x="1485" y="1685"/>
                </a:lnTo>
                <a:lnTo>
                  <a:pt x="1481" y="1683"/>
                </a:lnTo>
                <a:lnTo>
                  <a:pt x="1480" y="1682"/>
                </a:lnTo>
                <a:lnTo>
                  <a:pt x="1479" y="1682"/>
                </a:lnTo>
                <a:lnTo>
                  <a:pt x="1478" y="1680"/>
                </a:lnTo>
                <a:lnTo>
                  <a:pt x="1478" y="1682"/>
                </a:lnTo>
                <a:lnTo>
                  <a:pt x="1474" y="1682"/>
                </a:lnTo>
                <a:lnTo>
                  <a:pt x="1473" y="1683"/>
                </a:lnTo>
                <a:lnTo>
                  <a:pt x="1473" y="1686"/>
                </a:lnTo>
                <a:lnTo>
                  <a:pt x="1472" y="1688"/>
                </a:lnTo>
                <a:lnTo>
                  <a:pt x="1473" y="1689"/>
                </a:lnTo>
                <a:lnTo>
                  <a:pt x="1475" y="1689"/>
                </a:lnTo>
                <a:lnTo>
                  <a:pt x="1478" y="1690"/>
                </a:lnTo>
                <a:lnTo>
                  <a:pt x="1478" y="1694"/>
                </a:lnTo>
                <a:lnTo>
                  <a:pt x="1476" y="1695"/>
                </a:lnTo>
                <a:lnTo>
                  <a:pt x="1476" y="1696"/>
                </a:lnTo>
                <a:lnTo>
                  <a:pt x="1478" y="1697"/>
                </a:lnTo>
                <a:lnTo>
                  <a:pt x="1478" y="1702"/>
                </a:lnTo>
                <a:lnTo>
                  <a:pt x="1479" y="1707"/>
                </a:lnTo>
                <a:lnTo>
                  <a:pt x="1479" y="1709"/>
                </a:lnTo>
                <a:lnTo>
                  <a:pt x="1478" y="1711"/>
                </a:lnTo>
                <a:lnTo>
                  <a:pt x="1475" y="1714"/>
                </a:lnTo>
                <a:lnTo>
                  <a:pt x="1473" y="1714"/>
                </a:lnTo>
                <a:lnTo>
                  <a:pt x="1472" y="1715"/>
                </a:lnTo>
                <a:lnTo>
                  <a:pt x="1470" y="1715"/>
                </a:lnTo>
                <a:lnTo>
                  <a:pt x="1467" y="1711"/>
                </a:lnTo>
                <a:lnTo>
                  <a:pt x="1467" y="1709"/>
                </a:lnTo>
                <a:lnTo>
                  <a:pt x="1466" y="1708"/>
                </a:lnTo>
                <a:lnTo>
                  <a:pt x="1467" y="1707"/>
                </a:lnTo>
                <a:lnTo>
                  <a:pt x="1467" y="1704"/>
                </a:lnTo>
                <a:lnTo>
                  <a:pt x="1468" y="1703"/>
                </a:lnTo>
                <a:lnTo>
                  <a:pt x="1468" y="1698"/>
                </a:lnTo>
                <a:lnTo>
                  <a:pt x="1470" y="1695"/>
                </a:lnTo>
                <a:lnTo>
                  <a:pt x="1470" y="1692"/>
                </a:lnTo>
                <a:lnTo>
                  <a:pt x="1468" y="1692"/>
                </a:lnTo>
                <a:lnTo>
                  <a:pt x="1468" y="1691"/>
                </a:lnTo>
                <a:lnTo>
                  <a:pt x="1467" y="1691"/>
                </a:lnTo>
                <a:lnTo>
                  <a:pt x="1467" y="1690"/>
                </a:lnTo>
                <a:lnTo>
                  <a:pt x="1463" y="1690"/>
                </a:lnTo>
                <a:lnTo>
                  <a:pt x="1462" y="1689"/>
                </a:lnTo>
                <a:lnTo>
                  <a:pt x="1461" y="1689"/>
                </a:lnTo>
                <a:lnTo>
                  <a:pt x="1461" y="1688"/>
                </a:lnTo>
                <a:lnTo>
                  <a:pt x="1459" y="1685"/>
                </a:lnTo>
                <a:lnTo>
                  <a:pt x="1457" y="1685"/>
                </a:lnTo>
                <a:lnTo>
                  <a:pt x="1456" y="1683"/>
                </a:lnTo>
                <a:lnTo>
                  <a:pt x="1456" y="1680"/>
                </a:lnTo>
                <a:lnTo>
                  <a:pt x="1455" y="1678"/>
                </a:lnTo>
                <a:lnTo>
                  <a:pt x="1455" y="1677"/>
                </a:lnTo>
                <a:lnTo>
                  <a:pt x="1454" y="1676"/>
                </a:lnTo>
                <a:lnTo>
                  <a:pt x="1451" y="1676"/>
                </a:lnTo>
                <a:lnTo>
                  <a:pt x="1451" y="1674"/>
                </a:lnTo>
                <a:lnTo>
                  <a:pt x="1450" y="1672"/>
                </a:lnTo>
                <a:lnTo>
                  <a:pt x="1449" y="1672"/>
                </a:lnTo>
                <a:lnTo>
                  <a:pt x="1447" y="1670"/>
                </a:lnTo>
                <a:lnTo>
                  <a:pt x="1444" y="1671"/>
                </a:lnTo>
                <a:lnTo>
                  <a:pt x="1436" y="1668"/>
                </a:lnTo>
                <a:lnTo>
                  <a:pt x="1436" y="1667"/>
                </a:lnTo>
                <a:lnTo>
                  <a:pt x="1435" y="1666"/>
                </a:lnTo>
                <a:lnTo>
                  <a:pt x="1435" y="1665"/>
                </a:lnTo>
                <a:lnTo>
                  <a:pt x="1432" y="1662"/>
                </a:lnTo>
                <a:lnTo>
                  <a:pt x="1434" y="1661"/>
                </a:lnTo>
                <a:lnTo>
                  <a:pt x="1434" y="1660"/>
                </a:lnTo>
                <a:lnTo>
                  <a:pt x="1432" y="1659"/>
                </a:lnTo>
                <a:lnTo>
                  <a:pt x="1434" y="1659"/>
                </a:lnTo>
                <a:lnTo>
                  <a:pt x="1434" y="1657"/>
                </a:lnTo>
                <a:lnTo>
                  <a:pt x="1431" y="1655"/>
                </a:lnTo>
                <a:lnTo>
                  <a:pt x="1428" y="1653"/>
                </a:lnTo>
                <a:lnTo>
                  <a:pt x="1426" y="1653"/>
                </a:lnTo>
                <a:lnTo>
                  <a:pt x="1425" y="1651"/>
                </a:lnTo>
                <a:lnTo>
                  <a:pt x="1424" y="1649"/>
                </a:lnTo>
                <a:lnTo>
                  <a:pt x="1417" y="1649"/>
                </a:lnTo>
                <a:lnTo>
                  <a:pt x="1417" y="1648"/>
                </a:lnTo>
                <a:lnTo>
                  <a:pt x="1414" y="1648"/>
                </a:lnTo>
                <a:lnTo>
                  <a:pt x="1414" y="1651"/>
                </a:lnTo>
                <a:lnTo>
                  <a:pt x="1410" y="1649"/>
                </a:lnTo>
                <a:lnTo>
                  <a:pt x="1409" y="1651"/>
                </a:lnTo>
                <a:lnTo>
                  <a:pt x="1407" y="1651"/>
                </a:lnTo>
                <a:lnTo>
                  <a:pt x="1407" y="1652"/>
                </a:lnTo>
                <a:lnTo>
                  <a:pt x="1406" y="1652"/>
                </a:lnTo>
                <a:lnTo>
                  <a:pt x="1406" y="1653"/>
                </a:lnTo>
                <a:lnTo>
                  <a:pt x="1405" y="1652"/>
                </a:lnTo>
                <a:lnTo>
                  <a:pt x="1403" y="1652"/>
                </a:lnTo>
                <a:lnTo>
                  <a:pt x="1404" y="1651"/>
                </a:lnTo>
                <a:lnTo>
                  <a:pt x="1403" y="1649"/>
                </a:lnTo>
                <a:lnTo>
                  <a:pt x="1400" y="1651"/>
                </a:lnTo>
                <a:lnTo>
                  <a:pt x="1400" y="1649"/>
                </a:lnTo>
                <a:lnTo>
                  <a:pt x="1399" y="1649"/>
                </a:lnTo>
                <a:lnTo>
                  <a:pt x="1399" y="1648"/>
                </a:lnTo>
                <a:lnTo>
                  <a:pt x="1398" y="1649"/>
                </a:lnTo>
                <a:lnTo>
                  <a:pt x="1398" y="1651"/>
                </a:lnTo>
                <a:lnTo>
                  <a:pt x="1395" y="1651"/>
                </a:lnTo>
                <a:lnTo>
                  <a:pt x="1395" y="1652"/>
                </a:lnTo>
                <a:lnTo>
                  <a:pt x="1388" y="1652"/>
                </a:lnTo>
                <a:lnTo>
                  <a:pt x="1387" y="1651"/>
                </a:lnTo>
                <a:lnTo>
                  <a:pt x="1387" y="1649"/>
                </a:lnTo>
                <a:lnTo>
                  <a:pt x="1386" y="1649"/>
                </a:lnTo>
                <a:lnTo>
                  <a:pt x="1386" y="1648"/>
                </a:lnTo>
                <a:lnTo>
                  <a:pt x="1385" y="1643"/>
                </a:lnTo>
                <a:lnTo>
                  <a:pt x="1381" y="1636"/>
                </a:lnTo>
                <a:lnTo>
                  <a:pt x="1381" y="1634"/>
                </a:lnTo>
                <a:lnTo>
                  <a:pt x="1380" y="1631"/>
                </a:lnTo>
                <a:lnTo>
                  <a:pt x="1379" y="1630"/>
                </a:lnTo>
                <a:lnTo>
                  <a:pt x="1379" y="1631"/>
                </a:lnTo>
                <a:lnTo>
                  <a:pt x="1376" y="1634"/>
                </a:lnTo>
                <a:lnTo>
                  <a:pt x="1373" y="1634"/>
                </a:lnTo>
                <a:lnTo>
                  <a:pt x="1372" y="1635"/>
                </a:lnTo>
                <a:lnTo>
                  <a:pt x="1370" y="1637"/>
                </a:lnTo>
                <a:lnTo>
                  <a:pt x="1369" y="1639"/>
                </a:lnTo>
                <a:lnTo>
                  <a:pt x="1364" y="1639"/>
                </a:lnTo>
                <a:lnTo>
                  <a:pt x="1364" y="1637"/>
                </a:lnTo>
                <a:lnTo>
                  <a:pt x="1361" y="1637"/>
                </a:lnTo>
                <a:lnTo>
                  <a:pt x="1358" y="1640"/>
                </a:lnTo>
                <a:lnTo>
                  <a:pt x="1356" y="1643"/>
                </a:lnTo>
                <a:lnTo>
                  <a:pt x="1356" y="1645"/>
                </a:lnTo>
                <a:lnTo>
                  <a:pt x="1357" y="1647"/>
                </a:lnTo>
                <a:lnTo>
                  <a:pt x="1357" y="1649"/>
                </a:lnTo>
                <a:lnTo>
                  <a:pt x="1352" y="1652"/>
                </a:lnTo>
                <a:lnTo>
                  <a:pt x="1351" y="1653"/>
                </a:lnTo>
                <a:lnTo>
                  <a:pt x="1350" y="1651"/>
                </a:lnTo>
                <a:lnTo>
                  <a:pt x="1350" y="1648"/>
                </a:lnTo>
                <a:lnTo>
                  <a:pt x="1349" y="1647"/>
                </a:lnTo>
                <a:lnTo>
                  <a:pt x="1347" y="1647"/>
                </a:lnTo>
                <a:lnTo>
                  <a:pt x="1347" y="1648"/>
                </a:lnTo>
                <a:lnTo>
                  <a:pt x="1345" y="1649"/>
                </a:lnTo>
                <a:lnTo>
                  <a:pt x="1343" y="1651"/>
                </a:lnTo>
                <a:lnTo>
                  <a:pt x="1339" y="1652"/>
                </a:lnTo>
                <a:lnTo>
                  <a:pt x="1335" y="1649"/>
                </a:lnTo>
                <a:lnTo>
                  <a:pt x="1335" y="1648"/>
                </a:lnTo>
                <a:lnTo>
                  <a:pt x="1333" y="1647"/>
                </a:lnTo>
                <a:lnTo>
                  <a:pt x="1333" y="1646"/>
                </a:lnTo>
                <a:lnTo>
                  <a:pt x="1338" y="1646"/>
                </a:lnTo>
                <a:lnTo>
                  <a:pt x="1339" y="1645"/>
                </a:lnTo>
                <a:lnTo>
                  <a:pt x="1339" y="1640"/>
                </a:lnTo>
                <a:lnTo>
                  <a:pt x="1336" y="1640"/>
                </a:lnTo>
                <a:lnTo>
                  <a:pt x="1336" y="1639"/>
                </a:lnTo>
                <a:lnTo>
                  <a:pt x="1333" y="1636"/>
                </a:lnTo>
                <a:lnTo>
                  <a:pt x="1332" y="1637"/>
                </a:lnTo>
                <a:lnTo>
                  <a:pt x="1320" y="1637"/>
                </a:lnTo>
                <a:lnTo>
                  <a:pt x="1319" y="1636"/>
                </a:lnTo>
                <a:lnTo>
                  <a:pt x="1319" y="1635"/>
                </a:lnTo>
                <a:lnTo>
                  <a:pt x="1318" y="1634"/>
                </a:lnTo>
                <a:lnTo>
                  <a:pt x="1318" y="1633"/>
                </a:lnTo>
                <a:lnTo>
                  <a:pt x="1317" y="1633"/>
                </a:lnTo>
                <a:lnTo>
                  <a:pt x="1316" y="1631"/>
                </a:lnTo>
                <a:lnTo>
                  <a:pt x="1314" y="1631"/>
                </a:lnTo>
                <a:lnTo>
                  <a:pt x="1313" y="1633"/>
                </a:lnTo>
                <a:lnTo>
                  <a:pt x="1313" y="1635"/>
                </a:lnTo>
                <a:lnTo>
                  <a:pt x="1316" y="1641"/>
                </a:lnTo>
                <a:lnTo>
                  <a:pt x="1312" y="1645"/>
                </a:lnTo>
                <a:lnTo>
                  <a:pt x="1310" y="1645"/>
                </a:lnTo>
                <a:lnTo>
                  <a:pt x="1310" y="1642"/>
                </a:lnTo>
                <a:lnTo>
                  <a:pt x="1311" y="1642"/>
                </a:lnTo>
                <a:lnTo>
                  <a:pt x="1311" y="1641"/>
                </a:lnTo>
                <a:lnTo>
                  <a:pt x="1308" y="1641"/>
                </a:lnTo>
                <a:lnTo>
                  <a:pt x="1307" y="1640"/>
                </a:lnTo>
                <a:lnTo>
                  <a:pt x="1306" y="1640"/>
                </a:lnTo>
                <a:lnTo>
                  <a:pt x="1306" y="1643"/>
                </a:lnTo>
                <a:lnTo>
                  <a:pt x="1305" y="1643"/>
                </a:lnTo>
                <a:lnTo>
                  <a:pt x="1304" y="1645"/>
                </a:lnTo>
                <a:lnTo>
                  <a:pt x="1304" y="1652"/>
                </a:lnTo>
                <a:lnTo>
                  <a:pt x="1301" y="1652"/>
                </a:lnTo>
                <a:lnTo>
                  <a:pt x="1301" y="1654"/>
                </a:lnTo>
                <a:lnTo>
                  <a:pt x="1296" y="1654"/>
                </a:lnTo>
                <a:lnTo>
                  <a:pt x="1296" y="1655"/>
                </a:lnTo>
                <a:lnTo>
                  <a:pt x="1298" y="1655"/>
                </a:lnTo>
                <a:lnTo>
                  <a:pt x="1298" y="1657"/>
                </a:lnTo>
                <a:lnTo>
                  <a:pt x="1296" y="1657"/>
                </a:lnTo>
                <a:lnTo>
                  <a:pt x="1296" y="1658"/>
                </a:lnTo>
                <a:lnTo>
                  <a:pt x="1295" y="1658"/>
                </a:lnTo>
                <a:lnTo>
                  <a:pt x="1295" y="1659"/>
                </a:lnTo>
                <a:lnTo>
                  <a:pt x="1296" y="1660"/>
                </a:lnTo>
                <a:lnTo>
                  <a:pt x="1296" y="1661"/>
                </a:lnTo>
                <a:lnTo>
                  <a:pt x="1295" y="1662"/>
                </a:lnTo>
                <a:lnTo>
                  <a:pt x="1291" y="1665"/>
                </a:lnTo>
                <a:lnTo>
                  <a:pt x="1282" y="1666"/>
                </a:lnTo>
                <a:lnTo>
                  <a:pt x="1273" y="1676"/>
                </a:lnTo>
                <a:lnTo>
                  <a:pt x="1257" y="1676"/>
                </a:lnTo>
                <a:lnTo>
                  <a:pt x="1257" y="1677"/>
                </a:lnTo>
                <a:lnTo>
                  <a:pt x="1256" y="1678"/>
                </a:lnTo>
                <a:lnTo>
                  <a:pt x="1256" y="1682"/>
                </a:lnTo>
                <a:lnTo>
                  <a:pt x="1255" y="1683"/>
                </a:lnTo>
                <a:lnTo>
                  <a:pt x="1254" y="1685"/>
                </a:lnTo>
                <a:lnTo>
                  <a:pt x="1255" y="1686"/>
                </a:lnTo>
                <a:lnTo>
                  <a:pt x="1257" y="1691"/>
                </a:lnTo>
                <a:lnTo>
                  <a:pt x="1256" y="1694"/>
                </a:lnTo>
                <a:lnTo>
                  <a:pt x="1255" y="1695"/>
                </a:lnTo>
                <a:lnTo>
                  <a:pt x="1251" y="1696"/>
                </a:lnTo>
                <a:lnTo>
                  <a:pt x="1245" y="1697"/>
                </a:lnTo>
                <a:lnTo>
                  <a:pt x="1244" y="1700"/>
                </a:lnTo>
                <a:lnTo>
                  <a:pt x="1239" y="1704"/>
                </a:lnTo>
                <a:lnTo>
                  <a:pt x="1232" y="1710"/>
                </a:lnTo>
                <a:lnTo>
                  <a:pt x="1229" y="1710"/>
                </a:lnTo>
                <a:lnTo>
                  <a:pt x="1223" y="1707"/>
                </a:lnTo>
                <a:lnTo>
                  <a:pt x="1221" y="1707"/>
                </a:lnTo>
                <a:lnTo>
                  <a:pt x="1221" y="1708"/>
                </a:lnTo>
                <a:lnTo>
                  <a:pt x="1223" y="1709"/>
                </a:lnTo>
                <a:lnTo>
                  <a:pt x="1225" y="1709"/>
                </a:lnTo>
                <a:lnTo>
                  <a:pt x="1225" y="1711"/>
                </a:lnTo>
                <a:lnTo>
                  <a:pt x="1226" y="1713"/>
                </a:lnTo>
                <a:lnTo>
                  <a:pt x="1226" y="1727"/>
                </a:lnTo>
                <a:lnTo>
                  <a:pt x="1227" y="1732"/>
                </a:lnTo>
                <a:lnTo>
                  <a:pt x="1230" y="1735"/>
                </a:lnTo>
                <a:lnTo>
                  <a:pt x="1231" y="1738"/>
                </a:lnTo>
                <a:lnTo>
                  <a:pt x="1230" y="1740"/>
                </a:lnTo>
                <a:lnTo>
                  <a:pt x="1230" y="1741"/>
                </a:lnTo>
                <a:lnTo>
                  <a:pt x="1233" y="1743"/>
                </a:lnTo>
                <a:lnTo>
                  <a:pt x="1233" y="1744"/>
                </a:lnTo>
                <a:lnTo>
                  <a:pt x="1234" y="1745"/>
                </a:lnTo>
                <a:lnTo>
                  <a:pt x="1234" y="1748"/>
                </a:lnTo>
                <a:lnTo>
                  <a:pt x="1230" y="1753"/>
                </a:lnTo>
                <a:lnTo>
                  <a:pt x="1226" y="1756"/>
                </a:lnTo>
                <a:lnTo>
                  <a:pt x="1218" y="1759"/>
                </a:lnTo>
                <a:lnTo>
                  <a:pt x="1215" y="1762"/>
                </a:lnTo>
                <a:lnTo>
                  <a:pt x="1214" y="1762"/>
                </a:lnTo>
                <a:lnTo>
                  <a:pt x="1212" y="1760"/>
                </a:lnTo>
                <a:lnTo>
                  <a:pt x="1211" y="1758"/>
                </a:lnTo>
                <a:lnTo>
                  <a:pt x="1207" y="1758"/>
                </a:lnTo>
                <a:lnTo>
                  <a:pt x="1207" y="1757"/>
                </a:lnTo>
                <a:lnTo>
                  <a:pt x="1206" y="1756"/>
                </a:lnTo>
                <a:lnTo>
                  <a:pt x="1206" y="1754"/>
                </a:lnTo>
                <a:lnTo>
                  <a:pt x="1204" y="1752"/>
                </a:lnTo>
                <a:lnTo>
                  <a:pt x="1202" y="1750"/>
                </a:lnTo>
                <a:lnTo>
                  <a:pt x="1202" y="1747"/>
                </a:lnTo>
                <a:lnTo>
                  <a:pt x="1201" y="1746"/>
                </a:lnTo>
                <a:lnTo>
                  <a:pt x="1201" y="1744"/>
                </a:lnTo>
                <a:lnTo>
                  <a:pt x="1200" y="1743"/>
                </a:lnTo>
                <a:lnTo>
                  <a:pt x="1199" y="1740"/>
                </a:lnTo>
                <a:lnTo>
                  <a:pt x="1198" y="1740"/>
                </a:lnTo>
                <a:lnTo>
                  <a:pt x="1198" y="1738"/>
                </a:lnTo>
                <a:lnTo>
                  <a:pt x="1196" y="1738"/>
                </a:lnTo>
                <a:lnTo>
                  <a:pt x="1194" y="1733"/>
                </a:lnTo>
                <a:lnTo>
                  <a:pt x="1192" y="1732"/>
                </a:lnTo>
                <a:lnTo>
                  <a:pt x="1190" y="1731"/>
                </a:lnTo>
                <a:lnTo>
                  <a:pt x="1189" y="1728"/>
                </a:lnTo>
                <a:lnTo>
                  <a:pt x="1188" y="1728"/>
                </a:lnTo>
                <a:lnTo>
                  <a:pt x="1188" y="1727"/>
                </a:lnTo>
                <a:lnTo>
                  <a:pt x="1187" y="1727"/>
                </a:lnTo>
                <a:lnTo>
                  <a:pt x="1187" y="1726"/>
                </a:lnTo>
                <a:lnTo>
                  <a:pt x="1181" y="1720"/>
                </a:lnTo>
                <a:lnTo>
                  <a:pt x="1176" y="1720"/>
                </a:lnTo>
                <a:lnTo>
                  <a:pt x="1175" y="1722"/>
                </a:lnTo>
                <a:lnTo>
                  <a:pt x="1174" y="1723"/>
                </a:lnTo>
                <a:lnTo>
                  <a:pt x="1174" y="1725"/>
                </a:lnTo>
                <a:lnTo>
                  <a:pt x="1173" y="1727"/>
                </a:lnTo>
                <a:lnTo>
                  <a:pt x="1171" y="1728"/>
                </a:lnTo>
                <a:lnTo>
                  <a:pt x="1169" y="1729"/>
                </a:lnTo>
                <a:lnTo>
                  <a:pt x="1168" y="1729"/>
                </a:lnTo>
                <a:lnTo>
                  <a:pt x="1168" y="1733"/>
                </a:lnTo>
                <a:lnTo>
                  <a:pt x="1169" y="1733"/>
                </a:lnTo>
                <a:lnTo>
                  <a:pt x="1168" y="1734"/>
                </a:lnTo>
                <a:lnTo>
                  <a:pt x="1167" y="1737"/>
                </a:lnTo>
                <a:lnTo>
                  <a:pt x="1167" y="1739"/>
                </a:lnTo>
                <a:lnTo>
                  <a:pt x="1169" y="1743"/>
                </a:lnTo>
                <a:lnTo>
                  <a:pt x="1169" y="1745"/>
                </a:lnTo>
                <a:lnTo>
                  <a:pt x="1168" y="1746"/>
                </a:lnTo>
                <a:lnTo>
                  <a:pt x="1165" y="1750"/>
                </a:lnTo>
                <a:lnTo>
                  <a:pt x="1163" y="1752"/>
                </a:lnTo>
                <a:lnTo>
                  <a:pt x="1151" y="1758"/>
                </a:lnTo>
                <a:lnTo>
                  <a:pt x="1151" y="1760"/>
                </a:lnTo>
                <a:lnTo>
                  <a:pt x="1147" y="1777"/>
                </a:lnTo>
                <a:lnTo>
                  <a:pt x="1145" y="1793"/>
                </a:lnTo>
                <a:lnTo>
                  <a:pt x="1147" y="1794"/>
                </a:lnTo>
                <a:lnTo>
                  <a:pt x="1153" y="1799"/>
                </a:lnTo>
                <a:lnTo>
                  <a:pt x="1156" y="1801"/>
                </a:lnTo>
                <a:lnTo>
                  <a:pt x="1157" y="1805"/>
                </a:lnTo>
                <a:lnTo>
                  <a:pt x="1156" y="1808"/>
                </a:lnTo>
                <a:lnTo>
                  <a:pt x="1153" y="1811"/>
                </a:lnTo>
                <a:lnTo>
                  <a:pt x="1152" y="1814"/>
                </a:lnTo>
                <a:lnTo>
                  <a:pt x="1151" y="1814"/>
                </a:lnTo>
                <a:lnTo>
                  <a:pt x="1150" y="1815"/>
                </a:lnTo>
                <a:lnTo>
                  <a:pt x="1145" y="1818"/>
                </a:lnTo>
                <a:lnTo>
                  <a:pt x="1145" y="1820"/>
                </a:lnTo>
                <a:lnTo>
                  <a:pt x="1133" y="1851"/>
                </a:lnTo>
                <a:lnTo>
                  <a:pt x="1144" y="1856"/>
                </a:lnTo>
                <a:lnTo>
                  <a:pt x="1153" y="1860"/>
                </a:lnTo>
                <a:lnTo>
                  <a:pt x="1158" y="1861"/>
                </a:lnTo>
                <a:lnTo>
                  <a:pt x="1159" y="1861"/>
                </a:lnTo>
                <a:lnTo>
                  <a:pt x="1159" y="1863"/>
                </a:lnTo>
                <a:lnTo>
                  <a:pt x="1158" y="1864"/>
                </a:lnTo>
                <a:lnTo>
                  <a:pt x="1158" y="1866"/>
                </a:lnTo>
                <a:lnTo>
                  <a:pt x="1159" y="1867"/>
                </a:lnTo>
                <a:lnTo>
                  <a:pt x="1159" y="1873"/>
                </a:lnTo>
                <a:lnTo>
                  <a:pt x="1163" y="1873"/>
                </a:lnTo>
                <a:lnTo>
                  <a:pt x="1163" y="1874"/>
                </a:lnTo>
                <a:lnTo>
                  <a:pt x="1161" y="1876"/>
                </a:lnTo>
                <a:lnTo>
                  <a:pt x="1157" y="1877"/>
                </a:lnTo>
                <a:lnTo>
                  <a:pt x="1157" y="1880"/>
                </a:lnTo>
                <a:lnTo>
                  <a:pt x="1161" y="1883"/>
                </a:lnTo>
                <a:lnTo>
                  <a:pt x="1162" y="1886"/>
                </a:lnTo>
                <a:lnTo>
                  <a:pt x="1162" y="1887"/>
                </a:lnTo>
                <a:lnTo>
                  <a:pt x="1161" y="1887"/>
                </a:lnTo>
                <a:lnTo>
                  <a:pt x="1161" y="1888"/>
                </a:lnTo>
                <a:lnTo>
                  <a:pt x="1159" y="1889"/>
                </a:lnTo>
                <a:lnTo>
                  <a:pt x="1161" y="1889"/>
                </a:lnTo>
                <a:lnTo>
                  <a:pt x="1161" y="1891"/>
                </a:lnTo>
                <a:lnTo>
                  <a:pt x="1162" y="1892"/>
                </a:lnTo>
                <a:lnTo>
                  <a:pt x="1170" y="1898"/>
                </a:lnTo>
                <a:lnTo>
                  <a:pt x="1171" y="1897"/>
                </a:lnTo>
                <a:lnTo>
                  <a:pt x="1171" y="1888"/>
                </a:lnTo>
                <a:lnTo>
                  <a:pt x="1174" y="1888"/>
                </a:lnTo>
                <a:lnTo>
                  <a:pt x="1182" y="1893"/>
                </a:lnTo>
                <a:lnTo>
                  <a:pt x="1199" y="1892"/>
                </a:lnTo>
                <a:lnTo>
                  <a:pt x="1202" y="1893"/>
                </a:lnTo>
                <a:lnTo>
                  <a:pt x="1205" y="1895"/>
                </a:lnTo>
                <a:lnTo>
                  <a:pt x="1212" y="1910"/>
                </a:lnTo>
                <a:lnTo>
                  <a:pt x="1217" y="1915"/>
                </a:lnTo>
                <a:lnTo>
                  <a:pt x="1219" y="1915"/>
                </a:lnTo>
                <a:lnTo>
                  <a:pt x="1220" y="1916"/>
                </a:lnTo>
                <a:lnTo>
                  <a:pt x="1220" y="1917"/>
                </a:lnTo>
                <a:lnTo>
                  <a:pt x="1226" y="1934"/>
                </a:lnTo>
                <a:lnTo>
                  <a:pt x="1239" y="1954"/>
                </a:lnTo>
                <a:lnTo>
                  <a:pt x="1237" y="1957"/>
                </a:lnTo>
                <a:lnTo>
                  <a:pt x="1236" y="1959"/>
                </a:lnTo>
                <a:lnTo>
                  <a:pt x="1230" y="1960"/>
                </a:lnTo>
                <a:lnTo>
                  <a:pt x="1229" y="1959"/>
                </a:lnTo>
                <a:lnTo>
                  <a:pt x="1227" y="1956"/>
                </a:lnTo>
                <a:lnTo>
                  <a:pt x="1226" y="1956"/>
                </a:lnTo>
                <a:lnTo>
                  <a:pt x="1226" y="1955"/>
                </a:lnTo>
                <a:lnTo>
                  <a:pt x="1224" y="1954"/>
                </a:lnTo>
                <a:lnTo>
                  <a:pt x="1220" y="1955"/>
                </a:lnTo>
                <a:lnTo>
                  <a:pt x="1219" y="1956"/>
                </a:lnTo>
                <a:lnTo>
                  <a:pt x="1218" y="1960"/>
                </a:lnTo>
                <a:lnTo>
                  <a:pt x="1217" y="1961"/>
                </a:lnTo>
                <a:lnTo>
                  <a:pt x="1218" y="1961"/>
                </a:lnTo>
                <a:lnTo>
                  <a:pt x="1220" y="1963"/>
                </a:lnTo>
                <a:lnTo>
                  <a:pt x="1220" y="1965"/>
                </a:lnTo>
                <a:lnTo>
                  <a:pt x="1221" y="1965"/>
                </a:lnTo>
                <a:lnTo>
                  <a:pt x="1220" y="1967"/>
                </a:lnTo>
                <a:lnTo>
                  <a:pt x="1225" y="1967"/>
                </a:lnTo>
                <a:lnTo>
                  <a:pt x="1227" y="1968"/>
                </a:lnTo>
                <a:lnTo>
                  <a:pt x="1229" y="1968"/>
                </a:lnTo>
                <a:lnTo>
                  <a:pt x="1229" y="1969"/>
                </a:lnTo>
                <a:lnTo>
                  <a:pt x="1232" y="1972"/>
                </a:lnTo>
                <a:lnTo>
                  <a:pt x="1236" y="1972"/>
                </a:lnTo>
                <a:lnTo>
                  <a:pt x="1240" y="1977"/>
                </a:lnTo>
                <a:lnTo>
                  <a:pt x="1249" y="1981"/>
                </a:lnTo>
                <a:lnTo>
                  <a:pt x="1250" y="1984"/>
                </a:lnTo>
                <a:lnTo>
                  <a:pt x="1251" y="1985"/>
                </a:lnTo>
                <a:lnTo>
                  <a:pt x="1252" y="1985"/>
                </a:lnTo>
                <a:lnTo>
                  <a:pt x="1252" y="1986"/>
                </a:lnTo>
                <a:lnTo>
                  <a:pt x="1250" y="1986"/>
                </a:lnTo>
                <a:lnTo>
                  <a:pt x="1250" y="1985"/>
                </a:lnTo>
                <a:lnTo>
                  <a:pt x="1248" y="1985"/>
                </a:lnTo>
                <a:lnTo>
                  <a:pt x="1245" y="1983"/>
                </a:lnTo>
                <a:lnTo>
                  <a:pt x="1246" y="1981"/>
                </a:lnTo>
                <a:lnTo>
                  <a:pt x="1245" y="1981"/>
                </a:lnTo>
                <a:lnTo>
                  <a:pt x="1243" y="1984"/>
                </a:lnTo>
                <a:lnTo>
                  <a:pt x="1243" y="1985"/>
                </a:lnTo>
                <a:lnTo>
                  <a:pt x="1242" y="1985"/>
                </a:lnTo>
                <a:lnTo>
                  <a:pt x="1242" y="1986"/>
                </a:lnTo>
                <a:lnTo>
                  <a:pt x="1244" y="1986"/>
                </a:lnTo>
                <a:lnTo>
                  <a:pt x="1244" y="1992"/>
                </a:lnTo>
                <a:lnTo>
                  <a:pt x="1242" y="1990"/>
                </a:lnTo>
                <a:lnTo>
                  <a:pt x="1240" y="1990"/>
                </a:lnTo>
                <a:lnTo>
                  <a:pt x="1240" y="1991"/>
                </a:lnTo>
                <a:lnTo>
                  <a:pt x="1239" y="1991"/>
                </a:lnTo>
                <a:lnTo>
                  <a:pt x="1237" y="1992"/>
                </a:lnTo>
                <a:lnTo>
                  <a:pt x="1237" y="1996"/>
                </a:lnTo>
                <a:lnTo>
                  <a:pt x="1236" y="1996"/>
                </a:lnTo>
                <a:lnTo>
                  <a:pt x="1236" y="1993"/>
                </a:lnTo>
                <a:lnTo>
                  <a:pt x="1234" y="1992"/>
                </a:lnTo>
                <a:lnTo>
                  <a:pt x="1234" y="1995"/>
                </a:lnTo>
                <a:lnTo>
                  <a:pt x="1233" y="1993"/>
                </a:lnTo>
                <a:lnTo>
                  <a:pt x="1233" y="1996"/>
                </a:lnTo>
                <a:lnTo>
                  <a:pt x="1234" y="1997"/>
                </a:lnTo>
                <a:lnTo>
                  <a:pt x="1233" y="1997"/>
                </a:lnTo>
                <a:lnTo>
                  <a:pt x="1232" y="1996"/>
                </a:lnTo>
                <a:lnTo>
                  <a:pt x="1232" y="1998"/>
                </a:lnTo>
                <a:lnTo>
                  <a:pt x="1231" y="1998"/>
                </a:lnTo>
                <a:lnTo>
                  <a:pt x="1231" y="1997"/>
                </a:lnTo>
                <a:lnTo>
                  <a:pt x="1227" y="1993"/>
                </a:lnTo>
                <a:lnTo>
                  <a:pt x="1226" y="1995"/>
                </a:lnTo>
                <a:lnTo>
                  <a:pt x="1225" y="1995"/>
                </a:lnTo>
                <a:lnTo>
                  <a:pt x="1225" y="1996"/>
                </a:lnTo>
                <a:lnTo>
                  <a:pt x="1224" y="1996"/>
                </a:lnTo>
                <a:lnTo>
                  <a:pt x="1224" y="1997"/>
                </a:lnTo>
                <a:lnTo>
                  <a:pt x="1226" y="1997"/>
                </a:lnTo>
                <a:lnTo>
                  <a:pt x="1227" y="1999"/>
                </a:lnTo>
                <a:lnTo>
                  <a:pt x="1227" y="2002"/>
                </a:lnTo>
                <a:lnTo>
                  <a:pt x="1225" y="2002"/>
                </a:lnTo>
                <a:lnTo>
                  <a:pt x="1225" y="2004"/>
                </a:lnTo>
                <a:lnTo>
                  <a:pt x="1226" y="2003"/>
                </a:lnTo>
                <a:lnTo>
                  <a:pt x="1229" y="2003"/>
                </a:lnTo>
                <a:lnTo>
                  <a:pt x="1229" y="2008"/>
                </a:lnTo>
                <a:lnTo>
                  <a:pt x="1230" y="2010"/>
                </a:lnTo>
                <a:lnTo>
                  <a:pt x="1229" y="2011"/>
                </a:lnTo>
                <a:lnTo>
                  <a:pt x="1227" y="2011"/>
                </a:lnTo>
                <a:lnTo>
                  <a:pt x="1227" y="2012"/>
                </a:lnTo>
                <a:lnTo>
                  <a:pt x="1226" y="2011"/>
                </a:lnTo>
                <a:lnTo>
                  <a:pt x="1226" y="2009"/>
                </a:lnTo>
                <a:lnTo>
                  <a:pt x="1224" y="2006"/>
                </a:lnTo>
                <a:lnTo>
                  <a:pt x="1224" y="2005"/>
                </a:lnTo>
                <a:lnTo>
                  <a:pt x="1221" y="2003"/>
                </a:lnTo>
                <a:lnTo>
                  <a:pt x="1220" y="2003"/>
                </a:lnTo>
                <a:lnTo>
                  <a:pt x="1219" y="2004"/>
                </a:lnTo>
                <a:lnTo>
                  <a:pt x="1219" y="2005"/>
                </a:lnTo>
                <a:lnTo>
                  <a:pt x="1217" y="2005"/>
                </a:lnTo>
                <a:lnTo>
                  <a:pt x="1215" y="2006"/>
                </a:lnTo>
                <a:lnTo>
                  <a:pt x="1214" y="2009"/>
                </a:lnTo>
                <a:lnTo>
                  <a:pt x="1212" y="2009"/>
                </a:lnTo>
                <a:lnTo>
                  <a:pt x="1212" y="2010"/>
                </a:lnTo>
                <a:lnTo>
                  <a:pt x="1214" y="2010"/>
                </a:lnTo>
                <a:lnTo>
                  <a:pt x="1214" y="2011"/>
                </a:lnTo>
                <a:lnTo>
                  <a:pt x="1209" y="2011"/>
                </a:lnTo>
                <a:lnTo>
                  <a:pt x="1209" y="2014"/>
                </a:lnTo>
                <a:lnTo>
                  <a:pt x="1208" y="2015"/>
                </a:lnTo>
                <a:lnTo>
                  <a:pt x="1207" y="2015"/>
                </a:lnTo>
                <a:lnTo>
                  <a:pt x="1206" y="2016"/>
                </a:lnTo>
                <a:lnTo>
                  <a:pt x="1207" y="2016"/>
                </a:lnTo>
                <a:lnTo>
                  <a:pt x="1207" y="2018"/>
                </a:lnTo>
                <a:lnTo>
                  <a:pt x="1206" y="2018"/>
                </a:lnTo>
                <a:lnTo>
                  <a:pt x="1205" y="2017"/>
                </a:lnTo>
                <a:lnTo>
                  <a:pt x="1204" y="2017"/>
                </a:lnTo>
                <a:lnTo>
                  <a:pt x="1202" y="2018"/>
                </a:lnTo>
                <a:lnTo>
                  <a:pt x="1201" y="2016"/>
                </a:lnTo>
                <a:lnTo>
                  <a:pt x="1200" y="2016"/>
                </a:lnTo>
                <a:lnTo>
                  <a:pt x="1200" y="2017"/>
                </a:lnTo>
                <a:lnTo>
                  <a:pt x="1199" y="2017"/>
                </a:lnTo>
                <a:lnTo>
                  <a:pt x="1199" y="2018"/>
                </a:lnTo>
                <a:lnTo>
                  <a:pt x="1198" y="2018"/>
                </a:lnTo>
                <a:lnTo>
                  <a:pt x="1198" y="2020"/>
                </a:lnTo>
                <a:lnTo>
                  <a:pt x="1196" y="2018"/>
                </a:lnTo>
                <a:lnTo>
                  <a:pt x="1196" y="2017"/>
                </a:lnTo>
                <a:lnTo>
                  <a:pt x="1195" y="2017"/>
                </a:lnTo>
                <a:lnTo>
                  <a:pt x="1195" y="2018"/>
                </a:lnTo>
                <a:lnTo>
                  <a:pt x="1194" y="2018"/>
                </a:lnTo>
                <a:lnTo>
                  <a:pt x="1193" y="2020"/>
                </a:lnTo>
                <a:lnTo>
                  <a:pt x="1193" y="2018"/>
                </a:lnTo>
                <a:lnTo>
                  <a:pt x="1190" y="2018"/>
                </a:lnTo>
                <a:lnTo>
                  <a:pt x="1190" y="2024"/>
                </a:lnTo>
                <a:lnTo>
                  <a:pt x="1189" y="2026"/>
                </a:lnTo>
                <a:lnTo>
                  <a:pt x="1188" y="2022"/>
                </a:lnTo>
                <a:lnTo>
                  <a:pt x="1187" y="2022"/>
                </a:lnTo>
                <a:lnTo>
                  <a:pt x="1187" y="2020"/>
                </a:lnTo>
                <a:lnTo>
                  <a:pt x="1186" y="2020"/>
                </a:lnTo>
                <a:lnTo>
                  <a:pt x="1184" y="2018"/>
                </a:lnTo>
                <a:lnTo>
                  <a:pt x="1184" y="2020"/>
                </a:lnTo>
                <a:lnTo>
                  <a:pt x="1183" y="2020"/>
                </a:lnTo>
                <a:lnTo>
                  <a:pt x="1182" y="2018"/>
                </a:lnTo>
                <a:lnTo>
                  <a:pt x="1182" y="2016"/>
                </a:lnTo>
                <a:lnTo>
                  <a:pt x="1181" y="2016"/>
                </a:lnTo>
                <a:lnTo>
                  <a:pt x="1180" y="2015"/>
                </a:lnTo>
                <a:lnTo>
                  <a:pt x="1178" y="2015"/>
                </a:lnTo>
                <a:lnTo>
                  <a:pt x="1178" y="2017"/>
                </a:lnTo>
                <a:lnTo>
                  <a:pt x="1180" y="2017"/>
                </a:lnTo>
                <a:lnTo>
                  <a:pt x="1181" y="2018"/>
                </a:lnTo>
                <a:lnTo>
                  <a:pt x="1181" y="2023"/>
                </a:lnTo>
                <a:lnTo>
                  <a:pt x="1183" y="2024"/>
                </a:lnTo>
                <a:lnTo>
                  <a:pt x="1182" y="2026"/>
                </a:lnTo>
                <a:lnTo>
                  <a:pt x="1182" y="2028"/>
                </a:lnTo>
                <a:lnTo>
                  <a:pt x="1181" y="2028"/>
                </a:lnTo>
                <a:lnTo>
                  <a:pt x="1181" y="2027"/>
                </a:lnTo>
                <a:lnTo>
                  <a:pt x="1180" y="2026"/>
                </a:lnTo>
                <a:lnTo>
                  <a:pt x="1180" y="2024"/>
                </a:lnTo>
                <a:lnTo>
                  <a:pt x="1177" y="2022"/>
                </a:lnTo>
                <a:lnTo>
                  <a:pt x="1177" y="2021"/>
                </a:lnTo>
                <a:lnTo>
                  <a:pt x="1174" y="2021"/>
                </a:lnTo>
                <a:lnTo>
                  <a:pt x="1174" y="2018"/>
                </a:lnTo>
                <a:lnTo>
                  <a:pt x="1176" y="2018"/>
                </a:lnTo>
                <a:lnTo>
                  <a:pt x="1175" y="2017"/>
                </a:lnTo>
                <a:lnTo>
                  <a:pt x="1173" y="2017"/>
                </a:lnTo>
                <a:lnTo>
                  <a:pt x="1173" y="2016"/>
                </a:lnTo>
                <a:lnTo>
                  <a:pt x="1171" y="2016"/>
                </a:lnTo>
                <a:lnTo>
                  <a:pt x="1171" y="2017"/>
                </a:lnTo>
                <a:lnTo>
                  <a:pt x="1173" y="2018"/>
                </a:lnTo>
                <a:lnTo>
                  <a:pt x="1173" y="2021"/>
                </a:lnTo>
                <a:lnTo>
                  <a:pt x="1174" y="2021"/>
                </a:lnTo>
                <a:lnTo>
                  <a:pt x="1175" y="2022"/>
                </a:lnTo>
                <a:lnTo>
                  <a:pt x="1176" y="2022"/>
                </a:lnTo>
                <a:lnTo>
                  <a:pt x="1178" y="2024"/>
                </a:lnTo>
                <a:lnTo>
                  <a:pt x="1178" y="2029"/>
                </a:lnTo>
                <a:lnTo>
                  <a:pt x="1177" y="2029"/>
                </a:lnTo>
                <a:lnTo>
                  <a:pt x="1177" y="2028"/>
                </a:lnTo>
                <a:lnTo>
                  <a:pt x="1176" y="2027"/>
                </a:lnTo>
                <a:lnTo>
                  <a:pt x="1176" y="2028"/>
                </a:lnTo>
                <a:lnTo>
                  <a:pt x="1177" y="2030"/>
                </a:lnTo>
                <a:lnTo>
                  <a:pt x="1177" y="2032"/>
                </a:lnTo>
                <a:lnTo>
                  <a:pt x="1176" y="2033"/>
                </a:lnTo>
                <a:lnTo>
                  <a:pt x="1176" y="2035"/>
                </a:lnTo>
                <a:lnTo>
                  <a:pt x="1175" y="2036"/>
                </a:lnTo>
                <a:lnTo>
                  <a:pt x="1171" y="2036"/>
                </a:lnTo>
                <a:lnTo>
                  <a:pt x="1171" y="2038"/>
                </a:lnTo>
                <a:lnTo>
                  <a:pt x="1175" y="2038"/>
                </a:lnTo>
                <a:lnTo>
                  <a:pt x="1174" y="2039"/>
                </a:lnTo>
                <a:lnTo>
                  <a:pt x="1174" y="2040"/>
                </a:lnTo>
                <a:lnTo>
                  <a:pt x="1173" y="2040"/>
                </a:lnTo>
                <a:lnTo>
                  <a:pt x="1171" y="2042"/>
                </a:lnTo>
                <a:lnTo>
                  <a:pt x="1171" y="2049"/>
                </a:lnTo>
                <a:lnTo>
                  <a:pt x="1170" y="2051"/>
                </a:lnTo>
                <a:lnTo>
                  <a:pt x="1169" y="2049"/>
                </a:lnTo>
                <a:lnTo>
                  <a:pt x="1168" y="2049"/>
                </a:lnTo>
                <a:lnTo>
                  <a:pt x="1168" y="2051"/>
                </a:lnTo>
                <a:lnTo>
                  <a:pt x="1167" y="2052"/>
                </a:lnTo>
                <a:lnTo>
                  <a:pt x="1167" y="2054"/>
                </a:lnTo>
                <a:lnTo>
                  <a:pt x="1165" y="2057"/>
                </a:lnTo>
                <a:lnTo>
                  <a:pt x="1165" y="2058"/>
                </a:lnTo>
                <a:lnTo>
                  <a:pt x="1164" y="2059"/>
                </a:lnTo>
                <a:lnTo>
                  <a:pt x="1164" y="2063"/>
                </a:lnTo>
                <a:lnTo>
                  <a:pt x="1163" y="2064"/>
                </a:lnTo>
                <a:lnTo>
                  <a:pt x="1163" y="2063"/>
                </a:lnTo>
                <a:lnTo>
                  <a:pt x="1162" y="2064"/>
                </a:lnTo>
                <a:lnTo>
                  <a:pt x="1162" y="2065"/>
                </a:lnTo>
                <a:lnTo>
                  <a:pt x="1161" y="2066"/>
                </a:lnTo>
                <a:lnTo>
                  <a:pt x="1161" y="2065"/>
                </a:lnTo>
                <a:lnTo>
                  <a:pt x="1159" y="2064"/>
                </a:lnTo>
                <a:lnTo>
                  <a:pt x="1159" y="2070"/>
                </a:lnTo>
                <a:lnTo>
                  <a:pt x="1158" y="2072"/>
                </a:lnTo>
                <a:lnTo>
                  <a:pt x="1158" y="2075"/>
                </a:lnTo>
                <a:lnTo>
                  <a:pt x="1157" y="2073"/>
                </a:lnTo>
                <a:lnTo>
                  <a:pt x="1156" y="2071"/>
                </a:lnTo>
                <a:lnTo>
                  <a:pt x="1156" y="2067"/>
                </a:lnTo>
                <a:lnTo>
                  <a:pt x="1155" y="2066"/>
                </a:lnTo>
                <a:lnTo>
                  <a:pt x="1155" y="2071"/>
                </a:lnTo>
                <a:lnTo>
                  <a:pt x="1156" y="2071"/>
                </a:lnTo>
                <a:lnTo>
                  <a:pt x="1155" y="2072"/>
                </a:lnTo>
                <a:lnTo>
                  <a:pt x="1153" y="2075"/>
                </a:lnTo>
                <a:lnTo>
                  <a:pt x="1153" y="2076"/>
                </a:lnTo>
                <a:lnTo>
                  <a:pt x="1152" y="2075"/>
                </a:lnTo>
                <a:lnTo>
                  <a:pt x="1150" y="2076"/>
                </a:lnTo>
                <a:lnTo>
                  <a:pt x="1150" y="2077"/>
                </a:lnTo>
                <a:lnTo>
                  <a:pt x="1147" y="2079"/>
                </a:lnTo>
                <a:lnTo>
                  <a:pt x="1146" y="2079"/>
                </a:lnTo>
                <a:lnTo>
                  <a:pt x="1144" y="2082"/>
                </a:lnTo>
                <a:lnTo>
                  <a:pt x="1143" y="2082"/>
                </a:lnTo>
                <a:lnTo>
                  <a:pt x="1143" y="2089"/>
                </a:lnTo>
                <a:lnTo>
                  <a:pt x="1142" y="2089"/>
                </a:lnTo>
                <a:lnTo>
                  <a:pt x="1142" y="2091"/>
                </a:lnTo>
                <a:lnTo>
                  <a:pt x="1143" y="2094"/>
                </a:lnTo>
                <a:lnTo>
                  <a:pt x="1143" y="2095"/>
                </a:lnTo>
                <a:lnTo>
                  <a:pt x="1145" y="2097"/>
                </a:lnTo>
                <a:lnTo>
                  <a:pt x="1149" y="2097"/>
                </a:lnTo>
                <a:lnTo>
                  <a:pt x="1155" y="2098"/>
                </a:lnTo>
                <a:lnTo>
                  <a:pt x="1156" y="2100"/>
                </a:lnTo>
                <a:lnTo>
                  <a:pt x="1157" y="2100"/>
                </a:lnTo>
                <a:lnTo>
                  <a:pt x="1157" y="2101"/>
                </a:lnTo>
                <a:lnTo>
                  <a:pt x="1158" y="2104"/>
                </a:lnTo>
                <a:lnTo>
                  <a:pt x="1158" y="2106"/>
                </a:lnTo>
                <a:lnTo>
                  <a:pt x="1162" y="2109"/>
                </a:lnTo>
                <a:lnTo>
                  <a:pt x="1163" y="2109"/>
                </a:lnTo>
                <a:lnTo>
                  <a:pt x="1163" y="2108"/>
                </a:lnTo>
                <a:lnTo>
                  <a:pt x="1164" y="2107"/>
                </a:lnTo>
                <a:lnTo>
                  <a:pt x="1165" y="2108"/>
                </a:lnTo>
                <a:lnTo>
                  <a:pt x="1167" y="2110"/>
                </a:lnTo>
                <a:lnTo>
                  <a:pt x="1167" y="2115"/>
                </a:lnTo>
                <a:lnTo>
                  <a:pt x="1168" y="2118"/>
                </a:lnTo>
                <a:lnTo>
                  <a:pt x="1169" y="2119"/>
                </a:lnTo>
                <a:lnTo>
                  <a:pt x="1170" y="2119"/>
                </a:lnTo>
                <a:lnTo>
                  <a:pt x="1171" y="2124"/>
                </a:lnTo>
                <a:lnTo>
                  <a:pt x="1173" y="2125"/>
                </a:lnTo>
                <a:lnTo>
                  <a:pt x="1173" y="2127"/>
                </a:lnTo>
                <a:lnTo>
                  <a:pt x="1174" y="2128"/>
                </a:lnTo>
                <a:lnTo>
                  <a:pt x="1175" y="2128"/>
                </a:lnTo>
                <a:lnTo>
                  <a:pt x="1174" y="2129"/>
                </a:lnTo>
                <a:lnTo>
                  <a:pt x="1174" y="2131"/>
                </a:lnTo>
                <a:lnTo>
                  <a:pt x="1175" y="2131"/>
                </a:lnTo>
                <a:lnTo>
                  <a:pt x="1176" y="2132"/>
                </a:lnTo>
                <a:lnTo>
                  <a:pt x="1176" y="2134"/>
                </a:lnTo>
                <a:lnTo>
                  <a:pt x="1175" y="2134"/>
                </a:lnTo>
                <a:lnTo>
                  <a:pt x="1174" y="2135"/>
                </a:lnTo>
                <a:lnTo>
                  <a:pt x="1174" y="2139"/>
                </a:lnTo>
                <a:lnTo>
                  <a:pt x="1173" y="2140"/>
                </a:lnTo>
                <a:lnTo>
                  <a:pt x="1173" y="2141"/>
                </a:lnTo>
                <a:lnTo>
                  <a:pt x="1171" y="2144"/>
                </a:lnTo>
                <a:lnTo>
                  <a:pt x="1171" y="2143"/>
                </a:lnTo>
                <a:lnTo>
                  <a:pt x="1170" y="2143"/>
                </a:lnTo>
                <a:lnTo>
                  <a:pt x="1170" y="2145"/>
                </a:lnTo>
                <a:lnTo>
                  <a:pt x="1173" y="2147"/>
                </a:lnTo>
                <a:lnTo>
                  <a:pt x="1173" y="2150"/>
                </a:lnTo>
                <a:lnTo>
                  <a:pt x="1174" y="2149"/>
                </a:lnTo>
                <a:lnTo>
                  <a:pt x="1175" y="2146"/>
                </a:lnTo>
                <a:lnTo>
                  <a:pt x="1175" y="2140"/>
                </a:lnTo>
                <a:lnTo>
                  <a:pt x="1176" y="2140"/>
                </a:lnTo>
                <a:lnTo>
                  <a:pt x="1176" y="2137"/>
                </a:lnTo>
                <a:lnTo>
                  <a:pt x="1177" y="2135"/>
                </a:lnTo>
                <a:lnTo>
                  <a:pt x="1177" y="2129"/>
                </a:lnTo>
                <a:lnTo>
                  <a:pt x="1178" y="2128"/>
                </a:lnTo>
                <a:lnTo>
                  <a:pt x="1178" y="2127"/>
                </a:lnTo>
                <a:lnTo>
                  <a:pt x="1180" y="2126"/>
                </a:lnTo>
                <a:lnTo>
                  <a:pt x="1181" y="2126"/>
                </a:lnTo>
                <a:lnTo>
                  <a:pt x="1182" y="2127"/>
                </a:lnTo>
                <a:lnTo>
                  <a:pt x="1183" y="2127"/>
                </a:lnTo>
                <a:lnTo>
                  <a:pt x="1184" y="2128"/>
                </a:lnTo>
                <a:lnTo>
                  <a:pt x="1182" y="2131"/>
                </a:lnTo>
                <a:lnTo>
                  <a:pt x="1181" y="2134"/>
                </a:lnTo>
                <a:lnTo>
                  <a:pt x="1177" y="2143"/>
                </a:lnTo>
                <a:lnTo>
                  <a:pt x="1177" y="2149"/>
                </a:lnTo>
                <a:lnTo>
                  <a:pt x="1176" y="2152"/>
                </a:lnTo>
                <a:lnTo>
                  <a:pt x="1175" y="2155"/>
                </a:lnTo>
                <a:lnTo>
                  <a:pt x="1175" y="2157"/>
                </a:lnTo>
                <a:lnTo>
                  <a:pt x="1176" y="2158"/>
                </a:lnTo>
                <a:lnTo>
                  <a:pt x="1176" y="2159"/>
                </a:lnTo>
                <a:lnTo>
                  <a:pt x="1175" y="2161"/>
                </a:lnTo>
                <a:lnTo>
                  <a:pt x="1176" y="2162"/>
                </a:lnTo>
                <a:lnTo>
                  <a:pt x="1178" y="2159"/>
                </a:lnTo>
                <a:lnTo>
                  <a:pt x="1180" y="2159"/>
                </a:lnTo>
                <a:lnTo>
                  <a:pt x="1180" y="2162"/>
                </a:lnTo>
                <a:lnTo>
                  <a:pt x="1178" y="2163"/>
                </a:lnTo>
                <a:lnTo>
                  <a:pt x="1178" y="2164"/>
                </a:lnTo>
                <a:lnTo>
                  <a:pt x="1177" y="2164"/>
                </a:lnTo>
                <a:lnTo>
                  <a:pt x="1175" y="2167"/>
                </a:lnTo>
                <a:lnTo>
                  <a:pt x="1176" y="2168"/>
                </a:lnTo>
                <a:lnTo>
                  <a:pt x="1175" y="2169"/>
                </a:lnTo>
                <a:lnTo>
                  <a:pt x="1175" y="2171"/>
                </a:lnTo>
                <a:lnTo>
                  <a:pt x="1174" y="2172"/>
                </a:lnTo>
                <a:lnTo>
                  <a:pt x="1174" y="2174"/>
                </a:lnTo>
                <a:lnTo>
                  <a:pt x="1175" y="2177"/>
                </a:lnTo>
                <a:lnTo>
                  <a:pt x="1177" y="2181"/>
                </a:lnTo>
                <a:lnTo>
                  <a:pt x="1180" y="2182"/>
                </a:lnTo>
                <a:lnTo>
                  <a:pt x="1181" y="2183"/>
                </a:lnTo>
                <a:lnTo>
                  <a:pt x="1181" y="2184"/>
                </a:lnTo>
                <a:lnTo>
                  <a:pt x="1184" y="2187"/>
                </a:lnTo>
                <a:lnTo>
                  <a:pt x="1184" y="2189"/>
                </a:lnTo>
                <a:lnTo>
                  <a:pt x="1186" y="2192"/>
                </a:lnTo>
                <a:lnTo>
                  <a:pt x="1186" y="2198"/>
                </a:lnTo>
                <a:lnTo>
                  <a:pt x="1187" y="2200"/>
                </a:lnTo>
                <a:lnTo>
                  <a:pt x="1190" y="2201"/>
                </a:lnTo>
                <a:lnTo>
                  <a:pt x="1192" y="2202"/>
                </a:lnTo>
                <a:lnTo>
                  <a:pt x="1194" y="2208"/>
                </a:lnTo>
                <a:lnTo>
                  <a:pt x="1196" y="2212"/>
                </a:lnTo>
                <a:lnTo>
                  <a:pt x="1200" y="2215"/>
                </a:lnTo>
                <a:lnTo>
                  <a:pt x="1201" y="2215"/>
                </a:lnTo>
                <a:lnTo>
                  <a:pt x="1206" y="2226"/>
                </a:lnTo>
                <a:lnTo>
                  <a:pt x="1207" y="2227"/>
                </a:lnTo>
                <a:lnTo>
                  <a:pt x="1209" y="2229"/>
                </a:lnTo>
                <a:lnTo>
                  <a:pt x="1209" y="2230"/>
                </a:lnTo>
                <a:lnTo>
                  <a:pt x="1211" y="2231"/>
                </a:lnTo>
                <a:lnTo>
                  <a:pt x="1211" y="2233"/>
                </a:lnTo>
                <a:lnTo>
                  <a:pt x="1213" y="2239"/>
                </a:lnTo>
                <a:lnTo>
                  <a:pt x="1214" y="2241"/>
                </a:lnTo>
                <a:lnTo>
                  <a:pt x="1217" y="2242"/>
                </a:lnTo>
                <a:lnTo>
                  <a:pt x="1219" y="2242"/>
                </a:lnTo>
                <a:lnTo>
                  <a:pt x="1221" y="2244"/>
                </a:lnTo>
                <a:lnTo>
                  <a:pt x="1217" y="2251"/>
                </a:lnTo>
                <a:lnTo>
                  <a:pt x="1214" y="2257"/>
                </a:lnTo>
                <a:lnTo>
                  <a:pt x="1214" y="2258"/>
                </a:lnTo>
                <a:lnTo>
                  <a:pt x="1213" y="2260"/>
                </a:lnTo>
                <a:lnTo>
                  <a:pt x="1209" y="2262"/>
                </a:lnTo>
                <a:lnTo>
                  <a:pt x="1207" y="2263"/>
                </a:lnTo>
                <a:lnTo>
                  <a:pt x="1206" y="2264"/>
                </a:lnTo>
                <a:lnTo>
                  <a:pt x="1201" y="2266"/>
                </a:lnTo>
                <a:lnTo>
                  <a:pt x="1200" y="2266"/>
                </a:lnTo>
                <a:lnTo>
                  <a:pt x="1199" y="2268"/>
                </a:lnTo>
                <a:lnTo>
                  <a:pt x="1198" y="2272"/>
                </a:lnTo>
                <a:lnTo>
                  <a:pt x="1196" y="2273"/>
                </a:lnTo>
                <a:lnTo>
                  <a:pt x="1195" y="2272"/>
                </a:lnTo>
                <a:lnTo>
                  <a:pt x="1195" y="2273"/>
                </a:lnTo>
                <a:lnTo>
                  <a:pt x="1194" y="2274"/>
                </a:lnTo>
                <a:lnTo>
                  <a:pt x="1194" y="2275"/>
                </a:lnTo>
                <a:lnTo>
                  <a:pt x="1193" y="2275"/>
                </a:lnTo>
                <a:lnTo>
                  <a:pt x="1193" y="2280"/>
                </a:lnTo>
                <a:lnTo>
                  <a:pt x="1192" y="2280"/>
                </a:lnTo>
                <a:lnTo>
                  <a:pt x="1190" y="2281"/>
                </a:lnTo>
                <a:lnTo>
                  <a:pt x="1186" y="2281"/>
                </a:lnTo>
                <a:lnTo>
                  <a:pt x="1184" y="2280"/>
                </a:lnTo>
                <a:lnTo>
                  <a:pt x="1182" y="2279"/>
                </a:lnTo>
                <a:lnTo>
                  <a:pt x="1181" y="2279"/>
                </a:lnTo>
                <a:lnTo>
                  <a:pt x="1181" y="2280"/>
                </a:lnTo>
                <a:lnTo>
                  <a:pt x="1177" y="2280"/>
                </a:lnTo>
                <a:lnTo>
                  <a:pt x="1175" y="2278"/>
                </a:lnTo>
                <a:lnTo>
                  <a:pt x="1170" y="2278"/>
                </a:lnTo>
                <a:lnTo>
                  <a:pt x="1169" y="2276"/>
                </a:lnTo>
                <a:lnTo>
                  <a:pt x="1167" y="2275"/>
                </a:lnTo>
                <a:lnTo>
                  <a:pt x="1165" y="2274"/>
                </a:lnTo>
                <a:lnTo>
                  <a:pt x="1165" y="2269"/>
                </a:lnTo>
                <a:lnTo>
                  <a:pt x="1163" y="2267"/>
                </a:lnTo>
                <a:lnTo>
                  <a:pt x="1163" y="2264"/>
                </a:lnTo>
                <a:lnTo>
                  <a:pt x="1162" y="2264"/>
                </a:lnTo>
                <a:lnTo>
                  <a:pt x="1162" y="2263"/>
                </a:lnTo>
                <a:lnTo>
                  <a:pt x="1161" y="2262"/>
                </a:lnTo>
                <a:lnTo>
                  <a:pt x="1161" y="2260"/>
                </a:lnTo>
                <a:lnTo>
                  <a:pt x="1158" y="2260"/>
                </a:lnTo>
                <a:lnTo>
                  <a:pt x="1158" y="2261"/>
                </a:lnTo>
                <a:lnTo>
                  <a:pt x="1156" y="2261"/>
                </a:lnTo>
                <a:lnTo>
                  <a:pt x="1156" y="2260"/>
                </a:lnTo>
                <a:lnTo>
                  <a:pt x="1155" y="2258"/>
                </a:lnTo>
                <a:lnTo>
                  <a:pt x="1153" y="2256"/>
                </a:lnTo>
                <a:lnTo>
                  <a:pt x="1151" y="2254"/>
                </a:lnTo>
                <a:lnTo>
                  <a:pt x="1151" y="2253"/>
                </a:lnTo>
                <a:lnTo>
                  <a:pt x="1150" y="2251"/>
                </a:lnTo>
                <a:lnTo>
                  <a:pt x="1147" y="2251"/>
                </a:lnTo>
                <a:lnTo>
                  <a:pt x="1145" y="2249"/>
                </a:lnTo>
                <a:lnTo>
                  <a:pt x="1145" y="2247"/>
                </a:lnTo>
                <a:lnTo>
                  <a:pt x="1144" y="2245"/>
                </a:lnTo>
                <a:lnTo>
                  <a:pt x="1144" y="2244"/>
                </a:lnTo>
                <a:lnTo>
                  <a:pt x="1143" y="2245"/>
                </a:lnTo>
                <a:lnTo>
                  <a:pt x="1140" y="2245"/>
                </a:lnTo>
                <a:lnTo>
                  <a:pt x="1138" y="2248"/>
                </a:lnTo>
                <a:lnTo>
                  <a:pt x="1136" y="2248"/>
                </a:lnTo>
                <a:lnTo>
                  <a:pt x="1136" y="2243"/>
                </a:lnTo>
                <a:lnTo>
                  <a:pt x="1134" y="2243"/>
                </a:lnTo>
                <a:lnTo>
                  <a:pt x="1133" y="2242"/>
                </a:lnTo>
                <a:lnTo>
                  <a:pt x="1131" y="2242"/>
                </a:lnTo>
                <a:lnTo>
                  <a:pt x="1130" y="2241"/>
                </a:lnTo>
                <a:lnTo>
                  <a:pt x="1128" y="2241"/>
                </a:lnTo>
                <a:lnTo>
                  <a:pt x="1126" y="2239"/>
                </a:lnTo>
                <a:lnTo>
                  <a:pt x="1125" y="2239"/>
                </a:lnTo>
                <a:lnTo>
                  <a:pt x="1124" y="2237"/>
                </a:lnTo>
                <a:lnTo>
                  <a:pt x="1122" y="2236"/>
                </a:lnTo>
                <a:lnTo>
                  <a:pt x="1120" y="2236"/>
                </a:lnTo>
                <a:lnTo>
                  <a:pt x="1118" y="2237"/>
                </a:lnTo>
                <a:lnTo>
                  <a:pt x="1117" y="2237"/>
                </a:lnTo>
                <a:lnTo>
                  <a:pt x="1115" y="2236"/>
                </a:lnTo>
                <a:lnTo>
                  <a:pt x="1115" y="2235"/>
                </a:lnTo>
                <a:lnTo>
                  <a:pt x="1113" y="2235"/>
                </a:lnTo>
                <a:lnTo>
                  <a:pt x="1113" y="2233"/>
                </a:lnTo>
                <a:lnTo>
                  <a:pt x="1112" y="2233"/>
                </a:lnTo>
                <a:lnTo>
                  <a:pt x="1112" y="2235"/>
                </a:lnTo>
                <a:lnTo>
                  <a:pt x="1109" y="2235"/>
                </a:lnTo>
                <a:lnTo>
                  <a:pt x="1109" y="2233"/>
                </a:lnTo>
                <a:lnTo>
                  <a:pt x="1108" y="2231"/>
                </a:lnTo>
                <a:lnTo>
                  <a:pt x="1108" y="2230"/>
                </a:lnTo>
                <a:lnTo>
                  <a:pt x="1105" y="2229"/>
                </a:lnTo>
                <a:lnTo>
                  <a:pt x="1100" y="2226"/>
                </a:lnTo>
                <a:lnTo>
                  <a:pt x="1096" y="2223"/>
                </a:lnTo>
                <a:lnTo>
                  <a:pt x="1101" y="2211"/>
                </a:lnTo>
                <a:lnTo>
                  <a:pt x="1102" y="2210"/>
                </a:lnTo>
                <a:lnTo>
                  <a:pt x="1100" y="2207"/>
                </a:lnTo>
                <a:lnTo>
                  <a:pt x="1093" y="2205"/>
                </a:lnTo>
                <a:lnTo>
                  <a:pt x="1090" y="2205"/>
                </a:lnTo>
                <a:lnTo>
                  <a:pt x="1088" y="2206"/>
                </a:lnTo>
                <a:lnTo>
                  <a:pt x="1084" y="2206"/>
                </a:lnTo>
                <a:lnTo>
                  <a:pt x="1083" y="2205"/>
                </a:lnTo>
                <a:lnTo>
                  <a:pt x="1083" y="2204"/>
                </a:lnTo>
                <a:lnTo>
                  <a:pt x="1082" y="2202"/>
                </a:lnTo>
                <a:lnTo>
                  <a:pt x="1078" y="2198"/>
                </a:lnTo>
                <a:lnTo>
                  <a:pt x="1076" y="2195"/>
                </a:lnTo>
                <a:lnTo>
                  <a:pt x="1075" y="2196"/>
                </a:lnTo>
                <a:lnTo>
                  <a:pt x="1071" y="2196"/>
                </a:lnTo>
                <a:lnTo>
                  <a:pt x="1066" y="2193"/>
                </a:lnTo>
                <a:lnTo>
                  <a:pt x="1064" y="2193"/>
                </a:lnTo>
                <a:lnTo>
                  <a:pt x="1064" y="2194"/>
                </a:lnTo>
                <a:lnTo>
                  <a:pt x="1063" y="2195"/>
                </a:lnTo>
                <a:lnTo>
                  <a:pt x="1062" y="2198"/>
                </a:lnTo>
                <a:lnTo>
                  <a:pt x="1062" y="2201"/>
                </a:lnTo>
                <a:lnTo>
                  <a:pt x="1060" y="2201"/>
                </a:lnTo>
                <a:lnTo>
                  <a:pt x="1060" y="2200"/>
                </a:lnTo>
                <a:lnTo>
                  <a:pt x="1059" y="2198"/>
                </a:lnTo>
                <a:lnTo>
                  <a:pt x="1059" y="2196"/>
                </a:lnTo>
                <a:lnTo>
                  <a:pt x="1057" y="2194"/>
                </a:lnTo>
                <a:lnTo>
                  <a:pt x="1056" y="2194"/>
                </a:lnTo>
                <a:lnTo>
                  <a:pt x="1053" y="2193"/>
                </a:lnTo>
                <a:lnTo>
                  <a:pt x="1049" y="2193"/>
                </a:lnTo>
                <a:lnTo>
                  <a:pt x="1045" y="2195"/>
                </a:lnTo>
                <a:lnTo>
                  <a:pt x="1040" y="2195"/>
                </a:lnTo>
                <a:lnTo>
                  <a:pt x="1039" y="2196"/>
                </a:lnTo>
                <a:lnTo>
                  <a:pt x="1038" y="2199"/>
                </a:lnTo>
                <a:lnTo>
                  <a:pt x="1037" y="2200"/>
                </a:lnTo>
                <a:lnTo>
                  <a:pt x="1034" y="2200"/>
                </a:lnTo>
                <a:lnTo>
                  <a:pt x="1031" y="2201"/>
                </a:lnTo>
                <a:lnTo>
                  <a:pt x="1028" y="2201"/>
                </a:lnTo>
                <a:lnTo>
                  <a:pt x="1028" y="2202"/>
                </a:lnTo>
                <a:lnTo>
                  <a:pt x="1027" y="2204"/>
                </a:lnTo>
                <a:lnTo>
                  <a:pt x="1027" y="2205"/>
                </a:lnTo>
                <a:lnTo>
                  <a:pt x="1026" y="2205"/>
                </a:lnTo>
                <a:lnTo>
                  <a:pt x="1024" y="2202"/>
                </a:lnTo>
                <a:lnTo>
                  <a:pt x="1020" y="2202"/>
                </a:lnTo>
                <a:lnTo>
                  <a:pt x="1018" y="2201"/>
                </a:lnTo>
                <a:lnTo>
                  <a:pt x="1016" y="2200"/>
                </a:lnTo>
                <a:lnTo>
                  <a:pt x="1016" y="2199"/>
                </a:lnTo>
                <a:lnTo>
                  <a:pt x="1018" y="2198"/>
                </a:lnTo>
                <a:lnTo>
                  <a:pt x="1020" y="2196"/>
                </a:lnTo>
                <a:lnTo>
                  <a:pt x="1020" y="2193"/>
                </a:lnTo>
                <a:lnTo>
                  <a:pt x="1018" y="2193"/>
                </a:lnTo>
                <a:lnTo>
                  <a:pt x="1014" y="2192"/>
                </a:lnTo>
                <a:lnTo>
                  <a:pt x="1010" y="2188"/>
                </a:lnTo>
                <a:lnTo>
                  <a:pt x="1008" y="2187"/>
                </a:lnTo>
                <a:lnTo>
                  <a:pt x="1007" y="2187"/>
                </a:lnTo>
                <a:lnTo>
                  <a:pt x="1002" y="2186"/>
                </a:lnTo>
                <a:lnTo>
                  <a:pt x="995" y="2183"/>
                </a:lnTo>
                <a:lnTo>
                  <a:pt x="994" y="2182"/>
                </a:lnTo>
                <a:lnTo>
                  <a:pt x="993" y="2182"/>
                </a:lnTo>
                <a:lnTo>
                  <a:pt x="987" y="2176"/>
                </a:lnTo>
                <a:lnTo>
                  <a:pt x="985" y="2176"/>
                </a:lnTo>
                <a:lnTo>
                  <a:pt x="985" y="2175"/>
                </a:lnTo>
                <a:lnTo>
                  <a:pt x="987" y="2174"/>
                </a:lnTo>
                <a:lnTo>
                  <a:pt x="987" y="2172"/>
                </a:lnTo>
                <a:lnTo>
                  <a:pt x="983" y="2171"/>
                </a:lnTo>
                <a:lnTo>
                  <a:pt x="982" y="2171"/>
                </a:lnTo>
                <a:lnTo>
                  <a:pt x="979" y="2169"/>
                </a:lnTo>
                <a:lnTo>
                  <a:pt x="971" y="2169"/>
                </a:lnTo>
                <a:lnTo>
                  <a:pt x="971" y="2170"/>
                </a:lnTo>
                <a:lnTo>
                  <a:pt x="970" y="2171"/>
                </a:lnTo>
                <a:lnTo>
                  <a:pt x="969" y="2170"/>
                </a:lnTo>
                <a:lnTo>
                  <a:pt x="966" y="2169"/>
                </a:lnTo>
                <a:lnTo>
                  <a:pt x="964" y="2167"/>
                </a:lnTo>
                <a:lnTo>
                  <a:pt x="962" y="2165"/>
                </a:lnTo>
                <a:lnTo>
                  <a:pt x="952" y="2165"/>
                </a:lnTo>
                <a:lnTo>
                  <a:pt x="951" y="2167"/>
                </a:lnTo>
                <a:lnTo>
                  <a:pt x="947" y="2168"/>
                </a:lnTo>
                <a:lnTo>
                  <a:pt x="944" y="2168"/>
                </a:lnTo>
                <a:lnTo>
                  <a:pt x="941" y="2167"/>
                </a:lnTo>
                <a:lnTo>
                  <a:pt x="932" y="2167"/>
                </a:lnTo>
                <a:lnTo>
                  <a:pt x="931" y="2165"/>
                </a:lnTo>
                <a:lnTo>
                  <a:pt x="928" y="2167"/>
                </a:lnTo>
                <a:lnTo>
                  <a:pt x="926" y="2167"/>
                </a:lnTo>
                <a:lnTo>
                  <a:pt x="922" y="2163"/>
                </a:lnTo>
                <a:lnTo>
                  <a:pt x="920" y="2162"/>
                </a:lnTo>
                <a:lnTo>
                  <a:pt x="919" y="2162"/>
                </a:lnTo>
                <a:lnTo>
                  <a:pt x="919" y="2159"/>
                </a:lnTo>
                <a:lnTo>
                  <a:pt x="914" y="2159"/>
                </a:lnTo>
                <a:lnTo>
                  <a:pt x="912" y="2158"/>
                </a:lnTo>
                <a:lnTo>
                  <a:pt x="910" y="2158"/>
                </a:lnTo>
                <a:lnTo>
                  <a:pt x="909" y="2157"/>
                </a:lnTo>
                <a:lnTo>
                  <a:pt x="902" y="2157"/>
                </a:lnTo>
                <a:lnTo>
                  <a:pt x="896" y="2152"/>
                </a:lnTo>
                <a:lnTo>
                  <a:pt x="895" y="2151"/>
                </a:lnTo>
                <a:lnTo>
                  <a:pt x="891" y="2150"/>
                </a:lnTo>
                <a:lnTo>
                  <a:pt x="889" y="2149"/>
                </a:lnTo>
                <a:lnTo>
                  <a:pt x="888" y="2147"/>
                </a:lnTo>
                <a:lnTo>
                  <a:pt x="885" y="2147"/>
                </a:lnTo>
                <a:lnTo>
                  <a:pt x="883" y="2149"/>
                </a:lnTo>
                <a:lnTo>
                  <a:pt x="882" y="2150"/>
                </a:lnTo>
                <a:lnTo>
                  <a:pt x="879" y="2149"/>
                </a:lnTo>
                <a:lnTo>
                  <a:pt x="870" y="2145"/>
                </a:lnTo>
                <a:lnTo>
                  <a:pt x="866" y="2145"/>
                </a:lnTo>
                <a:lnTo>
                  <a:pt x="864" y="2146"/>
                </a:lnTo>
                <a:lnTo>
                  <a:pt x="863" y="2146"/>
                </a:lnTo>
                <a:lnTo>
                  <a:pt x="863" y="2147"/>
                </a:lnTo>
                <a:lnTo>
                  <a:pt x="859" y="2155"/>
                </a:lnTo>
                <a:lnTo>
                  <a:pt x="859" y="2156"/>
                </a:lnTo>
                <a:lnTo>
                  <a:pt x="858" y="2156"/>
                </a:lnTo>
                <a:lnTo>
                  <a:pt x="855" y="2153"/>
                </a:lnTo>
                <a:lnTo>
                  <a:pt x="855" y="2152"/>
                </a:lnTo>
                <a:lnTo>
                  <a:pt x="854" y="2151"/>
                </a:lnTo>
                <a:lnTo>
                  <a:pt x="854" y="2150"/>
                </a:lnTo>
                <a:lnTo>
                  <a:pt x="853" y="2149"/>
                </a:lnTo>
                <a:lnTo>
                  <a:pt x="850" y="2147"/>
                </a:lnTo>
                <a:lnTo>
                  <a:pt x="848" y="2146"/>
                </a:lnTo>
                <a:lnTo>
                  <a:pt x="847" y="2146"/>
                </a:lnTo>
                <a:lnTo>
                  <a:pt x="847" y="2144"/>
                </a:lnTo>
                <a:lnTo>
                  <a:pt x="846" y="2143"/>
                </a:lnTo>
                <a:lnTo>
                  <a:pt x="844" y="2141"/>
                </a:lnTo>
                <a:lnTo>
                  <a:pt x="836" y="2134"/>
                </a:lnTo>
                <a:lnTo>
                  <a:pt x="834" y="2129"/>
                </a:lnTo>
                <a:lnTo>
                  <a:pt x="832" y="2127"/>
                </a:lnTo>
                <a:lnTo>
                  <a:pt x="822" y="2119"/>
                </a:lnTo>
                <a:lnTo>
                  <a:pt x="820" y="2116"/>
                </a:lnTo>
                <a:lnTo>
                  <a:pt x="820" y="2115"/>
                </a:lnTo>
                <a:lnTo>
                  <a:pt x="817" y="2115"/>
                </a:lnTo>
                <a:lnTo>
                  <a:pt x="817" y="2113"/>
                </a:lnTo>
                <a:lnTo>
                  <a:pt x="815" y="2110"/>
                </a:lnTo>
                <a:lnTo>
                  <a:pt x="813" y="2110"/>
                </a:lnTo>
                <a:lnTo>
                  <a:pt x="807" y="2104"/>
                </a:lnTo>
                <a:lnTo>
                  <a:pt x="804" y="2103"/>
                </a:lnTo>
                <a:lnTo>
                  <a:pt x="801" y="2101"/>
                </a:lnTo>
                <a:lnTo>
                  <a:pt x="789" y="2098"/>
                </a:lnTo>
                <a:lnTo>
                  <a:pt x="788" y="2098"/>
                </a:lnTo>
                <a:lnTo>
                  <a:pt x="784" y="2097"/>
                </a:lnTo>
                <a:lnTo>
                  <a:pt x="783" y="2097"/>
                </a:lnTo>
                <a:lnTo>
                  <a:pt x="780" y="2092"/>
                </a:lnTo>
                <a:lnTo>
                  <a:pt x="778" y="2090"/>
                </a:lnTo>
                <a:lnTo>
                  <a:pt x="778" y="2088"/>
                </a:lnTo>
                <a:lnTo>
                  <a:pt x="774" y="2088"/>
                </a:lnTo>
                <a:lnTo>
                  <a:pt x="773" y="2085"/>
                </a:lnTo>
                <a:lnTo>
                  <a:pt x="772" y="2085"/>
                </a:lnTo>
                <a:lnTo>
                  <a:pt x="772" y="2083"/>
                </a:lnTo>
                <a:lnTo>
                  <a:pt x="770" y="2079"/>
                </a:lnTo>
                <a:lnTo>
                  <a:pt x="768" y="2079"/>
                </a:lnTo>
                <a:lnTo>
                  <a:pt x="766" y="2077"/>
                </a:lnTo>
                <a:lnTo>
                  <a:pt x="766" y="2079"/>
                </a:lnTo>
                <a:lnTo>
                  <a:pt x="767" y="2081"/>
                </a:lnTo>
                <a:lnTo>
                  <a:pt x="767" y="2083"/>
                </a:lnTo>
                <a:lnTo>
                  <a:pt x="763" y="2083"/>
                </a:lnTo>
                <a:lnTo>
                  <a:pt x="760" y="2081"/>
                </a:lnTo>
                <a:lnTo>
                  <a:pt x="759" y="2082"/>
                </a:lnTo>
                <a:lnTo>
                  <a:pt x="755" y="2082"/>
                </a:lnTo>
                <a:lnTo>
                  <a:pt x="755" y="2081"/>
                </a:lnTo>
                <a:lnTo>
                  <a:pt x="754" y="2081"/>
                </a:lnTo>
                <a:lnTo>
                  <a:pt x="754" y="2082"/>
                </a:lnTo>
                <a:lnTo>
                  <a:pt x="753" y="2081"/>
                </a:lnTo>
                <a:lnTo>
                  <a:pt x="753" y="2079"/>
                </a:lnTo>
                <a:lnTo>
                  <a:pt x="752" y="2079"/>
                </a:lnTo>
                <a:lnTo>
                  <a:pt x="752" y="2078"/>
                </a:lnTo>
                <a:lnTo>
                  <a:pt x="749" y="2077"/>
                </a:lnTo>
                <a:lnTo>
                  <a:pt x="748" y="2077"/>
                </a:lnTo>
                <a:lnTo>
                  <a:pt x="748" y="2075"/>
                </a:lnTo>
                <a:lnTo>
                  <a:pt x="746" y="2071"/>
                </a:lnTo>
                <a:lnTo>
                  <a:pt x="746" y="2067"/>
                </a:lnTo>
                <a:lnTo>
                  <a:pt x="745" y="2066"/>
                </a:lnTo>
                <a:lnTo>
                  <a:pt x="741" y="2061"/>
                </a:lnTo>
                <a:lnTo>
                  <a:pt x="737" y="2061"/>
                </a:lnTo>
                <a:lnTo>
                  <a:pt x="737" y="2060"/>
                </a:lnTo>
                <a:lnTo>
                  <a:pt x="736" y="2060"/>
                </a:lnTo>
                <a:lnTo>
                  <a:pt x="734" y="2059"/>
                </a:lnTo>
                <a:lnTo>
                  <a:pt x="730" y="2058"/>
                </a:lnTo>
                <a:lnTo>
                  <a:pt x="727" y="2055"/>
                </a:lnTo>
                <a:lnTo>
                  <a:pt x="724" y="2054"/>
                </a:lnTo>
                <a:lnTo>
                  <a:pt x="723" y="2054"/>
                </a:lnTo>
                <a:lnTo>
                  <a:pt x="722" y="2055"/>
                </a:lnTo>
                <a:lnTo>
                  <a:pt x="721" y="2055"/>
                </a:lnTo>
                <a:lnTo>
                  <a:pt x="718" y="2054"/>
                </a:lnTo>
                <a:lnTo>
                  <a:pt x="716" y="2052"/>
                </a:lnTo>
                <a:lnTo>
                  <a:pt x="716" y="2051"/>
                </a:lnTo>
                <a:lnTo>
                  <a:pt x="715" y="2051"/>
                </a:lnTo>
                <a:lnTo>
                  <a:pt x="715" y="2049"/>
                </a:lnTo>
                <a:lnTo>
                  <a:pt x="722" y="2049"/>
                </a:lnTo>
                <a:lnTo>
                  <a:pt x="724" y="2047"/>
                </a:lnTo>
                <a:lnTo>
                  <a:pt x="728" y="2047"/>
                </a:lnTo>
                <a:lnTo>
                  <a:pt x="730" y="2046"/>
                </a:lnTo>
                <a:lnTo>
                  <a:pt x="732" y="2045"/>
                </a:lnTo>
                <a:lnTo>
                  <a:pt x="732" y="2042"/>
                </a:lnTo>
                <a:lnTo>
                  <a:pt x="730" y="2042"/>
                </a:lnTo>
                <a:lnTo>
                  <a:pt x="724" y="2043"/>
                </a:lnTo>
                <a:lnTo>
                  <a:pt x="723" y="2043"/>
                </a:lnTo>
                <a:lnTo>
                  <a:pt x="723" y="2040"/>
                </a:lnTo>
                <a:lnTo>
                  <a:pt x="724" y="2041"/>
                </a:lnTo>
                <a:lnTo>
                  <a:pt x="724" y="2042"/>
                </a:lnTo>
                <a:lnTo>
                  <a:pt x="726" y="2042"/>
                </a:lnTo>
                <a:lnTo>
                  <a:pt x="726" y="2040"/>
                </a:lnTo>
                <a:lnTo>
                  <a:pt x="724" y="2039"/>
                </a:lnTo>
                <a:lnTo>
                  <a:pt x="722" y="2039"/>
                </a:lnTo>
                <a:lnTo>
                  <a:pt x="718" y="2042"/>
                </a:lnTo>
                <a:lnTo>
                  <a:pt x="718" y="2041"/>
                </a:lnTo>
                <a:lnTo>
                  <a:pt x="720" y="2040"/>
                </a:lnTo>
                <a:lnTo>
                  <a:pt x="721" y="2038"/>
                </a:lnTo>
                <a:lnTo>
                  <a:pt x="726" y="2035"/>
                </a:lnTo>
                <a:lnTo>
                  <a:pt x="729" y="2035"/>
                </a:lnTo>
                <a:lnTo>
                  <a:pt x="736" y="2040"/>
                </a:lnTo>
                <a:lnTo>
                  <a:pt x="737" y="2041"/>
                </a:lnTo>
                <a:lnTo>
                  <a:pt x="739" y="2041"/>
                </a:lnTo>
                <a:lnTo>
                  <a:pt x="739" y="2042"/>
                </a:lnTo>
                <a:lnTo>
                  <a:pt x="737" y="2042"/>
                </a:lnTo>
                <a:lnTo>
                  <a:pt x="737" y="2046"/>
                </a:lnTo>
                <a:lnTo>
                  <a:pt x="736" y="2046"/>
                </a:lnTo>
                <a:lnTo>
                  <a:pt x="736" y="2047"/>
                </a:lnTo>
                <a:lnTo>
                  <a:pt x="737" y="2047"/>
                </a:lnTo>
                <a:lnTo>
                  <a:pt x="740" y="2046"/>
                </a:lnTo>
                <a:lnTo>
                  <a:pt x="743" y="2046"/>
                </a:lnTo>
                <a:lnTo>
                  <a:pt x="743" y="2045"/>
                </a:lnTo>
                <a:lnTo>
                  <a:pt x="746" y="2045"/>
                </a:lnTo>
                <a:lnTo>
                  <a:pt x="745" y="2043"/>
                </a:lnTo>
                <a:lnTo>
                  <a:pt x="740" y="2043"/>
                </a:lnTo>
                <a:lnTo>
                  <a:pt x="740" y="2042"/>
                </a:lnTo>
                <a:lnTo>
                  <a:pt x="748" y="2042"/>
                </a:lnTo>
                <a:lnTo>
                  <a:pt x="749" y="2043"/>
                </a:lnTo>
                <a:lnTo>
                  <a:pt x="749" y="2042"/>
                </a:lnTo>
                <a:lnTo>
                  <a:pt x="752" y="2042"/>
                </a:lnTo>
                <a:lnTo>
                  <a:pt x="754" y="2040"/>
                </a:lnTo>
                <a:lnTo>
                  <a:pt x="755" y="2040"/>
                </a:lnTo>
                <a:lnTo>
                  <a:pt x="754" y="2041"/>
                </a:lnTo>
                <a:lnTo>
                  <a:pt x="759" y="2041"/>
                </a:lnTo>
                <a:lnTo>
                  <a:pt x="759" y="2042"/>
                </a:lnTo>
                <a:lnTo>
                  <a:pt x="760" y="2041"/>
                </a:lnTo>
                <a:lnTo>
                  <a:pt x="760" y="2042"/>
                </a:lnTo>
                <a:lnTo>
                  <a:pt x="761" y="2042"/>
                </a:lnTo>
                <a:lnTo>
                  <a:pt x="761" y="2043"/>
                </a:lnTo>
                <a:lnTo>
                  <a:pt x="764" y="2043"/>
                </a:lnTo>
                <a:lnTo>
                  <a:pt x="764" y="2042"/>
                </a:lnTo>
                <a:lnTo>
                  <a:pt x="763" y="2041"/>
                </a:lnTo>
                <a:lnTo>
                  <a:pt x="763" y="2040"/>
                </a:lnTo>
                <a:lnTo>
                  <a:pt x="764" y="2040"/>
                </a:lnTo>
                <a:lnTo>
                  <a:pt x="764" y="2039"/>
                </a:lnTo>
                <a:lnTo>
                  <a:pt x="765" y="2039"/>
                </a:lnTo>
                <a:lnTo>
                  <a:pt x="765" y="2038"/>
                </a:lnTo>
                <a:lnTo>
                  <a:pt x="764" y="2038"/>
                </a:lnTo>
                <a:lnTo>
                  <a:pt x="764" y="2036"/>
                </a:lnTo>
                <a:lnTo>
                  <a:pt x="763" y="2035"/>
                </a:lnTo>
                <a:lnTo>
                  <a:pt x="763" y="2034"/>
                </a:lnTo>
                <a:lnTo>
                  <a:pt x="764" y="2034"/>
                </a:lnTo>
                <a:lnTo>
                  <a:pt x="764" y="2035"/>
                </a:lnTo>
                <a:lnTo>
                  <a:pt x="765" y="2035"/>
                </a:lnTo>
                <a:lnTo>
                  <a:pt x="765" y="2034"/>
                </a:lnTo>
                <a:lnTo>
                  <a:pt x="764" y="2034"/>
                </a:lnTo>
                <a:lnTo>
                  <a:pt x="763" y="2033"/>
                </a:lnTo>
                <a:lnTo>
                  <a:pt x="763" y="2028"/>
                </a:lnTo>
                <a:lnTo>
                  <a:pt x="761" y="2027"/>
                </a:lnTo>
                <a:lnTo>
                  <a:pt x="760" y="2027"/>
                </a:lnTo>
                <a:lnTo>
                  <a:pt x="760" y="2026"/>
                </a:lnTo>
                <a:lnTo>
                  <a:pt x="759" y="2026"/>
                </a:lnTo>
                <a:lnTo>
                  <a:pt x="759" y="2027"/>
                </a:lnTo>
                <a:lnTo>
                  <a:pt x="760" y="2027"/>
                </a:lnTo>
                <a:lnTo>
                  <a:pt x="761" y="2028"/>
                </a:lnTo>
                <a:lnTo>
                  <a:pt x="760" y="2028"/>
                </a:lnTo>
                <a:lnTo>
                  <a:pt x="760" y="2034"/>
                </a:lnTo>
                <a:lnTo>
                  <a:pt x="759" y="2036"/>
                </a:lnTo>
                <a:lnTo>
                  <a:pt x="758" y="2036"/>
                </a:lnTo>
                <a:lnTo>
                  <a:pt x="758" y="2023"/>
                </a:lnTo>
                <a:lnTo>
                  <a:pt x="759" y="2022"/>
                </a:lnTo>
                <a:lnTo>
                  <a:pt x="759" y="2021"/>
                </a:lnTo>
                <a:lnTo>
                  <a:pt x="760" y="2022"/>
                </a:lnTo>
                <a:lnTo>
                  <a:pt x="759" y="2023"/>
                </a:lnTo>
                <a:lnTo>
                  <a:pt x="760" y="2023"/>
                </a:lnTo>
                <a:lnTo>
                  <a:pt x="760" y="2024"/>
                </a:lnTo>
                <a:lnTo>
                  <a:pt x="763" y="2024"/>
                </a:lnTo>
                <a:lnTo>
                  <a:pt x="763" y="2023"/>
                </a:lnTo>
                <a:lnTo>
                  <a:pt x="761" y="2023"/>
                </a:lnTo>
                <a:lnTo>
                  <a:pt x="761" y="2021"/>
                </a:lnTo>
                <a:lnTo>
                  <a:pt x="765" y="2018"/>
                </a:lnTo>
                <a:lnTo>
                  <a:pt x="767" y="2017"/>
                </a:lnTo>
                <a:lnTo>
                  <a:pt x="768" y="2016"/>
                </a:lnTo>
                <a:lnTo>
                  <a:pt x="768" y="2015"/>
                </a:lnTo>
                <a:lnTo>
                  <a:pt x="770" y="2014"/>
                </a:lnTo>
                <a:lnTo>
                  <a:pt x="770" y="2011"/>
                </a:lnTo>
                <a:lnTo>
                  <a:pt x="771" y="2004"/>
                </a:lnTo>
                <a:lnTo>
                  <a:pt x="772" y="2002"/>
                </a:lnTo>
                <a:lnTo>
                  <a:pt x="774" y="1999"/>
                </a:lnTo>
                <a:lnTo>
                  <a:pt x="777" y="1998"/>
                </a:lnTo>
                <a:lnTo>
                  <a:pt x="779" y="1998"/>
                </a:lnTo>
                <a:lnTo>
                  <a:pt x="777" y="1999"/>
                </a:lnTo>
                <a:lnTo>
                  <a:pt x="778" y="1999"/>
                </a:lnTo>
                <a:lnTo>
                  <a:pt x="778" y="2000"/>
                </a:lnTo>
                <a:lnTo>
                  <a:pt x="777" y="2002"/>
                </a:lnTo>
                <a:lnTo>
                  <a:pt x="777" y="2004"/>
                </a:lnTo>
                <a:lnTo>
                  <a:pt x="778" y="2004"/>
                </a:lnTo>
                <a:lnTo>
                  <a:pt x="778" y="2008"/>
                </a:lnTo>
                <a:lnTo>
                  <a:pt x="776" y="2010"/>
                </a:lnTo>
                <a:lnTo>
                  <a:pt x="776" y="2012"/>
                </a:lnTo>
                <a:lnTo>
                  <a:pt x="777" y="2012"/>
                </a:lnTo>
                <a:lnTo>
                  <a:pt x="778" y="2011"/>
                </a:lnTo>
                <a:lnTo>
                  <a:pt x="777" y="2011"/>
                </a:lnTo>
                <a:lnTo>
                  <a:pt x="777" y="2010"/>
                </a:lnTo>
                <a:lnTo>
                  <a:pt x="778" y="2009"/>
                </a:lnTo>
                <a:lnTo>
                  <a:pt x="779" y="2005"/>
                </a:lnTo>
                <a:lnTo>
                  <a:pt x="779" y="2004"/>
                </a:lnTo>
                <a:lnTo>
                  <a:pt x="780" y="2003"/>
                </a:lnTo>
                <a:lnTo>
                  <a:pt x="780" y="2002"/>
                </a:lnTo>
                <a:lnTo>
                  <a:pt x="782" y="1999"/>
                </a:lnTo>
                <a:lnTo>
                  <a:pt x="782" y="1996"/>
                </a:lnTo>
                <a:lnTo>
                  <a:pt x="783" y="1995"/>
                </a:lnTo>
                <a:lnTo>
                  <a:pt x="783" y="1993"/>
                </a:lnTo>
                <a:lnTo>
                  <a:pt x="785" y="1993"/>
                </a:lnTo>
                <a:lnTo>
                  <a:pt x="785" y="1992"/>
                </a:lnTo>
                <a:lnTo>
                  <a:pt x="789" y="1996"/>
                </a:lnTo>
                <a:lnTo>
                  <a:pt x="790" y="1996"/>
                </a:lnTo>
                <a:lnTo>
                  <a:pt x="794" y="1999"/>
                </a:lnTo>
                <a:lnTo>
                  <a:pt x="798" y="1999"/>
                </a:lnTo>
                <a:lnTo>
                  <a:pt x="799" y="1998"/>
                </a:lnTo>
                <a:lnTo>
                  <a:pt x="799" y="1995"/>
                </a:lnTo>
                <a:lnTo>
                  <a:pt x="798" y="1995"/>
                </a:lnTo>
                <a:lnTo>
                  <a:pt x="788" y="1989"/>
                </a:lnTo>
                <a:lnTo>
                  <a:pt x="788" y="1986"/>
                </a:lnTo>
                <a:lnTo>
                  <a:pt x="786" y="1985"/>
                </a:lnTo>
                <a:lnTo>
                  <a:pt x="786" y="1984"/>
                </a:lnTo>
                <a:lnTo>
                  <a:pt x="784" y="1983"/>
                </a:lnTo>
                <a:lnTo>
                  <a:pt x="780" y="1978"/>
                </a:lnTo>
                <a:lnTo>
                  <a:pt x="779" y="1977"/>
                </a:lnTo>
                <a:lnTo>
                  <a:pt x="774" y="1977"/>
                </a:lnTo>
                <a:lnTo>
                  <a:pt x="774" y="1978"/>
                </a:lnTo>
                <a:lnTo>
                  <a:pt x="776" y="1979"/>
                </a:lnTo>
                <a:lnTo>
                  <a:pt x="774" y="1980"/>
                </a:lnTo>
                <a:lnTo>
                  <a:pt x="774" y="1979"/>
                </a:lnTo>
                <a:lnTo>
                  <a:pt x="771" y="1977"/>
                </a:lnTo>
                <a:lnTo>
                  <a:pt x="770" y="1973"/>
                </a:lnTo>
                <a:lnTo>
                  <a:pt x="768" y="1973"/>
                </a:lnTo>
                <a:lnTo>
                  <a:pt x="768" y="1972"/>
                </a:lnTo>
                <a:lnTo>
                  <a:pt x="767" y="1971"/>
                </a:lnTo>
                <a:lnTo>
                  <a:pt x="767" y="1968"/>
                </a:lnTo>
                <a:lnTo>
                  <a:pt x="765" y="1963"/>
                </a:lnTo>
                <a:lnTo>
                  <a:pt x="765" y="1962"/>
                </a:lnTo>
                <a:lnTo>
                  <a:pt x="764" y="1961"/>
                </a:lnTo>
                <a:lnTo>
                  <a:pt x="764" y="1960"/>
                </a:lnTo>
                <a:lnTo>
                  <a:pt x="765" y="1961"/>
                </a:lnTo>
                <a:lnTo>
                  <a:pt x="767" y="1962"/>
                </a:lnTo>
                <a:lnTo>
                  <a:pt x="768" y="1963"/>
                </a:lnTo>
                <a:lnTo>
                  <a:pt x="777" y="1963"/>
                </a:lnTo>
                <a:lnTo>
                  <a:pt x="778" y="1962"/>
                </a:lnTo>
                <a:lnTo>
                  <a:pt x="779" y="1960"/>
                </a:lnTo>
                <a:lnTo>
                  <a:pt x="780" y="1960"/>
                </a:lnTo>
                <a:lnTo>
                  <a:pt x="782" y="1959"/>
                </a:lnTo>
                <a:lnTo>
                  <a:pt x="785" y="1959"/>
                </a:lnTo>
                <a:lnTo>
                  <a:pt x="786" y="1956"/>
                </a:lnTo>
                <a:lnTo>
                  <a:pt x="788" y="1957"/>
                </a:lnTo>
                <a:lnTo>
                  <a:pt x="788" y="1960"/>
                </a:lnTo>
                <a:lnTo>
                  <a:pt x="789" y="1960"/>
                </a:lnTo>
                <a:lnTo>
                  <a:pt x="795" y="1962"/>
                </a:lnTo>
                <a:lnTo>
                  <a:pt x="799" y="1961"/>
                </a:lnTo>
                <a:lnTo>
                  <a:pt x="801" y="1961"/>
                </a:lnTo>
                <a:lnTo>
                  <a:pt x="801" y="1960"/>
                </a:lnTo>
                <a:lnTo>
                  <a:pt x="799" y="1959"/>
                </a:lnTo>
                <a:lnTo>
                  <a:pt x="799" y="1957"/>
                </a:lnTo>
                <a:lnTo>
                  <a:pt x="798" y="1957"/>
                </a:lnTo>
                <a:lnTo>
                  <a:pt x="797" y="1956"/>
                </a:lnTo>
                <a:lnTo>
                  <a:pt x="791" y="1956"/>
                </a:lnTo>
                <a:lnTo>
                  <a:pt x="791" y="1955"/>
                </a:lnTo>
                <a:lnTo>
                  <a:pt x="792" y="1954"/>
                </a:lnTo>
                <a:lnTo>
                  <a:pt x="792" y="1950"/>
                </a:lnTo>
                <a:lnTo>
                  <a:pt x="794" y="1949"/>
                </a:lnTo>
                <a:lnTo>
                  <a:pt x="801" y="1949"/>
                </a:lnTo>
                <a:lnTo>
                  <a:pt x="804" y="1948"/>
                </a:lnTo>
                <a:lnTo>
                  <a:pt x="805" y="1948"/>
                </a:lnTo>
                <a:lnTo>
                  <a:pt x="808" y="1947"/>
                </a:lnTo>
                <a:lnTo>
                  <a:pt x="809" y="1947"/>
                </a:lnTo>
                <a:lnTo>
                  <a:pt x="811" y="1944"/>
                </a:lnTo>
                <a:lnTo>
                  <a:pt x="811" y="1943"/>
                </a:lnTo>
                <a:lnTo>
                  <a:pt x="816" y="1943"/>
                </a:lnTo>
                <a:lnTo>
                  <a:pt x="817" y="1942"/>
                </a:lnTo>
                <a:lnTo>
                  <a:pt x="819" y="1940"/>
                </a:lnTo>
                <a:lnTo>
                  <a:pt x="820" y="1938"/>
                </a:lnTo>
                <a:lnTo>
                  <a:pt x="821" y="1938"/>
                </a:lnTo>
                <a:lnTo>
                  <a:pt x="822" y="1940"/>
                </a:lnTo>
                <a:lnTo>
                  <a:pt x="823" y="1940"/>
                </a:lnTo>
                <a:lnTo>
                  <a:pt x="823" y="1938"/>
                </a:lnTo>
                <a:lnTo>
                  <a:pt x="828" y="1940"/>
                </a:lnTo>
                <a:lnTo>
                  <a:pt x="829" y="1940"/>
                </a:lnTo>
                <a:lnTo>
                  <a:pt x="829" y="1938"/>
                </a:lnTo>
                <a:lnTo>
                  <a:pt x="830" y="1936"/>
                </a:lnTo>
                <a:lnTo>
                  <a:pt x="830" y="1935"/>
                </a:lnTo>
                <a:lnTo>
                  <a:pt x="832" y="1934"/>
                </a:lnTo>
                <a:lnTo>
                  <a:pt x="833" y="1934"/>
                </a:lnTo>
                <a:lnTo>
                  <a:pt x="834" y="1932"/>
                </a:lnTo>
                <a:lnTo>
                  <a:pt x="832" y="1932"/>
                </a:lnTo>
                <a:lnTo>
                  <a:pt x="829" y="1935"/>
                </a:lnTo>
                <a:lnTo>
                  <a:pt x="828" y="1934"/>
                </a:lnTo>
                <a:lnTo>
                  <a:pt x="829" y="1931"/>
                </a:lnTo>
                <a:lnTo>
                  <a:pt x="828" y="1931"/>
                </a:lnTo>
                <a:lnTo>
                  <a:pt x="828" y="1928"/>
                </a:lnTo>
                <a:lnTo>
                  <a:pt x="829" y="1928"/>
                </a:lnTo>
                <a:lnTo>
                  <a:pt x="829" y="1925"/>
                </a:lnTo>
                <a:lnTo>
                  <a:pt x="828" y="1924"/>
                </a:lnTo>
                <a:lnTo>
                  <a:pt x="827" y="1924"/>
                </a:lnTo>
                <a:lnTo>
                  <a:pt x="826" y="1923"/>
                </a:lnTo>
                <a:lnTo>
                  <a:pt x="821" y="1923"/>
                </a:lnTo>
                <a:lnTo>
                  <a:pt x="820" y="1924"/>
                </a:lnTo>
                <a:lnTo>
                  <a:pt x="815" y="1924"/>
                </a:lnTo>
                <a:lnTo>
                  <a:pt x="815" y="1929"/>
                </a:lnTo>
                <a:lnTo>
                  <a:pt x="813" y="1929"/>
                </a:lnTo>
                <a:lnTo>
                  <a:pt x="811" y="1930"/>
                </a:lnTo>
                <a:lnTo>
                  <a:pt x="808" y="1930"/>
                </a:lnTo>
                <a:lnTo>
                  <a:pt x="805" y="1931"/>
                </a:lnTo>
                <a:lnTo>
                  <a:pt x="798" y="1931"/>
                </a:lnTo>
                <a:lnTo>
                  <a:pt x="798" y="1932"/>
                </a:lnTo>
                <a:lnTo>
                  <a:pt x="796" y="1932"/>
                </a:lnTo>
                <a:lnTo>
                  <a:pt x="796" y="1931"/>
                </a:lnTo>
                <a:lnTo>
                  <a:pt x="797" y="1930"/>
                </a:lnTo>
                <a:lnTo>
                  <a:pt x="797" y="1929"/>
                </a:lnTo>
                <a:lnTo>
                  <a:pt x="798" y="1928"/>
                </a:lnTo>
                <a:lnTo>
                  <a:pt x="798" y="1926"/>
                </a:lnTo>
                <a:lnTo>
                  <a:pt x="801" y="1926"/>
                </a:lnTo>
                <a:lnTo>
                  <a:pt x="808" y="1925"/>
                </a:lnTo>
                <a:lnTo>
                  <a:pt x="810" y="1923"/>
                </a:lnTo>
                <a:lnTo>
                  <a:pt x="809" y="1922"/>
                </a:lnTo>
                <a:lnTo>
                  <a:pt x="809" y="1924"/>
                </a:lnTo>
                <a:lnTo>
                  <a:pt x="807" y="1924"/>
                </a:lnTo>
                <a:lnTo>
                  <a:pt x="801" y="1925"/>
                </a:lnTo>
                <a:lnTo>
                  <a:pt x="798" y="1926"/>
                </a:lnTo>
                <a:lnTo>
                  <a:pt x="797" y="1926"/>
                </a:lnTo>
                <a:lnTo>
                  <a:pt x="796" y="1929"/>
                </a:lnTo>
                <a:lnTo>
                  <a:pt x="795" y="1930"/>
                </a:lnTo>
                <a:lnTo>
                  <a:pt x="795" y="1931"/>
                </a:lnTo>
                <a:lnTo>
                  <a:pt x="794" y="1932"/>
                </a:lnTo>
                <a:lnTo>
                  <a:pt x="786" y="1932"/>
                </a:lnTo>
                <a:lnTo>
                  <a:pt x="785" y="1934"/>
                </a:lnTo>
                <a:lnTo>
                  <a:pt x="784" y="1934"/>
                </a:lnTo>
                <a:lnTo>
                  <a:pt x="784" y="1928"/>
                </a:lnTo>
                <a:lnTo>
                  <a:pt x="786" y="1925"/>
                </a:lnTo>
                <a:lnTo>
                  <a:pt x="788" y="1925"/>
                </a:lnTo>
                <a:lnTo>
                  <a:pt x="788" y="1923"/>
                </a:lnTo>
                <a:lnTo>
                  <a:pt x="786" y="1922"/>
                </a:lnTo>
                <a:lnTo>
                  <a:pt x="783" y="1922"/>
                </a:lnTo>
                <a:lnTo>
                  <a:pt x="783" y="1920"/>
                </a:lnTo>
                <a:lnTo>
                  <a:pt x="785" y="1918"/>
                </a:lnTo>
                <a:lnTo>
                  <a:pt x="786" y="1916"/>
                </a:lnTo>
                <a:lnTo>
                  <a:pt x="786" y="1907"/>
                </a:lnTo>
                <a:lnTo>
                  <a:pt x="788" y="1905"/>
                </a:lnTo>
                <a:lnTo>
                  <a:pt x="790" y="1903"/>
                </a:lnTo>
                <a:lnTo>
                  <a:pt x="799" y="1901"/>
                </a:lnTo>
                <a:lnTo>
                  <a:pt x="799" y="1900"/>
                </a:lnTo>
                <a:lnTo>
                  <a:pt x="801" y="1900"/>
                </a:lnTo>
                <a:lnTo>
                  <a:pt x="802" y="1898"/>
                </a:lnTo>
                <a:lnTo>
                  <a:pt x="807" y="1898"/>
                </a:lnTo>
                <a:lnTo>
                  <a:pt x="807" y="1894"/>
                </a:lnTo>
                <a:lnTo>
                  <a:pt x="810" y="1887"/>
                </a:lnTo>
                <a:lnTo>
                  <a:pt x="813" y="1886"/>
                </a:lnTo>
                <a:lnTo>
                  <a:pt x="819" y="1887"/>
                </a:lnTo>
                <a:lnTo>
                  <a:pt x="821" y="1888"/>
                </a:lnTo>
                <a:lnTo>
                  <a:pt x="824" y="1888"/>
                </a:lnTo>
                <a:lnTo>
                  <a:pt x="830" y="1887"/>
                </a:lnTo>
                <a:lnTo>
                  <a:pt x="832" y="1887"/>
                </a:lnTo>
                <a:lnTo>
                  <a:pt x="834" y="1889"/>
                </a:lnTo>
                <a:lnTo>
                  <a:pt x="835" y="1888"/>
                </a:lnTo>
                <a:lnTo>
                  <a:pt x="838" y="1888"/>
                </a:lnTo>
                <a:lnTo>
                  <a:pt x="839" y="1889"/>
                </a:lnTo>
                <a:lnTo>
                  <a:pt x="841" y="1888"/>
                </a:lnTo>
                <a:lnTo>
                  <a:pt x="842" y="1888"/>
                </a:lnTo>
                <a:lnTo>
                  <a:pt x="847" y="1889"/>
                </a:lnTo>
                <a:lnTo>
                  <a:pt x="848" y="1889"/>
                </a:lnTo>
                <a:lnTo>
                  <a:pt x="850" y="1888"/>
                </a:lnTo>
                <a:lnTo>
                  <a:pt x="850" y="1887"/>
                </a:lnTo>
                <a:lnTo>
                  <a:pt x="851" y="1885"/>
                </a:lnTo>
                <a:lnTo>
                  <a:pt x="851" y="1879"/>
                </a:lnTo>
                <a:lnTo>
                  <a:pt x="850" y="1877"/>
                </a:lnTo>
                <a:lnTo>
                  <a:pt x="850" y="1876"/>
                </a:lnTo>
                <a:lnTo>
                  <a:pt x="851" y="1876"/>
                </a:lnTo>
                <a:lnTo>
                  <a:pt x="853" y="1875"/>
                </a:lnTo>
                <a:lnTo>
                  <a:pt x="852" y="1873"/>
                </a:lnTo>
                <a:lnTo>
                  <a:pt x="852" y="1872"/>
                </a:lnTo>
                <a:lnTo>
                  <a:pt x="853" y="1870"/>
                </a:lnTo>
                <a:lnTo>
                  <a:pt x="855" y="1867"/>
                </a:lnTo>
                <a:lnTo>
                  <a:pt x="855" y="1866"/>
                </a:lnTo>
                <a:lnTo>
                  <a:pt x="858" y="1863"/>
                </a:lnTo>
                <a:lnTo>
                  <a:pt x="859" y="1863"/>
                </a:lnTo>
                <a:lnTo>
                  <a:pt x="859" y="1860"/>
                </a:lnTo>
                <a:lnTo>
                  <a:pt x="854" y="1860"/>
                </a:lnTo>
                <a:lnTo>
                  <a:pt x="852" y="1858"/>
                </a:lnTo>
                <a:lnTo>
                  <a:pt x="857" y="1854"/>
                </a:lnTo>
                <a:lnTo>
                  <a:pt x="855" y="1854"/>
                </a:lnTo>
                <a:lnTo>
                  <a:pt x="855" y="1851"/>
                </a:lnTo>
                <a:lnTo>
                  <a:pt x="854" y="1848"/>
                </a:lnTo>
                <a:lnTo>
                  <a:pt x="853" y="1848"/>
                </a:lnTo>
                <a:lnTo>
                  <a:pt x="853" y="1846"/>
                </a:lnTo>
                <a:lnTo>
                  <a:pt x="854" y="1846"/>
                </a:lnTo>
                <a:lnTo>
                  <a:pt x="854" y="1844"/>
                </a:lnTo>
                <a:lnTo>
                  <a:pt x="853" y="1843"/>
                </a:lnTo>
                <a:lnTo>
                  <a:pt x="853" y="1842"/>
                </a:lnTo>
                <a:lnTo>
                  <a:pt x="852" y="1840"/>
                </a:lnTo>
                <a:lnTo>
                  <a:pt x="844" y="1840"/>
                </a:lnTo>
                <a:lnTo>
                  <a:pt x="845" y="1839"/>
                </a:lnTo>
                <a:lnTo>
                  <a:pt x="847" y="1831"/>
                </a:lnTo>
                <a:lnTo>
                  <a:pt x="847" y="1830"/>
                </a:lnTo>
                <a:lnTo>
                  <a:pt x="848" y="1830"/>
                </a:lnTo>
                <a:lnTo>
                  <a:pt x="848" y="1829"/>
                </a:lnTo>
                <a:lnTo>
                  <a:pt x="850" y="1829"/>
                </a:lnTo>
                <a:lnTo>
                  <a:pt x="850" y="1827"/>
                </a:lnTo>
                <a:lnTo>
                  <a:pt x="851" y="1826"/>
                </a:lnTo>
                <a:lnTo>
                  <a:pt x="852" y="1826"/>
                </a:lnTo>
                <a:lnTo>
                  <a:pt x="857" y="1827"/>
                </a:lnTo>
                <a:lnTo>
                  <a:pt x="859" y="1827"/>
                </a:lnTo>
                <a:lnTo>
                  <a:pt x="861" y="1825"/>
                </a:lnTo>
                <a:lnTo>
                  <a:pt x="861" y="1821"/>
                </a:lnTo>
                <a:lnTo>
                  <a:pt x="860" y="1821"/>
                </a:lnTo>
                <a:lnTo>
                  <a:pt x="859" y="1823"/>
                </a:lnTo>
                <a:lnTo>
                  <a:pt x="858" y="1823"/>
                </a:lnTo>
                <a:lnTo>
                  <a:pt x="858" y="1824"/>
                </a:lnTo>
                <a:lnTo>
                  <a:pt x="857" y="1824"/>
                </a:lnTo>
                <a:lnTo>
                  <a:pt x="857" y="1823"/>
                </a:lnTo>
                <a:lnTo>
                  <a:pt x="855" y="1821"/>
                </a:lnTo>
                <a:lnTo>
                  <a:pt x="854" y="1823"/>
                </a:lnTo>
                <a:lnTo>
                  <a:pt x="851" y="1821"/>
                </a:lnTo>
                <a:lnTo>
                  <a:pt x="850" y="1821"/>
                </a:lnTo>
                <a:lnTo>
                  <a:pt x="848" y="1820"/>
                </a:lnTo>
                <a:lnTo>
                  <a:pt x="848" y="1818"/>
                </a:lnTo>
                <a:lnTo>
                  <a:pt x="847" y="1818"/>
                </a:lnTo>
                <a:lnTo>
                  <a:pt x="846" y="1817"/>
                </a:lnTo>
                <a:lnTo>
                  <a:pt x="846" y="1813"/>
                </a:lnTo>
                <a:lnTo>
                  <a:pt x="847" y="1812"/>
                </a:lnTo>
                <a:lnTo>
                  <a:pt x="850" y="1813"/>
                </a:lnTo>
                <a:lnTo>
                  <a:pt x="852" y="1811"/>
                </a:lnTo>
                <a:lnTo>
                  <a:pt x="854" y="1811"/>
                </a:lnTo>
                <a:lnTo>
                  <a:pt x="855" y="1812"/>
                </a:lnTo>
                <a:lnTo>
                  <a:pt x="857" y="1811"/>
                </a:lnTo>
                <a:lnTo>
                  <a:pt x="857" y="1807"/>
                </a:lnTo>
                <a:lnTo>
                  <a:pt x="859" y="1805"/>
                </a:lnTo>
                <a:lnTo>
                  <a:pt x="861" y="1803"/>
                </a:lnTo>
                <a:lnTo>
                  <a:pt x="861" y="1802"/>
                </a:lnTo>
                <a:lnTo>
                  <a:pt x="865" y="1799"/>
                </a:lnTo>
                <a:lnTo>
                  <a:pt x="865" y="1796"/>
                </a:lnTo>
                <a:lnTo>
                  <a:pt x="866" y="1794"/>
                </a:lnTo>
                <a:lnTo>
                  <a:pt x="866" y="1791"/>
                </a:lnTo>
                <a:lnTo>
                  <a:pt x="864" y="1789"/>
                </a:lnTo>
                <a:lnTo>
                  <a:pt x="861" y="1784"/>
                </a:lnTo>
                <a:lnTo>
                  <a:pt x="861" y="1781"/>
                </a:lnTo>
                <a:lnTo>
                  <a:pt x="864" y="1778"/>
                </a:lnTo>
                <a:lnTo>
                  <a:pt x="865" y="1778"/>
                </a:lnTo>
                <a:lnTo>
                  <a:pt x="865" y="1776"/>
                </a:lnTo>
                <a:lnTo>
                  <a:pt x="860" y="1775"/>
                </a:lnTo>
                <a:lnTo>
                  <a:pt x="859" y="1775"/>
                </a:lnTo>
                <a:lnTo>
                  <a:pt x="855" y="1777"/>
                </a:lnTo>
                <a:lnTo>
                  <a:pt x="855" y="1778"/>
                </a:lnTo>
                <a:lnTo>
                  <a:pt x="853" y="1778"/>
                </a:lnTo>
                <a:lnTo>
                  <a:pt x="852" y="1780"/>
                </a:lnTo>
                <a:lnTo>
                  <a:pt x="851" y="1780"/>
                </a:lnTo>
                <a:lnTo>
                  <a:pt x="851" y="1778"/>
                </a:lnTo>
                <a:lnTo>
                  <a:pt x="848" y="1776"/>
                </a:lnTo>
                <a:lnTo>
                  <a:pt x="846" y="1776"/>
                </a:lnTo>
                <a:lnTo>
                  <a:pt x="845" y="1775"/>
                </a:lnTo>
                <a:lnTo>
                  <a:pt x="844" y="1775"/>
                </a:lnTo>
                <a:lnTo>
                  <a:pt x="842" y="1772"/>
                </a:lnTo>
                <a:lnTo>
                  <a:pt x="842" y="1769"/>
                </a:lnTo>
                <a:lnTo>
                  <a:pt x="841" y="1768"/>
                </a:lnTo>
                <a:lnTo>
                  <a:pt x="839" y="1766"/>
                </a:lnTo>
                <a:lnTo>
                  <a:pt x="838" y="1766"/>
                </a:lnTo>
                <a:lnTo>
                  <a:pt x="836" y="1765"/>
                </a:lnTo>
                <a:lnTo>
                  <a:pt x="834" y="1766"/>
                </a:lnTo>
                <a:lnTo>
                  <a:pt x="833" y="1766"/>
                </a:lnTo>
                <a:lnTo>
                  <a:pt x="832" y="1768"/>
                </a:lnTo>
                <a:lnTo>
                  <a:pt x="829" y="1766"/>
                </a:lnTo>
                <a:lnTo>
                  <a:pt x="828" y="1766"/>
                </a:lnTo>
                <a:lnTo>
                  <a:pt x="827" y="1764"/>
                </a:lnTo>
                <a:lnTo>
                  <a:pt x="824" y="1758"/>
                </a:lnTo>
                <a:lnTo>
                  <a:pt x="824" y="1757"/>
                </a:lnTo>
                <a:lnTo>
                  <a:pt x="822" y="1758"/>
                </a:lnTo>
                <a:lnTo>
                  <a:pt x="822" y="1759"/>
                </a:lnTo>
                <a:lnTo>
                  <a:pt x="820" y="1760"/>
                </a:lnTo>
                <a:lnTo>
                  <a:pt x="820" y="1762"/>
                </a:lnTo>
                <a:lnTo>
                  <a:pt x="815" y="1762"/>
                </a:lnTo>
                <a:lnTo>
                  <a:pt x="811" y="1758"/>
                </a:lnTo>
                <a:lnTo>
                  <a:pt x="807" y="1757"/>
                </a:lnTo>
                <a:lnTo>
                  <a:pt x="803" y="1753"/>
                </a:lnTo>
                <a:lnTo>
                  <a:pt x="803" y="1752"/>
                </a:lnTo>
                <a:lnTo>
                  <a:pt x="795" y="1752"/>
                </a:lnTo>
                <a:lnTo>
                  <a:pt x="794" y="1751"/>
                </a:lnTo>
                <a:lnTo>
                  <a:pt x="790" y="1751"/>
                </a:lnTo>
                <a:lnTo>
                  <a:pt x="790" y="1750"/>
                </a:lnTo>
                <a:lnTo>
                  <a:pt x="789" y="1746"/>
                </a:lnTo>
                <a:lnTo>
                  <a:pt x="788" y="1745"/>
                </a:lnTo>
                <a:lnTo>
                  <a:pt x="783" y="1745"/>
                </a:lnTo>
                <a:lnTo>
                  <a:pt x="782" y="1747"/>
                </a:lnTo>
                <a:lnTo>
                  <a:pt x="783" y="1750"/>
                </a:lnTo>
                <a:lnTo>
                  <a:pt x="783" y="1753"/>
                </a:lnTo>
                <a:lnTo>
                  <a:pt x="780" y="1754"/>
                </a:lnTo>
                <a:lnTo>
                  <a:pt x="779" y="1754"/>
                </a:lnTo>
                <a:lnTo>
                  <a:pt x="779" y="1753"/>
                </a:lnTo>
                <a:lnTo>
                  <a:pt x="778" y="1753"/>
                </a:lnTo>
                <a:lnTo>
                  <a:pt x="778" y="1754"/>
                </a:lnTo>
                <a:lnTo>
                  <a:pt x="776" y="1756"/>
                </a:lnTo>
                <a:lnTo>
                  <a:pt x="774" y="1756"/>
                </a:lnTo>
                <a:lnTo>
                  <a:pt x="774" y="1753"/>
                </a:lnTo>
                <a:lnTo>
                  <a:pt x="772" y="1748"/>
                </a:lnTo>
                <a:lnTo>
                  <a:pt x="770" y="1747"/>
                </a:lnTo>
                <a:lnTo>
                  <a:pt x="768" y="1746"/>
                </a:lnTo>
                <a:lnTo>
                  <a:pt x="765" y="1745"/>
                </a:lnTo>
                <a:lnTo>
                  <a:pt x="764" y="1744"/>
                </a:lnTo>
                <a:lnTo>
                  <a:pt x="760" y="1738"/>
                </a:lnTo>
                <a:lnTo>
                  <a:pt x="758" y="1737"/>
                </a:lnTo>
                <a:lnTo>
                  <a:pt x="758" y="1734"/>
                </a:lnTo>
                <a:lnTo>
                  <a:pt x="759" y="1733"/>
                </a:lnTo>
                <a:lnTo>
                  <a:pt x="757" y="1728"/>
                </a:lnTo>
                <a:lnTo>
                  <a:pt x="753" y="1727"/>
                </a:lnTo>
                <a:lnTo>
                  <a:pt x="753" y="1725"/>
                </a:lnTo>
                <a:lnTo>
                  <a:pt x="752" y="1723"/>
                </a:lnTo>
                <a:lnTo>
                  <a:pt x="752" y="1721"/>
                </a:lnTo>
                <a:lnTo>
                  <a:pt x="746" y="1721"/>
                </a:lnTo>
                <a:lnTo>
                  <a:pt x="741" y="1726"/>
                </a:lnTo>
                <a:lnTo>
                  <a:pt x="735" y="1727"/>
                </a:lnTo>
                <a:lnTo>
                  <a:pt x="729" y="1727"/>
                </a:lnTo>
                <a:lnTo>
                  <a:pt x="720" y="1732"/>
                </a:lnTo>
                <a:lnTo>
                  <a:pt x="720" y="1733"/>
                </a:lnTo>
                <a:lnTo>
                  <a:pt x="718" y="1733"/>
                </a:lnTo>
                <a:lnTo>
                  <a:pt x="718" y="1734"/>
                </a:lnTo>
                <a:lnTo>
                  <a:pt x="717" y="1735"/>
                </a:lnTo>
                <a:lnTo>
                  <a:pt x="714" y="1735"/>
                </a:lnTo>
                <a:lnTo>
                  <a:pt x="714" y="1732"/>
                </a:lnTo>
                <a:lnTo>
                  <a:pt x="712" y="1731"/>
                </a:lnTo>
                <a:lnTo>
                  <a:pt x="711" y="1731"/>
                </a:lnTo>
                <a:lnTo>
                  <a:pt x="710" y="1729"/>
                </a:lnTo>
                <a:lnTo>
                  <a:pt x="707" y="1729"/>
                </a:lnTo>
                <a:lnTo>
                  <a:pt x="705" y="1731"/>
                </a:lnTo>
                <a:lnTo>
                  <a:pt x="702" y="1731"/>
                </a:lnTo>
                <a:lnTo>
                  <a:pt x="698" y="1723"/>
                </a:lnTo>
                <a:lnTo>
                  <a:pt x="697" y="1723"/>
                </a:lnTo>
                <a:lnTo>
                  <a:pt x="697" y="1722"/>
                </a:lnTo>
                <a:lnTo>
                  <a:pt x="696" y="1721"/>
                </a:lnTo>
                <a:lnTo>
                  <a:pt x="683" y="1721"/>
                </a:lnTo>
                <a:lnTo>
                  <a:pt x="683" y="1722"/>
                </a:lnTo>
                <a:lnTo>
                  <a:pt x="681" y="1723"/>
                </a:lnTo>
                <a:lnTo>
                  <a:pt x="680" y="1723"/>
                </a:lnTo>
                <a:lnTo>
                  <a:pt x="680" y="1725"/>
                </a:lnTo>
                <a:lnTo>
                  <a:pt x="679" y="1725"/>
                </a:lnTo>
                <a:lnTo>
                  <a:pt x="679" y="1726"/>
                </a:lnTo>
                <a:lnTo>
                  <a:pt x="678" y="1727"/>
                </a:lnTo>
                <a:lnTo>
                  <a:pt x="676" y="1727"/>
                </a:lnTo>
                <a:lnTo>
                  <a:pt x="674" y="1726"/>
                </a:lnTo>
                <a:lnTo>
                  <a:pt x="673" y="1726"/>
                </a:lnTo>
                <a:lnTo>
                  <a:pt x="673" y="1725"/>
                </a:lnTo>
                <a:lnTo>
                  <a:pt x="672" y="1723"/>
                </a:lnTo>
                <a:lnTo>
                  <a:pt x="672" y="1720"/>
                </a:lnTo>
                <a:lnTo>
                  <a:pt x="671" y="1719"/>
                </a:lnTo>
                <a:lnTo>
                  <a:pt x="668" y="1719"/>
                </a:lnTo>
                <a:lnTo>
                  <a:pt x="666" y="1716"/>
                </a:lnTo>
                <a:lnTo>
                  <a:pt x="665" y="1708"/>
                </a:lnTo>
                <a:lnTo>
                  <a:pt x="665" y="1707"/>
                </a:lnTo>
                <a:lnTo>
                  <a:pt x="668" y="1705"/>
                </a:lnTo>
                <a:lnTo>
                  <a:pt x="667" y="1704"/>
                </a:lnTo>
                <a:lnTo>
                  <a:pt x="667" y="1698"/>
                </a:lnTo>
                <a:lnTo>
                  <a:pt x="666" y="1697"/>
                </a:lnTo>
                <a:lnTo>
                  <a:pt x="665" y="1697"/>
                </a:lnTo>
                <a:lnTo>
                  <a:pt x="665" y="1694"/>
                </a:lnTo>
                <a:lnTo>
                  <a:pt x="664" y="1692"/>
                </a:lnTo>
                <a:lnTo>
                  <a:pt x="664" y="1691"/>
                </a:lnTo>
                <a:lnTo>
                  <a:pt x="662" y="1690"/>
                </a:lnTo>
                <a:lnTo>
                  <a:pt x="664" y="1689"/>
                </a:lnTo>
                <a:lnTo>
                  <a:pt x="662" y="1688"/>
                </a:lnTo>
                <a:lnTo>
                  <a:pt x="661" y="1688"/>
                </a:lnTo>
                <a:lnTo>
                  <a:pt x="661" y="1686"/>
                </a:lnTo>
                <a:lnTo>
                  <a:pt x="660" y="1686"/>
                </a:lnTo>
                <a:lnTo>
                  <a:pt x="660" y="1683"/>
                </a:lnTo>
                <a:lnTo>
                  <a:pt x="664" y="1683"/>
                </a:lnTo>
                <a:lnTo>
                  <a:pt x="664" y="1680"/>
                </a:lnTo>
                <a:lnTo>
                  <a:pt x="662" y="1680"/>
                </a:lnTo>
                <a:lnTo>
                  <a:pt x="661" y="1679"/>
                </a:lnTo>
                <a:lnTo>
                  <a:pt x="660" y="1679"/>
                </a:lnTo>
                <a:lnTo>
                  <a:pt x="658" y="1680"/>
                </a:lnTo>
                <a:lnTo>
                  <a:pt x="656" y="1680"/>
                </a:lnTo>
                <a:lnTo>
                  <a:pt x="655" y="1679"/>
                </a:lnTo>
                <a:lnTo>
                  <a:pt x="654" y="1677"/>
                </a:lnTo>
                <a:lnTo>
                  <a:pt x="653" y="1671"/>
                </a:lnTo>
                <a:lnTo>
                  <a:pt x="653" y="1670"/>
                </a:lnTo>
                <a:lnTo>
                  <a:pt x="652" y="1668"/>
                </a:lnTo>
                <a:lnTo>
                  <a:pt x="650" y="1668"/>
                </a:lnTo>
                <a:lnTo>
                  <a:pt x="649" y="1670"/>
                </a:lnTo>
                <a:lnTo>
                  <a:pt x="648" y="1670"/>
                </a:lnTo>
                <a:lnTo>
                  <a:pt x="648" y="1668"/>
                </a:lnTo>
                <a:lnTo>
                  <a:pt x="647" y="1668"/>
                </a:lnTo>
                <a:lnTo>
                  <a:pt x="645" y="1670"/>
                </a:lnTo>
                <a:lnTo>
                  <a:pt x="641" y="1671"/>
                </a:lnTo>
                <a:lnTo>
                  <a:pt x="639" y="1672"/>
                </a:lnTo>
                <a:lnTo>
                  <a:pt x="635" y="1672"/>
                </a:lnTo>
                <a:lnTo>
                  <a:pt x="633" y="1670"/>
                </a:lnTo>
                <a:lnTo>
                  <a:pt x="633" y="1667"/>
                </a:lnTo>
                <a:lnTo>
                  <a:pt x="627" y="1667"/>
                </a:lnTo>
                <a:lnTo>
                  <a:pt x="624" y="1666"/>
                </a:lnTo>
                <a:lnTo>
                  <a:pt x="621" y="1666"/>
                </a:lnTo>
                <a:lnTo>
                  <a:pt x="619" y="1667"/>
                </a:lnTo>
                <a:lnTo>
                  <a:pt x="617" y="1667"/>
                </a:lnTo>
                <a:lnTo>
                  <a:pt x="615" y="1666"/>
                </a:lnTo>
                <a:lnTo>
                  <a:pt x="617" y="1665"/>
                </a:lnTo>
                <a:lnTo>
                  <a:pt x="619" y="1660"/>
                </a:lnTo>
                <a:lnTo>
                  <a:pt x="619" y="1658"/>
                </a:lnTo>
                <a:lnTo>
                  <a:pt x="618" y="1659"/>
                </a:lnTo>
                <a:lnTo>
                  <a:pt x="617" y="1659"/>
                </a:lnTo>
                <a:lnTo>
                  <a:pt x="614" y="1655"/>
                </a:lnTo>
                <a:lnTo>
                  <a:pt x="616" y="1655"/>
                </a:lnTo>
                <a:lnTo>
                  <a:pt x="616" y="1647"/>
                </a:lnTo>
                <a:lnTo>
                  <a:pt x="612" y="1643"/>
                </a:lnTo>
                <a:lnTo>
                  <a:pt x="612" y="1641"/>
                </a:lnTo>
                <a:lnTo>
                  <a:pt x="611" y="1641"/>
                </a:lnTo>
                <a:lnTo>
                  <a:pt x="610" y="1640"/>
                </a:lnTo>
                <a:lnTo>
                  <a:pt x="610" y="1637"/>
                </a:lnTo>
                <a:lnTo>
                  <a:pt x="612" y="1637"/>
                </a:lnTo>
                <a:lnTo>
                  <a:pt x="619" y="1635"/>
                </a:lnTo>
                <a:lnTo>
                  <a:pt x="622" y="1635"/>
                </a:lnTo>
                <a:lnTo>
                  <a:pt x="624" y="1633"/>
                </a:lnTo>
                <a:lnTo>
                  <a:pt x="624" y="1630"/>
                </a:lnTo>
                <a:lnTo>
                  <a:pt x="623" y="1628"/>
                </a:lnTo>
                <a:lnTo>
                  <a:pt x="621" y="1625"/>
                </a:lnTo>
                <a:lnTo>
                  <a:pt x="618" y="1624"/>
                </a:lnTo>
                <a:lnTo>
                  <a:pt x="618" y="1623"/>
                </a:lnTo>
                <a:lnTo>
                  <a:pt x="616" y="1623"/>
                </a:lnTo>
                <a:lnTo>
                  <a:pt x="616" y="1622"/>
                </a:lnTo>
                <a:lnTo>
                  <a:pt x="615" y="1622"/>
                </a:lnTo>
                <a:lnTo>
                  <a:pt x="615" y="1621"/>
                </a:lnTo>
                <a:lnTo>
                  <a:pt x="612" y="1618"/>
                </a:lnTo>
                <a:lnTo>
                  <a:pt x="610" y="1618"/>
                </a:lnTo>
                <a:lnTo>
                  <a:pt x="611" y="1617"/>
                </a:lnTo>
                <a:lnTo>
                  <a:pt x="611" y="1616"/>
                </a:lnTo>
                <a:lnTo>
                  <a:pt x="609" y="1614"/>
                </a:lnTo>
                <a:lnTo>
                  <a:pt x="609" y="1608"/>
                </a:lnTo>
                <a:lnTo>
                  <a:pt x="610" y="1606"/>
                </a:lnTo>
                <a:lnTo>
                  <a:pt x="610" y="1605"/>
                </a:lnTo>
                <a:lnTo>
                  <a:pt x="608" y="1603"/>
                </a:lnTo>
                <a:lnTo>
                  <a:pt x="608" y="1602"/>
                </a:lnTo>
                <a:lnTo>
                  <a:pt x="605" y="1599"/>
                </a:lnTo>
                <a:lnTo>
                  <a:pt x="604" y="1599"/>
                </a:lnTo>
                <a:lnTo>
                  <a:pt x="603" y="1597"/>
                </a:lnTo>
                <a:lnTo>
                  <a:pt x="603" y="1596"/>
                </a:lnTo>
                <a:lnTo>
                  <a:pt x="600" y="1594"/>
                </a:lnTo>
                <a:lnTo>
                  <a:pt x="599" y="1593"/>
                </a:lnTo>
                <a:lnTo>
                  <a:pt x="599" y="1592"/>
                </a:lnTo>
                <a:lnTo>
                  <a:pt x="598" y="1591"/>
                </a:lnTo>
                <a:lnTo>
                  <a:pt x="593" y="1591"/>
                </a:lnTo>
                <a:lnTo>
                  <a:pt x="590" y="1592"/>
                </a:lnTo>
                <a:lnTo>
                  <a:pt x="586" y="1596"/>
                </a:lnTo>
                <a:lnTo>
                  <a:pt x="585" y="1594"/>
                </a:lnTo>
                <a:lnTo>
                  <a:pt x="585" y="1591"/>
                </a:lnTo>
                <a:lnTo>
                  <a:pt x="584" y="1591"/>
                </a:lnTo>
                <a:lnTo>
                  <a:pt x="583" y="1592"/>
                </a:lnTo>
                <a:lnTo>
                  <a:pt x="581" y="1592"/>
                </a:lnTo>
                <a:lnTo>
                  <a:pt x="580" y="1591"/>
                </a:lnTo>
                <a:lnTo>
                  <a:pt x="577" y="1591"/>
                </a:lnTo>
                <a:lnTo>
                  <a:pt x="573" y="1590"/>
                </a:lnTo>
                <a:lnTo>
                  <a:pt x="572" y="1590"/>
                </a:lnTo>
                <a:lnTo>
                  <a:pt x="572" y="1591"/>
                </a:lnTo>
                <a:lnTo>
                  <a:pt x="571" y="1592"/>
                </a:lnTo>
                <a:lnTo>
                  <a:pt x="568" y="1592"/>
                </a:lnTo>
                <a:lnTo>
                  <a:pt x="568" y="1593"/>
                </a:lnTo>
                <a:lnTo>
                  <a:pt x="567" y="1594"/>
                </a:lnTo>
                <a:lnTo>
                  <a:pt x="566" y="1594"/>
                </a:lnTo>
                <a:lnTo>
                  <a:pt x="561" y="1598"/>
                </a:lnTo>
                <a:lnTo>
                  <a:pt x="559" y="1598"/>
                </a:lnTo>
                <a:lnTo>
                  <a:pt x="558" y="1597"/>
                </a:lnTo>
                <a:lnTo>
                  <a:pt x="556" y="1597"/>
                </a:lnTo>
                <a:lnTo>
                  <a:pt x="554" y="1598"/>
                </a:lnTo>
                <a:lnTo>
                  <a:pt x="553" y="1598"/>
                </a:lnTo>
                <a:lnTo>
                  <a:pt x="544" y="1593"/>
                </a:lnTo>
                <a:lnTo>
                  <a:pt x="542" y="1594"/>
                </a:lnTo>
                <a:lnTo>
                  <a:pt x="538" y="1593"/>
                </a:lnTo>
                <a:lnTo>
                  <a:pt x="537" y="1593"/>
                </a:lnTo>
                <a:lnTo>
                  <a:pt x="536" y="1596"/>
                </a:lnTo>
                <a:lnTo>
                  <a:pt x="537" y="1598"/>
                </a:lnTo>
                <a:lnTo>
                  <a:pt x="537" y="1599"/>
                </a:lnTo>
                <a:lnTo>
                  <a:pt x="536" y="1599"/>
                </a:lnTo>
                <a:lnTo>
                  <a:pt x="536" y="1602"/>
                </a:lnTo>
                <a:lnTo>
                  <a:pt x="535" y="1605"/>
                </a:lnTo>
                <a:lnTo>
                  <a:pt x="534" y="1608"/>
                </a:lnTo>
                <a:lnTo>
                  <a:pt x="531" y="1610"/>
                </a:lnTo>
                <a:lnTo>
                  <a:pt x="527" y="1612"/>
                </a:lnTo>
                <a:lnTo>
                  <a:pt x="525" y="1612"/>
                </a:lnTo>
                <a:lnTo>
                  <a:pt x="523" y="1611"/>
                </a:lnTo>
                <a:lnTo>
                  <a:pt x="522" y="1612"/>
                </a:lnTo>
                <a:lnTo>
                  <a:pt x="519" y="1614"/>
                </a:lnTo>
                <a:lnTo>
                  <a:pt x="518" y="1614"/>
                </a:lnTo>
                <a:lnTo>
                  <a:pt x="517" y="1612"/>
                </a:lnTo>
                <a:lnTo>
                  <a:pt x="517" y="1609"/>
                </a:lnTo>
                <a:lnTo>
                  <a:pt x="516" y="1609"/>
                </a:lnTo>
                <a:lnTo>
                  <a:pt x="515" y="1608"/>
                </a:lnTo>
                <a:lnTo>
                  <a:pt x="512" y="1609"/>
                </a:lnTo>
                <a:lnTo>
                  <a:pt x="512" y="1605"/>
                </a:lnTo>
                <a:lnTo>
                  <a:pt x="509" y="1602"/>
                </a:lnTo>
                <a:lnTo>
                  <a:pt x="509" y="1598"/>
                </a:lnTo>
                <a:lnTo>
                  <a:pt x="507" y="1597"/>
                </a:lnTo>
                <a:lnTo>
                  <a:pt x="506" y="1597"/>
                </a:lnTo>
                <a:lnTo>
                  <a:pt x="505" y="1596"/>
                </a:lnTo>
                <a:lnTo>
                  <a:pt x="504" y="1593"/>
                </a:lnTo>
                <a:lnTo>
                  <a:pt x="505" y="1592"/>
                </a:lnTo>
                <a:lnTo>
                  <a:pt x="505" y="1588"/>
                </a:lnTo>
                <a:lnTo>
                  <a:pt x="504" y="1587"/>
                </a:lnTo>
                <a:lnTo>
                  <a:pt x="504" y="1586"/>
                </a:lnTo>
                <a:lnTo>
                  <a:pt x="505" y="1584"/>
                </a:lnTo>
                <a:lnTo>
                  <a:pt x="505" y="1582"/>
                </a:lnTo>
                <a:lnTo>
                  <a:pt x="503" y="1580"/>
                </a:lnTo>
                <a:lnTo>
                  <a:pt x="504" y="1579"/>
                </a:lnTo>
                <a:lnTo>
                  <a:pt x="504" y="1578"/>
                </a:lnTo>
                <a:lnTo>
                  <a:pt x="506" y="1578"/>
                </a:lnTo>
                <a:lnTo>
                  <a:pt x="506" y="1576"/>
                </a:lnTo>
                <a:lnTo>
                  <a:pt x="504" y="1575"/>
                </a:lnTo>
                <a:lnTo>
                  <a:pt x="504" y="1574"/>
                </a:lnTo>
                <a:lnTo>
                  <a:pt x="503" y="1572"/>
                </a:lnTo>
                <a:lnTo>
                  <a:pt x="500" y="1569"/>
                </a:lnTo>
                <a:lnTo>
                  <a:pt x="500" y="1568"/>
                </a:lnTo>
                <a:lnTo>
                  <a:pt x="503" y="1567"/>
                </a:lnTo>
                <a:lnTo>
                  <a:pt x="504" y="1565"/>
                </a:lnTo>
                <a:lnTo>
                  <a:pt x="504" y="1561"/>
                </a:lnTo>
                <a:lnTo>
                  <a:pt x="502" y="1559"/>
                </a:lnTo>
                <a:lnTo>
                  <a:pt x="502" y="1556"/>
                </a:lnTo>
                <a:lnTo>
                  <a:pt x="499" y="1556"/>
                </a:lnTo>
                <a:lnTo>
                  <a:pt x="496" y="1553"/>
                </a:lnTo>
                <a:lnTo>
                  <a:pt x="494" y="1549"/>
                </a:lnTo>
                <a:lnTo>
                  <a:pt x="493" y="1548"/>
                </a:lnTo>
                <a:lnTo>
                  <a:pt x="491" y="1544"/>
                </a:lnTo>
                <a:lnTo>
                  <a:pt x="493" y="1541"/>
                </a:lnTo>
                <a:lnTo>
                  <a:pt x="494" y="1541"/>
                </a:lnTo>
                <a:lnTo>
                  <a:pt x="496" y="1539"/>
                </a:lnTo>
                <a:lnTo>
                  <a:pt x="496" y="1533"/>
                </a:lnTo>
                <a:lnTo>
                  <a:pt x="498" y="1532"/>
                </a:lnTo>
                <a:lnTo>
                  <a:pt x="503" y="1532"/>
                </a:lnTo>
                <a:lnTo>
                  <a:pt x="504" y="1531"/>
                </a:lnTo>
                <a:lnTo>
                  <a:pt x="506" y="1531"/>
                </a:lnTo>
                <a:lnTo>
                  <a:pt x="509" y="1532"/>
                </a:lnTo>
                <a:lnTo>
                  <a:pt x="512" y="1532"/>
                </a:lnTo>
                <a:lnTo>
                  <a:pt x="512" y="1537"/>
                </a:lnTo>
                <a:lnTo>
                  <a:pt x="513" y="1538"/>
                </a:lnTo>
                <a:lnTo>
                  <a:pt x="516" y="1538"/>
                </a:lnTo>
                <a:lnTo>
                  <a:pt x="518" y="1539"/>
                </a:lnTo>
                <a:lnTo>
                  <a:pt x="522" y="1539"/>
                </a:lnTo>
                <a:lnTo>
                  <a:pt x="523" y="1538"/>
                </a:lnTo>
                <a:lnTo>
                  <a:pt x="525" y="1541"/>
                </a:lnTo>
                <a:lnTo>
                  <a:pt x="527" y="1541"/>
                </a:lnTo>
                <a:lnTo>
                  <a:pt x="528" y="1539"/>
                </a:lnTo>
                <a:lnTo>
                  <a:pt x="530" y="1539"/>
                </a:lnTo>
                <a:lnTo>
                  <a:pt x="531" y="1538"/>
                </a:lnTo>
                <a:lnTo>
                  <a:pt x="531" y="1537"/>
                </a:lnTo>
                <a:lnTo>
                  <a:pt x="534" y="1537"/>
                </a:lnTo>
                <a:lnTo>
                  <a:pt x="538" y="1532"/>
                </a:lnTo>
                <a:lnTo>
                  <a:pt x="540" y="1532"/>
                </a:lnTo>
                <a:lnTo>
                  <a:pt x="540" y="1531"/>
                </a:lnTo>
                <a:lnTo>
                  <a:pt x="541" y="1529"/>
                </a:lnTo>
                <a:lnTo>
                  <a:pt x="542" y="1528"/>
                </a:lnTo>
                <a:lnTo>
                  <a:pt x="542" y="1526"/>
                </a:lnTo>
                <a:lnTo>
                  <a:pt x="541" y="1526"/>
                </a:lnTo>
                <a:lnTo>
                  <a:pt x="541" y="1525"/>
                </a:lnTo>
                <a:lnTo>
                  <a:pt x="542" y="1524"/>
                </a:lnTo>
                <a:lnTo>
                  <a:pt x="543" y="1525"/>
                </a:lnTo>
                <a:lnTo>
                  <a:pt x="546" y="1525"/>
                </a:lnTo>
                <a:lnTo>
                  <a:pt x="547" y="1524"/>
                </a:lnTo>
                <a:lnTo>
                  <a:pt x="547" y="1523"/>
                </a:lnTo>
                <a:lnTo>
                  <a:pt x="553" y="1523"/>
                </a:lnTo>
                <a:lnTo>
                  <a:pt x="552" y="1520"/>
                </a:lnTo>
                <a:lnTo>
                  <a:pt x="553" y="1516"/>
                </a:lnTo>
                <a:lnTo>
                  <a:pt x="553" y="1514"/>
                </a:lnTo>
                <a:lnTo>
                  <a:pt x="552" y="1513"/>
                </a:lnTo>
                <a:lnTo>
                  <a:pt x="549" y="1513"/>
                </a:lnTo>
                <a:lnTo>
                  <a:pt x="549" y="1511"/>
                </a:lnTo>
                <a:lnTo>
                  <a:pt x="547" y="1511"/>
                </a:lnTo>
                <a:lnTo>
                  <a:pt x="547" y="1512"/>
                </a:lnTo>
                <a:lnTo>
                  <a:pt x="546" y="1511"/>
                </a:lnTo>
                <a:lnTo>
                  <a:pt x="546" y="1510"/>
                </a:lnTo>
                <a:lnTo>
                  <a:pt x="544" y="1510"/>
                </a:lnTo>
                <a:lnTo>
                  <a:pt x="542" y="1508"/>
                </a:lnTo>
                <a:lnTo>
                  <a:pt x="540" y="1506"/>
                </a:lnTo>
                <a:lnTo>
                  <a:pt x="540" y="1505"/>
                </a:lnTo>
                <a:lnTo>
                  <a:pt x="538" y="1502"/>
                </a:lnTo>
                <a:lnTo>
                  <a:pt x="538" y="1501"/>
                </a:lnTo>
                <a:lnTo>
                  <a:pt x="540" y="1501"/>
                </a:lnTo>
                <a:lnTo>
                  <a:pt x="542" y="1499"/>
                </a:lnTo>
                <a:lnTo>
                  <a:pt x="543" y="1499"/>
                </a:lnTo>
                <a:lnTo>
                  <a:pt x="543" y="1498"/>
                </a:lnTo>
                <a:lnTo>
                  <a:pt x="541" y="1495"/>
                </a:lnTo>
                <a:lnTo>
                  <a:pt x="537" y="1495"/>
                </a:lnTo>
                <a:lnTo>
                  <a:pt x="536" y="1493"/>
                </a:lnTo>
                <a:lnTo>
                  <a:pt x="535" y="1492"/>
                </a:lnTo>
                <a:lnTo>
                  <a:pt x="529" y="1490"/>
                </a:lnTo>
                <a:lnTo>
                  <a:pt x="527" y="1489"/>
                </a:lnTo>
                <a:lnTo>
                  <a:pt x="525" y="1488"/>
                </a:lnTo>
                <a:lnTo>
                  <a:pt x="517" y="1490"/>
                </a:lnTo>
                <a:lnTo>
                  <a:pt x="513" y="1489"/>
                </a:lnTo>
                <a:lnTo>
                  <a:pt x="511" y="1489"/>
                </a:lnTo>
                <a:lnTo>
                  <a:pt x="512" y="1488"/>
                </a:lnTo>
                <a:lnTo>
                  <a:pt x="515" y="1483"/>
                </a:lnTo>
                <a:lnTo>
                  <a:pt x="515" y="1477"/>
                </a:lnTo>
                <a:lnTo>
                  <a:pt x="516" y="1477"/>
                </a:lnTo>
                <a:lnTo>
                  <a:pt x="516" y="1475"/>
                </a:lnTo>
                <a:lnTo>
                  <a:pt x="515" y="1471"/>
                </a:lnTo>
                <a:lnTo>
                  <a:pt x="512" y="1471"/>
                </a:lnTo>
                <a:lnTo>
                  <a:pt x="512" y="1469"/>
                </a:lnTo>
                <a:lnTo>
                  <a:pt x="511" y="1469"/>
                </a:lnTo>
                <a:lnTo>
                  <a:pt x="511" y="1468"/>
                </a:lnTo>
                <a:lnTo>
                  <a:pt x="507" y="1468"/>
                </a:lnTo>
                <a:lnTo>
                  <a:pt x="504" y="1465"/>
                </a:lnTo>
                <a:lnTo>
                  <a:pt x="503" y="1465"/>
                </a:lnTo>
                <a:lnTo>
                  <a:pt x="502" y="1464"/>
                </a:lnTo>
                <a:lnTo>
                  <a:pt x="500" y="1464"/>
                </a:lnTo>
                <a:lnTo>
                  <a:pt x="493" y="1458"/>
                </a:lnTo>
                <a:lnTo>
                  <a:pt x="493" y="1457"/>
                </a:lnTo>
                <a:lnTo>
                  <a:pt x="492" y="1456"/>
                </a:lnTo>
                <a:lnTo>
                  <a:pt x="492" y="1449"/>
                </a:lnTo>
                <a:lnTo>
                  <a:pt x="491" y="1449"/>
                </a:lnTo>
                <a:lnTo>
                  <a:pt x="491" y="1448"/>
                </a:lnTo>
                <a:lnTo>
                  <a:pt x="490" y="1444"/>
                </a:lnTo>
                <a:lnTo>
                  <a:pt x="488" y="1443"/>
                </a:lnTo>
                <a:lnTo>
                  <a:pt x="487" y="1443"/>
                </a:lnTo>
                <a:lnTo>
                  <a:pt x="487" y="1442"/>
                </a:lnTo>
                <a:lnTo>
                  <a:pt x="484" y="1440"/>
                </a:lnTo>
                <a:lnTo>
                  <a:pt x="482" y="1439"/>
                </a:lnTo>
                <a:lnTo>
                  <a:pt x="484" y="1437"/>
                </a:lnTo>
                <a:lnTo>
                  <a:pt x="486" y="1433"/>
                </a:lnTo>
                <a:lnTo>
                  <a:pt x="487" y="1430"/>
                </a:lnTo>
                <a:lnTo>
                  <a:pt x="485" y="1428"/>
                </a:lnTo>
                <a:lnTo>
                  <a:pt x="485" y="1426"/>
                </a:lnTo>
                <a:lnTo>
                  <a:pt x="480" y="1426"/>
                </a:lnTo>
                <a:lnTo>
                  <a:pt x="480" y="1425"/>
                </a:lnTo>
                <a:lnTo>
                  <a:pt x="479" y="1424"/>
                </a:lnTo>
                <a:lnTo>
                  <a:pt x="473" y="1419"/>
                </a:lnTo>
                <a:lnTo>
                  <a:pt x="471" y="1419"/>
                </a:lnTo>
                <a:lnTo>
                  <a:pt x="471" y="1418"/>
                </a:lnTo>
                <a:lnTo>
                  <a:pt x="469" y="1416"/>
                </a:lnTo>
                <a:lnTo>
                  <a:pt x="471" y="1415"/>
                </a:lnTo>
                <a:lnTo>
                  <a:pt x="471" y="1413"/>
                </a:lnTo>
                <a:lnTo>
                  <a:pt x="472" y="1413"/>
                </a:lnTo>
                <a:lnTo>
                  <a:pt x="473" y="1412"/>
                </a:lnTo>
                <a:lnTo>
                  <a:pt x="473" y="1409"/>
                </a:lnTo>
                <a:lnTo>
                  <a:pt x="472" y="1408"/>
                </a:lnTo>
                <a:lnTo>
                  <a:pt x="473" y="1407"/>
                </a:lnTo>
                <a:lnTo>
                  <a:pt x="475" y="1406"/>
                </a:lnTo>
                <a:lnTo>
                  <a:pt x="476" y="1406"/>
                </a:lnTo>
                <a:lnTo>
                  <a:pt x="478" y="1405"/>
                </a:lnTo>
                <a:lnTo>
                  <a:pt x="476" y="1403"/>
                </a:lnTo>
                <a:lnTo>
                  <a:pt x="476" y="1401"/>
                </a:lnTo>
                <a:lnTo>
                  <a:pt x="480" y="1401"/>
                </a:lnTo>
                <a:lnTo>
                  <a:pt x="480" y="1397"/>
                </a:lnTo>
                <a:lnTo>
                  <a:pt x="479" y="1396"/>
                </a:lnTo>
                <a:lnTo>
                  <a:pt x="479" y="1391"/>
                </a:lnTo>
                <a:lnTo>
                  <a:pt x="478" y="1391"/>
                </a:lnTo>
                <a:lnTo>
                  <a:pt x="478" y="1390"/>
                </a:lnTo>
                <a:lnTo>
                  <a:pt x="475" y="1388"/>
                </a:lnTo>
                <a:lnTo>
                  <a:pt x="474" y="1384"/>
                </a:lnTo>
                <a:lnTo>
                  <a:pt x="474" y="1383"/>
                </a:lnTo>
                <a:lnTo>
                  <a:pt x="473" y="1383"/>
                </a:lnTo>
                <a:lnTo>
                  <a:pt x="472" y="1382"/>
                </a:lnTo>
                <a:lnTo>
                  <a:pt x="472" y="1378"/>
                </a:lnTo>
                <a:lnTo>
                  <a:pt x="473" y="1376"/>
                </a:lnTo>
                <a:lnTo>
                  <a:pt x="476" y="1375"/>
                </a:lnTo>
                <a:lnTo>
                  <a:pt x="476" y="1372"/>
                </a:lnTo>
                <a:lnTo>
                  <a:pt x="475" y="1371"/>
                </a:lnTo>
                <a:lnTo>
                  <a:pt x="475" y="1367"/>
                </a:lnTo>
                <a:lnTo>
                  <a:pt x="476" y="1366"/>
                </a:lnTo>
                <a:lnTo>
                  <a:pt x="475" y="1365"/>
                </a:lnTo>
                <a:lnTo>
                  <a:pt x="476" y="1363"/>
                </a:lnTo>
                <a:lnTo>
                  <a:pt x="476" y="1359"/>
                </a:lnTo>
                <a:lnTo>
                  <a:pt x="475" y="1358"/>
                </a:lnTo>
                <a:lnTo>
                  <a:pt x="473" y="1357"/>
                </a:lnTo>
                <a:lnTo>
                  <a:pt x="472" y="1358"/>
                </a:lnTo>
                <a:lnTo>
                  <a:pt x="469" y="1358"/>
                </a:lnTo>
                <a:lnTo>
                  <a:pt x="468" y="1356"/>
                </a:lnTo>
                <a:lnTo>
                  <a:pt x="467" y="1354"/>
                </a:lnTo>
                <a:lnTo>
                  <a:pt x="467" y="1353"/>
                </a:lnTo>
                <a:lnTo>
                  <a:pt x="463" y="1353"/>
                </a:lnTo>
                <a:lnTo>
                  <a:pt x="462" y="1352"/>
                </a:lnTo>
                <a:lnTo>
                  <a:pt x="462" y="1348"/>
                </a:lnTo>
                <a:lnTo>
                  <a:pt x="457" y="1346"/>
                </a:lnTo>
                <a:lnTo>
                  <a:pt x="457" y="1344"/>
                </a:lnTo>
                <a:lnTo>
                  <a:pt x="449" y="1340"/>
                </a:lnTo>
                <a:lnTo>
                  <a:pt x="448" y="1340"/>
                </a:lnTo>
                <a:lnTo>
                  <a:pt x="447" y="1339"/>
                </a:lnTo>
                <a:lnTo>
                  <a:pt x="445" y="1339"/>
                </a:lnTo>
                <a:lnTo>
                  <a:pt x="443" y="1341"/>
                </a:lnTo>
                <a:lnTo>
                  <a:pt x="442" y="1341"/>
                </a:lnTo>
                <a:lnTo>
                  <a:pt x="437" y="1339"/>
                </a:lnTo>
                <a:lnTo>
                  <a:pt x="436" y="1339"/>
                </a:lnTo>
                <a:lnTo>
                  <a:pt x="434" y="1340"/>
                </a:lnTo>
                <a:lnTo>
                  <a:pt x="432" y="1340"/>
                </a:lnTo>
                <a:lnTo>
                  <a:pt x="430" y="1345"/>
                </a:lnTo>
                <a:lnTo>
                  <a:pt x="429" y="1346"/>
                </a:lnTo>
                <a:lnTo>
                  <a:pt x="425" y="1345"/>
                </a:lnTo>
                <a:lnTo>
                  <a:pt x="424" y="1345"/>
                </a:lnTo>
                <a:lnTo>
                  <a:pt x="420" y="1347"/>
                </a:lnTo>
                <a:lnTo>
                  <a:pt x="417" y="1352"/>
                </a:lnTo>
                <a:lnTo>
                  <a:pt x="416" y="1352"/>
                </a:lnTo>
                <a:lnTo>
                  <a:pt x="414" y="1351"/>
                </a:lnTo>
                <a:lnTo>
                  <a:pt x="413" y="1348"/>
                </a:lnTo>
                <a:lnTo>
                  <a:pt x="410" y="1345"/>
                </a:lnTo>
                <a:lnTo>
                  <a:pt x="410" y="1342"/>
                </a:lnTo>
                <a:lnTo>
                  <a:pt x="411" y="1340"/>
                </a:lnTo>
                <a:lnTo>
                  <a:pt x="411" y="1339"/>
                </a:lnTo>
                <a:lnTo>
                  <a:pt x="412" y="1338"/>
                </a:lnTo>
                <a:lnTo>
                  <a:pt x="412" y="1335"/>
                </a:lnTo>
                <a:lnTo>
                  <a:pt x="414" y="1335"/>
                </a:lnTo>
                <a:lnTo>
                  <a:pt x="414" y="1334"/>
                </a:lnTo>
                <a:lnTo>
                  <a:pt x="413" y="1334"/>
                </a:lnTo>
                <a:lnTo>
                  <a:pt x="413" y="1333"/>
                </a:lnTo>
                <a:lnTo>
                  <a:pt x="412" y="1332"/>
                </a:lnTo>
                <a:lnTo>
                  <a:pt x="411" y="1332"/>
                </a:lnTo>
                <a:lnTo>
                  <a:pt x="405" y="1329"/>
                </a:lnTo>
                <a:lnTo>
                  <a:pt x="404" y="1328"/>
                </a:lnTo>
                <a:lnTo>
                  <a:pt x="399" y="1326"/>
                </a:lnTo>
                <a:lnTo>
                  <a:pt x="397" y="1326"/>
                </a:lnTo>
                <a:lnTo>
                  <a:pt x="389" y="1329"/>
                </a:lnTo>
                <a:lnTo>
                  <a:pt x="388" y="1330"/>
                </a:lnTo>
                <a:lnTo>
                  <a:pt x="388" y="1333"/>
                </a:lnTo>
                <a:lnTo>
                  <a:pt x="387" y="1333"/>
                </a:lnTo>
                <a:lnTo>
                  <a:pt x="385" y="1332"/>
                </a:lnTo>
                <a:lnTo>
                  <a:pt x="382" y="1329"/>
                </a:lnTo>
                <a:lnTo>
                  <a:pt x="382" y="1326"/>
                </a:lnTo>
                <a:lnTo>
                  <a:pt x="380" y="1323"/>
                </a:lnTo>
                <a:lnTo>
                  <a:pt x="380" y="1322"/>
                </a:lnTo>
                <a:lnTo>
                  <a:pt x="379" y="1321"/>
                </a:lnTo>
                <a:lnTo>
                  <a:pt x="369" y="1321"/>
                </a:lnTo>
                <a:lnTo>
                  <a:pt x="369" y="1322"/>
                </a:lnTo>
                <a:lnTo>
                  <a:pt x="367" y="1324"/>
                </a:lnTo>
                <a:lnTo>
                  <a:pt x="366" y="1324"/>
                </a:lnTo>
                <a:lnTo>
                  <a:pt x="363" y="1322"/>
                </a:lnTo>
                <a:lnTo>
                  <a:pt x="361" y="1319"/>
                </a:lnTo>
                <a:lnTo>
                  <a:pt x="360" y="1317"/>
                </a:lnTo>
                <a:lnTo>
                  <a:pt x="361" y="1316"/>
                </a:lnTo>
                <a:lnTo>
                  <a:pt x="361" y="1310"/>
                </a:lnTo>
                <a:lnTo>
                  <a:pt x="362" y="1309"/>
                </a:lnTo>
                <a:lnTo>
                  <a:pt x="362" y="1307"/>
                </a:lnTo>
                <a:lnTo>
                  <a:pt x="361" y="1302"/>
                </a:lnTo>
                <a:lnTo>
                  <a:pt x="361" y="1299"/>
                </a:lnTo>
                <a:lnTo>
                  <a:pt x="360" y="1298"/>
                </a:lnTo>
                <a:lnTo>
                  <a:pt x="361" y="1296"/>
                </a:lnTo>
                <a:lnTo>
                  <a:pt x="360" y="1295"/>
                </a:lnTo>
                <a:lnTo>
                  <a:pt x="360" y="1293"/>
                </a:lnTo>
                <a:lnTo>
                  <a:pt x="357" y="1291"/>
                </a:lnTo>
                <a:lnTo>
                  <a:pt x="357" y="1289"/>
                </a:lnTo>
                <a:lnTo>
                  <a:pt x="358" y="1287"/>
                </a:lnTo>
                <a:lnTo>
                  <a:pt x="358" y="1286"/>
                </a:lnTo>
                <a:lnTo>
                  <a:pt x="357" y="1285"/>
                </a:lnTo>
                <a:lnTo>
                  <a:pt x="355" y="1284"/>
                </a:lnTo>
                <a:lnTo>
                  <a:pt x="354" y="1283"/>
                </a:lnTo>
                <a:lnTo>
                  <a:pt x="354" y="1281"/>
                </a:lnTo>
                <a:lnTo>
                  <a:pt x="353" y="1280"/>
                </a:lnTo>
                <a:lnTo>
                  <a:pt x="353" y="1276"/>
                </a:lnTo>
                <a:lnTo>
                  <a:pt x="348" y="1272"/>
                </a:lnTo>
                <a:lnTo>
                  <a:pt x="348" y="1270"/>
                </a:lnTo>
                <a:lnTo>
                  <a:pt x="349" y="1268"/>
                </a:lnTo>
                <a:lnTo>
                  <a:pt x="350" y="1266"/>
                </a:lnTo>
                <a:lnTo>
                  <a:pt x="350" y="1265"/>
                </a:lnTo>
                <a:lnTo>
                  <a:pt x="349" y="1265"/>
                </a:lnTo>
                <a:lnTo>
                  <a:pt x="347" y="1262"/>
                </a:lnTo>
                <a:lnTo>
                  <a:pt x="344" y="1261"/>
                </a:lnTo>
                <a:lnTo>
                  <a:pt x="343" y="1262"/>
                </a:lnTo>
                <a:lnTo>
                  <a:pt x="339" y="1264"/>
                </a:lnTo>
                <a:lnTo>
                  <a:pt x="337" y="1264"/>
                </a:lnTo>
                <a:lnTo>
                  <a:pt x="338" y="1261"/>
                </a:lnTo>
                <a:lnTo>
                  <a:pt x="342" y="1255"/>
                </a:lnTo>
                <a:lnTo>
                  <a:pt x="342" y="1250"/>
                </a:lnTo>
                <a:lnTo>
                  <a:pt x="343" y="1249"/>
                </a:lnTo>
                <a:lnTo>
                  <a:pt x="343" y="1246"/>
                </a:lnTo>
                <a:lnTo>
                  <a:pt x="342" y="1246"/>
                </a:lnTo>
                <a:lnTo>
                  <a:pt x="339" y="1243"/>
                </a:lnTo>
                <a:lnTo>
                  <a:pt x="341" y="1242"/>
                </a:lnTo>
                <a:lnTo>
                  <a:pt x="344" y="1240"/>
                </a:lnTo>
                <a:lnTo>
                  <a:pt x="347" y="1237"/>
                </a:lnTo>
                <a:lnTo>
                  <a:pt x="347" y="1228"/>
                </a:lnTo>
                <a:lnTo>
                  <a:pt x="345" y="1227"/>
                </a:lnTo>
                <a:lnTo>
                  <a:pt x="341" y="1224"/>
                </a:lnTo>
                <a:lnTo>
                  <a:pt x="338" y="1221"/>
                </a:lnTo>
                <a:lnTo>
                  <a:pt x="333" y="1219"/>
                </a:lnTo>
                <a:lnTo>
                  <a:pt x="332" y="1218"/>
                </a:lnTo>
                <a:lnTo>
                  <a:pt x="332" y="1217"/>
                </a:lnTo>
                <a:lnTo>
                  <a:pt x="333" y="1215"/>
                </a:lnTo>
                <a:lnTo>
                  <a:pt x="333" y="1210"/>
                </a:lnTo>
                <a:lnTo>
                  <a:pt x="325" y="1210"/>
                </a:lnTo>
                <a:lnTo>
                  <a:pt x="325" y="1205"/>
                </a:lnTo>
                <a:lnTo>
                  <a:pt x="327" y="1205"/>
                </a:lnTo>
                <a:lnTo>
                  <a:pt x="327" y="1198"/>
                </a:lnTo>
                <a:lnTo>
                  <a:pt x="329" y="1198"/>
                </a:lnTo>
                <a:lnTo>
                  <a:pt x="332" y="1197"/>
                </a:lnTo>
                <a:lnTo>
                  <a:pt x="332" y="1191"/>
                </a:lnTo>
                <a:lnTo>
                  <a:pt x="333" y="1190"/>
                </a:lnTo>
                <a:lnTo>
                  <a:pt x="335" y="1190"/>
                </a:lnTo>
                <a:lnTo>
                  <a:pt x="333" y="1188"/>
                </a:lnTo>
                <a:lnTo>
                  <a:pt x="335" y="1187"/>
                </a:lnTo>
                <a:lnTo>
                  <a:pt x="341" y="1187"/>
                </a:lnTo>
                <a:lnTo>
                  <a:pt x="343" y="1186"/>
                </a:lnTo>
                <a:lnTo>
                  <a:pt x="345" y="1184"/>
                </a:lnTo>
                <a:lnTo>
                  <a:pt x="344" y="1182"/>
                </a:lnTo>
                <a:lnTo>
                  <a:pt x="344" y="1181"/>
                </a:lnTo>
                <a:lnTo>
                  <a:pt x="339" y="1180"/>
                </a:lnTo>
                <a:lnTo>
                  <a:pt x="339" y="1174"/>
                </a:lnTo>
                <a:lnTo>
                  <a:pt x="338" y="1173"/>
                </a:lnTo>
                <a:lnTo>
                  <a:pt x="338" y="1166"/>
                </a:lnTo>
                <a:lnTo>
                  <a:pt x="336" y="1163"/>
                </a:lnTo>
                <a:lnTo>
                  <a:pt x="333" y="1160"/>
                </a:lnTo>
                <a:lnTo>
                  <a:pt x="333" y="1157"/>
                </a:lnTo>
                <a:lnTo>
                  <a:pt x="332" y="1155"/>
                </a:lnTo>
                <a:lnTo>
                  <a:pt x="331" y="1151"/>
                </a:lnTo>
                <a:lnTo>
                  <a:pt x="335" y="1141"/>
                </a:lnTo>
                <a:lnTo>
                  <a:pt x="332" y="1130"/>
                </a:lnTo>
                <a:lnTo>
                  <a:pt x="329" y="1115"/>
                </a:lnTo>
                <a:lnTo>
                  <a:pt x="329" y="1112"/>
                </a:lnTo>
                <a:lnTo>
                  <a:pt x="331" y="1102"/>
                </a:lnTo>
                <a:lnTo>
                  <a:pt x="337" y="1098"/>
                </a:lnTo>
                <a:lnTo>
                  <a:pt x="341" y="1094"/>
                </a:lnTo>
                <a:lnTo>
                  <a:pt x="341" y="1093"/>
                </a:lnTo>
                <a:lnTo>
                  <a:pt x="344" y="1086"/>
                </a:lnTo>
                <a:lnTo>
                  <a:pt x="347" y="1078"/>
                </a:lnTo>
                <a:lnTo>
                  <a:pt x="348" y="1072"/>
                </a:lnTo>
                <a:lnTo>
                  <a:pt x="349" y="1071"/>
                </a:lnTo>
                <a:lnTo>
                  <a:pt x="348" y="1069"/>
                </a:lnTo>
                <a:lnTo>
                  <a:pt x="349" y="1068"/>
                </a:lnTo>
                <a:lnTo>
                  <a:pt x="351" y="1066"/>
                </a:lnTo>
                <a:lnTo>
                  <a:pt x="356" y="1066"/>
                </a:lnTo>
                <a:lnTo>
                  <a:pt x="357" y="1065"/>
                </a:lnTo>
                <a:lnTo>
                  <a:pt x="356" y="1065"/>
                </a:lnTo>
                <a:lnTo>
                  <a:pt x="354" y="1064"/>
                </a:lnTo>
                <a:lnTo>
                  <a:pt x="358" y="1064"/>
                </a:lnTo>
                <a:lnTo>
                  <a:pt x="360" y="1062"/>
                </a:lnTo>
                <a:lnTo>
                  <a:pt x="361" y="1063"/>
                </a:lnTo>
                <a:lnTo>
                  <a:pt x="361" y="1061"/>
                </a:lnTo>
                <a:lnTo>
                  <a:pt x="358" y="1058"/>
                </a:lnTo>
                <a:lnTo>
                  <a:pt x="357" y="1056"/>
                </a:lnTo>
                <a:lnTo>
                  <a:pt x="357" y="1055"/>
                </a:lnTo>
                <a:lnTo>
                  <a:pt x="355" y="1053"/>
                </a:lnTo>
                <a:lnTo>
                  <a:pt x="354" y="1052"/>
                </a:lnTo>
                <a:lnTo>
                  <a:pt x="356" y="1049"/>
                </a:lnTo>
                <a:lnTo>
                  <a:pt x="356" y="1044"/>
                </a:lnTo>
                <a:lnTo>
                  <a:pt x="355" y="1040"/>
                </a:lnTo>
                <a:lnTo>
                  <a:pt x="354" y="1038"/>
                </a:lnTo>
                <a:lnTo>
                  <a:pt x="354" y="1035"/>
                </a:lnTo>
                <a:lnTo>
                  <a:pt x="353" y="1034"/>
                </a:lnTo>
                <a:lnTo>
                  <a:pt x="353" y="1033"/>
                </a:lnTo>
                <a:lnTo>
                  <a:pt x="354" y="1031"/>
                </a:lnTo>
                <a:lnTo>
                  <a:pt x="354" y="1029"/>
                </a:lnTo>
                <a:lnTo>
                  <a:pt x="357" y="1026"/>
                </a:lnTo>
                <a:lnTo>
                  <a:pt x="358" y="1026"/>
                </a:lnTo>
                <a:lnTo>
                  <a:pt x="360" y="1028"/>
                </a:lnTo>
                <a:lnTo>
                  <a:pt x="362" y="1031"/>
                </a:lnTo>
                <a:lnTo>
                  <a:pt x="362" y="1033"/>
                </a:lnTo>
                <a:lnTo>
                  <a:pt x="363" y="1034"/>
                </a:lnTo>
                <a:lnTo>
                  <a:pt x="368" y="1037"/>
                </a:lnTo>
                <a:lnTo>
                  <a:pt x="369" y="1037"/>
                </a:lnTo>
                <a:lnTo>
                  <a:pt x="370" y="1035"/>
                </a:lnTo>
                <a:lnTo>
                  <a:pt x="370" y="1033"/>
                </a:lnTo>
                <a:lnTo>
                  <a:pt x="372" y="1031"/>
                </a:lnTo>
                <a:lnTo>
                  <a:pt x="370" y="1027"/>
                </a:lnTo>
                <a:lnTo>
                  <a:pt x="373" y="1022"/>
                </a:lnTo>
                <a:lnTo>
                  <a:pt x="373" y="1021"/>
                </a:lnTo>
                <a:lnTo>
                  <a:pt x="374" y="1021"/>
                </a:lnTo>
                <a:lnTo>
                  <a:pt x="375" y="1020"/>
                </a:lnTo>
                <a:lnTo>
                  <a:pt x="378" y="1022"/>
                </a:lnTo>
                <a:lnTo>
                  <a:pt x="380" y="1023"/>
                </a:lnTo>
                <a:lnTo>
                  <a:pt x="381" y="1023"/>
                </a:lnTo>
                <a:lnTo>
                  <a:pt x="381" y="1025"/>
                </a:lnTo>
                <a:lnTo>
                  <a:pt x="382" y="1025"/>
                </a:lnTo>
                <a:lnTo>
                  <a:pt x="382" y="1026"/>
                </a:lnTo>
                <a:lnTo>
                  <a:pt x="384" y="1027"/>
                </a:lnTo>
                <a:lnTo>
                  <a:pt x="385" y="1027"/>
                </a:lnTo>
                <a:lnTo>
                  <a:pt x="386" y="1026"/>
                </a:lnTo>
                <a:lnTo>
                  <a:pt x="387" y="1027"/>
                </a:lnTo>
                <a:lnTo>
                  <a:pt x="389" y="1027"/>
                </a:lnTo>
                <a:lnTo>
                  <a:pt x="391" y="1025"/>
                </a:lnTo>
                <a:lnTo>
                  <a:pt x="393" y="1025"/>
                </a:lnTo>
                <a:lnTo>
                  <a:pt x="394" y="1023"/>
                </a:lnTo>
                <a:lnTo>
                  <a:pt x="397" y="1019"/>
                </a:lnTo>
                <a:lnTo>
                  <a:pt x="397" y="1018"/>
                </a:lnTo>
                <a:lnTo>
                  <a:pt x="394" y="1015"/>
                </a:lnTo>
                <a:lnTo>
                  <a:pt x="397" y="1015"/>
                </a:lnTo>
                <a:lnTo>
                  <a:pt x="397" y="1014"/>
                </a:lnTo>
                <a:lnTo>
                  <a:pt x="399" y="1010"/>
                </a:lnTo>
                <a:lnTo>
                  <a:pt x="400" y="1009"/>
                </a:lnTo>
                <a:lnTo>
                  <a:pt x="406" y="1009"/>
                </a:lnTo>
                <a:lnTo>
                  <a:pt x="417" y="1012"/>
                </a:lnTo>
                <a:lnTo>
                  <a:pt x="430" y="1014"/>
                </a:lnTo>
                <a:lnTo>
                  <a:pt x="432" y="1016"/>
                </a:lnTo>
                <a:lnTo>
                  <a:pt x="443" y="1020"/>
                </a:lnTo>
                <a:lnTo>
                  <a:pt x="444" y="1020"/>
                </a:lnTo>
                <a:lnTo>
                  <a:pt x="445" y="1019"/>
                </a:lnTo>
                <a:lnTo>
                  <a:pt x="447" y="1016"/>
                </a:lnTo>
                <a:lnTo>
                  <a:pt x="447" y="1013"/>
                </a:lnTo>
                <a:lnTo>
                  <a:pt x="448" y="1012"/>
                </a:lnTo>
                <a:lnTo>
                  <a:pt x="448" y="1009"/>
                </a:lnTo>
                <a:lnTo>
                  <a:pt x="447" y="1009"/>
                </a:lnTo>
                <a:lnTo>
                  <a:pt x="437" y="1008"/>
                </a:lnTo>
                <a:lnTo>
                  <a:pt x="436" y="1007"/>
                </a:lnTo>
                <a:lnTo>
                  <a:pt x="435" y="1003"/>
                </a:lnTo>
                <a:lnTo>
                  <a:pt x="434" y="1002"/>
                </a:lnTo>
                <a:lnTo>
                  <a:pt x="434" y="997"/>
                </a:lnTo>
                <a:lnTo>
                  <a:pt x="431" y="995"/>
                </a:lnTo>
                <a:lnTo>
                  <a:pt x="425" y="992"/>
                </a:lnTo>
                <a:lnTo>
                  <a:pt x="418" y="991"/>
                </a:lnTo>
                <a:lnTo>
                  <a:pt x="414" y="994"/>
                </a:lnTo>
                <a:lnTo>
                  <a:pt x="413" y="995"/>
                </a:lnTo>
                <a:lnTo>
                  <a:pt x="406" y="994"/>
                </a:lnTo>
                <a:lnTo>
                  <a:pt x="398" y="994"/>
                </a:lnTo>
                <a:lnTo>
                  <a:pt x="397" y="992"/>
                </a:lnTo>
                <a:lnTo>
                  <a:pt x="395" y="990"/>
                </a:lnTo>
                <a:lnTo>
                  <a:pt x="393" y="986"/>
                </a:lnTo>
                <a:lnTo>
                  <a:pt x="391" y="984"/>
                </a:lnTo>
                <a:lnTo>
                  <a:pt x="389" y="984"/>
                </a:lnTo>
                <a:lnTo>
                  <a:pt x="389" y="982"/>
                </a:lnTo>
                <a:lnTo>
                  <a:pt x="388" y="979"/>
                </a:lnTo>
                <a:lnTo>
                  <a:pt x="388" y="978"/>
                </a:lnTo>
                <a:lnTo>
                  <a:pt x="387" y="978"/>
                </a:lnTo>
                <a:lnTo>
                  <a:pt x="387" y="979"/>
                </a:lnTo>
                <a:lnTo>
                  <a:pt x="384" y="979"/>
                </a:lnTo>
                <a:lnTo>
                  <a:pt x="382" y="978"/>
                </a:lnTo>
                <a:lnTo>
                  <a:pt x="380" y="977"/>
                </a:lnTo>
                <a:lnTo>
                  <a:pt x="379" y="977"/>
                </a:lnTo>
                <a:lnTo>
                  <a:pt x="379" y="976"/>
                </a:lnTo>
                <a:lnTo>
                  <a:pt x="375" y="967"/>
                </a:lnTo>
                <a:lnTo>
                  <a:pt x="373" y="963"/>
                </a:lnTo>
                <a:lnTo>
                  <a:pt x="372" y="961"/>
                </a:lnTo>
                <a:lnTo>
                  <a:pt x="373" y="960"/>
                </a:lnTo>
                <a:lnTo>
                  <a:pt x="374" y="960"/>
                </a:lnTo>
                <a:lnTo>
                  <a:pt x="375" y="961"/>
                </a:lnTo>
                <a:lnTo>
                  <a:pt x="375" y="965"/>
                </a:lnTo>
                <a:lnTo>
                  <a:pt x="376" y="965"/>
                </a:lnTo>
                <a:lnTo>
                  <a:pt x="381" y="970"/>
                </a:lnTo>
                <a:lnTo>
                  <a:pt x="384" y="970"/>
                </a:lnTo>
                <a:lnTo>
                  <a:pt x="384" y="969"/>
                </a:lnTo>
                <a:lnTo>
                  <a:pt x="382" y="966"/>
                </a:lnTo>
                <a:lnTo>
                  <a:pt x="382" y="965"/>
                </a:lnTo>
                <a:lnTo>
                  <a:pt x="381" y="964"/>
                </a:lnTo>
                <a:lnTo>
                  <a:pt x="381" y="957"/>
                </a:lnTo>
                <a:lnTo>
                  <a:pt x="382" y="957"/>
                </a:lnTo>
                <a:lnTo>
                  <a:pt x="382" y="955"/>
                </a:lnTo>
                <a:lnTo>
                  <a:pt x="381" y="953"/>
                </a:lnTo>
                <a:lnTo>
                  <a:pt x="380" y="952"/>
                </a:lnTo>
                <a:lnTo>
                  <a:pt x="381" y="951"/>
                </a:lnTo>
                <a:lnTo>
                  <a:pt x="382" y="951"/>
                </a:lnTo>
                <a:lnTo>
                  <a:pt x="382" y="952"/>
                </a:lnTo>
                <a:lnTo>
                  <a:pt x="384" y="952"/>
                </a:lnTo>
                <a:lnTo>
                  <a:pt x="385" y="949"/>
                </a:lnTo>
                <a:lnTo>
                  <a:pt x="384" y="947"/>
                </a:lnTo>
                <a:lnTo>
                  <a:pt x="382" y="946"/>
                </a:lnTo>
                <a:lnTo>
                  <a:pt x="378" y="951"/>
                </a:lnTo>
                <a:lnTo>
                  <a:pt x="375" y="951"/>
                </a:lnTo>
                <a:lnTo>
                  <a:pt x="374" y="952"/>
                </a:lnTo>
                <a:lnTo>
                  <a:pt x="370" y="952"/>
                </a:lnTo>
                <a:lnTo>
                  <a:pt x="369" y="954"/>
                </a:lnTo>
                <a:lnTo>
                  <a:pt x="369" y="955"/>
                </a:lnTo>
                <a:lnTo>
                  <a:pt x="367" y="955"/>
                </a:lnTo>
                <a:lnTo>
                  <a:pt x="367" y="957"/>
                </a:lnTo>
                <a:lnTo>
                  <a:pt x="368" y="957"/>
                </a:lnTo>
                <a:lnTo>
                  <a:pt x="368" y="958"/>
                </a:lnTo>
                <a:lnTo>
                  <a:pt x="366" y="958"/>
                </a:lnTo>
                <a:lnTo>
                  <a:pt x="366" y="959"/>
                </a:lnTo>
                <a:lnTo>
                  <a:pt x="364" y="959"/>
                </a:lnTo>
                <a:lnTo>
                  <a:pt x="363" y="961"/>
                </a:lnTo>
                <a:lnTo>
                  <a:pt x="362" y="963"/>
                </a:lnTo>
                <a:lnTo>
                  <a:pt x="361" y="963"/>
                </a:lnTo>
                <a:lnTo>
                  <a:pt x="361" y="961"/>
                </a:lnTo>
                <a:lnTo>
                  <a:pt x="360" y="961"/>
                </a:lnTo>
                <a:lnTo>
                  <a:pt x="360" y="964"/>
                </a:lnTo>
                <a:lnTo>
                  <a:pt x="358" y="964"/>
                </a:lnTo>
                <a:lnTo>
                  <a:pt x="357" y="963"/>
                </a:lnTo>
                <a:lnTo>
                  <a:pt x="356" y="963"/>
                </a:lnTo>
                <a:lnTo>
                  <a:pt x="355" y="964"/>
                </a:lnTo>
                <a:lnTo>
                  <a:pt x="349" y="964"/>
                </a:lnTo>
                <a:lnTo>
                  <a:pt x="348" y="963"/>
                </a:lnTo>
                <a:lnTo>
                  <a:pt x="348" y="960"/>
                </a:lnTo>
                <a:lnTo>
                  <a:pt x="347" y="961"/>
                </a:lnTo>
                <a:lnTo>
                  <a:pt x="347" y="963"/>
                </a:lnTo>
                <a:lnTo>
                  <a:pt x="345" y="964"/>
                </a:lnTo>
                <a:lnTo>
                  <a:pt x="344" y="964"/>
                </a:lnTo>
                <a:lnTo>
                  <a:pt x="345" y="963"/>
                </a:lnTo>
                <a:lnTo>
                  <a:pt x="345" y="961"/>
                </a:lnTo>
                <a:lnTo>
                  <a:pt x="349" y="958"/>
                </a:lnTo>
                <a:lnTo>
                  <a:pt x="353" y="953"/>
                </a:lnTo>
                <a:lnTo>
                  <a:pt x="354" y="952"/>
                </a:lnTo>
                <a:lnTo>
                  <a:pt x="360" y="945"/>
                </a:lnTo>
                <a:lnTo>
                  <a:pt x="363" y="941"/>
                </a:lnTo>
                <a:lnTo>
                  <a:pt x="368" y="935"/>
                </a:lnTo>
                <a:lnTo>
                  <a:pt x="375" y="928"/>
                </a:lnTo>
                <a:lnTo>
                  <a:pt x="379" y="927"/>
                </a:lnTo>
                <a:lnTo>
                  <a:pt x="381" y="924"/>
                </a:lnTo>
                <a:lnTo>
                  <a:pt x="381" y="922"/>
                </a:lnTo>
                <a:lnTo>
                  <a:pt x="382" y="921"/>
                </a:lnTo>
                <a:lnTo>
                  <a:pt x="385" y="917"/>
                </a:lnTo>
                <a:lnTo>
                  <a:pt x="387" y="915"/>
                </a:lnTo>
                <a:lnTo>
                  <a:pt x="389" y="914"/>
                </a:lnTo>
                <a:lnTo>
                  <a:pt x="392" y="910"/>
                </a:lnTo>
                <a:lnTo>
                  <a:pt x="394" y="909"/>
                </a:lnTo>
                <a:lnTo>
                  <a:pt x="401" y="904"/>
                </a:lnTo>
                <a:lnTo>
                  <a:pt x="404" y="902"/>
                </a:lnTo>
                <a:lnTo>
                  <a:pt x="406" y="898"/>
                </a:lnTo>
                <a:lnTo>
                  <a:pt x="407" y="897"/>
                </a:lnTo>
                <a:lnTo>
                  <a:pt x="407" y="896"/>
                </a:lnTo>
                <a:lnTo>
                  <a:pt x="409" y="893"/>
                </a:lnTo>
                <a:lnTo>
                  <a:pt x="414" y="887"/>
                </a:lnTo>
                <a:lnTo>
                  <a:pt x="417" y="883"/>
                </a:lnTo>
                <a:lnTo>
                  <a:pt x="417" y="881"/>
                </a:lnTo>
                <a:lnTo>
                  <a:pt x="418" y="880"/>
                </a:lnTo>
                <a:lnTo>
                  <a:pt x="423" y="878"/>
                </a:lnTo>
                <a:lnTo>
                  <a:pt x="429" y="871"/>
                </a:lnTo>
                <a:lnTo>
                  <a:pt x="429" y="869"/>
                </a:lnTo>
                <a:lnTo>
                  <a:pt x="430" y="866"/>
                </a:lnTo>
                <a:lnTo>
                  <a:pt x="437" y="859"/>
                </a:lnTo>
                <a:lnTo>
                  <a:pt x="444" y="848"/>
                </a:lnTo>
                <a:lnTo>
                  <a:pt x="451" y="835"/>
                </a:lnTo>
                <a:lnTo>
                  <a:pt x="457" y="829"/>
                </a:lnTo>
                <a:lnTo>
                  <a:pt x="463" y="820"/>
                </a:lnTo>
                <a:lnTo>
                  <a:pt x="465" y="818"/>
                </a:lnTo>
                <a:lnTo>
                  <a:pt x="465" y="817"/>
                </a:lnTo>
                <a:lnTo>
                  <a:pt x="466" y="817"/>
                </a:lnTo>
                <a:lnTo>
                  <a:pt x="467" y="816"/>
                </a:lnTo>
                <a:lnTo>
                  <a:pt x="476" y="809"/>
                </a:lnTo>
                <a:lnTo>
                  <a:pt x="476" y="807"/>
                </a:lnTo>
                <a:lnTo>
                  <a:pt x="478" y="806"/>
                </a:lnTo>
                <a:lnTo>
                  <a:pt x="479" y="804"/>
                </a:lnTo>
                <a:lnTo>
                  <a:pt x="479" y="803"/>
                </a:lnTo>
                <a:lnTo>
                  <a:pt x="485" y="795"/>
                </a:lnTo>
                <a:lnTo>
                  <a:pt x="486" y="793"/>
                </a:lnTo>
                <a:lnTo>
                  <a:pt x="486" y="792"/>
                </a:lnTo>
                <a:lnTo>
                  <a:pt x="487" y="792"/>
                </a:lnTo>
                <a:lnTo>
                  <a:pt x="490" y="791"/>
                </a:lnTo>
                <a:lnTo>
                  <a:pt x="490" y="789"/>
                </a:lnTo>
                <a:lnTo>
                  <a:pt x="491" y="787"/>
                </a:lnTo>
                <a:lnTo>
                  <a:pt x="492" y="782"/>
                </a:lnTo>
                <a:lnTo>
                  <a:pt x="493" y="781"/>
                </a:lnTo>
                <a:lnTo>
                  <a:pt x="494" y="777"/>
                </a:lnTo>
                <a:lnTo>
                  <a:pt x="496" y="775"/>
                </a:lnTo>
                <a:lnTo>
                  <a:pt x="497" y="767"/>
                </a:lnTo>
                <a:lnTo>
                  <a:pt x="498" y="763"/>
                </a:lnTo>
                <a:lnTo>
                  <a:pt x="500" y="760"/>
                </a:lnTo>
                <a:lnTo>
                  <a:pt x="504" y="752"/>
                </a:lnTo>
                <a:lnTo>
                  <a:pt x="503" y="751"/>
                </a:lnTo>
                <a:lnTo>
                  <a:pt x="502" y="749"/>
                </a:lnTo>
                <a:lnTo>
                  <a:pt x="502" y="746"/>
                </a:lnTo>
                <a:lnTo>
                  <a:pt x="500" y="744"/>
                </a:lnTo>
                <a:lnTo>
                  <a:pt x="499" y="744"/>
                </a:lnTo>
                <a:lnTo>
                  <a:pt x="499" y="743"/>
                </a:lnTo>
                <a:lnTo>
                  <a:pt x="496" y="739"/>
                </a:lnTo>
                <a:lnTo>
                  <a:pt x="494" y="737"/>
                </a:lnTo>
                <a:lnTo>
                  <a:pt x="492" y="736"/>
                </a:lnTo>
                <a:lnTo>
                  <a:pt x="491" y="733"/>
                </a:lnTo>
                <a:lnTo>
                  <a:pt x="491" y="732"/>
                </a:lnTo>
                <a:lnTo>
                  <a:pt x="490" y="731"/>
                </a:lnTo>
                <a:lnTo>
                  <a:pt x="490" y="725"/>
                </a:lnTo>
                <a:lnTo>
                  <a:pt x="487" y="723"/>
                </a:lnTo>
                <a:lnTo>
                  <a:pt x="479" y="717"/>
                </a:lnTo>
                <a:lnTo>
                  <a:pt x="472" y="708"/>
                </a:lnTo>
                <a:lnTo>
                  <a:pt x="459" y="700"/>
                </a:lnTo>
                <a:lnTo>
                  <a:pt x="456" y="697"/>
                </a:lnTo>
                <a:lnTo>
                  <a:pt x="454" y="693"/>
                </a:lnTo>
                <a:lnTo>
                  <a:pt x="448" y="689"/>
                </a:lnTo>
                <a:lnTo>
                  <a:pt x="437" y="676"/>
                </a:lnTo>
                <a:lnTo>
                  <a:pt x="437" y="672"/>
                </a:lnTo>
                <a:lnTo>
                  <a:pt x="440" y="671"/>
                </a:lnTo>
                <a:lnTo>
                  <a:pt x="447" y="669"/>
                </a:lnTo>
                <a:lnTo>
                  <a:pt x="449" y="665"/>
                </a:lnTo>
                <a:lnTo>
                  <a:pt x="451" y="658"/>
                </a:lnTo>
                <a:lnTo>
                  <a:pt x="459" y="650"/>
                </a:lnTo>
                <a:lnTo>
                  <a:pt x="461" y="646"/>
                </a:lnTo>
                <a:lnTo>
                  <a:pt x="462" y="644"/>
                </a:lnTo>
                <a:lnTo>
                  <a:pt x="462" y="640"/>
                </a:lnTo>
                <a:lnTo>
                  <a:pt x="461" y="637"/>
                </a:lnTo>
                <a:lnTo>
                  <a:pt x="461" y="634"/>
                </a:lnTo>
                <a:lnTo>
                  <a:pt x="460" y="633"/>
                </a:lnTo>
                <a:lnTo>
                  <a:pt x="460" y="632"/>
                </a:lnTo>
                <a:lnTo>
                  <a:pt x="461" y="629"/>
                </a:lnTo>
                <a:lnTo>
                  <a:pt x="461" y="627"/>
                </a:lnTo>
                <a:lnTo>
                  <a:pt x="459" y="625"/>
                </a:lnTo>
                <a:lnTo>
                  <a:pt x="456" y="625"/>
                </a:lnTo>
                <a:lnTo>
                  <a:pt x="455" y="623"/>
                </a:lnTo>
                <a:lnTo>
                  <a:pt x="455" y="621"/>
                </a:lnTo>
                <a:lnTo>
                  <a:pt x="451" y="617"/>
                </a:lnTo>
                <a:lnTo>
                  <a:pt x="444" y="615"/>
                </a:lnTo>
                <a:lnTo>
                  <a:pt x="442" y="614"/>
                </a:lnTo>
                <a:lnTo>
                  <a:pt x="440" y="611"/>
                </a:lnTo>
                <a:lnTo>
                  <a:pt x="440" y="608"/>
                </a:lnTo>
                <a:lnTo>
                  <a:pt x="441" y="605"/>
                </a:lnTo>
                <a:lnTo>
                  <a:pt x="441" y="603"/>
                </a:lnTo>
                <a:lnTo>
                  <a:pt x="440" y="601"/>
                </a:lnTo>
                <a:lnTo>
                  <a:pt x="437" y="599"/>
                </a:lnTo>
                <a:lnTo>
                  <a:pt x="437" y="596"/>
                </a:lnTo>
                <a:lnTo>
                  <a:pt x="436" y="596"/>
                </a:lnTo>
                <a:lnTo>
                  <a:pt x="436" y="592"/>
                </a:lnTo>
                <a:lnTo>
                  <a:pt x="443" y="589"/>
                </a:lnTo>
                <a:lnTo>
                  <a:pt x="445" y="586"/>
                </a:lnTo>
                <a:lnTo>
                  <a:pt x="445" y="584"/>
                </a:lnTo>
                <a:lnTo>
                  <a:pt x="444" y="582"/>
                </a:lnTo>
                <a:lnTo>
                  <a:pt x="443" y="580"/>
                </a:lnTo>
                <a:lnTo>
                  <a:pt x="443" y="579"/>
                </a:lnTo>
                <a:lnTo>
                  <a:pt x="442" y="578"/>
                </a:lnTo>
                <a:lnTo>
                  <a:pt x="442" y="576"/>
                </a:lnTo>
                <a:lnTo>
                  <a:pt x="443" y="574"/>
                </a:lnTo>
                <a:lnTo>
                  <a:pt x="443" y="573"/>
                </a:lnTo>
                <a:lnTo>
                  <a:pt x="442" y="573"/>
                </a:lnTo>
                <a:lnTo>
                  <a:pt x="441" y="572"/>
                </a:lnTo>
                <a:lnTo>
                  <a:pt x="432" y="572"/>
                </a:lnTo>
                <a:lnTo>
                  <a:pt x="429" y="571"/>
                </a:lnTo>
                <a:lnTo>
                  <a:pt x="425" y="566"/>
                </a:lnTo>
                <a:lnTo>
                  <a:pt x="422" y="560"/>
                </a:lnTo>
                <a:lnTo>
                  <a:pt x="420" y="552"/>
                </a:lnTo>
                <a:lnTo>
                  <a:pt x="420" y="547"/>
                </a:lnTo>
                <a:lnTo>
                  <a:pt x="422" y="545"/>
                </a:lnTo>
                <a:lnTo>
                  <a:pt x="424" y="542"/>
                </a:lnTo>
                <a:lnTo>
                  <a:pt x="430" y="541"/>
                </a:lnTo>
                <a:lnTo>
                  <a:pt x="431" y="540"/>
                </a:lnTo>
                <a:lnTo>
                  <a:pt x="431" y="537"/>
                </a:lnTo>
                <a:lnTo>
                  <a:pt x="430" y="537"/>
                </a:lnTo>
                <a:lnTo>
                  <a:pt x="430" y="535"/>
                </a:lnTo>
                <a:lnTo>
                  <a:pt x="431" y="534"/>
                </a:lnTo>
                <a:lnTo>
                  <a:pt x="431" y="530"/>
                </a:lnTo>
                <a:lnTo>
                  <a:pt x="428" y="529"/>
                </a:lnTo>
                <a:lnTo>
                  <a:pt x="422" y="529"/>
                </a:lnTo>
                <a:lnTo>
                  <a:pt x="420" y="527"/>
                </a:lnTo>
                <a:lnTo>
                  <a:pt x="422" y="523"/>
                </a:lnTo>
                <a:lnTo>
                  <a:pt x="426" y="517"/>
                </a:lnTo>
                <a:lnTo>
                  <a:pt x="426" y="514"/>
                </a:lnTo>
                <a:lnTo>
                  <a:pt x="425" y="505"/>
                </a:lnTo>
                <a:lnTo>
                  <a:pt x="426" y="500"/>
                </a:lnTo>
                <a:lnTo>
                  <a:pt x="426" y="499"/>
                </a:lnTo>
                <a:lnTo>
                  <a:pt x="430" y="494"/>
                </a:lnTo>
                <a:lnTo>
                  <a:pt x="431" y="493"/>
                </a:lnTo>
                <a:lnTo>
                  <a:pt x="430" y="491"/>
                </a:lnTo>
                <a:lnTo>
                  <a:pt x="426" y="488"/>
                </a:lnTo>
                <a:lnTo>
                  <a:pt x="425" y="487"/>
                </a:lnTo>
                <a:lnTo>
                  <a:pt x="428" y="485"/>
                </a:lnTo>
                <a:lnTo>
                  <a:pt x="438" y="481"/>
                </a:lnTo>
                <a:lnTo>
                  <a:pt x="441" y="484"/>
                </a:lnTo>
                <a:lnTo>
                  <a:pt x="442" y="484"/>
                </a:lnTo>
                <a:lnTo>
                  <a:pt x="443" y="481"/>
                </a:lnTo>
                <a:lnTo>
                  <a:pt x="442" y="479"/>
                </a:lnTo>
                <a:lnTo>
                  <a:pt x="441" y="469"/>
                </a:lnTo>
                <a:lnTo>
                  <a:pt x="441" y="467"/>
                </a:lnTo>
                <a:lnTo>
                  <a:pt x="438" y="457"/>
                </a:lnTo>
                <a:lnTo>
                  <a:pt x="437" y="456"/>
                </a:lnTo>
                <a:lnTo>
                  <a:pt x="436" y="451"/>
                </a:lnTo>
                <a:lnTo>
                  <a:pt x="436" y="449"/>
                </a:lnTo>
                <a:lnTo>
                  <a:pt x="435" y="442"/>
                </a:lnTo>
                <a:lnTo>
                  <a:pt x="434" y="437"/>
                </a:lnTo>
                <a:lnTo>
                  <a:pt x="432" y="435"/>
                </a:lnTo>
                <a:lnTo>
                  <a:pt x="429" y="430"/>
                </a:lnTo>
                <a:lnTo>
                  <a:pt x="423" y="418"/>
                </a:lnTo>
                <a:lnTo>
                  <a:pt x="420" y="412"/>
                </a:lnTo>
                <a:lnTo>
                  <a:pt x="419" y="410"/>
                </a:lnTo>
                <a:lnTo>
                  <a:pt x="419" y="405"/>
                </a:lnTo>
                <a:lnTo>
                  <a:pt x="418" y="404"/>
                </a:lnTo>
                <a:lnTo>
                  <a:pt x="418" y="398"/>
                </a:lnTo>
                <a:lnTo>
                  <a:pt x="413" y="389"/>
                </a:lnTo>
                <a:lnTo>
                  <a:pt x="412" y="388"/>
                </a:lnTo>
                <a:lnTo>
                  <a:pt x="412" y="385"/>
                </a:lnTo>
                <a:lnTo>
                  <a:pt x="411" y="383"/>
                </a:lnTo>
                <a:lnTo>
                  <a:pt x="409" y="377"/>
                </a:lnTo>
                <a:lnTo>
                  <a:pt x="399" y="361"/>
                </a:lnTo>
                <a:lnTo>
                  <a:pt x="398" y="352"/>
                </a:lnTo>
                <a:lnTo>
                  <a:pt x="400" y="344"/>
                </a:lnTo>
                <a:lnTo>
                  <a:pt x="413" y="318"/>
                </a:lnTo>
                <a:lnTo>
                  <a:pt x="416" y="315"/>
                </a:lnTo>
                <a:lnTo>
                  <a:pt x="416" y="314"/>
                </a:lnTo>
                <a:lnTo>
                  <a:pt x="417" y="313"/>
                </a:lnTo>
                <a:lnTo>
                  <a:pt x="417" y="310"/>
                </a:lnTo>
                <a:lnTo>
                  <a:pt x="434" y="287"/>
                </a:lnTo>
                <a:lnTo>
                  <a:pt x="435" y="285"/>
                </a:lnTo>
                <a:lnTo>
                  <a:pt x="436" y="281"/>
                </a:lnTo>
                <a:lnTo>
                  <a:pt x="436" y="271"/>
                </a:lnTo>
                <a:lnTo>
                  <a:pt x="437" y="270"/>
                </a:lnTo>
                <a:lnTo>
                  <a:pt x="437" y="269"/>
                </a:lnTo>
                <a:lnTo>
                  <a:pt x="438" y="267"/>
                </a:lnTo>
                <a:lnTo>
                  <a:pt x="425" y="256"/>
                </a:lnTo>
                <a:lnTo>
                  <a:pt x="423" y="252"/>
                </a:lnTo>
                <a:lnTo>
                  <a:pt x="416" y="236"/>
                </a:lnTo>
                <a:lnTo>
                  <a:pt x="414" y="233"/>
                </a:lnTo>
                <a:lnTo>
                  <a:pt x="411" y="226"/>
                </a:lnTo>
                <a:lnTo>
                  <a:pt x="409" y="223"/>
                </a:lnTo>
                <a:lnTo>
                  <a:pt x="395" y="217"/>
                </a:lnTo>
                <a:lnTo>
                  <a:pt x="384" y="213"/>
                </a:lnTo>
                <a:lnTo>
                  <a:pt x="382" y="211"/>
                </a:lnTo>
                <a:lnTo>
                  <a:pt x="381" y="209"/>
                </a:lnTo>
                <a:lnTo>
                  <a:pt x="374" y="179"/>
                </a:lnTo>
                <a:lnTo>
                  <a:pt x="373" y="177"/>
                </a:lnTo>
                <a:lnTo>
                  <a:pt x="372" y="173"/>
                </a:lnTo>
                <a:lnTo>
                  <a:pt x="372" y="172"/>
                </a:lnTo>
                <a:lnTo>
                  <a:pt x="373" y="171"/>
                </a:lnTo>
                <a:lnTo>
                  <a:pt x="384" y="149"/>
                </a:lnTo>
                <a:lnTo>
                  <a:pt x="385" y="146"/>
                </a:lnTo>
                <a:lnTo>
                  <a:pt x="387" y="136"/>
                </a:lnTo>
                <a:lnTo>
                  <a:pt x="384" y="132"/>
                </a:lnTo>
                <a:lnTo>
                  <a:pt x="372" y="132"/>
                </a:lnTo>
                <a:lnTo>
                  <a:pt x="370" y="131"/>
                </a:lnTo>
                <a:lnTo>
                  <a:pt x="370" y="129"/>
                </a:lnTo>
                <a:lnTo>
                  <a:pt x="373" y="129"/>
                </a:lnTo>
                <a:lnTo>
                  <a:pt x="384" y="121"/>
                </a:lnTo>
                <a:lnTo>
                  <a:pt x="388" y="119"/>
                </a:lnTo>
                <a:lnTo>
                  <a:pt x="393" y="113"/>
                </a:lnTo>
                <a:lnTo>
                  <a:pt x="394" y="113"/>
                </a:lnTo>
                <a:lnTo>
                  <a:pt x="395" y="112"/>
                </a:lnTo>
                <a:lnTo>
                  <a:pt x="398" y="113"/>
                </a:lnTo>
                <a:lnTo>
                  <a:pt x="403" y="109"/>
                </a:lnTo>
                <a:lnTo>
                  <a:pt x="405" y="105"/>
                </a:lnTo>
                <a:lnTo>
                  <a:pt x="406" y="104"/>
                </a:lnTo>
                <a:lnTo>
                  <a:pt x="406" y="101"/>
                </a:lnTo>
                <a:lnTo>
                  <a:pt x="407" y="98"/>
                </a:lnTo>
                <a:lnTo>
                  <a:pt x="407" y="94"/>
                </a:lnTo>
                <a:lnTo>
                  <a:pt x="409" y="93"/>
                </a:lnTo>
                <a:lnTo>
                  <a:pt x="409" y="90"/>
                </a:lnTo>
                <a:lnTo>
                  <a:pt x="410" y="86"/>
                </a:lnTo>
                <a:lnTo>
                  <a:pt x="410" y="84"/>
                </a:lnTo>
                <a:lnTo>
                  <a:pt x="411" y="81"/>
                </a:lnTo>
                <a:lnTo>
                  <a:pt x="413" y="80"/>
                </a:lnTo>
                <a:lnTo>
                  <a:pt x="420" y="80"/>
                </a:lnTo>
                <a:lnTo>
                  <a:pt x="423" y="79"/>
                </a:lnTo>
                <a:lnTo>
                  <a:pt x="428" y="74"/>
                </a:lnTo>
                <a:lnTo>
                  <a:pt x="436" y="74"/>
                </a:lnTo>
                <a:lnTo>
                  <a:pt x="436" y="73"/>
                </a:lnTo>
                <a:lnTo>
                  <a:pt x="437" y="70"/>
                </a:lnTo>
                <a:lnTo>
                  <a:pt x="443" y="64"/>
                </a:lnTo>
                <a:lnTo>
                  <a:pt x="443" y="60"/>
                </a:lnTo>
                <a:lnTo>
                  <a:pt x="444" y="58"/>
                </a:lnTo>
                <a:lnTo>
                  <a:pt x="444" y="56"/>
                </a:lnTo>
                <a:lnTo>
                  <a:pt x="447" y="54"/>
                </a:lnTo>
                <a:lnTo>
                  <a:pt x="447" y="52"/>
                </a:lnTo>
                <a:lnTo>
                  <a:pt x="448" y="50"/>
                </a:lnTo>
                <a:lnTo>
                  <a:pt x="448" y="48"/>
                </a:lnTo>
                <a:lnTo>
                  <a:pt x="447" y="45"/>
                </a:lnTo>
                <a:lnTo>
                  <a:pt x="447" y="44"/>
                </a:lnTo>
                <a:lnTo>
                  <a:pt x="444" y="43"/>
                </a:lnTo>
                <a:lnTo>
                  <a:pt x="443" y="42"/>
                </a:lnTo>
                <a:lnTo>
                  <a:pt x="443" y="41"/>
                </a:lnTo>
                <a:lnTo>
                  <a:pt x="448" y="41"/>
                </a:lnTo>
                <a:lnTo>
                  <a:pt x="450" y="43"/>
                </a:lnTo>
                <a:lnTo>
                  <a:pt x="457" y="52"/>
                </a:lnTo>
                <a:lnTo>
                  <a:pt x="460" y="52"/>
                </a:lnTo>
                <a:lnTo>
                  <a:pt x="469" y="55"/>
                </a:lnTo>
                <a:lnTo>
                  <a:pt x="474" y="54"/>
                </a:lnTo>
                <a:lnTo>
                  <a:pt x="475" y="52"/>
                </a:lnTo>
                <a:lnTo>
                  <a:pt x="476" y="48"/>
                </a:lnTo>
                <a:lnTo>
                  <a:pt x="476" y="37"/>
                </a:lnTo>
                <a:lnTo>
                  <a:pt x="475" y="35"/>
                </a:lnTo>
                <a:lnTo>
                  <a:pt x="475" y="31"/>
                </a:lnTo>
                <a:lnTo>
                  <a:pt x="474" y="29"/>
                </a:lnTo>
                <a:lnTo>
                  <a:pt x="474" y="27"/>
                </a:lnTo>
                <a:lnTo>
                  <a:pt x="473" y="25"/>
                </a:lnTo>
                <a:lnTo>
                  <a:pt x="473" y="20"/>
                </a:lnTo>
                <a:lnTo>
                  <a:pt x="481" y="24"/>
                </a:lnTo>
                <a:lnTo>
                  <a:pt x="486" y="24"/>
                </a:lnTo>
                <a:lnTo>
                  <a:pt x="488" y="26"/>
                </a:lnTo>
                <a:lnTo>
                  <a:pt x="490" y="26"/>
                </a:lnTo>
                <a:lnTo>
                  <a:pt x="491" y="25"/>
                </a:lnTo>
                <a:lnTo>
                  <a:pt x="492" y="26"/>
                </a:lnTo>
                <a:lnTo>
                  <a:pt x="493" y="26"/>
                </a:lnTo>
                <a:lnTo>
                  <a:pt x="494" y="30"/>
                </a:lnTo>
                <a:lnTo>
                  <a:pt x="497" y="30"/>
                </a:lnTo>
                <a:lnTo>
                  <a:pt x="497" y="36"/>
                </a:lnTo>
                <a:lnTo>
                  <a:pt x="496" y="36"/>
                </a:lnTo>
                <a:lnTo>
                  <a:pt x="496" y="39"/>
                </a:lnTo>
                <a:lnTo>
                  <a:pt x="494" y="41"/>
                </a:lnTo>
                <a:lnTo>
                  <a:pt x="492" y="44"/>
                </a:lnTo>
                <a:lnTo>
                  <a:pt x="494" y="42"/>
                </a:lnTo>
                <a:lnTo>
                  <a:pt x="499" y="35"/>
                </a:lnTo>
                <a:lnTo>
                  <a:pt x="500" y="33"/>
                </a:lnTo>
                <a:lnTo>
                  <a:pt x="502" y="35"/>
                </a:lnTo>
                <a:lnTo>
                  <a:pt x="503" y="35"/>
                </a:lnTo>
                <a:lnTo>
                  <a:pt x="503" y="33"/>
                </a:lnTo>
                <a:lnTo>
                  <a:pt x="504" y="33"/>
                </a:lnTo>
                <a:lnTo>
                  <a:pt x="515" y="35"/>
                </a:lnTo>
                <a:lnTo>
                  <a:pt x="513" y="32"/>
                </a:lnTo>
                <a:lnTo>
                  <a:pt x="512" y="31"/>
                </a:lnTo>
                <a:lnTo>
                  <a:pt x="510" y="30"/>
                </a:lnTo>
                <a:lnTo>
                  <a:pt x="510" y="27"/>
                </a:lnTo>
                <a:lnTo>
                  <a:pt x="511" y="25"/>
                </a:lnTo>
                <a:lnTo>
                  <a:pt x="510" y="23"/>
                </a:lnTo>
                <a:lnTo>
                  <a:pt x="510" y="18"/>
                </a:lnTo>
                <a:lnTo>
                  <a:pt x="511" y="15"/>
                </a:lnTo>
                <a:lnTo>
                  <a:pt x="512" y="14"/>
                </a:lnTo>
                <a:lnTo>
                  <a:pt x="516" y="14"/>
                </a:lnTo>
                <a:lnTo>
                  <a:pt x="517" y="15"/>
                </a:lnTo>
                <a:lnTo>
                  <a:pt x="518" y="18"/>
                </a:lnTo>
                <a:lnTo>
                  <a:pt x="521" y="19"/>
                </a:lnTo>
                <a:lnTo>
                  <a:pt x="523" y="23"/>
                </a:lnTo>
                <a:lnTo>
                  <a:pt x="524" y="24"/>
                </a:lnTo>
                <a:lnTo>
                  <a:pt x="527" y="21"/>
                </a:lnTo>
                <a:lnTo>
                  <a:pt x="527" y="20"/>
                </a:lnTo>
                <a:lnTo>
                  <a:pt x="525" y="19"/>
                </a:lnTo>
                <a:lnTo>
                  <a:pt x="524" y="15"/>
                </a:lnTo>
                <a:lnTo>
                  <a:pt x="522" y="13"/>
                </a:lnTo>
                <a:lnTo>
                  <a:pt x="522" y="8"/>
                </a:lnTo>
                <a:lnTo>
                  <a:pt x="521" y="8"/>
                </a:lnTo>
                <a:lnTo>
                  <a:pt x="518" y="6"/>
                </a:lnTo>
                <a:lnTo>
                  <a:pt x="518" y="5"/>
                </a:lnTo>
                <a:lnTo>
                  <a:pt x="519" y="2"/>
                </a:lnTo>
                <a:lnTo>
                  <a:pt x="519" y="1"/>
                </a:lnTo>
                <a:lnTo>
                  <a:pt x="521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" name="Freeform 19">
            <a:extLst>
              <a:ext uri="{FF2B5EF4-FFF2-40B4-BE49-F238E27FC236}">
                <a16:creationId xmlns:a16="http://schemas.microsoft.com/office/drawing/2014/main" id="{59E762BC-4F16-4849-BBE2-EEB4774FCEC2}"/>
              </a:ext>
            </a:extLst>
          </p:cNvPr>
          <p:cNvSpPr>
            <a:spLocks noEditPoints="1"/>
          </p:cNvSpPr>
          <p:nvPr/>
        </p:nvSpPr>
        <p:spPr bwMode="auto">
          <a:xfrm>
            <a:off x="4374447" y="1844353"/>
            <a:ext cx="559291" cy="391214"/>
          </a:xfrm>
          <a:custGeom>
            <a:avLst/>
            <a:gdLst/>
            <a:ahLst/>
            <a:cxnLst>
              <a:cxn ang="0">
                <a:pos x="343" y="203"/>
              </a:cxn>
              <a:cxn ang="0">
                <a:pos x="363" y="216"/>
              </a:cxn>
              <a:cxn ang="0">
                <a:pos x="381" y="244"/>
              </a:cxn>
              <a:cxn ang="0">
                <a:pos x="382" y="257"/>
              </a:cxn>
              <a:cxn ang="0">
                <a:pos x="360" y="270"/>
              </a:cxn>
              <a:cxn ang="0">
                <a:pos x="346" y="253"/>
              </a:cxn>
              <a:cxn ang="0">
                <a:pos x="320" y="240"/>
              </a:cxn>
              <a:cxn ang="0">
                <a:pos x="302" y="220"/>
              </a:cxn>
              <a:cxn ang="0">
                <a:pos x="301" y="208"/>
              </a:cxn>
              <a:cxn ang="0">
                <a:pos x="298" y="196"/>
              </a:cxn>
              <a:cxn ang="0">
                <a:pos x="301" y="186"/>
              </a:cxn>
              <a:cxn ang="0">
                <a:pos x="309" y="176"/>
              </a:cxn>
              <a:cxn ang="0">
                <a:pos x="245" y="164"/>
              </a:cxn>
              <a:cxn ang="0">
                <a:pos x="232" y="159"/>
              </a:cxn>
              <a:cxn ang="0">
                <a:pos x="83" y="65"/>
              </a:cxn>
              <a:cxn ang="0">
                <a:pos x="63" y="54"/>
              </a:cxn>
              <a:cxn ang="0">
                <a:pos x="58" y="54"/>
              </a:cxn>
              <a:cxn ang="0">
                <a:pos x="71" y="69"/>
              </a:cxn>
              <a:cxn ang="0">
                <a:pos x="72" y="91"/>
              </a:cxn>
              <a:cxn ang="0">
                <a:pos x="68" y="103"/>
              </a:cxn>
              <a:cxn ang="0">
                <a:pos x="52" y="74"/>
              </a:cxn>
              <a:cxn ang="0">
                <a:pos x="41" y="54"/>
              </a:cxn>
              <a:cxn ang="0">
                <a:pos x="174" y="0"/>
              </a:cxn>
              <a:cxn ang="0">
                <a:pos x="196" y="61"/>
              </a:cxn>
              <a:cxn ang="0">
                <a:pos x="238" y="121"/>
              </a:cxn>
              <a:cxn ang="0">
                <a:pos x="255" y="139"/>
              </a:cxn>
              <a:cxn ang="0">
                <a:pos x="255" y="153"/>
              </a:cxn>
              <a:cxn ang="0">
                <a:pos x="227" y="145"/>
              </a:cxn>
              <a:cxn ang="0">
                <a:pos x="237" y="154"/>
              </a:cxn>
              <a:cxn ang="0">
                <a:pos x="218" y="137"/>
              </a:cxn>
              <a:cxn ang="0">
                <a:pos x="203" y="139"/>
              </a:cxn>
              <a:cxn ang="0">
                <a:pos x="205" y="148"/>
              </a:cxn>
              <a:cxn ang="0">
                <a:pos x="221" y="158"/>
              </a:cxn>
              <a:cxn ang="0">
                <a:pos x="216" y="154"/>
              </a:cxn>
              <a:cxn ang="0">
                <a:pos x="199" y="154"/>
              </a:cxn>
              <a:cxn ang="0">
                <a:pos x="190" y="154"/>
              </a:cxn>
              <a:cxn ang="0">
                <a:pos x="184" y="146"/>
              </a:cxn>
              <a:cxn ang="0">
                <a:pos x="170" y="136"/>
              </a:cxn>
              <a:cxn ang="0">
                <a:pos x="163" y="143"/>
              </a:cxn>
              <a:cxn ang="0">
                <a:pos x="153" y="154"/>
              </a:cxn>
              <a:cxn ang="0">
                <a:pos x="139" y="134"/>
              </a:cxn>
              <a:cxn ang="0">
                <a:pos x="137" y="142"/>
              </a:cxn>
              <a:cxn ang="0">
                <a:pos x="129" y="140"/>
              </a:cxn>
              <a:cxn ang="0">
                <a:pos x="102" y="128"/>
              </a:cxn>
              <a:cxn ang="0">
                <a:pos x="90" y="128"/>
              </a:cxn>
              <a:cxn ang="0">
                <a:pos x="95" y="122"/>
              </a:cxn>
              <a:cxn ang="0">
                <a:pos x="95" y="102"/>
              </a:cxn>
              <a:cxn ang="0">
                <a:pos x="107" y="96"/>
              </a:cxn>
              <a:cxn ang="0">
                <a:pos x="113" y="90"/>
              </a:cxn>
              <a:cxn ang="0">
                <a:pos x="110" y="81"/>
              </a:cxn>
              <a:cxn ang="0">
                <a:pos x="106" y="80"/>
              </a:cxn>
              <a:cxn ang="0">
                <a:pos x="95" y="76"/>
              </a:cxn>
              <a:cxn ang="0">
                <a:pos x="93" y="61"/>
              </a:cxn>
              <a:cxn ang="0">
                <a:pos x="102" y="45"/>
              </a:cxn>
              <a:cxn ang="0">
                <a:pos x="81" y="37"/>
              </a:cxn>
              <a:cxn ang="0">
                <a:pos x="71" y="47"/>
              </a:cxn>
              <a:cxn ang="0">
                <a:pos x="65" y="50"/>
              </a:cxn>
              <a:cxn ang="0">
                <a:pos x="56" y="38"/>
              </a:cxn>
              <a:cxn ang="0">
                <a:pos x="46" y="23"/>
              </a:cxn>
              <a:cxn ang="0">
                <a:pos x="35" y="32"/>
              </a:cxn>
              <a:cxn ang="0">
                <a:pos x="31" y="39"/>
              </a:cxn>
              <a:cxn ang="0">
                <a:pos x="4" y="18"/>
              </a:cxn>
            </a:cxnLst>
            <a:rect l="0" t="0" r="r" b="b"/>
            <a:pathLst>
              <a:path w="386" h="270">
                <a:moveTo>
                  <a:pt x="321" y="170"/>
                </a:moveTo>
                <a:lnTo>
                  <a:pt x="323" y="171"/>
                </a:lnTo>
                <a:lnTo>
                  <a:pt x="323" y="174"/>
                </a:lnTo>
                <a:lnTo>
                  <a:pt x="324" y="174"/>
                </a:lnTo>
                <a:lnTo>
                  <a:pt x="325" y="176"/>
                </a:lnTo>
                <a:lnTo>
                  <a:pt x="333" y="183"/>
                </a:lnTo>
                <a:lnTo>
                  <a:pt x="334" y="185"/>
                </a:lnTo>
                <a:lnTo>
                  <a:pt x="339" y="194"/>
                </a:lnTo>
                <a:lnTo>
                  <a:pt x="342" y="196"/>
                </a:lnTo>
                <a:lnTo>
                  <a:pt x="343" y="196"/>
                </a:lnTo>
                <a:lnTo>
                  <a:pt x="343" y="203"/>
                </a:lnTo>
                <a:lnTo>
                  <a:pt x="344" y="204"/>
                </a:lnTo>
                <a:lnTo>
                  <a:pt x="348" y="204"/>
                </a:lnTo>
                <a:lnTo>
                  <a:pt x="350" y="208"/>
                </a:lnTo>
                <a:lnTo>
                  <a:pt x="352" y="208"/>
                </a:lnTo>
                <a:lnTo>
                  <a:pt x="352" y="211"/>
                </a:lnTo>
                <a:lnTo>
                  <a:pt x="354" y="213"/>
                </a:lnTo>
                <a:lnTo>
                  <a:pt x="354" y="214"/>
                </a:lnTo>
                <a:lnTo>
                  <a:pt x="356" y="214"/>
                </a:lnTo>
                <a:lnTo>
                  <a:pt x="360" y="217"/>
                </a:lnTo>
                <a:lnTo>
                  <a:pt x="361" y="217"/>
                </a:lnTo>
                <a:lnTo>
                  <a:pt x="363" y="216"/>
                </a:lnTo>
                <a:lnTo>
                  <a:pt x="364" y="217"/>
                </a:lnTo>
                <a:lnTo>
                  <a:pt x="364" y="220"/>
                </a:lnTo>
                <a:lnTo>
                  <a:pt x="365" y="220"/>
                </a:lnTo>
                <a:lnTo>
                  <a:pt x="367" y="221"/>
                </a:lnTo>
                <a:lnTo>
                  <a:pt x="376" y="233"/>
                </a:lnTo>
                <a:lnTo>
                  <a:pt x="376" y="234"/>
                </a:lnTo>
                <a:lnTo>
                  <a:pt x="380" y="234"/>
                </a:lnTo>
                <a:lnTo>
                  <a:pt x="381" y="235"/>
                </a:lnTo>
                <a:lnTo>
                  <a:pt x="382" y="239"/>
                </a:lnTo>
                <a:lnTo>
                  <a:pt x="382" y="242"/>
                </a:lnTo>
                <a:lnTo>
                  <a:pt x="381" y="244"/>
                </a:lnTo>
                <a:lnTo>
                  <a:pt x="382" y="246"/>
                </a:lnTo>
                <a:lnTo>
                  <a:pt x="382" y="247"/>
                </a:lnTo>
                <a:lnTo>
                  <a:pt x="383" y="247"/>
                </a:lnTo>
                <a:lnTo>
                  <a:pt x="385" y="248"/>
                </a:lnTo>
                <a:lnTo>
                  <a:pt x="385" y="251"/>
                </a:lnTo>
                <a:lnTo>
                  <a:pt x="386" y="252"/>
                </a:lnTo>
                <a:lnTo>
                  <a:pt x="386" y="253"/>
                </a:lnTo>
                <a:lnTo>
                  <a:pt x="385" y="253"/>
                </a:lnTo>
                <a:lnTo>
                  <a:pt x="385" y="254"/>
                </a:lnTo>
                <a:lnTo>
                  <a:pt x="383" y="254"/>
                </a:lnTo>
                <a:lnTo>
                  <a:pt x="382" y="257"/>
                </a:lnTo>
                <a:lnTo>
                  <a:pt x="381" y="258"/>
                </a:lnTo>
                <a:lnTo>
                  <a:pt x="381" y="262"/>
                </a:lnTo>
                <a:lnTo>
                  <a:pt x="382" y="264"/>
                </a:lnTo>
                <a:lnTo>
                  <a:pt x="379" y="263"/>
                </a:lnTo>
                <a:lnTo>
                  <a:pt x="377" y="264"/>
                </a:lnTo>
                <a:lnTo>
                  <a:pt x="373" y="268"/>
                </a:lnTo>
                <a:lnTo>
                  <a:pt x="371" y="268"/>
                </a:lnTo>
                <a:lnTo>
                  <a:pt x="367" y="264"/>
                </a:lnTo>
                <a:lnTo>
                  <a:pt x="363" y="264"/>
                </a:lnTo>
                <a:lnTo>
                  <a:pt x="360" y="268"/>
                </a:lnTo>
                <a:lnTo>
                  <a:pt x="360" y="270"/>
                </a:lnTo>
                <a:lnTo>
                  <a:pt x="358" y="270"/>
                </a:lnTo>
                <a:lnTo>
                  <a:pt x="358" y="268"/>
                </a:lnTo>
                <a:lnTo>
                  <a:pt x="357" y="266"/>
                </a:lnTo>
                <a:lnTo>
                  <a:pt x="352" y="266"/>
                </a:lnTo>
                <a:lnTo>
                  <a:pt x="344" y="264"/>
                </a:lnTo>
                <a:lnTo>
                  <a:pt x="345" y="263"/>
                </a:lnTo>
                <a:lnTo>
                  <a:pt x="343" y="260"/>
                </a:lnTo>
                <a:lnTo>
                  <a:pt x="343" y="257"/>
                </a:lnTo>
                <a:lnTo>
                  <a:pt x="344" y="256"/>
                </a:lnTo>
                <a:lnTo>
                  <a:pt x="346" y="256"/>
                </a:lnTo>
                <a:lnTo>
                  <a:pt x="346" y="253"/>
                </a:lnTo>
                <a:lnTo>
                  <a:pt x="345" y="252"/>
                </a:lnTo>
                <a:lnTo>
                  <a:pt x="340" y="246"/>
                </a:lnTo>
                <a:lnTo>
                  <a:pt x="338" y="242"/>
                </a:lnTo>
                <a:lnTo>
                  <a:pt x="336" y="242"/>
                </a:lnTo>
                <a:lnTo>
                  <a:pt x="333" y="244"/>
                </a:lnTo>
                <a:lnTo>
                  <a:pt x="332" y="244"/>
                </a:lnTo>
                <a:lnTo>
                  <a:pt x="327" y="239"/>
                </a:lnTo>
                <a:lnTo>
                  <a:pt x="324" y="239"/>
                </a:lnTo>
                <a:lnTo>
                  <a:pt x="318" y="237"/>
                </a:lnTo>
                <a:lnTo>
                  <a:pt x="318" y="238"/>
                </a:lnTo>
                <a:lnTo>
                  <a:pt x="320" y="240"/>
                </a:lnTo>
                <a:lnTo>
                  <a:pt x="323" y="241"/>
                </a:lnTo>
                <a:lnTo>
                  <a:pt x="326" y="245"/>
                </a:lnTo>
                <a:lnTo>
                  <a:pt x="324" y="247"/>
                </a:lnTo>
                <a:lnTo>
                  <a:pt x="321" y="246"/>
                </a:lnTo>
                <a:lnTo>
                  <a:pt x="321" y="245"/>
                </a:lnTo>
                <a:lnTo>
                  <a:pt x="320" y="245"/>
                </a:lnTo>
                <a:lnTo>
                  <a:pt x="318" y="242"/>
                </a:lnTo>
                <a:lnTo>
                  <a:pt x="318" y="241"/>
                </a:lnTo>
                <a:lnTo>
                  <a:pt x="315" y="238"/>
                </a:lnTo>
                <a:lnTo>
                  <a:pt x="307" y="229"/>
                </a:lnTo>
                <a:lnTo>
                  <a:pt x="302" y="220"/>
                </a:lnTo>
                <a:lnTo>
                  <a:pt x="303" y="215"/>
                </a:lnTo>
                <a:lnTo>
                  <a:pt x="301" y="214"/>
                </a:lnTo>
                <a:lnTo>
                  <a:pt x="301" y="213"/>
                </a:lnTo>
                <a:lnTo>
                  <a:pt x="302" y="213"/>
                </a:lnTo>
                <a:lnTo>
                  <a:pt x="303" y="211"/>
                </a:lnTo>
                <a:lnTo>
                  <a:pt x="303" y="210"/>
                </a:lnTo>
                <a:lnTo>
                  <a:pt x="302" y="210"/>
                </a:lnTo>
                <a:lnTo>
                  <a:pt x="302" y="208"/>
                </a:lnTo>
                <a:lnTo>
                  <a:pt x="303" y="207"/>
                </a:lnTo>
                <a:lnTo>
                  <a:pt x="301" y="207"/>
                </a:lnTo>
                <a:lnTo>
                  <a:pt x="301" y="208"/>
                </a:lnTo>
                <a:lnTo>
                  <a:pt x="300" y="208"/>
                </a:lnTo>
                <a:lnTo>
                  <a:pt x="300" y="205"/>
                </a:lnTo>
                <a:lnTo>
                  <a:pt x="298" y="205"/>
                </a:lnTo>
                <a:lnTo>
                  <a:pt x="298" y="204"/>
                </a:lnTo>
                <a:lnTo>
                  <a:pt x="299" y="202"/>
                </a:lnTo>
                <a:lnTo>
                  <a:pt x="299" y="201"/>
                </a:lnTo>
                <a:lnTo>
                  <a:pt x="298" y="201"/>
                </a:lnTo>
                <a:lnTo>
                  <a:pt x="296" y="199"/>
                </a:lnTo>
                <a:lnTo>
                  <a:pt x="295" y="197"/>
                </a:lnTo>
                <a:lnTo>
                  <a:pt x="296" y="196"/>
                </a:lnTo>
                <a:lnTo>
                  <a:pt x="298" y="196"/>
                </a:lnTo>
                <a:lnTo>
                  <a:pt x="313" y="203"/>
                </a:lnTo>
                <a:lnTo>
                  <a:pt x="313" y="201"/>
                </a:lnTo>
                <a:lnTo>
                  <a:pt x="312" y="199"/>
                </a:lnTo>
                <a:lnTo>
                  <a:pt x="312" y="198"/>
                </a:lnTo>
                <a:lnTo>
                  <a:pt x="311" y="197"/>
                </a:lnTo>
                <a:lnTo>
                  <a:pt x="307" y="195"/>
                </a:lnTo>
                <a:lnTo>
                  <a:pt x="306" y="192"/>
                </a:lnTo>
                <a:lnTo>
                  <a:pt x="300" y="188"/>
                </a:lnTo>
                <a:lnTo>
                  <a:pt x="299" y="188"/>
                </a:lnTo>
                <a:lnTo>
                  <a:pt x="300" y="186"/>
                </a:lnTo>
                <a:lnTo>
                  <a:pt x="301" y="186"/>
                </a:lnTo>
                <a:lnTo>
                  <a:pt x="305" y="188"/>
                </a:lnTo>
                <a:lnTo>
                  <a:pt x="305" y="186"/>
                </a:lnTo>
                <a:lnTo>
                  <a:pt x="307" y="184"/>
                </a:lnTo>
                <a:lnTo>
                  <a:pt x="308" y="184"/>
                </a:lnTo>
                <a:lnTo>
                  <a:pt x="309" y="183"/>
                </a:lnTo>
                <a:lnTo>
                  <a:pt x="309" y="182"/>
                </a:lnTo>
                <a:lnTo>
                  <a:pt x="311" y="180"/>
                </a:lnTo>
                <a:lnTo>
                  <a:pt x="309" y="179"/>
                </a:lnTo>
                <a:lnTo>
                  <a:pt x="309" y="177"/>
                </a:lnTo>
                <a:lnTo>
                  <a:pt x="308" y="177"/>
                </a:lnTo>
                <a:lnTo>
                  <a:pt x="309" y="176"/>
                </a:lnTo>
                <a:lnTo>
                  <a:pt x="315" y="176"/>
                </a:lnTo>
                <a:lnTo>
                  <a:pt x="315" y="174"/>
                </a:lnTo>
                <a:lnTo>
                  <a:pt x="319" y="171"/>
                </a:lnTo>
                <a:lnTo>
                  <a:pt x="321" y="170"/>
                </a:lnTo>
                <a:close/>
                <a:moveTo>
                  <a:pt x="230" y="153"/>
                </a:moveTo>
                <a:lnTo>
                  <a:pt x="234" y="156"/>
                </a:lnTo>
                <a:lnTo>
                  <a:pt x="237" y="158"/>
                </a:lnTo>
                <a:lnTo>
                  <a:pt x="239" y="160"/>
                </a:lnTo>
                <a:lnTo>
                  <a:pt x="240" y="159"/>
                </a:lnTo>
                <a:lnTo>
                  <a:pt x="244" y="161"/>
                </a:lnTo>
                <a:lnTo>
                  <a:pt x="245" y="164"/>
                </a:lnTo>
                <a:lnTo>
                  <a:pt x="245" y="166"/>
                </a:lnTo>
                <a:lnTo>
                  <a:pt x="244" y="165"/>
                </a:lnTo>
                <a:lnTo>
                  <a:pt x="240" y="162"/>
                </a:lnTo>
                <a:lnTo>
                  <a:pt x="238" y="162"/>
                </a:lnTo>
                <a:lnTo>
                  <a:pt x="237" y="161"/>
                </a:lnTo>
                <a:lnTo>
                  <a:pt x="238" y="164"/>
                </a:lnTo>
                <a:lnTo>
                  <a:pt x="242" y="165"/>
                </a:lnTo>
                <a:lnTo>
                  <a:pt x="242" y="167"/>
                </a:lnTo>
                <a:lnTo>
                  <a:pt x="238" y="166"/>
                </a:lnTo>
                <a:lnTo>
                  <a:pt x="233" y="162"/>
                </a:lnTo>
                <a:lnTo>
                  <a:pt x="232" y="159"/>
                </a:lnTo>
                <a:lnTo>
                  <a:pt x="233" y="159"/>
                </a:lnTo>
                <a:lnTo>
                  <a:pt x="232" y="156"/>
                </a:lnTo>
                <a:lnTo>
                  <a:pt x="230" y="156"/>
                </a:lnTo>
                <a:lnTo>
                  <a:pt x="230" y="153"/>
                </a:lnTo>
                <a:close/>
                <a:moveTo>
                  <a:pt x="102" y="128"/>
                </a:moveTo>
                <a:lnTo>
                  <a:pt x="104" y="130"/>
                </a:lnTo>
                <a:lnTo>
                  <a:pt x="103" y="130"/>
                </a:lnTo>
                <a:lnTo>
                  <a:pt x="102" y="128"/>
                </a:lnTo>
                <a:close/>
                <a:moveTo>
                  <a:pt x="73" y="56"/>
                </a:moveTo>
                <a:lnTo>
                  <a:pt x="77" y="56"/>
                </a:lnTo>
                <a:lnTo>
                  <a:pt x="83" y="65"/>
                </a:lnTo>
                <a:lnTo>
                  <a:pt x="83" y="66"/>
                </a:lnTo>
                <a:lnTo>
                  <a:pt x="84" y="66"/>
                </a:lnTo>
                <a:lnTo>
                  <a:pt x="83" y="67"/>
                </a:lnTo>
                <a:lnTo>
                  <a:pt x="82" y="66"/>
                </a:lnTo>
                <a:lnTo>
                  <a:pt x="77" y="62"/>
                </a:lnTo>
                <a:lnTo>
                  <a:pt x="77" y="61"/>
                </a:lnTo>
                <a:lnTo>
                  <a:pt x="76" y="59"/>
                </a:lnTo>
                <a:lnTo>
                  <a:pt x="73" y="56"/>
                </a:lnTo>
                <a:close/>
                <a:moveTo>
                  <a:pt x="54" y="49"/>
                </a:moveTo>
                <a:lnTo>
                  <a:pt x="56" y="49"/>
                </a:lnTo>
                <a:lnTo>
                  <a:pt x="63" y="54"/>
                </a:lnTo>
                <a:lnTo>
                  <a:pt x="63" y="55"/>
                </a:lnTo>
                <a:lnTo>
                  <a:pt x="64" y="56"/>
                </a:lnTo>
                <a:lnTo>
                  <a:pt x="65" y="60"/>
                </a:lnTo>
                <a:lnTo>
                  <a:pt x="65" y="61"/>
                </a:lnTo>
                <a:lnTo>
                  <a:pt x="68" y="63"/>
                </a:lnTo>
                <a:lnTo>
                  <a:pt x="68" y="66"/>
                </a:lnTo>
                <a:lnTo>
                  <a:pt x="63" y="61"/>
                </a:lnTo>
                <a:lnTo>
                  <a:pt x="62" y="57"/>
                </a:lnTo>
                <a:lnTo>
                  <a:pt x="62" y="56"/>
                </a:lnTo>
                <a:lnTo>
                  <a:pt x="59" y="54"/>
                </a:lnTo>
                <a:lnTo>
                  <a:pt x="58" y="54"/>
                </a:lnTo>
                <a:lnTo>
                  <a:pt x="60" y="57"/>
                </a:lnTo>
                <a:lnTo>
                  <a:pt x="62" y="60"/>
                </a:lnTo>
                <a:lnTo>
                  <a:pt x="60" y="61"/>
                </a:lnTo>
                <a:lnTo>
                  <a:pt x="58" y="60"/>
                </a:lnTo>
                <a:lnTo>
                  <a:pt x="58" y="61"/>
                </a:lnTo>
                <a:lnTo>
                  <a:pt x="70" y="72"/>
                </a:lnTo>
                <a:lnTo>
                  <a:pt x="72" y="73"/>
                </a:lnTo>
                <a:lnTo>
                  <a:pt x="73" y="70"/>
                </a:lnTo>
                <a:lnTo>
                  <a:pt x="72" y="69"/>
                </a:lnTo>
                <a:lnTo>
                  <a:pt x="71" y="70"/>
                </a:lnTo>
                <a:lnTo>
                  <a:pt x="71" y="69"/>
                </a:lnTo>
                <a:lnTo>
                  <a:pt x="73" y="67"/>
                </a:lnTo>
                <a:lnTo>
                  <a:pt x="73" y="68"/>
                </a:lnTo>
                <a:lnTo>
                  <a:pt x="75" y="69"/>
                </a:lnTo>
                <a:lnTo>
                  <a:pt x="76" y="69"/>
                </a:lnTo>
                <a:lnTo>
                  <a:pt x="76" y="74"/>
                </a:lnTo>
                <a:lnTo>
                  <a:pt x="77" y="74"/>
                </a:lnTo>
                <a:lnTo>
                  <a:pt x="76" y="76"/>
                </a:lnTo>
                <a:lnTo>
                  <a:pt x="76" y="82"/>
                </a:lnTo>
                <a:lnTo>
                  <a:pt x="73" y="85"/>
                </a:lnTo>
                <a:lnTo>
                  <a:pt x="73" y="91"/>
                </a:lnTo>
                <a:lnTo>
                  <a:pt x="72" y="91"/>
                </a:lnTo>
                <a:lnTo>
                  <a:pt x="72" y="92"/>
                </a:lnTo>
                <a:lnTo>
                  <a:pt x="71" y="92"/>
                </a:lnTo>
                <a:lnTo>
                  <a:pt x="70" y="91"/>
                </a:lnTo>
                <a:lnTo>
                  <a:pt x="69" y="93"/>
                </a:lnTo>
                <a:lnTo>
                  <a:pt x="69" y="98"/>
                </a:lnTo>
                <a:lnTo>
                  <a:pt x="70" y="100"/>
                </a:lnTo>
                <a:lnTo>
                  <a:pt x="73" y="104"/>
                </a:lnTo>
                <a:lnTo>
                  <a:pt x="72" y="106"/>
                </a:lnTo>
                <a:lnTo>
                  <a:pt x="70" y="108"/>
                </a:lnTo>
                <a:lnTo>
                  <a:pt x="68" y="106"/>
                </a:lnTo>
                <a:lnTo>
                  <a:pt x="68" y="103"/>
                </a:lnTo>
                <a:lnTo>
                  <a:pt x="66" y="99"/>
                </a:lnTo>
                <a:lnTo>
                  <a:pt x="66" y="97"/>
                </a:lnTo>
                <a:lnTo>
                  <a:pt x="64" y="94"/>
                </a:lnTo>
                <a:lnTo>
                  <a:pt x="59" y="91"/>
                </a:lnTo>
                <a:lnTo>
                  <a:pt x="59" y="88"/>
                </a:lnTo>
                <a:lnTo>
                  <a:pt x="58" y="88"/>
                </a:lnTo>
                <a:lnTo>
                  <a:pt x="58" y="81"/>
                </a:lnTo>
                <a:lnTo>
                  <a:pt x="57" y="80"/>
                </a:lnTo>
                <a:lnTo>
                  <a:pt x="53" y="78"/>
                </a:lnTo>
                <a:lnTo>
                  <a:pt x="53" y="75"/>
                </a:lnTo>
                <a:lnTo>
                  <a:pt x="52" y="74"/>
                </a:lnTo>
                <a:lnTo>
                  <a:pt x="51" y="72"/>
                </a:lnTo>
                <a:lnTo>
                  <a:pt x="48" y="70"/>
                </a:lnTo>
                <a:lnTo>
                  <a:pt x="46" y="70"/>
                </a:lnTo>
                <a:lnTo>
                  <a:pt x="44" y="72"/>
                </a:lnTo>
                <a:lnTo>
                  <a:pt x="40" y="70"/>
                </a:lnTo>
                <a:lnTo>
                  <a:pt x="35" y="67"/>
                </a:lnTo>
                <a:lnTo>
                  <a:pt x="34" y="65"/>
                </a:lnTo>
                <a:lnTo>
                  <a:pt x="34" y="57"/>
                </a:lnTo>
                <a:lnTo>
                  <a:pt x="35" y="57"/>
                </a:lnTo>
                <a:lnTo>
                  <a:pt x="40" y="55"/>
                </a:lnTo>
                <a:lnTo>
                  <a:pt x="41" y="54"/>
                </a:lnTo>
                <a:lnTo>
                  <a:pt x="45" y="54"/>
                </a:lnTo>
                <a:lnTo>
                  <a:pt x="47" y="51"/>
                </a:lnTo>
                <a:lnTo>
                  <a:pt x="52" y="53"/>
                </a:lnTo>
                <a:lnTo>
                  <a:pt x="53" y="54"/>
                </a:lnTo>
                <a:lnTo>
                  <a:pt x="54" y="56"/>
                </a:lnTo>
                <a:lnTo>
                  <a:pt x="56" y="57"/>
                </a:lnTo>
                <a:lnTo>
                  <a:pt x="56" y="56"/>
                </a:lnTo>
                <a:lnTo>
                  <a:pt x="54" y="54"/>
                </a:lnTo>
                <a:lnTo>
                  <a:pt x="54" y="49"/>
                </a:lnTo>
                <a:close/>
                <a:moveTo>
                  <a:pt x="0" y="0"/>
                </a:moveTo>
                <a:lnTo>
                  <a:pt x="174" y="0"/>
                </a:lnTo>
                <a:lnTo>
                  <a:pt x="175" y="4"/>
                </a:lnTo>
                <a:lnTo>
                  <a:pt x="180" y="23"/>
                </a:lnTo>
                <a:lnTo>
                  <a:pt x="183" y="30"/>
                </a:lnTo>
                <a:lnTo>
                  <a:pt x="186" y="33"/>
                </a:lnTo>
                <a:lnTo>
                  <a:pt x="187" y="35"/>
                </a:lnTo>
                <a:lnTo>
                  <a:pt x="189" y="43"/>
                </a:lnTo>
                <a:lnTo>
                  <a:pt x="190" y="47"/>
                </a:lnTo>
                <a:lnTo>
                  <a:pt x="193" y="49"/>
                </a:lnTo>
                <a:lnTo>
                  <a:pt x="194" y="53"/>
                </a:lnTo>
                <a:lnTo>
                  <a:pt x="195" y="54"/>
                </a:lnTo>
                <a:lnTo>
                  <a:pt x="196" y="61"/>
                </a:lnTo>
                <a:lnTo>
                  <a:pt x="196" y="66"/>
                </a:lnTo>
                <a:lnTo>
                  <a:pt x="199" y="69"/>
                </a:lnTo>
                <a:lnTo>
                  <a:pt x="218" y="96"/>
                </a:lnTo>
                <a:lnTo>
                  <a:pt x="221" y="102"/>
                </a:lnTo>
                <a:lnTo>
                  <a:pt x="227" y="106"/>
                </a:lnTo>
                <a:lnTo>
                  <a:pt x="230" y="108"/>
                </a:lnTo>
                <a:lnTo>
                  <a:pt x="230" y="109"/>
                </a:lnTo>
                <a:lnTo>
                  <a:pt x="231" y="110"/>
                </a:lnTo>
                <a:lnTo>
                  <a:pt x="232" y="113"/>
                </a:lnTo>
                <a:lnTo>
                  <a:pt x="238" y="119"/>
                </a:lnTo>
                <a:lnTo>
                  <a:pt x="238" y="121"/>
                </a:lnTo>
                <a:lnTo>
                  <a:pt x="242" y="121"/>
                </a:lnTo>
                <a:lnTo>
                  <a:pt x="245" y="124"/>
                </a:lnTo>
                <a:lnTo>
                  <a:pt x="247" y="125"/>
                </a:lnTo>
                <a:lnTo>
                  <a:pt x="249" y="128"/>
                </a:lnTo>
                <a:lnTo>
                  <a:pt x="256" y="127"/>
                </a:lnTo>
                <a:lnTo>
                  <a:pt x="256" y="130"/>
                </a:lnTo>
                <a:lnTo>
                  <a:pt x="263" y="137"/>
                </a:lnTo>
                <a:lnTo>
                  <a:pt x="258" y="137"/>
                </a:lnTo>
                <a:lnTo>
                  <a:pt x="256" y="136"/>
                </a:lnTo>
                <a:lnTo>
                  <a:pt x="255" y="135"/>
                </a:lnTo>
                <a:lnTo>
                  <a:pt x="255" y="139"/>
                </a:lnTo>
                <a:lnTo>
                  <a:pt x="257" y="140"/>
                </a:lnTo>
                <a:lnTo>
                  <a:pt x="258" y="141"/>
                </a:lnTo>
                <a:lnTo>
                  <a:pt x="258" y="143"/>
                </a:lnTo>
                <a:lnTo>
                  <a:pt x="256" y="146"/>
                </a:lnTo>
                <a:lnTo>
                  <a:pt x="256" y="148"/>
                </a:lnTo>
                <a:lnTo>
                  <a:pt x="255" y="149"/>
                </a:lnTo>
                <a:lnTo>
                  <a:pt x="255" y="151"/>
                </a:lnTo>
                <a:lnTo>
                  <a:pt x="252" y="151"/>
                </a:lnTo>
                <a:lnTo>
                  <a:pt x="252" y="152"/>
                </a:lnTo>
                <a:lnTo>
                  <a:pt x="253" y="152"/>
                </a:lnTo>
                <a:lnTo>
                  <a:pt x="255" y="153"/>
                </a:lnTo>
                <a:lnTo>
                  <a:pt x="246" y="151"/>
                </a:lnTo>
                <a:lnTo>
                  <a:pt x="239" y="145"/>
                </a:lnTo>
                <a:lnTo>
                  <a:pt x="237" y="145"/>
                </a:lnTo>
                <a:lnTo>
                  <a:pt x="236" y="147"/>
                </a:lnTo>
                <a:lnTo>
                  <a:pt x="234" y="147"/>
                </a:lnTo>
                <a:lnTo>
                  <a:pt x="232" y="146"/>
                </a:lnTo>
                <a:lnTo>
                  <a:pt x="228" y="141"/>
                </a:lnTo>
                <a:lnTo>
                  <a:pt x="226" y="140"/>
                </a:lnTo>
                <a:lnTo>
                  <a:pt x="225" y="141"/>
                </a:lnTo>
                <a:lnTo>
                  <a:pt x="225" y="142"/>
                </a:lnTo>
                <a:lnTo>
                  <a:pt x="227" y="145"/>
                </a:lnTo>
                <a:lnTo>
                  <a:pt x="230" y="148"/>
                </a:lnTo>
                <a:lnTo>
                  <a:pt x="238" y="151"/>
                </a:lnTo>
                <a:lnTo>
                  <a:pt x="240" y="149"/>
                </a:lnTo>
                <a:lnTo>
                  <a:pt x="243" y="149"/>
                </a:lnTo>
                <a:lnTo>
                  <a:pt x="243" y="153"/>
                </a:lnTo>
                <a:lnTo>
                  <a:pt x="245" y="154"/>
                </a:lnTo>
                <a:lnTo>
                  <a:pt x="249" y="156"/>
                </a:lnTo>
                <a:lnTo>
                  <a:pt x="250" y="158"/>
                </a:lnTo>
                <a:lnTo>
                  <a:pt x="250" y="159"/>
                </a:lnTo>
                <a:lnTo>
                  <a:pt x="249" y="159"/>
                </a:lnTo>
                <a:lnTo>
                  <a:pt x="237" y="154"/>
                </a:lnTo>
                <a:lnTo>
                  <a:pt x="224" y="149"/>
                </a:lnTo>
                <a:lnTo>
                  <a:pt x="219" y="145"/>
                </a:lnTo>
                <a:lnTo>
                  <a:pt x="219" y="147"/>
                </a:lnTo>
                <a:lnTo>
                  <a:pt x="224" y="149"/>
                </a:lnTo>
                <a:lnTo>
                  <a:pt x="221" y="151"/>
                </a:lnTo>
                <a:lnTo>
                  <a:pt x="219" y="149"/>
                </a:lnTo>
                <a:lnTo>
                  <a:pt x="215" y="146"/>
                </a:lnTo>
                <a:lnTo>
                  <a:pt x="214" y="142"/>
                </a:lnTo>
                <a:lnTo>
                  <a:pt x="215" y="141"/>
                </a:lnTo>
                <a:lnTo>
                  <a:pt x="215" y="137"/>
                </a:lnTo>
                <a:lnTo>
                  <a:pt x="218" y="137"/>
                </a:lnTo>
                <a:lnTo>
                  <a:pt x="218" y="135"/>
                </a:lnTo>
                <a:lnTo>
                  <a:pt x="213" y="135"/>
                </a:lnTo>
                <a:lnTo>
                  <a:pt x="213" y="137"/>
                </a:lnTo>
                <a:lnTo>
                  <a:pt x="212" y="139"/>
                </a:lnTo>
                <a:lnTo>
                  <a:pt x="212" y="140"/>
                </a:lnTo>
                <a:lnTo>
                  <a:pt x="211" y="140"/>
                </a:lnTo>
                <a:lnTo>
                  <a:pt x="207" y="137"/>
                </a:lnTo>
                <a:lnTo>
                  <a:pt x="205" y="136"/>
                </a:lnTo>
                <a:lnTo>
                  <a:pt x="202" y="136"/>
                </a:lnTo>
                <a:lnTo>
                  <a:pt x="203" y="137"/>
                </a:lnTo>
                <a:lnTo>
                  <a:pt x="203" y="139"/>
                </a:lnTo>
                <a:lnTo>
                  <a:pt x="205" y="140"/>
                </a:lnTo>
                <a:lnTo>
                  <a:pt x="207" y="140"/>
                </a:lnTo>
                <a:lnTo>
                  <a:pt x="207" y="141"/>
                </a:lnTo>
                <a:lnTo>
                  <a:pt x="202" y="140"/>
                </a:lnTo>
                <a:lnTo>
                  <a:pt x="202" y="142"/>
                </a:lnTo>
                <a:lnTo>
                  <a:pt x="203" y="143"/>
                </a:lnTo>
                <a:lnTo>
                  <a:pt x="207" y="143"/>
                </a:lnTo>
                <a:lnTo>
                  <a:pt x="206" y="146"/>
                </a:lnTo>
                <a:lnTo>
                  <a:pt x="203" y="146"/>
                </a:lnTo>
                <a:lnTo>
                  <a:pt x="203" y="147"/>
                </a:lnTo>
                <a:lnTo>
                  <a:pt x="205" y="148"/>
                </a:lnTo>
                <a:lnTo>
                  <a:pt x="209" y="148"/>
                </a:lnTo>
                <a:lnTo>
                  <a:pt x="209" y="146"/>
                </a:lnTo>
                <a:lnTo>
                  <a:pt x="207" y="143"/>
                </a:lnTo>
                <a:lnTo>
                  <a:pt x="212" y="145"/>
                </a:lnTo>
                <a:lnTo>
                  <a:pt x="214" y="146"/>
                </a:lnTo>
                <a:lnTo>
                  <a:pt x="215" y="149"/>
                </a:lnTo>
                <a:lnTo>
                  <a:pt x="213" y="149"/>
                </a:lnTo>
                <a:lnTo>
                  <a:pt x="213" y="151"/>
                </a:lnTo>
                <a:lnTo>
                  <a:pt x="218" y="153"/>
                </a:lnTo>
                <a:lnTo>
                  <a:pt x="221" y="154"/>
                </a:lnTo>
                <a:lnTo>
                  <a:pt x="221" y="158"/>
                </a:lnTo>
                <a:lnTo>
                  <a:pt x="219" y="158"/>
                </a:lnTo>
                <a:lnTo>
                  <a:pt x="215" y="161"/>
                </a:lnTo>
                <a:lnTo>
                  <a:pt x="214" y="161"/>
                </a:lnTo>
                <a:lnTo>
                  <a:pt x="211" y="159"/>
                </a:lnTo>
                <a:lnTo>
                  <a:pt x="215" y="159"/>
                </a:lnTo>
                <a:lnTo>
                  <a:pt x="213" y="158"/>
                </a:lnTo>
                <a:lnTo>
                  <a:pt x="213" y="156"/>
                </a:lnTo>
                <a:lnTo>
                  <a:pt x="214" y="158"/>
                </a:lnTo>
                <a:lnTo>
                  <a:pt x="216" y="158"/>
                </a:lnTo>
                <a:lnTo>
                  <a:pt x="218" y="156"/>
                </a:lnTo>
                <a:lnTo>
                  <a:pt x="216" y="154"/>
                </a:lnTo>
                <a:lnTo>
                  <a:pt x="214" y="154"/>
                </a:lnTo>
                <a:lnTo>
                  <a:pt x="212" y="155"/>
                </a:lnTo>
                <a:lnTo>
                  <a:pt x="208" y="154"/>
                </a:lnTo>
                <a:lnTo>
                  <a:pt x="206" y="153"/>
                </a:lnTo>
                <a:lnTo>
                  <a:pt x="200" y="147"/>
                </a:lnTo>
                <a:lnTo>
                  <a:pt x="197" y="146"/>
                </a:lnTo>
                <a:lnTo>
                  <a:pt x="195" y="148"/>
                </a:lnTo>
                <a:lnTo>
                  <a:pt x="200" y="151"/>
                </a:lnTo>
                <a:lnTo>
                  <a:pt x="201" y="153"/>
                </a:lnTo>
                <a:lnTo>
                  <a:pt x="201" y="155"/>
                </a:lnTo>
                <a:lnTo>
                  <a:pt x="199" y="154"/>
                </a:lnTo>
                <a:lnTo>
                  <a:pt x="195" y="152"/>
                </a:lnTo>
                <a:lnTo>
                  <a:pt x="193" y="147"/>
                </a:lnTo>
                <a:lnTo>
                  <a:pt x="190" y="145"/>
                </a:lnTo>
                <a:lnTo>
                  <a:pt x="187" y="143"/>
                </a:lnTo>
                <a:lnTo>
                  <a:pt x="186" y="142"/>
                </a:lnTo>
                <a:lnTo>
                  <a:pt x="188" y="148"/>
                </a:lnTo>
                <a:lnTo>
                  <a:pt x="194" y="152"/>
                </a:lnTo>
                <a:lnTo>
                  <a:pt x="196" y="156"/>
                </a:lnTo>
                <a:lnTo>
                  <a:pt x="195" y="158"/>
                </a:lnTo>
                <a:lnTo>
                  <a:pt x="191" y="154"/>
                </a:lnTo>
                <a:lnTo>
                  <a:pt x="190" y="154"/>
                </a:lnTo>
                <a:lnTo>
                  <a:pt x="189" y="156"/>
                </a:lnTo>
                <a:lnTo>
                  <a:pt x="188" y="155"/>
                </a:lnTo>
                <a:lnTo>
                  <a:pt x="188" y="153"/>
                </a:lnTo>
                <a:lnTo>
                  <a:pt x="182" y="153"/>
                </a:lnTo>
                <a:lnTo>
                  <a:pt x="181" y="152"/>
                </a:lnTo>
                <a:lnTo>
                  <a:pt x="182" y="151"/>
                </a:lnTo>
                <a:lnTo>
                  <a:pt x="181" y="148"/>
                </a:lnTo>
                <a:lnTo>
                  <a:pt x="183" y="149"/>
                </a:lnTo>
                <a:lnTo>
                  <a:pt x="184" y="149"/>
                </a:lnTo>
                <a:lnTo>
                  <a:pt x="186" y="148"/>
                </a:lnTo>
                <a:lnTo>
                  <a:pt x="184" y="146"/>
                </a:lnTo>
                <a:lnTo>
                  <a:pt x="183" y="142"/>
                </a:lnTo>
                <a:lnTo>
                  <a:pt x="183" y="141"/>
                </a:lnTo>
                <a:lnTo>
                  <a:pt x="180" y="140"/>
                </a:lnTo>
                <a:lnTo>
                  <a:pt x="178" y="136"/>
                </a:lnTo>
                <a:lnTo>
                  <a:pt x="177" y="137"/>
                </a:lnTo>
                <a:lnTo>
                  <a:pt x="177" y="140"/>
                </a:lnTo>
                <a:lnTo>
                  <a:pt x="180" y="140"/>
                </a:lnTo>
                <a:lnTo>
                  <a:pt x="182" y="145"/>
                </a:lnTo>
                <a:lnTo>
                  <a:pt x="172" y="140"/>
                </a:lnTo>
                <a:lnTo>
                  <a:pt x="171" y="139"/>
                </a:lnTo>
                <a:lnTo>
                  <a:pt x="170" y="136"/>
                </a:lnTo>
                <a:lnTo>
                  <a:pt x="170" y="135"/>
                </a:lnTo>
                <a:lnTo>
                  <a:pt x="169" y="135"/>
                </a:lnTo>
                <a:lnTo>
                  <a:pt x="169" y="136"/>
                </a:lnTo>
                <a:lnTo>
                  <a:pt x="166" y="139"/>
                </a:lnTo>
                <a:lnTo>
                  <a:pt x="166" y="141"/>
                </a:lnTo>
                <a:lnTo>
                  <a:pt x="168" y="141"/>
                </a:lnTo>
                <a:lnTo>
                  <a:pt x="170" y="143"/>
                </a:lnTo>
                <a:lnTo>
                  <a:pt x="171" y="147"/>
                </a:lnTo>
                <a:lnTo>
                  <a:pt x="170" y="147"/>
                </a:lnTo>
                <a:lnTo>
                  <a:pt x="169" y="143"/>
                </a:lnTo>
                <a:lnTo>
                  <a:pt x="163" y="143"/>
                </a:lnTo>
                <a:lnTo>
                  <a:pt x="162" y="145"/>
                </a:lnTo>
                <a:lnTo>
                  <a:pt x="162" y="148"/>
                </a:lnTo>
                <a:lnTo>
                  <a:pt x="164" y="152"/>
                </a:lnTo>
                <a:lnTo>
                  <a:pt x="164" y="153"/>
                </a:lnTo>
                <a:lnTo>
                  <a:pt x="163" y="153"/>
                </a:lnTo>
                <a:lnTo>
                  <a:pt x="163" y="156"/>
                </a:lnTo>
                <a:lnTo>
                  <a:pt x="160" y="156"/>
                </a:lnTo>
                <a:lnTo>
                  <a:pt x="160" y="159"/>
                </a:lnTo>
                <a:lnTo>
                  <a:pt x="158" y="160"/>
                </a:lnTo>
                <a:lnTo>
                  <a:pt x="156" y="158"/>
                </a:lnTo>
                <a:lnTo>
                  <a:pt x="153" y="154"/>
                </a:lnTo>
                <a:lnTo>
                  <a:pt x="151" y="152"/>
                </a:lnTo>
                <a:lnTo>
                  <a:pt x="151" y="149"/>
                </a:lnTo>
                <a:lnTo>
                  <a:pt x="147" y="149"/>
                </a:lnTo>
                <a:lnTo>
                  <a:pt x="147" y="148"/>
                </a:lnTo>
                <a:lnTo>
                  <a:pt x="146" y="147"/>
                </a:lnTo>
                <a:lnTo>
                  <a:pt x="143" y="146"/>
                </a:lnTo>
                <a:lnTo>
                  <a:pt x="143" y="145"/>
                </a:lnTo>
                <a:lnTo>
                  <a:pt x="140" y="142"/>
                </a:lnTo>
                <a:lnTo>
                  <a:pt x="140" y="141"/>
                </a:lnTo>
                <a:lnTo>
                  <a:pt x="139" y="139"/>
                </a:lnTo>
                <a:lnTo>
                  <a:pt x="139" y="134"/>
                </a:lnTo>
                <a:lnTo>
                  <a:pt x="138" y="133"/>
                </a:lnTo>
                <a:lnTo>
                  <a:pt x="134" y="131"/>
                </a:lnTo>
                <a:lnTo>
                  <a:pt x="133" y="128"/>
                </a:lnTo>
                <a:lnTo>
                  <a:pt x="131" y="125"/>
                </a:lnTo>
                <a:lnTo>
                  <a:pt x="132" y="128"/>
                </a:lnTo>
                <a:lnTo>
                  <a:pt x="133" y="129"/>
                </a:lnTo>
                <a:lnTo>
                  <a:pt x="133" y="131"/>
                </a:lnTo>
                <a:lnTo>
                  <a:pt x="131" y="130"/>
                </a:lnTo>
                <a:lnTo>
                  <a:pt x="129" y="130"/>
                </a:lnTo>
                <a:lnTo>
                  <a:pt x="129" y="137"/>
                </a:lnTo>
                <a:lnTo>
                  <a:pt x="137" y="142"/>
                </a:lnTo>
                <a:lnTo>
                  <a:pt x="135" y="142"/>
                </a:lnTo>
                <a:lnTo>
                  <a:pt x="135" y="143"/>
                </a:lnTo>
                <a:lnTo>
                  <a:pt x="137" y="145"/>
                </a:lnTo>
                <a:lnTo>
                  <a:pt x="139" y="145"/>
                </a:lnTo>
                <a:lnTo>
                  <a:pt x="140" y="146"/>
                </a:lnTo>
                <a:lnTo>
                  <a:pt x="141" y="148"/>
                </a:lnTo>
                <a:lnTo>
                  <a:pt x="137" y="147"/>
                </a:lnTo>
                <a:lnTo>
                  <a:pt x="133" y="145"/>
                </a:lnTo>
                <a:lnTo>
                  <a:pt x="132" y="143"/>
                </a:lnTo>
                <a:lnTo>
                  <a:pt x="132" y="140"/>
                </a:lnTo>
                <a:lnTo>
                  <a:pt x="129" y="140"/>
                </a:lnTo>
                <a:lnTo>
                  <a:pt x="121" y="131"/>
                </a:lnTo>
                <a:lnTo>
                  <a:pt x="121" y="136"/>
                </a:lnTo>
                <a:lnTo>
                  <a:pt x="120" y="137"/>
                </a:lnTo>
                <a:lnTo>
                  <a:pt x="119" y="137"/>
                </a:lnTo>
                <a:lnTo>
                  <a:pt x="115" y="134"/>
                </a:lnTo>
                <a:lnTo>
                  <a:pt x="113" y="136"/>
                </a:lnTo>
                <a:lnTo>
                  <a:pt x="112" y="135"/>
                </a:lnTo>
                <a:lnTo>
                  <a:pt x="109" y="134"/>
                </a:lnTo>
                <a:lnTo>
                  <a:pt x="103" y="125"/>
                </a:lnTo>
                <a:lnTo>
                  <a:pt x="102" y="125"/>
                </a:lnTo>
                <a:lnTo>
                  <a:pt x="102" y="128"/>
                </a:lnTo>
                <a:lnTo>
                  <a:pt x="101" y="128"/>
                </a:lnTo>
                <a:lnTo>
                  <a:pt x="98" y="129"/>
                </a:lnTo>
                <a:lnTo>
                  <a:pt x="97" y="129"/>
                </a:lnTo>
                <a:lnTo>
                  <a:pt x="97" y="128"/>
                </a:lnTo>
                <a:lnTo>
                  <a:pt x="94" y="124"/>
                </a:lnTo>
                <a:lnTo>
                  <a:pt x="91" y="124"/>
                </a:lnTo>
                <a:lnTo>
                  <a:pt x="90" y="123"/>
                </a:lnTo>
                <a:lnTo>
                  <a:pt x="91" y="123"/>
                </a:lnTo>
                <a:lnTo>
                  <a:pt x="91" y="122"/>
                </a:lnTo>
                <a:lnTo>
                  <a:pt x="90" y="122"/>
                </a:lnTo>
                <a:lnTo>
                  <a:pt x="90" y="128"/>
                </a:lnTo>
                <a:lnTo>
                  <a:pt x="89" y="127"/>
                </a:lnTo>
                <a:lnTo>
                  <a:pt x="87" y="125"/>
                </a:lnTo>
                <a:lnTo>
                  <a:pt x="84" y="122"/>
                </a:lnTo>
                <a:lnTo>
                  <a:pt x="83" y="121"/>
                </a:lnTo>
                <a:lnTo>
                  <a:pt x="79" y="119"/>
                </a:lnTo>
                <a:lnTo>
                  <a:pt x="89" y="119"/>
                </a:lnTo>
                <a:lnTo>
                  <a:pt x="90" y="118"/>
                </a:lnTo>
                <a:lnTo>
                  <a:pt x="90" y="117"/>
                </a:lnTo>
                <a:lnTo>
                  <a:pt x="91" y="117"/>
                </a:lnTo>
                <a:lnTo>
                  <a:pt x="93" y="118"/>
                </a:lnTo>
                <a:lnTo>
                  <a:pt x="95" y="122"/>
                </a:lnTo>
                <a:lnTo>
                  <a:pt x="95" y="124"/>
                </a:lnTo>
                <a:lnTo>
                  <a:pt x="96" y="124"/>
                </a:lnTo>
                <a:lnTo>
                  <a:pt x="97" y="123"/>
                </a:lnTo>
                <a:lnTo>
                  <a:pt x="96" y="121"/>
                </a:lnTo>
                <a:lnTo>
                  <a:pt x="95" y="119"/>
                </a:lnTo>
                <a:lnTo>
                  <a:pt x="95" y="117"/>
                </a:lnTo>
                <a:lnTo>
                  <a:pt x="97" y="112"/>
                </a:lnTo>
                <a:lnTo>
                  <a:pt x="97" y="111"/>
                </a:lnTo>
                <a:lnTo>
                  <a:pt x="98" y="110"/>
                </a:lnTo>
                <a:lnTo>
                  <a:pt x="97" y="106"/>
                </a:lnTo>
                <a:lnTo>
                  <a:pt x="95" y="102"/>
                </a:lnTo>
                <a:lnTo>
                  <a:pt x="90" y="97"/>
                </a:lnTo>
                <a:lnTo>
                  <a:pt x="88" y="93"/>
                </a:lnTo>
                <a:lnTo>
                  <a:pt x="88" y="91"/>
                </a:lnTo>
                <a:lnTo>
                  <a:pt x="90" y="92"/>
                </a:lnTo>
                <a:lnTo>
                  <a:pt x="96" y="92"/>
                </a:lnTo>
                <a:lnTo>
                  <a:pt x="95" y="91"/>
                </a:lnTo>
                <a:lnTo>
                  <a:pt x="96" y="90"/>
                </a:lnTo>
                <a:lnTo>
                  <a:pt x="98" y="92"/>
                </a:lnTo>
                <a:lnTo>
                  <a:pt x="101" y="92"/>
                </a:lnTo>
                <a:lnTo>
                  <a:pt x="106" y="96"/>
                </a:lnTo>
                <a:lnTo>
                  <a:pt x="107" y="96"/>
                </a:lnTo>
                <a:lnTo>
                  <a:pt x="102" y="88"/>
                </a:lnTo>
                <a:lnTo>
                  <a:pt x="101" y="85"/>
                </a:lnTo>
                <a:lnTo>
                  <a:pt x="107" y="84"/>
                </a:lnTo>
                <a:lnTo>
                  <a:pt x="109" y="85"/>
                </a:lnTo>
                <a:lnTo>
                  <a:pt x="112" y="87"/>
                </a:lnTo>
                <a:lnTo>
                  <a:pt x="108" y="86"/>
                </a:lnTo>
                <a:lnTo>
                  <a:pt x="107" y="86"/>
                </a:lnTo>
                <a:lnTo>
                  <a:pt x="106" y="88"/>
                </a:lnTo>
                <a:lnTo>
                  <a:pt x="107" y="90"/>
                </a:lnTo>
                <a:lnTo>
                  <a:pt x="109" y="88"/>
                </a:lnTo>
                <a:lnTo>
                  <a:pt x="113" y="90"/>
                </a:lnTo>
                <a:lnTo>
                  <a:pt x="119" y="87"/>
                </a:lnTo>
                <a:lnTo>
                  <a:pt x="120" y="87"/>
                </a:lnTo>
                <a:lnTo>
                  <a:pt x="119" y="86"/>
                </a:lnTo>
                <a:lnTo>
                  <a:pt x="119" y="85"/>
                </a:lnTo>
                <a:lnTo>
                  <a:pt x="118" y="85"/>
                </a:lnTo>
                <a:lnTo>
                  <a:pt x="116" y="86"/>
                </a:lnTo>
                <a:lnTo>
                  <a:pt x="115" y="86"/>
                </a:lnTo>
                <a:lnTo>
                  <a:pt x="112" y="85"/>
                </a:lnTo>
                <a:lnTo>
                  <a:pt x="110" y="84"/>
                </a:lnTo>
                <a:lnTo>
                  <a:pt x="109" y="81"/>
                </a:lnTo>
                <a:lnTo>
                  <a:pt x="110" y="81"/>
                </a:lnTo>
                <a:lnTo>
                  <a:pt x="110" y="79"/>
                </a:lnTo>
                <a:lnTo>
                  <a:pt x="112" y="78"/>
                </a:lnTo>
                <a:lnTo>
                  <a:pt x="113" y="78"/>
                </a:lnTo>
                <a:lnTo>
                  <a:pt x="112" y="75"/>
                </a:lnTo>
                <a:lnTo>
                  <a:pt x="115" y="75"/>
                </a:lnTo>
                <a:lnTo>
                  <a:pt x="112" y="72"/>
                </a:lnTo>
                <a:lnTo>
                  <a:pt x="110" y="73"/>
                </a:lnTo>
                <a:lnTo>
                  <a:pt x="110" y="74"/>
                </a:lnTo>
                <a:lnTo>
                  <a:pt x="108" y="79"/>
                </a:lnTo>
                <a:lnTo>
                  <a:pt x="107" y="80"/>
                </a:lnTo>
                <a:lnTo>
                  <a:pt x="106" y="80"/>
                </a:lnTo>
                <a:lnTo>
                  <a:pt x="104" y="79"/>
                </a:lnTo>
                <a:lnTo>
                  <a:pt x="104" y="76"/>
                </a:lnTo>
                <a:lnTo>
                  <a:pt x="103" y="75"/>
                </a:lnTo>
                <a:lnTo>
                  <a:pt x="101" y="75"/>
                </a:lnTo>
                <a:lnTo>
                  <a:pt x="102" y="76"/>
                </a:lnTo>
                <a:lnTo>
                  <a:pt x="102" y="82"/>
                </a:lnTo>
                <a:lnTo>
                  <a:pt x="101" y="82"/>
                </a:lnTo>
                <a:lnTo>
                  <a:pt x="98" y="80"/>
                </a:lnTo>
                <a:lnTo>
                  <a:pt x="97" y="80"/>
                </a:lnTo>
                <a:lnTo>
                  <a:pt x="97" y="78"/>
                </a:lnTo>
                <a:lnTo>
                  <a:pt x="95" y="76"/>
                </a:lnTo>
                <a:lnTo>
                  <a:pt x="95" y="75"/>
                </a:lnTo>
                <a:lnTo>
                  <a:pt x="94" y="75"/>
                </a:lnTo>
                <a:lnTo>
                  <a:pt x="91" y="76"/>
                </a:lnTo>
                <a:lnTo>
                  <a:pt x="90" y="75"/>
                </a:lnTo>
                <a:lnTo>
                  <a:pt x="90" y="74"/>
                </a:lnTo>
                <a:lnTo>
                  <a:pt x="89" y="73"/>
                </a:lnTo>
                <a:lnTo>
                  <a:pt x="87" y="69"/>
                </a:lnTo>
                <a:lnTo>
                  <a:pt x="87" y="68"/>
                </a:lnTo>
                <a:lnTo>
                  <a:pt x="91" y="65"/>
                </a:lnTo>
                <a:lnTo>
                  <a:pt x="93" y="63"/>
                </a:lnTo>
                <a:lnTo>
                  <a:pt x="93" y="61"/>
                </a:lnTo>
                <a:lnTo>
                  <a:pt x="95" y="57"/>
                </a:lnTo>
                <a:lnTo>
                  <a:pt x="95" y="54"/>
                </a:lnTo>
                <a:lnTo>
                  <a:pt x="96" y="50"/>
                </a:lnTo>
                <a:lnTo>
                  <a:pt x="97" y="49"/>
                </a:lnTo>
                <a:lnTo>
                  <a:pt x="104" y="48"/>
                </a:lnTo>
                <a:lnTo>
                  <a:pt x="106" y="45"/>
                </a:lnTo>
                <a:lnTo>
                  <a:pt x="107" y="42"/>
                </a:lnTo>
                <a:lnTo>
                  <a:pt x="106" y="41"/>
                </a:lnTo>
                <a:lnTo>
                  <a:pt x="104" y="41"/>
                </a:lnTo>
                <a:lnTo>
                  <a:pt x="104" y="42"/>
                </a:lnTo>
                <a:lnTo>
                  <a:pt x="102" y="45"/>
                </a:lnTo>
                <a:lnTo>
                  <a:pt x="91" y="51"/>
                </a:lnTo>
                <a:lnTo>
                  <a:pt x="90" y="53"/>
                </a:lnTo>
                <a:lnTo>
                  <a:pt x="90" y="61"/>
                </a:lnTo>
                <a:lnTo>
                  <a:pt x="88" y="63"/>
                </a:lnTo>
                <a:lnTo>
                  <a:pt x="84" y="62"/>
                </a:lnTo>
                <a:lnTo>
                  <a:pt x="82" y="60"/>
                </a:lnTo>
                <a:lnTo>
                  <a:pt x="82" y="55"/>
                </a:lnTo>
                <a:lnTo>
                  <a:pt x="81" y="51"/>
                </a:lnTo>
                <a:lnTo>
                  <a:pt x="78" y="43"/>
                </a:lnTo>
                <a:lnTo>
                  <a:pt x="81" y="41"/>
                </a:lnTo>
                <a:lnTo>
                  <a:pt x="81" y="37"/>
                </a:lnTo>
                <a:lnTo>
                  <a:pt x="82" y="35"/>
                </a:lnTo>
                <a:lnTo>
                  <a:pt x="85" y="31"/>
                </a:lnTo>
                <a:lnTo>
                  <a:pt x="83" y="27"/>
                </a:lnTo>
                <a:lnTo>
                  <a:pt x="82" y="27"/>
                </a:lnTo>
                <a:lnTo>
                  <a:pt x="76" y="36"/>
                </a:lnTo>
                <a:lnTo>
                  <a:pt x="75" y="38"/>
                </a:lnTo>
                <a:lnTo>
                  <a:pt x="73" y="42"/>
                </a:lnTo>
                <a:lnTo>
                  <a:pt x="73" y="45"/>
                </a:lnTo>
                <a:lnTo>
                  <a:pt x="72" y="47"/>
                </a:lnTo>
                <a:lnTo>
                  <a:pt x="72" y="48"/>
                </a:lnTo>
                <a:lnTo>
                  <a:pt x="71" y="47"/>
                </a:lnTo>
                <a:lnTo>
                  <a:pt x="71" y="42"/>
                </a:lnTo>
                <a:lnTo>
                  <a:pt x="69" y="39"/>
                </a:lnTo>
                <a:lnTo>
                  <a:pt x="70" y="37"/>
                </a:lnTo>
                <a:lnTo>
                  <a:pt x="69" y="37"/>
                </a:lnTo>
                <a:lnTo>
                  <a:pt x="68" y="38"/>
                </a:lnTo>
                <a:lnTo>
                  <a:pt x="68" y="41"/>
                </a:lnTo>
                <a:lnTo>
                  <a:pt x="69" y="42"/>
                </a:lnTo>
                <a:lnTo>
                  <a:pt x="69" y="44"/>
                </a:lnTo>
                <a:lnTo>
                  <a:pt x="66" y="44"/>
                </a:lnTo>
                <a:lnTo>
                  <a:pt x="66" y="49"/>
                </a:lnTo>
                <a:lnTo>
                  <a:pt x="65" y="50"/>
                </a:lnTo>
                <a:lnTo>
                  <a:pt x="65" y="49"/>
                </a:lnTo>
                <a:lnTo>
                  <a:pt x="64" y="49"/>
                </a:lnTo>
                <a:lnTo>
                  <a:pt x="63" y="51"/>
                </a:lnTo>
                <a:lnTo>
                  <a:pt x="62" y="51"/>
                </a:lnTo>
                <a:lnTo>
                  <a:pt x="62" y="43"/>
                </a:lnTo>
                <a:lnTo>
                  <a:pt x="59" y="41"/>
                </a:lnTo>
                <a:lnTo>
                  <a:pt x="58" y="42"/>
                </a:lnTo>
                <a:lnTo>
                  <a:pt x="59" y="47"/>
                </a:lnTo>
                <a:lnTo>
                  <a:pt x="57" y="45"/>
                </a:lnTo>
                <a:lnTo>
                  <a:pt x="56" y="44"/>
                </a:lnTo>
                <a:lnTo>
                  <a:pt x="56" y="38"/>
                </a:lnTo>
                <a:lnTo>
                  <a:pt x="52" y="42"/>
                </a:lnTo>
                <a:lnTo>
                  <a:pt x="51" y="41"/>
                </a:lnTo>
                <a:lnTo>
                  <a:pt x="51" y="38"/>
                </a:lnTo>
                <a:lnTo>
                  <a:pt x="52" y="36"/>
                </a:lnTo>
                <a:lnTo>
                  <a:pt x="52" y="31"/>
                </a:lnTo>
                <a:lnTo>
                  <a:pt x="51" y="29"/>
                </a:lnTo>
                <a:lnTo>
                  <a:pt x="50" y="27"/>
                </a:lnTo>
                <a:lnTo>
                  <a:pt x="48" y="25"/>
                </a:lnTo>
                <a:lnTo>
                  <a:pt x="48" y="19"/>
                </a:lnTo>
                <a:lnTo>
                  <a:pt x="47" y="20"/>
                </a:lnTo>
                <a:lnTo>
                  <a:pt x="46" y="23"/>
                </a:lnTo>
                <a:lnTo>
                  <a:pt x="46" y="29"/>
                </a:lnTo>
                <a:lnTo>
                  <a:pt x="45" y="30"/>
                </a:lnTo>
                <a:lnTo>
                  <a:pt x="41" y="30"/>
                </a:lnTo>
                <a:lnTo>
                  <a:pt x="40" y="32"/>
                </a:lnTo>
                <a:lnTo>
                  <a:pt x="40" y="36"/>
                </a:lnTo>
                <a:lnTo>
                  <a:pt x="42" y="38"/>
                </a:lnTo>
                <a:lnTo>
                  <a:pt x="42" y="41"/>
                </a:lnTo>
                <a:lnTo>
                  <a:pt x="41" y="39"/>
                </a:lnTo>
                <a:lnTo>
                  <a:pt x="39" y="38"/>
                </a:lnTo>
                <a:lnTo>
                  <a:pt x="37" y="35"/>
                </a:lnTo>
                <a:lnTo>
                  <a:pt x="35" y="32"/>
                </a:lnTo>
                <a:lnTo>
                  <a:pt x="37" y="27"/>
                </a:lnTo>
                <a:lnTo>
                  <a:pt x="37" y="25"/>
                </a:lnTo>
                <a:lnTo>
                  <a:pt x="35" y="26"/>
                </a:lnTo>
                <a:lnTo>
                  <a:pt x="33" y="30"/>
                </a:lnTo>
                <a:lnTo>
                  <a:pt x="32" y="31"/>
                </a:lnTo>
                <a:lnTo>
                  <a:pt x="31" y="31"/>
                </a:lnTo>
                <a:lnTo>
                  <a:pt x="32" y="35"/>
                </a:lnTo>
                <a:lnTo>
                  <a:pt x="33" y="37"/>
                </a:lnTo>
                <a:lnTo>
                  <a:pt x="35" y="38"/>
                </a:lnTo>
                <a:lnTo>
                  <a:pt x="37" y="41"/>
                </a:lnTo>
                <a:lnTo>
                  <a:pt x="31" y="39"/>
                </a:lnTo>
                <a:lnTo>
                  <a:pt x="27" y="41"/>
                </a:lnTo>
                <a:lnTo>
                  <a:pt x="23" y="39"/>
                </a:lnTo>
                <a:lnTo>
                  <a:pt x="21" y="42"/>
                </a:lnTo>
                <a:lnTo>
                  <a:pt x="19" y="43"/>
                </a:lnTo>
                <a:lnTo>
                  <a:pt x="16" y="41"/>
                </a:lnTo>
                <a:lnTo>
                  <a:pt x="16" y="38"/>
                </a:lnTo>
                <a:lnTo>
                  <a:pt x="11" y="33"/>
                </a:lnTo>
                <a:lnTo>
                  <a:pt x="8" y="32"/>
                </a:lnTo>
                <a:lnTo>
                  <a:pt x="6" y="29"/>
                </a:lnTo>
                <a:lnTo>
                  <a:pt x="6" y="19"/>
                </a:lnTo>
                <a:lnTo>
                  <a:pt x="4" y="18"/>
                </a:lnTo>
                <a:lnTo>
                  <a:pt x="2" y="11"/>
                </a:lnTo>
                <a:lnTo>
                  <a:pt x="2" y="10"/>
                </a:lnTo>
                <a:lnTo>
                  <a:pt x="3" y="8"/>
                </a:lnTo>
                <a:lnTo>
                  <a:pt x="1" y="6"/>
                </a:lnTo>
                <a:lnTo>
                  <a:pt x="1" y="4"/>
                </a:lnTo>
                <a:lnTo>
                  <a:pt x="0" y="1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" name="Freeform 20">
            <a:extLst>
              <a:ext uri="{FF2B5EF4-FFF2-40B4-BE49-F238E27FC236}">
                <a16:creationId xmlns:a16="http://schemas.microsoft.com/office/drawing/2014/main" id="{2BED5E64-D203-4B5E-A23E-C6AAE9FDE43F}"/>
              </a:ext>
            </a:extLst>
          </p:cNvPr>
          <p:cNvSpPr>
            <a:spLocks noEditPoints="1"/>
          </p:cNvSpPr>
          <p:nvPr/>
        </p:nvSpPr>
        <p:spPr bwMode="auto">
          <a:xfrm>
            <a:off x="2469090" y="4878434"/>
            <a:ext cx="578128" cy="405703"/>
          </a:xfrm>
          <a:custGeom>
            <a:avLst/>
            <a:gdLst/>
            <a:ahLst/>
            <a:cxnLst>
              <a:cxn ang="0">
                <a:pos x="366" y="220"/>
              </a:cxn>
              <a:cxn ang="0">
                <a:pos x="274" y="1"/>
              </a:cxn>
              <a:cxn ang="0">
                <a:pos x="287" y="8"/>
              </a:cxn>
              <a:cxn ang="0">
                <a:pos x="291" y="15"/>
              </a:cxn>
              <a:cxn ang="0">
                <a:pos x="294" y="28"/>
              </a:cxn>
              <a:cxn ang="0">
                <a:pos x="303" y="43"/>
              </a:cxn>
              <a:cxn ang="0">
                <a:pos x="310" y="54"/>
              </a:cxn>
              <a:cxn ang="0">
                <a:pos x="318" y="69"/>
              </a:cxn>
              <a:cxn ang="0">
                <a:pos x="331" y="85"/>
              </a:cxn>
              <a:cxn ang="0">
                <a:pos x="337" y="117"/>
              </a:cxn>
              <a:cxn ang="0">
                <a:pos x="331" y="135"/>
              </a:cxn>
              <a:cxn ang="0">
                <a:pos x="334" y="167"/>
              </a:cxn>
              <a:cxn ang="0">
                <a:pos x="343" y="182"/>
              </a:cxn>
              <a:cxn ang="0">
                <a:pos x="361" y="181"/>
              </a:cxn>
              <a:cxn ang="0">
                <a:pos x="375" y="178"/>
              </a:cxn>
              <a:cxn ang="0">
                <a:pos x="397" y="186"/>
              </a:cxn>
              <a:cxn ang="0">
                <a:pos x="397" y="199"/>
              </a:cxn>
              <a:cxn ang="0">
                <a:pos x="378" y="212"/>
              </a:cxn>
              <a:cxn ang="0">
                <a:pos x="375" y="210"/>
              </a:cxn>
              <a:cxn ang="0">
                <a:pos x="368" y="202"/>
              </a:cxn>
              <a:cxn ang="0">
                <a:pos x="367" y="211"/>
              </a:cxn>
              <a:cxn ang="0">
                <a:pos x="360" y="221"/>
              </a:cxn>
              <a:cxn ang="0">
                <a:pos x="359" y="229"/>
              </a:cxn>
              <a:cxn ang="0">
                <a:pos x="358" y="237"/>
              </a:cxn>
              <a:cxn ang="0">
                <a:pos x="355" y="261"/>
              </a:cxn>
              <a:cxn ang="0">
                <a:pos x="322" y="260"/>
              </a:cxn>
              <a:cxn ang="0">
                <a:pos x="297" y="253"/>
              </a:cxn>
              <a:cxn ang="0">
                <a:pos x="272" y="254"/>
              </a:cxn>
              <a:cxn ang="0">
                <a:pos x="235" y="273"/>
              </a:cxn>
              <a:cxn ang="0">
                <a:pos x="214" y="279"/>
              </a:cxn>
              <a:cxn ang="0">
                <a:pos x="173" y="273"/>
              </a:cxn>
              <a:cxn ang="0">
                <a:pos x="123" y="267"/>
              </a:cxn>
              <a:cxn ang="0">
                <a:pos x="116" y="259"/>
              </a:cxn>
              <a:cxn ang="0">
                <a:pos x="100" y="241"/>
              </a:cxn>
              <a:cxn ang="0">
                <a:pos x="100" y="225"/>
              </a:cxn>
              <a:cxn ang="0">
                <a:pos x="92" y="216"/>
              </a:cxn>
              <a:cxn ang="0">
                <a:pos x="77" y="229"/>
              </a:cxn>
              <a:cxn ang="0">
                <a:pos x="58" y="217"/>
              </a:cxn>
              <a:cxn ang="0">
                <a:pos x="52" y="208"/>
              </a:cxn>
              <a:cxn ang="0">
                <a:pos x="49" y="199"/>
              </a:cxn>
              <a:cxn ang="0">
                <a:pos x="42" y="187"/>
              </a:cxn>
              <a:cxn ang="0">
                <a:pos x="25" y="173"/>
              </a:cxn>
              <a:cxn ang="0">
                <a:pos x="21" y="155"/>
              </a:cxn>
              <a:cxn ang="0">
                <a:pos x="8" y="143"/>
              </a:cxn>
              <a:cxn ang="0">
                <a:pos x="11" y="130"/>
              </a:cxn>
              <a:cxn ang="0">
                <a:pos x="26" y="124"/>
              </a:cxn>
              <a:cxn ang="0">
                <a:pos x="38" y="124"/>
              </a:cxn>
              <a:cxn ang="0">
                <a:pos x="44" y="104"/>
              </a:cxn>
              <a:cxn ang="0">
                <a:pos x="54" y="91"/>
              </a:cxn>
              <a:cxn ang="0">
                <a:pos x="58" y="77"/>
              </a:cxn>
              <a:cxn ang="0">
                <a:pos x="70" y="58"/>
              </a:cxn>
              <a:cxn ang="0">
                <a:pos x="87" y="33"/>
              </a:cxn>
              <a:cxn ang="0">
                <a:pos x="111" y="21"/>
              </a:cxn>
              <a:cxn ang="0">
                <a:pos x="122" y="11"/>
              </a:cxn>
              <a:cxn ang="0">
                <a:pos x="145" y="18"/>
              </a:cxn>
              <a:cxn ang="0">
                <a:pos x="168" y="24"/>
              </a:cxn>
              <a:cxn ang="0">
                <a:pos x="192" y="28"/>
              </a:cxn>
              <a:cxn ang="0">
                <a:pos x="237" y="19"/>
              </a:cxn>
              <a:cxn ang="0">
                <a:pos x="255" y="6"/>
              </a:cxn>
            </a:cxnLst>
            <a:rect l="0" t="0" r="r" b="b"/>
            <a:pathLst>
              <a:path w="399" h="280">
                <a:moveTo>
                  <a:pt x="365" y="217"/>
                </a:moveTo>
                <a:lnTo>
                  <a:pt x="368" y="218"/>
                </a:lnTo>
                <a:lnTo>
                  <a:pt x="369" y="220"/>
                </a:lnTo>
                <a:lnTo>
                  <a:pt x="368" y="221"/>
                </a:lnTo>
                <a:lnTo>
                  <a:pt x="368" y="222"/>
                </a:lnTo>
                <a:lnTo>
                  <a:pt x="367" y="222"/>
                </a:lnTo>
                <a:lnTo>
                  <a:pt x="367" y="221"/>
                </a:lnTo>
                <a:lnTo>
                  <a:pt x="368" y="220"/>
                </a:lnTo>
                <a:lnTo>
                  <a:pt x="367" y="218"/>
                </a:lnTo>
                <a:lnTo>
                  <a:pt x="367" y="220"/>
                </a:lnTo>
                <a:lnTo>
                  <a:pt x="366" y="220"/>
                </a:lnTo>
                <a:lnTo>
                  <a:pt x="366" y="221"/>
                </a:lnTo>
                <a:lnTo>
                  <a:pt x="365" y="221"/>
                </a:lnTo>
                <a:lnTo>
                  <a:pt x="362" y="223"/>
                </a:lnTo>
                <a:lnTo>
                  <a:pt x="361" y="223"/>
                </a:lnTo>
                <a:lnTo>
                  <a:pt x="361" y="222"/>
                </a:lnTo>
                <a:lnTo>
                  <a:pt x="363" y="221"/>
                </a:lnTo>
                <a:lnTo>
                  <a:pt x="366" y="218"/>
                </a:lnTo>
                <a:lnTo>
                  <a:pt x="365" y="217"/>
                </a:lnTo>
                <a:close/>
                <a:moveTo>
                  <a:pt x="269" y="0"/>
                </a:moveTo>
                <a:lnTo>
                  <a:pt x="274" y="0"/>
                </a:lnTo>
                <a:lnTo>
                  <a:pt x="274" y="1"/>
                </a:lnTo>
                <a:lnTo>
                  <a:pt x="278" y="1"/>
                </a:lnTo>
                <a:lnTo>
                  <a:pt x="279" y="2"/>
                </a:lnTo>
                <a:lnTo>
                  <a:pt x="281" y="3"/>
                </a:lnTo>
                <a:lnTo>
                  <a:pt x="281" y="5"/>
                </a:lnTo>
                <a:lnTo>
                  <a:pt x="284" y="5"/>
                </a:lnTo>
                <a:lnTo>
                  <a:pt x="284" y="6"/>
                </a:lnTo>
                <a:lnTo>
                  <a:pt x="285" y="6"/>
                </a:lnTo>
                <a:lnTo>
                  <a:pt x="285" y="7"/>
                </a:lnTo>
                <a:lnTo>
                  <a:pt x="284" y="7"/>
                </a:lnTo>
                <a:lnTo>
                  <a:pt x="284" y="8"/>
                </a:lnTo>
                <a:lnTo>
                  <a:pt x="287" y="8"/>
                </a:lnTo>
                <a:lnTo>
                  <a:pt x="287" y="11"/>
                </a:lnTo>
                <a:lnTo>
                  <a:pt x="286" y="11"/>
                </a:lnTo>
                <a:lnTo>
                  <a:pt x="287" y="12"/>
                </a:lnTo>
                <a:lnTo>
                  <a:pt x="287" y="13"/>
                </a:lnTo>
                <a:lnTo>
                  <a:pt x="288" y="14"/>
                </a:lnTo>
                <a:lnTo>
                  <a:pt x="290" y="14"/>
                </a:lnTo>
                <a:lnTo>
                  <a:pt x="290" y="15"/>
                </a:lnTo>
                <a:lnTo>
                  <a:pt x="288" y="15"/>
                </a:lnTo>
                <a:lnTo>
                  <a:pt x="288" y="16"/>
                </a:lnTo>
                <a:lnTo>
                  <a:pt x="290" y="16"/>
                </a:lnTo>
                <a:lnTo>
                  <a:pt x="291" y="15"/>
                </a:lnTo>
                <a:lnTo>
                  <a:pt x="291" y="18"/>
                </a:lnTo>
                <a:lnTo>
                  <a:pt x="292" y="18"/>
                </a:lnTo>
                <a:lnTo>
                  <a:pt x="292" y="20"/>
                </a:lnTo>
                <a:lnTo>
                  <a:pt x="293" y="20"/>
                </a:lnTo>
                <a:lnTo>
                  <a:pt x="292" y="21"/>
                </a:lnTo>
                <a:lnTo>
                  <a:pt x="292" y="22"/>
                </a:lnTo>
                <a:lnTo>
                  <a:pt x="293" y="22"/>
                </a:lnTo>
                <a:lnTo>
                  <a:pt x="294" y="24"/>
                </a:lnTo>
                <a:lnTo>
                  <a:pt x="294" y="26"/>
                </a:lnTo>
                <a:lnTo>
                  <a:pt x="296" y="27"/>
                </a:lnTo>
                <a:lnTo>
                  <a:pt x="294" y="28"/>
                </a:lnTo>
                <a:lnTo>
                  <a:pt x="296" y="30"/>
                </a:lnTo>
                <a:lnTo>
                  <a:pt x="296" y="31"/>
                </a:lnTo>
                <a:lnTo>
                  <a:pt x="298" y="33"/>
                </a:lnTo>
                <a:lnTo>
                  <a:pt x="297" y="33"/>
                </a:lnTo>
                <a:lnTo>
                  <a:pt x="298" y="34"/>
                </a:lnTo>
                <a:lnTo>
                  <a:pt x="297" y="34"/>
                </a:lnTo>
                <a:lnTo>
                  <a:pt x="297" y="36"/>
                </a:lnTo>
                <a:lnTo>
                  <a:pt x="298" y="38"/>
                </a:lnTo>
                <a:lnTo>
                  <a:pt x="300" y="42"/>
                </a:lnTo>
                <a:lnTo>
                  <a:pt x="301" y="43"/>
                </a:lnTo>
                <a:lnTo>
                  <a:pt x="303" y="43"/>
                </a:lnTo>
                <a:lnTo>
                  <a:pt x="304" y="44"/>
                </a:lnTo>
                <a:lnTo>
                  <a:pt x="304" y="46"/>
                </a:lnTo>
                <a:lnTo>
                  <a:pt x="305" y="46"/>
                </a:lnTo>
                <a:lnTo>
                  <a:pt x="305" y="49"/>
                </a:lnTo>
                <a:lnTo>
                  <a:pt x="306" y="49"/>
                </a:lnTo>
                <a:lnTo>
                  <a:pt x="306" y="50"/>
                </a:lnTo>
                <a:lnTo>
                  <a:pt x="310" y="50"/>
                </a:lnTo>
                <a:lnTo>
                  <a:pt x="310" y="51"/>
                </a:lnTo>
                <a:lnTo>
                  <a:pt x="309" y="52"/>
                </a:lnTo>
                <a:lnTo>
                  <a:pt x="309" y="54"/>
                </a:lnTo>
                <a:lnTo>
                  <a:pt x="310" y="54"/>
                </a:lnTo>
                <a:lnTo>
                  <a:pt x="310" y="57"/>
                </a:lnTo>
                <a:lnTo>
                  <a:pt x="311" y="59"/>
                </a:lnTo>
                <a:lnTo>
                  <a:pt x="312" y="61"/>
                </a:lnTo>
                <a:lnTo>
                  <a:pt x="315" y="61"/>
                </a:lnTo>
                <a:lnTo>
                  <a:pt x="315" y="62"/>
                </a:lnTo>
                <a:lnTo>
                  <a:pt x="316" y="62"/>
                </a:lnTo>
                <a:lnTo>
                  <a:pt x="317" y="63"/>
                </a:lnTo>
                <a:lnTo>
                  <a:pt x="317" y="65"/>
                </a:lnTo>
                <a:lnTo>
                  <a:pt x="319" y="68"/>
                </a:lnTo>
                <a:lnTo>
                  <a:pt x="319" y="69"/>
                </a:lnTo>
                <a:lnTo>
                  <a:pt x="318" y="69"/>
                </a:lnTo>
                <a:lnTo>
                  <a:pt x="321" y="71"/>
                </a:lnTo>
                <a:lnTo>
                  <a:pt x="321" y="73"/>
                </a:lnTo>
                <a:lnTo>
                  <a:pt x="322" y="73"/>
                </a:lnTo>
                <a:lnTo>
                  <a:pt x="324" y="75"/>
                </a:lnTo>
                <a:lnTo>
                  <a:pt x="324" y="76"/>
                </a:lnTo>
                <a:lnTo>
                  <a:pt x="325" y="76"/>
                </a:lnTo>
                <a:lnTo>
                  <a:pt x="327" y="77"/>
                </a:lnTo>
                <a:lnTo>
                  <a:pt x="329" y="77"/>
                </a:lnTo>
                <a:lnTo>
                  <a:pt x="329" y="79"/>
                </a:lnTo>
                <a:lnTo>
                  <a:pt x="331" y="81"/>
                </a:lnTo>
                <a:lnTo>
                  <a:pt x="331" y="85"/>
                </a:lnTo>
                <a:lnTo>
                  <a:pt x="332" y="86"/>
                </a:lnTo>
                <a:lnTo>
                  <a:pt x="332" y="89"/>
                </a:lnTo>
                <a:lnTo>
                  <a:pt x="334" y="91"/>
                </a:lnTo>
                <a:lnTo>
                  <a:pt x="335" y="94"/>
                </a:lnTo>
                <a:lnTo>
                  <a:pt x="335" y="95"/>
                </a:lnTo>
                <a:lnTo>
                  <a:pt x="337" y="100"/>
                </a:lnTo>
                <a:lnTo>
                  <a:pt x="337" y="107"/>
                </a:lnTo>
                <a:lnTo>
                  <a:pt x="336" y="107"/>
                </a:lnTo>
                <a:lnTo>
                  <a:pt x="336" y="110"/>
                </a:lnTo>
                <a:lnTo>
                  <a:pt x="337" y="111"/>
                </a:lnTo>
                <a:lnTo>
                  <a:pt x="337" y="117"/>
                </a:lnTo>
                <a:lnTo>
                  <a:pt x="336" y="117"/>
                </a:lnTo>
                <a:lnTo>
                  <a:pt x="336" y="119"/>
                </a:lnTo>
                <a:lnTo>
                  <a:pt x="335" y="119"/>
                </a:lnTo>
                <a:lnTo>
                  <a:pt x="335" y="123"/>
                </a:lnTo>
                <a:lnTo>
                  <a:pt x="334" y="124"/>
                </a:lnTo>
                <a:lnTo>
                  <a:pt x="332" y="124"/>
                </a:lnTo>
                <a:lnTo>
                  <a:pt x="332" y="129"/>
                </a:lnTo>
                <a:lnTo>
                  <a:pt x="334" y="129"/>
                </a:lnTo>
                <a:lnTo>
                  <a:pt x="332" y="131"/>
                </a:lnTo>
                <a:lnTo>
                  <a:pt x="332" y="135"/>
                </a:lnTo>
                <a:lnTo>
                  <a:pt x="331" y="135"/>
                </a:lnTo>
                <a:lnTo>
                  <a:pt x="331" y="141"/>
                </a:lnTo>
                <a:lnTo>
                  <a:pt x="332" y="143"/>
                </a:lnTo>
                <a:lnTo>
                  <a:pt x="332" y="153"/>
                </a:lnTo>
                <a:lnTo>
                  <a:pt x="334" y="154"/>
                </a:lnTo>
                <a:lnTo>
                  <a:pt x="334" y="162"/>
                </a:lnTo>
                <a:lnTo>
                  <a:pt x="335" y="162"/>
                </a:lnTo>
                <a:lnTo>
                  <a:pt x="334" y="163"/>
                </a:lnTo>
                <a:lnTo>
                  <a:pt x="331" y="163"/>
                </a:lnTo>
                <a:lnTo>
                  <a:pt x="330" y="165"/>
                </a:lnTo>
                <a:lnTo>
                  <a:pt x="332" y="166"/>
                </a:lnTo>
                <a:lnTo>
                  <a:pt x="334" y="167"/>
                </a:lnTo>
                <a:lnTo>
                  <a:pt x="334" y="169"/>
                </a:lnTo>
                <a:lnTo>
                  <a:pt x="335" y="171"/>
                </a:lnTo>
                <a:lnTo>
                  <a:pt x="335" y="172"/>
                </a:lnTo>
                <a:lnTo>
                  <a:pt x="336" y="173"/>
                </a:lnTo>
                <a:lnTo>
                  <a:pt x="337" y="173"/>
                </a:lnTo>
                <a:lnTo>
                  <a:pt x="340" y="175"/>
                </a:lnTo>
                <a:lnTo>
                  <a:pt x="340" y="177"/>
                </a:lnTo>
                <a:lnTo>
                  <a:pt x="341" y="180"/>
                </a:lnTo>
                <a:lnTo>
                  <a:pt x="341" y="181"/>
                </a:lnTo>
                <a:lnTo>
                  <a:pt x="342" y="181"/>
                </a:lnTo>
                <a:lnTo>
                  <a:pt x="343" y="182"/>
                </a:lnTo>
                <a:lnTo>
                  <a:pt x="344" y="182"/>
                </a:lnTo>
                <a:lnTo>
                  <a:pt x="348" y="184"/>
                </a:lnTo>
                <a:lnTo>
                  <a:pt x="352" y="186"/>
                </a:lnTo>
                <a:lnTo>
                  <a:pt x="358" y="187"/>
                </a:lnTo>
                <a:lnTo>
                  <a:pt x="359" y="187"/>
                </a:lnTo>
                <a:lnTo>
                  <a:pt x="360" y="186"/>
                </a:lnTo>
                <a:lnTo>
                  <a:pt x="361" y="186"/>
                </a:lnTo>
                <a:lnTo>
                  <a:pt x="360" y="185"/>
                </a:lnTo>
                <a:lnTo>
                  <a:pt x="360" y="184"/>
                </a:lnTo>
                <a:lnTo>
                  <a:pt x="361" y="182"/>
                </a:lnTo>
                <a:lnTo>
                  <a:pt x="361" y="181"/>
                </a:lnTo>
                <a:lnTo>
                  <a:pt x="362" y="181"/>
                </a:lnTo>
                <a:lnTo>
                  <a:pt x="363" y="182"/>
                </a:lnTo>
                <a:lnTo>
                  <a:pt x="365" y="182"/>
                </a:lnTo>
                <a:lnTo>
                  <a:pt x="366" y="184"/>
                </a:lnTo>
                <a:lnTo>
                  <a:pt x="367" y="184"/>
                </a:lnTo>
                <a:lnTo>
                  <a:pt x="368" y="182"/>
                </a:lnTo>
                <a:lnTo>
                  <a:pt x="368" y="181"/>
                </a:lnTo>
                <a:lnTo>
                  <a:pt x="369" y="181"/>
                </a:lnTo>
                <a:lnTo>
                  <a:pt x="372" y="179"/>
                </a:lnTo>
                <a:lnTo>
                  <a:pt x="374" y="179"/>
                </a:lnTo>
                <a:lnTo>
                  <a:pt x="375" y="178"/>
                </a:lnTo>
                <a:lnTo>
                  <a:pt x="377" y="178"/>
                </a:lnTo>
                <a:lnTo>
                  <a:pt x="377" y="177"/>
                </a:lnTo>
                <a:lnTo>
                  <a:pt x="378" y="177"/>
                </a:lnTo>
                <a:lnTo>
                  <a:pt x="378" y="175"/>
                </a:lnTo>
                <a:lnTo>
                  <a:pt x="383" y="175"/>
                </a:lnTo>
                <a:lnTo>
                  <a:pt x="383" y="174"/>
                </a:lnTo>
                <a:lnTo>
                  <a:pt x="387" y="174"/>
                </a:lnTo>
                <a:lnTo>
                  <a:pt x="393" y="177"/>
                </a:lnTo>
                <a:lnTo>
                  <a:pt x="398" y="181"/>
                </a:lnTo>
                <a:lnTo>
                  <a:pt x="398" y="184"/>
                </a:lnTo>
                <a:lnTo>
                  <a:pt x="397" y="186"/>
                </a:lnTo>
                <a:lnTo>
                  <a:pt x="398" y="186"/>
                </a:lnTo>
                <a:lnTo>
                  <a:pt x="398" y="187"/>
                </a:lnTo>
                <a:lnTo>
                  <a:pt x="396" y="187"/>
                </a:lnTo>
                <a:lnTo>
                  <a:pt x="396" y="188"/>
                </a:lnTo>
                <a:lnTo>
                  <a:pt x="397" y="188"/>
                </a:lnTo>
                <a:lnTo>
                  <a:pt x="397" y="190"/>
                </a:lnTo>
                <a:lnTo>
                  <a:pt x="398" y="191"/>
                </a:lnTo>
                <a:lnTo>
                  <a:pt x="399" y="191"/>
                </a:lnTo>
                <a:lnTo>
                  <a:pt x="398" y="192"/>
                </a:lnTo>
                <a:lnTo>
                  <a:pt x="398" y="193"/>
                </a:lnTo>
                <a:lnTo>
                  <a:pt x="397" y="199"/>
                </a:lnTo>
                <a:lnTo>
                  <a:pt x="397" y="203"/>
                </a:lnTo>
                <a:lnTo>
                  <a:pt x="396" y="203"/>
                </a:lnTo>
                <a:lnTo>
                  <a:pt x="396" y="206"/>
                </a:lnTo>
                <a:lnTo>
                  <a:pt x="394" y="208"/>
                </a:lnTo>
                <a:lnTo>
                  <a:pt x="396" y="209"/>
                </a:lnTo>
                <a:lnTo>
                  <a:pt x="396" y="210"/>
                </a:lnTo>
                <a:lnTo>
                  <a:pt x="394" y="210"/>
                </a:lnTo>
                <a:lnTo>
                  <a:pt x="393" y="211"/>
                </a:lnTo>
                <a:lnTo>
                  <a:pt x="391" y="211"/>
                </a:lnTo>
                <a:lnTo>
                  <a:pt x="383" y="212"/>
                </a:lnTo>
                <a:lnTo>
                  <a:pt x="378" y="212"/>
                </a:lnTo>
                <a:lnTo>
                  <a:pt x="377" y="214"/>
                </a:lnTo>
                <a:lnTo>
                  <a:pt x="372" y="216"/>
                </a:lnTo>
                <a:lnTo>
                  <a:pt x="371" y="217"/>
                </a:lnTo>
                <a:lnTo>
                  <a:pt x="369" y="220"/>
                </a:lnTo>
                <a:lnTo>
                  <a:pt x="369" y="217"/>
                </a:lnTo>
                <a:lnTo>
                  <a:pt x="368" y="216"/>
                </a:lnTo>
                <a:lnTo>
                  <a:pt x="369" y="215"/>
                </a:lnTo>
                <a:lnTo>
                  <a:pt x="372" y="215"/>
                </a:lnTo>
                <a:lnTo>
                  <a:pt x="374" y="214"/>
                </a:lnTo>
                <a:lnTo>
                  <a:pt x="375" y="212"/>
                </a:lnTo>
                <a:lnTo>
                  <a:pt x="375" y="210"/>
                </a:lnTo>
                <a:lnTo>
                  <a:pt x="373" y="208"/>
                </a:lnTo>
                <a:lnTo>
                  <a:pt x="374" y="209"/>
                </a:lnTo>
                <a:lnTo>
                  <a:pt x="374" y="210"/>
                </a:lnTo>
                <a:lnTo>
                  <a:pt x="372" y="210"/>
                </a:lnTo>
                <a:lnTo>
                  <a:pt x="372" y="204"/>
                </a:lnTo>
                <a:lnTo>
                  <a:pt x="374" y="203"/>
                </a:lnTo>
                <a:lnTo>
                  <a:pt x="374" y="202"/>
                </a:lnTo>
                <a:lnTo>
                  <a:pt x="372" y="200"/>
                </a:lnTo>
                <a:lnTo>
                  <a:pt x="371" y="200"/>
                </a:lnTo>
                <a:lnTo>
                  <a:pt x="368" y="199"/>
                </a:lnTo>
                <a:lnTo>
                  <a:pt x="368" y="202"/>
                </a:lnTo>
                <a:lnTo>
                  <a:pt x="366" y="202"/>
                </a:lnTo>
                <a:lnTo>
                  <a:pt x="363" y="204"/>
                </a:lnTo>
                <a:lnTo>
                  <a:pt x="363" y="205"/>
                </a:lnTo>
                <a:lnTo>
                  <a:pt x="365" y="205"/>
                </a:lnTo>
                <a:lnTo>
                  <a:pt x="365" y="206"/>
                </a:lnTo>
                <a:lnTo>
                  <a:pt x="363" y="206"/>
                </a:lnTo>
                <a:lnTo>
                  <a:pt x="363" y="208"/>
                </a:lnTo>
                <a:lnTo>
                  <a:pt x="365" y="208"/>
                </a:lnTo>
                <a:lnTo>
                  <a:pt x="365" y="209"/>
                </a:lnTo>
                <a:lnTo>
                  <a:pt x="366" y="209"/>
                </a:lnTo>
                <a:lnTo>
                  <a:pt x="367" y="211"/>
                </a:lnTo>
                <a:lnTo>
                  <a:pt x="366" y="211"/>
                </a:lnTo>
                <a:lnTo>
                  <a:pt x="367" y="212"/>
                </a:lnTo>
                <a:lnTo>
                  <a:pt x="366" y="212"/>
                </a:lnTo>
                <a:lnTo>
                  <a:pt x="366" y="214"/>
                </a:lnTo>
                <a:lnTo>
                  <a:pt x="367" y="214"/>
                </a:lnTo>
                <a:lnTo>
                  <a:pt x="367" y="215"/>
                </a:lnTo>
                <a:lnTo>
                  <a:pt x="363" y="215"/>
                </a:lnTo>
                <a:lnTo>
                  <a:pt x="361" y="217"/>
                </a:lnTo>
                <a:lnTo>
                  <a:pt x="361" y="220"/>
                </a:lnTo>
                <a:lnTo>
                  <a:pt x="360" y="220"/>
                </a:lnTo>
                <a:lnTo>
                  <a:pt x="360" y="221"/>
                </a:lnTo>
                <a:lnTo>
                  <a:pt x="361" y="222"/>
                </a:lnTo>
                <a:lnTo>
                  <a:pt x="360" y="222"/>
                </a:lnTo>
                <a:lnTo>
                  <a:pt x="359" y="223"/>
                </a:lnTo>
                <a:lnTo>
                  <a:pt x="360" y="223"/>
                </a:lnTo>
                <a:lnTo>
                  <a:pt x="360" y="224"/>
                </a:lnTo>
                <a:lnTo>
                  <a:pt x="361" y="225"/>
                </a:lnTo>
                <a:lnTo>
                  <a:pt x="359" y="225"/>
                </a:lnTo>
                <a:lnTo>
                  <a:pt x="359" y="227"/>
                </a:lnTo>
                <a:lnTo>
                  <a:pt x="360" y="227"/>
                </a:lnTo>
                <a:lnTo>
                  <a:pt x="360" y="228"/>
                </a:lnTo>
                <a:lnTo>
                  <a:pt x="359" y="229"/>
                </a:lnTo>
                <a:lnTo>
                  <a:pt x="359" y="233"/>
                </a:lnTo>
                <a:lnTo>
                  <a:pt x="360" y="231"/>
                </a:lnTo>
                <a:lnTo>
                  <a:pt x="360" y="229"/>
                </a:lnTo>
                <a:lnTo>
                  <a:pt x="361" y="229"/>
                </a:lnTo>
                <a:lnTo>
                  <a:pt x="362" y="227"/>
                </a:lnTo>
                <a:lnTo>
                  <a:pt x="363" y="227"/>
                </a:lnTo>
                <a:lnTo>
                  <a:pt x="365" y="225"/>
                </a:lnTo>
                <a:lnTo>
                  <a:pt x="366" y="225"/>
                </a:lnTo>
                <a:lnTo>
                  <a:pt x="363" y="230"/>
                </a:lnTo>
                <a:lnTo>
                  <a:pt x="361" y="231"/>
                </a:lnTo>
                <a:lnTo>
                  <a:pt x="358" y="237"/>
                </a:lnTo>
                <a:lnTo>
                  <a:pt x="356" y="239"/>
                </a:lnTo>
                <a:lnTo>
                  <a:pt x="355" y="239"/>
                </a:lnTo>
                <a:lnTo>
                  <a:pt x="355" y="240"/>
                </a:lnTo>
                <a:lnTo>
                  <a:pt x="354" y="240"/>
                </a:lnTo>
                <a:lnTo>
                  <a:pt x="354" y="245"/>
                </a:lnTo>
                <a:lnTo>
                  <a:pt x="355" y="246"/>
                </a:lnTo>
                <a:lnTo>
                  <a:pt x="355" y="249"/>
                </a:lnTo>
                <a:lnTo>
                  <a:pt x="354" y="249"/>
                </a:lnTo>
                <a:lnTo>
                  <a:pt x="354" y="252"/>
                </a:lnTo>
                <a:lnTo>
                  <a:pt x="355" y="257"/>
                </a:lnTo>
                <a:lnTo>
                  <a:pt x="355" y="261"/>
                </a:lnTo>
                <a:lnTo>
                  <a:pt x="353" y="266"/>
                </a:lnTo>
                <a:lnTo>
                  <a:pt x="353" y="270"/>
                </a:lnTo>
                <a:lnTo>
                  <a:pt x="352" y="271"/>
                </a:lnTo>
                <a:lnTo>
                  <a:pt x="352" y="274"/>
                </a:lnTo>
                <a:lnTo>
                  <a:pt x="346" y="274"/>
                </a:lnTo>
                <a:lnTo>
                  <a:pt x="336" y="273"/>
                </a:lnTo>
                <a:lnTo>
                  <a:pt x="328" y="270"/>
                </a:lnTo>
                <a:lnTo>
                  <a:pt x="327" y="268"/>
                </a:lnTo>
                <a:lnTo>
                  <a:pt x="324" y="261"/>
                </a:lnTo>
                <a:lnTo>
                  <a:pt x="324" y="260"/>
                </a:lnTo>
                <a:lnTo>
                  <a:pt x="322" y="260"/>
                </a:lnTo>
                <a:lnTo>
                  <a:pt x="318" y="261"/>
                </a:lnTo>
                <a:lnTo>
                  <a:pt x="316" y="263"/>
                </a:lnTo>
                <a:lnTo>
                  <a:pt x="313" y="260"/>
                </a:lnTo>
                <a:lnTo>
                  <a:pt x="312" y="258"/>
                </a:lnTo>
                <a:lnTo>
                  <a:pt x="310" y="259"/>
                </a:lnTo>
                <a:lnTo>
                  <a:pt x="301" y="259"/>
                </a:lnTo>
                <a:lnTo>
                  <a:pt x="300" y="258"/>
                </a:lnTo>
                <a:lnTo>
                  <a:pt x="300" y="257"/>
                </a:lnTo>
                <a:lnTo>
                  <a:pt x="299" y="257"/>
                </a:lnTo>
                <a:lnTo>
                  <a:pt x="297" y="255"/>
                </a:lnTo>
                <a:lnTo>
                  <a:pt x="297" y="253"/>
                </a:lnTo>
                <a:lnTo>
                  <a:pt x="296" y="253"/>
                </a:lnTo>
                <a:lnTo>
                  <a:pt x="296" y="252"/>
                </a:lnTo>
                <a:lnTo>
                  <a:pt x="294" y="253"/>
                </a:lnTo>
                <a:lnTo>
                  <a:pt x="294" y="252"/>
                </a:lnTo>
                <a:lnTo>
                  <a:pt x="290" y="251"/>
                </a:lnTo>
                <a:lnTo>
                  <a:pt x="286" y="249"/>
                </a:lnTo>
                <a:lnTo>
                  <a:pt x="285" y="249"/>
                </a:lnTo>
                <a:lnTo>
                  <a:pt x="280" y="251"/>
                </a:lnTo>
                <a:lnTo>
                  <a:pt x="276" y="253"/>
                </a:lnTo>
                <a:lnTo>
                  <a:pt x="273" y="253"/>
                </a:lnTo>
                <a:lnTo>
                  <a:pt x="272" y="254"/>
                </a:lnTo>
                <a:lnTo>
                  <a:pt x="269" y="254"/>
                </a:lnTo>
                <a:lnTo>
                  <a:pt x="261" y="255"/>
                </a:lnTo>
                <a:lnTo>
                  <a:pt x="257" y="257"/>
                </a:lnTo>
                <a:lnTo>
                  <a:pt x="256" y="257"/>
                </a:lnTo>
                <a:lnTo>
                  <a:pt x="249" y="259"/>
                </a:lnTo>
                <a:lnTo>
                  <a:pt x="245" y="263"/>
                </a:lnTo>
                <a:lnTo>
                  <a:pt x="245" y="264"/>
                </a:lnTo>
                <a:lnTo>
                  <a:pt x="241" y="267"/>
                </a:lnTo>
                <a:lnTo>
                  <a:pt x="240" y="267"/>
                </a:lnTo>
                <a:lnTo>
                  <a:pt x="240" y="268"/>
                </a:lnTo>
                <a:lnTo>
                  <a:pt x="235" y="273"/>
                </a:lnTo>
                <a:lnTo>
                  <a:pt x="234" y="276"/>
                </a:lnTo>
                <a:lnTo>
                  <a:pt x="229" y="276"/>
                </a:lnTo>
                <a:lnTo>
                  <a:pt x="229" y="277"/>
                </a:lnTo>
                <a:lnTo>
                  <a:pt x="228" y="277"/>
                </a:lnTo>
                <a:lnTo>
                  <a:pt x="226" y="278"/>
                </a:lnTo>
                <a:lnTo>
                  <a:pt x="225" y="278"/>
                </a:lnTo>
                <a:lnTo>
                  <a:pt x="224" y="279"/>
                </a:lnTo>
                <a:lnTo>
                  <a:pt x="219" y="279"/>
                </a:lnTo>
                <a:lnTo>
                  <a:pt x="218" y="280"/>
                </a:lnTo>
                <a:lnTo>
                  <a:pt x="216" y="279"/>
                </a:lnTo>
                <a:lnTo>
                  <a:pt x="214" y="279"/>
                </a:lnTo>
                <a:lnTo>
                  <a:pt x="213" y="278"/>
                </a:lnTo>
                <a:lnTo>
                  <a:pt x="211" y="277"/>
                </a:lnTo>
                <a:lnTo>
                  <a:pt x="210" y="277"/>
                </a:lnTo>
                <a:lnTo>
                  <a:pt x="204" y="276"/>
                </a:lnTo>
                <a:lnTo>
                  <a:pt x="199" y="274"/>
                </a:lnTo>
                <a:lnTo>
                  <a:pt x="188" y="274"/>
                </a:lnTo>
                <a:lnTo>
                  <a:pt x="186" y="273"/>
                </a:lnTo>
                <a:lnTo>
                  <a:pt x="180" y="271"/>
                </a:lnTo>
                <a:lnTo>
                  <a:pt x="179" y="271"/>
                </a:lnTo>
                <a:lnTo>
                  <a:pt x="174" y="273"/>
                </a:lnTo>
                <a:lnTo>
                  <a:pt x="173" y="273"/>
                </a:lnTo>
                <a:lnTo>
                  <a:pt x="166" y="274"/>
                </a:lnTo>
                <a:lnTo>
                  <a:pt x="164" y="273"/>
                </a:lnTo>
                <a:lnTo>
                  <a:pt x="150" y="270"/>
                </a:lnTo>
                <a:lnTo>
                  <a:pt x="148" y="268"/>
                </a:lnTo>
                <a:lnTo>
                  <a:pt x="147" y="268"/>
                </a:lnTo>
                <a:lnTo>
                  <a:pt x="143" y="270"/>
                </a:lnTo>
                <a:lnTo>
                  <a:pt x="142" y="268"/>
                </a:lnTo>
                <a:lnTo>
                  <a:pt x="137" y="266"/>
                </a:lnTo>
                <a:lnTo>
                  <a:pt x="130" y="266"/>
                </a:lnTo>
                <a:lnTo>
                  <a:pt x="126" y="267"/>
                </a:lnTo>
                <a:lnTo>
                  <a:pt x="123" y="267"/>
                </a:lnTo>
                <a:lnTo>
                  <a:pt x="122" y="268"/>
                </a:lnTo>
                <a:lnTo>
                  <a:pt x="119" y="268"/>
                </a:lnTo>
                <a:lnTo>
                  <a:pt x="113" y="270"/>
                </a:lnTo>
                <a:lnTo>
                  <a:pt x="112" y="268"/>
                </a:lnTo>
                <a:lnTo>
                  <a:pt x="111" y="268"/>
                </a:lnTo>
                <a:lnTo>
                  <a:pt x="110" y="267"/>
                </a:lnTo>
                <a:lnTo>
                  <a:pt x="110" y="266"/>
                </a:lnTo>
                <a:lnTo>
                  <a:pt x="111" y="261"/>
                </a:lnTo>
                <a:lnTo>
                  <a:pt x="112" y="260"/>
                </a:lnTo>
                <a:lnTo>
                  <a:pt x="112" y="259"/>
                </a:lnTo>
                <a:lnTo>
                  <a:pt x="116" y="259"/>
                </a:lnTo>
                <a:lnTo>
                  <a:pt x="117" y="258"/>
                </a:lnTo>
                <a:lnTo>
                  <a:pt x="118" y="255"/>
                </a:lnTo>
                <a:lnTo>
                  <a:pt x="118" y="254"/>
                </a:lnTo>
                <a:lnTo>
                  <a:pt x="117" y="254"/>
                </a:lnTo>
                <a:lnTo>
                  <a:pt x="116" y="253"/>
                </a:lnTo>
                <a:lnTo>
                  <a:pt x="114" y="253"/>
                </a:lnTo>
                <a:lnTo>
                  <a:pt x="112" y="252"/>
                </a:lnTo>
                <a:lnTo>
                  <a:pt x="104" y="246"/>
                </a:lnTo>
                <a:lnTo>
                  <a:pt x="104" y="242"/>
                </a:lnTo>
                <a:lnTo>
                  <a:pt x="102" y="241"/>
                </a:lnTo>
                <a:lnTo>
                  <a:pt x="100" y="241"/>
                </a:lnTo>
                <a:lnTo>
                  <a:pt x="95" y="236"/>
                </a:lnTo>
                <a:lnTo>
                  <a:pt x="95" y="234"/>
                </a:lnTo>
                <a:lnTo>
                  <a:pt x="94" y="233"/>
                </a:lnTo>
                <a:lnTo>
                  <a:pt x="94" y="230"/>
                </a:lnTo>
                <a:lnTo>
                  <a:pt x="95" y="230"/>
                </a:lnTo>
                <a:lnTo>
                  <a:pt x="96" y="229"/>
                </a:lnTo>
                <a:lnTo>
                  <a:pt x="98" y="229"/>
                </a:lnTo>
                <a:lnTo>
                  <a:pt x="98" y="227"/>
                </a:lnTo>
                <a:lnTo>
                  <a:pt x="99" y="227"/>
                </a:lnTo>
                <a:lnTo>
                  <a:pt x="99" y="225"/>
                </a:lnTo>
                <a:lnTo>
                  <a:pt x="100" y="225"/>
                </a:lnTo>
                <a:lnTo>
                  <a:pt x="102" y="228"/>
                </a:lnTo>
                <a:lnTo>
                  <a:pt x="105" y="228"/>
                </a:lnTo>
                <a:lnTo>
                  <a:pt x="106" y="227"/>
                </a:lnTo>
                <a:lnTo>
                  <a:pt x="106" y="225"/>
                </a:lnTo>
                <a:lnTo>
                  <a:pt x="105" y="223"/>
                </a:lnTo>
                <a:lnTo>
                  <a:pt x="104" y="222"/>
                </a:lnTo>
                <a:lnTo>
                  <a:pt x="100" y="222"/>
                </a:lnTo>
                <a:lnTo>
                  <a:pt x="98" y="220"/>
                </a:lnTo>
                <a:lnTo>
                  <a:pt x="94" y="217"/>
                </a:lnTo>
                <a:lnTo>
                  <a:pt x="94" y="216"/>
                </a:lnTo>
                <a:lnTo>
                  <a:pt x="92" y="216"/>
                </a:lnTo>
                <a:lnTo>
                  <a:pt x="92" y="217"/>
                </a:lnTo>
                <a:lnTo>
                  <a:pt x="91" y="218"/>
                </a:lnTo>
                <a:lnTo>
                  <a:pt x="89" y="218"/>
                </a:lnTo>
                <a:lnTo>
                  <a:pt x="88" y="220"/>
                </a:lnTo>
                <a:lnTo>
                  <a:pt x="87" y="220"/>
                </a:lnTo>
                <a:lnTo>
                  <a:pt x="87" y="221"/>
                </a:lnTo>
                <a:lnTo>
                  <a:pt x="82" y="229"/>
                </a:lnTo>
                <a:lnTo>
                  <a:pt x="81" y="230"/>
                </a:lnTo>
                <a:lnTo>
                  <a:pt x="80" y="230"/>
                </a:lnTo>
                <a:lnTo>
                  <a:pt x="79" y="229"/>
                </a:lnTo>
                <a:lnTo>
                  <a:pt x="77" y="229"/>
                </a:lnTo>
                <a:lnTo>
                  <a:pt x="77" y="227"/>
                </a:lnTo>
                <a:lnTo>
                  <a:pt x="76" y="227"/>
                </a:lnTo>
                <a:lnTo>
                  <a:pt x="76" y="224"/>
                </a:lnTo>
                <a:lnTo>
                  <a:pt x="75" y="224"/>
                </a:lnTo>
                <a:lnTo>
                  <a:pt x="74" y="221"/>
                </a:lnTo>
                <a:lnTo>
                  <a:pt x="73" y="221"/>
                </a:lnTo>
                <a:lnTo>
                  <a:pt x="69" y="218"/>
                </a:lnTo>
                <a:lnTo>
                  <a:pt x="68" y="218"/>
                </a:lnTo>
                <a:lnTo>
                  <a:pt x="65" y="220"/>
                </a:lnTo>
                <a:lnTo>
                  <a:pt x="60" y="220"/>
                </a:lnTo>
                <a:lnTo>
                  <a:pt x="58" y="217"/>
                </a:lnTo>
                <a:lnTo>
                  <a:pt x="57" y="216"/>
                </a:lnTo>
                <a:lnTo>
                  <a:pt x="57" y="215"/>
                </a:lnTo>
                <a:lnTo>
                  <a:pt x="56" y="214"/>
                </a:lnTo>
                <a:lnTo>
                  <a:pt x="49" y="214"/>
                </a:lnTo>
                <a:lnTo>
                  <a:pt x="49" y="212"/>
                </a:lnTo>
                <a:lnTo>
                  <a:pt x="46" y="210"/>
                </a:lnTo>
                <a:lnTo>
                  <a:pt x="46" y="209"/>
                </a:lnTo>
                <a:lnTo>
                  <a:pt x="48" y="209"/>
                </a:lnTo>
                <a:lnTo>
                  <a:pt x="49" y="208"/>
                </a:lnTo>
                <a:lnTo>
                  <a:pt x="51" y="209"/>
                </a:lnTo>
                <a:lnTo>
                  <a:pt x="52" y="208"/>
                </a:lnTo>
                <a:lnTo>
                  <a:pt x="55" y="208"/>
                </a:lnTo>
                <a:lnTo>
                  <a:pt x="55" y="205"/>
                </a:lnTo>
                <a:lnTo>
                  <a:pt x="54" y="204"/>
                </a:lnTo>
                <a:lnTo>
                  <a:pt x="52" y="204"/>
                </a:lnTo>
                <a:lnTo>
                  <a:pt x="51" y="203"/>
                </a:lnTo>
                <a:lnTo>
                  <a:pt x="48" y="203"/>
                </a:lnTo>
                <a:lnTo>
                  <a:pt x="48" y="202"/>
                </a:lnTo>
                <a:lnTo>
                  <a:pt x="46" y="202"/>
                </a:lnTo>
                <a:lnTo>
                  <a:pt x="46" y="200"/>
                </a:lnTo>
                <a:lnTo>
                  <a:pt x="48" y="199"/>
                </a:lnTo>
                <a:lnTo>
                  <a:pt x="49" y="199"/>
                </a:lnTo>
                <a:lnTo>
                  <a:pt x="50" y="198"/>
                </a:lnTo>
                <a:lnTo>
                  <a:pt x="50" y="197"/>
                </a:lnTo>
                <a:lnTo>
                  <a:pt x="51" y="196"/>
                </a:lnTo>
                <a:lnTo>
                  <a:pt x="51" y="193"/>
                </a:lnTo>
                <a:lnTo>
                  <a:pt x="52" y="193"/>
                </a:lnTo>
                <a:lnTo>
                  <a:pt x="52" y="191"/>
                </a:lnTo>
                <a:lnTo>
                  <a:pt x="51" y="190"/>
                </a:lnTo>
                <a:lnTo>
                  <a:pt x="50" y="190"/>
                </a:lnTo>
                <a:lnTo>
                  <a:pt x="49" y="188"/>
                </a:lnTo>
                <a:lnTo>
                  <a:pt x="44" y="187"/>
                </a:lnTo>
                <a:lnTo>
                  <a:pt x="42" y="187"/>
                </a:lnTo>
                <a:lnTo>
                  <a:pt x="40" y="186"/>
                </a:lnTo>
                <a:lnTo>
                  <a:pt x="40" y="185"/>
                </a:lnTo>
                <a:lnTo>
                  <a:pt x="38" y="182"/>
                </a:lnTo>
                <a:lnTo>
                  <a:pt x="37" y="182"/>
                </a:lnTo>
                <a:lnTo>
                  <a:pt x="37" y="184"/>
                </a:lnTo>
                <a:lnTo>
                  <a:pt x="36" y="184"/>
                </a:lnTo>
                <a:lnTo>
                  <a:pt x="36" y="182"/>
                </a:lnTo>
                <a:lnTo>
                  <a:pt x="35" y="182"/>
                </a:lnTo>
                <a:lnTo>
                  <a:pt x="32" y="181"/>
                </a:lnTo>
                <a:lnTo>
                  <a:pt x="26" y="175"/>
                </a:lnTo>
                <a:lnTo>
                  <a:pt x="25" y="173"/>
                </a:lnTo>
                <a:lnTo>
                  <a:pt x="24" y="173"/>
                </a:lnTo>
                <a:lnTo>
                  <a:pt x="21" y="171"/>
                </a:lnTo>
                <a:lnTo>
                  <a:pt x="23" y="171"/>
                </a:lnTo>
                <a:lnTo>
                  <a:pt x="24" y="169"/>
                </a:lnTo>
                <a:lnTo>
                  <a:pt x="24" y="168"/>
                </a:lnTo>
                <a:lnTo>
                  <a:pt x="23" y="167"/>
                </a:lnTo>
                <a:lnTo>
                  <a:pt x="21" y="165"/>
                </a:lnTo>
                <a:lnTo>
                  <a:pt x="21" y="162"/>
                </a:lnTo>
                <a:lnTo>
                  <a:pt x="23" y="161"/>
                </a:lnTo>
                <a:lnTo>
                  <a:pt x="23" y="155"/>
                </a:lnTo>
                <a:lnTo>
                  <a:pt x="21" y="155"/>
                </a:lnTo>
                <a:lnTo>
                  <a:pt x="21" y="156"/>
                </a:lnTo>
                <a:lnTo>
                  <a:pt x="19" y="156"/>
                </a:lnTo>
                <a:lnTo>
                  <a:pt x="18" y="155"/>
                </a:lnTo>
                <a:lnTo>
                  <a:pt x="18" y="154"/>
                </a:lnTo>
                <a:lnTo>
                  <a:pt x="17" y="153"/>
                </a:lnTo>
                <a:lnTo>
                  <a:pt x="17" y="150"/>
                </a:lnTo>
                <a:lnTo>
                  <a:pt x="15" y="150"/>
                </a:lnTo>
                <a:lnTo>
                  <a:pt x="15" y="149"/>
                </a:lnTo>
                <a:lnTo>
                  <a:pt x="14" y="147"/>
                </a:lnTo>
                <a:lnTo>
                  <a:pt x="12" y="147"/>
                </a:lnTo>
                <a:lnTo>
                  <a:pt x="8" y="143"/>
                </a:lnTo>
                <a:lnTo>
                  <a:pt x="7" y="143"/>
                </a:lnTo>
                <a:lnTo>
                  <a:pt x="6" y="142"/>
                </a:lnTo>
                <a:lnTo>
                  <a:pt x="5" y="142"/>
                </a:lnTo>
                <a:lnTo>
                  <a:pt x="4" y="141"/>
                </a:lnTo>
                <a:lnTo>
                  <a:pt x="4" y="138"/>
                </a:lnTo>
                <a:lnTo>
                  <a:pt x="2" y="137"/>
                </a:lnTo>
                <a:lnTo>
                  <a:pt x="0" y="134"/>
                </a:lnTo>
                <a:lnTo>
                  <a:pt x="1" y="131"/>
                </a:lnTo>
                <a:lnTo>
                  <a:pt x="8" y="131"/>
                </a:lnTo>
                <a:lnTo>
                  <a:pt x="9" y="130"/>
                </a:lnTo>
                <a:lnTo>
                  <a:pt x="11" y="130"/>
                </a:lnTo>
                <a:lnTo>
                  <a:pt x="13" y="131"/>
                </a:lnTo>
                <a:lnTo>
                  <a:pt x="14" y="132"/>
                </a:lnTo>
                <a:lnTo>
                  <a:pt x="18" y="132"/>
                </a:lnTo>
                <a:lnTo>
                  <a:pt x="19" y="131"/>
                </a:lnTo>
                <a:lnTo>
                  <a:pt x="19" y="129"/>
                </a:lnTo>
                <a:lnTo>
                  <a:pt x="21" y="129"/>
                </a:lnTo>
                <a:lnTo>
                  <a:pt x="21" y="128"/>
                </a:lnTo>
                <a:lnTo>
                  <a:pt x="20" y="126"/>
                </a:lnTo>
                <a:lnTo>
                  <a:pt x="21" y="126"/>
                </a:lnTo>
                <a:lnTo>
                  <a:pt x="23" y="124"/>
                </a:lnTo>
                <a:lnTo>
                  <a:pt x="26" y="124"/>
                </a:lnTo>
                <a:lnTo>
                  <a:pt x="26" y="125"/>
                </a:lnTo>
                <a:lnTo>
                  <a:pt x="27" y="125"/>
                </a:lnTo>
                <a:lnTo>
                  <a:pt x="27" y="124"/>
                </a:lnTo>
                <a:lnTo>
                  <a:pt x="29" y="124"/>
                </a:lnTo>
                <a:lnTo>
                  <a:pt x="30" y="125"/>
                </a:lnTo>
                <a:lnTo>
                  <a:pt x="32" y="125"/>
                </a:lnTo>
                <a:lnTo>
                  <a:pt x="33" y="126"/>
                </a:lnTo>
                <a:lnTo>
                  <a:pt x="35" y="126"/>
                </a:lnTo>
                <a:lnTo>
                  <a:pt x="36" y="124"/>
                </a:lnTo>
                <a:lnTo>
                  <a:pt x="37" y="123"/>
                </a:lnTo>
                <a:lnTo>
                  <a:pt x="38" y="124"/>
                </a:lnTo>
                <a:lnTo>
                  <a:pt x="38" y="122"/>
                </a:lnTo>
                <a:lnTo>
                  <a:pt x="39" y="120"/>
                </a:lnTo>
                <a:lnTo>
                  <a:pt x="39" y="117"/>
                </a:lnTo>
                <a:lnTo>
                  <a:pt x="40" y="116"/>
                </a:lnTo>
                <a:lnTo>
                  <a:pt x="43" y="116"/>
                </a:lnTo>
                <a:lnTo>
                  <a:pt x="44" y="114"/>
                </a:lnTo>
                <a:lnTo>
                  <a:pt x="44" y="113"/>
                </a:lnTo>
                <a:lnTo>
                  <a:pt x="43" y="111"/>
                </a:lnTo>
                <a:lnTo>
                  <a:pt x="43" y="108"/>
                </a:lnTo>
                <a:lnTo>
                  <a:pt x="44" y="108"/>
                </a:lnTo>
                <a:lnTo>
                  <a:pt x="44" y="104"/>
                </a:lnTo>
                <a:lnTo>
                  <a:pt x="45" y="102"/>
                </a:lnTo>
                <a:lnTo>
                  <a:pt x="49" y="102"/>
                </a:lnTo>
                <a:lnTo>
                  <a:pt x="50" y="101"/>
                </a:lnTo>
                <a:lnTo>
                  <a:pt x="50" y="99"/>
                </a:lnTo>
                <a:lnTo>
                  <a:pt x="52" y="99"/>
                </a:lnTo>
                <a:lnTo>
                  <a:pt x="54" y="98"/>
                </a:lnTo>
                <a:lnTo>
                  <a:pt x="54" y="96"/>
                </a:lnTo>
                <a:lnTo>
                  <a:pt x="52" y="95"/>
                </a:lnTo>
                <a:lnTo>
                  <a:pt x="51" y="95"/>
                </a:lnTo>
                <a:lnTo>
                  <a:pt x="52" y="94"/>
                </a:lnTo>
                <a:lnTo>
                  <a:pt x="54" y="91"/>
                </a:lnTo>
                <a:lnTo>
                  <a:pt x="55" y="89"/>
                </a:lnTo>
                <a:lnTo>
                  <a:pt x="56" y="89"/>
                </a:lnTo>
                <a:lnTo>
                  <a:pt x="56" y="88"/>
                </a:lnTo>
                <a:lnTo>
                  <a:pt x="57" y="88"/>
                </a:lnTo>
                <a:lnTo>
                  <a:pt x="57" y="85"/>
                </a:lnTo>
                <a:lnTo>
                  <a:pt x="60" y="83"/>
                </a:lnTo>
                <a:lnTo>
                  <a:pt x="60" y="80"/>
                </a:lnTo>
                <a:lnTo>
                  <a:pt x="61" y="80"/>
                </a:lnTo>
                <a:lnTo>
                  <a:pt x="60" y="79"/>
                </a:lnTo>
                <a:lnTo>
                  <a:pt x="58" y="79"/>
                </a:lnTo>
                <a:lnTo>
                  <a:pt x="58" y="77"/>
                </a:lnTo>
                <a:lnTo>
                  <a:pt x="61" y="76"/>
                </a:lnTo>
                <a:lnTo>
                  <a:pt x="61" y="75"/>
                </a:lnTo>
                <a:lnTo>
                  <a:pt x="63" y="74"/>
                </a:lnTo>
                <a:lnTo>
                  <a:pt x="64" y="73"/>
                </a:lnTo>
                <a:lnTo>
                  <a:pt x="64" y="70"/>
                </a:lnTo>
                <a:lnTo>
                  <a:pt x="65" y="70"/>
                </a:lnTo>
                <a:lnTo>
                  <a:pt x="67" y="69"/>
                </a:lnTo>
                <a:lnTo>
                  <a:pt x="67" y="65"/>
                </a:lnTo>
                <a:lnTo>
                  <a:pt x="68" y="64"/>
                </a:lnTo>
                <a:lnTo>
                  <a:pt x="68" y="61"/>
                </a:lnTo>
                <a:lnTo>
                  <a:pt x="70" y="58"/>
                </a:lnTo>
                <a:lnTo>
                  <a:pt x="70" y="57"/>
                </a:lnTo>
                <a:lnTo>
                  <a:pt x="71" y="57"/>
                </a:lnTo>
                <a:lnTo>
                  <a:pt x="74" y="56"/>
                </a:lnTo>
                <a:lnTo>
                  <a:pt x="74" y="49"/>
                </a:lnTo>
                <a:lnTo>
                  <a:pt x="75" y="48"/>
                </a:lnTo>
                <a:lnTo>
                  <a:pt x="76" y="45"/>
                </a:lnTo>
                <a:lnTo>
                  <a:pt x="81" y="43"/>
                </a:lnTo>
                <a:lnTo>
                  <a:pt x="81" y="40"/>
                </a:lnTo>
                <a:lnTo>
                  <a:pt x="82" y="39"/>
                </a:lnTo>
                <a:lnTo>
                  <a:pt x="82" y="38"/>
                </a:lnTo>
                <a:lnTo>
                  <a:pt x="87" y="33"/>
                </a:lnTo>
                <a:lnTo>
                  <a:pt x="92" y="33"/>
                </a:lnTo>
                <a:lnTo>
                  <a:pt x="92" y="31"/>
                </a:lnTo>
                <a:lnTo>
                  <a:pt x="93" y="30"/>
                </a:lnTo>
                <a:lnTo>
                  <a:pt x="96" y="32"/>
                </a:lnTo>
                <a:lnTo>
                  <a:pt x="100" y="32"/>
                </a:lnTo>
                <a:lnTo>
                  <a:pt x="105" y="27"/>
                </a:lnTo>
                <a:lnTo>
                  <a:pt x="106" y="27"/>
                </a:lnTo>
                <a:lnTo>
                  <a:pt x="106" y="25"/>
                </a:lnTo>
                <a:lnTo>
                  <a:pt x="107" y="24"/>
                </a:lnTo>
                <a:lnTo>
                  <a:pt x="108" y="24"/>
                </a:lnTo>
                <a:lnTo>
                  <a:pt x="111" y="21"/>
                </a:lnTo>
                <a:lnTo>
                  <a:pt x="111" y="20"/>
                </a:lnTo>
                <a:lnTo>
                  <a:pt x="112" y="20"/>
                </a:lnTo>
                <a:lnTo>
                  <a:pt x="113" y="19"/>
                </a:lnTo>
                <a:lnTo>
                  <a:pt x="113" y="16"/>
                </a:lnTo>
                <a:lnTo>
                  <a:pt x="114" y="16"/>
                </a:lnTo>
                <a:lnTo>
                  <a:pt x="116" y="18"/>
                </a:lnTo>
                <a:lnTo>
                  <a:pt x="117" y="18"/>
                </a:lnTo>
                <a:lnTo>
                  <a:pt x="119" y="16"/>
                </a:lnTo>
                <a:lnTo>
                  <a:pt x="119" y="15"/>
                </a:lnTo>
                <a:lnTo>
                  <a:pt x="120" y="12"/>
                </a:lnTo>
                <a:lnTo>
                  <a:pt x="122" y="11"/>
                </a:lnTo>
                <a:lnTo>
                  <a:pt x="123" y="11"/>
                </a:lnTo>
                <a:lnTo>
                  <a:pt x="126" y="12"/>
                </a:lnTo>
                <a:lnTo>
                  <a:pt x="131" y="16"/>
                </a:lnTo>
                <a:lnTo>
                  <a:pt x="131" y="18"/>
                </a:lnTo>
                <a:lnTo>
                  <a:pt x="133" y="18"/>
                </a:lnTo>
                <a:lnTo>
                  <a:pt x="136" y="19"/>
                </a:lnTo>
                <a:lnTo>
                  <a:pt x="137" y="19"/>
                </a:lnTo>
                <a:lnTo>
                  <a:pt x="137" y="18"/>
                </a:lnTo>
                <a:lnTo>
                  <a:pt x="138" y="16"/>
                </a:lnTo>
                <a:lnTo>
                  <a:pt x="144" y="16"/>
                </a:lnTo>
                <a:lnTo>
                  <a:pt x="145" y="18"/>
                </a:lnTo>
                <a:lnTo>
                  <a:pt x="150" y="18"/>
                </a:lnTo>
                <a:lnTo>
                  <a:pt x="153" y="20"/>
                </a:lnTo>
                <a:lnTo>
                  <a:pt x="153" y="21"/>
                </a:lnTo>
                <a:lnTo>
                  <a:pt x="154" y="21"/>
                </a:lnTo>
                <a:lnTo>
                  <a:pt x="157" y="19"/>
                </a:lnTo>
                <a:lnTo>
                  <a:pt x="158" y="19"/>
                </a:lnTo>
                <a:lnTo>
                  <a:pt x="160" y="20"/>
                </a:lnTo>
                <a:lnTo>
                  <a:pt x="162" y="20"/>
                </a:lnTo>
                <a:lnTo>
                  <a:pt x="164" y="22"/>
                </a:lnTo>
                <a:lnTo>
                  <a:pt x="167" y="24"/>
                </a:lnTo>
                <a:lnTo>
                  <a:pt x="168" y="24"/>
                </a:lnTo>
                <a:lnTo>
                  <a:pt x="172" y="21"/>
                </a:lnTo>
                <a:lnTo>
                  <a:pt x="173" y="21"/>
                </a:lnTo>
                <a:lnTo>
                  <a:pt x="175" y="20"/>
                </a:lnTo>
                <a:lnTo>
                  <a:pt x="182" y="20"/>
                </a:lnTo>
                <a:lnTo>
                  <a:pt x="185" y="21"/>
                </a:lnTo>
                <a:lnTo>
                  <a:pt x="185" y="22"/>
                </a:lnTo>
                <a:lnTo>
                  <a:pt x="186" y="24"/>
                </a:lnTo>
                <a:lnTo>
                  <a:pt x="186" y="26"/>
                </a:lnTo>
                <a:lnTo>
                  <a:pt x="187" y="27"/>
                </a:lnTo>
                <a:lnTo>
                  <a:pt x="188" y="27"/>
                </a:lnTo>
                <a:lnTo>
                  <a:pt x="192" y="28"/>
                </a:lnTo>
                <a:lnTo>
                  <a:pt x="193" y="30"/>
                </a:lnTo>
                <a:lnTo>
                  <a:pt x="193" y="31"/>
                </a:lnTo>
                <a:lnTo>
                  <a:pt x="194" y="33"/>
                </a:lnTo>
                <a:lnTo>
                  <a:pt x="195" y="34"/>
                </a:lnTo>
                <a:lnTo>
                  <a:pt x="201" y="34"/>
                </a:lnTo>
                <a:lnTo>
                  <a:pt x="204" y="33"/>
                </a:lnTo>
                <a:lnTo>
                  <a:pt x="206" y="31"/>
                </a:lnTo>
                <a:lnTo>
                  <a:pt x="210" y="25"/>
                </a:lnTo>
                <a:lnTo>
                  <a:pt x="212" y="24"/>
                </a:lnTo>
                <a:lnTo>
                  <a:pt x="232" y="21"/>
                </a:lnTo>
                <a:lnTo>
                  <a:pt x="237" y="19"/>
                </a:lnTo>
                <a:lnTo>
                  <a:pt x="242" y="19"/>
                </a:lnTo>
                <a:lnTo>
                  <a:pt x="244" y="18"/>
                </a:lnTo>
                <a:lnTo>
                  <a:pt x="250" y="18"/>
                </a:lnTo>
                <a:lnTo>
                  <a:pt x="250" y="16"/>
                </a:lnTo>
                <a:lnTo>
                  <a:pt x="251" y="14"/>
                </a:lnTo>
                <a:lnTo>
                  <a:pt x="253" y="14"/>
                </a:lnTo>
                <a:lnTo>
                  <a:pt x="253" y="13"/>
                </a:lnTo>
                <a:lnTo>
                  <a:pt x="254" y="12"/>
                </a:lnTo>
                <a:lnTo>
                  <a:pt x="254" y="11"/>
                </a:lnTo>
                <a:lnTo>
                  <a:pt x="255" y="9"/>
                </a:lnTo>
                <a:lnTo>
                  <a:pt x="255" y="6"/>
                </a:lnTo>
                <a:lnTo>
                  <a:pt x="256" y="3"/>
                </a:lnTo>
                <a:lnTo>
                  <a:pt x="257" y="3"/>
                </a:lnTo>
                <a:lnTo>
                  <a:pt x="259" y="2"/>
                </a:lnTo>
                <a:lnTo>
                  <a:pt x="262" y="2"/>
                </a:lnTo>
                <a:lnTo>
                  <a:pt x="268" y="1"/>
                </a:lnTo>
                <a:lnTo>
                  <a:pt x="269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" name="Freeform 22">
            <a:extLst>
              <a:ext uri="{FF2B5EF4-FFF2-40B4-BE49-F238E27FC236}">
                <a16:creationId xmlns:a16="http://schemas.microsoft.com/office/drawing/2014/main" id="{562A2786-9D3D-4DB3-8359-643FBA96982E}"/>
              </a:ext>
            </a:extLst>
          </p:cNvPr>
          <p:cNvSpPr>
            <a:spLocks noEditPoints="1"/>
          </p:cNvSpPr>
          <p:nvPr/>
        </p:nvSpPr>
        <p:spPr bwMode="auto">
          <a:xfrm>
            <a:off x="2093815" y="4230758"/>
            <a:ext cx="612902" cy="579576"/>
          </a:xfrm>
          <a:custGeom>
            <a:avLst/>
            <a:gdLst/>
            <a:ahLst/>
            <a:cxnLst>
              <a:cxn ang="0">
                <a:pos x="195" y="11"/>
              </a:cxn>
              <a:cxn ang="0">
                <a:pos x="195" y="10"/>
              </a:cxn>
              <a:cxn ang="0">
                <a:pos x="179" y="0"/>
              </a:cxn>
              <a:cxn ang="0">
                <a:pos x="185" y="13"/>
              </a:cxn>
              <a:cxn ang="0">
                <a:pos x="195" y="34"/>
              </a:cxn>
              <a:cxn ang="0">
                <a:pos x="235" y="30"/>
              </a:cxn>
              <a:cxn ang="0">
                <a:pos x="370" y="32"/>
              </a:cxn>
              <a:cxn ang="0">
                <a:pos x="391" y="45"/>
              </a:cxn>
              <a:cxn ang="0">
                <a:pos x="397" y="76"/>
              </a:cxn>
              <a:cxn ang="0">
                <a:pos x="413" y="124"/>
              </a:cxn>
              <a:cxn ang="0">
                <a:pos x="383" y="182"/>
              </a:cxn>
              <a:cxn ang="0">
                <a:pos x="397" y="192"/>
              </a:cxn>
              <a:cxn ang="0">
                <a:pos x="402" y="208"/>
              </a:cxn>
              <a:cxn ang="0">
                <a:pos x="398" y="226"/>
              </a:cxn>
              <a:cxn ang="0">
                <a:pos x="403" y="244"/>
              </a:cxn>
              <a:cxn ang="0">
                <a:pos x="412" y="262"/>
              </a:cxn>
              <a:cxn ang="0">
                <a:pos x="420" y="281"/>
              </a:cxn>
              <a:cxn ang="0">
                <a:pos x="421" y="299"/>
              </a:cxn>
              <a:cxn ang="0">
                <a:pos x="400" y="318"/>
              </a:cxn>
              <a:cxn ang="0">
                <a:pos x="365" y="360"/>
              </a:cxn>
              <a:cxn ang="0">
                <a:pos x="364" y="389"/>
              </a:cxn>
              <a:cxn ang="0">
                <a:pos x="364" y="398"/>
              </a:cxn>
              <a:cxn ang="0">
                <a:pos x="338" y="388"/>
              </a:cxn>
              <a:cxn ang="0">
                <a:pos x="321" y="375"/>
              </a:cxn>
              <a:cxn ang="0">
                <a:pos x="299" y="374"/>
              </a:cxn>
              <a:cxn ang="0">
                <a:pos x="289" y="381"/>
              </a:cxn>
              <a:cxn ang="0">
                <a:pos x="267" y="374"/>
              </a:cxn>
              <a:cxn ang="0">
                <a:pos x="252" y="388"/>
              </a:cxn>
              <a:cxn ang="0">
                <a:pos x="240" y="382"/>
              </a:cxn>
              <a:cxn ang="0">
                <a:pos x="227" y="363"/>
              </a:cxn>
              <a:cxn ang="0">
                <a:pos x="210" y="375"/>
              </a:cxn>
              <a:cxn ang="0">
                <a:pos x="198" y="361"/>
              </a:cxn>
              <a:cxn ang="0">
                <a:pos x="189" y="350"/>
              </a:cxn>
              <a:cxn ang="0">
                <a:pos x="178" y="340"/>
              </a:cxn>
              <a:cxn ang="0">
                <a:pos x="166" y="332"/>
              </a:cxn>
              <a:cxn ang="0">
                <a:pos x="153" y="329"/>
              </a:cxn>
              <a:cxn ang="0">
                <a:pos x="150" y="314"/>
              </a:cxn>
              <a:cxn ang="0">
                <a:pos x="131" y="313"/>
              </a:cxn>
              <a:cxn ang="0">
                <a:pos x="118" y="313"/>
              </a:cxn>
              <a:cxn ang="0">
                <a:pos x="118" y="321"/>
              </a:cxn>
              <a:cxn ang="0">
                <a:pos x="99" y="317"/>
              </a:cxn>
              <a:cxn ang="0">
                <a:pos x="92" y="303"/>
              </a:cxn>
              <a:cxn ang="0">
                <a:pos x="87" y="294"/>
              </a:cxn>
              <a:cxn ang="0">
                <a:pos x="75" y="290"/>
              </a:cxn>
              <a:cxn ang="0">
                <a:pos x="53" y="284"/>
              </a:cxn>
              <a:cxn ang="0">
                <a:pos x="43" y="269"/>
              </a:cxn>
              <a:cxn ang="0">
                <a:pos x="30" y="278"/>
              </a:cxn>
              <a:cxn ang="0">
                <a:pos x="35" y="238"/>
              </a:cxn>
              <a:cxn ang="0">
                <a:pos x="23" y="221"/>
              </a:cxn>
              <a:cxn ang="0">
                <a:pos x="25" y="191"/>
              </a:cxn>
              <a:cxn ang="0">
                <a:pos x="23" y="161"/>
              </a:cxn>
              <a:cxn ang="0">
                <a:pos x="3" y="139"/>
              </a:cxn>
              <a:cxn ang="0">
                <a:pos x="13" y="117"/>
              </a:cxn>
              <a:cxn ang="0">
                <a:pos x="9" y="90"/>
              </a:cxn>
              <a:cxn ang="0">
                <a:pos x="15" y="84"/>
              </a:cxn>
              <a:cxn ang="0">
                <a:pos x="19" y="78"/>
              </a:cxn>
              <a:cxn ang="0">
                <a:pos x="11" y="68"/>
              </a:cxn>
              <a:cxn ang="0">
                <a:pos x="3" y="68"/>
              </a:cxn>
              <a:cxn ang="0">
                <a:pos x="66" y="47"/>
              </a:cxn>
              <a:cxn ang="0">
                <a:pos x="92" y="37"/>
              </a:cxn>
              <a:cxn ang="0">
                <a:pos x="100" y="25"/>
              </a:cxn>
              <a:cxn ang="0">
                <a:pos x="160" y="1"/>
              </a:cxn>
            </a:cxnLst>
            <a:rect l="0" t="0" r="r" b="b"/>
            <a:pathLst>
              <a:path w="423" h="400">
                <a:moveTo>
                  <a:pt x="7" y="79"/>
                </a:moveTo>
                <a:lnTo>
                  <a:pt x="9" y="79"/>
                </a:lnTo>
                <a:lnTo>
                  <a:pt x="9" y="80"/>
                </a:lnTo>
                <a:lnTo>
                  <a:pt x="7" y="79"/>
                </a:lnTo>
                <a:close/>
                <a:moveTo>
                  <a:pt x="85" y="41"/>
                </a:moveTo>
                <a:lnTo>
                  <a:pt x="86" y="41"/>
                </a:lnTo>
                <a:lnTo>
                  <a:pt x="84" y="42"/>
                </a:lnTo>
                <a:lnTo>
                  <a:pt x="85" y="41"/>
                </a:lnTo>
                <a:close/>
                <a:moveTo>
                  <a:pt x="92" y="35"/>
                </a:moveTo>
                <a:lnTo>
                  <a:pt x="90" y="37"/>
                </a:lnTo>
                <a:lnTo>
                  <a:pt x="92" y="35"/>
                </a:lnTo>
                <a:close/>
                <a:moveTo>
                  <a:pt x="195" y="11"/>
                </a:moveTo>
                <a:lnTo>
                  <a:pt x="196" y="11"/>
                </a:lnTo>
                <a:lnTo>
                  <a:pt x="198" y="14"/>
                </a:lnTo>
                <a:lnTo>
                  <a:pt x="199" y="16"/>
                </a:lnTo>
                <a:lnTo>
                  <a:pt x="199" y="18"/>
                </a:lnTo>
                <a:lnTo>
                  <a:pt x="198" y="18"/>
                </a:lnTo>
                <a:lnTo>
                  <a:pt x="198" y="17"/>
                </a:lnTo>
                <a:lnTo>
                  <a:pt x="197" y="16"/>
                </a:lnTo>
                <a:lnTo>
                  <a:pt x="197" y="14"/>
                </a:lnTo>
                <a:lnTo>
                  <a:pt x="196" y="13"/>
                </a:lnTo>
                <a:lnTo>
                  <a:pt x="195" y="11"/>
                </a:lnTo>
                <a:close/>
                <a:moveTo>
                  <a:pt x="193" y="10"/>
                </a:moveTo>
                <a:lnTo>
                  <a:pt x="195" y="10"/>
                </a:lnTo>
                <a:lnTo>
                  <a:pt x="195" y="11"/>
                </a:lnTo>
                <a:lnTo>
                  <a:pt x="193" y="10"/>
                </a:lnTo>
                <a:close/>
                <a:moveTo>
                  <a:pt x="184" y="4"/>
                </a:moveTo>
                <a:lnTo>
                  <a:pt x="193" y="10"/>
                </a:lnTo>
                <a:lnTo>
                  <a:pt x="192" y="10"/>
                </a:lnTo>
                <a:lnTo>
                  <a:pt x="191" y="8"/>
                </a:lnTo>
                <a:lnTo>
                  <a:pt x="190" y="8"/>
                </a:lnTo>
                <a:lnTo>
                  <a:pt x="185" y="6"/>
                </a:lnTo>
                <a:lnTo>
                  <a:pt x="185" y="5"/>
                </a:lnTo>
                <a:lnTo>
                  <a:pt x="184" y="4"/>
                </a:lnTo>
                <a:close/>
                <a:moveTo>
                  <a:pt x="171" y="0"/>
                </a:moveTo>
                <a:lnTo>
                  <a:pt x="179" y="0"/>
                </a:lnTo>
                <a:lnTo>
                  <a:pt x="180" y="1"/>
                </a:lnTo>
                <a:lnTo>
                  <a:pt x="180" y="2"/>
                </a:lnTo>
                <a:lnTo>
                  <a:pt x="181" y="2"/>
                </a:lnTo>
                <a:lnTo>
                  <a:pt x="184" y="4"/>
                </a:lnTo>
                <a:lnTo>
                  <a:pt x="183" y="4"/>
                </a:lnTo>
                <a:lnTo>
                  <a:pt x="183" y="5"/>
                </a:lnTo>
                <a:lnTo>
                  <a:pt x="181" y="6"/>
                </a:lnTo>
                <a:lnTo>
                  <a:pt x="181" y="8"/>
                </a:lnTo>
                <a:lnTo>
                  <a:pt x="183" y="8"/>
                </a:lnTo>
                <a:lnTo>
                  <a:pt x="184" y="10"/>
                </a:lnTo>
                <a:lnTo>
                  <a:pt x="184" y="13"/>
                </a:lnTo>
                <a:lnTo>
                  <a:pt x="185" y="13"/>
                </a:lnTo>
                <a:lnTo>
                  <a:pt x="184" y="14"/>
                </a:lnTo>
                <a:lnTo>
                  <a:pt x="185" y="16"/>
                </a:lnTo>
                <a:lnTo>
                  <a:pt x="186" y="16"/>
                </a:lnTo>
                <a:lnTo>
                  <a:pt x="186" y="17"/>
                </a:lnTo>
                <a:lnTo>
                  <a:pt x="187" y="17"/>
                </a:lnTo>
                <a:lnTo>
                  <a:pt x="189" y="20"/>
                </a:lnTo>
                <a:lnTo>
                  <a:pt x="189" y="30"/>
                </a:lnTo>
                <a:lnTo>
                  <a:pt x="190" y="30"/>
                </a:lnTo>
                <a:lnTo>
                  <a:pt x="191" y="31"/>
                </a:lnTo>
                <a:lnTo>
                  <a:pt x="193" y="31"/>
                </a:lnTo>
                <a:lnTo>
                  <a:pt x="193" y="32"/>
                </a:lnTo>
                <a:lnTo>
                  <a:pt x="195" y="34"/>
                </a:lnTo>
                <a:lnTo>
                  <a:pt x="202" y="36"/>
                </a:lnTo>
                <a:lnTo>
                  <a:pt x="203" y="36"/>
                </a:lnTo>
                <a:lnTo>
                  <a:pt x="204" y="35"/>
                </a:lnTo>
                <a:lnTo>
                  <a:pt x="205" y="36"/>
                </a:lnTo>
                <a:lnTo>
                  <a:pt x="207" y="36"/>
                </a:lnTo>
                <a:lnTo>
                  <a:pt x="222" y="34"/>
                </a:lnTo>
                <a:lnTo>
                  <a:pt x="226" y="32"/>
                </a:lnTo>
                <a:lnTo>
                  <a:pt x="228" y="31"/>
                </a:lnTo>
                <a:lnTo>
                  <a:pt x="229" y="31"/>
                </a:lnTo>
                <a:lnTo>
                  <a:pt x="233" y="28"/>
                </a:lnTo>
                <a:lnTo>
                  <a:pt x="233" y="29"/>
                </a:lnTo>
                <a:lnTo>
                  <a:pt x="235" y="30"/>
                </a:lnTo>
                <a:lnTo>
                  <a:pt x="247" y="30"/>
                </a:lnTo>
                <a:lnTo>
                  <a:pt x="264" y="31"/>
                </a:lnTo>
                <a:lnTo>
                  <a:pt x="288" y="32"/>
                </a:lnTo>
                <a:lnTo>
                  <a:pt x="303" y="34"/>
                </a:lnTo>
                <a:lnTo>
                  <a:pt x="321" y="34"/>
                </a:lnTo>
                <a:lnTo>
                  <a:pt x="345" y="35"/>
                </a:lnTo>
                <a:lnTo>
                  <a:pt x="354" y="36"/>
                </a:lnTo>
                <a:lnTo>
                  <a:pt x="363" y="36"/>
                </a:lnTo>
                <a:lnTo>
                  <a:pt x="365" y="35"/>
                </a:lnTo>
                <a:lnTo>
                  <a:pt x="366" y="35"/>
                </a:lnTo>
                <a:lnTo>
                  <a:pt x="367" y="32"/>
                </a:lnTo>
                <a:lnTo>
                  <a:pt x="370" y="32"/>
                </a:lnTo>
                <a:lnTo>
                  <a:pt x="372" y="34"/>
                </a:lnTo>
                <a:lnTo>
                  <a:pt x="375" y="34"/>
                </a:lnTo>
                <a:lnTo>
                  <a:pt x="375" y="36"/>
                </a:lnTo>
                <a:lnTo>
                  <a:pt x="377" y="36"/>
                </a:lnTo>
                <a:lnTo>
                  <a:pt x="377" y="39"/>
                </a:lnTo>
                <a:lnTo>
                  <a:pt x="381" y="39"/>
                </a:lnTo>
                <a:lnTo>
                  <a:pt x="384" y="42"/>
                </a:lnTo>
                <a:lnTo>
                  <a:pt x="385" y="43"/>
                </a:lnTo>
                <a:lnTo>
                  <a:pt x="389" y="44"/>
                </a:lnTo>
                <a:lnTo>
                  <a:pt x="390" y="44"/>
                </a:lnTo>
                <a:lnTo>
                  <a:pt x="390" y="45"/>
                </a:lnTo>
                <a:lnTo>
                  <a:pt x="391" y="45"/>
                </a:lnTo>
                <a:lnTo>
                  <a:pt x="391" y="48"/>
                </a:lnTo>
                <a:lnTo>
                  <a:pt x="392" y="48"/>
                </a:lnTo>
                <a:lnTo>
                  <a:pt x="395" y="50"/>
                </a:lnTo>
                <a:lnTo>
                  <a:pt x="395" y="53"/>
                </a:lnTo>
                <a:lnTo>
                  <a:pt x="396" y="54"/>
                </a:lnTo>
                <a:lnTo>
                  <a:pt x="396" y="61"/>
                </a:lnTo>
                <a:lnTo>
                  <a:pt x="395" y="61"/>
                </a:lnTo>
                <a:lnTo>
                  <a:pt x="395" y="63"/>
                </a:lnTo>
                <a:lnTo>
                  <a:pt x="396" y="63"/>
                </a:lnTo>
                <a:lnTo>
                  <a:pt x="396" y="69"/>
                </a:lnTo>
                <a:lnTo>
                  <a:pt x="397" y="71"/>
                </a:lnTo>
                <a:lnTo>
                  <a:pt x="397" y="76"/>
                </a:lnTo>
                <a:lnTo>
                  <a:pt x="400" y="79"/>
                </a:lnTo>
                <a:lnTo>
                  <a:pt x="400" y="84"/>
                </a:lnTo>
                <a:lnTo>
                  <a:pt x="401" y="88"/>
                </a:lnTo>
                <a:lnTo>
                  <a:pt x="404" y="99"/>
                </a:lnTo>
                <a:lnTo>
                  <a:pt x="406" y="104"/>
                </a:lnTo>
                <a:lnTo>
                  <a:pt x="407" y="106"/>
                </a:lnTo>
                <a:lnTo>
                  <a:pt x="408" y="112"/>
                </a:lnTo>
                <a:lnTo>
                  <a:pt x="409" y="115"/>
                </a:lnTo>
                <a:lnTo>
                  <a:pt x="410" y="116"/>
                </a:lnTo>
                <a:lnTo>
                  <a:pt x="410" y="118"/>
                </a:lnTo>
                <a:lnTo>
                  <a:pt x="413" y="121"/>
                </a:lnTo>
                <a:lnTo>
                  <a:pt x="413" y="124"/>
                </a:lnTo>
                <a:lnTo>
                  <a:pt x="412" y="124"/>
                </a:lnTo>
                <a:lnTo>
                  <a:pt x="412" y="128"/>
                </a:lnTo>
                <a:lnTo>
                  <a:pt x="413" y="130"/>
                </a:lnTo>
                <a:lnTo>
                  <a:pt x="414" y="131"/>
                </a:lnTo>
                <a:lnTo>
                  <a:pt x="414" y="153"/>
                </a:lnTo>
                <a:lnTo>
                  <a:pt x="412" y="155"/>
                </a:lnTo>
                <a:lnTo>
                  <a:pt x="407" y="159"/>
                </a:lnTo>
                <a:lnTo>
                  <a:pt x="396" y="162"/>
                </a:lnTo>
                <a:lnTo>
                  <a:pt x="392" y="166"/>
                </a:lnTo>
                <a:lnTo>
                  <a:pt x="386" y="174"/>
                </a:lnTo>
                <a:lnTo>
                  <a:pt x="384" y="177"/>
                </a:lnTo>
                <a:lnTo>
                  <a:pt x="383" y="182"/>
                </a:lnTo>
                <a:lnTo>
                  <a:pt x="384" y="183"/>
                </a:lnTo>
                <a:lnTo>
                  <a:pt x="383" y="185"/>
                </a:lnTo>
                <a:lnTo>
                  <a:pt x="384" y="185"/>
                </a:lnTo>
                <a:lnTo>
                  <a:pt x="388" y="186"/>
                </a:lnTo>
                <a:lnTo>
                  <a:pt x="388" y="185"/>
                </a:lnTo>
                <a:lnTo>
                  <a:pt x="389" y="186"/>
                </a:lnTo>
                <a:lnTo>
                  <a:pt x="391" y="188"/>
                </a:lnTo>
                <a:lnTo>
                  <a:pt x="392" y="188"/>
                </a:lnTo>
                <a:lnTo>
                  <a:pt x="391" y="189"/>
                </a:lnTo>
                <a:lnTo>
                  <a:pt x="396" y="189"/>
                </a:lnTo>
                <a:lnTo>
                  <a:pt x="396" y="190"/>
                </a:lnTo>
                <a:lnTo>
                  <a:pt x="397" y="192"/>
                </a:lnTo>
                <a:lnTo>
                  <a:pt x="400" y="192"/>
                </a:lnTo>
                <a:lnTo>
                  <a:pt x="401" y="194"/>
                </a:lnTo>
                <a:lnTo>
                  <a:pt x="401" y="195"/>
                </a:lnTo>
                <a:lnTo>
                  <a:pt x="402" y="195"/>
                </a:lnTo>
                <a:lnTo>
                  <a:pt x="402" y="197"/>
                </a:lnTo>
                <a:lnTo>
                  <a:pt x="403" y="198"/>
                </a:lnTo>
                <a:lnTo>
                  <a:pt x="403" y="201"/>
                </a:lnTo>
                <a:lnTo>
                  <a:pt x="404" y="202"/>
                </a:lnTo>
                <a:lnTo>
                  <a:pt x="403" y="202"/>
                </a:lnTo>
                <a:lnTo>
                  <a:pt x="403" y="203"/>
                </a:lnTo>
                <a:lnTo>
                  <a:pt x="402" y="204"/>
                </a:lnTo>
                <a:lnTo>
                  <a:pt x="402" y="208"/>
                </a:lnTo>
                <a:lnTo>
                  <a:pt x="401" y="209"/>
                </a:lnTo>
                <a:lnTo>
                  <a:pt x="402" y="209"/>
                </a:lnTo>
                <a:lnTo>
                  <a:pt x="401" y="210"/>
                </a:lnTo>
                <a:lnTo>
                  <a:pt x="401" y="213"/>
                </a:lnTo>
                <a:lnTo>
                  <a:pt x="402" y="214"/>
                </a:lnTo>
                <a:lnTo>
                  <a:pt x="402" y="216"/>
                </a:lnTo>
                <a:lnTo>
                  <a:pt x="401" y="216"/>
                </a:lnTo>
                <a:lnTo>
                  <a:pt x="400" y="217"/>
                </a:lnTo>
                <a:lnTo>
                  <a:pt x="398" y="217"/>
                </a:lnTo>
                <a:lnTo>
                  <a:pt x="398" y="225"/>
                </a:lnTo>
                <a:lnTo>
                  <a:pt x="397" y="225"/>
                </a:lnTo>
                <a:lnTo>
                  <a:pt x="398" y="226"/>
                </a:lnTo>
                <a:lnTo>
                  <a:pt x="398" y="229"/>
                </a:lnTo>
                <a:lnTo>
                  <a:pt x="400" y="232"/>
                </a:lnTo>
                <a:lnTo>
                  <a:pt x="398" y="232"/>
                </a:lnTo>
                <a:lnTo>
                  <a:pt x="400" y="233"/>
                </a:lnTo>
                <a:lnTo>
                  <a:pt x="401" y="233"/>
                </a:lnTo>
                <a:lnTo>
                  <a:pt x="401" y="235"/>
                </a:lnTo>
                <a:lnTo>
                  <a:pt x="402" y="235"/>
                </a:lnTo>
                <a:lnTo>
                  <a:pt x="403" y="237"/>
                </a:lnTo>
                <a:lnTo>
                  <a:pt x="403" y="238"/>
                </a:lnTo>
                <a:lnTo>
                  <a:pt x="404" y="241"/>
                </a:lnTo>
                <a:lnTo>
                  <a:pt x="404" y="244"/>
                </a:lnTo>
                <a:lnTo>
                  <a:pt x="403" y="244"/>
                </a:lnTo>
                <a:lnTo>
                  <a:pt x="403" y="245"/>
                </a:lnTo>
                <a:lnTo>
                  <a:pt x="402" y="246"/>
                </a:lnTo>
                <a:lnTo>
                  <a:pt x="402" y="248"/>
                </a:lnTo>
                <a:lnTo>
                  <a:pt x="403" y="248"/>
                </a:lnTo>
                <a:lnTo>
                  <a:pt x="404" y="250"/>
                </a:lnTo>
                <a:lnTo>
                  <a:pt x="407" y="254"/>
                </a:lnTo>
                <a:lnTo>
                  <a:pt x="408" y="256"/>
                </a:lnTo>
                <a:lnTo>
                  <a:pt x="410" y="257"/>
                </a:lnTo>
                <a:lnTo>
                  <a:pt x="412" y="259"/>
                </a:lnTo>
                <a:lnTo>
                  <a:pt x="413" y="259"/>
                </a:lnTo>
                <a:lnTo>
                  <a:pt x="412" y="260"/>
                </a:lnTo>
                <a:lnTo>
                  <a:pt x="412" y="262"/>
                </a:lnTo>
                <a:lnTo>
                  <a:pt x="413" y="264"/>
                </a:lnTo>
                <a:lnTo>
                  <a:pt x="414" y="265"/>
                </a:lnTo>
                <a:lnTo>
                  <a:pt x="414" y="269"/>
                </a:lnTo>
                <a:lnTo>
                  <a:pt x="415" y="269"/>
                </a:lnTo>
                <a:lnTo>
                  <a:pt x="415" y="270"/>
                </a:lnTo>
                <a:lnTo>
                  <a:pt x="416" y="270"/>
                </a:lnTo>
                <a:lnTo>
                  <a:pt x="416" y="274"/>
                </a:lnTo>
                <a:lnTo>
                  <a:pt x="420" y="276"/>
                </a:lnTo>
                <a:lnTo>
                  <a:pt x="423" y="277"/>
                </a:lnTo>
                <a:lnTo>
                  <a:pt x="423" y="280"/>
                </a:lnTo>
                <a:lnTo>
                  <a:pt x="420" y="280"/>
                </a:lnTo>
                <a:lnTo>
                  <a:pt x="420" y="281"/>
                </a:lnTo>
                <a:lnTo>
                  <a:pt x="419" y="280"/>
                </a:lnTo>
                <a:lnTo>
                  <a:pt x="417" y="280"/>
                </a:lnTo>
                <a:lnTo>
                  <a:pt x="416" y="281"/>
                </a:lnTo>
                <a:lnTo>
                  <a:pt x="416" y="284"/>
                </a:lnTo>
                <a:lnTo>
                  <a:pt x="419" y="284"/>
                </a:lnTo>
                <a:lnTo>
                  <a:pt x="417" y="286"/>
                </a:lnTo>
                <a:lnTo>
                  <a:pt x="420" y="288"/>
                </a:lnTo>
                <a:lnTo>
                  <a:pt x="421" y="288"/>
                </a:lnTo>
                <a:lnTo>
                  <a:pt x="421" y="291"/>
                </a:lnTo>
                <a:lnTo>
                  <a:pt x="422" y="294"/>
                </a:lnTo>
                <a:lnTo>
                  <a:pt x="421" y="295"/>
                </a:lnTo>
                <a:lnTo>
                  <a:pt x="421" y="299"/>
                </a:lnTo>
                <a:lnTo>
                  <a:pt x="422" y="300"/>
                </a:lnTo>
                <a:lnTo>
                  <a:pt x="421" y="300"/>
                </a:lnTo>
                <a:lnTo>
                  <a:pt x="421" y="301"/>
                </a:lnTo>
                <a:lnTo>
                  <a:pt x="417" y="302"/>
                </a:lnTo>
                <a:lnTo>
                  <a:pt x="417" y="306"/>
                </a:lnTo>
                <a:lnTo>
                  <a:pt x="416" y="308"/>
                </a:lnTo>
                <a:lnTo>
                  <a:pt x="415" y="309"/>
                </a:lnTo>
                <a:lnTo>
                  <a:pt x="406" y="309"/>
                </a:lnTo>
                <a:lnTo>
                  <a:pt x="403" y="312"/>
                </a:lnTo>
                <a:lnTo>
                  <a:pt x="403" y="314"/>
                </a:lnTo>
                <a:lnTo>
                  <a:pt x="402" y="314"/>
                </a:lnTo>
                <a:lnTo>
                  <a:pt x="400" y="318"/>
                </a:lnTo>
                <a:lnTo>
                  <a:pt x="396" y="321"/>
                </a:lnTo>
                <a:lnTo>
                  <a:pt x="394" y="323"/>
                </a:lnTo>
                <a:lnTo>
                  <a:pt x="384" y="333"/>
                </a:lnTo>
                <a:lnTo>
                  <a:pt x="379" y="338"/>
                </a:lnTo>
                <a:lnTo>
                  <a:pt x="375" y="345"/>
                </a:lnTo>
                <a:lnTo>
                  <a:pt x="373" y="346"/>
                </a:lnTo>
                <a:lnTo>
                  <a:pt x="373" y="348"/>
                </a:lnTo>
                <a:lnTo>
                  <a:pt x="371" y="350"/>
                </a:lnTo>
                <a:lnTo>
                  <a:pt x="369" y="355"/>
                </a:lnTo>
                <a:lnTo>
                  <a:pt x="367" y="356"/>
                </a:lnTo>
                <a:lnTo>
                  <a:pt x="365" y="356"/>
                </a:lnTo>
                <a:lnTo>
                  <a:pt x="365" y="360"/>
                </a:lnTo>
                <a:lnTo>
                  <a:pt x="361" y="363"/>
                </a:lnTo>
                <a:lnTo>
                  <a:pt x="360" y="366"/>
                </a:lnTo>
                <a:lnTo>
                  <a:pt x="361" y="368"/>
                </a:lnTo>
                <a:lnTo>
                  <a:pt x="361" y="373"/>
                </a:lnTo>
                <a:lnTo>
                  <a:pt x="364" y="375"/>
                </a:lnTo>
                <a:lnTo>
                  <a:pt x="364" y="385"/>
                </a:lnTo>
                <a:lnTo>
                  <a:pt x="363" y="387"/>
                </a:lnTo>
                <a:lnTo>
                  <a:pt x="363" y="389"/>
                </a:lnTo>
                <a:lnTo>
                  <a:pt x="361" y="389"/>
                </a:lnTo>
                <a:lnTo>
                  <a:pt x="363" y="391"/>
                </a:lnTo>
                <a:lnTo>
                  <a:pt x="363" y="389"/>
                </a:lnTo>
                <a:lnTo>
                  <a:pt x="364" y="389"/>
                </a:lnTo>
                <a:lnTo>
                  <a:pt x="366" y="392"/>
                </a:lnTo>
                <a:lnTo>
                  <a:pt x="366" y="393"/>
                </a:lnTo>
                <a:lnTo>
                  <a:pt x="369" y="394"/>
                </a:lnTo>
                <a:lnTo>
                  <a:pt x="369" y="398"/>
                </a:lnTo>
                <a:lnTo>
                  <a:pt x="370" y="399"/>
                </a:lnTo>
                <a:lnTo>
                  <a:pt x="370" y="400"/>
                </a:lnTo>
                <a:lnTo>
                  <a:pt x="369" y="400"/>
                </a:lnTo>
                <a:lnTo>
                  <a:pt x="367" y="399"/>
                </a:lnTo>
                <a:lnTo>
                  <a:pt x="366" y="399"/>
                </a:lnTo>
                <a:lnTo>
                  <a:pt x="365" y="398"/>
                </a:lnTo>
                <a:lnTo>
                  <a:pt x="365" y="397"/>
                </a:lnTo>
                <a:lnTo>
                  <a:pt x="364" y="398"/>
                </a:lnTo>
                <a:lnTo>
                  <a:pt x="360" y="398"/>
                </a:lnTo>
                <a:lnTo>
                  <a:pt x="357" y="394"/>
                </a:lnTo>
                <a:lnTo>
                  <a:pt x="355" y="395"/>
                </a:lnTo>
                <a:lnTo>
                  <a:pt x="354" y="394"/>
                </a:lnTo>
                <a:lnTo>
                  <a:pt x="350" y="394"/>
                </a:lnTo>
                <a:lnTo>
                  <a:pt x="347" y="392"/>
                </a:lnTo>
                <a:lnTo>
                  <a:pt x="345" y="392"/>
                </a:lnTo>
                <a:lnTo>
                  <a:pt x="342" y="391"/>
                </a:lnTo>
                <a:lnTo>
                  <a:pt x="342" y="389"/>
                </a:lnTo>
                <a:lnTo>
                  <a:pt x="340" y="389"/>
                </a:lnTo>
                <a:lnTo>
                  <a:pt x="339" y="388"/>
                </a:lnTo>
                <a:lnTo>
                  <a:pt x="338" y="388"/>
                </a:lnTo>
                <a:lnTo>
                  <a:pt x="335" y="387"/>
                </a:lnTo>
                <a:lnTo>
                  <a:pt x="334" y="387"/>
                </a:lnTo>
                <a:lnTo>
                  <a:pt x="333" y="385"/>
                </a:lnTo>
                <a:lnTo>
                  <a:pt x="333" y="382"/>
                </a:lnTo>
                <a:lnTo>
                  <a:pt x="332" y="380"/>
                </a:lnTo>
                <a:lnTo>
                  <a:pt x="330" y="379"/>
                </a:lnTo>
                <a:lnTo>
                  <a:pt x="328" y="377"/>
                </a:lnTo>
                <a:lnTo>
                  <a:pt x="327" y="376"/>
                </a:lnTo>
                <a:lnTo>
                  <a:pt x="324" y="376"/>
                </a:lnTo>
                <a:lnTo>
                  <a:pt x="323" y="377"/>
                </a:lnTo>
                <a:lnTo>
                  <a:pt x="322" y="377"/>
                </a:lnTo>
                <a:lnTo>
                  <a:pt x="321" y="375"/>
                </a:lnTo>
                <a:lnTo>
                  <a:pt x="320" y="374"/>
                </a:lnTo>
                <a:lnTo>
                  <a:pt x="319" y="374"/>
                </a:lnTo>
                <a:lnTo>
                  <a:pt x="317" y="373"/>
                </a:lnTo>
                <a:lnTo>
                  <a:pt x="313" y="373"/>
                </a:lnTo>
                <a:lnTo>
                  <a:pt x="311" y="374"/>
                </a:lnTo>
                <a:lnTo>
                  <a:pt x="311" y="373"/>
                </a:lnTo>
                <a:lnTo>
                  <a:pt x="310" y="374"/>
                </a:lnTo>
                <a:lnTo>
                  <a:pt x="309" y="374"/>
                </a:lnTo>
                <a:lnTo>
                  <a:pt x="305" y="373"/>
                </a:lnTo>
                <a:lnTo>
                  <a:pt x="303" y="372"/>
                </a:lnTo>
                <a:lnTo>
                  <a:pt x="301" y="372"/>
                </a:lnTo>
                <a:lnTo>
                  <a:pt x="299" y="374"/>
                </a:lnTo>
                <a:lnTo>
                  <a:pt x="297" y="374"/>
                </a:lnTo>
                <a:lnTo>
                  <a:pt x="297" y="373"/>
                </a:lnTo>
                <a:lnTo>
                  <a:pt x="294" y="373"/>
                </a:lnTo>
                <a:lnTo>
                  <a:pt x="294" y="374"/>
                </a:lnTo>
                <a:lnTo>
                  <a:pt x="292" y="374"/>
                </a:lnTo>
                <a:lnTo>
                  <a:pt x="292" y="375"/>
                </a:lnTo>
                <a:lnTo>
                  <a:pt x="294" y="375"/>
                </a:lnTo>
                <a:lnTo>
                  <a:pt x="295" y="376"/>
                </a:lnTo>
                <a:lnTo>
                  <a:pt x="294" y="377"/>
                </a:lnTo>
                <a:lnTo>
                  <a:pt x="291" y="377"/>
                </a:lnTo>
                <a:lnTo>
                  <a:pt x="291" y="379"/>
                </a:lnTo>
                <a:lnTo>
                  <a:pt x="289" y="381"/>
                </a:lnTo>
                <a:lnTo>
                  <a:pt x="286" y="381"/>
                </a:lnTo>
                <a:lnTo>
                  <a:pt x="285" y="380"/>
                </a:lnTo>
                <a:lnTo>
                  <a:pt x="283" y="380"/>
                </a:lnTo>
                <a:lnTo>
                  <a:pt x="283" y="379"/>
                </a:lnTo>
                <a:lnTo>
                  <a:pt x="282" y="379"/>
                </a:lnTo>
                <a:lnTo>
                  <a:pt x="278" y="374"/>
                </a:lnTo>
                <a:lnTo>
                  <a:pt x="274" y="374"/>
                </a:lnTo>
                <a:lnTo>
                  <a:pt x="274" y="375"/>
                </a:lnTo>
                <a:lnTo>
                  <a:pt x="273" y="375"/>
                </a:lnTo>
                <a:lnTo>
                  <a:pt x="273" y="376"/>
                </a:lnTo>
                <a:lnTo>
                  <a:pt x="271" y="376"/>
                </a:lnTo>
                <a:lnTo>
                  <a:pt x="267" y="374"/>
                </a:lnTo>
                <a:lnTo>
                  <a:pt x="266" y="374"/>
                </a:lnTo>
                <a:lnTo>
                  <a:pt x="266" y="375"/>
                </a:lnTo>
                <a:lnTo>
                  <a:pt x="261" y="375"/>
                </a:lnTo>
                <a:lnTo>
                  <a:pt x="261" y="379"/>
                </a:lnTo>
                <a:lnTo>
                  <a:pt x="257" y="379"/>
                </a:lnTo>
                <a:lnTo>
                  <a:pt x="255" y="380"/>
                </a:lnTo>
                <a:lnTo>
                  <a:pt x="254" y="380"/>
                </a:lnTo>
                <a:lnTo>
                  <a:pt x="254" y="381"/>
                </a:lnTo>
                <a:lnTo>
                  <a:pt x="253" y="382"/>
                </a:lnTo>
                <a:lnTo>
                  <a:pt x="253" y="383"/>
                </a:lnTo>
                <a:lnTo>
                  <a:pt x="252" y="385"/>
                </a:lnTo>
                <a:lnTo>
                  <a:pt x="252" y="388"/>
                </a:lnTo>
                <a:lnTo>
                  <a:pt x="251" y="389"/>
                </a:lnTo>
                <a:lnTo>
                  <a:pt x="247" y="386"/>
                </a:lnTo>
                <a:lnTo>
                  <a:pt x="243" y="386"/>
                </a:lnTo>
                <a:lnTo>
                  <a:pt x="243" y="387"/>
                </a:lnTo>
                <a:lnTo>
                  <a:pt x="242" y="388"/>
                </a:lnTo>
                <a:lnTo>
                  <a:pt x="240" y="388"/>
                </a:lnTo>
                <a:lnTo>
                  <a:pt x="239" y="387"/>
                </a:lnTo>
                <a:lnTo>
                  <a:pt x="239" y="386"/>
                </a:lnTo>
                <a:lnTo>
                  <a:pt x="240" y="383"/>
                </a:lnTo>
                <a:lnTo>
                  <a:pt x="241" y="383"/>
                </a:lnTo>
                <a:lnTo>
                  <a:pt x="241" y="382"/>
                </a:lnTo>
                <a:lnTo>
                  <a:pt x="240" y="382"/>
                </a:lnTo>
                <a:lnTo>
                  <a:pt x="240" y="376"/>
                </a:lnTo>
                <a:lnTo>
                  <a:pt x="239" y="375"/>
                </a:lnTo>
                <a:lnTo>
                  <a:pt x="239" y="374"/>
                </a:lnTo>
                <a:lnTo>
                  <a:pt x="237" y="375"/>
                </a:lnTo>
                <a:lnTo>
                  <a:pt x="235" y="375"/>
                </a:lnTo>
                <a:lnTo>
                  <a:pt x="233" y="374"/>
                </a:lnTo>
                <a:lnTo>
                  <a:pt x="233" y="372"/>
                </a:lnTo>
                <a:lnTo>
                  <a:pt x="230" y="372"/>
                </a:lnTo>
                <a:lnTo>
                  <a:pt x="230" y="370"/>
                </a:lnTo>
                <a:lnTo>
                  <a:pt x="228" y="366"/>
                </a:lnTo>
                <a:lnTo>
                  <a:pt x="228" y="363"/>
                </a:lnTo>
                <a:lnTo>
                  <a:pt x="227" y="363"/>
                </a:lnTo>
                <a:lnTo>
                  <a:pt x="226" y="362"/>
                </a:lnTo>
                <a:lnTo>
                  <a:pt x="226" y="361"/>
                </a:lnTo>
                <a:lnTo>
                  <a:pt x="221" y="366"/>
                </a:lnTo>
                <a:lnTo>
                  <a:pt x="221" y="367"/>
                </a:lnTo>
                <a:lnTo>
                  <a:pt x="216" y="367"/>
                </a:lnTo>
                <a:lnTo>
                  <a:pt x="216" y="368"/>
                </a:lnTo>
                <a:lnTo>
                  <a:pt x="215" y="370"/>
                </a:lnTo>
                <a:lnTo>
                  <a:pt x="216" y="372"/>
                </a:lnTo>
                <a:lnTo>
                  <a:pt x="215" y="372"/>
                </a:lnTo>
                <a:lnTo>
                  <a:pt x="215" y="373"/>
                </a:lnTo>
                <a:lnTo>
                  <a:pt x="212" y="375"/>
                </a:lnTo>
                <a:lnTo>
                  <a:pt x="210" y="375"/>
                </a:lnTo>
                <a:lnTo>
                  <a:pt x="210" y="374"/>
                </a:lnTo>
                <a:lnTo>
                  <a:pt x="209" y="374"/>
                </a:lnTo>
                <a:lnTo>
                  <a:pt x="207" y="375"/>
                </a:lnTo>
                <a:lnTo>
                  <a:pt x="205" y="375"/>
                </a:lnTo>
                <a:lnTo>
                  <a:pt x="205" y="372"/>
                </a:lnTo>
                <a:lnTo>
                  <a:pt x="204" y="370"/>
                </a:lnTo>
                <a:lnTo>
                  <a:pt x="204" y="369"/>
                </a:lnTo>
                <a:lnTo>
                  <a:pt x="205" y="368"/>
                </a:lnTo>
                <a:lnTo>
                  <a:pt x="204" y="368"/>
                </a:lnTo>
                <a:lnTo>
                  <a:pt x="199" y="367"/>
                </a:lnTo>
                <a:lnTo>
                  <a:pt x="199" y="361"/>
                </a:lnTo>
                <a:lnTo>
                  <a:pt x="198" y="361"/>
                </a:lnTo>
                <a:lnTo>
                  <a:pt x="198" y="357"/>
                </a:lnTo>
                <a:lnTo>
                  <a:pt x="197" y="356"/>
                </a:lnTo>
                <a:lnTo>
                  <a:pt x="196" y="356"/>
                </a:lnTo>
                <a:lnTo>
                  <a:pt x="196" y="357"/>
                </a:lnTo>
                <a:lnTo>
                  <a:pt x="195" y="357"/>
                </a:lnTo>
                <a:lnTo>
                  <a:pt x="195" y="356"/>
                </a:lnTo>
                <a:lnTo>
                  <a:pt x="193" y="356"/>
                </a:lnTo>
                <a:lnTo>
                  <a:pt x="193" y="355"/>
                </a:lnTo>
                <a:lnTo>
                  <a:pt x="191" y="355"/>
                </a:lnTo>
                <a:lnTo>
                  <a:pt x="191" y="354"/>
                </a:lnTo>
                <a:lnTo>
                  <a:pt x="190" y="352"/>
                </a:lnTo>
                <a:lnTo>
                  <a:pt x="189" y="350"/>
                </a:lnTo>
                <a:lnTo>
                  <a:pt x="189" y="346"/>
                </a:lnTo>
                <a:lnTo>
                  <a:pt x="190" y="345"/>
                </a:lnTo>
                <a:lnTo>
                  <a:pt x="189" y="344"/>
                </a:lnTo>
                <a:lnTo>
                  <a:pt x="189" y="343"/>
                </a:lnTo>
                <a:lnTo>
                  <a:pt x="187" y="342"/>
                </a:lnTo>
                <a:lnTo>
                  <a:pt x="187" y="340"/>
                </a:lnTo>
                <a:lnTo>
                  <a:pt x="186" y="342"/>
                </a:lnTo>
                <a:lnTo>
                  <a:pt x="185" y="342"/>
                </a:lnTo>
                <a:lnTo>
                  <a:pt x="181" y="340"/>
                </a:lnTo>
                <a:lnTo>
                  <a:pt x="180" y="339"/>
                </a:lnTo>
                <a:lnTo>
                  <a:pt x="178" y="339"/>
                </a:lnTo>
                <a:lnTo>
                  <a:pt x="178" y="340"/>
                </a:lnTo>
                <a:lnTo>
                  <a:pt x="179" y="340"/>
                </a:lnTo>
                <a:lnTo>
                  <a:pt x="178" y="342"/>
                </a:lnTo>
                <a:lnTo>
                  <a:pt x="177" y="342"/>
                </a:lnTo>
                <a:lnTo>
                  <a:pt x="176" y="340"/>
                </a:lnTo>
                <a:lnTo>
                  <a:pt x="176" y="339"/>
                </a:lnTo>
                <a:lnTo>
                  <a:pt x="174" y="338"/>
                </a:lnTo>
                <a:lnTo>
                  <a:pt x="173" y="338"/>
                </a:lnTo>
                <a:lnTo>
                  <a:pt x="172" y="337"/>
                </a:lnTo>
                <a:lnTo>
                  <a:pt x="171" y="337"/>
                </a:lnTo>
                <a:lnTo>
                  <a:pt x="168" y="336"/>
                </a:lnTo>
                <a:lnTo>
                  <a:pt x="168" y="334"/>
                </a:lnTo>
                <a:lnTo>
                  <a:pt x="166" y="332"/>
                </a:lnTo>
                <a:lnTo>
                  <a:pt x="165" y="332"/>
                </a:lnTo>
                <a:lnTo>
                  <a:pt x="165" y="333"/>
                </a:lnTo>
                <a:lnTo>
                  <a:pt x="166" y="333"/>
                </a:lnTo>
                <a:lnTo>
                  <a:pt x="166" y="334"/>
                </a:lnTo>
                <a:lnTo>
                  <a:pt x="165" y="336"/>
                </a:lnTo>
                <a:lnTo>
                  <a:pt x="162" y="336"/>
                </a:lnTo>
                <a:lnTo>
                  <a:pt x="161" y="337"/>
                </a:lnTo>
                <a:lnTo>
                  <a:pt x="158" y="337"/>
                </a:lnTo>
                <a:lnTo>
                  <a:pt x="154" y="333"/>
                </a:lnTo>
                <a:lnTo>
                  <a:pt x="154" y="331"/>
                </a:lnTo>
                <a:lnTo>
                  <a:pt x="153" y="331"/>
                </a:lnTo>
                <a:lnTo>
                  <a:pt x="153" y="329"/>
                </a:lnTo>
                <a:lnTo>
                  <a:pt x="149" y="329"/>
                </a:lnTo>
                <a:lnTo>
                  <a:pt x="147" y="326"/>
                </a:lnTo>
                <a:lnTo>
                  <a:pt x="147" y="325"/>
                </a:lnTo>
                <a:lnTo>
                  <a:pt x="148" y="324"/>
                </a:lnTo>
                <a:lnTo>
                  <a:pt x="150" y="324"/>
                </a:lnTo>
                <a:lnTo>
                  <a:pt x="153" y="323"/>
                </a:lnTo>
                <a:lnTo>
                  <a:pt x="153" y="321"/>
                </a:lnTo>
                <a:lnTo>
                  <a:pt x="154" y="321"/>
                </a:lnTo>
                <a:lnTo>
                  <a:pt x="153" y="320"/>
                </a:lnTo>
                <a:lnTo>
                  <a:pt x="153" y="315"/>
                </a:lnTo>
                <a:lnTo>
                  <a:pt x="152" y="314"/>
                </a:lnTo>
                <a:lnTo>
                  <a:pt x="150" y="314"/>
                </a:lnTo>
                <a:lnTo>
                  <a:pt x="150" y="315"/>
                </a:lnTo>
                <a:lnTo>
                  <a:pt x="149" y="318"/>
                </a:lnTo>
                <a:lnTo>
                  <a:pt x="142" y="318"/>
                </a:lnTo>
                <a:lnTo>
                  <a:pt x="141" y="319"/>
                </a:lnTo>
                <a:lnTo>
                  <a:pt x="140" y="319"/>
                </a:lnTo>
                <a:lnTo>
                  <a:pt x="140" y="318"/>
                </a:lnTo>
                <a:lnTo>
                  <a:pt x="137" y="318"/>
                </a:lnTo>
                <a:lnTo>
                  <a:pt x="137" y="319"/>
                </a:lnTo>
                <a:lnTo>
                  <a:pt x="136" y="318"/>
                </a:lnTo>
                <a:lnTo>
                  <a:pt x="136" y="314"/>
                </a:lnTo>
                <a:lnTo>
                  <a:pt x="133" y="314"/>
                </a:lnTo>
                <a:lnTo>
                  <a:pt x="131" y="313"/>
                </a:lnTo>
                <a:lnTo>
                  <a:pt x="130" y="313"/>
                </a:lnTo>
                <a:lnTo>
                  <a:pt x="130" y="311"/>
                </a:lnTo>
                <a:lnTo>
                  <a:pt x="127" y="311"/>
                </a:lnTo>
                <a:lnTo>
                  <a:pt x="127" y="309"/>
                </a:lnTo>
                <a:lnTo>
                  <a:pt x="125" y="309"/>
                </a:lnTo>
                <a:lnTo>
                  <a:pt x="122" y="308"/>
                </a:lnTo>
                <a:lnTo>
                  <a:pt x="121" y="308"/>
                </a:lnTo>
                <a:lnTo>
                  <a:pt x="119" y="307"/>
                </a:lnTo>
                <a:lnTo>
                  <a:pt x="116" y="307"/>
                </a:lnTo>
                <a:lnTo>
                  <a:pt x="117" y="308"/>
                </a:lnTo>
                <a:lnTo>
                  <a:pt x="118" y="311"/>
                </a:lnTo>
                <a:lnTo>
                  <a:pt x="118" y="313"/>
                </a:lnTo>
                <a:lnTo>
                  <a:pt x="119" y="314"/>
                </a:lnTo>
                <a:lnTo>
                  <a:pt x="119" y="315"/>
                </a:lnTo>
                <a:lnTo>
                  <a:pt x="121" y="315"/>
                </a:lnTo>
                <a:lnTo>
                  <a:pt x="122" y="317"/>
                </a:lnTo>
                <a:lnTo>
                  <a:pt x="122" y="319"/>
                </a:lnTo>
                <a:lnTo>
                  <a:pt x="123" y="320"/>
                </a:lnTo>
                <a:lnTo>
                  <a:pt x="123" y="321"/>
                </a:lnTo>
                <a:lnTo>
                  <a:pt x="122" y="321"/>
                </a:lnTo>
                <a:lnTo>
                  <a:pt x="122" y="320"/>
                </a:lnTo>
                <a:lnTo>
                  <a:pt x="121" y="320"/>
                </a:lnTo>
                <a:lnTo>
                  <a:pt x="121" y="321"/>
                </a:lnTo>
                <a:lnTo>
                  <a:pt x="118" y="321"/>
                </a:lnTo>
                <a:lnTo>
                  <a:pt x="117" y="323"/>
                </a:lnTo>
                <a:lnTo>
                  <a:pt x="115" y="323"/>
                </a:lnTo>
                <a:lnTo>
                  <a:pt x="112" y="325"/>
                </a:lnTo>
                <a:lnTo>
                  <a:pt x="112" y="326"/>
                </a:lnTo>
                <a:lnTo>
                  <a:pt x="110" y="329"/>
                </a:lnTo>
                <a:lnTo>
                  <a:pt x="106" y="329"/>
                </a:lnTo>
                <a:lnTo>
                  <a:pt x="104" y="326"/>
                </a:lnTo>
                <a:lnTo>
                  <a:pt x="104" y="325"/>
                </a:lnTo>
                <a:lnTo>
                  <a:pt x="103" y="323"/>
                </a:lnTo>
                <a:lnTo>
                  <a:pt x="103" y="321"/>
                </a:lnTo>
                <a:lnTo>
                  <a:pt x="100" y="319"/>
                </a:lnTo>
                <a:lnTo>
                  <a:pt x="99" y="317"/>
                </a:lnTo>
                <a:lnTo>
                  <a:pt x="98" y="315"/>
                </a:lnTo>
                <a:lnTo>
                  <a:pt x="96" y="314"/>
                </a:lnTo>
                <a:lnTo>
                  <a:pt x="94" y="313"/>
                </a:lnTo>
                <a:lnTo>
                  <a:pt x="94" y="311"/>
                </a:lnTo>
                <a:lnTo>
                  <a:pt x="91" y="311"/>
                </a:lnTo>
                <a:lnTo>
                  <a:pt x="90" y="308"/>
                </a:lnTo>
                <a:lnTo>
                  <a:pt x="89" y="308"/>
                </a:lnTo>
                <a:lnTo>
                  <a:pt x="89" y="306"/>
                </a:lnTo>
                <a:lnTo>
                  <a:pt x="90" y="306"/>
                </a:lnTo>
                <a:lnTo>
                  <a:pt x="90" y="305"/>
                </a:lnTo>
                <a:lnTo>
                  <a:pt x="91" y="305"/>
                </a:lnTo>
                <a:lnTo>
                  <a:pt x="92" y="303"/>
                </a:lnTo>
                <a:lnTo>
                  <a:pt x="92" y="302"/>
                </a:lnTo>
                <a:lnTo>
                  <a:pt x="96" y="302"/>
                </a:lnTo>
                <a:lnTo>
                  <a:pt x="96" y="301"/>
                </a:lnTo>
                <a:lnTo>
                  <a:pt x="97" y="301"/>
                </a:lnTo>
                <a:lnTo>
                  <a:pt x="97" y="299"/>
                </a:lnTo>
                <a:lnTo>
                  <a:pt x="98" y="297"/>
                </a:lnTo>
                <a:lnTo>
                  <a:pt x="98" y="296"/>
                </a:lnTo>
                <a:lnTo>
                  <a:pt x="93" y="291"/>
                </a:lnTo>
                <a:lnTo>
                  <a:pt x="90" y="291"/>
                </a:lnTo>
                <a:lnTo>
                  <a:pt x="89" y="293"/>
                </a:lnTo>
                <a:lnTo>
                  <a:pt x="89" y="294"/>
                </a:lnTo>
                <a:lnTo>
                  <a:pt x="87" y="294"/>
                </a:lnTo>
                <a:lnTo>
                  <a:pt x="85" y="293"/>
                </a:lnTo>
                <a:lnTo>
                  <a:pt x="84" y="293"/>
                </a:lnTo>
                <a:lnTo>
                  <a:pt x="81" y="295"/>
                </a:lnTo>
                <a:lnTo>
                  <a:pt x="79" y="295"/>
                </a:lnTo>
                <a:lnTo>
                  <a:pt x="79" y="294"/>
                </a:lnTo>
                <a:lnTo>
                  <a:pt x="80" y="294"/>
                </a:lnTo>
                <a:lnTo>
                  <a:pt x="80" y="293"/>
                </a:lnTo>
                <a:lnTo>
                  <a:pt x="79" y="291"/>
                </a:lnTo>
                <a:lnTo>
                  <a:pt x="79" y="290"/>
                </a:lnTo>
                <a:lnTo>
                  <a:pt x="78" y="290"/>
                </a:lnTo>
                <a:lnTo>
                  <a:pt x="78" y="289"/>
                </a:lnTo>
                <a:lnTo>
                  <a:pt x="75" y="290"/>
                </a:lnTo>
                <a:lnTo>
                  <a:pt x="73" y="290"/>
                </a:lnTo>
                <a:lnTo>
                  <a:pt x="72" y="287"/>
                </a:lnTo>
                <a:lnTo>
                  <a:pt x="71" y="286"/>
                </a:lnTo>
                <a:lnTo>
                  <a:pt x="67" y="287"/>
                </a:lnTo>
                <a:lnTo>
                  <a:pt x="66" y="287"/>
                </a:lnTo>
                <a:lnTo>
                  <a:pt x="66" y="286"/>
                </a:lnTo>
                <a:lnTo>
                  <a:pt x="65" y="286"/>
                </a:lnTo>
                <a:lnTo>
                  <a:pt x="56" y="282"/>
                </a:lnTo>
                <a:lnTo>
                  <a:pt x="55" y="282"/>
                </a:lnTo>
                <a:lnTo>
                  <a:pt x="54" y="283"/>
                </a:lnTo>
                <a:lnTo>
                  <a:pt x="54" y="284"/>
                </a:lnTo>
                <a:lnTo>
                  <a:pt x="53" y="284"/>
                </a:lnTo>
                <a:lnTo>
                  <a:pt x="53" y="280"/>
                </a:lnTo>
                <a:lnTo>
                  <a:pt x="50" y="280"/>
                </a:lnTo>
                <a:lnTo>
                  <a:pt x="50" y="278"/>
                </a:lnTo>
                <a:lnTo>
                  <a:pt x="49" y="278"/>
                </a:lnTo>
                <a:lnTo>
                  <a:pt x="49" y="276"/>
                </a:lnTo>
                <a:lnTo>
                  <a:pt x="48" y="275"/>
                </a:lnTo>
                <a:lnTo>
                  <a:pt x="49" y="274"/>
                </a:lnTo>
                <a:lnTo>
                  <a:pt x="49" y="272"/>
                </a:lnTo>
                <a:lnTo>
                  <a:pt x="47" y="270"/>
                </a:lnTo>
                <a:lnTo>
                  <a:pt x="44" y="270"/>
                </a:lnTo>
                <a:lnTo>
                  <a:pt x="44" y="268"/>
                </a:lnTo>
                <a:lnTo>
                  <a:pt x="43" y="269"/>
                </a:lnTo>
                <a:lnTo>
                  <a:pt x="43" y="270"/>
                </a:lnTo>
                <a:lnTo>
                  <a:pt x="42" y="270"/>
                </a:lnTo>
                <a:lnTo>
                  <a:pt x="41" y="269"/>
                </a:lnTo>
                <a:lnTo>
                  <a:pt x="38" y="269"/>
                </a:lnTo>
                <a:lnTo>
                  <a:pt x="38" y="268"/>
                </a:lnTo>
                <a:lnTo>
                  <a:pt x="37" y="268"/>
                </a:lnTo>
                <a:lnTo>
                  <a:pt x="37" y="269"/>
                </a:lnTo>
                <a:lnTo>
                  <a:pt x="36" y="269"/>
                </a:lnTo>
                <a:lnTo>
                  <a:pt x="36" y="270"/>
                </a:lnTo>
                <a:lnTo>
                  <a:pt x="37" y="271"/>
                </a:lnTo>
                <a:lnTo>
                  <a:pt x="37" y="278"/>
                </a:lnTo>
                <a:lnTo>
                  <a:pt x="30" y="278"/>
                </a:lnTo>
                <a:lnTo>
                  <a:pt x="30" y="276"/>
                </a:lnTo>
                <a:lnTo>
                  <a:pt x="32" y="275"/>
                </a:lnTo>
                <a:lnTo>
                  <a:pt x="34" y="269"/>
                </a:lnTo>
                <a:lnTo>
                  <a:pt x="36" y="264"/>
                </a:lnTo>
                <a:lnTo>
                  <a:pt x="36" y="262"/>
                </a:lnTo>
                <a:lnTo>
                  <a:pt x="37" y="262"/>
                </a:lnTo>
                <a:lnTo>
                  <a:pt x="37" y="256"/>
                </a:lnTo>
                <a:lnTo>
                  <a:pt x="38" y="254"/>
                </a:lnTo>
                <a:lnTo>
                  <a:pt x="38" y="250"/>
                </a:lnTo>
                <a:lnTo>
                  <a:pt x="36" y="247"/>
                </a:lnTo>
                <a:lnTo>
                  <a:pt x="36" y="239"/>
                </a:lnTo>
                <a:lnTo>
                  <a:pt x="35" y="238"/>
                </a:lnTo>
                <a:lnTo>
                  <a:pt x="34" y="238"/>
                </a:lnTo>
                <a:lnTo>
                  <a:pt x="32" y="237"/>
                </a:lnTo>
                <a:lnTo>
                  <a:pt x="31" y="237"/>
                </a:lnTo>
                <a:lnTo>
                  <a:pt x="30" y="235"/>
                </a:lnTo>
                <a:lnTo>
                  <a:pt x="29" y="235"/>
                </a:lnTo>
                <a:lnTo>
                  <a:pt x="27" y="234"/>
                </a:lnTo>
                <a:lnTo>
                  <a:pt x="25" y="233"/>
                </a:lnTo>
                <a:lnTo>
                  <a:pt x="25" y="231"/>
                </a:lnTo>
                <a:lnTo>
                  <a:pt x="27" y="229"/>
                </a:lnTo>
                <a:lnTo>
                  <a:pt x="27" y="223"/>
                </a:lnTo>
                <a:lnTo>
                  <a:pt x="24" y="221"/>
                </a:lnTo>
                <a:lnTo>
                  <a:pt x="23" y="221"/>
                </a:lnTo>
                <a:lnTo>
                  <a:pt x="23" y="217"/>
                </a:lnTo>
                <a:lnTo>
                  <a:pt x="21" y="215"/>
                </a:lnTo>
                <a:lnTo>
                  <a:pt x="21" y="211"/>
                </a:lnTo>
                <a:lnTo>
                  <a:pt x="24" y="208"/>
                </a:lnTo>
                <a:lnTo>
                  <a:pt x="24" y="207"/>
                </a:lnTo>
                <a:lnTo>
                  <a:pt x="25" y="205"/>
                </a:lnTo>
                <a:lnTo>
                  <a:pt x="25" y="201"/>
                </a:lnTo>
                <a:lnTo>
                  <a:pt x="27" y="200"/>
                </a:lnTo>
                <a:lnTo>
                  <a:pt x="27" y="197"/>
                </a:lnTo>
                <a:lnTo>
                  <a:pt x="28" y="196"/>
                </a:lnTo>
                <a:lnTo>
                  <a:pt x="24" y="192"/>
                </a:lnTo>
                <a:lnTo>
                  <a:pt x="25" y="191"/>
                </a:lnTo>
                <a:lnTo>
                  <a:pt x="25" y="184"/>
                </a:lnTo>
                <a:lnTo>
                  <a:pt x="24" y="183"/>
                </a:lnTo>
                <a:lnTo>
                  <a:pt x="23" y="183"/>
                </a:lnTo>
                <a:lnTo>
                  <a:pt x="22" y="182"/>
                </a:lnTo>
                <a:lnTo>
                  <a:pt x="21" y="182"/>
                </a:lnTo>
                <a:lnTo>
                  <a:pt x="21" y="180"/>
                </a:lnTo>
                <a:lnTo>
                  <a:pt x="19" y="178"/>
                </a:lnTo>
                <a:lnTo>
                  <a:pt x="18" y="174"/>
                </a:lnTo>
                <a:lnTo>
                  <a:pt x="18" y="172"/>
                </a:lnTo>
                <a:lnTo>
                  <a:pt x="22" y="168"/>
                </a:lnTo>
                <a:lnTo>
                  <a:pt x="22" y="164"/>
                </a:lnTo>
                <a:lnTo>
                  <a:pt x="23" y="161"/>
                </a:lnTo>
                <a:lnTo>
                  <a:pt x="19" y="158"/>
                </a:lnTo>
                <a:lnTo>
                  <a:pt x="16" y="157"/>
                </a:lnTo>
                <a:lnTo>
                  <a:pt x="15" y="154"/>
                </a:lnTo>
                <a:lnTo>
                  <a:pt x="13" y="154"/>
                </a:lnTo>
                <a:lnTo>
                  <a:pt x="12" y="151"/>
                </a:lnTo>
                <a:lnTo>
                  <a:pt x="7" y="147"/>
                </a:lnTo>
                <a:lnTo>
                  <a:pt x="5" y="145"/>
                </a:lnTo>
                <a:lnTo>
                  <a:pt x="3" y="145"/>
                </a:lnTo>
                <a:lnTo>
                  <a:pt x="0" y="142"/>
                </a:lnTo>
                <a:lnTo>
                  <a:pt x="2" y="141"/>
                </a:lnTo>
                <a:lnTo>
                  <a:pt x="3" y="141"/>
                </a:lnTo>
                <a:lnTo>
                  <a:pt x="3" y="139"/>
                </a:lnTo>
                <a:lnTo>
                  <a:pt x="2" y="136"/>
                </a:lnTo>
                <a:lnTo>
                  <a:pt x="2" y="135"/>
                </a:lnTo>
                <a:lnTo>
                  <a:pt x="4" y="133"/>
                </a:lnTo>
                <a:lnTo>
                  <a:pt x="9" y="130"/>
                </a:lnTo>
                <a:lnTo>
                  <a:pt x="10" y="128"/>
                </a:lnTo>
                <a:lnTo>
                  <a:pt x="11" y="127"/>
                </a:lnTo>
                <a:lnTo>
                  <a:pt x="12" y="123"/>
                </a:lnTo>
                <a:lnTo>
                  <a:pt x="12" y="121"/>
                </a:lnTo>
                <a:lnTo>
                  <a:pt x="11" y="119"/>
                </a:lnTo>
                <a:lnTo>
                  <a:pt x="12" y="118"/>
                </a:lnTo>
                <a:lnTo>
                  <a:pt x="12" y="117"/>
                </a:lnTo>
                <a:lnTo>
                  <a:pt x="13" y="117"/>
                </a:lnTo>
                <a:lnTo>
                  <a:pt x="13" y="116"/>
                </a:lnTo>
                <a:lnTo>
                  <a:pt x="15" y="115"/>
                </a:lnTo>
                <a:lnTo>
                  <a:pt x="13" y="114"/>
                </a:lnTo>
                <a:lnTo>
                  <a:pt x="13" y="112"/>
                </a:lnTo>
                <a:lnTo>
                  <a:pt x="12" y="112"/>
                </a:lnTo>
                <a:lnTo>
                  <a:pt x="12" y="109"/>
                </a:lnTo>
                <a:lnTo>
                  <a:pt x="11" y="104"/>
                </a:lnTo>
                <a:lnTo>
                  <a:pt x="11" y="100"/>
                </a:lnTo>
                <a:lnTo>
                  <a:pt x="10" y="99"/>
                </a:lnTo>
                <a:lnTo>
                  <a:pt x="10" y="98"/>
                </a:lnTo>
                <a:lnTo>
                  <a:pt x="9" y="96"/>
                </a:lnTo>
                <a:lnTo>
                  <a:pt x="9" y="90"/>
                </a:lnTo>
                <a:lnTo>
                  <a:pt x="7" y="87"/>
                </a:lnTo>
                <a:lnTo>
                  <a:pt x="6" y="86"/>
                </a:lnTo>
                <a:lnTo>
                  <a:pt x="6" y="82"/>
                </a:lnTo>
                <a:lnTo>
                  <a:pt x="7" y="82"/>
                </a:lnTo>
                <a:lnTo>
                  <a:pt x="9" y="81"/>
                </a:lnTo>
                <a:lnTo>
                  <a:pt x="7" y="80"/>
                </a:lnTo>
                <a:lnTo>
                  <a:pt x="10" y="80"/>
                </a:lnTo>
                <a:lnTo>
                  <a:pt x="10" y="81"/>
                </a:lnTo>
                <a:lnTo>
                  <a:pt x="11" y="81"/>
                </a:lnTo>
                <a:lnTo>
                  <a:pt x="12" y="82"/>
                </a:lnTo>
                <a:lnTo>
                  <a:pt x="12" y="84"/>
                </a:lnTo>
                <a:lnTo>
                  <a:pt x="15" y="84"/>
                </a:lnTo>
                <a:lnTo>
                  <a:pt x="17" y="85"/>
                </a:lnTo>
                <a:lnTo>
                  <a:pt x="18" y="85"/>
                </a:lnTo>
                <a:lnTo>
                  <a:pt x="18" y="86"/>
                </a:lnTo>
                <a:lnTo>
                  <a:pt x="21" y="88"/>
                </a:lnTo>
                <a:lnTo>
                  <a:pt x="21" y="87"/>
                </a:lnTo>
                <a:lnTo>
                  <a:pt x="22" y="87"/>
                </a:lnTo>
                <a:lnTo>
                  <a:pt x="22" y="86"/>
                </a:lnTo>
                <a:lnTo>
                  <a:pt x="21" y="86"/>
                </a:lnTo>
                <a:lnTo>
                  <a:pt x="19" y="85"/>
                </a:lnTo>
                <a:lnTo>
                  <a:pt x="18" y="82"/>
                </a:lnTo>
                <a:lnTo>
                  <a:pt x="19" y="80"/>
                </a:lnTo>
                <a:lnTo>
                  <a:pt x="19" y="78"/>
                </a:lnTo>
                <a:lnTo>
                  <a:pt x="22" y="78"/>
                </a:lnTo>
                <a:lnTo>
                  <a:pt x="22" y="73"/>
                </a:lnTo>
                <a:lnTo>
                  <a:pt x="21" y="74"/>
                </a:lnTo>
                <a:lnTo>
                  <a:pt x="19" y="74"/>
                </a:lnTo>
                <a:lnTo>
                  <a:pt x="19" y="73"/>
                </a:lnTo>
                <a:lnTo>
                  <a:pt x="21" y="73"/>
                </a:lnTo>
                <a:lnTo>
                  <a:pt x="19" y="72"/>
                </a:lnTo>
                <a:lnTo>
                  <a:pt x="19" y="71"/>
                </a:lnTo>
                <a:lnTo>
                  <a:pt x="15" y="71"/>
                </a:lnTo>
                <a:lnTo>
                  <a:pt x="13" y="69"/>
                </a:lnTo>
                <a:lnTo>
                  <a:pt x="15" y="68"/>
                </a:lnTo>
                <a:lnTo>
                  <a:pt x="11" y="68"/>
                </a:lnTo>
                <a:lnTo>
                  <a:pt x="11" y="69"/>
                </a:lnTo>
                <a:lnTo>
                  <a:pt x="12" y="69"/>
                </a:lnTo>
                <a:lnTo>
                  <a:pt x="13" y="71"/>
                </a:lnTo>
                <a:lnTo>
                  <a:pt x="13" y="72"/>
                </a:lnTo>
                <a:lnTo>
                  <a:pt x="12" y="72"/>
                </a:lnTo>
                <a:lnTo>
                  <a:pt x="11" y="73"/>
                </a:lnTo>
                <a:lnTo>
                  <a:pt x="10" y="73"/>
                </a:lnTo>
                <a:lnTo>
                  <a:pt x="10" y="74"/>
                </a:lnTo>
                <a:lnTo>
                  <a:pt x="9" y="74"/>
                </a:lnTo>
                <a:lnTo>
                  <a:pt x="4" y="69"/>
                </a:lnTo>
                <a:lnTo>
                  <a:pt x="4" y="68"/>
                </a:lnTo>
                <a:lnTo>
                  <a:pt x="3" y="68"/>
                </a:lnTo>
                <a:lnTo>
                  <a:pt x="4" y="67"/>
                </a:lnTo>
                <a:lnTo>
                  <a:pt x="4" y="66"/>
                </a:lnTo>
                <a:lnTo>
                  <a:pt x="5" y="66"/>
                </a:lnTo>
                <a:lnTo>
                  <a:pt x="7" y="67"/>
                </a:lnTo>
                <a:lnTo>
                  <a:pt x="12" y="67"/>
                </a:lnTo>
                <a:lnTo>
                  <a:pt x="15" y="66"/>
                </a:lnTo>
                <a:lnTo>
                  <a:pt x="17" y="63"/>
                </a:lnTo>
                <a:lnTo>
                  <a:pt x="29" y="59"/>
                </a:lnTo>
                <a:lnTo>
                  <a:pt x="38" y="56"/>
                </a:lnTo>
                <a:lnTo>
                  <a:pt x="50" y="51"/>
                </a:lnTo>
                <a:lnTo>
                  <a:pt x="58" y="49"/>
                </a:lnTo>
                <a:lnTo>
                  <a:pt x="66" y="47"/>
                </a:lnTo>
                <a:lnTo>
                  <a:pt x="74" y="43"/>
                </a:lnTo>
                <a:lnTo>
                  <a:pt x="81" y="42"/>
                </a:lnTo>
                <a:lnTo>
                  <a:pt x="84" y="42"/>
                </a:lnTo>
                <a:lnTo>
                  <a:pt x="83" y="42"/>
                </a:lnTo>
                <a:lnTo>
                  <a:pt x="84" y="43"/>
                </a:lnTo>
                <a:lnTo>
                  <a:pt x="87" y="42"/>
                </a:lnTo>
                <a:lnTo>
                  <a:pt x="87" y="41"/>
                </a:lnTo>
                <a:lnTo>
                  <a:pt x="89" y="41"/>
                </a:lnTo>
                <a:lnTo>
                  <a:pt x="89" y="39"/>
                </a:lnTo>
                <a:lnTo>
                  <a:pt x="87" y="39"/>
                </a:lnTo>
                <a:lnTo>
                  <a:pt x="90" y="37"/>
                </a:lnTo>
                <a:lnTo>
                  <a:pt x="92" y="37"/>
                </a:lnTo>
                <a:lnTo>
                  <a:pt x="92" y="36"/>
                </a:lnTo>
                <a:lnTo>
                  <a:pt x="93" y="36"/>
                </a:lnTo>
                <a:lnTo>
                  <a:pt x="94" y="35"/>
                </a:lnTo>
                <a:lnTo>
                  <a:pt x="93" y="34"/>
                </a:lnTo>
                <a:lnTo>
                  <a:pt x="92" y="35"/>
                </a:lnTo>
                <a:lnTo>
                  <a:pt x="93" y="32"/>
                </a:lnTo>
                <a:lnTo>
                  <a:pt x="98" y="25"/>
                </a:lnTo>
                <a:lnTo>
                  <a:pt x="98" y="26"/>
                </a:lnTo>
                <a:lnTo>
                  <a:pt x="99" y="28"/>
                </a:lnTo>
                <a:lnTo>
                  <a:pt x="99" y="26"/>
                </a:lnTo>
                <a:lnTo>
                  <a:pt x="100" y="26"/>
                </a:lnTo>
                <a:lnTo>
                  <a:pt x="100" y="25"/>
                </a:lnTo>
                <a:lnTo>
                  <a:pt x="99" y="25"/>
                </a:lnTo>
                <a:lnTo>
                  <a:pt x="99" y="24"/>
                </a:lnTo>
                <a:lnTo>
                  <a:pt x="102" y="23"/>
                </a:lnTo>
                <a:lnTo>
                  <a:pt x="104" y="20"/>
                </a:lnTo>
                <a:lnTo>
                  <a:pt x="112" y="19"/>
                </a:lnTo>
                <a:lnTo>
                  <a:pt x="116" y="18"/>
                </a:lnTo>
                <a:lnTo>
                  <a:pt x="118" y="18"/>
                </a:lnTo>
                <a:lnTo>
                  <a:pt x="119" y="17"/>
                </a:lnTo>
                <a:lnTo>
                  <a:pt x="124" y="13"/>
                </a:lnTo>
                <a:lnTo>
                  <a:pt x="136" y="7"/>
                </a:lnTo>
                <a:lnTo>
                  <a:pt x="153" y="4"/>
                </a:lnTo>
                <a:lnTo>
                  <a:pt x="160" y="1"/>
                </a:lnTo>
                <a:lnTo>
                  <a:pt x="171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" name="Freeform 23">
            <a:extLst>
              <a:ext uri="{FF2B5EF4-FFF2-40B4-BE49-F238E27FC236}">
                <a16:creationId xmlns:a16="http://schemas.microsoft.com/office/drawing/2014/main" id="{E55DF280-061B-4FB7-A795-73CF7AB06CD2}"/>
              </a:ext>
            </a:extLst>
          </p:cNvPr>
          <p:cNvSpPr>
            <a:spLocks noEditPoints="1"/>
          </p:cNvSpPr>
          <p:nvPr/>
        </p:nvSpPr>
        <p:spPr bwMode="auto">
          <a:xfrm>
            <a:off x="1435997" y="4364061"/>
            <a:ext cx="234728" cy="281094"/>
          </a:xfrm>
          <a:custGeom>
            <a:avLst/>
            <a:gdLst/>
            <a:ahLst/>
            <a:cxnLst>
              <a:cxn ang="0">
                <a:pos x="22" y="154"/>
              </a:cxn>
              <a:cxn ang="0">
                <a:pos x="32" y="153"/>
              </a:cxn>
              <a:cxn ang="0">
                <a:pos x="25" y="162"/>
              </a:cxn>
              <a:cxn ang="0">
                <a:pos x="7" y="158"/>
              </a:cxn>
              <a:cxn ang="0">
                <a:pos x="60" y="148"/>
              </a:cxn>
              <a:cxn ang="0">
                <a:pos x="65" y="29"/>
              </a:cxn>
              <a:cxn ang="0">
                <a:pos x="62" y="31"/>
              </a:cxn>
              <a:cxn ang="0">
                <a:pos x="65" y="24"/>
              </a:cxn>
              <a:cxn ang="0">
                <a:pos x="86" y="12"/>
              </a:cxn>
              <a:cxn ang="0">
                <a:pos x="81" y="11"/>
              </a:cxn>
              <a:cxn ang="0">
                <a:pos x="150" y="16"/>
              </a:cxn>
              <a:cxn ang="0">
                <a:pos x="158" y="22"/>
              </a:cxn>
              <a:cxn ang="0">
                <a:pos x="161" y="44"/>
              </a:cxn>
              <a:cxn ang="0">
                <a:pos x="144" y="65"/>
              </a:cxn>
              <a:cxn ang="0">
                <a:pos x="143" y="78"/>
              </a:cxn>
              <a:cxn ang="0">
                <a:pos x="155" y="93"/>
              </a:cxn>
              <a:cxn ang="0">
                <a:pos x="143" y="102"/>
              </a:cxn>
              <a:cxn ang="0">
                <a:pos x="146" y="110"/>
              </a:cxn>
              <a:cxn ang="0">
                <a:pos x="135" y="117"/>
              </a:cxn>
              <a:cxn ang="0">
                <a:pos x="125" y="119"/>
              </a:cxn>
              <a:cxn ang="0">
                <a:pos x="118" y="119"/>
              </a:cxn>
              <a:cxn ang="0">
                <a:pos x="110" y="128"/>
              </a:cxn>
              <a:cxn ang="0">
                <a:pos x="118" y="141"/>
              </a:cxn>
              <a:cxn ang="0">
                <a:pos x="115" y="165"/>
              </a:cxn>
              <a:cxn ang="0">
                <a:pos x="109" y="174"/>
              </a:cxn>
              <a:cxn ang="0">
                <a:pos x="112" y="179"/>
              </a:cxn>
              <a:cxn ang="0">
                <a:pos x="111" y="191"/>
              </a:cxn>
              <a:cxn ang="0">
                <a:pos x="99" y="190"/>
              </a:cxn>
              <a:cxn ang="0">
                <a:pos x="100" y="179"/>
              </a:cxn>
              <a:cxn ang="0">
                <a:pos x="103" y="166"/>
              </a:cxn>
              <a:cxn ang="0">
                <a:pos x="92" y="158"/>
              </a:cxn>
              <a:cxn ang="0">
                <a:pos x="75" y="155"/>
              </a:cxn>
              <a:cxn ang="0">
                <a:pos x="69" y="147"/>
              </a:cxn>
              <a:cxn ang="0">
                <a:pos x="60" y="143"/>
              </a:cxn>
              <a:cxn ang="0">
                <a:pos x="43" y="147"/>
              </a:cxn>
              <a:cxn ang="0">
                <a:pos x="38" y="149"/>
              </a:cxn>
              <a:cxn ang="0">
                <a:pos x="25" y="147"/>
              </a:cxn>
              <a:cxn ang="0">
                <a:pos x="9" y="147"/>
              </a:cxn>
              <a:cxn ang="0">
                <a:pos x="5" y="140"/>
              </a:cxn>
              <a:cxn ang="0">
                <a:pos x="23" y="140"/>
              </a:cxn>
              <a:cxn ang="0">
                <a:pos x="40" y="143"/>
              </a:cxn>
              <a:cxn ang="0">
                <a:pos x="36" y="135"/>
              </a:cxn>
              <a:cxn ang="0">
                <a:pos x="23" y="133"/>
              </a:cxn>
              <a:cxn ang="0">
                <a:pos x="15" y="128"/>
              </a:cxn>
              <a:cxn ang="0">
                <a:pos x="34" y="130"/>
              </a:cxn>
              <a:cxn ang="0">
                <a:pos x="23" y="123"/>
              </a:cxn>
              <a:cxn ang="0">
                <a:pos x="29" y="116"/>
              </a:cxn>
              <a:cxn ang="0">
                <a:pos x="44" y="93"/>
              </a:cxn>
              <a:cxn ang="0">
                <a:pos x="57" y="49"/>
              </a:cxn>
              <a:cxn ang="0">
                <a:pos x="69" y="44"/>
              </a:cxn>
              <a:cxn ang="0">
                <a:pos x="88" y="24"/>
              </a:cxn>
              <a:cxn ang="0">
                <a:pos x="99" y="17"/>
              </a:cxn>
              <a:cxn ang="0">
                <a:pos x="133" y="8"/>
              </a:cxn>
              <a:cxn ang="0">
                <a:pos x="109" y="6"/>
              </a:cxn>
              <a:cxn ang="0">
                <a:pos x="121" y="4"/>
              </a:cxn>
              <a:cxn ang="0">
                <a:pos x="121" y="4"/>
              </a:cxn>
            </a:cxnLst>
            <a:rect l="0" t="0" r="r" b="b"/>
            <a:pathLst>
              <a:path w="162" h="194">
                <a:moveTo>
                  <a:pt x="7" y="149"/>
                </a:moveTo>
                <a:lnTo>
                  <a:pt x="9" y="149"/>
                </a:lnTo>
                <a:lnTo>
                  <a:pt x="11" y="151"/>
                </a:lnTo>
                <a:lnTo>
                  <a:pt x="16" y="152"/>
                </a:lnTo>
                <a:lnTo>
                  <a:pt x="17" y="153"/>
                </a:lnTo>
                <a:lnTo>
                  <a:pt x="19" y="153"/>
                </a:lnTo>
                <a:lnTo>
                  <a:pt x="20" y="154"/>
                </a:lnTo>
                <a:lnTo>
                  <a:pt x="22" y="154"/>
                </a:lnTo>
                <a:lnTo>
                  <a:pt x="25" y="152"/>
                </a:lnTo>
                <a:lnTo>
                  <a:pt x="26" y="152"/>
                </a:lnTo>
                <a:lnTo>
                  <a:pt x="26" y="149"/>
                </a:lnTo>
                <a:lnTo>
                  <a:pt x="29" y="149"/>
                </a:lnTo>
                <a:lnTo>
                  <a:pt x="30" y="151"/>
                </a:lnTo>
                <a:lnTo>
                  <a:pt x="30" y="152"/>
                </a:lnTo>
                <a:lnTo>
                  <a:pt x="32" y="152"/>
                </a:lnTo>
                <a:lnTo>
                  <a:pt x="32" y="153"/>
                </a:lnTo>
                <a:lnTo>
                  <a:pt x="35" y="153"/>
                </a:lnTo>
                <a:lnTo>
                  <a:pt x="35" y="152"/>
                </a:lnTo>
                <a:lnTo>
                  <a:pt x="37" y="152"/>
                </a:lnTo>
                <a:lnTo>
                  <a:pt x="37" y="154"/>
                </a:lnTo>
                <a:lnTo>
                  <a:pt x="36" y="154"/>
                </a:lnTo>
                <a:lnTo>
                  <a:pt x="35" y="156"/>
                </a:lnTo>
                <a:lnTo>
                  <a:pt x="32" y="159"/>
                </a:lnTo>
                <a:lnTo>
                  <a:pt x="25" y="162"/>
                </a:lnTo>
                <a:lnTo>
                  <a:pt x="24" y="162"/>
                </a:lnTo>
                <a:lnTo>
                  <a:pt x="19" y="164"/>
                </a:lnTo>
                <a:lnTo>
                  <a:pt x="19" y="162"/>
                </a:lnTo>
                <a:lnTo>
                  <a:pt x="18" y="162"/>
                </a:lnTo>
                <a:lnTo>
                  <a:pt x="18" y="160"/>
                </a:lnTo>
                <a:lnTo>
                  <a:pt x="17" y="159"/>
                </a:lnTo>
                <a:lnTo>
                  <a:pt x="12" y="158"/>
                </a:lnTo>
                <a:lnTo>
                  <a:pt x="7" y="158"/>
                </a:lnTo>
                <a:lnTo>
                  <a:pt x="6" y="159"/>
                </a:lnTo>
                <a:lnTo>
                  <a:pt x="7" y="160"/>
                </a:lnTo>
                <a:lnTo>
                  <a:pt x="6" y="161"/>
                </a:lnTo>
                <a:lnTo>
                  <a:pt x="4" y="161"/>
                </a:lnTo>
                <a:lnTo>
                  <a:pt x="0" y="158"/>
                </a:lnTo>
                <a:lnTo>
                  <a:pt x="0" y="152"/>
                </a:lnTo>
                <a:lnTo>
                  <a:pt x="7" y="149"/>
                </a:lnTo>
                <a:close/>
                <a:moveTo>
                  <a:pt x="60" y="148"/>
                </a:moveTo>
                <a:lnTo>
                  <a:pt x="61" y="148"/>
                </a:lnTo>
                <a:lnTo>
                  <a:pt x="62" y="149"/>
                </a:lnTo>
                <a:lnTo>
                  <a:pt x="60" y="149"/>
                </a:lnTo>
                <a:lnTo>
                  <a:pt x="60" y="148"/>
                </a:lnTo>
                <a:close/>
                <a:moveTo>
                  <a:pt x="63" y="26"/>
                </a:moveTo>
                <a:lnTo>
                  <a:pt x="65" y="26"/>
                </a:lnTo>
                <a:lnTo>
                  <a:pt x="66" y="27"/>
                </a:lnTo>
                <a:lnTo>
                  <a:pt x="65" y="29"/>
                </a:lnTo>
                <a:lnTo>
                  <a:pt x="66" y="29"/>
                </a:lnTo>
                <a:lnTo>
                  <a:pt x="66" y="35"/>
                </a:lnTo>
                <a:lnTo>
                  <a:pt x="60" y="41"/>
                </a:lnTo>
                <a:lnTo>
                  <a:pt x="57" y="38"/>
                </a:lnTo>
                <a:lnTo>
                  <a:pt x="57" y="36"/>
                </a:lnTo>
                <a:lnTo>
                  <a:pt x="59" y="33"/>
                </a:lnTo>
                <a:lnTo>
                  <a:pt x="60" y="32"/>
                </a:lnTo>
                <a:lnTo>
                  <a:pt x="62" y="31"/>
                </a:lnTo>
                <a:lnTo>
                  <a:pt x="62" y="29"/>
                </a:lnTo>
                <a:lnTo>
                  <a:pt x="63" y="26"/>
                </a:lnTo>
                <a:close/>
                <a:moveTo>
                  <a:pt x="72" y="18"/>
                </a:moveTo>
                <a:lnTo>
                  <a:pt x="73" y="18"/>
                </a:lnTo>
                <a:lnTo>
                  <a:pt x="73" y="19"/>
                </a:lnTo>
                <a:lnTo>
                  <a:pt x="72" y="19"/>
                </a:lnTo>
                <a:lnTo>
                  <a:pt x="66" y="25"/>
                </a:lnTo>
                <a:lnTo>
                  <a:pt x="65" y="24"/>
                </a:lnTo>
                <a:lnTo>
                  <a:pt x="69" y="19"/>
                </a:lnTo>
                <a:lnTo>
                  <a:pt x="72" y="18"/>
                </a:lnTo>
                <a:close/>
                <a:moveTo>
                  <a:pt x="94" y="8"/>
                </a:moveTo>
                <a:lnTo>
                  <a:pt x="93" y="10"/>
                </a:lnTo>
                <a:lnTo>
                  <a:pt x="90" y="10"/>
                </a:lnTo>
                <a:lnTo>
                  <a:pt x="90" y="11"/>
                </a:lnTo>
                <a:lnTo>
                  <a:pt x="88" y="11"/>
                </a:lnTo>
                <a:lnTo>
                  <a:pt x="86" y="12"/>
                </a:lnTo>
                <a:lnTo>
                  <a:pt x="85" y="12"/>
                </a:lnTo>
                <a:lnTo>
                  <a:pt x="79" y="16"/>
                </a:lnTo>
                <a:lnTo>
                  <a:pt x="78" y="16"/>
                </a:lnTo>
                <a:lnTo>
                  <a:pt x="76" y="14"/>
                </a:lnTo>
                <a:lnTo>
                  <a:pt x="78" y="13"/>
                </a:lnTo>
                <a:lnTo>
                  <a:pt x="80" y="12"/>
                </a:lnTo>
                <a:lnTo>
                  <a:pt x="80" y="11"/>
                </a:lnTo>
                <a:lnTo>
                  <a:pt x="81" y="11"/>
                </a:lnTo>
                <a:lnTo>
                  <a:pt x="87" y="10"/>
                </a:lnTo>
                <a:lnTo>
                  <a:pt x="88" y="10"/>
                </a:lnTo>
                <a:lnTo>
                  <a:pt x="94" y="8"/>
                </a:lnTo>
                <a:close/>
                <a:moveTo>
                  <a:pt x="143" y="7"/>
                </a:moveTo>
                <a:lnTo>
                  <a:pt x="147" y="8"/>
                </a:lnTo>
                <a:lnTo>
                  <a:pt x="148" y="8"/>
                </a:lnTo>
                <a:lnTo>
                  <a:pt x="149" y="10"/>
                </a:lnTo>
                <a:lnTo>
                  <a:pt x="150" y="16"/>
                </a:lnTo>
                <a:lnTo>
                  <a:pt x="152" y="16"/>
                </a:lnTo>
                <a:lnTo>
                  <a:pt x="152" y="17"/>
                </a:lnTo>
                <a:lnTo>
                  <a:pt x="154" y="17"/>
                </a:lnTo>
                <a:lnTo>
                  <a:pt x="155" y="18"/>
                </a:lnTo>
                <a:lnTo>
                  <a:pt x="156" y="18"/>
                </a:lnTo>
                <a:lnTo>
                  <a:pt x="156" y="19"/>
                </a:lnTo>
                <a:lnTo>
                  <a:pt x="158" y="18"/>
                </a:lnTo>
                <a:lnTo>
                  <a:pt x="158" y="22"/>
                </a:lnTo>
                <a:lnTo>
                  <a:pt x="159" y="22"/>
                </a:lnTo>
                <a:lnTo>
                  <a:pt x="162" y="23"/>
                </a:lnTo>
                <a:lnTo>
                  <a:pt x="162" y="27"/>
                </a:lnTo>
                <a:lnTo>
                  <a:pt x="161" y="30"/>
                </a:lnTo>
                <a:lnTo>
                  <a:pt x="161" y="31"/>
                </a:lnTo>
                <a:lnTo>
                  <a:pt x="162" y="31"/>
                </a:lnTo>
                <a:lnTo>
                  <a:pt x="162" y="42"/>
                </a:lnTo>
                <a:lnTo>
                  <a:pt x="161" y="44"/>
                </a:lnTo>
                <a:lnTo>
                  <a:pt x="158" y="50"/>
                </a:lnTo>
                <a:lnTo>
                  <a:pt x="158" y="51"/>
                </a:lnTo>
                <a:lnTo>
                  <a:pt x="156" y="53"/>
                </a:lnTo>
                <a:lnTo>
                  <a:pt x="156" y="65"/>
                </a:lnTo>
                <a:lnTo>
                  <a:pt x="155" y="66"/>
                </a:lnTo>
                <a:lnTo>
                  <a:pt x="150" y="66"/>
                </a:lnTo>
                <a:lnTo>
                  <a:pt x="148" y="65"/>
                </a:lnTo>
                <a:lnTo>
                  <a:pt x="144" y="65"/>
                </a:lnTo>
                <a:lnTo>
                  <a:pt x="143" y="66"/>
                </a:lnTo>
                <a:lnTo>
                  <a:pt x="142" y="66"/>
                </a:lnTo>
                <a:lnTo>
                  <a:pt x="142" y="69"/>
                </a:lnTo>
                <a:lnTo>
                  <a:pt x="143" y="70"/>
                </a:lnTo>
                <a:lnTo>
                  <a:pt x="141" y="72"/>
                </a:lnTo>
                <a:lnTo>
                  <a:pt x="141" y="76"/>
                </a:lnTo>
                <a:lnTo>
                  <a:pt x="142" y="78"/>
                </a:lnTo>
                <a:lnTo>
                  <a:pt x="143" y="78"/>
                </a:lnTo>
                <a:lnTo>
                  <a:pt x="147" y="79"/>
                </a:lnTo>
                <a:lnTo>
                  <a:pt x="153" y="79"/>
                </a:lnTo>
                <a:lnTo>
                  <a:pt x="153" y="78"/>
                </a:lnTo>
                <a:lnTo>
                  <a:pt x="155" y="82"/>
                </a:lnTo>
                <a:lnTo>
                  <a:pt x="156" y="84"/>
                </a:lnTo>
                <a:lnTo>
                  <a:pt x="156" y="86"/>
                </a:lnTo>
                <a:lnTo>
                  <a:pt x="155" y="88"/>
                </a:lnTo>
                <a:lnTo>
                  <a:pt x="155" y="93"/>
                </a:lnTo>
                <a:lnTo>
                  <a:pt x="154" y="94"/>
                </a:lnTo>
                <a:lnTo>
                  <a:pt x="153" y="94"/>
                </a:lnTo>
                <a:lnTo>
                  <a:pt x="152" y="97"/>
                </a:lnTo>
                <a:lnTo>
                  <a:pt x="149" y="98"/>
                </a:lnTo>
                <a:lnTo>
                  <a:pt x="148" y="99"/>
                </a:lnTo>
                <a:lnTo>
                  <a:pt x="148" y="100"/>
                </a:lnTo>
                <a:lnTo>
                  <a:pt x="147" y="102"/>
                </a:lnTo>
                <a:lnTo>
                  <a:pt x="143" y="102"/>
                </a:lnTo>
                <a:lnTo>
                  <a:pt x="143" y="103"/>
                </a:lnTo>
                <a:lnTo>
                  <a:pt x="142" y="104"/>
                </a:lnTo>
                <a:lnTo>
                  <a:pt x="142" y="105"/>
                </a:lnTo>
                <a:lnTo>
                  <a:pt x="141" y="105"/>
                </a:lnTo>
                <a:lnTo>
                  <a:pt x="141" y="108"/>
                </a:lnTo>
                <a:lnTo>
                  <a:pt x="142" y="108"/>
                </a:lnTo>
                <a:lnTo>
                  <a:pt x="144" y="109"/>
                </a:lnTo>
                <a:lnTo>
                  <a:pt x="146" y="110"/>
                </a:lnTo>
                <a:lnTo>
                  <a:pt x="146" y="111"/>
                </a:lnTo>
                <a:lnTo>
                  <a:pt x="147" y="111"/>
                </a:lnTo>
                <a:lnTo>
                  <a:pt x="147" y="112"/>
                </a:lnTo>
                <a:lnTo>
                  <a:pt x="146" y="112"/>
                </a:lnTo>
                <a:lnTo>
                  <a:pt x="144" y="115"/>
                </a:lnTo>
                <a:lnTo>
                  <a:pt x="143" y="116"/>
                </a:lnTo>
                <a:lnTo>
                  <a:pt x="138" y="116"/>
                </a:lnTo>
                <a:lnTo>
                  <a:pt x="135" y="117"/>
                </a:lnTo>
                <a:lnTo>
                  <a:pt x="133" y="119"/>
                </a:lnTo>
                <a:lnTo>
                  <a:pt x="131" y="119"/>
                </a:lnTo>
                <a:lnTo>
                  <a:pt x="128" y="118"/>
                </a:lnTo>
                <a:lnTo>
                  <a:pt x="129" y="121"/>
                </a:lnTo>
                <a:lnTo>
                  <a:pt x="128" y="121"/>
                </a:lnTo>
                <a:lnTo>
                  <a:pt x="127" y="122"/>
                </a:lnTo>
                <a:lnTo>
                  <a:pt x="127" y="121"/>
                </a:lnTo>
                <a:lnTo>
                  <a:pt x="125" y="119"/>
                </a:lnTo>
                <a:lnTo>
                  <a:pt x="124" y="119"/>
                </a:lnTo>
                <a:lnTo>
                  <a:pt x="123" y="118"/>
                </a:lnTo>
                <a:lnTo>
                  <a:pt x="121" y="118"/>
                </a:lnTo>
                <a:lnTo>
                  <a:pt x="118" y="117"/>
                </a:lnTo>
                <a:lnTo>
                  <a:pt x="117" y="116"/>
                </a:lnTo>
                <a:lnTo>
                  <a:pt x="116" y="117"/>
                </a:lnTo>
                <a:lnTo>
                  <a:pt x="117" y="117"/>
                </a:lnTo>
                <a:lnTo>
                  <a:pt x="118" y="119"/>
                </a:lnTo>
                <a:lnTo>
                  <a:pt x="113" y="119"/>
                </a:lnTo>
                <a:lnTo>
                  <a:pt x="112" y="121"/>
                </a:lnTo>
                <a:lnTo>
                  <a:pt x="110" y="121"/>
                </a:lnTo>
                <a:lnTo>
                  <a:pt x="109" y="122"/>
                </a:lnTo>
                <a:lnTo>
                  <a:pt x="111" y="124"/>
                </a:lnTo>
                <a:lnTo>
                  <a:pt x="111" y="125"/>
                </a:lnTo>
                <a:lnTo>
                  <a:pt x="110" y="127"/>
                </a:lnTo>
                <a:lnTo>
                  <a:pt x="110" y="128"/>
                </a:lnTo>
                <a:lnTo>
                  <a:pt x="111" y="128"/>
                </a:lnTo>
                <a:lnTo>
                  <a:pt x="112" y="129"/>
                </a:lnTo>
                <a:lnTo>
                  <a:pt x="113" y="129"/>
                </a:lnTo>
                <a:lnTo>
                  <a:pt x="112" y="131"/>
                </a:lnTo>
                <a:lnTo>
                  <a:pt x="113" y="133"/>
                </a:lnTo>
                <a:lnTo>
                  <a:pt x="116" y="134"/>
                </a:lnTo>
                <a:lnTo>
                  <a:pt x="116" y="136"/>
                </a:lnTo>
                <a:lnTo>
                  <a:pt x="118" y="141"/>
                </a:lnTo>
                <a:lnTo>
                  <a:pt x="121" y="142"/>
                </a:lnTo>
                <a:lnTo>
                  <a:pt x="121" y="154"/>
                </a:lnTo>
                <a:lnTo>
                  <a:pt x="119" y="154"/>
                </a:lnTo>
                <a:lnTo>
                  <a:pt x="118" y="155"/>
                </a:lnTo>
                <a:lnTo>
                  <a:pt x="116" y="159"/>
                </a:lnTo>
                <a:lnTo>
                  <a:pt x="116" y="160"/>
                </a:lnTo>
                <a:lnTo>
                  <a:pt x="115" y="161"/>
                </a:lnTo>
                <a:lnTo>
                  <a:pt x="115" y="165"/>
                </a:lnTo>
                <a:lnTo>
                  <a:pt x="116" y="166"/>
                </a:lnTo>
                <a:lnTo>
                  <a:pt x="118" y="165"/>
                </a:lnTo>
                <a:lnTo>
                  <a:pt x="117" y="166"/>
                </a:lnTo>
                <a:lnTo>
                  <a:pt x="118" y="167"/>
                </a:lnTo>
                <a:lnTo>
                  <a:pt x="116" y="168"/>
                </a:lnTo>
                <a:lnTo>
                  <a:pt x="111" y="172"/>
                </a:lnTo>
                <a:lnTo>
                  <a:pt x="110" y="174"/>
                </a:lnTo>
                <a:lnTo>
                  <a:pt x="109" y="174"/>
                </a:lnTo>
                <a:lnTo>
                  <a:pt x="107" y="173"/>
                </a:lnTo>
                <a:lnTo>
                  <a:pt x="106" y="174"/>
                </a:lnTo>
                <a:lnTo>
                  <a:pt x="106" y="179"/>
                </a:lnTo>
                <a:lnTo>
                  <a:pt x="107" y="179"/>
                </a:lnTo>
                <a:lnTo>
                  <a:pt x="109" y="178"/>
                </a:lnTo>
                <a:lnTo>
                  <a:pt x="110" y="178"/>
                </a:lnTo>
                <a:lnTo>
                  <a:pt x="111" y="179"/>
                </a:lnTo>
                <a:lnTo>
                  <a:pt x="112" y="179"/>
                </a:lnTo>
                <a:lnTo>
                  <a:pt x="112" y="182"/>
                </a:lnTo>
                <a:lnTo>
                  <a:pt x="113" y="183"/>
                </a:lnTo>
                <a:lnTo>
                  <a:pt x="115" y="183"/>
                </a:lnTo>
                <a:lnTo>
                  <a:pt x="115" y="186"/>
                </a:lnTo>
                <a:lnTo>
                  <a:pt x="113" y="188"/>
                </a:lnTo>
                <a:lnTo>
                  <a:pt x="112" y="188"/>
                </a:lnTo>
                <a:lnTo>
                  <a:pt x="112" y="190"/>
                </a:lnTo>
                <a:lnTo>
                  <a:pt x="111" y="191"/>
                </a:lnTo>
                <a:lnTo>
                  <a:pt x="111" y="192"/>
                </a:lnTo>
                <a:lnTo>
                  <a:pt x="112" y="192"/>
                </a:lnTo>
                <a:lnTo>
                  <a:pt x="112" y="194"/>
                </a:lnTo>
                <a:lnTo>
                  <a:pt x="103" y="194"/>
                </a:lnTo>
                <a:lnTo>
                  <a:pt x="102" y="192"/>
                </a:lnTo>
                <a:lnTo>
                  <a:pt x="100" y="194"/>
                </a:lnTo>
                <a:lnTo>
                  <a:pt x="99" y="194"/>
                </a:lnTo>
                <a:lnTo>
                  <a:pt x="99" y="190"/>
                </a:lnTo>
                <a:lnTo>
                  <a:pt x="98" y="190"/>
                </a:lnTo>
                <a:lnTo>
                  <a:pt x="97" y="189"/>
                </a:lnTo>
                <a:lnTo>
                  <a:pt x="96" y="186"/>
                </a:lnTo>
                <a:lnTo>
                  <a:pt x="99" y="183"/>
                </a:lnTo>
                <a:lnTo>
                  <a:pt x="100" y="183"/>
                </a:lnTo>
                <a:lnTo>
                  <a:pt x="100" y="182"/>
                </a:lnTo>
                <a:lnTo>
                  <a:pt x="103" y="179"/>
                </a:lnTo>
                <a:lnTo>
                  <a:pt x="100" y="179"/>
                </a:lnTo>
                <a:lnTo>
                  <a:pt x="102" y="177"/>
                </a:lnTo>
                <a:lnTo>
                  <a:pt x="103" y="176"/>
                </a:lnTo>
                <a:lnTo>
                  <a:pt x="103" y="173"/>
                </a:lnTo>
                <a:lnTo>
                  <a:pt x="104" y="173"/>
                </a:lnTo>
                <a:lnTo>
                  <a:pt x="104" y="171"/>
                </a:lnTo>
                <a:lnTo>
                  <a:pt x="105" y="171"/>
                </a:lnTo>
                <a:lnTo>
                  <a:pt x="105" y="166"/>
                </a:lnTo>
                <a:lnTo>
                  <a:pt x="103" y="166"/>
                </a:lnTo>
                <a:lnTo>
                  <a:pt x="102" y="165"/>
                </a:lnTo>
                <a:lnTo>
                  <a:pt x="97" y="165"/>
                </a:lnTo>
                <a:lnTo>
                  <a:pt x="97" y="164"/>
                </a:lnTo>
                <a:lnTo>
                  <a:pt x="94" y="162"/>
                </a:lnTo>
                <a:lnTo>
                  <a:pt x="93" y="162"/>
                </a:lnTo>
                <a:lnTo>
                  <a:pt x="93" y="160"/>
                </a:lnTo>
                <a:lnTo>
                  <a:pt x="92" y="159"/>
                </a:lnTo>
                <a:lnTo>
                  <a:pt x="92" y="158"/>
                </a:lnTo>
                <a:lnTo>
                  <a:pt x="88" y="158"/>
                </a:lnTo>
                <a:lnTo>
                  <a:pt x="86" y="160"/>
                </a:lnTo>
                <a:lnTo>
                  <a:pt x="81" y="159"/>
                </a:lnTo>
                <a:lnTo>
                  <a:pt x="80" y="160"/>
                </a:lnTo>
                <a:lnTo>
                  <a:pt x="79" y="159"/>
                </a:lnTo>
                <a:lnTo>
                  <a:pt x="79" y="156"/>
                </a:lnTo>
                <a:lnTo>
                  <a:pt x="75" y="156"/>
                </a:lnTo>
                <a:lnTo>
                  <a:pt x="75" y="155"/>
                </a:lnTo>
                <a:lnTo>
                  <a:pt x="74" y="154"/>
                </a:lnTo>
                <a:lnTo>
                  <a:pt x="74" y="153"/>
                </a:lnTo>
                <a:lnTo>
                  <a:pt x="73" y="152"/>
                </a:lnTo>
                <a:lnTo>
                  <a:pt x="73" y="146"/>
                </a:lnTo>
                <a:lnTo>
                  <a:pt x="72" y="145"/>
                </a:lnTo>
                <a:lnTo>
                  <a:pt x="71" y="145"/>
                </a:lnTo>
                <a:lnTo>
                  <a:pt x="71" y="146"/>
                </a:lnTo>
                <a:lnTo>
                  <a:pt x="69" y="147"/>
                </a:lnTo>
                <a:lnTo>
                  <a:pt x="69" y="148"/>
                </a:lnTo>
                <a:lnTo>
                  <a:pt x="67" y="151"/>
                </a:lnTo>
                <a:lnTo>
                  <a:pt x="66" y="151"/>
                </a:lnTo>
                <a:lnTo>
                  <a:pt x="65" y="149"/>
                </a:lnTo>
                <a:lnTo>
                  <a:pt x="62" y="149"/>
                </a:lnTo>
                <a:lnTo>
                  <a:pt x="62" y="145"/>
                </a:lnTo>
                <a:lnTo>
                  <a:pt x="61" y="143"/>
                </a:lnTo>
                <a:lnTo>
                  <a:pt x="60" y="143"/>
                </a:lnTo>
                <a:lnTo>
                  <a:pt x="55" y="148"/>
                </a:lnTo>
                <a:lnTo>
                  <a:pt x="54" y="148"/>
                </a:lnTo>
                <a:lnTo>
                  <a:pt x="54" y="149"/>
                </a:lnTo>
                <a:lnTo>
                  <a:pt x="53" y="148"/>
                </a:lnTo>
                <a:lnTo>
                  <a:pt x="50" y="148"/>
                </a:lnTo>
                <a:lnTo>
                  <a:pt x="50" y="145"/>
                </a:lnTo>
                <a:lnTo>
                  <a:pt x="48" y="145"/>
                </a:lnTo>
                <a:lnTo>
                  <a:pt x="43" y="147"/>
                </a:lnTo>
                <a:lnTo>
                  <a:pt x="44" y="148"/>
                </a:lnTo>
                <a:lnTo>
                  <a:pt x="44" y="149"/>
                </a:lnTo>
                <a:lnTo>
                  <a:pt x="46" y="151"/>
                </a:lnTo>
                <a:lnTo>
                  <a:pt x="46" y="153"/>
                </a:lnTo>
                <a:lnTo>
                  <a:pt x="42" y="153"/>
                </a:lnTo>
                <a:lnTo>
                  <a:pt x="40" y="152"/>
                </a:lnTo>
                <a:lnTo>
                  <a:pt x="38" y="152"/>
                </a:lnTo>
                <a:lnTo>
                  <a:pt x="38" y="149"/>
                </a:lnTo>
                <a:lnTo>
                  <a:pt x="37" y="148"/>
                </a:lnTo>
                <a:lnTo>
                  <a:pt x="37" y="149"/>
                </a:lnTo>
                <a:lnTo>
                  <a:pt x="31" y="149"/>
                </a:lnTo>
                <a:lnTo>
                  <a:pt x="31" y="148"/>
                </a:lnTo>
                <a:lnTo>
                  <a:pt x="29" y="147"/>
                </a:lnTo>
                <a:lnTo>
                  <a:pt x="28" y="147"/>
                </a:lnTo>
                <a:lnTo>
                  <a:pt x="26" y="146"/>
                </a:lnTo>
                <a:lnTo>
                  <a:pt x="25" y="147"/>
                </a:lnTo>
                <a:lnTo>
                  <a:pt x="24" y="149"/>
                </a:lnTo>
                <a:lnTo>
                  <a:pt x="23" y="151"/>
                </a:lnTo>
                <a:lnTo>
                  <a:pt x="20" y="151"/>
                </a:lnTo>
                <a:lnTo>
                  <a:pt x="19" y="149"/>
                </a:lnTo>
                <a:lnTo>
                  <a:pt x="16" y="148"/>
                </a:lnTo>
                <a:lnTo>
                  <a:pt x="15" y="146"/>
                </a:lnTo>
                <a:lnTo>
                  <a:pt x="12" y="147"/>
                </a:lnTo>
                <a:lnTo>
                  <a:pt x="9" y="147"/>
                </a:lnTo>
                <a:lnTo>
                  <a:pt x="9" y="146"/>
                </a:lnTo>
                <a:lnTo>
                  <a:pt x="7" y="145"/>
                </a:lnTo>
                <a:lnTo>
                  <a:pt x="7" y="143"/>
                </a:lnTo>
                <a:lnTo>
                  <a:pt x="6" y="143"/>
                </a:lnTo>
                <a:lnTo>
                  <a:pt x="5" y="142"/>
                </a:lnTo>
                <a:lnTo>
                  <a:pt x="5" y="141"/>
                </a:lnTo>
                <a:lnTo>
                  <a:pt x="4" y="140"/>
                </a:lnTo>
                <a:lnTo>
                  <a:pt x="5" y="140"/>
                </a:lnTo>
                <a:lnTo>
                  <a:pt x="9" y="136"/>
                </a:lnTo>
                <a:lnTo>
                  <a:pt x="20" y="135"/>
                </a:lnTo>
                <a:lnTo>
                  <a:pt x="22" y="136"/>
                </a:lnTo>
                <a:lnTo>
                  <a:pt x="23" y="136"/>
                </a:lnTo>
                <a:lnTo>
                  <a:pt x="23" y="137"/>
                </a:lnTo>
                <a:lnTo>
                  <a:pt x="24" y="139"/>
                </a:lnTo>
                <a:lnTo>
                  <a:pt x="23" y="139"/>
                </a:lnTo>
                <a:lnTo>
                  <a:pt x="23" y="140"/>
                </a:lnTo>
                <a:lnTo>
                  <a:pt x="26" y="140"/>
                </a:lnTo>
                <a:lnTo>
                  <a:pt x="29" y="141"/>
                </a:lnTo>
                <a:lnTo>
                  <a:pt x="31" y="143"/>
                </a:lnTo>
                <a:lnTo>
                  <a:pt x="31" y="146"/>
                </a:lnTo>
                <a:lnTo>
                  <a:pt x="32" y="147"/>
                </a:lnTo>
                <a:lnTo>
                  <a:pt x="40" y="147"/>
                </a:lnTo>
                <a:lnTo>
                  <a:pt x="41" y="146"/>
                </a:lnTo>
                <a:lnTo>
                  <a:pt x="40" y="143"/>
                </a:lnTo>
                <a:lnTo>
                  <a:pt x="40" y="142"/>
                </a:lnTo>
                <a:lnTo>
                  <a:pt x="36" y="142"/>
                </a:lnTo>
                <a:lnTo>
                  <a:pt x="34" y="141"/>
                </a:lnTo>
                <a:lnTo>
                  <a:pt x="31" y="141"/>
                </a:lnTo>
                <a:lnTo>
                  <a:pt x="28" y="137"/>
                </a:lnTo>
                <a:lnTo>
                  <a:pt x="30" y="136"/>
                </a:lnTo>
                <a:lnTo>
                  <a:pt x="36" y="136"/>
                </a:lnTo>
                <a:lnTo>
                  <a:pt x="36" y="135"/>
                </a:lnTo>
                <a:lnTo>
                  <a:pt x="34" y="135"/>
                </a:lnTo>
                <a:lnTo>
                  <a:pt x="32" y="134"/>
                </a:lnTo>
                <a:lnTo>
                  <a:pt x="32" y="133"/>
                </a:lnTo>
                <a:lnTo>
                  <a:pt x="31" y="134"/>
                </a:lnTo>
                <a:lnTo>
                  <a:pt x="30" y="134"/>
                </a:lnTo>
                <a:lnTo>
                  <a:pt x="26" y="135"/>
                </a:lnTo>
                <a:lnTo>
                  <a:pt x="24" y="134"/>
                </a:lnTo>
                <a:lnTo>
                  <a:pt x="23" y="133"/>
                </a:lnTo>
                <a:lnTo>
                  <a:pt x="23" y="131"/>
                </a:lnTo>
                <a:lnTo>
                  <a:pt x="22" y="131"/>
                </a:lnTo>
                <a:lnTo>
                  <a:pt x="20" y="130"/>
                </a:lnTo>
                <a:lnTo>
                  <a:pt x="19" y="130"/>
                </a:lnTo>
                <a:lnTo>
                  <a:pt x="19" y="129"/>
                </a:lnTo>
                <a:lnTo>
                  <a:pt x="18" y="131"/>
                </a:lnTo>
                <a:lnTo>
                  <a:pt x="15" y="131"/>
                </a:lnTo>
                <a:lnTo>
                  <a:pt x="15" y="128"/>
                </a:lnTo>
                <a:lnTo>
                  <a:pt x="16" y="127"/>
                </a:lnTo>
                <a:lnTo>
                  <a:pt x="26" y="127"/>
                </a:lnTo>
                <a:lnTo>
                  <a:pt x="26" y="128"/>
                </a:lnTo>
                <a:lnTo>
                  <a:pt x="29" y="129"/>
                </a:lnTo>
                <a:lnTo>
                  <a:pt x="29" y="130"/>
                </a:lnTo>
                <a:lnTo>
                  <a:pt x="31" y="131"/>
                </a:lnTo>
                <a:lnTo>
                  <a:pt x="34" y="131"/>
                </a:lnTo>
                <a:lnTo>
                  <a:pt x="34" y="130"/>
                </a:lnTo>
                <a:lnTo>
                  <a:pt x="35" y="130"/>
                </a:lnTo>
                <a:lnTo>
                  <a:pt x="34" y="129"/>
                </a:lnTo>
                <a:lnTo>
                  <a:pt x="31" y="129"/>
                </a:lnTo>
                <a:lnTo>
                  <a:pt x="30" y="128"/>
                </a:lnTo>
                <a:lnTo>
                  <a:pt x="30" y="125"/>
                </a:lnTo>
                <a:lnTo>
                  <a:pt x="26" y="122"/>
                </a:lnTo>
                <a:lnTo>
                  <a:pt x="26" y="123"/>
                </a:lnTo>
                <a:lnTo>
                  <a:pt x="23" y="123"/>
                </a:lnTo>
                <a:lnTo>
                  <a:pt x="22" y="122"/>
                </a:lnTo>
                <a:lnTo>
                  <a:pt x="23" y="121"/>
                </a:lnTo>
                <a:lnTo>
                  <a:pt x="25" y="119"/>
                </a:lnTo>
                <a:lnTo>
                  <a:pt x="29" y="119"/>
                </a:lnTo>
                <a:lnTo>
                  <a:pt x="30" y="121"/>
                </a:lnTo>
                <a:lnTo>
                  <a:pt x="31" y="119"/>
                </a:lnTo>
                <a:lnTo>
                  <a:pt x="29" y="117"/>
                </a:lnTo>
                <a:lnTo>
                  <a:pt x="29" y="116"/>
                </a:lnTo>
                <a:lnTo>
                  <a:pt x="30" y="116"/>
                </a:lnTo>
                <a:lnTo>
                  <a:pt x="29" y="115"/>
                </a:lnTo>
                <a:lnTo>
                  <a:pt x="29" y="111"/>
                </a:lnTo>
                <a:lnTo>
                  <a:pt x="28" y="110"/>
                </a:lnTo>
                <a:lnTo>
                  <a:pt x="32" y="110"/>
                </a:lnTo>
                <a:lnTo>
                  <a:pt x="34" y="109"/>
                </a:lnTo>
                <a:lnTo>
                  <a:pt x="40" y="102"/>
                </a:lnTo>
                <a:lnTo>
                  <a:pt x="44" y="93"/>
                </a:lnTo>
                <a:lnTo>
                  <a:pt x="49" y="86"/>
                </a:lnTo>
                <a:lnTo>
                  <a:pt x="51" y="79"/>
                </a:lnTo>
                <a:lnTo>
                  <a:pt x="51" y="76"/>
                </a:lnTo>
                <a:lnTo>
                  <a:pt x="53" y="74"/>
                </a:lnTo>
                <a:lnTo>
                  <a:pt x="55" y="61"/>
                </a:lnTo>
                <a:lnTo>
                  <a:pt x="55" y="56"/>
                </a:lnTo>
                <a:lnTo>
                  <a:pt x="56" y="54"/>
                </a:lnTo>
                <a:lnTo>
                  <a:pt x="57" y="49"/>
                </a:lnTo>
                <a:lnTo>
                  <a:pt x="59" y="47"/>
                </a:lnTo>
                <a:lnTo>
                  <a:pt x="59" y="42"/>
                </a:lnTo>
                <a:lnTo>
                  <a:pt x="62" y="43"/>
                </a:lnTo>
                <a:lnTo>
                  <a:pt x="62" y="44"/>
                </a:lnTo>
                <a:lnTo>
                  <a:pt x="63" y="47"/>
                </a:lnTo>
                <a:lnTo>
                  <a:pt x="66" y="47"/>
                </a:lnTo>
                <a:lnTo>
                  <a:pt x="67" y="45"/>
                </a:lnTo>
                <a:lnTo>
                  <a:pt x="69" y="44"/>
                </a:lnTo>
                <a:lnTo>
                  <a:pt x="72" y="44"/>
                </a:lnTo>
                <a:lnTo>
                  <a:pt x="73" y="43"/>
                </a:lnTo>
                <a:lnTo>
                  <a:pt x="81" y="36"/>
                </a:lnTo>
                <a:lnTo>
                  <a:pt x="84" y="33"/>
                </a:lnTo>
                <a:lnTo>
                  <a:pt x="86" y="33"/>
                </a:lnTo>
                <a:lnTo>
                  <a:pt x="87" y="31"/>
                </a:lnTo>
                <a:lnTo>
                  <a:pt x="88" y="26"/>
                </a:lnTo>
                <a:lnTo>
                  <a:pt x="88" y="24"/>
                </a:lnTo>
                <a:lnTo>
                  <a:pt x="91" y="23"/>
                </a:lnTo>
                <a:lnTo>
                  <a:pt x="91" y="22"/>
                </a:lnTo>
                <a:lnTo>
                  <a:pt x="93" y="22"/>
                </a:lnTo>
                <a:lnTo>
                  <a:pt x="93" y="20"/>
                </a:lnTo>
                <a:lnTo>
                  <a:pt x="94" y="19"/>
                </a:lnTo>
                <a:lnTo>
                  <a:pt x="94" y="18"/>
                </a:lnTo>
                <a:lnTo>
                  <a:pt x="98" y="18"/>
                </a:lnTo>
                <a:lnTo>
                  <a:pt x="99" y="17"/>
                </a:lnTo>
                <a:lnTo>
                  <a:pt x="106" y="14"/>
                </a:lnTo>
                <a:lnTo>
                  <a:pt x="107" y="13"/>
                </a:lnTo>
                <a:lnTo>
                  <a:pt x="109" y="13"/>
                </a:lnTo>
                <a:lnTo>
                  <a:pt x="111" y="11"/>
                </a:lnTo>
                <a:lnTo>
                  <a:pt x="124" y="11"/>
                </a:lnTo>
                <a:lnTo>
                  <a:pt x="125" y="12"/>
                </a:lnTo>
                <a:lnTo>
                  <a:pt x="127" y="11"/>
                </a:lnTo>
                <a:lnTo>
                  <a:pt x="133" y="8"/>
                </a:lnTo>
                <a:lnTo>
                  <a:pt x="143" y="7"/>
                </a:lnTo>
                <a:close/>
                <a:moveTo>
                  <a:pt x="117" y="7"/>
                </a:moveTo>
                <a:lnTo>
                  <a:pt x="118" y="7"/>
                </a:lnTo>
                <a:lnTo>
                  <a:pt x="118" y="8"/>
                </a:lnTo>
                <a:lnTo>
                  <a:pt x="117" y="7"/>
                </a:lnTo>
                <a:close/>
                <a:moveTo>
                  <a:pt x="98" y="6"/>
                </a:moveTo>
                <a:lnTo>
                  <a:pt x="98" y="7"/>
                </a:lnTo>
                <a:lnTo>
                  <a:pt x="109" y="6"/>
                </a:lnTo>
                <a:lnTo>
                  <a:pt x="110" y="7"/>
                </a:lnTo>
                <a:lnTo>
                  <a:pt x="106" y="8"/>
                </a:lnTo>
                <a:lnTo>
                  <a:pt x="100" y="8"/>
                </a:lnTo>
                <a:lnTo>
                  <a:pt x="98" y="10"/>
                </a:lnTo>
                <a:lnTo>
                  <a:pt x="97" y="8"/>
                </a:lnTo>
                <a:lnTo>
                  <a:pt x="97" y="7"/>
                </a:lnTo>
                <a:lnTo>
                  <a:pt x="98" y="6"/>
                </a:lnTo>
                <a:close/>
                <a:moveTo>
                  <a:pt x="121" y="4"/>
                </a:moveTo>
                <a:lnTo>
                  <a:pt x="127" y="4"/>
                </a:lnTo>
                <a:lnTo>
                  <a:pt x="127" y="5"/>
                </a:lnTo>
                <a:lnTo>
                  <a:pt x="125" y="5"/>
                </a:lnTo>
                <a:lnTo>
                  <a:pt x="118" y="7"/>
                </a:lnTo>
                <a:lnTo>
                  <a:pt x="117" y="6"/>
                </a:lnTo>
                <a:lnTo>
                  <a:pt x="118" y="5"/>
                </a:lnTo>
                <a:lnTo>
                  <a:pt x="119" y="5"/>
                </a:lnTo>
                <a:lnTo>
                  <a:pt x="121" y="4"/>
                </a:lnTo>
                <a:close/>
                <a:moveTo>
                  <a:pt x="130" y="0"/>
                </a:moveTo>
                <a:lnTo>
                  <a:pt x="131" y="0"/>
                </a:lnTo>
                <a:lnTo>
                  <a:pt x="134" y="1"/>
                </a:lnTo>
                <a:lnTo>
                  <a:pt x="133" y="2"/>
                </a:lnTo>
                <a:lnTo>
                  <a:pt x="13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" name="Freeform 24">
            <a:extLst>
              <a:ext uri="{FF2B5EF4-FFF2-40B4-BE49-F238E27FC236}">
                <a16:creationId xmlns:a16="http://schemas.microsoft.com/office/drawing/2014/main" id="{13293DD8-9857-401B-B77B-4A32D0F575A7}"/>
              </a:ext>
            </a:extLst>
          </p:cNvPr>
          <p:cNvSpPr>
            <a:spLocks noEditPoints="1"/>
          </p:cNvSpPr>
          <p:nvPr/>
        </p:nvSpPr>
        <p:spPr bwMode="auto">
          <a:xfrm>
            <a:off x="2358971" y="5292831"/>
            <a:ext cx="117365" cy="140548"/>
          </a:xfrm>
          <a:custGeom>
            <a:avLst/>
            <a:gdLst/>
            <a:ahLst/>
            <a:cxnLst>
              <a:cxn ang="0">
                <a:pos x="3" y="66"/>
              </a:cxn>
              <a:cxn ang="0">
                <a:pos x="22" y="0"/>
              </a:cxn>
              <a:cxn ang="0">
                <a:pos x="26" y="3"/>
              </a:cxn>
              <a:cxn ang="0">
                <a:pos x="28" y="0"/>
              </a:cxn>
              <a:cxn ang="0">
                <a:pos x="31" y="4"/>
              </a:cxn>
              <a:cxn ang="0">
                <a:pos x="39" y="10"/>
              </a:cxn>
              <a:cxn ang="0">
                <a:pos x="45" y="17"/>
              </a:cxn>
              <a:cxn ang="0">
                <a:pos x="49" y="21"/>
              </a:cxn>
              <a:cxn ang="0">
                <a:pos x="52" y="23"/>
              </a:cxn>
              <a:cxn ang="0">
                <a:pos x="56" y="25"/>
              </a:cxn>
              <a:cxn ang="0">
                <a:pos x="60" y="27"/>
              </a:cxn>
              <a:cxn ang="0">
                <a:pos x="62" y="24"/>
              </a:cxn>
              <a:cxn ang="0">
                <a:pos x="64" y="27"/>
              </a:cxn>
              <a:cxn ang="0">
                <a:pos x="71" y="34"/>
              </a:cxn>
              <a:cxn ang="0">
                <a:pos x="80" y="37"/>
              </a:cxn>
              <a:cxn ang="0">
                <a:pos x="77" y="42"/>
              </a:cxn>
              <a:cxn ang="0">
                <a:pos x="74" y="47"/>
              </a:cxn>
              <a:cxn ang="0">
                <a:pos x="68" y="45"/>
              </a:cxn>
              <a:cxn ang="0">
                <a:pos x="66" y="47"/>
              </a:cxn>
              <a:cxn ang="0">
                <a:pos x="69" y="54"/>
              </a:cxn>
              <a:cxn ang="0">
                <a:pos x="66" y="58"/>
              </a:cxn>
              <a:cxn ang="0">
                <a:pos x="60" y="61"/>
              </a:cxn>
              <a:cxn ang="0">
                <a:pos x="57" y="61"/>
              </a:cxn>
              <a:cxn ang="0">
                <a:pos x="52" y="52"/>
              </a:cxn>
              <a:cxn ang="0">
                <a:pos x="47" y="59"/>
              </a:cxn>
              <a:cxn ang="0">
                <a:pos x="45" y="63"/>
              </a:cxn>
              <a:cxn ang="0">
                <a:pos x="44" y="65"/>
              </a:cxn>
              <a:cxn ang="0">
                <a:pos x="37" y="77"/>
              </a:cxn>
              <a:cxn ang="0">
                <a:pos x="37" y="80"/>
              </a:cxn>
              <a:cxn ang="0">
                <a:pos x="38" y="88"/>
              </a:cxn>
              <a:cxn ang="0">
                <a:pos x="38" y="91"/>
              </a:cxn>
              <a:cxn ang="0">
                <a:pos x="38" y="94"/>
              </a:cxn>
              <a:cxn ang="0">
                <a:pos x="37" y="95"/>
              </a:cxn>
              <a:cxn ang="0">
                <a:pos x="32" y="92"/>
              </a:cxn>
              <a:cxn ang="0">
                <a:pos x="29" y="90"/>
              </a:cxn>
              <a:cxn ang="0">
                <a:pos x="27" y="82"/>
              </a:cxn>
              <a:cxn ang="0">
                <a:pos x="24" y="80"/>
              </a:cxn>
              <a:cxn ang="0">
                <a:pos x="22" y="78"/>
              </a:cxn>
              <a:cxn ang="0">
                <a:pos x="19" y="72"/>
              </a:cxn>
              <a:cxn ang="0">
                <a:pos x="14" y="73"/>
              </a:cxn>
              <a:cxn ang="0">
                <a:pos x="12" y="70"/>
              </a:cxn>
              <a:cxn ang="0">
                <a:pos x="9" y="67"/>
              </a:cxn>
              <a:cxn ang="0">
                <a:pos x="7" y="67"/>
              </a:cxn>
              <a:cxn ang="0">
                <a:pos x="6" y="64"/>
              </a:cxn>
              <a:cxn ang="0">
                <a:pos x="10" y="66"/>
              </a:cxn>
              <a:cxn ang="0">
                <a:pos x="10" y="63"/>
              </a:cxn>
              <a:cxn ang="0">
                <a:pos x="7" y="64"/>
              </a:cxn>
              <a:cxn ang="0">
                <a:pos x="1" y="64"/>
              </a:cxn>
              <a:cxn ang="0">
                <a:pos x="0" y="57"/>
              </a:cxn>
              <a:cxn ang="0">
                <a:pos x="4" y="53"/>
              </a:cxn>
              <a:cxn ang="0">
                <a:pos x="1" y="45"/>
              </a:cxn>
              <a:cxn ang="0">
                <a:pos x="0" y="41"/>
              </a:cxn>
              <a:cxn ang="0">
                <a:pos x="0" y="36"/>
              </a:cxn>
              <a:cxn ang="0">
                <a:pos x="2" y="30"/>
              </a:cxn>
              <a:cxn ang="0">
                <a:pos x="10" y="18"/>
              </a:cxn>
              <a:cxn ang="0">
                <a:pos x="15" y="14"/>
              </a:cxn>
              <a:cxn ang="0">
                <a:pos x="20" y="11"/>
              </a:cxn>
              <a:cxn ang="0">
                <a:pos x="22" y="15"/>
              </a:cxn>
              <a:cxn ang="0">
                <a:pos x="25" y="15"/>
              </a:cxn>
              <a:cxn ang="0">
                <a:pos x="25" y="11"/>
              </a:cxn>
              <a:cxn ang="0">
                <a:pos x="22" y="5"/>
              </a:cxn>
              <a:cxn ang="0">
                <a:pos x="20" y="4"/>
              </a:cxn>
              <a:cxn ang="0">
                <a:pos x="22" y="0"/>
              </a:cxn>
            </a:cxnLst>
            <a:rect l="0" t="0" r="r" b="b"/>
            <a:pathLst>
              <a:path w="81" h="97">
                <a:moveTo>
                  <a:pt x="2" y="64"/>
                </a:moveTo>
                <a:lnTo>
                  <a:pt x="3" y="64"/>
                </a:lnTo>
                <a:lnTo>
                  <a:pt x="3" y="66"/>
                </a:lnTo>
                <a:lnTo>
                  <a:pt x="2" y="65"/>
                </a:lnTo>
                <a:lnTo>
                  <a:pt x="2" y="64"/>
                </a:lnTo>
                <a:close/>
                <a:moveTo>
                  <a:pt x="22" y="0"/>
                </a:moveTo>
                <a:lnTo>
                  <a:pt x="25" y="0"/>
                </a:lnTo>
                <a:lnTo>
                  <a:pt x="25" y="2"/>
                </a:lnTo>
                <a:lnTo>
                  <a:pt x="26" y="3"/>
                </a:lnTo>
                <a:lnTo>
                  <a:pt x="27" y="3"/>
                </a:lnTo>
                <a:lnTo>
                  <a:pt x="27" y="2"/>
                </a:lnTo>
                <a:lnTo>
                  <a:pt x="28" y="0"/>
                </a:lnTo>
                <a:lnTo>
                  <a:pt x="32" y="0"/>
                </a:lnTo>
                <a:lnTo>
                  <a:pt x="31" y="2"/>
                </a:lnTo>
                <a:lnTo>
                  <a:pt x="31" y="4"/>
                </a:lnTo>
                <a:lnTo>
                  <a:pt x="33" y="6"/>
                </a:lnTo>
                <a:lnTo>
                  <a:pt x="39" y="9"/>
                </a:lnTo>
                <a:lnTo>
                  <a:pt x="39" y="10"/>
                </a:lnTo>
                <a:lnTo>
                  <a:pt x="44" y="15"/>
                </a:lnTo>
                <a:lnTo>
                  <a:pt x="44" y="16"/>
                </a:lnTo>
                <a:lnTo>
                  <a:pt x="45" y="17"/>
                </a:lnTo>
                <a:lnTo>
                  <a:pt x="46" y="20"/>
                </a:lnTo>
                <a:lnTo>
                  <a:pt x="47" y="20"/>
                </a:lnTo>
                <a:lnTo>
                  <a:pt x="49" y="21"/>
                </a:lnTo>
                <a:lnTo>
                  <a:pt x="49" y="22"/>
                </a:lnTo>
                <a:lnTo>
                  <a:pt x="52" y="22"/>
                </a:lnTo>
                <a:lnTo>
                  <a:pt x="52" y="23"/>
                </a:lnTo>
                <a:lnTo>
                  <a:pt x="53" y="22"/>
                </a:lnTo>
                <a:lnTo>
                  <a:pt x="54" y="24"/>
                </a:lnTo>
                <a:lnTo>
                  <a:pt x="56" y="25"/>
                </a:lnTo>
                <a:lnTo>
                  <a:pt x="57" y="25"/>
                </a:lnTo>
                <a:lnTo>
                  <a:pt x="58" y="27"/>
                </a:lnTo>
                <a:lnTo>
                  <a:pt x="60" y="27"/>
                </a:lnTo>
                <a:lnTo>
                  <a:pt x="60" y="25"/>
                </a:lnTo>
                <a:lnTo>
                  <a:pt x="62" y="25"/>
                </a:lnTo>
                <a:lnTo>
                  <a:pt x="62" y="24"/>
                </a:lnTo>
                <a:lnTo>
                  <a:pt x="63" y="25"/>
                </a:lnTo>
                <a:lnTo>
                  <a:pt x="63" y="27"/>
                </a:lnTo>
                <a:lnTo>
                  <a:pt x="64" y="27"/>
                </a:lnTo>
                <a:lnTo>
                  <a:pt x="68" y="30"/>
                </a:lnTo>
                <a:lnTo>
                  <a:pt x="71" y="33"/>
                </a:lnTo>
                <a:lnTo>
                  <a:pt x="71" y="34"/>
                </a:lnTo>
                <a:lnTo>
                  <a:pt x="75" y="34"/>
                </a:lnTo>
                <a:lnTo>
                  <a:pt x="77" y="36"/>
                </a:lnTo>
                <a:lnTo>
                  <a:pt x="80" y="37"/>
                </a:lnTo>
                <a:lnTo>
                  <a:pt x="81" y="37"/>
                </a:lnTo>
                <a:lnTo>
                  <a:pt x="81" y="41"/>
                </a:lnTo>
                <a:lnTo>
                  <a:pt x="77" y="42"/>
                </a:lnTo>
                <a:lnTo>
                  <a:pt x="75" y="42"/>
                </a:lnTo>
                <a:lnTo>
                  <a:pt x="75" y="46"/>
                </a:lnTo>
                <a:lnTo>
                  <a:pt x="74" y="47"/>
                </a:lnTo>
                <a:lnTo>
                  <a:pt x="72" y="46"/>
                </a:lnTo>
                <a:lnTo>
                  <a:pt x="70" y="45"/>
                </a:lnTo>
                <a:lnTo>
                  <a:pt x="68" y="45"/>
                </a:lnTo>
                <a:lnTo>
                  <a:pt x="68" y="46"/>
                </a:lnTo>
                <a:lnTo>
                  <a:pt x="66" y="46"/>
                </a:lnTo>
                <a:lnTo>
                  <a:pt x="66" y="47"/>
                </a:lnTo>
                <a:lnTo>
                  <a:pt x="70" y="51"/>
                </a:lnTo>
                <a:lnTo>
                  <a:pt x="70" y="53"/>
                </a:lnTo>
                <a:lnTo>
                  <a:pt x="69" y="54"/>
                </a:lnTo>
                <a:lnTo>
                  <a:pt x="69" y="58"/>
                </a:lnTo>
                <a:lnTo>
                  <a:pt x="68" y="57"/>
                </a:lnTo>
                <a:lnTo>
                  <a:pt x="66" y="58"/>
                </a:lnTo>
                <a:lnTo>
                  <a:pt x="65" y="60"/>
                </a:lnTo>
                <a:lnTo>
                  <a:pt x="60" y="60"/>
                </a:lnTo>
                <a:lnTo>
                  <a:pt x="60" y="61"/>
                </a:lnTo>
                <a:lnTo>
                  <a:pt x="59" y="63"/>
                </a:lnTo>
                <a:lnTo>
                  <a:pt x="57" y="63"/>
                </a:lnTo>
                <a:lnTo>
                  <a:pt x="57" y="61"/>
                </a:lnTo>
                <a:lnTo>
                  <a:pt x="54" y="59"/>
                </a:lnTo>
                <a:lnTo>
                  <a:pt x="54" y="52"/>
                </a:lnTo>
                <a:lnTo>
                  <a:pt x="52" y="52"/>
                </a:lnTo>
                <a:lnTo>
                  <a:pt x="49" y="55"/>
                </a:lnTo>
                <a:lnTo>
                  <a:pt x="49" y="59"/>
                </a:lnTo>
                <a:lnTo>
                  <a:pt x="47" y="59"/>
                </a:lnTo>
                <a:lnTo>
                  <a:pt x="46" y="60"/>
                </a:lnTo>
                <a:lnTo>
                  <a:pt x="46" y="61"/>
                </a:lnTo>
                <a:lnTo>
                  <a:pt x="45" y="63"/>
                </a:lnTo>
                <a:lnTo>
                  <a:pt x="45" y="64"/>
                </a:lnTo>
                <a:lnTo>
                  <a:pt x="44" y="64"/>
                </a:lnTo>
                <a:lnTo>
                  <a:pt x="44" y="65"/>
                </a:lnTo>
                <a:lnTo>
                  <a:pt x="40" y="68"/>
                </a:lnTo>
                <a:lnTo>
                  <a:pt x="40" y="70"/>
                </a:lnTo>
                <a:lnTo>
                  <a:pt x="37" y="77"/>
                </a:lnTo>
                <a:lnTo>
                  <a:pt x="35" y="78"/>
                </a:lnTo>
                <a:lnTo>
                  <a:pt x="35" y="79"/>
                </a:lnTo>
                <a:lnTo>
                  <a:pt x="37" y="80"/>
                </a:lnTo>
                <a:lnTo>
                  <a:pt x="39" y="82"/>
                </a:lnTo>
                <a:lnTo>
                  <a:pt x="39" y="86"/>
                </a:lnTo>
                <a:lnTo>
                  <a:pt x="38" y="88"/>
                </a:lnTo>
                <a:lnTo>
                  <a:pt x="39" y="89"/>
                </a:lnTo>
                <a:lnTo>
                  <a:pt x="39" y="91"/>
                </a:lnTo>
                <a:lnTo>
                  <a:pt x="38" y="91"/>
                </a:lnTo>
                <a:lnTo>
                  <a:pt x="39" y="92"/>
                </a:lnTo>
                <a:lnTo>
                  <a:pt x="38" y="92"/>
                </a:lnTo>
                <a:lnTo>
                  <a:pt x="38" y="94"/>
                </a:lnTo>
                <a:lnTo>
                  <a:pt x="39" y="95"/>
                </a:lnTo>
                <a:lnTo>
                  <a:pt x="39" y="97"/>
                </a:lnTo>
                <a:lnTo>
                  <a:pt x="37" y="95"/>
                </a:lnTo>
                <a:lnTo>
                  <a:pt x="35" y="95"/>
                </a:lnTo>
                <a:lnTo>
                  <a:pt x="33" y="94"/>
                </a:lnTo>
                <a:lnTo>
                  <a:pt x="32" y="92"/>
                </a:lnTo>
                <a:lnTo>
                  <a:pt x="31" y="92"/>
                </a:lnTo>
                <a:lnTo>
                  <a:pt x="31" y="90"/>
                </a:lnTo>
                <a:lnTo>
                  <a:pt x="29" y="90"/>
                </a:lnTo>
                <a:lnTo>
                  <a:pt x="29" y="86"/>
                </a:lnTo>
                <a:lnTo>
                  <a:pt x="27" y="84"/>
                </a:lnTo>
                <a:lnTo>
                  <a:pt x="27" y="82"/>
                </a:lnTo>
                <a:lnTo>
                  <a:pt x="26" y="82"/>
                </a:lnTo>
                <a:lnTo>
                  <a:pt x="26" y="80"/>
                </a:lnTo>
                <a:lnTo>
                  <a:pt x="24" y="80"/>
                </a:lnTo>
                <a:lnTo>
                  <a:pt x="24" y="79"/>
                </a:lnTo>
                <a:lnTo>
                  <a:pt x="22" y="79"/>
                </a:lnTo>
                <a:lnTo>
                  <a:pt x="22" y="78"/>
                </a:lnTo>
                <a:lnTo>
                  <a:pt x="20" y="76"/>
                </a:lnTo>
                <a:lnTo>
                  <a:pt x="19" y="73"/>
                </a:lnTo>
                <a:lnTo>
                  <a:pt x="19" y="72"/>
                </a:lnTo>
                <a:lnTo>
                  <a:pt x="15" y="72"/>
                </a:lnTo>
                <a:lnTo>
                  <a:pt x="15" y="73"/>
                </a:lnTo>
                <a:lnTo>
                  <a:pt x="14" y="73"/>
                </a:lnTo>
                <a:lnTo>
                  <a:pt x="14" y="72"/>
                </a:lnTo>
                <a:lnTo>
                  <a:pt x="12" y="71"/>
                </a:lnTo>
                <a:lnTo>
                  <a:pt x="12" y="70"/>
                </a:lnTo>
                <a:lnTo>
                  <a:pt x="10" y="68"/>
                </a:lnTo>
                <a:lnTo>
                  <a:pt x="10" y="67"/>
                </a:lnTo>
                <a:lnTo>
                  <a:pt x="9" y="67"/>
                </a:lnTo>
                <a:lnTo>
                  <a:pt x="9" y="68"/>
                </a:lnTo>
                <a:lnTo>
                  <a:pt x="8" y="67"/>
                </a:lnTo>
                <a:lnTo>
                  <a:pt x="7" y="67"/>
                </a:lnTo>
                <a:lnTo>
                  <a:pt x="4" y="65"/>
                </a:lnTo>
                <a:lnTo>
                  <a:pt x="4" y="64"/>
                </a:lnTo>
                <a:lnTo>
                  <a:pt x="6" y="64"/>
                </a:lnTo>
                <a:lnTo>
                  <a:pt x="8" y="65"/>
                </a:lnTo>
                <a:lnTo>
                  <a:pt x="9" y="65"/>
                </a:lnTo>
                <a:lnTo>
                  <a:pt x="10" y="66"/>
                </a:lnTo>
                <a:lnTo>
                  <a:pt x="12" y="66"/>
                </a:lnTo>
                <a:lnTo>
                  <a:pt x="12" y="65"/>
                </a:lnTo>
                <a:lnTo>
                  <a:pt x="10" y="63"/>
                </a:lnTo>
                <a:lnTo>
                  <a:pt x="10" y="61"/>
                </a:lnTo>
                <a:lnTo>
                  <a:pt x="9" y="63"/>
                </a:lnTo>
                <a:lnTo>
                  <a:pt x="7" y="64"/>
                </a:lnTo>
                <a:lnTo>
                  <a:pt x="2" y="63"/>
                </a:lnTo>
                <a:lnTo>
                  <a:pt x="2" y="64"/>
                </a:lnTo>
                <a:lnTo>
                  <a:pt x="1" y="64"/>
                </a:lnTo>
                <a:lnTo>
                  <a:pt x="1" y="63"/>
                </a:lnTo>
                <a:lnTo>
                  <a:pt x="0" y="61"/>
                </a:lnTo>
                <a:lnTo>
                  <a:pt x="0" y="57"/>
                </a:lnTo>
                <a:lnTo>
                  <a:pt x="2" y="57"/>
                </a:lnTo>
                <a:lnTo>
                  <a:pt x="2" y="55"/>
                </a:lnTo>
                <a:lnTo>
                  <a:pt x="4" y="53"/>
                </a:lnTo>
                <a:lnTo>
                  <a:pt x="4" y="49"/>
                </a:lnTo>
                <a:lnTo>
                  <a:pt x="2" y="47"/>
                </a:lnTo>
                <a:lnTo>
                  <a:pt x="1" y="45"/>
                </a:lnTo>
                <a:lnTo>
                  <a:pt x="1" y="43"/>
                </a:lnTo>
                <a:lnTo>
                  <a:pt x="0" y="42"/>
                </a:lnTo>
                <a:lnTo>
                  <a:pt x="0" y="41"/>
                </a:lnTo>
                <a:lnTo>
                  <a:pt x="1" y="41"/>
                </a:lnTo>
                <a:lnTo>
                  <a:pt x="1" y="39"/>
                </a:lnTo>
                <a:lnTo>
                  <a:pt x="0" y="36"/>
                </a:lnTo>
                <a:lnTo>
                  <a:pt x="0" y="34"/>
                </a:lnTo>
                <a:lnTo>
                  <a:pt x="1" y="31"/>
                </a:lnTo>
                <a:lnTo>
                  <a:pt x="2" y="30"/>
                </a:lnTo>
                <a:lnTo>
                  <a:pt x="8" y="30"/>
                </a:lnTo>
                <a:lnTo>
                  <a:pt x="8" y="21"/>
                </a:lnTo>
                <a:lnTo>
                  <a:pt x="10" y="18"/>
                </a:lnTo>
                <a:lnTo>
                  <a:pt x="9" y="18"/>
                </a:lnTo>
                <a:lnTo>
                  <a:pt x="10" y="17"/>
                </a:lnTo>
                <a:lnTo>
                  <a:pt x="15" y="14"/>
                </a:lnTo>
                <a:lnTo>
                  <a:pt x="16" y="12"/>
                </a:lnTo>
                <a:lnTo>
                  <a:pt x="16" y="11"/>
                </a:lnTo>
                <a:lnTo>
                  <a:pt x="20" y="11"/>
                </a:lnTo>
                <a:lnTo>
                  <a:pt x="21" y="12"/>
                </a:lnTo>
                <a:lnTo>
                  <a:pt x="22" y="12"/>
                </a:lnTo>
                <a:lnTo>
                  <a:pt x="22" y="15"/>
                </a:lnTo>
                <a:lnTo>
                  <a:pt x="24" y="16"/>
                </a:lnTo>
                <a:lnTo>
                  <a:pt x="24" y="15"/>
                </a:lnTo>
                <a:lnTo>
                  <a:pt x="25" y="15"/>
                </a:lnTo>
                <a:lnTo>
                  <a:pt x="25" y="14"/>
                </a:lnTo>
                <a:lnTo>
                  <a:pt x="27" y="14"/>
                </a:lnTo>
                <a:lnTo>
                  <a:pt x="25" y="11"/>
                </a:lnTo>
                <a:lnTo>
                  <a:pt x="24" y="8"/>
                </a:lnTo>
                <a:lnTo>
                  <a:pt x="22" y="6"/>
                </a:lnTo>
                <a:lnTo>
                  <a:pt x="22" y="5"/>
                </a:lnTo>
                <a:lnTo>
                  <a:pt x="21" y="6"/>
                </a:lnTo>
                <a:lnTo>
                  <a:pt x="21" y="4"/>
                </a:lnTo>
                <a:lnTo>
                  <a:pt x="20" y="4"/>
                </a:lnTo>
                <a:lnTo>
                  <a:pt x="20" y="2"/>
                </a:lnTo>
                <a:lnTo>
                  <a:pt x="21" y="2"/>
                </a:lnTo>
                <a:lnTo>
                  <a:pt x="22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" name="Freeform 25">
            <a:extLst>
              <a:ext uri="{FF2B5EF4-FFF2-40B4-BE49-F238E27FC236}">
                <a16:creationId xmlns:a16="http://schemas.microsoft.com/office/drawing/2014/main" id="{5C193B74-C8CB-43AC-BDD6-453A79FC2448}"/>
              </a:ext>
            </a:extLst>
          </p:cNvPr>
          <p:cNvSpPr>
            <a:spLocks/>
          </p:cNvSpPr>
          <p:nvPr/>
        </p:nvSpPr>
        <p:spPr bwMode="auto">
          <a:xfrm>
            <a:off x="1680867" y="5273995"/>
            <a:ext cx="5796" cy="4347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3" y="0"/>
              </a:cxn>
              <a:cxn ang="0">
                <a:pos x="4" y="1"/>
              </a:cxn>
              <a:cxn ang="0">
                <a:pos x="3" y="3"/>
              </a:cxn>
              <a:cxn ang="0">
                <a:pos x="0" y="3"/>
              </a:cxn>
              <a:cxn ang="0">
                <a:pos x="0" y="1"/>
              </a:cxn>
              <a:cxn ang="0">
                <a:pos x="2" y="0"/>
              </a:cxn>
            </a:cxnLst>
            <a:rect l="0" t="0" r="r" b="b"/>
            <a:pathLst>
              <a:path w="4" h="3">
                <a:moveTo>
                  <a:pt x="2" y="0"/>
                </a:moveTo>
                <a:lnTo>
                  <a:pt x="3" y="0"/>
                </a:lnTo>
                <a:lnTo>
                  <a:pt x="4" y="1"/>
                </a:lnTo>
                <a:lnTo>
                  <a:pt x="3" y="3"/>
                </a:lnTo>
                <a:lnTo>
                  <a:pt x="0" y="3"/>
                </a:lnTo>
                <a:lnTo>
                  <a:pt x="0" y="1"/>
                </a:lnTo>
                <a:lnTo>
                  <a:pt x="2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" name="Freeform 26">
            <a:extLst>
              <a:ext uri="{FF2B5EF4-FFF2-40B4-BE49-F238E27FC236}">
                <a16:creationId xmlns:a16="http://schemas.microsoft.com/office/drawing/2014/main" id="{C1E0823C-573A-48D5-A52E-3FD751F549A4}"/>
              </a:ext>
            </a:extLst>
          </p:cNvPr>
          <p:cNvSpPr>
            <a:spLocks/>
          </p:cNvSpPr>
          <p:nvPr/>
        </p:nvSpPr>
        <p:spPr bwMode="auto">
          <a:xfrm>
            <a:off x="2858856" y="4856700"/>
            <a:ext cx="214443" cy="272401"/>
          </a:xfrm>
          <a:custGeom>
            <a:avLst/>
            <a:gdLst/>
            <a:ahLst/>
            <a:cxnLst>
              <a:cxn ang="0">
                <a:pos x="52" y="5"/>
              </a:cxn>
              <a:cxn ang="0">
                <a:pos x="62" y="12"/>
              </a:cxn>
              <a:cxn ang="0">
                <a:pos x="66" y="17"/>
              </a:cxn>
              <a:cxn ang="0">
                <a:pos x="73" y="17"/>
              </a:cxn>
              <a:cxn ang="0">
                <a:pos x="74" y="21"/>
              </a:cxn>
              <a:cxn ang="0">
                <a:pos x="78" y="27"/>
              </a:cxn>
              <a:cxn ang="0">
                <a:pos x="90" y="23"/>
              </a:cxn>
              <a:cxn ang="0">
                <a:pos x="96" y="33"/>
              </a:cxn>
              <a:cxn ang="0">
                <a:pos x="104" y="33"/>
              </a:cxn>
              <a:cxn ang="0">
                <a:pos x="109" y="39"/>
              </a:cxn>
              <a:cxn ang="0">
                <a:pos x="109" y="46"/>
              </a:cxn>
              <a:cxn ang="0">
                <a:pos x="108" y="58"/>
              </a:cxn>
              <a:cxn ang="0">
                <a:pos x="109" y="66"/>
              </a:cxn>
              <a:cxn ang="0">
                <a:pos x="116" y="72"/>
              </a:cxn>
              <a:cxn ang="0">
                <a:pos x="121" y="74"/>
              </a:cxn>
              <a:cxn ang="0">
                <a:pos x="125" y="78"/>
              </a:cxn>
              <a:cxn ang="0">
                <a:pos x="123" y="86"/>
              </a:cxn>
              <a:cxn ang="0">
                <a:pos x="125" y="89"/>
              </a:cxn>
              <a:cxn ang="0">
                <a:pos x="130" y="100"/>
              </a:cxn>
              <a:cxn ang="0">
                <a:pos x="140" y="106"/>
              </a:cxn>
              <a:cxn ang="0">
                <a:pos x="141" y="120"/>
              </a:cxn>
              <a:cxn ang="0">
                <a:pos x="142" y="126"/>
              </a:cxn>
              <a:cxn ang="0">
                <a:pos x="148" y="129"/>
              </a:cxn>
              <a:cxn ang="0">
                <a:pos x="135" y="132"/>
              </a:cxn>
              <a:cxn ang="0">
                <a:pos x="128" y="129"/>
              </a:cxn>
              <a:cxn ang="0">
                <a:pos x="123" y="129"/>
              </a:cxn>
              <a:cxn ang="0">
                <a:pos x="114" y="127"/>
              </a:cxn>
              <a:cxn ang="0">
                <a:pos x="108" y="122"/>
              </a:cxn>
              <a:cxn ang="0">
                <a:pos x="97" y="133"/>
              </a:cxn>
              <a:cxn ang="0">
                <a:pos x="98" y="151"/>
              </a:cxn>
              <a:cxn ang="0">
                <a:pos x="89" y="160"/>
              </a:cxn>
              <a:cxn ang="0">
                <a:pos x="86" y="169"/>
              </a:cxn>
              <a:cxn ang="0">
                <a:pos x="80" y="172"/>
              </a:cxn>
              <a:cxn ang="0">
                <a:pos x="79" y="177"/>
              </a:cxn>
              <a:cxn ang="0">
                <a:pos x="79" y="182"/>
              </a:cxn>
              <a:cxn ang="0">
                <a:pos x="67" y="186"/>
              </a:cxn>
              <a:cxn ang="0">
                <a:pos x="63" y="181"/>
              </a:cxn>
              <a:cxn ang="0">
                <a:pos x="65" y="169"/>
              </a:cxn>
              <a:cxn ang="0">
                <a:pos x="63" y="146"/>
              </a:cxn>
              <a:cxn ang="0">
                <a:pos x="66" y="134"/>
              </a:cxn>
              <a:cxn ang="0">
                <a:pos x="67" y="122"/>
              </a:cxn>
              <a:cxn ang="0">
                <a:pos x="63" y="104"/>
              </a:cxn>
              <a:cxn ang="0">
                <a:pos x="58" y="92"/>
              </a:cxn>
              <a:cxn ang="0">
                <a:pos x="52" y="86"/>
              </a:cxn>
              <a:cxn ang="0">
                <a:pos x="47" y="77"/>
              </a:cxn>
              <a:cxn ang="0">
                <a:pos x="41" y="69"/>
              </a:cxn>
              <a:cxn ang="0">
                <a:pos x="37" y="64"/>
              </a:cxn>
              <a:cxn ang="0">
                <a:pos x="32" y="58"/>
              </a:cxn>
              <a:cxn ang="0">
                <a:pos x="28" y="48"/>
              </a:cxn>
              <a:cxn ang="0">
                <a:pos x="25" y="41"/>
              </a:cxn>
              <a:cxn ang="0">
                <a:pos x="23" y="35"/>
              </a:cxn>
              <a:cxn ang="0">
                <a:pos x="19" y="30"/>
              </a:cxn>
              <a:cxn ang="0">
                <a:pos x="17" y="26"/>
              </a:cxn>
              <a:cxn ang="0">
                <a:pos x="16" y="21"/>
              </a:cxn>
              <a:cxn ang="0">
                <a:pos x="9" y="16"/>
              </a:cxn>
              <a:cxn ang="0">
                <a:pos x="3" y="11"/>
              </a:cxn>
              <a:cxn ang="0">
                <a:pos x="6" y="9"/>
              </a:cxn>
              <a:cxn ang="0">
                <a:pos x="16" y="9"/>
              </a:cxn>
              <a:cxn ang="0">
                <a:pos x="25" y="9"/>
              </a:cxn>
              <a:cxn ang="0">
                <a:pos x="40" y="2"/>
              </a:cxn>
            </a:cxnLst>
            <a:rect l="0" t="0" r="r" b="b"/>
            <a:pathLst>
              <a:path w="148" h="188">
                <a:moveTo>
                  <a:pt x="41" y="0"/>
                </a:moveTo>
                <a:lnTo>
                  <a:pt x="42" y="2"/>
                </a:lnTo>
                <a:lnTo>
                  <a:pt x="42" y="3"/>
                </a:lnTo>
                <a:lnTo>
                  <a:pt x="48" y="3"/>
                </a:lnTo>
                <a:lnTo>
                  <a:pt x="49" y="4"/>
                </a:lnTo>
                <a:lnTo>
                  <a:pt x="52" y="5"/>
                </a:lnTo>
                <a:lnTo>
                  <a:pt x="54" y="8"/>
                </a:lnTo>
                <a:lnTo>
                  <a:pt x="54" y="9"/>
                </a:lnTo>
                <a:lnTo>
                  <a:pt x="56" y="11"/>
                </a:lnTo>
                <a:lnTo>
                  <a:pt x="61" y="11"/>
                </a:lnTo>
                <a:lnTo>
                  <a:pt x="61" y="12"/>
                </a:lnTo>
                <a:lnTo>
                  <a:pt x="62" y="12"/>
                </a:lnTo>
                <a:lnTo>
                  <a:pt x="62" y="14"/>
                </a:lnTo>
                <a:lnTo>
                  <a:pt x="61" y="16"/>
                </a:lnTo>
                <a:lnTo>
                  <a:pt x="62" y="17"/>
                </a:lnTo>
                <a:lnTo>
                  <a:pt x="63" y="17"/>
                </a:lnTo>
                <a:lnTo>
                  <a:pt x="66" y="15"/>
                </a:lnTo>
                <a:lnTo>
                  <a:pt x="66" y="17"/>
                </a:lnTo>
                <a:lnTo>
                  <a:pt x="67" y="18"/>
                </a:lnTo>
                <a:lnTo>
                  <a:pt x="69" y="18"/>
                </a:lnTo>
                <a:lnTo>
                  <a:pt x="69" y="17"/>
                </a:lnTo>
                <a:lnTo>
                  <a:pt x="71" y="17"/>
                </a:lnTo>
                <a:lnTo>
                  <a:pt x="73" y="16"/>
                </a:lnTo>
                <a:lnTo>
                  <a:pt x="73" y="17"/>
                </a:lnTo>
                <a:lnTo>
                  <a:pt x="74" y="17"/>
                </a:lnTo>
                <a:lnTo>
                  <a:pt x="74" y="20"/>
                </a:lnTo>
                <a:lnTo>
                  <a:pt x="72" y="22"/>
                </a:lnTo>
                <a:lnTo>
                  <a:pt x="72" y="23"/>
                </a:lnTo>
                <a:lnTo>
                  <a:pt x="74" y="23"/>
                </a:lnTo>
                <a:lnTo>
                  <a:pt x="74" y="21"/>
                </a:lnTo>
                <a:lnTo>
                  <a:pt x="75" y="21"/>
                </a:lnTo>
                <a:lnTo>
                  <a:pt x="77" y="22"/>
                </a:lnTo>
                <a:lnTo>
                  <a:pt x="77" y="23"/>
                </a:lnTo>
                <a:lnTo>
                  <a:pt x="75" y="24"/>
                </a:lnTo>
                <a:lnTo>
                  <a:pt x="77" y="27"/>
                </a:lnTo>
                <a:lnTo>
                  <a:pt x="78" y="27"/>
                </a:lnTo>
                <a:lnTo>
                  <a:pt x="79" y="28"/>
                </a:lnTo>
                <a:lnTo>
                  <a:pt x="79" y="24"/>
                </a:lnTo>
                <a:lnTo>
                  <a:pt x="80" y="22"/>
                </a:lnTo>
                <a:lnTo>
                  <a:pt x="83" y="22"/>
                </a:lnTo>
                <a:lnTo>
                  <a:pt x="86" y="23"/>
                </a:lnTo>
                <a:lnTo>
                  <a:pt x="90" y="23"/>
                </a:lnTo>
                <a:lnTo>
                  <a:pt x="91" y="24"/>
                </a:lnTo>
                <a:lnTo>
                  <a:pt x="92" y="24"/>
                </a:lnTo>
                <a:lnTo>
                  <a:pt x="92" y="27"/>
                </a:lnTo>
                <a:lnTo>
                  <a:pt x="93" y="28"/>
                </a:lnTo>
                <a:lnTo>
                  <a:pt x="93" y="30"/>
                </a:lnTo>
                <a:lnTo>
                  <a:pt x="96" y="33"/>
                </a:lnTo>
                <a:lnTo>
                  <a:pt x="97" y="35"/>
                </a:lnTo>
                <a:lnTo>
                  <a:pt x="98" y="35"/>
                </a:lnTo>
                <a:lnTo>
                  <a:pt x="98" y="36"/>
                </a:lnTo>
                <a:lnTo>
                  <a:pt x="102" y="36"/>
                </a:lnTo>
                <a:lnTo>
                  <a:pt x="103" y="34"/>
                </a:lnTo>
                <a:lnTo>
                  <a:pt x="104" y="33"/>
                </a:lnTo>
                <a:lnTo>
                  <a:pt x="105" y="33"/>
                </a:lnTo>
                <a:lnTo>
                  <a:pt x="106" y="34"/>
                </a:lnTo>
                <a:lnTo>
                  <a:pt x="106" y="35"/>
                </a:lnTo>
                <a:lnTo>
                  <a:pt x="108" y="35"/>
                </a:lnTo>
                <a:lnTo>
                  <a:pt x="108" y="39"/>
                </a:lnTo>
                <a:lnTo>
                  <a:pt x="109" y="39"/>
                </a:lnTo>
                <a:lnTo>
                  <a:pt x="110" y="40"/>
                </a:lnTo>
                <a:lnTo>
                  <a:pt x="110" y="41"/>
                </a:lnTo>
                <a:lnTo>
                  <a:pt x="109" y="42"/>
                </a:lnTo>
                <a:lnTo>
                  <a:pt x="109" y="43"/>
                </a:lnTo>
                <a:lnTo>
                  <a:pt x="108" y="45"/>
                </a:lnTo>
                <a:lnTo>
                  <a:pt x="109" y="46"/>
                </a:lnTo>
                <a:lnTo>
                  <a:pt x="110" y="46"/>
                </a:lnTo>
                <a:lnTo>
                  <a:pt x="110" y="48"/>
                </a:lnTo>
                <a:lnTo>
                  <a:pt x="109" y="49"/>
                </a:lnTo>
                <a:lnTo>
                  <a:pt x="109" y="54"/>
                </a:lnTo>
                <a:lnTo>
                  <a:pt x="108" y="57"/>
                </a:lnTo>
                <a:lnTo>
                  <a:pt x="108" y="58"/>
                </a:lnTo>
                <a:lnTo>
                  <a:pt x="106" y="59"/>
                </a:lnTo>
                <a:lnTo>
                  <a:pt x="105" y="61"/>
                </a:lnTo>
                <a:lnTo>
                  <a:pt x="108" y="66"/>
                </a:lnTo>
                <a:lnTo>
                  <a:pt x="108" y="67"/>
                </a:lnTo>
                <a:lnTo>
                  <a:pt x="109" y="67"/>
                </a:lnTo>
                <a:lnTo>
                  <a:pt x="109" y="66"/>
                </a:lnTo>
                <a:lnTo>
                  <a:pt x="110" y="66"/>
                </a:lnTo>
                <a:lnTo>
                  <a:pt x="112" y="69"/>
                </a:lnTo>
                <a:lnTo>
                  <a:pt x="112" y="70"/>
                </a:lnTo>
                <a:lnTo>
                  <a:pt x="114" y="71"/>
                </a:lnTo>
                <a:lnTo>
                  <a:pt x="115" y="71"/>
                </a:lnTo>
                <a:lnTo>
                  <a:pt x="116" y="72"/>
                </a:lnTo>
                <a:lnTo>
                  <a:pt x="116" y="76"/>
                </a:lnTo>
                <a:lnTo>
                  <a:pt x="117" y="76"/>
                </a:lnTo>
                <a:lnTo>
                  <a:pt x="117" y="77"/>
                </a:lnTo>
                <a:lnTo>
                  <a:pt x="119" y="77"/>
                </a:lnTo>
                <a:lnTo>
                  <a:pt x="119" y="76"/>
                </a:lnTo>
                <a:lnTo>
                  <a:pt x="121" y="74"/>
                </a:lnTo>
                <a:lnTo>
                  <a:pt x="121" y="73"/>
                </a:lnTo>
                <a:lnTo>
                  <a:pt x="123" y="73"/>
                </a:lnTo>
                <a:lnTo>
                  <a:pt x="124" y="74"/>
                </a:lnTo>
                <a:lnTo>
                  <a:pt x="124" y="76"/>
                </a:lnTo>
                <a:lnTo>
                  <a:pt x="125" y="77"/>
                </a:lnTo>
                <a:lnTo>
                  <a:pt x="125" y="78"/>
                </a:lnTo>
                <a:lnTo>
                  <a:pt x="124" y="79"/>
                </a:lnTo>
                <a:lnTo>
                  <a:pt x="123" y="79"/>
                </a:lnTo>
                <a:lnTo>
                  <a:pt x="123" y="80"/>
                </a:lnTo>
                <a:lnTo>
                  <a:pt x="124" y="84"/>
                </a:lnTo>
                <a:lnTo>
                  <a:pt x="123" y="85"/>
                </a:lnTo>
                <a:lnTo>
                  <a:pt x="123" y="86"/>
                </a:lnTo>
                <a:lnTo>
                  <a:pt x="121" y="86"/>
                </a:lnTo>
                <a:lnTo>
                  <a:pt x="121" y="88"/>
                </a:lnTo>
                <a:lnTo>
                  <a:pt x="122" y="90"/>
                </a:lnTo>
                <a:lnTo>
                  <a:pt x="123" y="90"/>
                </a:lnTo>
                <a:lnTo>
                  <a:pt x="123" y="89"/>
                </a:lnTo>
                <a:lnTo>
                  <a:pt x="125" y="89"/>
                </a:lnTo>
                <a:lnTo>
                  <a:pt x="125" y="92"/>
                </a:lnTo>
                <a:lnTo>
                  <a:pt x="124" y="94"/>
                </a:lnTo>
                <a:lnTo>
                  <a:pt x="124" y="98"/>
                </a:lnTo>
                <a:lnTo>
                  <a:pt x="127" y="98"/>
                </a:lnTo>
                <a:lnTo>
                  <a:pt x="127" y="100"/>
                </a:lnTo>
                <a:lnTo>
                  <a:pt x="130" y="100"/>
                </a:lnTo>
                <a:lnTo>
                  <a:pt x="130" y="101"/>
                </a:lnTo>
                <a:lnTo>
                  <a:pt x="133" y="103"/>
                </a:lnTo>
                <a:lnTo>
                  <a:pt x="136" y="103"/>
                </a:lnTo>
                <a:lnTo>
                  <a:pt x="137" y="104"/>
                </a:lnTo>
                <a:lnTo>
                  <a:pt x="137" y="106"/>
                </a:lnTo>
                <a:lnTo>
                  <a:pt x="140" y="106"/>
                </a:lnTo>
                <a:lnTo>
                  <a:pt x="140" y="109"/>
                </a:lnTo>
                <a:lnTo>
                  <a:pt x="141" y="109"/>
                </a:lnTo>
                <a:lnTo>
                  <a:pt x="141" y="111"/>
                </a:lnTo>
                <a:lnTo>
                  <a:pt x="140" y="115"/>
                </a:lnTo>
                <a:lnTo>
                  <a:pt x="140" y="119"/>
                </a:lnTo>
                <a:lnTo>
                  <a:pt x="141" y="120"/>
                </a:lnTo>
                <a:lnTo>
                  <a:pt x="140" y="121"/>
                </a:lnTo>
                <a:lnTo>
                  <a:pt x="139" y="121"/>
                </a:lnTo>
                <a:lnTo>
                  <a:pt x="139" y="123"/>
                </a:lnTo>
                <a:lnTo>
                  <a:pt x="141" y="125"/>
                </a:lnTo>
                <a:lnTo>
                  <a:pt x="141" y="126"/>
                </a:lnTo>
                <a:lnTo>
                  <a:pt x="142" y="126"/>
                </a:lnTo>
                <a:lnTo>
                  <a:pt x="142" y="125"/>
                </a:lnTo>
                <a:lnTo>
                  <a:pt x="143" y="125"/>
                </a:lnTo>
                <a:lnTo>
                  <a:pt x="143" y="127"/>
                </a:lnTo>
                <a:lnTo>
                  <a:pt x="146" y="128"/>
                </a:lnTo>
                <a:lnTo>
                  <a:pt x="146" y="129"/>
                </a:lnTo>
                <a:lnTo>
                  <a:pt x="148" y="129"/>
                </a:lnTo>
                <a:lnTo>
                  <a:pt x="147" y="132"/>
                </a:lnTo>
                <a:lnTo>
                  <a:pt x="146" y="133"/>
                </a:lnTo>
                <a:lnTo>
                  <a:pt x="137" y="133"/>
                </a:lnTo>
                <a:lnTo>
                  <a:pt x="136" y="134"/>
                </a:lnTo>
                <a:lnTo>
                  <a:pt x="135" y="134"/>
                </a:lnTo>
                <a:lnTo>
                  <a:pt x="135" y="132"/>
                </a:lnTo>
                <a:lnTo>
                  <a:pt x="134" y="131"/>
                </a:lnTo>
                <a:lnTo>
                  <a:pt x="134" y="129"/>
                </a:lnTo>
                <a:lnTo>
                  <a:pt x="131" y="127"/>
                </a:lnTo>
                <a:lnTo>
                  <a:pt x="130" y="127"/>
                </a:lnTo>
                <a:lnTo>
                  <a:pt x="130" y="129"/>
                </a:lnTo>
                <a:lnTo>
                  <a:pt x="128" y="129"/>
                </a:lnTo>
                <a:lnTo>
                  <a:pt x="128" y="133"/>
                </a:lnTo>
                <a:lnTo>
                  <a:pt x="125" y="133"/>
                </a:lnTo>
                <a:lnTo>
                  <a:pt x="124" y="132"/>
                </a:lnTo>
                <a:lnTo>
                  <a:pt x="124" y="131"/>
                </a:lnTo>
                <a:lnTo>
                  <a:pt x="123" y="131"/>
                </a:lnTo>
                <a:lnTo>
                  <a:pt x="123" y="129"/>
                </a:lnTo>
                <a:lnTo>
                  <a:pt x="121" y="129"/>
                </a:lnTo>
                <a:lnTo>
                  <a:pt x="121" y="126"/>
                </a:lnTo>
                <a:lnTo>
                  <a:pt x="119" y="126"/>
                </a:lnTo>
                <a:lnTo>
                  <a:pt x="116" y="129"/>
                </a:lnTo>
                <a:lnTo>
                  <a:pt x="115" y="129"/>
                </a:lnTo>
                <a:lnTo>
                  <a:pt x="114" y="127"/>
                </a:lnTo>
                <a:lnTo>
                  <a:pt x="112" y="128"/>
                </a:lnTo>
                <a:lnTo>
                  <a:pt x="112" y="131"/>
                </a:lnTo>
                <a:lnTo>
                  <a:pt x="110" y="133"/>
                </a:lnTo>
                <a:lnTo>
                  <a:pt x="109" y="133"/>
                </a:lnTo>
                <a:lnTo>
                  <a:pt x="109" y="122"/>
                </a:lnTo>
                <a:lnTo>
                  <a:pt x="108" y="122"/>
                </a:lnTo>
                <a:lnTo>
                  <a:pt x="104" y="125"/>
                </a:lnTo>
                <a:lnTo>
                  <a:pt x="103" y="125"/>
                </a:lnTo>
                <a:lnTo>
                  <a:pt x="102" y="126"/>
                </a:lnTo>
                <a:lnTo>
                  <a:pt x="98" y="127"/>
                </a:lnTo>
                <a:lnTo>
                  <a:pt x="97" y="129"/>
                </a:lnTo>
                <a:lnTo>
                  <a:pt x="97" y="133"/>
                </a:lnTo>
                <a:lnTo>
                  <a:pt x="98" y="135"/>
                </a:lnTo>
                <a:lnTo>
                  <a:pt x="98" y="140"/>
                </a:lnTo>
                <a:lnTo>
                  <a:pt x="102" y="144"/>
                </a:lnTo>
                <a:lnTo>
                  <a:pt x="100" y="146"/>
                </a:lnTo>
                <a:lnTo>
                  <a:pt x="98" y="149"/>
                </a:lnTo>
                <a:lnTo>
                  <a:pt x="98" y="151"/>
                </a:lnTo>
                <a:lnTo>
                  <a:pt x="99" y="154"/>
                </a:lnTo>
                <a:lnTo>
                  <a:pt x="99" y="156"/>
                </a:lnTo>
                <a:lnTo>
                  <a:pt x="98" y="156"/>
                </a:lnTo>
                <a:lnTo>
                  <a:pt x="90" y="158"/>
                </a:lnTo>
                <a:lnTo>
                  <a:pt x="89" y="159"/>
                </a:lnTo>
                <a:lnTo>
                  <a:pt x="89" y="160"/>
                </a:lnTo>
                <a:lnTo>
                  <a:pt x="90" y="162"/>
                </a:lnTo>
                <a:lnTo>
                  <a:pt x="90" y="165"/>
                </a:lnTo>
                <a:lnTo>
                  <a:pt x="89" y="165"/>
                </a:lnTo>
                <a:lnTo>
                  <a:pt x="89" y="166"/>
                </a:lnTo>
                <a:lnTo>
                  <a:pt x="86" y="166"/>
                </a:lnTo>
                <a:lnTo>
                  <a:pt x="86" y="169"/>
                </a:lnTo>
                <a:lnTo>
                  <a:pt x="85" y="170"/>
                </a:lnTo>
                <a:lnTo>
                  <a:pt x="83" y="170"/>
                </a:lnTo>
                <a:lnTo>
                  <a:pt x="81" y="171"/>
                </a:lnTo>
                <a:lnTo>
                  <a:pt x="83" y="171"/>
                </a:lnTo>
                <a:lnTo>
                  <a:pt x="83" y="172"/>
                </a:lnTo>
                <a:lnTo>
                  <a:pt x="80" y="172"/>
                </a:lnTo>
                <a:lnTo>
                  <a:pt x="80" y="174"/>
                </a:lnTo>
                <a:lnTo>
                  <a:pt x="79" y="174"/>
                </a:lnTo>
                <a:lnTo>
                  <a:pt x="79" y="175"/>
                </a:lnTo>
                <a:lnTo>
                  <a:pt x="78" y="176"/>
                </a:lnTo>
                <a:lnTo>
                  <a:pt x="79" y="176"/>
                </a:lnTo>
                <a:lnTo>
                  <a:pt x="79" y="177"/>
                </a:lnTo>
                <a:lnTo>
                  <a:pt x="80" y="177"/>
                </a:lnTo>
                <a:lnTo>
                  <a:pt x="80" y="180"/>
                </a:lnTo>
                <a:lnTo>
                  <a:pt x="81" y="181"/>
                </a:lnTo>
                <a:lnTo>
                  <a:pt x="80" y="181"/>
                </a:lnTo>
                <a:lnTo>
                  <a:pt x="80" y="182"/>
                </a:lnTo>
                <a:lnTo>
                  <a:pt x="79" y="182"/>
                </a:lnTo>
                <a:lnTo>
                  <a:pt x="80" y="184"/>
                </a:lnTo>
                <a:lnTo>
                  <a:pt x="79" y="186"/>
                </a:lnTo>
                <a:lnTo>
                  <a:pt x="75" y="186"/>
                </a:lnTo>
                <a:lnTo>
                  <a:pt x="73" y="184"/>
                </a:lnTo>
                <a:lnTo>
                  <a:pt x="69" y="184"/>
                </a:lnTo>
                <a:lnTo>
                  <a:pt x="67" y="186"/>
                </a:lnTo>
                <a:lnTo>
                  <a:pt x="67" y="188"/>
                </a:lnTo>
                <a:lnTo>
                  <a:pt x="66" y="187"/>
                </a:lnTo>
                <a:lnTo>
                  <a:pt x="66" y="186"/>
                </a:lnTo>
                <a:lnTo>
                  <a:pt x="65" y="184"/>
                </a:lnTo>
                <a:lnTo>
                  <a:pt x="65" y="182"/>
                </a:lnTo>
                <a:lnTo>
                  <a:pt x="63" y="181"/>
                </a:lnTo>
                <a:lnTo>
                  <a:pt x="61" y="180"/>
                </a:lnTo>
                <a:lnTo>
                  <a:pt x="62" y="178"/>
                </a:lnTo>
                <a:lnTo>
                  <a:pt x="65" y="178"/>
                </a:lnTo>
                <a:lnTo>
                  <a:pt x="66" y="177"/>
                </a:lnTo>
                <a:lnTo>
                  <a:pt x="65" y="177"/>
                </a:lnTo>
                <a:lnTo>
                  <a:pt x="65" y="169"/>
                </a:lnTo>
                <a:lnTo>
                  <a:pt x="63" y="168"/>
                </a:lnTo>
                <a:lnTo>
                  <a:pt x="63" y="158"/>
                </a:lnTo>
                <a:lnTo>
                  <a:pt x="62" y="156"/>
                </a:lnTo>
                <a:lnTo>
                  <a:pt x="62" y="150"/>
                </a:lnTo>
                <a:lnTo>
                  <a:pt x="63" y="150"/>
                </a:lnTo>
                <a:lnTo>
                  <a:pt x="63" y="146"/>
                </a:lnTo>
                <a:lnTo>
                  <a:pt x="65" y="144"/>
                </a:lnTo>
                <a:lnTo>
                  <a:pt x="63" y="144"/>
                </a:lnTo>
                <a:lnTo>
                  <a:pt x="63" y="139"/>
                </a:lnTo>
                <a:lnTo>
                  <a:pt x="65" y="139"/>
                </a:lnTo>
                <a:lnTo>
                  <a:pt x="66" y="138"/>
                </a:lnTo>
                <a:lnTo>
                  <a:pt x="66" y="134"/>
                </a:lnTo>
                <a:lnTo>
                  <a:pt x="67" y="134"/>
                </a:lnTo>
                <a:lnTo>
                  <a:pt x="67" y="132"/>
                </a:lnTo>
                <a:lnTo>
                  <a:pt x="68" y="132"/>
                </a:lnTo>
                <a:lnTo>
                  <a:pt x="68" y="126"/>
                </a:lnTo>
                <a:lnTo>
                  <a:pt x="67" y="125"/>
                </a:lnTo>
                <a:lnTo>
                  <a:pt x="67" y="122"/>
                </a:lnTo>
                <a:lnTo>
                  <a:pt x="68" y="122"/>
                </a:lnTo>
                <a:lnTo>
                  <a:pt x="68" y="115"/>
                </a:lnTo>
                <a:lnTo>
                  <a:pt x="66" y="110"/>
                </a:lnTo>
                <a:lnTo>
                  <a:pt x="66" y="109"/>
                </a:lnTo>
                <a:lnTo>
                  <a:pt x="65" y="106"/>
                </a:lnTo>
                <a:lnTo>
                  <a:pt x="63" y="104"/>
                </a:lnTo>
                <a:lnTo>
                  <a:pt x="63" y="101"/>
                </a:lnTo>
                <a:lnTo>
                  <a:pt x="62" y="100"/>
                </a:lnTo>
                <a:lnTo>
                  <a:pt x="62" y="96"/>
                </a:lnTo>
                <a:lnTo>
                  <a:pt x="60" y="94"/>
                </a:lnTo>
                <a:lnTo>
                  <a:pt x="60" y="92"/>
                </a:lnTo>
                <a:lnTo>
                  <a:pt x="58" y="92"/>
                </a:lnTo>
                <a:lnTo>
                  <a:pt x="56" y="91"/>
                </a:lnTo>
                <a:lnTo>
                  <a:pt x="55" y="91"/>
                </a:lnTo>
                <a:lnTo>
                  <a:pt x="55" y="90"/>
                </a:lnTo>
                <a:lnTo>
                  <a:pt x="53" y="88"/>
                </a:lnTo>
                <a:lnTo>
                  <a:pt x="52" y="88"/>
                </a:lnTo>
                <a:lnTo>
                  <a:pt x="52" y="86"/>
                </a:lnTo>
                <a:lnTo>
                  <a:pt x="49" y="84"/>
                </a:lnTo>
                <a:lnTo>
                  <a:pt x="50" y="84"/>
                </a:lnTo>
                <a:lnTo>
                  <a:pt x="50" y="83"/>
                </a:lnTo>
                <a:lnTo>
                  <a:pt x="48" y="80"/>
                </a:lnTo>
                <a:lnTo>
                  <a:pt x="48" y="78"/>
                </a:lnTo>
                <a:lnTo>
                  <a:pt x="47" y="77"/>
                </a:lnTo>
                <a:lnTo>
                  <a:pt x="46" y="77"/>
                </a:lnTo>
                <a:lnTo>
                  <a:pt x="46" y="76"/>
                </a:lnTo>
                <a:lnTo>
                  <a:pt x="43" y="76"/>
                </a:lnTo>
                <a:lnTo>
                  <a:pt x="42" y="74"/>
                </a:lnTo>
                <a:lnTo>
                  <a:pt x="41" y="72"/>
                </a:lnTo>
                <a:lnTo>
                  <a:pt x="41" y="69"/>
                </a:lnTo>
                <a:lnTo>
                  <a:pt x="40" y="69"/>
                </a:lnTo>
                <a:lnTo>
                  <a:pt x="40" y="67"/>
                </a:lnTo>
                <a:lnTo>
                  <a:pt x="41" y="66"/>
                </a:lnTo>
                <a:lnTo>
                  <a:pt x="41" y="65"/>
                </a:lnTo>
                <a:lnTo>
                  <a:pt x="37" y="65"/>
                </a:lnTo>
                <a:lnTo>
                  <a:pt x="37" y="64"/>
                </a:lnTo>
                <a:lnTo>
                  <a:pt x="36" y="64"/>
                </a:lnTo>
                <a:lnTo>
                  <a:pt x="36" y="61"/>
                </a:lnTo>
                <a:lnTo>
                  <a:pt x="35" y="61"/>
                </a:lnTo>
                <a:lnTo>
                  <a:pt x="35" y="59"/>
                </a:lnTo>
                <a:lnTo>
                  <a:pt x="34" y="58"/>
                </a:lnTo>
                <a:lnTo>
                  <a:pt x="32" y="58"/>
                </a:lnTo>
                <a:lnTo>
                  <a:pt x="31" y="57"/>
                </a:lnTo>
                <a:lnTo>
                  <a:pt x="29" y="53"/>
                </a:lnTo>
                <a:lnTo>
                  <a:pt x="28" y="51"/>
                </a:lnTo>
                <a:lnTo>
                  <a:pt x="28" y="49"/>
                </a:lnTo>
                <a:lnTo>
                  <a:pt x="29" y="49"/>
                </a:lnTo>
                <a:lnTo>
                  <a:pt x="28" y="48"/>
                </a:lnTo>
                <a:lnTo>
                  <a:pt x="29" y="48"/>
                </a:lnTo>
                <a:lnTo>
                  <a:pt x="27" y="46"/>
                </a:lnTo>
                <a:lnTo>
                  <a:pt x="27" y="45"/>
                </a:lnTo>
                <a:lnTo>
                  <a:pt x="25" y="43"/>
                </a:lnTo>
                <a:lnTo>
                  <a:pt x="27" y="42"/>
                </a:lnTo>
                <a:lnTo>
                  <a:pt x="25" y="41"/>
                </a:lnTo>
                <a:lnTo>
                  <a:pt x="25" y="39"/>
                </a:lnTo>
                <a:lnTo>
                  <a:pt x="24" y="37"/>
                </a:lnTo>
                <a:lnTo>
                  <a:pt x="23" y="37"/>
                </a:lnTo>
                <a:lnTo>
                  <a:pt x="23" y="36"/>
                </a:lnTo>
                <a:lnTo>
                  <a:pt x="24" y="35"/>
                </a:lnTo>
                <a:lnTo>
                  <a:pt x="23" y="35"/>
                </a:lnTo>
                <a:lnTo>
                  <a:pt x="23" y="33"/>
                </a:lnTo>
                <a:lnTo>
                  <a:pt x="22" y="33"/>
                </a:lnTo>
                <a:lnTo>
                  <a:pt x="22" y="30"/>
                </a:lnTo>
                <a:lnTo>
                  <a:pt x="21" y="31"/>
                </a:lnTo>
                <a:lnTo>
                  <a:pt x="19" y="31"/>
                </a:lnTo>
                <a:lnTo>
                  <a:pt x="19" y="30"/>
                </a:lnTo>
                <a:lnTo>
                  <a:pt x="21" y="30"/>
                </a:lnTo>
                <a:lnTo>
                  <a:pt x="21" y="29"/>
                </a:lnTo>
                <a:lnTo>
                  <a:pt x="19" y="29"/>
                </a:lnTo>
                <a:lnTo>
                  <a:pt x="18" y="28"/>
                </a:lnTo>
                <a:lnTo>
                  <a:pt x="18" y="27"/>
                </a:lnTo>
                <a:lnTo>
                  <a:pt x="17" y="26"/>
                </a:lnTo>
                <a:lnTo>
                  <a:pt x="18" y="26"/>
                </a:lnTo>
                <a:lnTo>
                  <a:pt x="18" y="23"/>
                </a:lnTo>
                <a:lnTo>
                  <a:pt x="15" y="23"/>
                </a:lnTo>
                <a:lnTo>
                  <a:pt x="15" y="22"/>
                </a:lnTo>
                <a:lnTo>
                  <a:pt x="16" y="22"/>
                </a:lnTo>
                <a:lnTo>
                  <a:pt x="16" y="21"/>
                </a:lnTo>
                <a:lnTo>
                  <a:pt x="15" y="21"/>
                </a:lnTo>
                <a:lnTo>
                  <a:pt x="15" y="20"/>
                </a:lnTo>
                <a:lnTo>
                  <a:pt x="12" y="20"/>
                </a:lnTo>
                <a:lnTo>
                  <a:pt x="12" y="18"/>
                </a:lnTo>
                <a:lnTo>
                  <a:pt x="10" y="17"/>
                </a:lnTo>
                <a:lnTo>
                  <a:pt x="9" y="16"/>
                </a:lnTo>
                <a:lnTo>
                  <a:pt x="5" y="16"/>
                </a:lnTo>
                <a:lnTo>
                  <a:pt x="5" y="15"/>
                </a:lnTo>
                <a:lnTo>
                  <a:pt x="0" y="15"/>
                </a:lnTo>
                <a:lnTo>
                  <a:pt x="0" y="14"/>
                </a:lnTo>
                <a:lnTo>
                  <a:pt x="3" y="12"/>
                </a:lnTo>
                <a:lnTo>
                  <a:pt x="3" y="11"/>
                </a:lnTo>
                <a:lnTo>
                  <a:pt x="4" y="11"/>
                </a:lnTo>
                <a:lnTo>
                  <a:pt x="4" y="12"/>
                </a:lnTo>
                <a:lnTo>
                  <a:pt x="5" y="14"/>
                </a:lnTo>
                <a:lnTo>
                  <a:pt x="7" y="14"/>
                </a:lnTo>
                <a:lnTo>
                  <a:pt x="7" y="10"/>
                </a:lnTo>
                <a:lnTo>
                  <a:pt x="6" y="9"/>
                </a:lnTo>
                <a:lnTo>
                  <a:pt x="7" y="8"/>
                </a:lnTo>
                <a:lnTo>
                  <a:pt x="9" y="9"/>
                </a:lnTo>
                <a:lnTo>
                  <a:pt x="9" y="6"/>
                </a:lnTo>
                <a:lnTo>
                  <a:pt x="10" y="6"/>
                </a:lnTo>
                <a:lnTo>
                  <a:pt x="13" y="10"/>
                </a:lnTo>
                <a:lnTo>
                  <a:pt x="16" y="9"/>
                </a:lnTo>
                <a:lnTo>
                  <a:pt x="17" y="9"/>
                </a:lnTo>
                <a:lnTo>
                  <a:pt x="17" y="6"/>
                </a:lnTo>
                <a:lnTo>
                  <a:pt x="18" y="6"/>
                </a:lnTo>
                <a:lnTo>
                  <a:pt x="19" y="8"/>
                </a:lnTo>
                <a:lnTo>
                  <a:pt x="23" y="9"/>
                </a:lnTo>
                <a:lnTo>
                  <a:pt x="25" y="9"/>
                </a:lnTo>
                <a:lnTo>
                  <a:pt x="30" y="4"/>
                </a:lnTo>
                <a:lnTo>
                  <a:pt x="31" y="4"/>
                </a:lnTo>
                <a:lnTo>
                  <a:pt x="32" y="5"/>
                </a:lnTo>
                <a:lnTo>
                  <a:pt x="34" y="5"/>
                </a:lnTo>
                <a:lnTo>
                  <a:pt x="37" y="2"/>
                </a:lnTo>
                <a:lnTo>
                  <a:pt x="40" y="2"/>
                </a:lnTo>
                <a:lnTo>
                  <a:pt x="41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" name="Freeform 27">
            <a:extLst>
              <a:ext uri="{FF2B5EF4-FFF2-40B4-BE49-F238E27FC236}">
                <a16:creationId xmlns:a16="http://schemas.microsoft.com/office/drawing/2014/main" id="{8500DC85-B856-4D2D-A5E6-A2B24B61EF1D}"/>
              </a:ext>
            </a:extLst>
          </p:cNvPr>
          <p:cNvSpPr>
            <a:spLocks noEditPoints="1"/>
          </p:cNvSpPr>
          <p:nvPr/>
        </p:nvSpPr>
        <p:spPr bwMode="auto">
          <a:xfrm>
            <a:off x="2099611" y="5886897"/>
            <a:ext cx="21735" cy="20285"/>
          </a:xfrm>
          <a:custGeom>
            <a:avLst/>
            <a:gdLst/>
            <a:ahLst/>
            <a:cxnLst>
              <a:cxn ang="0">
                <a:pos x="6" y="6"/>
              </a:cxn>
              <a:cxn ang="0">
                <a:pos x="11" y="6"/>
              </a:cxn>
              <a:cxn ang="0">
                <a:pos x="13" y="8"/>
              </a:cxn>
              <a:cxn ang="0">
                <a:pos x="13" y="10"/>
              </a:cxn>
              <a:cxn ang="0">
                <a:pos x="14" y="10"/>
              </a:cxn>
              <a:cxn ang="0">
                <a:pos x="15" y="11"/>
              </a:cxn>
              <a:cxn ang="0">
                <a:pos x="15" y="13"/>
              </a:cxn>
              <a:cxn ang="0">
                <a:pos x="14" y="13"/>
              </a:cxn>
              <a:cxn ang="0">
                <a:pos x="14" y="14"/>
              </a:cxn>
              <a:cxn ang="0">
                <a:pos x="12" y="14"/>
              </a:cxn>
              <a:cxn ang="0">
                <a:pos x="9" y="13"/>
              </a:cxn>
              <a:cxn ang="0">
                <a:pos x="7" y="11"/>
              </a:cxn>
              <a:cxn ang="0">
                <a:pos x="6" y="11"/>
              </a:cxn>
              <a:cxn ang="0">
                <a:pos x="6" y="6"/>
              </a:cxn>
              <a:cxn ang="0">
                <a:pos x="6" y="5"/>
              </a:cxn>
              <a:cxn ang="0">
                <a:pos x="7" y="5"/>
              </a:cxn>
              <a:cxn ang="0">
                <a:pos x="6" y="6"/>
              </a:cxn>
              <a:cxn ang="0">
                <a:pos x="5" y="6"/>
              </a:cxn>
              <a:cxn ang="0">
                <a:pos x="6" y="5"/>
              </a:cxn>
              <a:cxn ang="0">
                <a:pos x="0" y="0"/>
              </a:cxn>
              <a:cxn ang="0">
                <a:pos x="3" y="0"/>
              </a:cxn>
              <a:cxn ang="0">
                <a:pos x="6" y="2"/>
              </a:cxn>
              <a:cxn ang="0">
                <a:pos x="5" y="2"/>
              </a:cxn>
              <a:cxn ang="0">
                <a:pos x="3" y="4"/>
              </a:cxn>
              <a:cxn ang="0">
                <a:pos x="1" y="4"/>
              </a:cxn>
              <a:cxn ang="0">
                <a:pos x="0" y="2"/>
              </a:cxn>
              <a:cxn ang="0">
                <a:pos x="0" y="0"/>
              </a:cxn>
            </a:cxnLst>
            <a:rect l="0" t="0" r="r" b="b"/>
            <a:pathLst>
              <a:path w="15" h="14">
                <a:moveTo>
                  <a:pt x="6" y="6"/>
                </a:moveTo>
                <a:lnTo>
                  <a:pt x="11" y="6"/>
                </a:lnTo>
                <a:lnTo>
                  <a:pt x="13" y="8"/>
                </a:lnTo>
                <a:lnTo>
                  <a:pt x="13" y="10"/>
                </a:lnTo>
                <a:lnTo>
                  <a:pt x="14" y="10"/>
                </a:lnTo>
                <a:lnTo>
                  <a:pt x="15" y="11"/>
                </a:lnTo>
                <a:lnTo>
                  <a:pt x="15" y="13"/>
                </a:lnTo>
                <a:lnTo>
                  <a:pt x="14" y="13"/>
                </a:lnTo>
                <a:lnTo>
                  <a:pt x="14" y="14"/>
                </a:lnTo>
                <a:lnTo>
                  <a:pt x="12" y="14"/>
                </a:lnTo>
                <a:lnTo>
                  <a:pt x="9" y="13"/>
                </a:lnTo>
                <a:lnTo>
                  <a:pt x="7" y="11"/>
                </a:lnTo>
                <a:lnTo>
                  <a:pt x="6" y="11"/>
                </a:lnTo>
                <a:lnTo>
                  <a:pt x="6" y="6"/>
                </a:lnTo>
                <a:close/>
                <a:moveTo>
                  <a:pt x="6" y="5"/>
                </a:moveTo>
                <a:lnTo>
                  <a:pt x="7" y="5"/>
                </a:lnTo>
                <a:lnTo>
                  <a:pt x="6" y="6"/>
                </a:lnTo>
                <a:lnTo>
                  <a:pt x="5" y="6"/>
                </a:lnTo>
                <a:lnTo>
                  <a:pt x="6" y="5"/>
                </a:lnTo>
                <a:close/>
                <a:moveTo>
                  <a:pt x="0" y="0"/>
                </a:moveTo>
                <a:lnTo>
                  <a:pt x="3" y="0"/>
                </a:lnTo>
                <a:lnTo>
                  <a:pt x="6" y="2"/>
                </a:lnTo>
                <a:lnTo>
                  <a:pt x="5" y="2"/>
                </a:lnTo>
                <a:lnTo>
                  <a:pt x="3" y="4"/>
                </a:lnTo>
                <a:lnTo>
                  <a:pt x="1" y="4"/>
                </a:lnTo>
                <a:lnTo>
                  <a:pt x="0" y="2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" name="Freeform 28">
            <a:extLst>
              <a:ext uri="{FF2B5EF4-FFF2-40B4-BE49-F238E27FC236}">
                <a16:creationId xmlns:a16="http://schemas.microsoft.com/office/drawing/2014/main" id="{DC0C68A1-9A26-43BB-BBEB-11F3C0880C53}"/>
              </a:ext>
            </a:extLst>
          </p:cNvPr>
          <p:cNvSpPr>
            <a:spLocks/>
          </p:cNvSpPr>
          <p:nvPr/>
        </p:nvSpPr>
        <p:spPr bwMode="auto">
          <a:xfrm>
            <a:off x="2480682" y="5389911"/>
            <a:ext cx="157935" cy="124609"/>
          </a:xfrm>
          <a:custGeom>
            <a:avLst/>
            <a:gdLst/>
            <a:ahLst/>
            <a:cxnLst>
              <a:cxn ang="0">
                <a:pos x="78" y="3"/>
              </a:cxn>
              <a:cxn ang="0">
                <a:pos x="80" y="4"/>
              </a:cxn>
              <a:cxn ang="0">
                <a:pos x="87" y="13"/>
              </a:cxn>
              <a:cxn ang="0">
                <a:pos x="94" y="18"/>
              </a:cxn>
              <a:cxn ang="0">
                <a:pos x="99" y="19"/>
              </a:cxn>
              <a:cxn ang="0">
                <a:pos x="102" y="22"/>
              </a:cxn>
              <a:cxn ang="0">
                <a:pos x="104" y="29"/>
              </a:cxn>
              <a:cxn ang="0">
                <a:pos x="108" y="35"/>
              </a:cxn>
              <a:cxn ang="0">
                <a:pos x="108" y="40"/>
              </a:cxn>
              <a:cxn ang="0">
                <a:pos x="105" y="46"/>
              </a:cxn>
              <a:cxn ang="0">
                <a:pos x="105" y="55"/>
              </a:cxn>
              <a:cxn ang="0">
                <a:pos x="99" y="59"/>
              </a:cxn>
              <a:cxn ang="0">
                <a:pos x="97" y="62"/>
              </a:cxn>
              <a:cxn ang="0">
                <a:pos x="96" y="70"/>
              </a:cxn>
              <a:cxn ang="0">
                <a:pos x="92" y="68"/>
              </a:cxn>
              <a:cxn ang="0">
                <a:pos x="90" y="72"/>
              </a:cxn>
              <a:cxn ang="0">
                <a:pos x="86" y="72"/>
              </a:cxn>
              <a:cxn ang="0">
                <a:pos x="79" y="71"/>
              </a:cxn>
              <a:cxn ang="0">
                <a:pos x="75" y="68"/>
              </a:cxn>
              <a:cxn ang="0">
                <a:pos x="72" y="71"/>
              </a:cxn>
              <a:cxn ang="0">
                <a:pos x="67" y="70"/>
              </a:cxn>
              <a:cxn ang="0">
                <a:pos x="63" y="72"/>
              </a:cxn>
              <a:cxn ang="0">
                <a:pos x="61" y="76"/>
              </a:cxn>
              <a:cxn ang="0">
                <a:pos x="56" y="82"/>
              </a:cxn>
              <a:cxn ang="0">
                <a:pos x="53" y="82"/>
              </a:cxn>
              <a:cxn ang="0">
                <a:pos x="50" y="84"/>
              </a:cxn>
              <a:cxn ang="0">
                <a:pos x="46" y="84"/>
              </a:cxn>
              <a:cxn ang="0">
                <a:pos x="38" y="85"/>
              </a:cxn>
              <a:cxn ang="0">
                <a:pos x="35" y="85"/>
              </a:cxn>
              <a:cxn ang="0">
                <a:pos x="23" y="86"/>
              </a:cxn>
              <a:cxn ang="0">
                <a:pos x="22" y="83"/>
              </a:cxn>
              <a:cxn ang="0">
                <a:pos x="12" y="84"/>
              </a:cxn>
              <a:cxn ang="0">
                <a:pos x="11" y="78"/>
              </a:cxn>
              <a:cxn ang="0">
                <a:pos x="6" y="73"/>
              </a:cxn>
              <a:cxn ang="0">
                <a:pos x="5" y="68"/>
              </a:cxn>
              <a:cxn ang="0">
                <a:pos x="3" y="61"/>
              </a:cxn>
              <a:cxn ang="0">
                <a:pos x="4" y="59"/>
              </a:cxn>
              <a:cxn ang="0">
                <a:pos x="5" y="55"/>
              </a:cxn>
              <a:cxn ang="0">
                <a:pos x="3" y="54"/>
              </a:cxn>
              <a:cxn ang="0">
                <a:pos x="1" y="50"/>
              </a:cxn>
              <a:cxn ang="0">
                <a:pos x="3" y="47"/>
              </a:cxn>
              <a:cxn ang="0">
                <a:pos x="3" y="41"/>
              </a:cxn>
              <a:cxn ang="0">
                <a:pos x="5" y="30"/>
              </a:cxn>
              <a:cxn ang="0">
                <a:pos x="9" y="30"/>
              </a:cxn>
              <a:cxn ang="0">
                <a:pos x="10" y="30"/>
              </a:cxn>
              <a:cxn ang="0">
                <a:pos x="13" y="28"/>
              </a:cxn>
              <a:cxn ang="0">
                <a:pos x="15" y="17"/>
              </a:cxn>
              <a:cxn ang="0">
                <a:pos x="23" y="15"/>
              </a:cxn>
              <a:cxn ang="0">
                <a:pos x="25" y="12"/>
              </a:cxn>
              <a:cxn ang="0">
                <a:pos x="31" y="12"/>
              </a:cxn>
              <a:cxn ang="0">
                <a:pos x="34" y="16"/>
              </a:cxn>
              <a:cxn ang="0">
                <a:pos x="36" y="16"/>
              </a:cxn>
              <a:cxn ang="0">
                <a:pos x="36" y="13"/>
              </a:cxn>
              <a:cxn ang="0">
                <a:pos x="42" y="10"/>
              </a:cxn>
              <a:cxn ang="0">
                <a:pos x="43" y="9"/>
              </a:cxn>
              <a:cxn ang="0">
                <a:pos x="46" y="9"/>
              </a:cxn>
              <a:cxn ang="0">
                <a:pos x="52" y="9"/>
              </a:cxn>
              <a:cxn ang="0">
                <a:pos x="54" y="7"/>
              </a:cxn>
              <a:cxn ang="0">
                <a:pos x="62" y="3"/>
              </a:cxn>
              <a:cxn ang="0">
                <a:pos x="67" y="5"/>
              </a:cxn>
              <a:cxn ang="0">
                <a:pos x="77" y="1"/>
              </a:cxn>
            </a:cxnLst>
            <a:rect l="0" t="0" r="r" b="b"/>
            <a:pathLst>
              <a:path w="109" h="86">
                <a:moveTo>
                  <a:pt x="77" y="0"/>
                </a:moveTo>
                <a:lnTo>
                  <a:pt x="78" y="0"/>
                </a:lnTo>
                <a:lnTo>
                  <a:pt x="78" y="3"/>
                </a:lnTo>
                <a:lnTo>
                  <a:pt x="79" y="3"/>
                </a:lnTo>
                <a:lnTo>
                  <a:pt x="79" y="4"/>
                </a:lnTo>
                <a:lnTo>
                  <a:pt x="80" y="4"/>
                </a:lnTo>
                <a:lnTo>
                  <a:pt x="85" y="10"/>
                </a:lnTo>
                <a:lnTo>
                  <a:pt x="87" y="12"/>
                </a:lnTo>
                <a:lnTo>
                  <a:pt x="87" y="13"/>
                </a:lnTo>
                <a:lnTo>
                  <a:pt x="88" y="15"/>
                </a:lnTo>
                <a:lnTo>
                  <a:pt x="92" y="17"/>
                </a:lnTo>
                <a:lnTo>
                  <a:pt x="94" y="18"/>
                </a:lnTo>
                <a:lnTo>
                  <a:pt x="96" y="18"/>
                </a:lnTo>
                <a:lnTo>
                  <a:pt x="97" y="19"/>
                </a:lnTo>
                <a:lnTo>
                  <a:pt x="99" y="19"/>
                </a:lnTo>
                <a:lnTo>
                  <a:pt x="99" y="21"/>
                </a:lnTo>
                <a:lnTo>
                  <a:pt x="102" y="21"/>
                </a:lnTo>
                <a:lnTo>
                  <a:pt x="102" y="22"/>
                </a:lnTo>
                <a:lnTo>
                  <a:pt x="103" y="23"/>
                </a:lnTo>
                <a:lnTo>
                  <a:pt x="103" y="29"/>
                </a:lnTo>
                <a:lnTo>
                  <a:pt x="104" y="29"/>
                </a:lnTo>
                <a:lnTo>
                  <a:pt x="104" y="30"/>
                </a:lnTo>
                <a:lnTo>
                  <a:pt x="106" y="35"/>
                </a:lnTo>
                <a:lnTo>
                  <a:pt x="108" y="35"/>
                </a:lnTo>
                <a:lnTo>
                  <a:pt x="109" y="36"/>
                </a:lnTo>
                <a:lnTo>
                  <a:pt x="109" y="39"/>
                </a:lnTo>
                <a:lnTo>
                  <a:pt x="108" y="40"/>
                </a:lnTo>
                <a:lnTo>
                  <a:pt x="108" y="41"/>
                </a:lnTo>
                <a:lnTo>
                  <a:pt x="105" y="43"/>
                </a:lnTo>
                <a:lnTo>
                  <a:pt x="105" y="46"/>
                </a:lnTo>
                <a:lnTo>
                  <a:pt x="106" y="46"/>
                </a:lnTo>
                <a:lnTo>
                  <a:pt x="106" y="55"/>
                </a:lnTo>
                <a:lnTo>
                  <a:pt x="105" y="55"/>
                </a:lnTo>
                <a:lnTo>
                  <a:pt x="106" y="56"/>
                </a:lnTo>
                <a:lnTo>
                  <a:pt x="106" y="59"/>
                </a:lnTo>
                <a:lnTo>
                  <a:pt x="99" y="59"/>
                </a:lnTo>
                <a:lnTo>
                  <a:pt x="98" y="60"/>
                </a:lnTo>
                <a:lnTo>
                  <a:pt x="98" y="62"/>
                </a:lnTo>
                <a:lnTo>
                  <a:pt x="97" y="62"/>
                </a:lnTo>
                <a:lnTo>
                  <a:pt x="97" y="70"/>
                </a:lnTo>
                <a:lnTo>
                  <a:pt x="96" y="71"/>
                </a:lnTo>
                <a:lnTo>
                  <a:pt x="96" y="70"/>
                </a:lnTo>
                <a:lnTo>
                  <a:pt x="94" y="70"/>
                </a:lnTo>
                <a:lnTo>
                  <a:pt x="94" y="68"/>
                </a:lnTo>
                <a:lnTo>
                  <a:pt x="92" y="68"/>
                </a:lnTo>
                <a:lnTo>
                  <a:pt x="92" y="71"/>
                </a:lnTo>
                <a:lnTo>
                  <a:pt x="90" y="71"/>
                </a:lnTo>
                <a:lnTo>
                  <a:pt x="90" y="72"/>
                </a:lnTo>
                <a:lnTo>
                  <a:pt x="88" y="71"/>
                </a:lnTo>
                <a:lnTo>
                  <a:pt x="87" y="71"/>
                </a:lnTo>
                <a:lnTo>
                  <a:pt x="86" y="72"/>
                </a:lnTo>
                <a:lnTo>
                  <a:pt x="84" y="72"/>
                </a:lnTo>
                <a:lnTo>
                  <a:pt x="83" y="71"/>
                </a:lnTo>
                <a:lnTo>
                  <a:pt x="79" y="71"/>
                </a:lnTo>
                <a:lnTo>
                  <a:pt x="79" y="70"/>
                </a:lnTo>
                <a:lnTo>
                  <a:pt x="75" y="70"/>
                </a:lnTo>
                <a:lnTo>
                  <a:pt x="75" y="68"/>
                </a:lnTo>
                <a:lnTo>
                  <a:pt x="74" y="70"/>
                </a:lnTo>
                <a:lnTo>
                  <a:pt x="73" y="70"/>
                </a:lnTo>
                <a:lnTo>
                  <a:pt x="72" y="71"/>
                </a:lnTo>
                <a:lnTo>
                  <a:pt x="68" y="71"/>
                </a:lnTo>
                <a:lnTo>
                  <a:pt x="68" y="70"/>
                </a:lnTo>
                <a:lnTo>
                  <a:pt x="67" y="70"/>
                </a:lnTo>
                <a:lnTo>
                  <a:pt x="67" y="71"/>
                </a:lnTo>
                <a:lnTo>
                  <a:pt x="65" y="71"/>
                </a:lnTo>
                <a:lnTo>
                  <a:pt x="63" y="72"/>
                </a:lnTo>
                <a:lnTo>
                  <a:pt x="62" y="72"/>
                </a:lnTo>
                <a:lnTo>
                  <a:pt x="62" y="76"/>
                </a:lnTo>
                <a:lnTo>
                  <a:pt x="61" y="76"/>
                </a:lnTo>
                <a:lnTo>
                  <a:pt x="57" y="79"/>
                </a:lnTo>
                <a:lnTo>
                  <a:pt x="57" y="82"/>
                </a:lnTo>
                <a:lnTo>
                  <a:pt x="56" y="82"/>
                </a:lnTo>
                <a:lnTo>
                  <a:pt x="56" y="83"/>
                </a:lnTo>
                <a:lnTo>
                  <a:pt x="55" y="83"/>
                </a:lnTo>
                <a:lnTo>
                  <a:pt x="53" y="82"/>
                </a:lnTo>
                <a:lnTo>
                  <a:pt x="52" y="83"/>
                </a:lnTo>
                <a:lnTo>
                  <a:pt x="52" y="84"/>
                </a:lnTo>
                <a:lnTo>
                  <a:pt x="50" y="84"/>
                </a:lnTo>
                <a:lnTo>
                  <a:pt x="49" y="85"/>
                </a:lnTo>
                <a:lnTo>
                  <a:pt x="47" y="85"/>
                </a:lnTo>
                <a:lnTo>
                  <a:pt x="46" y="84"/>
                </a:lnTo>
                <a:lnTo>
                  <a:pt x="42" y="83"/>
                </a:lnTo>
                <a:lnTo>
                  <a:pt x="41" y="83"/>
                </a:lnTo>
                <a:lnTo>
                  <a:pt x="38" y="85"/>
                </a:lnTo>
                <a:lnTo>
                  <a:pt x="36" y="86"/>
                </a:lnTo>
                <a:lnTo>
                  <a:pt x="35" y="86"/>
                </a:lnTo>
                <a:lnTo>
                  <a:pt x="35" y="85"/>
                </a:lnTo>
                <a:lnTo>
                  <a:pt x="31" y="85"/>
                </a:lnTo>
                <a:lnTo>
                  <a:pt x="29" y="86"/>
                </a:lnTo>
                <a:lnTo>
                  <a:pt x="23" y="86"/>
                </a:lnTo>
                <a:lnTo>
                  <a:pt x="23" y="85"/>
                </a:lnTo>
                <a:lnTo>
                  <a:pt x="22" y="84"/>
                </a:lnTo>
                <a:lnTo>
                  <a:pt x="22" y="83"/>
                </a:lnTo>
                <a:lnTo>
                  <a:pt x="16" y="83"/>
                </a:lnTo>
                <a:lnTo>
                  <a:pt x="15" y="84"/>
                </a:lnTo>
                <a:lnTo>
                  <a:pt x="12" y="84"/>
                </a:lnTo>
                <a:lnTo>
                  <a:pt x="12" y="83"/>
                </a:lnTo>
                <a:lnTo>
                  <a:pt x="11" y="82"/>
                </a:lnTo>
                <a:lnTo>
                  <a:pt x="11" y="78"/>
                </a:lnTo>
                <a:lnTo>
                  <a:pt x="10" y="74"/>
                </a:lnTo>
                <a:lnTo>
                  <a:pt x="9" y="73"/>
                </a:lnTo>
                <a:lnTo>
                  <a:pt x="6" y="73"/>
                </a:lnTo>
                <a:lnTo>
                  <a:pt x="6" y="71"/>
                </a:lnTo>
                <a:lnTo>
                  <a:pt x="5" y="70"/>
                </a:lnTo>
                <a:lnTo>
                  <a:pt x="5" y="68"/>
                </a:lnTo>
                <a:lnTo>
                  <a:pt x="4" y="66"/>
                </a:lnTo>
                <a:lnTo>
                  <a:pt x="3" y="65"/>
                </a:lnTo>
                <a:lnTo>
                  <a:pt x="3" y="61"/>
                </a:lnTo>
                <a:lnTo>
                  <a:pt x="1" y="60"/>
                </a:lnTo>
                <a:lnTo>
                  <a:pt x="3" y="59"/>
                </a:lnTo>
                <a:lnTo>
                  <a:pt x="4" y="59"/>
                </a:lnTo>
                <a:lnTo>
                  <a:pt x="4" y="58"/>
                </a:lnTo>
                <a:lnTo>
                  <a:pt x="5" y="56"/>
                </a:lnTo>
                <a:lnTo>
                  <a:pt x="5" y="55"/>
                </a:lnTo>
                <a:lnTo>
                  <a:pt x="4" y="55"/>
                </a:lnTo>
                <a:lnTo>
                  <a:pt x="4" y="54"/>
                </a:lnTo>
                <a:lnTo>
                  <a:pt x="3" y="54"/>
                </a:lnTo>
                <a:lnTo>
                  <a:pt x="3" y="52"/>
                </a:lnTo>
                <a:lnTo>
                  <a:pt x="1" y="52"/>
                </a:lnTo>
                <a:lnTo>
                  <a:pt x="1" y="50"/>
                </a:lnTo>
                <a:lnTo>
                  <a:pt x="0" y="50"/>
                </a:lnTo>
                <a:lnTo>
                  <a:pt x="0" y="47"/>
                </a:lnTo>
                <a:lnTo>
                  <a:pt x="3" y="47"/>
                </a:lnTo>
                <a:lnTo>
                  <a:pt x="4" y="46"/>
                </a:lnTo>
                <a:lnTo>
                  <a:pt x="4" y="42"/>
                </a:lnTo>
                <a:lnTo>
                  <a:pt x="3" y="41"/>
                </a:lnTo>
                <a:lnTo>
                  <a:pt x="3" y="36"/>
                </a:lnTo>
                <a:lnTo>
                  <a:pt x="5" y="34"/>
                </a:lnTo>
                <a:lnTo>
                  <a:pt x="5" y="30"/>
                </a:lnTo>
                <a:lnTo>
                  <a:pt x="6" y="29"/>
                </a:lnTo>
                <a:lnTo>
                  <a:pt x="6" y="30"/>
                </a:lnTo>
                <a:lnTo>
                  <a:pt x="9" y="30"/>
                </a:lnTo>
                <a:lnTo>
                  <a:pt x="9" y="29"/>
                </a:lnTo>
                <a:lnTo>
                  <a:pt x="10" y="29"/>
                </a:lnTo>
                <a:lnTo>
                  <a:pt x="10" y="30"/>
                </a:lnTo>
                <a:lnTo>
                  <a:pt x="12" y="30"/>
                </a:lnTo>
                <a:lnTo>
                  <a:pt x="12" y="29"/>
                </a:lnTo>
                <a:lnTo>
                  <a:pt x="13" y="28"/>
                </a:lnTo>
                <a:lnTo>
                  <a:pt x="13" y="19"/>
                </a:lnTo>
                <a:lnTo>
                  <a:pt x="15" y="18"/>
                </a:lnTo>
                <a:lnTo>
                  <a:pt x="15" y="17"/>
                </a:lnTo>
                <a:lnTo>
                  <a:pt x="16" y="17"/>
                </a:lnTo>
                <a:lnTo>
                  <a:pt x="19" y="15"/>
                </a:lnTo>
                <a:lnTo>
                  <a:pt x="23" y="15"/>
                </a:lnTo>
                <a:lnTo>
                  <a:pt x="24" y="13"/>
                </a:lnTo>
                <a:lnTo>
                  <a:pt x="25" y="13"/>
                </a:lnTo>
                <a:lnTo>
                  <a:pt x="25" y="12"/>
                </a:lnTo>
                <a:lnTo>
                  <a:pt x="27" y="11"/>
                </a:lnTo>
                <a:lnTo>
                  <a:pt x="29" y="11"/>
                </a:lnTo>
                <a:lnTo>
                  <a:pt x="31" y="12"/>
                </a:lnTo>
                <a:lnTo>
                  <a:pt x="32" y="13"/>
                </a:lnTo>
                <a:lnTo>
                  <a:pt x="32" y="15"/>
                </a:lnTo>
                <a:lnTo>
                  <a:pt x="34" y="16"/>
                </a:lnTo>
                <a:lnTo>
                  <a:pt x="35" y="16"/>
                </a:lnTo>
                <a:lnTo>
                  <a:pt x="36" y="17"/>
                </a:lnTo>
                <a:lnTo>
                  <a:pt x="36" y="16"/>
                </a:lnTo>
                <a:lnTo>
                  <a:pt x="37" y="16"/>
                </a:lnTo>
                <a:lnTo>
                  <a:pt x="36" y="15"/>
                </a:lnTo>
                <a:lnTo>
                  <a:pt x="36" y="13"/>
                </a:lnTo>
                <a:lnTo>
                  <a:pt x="38" y="10"/>
                </a:lnTo>
                <a:lnTo>
                  <a:pt x="40" y="9"/>
                </a:lnTo>
                <a:lnTo>
                  <a:pt x="42" y="10"/>
                </a:lnTo>
                <a:lnTo>
                  <a:pt x="42" y="7"/>
                </a:lnTo>
                <a:lnTo>
                  <a:pt x="43" y="7"/>
                </a:lnTo>
                <a:lnTo>
                  <a:pt x="43" y="9"/>
                </a:lnTo>
                <a:lnTo>
                  <a:pt x="44" y="9"/>
                </a:lnTo>
                <a:lnTo>
                  <a:pt x="44" y="7"/>
                </a:lnTo>
                <a:lnTo>
                  <a:pt x="46" y="9"/>
                </a:lnTo>
                <a:lnTo>
                  <a:pt x="48" y="7"/>
                </a:lnTo>
                <a:lnTo>
                  <a:pt x="50" y="7"/>
                </a:lnTo>
                <a:lnTo>
                  <a:pt x="52" y="9"/>
                </a:lnTo>
                <a:lnTo>
                  <a:pt x="53" y="9"/>
                </a:lnTo>
                <a:lnTo>
                  <a:pt x="53" y="7"/>
                </a:lnTo>
                <a:lnTo>
                  <a:pt x="54" y="7"/>
                </a:lnTo>
                <a:lnTo>
                  <a:pt x="59" y="4"/>
                </a:lnTo>
                <a:lnTo>
                  <a:pt x="61" y="4"/>
                </a:lnTo>
                <a:lnTo>
                  <a:pt x="62" y="3"/>
                </a:lnTo>
                <a:lnTo>
                  <a:pt x="63" y="3"/>
                </a:lnTo>
                <a:lnTo>
                  <a:pt x="66" y="4"/>
                </a:lnTo>
                <a:lnTo>
                  <a:pt x="67" y="5"/>
                </a:lnTo>
                <a:lnTo>
                  <a:pt x="68" y="5"/>
                </a:lnTo>
                <a:lnTo>
                  <a:pt x="71" y="4"/>
                </a:lnTo>
                <a:lnTo>
                  <a:pt x="77" y="1"/>
                </a:lnTo>
                <a:lnTo>
                  <a:pt x="77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Freeform 29">
            <a:extLst>
              <a:ext uri="{FF2B5EF4-FFF2-40B4-BE49-F238E27FC236}">
                <a16:creationId xmlns:a16="http://schemas.microsoft.com/office/drawing/2014/main" id="{32967FC2-A747-4B38-9034-ABC91ECD2C7A}"/>
              </a:ext>
            </a:extLst>
          </p:cNvPr>
          <p:cNvSpPr>
            <a:spLocks/>
          </p:cNvSpPr>
          <p:nvPr/>
        </p:nvSpPr>
        <p:spPr bwMode="auto">
          <a:xfrm>
            <a:off x="1580891" y="4700215"/>
            <a:ext cx="49264" cy="69549"/>
          </a:xfrm>
          <a:custGeom>
            <a:avLst/>
            <a:gdLst/>
            <a:ahLst/>
            <a:cxnLst>
              <a:cxn ang="0">
                <a:pos x="12" y="0"/>
              </a:cxn>
              <a:cxn ang="0">
                <a:pos x="16" y="1"/>
              </a:cxn>
              <a:cxn ang="0">
                <a:pos x="17" y="3"/>
              </a:cxn>
              <a:cxn ang="0">
                <a:pos x="16" y="7"/>
              </a:cxn>
              <a:cxn ang="0">
                <a:pos x="16" y="8"/>
              </a:cxn>
              <a:cxn ang="0">
                <a:pos x="17" y="12"/>
              </a:cxn>
              <a:cxn ang="0">
                <a:pos x="18" y="14"/>
              </a:cxn>
              <a:cxn ang="0">
                <a:pos x="19" y="14"/>
              </a:cxn>
              <a:cxn ang="0">
                <a:pos x="22" y="19"/>
              </a:cxn>
              <a:cxn ang="0">
                <a:pos x="24" y="20"/>
              </a:cxn>
              <a:cxn ang="0">
                <a:pos x="27" y="21"/>
              </a:cxn>
              <a:cxn ang="0">
                <a:pos x="28" y="24"/>
              </a:cxn>
              <a:cxn ang="0">
                <a:pos x="33" y="25"/>
              </a:cxn>
              <a:cxn ang="0">
                <a:pos x="33" y="27"/>
              </a:cxn>
              <a:cxn ang="0">
                <a:pos x="30" y="33"/>
              </a:cxn>
              <a:cxn ang="0">
                <a:pos x="29" y="34"/>
              </a:cxn>
              <a:cxn ang="0">
                <a:pos x="30" y="36"/>
              </a:cxn>
              <a:cxn ang="0">
                <a:pos x="29" y="37"/>
              </a:cxn>
              <a:cxn ang="0">
                <a:pos x="27" y="46"/>
              </a:cxn>
              <a:cxn ang="0">
                <a:pos x="23" y="44"/>
              </a:cxn>
              <a:cxn ang="0">
                <a:pos x="18" y="45"/>
              </a:cxn>
              <a:cxn ang="0">
                <a:pos x="16" y="46"/>
              </a:cxn>
              <a:cxn ang="0">
                <a:pos x="10" y="48"/>
              </a:cxn>
              <a:cxn ang="0">
                <a:pos x="9" y="45"/>
              </a:cxn>
              <a:cxn ang="0">
                <a:pos x="5" y="44"/>
              </a:cxn>
              <a:cxn ang="0">
                <a:pos x="3" y="42"/>
              </a:cxn>
              <a:cxn ang="0">
                <a:pos x="5" y="40"/>
              </a:cxn>
              <a:cxn ang="0">
                <a:pos x="6" y="37"/>
              </a:cxn>
              <a:cxn ang="0">
                <a:pos x="7" y="36"/>
              </a:cxn>
              <a:cxn ang="0">
                <a:pos x="5" y="33"/>
              </a:cxn>
              <a:cxn ang="0">
                <a:pos x="6" y="31"/>
              </a:cxn>
              <a:cxn ang="0">
                <a:pos x="4" y="30"/>
              </a:cxn>
              <a:cxn ang="0">
                <a:pos x="3" y="26"/>
              </a:cxn>
              <a:cxn ang="0">
                <a:pos x="0" y="25"/>
              </a:cxn>
              <a:cxn ang="0">
                <a:pos x="2" y="21"/>
              </a:cxn>
              <a:cxn ang="0">
                <a:pos x="0" y="20"/>
              </a:cxn>
              <a:cxn ang="0">
                <a:pos x="0" y="19"/>
              </a:cxn>
              <a:cxn ang="0">
                <a:pos x="2" y="14"/>
              </a:cxn>
              <a:cxn ang="0">
                <a:pos x="4" y="10"/>
              </a:cxn>
              <a:cxn ang="0">
                <a:pos x="5" y="8"/>
              </a:cxn>
              <a:cxn ang="0">
                <a:pos x="6" y="5"/>
              </a:cxn>
              <a:cxn ang="0">
                <a:pos x="9" y="3"/>
              </a:cxn>
              <a:cxn ang="0">
                <a:pos x="10" y="0"/>
              </a:cxn>
            </a:cxnLst>
            <a:rect l="0" t="0" r="r" b="b"/>
            <a:pathLst>
              <a:path w="34" h="48">
                <a:moveTo>
                  <a:pt x="10" y="0"/>
                </a:moveTo>
                <a:lnTo>
                  <a:pt x="12" y="0"/>
                </a:lnTo>
                <a:lnTo>
                  <a:pt x="12" y="1"/>
                </a:lnTo>
                <a:lnTo>
                  <a:pt x="16" y="1"/>
                </a:lnTo>
                <a:lnTo>
                  <a:pt x="16" y="3"/>
                </a:lnTo>
                <a:lnTo>
                  <a:pt x="17" y="3"/>
                </a:lnTo>
                <a:lnTo>
                  <a:pt x="17" y="5"/>
                </a:lnTo>
                <a:lnTo>
                  <a:pt x="16" y="7"/>
                </a:lnTo>
                <a:lnTo>
                  <a:pt x="17" y="7"/>
                </a:lnTo>
                <a:lnTo>
                  <a:pt x="16" y="8"/>
                </a:lnTo>
                <a:lnTo>
                  <a:pt x="17" y="8"/>
                </a:lnTo>
                <a:lnTo>
                  <a:pt x="17" y="12"/>
                </a:lnTo>
                <a:lnTo>
                  <a:pt x="18" y="13"/>
                </a:lnTo>
                <a:lnTo>
                  <a:pt x="18" y="14"/>
                </a:lnTo>
                <a:lnTo>
                  <a:pt x="19" y="15"/>
                </a:lnTo>
                <a:lnTo>
                  <a:pt x="19" y="14"/>
                </a:lnTo>
                <a:lnTo>
                  <a:pt x="21" y="15"/>
                </a:lnTo>
                <a:lnTo>
                  <a:pt x="22" y="19"/>
                </a:lnTo>
                <a:lnTo>
                  <a:pt x="23" y="20"/>
                </a:lnTo>
                <a:lnTo>
                  <a:pt x="24" y="20"/>
                </a:lnTo>
                <a:lnTo>
                  <a:pt x="24" y="21"/>
                </a:lnTo>
                <a:lnTo>
                  <a:pt x="27" y="21"/>
                </a:lnTo>
                <a:lnTo>
                  <a:pt x="27" y="22"/>
                </a:lnTo>
                <a:lnTo>
                  <a:pt x="28" y="24"/>
                </a:lnTo>
                <a:lnTo>
                  <a:pt x="31" y="24"/>
                </a:lnTo>
                <a:lnTo>
                  <a:pt x="33" y="25"/>
                </a:lnTo>
                <a:lnTo>
                  <a:pt x="34" y="25"/>
                </a:lnTo>
                <a:lnTo>
                  <a:pt x="33" y="27"/>
                </a:lnTo>
                <a:lnTo>
                  <a:pt x="33" y="31"/>
                </a:lnTo>
                <a:lnTo>
                  <a:pt x="30" y="33"/>
                </a:lnTo>
                <a:lnTo>
                  <a:pt x="29" y="33"/>
                </a:lnTo>
                <a:lnTo>
                  <a:pt x="29" y="34"/>
                </a:lnTo>
                <a:lnTo>
                  <a:pt x="30" y="34"/>
                </a:lnTo>
                <a:lnTo>
                  <a:pt x="30" y="36"/>
                </a:lnTo>
                <a:lnTo>
                  <a:pt x="29" y="36"/>
                </a:lnTo>
                <a:lnTo>
                  <a:pt x="29" y="37"/>
                </a:lnTo>
                <a:lnTo>
                  <a:pt x="27" y="39"/>
                </a:lnTo>
                <a:lnTo>
                  <a:pt x="27" y="46"/>
                </a:lnTo>
                <a:lnTo>
                  <a:pt x="24" y="46"/>
                </a:lnTo>
                <a:lnTo>
                  <a:pt x="23" y="44"/>
                </a:lnTo>
                <a:lnTo>
                  <a:pt x="18" y="44"/>
                </a:lnTo>
                <a:lnTo>
                  <a:pt x="18" y="45"/>
                </a:lnTo>
                <a:lnTo>
                  <a:pt x="16" y="45"/>
                </a:lnTo>
                <a:lnTo>
                  <a:pt x="16" y="46"/>
                </a:lnTo>
                <a:lnTo>
                  <a:pt x="15" y="48"/>
                </a:lnTo>
                <a:lnTo>
                  <a:pt x="10" y="48"/>
                </a:lnTo>
                <a:lnTo>
                  <a:pt x="10" y="46"/>
                </a:lnTo>
                <a:lnTo>
                  <a:pt x="9" y="45"/>
                </a:lnTo>
                <a:lnTo>
                  <a:pt x="6" y="44"/>
                </a:lnTo>
                <a:lnTo>
                  <a:pt x="5" y="44"/>
                </a:lnTo>
                <a:lnTo>
                  <a:pt x="5" y="43"/>
                </a:lnTo>
                <a:lnTo>
                  <a:pt x="3" y="42"/>
                </a:lnTo>
                <a:lnTo>
                  <a:pt x="4" y="40"/>
                </a:lnTo>
                <a:lnTo>
                  <a:pt x="5" y="40"/>
                </a:lnTo>
                <a:lnTo>
                  <a:pt x="5" y="38"/>
                </a:lnTo>
                <a:lnTo>
                  <a:pt x="6" y="37"/>
                </a:lnTo>
                <a:lnTo>
                  <a:pt x="6" y="36"/>
                </a:lnTo>
                <a:lnTo>
                  <a:pt x="7" y="36"/>
                </a:lnTo>
                <a:lnTo>
                  <a:pt x="7" y="33"/>
                </a:lnTo>
                <a:lnTo>
                  <a:pt x="5" y="33"/>
                </a:lnTo>
                <a:lnTo>
                  <a:pt x="5" y="32"/>
                </a:lnTo>
                <a:lnTo>
                  <a:pt x="6" y="31"/>
                </a:lnTo>
                <a:lnTo>
                  <a:pt x="6" y="30"/>
                </a:lnTo>
                <a:lnTo>
                  <a:pt x="4" y="30"/>
                </a:lnTo>
                <a:lnTo>
                  <a:pt x="4" y="28"/>
                </a:lnTo>
                <a:lnTo>
                  <a:pt x="3" y="26"/>
                </a:lnTo>
                <a:lnTo>
                  <a:pt x="2" y="25"/>
                </a:lnTo>
                <a:lnTo>
                  <a:pt x="0" y="25"/>
                </a:lnTo>
                <a:lnTo>
                  <a:pt x="0" y="22"/>
                </a:lnTo>
                <a:lnTo>
                  <a:pt x="2" y="21"/>
                </a:lnTo>
                <a:lnTo>
                  <a:pt x="0" y="21"/>
                </a:lnTo>
                <a:lnTo>
                  <a:pt x="0" y="20"/>
                </a:lnTo>
                <a:lnTo>
                  <a:pt x="2" y="20"/>
                </a:lnTo>
                <a:lnTo>
                  <a:pt x="0" y="19"/>
                </a:lnTo>
                <a:lnTo>
                  <a:pt x="2" y="15"/>
                </a:lnTo>
                <a:lnTo>
                  <a:pt x="2" y="14"/>
                </a:lnTo>
                <a:lnTo>
                  <a:pt x="4" y="14"/>
                </a:lnTo>
                <a:lnTo>
                  <a:pt x="4" y="10"/>
                </a:lnTo>
                <a:lnTo>
                  <a:pt x="5" y="10"/>
                </a:lnTo>
                <a:lnTo>
                  <a:pt x="5" y="8"/>
                </a:lnTo>
                <a:lnTo>
                  <a:pt x="6" y="7"/>
                </a:lnTo>
                <a:lnTo>
                  <a:pt x="6" y="5"/>
                </a:lnTo>
                <a:lnTo>
                  <a:pt x="7" y="5"/>
                </a:lnTo>
                <a:lnTo>
                  <a:pt x="9" y="3"/>
                </a:lnTo>
                <a:lnTo>
                  <a:pt x="10" y="3"/>
                </a:lnTo>
                <a:lnTo>
                  <a:pt x="1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Freeform 30">
            <a:extLst>
              <a:ext uri="{FF2B5EF4-FFF2-40B4-BE49-F238E27FC236}">
                <a16:creationId xmlns:a16="http://schemas.microsoft.com/office/drawing/2014/main" id="{33C6005A-C449-406D-ADFF-78BBB888176B}"/>
              </a:ext>
            </a:extLst>
          </p:cNvPr>
          <p:cNvSpPr>
            <a:spLocks/>
          </p:cNvSpPr>
          <p:nvPr/>
        </p:nvSpPr>
        <p:spPr bwMode="auto">
          <a:xfrm>
            <a:off x="2511110" y="4058334"/>
            <a:ext cx="357889" cy="272401"/>
          </a:xfrm>
          <a:custGeom>
            <a:avLst/>
            <a:gdLst/>
            <a:ahLst/>
            <a:cxnLst>
              <a:cxn ang="0">
                <a:pos x="170" y="10"/>
              </a:cxn>
              <a:cxn ang="0">
                <a:pos x="196" y="22"/>
              </a:cxn>
              <a:cxn ang="0">
                <a:pos x="208" y="33"/>
              </a:cxn>
              <a:cxn ang="0">
                <a:pos x="226" y="52"/>
              </a:cxn>
              <a:cxn ang="0">
                <a:pos x="237" y="68"/>
              </a:cxn>
              <a:cxn ang="0">
                <a:pos x="233" y="83"/>
              </a:cxn>
              <a:cxn ang="0">
                <a:pos x="246" y="89"/>
              </a:cxn>
              <a:cxn ang="0">
                <a:pos x="240" y="93"/>
              </a:cxn>
              <a:cxn ang="0">
                <a:pos x="233" y="98"/>
              </a:cxn>
              <a:cxn ang="0">
                <a:pos x="221" y="107"/>
              </a:cxn>
              <a:cxn ang="0">
                <a:pos x="211" y="111"/>
              </a:cxn>
              <a:cxn ang="0">
                <a:pos x="205" y="117"/>
              </a:cxn>
              <a:cxn ang="0">
                <a:pos x="203" y="139"/>
              </a:cxn>
              <a:cxn ang="0">
                <a:pos x="197" y="149"/>
              </a:cxn>
              <a:cxn ang="0">
                <a:pos x="197" y="158"/>
              </a:cxn>
              <a:cxn ang="0">
                <a:pos x="203" y="161"/>
              </a:cxn>
              <a:cxn ang="0">
                <a:pos x="195" y="170"/>
              </a:cxn>
              <a:cxn ang="0">
                <a:pos x="194" y="163"/>
              </a:cxn>
              <a:cxn ang="0">
                <a:pos x="188" y="162"/>
              </a:cxn>
              <a:cxn ang="0">
                <a:pos x="177" y="169"/>
              </a:cxn>
              <a:cxn ang="0">
                <a:pos x="164" y="172"/>
              </a:cxn>
              <a:cxn ang="0">
                <a:pos x="159" y="182"/>
              </a:cxn>
              <a:cxn ang="0">
                <a:pos x="145" y="188"/>
              </a:cxn>
              <a:cxn ang="0">
                <a:pos x="135" y="184"/>
              </a:cxn>
              <a:cxn ang="0">
                <a:pos x="121" y="186"/>
              </a:cxn>
              <a:cxn ang="0">
                <a:pos x="113" y="187"/>
              </a:cxn>
              <a:cxn ang="0">
                <a:pos x="108" y="180"/>
              </a:cxn>
              <a:cxn ang="0">
                <a:pos x="103" y="164"/>
              </a:cxn>
              <a:cxn ang="0">
                <a:pos x="93" y="158"/>
              </a:cxn>
              <a:cxn ang="0">
                <a:pos x="82" y="151"/>
              </a:cxn>
              <a:cxn ang="0">
                <a:pos x="73" y="138"/>
              </a:cxn>
              <a:cxn ang="0">
                <a:pos x="77" y="126"/>
              </a:cxn>
              <a:cxn ang="0">
                <a:pos x="79" y="115"/>
              </a:cxn>
              <a:cxn ang="0">
                <a:pos x="72" y="111"/>
              </a:cxn>
              <a:cxn ang="0">
                <a:pos x="64" y="104"/>
              </a:cxn>
              <a:cxn ang="0">
                <a:pos x="46" y="104"/>
              </a:cxn>
              <a:cxn ang="0">
                <a:pos x="40" y="100"/>
              </a:cxn>
              <a:cxn ang="0">
                <a:pos x="25" y="93"/>
              </a:cxn>
              <a:cxn ang="0">
                <a:pos x="14" y="86"/>
              </a:cxn>
              <a:cxn ang="0">
                <a:pos x="10" y="82"/>
              </a:cxn>
              <a:cxn ang="0">
                <a:pos x="11" y="68"/>
              </a:cxn>
              <a:cxn ang="0">
                <a:pos x="7" y="74"/>
              </a:cxn>
              <a:cxn ang="0">
                <a:pos x="2" y="86"/>
              </a:cxn>
              <a:cxn ang="0">
                <a:pos x="7" y="53"/>
              </a:cxn>
              <a:cxn ang="0">
                <a:pos x="6" y="49"/>
              </a:cxn>
              <a:cxn ang="0">
                <a:pos x="11" y="26"/>
              </a:cxn>
              <a:cxn ang="0">
                <a:pos x="27" y="10"/>
              </a:cxn>
              <a:cxn ang="0">
                <a:pos x="51" y="1"/>
              </a:cxn>
              <a:cxn ang="0">
                <a:pos x="83" y="2"/>
              </a:cxn>
              <a:cxn ang="0">
                <a:pos x="94" y="7"/>
              </a:cxn>
              <a:cxn ang="0">
                <a:pos x="109" y="8"/>
              </a:cxn>
              <a:cxn ang="0">
                <a:pos x="128" y="9"/>
              </a:cxn>
              <a:cxn ang="0">
                <a:pos x="150" y="13"/>
              </a:cxn>
              <a:cxn ang="0">
                <a:pos x="165" y="2"/>
              </a:cxn>
            </a:cxnLst>
            <a:rect l="0" t="0" r="r" b="b"/>
            <a:pathLst>
              <a:path w="247" h="188">
                <a:moveTo>
                  <a:pt x="165" y="0"/>
                </a:moveTo>
                <a:lnTo>
                  <a:pt x="168" y="0"/>
                </a:lnTo>
                <a:lnTo>
                  <a:pt x="168" y="1"/>
                </a:lnTo>
                <a:lnTo>
                  <a:pt x="169" y="4"/>
                </a:lnTo>
                <a:lnTo>
                  <a:pt x="170" y="9"/>
                </a:lnTo>
                <a:lnTo>
                  <a:pt x="170" y="10"/>
                </a:lnTo>
                <a:lnTo>
                  <a:pt x="171" y="10"/>
                </a:lnTo>
                <a:lnTo>
                  <a:pt x="175" y="18"/>
                </a:lnTo>
                <a:lnTo>
                  <a:pt x="176" y="19"/>
                </a:lnTo>
                <a:lnTo>
                  <a:pt x="187" y="21"/>
                </a:lnTo>
                <a:lnTo>
                  <a:pt x="194" y="21"/>
                </a:lnTo>
                <a:lnTo>
                  <a:pt x="196" y="22"/>
                </a:lnTo>
                <a:lnTo>
                  <a:pt x="200" y="22"/>
                </a:lnTo>
                <a:lnTo>
                  <a:pt x="201" y="26"/>
                </a:lnTo>
                <a:lnTo>
                  <a:pt x="202" y="27"/>
                </a:lnTo>
                <a:lnTo>
                  <a:pt x="205" y="28"/>
                </a:lnTo>
                <a:lnTo>
                  <a:pt x="206" y="29"/>
                </a:lnTo>
                <a:lnTo>
                  <a:pt x="208" y="33"/>
                </a:lnTo>
                <a:lnTo>
                  <a:pt x="212" y="35"/>
                </a:lnTo>
                <a:lnTo>
                  <a:pt x="214" y="38"/>
                </a:lnTo>
                <a:lnTo>
                  <a:pt x="218" y="40"/>
                </a:lnTo>
                <a:lnTo>
                  <a:pt x="221" y="44"/>
                </a:lnTo>
                <a:lnTo>
                  <a:pt x="224" y="49"/>
                </a:lnTo>
                <a:lnTo>
                  <a:pt x="226" y="52"/>
                </a:lnTo>
                <a:lnTo>
                  <a:pt x="228" y="55"/>
                </a:lnTo>
                <a:lnTo>
                  <a:pt x="234" y="57"/>
                </a:lnTo>
                <a:lnTo>
                  <a:pt x="237" y="58"/>
                </a:lnTo>
                <a:lnTo>
                  <a:pt x="239" y="58"/>
                </a:lnTo>
                <a:lnTo>
                  <a:pt x="239" y="65"/>
                </a:lnTo>
                <a:lnTo>
                  <a:pt x="237" y="68"/>
                </a:lnTo>
                <a:lnTo>
                  <a:pt x="237" y="74"/>
                </a:lnTo>
                <a:lnTo>
                  <a:pt x="236" y="75"/>
                </a:lnTo>
                <a:lnTo>
                  <a:pt x="234" y="78"/>
                </a:lnTo>
                <a:lnTo>
                  <a:pt x="234" y="80"/>
                </a:lnTo>
                <a:lnTo>
                  <a:pt x="233" y="81"/>
                </a:lnTo>
                <a:lnTo>
                  <a:pt x="233" y="83"/>
                </a:lnTo>
                <a:lnTo>
                  <a:pt x="236" y="84"/>
                </a:lnTo>
                <a:lnTo>
                  <a:pt x="239" y="84"/>
                </a:lnTo>
                <a:lnTo>
                  <a:pt x="246" y="86"/>
                </a:lnTo>
                <a:lnTo>
                  <a:pt x="247" y="86"/>
                </a:lnTo>
                <a:lnTo>
                  <a:pt x="247" y="88"/>
                </a:lnTo>
                <a:lnTo>
                  <a:pt x="246" y="89"/>
                </a:lnTo>
                <a:lnTo>
                  <a:pt x="245" y="89"/>
                </a:lnTo>
                <a:lnTo>
                  <a:pt x="244" y="90"/>
                </a:lnTo>
                <a:lnTo>
                  <a:pt x="243" y="90"/>
                </a:lnTo>
                <a:lnTo>
                  <a:pt x="241" y="92"/>
                </a:lnTo>
                <a:lnTo>
                  <a:pt x="241" y="93"/>
                </a:lnTo>
                <a:lnTo>
                  <a:pt x="240" y="93"/>
                </a:lnTo>
                <a:lnTo>
                  <a:pt x="240" y="98"/>
                </a:lnTo>
                <a:lnTo>
                  <a:pt x="239" y="99"/>
                </a:lnTo>
                <a:lnTo>
                  <a:pt x="238" y="99"/>
                </a:lnTo>
                <a:lnTo>
                  <a:pt x="234" y="96"/>
                </a:lnTo>
                <a:lnTo>
                  <a:pt x="233" y="96"/>
                </a:lnTo>
                <a:lnTo>
                  <a:pt x="233" y="98"/>
                </a:lnTo>
                <a:lnTo>
                  <a:pt x="232" y="98"/>
                </a:lnTo>
                <a:lnTo>
                  <a:pt x="227" y="96"/>
                </a:lnTo>
                <a:lnTo>
                  <a:pt x="225" y="96"/>
                </a:lnTo>
                <a:lnTo>
                  <a:pt x="224" y="99"/>
                </a:lnTo>
                <a:lnTo>
                  <a:pt x="224" y="104"/>
                </a:lnTo>
                <a:lnTo>
                  <a:pt x="221" y="107"/>
                </a:lnTo>
                <a:lnTo>
                  <a:pt x="221" y="108"/>
                </a:lnTo>
                <a:lnTo>
                  <a:pt x="220" y="108"/>
                </a:lnTo>
                <a:lnTo>
                  <a:pt x="220" y="110"/>
                </a:lnTo>
                <a:lnTo>
                  <a:pt x="218" y="111"/>
                </a:lnTo>
                <a:lnTo>
                  <a:pt x="213" y="112"/>
                </a:lnTo>
                <a:lnTo>
                  <a:pt x="211" y="111"/>
                </a:lnTo>
                <a:lnTo>
                  <a:pt x="208" y="112"/>
                </a:lnTo>
                <a:lnTo>
                  <a:pt x="208" y="113"/>
                </a:lnTo>
                <a:lnTo>
                  <a:pt x="207" y="114"/>
                </a:lnTo>
                <a:lnTo>
                  <a:pt x="207" y="115"/>
                </a:lnTo>
                <a:lnTo>
                  <a:pt x="206" y="115"/>
                </a:lnTo>
                <a:lnTo>
                  <a:pt x="205" y="117"/>
                </a:lnTo>
                <a:lnTo>
                  <a:pt x="205" y="121"/>
                </a:lnTo>
                <a:lnTo>
                  <a:pt x="203" y="121"/>
                </a:lnTo>
                <a:lnTo>
                  <a:pt x="202" y="123"/>
                </a:lnTo>
                <a:lnTo>
                  <a:pt x="202" y="133"/>
                </a:lnTo>
                <a:lnTo>
                  <a:pt x="203" y="136"/>
                </a:lnTo>
                <a:lnTo>
                  <a:pt x="203" y="139"/>
                </a:lnTo>
                <a:lnTo>
                  <a:pt x="202" y="141"/>
                </a:lnTo>
                <a:lnTo>
                  <a:pt x="201" y="141"/>
                </a:lnTo>
                <a:lnTo>
                  <a:pt x="199" y="142"/>
                </a:lnTo>
                <a:lnTo>
                  <a:pt x="199" y="143"/>
                </a:lnTo>
                <a:lnTo>
                  <a:pt x="197" y="144"/>
                </a:lnTo>
                <a:lnTo>
                  <a:pt x="197" y="149"/>
                </a:lnTo>
                <a:lnTo>
                  <a:pt x="195" y="154"/>
                </a:lnTo>
                <a:lnTo>
                  <a:pt x="194" y="155"/>
                </a:lnTo>
                <a:lnTo>
                  <a:pt x="194" y="157"/>
                </a:lnTo>
                <a:lnTo>
                  <a:pt x="195" y="157"/>
                </a:lnTo>
                <a:lnTo>
                  <a:pt x="195" y="158"/>
                </a:lnTo>
                <a:lnTo>
                  <a:pt x="197" y="158"/>
                </a:lnTo>
                <a:lnTo>
                  <a:pt x="200" y="156"/>
                </a:lnTo>
                <a:lnTo>
                  <a:pt x="201" y="156"/>
                </a:lnTo>
                <a:lnTo>
                  <a:pt x="201" y="158"/>
                </a:lnTo>
                <a:lnTo>
                  <a:pt x="202" y="160"/>
                </a:lnTo>
                <a:lnTo>
                  <a:pt x="203" y="160"/>
                </a:lnTo>
                <a:lnTo>
                  <a:pt x="203" y="161"/>
                </a:lnTo>
                <a:lnTo>
                  <a:pt x="205" y="161"/>
                </a:lnTo>
                <a:lnTo>
                  <a:pt x="205" y="168"/>
                </a:lnTo>
                <a:lnTo>
                  <a:pt x="203" y="169"/>
                </a:lnTo>
                <a:lnTo>
                  <a:pt x="201" y="169"/>
                </a:lnTo>
                <a:lnTo>
                  <a:pt x="200" y="170"/>
                </a:lnTo>
                <a:lnTo>
                  <a:pt x="195" y="170"/>
                </a:lnTo>
                <a:lnTo>
                  <a:pt x="193" y="168"/>
                </a:lnTo>
                <a:lnTo>
                  <a:pt x="193" y="167"/>
                </a:lnTo>
                <a:lnTo>
                  <a:pt x="194" y="167"/>
                </a:lnTo>
                <a:lnTo>
                  <a:pt x="194" y="166"/>
                </a:lnTo>
                <a:lnTo>
                  <a:pt x="193" y="164"/>
                </a:lnTo>
                <a:lnTo>
                  <a:pt x="194" y="163"/>
                </a:lnTo>
                <a:lnTo>
                  <a:pt x="195" y="163"/>
                </a:lnTo>
                <a:lnTo>
                  <a:pt x="193" y="160"/>
                </a:lnTo>
                <a:lnTo>
                  <a:pt x="191" y="158"/>
                </a:lnTo>
                <a:lnTo>
                  <a:pt x="190" y="158"/>
                </a:lnTo>
                <a:lnTo>
                  <a:pt x="188" y="161"/>
                </a:lnTo>
                <a:lnTo>
                  <a:pt x="188" y="162"/>
                </a:lnTo>
                <a:lnTo>
                  <a:pt x="184" y="162"/>
                </a:lnTo>
                <a:lnTo>
                  <a:pt x="181" y="161"/>
                </a:lnTo>
                <a:lnTo>
                  <a:pt x="180" y="162"/>
                </a:lnTo>
                <a:lnTo>
                  <a:pt x="180" y="166"/>
                </a:lnTo>
                <a:lnTo>
                  <a:pt x="178" y="167"/>
                </a:lnTo>
                <a:lnTo>
                  <a:pt x="177" y="169"/>
                </a:lnTo>
                <a:lnTo>
                  <a:pt x="175" y="170"/>
                </a:lnTo>
                <a:lnTo>
                  <a:pt x="172" y="170"/>
                </a:lnTo>
                <a:lnTo>
                  <a:pt x="170" y="169"/>
                </a:lnTo>
                <a:lnTo>
                  <a:pt x="165" y="169"/>
                </a:lnTo>
                <a:lnTo>
                  <a:pt x="164" y="170"/>
                </a:lnTo>
                <a:lnTo>
                  <a:pt x="164" y="172"/>
                </a:lnTo>
                <a:lnTo>
                  <a:pt x="163" y="173"/>
                </a:lnTo>
                <a:lnTo>
                  <a:pt x="163" y="176"/>
                </a:lnTo>
                <a:lnTo>
                  <a:pt x="164" y="178"/>
                </a:lnTo>
                <a:lnTo>
                  <a:pt x="164" y="181"/>
                </a:lnTo>
                <a:lnTo>
                  <a:pt x="163" y="182"/>
                </a:lnTo>
                <a:lnTo>
                  <a:pt x="159" y="182"/>
                </a:lnTo>
                <a:lnTo>
                  <a:pt x="158" y="180"/>
                </a:lnTo>
                <a:lnTo>
                  <a:pt x="157" y="181"/>
                </a:lnTo>
                <a:lnTo>
                  <a:pt x="154" y="181"/>
                </a:lnTo>
                <a:lnTo>
                  <a:pt x="152" y="182"/>
                </a:lnTo>
                <a:lnTo>
                  <a:pt x="147" y="187"/>
                </a:lnTo>
                <a:lnTo>
                  <a:pt x="145" y="188"/>
                </a:lnTo>
                <a:lnTo>
                  <a:pt x="144" y="188"/>
                </a:lnTo>
                <a:lnTo>
                  <a:pt x="143" y="187"/>
                </a:lnTo>
                <a:lnTo>
                  <a:pt x="140" y="187"/>
                </a:lnTo>
                <a:lnTo>
                  <a:pt x="139" y="185"/>
                </a:lnTo>
                <a:lnTo>
                  <a:pt x="137" y="182"/>
                </a:lnTo>
                <a:lnTo>
                  <a:pt x="135" y="184"/>
                </a:lnTo>
                <a:lnTo>
                  <a:pt x="133" y="185"/>
                </a:lnTo>
                <a:lnTo>
                  <a:pt x="128" y="185"/>
                </a:lnTo>
                <a:lnTo>
                  <a:pt x="127" y="184"/>
                </a:lnTo>
                <a:lnTo>
                  <a:pt x="126" y="184"/>
                </a:lnTo>
                <a:lnTo>
                  <a:pt x="122" y="186"/>
                </a:lnTo>
                <a:lnTo>
                  <a:pt x="121" y="186"/>
                </a:lnTo>
                <a:lnTo>
                  <a:pt x="121" y="185"/>
                </a:lnTo>
                <a:lnTo>
                  <a:pt x="120" y="185"/>
                </a:lnTo>
                <a:lnTo>
                  <a:pt x="119" y="186"/>
                </a:lnTo>
                <a:lnTo>
                  <a:pt x="116" y="186"/>
                </a:lnTo>
                <a:lnTo>
                  <a:pt x="114" y="187"/>
                </a:lnTo>
                <a:lnTo>
                  <a:pt x="113" y="187"/>
                </a:lnTo>
                <a:lnTo>
                  <a:pt x="109" y="185"/>
                </a:lnTo>
                <a:lnTo>
                  <a:pt x="108" y="185"/>
                </a:lnTo>
                <a:lnTo>
                  <a:pt x="108" y="182"/>
                </a:lnTo>
                <a:lnTo>
                  <a:pt x="107" y="182"/>
                </a:lnTo>
                <a:lnTo>
                  <a:pt x="107" y="180"/>
                </a:lnTo>
                <a:lnTo>
                  <a:pt x="108" y="180"/>
                </a:lnTo>
                <a:lnTo>
                  <a:pt x="108" y="173"/>
                </a:lnTo>
                <a:lnTo>
                  <a:pt x="107" y="172"/>
                </a:lnTo>
                <a:lnTo>
                  <a:pt x="107" y="169"/>
                </a:lnTo>
                <a:lnTo>
                  <a:pt x="104" y="167"/>
                </a:lnTo>
                <a:lnTo>
                  <a:pt x="103" y="167"/>
                </a:lnTo>
                <a:lnTo>
                  <a:pt x="103" y="164"/>
                </a:lnTo>
                <a:lnTo>
                  <a:pt x="102" y="164"/>
                </a:lnTo>
                <a:lnTo>
                  <a:pt x="102" y="163"/>
                </a:lnTo>
                <a:lnTo>
                  <a:pt x="101" y="163"/>
                </a:lnTo>
                <a:lnTo>
                  <a:pt x="97" y="162"/>
                </a:lnTo>
                <a:lnTo>
                  <a:pt x="96" y="161"/>
                </a:lnTo>
                <a:lnTo>
                  <a:pt x="93" y="158"/>
                </a:lnTo>
                <a:lnTo>
                  <a:pt x="89" y="158"/>
                </a:lnTo>
                <a:lnTo>
                  <a:pt x="89" y="155"/>
                </a:lnTo>
                <a:lnTo>
                  <a:pt x="87" y="155"/>
                </a:lnTo>
                <a:lnTo>
                  <a:pt x="87" y="153"/>
                </a:lnTo>
                <a:lnTo>
                  <a:pt x="84" y="153"/>
                </a:lnTo>
                <a:lnTo>
                  <a:pt x="82" y="151"/>
                </a:lnTo>
                <a:lnTo>
                  <a:pt x="79" y="151"/>
                </a:lnTo>
                <a:lnTo>
                  <a:pt x="78" y="154"/>
                </a:lnTo>
                <a:lnTo>
                  <a:pt x="77" y="154"/>
                </a:lnTo>
                <a:lnTo>
                  <a:pt x="75" y="150"/>
                </a:lnTo>
                <a:lnTo>
                  <a:pt x="73" y="148"/>
                </a:lnTo>
                <a:lnTo>
                  <a:pt x="73" y="138"/>
                </a:lnTo>
                <a:lnTo>
                  <a:pt x="75" y="136"/>
                </a:lnTo>
                <a:lnTo>
                  <a:pt x="75" y="130"/>
                </a:lnTo>
                <a:lnTo>
                  <a:pt x="76" y="129"/>
                </a:lnTo>
                <a:lnTo>
                  <a:pt x="76" y="127"/>
                </a:lnTo>
                <a:lnTo>
                  <a:pt x="77" y="127"/>
                </a:lnTo>
                <a:lnTo>
                  <a:pt x="77" y="126"/>
                </a:lnTo>
                <a:lnTo>
                  <a:pt x="78" y="126"/>
                </a:lnTo>
                <a:lnTo>
                  <a:pt x="78" y="125"/>
                </a:lnTo>
                <a:lnTo>
                  <a:pt x="79" y="124"/>
                </a:lnTo>
                <a:lnTo>
                  <a:pt x="81" y="124"/>
                </a:lnTo>
                <a:lnTo>
                  <a:pt x="81" y="117"/>
                </a:lnTo>
                <a:lnTo>
                  <a:pt x="79" y="115"/>
                </a:lnTo>
                <a:lnTo>
                  <a:pt x="77" y="114"/>
                </a:lnTo>
                <a:lnTo>
                  <a:pt x="76" y="113"/>
                </a:lnTo>
                <a:lnTo>
                  <a:pt x="77" y="112"/>
                </a:lnTo>
                <a:lnTo>
                  <a:pt x="76" y="112"/>
                </a:lnTo>
                <a:lnTo>
                  <a:pt x="76" y="111"/>
                </a:lnTo>
                <a:lnTo>
                  <a:pt x="72" y="111"/>
                </a:lnTo>
                <a:lnTo>
                  <a:pt x="71" y="110"/>
                </a:lnTo>
                <a:lnTo>
                  <a:pt x="71" y="108"/>
                </a:lnTo>
                <a:lnTo>
                  <a:pt x="70" y="105"/>
                </a:lnTo>
                <a:lnTo>
                  <a:pt x="70" y="104"/>
                </a:lnTo>
                <a:lnTo>
                  <a:pt x="67" y="101"/>
                </a:lnTo>
                <a:lnTo>
                  <a:pt x="64" y="104"/>
                </a:lnTo>
                <a:lnTo>
                  <a:pt x="57" y="102"/>
                </a:lnTo>
                <a:lnTo>
                  <a:pt x="56" y="102"/>
                </a:lnTo>
                <a:lnTo>
                  <a:pt x="51" y="104"/>
                </a:lnTo>
                <a:lnTo>
                  <a:pt x="50" y="105"/>
                </a:lnTo>
                <a:lnTo>
                  <a:pt x="47" y="105"/>
                </a:lnTo>
                <a:lnTo>
                  <a:pt x="46" y="104"/>
                </a:lnTo>
                <a:lnTo>
                  <a:pt x="46" y="101"/>
                </a:lnTo>
                <a:lnTo>
                  <a:pt x="45" y="100"/>
                </a:lnTo>
                <a:lnTo>
                  <a:pt x="44" y="100"/>
                </a:lnTo>
                <a:lnTo>
                  <a:pt x="44" y="101"/>
                </a:lnTo>
                <a:lnTo>
                  <a:pt x="41" y="101"/>
                </a:lnTo>
                <a:lnTo>
                  <a:pt x="40" y="100"/>
                </a:lnTo>
                <a:lnTo>
                  <a:pt x="39" y="100"/>
                </a:lnTo>
                <a:lnTo>
                  <a:pt x="38" y="99"/>
                </a:lnTo>
                <a:lnTo>
                  <a:pt x="34" y="98"/>
                </a:lnTo>
                <a:lnTo>
                  <a:pt x="31" y="94"/>
                </a:lnTo>
                <a:lnTo>
                  <a:pt x="28" y="93"/>
                </a:lnTo>
                <a:lnTo>
                  <a:pt x="25" y="93"/>
                </a:lnTo>
                <a:lnTo>
                  <a:pt x="22" y="92"/>
                </a:lnTo>
                <a:lnTo>
                  <a:pt x="20" y="87"/>
                </a:lnTo>
                <a:lnTo>
                  <a:pt x="19" y="86"/>
                </a:lnTo>
                <a:lnTo>
                  <a:pt x="17" y="86"/>
                </a:lnTo>
                <a:lnTo>
                  <a:pt x="14" y="89"/>
                </a:lnTo>
                <a:lnTo>
                  <a:pt x="14" y="86"/>
                </a:lnTo>
                <a:lnTo>
                  <a:pt x="15" y="86"/>
                </a:lnTo>
                <a:lnTo>
                  <a:pt x="15" y="83"/>
                </a:lnTo>
                <a:lnTo>
                  <a:pt x="14" y="83"/>
                </a:lnTo>
                <a:lnTo>
                  <a:pt x="14" y="80"/>
                </a:lnTo>
                <a:lnTo>
                  <a:pt x="11" y="82"/>
                </a:lnTo>
                <a:lnTo>
                  <a:pt x="10" y="82"/>
                </a:lnTo>
                <a:lnTo>
                  <a:pt x="13" y="77"/>
                </a:lnTo>
                <a:lnTo>
                  <a:pt x="14" y="76"/>
                </a:lnTo>
                <a:lnTo>
                  <a:pt x="14" y="75"/>
                </a:lnTo>
                <a:lnTo>
                  <a:pt x="13" y="71"/>
                </a:lnTo>
                <a:lnTo>
                  <a:pt x="13" y="69"/>
                </a:lnTo>
                <a:lnTo>
                  <a:pt x="11" y="68"/>
                </a:lnTo>
                <a:lnTo>
                  <a:pt x="11" y="64"/>
                </a:lnTo>
                <a:lnTo>
                  <a:pt x="9" y="59"/>
                </a:lnTo>
                <a:lnTo>
                  <a:pt x="9" y="65"/>
                </a:lnTo>
                <a:lnTo>
                  <a:pt x="8" y="67"/>
                </a:lnTo>
                <a:lnTo>
                  <a:pt x="8" y="72"/>
                </a:lnTo>
                <a:lnTo>
                  <a:pt x="7" y="74"/>
                </a:lnTo>
                <a:lnTo>
                  <a:pt x="7" y="75"/>
                </a:lnTo>
                <a:lnTo>
                  <a:pt x="8" y="75"/>
                </a:lnTo>
                <a:lnTo>
                  <a:pt x="8" y="76"/>
                </a:lnTo>
                <a:lnTo>
                  <a:pt x="6" y="78"/>
                </a:lnTo>
                <a:lnTo>
                  <a:pt x="6" y="82"/>
                </a:lnTo>
                <a:lnTo>
                  <a:pt x="2" y="86"/>
                </a:lnTo>
                <a:lnTo>
                  <a:pt x="2" y="87"/>
                </a:lnTo>
                <a:lnTo>
                  <a:pt x="0" y="87"/>
                </a:lnTo>
                <a:lnTo>
                  <a:pt x="3" y="81"/>
                </a:lnTo>
                <a:lnTo>
                  <a:pt x="4" y="76"/>
                </a:lnTo>
                <a:lnTo>
                  <a:pt x="7" y="70"/>
                </a:lnTo>
                <a:lnTo>
                  <a:pt x="7" y="53"/>
                </a:lnTo>
                <a:lnTo>
                  <a:pt x="9" y="58"/>
                </a:lnTo>
                <a:lnTo>
                  <a:pt x="9" y="56"/>
                </a:lnTo>
                <a:lnTo>
                  <a:pt x="7" y="53"/>
                </a:lnTo>
                <a:lnTo>
                  <a:pt x="7" y="52"/>
                </a:lnTo>
                <a:lnTo>
                  <a:pt x="6" y="52"/>
                </a:lnTo>
                <a:lnTo>
                  <a:pt x="6" y="49"/>
                </a:lnTo>
                <a:lnTo>
                  <a:pt x="4" y="43"/>
                </a:lnTo>
                <a:lnTo>
                  <a:pt x="4" y="39"/>
                </a:lnTo>
                <a:lnTo>
                  <a:pt x="6" y="38"/>
                </a:lnTo>
                <a:lnTo>
                  <a:pt x="6" y="27"/>
                </a:lnTo>
                <a:lnTo>
                  <a:pt x="9" y="27"/>
                </a:lnTo>
                <a:lnTo>
                  <a:pt x="11" y="26"/>
                </a:lnTo>
                <a:lnTo>
                  <a:pt x="11" y="22"/>
                </a:lnTo>
                <a:lnTo>
                  <a:pt x="13" y="20"/>
                </a:lnTo>
                <a:lnTo>
                  <a:pt x="16" y="16"/>
                </a:lnTo>
                <a:lnTo>
                  <a:pt x="19" y="15"/>
                </a:lnTo>
                <a:lnTo>
                  <a:pt x="21" y="15"/>
                </a:lnTo>
                <a:lnTo>
                  <a:pt x="27" y="10"/>
                </a:lnTo>
                <a:lnTo>
                  <a:pt x="28" y="9"/>
                </a:lnTo>
                <a:lnTo>
                  <a:pt x="32" y="9"/>
                </a:lnTo>
                <a:lnTo>
                  <a:pt x="44" y="3"/>
                </a:lnTo>
                <a:lnTo>
                  <a:pt x="45" y="3"/>
                </a:lnTo>
                <a:lnTo>
                  <a:pt x="50" y="1"/>
                </a:lnTo>
                <a:lnTo>
                  <a:pt x="51" y="1"/>
                </a:lnTo>
                <a:lnTo>
                  <a:pt x="53" y="3"/>
                </a:lnTo>
                <a:lnTo>
                  <a:pt x="70" y="3"/>
                </a:lnTo>
                <a:lnTo>
                  <a:pt x="73" y="7"/>
                </a:lnTo>
                <a:lnTo>
                  <a:pt x="79" y="3"/>
                </a:lnTo>
                <a:lnTo>
                  <a:pt x="82" y="3"/>
                </a:lnTo>
                <a:lnTo>
                  <a:pt x="83" y="2"/>
                </a:lnTo>
                <a:lnTo>
                  <a:pt x="85" y="2"/>
                </a:lnTo>
                <a:lnTo>
                  <a:pt x="87" y="4"/>
                </a:lnTo>
                <a:lnTo>
                  <a:pt x="88" y="8"/>
                </a:lnTo>
                <a:lnTo>
                  <a:pt x="90" y="9"/>
                </a:lnTo>
                <a:lnTo>
                  <a:pt x="93" y="9"/>
                </a:lnTo>
                <a:lnTo>
                  <a:pt x="94" y="7"/>
                </a:lnTo>
                <a:lnTo>
                  <a:pt x="94" y="6"/>
                </a:lnTo>
                <a:lnTo>
                  <a:pt x="95" y="6"/>
                </a:lnTo>
                <a:lnTo>
                  <a:pt x="100" y="4"/>
                </a:lnTo>
                <a:lnTo>
                  <a:pt x="101" y="4"/>
                </a:lnTo>
                <a:lnTo>
                  <a:pt x="108" y="8"/>
                </a:lnTo>
                <a:lnTo>
                  <a:pt x="109" y="8"/>
                </a:lnTo>
                <a:lnTo>
                  <a:pt x="112" y="7"/>
                </a:lnTo>
                <a:lnTo>
                  <a:pt x="113" y="6"/>
                </a:lnTo>
                <a:lnTo>
                  <a:pt x="118" y="6"/>
                </a:lnTo>
                <a:lnTo>
                  <a:pt x="118" y="8"/>
                </a:lnTo>
                <a:lnTo>
                  <a:pt x="124" y="8"/>
                </a:lnTo>
                <a:lnTo>
                  <a:pt x="128" y="9"/>
                </a:lnTo>
                <a:lnTo>
                  <a:pt x="133" y="13"/>
                </a:lnTo>
                <a:lnTo>
                  <a:pt x="137" y="13"/>
                </a:lnTo>
                <a:lnTo>
                  <a:pt x="141" y="10"/>
                </a:lnTo>
                <a:lnTo>
                  <a:pt x="144" y="10"/>
                </a:lnTo>
                <a:lnTo>
                  <a:pt x="147" y="13"/>
                </a:lnTo>
                <a:lnTo>
                  <a:pt x="150" y="13"/>
                </a:lnTo>
                <a:lnTo>
                  <a:pt x="152" y="12"/>
                </a:lnTo>
                <a:lnTo>
                  <a:pt x="153" y="10"/>
                </a:lnTo>
                <a:lnTo>
                  <a:pt x="157" y="6"/>
                </a:lnTo>
                <a:lnTo>
                  <a:pt x="159" y="3"/>
                </a:lnTo>
                <a:lnTo>
                  <a:pt x="164" y="2"/>
                </a:lnTo>
                <a:lnTo>
                  <a:pt x="165" y="2"/>
                </a:lnTo>
                <a:lnTo>
                  <a:pt x="165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" name="Freeform 31">
            <a:extLst>
              <a:ext uri="{FF2B5EF4-FFF2-40B4-BE49-F238E27FC236}">
                <a16:creationId xmlns:a16="http://schemas.microsoft.com/office/drawing/2014/main" id="{A274785D-8D97-433A-A5EB-F92427D8EECF}"/>
              </a:ext>
            </a:extLst>
          </p:cNvPr>
          <p:cNvSpPr>
            <a:spLocks/>
          </p:cNvSpPr>
          <p:nvPr/>
        </p:nvSpPr>
        <p:spPr bwMode="auto">
          <a:xfrm>
            <a:off x="1811272" y="4969718"/>
            <a:ext cx="8694" cy="18837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2" y="2"/>
              </a:cxn>
              <a:cxn ang="0">
                <a:pos x="3" y="2"/>
              </a:cxn>
              <a:cxn ang="0">
                <a:pos x="3" y="6"/>
              </a:cxn>
              <a:cxn ang="0">
                <a:pos x="5" y="6"/>
              </a:cxn>
              <a:cxn ang="0">
                <a:pos x="5" y="8"/>
              </a:cxn>
              <a:cxn ang="0">
                <a:pos x="6" y="10"/>
              </a:cxn>
              <a:cxn ang="0">
                <a:pos x="6" y="11"/>
              </a:cxn>
              <a:cxn ang="0">
                <a:pos x="3" y="13"/>
              </a:cxn>
              <a:cxn ang="0">
                <a:pos x="1" y="12"/>
              </a:cxn>
              <a:cxn ang="0">
                <a:pos x="0" y="12"/>
              </a:cxn>
              <a:cxn ang="0">
                <a:pos x="0" y="11"/>
              </a:cxn>
              <a:cxn ang="0">
                <a:pos x="1" y="11"/>
              </a:cxn>
              <a:cxn ang="0">
                <a:pos x="1" y="7"/>
              </a:cxn>
              <a:cxn ang="0">
                <a:pos x="0" y="6"/>
              </a:cxn>
              <a:cxn ang="0">
                <a:pos x="0" y="4"/>
              </a:cxn>
              <a:cxn ang="0">
                <a:pos x="1" y="1"/>
              </a:cxn>
              <a:cxn ang="0">
                <a:pos x="2" y="0"/>
              </a:cxn>
            </a:cxnLst>
            <a:rect l="0" t="0" r="r" b="b"/>
            <a:pathLst>
              <a:path w="6" h="13">
                <a:moveTo>
                  <a:pt x="2" y="0"/>
                </a:moveTo>
                <a:lnTo>
                  <a:pt x="2" y="2"/>
                </a:lnTo>
                <a:lnTo>
                  <a:pt x="3" y="2"/>
                </a:lnTo>
                <a:lnTo>
                  <a:pt x="3" y="6"/>
                </a:lnTo>
                <a:lnTo>
                  <a:pt x="5" y="6"/>
                </a:lnTo>
                <a:lnTo>
                  <a:pt x="5" y="8"/>
                </a:lnTo>
                <a:lnTo>
                  <a:pt x="6" y="10"/>
                </a:lnTo>
                <a:lnTo>
                  <a:pt x="6" y="11"/>
                </a:lnTo>
                <a:lnTo>
                  <a:pt x="3" y="13"/>
                </a:lnTo>
                <a:lnTo>
                  <a:pt x="1" y="12"/>
                </a:lnTo>
                <a:lnTo>
                  <a:pt x="0" y="12"/>
                </a:lnTo>
                <a:lnTo>
                  <a:pt x="0" y="11"/>
                </a:lnTo>
                <a:lnTo>
                  <a:pt x="1" y="11"/>
                </a:lnTo>
                <a:lnTo>
                  <a:pt x="1" y="7"/>
                </a:lnTo>
                <a:lnTo>
                  <a:pt x="0" y="6"/>
                </a:lnTo>
                <a:lnTo>
                  <a:pt x="0" y="4"/>
                </a:lnTo>
                <a:lnTo>
                  <a:pt x="1" y="1"/>
                </a:lnTo>
                <a:lnTo>
                  <a:pt x="2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" name="Freeform 32">
            <a:extLst>
              <a:ext uri="{FF2B5EF4-FFF2-40B4-BE49-F238E27FC236}">
                <a16:creationId xmlns:a16="http://schemas.microsoft.com/office/drawing/2014/main" id="{2426F2DA-E7E8-4304-BC92-2E44CD9449D4}"/>
              </a:ext>
            </a:extLst>
          </p:cNvPr>
          <p:cNvSpPr>
            <a:spLocks/>
          </p:cNvSpPr>
          <p:nvPr/>
        </p:nvSpPr>
        <p:spPr bwMode="auto">
          <a:xfrm>
            <a:off x="2514008" y="3872870"/>
            <a:ext cx="441927" cy="269503"/>
          </a:xfrm>
          <a:custGeom>
            <a:avLst/>
            <a:gdLst/>
            <a:ahLst/>
            <a:cxnLst>
              <a:cxn ang="0">
                <a:pos x="182" y="5"/>
              </a:cxn>
              <a:cxn ang="0">
                <a:pos x="186" y="3"/>
              </a:cxn>
              <a:cxn ang="0">
                <a:pos x="199" y="12"/>
              </a:cxn>
              <a:cxn ang="0">
                <a:pos x="212" y="18"/>
              </a:cxn>
              <a:cxn ang="0">
                <a:pos x="218" y="27"/>
              </a:cxn>
              <a:cxn ang="0">
                <a:pos x="234" y="44"/>
              </a:cxn>
              <a:cxn ang="0">
                <a:pos x="238" y="42"/>
              </a:cxn>
              <a:cxn ang="0">
                <a:pos x="247" y="38"/>
              </a:cxn>
              <a:cxn ang="0">
                <a:pos x="251" y="37"/>
              </a:cxn>
              <a:cxn ang="0">
                <a:pos x="269" y="43"/>
              </a:cxn>
              <a:cxn ang="0">
                <a:pos x="281" y="54"/>
              </a:cxn>
              <a:cxn ang="0">
                <a:pos x="284" y="75"/>
              </a:cxn>
              <a:cxn ang="0">
                <a:pos x="285" y="88"/>
              </a:cxn>
              <a:cxn ang="0">
                <a:pos x="290" y="95"/>
              </a:cxn>
              <a:cxn ang="0">
                <a:pos x="291" y="105"/>
              </a:cxn>
              <a:cxn ang="0">
                <a:pos x="300" y="118"/>
              </a:cxn>
              <a:cxn ang="0">
                <a:pos x="303" y="128"/>
              </a:cxn>
              <a:cxn ang="0">
                <a:pos x="305" y="142"/>
              </a:cxn>
              <a:cxn ang="0">
                <a:pos x="297" y="152"/>
              </a:cxn>
              <a:cxn ang="0">
                <a:pos x="287" y="160"/>
              </a:cxn>
              <a:cxn ang="0">
                <a:pos x="279" y="177"/>
              </a:cxn>
              <a:cxn ang="0">
                <a:pos x="265" y="177"/>
              </a:cxn>
              <a:cxn ang="0">
                <a:pos x="248" y="181"/>
              </a:cxn>
              <a:cxn ang="0">
                <a:pos x="237" y="186"/>
              </a:cxn>
              <a:cxn ang="0">
                <a:pos x="219" y="172"/>
              </a:cxn>
              <a:cxn ang="0">
                <a:pos x="203" y="156"/>
              </a:cxn>
              <a:cxn ang="0">
                <a:pos x="185" y="149"/>
              </a:cxn>
              <a:cxn ang="0">
                <a:pos x="167" y="132"/>
              </a:cxn>
              <a:cxn ang="0">
                <a:pos x="157" y="131"/>
              </a:cxn>
              <a:cxn ang="0">
                <a:pos x="142" y="138"/>
              </a:cxn>
              <a:cxn ang="0">
                <a:pos x="116" y="136"/>
              </a:cxn>
              <a:cxn ang="0">
                <a:pos x="99" y="132"/>
              </a:cxn>
              <a:cxn ang="0">
                <a:pos x="88" y="137"/>
              </a:cxn>
              <a:cxn ang="0">
                <a:pos x="77" y="131"/>
              </a:cxn>
              <a:cxn ang="0">
                <a:pos x="43" y="131"/>
              </a:cxn>
              <a:cxn ang="0">
                <a:pos x="17" y="143"/>
              </a:cxn>
              <a:cxn ang="0">
                <a:pos x="4" y="155"/>
              </a:cxn>
              <a:cxn ang="0">
                <a:pos x="1" y="122"/>
              </a:cxn>
              <a:cxn ang="0">
                <a:pos x="4" y="129"/>
              </a:cxn>
              <a:cxn ang="0">
                <a:pos x="4" y="109"/>
              </a:cxn>
              <a:cxn ang="0">
                <a:pos x="13" y="88"/>
              </a:cxn>
              <a:cxn ang="0">
                <a:pos x="18" y="79"/>
              </a:cxn>
              <a:cxn ang="0">
                <a:pos x="19" y="63"/>
              </a:cxn>
              <a:cxn ang="0">
                <a:pos x="33" y="38"/>
              </a:cxn>
              <a:cxn ang="0">
                <a:pos x="67" y="25"/>
              </a:cxn>
              <a:cxn ang="0">
                <a:pos x="70" y="38"/>
              </a:cxn>
              <a:cxn ang="0">
                <a:pos x="91" y="57"/>
              </a:cxn>
              <a:cxn ang="0">
                <a:pos x="94" y="68"/>
              </a:cxn>
              <a:cxn ang="0">
                <a:pos x="107" y="82"/>
              </a:cxn>
              <a:cxn ang="0">
                <a:pos x="125" y="83"/>
              </a:cxn>
              <a:cxn ang="0">
                <a:pos x="132" y="77"/>
              </a:cxn>
              <a:cxn ang="0">
                <a:pos x="141" y="70"/>
              </a:cxn>
              <a:cxn ang="0">
                <a:pos x="143" y="45"/>
              </a:cxn>
              <a:cxn ang="0">
                <a:pos x="141" y="17"/>
              </a:cxn>
              <a:cxn ang="0">
                <a:pos x="151" y="9"/>
              </a:cxn>
              <a:cxn ang="0">
                <a:pos x="162" y="8"/>
              </a:cxn>
              <a:cxn ang="0">
                <a:pos x="172" y="1"/>
              </a:cxn>
            </a:cxnLst>
            <a:rect l="0" t="0" r="r" b="b"/>
            <a:pathLst>
              <a:path w="305" h="186">
                <a:moveTo>
                  <a:pt x="175" y="0"/>
                </a:moveTo>
                <a:lnTo>
                  <a:pt x="178" y="2"/>
                </a:lnTo>
                <a:lnTo>
                  <a:pt x="178" y="5"/>
                </a:lnTo>
                <a:lnTo>
                  <a:pt x="179" y="7"/>
                </a:lnTo>
                <a:lnTo>
                  <a:pt x="180" y="7"/>
                </a:lnTo>
                <a:lnTo>
                  <a:pt x="182" y="5"/>
                </a:lnTo>
                <a:lnTo>
                  <a:pt x="180" y="2"/>
                </a:lnTo>
                <a:lnTo>
                  <a:pt x="180" y="0"/>
                </a:lnTo>
                <a:lnTo>
                  <a:pt x="181" y="0"/>
                </a:lnTo>
                <a:lnTo>
                  <a:pt x="183" y="2"/>
                </a:lnTo>
                <a:lnTo>
                  <a:pt x="183" y="3"/>
                </a:lnTo>
                <a:lnTo>
                  <a:pt x="186" y="3"/>
                </a:lnTo>
                <a:lnTo>
                  <a:pt x="191" y="8"/>
                </a:lnTo>
                <a:lnTo>
                  <a:pt x="193" y="8"/>
                </a:lnTo>
                <a:lnTo>
                  <a:pt x="193" y="11"/>
                </a:lnTo>
                <a:lnTo>
                  <a:pt x="195" y="13"/>
                </a:lnTo>
                <a:lnTo>
                  <a:pt x="197" y="13"/>
                </a:lnTo>
                <a:lnTo>
                  <a:pt x="199" y="12"/>
                </a:lnTo>
                <a:lnTo>
                  <a:pt x="200" y="12"/>
                </a:lnTo>
                <a:lnTo>
                  <a:pt x="201" y="13"/>
                </a:lnTo>
                <a:lnTo>
                  <a:pt x="201" y="14"/>
                </a:lnTo>
                <a:lnTo>
                  <a:pt x="203" y="17"/>
                </a:lnTo>
                <a:lnTo>
                  <a:pt x="203" y="18"/>
                </a:lnTo>
                <a:lnTo>
                  <a:pt x="212" y="18"/>
                </a:lnTo>
                <a:lnTo>
                  <a:pt x="213" y="19"/>
                </a:lnTo>
                <a:lnTo>
                  <a:pt x="213" y="20"/>
                </a:lnTo>
                <a:lnTo>
                  <a:pt x="212" y="20"/>
                </a:lnTo>
                <a:lnTo>
                  <a:pt x="212" y="23"/>
                </a:lnTo>
                <a:lnTo>
                  <a:pt x="213" y="24"/>
                </a:lnTo>
                <a:lnTo>
                  <a:pt x="218" y="27"/>
                </a:lnTo>
                <a:lnTo>
                  <a:pt x="219" y="30"/>
                </a:lnTo>
                <a:lnTo>
                  <a:pt x="223" y="36"/>
                </a:lnTo>
                <a:lnTo>
                  <a:pt x="224" y="38"/>
                </a:lnTo>
                <a:lnTo>
                  <a:pt x="226" y="39"/>
                </a:lnTo>
                <a:lnTo>
                  <a:pt x="230" y="40"/>
                </a:lnTo>
                <a:lnTo>
                  <a:pt x="234" y="44"/>
                </a:lnTo>
                <a:lnTo>
                  <a:pt x="235" y="44"/>
                </a:lnTo>
                <a:lnTo>
                  <a:pt x="235" y="43"/>
                </a:lnTo>
                <a:lnTo>
                  <a:pt x="236" y="44"/>
                </a:lnTo>
                <a:lnTo>
                  <a:pt x="237" y="44"/>
                </a:lnTo>
                <a:lnTo>
                  <a:pt x="237" y="42"/>
                </a:lnTo>
                <a:lnTo>
                  <a:pt x="238" y="42"/>
                </a:lnTo>
                <a:lnTo>
                  <a:pt x="239" y="40"/>
                </a:lnTo>
                <a:lnTo>
                  <a:pt x="242" y="39"/>
                </a:lnTo>
                <a:lnTo>
                  <a:pt x="244" y="40"/>
                </a:lnTo>
                <a:lnTo>
                  <a:pt x="245" y="39"/>
                </a:lnTo>
                <a:lnTo>
                  <a:pt x="247" y="39"/>
                </a:lnTo>
                <a:lnTo>
                  <a:pt x="247" y="38"/>
                </a:lnTo>
                <a:lnTo>
                  <a:pt x="248" y="37"/>
                </a:lnTo>
                <a:lnTo>
                  <a:pt x="248" y="36"/>
                </a:lnTo>
                <a:lnTo>
                  <a:pt x="249" y="36"/>
                </a:lnTo>
                <a:lnTo>
                  <a:pt x="250" y="37"/>
                </a:lnTo>
                <a:lnTo>
                  <a:pt x="251" y="36"/>
                </a:lnTo>
                <a:lnTo>
                  <a:pt x="251" y="37"/>
                </a:lnTo>
                <a:lnTo>
                  <a:pt x="254" y="37"/>
                </a:lnTo>
                <a:lnTo>
                  <a:pt x="254" y="38"/>
                </a:lnTo>
                <a:lnTo>
                  <a:pt x="257" y="42"/>
                </a:lnTo>
                <a:lnTo>
                  <a:pt x="261" y="42"/>
                </a:lnTo>
                <a:lnTo>
                  <a:pt x="268" y="44"/>
                </a:lnTo>
                <a:lnTo>
                  <a:pt x="269" y="43"/>
                </a:lnTo>
                <a:lnTo>
                  <a:pt x="276" y="43"/>
                </a:lnTo>
                <a:lnTo>
                  <a:pt x="276" y="48"/>
                </a:lnTo>
                <a:lnTo>
                  <a:pt x="275" y="50"/>
                </a:lnTo>
                <a:lnTo>
                  <a:pt x="275" y="51"/>
                </a:lnTo>
                <a:lnTo>
                  <a:pt x="276" y="52"/>
                </a:lnTo>
                <a:lnTo>
                  <a:pt x="281" y="54"/>
                </a:lnTo>
                <a:lnTo>
                  <a:pt x="284" y="57"/>
                </a:lnTo>
                <a:lnTo>
                  <a:pt x="288" y="60"/>
                </a:lnTo>
                <a:lnTo>
                  <a:pt x="290" y="61"/>
                </a:lnTo>
                <a:lnTo>
                  <a:pt x="290" y="70"/>
                </a:lnTo>
                <a:lnTo>
                  <a:pt x="287" y="73"/>
                </a:lnTo>
                <a:lnTo>
                  <a:pt x="284" y="75"/>
                </a:lnTo>
                <a:lnTo>
                  <a:pt x="282" y="76"/>
                </a:lnTo>
                <a:lnTo>
                  <a:pt x="285" y="79"/>
                </a:lnTo>
                <a:lnTo>
                  <a:pt x="286" y="79"/>
                </a:lnTo>
                <a:lnTo>
                  <a:pt x="286" y="82"/>
                </a:lnTo>
                <a:lnTo>
                  <a:pt x="285" y="83"/>
                </a:lnTo>
                <a:lnTo>
                  <a:pt x="285" y="88"/>
                </a:lnTo>
                <a:lnTo>
                  <a:pt x="281" y="94"/>
                </a:lnTo>
                <a:lnTo>
                  <a:pt x="280" y="97"/>
                </a:lnTo>
                <a:lnTo>
                  <a:pt x="282" y="97"/>
                </a:lnTo>
                <a:lnTo>
                  <a:pt x="286" y="95"/>
                </a:lnTo>
                <a:lnTo>
                  <a:pt x="287" y="94"/>
                </a:lnTo>
                <a:lnTo>
                  <a:pt x="290" y="95"/>
                </a:lnTo>
                <a:lnTo>
                  <a:pt x="292" y="98"/>
                </a:lnTo>
                <a:lnTo>
                  <a:pt x="293" y="98"/>
                </a:lnTo>
                <a:lnTo>
                  <a:pt x="293" y="99"/>
                </a:lnTo>
                <a:lnTo>
                  <a:pt x="292" y="101"/>
                </a:lnTo>
                <a:lnTo>
                  <a:pt x="291" y="103"/>
                </a:lnTo>
                <a:lnTo>
                  <a:pt x="291" y="105"/>
                </a:lnTo>
                <a:lnTo>
                  <a:pt x="296" y="109"/>
                </a:lnTo>
                <a:lnTo>
                  <a:pt x="296" y="113"/>
                </a:lnTo>
                <a:lnTo>
                  <a:pt x="297" y="114"/>
                </a:lnTo>
                <a:lnTo>
                  <a:pt x="297" y="116"/>
                </a:lnTo>
                <a:lnTo>
                  <a:pt x="298" y="117"/>
                </a:lnTo>
                <a:lnTo>
                  <a:pt x="300" y="118"/>
                </a:lnTo>
                <a:lnTo>
                  <a:pt x="301" y="119"/>
                </a:lnTo>
                <a:lnTo>
                  <a:pt x="301" y="120"/>
                </a:lnTo>
                <a:lnTo>
                  <a:pt x="300" y="122"/>
                </a:lnTo>
                <a:lnTo>
                  <a:pt x="300" y="124"/>
                </a:lnTo>
                <a:lnTo>
                  <a:pt x="303" y="126"/>
                </a:lnTo>
                <a:lnTo>
                  <a:pt x="303" y="128"/>
                </a:lnTo>
                <a:lnTo>
                  <a:pt x="304" y="129"/>
                </a:lnTo>
                <a:lnTo>
                  <a:pt x="303" y="131"/>
                </a:lnTo>
                <a:lnTo>
                  <a:pt x="304" y="132"/>
                </a:lnTo>
                <a:lnTo>
                  <a:pt x="304" y="135"/>
                </a:lnTo>
                <a:lnTo>
                  <a:pt x="305" y="140"/>
                </a:lnTo>
                <a:lnTo>
                  <a:pt x="305" y="142"/>
                </a:lnTo>
                <a:lnTo>
                  <a:pt x="304" y="143"/>
                </a:lnTo>
                <a:lnTo>
                  <a:pt x="304" y="149"/>
                </a:lnTo>
                <a:lnTo>
                  <a:pt x="303" y="150"/>
                </a:lnTo>
                <a:lnTo>
                  <a:pt x="301" y="149"/>
                </a:lnTo>
                <a:lnTo>
                  <a:pt x="299" y="149"/>
                </a:lnTo>
                <a:lnTo>
                  <a:pt x="297" y="152"/>
                </a:lnTo>
                <a:lnTo>
                  <a:pt x="296" y="152"/>
                </a:lnTo>
                <a:lnTo>
                  <a:pt x="294" y="153"/>
                </a:lnTo>
                <a:lnTo>
                  <a:pt x="293" y="153"/>
                </a:lnTo>
                <a:lnTo>
                  <a:pt x="292" y="154"/>
                </a:lnTo>
                <a:lnTo>
                  <a:pt x="292" y="155"/>
                </a:lnTo>
                <a:lnTo>
                  <a:pt x="287" y="160"/>
                </a:lnTo>
                <a:lnTo>
                  <a:pt x="287" y="161"/>
                </a:lnTo>
                <a:lnTo>
                  <a:pt x="286" y="163"/>
                </a:lnTo>
                <a:lnTo>
                  <a:pt x="281" y="167"/>
                </a:lnTo>
                <a:lnTo>
                  <a:pt x="280" y="169"/>
                </a:lnTo>
                <a:lnTo>
                  <a:pt x="280" y="175"/>
                </a:lnTo>
                <a:lnTo>
                  <a:pt x="279" y="177"/>
                </a:lnTo>
                <a:lnTo>
                  <a:pt x="278" y="177"/>
                </a:lnTo>
                <a:lnTo>
                  <a:pt x="273" y="175"/>
                </a:lnTo>
                <a:lnTo>
                  <a:pt x="272" y="175"/>
                </a:lnTo>
                <a:lnTo>
                  <a:pt x="269" y="173"/>
                </a:lnTo>
                <a:lnTo>
                  <a:pt x="266" y="177"/>
                </a:lnTo>
                <a:lnTo>
                  <a:pt x="265" y="177"/>
                </a:lnTo>
                <a:lnTo>
                  <a:pt x="261" y="174"/>
                </a:lnTo>
                <a:lnTo>
                  <a:pt x="261" y="173"/>
                </a:lnTo>
                <a:lnTo>
                  <a:pt x="259" y="173"/>
                </a:lnTo>
                <a:lnTo>
                  <a:pt x="254" y="174"/>
                </a:lnTo>
                <a:lnTo>
                  <a:pt x="253" y="174"/>
                </a:lnTo>
                <a:lnTo>
                  <a:pt x="248" y="181"/>
                </a:lnTo>
                <a:lnTo>
                  <a:pt x="247" y="183"/>
                </a:lnTo>
                <a:lnTo>
                  <a:pt x="243" y="185"/>
                </a:lnTo>
                <a:lnTo>
                  <a:pt x="242" y="185"/>
                </a:lnTo>
                <a:lnTo>
                  <a:pt x="239" y="184"/>
                </a:lnTo>
                <a:lnTo>
                  <a:pt x="238" y="184"/>
                </a:lnTo>
                <a:lnTo>
                  <a:pt x="237" y="186"/>
                </a:lnTo>
                <a:lnTo>
                  <a:pt x="235" y="186"/>
                </a:lnTo>
                <a:lnTo>
                  <a:pt x="232" y="185"/>
                </a:lnTo>
                <a:lnTo>
                  <a:pt x="226" y="183"/>
                </a:lnTo>
                <a:lnTo>
                  <a:pt x="224" y="180"/>
                </a:lnTo>
                <a:lnTo>
                  <a:pt x="222" y="177"/>
                </a:lnTo>
                <a:lnTo>
                  <a:pt x="219" y="172"/>
                </a:lnTo>
                <a:lnTo>
                  <a:pt x="216" y="168"/>
                </a:lnTo>
                <a:lnTo>
                  <a:pt x="212" y="166"/>
                </a:lnTo>
                <a:lnTo>
                  <a:pt x="210" y="163"/>
                </a:lnTo>
                <a:lnTo>
                  <a:pt x="206" y="161"/>
                </a:lnTo>
                <a:lnTo>
                  <a:pt x="204" y="157"/>
                </a:lnTo>
                <a:lnTo>
                  <a:pt x="203" y="156"/>
                </a:lnTo>
                <a:lnTo>
                  <a:pt x="200" y="155"/>
                </a:lnTo>
                <a:lnTo>
                  <a:pt x="199" y="154"/>
                </a:lnTo>
                <a:lnTo>
                  <a:pt x="198" y="150"/>
                </a:lnTo>
                <a:lnTo>
                  <a:pt x="194" y="150"/>
                </a:lnTo>
                <a:lnTo>
                  <a:pt x="192" y="149"/>
                </a:lnTo>
                <a:lnTo>
                  <a:pt x="185" y="149"/>
                </a:lnTo>
                <a:lnTo>
                  <a:pt x="174" y="147"/>
                </a:lnTo>
                <a:lnTo>
                  <a:pt x="173" y="146"/>
                </a:lnTo>
                <a:lnTo>
                  <a:pt x="169" y="138"/>
                </a:lnTo>
                <a:lnTo>
                  <a:pt x="168" y="138"/>
                </a:lnTo>
                <a:lnTo>
                  <a:pt x="168" y="137"/>
                </a:lnTo>
                <a:lnTo>
                  <a:pt x="167" y="132"/>
                </a:lnTo>
                <a:lnTo>
                  <a:pt x="166" y="129"/>
                </a:lnTo>
                <a:lnTo>
                  <a:pt x="166" y="128"/>
                </a:lnTo>
                <a:lnTo>
                  <a:pt x="163" y="128"/>
                </a:lnTo>
                <a:lnTo>
                  <a:pt x="163" y="130"/>
                </a:lnTo>
                <a:lnTo>
                  <a:pt x="162" y="130"/>
                </a:lnTo>
                <a:lnTo>
                  <a:pt x="157" y="131"/>
                </a:lnTo>
                <a:lnTo>
                  <a:pt x="155" y="134"/>
                </a:lnTo>
                <a:lnTo>
                  <a:pt x="151" y="138"/>
                </a:lnTo>
                <a:lnTo>
                  <a:pt x="150" y="140"/>
                </a:lnTo>
                <a:lnTo>
                  <a:pt x="148" y="141"/>
                </a:lnTo>
                <a:lnTo>
                  <a:pt x="145" y="141"/>
                </a:lnTo>
                <a:lnTo>
                  <a:pt x="142" y="138"/>
                </a:lnTo>
                <a:lnTo>
                  <a:pt x="139" y="138"/>
                </a:lnTo>
                <a:lnTo>
                  <a:pt x="135" y="141"/>
                </a:lnTo>
                <a:lnTo>
                  <a:pt x="131" y="141"/>
                </a:lnTo>
                <a:lnTo>
                  <a:pt x="126" y="137"/>
                </a:lnTo>
                <a:lnTo>
                  <a:pt x="122" y="136"/>
                </a:lnTo>
                <a:lnTo>
                  <a:pt x="116" y="136"/>
                </a:lnTo>
                <a:lnTo>
                  <a:pt x="116" y="134"/>
                </a:lnTo>
                <a:lnTo>
                  <a:pt x="111" y="134"/>
                </a:lnTo>
                <a:lnTo>
                  <a:pt x="110" y="135"/>
                </a:lnTo>
                <a:lnTo>
                  <a:pt x="107" y="136"/>
                </a:lnTo>
                <a:lnTo>
                  <a:pt x="106" y="136"/>
                </a:lnTo>
                <a:lnTo>
                  <a:pt x="99" y="132"/>
                </a:lnTo>
                <a:lnTo>
                  <a:pt x="98" y="132"/>
                </a:lnTo>
                <a:lnTo>
                  <a:pt x="93" y="134"/>
                </a:lnTo>
                <a:lnTo>
                  <a:pt x="92" y="134"/>
                </a:lnTo>
                <a:lnTo>
                  <a:pt x="92" y="135"/>
                </a:lnTo>
                <a:lnTo>
                  <a:pt x="91" y="137"/>
                </a:lnTo>
                <a:lnTo>
                  <a:pt x="88" y="137"/>
                </a:lnTo>
                <a:lnTo>
                  <a:pt x="86" y="136"/>
                </a:lnTo>
                <a:lnTo>
                  <a:pt x="85" y="132"/>
                </a:lnTo>
                <a:lnTo>
                  <a:pt x="83" y="130"/>
                </a:lnTo>
                <a:lnTo>
                  <a:pt x="81" y="130"/>
                </a:lnTo>
                <a:lnTo>
                  <a:pt x="80" y="131"/>
                </a:lnTo>
                <a:lnTo>
                  <a:pt x="77" y="131"/>
                </a:lnTo>
                <a:lnTo>
                  <a:pt x="71" y="135"/>
                </a:lnTo>
                <a:lnTo>
                  <a:pt x="68" y="131"/>
                </a:lnTo>
                <a:lnTo>
                  <a:pt x="51" y="131"/>
                </a:lnTo>
                <a:lnTo>
                  <a:pt x="49" y="129"/>
                </a:lnTo>
                <a:lnTo>
                  <a:pt x="48" y="129"/>
                </a:lnTo>
                <a:lnTo>
                  <a:pt x="43" y="131"/>
                </a:lnTo>
                <a:lnTo>
                  <a:pt x="42" y="131"/>
                </a:lnTo>
                <a:lnTo>
                  <a:pt x="30" y="137"/>
                </a:lnTo>
                <a:lnTo>
                  <a:pt x="26" y="137"/>
                </a:lnTo>
                <a:lnTo>
                  <a:pt x="25" y="138"/>
                </a:lnTo>
                <a:lnTo>
                  <a:pt x="19" y="143"/>
                </a:lnTo>
                <a:lnTo>
                  <a:pt x="17" y="143"/>
                </a:lnTo>
                <a:lnTo>
                  <a:pt x="14" y="144"/>
                </a:lnTo>
                <a:lnTo>
                  <a:pt x="11" y="148"/>
                </a:lnTo>
                <a:lnTo>
                  <a:pt x="9" y="150"/>
                </a:lnTo>
                <a:lnTo>
                  <a:pt x="9" y="154"/>
                </a:lnTo>
                <a:lnTo>
                  <a:pt x="7" y="155"/>
                </a:lnTo>
                <a:lnTo>
                  <a:pt x="4" y="155"/>
                </a:lnTo>
                <a:lnTo>
                  <a:pt x="2" y="153"/>
                </a:lnTo>
                <a:lnTo>
                  <a:pt x="2" y="149"/>
                </a:lnTo>
                <a:lnTo>
                  <a:pt x="0" y="144"/>
                </a:lnTo>
                <a:lnTo>
                  <a:pt x="0" y="130"/>
                </a:lnTo>
                <a:lnTo>
                  <a:pt x="1" y="129"/>
                </a:lnTo>
                <a:lnTo>
                  <a:pt x="1" y="122"/>
                </a:lnTo>
                <a:lnTo>
                  <a:pt x="2" y="122"/>
                </a:lnTo>
                <a:lnTo>
                  <a:pt x="2" y="130"/>
                </a:lnTo>
                <a:lnTo>
                  <a:pt x="4" y="131"/>
                </a:lnTo>
                <a:lnTo>
                  <a:pt x="5" y="131"/>
                </a:lnTo>
                <a:lnTo>
                  <a:pt x="5" y="130"/>
                </a:lnTo>
                <a:lnTo>
                  <a:pt x="4" y="129"/>
                </a:lnTo>
                <a:lnTo>
                  <a:pt x="4" y="122"/>
                </a:lnTo>
                <a:lnTo>
                  <a:pt x="2" y="120"/>
                </a:lnTo>
                <a:lnTo>
                  <a:pt x="1" y="120"/>
                </a:lnTo>
                <a:lnTo>
                  <a:pt x="1" y="116"/>
                </a:lnTo>
                <a:lnTo>
                  <a:pt x="2" y="111"/>
                </a:lnTo>
                <a:lnTo>
                  <a:pt x="4" y="109"/>
                </a:lnTo>
                <a:lnTo>
                  <a:pt x="4" y="97"/>
                </a:lnTo>
                <a:lnTo>
                  <a:pt x="7" y="94"/>
                </a:lnTo>
                <a:lnTo>
                  <a:pt x="7" y="93"/>
                </a:lnTo>
                <a:lnTo>
                  <a:pt x="11" y="92"/>
                </a:lnTo>
                <a:lnTo>
                  <a:pt x="11" y="91"/>
                </a:lnTo>
                <a:lnTo>
                  <a:pt x="13" y="88"/>
                </a:lnTo>
                <a:lnTo>
                  <a:pt x="13" y="87"/>
                </a:lnTo>
                <a:lnTo>
                  <a:pt x="14" y="86"/>
                </a:lnTo>
                <a:lnTo>
                  <a:pt x="17" y="85"/>
                </a:lnTo>
                <a:lnTo>
                  <a:pt x="17" y="83"/>
                </a:lnTo>
                <a:lnTo>
                  <a:pt x="18" y="81"/>
                </a:lnTo>
                <a:lnTo>
                  <a:pt x="18" y="79"/>
                </a:lnTo>
                <a:lnTo>
                  <a:pt x="19" y="75"/>
                </a:lnTo>
                <a:lnTo>
                  <a:pt x="18" y="75"/>
                </a:lnTo>
                <a:lnTo>
                  <a:pt x="18" y="70"/>
                </a:lnTo>
                <a:lnTo>
                  <a:pt x="19" y="70"/>
                </a:lnTo>
                <a:lnTo>
                  <a:pt x="18" y="64"/>
                </a:lnTo>
                <a:lnTo>
                  <a:pt x="19" y="63"/>
                </a:lnTo>
                <a:lnTo>
                  <a:pt x="19" y="61"/>
                </a:lnTo>
                <a:lnTo>
                  <a:pt x="21" y="58"/>
                </a:lnTo>
                <a:lnTo>
                  <a:pt x="23" y="54"/>
                </a:lnTo>
                <a:lnTo>
                  <a:pt x="26" y="50"/>
                </a:lnTo>
                <a:lnTo>
                  <a:pt x="31" y="40"/>
                </a:lnTo>
                <a:lnTo>
                  <a:pt x="33" y="38"/>
                </a:lnTo>
                <a:lnTo>
                  <a:pt x="42" y="38"/>
                </a:lnTo>
                <a:lnTo>
                  <a:pt x="43" y="37"/>
                </a:lnTo>
                <a:lnTo>
                  <a:pt x="51" y="33"/>
                </a:lnTo>
                <a:lnTo>
                  <a:pt x="63" y="26"/>
                </a:lnTo>
                <a:lnTo>
                  <a:pt x="67" y="26"/>
                </a:lnTo>
                <a:lnTo>
                  <a:pt x="67" y="25"/>
                </a:lnTo>
                <a:lnTo>
                  <a:pt x="69" y="25"/>
                </a:lnTo>
                <a:lnTo>
                  <a:pt x="69" y="26"/>
                </a:lnTo>
                <a:lnTo>
                  <a:pt x="68" y="26"/>
                </a:lnTo>
                <a:lnTo>
                  <a:pt x="68" y="34"/>
                </a:lnTo>
                <a:lnTo>
                  <a:pt x="69" y="36"/>
                </a:lnTo>
                <a:lnTo>
                  <a:pt x="70" y="38"/>
                </a:lnTo>
                <a:lnTo>
                  <a:pt x="80" y="46"/>
                </a:lnTo>
                <a:lnTo>
                  <a:pt x="83" y="51"/>
                </a:lnTo>
                <a:lnTo>
                  <a:pt x="87" y="54"/>
                </a:lnTo>
                <a:lnTo>
                  <a:pt x="89" y="55"/>
                </a:lnTo>
                <a:lnTo>
                  <a:pt x="91" y="55"/>
                </a:lnTo>
                <a:lnTo>
                  <a:pt x="91" y="57"/>
                </a:lnTo>
                <a:lnTo>
                  <a:pt x="92" y="57"/>
                </a:lnTo>
                <a:lnTo>
                  <a:pt x="92" y="60"/>
                </a:lnTo>
                <a:lnTo>
                  <a:pt x="93" y="61"/>
                </a:lnTo>
                <a:lnTo>
                  <a:pt x="93" y="66"/>
                </a:lnTo>
                <a:lnTo>
                  <a:pt x="94" y="67"/>
                </a:lnTo>
                <a:lnTo>
                  <a:pt x="94" y="68"/>
                </a:lnTo>
                <a:lnTo>
                  <a:pt x="95" y="68"/>
                </a:lnTo>
                <a:lnTo>
                  <a:pt x="96" y="75"/>
                </a:lnTo>
                <a:lnTo>
                  <a:pt x="96" y="77"/>
                </a:lnTo>
                <a:lnTo>
                  <a:pt x="98" y="77"/>
                </a:lnTo>
                <a:lnTo>
                  <a:pt x="100" y="80"/>
                </a:lnTo>
                <a:lnTo>
                  <a:pt x="107" y="82"/>
                </a:lnTo>
                <a:lnTo>
                  <a:pt x="110" y="86"/>
                </a:lnTo>
                <a:lnTo>
                  <a:pt x="112" y="87"/>
                </a:lnTo>
                <a:lnTo>
                  <a:pt x="114" y="87"/>
                </a:lnTo>
                <a:lnTo>
                  <a:pt x="122" y="85"/>
                </a:lnTo>
                <a:lnTo>
                  <a:pt x="124" y="83"/>
                </a:lnTo>
                <a:lnTo>
                  <a:pt x="125" y="83"/>
                </a:lnTo>
                <a:lnTo>
                  <a:pt x="127" y="82"/>
                </a:lnTo>
                <a:lnTo>
                  <a:pt x="127" y="81"/>
                </a:lnTo>
                <a:lnTo>
                  <a:pt x="129" y="80"/>
                </a:lnTo>
                <a:lnTo>
                  <a:pt x="129" y="79"/>
                </a:lnTo>
                <a:lnTo>
                  <a:pt x="131" y="79"/>
                </a:lnTo>
                <a:lnTo>
                  <a:pt x="132" y="77"/>
                </a:lnTo>
                <a:lnTo>
                  <a:pt x="137" y="75"/>
                </a:lnTo>
                <a:lnTo>
                  <a:pt x="137" y="73"/>
                </a:lnTo>
                <a:lnTo>
                  <a:pt x="138" y="73"/>
                </a:lnTo>
                <a:lnTo>
                  <a:pt x="139" y="71"/>
                </a:lnTo>
                <a:lnTo>
                  <a:pt x="139" y="70"/>
                </a:lnTo>
                <a:lnTo>
                  <a:pt x="141" y="70"/>
                </a:lnTo>
                <a:lnTo>
                  <a:pt x="143" y="67"/>
                </a:lnTo>
                <a:lnTo>
                  <a:pt x="144" y="64"/>
                </a:lnTo>
                <a:lnTo>
                  <a:pt x="145" y="61"/>
                </a:lnTo>
                <a:lnTo>
                  <a:pt x="144" y="57"/>
                </a:lnTo>
                <a:lnTo>
                  <a:pt x="144" y="48"/>
                </a:lnTo>
                <a:lnTo>
                  <a:pt x="143" y="45"/>
                </a:lnTo>
                <a:lnTo>
                  <a:pt x="143" y="31"/>
                </a:lnTo>
                <a:lnTo>
                  <a:pt x="141" y="27"/>
                </a:lnTo>
                <a:lnTo>
                  <a:pt x="141" y="25"/>
                </a:lnTo>
                <a:lnTo>
                  <a:pt x="139" y="21"/>
                </a:lnTo>
                <a:lnTo>
                  <a:pt x="139" y="18"/>
                </a:lnTo>
                <a:lnTo>
                  <a:pt x="141" y="17"/>
                </a:lnTo>
                <a:lnTo>
                  <a:pt x="144" y="17"/>
                </a:lnTo>
                <a:lnTo>
                  <a:pt x="145" y="15"/>
                </a:lnTo>
                <a:lnTo>
                  <a:pt x="145" y="14"/>
                </a:lnTo>
                <a:lnTo>
                  <a:pt x="148" y="12"/>
                </a:lnTo>
                <a:lnTo>
                  <a:pt x="150" y="11"/>
                </a:lnTo>
                <a:lnTo>
                  <a:pt x="151" y="9"/>
                </a:lnTo>
                <a:lnTo>
                  <a:pt x="154" y="11"/>
                </a:lnTo>
                <a:lnTo>
                  <a:pt x="156" y="9"/>
                </a:lnTo>
                <a:lnTo>
                  <a:pt x="157" y="9"/>
                </a:lnTo>
                <a:lnTo>
                  <a:pt x="157" y="7"/>
                </a:lnTo>
                <a:lnTo>
                  <a:pt x="161" y="7"/>
                </a:lnTo>
                <a:lnTo>
                  <a:pt x="162" y="8"/>
                </a:lnTo>
                <a:lnTo>
                  <a:pt x="162" y="7"/>
                </a:lnTo>
                <a:lnTo>
                  <a:pt x="163" y="7"/>
                </a:lnTo>
                <a:lnTo>
                  <a:pt x="164" y="6"/>
                </a:lnTo>
                <a:lnTo>
                  <a:pt x="168" y="6"/>
                </a:lnTo>
                <a:lnTo>
                  <a:pt x="172" y="2"/>
                </a:lnTo>
                <a:lnTo>
                  <a:pt x="172" y="1"/>
                </a:lnTo>
                <a:lnTo>
                  <a:pt x="174" y="1"/>
                </a:lnTo>
                <a:lnTo>
                  <a:pt x="175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" name="Freeform 33">
            <a:extLst>
              <a:ext uri="{FF2B5EF4-FFF2-40B4-BE49-F238E27FC236}">
                <a16:creationId xmlns:a16="http://schemas.microsoft.com/office/drawing/2014/main" id="{89DE98E7-0ACD-4552-A328-72EEC514EEE7}"/>
              </a:ext>
            </a:extLst>
          </p:cNvPr>
          <p:cNvSpPr>
            <a:spLocks/>
          </p:cNvSpPr>
          <p:nvPr/>
        </p:nvSpPr>
        <p:spPr bwMode="auto">
          <a:xfrm>
            <a:off x="2454601" y="5316014"/>
            <a:ext cx="107222" cy="117365"/>
          </a:xfrm>
          <a:custGeom>
            <a:avLst/>
            <a:gdLst/>
            <a:ahLst/>
            <a:cxnLst>
              <a:cxn ang="0">
                <a:pos x="35" y="1"/>
              </a:cxn>
              <a:cxn ang="0">
                <a:pos x="35" y="4"/>
              </a:cxn>
              <a:cxn ang="0">
                <a:pos x="42" y="9"/>
              </a:cxn>
              <a:cxn ang="0">
                <a:pos x="47" y="12"/>
              </a:cxn>
              <a:cxn ang="0">
                <a:pos x="50" y="15"/>
              </a:cxn>
              <a:cxn ang="0">
                <a:pos x="53" y="23"/>
              </a:cxn>
              <a:cxn ang="0">
                <a:pos x="59" y="24"/>
              </a:cxn>
              <a:cxn ang="0">
                <a:pos x="59" y="31"/>
              </a:cxn>
              <a:cxn ang="0">
                <a:pos x="68" y="33"/>
              </a:cxn>
              <a:cxn ang="0">
                <a:pos x="71" y="33"/>
              </a:cxn>
              <a:cxn ang="0">
                <a:pos x="74" y="35"/>
              </a:cxn>
              <a:cxn ang="0">
                <a:pos x="73" y="41"/>
              </a:cxn>
              <a:cxn ang="0">
                <a:pos x="68" y="47"/>
              </a:cxn>
              <a:cxn ang="0">
                <a:pos x="65" y="52"/>
              </a:cxn>
              <a:cxn ang="0">
                <a:pos x="65" y="57"/>
              </a:cxn>
              <a:cxn ang="0">
                <a:pos x="62" y="58"/>
              </a:cxn>
              <a:cxn ang="0">
                <a:pos x="61" y="58"/>
              </a:cxn>
              <a:cxn ang="0">
                <a:pos x="58" y="60"/>
              </a:cxn>
              <a:cxn ang="0">
                <a:pos x="54" y="66"/>
              </a:cxn>
              <a:cxn ang="0">
                <a:pos x="54" y="68"/>
              </a:cxn>
              <a:cxn ang="0">
                <a:pos x="50" y="66"/>
              </a:cxn>
              <a:cxn ang="0">
                <a:pos x="47" y="62"/>
              </a:cxn>
              <a:cxn ang="0">
                <a:pos x="43" y="64"/>
              </a:cxn>
              <a:cxn ang="0">
                <a:pos x="37" y="66"/>
              </a:cxn>
              <a:cxn ang="0">
                <a:pos x="33" y="69"/>
              </a:cxn>
              <a:cxn ang="0">
                <a:pos x="30" y="80"/>
              </a:cxn>
              <a:cxn ang="0">
                <a:pos x="28" y="80"/>
              </a:cxn>
              <a:cxn ang="0">
                <a:pos x="24" y="81"/>
              </a:cxn>
              <a:cxn ang="0">
                <a:pos x="24" y="78"/>
              </a:cxn>
              <a:cxn ang="0">
                <a:pos x="24" y="74"/>
              </a:cxn>
              <a:cxn ang="0">
                <a:pos x="23" y="64"/>
              </a:cxn>
              <a:cxn ang="0">
                <a:pos x="19" y="60"/>
              </a:cxn>
              <a:cxn ang="0">
                <a:pos x="10" y="55"/>
              </a:cxn>
              <a:cxn ang="0">
                <a:pos x="9" y="51"/>
              </a:cxn>
              <a:cxn ang="0">
                <a:pos x="9" y="49"/>
              </a:cxn>
              <a:cxn ang="0">
                <a:pos x="5" y="44"/>
              </a:cxn>
              <a:cxn ang="0">
                <a:pos x="4" y="37"/>
              </a:cxn>
              <a:cxn ang="0">
                <a:pos x="0" y="30"/>
              </a:cxn>
              <a:cxn ang="0">
                <a:pos x="4" y="29"/>
              </a:cxn>
              <a:cxn ang="0">
                <a:pos x="9" y="30"/>
              </a:cxn>
              <a:cxn ang="0">
                <a:pos x="15" y="25"/>
              </a:cxn>
              <a:cxn ang="0">
                <a:pos x="21" y="21"/>
              </a:cxn>
              <a:cxn ang="0">
                <a:pos x="19" y="19"/>
              </a:cxn>
              <a:cxn ang="0">
                <a:pos x="22" y="17"/>
              </a:cxn>
              <a:cxn ang="0">
                <a:pos x="25" y="15"/>
              </a:cxn>
              <a:cxn ang="0">
                <a:pos x="28" y="11"/>
              </a:cxn>
              <a:cxn ang="0">
                <a:pos x="27" y="8"/>
              </a:cxn>
              <a:cxn ang="0">
                <a:pos x="28" y="4"/>
              </a:cxn>
              <a:cxn ang="0">
                <a:pos x="34" y="0"/>
              </a:cxn>
            </a:cxnLst>
            <a:rect l="0" t="0" r="r" b="b"/>
            <a:pathLst>
              <a:path w="74" h="81">
                <a:moveTo>
                  <a:pt x="34" y="0"/>
                </a:moveTo>
                <a:lnTo>
                  <a:pt x="34" y="1"/>
                </a:lnTo>
                <a:lnTo>
                  <a:pt x="35" y="1"/>
                </a:lnTo>
                <a:lnTo>
                  <a:pt x="35" y="2"/>
                </a:lnTo>
                <a:lnTo>
                  <a:pt x="36" y="2"/>
                </a:lnTo>
                <a:lnTo>
                  <a:pt x="35" y="4"/>
                </a:lnTo>
                <a:lnTo>
                  <a:pt x="35" y="6"/>
                </a:lnTo>
                <a:lnTo>
                  <a:pt x="39" y="7"/>
                </a:lnTo>
                <a:lnTo>
                  <a:pt x="42" y="9"/>
                </a:lnTo>
                <a:lnTo>
                  <a:pt x="43" y="11"/>
                </a:lnTo>
                <a:lnTo>
                  <a:pt x="47" y="11"/>
                </a:lnTo>
                <a:lnTo>
                  <a:pt x="47" y="12"/>
                </a:lnTo>
                <a:lnTo>
                  <a:pt x="48" y="15"/>
                </a:lnTo>
                <a:lnTo>
                  <a:pt x="49" y="17"/>
                </a:lnTo>
                <a:lnTo>
                  <a:pt x="50" y="15"/>
                </a:lnTo>
                <a:lnTo>
                  <a:pt x="52" y="17"/>
                </a:lnTo>
                <a:lnTo>
                  <a:pt x="52" y="20"/>
                </a:lnTo>
                <a:lnTo>
                  <a:pt x="53" y="23"/>
                </a:lnTo>
                <a:lnTo>
                  <a:pt x="55" y="23"/>
                </a:lnTo>
                <a:lnTo>
                  <a:pt x="56" y="24"/>
                </a:lnTo>
                <a:lnTo>
                  <a:pt x="59" y="24"/>
                </a:lnTo>
                <a:lnTo>
                  <a:pt x="59" y="30"/>
                </a:lnTo>
                <a:lnTo>
                  <a:pt x="58" y="30"/>
                </a:lnTo>
                <a:lnTo>
                  <a:pt x="59" y="31"/>
                </a:lnTo>
                <a:lnTo>
                  <a:pt x="65" y="31"/>
                </a:lnTo>
                <a:lnTo>
                  <a:pt x="66" y="32"/>
                </a:lnTo>
                <a:lnTo>
                  <a:pt x="68" y="33"/>
                </a:lnTo>
                <a:lnTo>
                  <a:pt x="68" y="35"/>
                </a:lnTo>
                <a:lnTo>
                  <a:pt x="70" y="35"/>
                </a:lnTo>
                <a:lnTo>
                  <a:pt x="71" y="33"/>
                </a:lnTo>
                <a:lnTo>
                  <a:pt x="73" y="33"/>
                </a:lnTo>
                <a:lnTo>
                  <a:pt x="73" y="35"/>
                </a:lnTo>
                <a:lnTo>
                  <a:pt x="74" y="35"/>
                </a:lnTo>
                <a:lnTo>
                  <a:pt x="74" y="37"/>
                </a:lnTo>
                <a:lnTo>
                  <a:pt x="73" y="37"/>
                </a:lnTo>
                <a:lnTo>
                  <a:pt x="73" y="41"/>
                </a:lnTo>
                <a:lnTo>
                  <a:pt x="72" y="42"/>
                </a:lnTo>
                <a:lnTo>
                  <a:pt x="70" y="45"/>
                </a:lnTo>
                <a:lnTo>
                  <a:pt x="68" y="47"/>
                </a:lnTo>
                <a:lnTo>
                  <a:pt x="68" y="51"/>
                </a:lnTo>
                <a:lnTo>
                  <a:pt x="67" y="51"/>
                </a:lnTo>
                <a:lnTo>
                  <a:pt x="65" y="52"/>
                </a:lnTo>
                <a:lnTo>
                  <a:pt x="64" y="54"/>
                </a:lnTo>
                <a:lnTo>
                  <a:pt x="64" y="55"/>
                </a:lnTo>
                <a:lnTo>
                  <a:pt x="65" y="57"/>
                </a:lnTo>
                <a:lnTo>
                  <a:pt x="66" y="58"/>
                </a:lnTo>
                <a:lnTo>
                  <a:pt x="64" y="60"/>
                </a:lnTo>
                <a:lnTo>
                  <a:pt x="62" y="58"/>
                </a:lnTo>
                <a:lnTo>
                  <a:pt x="62" y="60"/>
                </a:lnTo>
                <a:lnTo>
                  <a:pt x="61" y="60"/>
                </a:lnTo>
                <a:lnTo>
                  <a:pt x="61" y="58"/>
                </a:lnTo>
                <a:lnTo>
                  <a:pt x="60" y="58"/>
                </a:lnTo>
                <a:lnTo>
                  <a:pt x="60" y="61"/>
                </a:lnTo>
                <a:lnTo>
                  <a:pt x="58" y="60"/>
                </a:lnTo>
                <a:lnTo>
                  <a:pt x="56" y="61"/>
                </a:lnTo>
                <a:lnTo>
                  <a:pt x="54" y="64"/>
                </a:lnTo>
                <a:lnTo>
                  <a:pt x="54" y="66"/>
                </a:lnTo>
                <a:lnTo>
                  <a:pt x="55" y="67"/>
                </a:lnTo>
                <a:lnTo>
                  <a:pt x="54" y="67"/>
                </a:lnTo>
                <a:lnTo>
                  <a:pt x="54" y="68"/>
                </a:lnTo>
                <a:lnTo>
                  <a:pt x="53" y="67"/>
                </a:lnTo>
                <a:lnTo>
                  <a:pt x="52" y="67"/>
                </a:lnTo>
                <a:lnTo>
                  <a:pt x="50" y="66"/>
                </a:lnTo>
                <a:lnTo>
                  <a:pt x="50" y="64"/>
                </a:lnTo>
                <a:lnTo>
                  <a:pt x="49" y="63"/>
                </a:lnTo>
                <a:lnTo>
                  <a:pt x="47" y="62"/>
                </a:lnTo>
                <a:lnTo>
                  <a:pt x="45" y="62"/>
                </a:lnTo>
                <a:lnTo>
                  <a:pt x="43" y="63"/>
                </a:lnTo>
                <a:lnTo>
                  <a:pt x="43" y="64"/>
                </a:lnTo>
                <a:lnTo>
                  <a:pt x="42" y="64"/>
                </a:lnTo>
                <a:lnTo>
                  <a:pt x="41" y="66"/>
                </a:lnTo>
                <a:lnTo>
                  <a:pt x="37" y="66"/>
                </a:lnTo>
                <a:lnTo>
                  <a:pt x="34" y="68"/>
                </a:lnTo>
                <a:lnTo>
                  <a:pt x="33" y="68"/>
                </a:lnTo>
                <a:lnTo>
                  <a:pt x="33" y="69"/>
                </a:lnTo>
                <a:lnTo>
                  <a:pt x="31" y="70"/>
                </a:lnTo>
                <a:lnTo>
                  <a:pt x="31" y="79"/>
                </a:lnTo>
                <a:lnTo>
                  <a:pt x="30" y="80"/>
                </a:lnTo>
                <a:lnTo>
                  <a:pt x="30" y="81"/>
                </a:lnTo>
                <a:lnTo>
                  <a:pt x="28" y="81"/>
                </a:lnTo>
                <a:lnTo>
                  <a:pt x="28" y="80"/>
                </a:lnTo>
                <a:lnTo>
                  <a:pt x="27" y="80"/>
                </a:lnTo>
                <a:lnTo>
                  <a:pt x="27" y="81"/>
                </a:lnTo>
                <a:lnTo>
                  <a:pt x="24" y="81"/>
                </a:lnTo>
                <a:lnTo>
                  <a:pt x="24" y="80"/>
                </a:lnTo>
                <a:lnTo>
                  <a:pt x="23" y="79"/>
                </a:lnTo>
                <a:lnTo>
                  <a:pt x="24" y="78"/>
                </a:lnTo>
                <a:lnTo>
                  <a:pt x="24" y="76"/>
                </a:lnTo>
                <a:lnTo>
                  <a:pt x="25" y="75"/>
                </a:lnTo>
                <a:lnTo>
                  <a:pt x="24" y="74"/>
                </a:lnTo>
                <a:lnTo>
                  <a:pt x="24" y="73"/>
                </a:lnTo>
                <a:lnTo>
                  <a:pt x="23" y="69"/>
                </a:lnTo>
                <a:lnTo>
                  <a:pt x="23" y="64"/>
                </a:lnTo>
                <a:lnTo>
                  <a:pt x="21" y="61"/>
                </a:lnTo>
                <a:lnTo>
                  <a:pt x="21" y="60"/>
                </a:lnTo>
                <a:lnTo>
                  <a:pt x="19" y="60"/>
                </a:lnTo>
                <a:lnTo>
                  <a:pt x="19" y="58"/>
                </a:lnTo>
                <a:lnTo>
                  <a:pt x="14" y="55"/>
                </a:lnTo>
                <a:lnTo>
                  <a:pt x="10" y="55"/>
                </a:lnTo>
                <a:lnTo>
                  <a:pt x="10" y="54"/>
                </a:lnTo>
                <a:lnTo>
                  <a:pt x="9" y="54"/>
                </a:lnTo>
                <a:lnTo>
                  <a:pt x="9" y="51"/>
                </a:lnTo>
                <a:lnTo>
                  <a:pt x="8" y="51"/>
                </a:lnTo>
                <a:lnTo>
                  <a:pt x="8" y="50"/>
                </a:lnTo>
                <a:lnTo>
                  <a:pt x="9" y="49"/>
                </a:lnTo>
                <a:lnTo>
                  <a:pt x="8" y="48"/>
                </a:lnTo>
                <a:lnTo>
                  <a:pt x="6" y="44"/>
                </a:lnTo>
                <a:lnTo>
                  <a:pt x="5" y="44"/>
                </a:lnTo>
                <a:lnTo>
                  <a:pt x="3" y="43"/>
                </a:lnTo>
                <a:lnTo>
                  <a:pt x="3" y="38"/>
                </a:lnTo>
                <a:lnTo>
                  <a:pt x="4" y="37"/>
                </a:lnTo>
                <a:lnTo>
                  <a:pt x="4" y="35"/>
                </a:lnTo>
                <a:lnTo>
                  <a:pt x="0" y="31"/>
                </a:lnTo>
                <a:lnTo>
                  <a:pt x="0" y="30"/>
                </a:lnTo>
                <a:lnTo>
                  <a:pt x="2" y="30"/>
                </a:lnTo>
                <a:lnTo>
                  <a:pt x="2" y="29"/>
                </a:lnTo>
                <a:lnTo>
                  <a:pt x="4" y="29"/>
                </a:lnTo>
                <a:lnTo>
                  <a:pt x="6" y="30"/>
                </a:lnTo>
                <a:lnTo>
                  <a:pt x="8" y="31"/>
                </a:lnTo>
                <a:lnTo>
                  <a:pt x="9" y="30"/>
                </a:lnTo>
                <a:lnTo>
                  <a:pt x="9" y="26"/>
                </a:lnTo>
                <a:lnTo>
                  <a:pt x="11" y="26"/>
                </a:lnTo>
                <a:lnTo>
                  <a:pt x="15" y="25"/>
                </a:lnTo>
                <a:lnTo>
                  <a:pt x="18" y="25"/>
                </a:lnTo>
                <a:lnTo>
                  <a:pt x="21" y="23"/>
                </a:lnTo>
                <a:lnTo>
                  <a:pt x="21" y="21"/>
                </a:lnTo>
                <a:lnTo>
                  <a:pt x="19" y="20"/>
                </a:lnTo>
                <a:lnTo>
                  <a:pt x="18" y="20"/>
                </a:lnTo>
                <a:lnTo>
                  <a:pt x="19" y="19"/>
                </a:lnTo>
                <a:lnTo>
                  <a:pt x="19" y="18"/>
                </a:lnTo>
                <a:lnTo>
                  <a:pt x="22" y="18"/>
                </a:lnTo>
                <a:lnTo>
                  <a:pt x="22" y="17"/>
                </a:lnTo>
                <a:lnTo>
                  <a:pt x="23" y="17"/>
                </a:lnTo>
                <a:lnTo>
                  <a:pt x="23" y="15"/>
                </a:lnTo>
                <a:lnTo>
                  <a:pt x="25" y="15"/>
                </a:lnTo>
                <a:lnTo>
                  <a:pt x="25" y="14"/>
                </a:lnTo>
                <a:lnTo>
                  <a:pt x="27" y="13"/>
                </a:lnTo>
                <a:lnTo>
                  <a:pt x="28" y="11"/>
                </a:lnTo>
                <a:lnTo>
                  <a:pt x="28" y="9"/>
                </a:lnTo>
                <a:lnTo>
                  <a:pt x="27" y="9"/>
                </a:lnTo>
                <a:lnTo>
                  <a:pt x="27" y="8"/>
                </a:lnTo>
                <a:lnTo>
                  <a:pt x="25" y="8"/>
                </a:lnTo>
                <a:lnTo>
                  <a:pt x="25" y="4"/>
                </a:lnTo>
                <a:lnTo>
                  <a:pt x="28" y="4"/>
                </a:lnTo>
                <a:lnTo>
                  <a:pt x="31" y="1"/>
                </a:lnTo>
                <a:lnTo>
                  <a:pt x="33" y="1"/>
                </a:lnTo>
                <a:lnTo>
                  <a:pt x="34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" name="Freeform 34">
            <a:extLst>
              <a:ext uri="{FF2B5EF4-FFF2-40B4-BE49-F238E27FC236}">
                <a16:creationId xmlns:a16="http://schemas.microsoft.com/office/drawing/2014/main" id="{0D855616-FB42-440D-83BB-B9276654C348}"/>
              </a:ext>
            </a:extLst>
          </p:cNvPr>
          <p:cNvSpPr>
            <a:spLocks noEditPoints="1"/>
          </p:cNvSpPr>
          <p:nvPr/>
        </p:nvSpPr>
        <p:spPr bwMode="auto">
          <a:xfrm>
            <a:off x="1634501" y="4985656"/>
            <a:ext cx="728817" cy="946159"/>
          </a:xfrm>
          <a:custGeom>
            <a:avLst/>
            <a:gdLst/>
            <a:ahLst/>
            <a:cxnLst>
              <a:cxn ang="0">
                <a:pos x="231" y="522"/>
              </a:cxn>
              <a:cxn ang="0">
                <a:pos x="365" y="559"/>
              </a:cxn>
              <a:cxn ang="0">
                <a:pos x="358" y="592"/>
              </a:cxn>
              <a:cxn ang="0">
                <a:pos x="296" y="560"/>
              </a:cxn>
              <a:cxn ang="0">
                <a:pos x="249" y="538"/>
              </a:cxn>
              <a:cxn ang="0">
                <a:pos x="273" y="516"/>
              </a:cxn>
              <a:cxn ang="0">
                <a:pos x="315" y="519"/>
              </a:cxn>
              <a:cxn ang="0">
                <a:pos x="354" y="501"/>
              </a:cxn>
              <a:cxn ang="0">
                <a:pos x="335" y="489"/>
              </a:cxn>
              <a:cxn ang="0">
                <a:pos x="72" y="461"/>
              </a:cxn>
              <a:cxn ang="0">
                <a:pos x="74" y="353"/>
              </a:cxn>
              <a:cxn ang="0">
                <a:pos x="124" y="349"/>
              </a:cxn>
              <a:cxn ang="0">
                <a:pos x="133" y="375"/>
              </a:cxn>
              <a:cxn ang="0">
                <a:pos x="130" y="421"/>
              </a:cxn>
              <a:cxn ang="0">
                <a:pos x="115" y="455"/>
              </a:cxn>
              <a:cxn ang="0">
                <a:pos x="90" y="470"/>
              </a:cxn>
              <a:cxn ang="0">
                <a:pos x="77" y="443"/>
              </a:cxn>
              <a:cxn ang="0">
                <a:pos x="80" y="406"/>
              </a:cxn>
              <a:cxn ang="0">
                <a:pos x="67" y="374"/>
              </a:cxn>
              <a:cxn ang="0">
                <a:pos x="99" y="353"/>
              </a:cxn>
              <a:cxn ang="0">
                <a:pos x="148" y="267"/>
              </a:cxn>
              <a:cxn ang="0">
                <a:pos x="158" y="254"/>
              </a:cxn>
              <a:cxn ang="0">
                <a:pos x="136" y="181"/>
              </a:cxn>
              <a:cxn ang="0">
                <a:pos x="234" y="7"/>
              </a:cxn>
              <a:cxn ang="0">
                <a:pos x="291" y="33"/>
              </a:cxn>
              <a:cxn ang="0">
                <a:pos x="291" y="67"/>
              </a:cxn>
              <a:cxn ang="0">
                <a:pos x="301" y="85"/>
              </a:cxn>
              <a:cxn ang="0">
                <a:pos x="274" y="82"/>
              </a:cxn>
              <a:cxn ang="0">
                <a:pos x="249" y="92"/>
              </a:cxn>
              <a:cxn ang="0">
                <a:pos x="246" y="124"/>
              </a:cxn>
              <a:cxn ang="0">
                <a:pos x="240" y="137"/>
              </a:cxn>
              <a:cxn ang="0">
                <a:pos x="291" y="208"/>
              </a:cxn>
              <a:cxn ang="0">
                <a:pos x="340" y="290"/>
              </a:cxn>
              <a:cxn ang="0">
                <a:pos x="398" y="319"/>
              </a:cxn>
              <a:cxn ang="0">
                <a:pos x="475" y="374"/>
              </a:cxn>
              <a:cxn ang="0">
                <a:pos x="497" y="421"/>
              </a:cxn>
              <a:cxn ang="0">
                <a:pos x="450" y="390"/>
              </a:cxn>
              <a:cxn ang="0">
                <a:pos x="425" y="406"/>
              </a:cxn>
              <a:cxn ang="0">
                <a:pos x="441" y="443"/>
              </a:cxn>
              <a:cxn ang="0">
                <a:pos x="419" y="500"/>
              </a:cxn>
              <a:cxn ang="0">
                <a:pos x="389" y="504"/>
              </a:cxn>
              <a:cxn ang="0">
                <a:pos x="397" y="443"/>
              </a:cxn>
              <a:cxn ang="0">
                <a:pos x="352" y="399"/>
              </a:cxn>
              <a:cxn ang="0">
                <a:pos x="329" y="377"/>
              </a:cxn>
              <a:cxn ang="0">
                <a:pos x="295" y="344"/>
              </a:cxn>
              <a:cxn ang="0">
                <a:pos x="241" y="316"/>
              </a:cxn>
              <a:cxn ang="0">
                <a:pos x="191" y="278"/>
              </a:cxn>
              <a:cxn ang="0">
                <a:pos x="165" y="247"/>
              </a:cxn>
              <a:cxn ang="0">
                <a:pos x="136" y="179"/>
              </a:cxn>
              <a:cxn ang="0">
                <a:pos x="94" y="161"/>
              </a:cxn>
              <a:cxn ang="0">
                <a:pos x="66" y="189"/>
              </a:cxn>
              <a:cxn ang="0">
                <a:pos x="34" y="178"/>
              </a:cxn>
              <a:cxn ang="0">
                <a:pos x="18" y="140"/>
              </a:cxn>
              <a:cxn ang="0">
                <a:pos x="19" y="113"/>
              </a:cxn>
              <a:cxn ang="0">
                <a:pos x="21" y="73"/>
              </a:cxn>
              <a:cxn ang="0">
                <a:pos x="62" y="51"/>
              </a:cxn>
              <a:cxn ang="0">
                <a:pos x="94" y="64"/>
              </a:cxn>
              <a:cxn ang="0">
                <a:pos x="105" y="60"/>
              </a:cxn>
              <a:cxn ang="0">
                <a:pos x="124" y="48"/>
              </a:cxn>
              <a:cxn ang="0">
                <a:pos x="147" y="30"/>
              </a:cxn>
              <a:cxn ang="0">
                <a:pos x="174" y="18"/>
              </a:cxn>
              <a:cxn ang="0">
                <a:pos x="216" y="7"/>
              </a:cxn>
            </a:cxnLst>
            <a:rect l="0" t="0" r="r" b="b"/>
            <a:pathLst>
              <a:path w="503" h="653">
                <a:moveTo>
                  <a:pt x="251" y="651"/>
                </a:moveTo>
                <a:lnTo>
                  <a:pt x="254" y="651"/>
                </a:lnTo>
                <a:lnTo>
                  <a:pt x="254" y="653"/>
                </a:lnTo>
                <a:lnTo>
                  <a:pt x="253" y="652"/>
                </a:lnTo>
                <a:lnTo>
                  <a:pt x="251" y="652"/>
                </a:lnTo>
                <a:lnTo>
                  <a:pt x="251" y="651"/>
                </a:lnTo>
                <a:close/>
                <a:moveTo>
                  <a:pt x="264" y="633"/>
                </a:moveTo>
                <a:lnTo>
                  <a:pt x="265" y="633"/>
                </a:lnTo>
                <a:lnTo>
                  <a:pt x="265" y="634"/>
                </a:lnTo>
                <a:lnTo>
                  <a:pt x="264" y="634"/>
                </a:lnTo>
                <a:lnTo>
                  <a:pt x="264" y="633"/>
                </a:lnTo>
                <a:close/>
                <a:moveTo>
                  <a:pt x="224" y="583"/>
                </a:moveTo>
                <a:lnTo>
                  <a:pt x="228" y="583"/>
                </a:lnTo>
                <a:lnTo>
                  <a:pt x="230" y="584"/>
                </a:lnTo>
                <a:lnTo>
                  <a:pt x="230" y="586"/>
                </a:lnTo>
                <a:lnTo>
                  <a:pt x="229" y="587"/>
                </a:lnTo>
                <a:lnTo>
                  <a:pt x="228" y="587"/>
                </a:lnTo>
                <a:lnTo>
                  <a:pt x="226" y="585"/>
                </a:lnTo>
                <a:lnTo>
                  <a:pt x="226" y="584"/>
                </a:lnTo>
                <a:lnTo>
                  <a:pt x="224" y="583"/>
                </a:lnTo>
                <a:close/>
                <a:moveTo>
                  <a:pt x="240" y="524"/>
                </a:moveTo>
                <a:lnTo>
                  <a:pt x="243" y="524"/>
                </a:lnTo>
                <a:lnTo>
                  <a:pt x="243" y="525"/>
                </a:lnTo>
                <a:lnTo>
                  <a:pt x="240" y="525"/>
                </a:lnTo>
                <a:lnTo>
                  <a:pt x="240" y="524"/>
                </a:lnTo>
                <a:close/>
                <a:moveTo>
                  <a:pt x="230" y="522"/>
                </a:moveTo>
                <a:lnTo>
                  <a:pt x="231" y="522"/>
                </a:lnTo>
                <a:lnTo>
                  <a:pt x="231" y="523"/>
                </a:lnTo>
                <a:lnTo>
                  <a:pt x="230" y="523"/>
                </a:lnTo>
                <a:lnTo>
                  <a:pt x="230" y="522"/>
                </a:lnTo>
                <a:close/>
                <a:moveTo>
                  <a:pt x="377" y="505"/>
                </a:moveTo>
                <a:lnTo>
                  <a:pt x="378" y="505"/>
                </a:lnTo>
                <a:lnTo>
                  <a:pt x="380" y="506"/>
                </a:lnTo>
                <a:lnTo>
                  <a:pt x="382" y="506"/>
                </a:lnTo>
                <a:lnTo>
                  <a:pt x="379" y="507"/>
                </a:lnTo>
                <a:lnTo>
                  <a:pt x="379" y="509"/>
                </a:lnTo>
                <a:lnTo>
                  <a:pt x="378" y="510"/>
                </a:lnTo>
                <a:lnTo>
                  <a:pt x="379" y="510"/>
                </a:lnTo>
                <a:lnTo>
                  <a:pt x="377" y="513"/>
                </a:lnTo>
                <a:lnTo>
                  <a:pt x="376" y="516"/>
                </a:lnTo>
                <a:lnTo>
                  <a:pt x="371" y="522"/>
                </a:lnTo>
                <a:lnTo>
                  <a:pt x="367" y="528"/>
                </a:lnTo>
                <a:lnTo>
                  <a:pt x="366" y="530"/>
                </a:lnTo>
                <a:lnTo>
                  <a:pt x="366" y="531"/>
                </a:lnTo>
                <a:lnTo>
                  <a:pt x="365" y="531"/>
                </a:lnTo>
                <a:lnTo>
                  <a:pt x="364" y="534"/>
                </a:lnTo>
                <a:lnTo>
                  <a:pt x="364" y="537"/>
                </a:lnTo>
                <a:lnTo>
                  <a:pt x="363" y="538"/>
                </a:lnTo>
                <a:lnTo>
                  <a:pt x="363" y="542"/>
                </a:lnTo>
                <a:lnTo>
                  <a:pt x="361" y="543"/>
                </a:lnTo>
                <a:lnTo>
                  <a:pt x="359" y="548"/>
                </a:lnTo>
                <a:lnTo>
                  <a:pt x="359" y="556"/>
                </a:lnTo>
                <a:lnTo>
                  <a:pt x="363" y="559"/>
                </a:lnTo>
                <a:lnTo>
                  <a:pt x="365" y="559"/>
                </a:lnTo>
                <a:lnTo>
                  <a:pt x="365" y="560"/>
                </a:lnTo>
                <a:lnTo>
                  <a:pt x="366" y="561"/>
                </a:lnTo>
                <a:lnTo>
                  <a:pt x="365" y="561"/>
                </a:lnTo>
                <a:lnTo>
                  <a:pt x="364" y="562"/>
                </a:lnTo>
                <a:lnTo>
                  <a:pt x="364" y="561"/>
                </a:lnTo>
                <a:lnTo>
                  <a:pt x="363" y="561"/>
                </a:lnTo>
                <a:lnTo>
                  <a:pt x="363" y="565"/>
                </a:lnTo>
                <a:lnTo>
                  <a:pt x="364" y="566"/>
                </a:lnTo>
                <a:lnTo>
                  <a:pt x="365" y="565"/>
                </a:lnTo>
                <a:lnTo>
                  <a:pt x="365" y="567"/>
                </a:lnTo>
                <a:lnTo>
                  <a:pt x="366" y="568"/>
                </a:lnTo>
                <a:lnTo>
                  <a:pt x="367" y="568"/>
                </a:lnTo>
                <a:lnTo>
                  <a:pt x="367" y="571"/>
                </a:lnTo>
                <a:lnTo>
                  <a:pt x="366" y="571"/>
                </a:lnTo>
                <a:lnTo>
                  <a:pt x="367" y="572"/>
                </a:lnTo>
                <a:lnTo>
                  <a:pt x="367" y="573"/>
                </a:lnTo>
                <a:lnTo>
                  <a:pt x="366" y="574"/>
                </a:lnTo>
                <a:lnTo>
                  <a:pt x="366" y="575"/>
                </a:lnTo>
                <a:lnTo>
                  <a:pt x="364" y="575"/>
                </a:lnTo>
                <a:lnTo>
                  <a:pt x="364" y="577"/>
                </a:lnTo>
                <a:lnTo>
                  <a:pt x="363" y="577"/>
                </a:lnTo>
                <a:lnTo>
                  <a:pt x="361" y="578"/>
                </a:lnTo>
                <a:lnTo>
                  <a:pt x="359" y="584"/>
                </a:lnTo>
                <a:lnTo>
                  <a:pt x="359" y="585"/>
                </a:lnTo>
                <a:lnTo>
                  <a:pt x="360" y="587"/>
                </a:lnTo>
                <a:lnTo>
                  <a:pt x="360" y="592"/>
                </a:lnTo>
                <a:lnTo>
                  <a:pt x="358" y="592"/>
                </a:lnTo>
                <a:lnTo>
                  <a:pt x="357" y="591"/>
                </a:lnTo>
                <a:lnTo>
                  <a:pt x="357" y="590"/>
                </a:lnTo>
                <a:lnTo>
                  <a:pt x="353" y="590"/>
                </a:lnTo>
                <a:lnTo>
                  <a:pt x="352" y="589"/>
                </a:lnTo>
                <a:lnTo>
                  <a:pt x="349" y="587"/>
                </a:lnTo>
                <a:lnTo>
                  <a:pt x="348" y="589"/>
                </a:lnTo>
                <a:lnTo>
                  <a:pt x="346" y="590"/>
                </a:lnTo>
                <a:lnTo>
                  <a:pt x="346" y="589"/>
                </a:lnTo>
                <a:lnTo>
                  <a:pt x="345" y="589"/>
                </a:lnTo>
                <a:lnTo>
                  <a:pt x="345" y="590"/>
                </a:lnTo>
                <a:lnTo>
                  <a:pt x="344" y="589"/>
                </a:lnTo>
                <a:lnTo>
                  <a:pt x="341" y="589"/>
                </a:lnTo>
                <a:lnTo>
                  <a:pt x="341" y="587"/>
                </a:lnTo>
                <a:lnTo>
                  <a:pt x="340" y="586"/>
                </a:lnTo>
                <a:lnTo>
                  <a:pt x="338" y="586"/>
                </a:lnTo>
                <a:lnTo>
                  <a:pt x="338" y="585"/>
                </a:lnTo>
                <a:lnTo>
                  <a:pt x="333" y="585"/>
                </a:lnTo>
                <a:lnTo>
                  <a:pt x="333" y="584"/>
                </a:lnTo>
                <a:lnTo>
                  <a:pt x="329" y="577"/>
                </a:lnTo>
                <a:lnTo>
                  <a:pt x="324" y="572"/>
                </a:lnTo>
                <a:lnTo>
                  <a:pt x="321" y="570"/>
                </a:lnTo>
                <a:lnTo>
                  <a:pt x="316" y="567"/>
                </a:lnTo>
                <a:lnTo>
                  <a:pt x="311" y="568"/>
                </a:lnTo>
                <a:lnTo>
                  <a:pt x="308" y="568"/>
                </a:lnTo>
                <a:lnTo>
                  <a:pt x="305" y="566"/>
                </a:lnTo>
                <a:lnTo>
                  <a:pt x="302" y="566"/>
                </a:lnTo>
                <a:lnTo>
                  <a:pt x="296" y="560"/>
                </a:lnTo>
                <a:lnTo>
                  <a:pt x="295" y="560"/>
                </a:lnTo>
                <a:lnTo>
                  <a:pt x="293" y="559"/>
                </a:lnTo>
                <a:lnTo>
                  <a:pt x="291" y="559"/>
                </a:lnTo>
                <a:lnTo>
                  <a:pt x="290" y="558"/>
                </a:lnTo>
                <a:lnTo>
                  <a:pt x="289" y="558"/>
                </a:lnTo>
                <a:lnTo>
                  <a:pt x="286" y="555"/>
                </a:lnTo>
                <a:lnTo>
                  <a:pt x="284" y="554"/>
                </a:lnTo>
                <a:lnTo>
                  <a:pt x="283" y="554"/>
                </a:lnTo>
                <a:lnTo>
                  <a:pt x="283" y="553"/>
                </a:lnTo>
                <a:lnTo>
                  <a:pt x="282" y="553"/>
                </a:lnTo>
                <a:lnTo>
                  <a:pt x="282" y="550"/>
                </a:lnTo>
                <a:lnTo>
                  <a:pt x="280" y="550"/>
                </a:lnTo>
                <a:lnTo>
                  <a:pt x="279" y="549"/>
                </a:lnTo>
                <a:lnTo>
                  <a:pt x="278" y="549"/>
                </a:lnTo>
                <a:lnTo>
                  <a:pt x="278" y="548"/>
                </a:lnTo>
                <a:lnTo>
                  <a:pt x="272" y="547"/>
                </a:lnTo>
                <a:lnTo>
                  <a:pt x="272" y="548"/>
                </a:lnTo>
                <a:lnTo>
                  <a:pt x="271" y="548"/>
                </a:lnTo>
                <a:lnTo>
                  <a:pt x="271" y="546"/>
                </a:lnTo>
                <a:lnTo>
                  <a:pt x="268" y="543"/>
                </a:lnTo>
                <a:lnTo>
                  <a:pt x="261" y="543"/>
                </a:lnTo>
                <a:lnTo>
                  <a:pt x="258" y="544"/>
                </a:lnTo>
                <a:lnTo>
                  <a:pt x="257" y="544"/>
                </a:lnTo>
                <a:lnTo>
                  <a:pt x="255" y="543"/>
                </a:lnTo>
                <a:lnTo>
                  <a:pt x="253" y="540"/>
                </a:lnTo>
                <a:lnTo>
                  <a:pt x="252" y="538"/>
                </a:lnTo>
                <a:lnTo>
                  <a:pt x="249" y="538"/>
                </a:lnTo>
                <a:lnTo>
                  <a:pt x="249" y="537"/>
                </a:lnTo>
                <a:lnTo>
                  <a:pt x="248" y="536"/>
                </a:lnTo>
                <a:lnTo>
                  <a:pt x="248" y="534"/>
                </a:lnTo>
                <a:lnTo>
                  <a:pt x="247" y="534"/>
                </a:lnTo>
                <a:lnTo>
                  <a:pt x="247" y="532"/>
                </a:lnTo>
                <a:lnTo>
                  <a:pt x="246" y="531"/>
                </a:lnTo>
                <a:lnTo>
                  <a:pt x="247" y="530"/>
                </a:lnTo>
                <a:lnTo>
                  <a:pt x="247" y="531"/>
                </a:lnTo>
                <a:lnTo>
                  <a:pt x="248" y="530"/>
                </a:lnTo>
                <a:lnTo>
                  <a:pt x="248" y="525"/>
                </a:lnTo>
                <a:lnTo>
                  <a:pt x="249" y="523"/>
                </a:lnTo>
                <a:lnTo>
                  <a:pt x="249" y="519"/>
                </a:lnTo>
                <a:lnTo>
                  <a:pt x="251" y="519"/>
                </a:lnTo>
                <a:lnTo>
                  <a:pt x="253" y="517"/>
                </a:lnTo>
                <a:lnTo>
                  <a:pt x="255" y="517"/>
                </a:lnTo>
                <a:lnTo>
                  <a:pt x="255" y="516"/>
                </a:lnTo>
                <a:lnTo>
                  <a:pt x="257" y="515"/>
                </a:lnTo>
                <a:lnTo>
                  <a:pt x="259" y="515"/>
                </a:lnTo>
                <a:lnTo>
                  <a:pt x="259" y="511"/>
                </a:lnTo>
                <a:lnTo>
                  <a:pt x="260" y="511"/>
                </a:lnTo>
                <a:lnTo>
                  <a:pt x="260" y="512"/>
                </a:lnTo>
                <a:lnTo>
                  <a:pt x="262" y="517"/>
                </a:lnTo>
                <a:lnTo>
                  <a:pt x="264" y="517"/>
                </a:lnTo>
                <a:lnTo>
                  <a:pt x="266" y="519"/>
                </a:lnTo>
                <a:lnTo>
                  <a:pt x="268" y="519"/>
                </a:lnTo>
                <a:lnTo>
                  <a:pt x="272" y="517"/>
                </a:lnTo>
                <a:lnTo>
                  <a:pt x="273" y="516"/>
                </a:lnTo>
                <a:lnTo>
                  <a:pt x="273" y="513"/>
                </a:lnTo>
                <a:lnTo>
                  <a:pt x="274" y="512"/>
                </a:lnTo>
                <a:lnTo>
                  <a:pt x="274" y="511"/>
                </a:lnTo>
                <a:lnTo>
                  <a:pt x="280" y="511"/>
                </a:lnTo>
                <a:lnTo>
                  <a:pt x="280" y="510"/>
                </a:lnTo>
                <a:lnTo>
                  <a:pt x="283" y="510"/>
                </a:lnTo>
                <a:lnTo>
                  <a:pt x="284" y="509"/>
                </a:lnTo>
                <a:lnTo>
                  <a:pt x="284" y="510"/>
                </a:lnTo>
                <a:lnTo>
                  <a:pt x="286" y="511"/>
                </a:lnTo>
                <a:lnTo>
                  <a:pt x="286" y="513"/>
                </a:lnTo>
                <a:lnTo>
                  <a:pt x="288" y="516"/>
                </a:lnTo>
                <a:lnTo>
                  <a:pt x="292" y="515"/>
                </a:lnTo>
                <a:lnTo>
                  <a:pt x="293" y="516"/>
                </a:lnTo>
                <a:lnTo>
                  <a:pt x="293" y="518"/>
                </a:lnTo>
                <a:lnTo>
                  <a:pt x="295" y="518"/>
                </a:lnTo>
                <a:lnTo>
                  <a:pt x="297" y="519"/>
                </a:lnTo>
                <a:lnTo>
                  <a:pt x="298" y="521"/>
                </a:lnTo>
                <a:lnTo>
                  <a:pt x="299" y="521"/>
                </a:lnTo>
                <a:lnTo>
                  <a:pt x="301" y="522"/>
                </a:lnTo>
                <a:lnTo>
                  <a:pt x="304" y="522"/>
                </a:lnTo>
                <a:lnTo>
                  <a:pt x="307" y="521"/>
                </a:lnTo>
                <a:lnTo>
                  <a:pt x="309" y="521"/>
                </a:lnTo>
                <a:lnTo>
                  <a:pt x="309" y="519"/>
                </a:lnTo>
                <a:lnTo>
                  <a:pt x="310" y="519"/>
                </a:lnTo>
                <a:lnTo>
                  <a:pt x="313" y="518"/>
                </a:lnTo>
                <a:lnTo>
                  <a:pt x="314" y="518"/>
                </a:lnTo>
                <a:lnTo>
                  <a:pt x="315" y="519"/>
                </a:lnTo>
                <a:lnTo>
                  <a:pt x="329" y="519"/>
                </a:lnTo>
                <a:lnTo>
                  <a:pt x="330" y="518"/>
                </a:lnTo>
                <a:lnTo>
                  <a:pt x="334" y="518"/>
                </a:lnTo>
                <a:lnTo>
                  <a:pt x="340" y="517"/>
                </a:lnTo>
                <a:lnTo>
                  <a:pt x="342" y="515"/>
                </a:lnTo>
                <a:lnTo>
                  <a:pt x="344" y="512"/>
                </a:lnTo>
                <a:lnTo>
                  <a:pt x="346" y="512"/>
                </a:lnTo>
                <a:lnTo>
                  <a:pt x="349" y="511"/>
                </a:lnTo>
                <a:lnTo>
                  <a:pt x="352" y="511"/>
                </a:lnTo>
                <a:lnTo>
                  <a:pt x="353" y="512"/>
                </a:lnTo>
                <a:lnTo>
                  <a:pt x="357" y="512"/>
                </a:lnTo>
                <a:lnTo>
                  <a:pt x="357" y="513"/>
                </a:lnTo>
                <a:lnTo>
                  <a:pt x="360" y="513"/>
                </a:lnTo>
                <a:lnTo>
                  <a:pt x="363" y="512"/>
                </a:lnTo>
                <a:lnTo>
                  <a:pt x="364" y="511"/>
                </a:lnTo>
                <a:lnTo>
                  <a:pt x="365" y="507"/>
                </a:lnTo>
                <a:lnTo>
                  <a:pt x="365" y="509"/>
                </a:lnTo>
                <a:lnTo>
                  <a:pt x="366" y="510"/>
                </a:lnTo>
                <a:lnTo>
                  <a:pt x="367" y="510"/>
                </a:lnTo>
                <a:lnTo>
                  <a:pt x="372" y="509"/>
                </a:lnTo>
                <a:lnTo>
                  <a:pt x="372" y="507"/>
                </a:lnTo>
                <a:lnTo>
                  <a:pt x="373" y="507"/>
                </a:lnTo>
                <a:lnTo>
                  <a:pt x="375" y="506"/>
                </a:lnTo>
                <a:lnTo>
                  <a:pt x="377" y="505"/>
                </a:lnTo>
                <a:close/>
                <a:moveTo>
                  <a:pt x="353" y="498"/>
                </a:moveTo>
                <a:lnTo>
                  <a:pt x="355" y="500"/>
                </a:lnTo>
                <a:lnTo>
                  <a:pt x="354" y="501"/>
                </a:lnTo>
                <a:lnTo>
                  <a:pt x="353" y="500"/>
                </a:lnTo>
                <a:lnTo>
                  <a:pt x="353" y="498"/>
                </a:lnTo>
                <a:close/>
                <a:moveTo>
                  <a:pt x="351" y="493"/>
                </a:moveTo>
                <a:lnTo>
                  <a:pt x="353" y="493"/>
                </a:lnTo>
                <a:lnTo>
                  <a:pt x="353" y="494"/>
                </a:lnTo>
                <a:lnTo>
                  <a:pt x="354" y="494"/>
                </a:lnTo>
                <a:lnTo>
                  <a:pt x="354" y="495"/>
                </a:lnTo>
                <a:lnTo>
                  <a:pt x="353" y="495"/>
                </a:lnTo>
                <a:lnTo>
                  <a:pt x="353" y="497"/>
                </a:lnTo>
                <a:lnTo>
                  <a:pt x="352" y="497"/>
                </a:lnTo>
                <a:lnTo>
                  <a:pt x="352" y="495"/>
                </a:lnTo>
                <a:lnTo>
                  <a:pt x="351" y="495"/>
                </a:lnTo>
                <a:lnTo>
                  <a:pt x="351" y="493"/>
                </a:lnTo>
                <a:close/>
                <a:moveTo>
                  <a:pt x="328" y="491"/>
                </a:moveTo>
                <a:lnTo>
                  <a:pt x="328" y="492"/>
                </a:lnTo>
                <a:lnTo>
                  <a:pt x="327" y="492"/>
                </a:lnTo>
                <a:lnTo>
                  <a:pt x="328" y="491"/>
                </a:lnTo>
                <a:close/>
                <a:moveTo>
                  <a:pt x="346" y="489"/>
                </a:moveTo>
                <a:lnTo>
                  <a:pt x="349" y="489"/>
                </a:lnTo>
                <a:lnTo>
                  <a:pt x="349" y="492"/>
                </a:lnTo>
                <a:lnTo>
                  <a:pt x="347" y="491"/>
                </a:lnTo>
                <a:lnTo>
                  <a:pt x="346" y="489"/>
                </a:lnTo>
                <a:close/>
                <a:moveTo>
                  <a:pt x="335" y="489"/>
                </a:moveTo>
                <a:lnTo>
                  <a:pt x="336" y="489"/>
                </a:lnTo>
                <a:lnTo>
                  <a:pt x="338" y="491"/>
                </a:lnTo>
                <a:lnTo>
                  <a:pt x="336" y="491"/>
                </a:lnTo>
                <a:lnTo>
                  <a:pt x="335" y="489"/>
                </a:lnTo>
                <a:close/>
                <a:moveTo>
                  <a:pt x="277" y="482"/>
                </a:moveTo>
                <a:lnTo>
                  <a:pt x="279" y="482"/>
                </a:lnTo>
                <a:lnTo>
                  <a:pt x="278" y="484"/>
                </a:lnTo>
                <a:lnTo>
                  <a:pt x="277" y="484"/>
                </a:lnTo>
                <a:lnTo>
                  <a:pt x="277" y="482"/>
                </a:lnTo>
                <a:close/>
                <a:moveTo>
                  <a:pt x="363" y="478"/>
                </a:moveTo>
                <a:lnTo>
                  <a:pt x="365" y="478"/>
                </a:lnTo>
                <a:lnTo>
                  <a:pt x="365" y="479"/>
                </a:lnTo>
                <a:lnTo>
                  <a:pt x="363" y="479"/>
                </a:lnTo>
                <a:lnTo>
                  <a:pt x="363" y="478"/>
                </a:lnTo>
                <a:close/>
                <a:moveTo>
                  <a:pt x="74" y="461"/>
                </a:moveTo>
                <a:lnTo>
                  <a:pt x="78" y="461"/>
                </a:lnTo>
                <a:lnTo>
                  <a:pt x="79" y="463"/>
                </a:lnTo>
                <a:lnTo>
                  <a:pt x="80" y="463"/>
                </a:lnTo>
                <a:lnTo>
                  <a:pt x="79" y="464"/>
                </a:lnTo>
                <a:lnTo>
                  <a:pt x="79" y="466"/>
                </a:lnTo>
                <a:lnTo>
                  <a:pt x="78" y="467"/>
                </a:lnTo>
                <a:lnTo>
                  <a:pt x="78" y="469"/>
                </a:lnTo>
                <a:lnTo>
                  <a:pt x="77" y="469"/>
                </a:lnTo>
                <a:lnTo>
                  <a:pt x="77" y="468"/>
                </a:lnTo>
                <a:lnTo>
                  <a:pt x="74" y="463"/>
                </a:lnTo>
                <a:lnTo>
                  <a:pt x="74" y="461"/>
                </a:lnTo>
                <a:close/>
                <a:moveTo>
                  <a:pt x="69" y="457"/>
                </a:moveTo>
                <a:lnTo>
                  <a:pt x="72" y="457"/>
                </a:lnTo>
                <a:lnTo>
                  <a:pt x="72" y="458"/>
                </a:lnTo>
                <a:lnTo>
                  <a:pt x="73" y="461"/>
                </a:lnTo>
                <a:lnTo>
                  <a:pt x="72" y="461"/>
                </a:lnTo>
                <a:lnTo>
                  <a:pt x="72" y="462"/>
                </a:lnTo>
                <a:lnTo>
                  <a:pt x="71" y="462"/>
                </a:lnTo>
                <a:lnTo>
                  <a:pt x="71" y="460"/>
                </a:lnTo>
                <a:lnTo>
                  <a:pt x="69" y="460"/>
                </a:lnTo>
                <a:lnTo>
                  <a:pt x="69" y="457"/>
                </a:lnTo>
                <a:close/>
                <a:moveTo>
                  <a:pt x="307" y="370"/>
                </a:moveTo>
                <a:lnTo>
                  <a:pt x="308" y="370"/>
                </a:lnTo>
                <a:lnTo>
                  <a:pt x="310" y="371"/>
                </a:lnTo>
                <a:lnTo>
                  <a:pt x="311" y="371"/>
                </a:lnTo>
                <a:lnTo>
                  <a:pt x="311" y="372"/>
                </a:lnTo>
                <a:lnTo>
                  <a:pt x="310" y="374"/>
                </a:lnTo>
                <a:lnTo>
                  <a:pt x="307" y="374"/>
                </a:lnTo>
                <a:lnTo>
                  <a:pt x="307" y="370"/>
                </a:lnTo>
                <a:close/>
                <a:moveTo>
                  <a:pt x="289" y="368"/>
                </a:moveTo>
                <a:lnTo>
                  <a:pt x="289" y="369"/>
                </a:lnTo>
                <a:lnTo>
                  <a:pt x="288" y="369"/>
                </a:lnTo>
                <a:lnTo>
                  <a:pt x="289" y="368"/>
                </a:lnTo>
                <a:close/>
                <a:moveTo>
                  <a:pt x="71" y="353"/>
                </a:moveTo>
                <a:lnTo>
                  <a:pt x="71" y="356"/>
                </a:lnTo>
                <a:lnTo>
                  <a:pt x="69" y="357"/>
                </a:lnTo>
                <a:lnTo>
                  <a:pt x="68" y="357"/>
                </a:lnTo>
                <a:lnTo>
                  <a:pt x="69" y="356"/>
                </a:lnTo>
                <a:lnTo>
                  <a:pt x="69" y="355"/>
                </a:lnTo>
                <a:lnTo>
                  <a:pt x="71" y="353"/>
                </a:lnTo>
                <a:close/>
                <a:moveTo>
                  <a:pt x="71" y="351"/>
                </a:moveTo>
                <a:lnTo>
                  <a:pt x="74" y="351"/>
                </a:lnTo>
                <a:lnTo>
                  <a:pt x="74" y="353"/>
                </a:lnTo>
                <a:lnTo>
                  <a:pt x="71" y="353"/>
                </a:lnTo>
                <a:lnTo>
                  <a:pt x="71" y="351"/>
                </a:lnTo>
                <a:close/>
                <a:moveTo>
                  <a:pt x="121" y="344"/>
                </a:moveTo>
                <a:lnTo>
                  <a:pt x="122" y="344"/>
                </a:lnTo>
                <a:lnTo>
                  <a:pt x="122" y="347"/>
                </a:lnTo>
                <a:lnTo>
                  <a:pt x="121" y="347"/>
                </a:lnTo>
                <a:lnTo>
                  <a:pt x="121" y="344"/>
                </a:lnTo>
                <a:close/>
                <a:moveTo>
                  <a:pt x="118" y="343"/>
                </a:moveTo>
                <a:lnTo>
                  <a:pt x="119" y="343"/>
                </a:lnTo>
                <a:lnTo>
                  <a:pt x="119" y="345"/>
                </a:lnTo>
                <a:lnTo>
                  <a:pt x="117" y="345"/>
                </a:lnTo>
                <a:lnTo>
                  <a:pt x="117" y="344"/>
                </a:lnTo>
                <a:lnTo>
                  <a:pt x="118" y="344"/>
                </a:lnTo>
                <a:lnTo>
                  <a:pt x="118" y="343"/>
                </a:lnTo>
                <a:close/>
                <a:moveTo>
                  <a:pt x="110" y="343"/>
                </a:moveTo>
                <a:lnTo>
                  <a:pt x="112" y="343"/>
                </a:lnTo>
                <a:lnTo>
                  <a:pt x="114" y="344"/>
                </a:lnTo>
                <a:lnTo>
                  <a:pt x="114" y="346"/>
                </a:lnTo>
                <a:lnTo>
                  <a:pt x="116" y="346"/>
                </a:lnTo>
                <a:lnTo>
                  <a:pt x="116" y="345"/>
                </a:lnTo>
                <a:lnTo>
                  <a:pt x="117" y="345"/>
                </a:lnTo>
                <a:lnTo>
                  <a:pt x="118" y="347"/>
                </a:lnTo>
                <a:lnTo>
                  <a:pt x="119" y="347"/>
                </a:lnTo>
                <a:lnTo>
                  <a:pt x="119" y="349"/>
                </a:lnTo>
                <a:lnTo>
                  <a:pt x="121" y="350"/>
                </a:lnTo>
                <a:lnTo>
                  <a:pt x="121" y="349"/>
                </a:lnTo>
                <a:lnTo>
                  <a:pt x="124" y="349"/>
                </a:lnTo>
                <a:lnTo>
                  <a:pt x="124" y="350"/>
                </a:lnTo>
                <a:lnTo>
                  <a:pt x="125" y="350"/>
                </a:lnTo>
                <a:lnTo>
                  <a:pt x="125" y="352"/>
                </a:lnTo>
                <a:lnTo>
                  <a:pt x="124" y="352"/>
                </a:lnTo>
                <a:lnTo>
                  <a:pt x="124" y="355"/>
                </a:lnTo>
                <a:lnTo>
                  <a:pt x="125" y="355"/>
                </a:lnTo>
                <a:lnTo>
                  <a:pt x="125" y="357"/>
                </a:lnTo>
                <a:lnTo>
                  <a:pt x="127" y="356"/>
                </a:lnTo>
                <a:lnTo>
                  <a:pt x="128" y="356"/>
                </a:lnTo>
                <a:lnTo>
                  <a:pt x="129" y="357"/>
                </a:lnTo>
                <a:lnTo>
                  <a:pt x="127" y="357"/>
                </a:lnTo>
                <a:lnTo>
                  <a:pt x="127" y="359"/>
                </a:lnTo>
                <a:lnTo>
                  <a:pt x="125" y="359"/>
                </a:lnTo>
                <a:lnTo>
                  <a:pt x="125" y="361"/>
                </a:lnTo>
                <a:lnTo>
                  <a:pt x="123" y="361"/>
                </a:lnTo>
                <a:lnTo>
                  <a:pt x="123" y="362"/>
                </a:lnTo>
                <a:lnTo>
                  <a:pt x="128" y="362"/>
                </a:lnTo>
                <a:lnTo>
                  <a:pt x="128" y="363"/>
                </a:lnTo>
                <a:lnTo>
                  <a:pt x="130" y="365"/>
                </a:lnTo>
                <a:lnTo>
                  <a:pt x="133" y="365"/>
                </a:lnTo>
                <a:lnTo>
                  <a:pt x="131" y="366"/>
                </a:lnTo>
                <a:lnTo>
                  <a:pt x="130" y="366"/>
                </a:lnTo>
                <a:lnTo>
                  <a:pt x="130" y="368"/>
                </a:lnTo>
                <a:lnTo>
                  <a:pt x="129" y="368"/>
                </a:lnTo>
                <a:lnTo>
                  <a:pt x="131" y="370"/>
                </a:lnTo>
                <a:lnTo>
                  <a:pt x="131" y="372"/>
                </a:lnTo>
                <a:lnTo>
                  <a:pt x="133" y="375"/>
                </a:lnTo>
                <a:lnTo>
                  <a:pt x="134" y="376"/>
                </a:lnTo>
                <a:lnTo>
                  <a:pt x="134" y="380"/>
                </a:lnTo>
                <a:lnTo>
                  <a:pt x="135" y="381"/>
                </a:lnTo>
                <a:lnTo>
                  <a:pt x="135" y="382"/>
                </a:lnTo>
                <a:lnTo>
                  <a:pt x="136" y="383"/>
                </a:lnTo>
                <a:lnTo>
                  <a:pt x="136" y="387"/>
                </a:lnTo>
                <a:lnTo>
                  <a:pt x="135" y="387"/>
                </a:lnTo>
                <a:lnTo>
                  <a:pt x="135" y="389"/>
                </a:lnTo>
                <a:lnTo>
                  <a:pt x="134" y="390"/>
                </a:lnTo>
                <a:lnTo>
                  <a:pt x="134" y="392"/>
                </a:lnTo>
                <a:lnTo>
                  <a:pt x="133" y="392"/>
                </a:lnTo>
                <a:lnTo>
                  <a:pt x="130" y="394"/>
                </a:lnTo>
                <a:lnTo>
                  <a:pt x="130" y="395"/>
                </a:lnTo>
                <a:lnTo>
                  <a:pt x="128" y="398"/>
                </a:lnTo>
                <a:lnTo>
                  <a:pt x="128" y="401"/>
                </a:lnTo>
                <a:lnTo>
                  <a:pt x="129" y="405"/>
                </a:lnTo>
                <a:lnTo>
                  <a:pt x="130" y="405"/>
                </a:lnTo>
                <a:lnTo>
                  <a:pt x="130" y="406"/>
                </a:lnTo>
                <a:lnTo>
                  <a:pt x="133" y="408"/>
                </a:lnTo>
                <a:lnTo>
                  <a:pt x="131" y="413"/>
                </a:lnTo>
                <a:lnTo>
                  <a:pt x="130" y="414"/>
                </a:lnTo>
                <a:lnTo>
                  <a:pt x="131" y="415"/>
                </a:lnTo>
                <a:lnTo>
                  <a:pt x="131" y="417"/>
                </a:lnTo>
                <a:lnTo>
                  <a:pt x="130" y="418"/>
                </a:lnTo>
                <a:lnTo>
                  <a:pt x="130" y="420"/>
                </a:lnTo>
                <a:lnTo>
                  <a:pt x="131" y="420"/>
                </a:lnTo>
                <a:lnTo>
                  <a:pt x="130" y="421"/>
                </a:lnTo>
                <a:lnTo>
                  <a:pt x="130" y="430"/>
                </a:lnTo>
                <a:lnTo>
                  <a:pt x="129" y="431"/>
                </a:lnTo>
                <a:lnTo>
                  <a:pt x="129" y="436"/>
                </a:lnTo>
                <a:lnTo>
                  <a:pt x="128" y="439"/>
                </a:lnTo>
                <a:lnTo>
                  <a:pt x="129" y="441"/>
                </a:lnTo>
                <a:lnTo>
                  <a:pt x="129" y="443"/>
                </a:lnTo>
                <a:lnTo>
                  <a:pt x="127" y="448"/>
                </a:lnTo>
                <a:lnTo>
                  <a:pt x="127" y="449"/>
                </a:lnTo>
                <a:lnTo>
                  <a:pt x="128" y="450"/>
                </a:lnTo>
                <a:lnTo>
                  <a:pt x="129" y="450"/>
                </a:lnTo>
                <a:lnTo>
                  <a:pt x="129" y="451"/>
                </a:lnTo>
                <a:lnTo>
                  <a:pt x="128" y="451"/>
                </a:lnTo>
                <a:lnTo>
                  <a:pt x="125" y="454"/>
                </a:lnTo>
                <a:lnTo>
                  <a:pt x="125" y="456"/>
                </a:lnTo>
                <a:lnTo>
                  <a:pt x="127" y="457"/>
                </a:lnTo>
                <a:lnTo>
                  <a:pt x="125" y="458"/>
                </a:lnTo>
                <a:lnTo>
                  <a:pt x="125" y="460"/>
                </a:lnTo>
                <a:lnTo>
                  <a:pt x="124" y="460"/>
                </a:lnTo>
                <a:lnTo>
                  <a:pt x="123" y="461"/>
                </a:lnTo>
                <a:lnTo>
                  <a:pt x="123" y="460"/>
                </a:lnTo>
                <a:lnTo>
                  <a:pt x="119" y="460"/>
                </a:lnTo>
                <a:lnTo>
                  <a:pt x="119" y="458"/>
                </a:lnTo>
                <a:lnTo>
                  <a:pt x="118" y="457"/>
                </a:lnTo>
                <a:lnTo>
                  <a:pt x="117" y="457"/>
                </a:lnTo>
                <a:lnTo>
                  <a:pt x="116" y="456"/>
                </a:lnTo>
                <a:lnTo>
                  <a:pt x="115" y="456"/>
                </a:lnTo>
                <a:lnTo>
                  <a:pt x="115" y="455"/>
                </a:lnTo>
                <a:lnTo>
                  <a:pt x="110" y="455"/>
                </a:lnTo>
                <a:lnTo>
                  <a:pt x="109" y="456"/>
                </a:lnTo>
                <a:lnTo>
                  <a:pt x="109" y="457"/>
                </a:lnTo>
                <a:lnTo>
                  <a:pt x="108" y="456"/>
                </a:lnTo>
                <a:lnTo>
                  <a:pt x="106" y="456"/>
                </a:lnTo>
                <a:lnTo>
                  <a:pt x="105" y="454"/>
                </a:lnTo>
                <a:lnTo>
                  <a:pt x="104" y="454"/>
                </a:lnTo>
                <a:lnTo>
                  <a:pt x="104" y="452"/>
                </a:lnTo>
                <a:lnTo>
                  <a:pt x="103" y="452"/>
                </a:lnTo>
                <a:lnTo>
                  <a:pt x="103" y="455"/>
                </a:lnTo>
                <a:lnTo>
                  <a:pt x="105" y="455"/>
                </a:lnTo>
                <a:lnTo>
                  <a:pt x="103" y="457"/>
                </a:lnTo>
                <a:lnTo>
                  <a:pt x="103" y="463"/>
                </a:lnTo>
                <a:lnTo>
                  <a:pt x="104" y="463"/>
                </a:lnTo>
                <a:lnTo>
                  <a:pt x="104" y="464"/>
                </a:lnTo>
                <a:lnTo>
                  <a:pt x="103" y="466"/>
                </a:lnTo>
                <a:lnTo>
                  <a:pt x="103" y="468"/>
                </a:lnTo>
                <a:lnTo>
                  <a:pt x="102" y="468"/>
                </a:lnTo>
                <a:lnTo>
                  <a:pt x="97" y="473"/>
                </a:lnTo>
                <a:lnTo>
                  <a:pt x="96" y="473"/>
                </a:lnTo>
                <a:lnTo>
                  <a:pt x="96" y="474"/>
                </a:lnTo>
                <a:lnTo>
                  <a:pt x="94" y="474"/>
                </a:lnTo>
                <a:lnTo>
                  <a:pt x="94" y="473"/>
                </a:lnTo>
                <a:lnTo>
                  <a:pt x="93" y="472"/>
                </a:lnTo>
                <a:lnTo>
                  <a:pt x="92" y="472"/>
                </a:lnTo>
                <a:lnTo>
                  <a:pt x="91" y="470"/>
                </a:lnTo>
                <a:lnTo>
                  <a:pt x="90" y="470"/>
                </a:lnTo>
                <a:lnTo>
                  <a:pt x="88" y="472"/>
                </a:lnTo>
                <a:lnTo>
                  <a:pt x="87" y="472"/>
                </a:lnTo>
                <a:lnTo>
                  <a:pt x="87" y="474"/>
                </a:lnTo>
                <a:lnTo>
                  <a:pt x="86" y="474"/>
                </a:lnTo>
                <a:lnTo>
                  <a:pt x="86" y="473"/>
                </a:lnTo>
                <a:lnTo>
                  <a:pt x="85" y="473"/>
                </a:lnTo>
                <a:lnTo>
                  <a:pt x="85" y="469"/>
                </a:lnTo>
                <a:lnTo>
                  <a:pt x="84" y="469"/>
                </a:lnTo>
                <a:lnTo>
                  <a:pt x="84" y="467"/>
                </a:lnTo>
                <a:lnTo>
                  <a:pt x="83" y="464"/>
                </a:lnTo>
                <a:lnTo>
                  <a:pt x="81" y="463"/>
                </a:lnTo>
                <a:lnTo>
                  <a:pt x="81" y="462"/>
                </a:lnTo>
                <a:lnTo>
                  <a:pt x="80" y="462"/>
                </a:lnTo>
                <a:lnTo>
                  <a:pt x="79" y="461"/>
                </a:lnTo>
                <a:lnTo>
                  <a:pt x="79" y="460"/>
                </a:lnTo>
                <a:lnTo>
                  <a:pt x="78" y="461"/>
                </a:lnTo>
                <a:lnTo>
                  <a:pt x="78" y="457"/>
                </a:lnTo>
                <a:lnTo>
                  <a:pt x="77" y="457"/>
                </a:lnTo>
                <a:lnTo>
                  <a:pt x="77" y="456"/>
                </a:lnTo>
                <a:lnTo>
                  <a:pt x="75" y="456"/>
                </a:lnTo>
                <a:lnTo>
                  <a:pt x="75" y="454"/>
                </a:lnTo>
                <a:lnTo>
                  <a:pt x="78" y="451"/>
                </a:lnTo>
                <a:lnTo>
                  <a:pt x="78" y="450"/>
                </a:lnTo>
                <a:lnTo>
                  <a:pt x="75" y="448"/>
                </a:lnTo>
                <a:lnTo>
                  <a:pt x="75" y="445"/>
                </a:lnTo>
                <a:lnTo>
                  <a:pt x="77" y="445"/>
                </a:lnTo>
                <a:lnTo>
                  <a:pt x="77" y="443"/>
                </a:lnTo>
                <a:lnTo>
                  <a:pt x="75" y="442"/>
                </a:lnTo>
                <a:lnTo>
                  <a:pt x="78" y="439"/>
                </a:lnTo>
                <a:lnTo>
                  <a:pt x="78" y="438"/>
                </a:lnTo>
                <a:lnTo>
                  <a:pt x="79" y="437"/>
                </a:lnTo>
                <a:lnTo>
                  <a:pt x="79" y="431"/>
                </a:lnTo>
                <a:lnTo>
                  <a:pt x="78" y="429"/>
                </a:lnTo>
                <a:lnTo>
                  <a:pt x="78" y="425"/>
                </a:lnTo>
                <a:lnTo>
                  <a:pt x="79" y="425"/>
                </a:lnTo>
                <a:lnTo>
                  <a:pt x="79" y="426"/>
                </a:lnTo>
                <a:lnTo>
                  <a:pt x="81" y="429"/>
                </a:lnTo>
                <a:lnTo>
                  <a:pt x="81" y="426"/>
                </a:lnTo>
                <a:lnTo>
                  <a:pt x="83" y="425"/>
                </a:lnTo>
                <a:lnTo>
                  <a:pt x="81" y="425"/>
                </a:lnTo>
                <a:lnTo>
                  <a:pt x="83" y="424"/>
                </a:lnTo>
                <a:lnTo>
                  <a:pt x="83" y="419"/>
                </a:lnTo>
                <a:lnTo>
                  <a:pt x="80" y="417"/>
                </a:lnTo>
                <a:lnTo>
                  <a:pt x="79" y="417"/>
                </a:lnTo>
                <a:lnTo>
                  <a:pt x="78" y="418"/>
                </a:lnTo>
                <a:lnTo>
                  <a:pt x="79" y="418"/>
                </a:lnTo>
                <a:lnTo>
                  <a:pt x="78" y="419"/>
                </a:lnTo>
                <a:lnTo>
                  <a:pt x="77" y="418"/>
                </a:lnTo>
                <a:lnTo>
                  <a:pt x="77" y="411"/>
                </a:lnTo>
                <a:lnTo>
                  <a:pt x="75" y="411"/>
                </a:lnTo>
                <a:lnTo>
                  <a:pt x="75" y="409"/>
                </a:lnTo>
                <a:lnTo>
                  <a:pt x="79" y="409"/>
                </a:lnTo>
                <a:lnTo>
                  <a:pt x="80" y="408"/>
                </a:lnTo>
                <a:lnTo>
                  <a:pt x="80" y="406"/>
                </a:lnTo>
                <a:lnTo>
                  <a:pt x="79" y="405"/>
                </a:lnTo>
                <a:lnTo>
                  <a:pt x="79" y="400"/>
                </a:lnTo>
                <a:lnTo>
                  <a:pt x="80" y="398"/>
                </a:lnTo>
                <a:lnTo>
                  <a:pt x="80" y="396"/>
                </a:lnTo>
                <a:lnTo>
                  <a:pt x="77" y="393"/>
                </a:lnTo>
                <a:lnTo>
                  <a:pt x="77" y="394"/>
                </a:lnTo>
                <a:lnTo>
                  <a:pt x="75" y="393"/>
                </a:lnTo>
                <a:lnTo>
                  <a:pt x="75" y="392"/>
                </a:lnTo>
                <a:lnTo>
                  <a:pt x="77" y="389"/>
                </a:lnTo>
                <a:lnTo>
                  <a:pt x="75" y="388"/>
                </a:lnTo>
                <a:lnTo>
                  <a:pt x="75" y="386"/>
                </a:lnTo>
                <a:lnTo>
                  <a:pt x="74" y="384"/>
                </a:lnTo>
                <a:lnTo>
                  <a:pt x="73" y="384"/>
                </a:lnTo>
                <a:lnTo>
                  <a:pt x="73" y="381"/>
                </a:lnTo>
                <a:lnTo>
                  <a:pt x="72" y="380"/>
                </a:lnTo>
                <a:lnTo>
                  <a:pt x="71" y="380"/>
                </a:lnTo>
                <a:lnTo>
                  <a:pt x="68" y="381"/>
                </a:lnTo>
                <a:lnTo>
                  <a:pt x="68" y="378"/>
                </a:lnTo>
                <a:lnTo>
                  <a:pt x="67" y="378"/>
                </a:lnTo>
                <a:lnTo>
                  <a:pt x="67" y="380"/>
                </a:lnTo>
                <a:lnTo>
                  <a:pt x="66" y="381"/>
                </a:lnTo>
                <a:lnTo>
                  <a:pt x="66" y="377"/>
                </a:lnTo>
                <a:lnTo>
                  <a:pt x="67" y="377"/>
                </a:lnTo>
                <a:lnTo>
                  <a:pt x="67" y="375"/>
                </a:lnTo>
                <a:lnTo>
                  <a:pt x="68" y="375"/>
                </a:lnTo>
                <a:lnTo>
                  <a:pt x="68" y="374"/>
                </a:lnTo>
                <a:lnTo>
                  <a:pt x="67" y="374"/>
                </a:lnTo>
                <a:lnTo>
                  <a:pt x="66" y="372"/>
                </a:lnTo>
                <a:lnTo>
                  <a:pt x="65" y="372"/>
                </a:lnTo>
                <a:lnTo>
                  <a:pt x="68" y="364"/>
                </a:lnTo>
                <a:lnTo>
                  <a:pt x="68" y="362"/>
                </a:lnTo>
                <a:lnTo>
                  <a:pt x="67" y="362"/>
                </a:lnTo>
                <a:lnTo>
                  <a:pt x="67" y="359"/>
                </a:lnTo>
                <a:lnTo>
                  <a:pt x="68" y="358"/>
                </a:lnTo>
                <a:lnTo>
                  <a:pt x="68" y="359"/>
                </a:lnTo>
                <a:lnTo>
                  <a:pt x="69" y="359"/>
                </a:lnTo>
                <a:lnTo>
                  <a:pt x="69" y="362"/>
                </a:lnTo>
                <a:lnTo>
                  <a:pt x="71" y="364"/>
                </a:lnTo>
                <a:lnTo>
                  <a:pt x="73" y="365"/>
                </a:lnTo>
                <a:lnTo>
                  <a:pt x="78" y="366"/>
                </a:lnTo>
                <a:lnTo>
                  <a:pt x="81" y="366"/>
                </a:lnTo>
                <a:lnTo>
                  <a:pt x="85" y="365"/>
                </a:lnTo>
                <a:lnTo>
                  <a:pt x="86" y="364"/>
                </a:lnTo>
                <a:lnTo>
                  <a:pt x="86" y="363"/>
                </a:lnTo>
                <a:lnTo>
                  <a:pt x="90" y="362"/>
                </a:lnTo>
                <a:lnTo>
                  <a:pt x="92" y="362"/>
                </a:lnTo>
                <a:lnTo>
                  <a:pt x="94" y="361"/>
                </a:lnTo>
                <a:lnTo>
                  <a:pt x="94" y="359"/>
                </a:lnTo>
                <a:lnTo>
                  <a:pt x="97" y="357"/>
                </a:lnTo>
                <a:lnTo>
                  <a:pt x="97" y="356"/>
                </a:lnTo>
                <a:lnTo>
                  <a:pt x="98" y="356"/>
                </a:lnTo>
                <a:lnTo>
                  <a:pt x="98" y="355"/>
                </a:lnTo>
                <a:lnTo>
                  <a:pt x="99" y="355"/>
                </a:lnTo>
                <a:lnTo>
                  <a:pt x="99" y="353"/>
                </a:lnTo>
                <a:lnTo>
                  <a:pt x="100" y="353"/>
                </a:lnTo>
                <a:lnTo>
                  <a:pt x="100" y="352"/>
                </a:lnTo>
                <a:lnTo>
                  <a:pt x="102" y="351"/>
                </a:lnTo>
                <a:lnTo>
                  <a:pt x="102" y="350"/>
                </a:lnTo>
                <a:lnTo>
                  <a:pt x="106" y="350"/>
                </a:lnTo>
                <a:lnTo>
                  <a:pt x="109" y="347"/>
                </a:lnTo>
                <a:lnTo>
                  <a:pt x="109" y="344"/>
                </a:lnTo>
                <a:lnTo>
                  <a:pt x="110" y="343"/>
                </a:lnTo>
                <a:close/>
                <a:moveTo>
                  <a:pt x="183" y="282"/>
                </a:moveTo>
                <a:lnTo>
                  <a:pt x="184" y="282"/>
                </a:lnTo>
                <a:lnTo>
                  <a:pt x="183" y="283"/>
                </a:lnTo>
                <a:lnTo>
                  <a:pt x="183" y="282"/>
                </a:lnTo>
                <a:close/>
                <a:moveTo>
                  <a:pt x="156" y="280"/>
                </a:moveTo>
                <a:lnTo>
                  <a:pt x="158" y="282"/>
                </a:lnTo>
                <a:lnTo>
                  <a:pt x="158" y="283"/>
                </a:lnTo>
                <a:lnTo>
                  <a:pt x="156" y="282"/>
                </a:lnTo>
                <a:lnTo>
                  <a:pt x="156" y="280"/>
                </a:lnTo>
                <a:close/>
                <a:moveTo>
                  <a:pt x="181" y="278"/>
                </a:moveTo>
                <a:lnTo>
                  <a:pt x="181" y="279"/>
                </a:lnTo>
                <a:lnTo>
                  <a:pt x="183" y="279"/>
                </a:lnTo>
                <a:lnTo>
                  <a:pt x="183" y="282"/>
                </a:lnTo>
                <a:lnTo>
                  <a:pt x="180" y="280"/>
                </a:lnTo>
                <a:lnTo>
                  <a:pt x="180" y="279"/>
                </a:lnTo>
                <a:lnTo>
                  <a:pt x="181" y="278"/>
                </a:lnTo>
                <a:close/>
                <a:moveTo>
                  <a:pt x="147" y="266"/>
                </a:moveTo>
                <a:lnTo>
                  <a:pt x="148" y="266"/>
                </a:lnTo>
                <a:lnTo>
                  <a:pt x="148" y="267"/>
                </a:lnTo>
                <a:lnTo>
                  <a:pt x="147" y="269"/>
                </a:lnTo>
                <a:lnTo>
                  <a:pt x="147" y="266"/>
                </a:lnTo>
                <a:close/>
                <a:moveTo>
                  <a:pt x="161" y="251"/>
                </a:moveTo>
                <a:lnTo>
                  <a:pt x="162" y="252"/>
                </a:lnTo>
                <a:lnTo>
                  <a:pt x="162" y="255"/>
                </a:lnTo>
                <a:lnTo>
                  <a:pt x="160" y="258"/>
                </a:lnTo>
                <a:lnTo>
                  <a:pt x="161" y="258"/>
                </a:lnTo>
                <a:lnTo>
                  <a:pt x="162" y="259"/>
                </a:lnTo>
                <a:lnTo>
                  <a:pt x="161" y="260"/>
                </a:lnTo>
                <a:lnTo>
                  <a:pt x="160" y="260"/>
                </a:lnTo>
                <a:lnTo>
                  <a:pt x="160" y="259"/>
                </a:lnTo>
                <a:lnTo>
                  <a:pt x="158" y="257"/>
                </a:lnTo>
                <a:lnTo>
                  <a:pt x="158" y="258"/>
                </a:lnTo>
                <a:lnTo>
                  <a:pt x="154" y="258"/>
                </a:lnTo>
                <a:lnTo>
                  <a:pt x="154" y="259"/>
                </a:lnTo>
                <a:lnTo>
                  <a:pt x="150" y="259"/>
                </a:lnTo>
                <a:lnTo>
                  <a:pt x="149" y="258"/>
                </a:lnTo>
                <a:lnTo>
                  <a:pt x="148" y="258"/>
                </a:lnTo>
                <a:lnTo>
                  <a:pt x="148" y="255"/>
                </a:lnTo>
                <a:lnTo>
                  <a:pt x="149" y="254"/>
                </a:lnTo>
                <a:lnTo>
                  <a:pt x="153" y="254"/>
                </a:lnTo>
                <a:lnTo>
                  <a:pt x="153" y="255"/>
                </a:lnTo>
                <a:lnTo>
                  <a:pt x="155" y="255"/>
                </a:lnTo>
                <a:lnTo>
                  <a:pt x="155" y="253"/>
                </a:lnTo>
                <a:lnTo>
                  <a:pt x="156" y="254"/>
                </a:lnTo>
                <a:lnTo>
                  <a:pt x="158" y="253"/>
                </a:lnTo>
                <a:lnTo>
                  <a:pt x="158" y="254"/>
                </a:lnTo>
                <a:lnTo>
                  <a:pt x="159" y="254"/>
                </a:lnTo>
                <a:lnTo>
                  <a:pt x="160" y="253"/>
                </a:lnTo>
                <a:lnTo>
                  <a:pt x="160" y="252"/>
                </a:lnTo>
                <a:lnTo>
                  <a:pt x="161" y="251"/>
                </a:lnTo>
                <a:close/>
                <a:moveTo>
                  <a:pt x="136" y="240"/>
                </a:moveTo>
                <a:lnTo>
                  <a:pt x="137" y="240"/>
                </a:lnTo>
                <a:lnTo>
                  <a:pt x="137" y="242"/>
                </a:lnTo>
                <a:lnTo>
                  <a:pt x="136" y="243"/>
                </a:lnTo>
                <a:lnTo>
                  <a:pt x="135" y="243"/>
                </a:lnTo>
                <a:lnTo>
                  <a:pt x="135" y="242"/>
                </a:lnTo>
                <a:lnTo>
                  <a:pt x="136" y="240"/>
                </a:lnTo>
                <a:close/>
                <a:moveTo>
                  <a:pt x="248" y="186"/>
                </a:moveTo>
                <a:lnTo>
                  <a:pt x="247" y="187"/>
                </a:lnTo>
                <a:lnTo>
                  <a:pt x="246" y="187"/>
                </a:lnTo>
                <a:lnTo>
                  <a:pt x="245" y="189"/>
                </a:lnTo>
                <a:lnTo>
                  <a:pt x="245" y="191"/>
                </a:lnTo>
                <a:lnTo>
                  <a:pt x="246" y="192"/>
                </a:lnTo>
                <a:lnTo>
                  <a:pt x="248" y="192"/>
                </a:lnTo>
                <a:lnTo>
                  <a:pt x="248" y="190"/>
                </a:lnTo>
                <a:lnTo>
                  <a:pt x="249" y="189"/>
                </a:lnTo>
                <a:lnTo>
                  <a:pt x="249" y="187"/>
                </a:lnTo>
                <a:lnTo>
                  <a:pt x="248" y="186"/>
                </a:lnTo>
                <a:close/>
                <a:moveTo>
                  <a:pt x="136" y="181"/>
                </a:moveTo>
                <a:lnTo>
                  <a:pt x="137" y="181"/>
                </a:lnTo>
                <a:lnTo>
                  <a:pt x="137" y="183"/>
                </a:lnTo>
                <a:lnTo>
                  <a:pt x="136" y="183"/>
                </a:lnTo>
                <a:lnTo>
                  <a:pt x="136" y="181"/>
                </a:lnTo>
                <a:close/>
                <a:moveTo>
                  <a:pt x="235" y="107"/>
                </a:moveTo>
                <a:lnTo>
                  <a:pt x="235" y="111"/>
                </a:lnTo>
                <a:lnTo>
                  <a:pt x="236" y="111"/>
                </a:lnTo>
                <a:lnTo>
                  <a:pt x="236" y="108"/>
                </a:lnTo>
                <a:lnTo>
                  <a:pt x="235" y="107"/>
                </a:lnTo>
                <a:close/>
                <a:moveTo>
                  <a:pt x="245" y="100"/>
                </a:moveTo>
                <a:lnTo>
                  <a:pt x="246" y="100"/>
                </a:lnTo>
                <a:lnTo>
                  <a:pt x="247" y="101"/>
                </a:lnTo>
                <a:lnTo>
                  <a:pt x="245" y="101"/>
                </a:lnTo>
                <a:lnTo>
                  <a:pt x="242" y="106"/>
                </a:lnTo>
                <a:lnTo>
                  <a:pt x="242" y="104"/>
                </a:lnTo>
                <a:lnTo>
                  <a:pt x="243" y="103"/>
                </a:lnTo>
                <a:lnTo>
                  <a:pt x="243" y="101"/>
                </a:lnTo>
                <a:lnTo>
                  <a:pt x="245" y="100"/>
                </a:lnTo>
                <a:close/>
                <a:moveTo>
                  <a:pt x="242" y="99"/>
                </a:moveTo>
                <a:lnTo>
                  <a:pt x="243" y="99"/>
                </a:lnTo>
                <a:lnTo>
                  <a:pt x="243" y="100"/>
                </a:lnTo>
                <a:lnTo>
                  <a:pt x="242" y="101"/>
                </a:lnTo>
                <a:lnTo>
                  <a:pt x="242" y="100"/>
                </a:lnTo>
                <a:lnTo>
                  <a:pt x="241" y="100"/>
                </a:lnTo>
                <a:lnTo>
                  <a:pt x="242" y="99"/>
                </a:lnTo>
                <a:close/>
                <a:moveTo>
                  <a:pt x="233" y="0"/>
                </a:moveTo>
                <a:lnTo>
                  <a:pt x="236" y="0"/>
                </a:lnTo>
                <a:lnTo>
                  <a:pt x="236" y="3"/>
                </a:lnTo>
                <a:lnTo>
                  <a:pt x="234" y="5"/>
                </a:lnTo>
                <a:lnTo>
                  <a:pt x="233" y="6"/>
                </a:lnTo>
                <a:lnTo>
                  <a:pt x="234" y="7"/>
                </a:lnTo>
                <a:lnTo>
                  <a:pt x="234" y="11"/>
                </a:lnTo>
                <a:lnTo>
                  <a:pt x="235" y="11"/>
                </a:lnTo>
                <a:lnTo>
                  <a:pt x="235" y="12"/>
                </a:lnTo>
                <a:lnTo>
                  <a:pt x="236" y="12"/>
                </a:lnTo>
                <a:lnTo>
                  <a:pt x="236" y="13"/>
                </a:lnTo>
                <a:lnTo>
                  <a:pt x="240" y="13"/>
                </a:lnTo>
                <a:lnTo>
                  <a:pt x="240" y="19"/>
                </a:lnTo>
                <a:lnTo>
                  <a:pt x="242" y="19"/>
                </a:lnTo>
                <a:lnTo>
                  <a:pt x="242" y="20"/>
                </a:lnTo>
                <a:lnTo>
                  <a:pt x="243" y="21"/>
                </a:lnTo>
                <a:lnTo>
                  <a:pt x="243" y="22"/>
                </a:lnTo>
                <a:lnTo>
                  <a:pt x="246" y="24"/>
                </a:lnTo>
                <a:lnTo>
                  <a:pt x="247" y="25"/>
                </a:lnTo>
                <a:lnTo>
                  <a:pt x="249" y="25"/>
                </a:lnTo>
                <a:lnTo>
                  <a:pt x="251" y="26"/>
                </a:lnTo>
                <a:lnTo>
                  <a:pt x="257" y="26"/>
                </a:lnTo>
                <a:lnTo>
                  <a:pt x="258" y="27"/>
                </a:lnTo>
                <a:lnTo>
                  <a:pt x="261" y="27"/>
                </a:lnTo>
                <a:lnTo>
                  <a:pt x="264" y="30"/>
                </a:lnTo>
                <a:lnTo>
                  <a:pt x="273" y="30"/>
                </a:lnTo>
                <a:lnTo>
                  <a:pt x="277" y="31"/>
                </a:lnTo>
                <a:lnTo>
                  <a:pt x="279" y="32"/>
                </a:lnTo>
                <a:lnTo>
                  <a:pt x="280" y="32"/>
                </a:lnTo>
                <a:lnTo>
                  <a:pt x="282" y="33"/>
                </a:lnTo>
                <a:lnTo>
                  <a:pt x="286" y="32"/>
                </a:lnTo>
                <a:lnTo>
                  <a:pt x="291" y="32"/>
                </a:lnTo>
                <a:lnTo>
                  <a:pt x="291" y="33"/>
                </a:lnTo>
                <a:lnTo>
                  <a:pt x="293" y="33"/>
                </a:lnTo>
                <a:lnTo>
                  <a:pt x="298" y="34"/>
                </a:lnTo>
                <a:lnTo>
                  <a:pt x="299" y="34"/>
                </a:lnTo>
                <a:lnTo>
                  <a:pt x="299" y="39"/>
                </a:lnTo>
                <a:lnTo>
                  <a:pt x="296" y="39"/>
                </a:lnTo>
                <a:lnTo>
                  <a:pt x="291" y="44"/>
                </a:lnTo>
                <a:lnTo>
                  <a:pt x="290" y="44"/>
                </a:lnTo>
                <a:lnTo>
                  <a:pt x="288" y="46"/>
                </a:lnTo>
                <a:lnTo>
                  <a:pt x="288" y="48"/>
                </a:lnTo>
                <a:lnTo>
                  <a:pt x="286" y="49"/>
                </a:lnTo>
                <a:lnTo>
                  <a:pt x="286" y="51"/>
                </a:lnTo>
                <a:lnTo>
                  <a:pt x="288" y="52"/>
                </a:lnTo>
                <a:lnTo>
                  <a:pt x="288" y="54"/>
                </a:lnTo>
                <a:lnTo>
                  <a:pt x="289" y="54"/>
                </a:lnTo>
                <a:lnTo>
                  <a:pt x="289" y="52"/>
                </a:lnTo>
                <a:lnTo>
                  <a:pt x="290" y="52"/>
                </a:lnTo>
                <a:lnTo>
                  <a:pt x="291" y="54"/>
                </a:lnTo>
                <a:lnTo>
                  <a:pt x="292" y="54"/>
                </a:lnTo>
                <a:lnTo>
                  <a:pt x="293" y="55"/>
                </a:lnTo>
                <a:lnTo>
                  <a:pt x="297" y="55"/>
                </a:lnTo>
                <a:lnTo>
                  <a:pt x="297" y="56"/>
                </a:lnTo>
                <a:lnTo>
                  <a:pt x="296" y="58"/>
                </a:lnTo>
                <a:lnTo>
                  <a:pt x="291" y="63"/>
                </a:lnTo>
                <a:lnTo>
                  <a:pt x="291" y="65"/>
                </a:lnTo>
                <a:lnTo>
                  <a:pt x="290" y="65"/>
                </a:lnTo>
                <a:lnTo>
                  <a:pt x="290" y="67"/>
                </a:lnTo>
                <a:lnTo>
                  <a:pt x="291" y="67"/>
                </a:lnTo>
                <a:lnTo>
                  <a:pt x="292" y="68"/>
                </a:lnTo>
                <a:lnTo>
                  <a:pt x="295" y="68"/>
                </a:lnTo>
                <a:lnTo>
                  <a:pt x="296" y="67"/>
                </a:lnTo>
                <a:lnTo>
                  <a:pt x="297" y="68"/>
                </a:lnTo>
                <a:lnTo>
                  <a:pt x="296" y="69"/>
                </a:lnTo>
                <a:lnTo>
                  <a:pt x="296" y="71"/>
                </a:lnTo>
                <a:lnTo>
                  <a:pt x="295" y="75"/>
                </a:lnTo>
                <a:lnTo>
                  <a:pt x="295" y="77"/>
                </a:lnTo>
                <a:lnTo>
                  <a:pt x="296" y="79"/>
                </a:lnTo>
                <a:lnTo>
                  <a:pt x="298" y="79"/>
                </a:lnTo>
                <a:lnTo>
                  <a:pt x="301" y="81"/>
                </a:lnTo>
                <a:lnTo>
                  <a:pt x="303" y="82"/>
                </a:lnTo>
                <a:lnTo>
                  <a:pt x="307" y="87"/>
                </a:lnTo>
                <a:lnTo>
                  <a:pt x="307" y="88"/>
                </a:lnTo>
                <a:lnTo>
                  <a:pt x="308" y="88"/>
                </a:lnTo>
                <a:lnTo>
                  <a:pt x="308" y="89"/>
                </a:lnTo>
                <a:lnTo>
                  <a:pt x="307" y="91"/>
                </a:lnTo>
                <a:lnTo>
                  <a:pt x="307" y="92"/>
                </a:lnTo>
                <a:lnTo>
                  <a:pt x="304" y="92"/>
                </a:lnTo>
                <a:lnTo>
                  <a:pt x="303" y="91"/>
                </a:lnTo>
                <a:lnTo>
                  <a:pt x="301" y="91"/>
                </a:lnTo>
                <a:lnTo>
                  <a:pt x="301" y="89"/>
                </a:lnTo>
                <a:lnTo>
                  <a:pt x="303" y="89"/>
                </a:lnTo>
                <a:lnTo>
                  <a:pt x="303" y="88"/>
                </a:lnTo>
                <a:lnTo>
                  <a:pt x="302" y="87"/>
                </a:lnTo>
                <a:lnTo>
                  <a:pt x="302" y="85"/>
                </a:lnTo>
                <a:lnTo>
                  <a:pt x="301" y="85"/>
                </a:lnTo>
                <a:lnTo>
                  <a:pt x="298" y="81"/>
                </a:lnTo>
                <a:lnTo>
                  <a:pt x="297" y="80"/>
                </a:lnTo>
                <a:lnTo>
                  <a:pt x="295" y="79"/>
                </a:lnTo>
                <a:lnTo>
                  <a:pt x="293" y="79"/>
                </a:lnTo>
                <a:lnTo>
                  <a:pt x="293" y="80"/>
                </a:lnTo>
                <a:lnTo>
                  <a:pt x="292" y="81"/>
                </a:lnTo>
                <a:lnTo>
                  <a:pt x="292" y="82"/>
                </a:lnTo>
                <a:lnTo>
                  <a:pt x="293" y="82"/>
                </a:lnTo>
                <a:lnTo>
                  <a:pt x="292" y="83"/>
                </a:lnTo>
                <a:lnTo>
                  <a:pt x="291" y="83"/>
                </a:lnTo>
                <a:lnTo>
                  <a:pt x="289" y="86"/>
                </a:lnTo>
                <a:lnTo>
                  <a:pt x="286" y="86"/>
                </a:lnTo>
                <a:lnTo>
                  <a:pt x="288" y="85"/>
                </a:lnTo>
                <a:lnTo>
                  <a:pt x="289" y="85"/>
                </a:lnTo>
                <a:lnTo>
                  <a:pt x="289" y="83"/>
                </a:lnTo>
                <a:lnTo>
                  <a:pt x="286" y="82"/>
                </a:lnTo>
                <a:lnTo>
                  <a:pt x="285" y="82"/>
                </a:lnTo>
                <a:lnTo>
                  <a:pt x="282" y="81"/>
                </a:lnTo>
                <a:lnTo>
                  <a:pt x="280" y="81"/>
                </a:lnTo>
                <a:lnTo>
                  <a:pt x="280" y="80"/>
                </a:lnTo>
                <a:lnTo>
                  <a:pt x="278" y="80"/>
                </a:lnTo>
                <a:lnTo>
                  <a:pt x="277" y="81"/>
                </a:lnTo>
                <a:lnTo>
                  <a:pt x="276" y="80"/>
                </a:lnTo>
                <a:lnTo>
                  <a:pt x="274" y="81"/>
                </a:lnTo>
                <a:lnTo>
                  <a:pt x="276" y="81"/>
                </a:lnTo>
                <a:lnTo>
                  <a:pt x="276" y="82"/>
                </a:lnTo>
                <a:lnTo>
                  <a:pt x="274" y="82"/>
                </a:lnTo>
                <a:lnTo>
                  <a:pt x="273" y="83"/>
                </a:lnTo>
                <a:lnTo>
                  <a:pt x="273" y="85"/>
                </a:lnTo>
                <a:lnTo>
                  <a:pt x="277" y="85"/>
                </a:lnTo>
                <a:lnTo>
                  <a:pt x="274" y="86"/>
                </a:lnTo>
                <a:lnTo>
                  <a:pt x="274" y="88"/>
                </a:lnTo>
                <a:lnTo>
                  <a:pt x="268" y="88"/>
                </a:lnTo>
                <a:lnTo>
                  <a:pt x="261" y="93"/>
                </a:lnTo>
                <a:lnTo>
                  <a:pt x="254" y="97"/>
                </a:lnTo>
                <a:lnTo>
                  <a:pt x="249" y="98"/>
                </a:lnTo>
                <a:lnTo>
                  <a:pt x="249" y="99"/>
                </a:lnTo>
                <a:lnTo>
                  <a:pt x="247" y="99"/>
                </a:lnTo>
                <a:lnTo>
                  <a:pt x="246" y="100"/>
                </a:lnTo>
                <a:lnTo>
                  <a:pt x="246" y="99"/>
                </a:lnTo>
                <a:lnTo>
                  <a:pt x="247" y="98"/>
                </a:lnTo>
                <a:lnTo>
                  <a:pt x="247" y="97"/>
                </a:lnTo>
                <a:lnTo>
                  <a:pt x="251" y="97"/>
                </a:lnTo>
                <a:lnTo>
                  <a:pt x="251" y="95"/>
                </a:lnTo>
                <a:lnTo>
                  <a:pt x="252" y="95"/>
                </a:lnTo>
                <a:lnTo>
                  <a:pt x="252" y="94"/>
                </a:lnTo>
                <a:lnTo>
                  <a:pt x="253" y="94"/>
                </a:lnTo>
                <a:lnTo>
                  <a:pt x="253" y="93"/>
                </a:lnTo>
                <a:lnTo>
                  <a:pt x="252" y="93"/>
                </a:lnTo>
                <a:lnTo>
                  <a:pt x="252" y="94"/>
                </a:lnTo>
                <a:lnTo>
                  <a:pt x="251" y="94"/>
                </a:lnTo>
                <a:lnTo>
                  <a:pt x="251" y="93"/>
                </a:lnTo>
                <a:lnTo>
                  <a:pt x="249" y="93"/>
                </a:lnTo>
                <a:lnTo>
                  <a:pt x="249" y="92"/>
                </a:lnTo>
                <a:lnTo>
                  <a:pt x="247" y="94"/>
                </a:lnTo>
                <a:lnTo>
                  <a:pt x="247" y="95"/>
                </a:lnTo>
                <a:lnTo>
                  <a:pt x="246" y="95"/>
                </a:lnTo>
                <a:lnTo>
                  <a:pt x="245" y="94"/>
                </a:lnTo>
                <a:lnTo>
                  <a:pt x="245" y="95"/>
                </a:lnTo>
                <a:lnTo>
                  <a:pt x="246" y="97"/>
                </a:lnTo>
                <a:lnTo>
                  <a:pt x="243" y="97"/>
                </a:lnTo>
                <a:lnTo>
                  <a:pt x="241" y="98"/>
                </a:lnTo>
                <a:lnTo>
                  <a:pt x="239" y="100"/>
                </a:lnTo>
                <a:lnTo>
                  <a:pt x="239" y="105"/>
                </a:lnTo>
                <a:lnTo>
                  <a:pt x="237" y="105"/>
                </a:lnTo>
                <a:lnTo>
                  <a:pt x="237" y="114"/>
                </a:lnTo>
                <a:lnTo>
                  <a:pt x="239" y="114"/>
                </a:lnTo>
                <a:lnTo>
                  <a:pt x="240" y="113"/>
                </a:lnTo>
                <a:lnTo>
                  <a:pt x="241" y="113"/>
                </a:lnTo>
                <a:lnTo>
                  <a:pt x="241" y="116"/>
                </a:lnTo>
                <a:lnTo>
                  <a:pt x="242" y="116"/>
                </a:lnTo>
                <a:lnTo>
                  <a:pt x="242" y="120"/>
                </a:lnTo>
                <a:lnTo>
                  <a:pt x="241" y="120"/>
                </a:lnTo>
                <a:lnTo>
                  <a:pt x="241" y="122"/>
                </a:lnTo>
                <a:lnTo>
                  <a:pt x="242" y="122"/>
                </a:lnTo>
                <a:lnTo>
                  <a:pt x="245" y="124"/>
                </a:lnTo>
                <a:lnTo>
                  <a:pt x="243" y="124"/>
                </a:lnTo>
                <a:lnTo>
                  <a:pt x="243" y="125"/>
                </a:lnTo>
                <a:lnTo>
                  <a:pt x="245" y="125"/>
                </a:lnTo>
                <a:lnTo>
                  <a:pt x="245" y="124"/>
                </a:lnTo>
                <a:lnTo>
                  <a:pt x="246" y="124"/>
                </a:lnTo>
                <a:lnTo>
                  <a:pt x="246" y="125"/>
                </a:lnTo>
                <a:lnTo>
                  <a:pt x="247" y="125"/>
                </a:lnTo>
                <a:lnTo>
                  <a:pt x="248" y="126"/>
                </a:lnTo>
                <a:lnTo>
                  <a:pt x="249" y="126"/>
                </a:lnTo>
                <a:lnTo>
                  <a:pt x="251" y="128"/>
                </a:lnTo>
                <a:lnTo>
                  <a:pt x="251" y="130"/>
                </a:lnTo>
                <a:lnTo>
                  <a:pt x="249" y="131"/>
                </a:lnTo>
                <a:lnTo>
                  <a:pt x="249" y="135"/>
                </a:lnTo>
                <a:lnTo>
                  <a:pt x="247" y="137"/>
                </a:lnTo>
                <a:lnTo>
                  <a:pt x="247" y="136"/>
                </a:lnTo>
                <a:lnTo>
                  <a:pt x="246" y="135"/>
                </a:lnTo>
                <a:lnTo>
                  <a:pt x="247" y="134"/>
                </a:lnTo>
                <a:lnTo>
                  <a:pt x="247" y="132"/>
                </a:lnTo>
                <a:lnTo>
                  <a:pt x="246" y="132"/>
                </a:lnTo>
                <a:lnTo>
                  <a:pt x="246" y="134"/>
                </a:lnTo>
                <a:lnTo>
                  <a:pt x="245" y="135"/>
                </a:lnTo>
                <a:lnTo>
                  <a:pt x="246" y="135"/>
                </a:lnTo>
                <a:lnTo>
                  <a:pt x="246" y="136"/>
                </a:lnTo>
                <a:lnTo>
                  <a:pt x="245" y="136"/>
                </a:lnTo>
                <a:lnTo>
                  <a:pt x="245" y="137"/>
                </a:lnTo>
                <a:lnTo>
                  <a:pt x="246" y="137"/>
                </a:lnTo>
                <a:lnTo>
                  <a:pt x="246" y="138"/>
                </a:lnTo>
                <a:lnTo>
                  <a:pt x="243" y="138"/>
                </a:lnTo>
                <a:lnTo>
                  <a:pt x="243" y="137"/>
                </a:lnTo>
                <a:lnTo>
                  <a:pt x="242" y="136"/>
                </a:lnTo>
                <a:lnTo>
                  <a:pt x="241" y="136"/>
                </a:lnTo>
                <a:lnTo>
                  <a:pt x="240" y="137"/>
                </a:lnTo>
                <a:lnTo>
                  <a:pt x="239" y="141"/>
                </a:lnTo>
                <a:lnTo>
                  <a:pt x="239" y="147"/>
                </a:lnTo>
                <a:lnTo>
                  <a:pt x="240" y="148"/>
                </a:lnTo>
                <a:lnTo>
                  <a:pt x="240" y="156"/>
                </a:lnTo>
                <a:lnTo>
                  <a:pt x="241" y="162"/>
                </a:lnTo>
                <a:lnTo>
                  <a:pt x="242" y="165"/>
                </a:lnTo>
                <a:lnTo>
                  <a:pt x="242" y="167"/>
                </a:lnTo>
                <a:lnTo>
                  <a:pt x="243" y="168"/>
                </a:lnTo>
                <a:lnTo>
                  <a:pt x="243" y="171"/>
                </a:lnTo>
                <a:lnTo>
                  <a:pt x="245" y="173"/>
                </a:lnTo>
                <a:lnTo>
                  <a:pt x="247" y="175"/>
                </a:lnTo>
                <a:lnTo>
                  <a:pt x="248" y="178"/>
                </a:lnTo>
                <a:lnTo>
                  <a:pt x="249" y="179"/>
                </a:lnTo>
                <a:lnTo>
                  <a:pt x="252" y="180"/>
                </a:lnTo>
                <a:lnTo>
                  <a:pt x="253" y="180"/>
                </a:lnTo>
                <a:lnTo>
                  <a:pt x="255" y="184"/>
                </a:lnTo>
                <a:lnTo>
                  <a:pt x="258" y="186"/>
                </a:lnTo>
                <a:lnTo>
                  <a:pt x="260" y="187"/>
                </a:lnTo>
                <a:lnTo>
                  <a:pt x="262" y="187"/>
                </a:lnTo>
                <a:lnTo>
                  <a:pt x="262" y="189"/>
                </a:lnTo>
                <a:lnTo>
                  <a:pt x="267" y="191"/>
                </a:lnTo>
                <a:lnTo>
                  <a:pt x="268" y="192"/>
                </a:lnTo>
                <a:lnTo>
                  <a:pt x="282" y="203"/>
                </a:lnTo>
                <a:lnTo>
                  <a:pt x="286" y="206"/>
                </a:lnTo>
                <a:lnTo>
                  <a:pt x="288" y="206"/>
                </a:lnTo>
                <a:lnTo>
                  <a:pt x="289" y="208"/>
                </a:lnTo>
                <a:lnTo>
                  <a:pt x="291" y="208"/>
                </a:lnTo>
                <a:lnTo>
                  <a:pt x="292" y="206"/>
                </a:lnTo>
                <a:lnTo>
                  <a:pt x="292" y="208"/>
                </a:lnTo>
                <a:lnTo>
                  <a:pt x="293" y="208"/>
                </a:lnTo>
                <a:lnTo>
                  <a:pt x="293" y="209"/>
                </a:lnTo>
                <a:lnTo>
                  <a:pt x="297" y="212"/>
                </a:lnTo>
                <a:lnTo>
                  <a:pt x="296" y="212"/>
                </a:lnTo>
                <a:lnTo>
                  <a:pt x="303" y="228"/>
                </a:lnTo>
                <a:lnTo>
                  <a:pt x="303" y="232"/>
                </a:lnTo>
                <a:lnTo>
                  <a:pt x="304" y="233"/>
                </a:lnTo>
                <a:lnTo>
                  <a:pt x="304" y="234"/>
                </a:lnTo>
                <a:lnTo>
                  <a:pt x="307" y="239"/>
                </a:lnTo>
                <a:lnTo>
                  <a:pt x="307" y="243"/>
                </a:lnTo>
                <a:lnTo>
                  <a:pt x="309" y="249"/>
                </a:lnTo>
                <a:lnTo>
                  <a:pt x="310" y="255"/>
                </a:lnTo>
                <a:lnTo>
                  <a:pt x="311" y="259"/>
                </a:lnTo>
                <a:lnTo>
                  <a:pt x="313" y="261"/>
                </a:lnTo>
                <a:lnTo>
                  <a:pt x="315" y="265"/>
                </a:lnTo>
                <a:lnTo>
                  <a:pt x="315" y="266"/>
                </a:lnTo>
                <a:lnTo>
                  <a:pt x="316" y="266"/>
                </a:lnTo>
                <a:lnTo>
                  <a:pt x="322" y="275"/>
                </a:lnTo>
                <a:lnTo>
                  <a:pt x="324" y="277"/>
                </a:lnTo>
                <a:lnTo>
                  <a:pt x="328" y="278"/>
                </a:lnTo>
                <a:lnTo>
                  <a:pt x="329" y="279"/>
                </a:lnTo>
                <a:lnTo>
                  <a:pt x="330" y="283"/>
                </a:lnTo>
                <a:lnTo>
                  <a:pt x="336" y="288"/>
                </a:lnTo>
                <a:lnTo>
                  <a:pt x="338" y="289"/>
                </a:lnTo>
                <a:lnTo>
                  <a:pt x="340" y="290"/>
                </a:lnTo>
                <a:lnTo>
                  <a:pt x="342" y="290"/>
                </a:lnTo>
                <a:lnTo>
                  <a:pt x="342" y="291"/>
                </a:lnTo>
                <a:lnTo>
                  <a:pt x="344" y="294"/>
                </a:lnTo>
                <a:lnTo>
                  <a:pt x="344" y="296"/>
                </a:lnTo>
                <a:lnTo>
                  <a:pt x="346" y="296"/>
                </a:lnTo>
                <a:lnTo>
                  <a:pt x="346" y="297"/>
                </a:lnTo>
                <a:lnTo>
                  <a:pt x="348" y="298"/>
                </a:lnTo>
                <a:lnTo>
                  <a:pt x="349" y="298"/>
                </a:lnTo>
                <a:lnTo>
                  <a:pt x="353" y="300"/>
                </a:lnTo>
                <a:lnTo>
                  <a:pt x="354" y="300"/>
                </a:lnTo>
                <a:lnTo>
                  <a:pt x="359" y="304"/>
                </a:lnTo>
                <a:lnTo>
                  <a:pt x="366" y="304"/>
                </a:lnTo>
                <a:lnTo>
                  <a:pt x="372" y="306"/>
                </a:lnTo>
                <a:lnTo>
                  <a:pt x="373" y="306"/>
                </a:lnTo>
                <a:lnTo>
                  <a:pt x="380" y="304"/>
                </a:lnTo>
                <a:lnTo>
                  <a:pt x="388" y="306"/>
                </a:lnTo>
                <a:lnTo>
                  <a:pt x="398" y="304"/>
                </a:lnTo>
                <a:lnTo>
                  <a:pt x="402" y="304"/>
                </a:lnTo>
                <a:lnTo>
                  <a:pt x="404" y="307"/>
                </a:lnTo>
                <a:lnTo>
                  <a:pt x="404" y="309"/>
                </a:lnTo>
                <a:lnTo>
                  <a:pt x="406" y="310"/>
                </a:lnTo>
                <a:lnTo>
                  <a:pt x="406" y="313"/>
                </a:lnTo>
                <a:lnTo>
                  <a:pt x="404" y="313"/>
                </a:lnTo>
                <a:lnTo>
                  <a:pt x="404" y="314"/>
                </a:lnTo>
                <a:lnTo>
                  <a:pt x="403" y="315"/>
                </a:lnTo>
                <a:lnTo>
                  <a:pt x="402" y="315"/>
                </a:lnTo>
                <a:lnTo>
                  <a:pt x="398" y="319"/>
                </a:lnTo>
                <a:lnTo>
                  <a:pt x="394" y="321"/>
                </a:lnTo>
                <a:lnTo>
                  <a:pt x="392" y="322"/>
                </a:lnTo>
                <a:lnTo>
                  <a:pt x="392" y="327"/>
                </a:lnTo>
                <a:lnTo>
                  <a:pt x="394" y="328"/>
                </a:lnTo>
                <a:lnTo>
                  <a:pt x="395" y="331"/>
                </a:lnTo>
                <a:lnTo>
                  <a:pt x="395" y="332"/>
                </a:lnTo>
                <a:lnTo>
                  <a:pt x="398" y="333"/>
                </a:lnTo>
                <a:lnTo>
                  <a:pt x="401" y="334"/>
                </a:lnTo>
                <a:lnTo>
                  <a:pt x="402" y="335"/>
                </a:lnTo>
                <a:lnTo>
                  <a:pt x="410" y="339"/>
                </a:lnTo>
                <a:lnTo>
                  <a:pt x="416" y="343"/>
                </a:lnTo>
                <a:lnTo>
                  <a:pt x="419" y="343"/>
                </a:lnTo>
                <a:lnTo>
                  <a:pt x="420" y="344"/>
                </a:lnTo>
                <a:lnTo>
                  <a:pt x="422" y="345"/>
                </a:lnTo>
                <a:lnTo>
                  <a:pt x="432" y="349"/>
                </a:lnTo>
                <a:lnTo>
                  <a:pt x="433" y="350"/>
                </a:lnTo>
                <a:lnTo>
                  <a:pt x="433" y="349"/>
                </a:lnTo>
                <a:lnTo>
                  <a:pt x="434" y="350"/>
                </a:lnTo>
                <a:lnTo>
                  <a:pt x="441" y="352"/>
                </a:lnTo>
                <a:lnTo>
                  <a:pt x="447" y="356"/>
                </a:lnTo>
                <a:lnTo>
                  <a:pt x="451" y="358"/>
                </a:lnTo>
                <a:lnTo>
                  <a:pt x="459" y="366"/>
                </a:lnTo>
                <a:lnTo>
                  <a:pt x="460" y="366"/>
                </a:lnTo>
                <a:lnTo>
                  <a:pt x="463" y="368"/>
                </a:lnTo>
                <a:lnTo>
                  <a:pt x="466" y="369"/>
                </a:lnTo>
                <a:lnTo>
                  <a:pt x="471" y="371"/>
                </a:lnTo>
                <a:lnTo>
                  <a:pt x="475" y="374"/>
                </a:lnTo>
                <a:lnTo>
                  <a:pt x="478" y="375"/>
                </a:lnTo>
                <a:lnTo>
                  <a:pt x="479" y="375"/>
                </a:lnTo>
                <a:lnTo>
                  <a:pt x="479" y="377"/>
                </a:lnTo>
                <a:lnTo>
                  <a:pt x="481" y="376"/>
                </a:lnTo>
                <a:lnTo>
                  <a:pt x="482" y="376"/>
                </a:lnTo>
                <a:lnTo>
                  <a:pt x="482" y="378"/>
                </a:lnTo>
                <a:lnTo>
                  <a:pt x="483" y="378"/>
                </a:lnTo>
                <a:lnTo>
                  <a:pt x="483" y="382"/>
                </a:lnTo>
                <a:lnTo>
                  <a:pt x="490" y="387"/>
                </a:lnTo>
                <a:lnTo>
                  <a:pt x="491" y="387"/>
                </a:lnTo>
                <a:lnTo>
                  <a:pt x="493" y="389"/>
                </a:lnTo>
                <a:lnTo>
                  <a:pt x="494" y="390"/>
                </a:lnTo>
                <a:lnTo>
                  <a:pt x="495" y="393"/>
                </a:lnTo>
                <a:lnTo>
                  <a:pt x="496" y="393"/>
                </a:lnTo>
                <a:lnTo>
                  <a:pt x="497" y="394"/>
                </a:lnTo>
                <a:lnTo>
                  <a:pt x="500" y="398"/>
                </a:lnTo>
                <a:lnTo>
                  <a:pt x="502" y="404"/>
                </a:lnTo>
                <a:lnTo>
                  <a:pt x="502" y="405"/>
                </a:lnTo>
                <a:lnTo>
                  <a:pt x="503" y="405"/>
                </a:lnTo>
                <a:lnTo>
                  <a:pt x="503" y="407"/>
                </a:lnTo>
                <a:lnTo>
                  <a:pt x="502" y="408"/>
                </a:lnTo>
                <a:lnTo>
                  <a:pt x="502" y="409"/>
                </a:lnTo>
                <a:lnTo>
                  <a:pt x="501" y="409"/>
                </a:lnTo>
                <a:lnTo>
                  <a:pt x="500" y="411"/>
                </a:lnTo>
                <a:lnTo>
                  <a:pt x="498" y="413"/>
                </a:lnTo>
                <a:lnTo>
                  <a:pt x="498" y="419"/>
                </a:lnTo>
                <a:lnTo>
                  <a:pt x="497" y="421"/>
                </a:lnTo>
                <a:lnTo>
                  <a:pt x="497" y="424"/>
                </a:lnTo>
                <a:lnTo>
                  <a:pt x="496" y="424"/>
                </a:lnTo>
                <a:lnTo>
                  <a:pt x="494" y="421"/>
                </a:lnTo>
                <a:lnTo>
                  <a:pt x="490" y="421"/>
                </a:lnTo>
                <a:lnTo>
                  <a:pt x="489" y="420"/>
                </a:lnTo>
                <a:lnTo>
                  <a:pt x="488" y="420"/>
                </a:lnTo>
                <a:lnTo>
                  <a:pt x="484" y="417"/>
                </a:lnTo>
                <a:lnTo>
                  <a:pt x="482" y="413"/>
                </a:lnTo>
                <a:lnTo>
                  <a:pt x="481" y="413"/>
                </a:lnTo>
                <a:lnTo>
                  <a:pt x="481" y="412"/>
                </a:lnTo>
                <a:lnTo>
                  <a:pt x="482" y="412"/>
                </a:lnTo>
                <a:lnTo>
                  <a:pt x="482" y="409"/>
                </a:lnTo>
                <a:lnTo>
                  <a:pt x="479" y="409"/>
                </a:lnTo>
                <a:lnTo>
                  <a:pt x="482" y="408"/>
                </a:lnTo>
                <a:lnTo>
                  <a:pt x="482" y="406"/>
                </a:lnTo>
                <a:lnTo>
                  <a:pt x="479" y="405"/>
                </a:lnTo>
                <a:lnTo>
                  <a:pt x="479" y="404"/>
                </a:lnTo>
                <a:lnTo>
                  <a:pt x="478" y="402"/>
                </a:lnTo>
                <a:lnTo>
                  <a:pt x="478" y="399"/>
                </a:lnTo>
                <a:lnTo>
                  <a:pt x="476" y="396"/>
                </a:lnTo>
                <a:lnTo>
                  <a:pt x="475" y="396"/>
                </a:lnTo>
                <a:lnTo>
                  <a:pt x="460" y="395"/>
                </a:lnTo>
                <a:lnTo>
                  <a:pt x="458" y="394"/>
                </a:lnTo>
                <a:lnTo>
                  <a:pt x="456" y="394"/>
                </a:lnTo>
                <a:lnTo>
                  <a:pt x="456" y="393"/>
                </a:lnTo>
                <a:lnTo>
                  <a:pt x="454" y="393"/>
                </a:lnTo>
                <a:lnTo>
                  <a:pt x="450" y="390"/>
                </a:lnTo>
                <a:lnTo>
                  <a:pt x="448" y="390"/>
                </a:lnTo>
                <a:lnTo>
                  <a:pt x="447" y="389"/>
                </a:lnTo>
                <a:lnTo>
                  <a:pt x="448" y="389"/>
                </a:lnTo>
                <a:lnTo>
                  <a:pt x="450" y="388"/>
                </a:lnTo>
                <a:lnTo>
                  <a:pt x="450" y="387"/>
                </a:lnTo>
                <a:lnTo>
                  <a:pt x="448" y="387"/>
                </a:lnTo>
                <a:lnTo>
                  <a:pt x="450" y="386"/>
                </a:lnTo>
                <a:lnTo>
                  <a:pt x="452" y="387"/>
                </a:lnTo>
                <a:lnTo>
                  <a:pt x="452" y="386"/>
                </a:lnTo>
                <a:lnTo>
                  <a:pt x="453" y="384"/>
                </a:lnTo>
                <a:lnTo>
                  <a:pt x="452" y="384"/>
                </a:lnTo>
                <a:lnTo>
                  <a:pt x="451" y="386"/>
                </a:lnTo>
                <a:lnTo>
                  <a:pt x="451" y="384"/>
                </a:lnTo>
                <a:lnTo>
                  <a:pt x="448" y="384"/>
                </a:lnTo>
                <a:lnTo>
                  <a:pt x="448" y="386"/>
                </a:lnTo>
                <a:lnTo>
                  <a:pt x="446" y="386"/>
                </a:lnTo>
                <a:lnTo>
                  <a:pt x="446" y="384"/>
                </a:lnTo>
                <a:lnTo>
                  <a:pt x="445" y="384"/>
                </a:lnTo>
                <a:lnTo>
                  <a:pt x="441" y="383"/>
                </a:lnTo>
                <a:lnTo>
                  <a:pt x="438" y="386"/>
                </a:lnTo>
                <a:lnTo>
                  <a:pt x="433" y="390"/>
                </a:lnTo>
                <a:lnTo>
                  <a:pt x="431" y="396"/>
                </a:lnTo>
                <a:lnTo>
                  <a:pt x="429" y="398"/>
                </a:lnTo>
                <a:lnTo>
                  <a:pt x="428" y="401"/>
                </a:lnTo>
                <a:lnTo>
                  <a:pt x="427" y="402"/>
                </a:lnTo>
                <a:lnTo>
                  <a:pt x="426" y="405"/>
                </a:lnTo>
                <a:lnTo>
                  <a:pt x="425" y="406"/>
                </a:lnTo>
                <a:lnTo>
                  <a:pt x="423" y="406"/>
                </a:lnTo>
                <a:lnTo>
                  <a:pt x="422" y="408"/>
                </a:lnTo>
                <a:lnTo>
                  <a:pt x="422" y="411"/>
                </a:lnTo>
                <a:lnTo>
                  <a:pt x="423" y="413"/>
                </a:lnTo>
                <a:lnTo>
                  <a:pt x="423" y="415"/>
                </a:lnTo>
                <a:lnTo>
                  <a:pt x="422" y="415"/>
                </a:lnTo>
                <a:lnTo>
                  <a:pt x="422" y="417"/>
                </a:lnTo>
                <a:lnTo>
                  <a:pt x="420" y="419"/>
                </a:lnTo>
                <a:lnTo>
                  <a:pt x="419" y="421"/>
                </a:lnTo>
                <a:lnTo>
                  <a:pt x="417" y="423"/>
                </a:lnTo>
                <a:lnTo>
                  <a:pt x="417" y="425"/>
                </a:lnTo>
                <a:lnTo>
                  <a:pt x="420" y="427"/>
                </a:lnTo>
                <a:lnTo>
                  <a:pt x="420" y="429"/>
                </a:lnTo>
                <a:lnTo>
                  <a:pt x="419" y="430"/>
                </a:lnTo>
                <a:lnTo>
                  <a:pt x="420" y="431"/>
                </a:lnTo>
                <a:lnTo>
                  <a:pt x="422" y="432"/>
                </a:lnTo>
                <a:lnTo>
                  <a:pt x="423" y="433"/>
                </a:lnTo>
                <a:lnTo>
                  <a:pt x="431" y="433"/>
                </a:lnTo>
                <a:lnTo>
                  <a:pt x="431" y="435"/>
                </a:lnTo>
                <a:lnTo>
                  <a:pt x="432" y="435"/>
                </a:lnTo>
                <a:lnTo>
                  <a:pt x="432" y="437"/>
                </a:lnTo>
                <a:lnTo>
                  <a:pt x="433" y="437"/>
                </a:lnTo>
                <a:lnTo>
                  <a:pt x="438" y="439"/>
                </a:lnTo>
                <a:lnTo>
                  <a:pt x="438" y="441"/>
                </a:lnTo>
                <a:lnTo>
                  <a:pt x="440" y="441"/>
                </a:lnTo>
                <a:lnTo>
                  <a:pt x="441" y="442"/>
                </a:lnTo>
                <a:lnTo>
                  <a:pt x="441" y="443"/>
                </a:lnTo>
                <a:lnTo>
                  <a:pt x="442" y="444"/>
                </a:lnTo>
                <a:lnTo>
                  <a:pt x="445" y="445"/>
                </a:lnTo>
                <a:lnTo>
                  <a:pt x="446" y="445"/>
                </a:lnTo>
                <a:lnTo>
                  <a:pt x="445" y="449"/>
                </a:lnTo>
                <a:lnTo>
                  <a:pt x="444" y="451"/>
                </a:lnTo>
                <a:lnTo>
                  <a:pt x="444" y="452"/>
                </a:lnTo>
                <a:lnTo>
                  <a:pt x="445" y="454"/>
                </a:lnTo>
                <a:lnTo>
                  <a:pt x="445" y="464"/>
                </a:lnTo>
                <a:lnTo>
                  <a:pt x="446" y="464"/>
                </a:lnTo>
                <a:lnTo>
                  <a:pt x="447" y="466"/>
                </a:lnTo>
                <a:lnTo>
                  <a:pt x="446" y="467"/>
                </a:lnTo>
                <a:lnTo>
                  <a:pt x="446" y="469"/>
                </a:lnTo>
                <a:lnTo>
                  <a:pt x="444" y="472"/>
                </a:lnTo>
                <a:lnTo>
                  <a:pt x="440" y="472"/>
                </a:lnTo>
                <a:lnTo>
                  <a:pt x="439" y="470"/>
                </a:lnTo>
                <a:lnTo>
                  <a:pt x="436" y="470"/>
                </a:lnTo>
                <a:lnTo>
                  <a:pt x="433" y="472"/>
                </a:lnTo>
                <a:lnTo>
                  <a:pt x="426" y="475"/>
                </a:lnTo>
                <a:lnTo>
                  <a:pt x="422" y="476"/>
                </a:lnTo>
                <a:lnTo>
                  <a:pt x="422" y="478"/>
                </a:lnTo>
                <a:lnTo>
                  <a:pt x="421" y="479"/>
                </a:lnTo>
                <a:lnTo>
                  <a:pt x="421" y="480"/>
                </a:lnTo>
                <a:lnTo>
                  <a:pt x="420" y="481"/>
                </a:lnTo>
                <a:lnTo>
                  <a:pt x="420" y="485"/>
                </a:lnTo>
                <a:lnTo>
                  <a:pt x="421" y="488"/>
                </a:lnTo>
                <a:lnTo>
                  <a:pt x="421" y="498"/>
                </a:lnTo>
                <a:lnTo>
                  <a:pt x="419" y="500"/>
                </a:lnTo>
                <a:lnTo>
                  <a:pt x="419" y="501"/>
                </a:lnTo>
                <a:lnTo>
                  <a:pt x="417" y="501"/>
                </a:lnTo>
                <a:lnTo>
                  <a:pt x="416" y="503"/>
                </a:lnTo>
                <a:lnTo>
                  <a:pt x="415" y="503"/>
                </a:lnTo>
                <a:lnTo>
                  <a:pt x="411" y="505"/>
                </a:lnTo>
                <a:lnTo>
                  <a:pt x="410" y="506"/>
                </a:lnTo>
                <a:lnTo>
                  <a:pt x="404" y="513"/>
                </a:lnTo>
                <a:lnTo>
                  <a:pt x="403" y="515"/>
                </a:lnTo>
                <a:lnTo>
                  <a:pt x="402" y="521"/>
                </a:lnTo>
                <a:lnTo>
                  <a:pt x="402" y="522"/>
                </a:lnTo>
                <a:lnTo>
                  <a:pt x="401" y="523"/>
                </a:lnTo>
                <a:lnTo>
                  <a:pt x="401" y="524"/>
                </a:lnTo>
                <a:lnTo>
                  <a:pt x="400" y="524"/>
                </a:lnTo>
                <a:lnTo>
                  <a:pt x="397" y="525"/>
                </a:lnTo>
                <a:lnTo>
                  <a:pt x="395" y="524"/>
                </a:lnTo>
                <a:lnTo>
                  <a:pt x="386" y="525"/>
                </a:lnTo>
                <a:lnTo>
                  <a:pt x="384" y="523"/>
                </a:lnTo>
                <a:lnTo>
                  <a:pt x="383" y="523"/>
                </a:lnTo>
                <a:lnTo>
                  <a:pt x="382" y="522"/>
                </a:lnTo>
                <a:lnTo>
                  <a:pt x="382" y="519"/>
                </a:lnTo>
                <a:lnTo>
                  <a:pt x="383" y="518"/>
                </a:lnTo>
                <a:lnTo>
                  <a:pt x="382" y="517"/>
                </a:lnTo>
                <a:lnTo>
                  <a:pt x="382" y="507"/>
                </a:lnTo>
                <a:lnTo>
                  <a:pt x="384" y="507"/>
                </a:lnTo>
                <a:lnTo>
                  <a:pt x="388" y="506"/>
                </a:lnTo>
                <a:lnTo>
                  <a:pt x="389" y="505"/>
                </a:lnTo>
                <a:lnTo>
                  <a:pt x="389" y="504"/>
                </a:lnTo>
                <a:lnTo>
                  <a:pt x="390" y="501"/>
                </a:lnTo>
                <a:lnTo>
                  <a:pt x="392" y="495"/>
                </a:lnTo>
                <a:lnTo>
                  <a:pt x="394" y="493"/>
                </a:lnTo>
                <a:lnTo>
                  <a:pt x="394" y="491"/>
                </a:lnTo>
                <a:lnTo>
                  <a:pt x="390" y="487"/>
                </a:lnTo>
                <a:lnTo>
                  <a:pt x="390" y="485"/>
                </a:lnTo>
                <a:lnTo>
                  <a:pt x="392" y="485"/>
                </a:lnTo>
                <a:lnTo>
                  <a:pt x="396" y="482"/>
                </a:lnTo>
                <a:lnTo>
                  <a:pt x="397" y="482"/>
                </a:lnTo>
                <a:lnTo>
                  <a:pt x="400" y="481"/>
                </a:lnTo>
                <a:lnTo>
                  <a:pt x="402" y="482"/>
                </a:lnTo>
                <a:lnTo>
                  <a:pt x="403" y="482"/>
                </a:lnTo>
                <a:lnTo>
                  <a:pt x="403" y="481"/>
                </a:lnTo>
                <a:lnTo>
                  <a:pt x="404" y="481"/>
                </a:lnTo>
                <a:lnTo>
                  <a:pt x="406" y="479"/>
                </a:lnTo>
                <a:lnTo>
                  <a:pt x="406" y="478"/>
                </a:lnTo>
                <a:lnTo>
                  <a:pt x="407" y="475"/>
                </a:lnTo>
                <a:lnTo>
                  <a:pt x="407" y="473"/>
                </a:lnTo>
                <a:lnTo>
                  <a:pt x="406" y="472"/>
                </a:lnTo>
                <a:lnTo>
                  <a:pt x="406" y="470"/>
                </a:lnTo>
                <a:lnTo>
                  <a:pt x="404" y="470"/>
                </a:lnTo>
                <a:lnTo>
                  <a:pt x="403" y="469"/>
                </a:lnTo>
                <a:lnTo>
                  <a:pt x="403" y="468"/>
                </a:lnTo>
                <a:lnTo>
                  <a:pt x="401" y="463"/>
                </a:lnTo>
                <a:lnTo>
                  <a:pt x="398" y="450"/>
                </a:lnTo>
                <a:lnTo>
                  <a:pt x="398" y="448"/>
                </a:lnTo>
                <a:lnTo>
                  <a:pt x="397" y="443"/>
                </a:lnTo>
                <a:lnTo>
                  <a:pt x="391" y="437"/>
                </a:lnTo>
                <a:lnTo>
                  <a:pt x="391" y="433"/>
                </a:lnTo>
                <a:lnTo>
                  <a:pt x="390" y="431"/>
                </a:lnTo>
                <a:lnTo>
                  <a:pt x="389" y="430"/>
                </a:lnTo>
                <a:lnTo>
                  <a:pt x="389" y="429"/>
                </a:lnTo>
                <a:lnTo>
                  <a:pt x="388" y="424"/>
                </a:lnTo>
                <a:lnTo>
                  <a:pt x="388" y="418"/>
                </a:lnTo>
                <a:lnTo>
                  <a:pt x="385" y="415"/>
                </a:lnTo>
                <a:lnTo>
                  <a:pt x="385" y="413"/>
                </a:lnTo>
                <a:lnTo>
                  <a:pt x="383" y="412"/>
                </a:lnTo>
                <a:lnTo>
                  <a:pt x="383" y="409"/>
                </a:lnTo>
                <a:lnTo>
                  <a:pt x="382" y="409"/>
                </a:lnTo>
                <a:lnTo>
                  <a:pt x="382" y="408"/>
                </a:lnTo>
                <a:lnTo>
                  <a:pt x="377" y="408"/>
                </a:lnTo>
                <a:lnTo>
                  <a:pt x="372" y="413"/>
                </a:lnTo>
                <a:lnTo>
                  <a:pt x="367" y="411"/>
                </a:lnTo>
                <a:lnTo>
                  <a:pt x="366" y="411"/>
                </a:lnTo>
                <a:lnTo>
                  <a:pt x="366" y="408"/>
                </a:lnTo>
                <a:lnTo>
                  <a:pt x="364" y="406"/>
                </a:lnTo>
                <a:lnTo>
                  <a:pt x="363" y="406"/>
                </a:lnTo>
                <a:lnTo>
                  <a:pt x="359" y="402"/>
                </a:lnTo>
                <a:lnTo>
                  <a:pt x="358" y="404"/>
                </a:lnTo>
                <a:lnTo>
                  <a:pt x="357" y="404"/>
                </a:lnTo>
                <a:lnTo>
                  <a:pt x="357" y="402"/>
                </a:lnTo>
                <a:lnTo>
                  <a:pt x="354" y="400"/>
                </a:lnTo>
                <a:lnTo>
                  <a:pt x="352" y="400"/>
                </a:lnTo>
                <a:lnTo>
                  <a:pt x="352" y="399"/>
                </a:lnTo>
                <a:lnTo>
                  <a:pt x="351" y="399"/>
                </a:lnTo>
                <a:lnTo>
                  <a:pt x="351" y="398"/>
                </a:lnTo>
                <a:lnTo>
                  <a:pt x="352" y="396"/>
                </a:lnTo>
                <a:lnTo>
                  <a:pt x="352" y="394"/>
                </a:lnTo>
                <a:lnTo>
                  <a:pt x="353" y="394"/>
                </a:lnTo>
                <a:lnTo>
                  <a:pt x="353" y="393"/>
                </a:lnTo>
                <a:lnTo>
                  <a:pt x="354" y="393"/>
                </a:lnTo>
                <a:lnTo>
                  <a:pt x="354" y="388"/>
                </a:lnTo>
                <a:lnTo>
                  <a:pt x="349" y="378"/>
                </a:lnTo>
                <a:lnTo>
                  <a:pt x="346" y="375"/>
                </a:lnTo>
                <a:lnTo>
                  <a:pt x="345" y="375"/>
                </a:lnTo>
                <a:lnTo>
                  <a:pt x="344" y="376"/>
                </a:lnTo>
                <a:lnTo>
                  <a:pt x="341" y="376"/>
                </a:lnTo>
                <a:lnTo>
                  <a:pt x="341" y="377"/>
                </a:lnTo>
                <a:lnTo>
                  <a:pt x="339" y="376"/>
                </a:lnTo>
                <a:lnTo>
                  <a:pt x="339" y="377"/>
                </a:lnTo>
                <a:lnTo>
                  <a:pt x="336" y="378"/>
                </a:lnTo>
                <a:lnTo>
                  <a:pt x="334" y="378"/>
                </a:lnTo>
                <a:lnTo>
                  <a:pt x="333" y="377"/>
                </a:lnTo>
                <a:lnTo>
                  <a:pt x="333" y="378"/>
                </a:lnTo>
                <a:lnTo>
                  <a:pt x="330" y="378"/>
                </a:lnTo>
                <a:lnTo>
                  <a:pt x="329" y="380"/>
                </a:lnTo>
                <a:lnTo>
                  <a:pt x="328" y="380"/>
                </a:lnTo>
                <a:lnTo>
                  <a:pt x="327" y="381"/>
                </a:lnTo>
                <a:lnTo>
                  <a:pt x="327" y="378"/>
                </a:lnTo>
                <a:lnTo>
                  <a:pt x="328" y="377"/>
                </a:lnTo>
                <a:lnTo>
                  <a:pt x="329" y="377"/>
                </a:lnTo>
                <a:lnTo>
                  <a:pt x="329" y="376"/>
                </a:lnTo>
                <a:lnTo>
                  <a:pt x="332" y="375"/>
                </a:lnTo>
                <a:lnTo>
                  <a:pt x="333" y="374"/>
                </a:lnTo>
                <a:lnTo>
                  <a:pt x="333" y="372"/>
                </a:lnTo>
                <a:lnTo>
                  <a:pt x="332" y="371"/>
                </a:lnTo>
                <a:lnTo>
                  <a:pt x="332" y="370"/>
                </a:lnTo>
                <a:lnTo>
                  <a:pt x="330" y="371"/>
                </a:lnTo>
                <a:lnTo>
                  <a:pt x="328" y="369"/>
                </a:lnTo>
                <a:lnTo>
                  <a:pt x="327" y="369"/>
                </a:lnTo>
                <a:lnTo>
                  <a:pt x="326" y="366"/>
                </a:lnTo>
                <a:lnTo>
                  <a:pt x="322" y="366"/>
                </a:lnTo>
                <a:lnTo>
                  <a:pt x="321" y="368"/>
                </a:lnTo>
                <a:lnTo>
                  <a:pt x="319" y="368"/>
                </a:lnTo>
                <a:lnTo>
                  <a:pt x="317" y="366"/>
                </a:lnTo>
                <a:lnTo>
                  <a:pt x="316" y="366"/>
                </a:lnTo>
                <a:lnTo>
                  <a:pt x="316" y="369"/>
                </a:lnTo>
                <a:lnTo>
                  <a:pt x="315" y="369"/>
                </a:lnTo>
                <a:lnTo>
                  <a:pt x="315" y="364"/>
                </a:lnTo>
                <a:lnTo>
                  <a:pt x="311" y="357"/>
                </a:lnTo>
                <a:lnTo>
                  <a:pt x="310" y="356"/>
                </a:lnTo>
                <a:lnTo>
                  <a:pt x="309" y="356"/>
                </a:lnTo>
                <a:lnTo>
                  <a:pt x="309" y="353"/>
                </a:lnTo>
                <a:lnTo>
                  <a:pt x="307" y="349"/>
                </a:lnTo>
                <a:lnTo>
                  <a:pt x="304" y="345"/>
                </a:lnTo>
                <a:lnTo>
                  <a:pt x="301" y="343"/>
                </a:lnTo>
                <a:lnTo>
                  <a:pt x="296" y="343"/>
                </a:lnTo>
                <a:lnTo>
                  <a:pt x="295" y="344"/>
                </a:lnTo>
                <a:lnTo>
                  <a:pt x="295" y="345"/>
                </a:lnTo>
                <a:lnTo>
                  <a:pt x="291" y="345"/>
                </a:lnTo>
                <a:lnTo>
                  <a:pt x="291" y="344"/>
                </a:lnTo>
                <a:lnTo>
                  <a:pt x="284" y="340"/>
                </a:lnTo>
                <a:lnTo>
                  <a:pt x="283" y="340"/>
                </a:lnTo>
                <a:lnTo>
                  <a:pt x="279" y="341"/>
                </a:lnTo>
                <a:lnTo>
                  <a:pt x="278" y="341"/>
                </a:lnTo>
                <a:lnTo>
                  <a:pt x="277" y="343"/>
                </a:lnTo>
                <a:lnTo>
                  <a:pt x="276" y="343"/>
                </a:lnTo>
                <a:lnTo>
                  <a:pt x="273" y="345"/>
                </a:lnTo>
                <a:lnTo>
                  <a:pt x="272" y="344"/>
                </a:lnTo>
                <a:lnTo>
                  <a:pt x="272" y="343"/>
                </a:lnTo>
                <a:lnTo>
                  <a:pt x="271" y="341"/>
                </a:lnTo>
                <a:lnTo>
                  <a:pt x="270" y="339"/>
                </a:lnTo>
                <a:lnTo>
                  <a:pt x="267" y="335"/>
                </a:lnTo>
                <a:lnTo>
                  <a:pt x="266" y="334"/>
                </a:lnTo>
                <a:lnTo>
                  <a:pt x="265" y="334"/>
                </a:lnTo>
                <a:lnTo>
                  <a:pt x="264" y="333"/>
                </a:lnTo>
                <a:lnTo>
                  <a:pt x="260" y="333"/>
                </a:lnTo>
                <a:lnTo>
                  <a:pt x="257" y="332"/>
                </a:lnTo>
                <a:lnTo>
                  <a:pt x="255" y="331"/>
                </a:lnTo>
                <a:lnTo>
                  <a:pt x="255" y="332"/>
                </a:lnTo>
                <a:lnTo>
                  <a:pt x="254" y="332"/>
                </a:lnTo>
                <a:lnTo>
                  <a:pt x="252" y="327"/>
                </a:lnTo>
                <a:lnTo>
                  <a:pt x="247" y="321"/>
                </a:lnTo>
                <a:lnTo>
                  <a:pt x="242" y="318"/>
                </a:lnTo>
                <a:lnTo>
                  <a:pt x="241" y="316"/>
                </a:lnTo>
                <a:lnTo>
                  <a:pt x="239" y="316"/>
                </a:lnTo>
                <a:lnTo>
                  <a:pt x="239" y="315"/>
                </a:lnTo>
                <a:lnTo>
                  <a:pt x="237" y="315"/>
                </a:lnTo>
                <a:lnTo>
                  <a:pt x="237" y="310"/>
                </a:lnTo>
                <a:lnTo>
                  <a:pt x="229" y="302"/>
                </a:lnTo>
                <a:lnTo>
                  <a:pt x="229" y="301"/>
                </a:lnTo>
                <a:lnTo>
                  <a:pt x="228" y="301"/>
                </a:lnTo>
                <a:lnTo>
                  <a:pt x="226" y="298"/>
                </a:lnTo>
                <a:lnTo>
                  <a:pt x="221" y="298"/>
                </a:lnTo>
                <a:lnTo>
                  <a:pt x="221" y="297"/>
                </a:lnTo>
                <a:lnTo>
                  <a:pt x="220" y="296"/>
                </a:lnTo>
                <a:lnTo>
                  <a:pt x="218" y="296"/>
                </a:lnTo>
                <a:lnTo>
                  <a:pt x="218" y="295"/>
                </a:lnTo>
                <a:lnTo>
                  <a:pt x="217" y="294"/>
                </a:lnTo>
                <a:lnTo>
                  <a:pt x="217" y="291"/>
                </a:lnTo>
                <a:lnTo>
                  <a:pt x="215" y="286"/>
                </a:lnTo>
                <a:lnTo>
                  <a:pt x="209" y="280"/>
                </a:lnTo>
                <a:lnTo>
                  <a:pt x="206" y="280"/>
                </a:lnTo>
                <a:lnTo>
                  <a:pt x="204" y="279"/>
                </a:lnTo>
                <a:lnTo>
                  <a:pt x="203" y="278"/>
                </a:lnTo>
                <a:lnTo>
                  <a:pt x="201" y="278"/>
                </a:lnTo>
                <a:lnTo>
                  <a:pt x="197" y="277"/>
                </a:lnTo>
                <a:lnTo>
                  <a:pt x="195" y="277"/>
                </a:lnTo>
                <a:lnTo>
                  <a:pt x="195" y="278"/>
                </a:lnTo>
                <a:lnTo>
                  <a:pt x="193" y="279"/>
                </a:lnTo>
                <a:lnTo>
                  <a:pt x="192" y="279"/>
                </a:lnTo>
                <a:lnTo>
                  <a:pt x="191" y="278"/>
                </a:lnTo>
                <a:lnTo>
                  <a:pt x="190" y="278"/>
                </a:lnTo>
                <a:lnTo>
                  <a:pt x="190" y="276"/>
                </a:lnTo>
                <a:lnTo>
                  <a:pt x="193" y="276"/>
                </a:lnTo>
                <a:lnTo>
                  <a:pt x="193" y="275"/>
                </a:lnTo>
                <a:lnTo>
                  <a:pt x="195" y="273"/>
                </a:lnTo>
                <a:lnTo>
                  <a:pt x="195" y="272"/>
                </a:lnTo>
                <a:lnTo>
                  <a:pt x="193" y="271"/>
                </a:lnTo>
                <a:lnTo>
                  <a:pt x="193" y="270"/>
                </a:lnTo>
                <a:lnTo>
                  <a:pt x="192" y="269"/>
                </a:lnTo>
                <a:lnTo>
                  <a:pt x="191" y="269"/>
                </a:lnTo>
                <a:lnTo>
                  <a:pt x="191" y="267"/>
                </a:lnTo>
                <a:lnTo>
                  <a:pt x="190" y="266"/>
                </a:lnTo>
                <a:lnTo>
                  <a:pt x="190" y="265"/>
                </a:lnTo>
                <a:lnTo>
                  <a:pt x="189" y="264"/>
                </a:lnTo>
                <a:lnTo>
                  <a:pt x="186" y="263"/>
                </a:lnTo>
                <a:lnTo>
                  <a:pt x="186" y="261"/>
                </a:lnTo>
                <a:lnTo>
                  <a:pt x="185" y="260"/>
                </a:lnTo>
                <a:lnTo>
                  <a:pt x="184" y="258"/>
                </a:lnTo>
                <a:lnTo>
                  <a:pt x="181" y="257"/>
                </a:lnTo>
                <a:lnTo>
                  <a:pt x="174" y="255"/>
                </a:lnTo>
                <a:lnTo>
                  <a:pt x="177" y="253"/>
                </a:lnTo>
                <a:lnTo>
                  <a:pt x="177" y="249"/>
                </a:lnTo>
                <a:lnTo>
                  <a:pt x="175" y="248"/>
                </a:lnTo>
                <a:lnTo>
                  <a:pt x="171" y="246"/>
                </a:lnTo>
                <a:lnTo>
                  <a:pt x="168" y="246"/>
                </a:lnTo>
                <a:lnTo>
                  <a:pt x="166" y="248"/>
                </a:lnTo>
                <a:lnTo>
                  <a:pt x="165" y="247"/>
                </a:lnTo>
                <a:lnTo>
                  <a:pt x="164" y="245"/>
                </a:lnTo>
                <a:lnTo>
                  <a:pt x="166" y="242"/>
                </a:lnTo>
                <a:lnTo>
                  <a:pt x="167" y="239"/>
                </a:lnTo>
                <a:lnTo>
                  <a:pt x="166" y="239"/>
                </a:lnTo>
                <a:lnTo>
                  <a:pt x="166" y="237"/>
                </a:lnTo>
                <a:lnTo>
                  <a:pt x="167" y="236"/>
                </a:lnTo>
                <a:lnTo>
                  <a:pt x="167" y="234"/>
                </a:lnTo>
                <a:lnTo>
                  <a:pt x="166" y="233"/>
                </a:lnTo>
                <a:lnTo>
                  <a:pt x="166" y="228"/>
                </a:lnTo>
                <a:lnTo>
                  <a:pt x="162" y="221"/>
                </a:lnTo>
                <a:lnTo>
                  <a:pt x="160" y="217"/>
                </a:lnTo>
                <a:lnTo>
                  <a:pt x="159" y="217"/>
                </a:lnTo>
                <a:lnTo>
                  <a:pt x="158" y="216"/>
                </a:lnTo>
                <a:lnTo>
                  <a:pt x="158" y="215"/>
                </a:lnTo>
                <a:lnTo>
                  <a:pt x="156" y="211"/>
                </a:lnTo>
                <a:lnTo>
                  <a:pt x="155" y="197"/>
                </a:lnTo>
                <a:lnTo>
                  <a:pt x="154" y="194"/>
                </a:lnTo>
                <a:lnTo>
                  <a:pt x="153" y="190"/>
                </a:lnTo>
                <a:lnTo>
                  <a:pt x="152" y="189"/>
                </a:lnTo>
                <a:lnTo>
                  <a:pt x="149" y="187"/>
                </a:lnTo>
                <a:lnTo>
                  <a:pt x="148" y="185"/>
                </a:lnTo>
                <a:lnTo>
                  <a:pt x="148" y="184"/>
                </a:lnTo>
                <a:lnTo>
                  <a:pt x="147" y="184"/>
                </a:lnTo>
                <a:lnTo>
                  <a:pt x="146" y="183"/>
                </a:lnTo>
                <a:lnTo>
                  <a:pt x="141" y="183"/>
                </a:lnTo>
                <a:lnTo>
                  <a:pt x="137" y="179"/>
                </a:lnTo>
                <a:lnTo>
                  <a:pt x="136" y="179"/>
                </a:lnTo>
                <a:lnTo>
                  <a:pt x="137" y="180"/>
                </a:lnTo>
                <a:lnTo>
                  <a:pt x="136" y="180"/>
                </a:lnTo>
                <a:lnTo>
                  <a:pt x="136" y="181"/>
                </a:lnTo>
                <a:lnTo>
                  <a:pt x="134" y="181"/>
                </a:lnTo>
                <a:lnTo>
                  <a:pt x="133" y="179"/>
                </a:lnTo>
                <a:lnTo>
                  <a:pt x="131" y="179"/>
                </a:lnTo>
                <a:lnTo>
                  <a:pt x="130" y="178"/>
                </a:lnTo>
                <a:lnTo>
                  <a:pt x="129" y="178"/>
                </a:lnTo>
                <a:lnTo>
                  <a:pt x="125" y="174"/>
                </a:lnTo>
                <a:lnTo>
                  <a:pt x="123" y="173"/>
                </a:lnTo>
                <a:lnTo>
                  <a:pt x="122" y="172"/>
                </a:lnTo>
                <a:lnTo>
                  <a:pt x="121" y="172"/>
                </a:lnTo>
                <a:lnTo>
                  <a:pt x="119" y="171"/>
                </a:lnTo>
                <a:lnTo>
                  <a:pt x="117" y="169"/>
                </a:lnTo>
                <a:lnTo>
                  <a:pt x="117" y="168"/>
                </a:lnTo>
                <a:lnTo>
                  <a:pt x="112" y="166"/>
                </a:lnTo>
                <a:lnTo>
                  <a:pt x="111" y="165"/>
                </a:lnTo>
                <a:lnTo>
                  <a:pt x="111" y="166"/>
                </a:lnTo>
                <a:lnTo>
                  <a:pt x="110" y="167"/>
                </a:lnTo>
                <a:lnTo>
                  <a:pt x="109" y="167"/>
                </a:lnTo>
                <a:lnTo>
                  <a:pt x="108" y="166"/>
                </a:lnTo>
                <a:lnTo>
                  <a:pt x="108" y="165"/>
                </a:lnTo>
                <a:lnTo>
                  <a:pt x="106" y="163"/>
                </a:lnTo>
                <a:lnTo>
                  <a:pt x="102" y="162"/>
                </a:lnTo>
                <a:lnTo>
                  <a:pt x="99" y="162"/>
                </a:lnTo>
                <a:lnTo>
                  <a:pt x="98" y="161"/>
                </a:lnTo>
                <a:lnTo>
                  <a:pt x="94" y="161"/>
                </a:lnTo>
                <a:lnTo>
                  <a:pt x="94" y="160"/>
                </a:lnTo>
                <a:lnTo>
                  <a:pt x="91" y="160"/>
                </a:lnTo>
                <a:lnTo>
                  <a:pt x="90" y="161"/>
                </a:lnTo>
                <a:lnTo>
                  <a:pt x="88" y="161"/>
                </a:lnTo>
                <a:lnTo>
                  <a:pt x="88" y="162"/>
                </a:lnTo>
                <a:lnTo>
                  <a:pt x="87" y="162"/>
                </a:lnTo>
                <a:lnTo>
                  <a:pt x="85" y="165"/>
                </a:lnTo>
                <a:lnTo>
                  <a:pt x="84" y="165"/>
                </a:lnTo>
                <a:lnTo>
                  <a:pt x="83" y="166"/>
                </a:lnTo>
                <a:lnTo>
                  <a:pt x="79" y="168"/>
                </a:lnTo>
                <a:lnTo>
                  <a:pt x="78" y="169"/>
                </a:lnTo>
                <a:lnTo>
                  <a:pt x="79" y="169"/>
                </a:lnTo>
                <a:lnTo>
                  <a:pt x="78" y="171"/>
                </a:lnTo>
                <a:lnTo>
                  <a:pt x="78" y="172"/>
                </a:lnTo>
                <a:lnTo>
                  <a:pt x="77" y="172"/>
                </a:lnTo>
                <a:lnTo>
                  <a:pt x="77" y="175"/>
                </a:lnTo>
                <a:lnTo>
                  <a:pt x="75" y="175"/>
                </a:lnTo>
                <a:lnTo>
                  <a:pt x="73" y="177"/>
                </a:lnTo>
                <a:lnTo>
                  <a:pt x="72" y="177"/>
                </a:lnTo>
                <a:lnTo>
                  <a:pt x="69" y="179"/>
                </a:lnTo>
                <a:lnTo>
                  <a:pt x="69" y="183"/>
                </a:lnTo>
                <a:lnTo>
                  <a:pt x="68" y="183"/>
                </a:lnTo>
                <a:lnTo>
                  <a:pt x="67" y="185"/>
                </a:lnTo>
                <a:lnTo>
                  <a:pt x="66" y="186"/>
                </a:lnTo>
                <a:lnTo>
                  <a:pt x="67" y="187"/>
                </a:lnTo>
                <a:lnTo>
                  <a:pt x="67" y="189"/>
                </a:lnTo>
                <a:lnTo>
                  <a:pt x="66" y="189"/>
                </a:lnTo>
                <a:lnTo>
                  <a:pt x="65" y="190"/>
                </a:lnTo>
                <a:lnTo>
                  <a:pt x="63" y="190"/>
                </a:lnTo>
                <a:lnTo>
                  <a:pt x="63" y="191"/>
                </a:lnTo>
                <a:lnTo>
                  <a:pt x="62" y="191"/>
                </a:lnTo>
                <a:lnTo>
                  <a:pt x="62" y="192"/>
                </a:lnTo>
                <a:lnTo>
                  <a:pt x="61" y="192"/>
                </a:lnTo>
                <a:lnTo>
                  <a:pt x="57" y="194"/>
                </a:lnTo>
                <a:lnTo>
                  <a:pt x="50" y="196"/>
                </a:lnTo>
                <a:lnTo>
                  <a:pt x="48" y="197"/>
                </a:lnTo>
                <a:lnTo>
                  <a:pt x="47" y="198"/>
                </a:lnTo>
                <a:lnTo>
                  <a:pt x="38" y="198"/>
                </a:lnTo>
                <a:lnTo>
                  <a:pt x="37" y="194"/>
                </a:lnTo>
                <a:lnTo>
                  <a:pt x="37" y="193"/>
                </a:lnTo>
                <a:lnTo>
                  <a:pt x="38" y="192"/>
                </a:lnTo>
                <a:lnTo>
                  <a:pt x="40" y="190"/>
                </a:lnTo>
                <a:lnTo>
                  <a:pt x="41" y="189"/>
                </a:lnTo>
                <a:lnTo>
                  <a:pt x="43" y="187"/>
                </a:lnTo>
                <a:lnTo>
                  <a:pt x="44" y="186"/>
                </a:lnTo>
                <a:lnTo>
                  <a:pt x="44" y="184"/>
                </a:lnTo>
                <a:lnTo>
                  <a:pt x="47" y="181"/>
                </a:lnTo>
                <a:lnTo>
                  <a:pt x="47" y="180"/>
                </a:lnTo>
                <a:lnTo>
                  <a:pt x="44" y="178"/>
                </a:lnTo>
                <a:lnTo>
                  <a:pt x="44" y="175"/>
                </a:lnTo>
                <a:lnTo>
                  <a:pt x="43" y="175"/>
                </a:lnTo>
                <a:lnTo>
                  <a:pt x="42" y="177"/>
                </a:lnTo>
                <a:lnTo>
                  <a:pt x="41" y="177"/>
                </a:lnTo>
                <a:lnTo>
                  <a:pt x="34" y="178"/>
                </a:lnTo>
                <a:lnTo>
                  <a:pt x="30" y="178"/>
                </a:lnTo>
                <a:lnTo>
                  <a:pt x="30" y="177"/>
                </a:lnTo>
                <a:lnTo>
                  <a:pt x="28" y="177"/>
                </a:lnTo>
                <a:lnTo>
                  <a:pt x="23" y="173"/>
                </a:lnTo>
                <a:lnTo>
                  <a:pt x="22" y="173"/>
                </a:lnTo>
                <a:lnTo>
                  <a:pt x="19" y="172"/>
                </a:lnTo>
                <a:lnTo>
                  <a:pt x="17" y="172"/>
                </a:lnTo>
                <a:lnTo>
                  <a:pt x="16" y="171"/>
                </a:lnTo>
                <a:lnTo>
                  <a:pt x="16" y="169"/>
                </a:lnTo>
                <a:lnTo>
                  <a:pt x="15" y="168"/>
                </a:lnTo>
                <a:lnTo>
                  <a:pt x="13" y="168"/>
                </a:lnTo>
                <a:lnTo>
                  <a:pt x="13" y="166"/>
                </a:lnTo>
                <a:lnTo>
                  <a:pt x="12" y="165"/>
                </a:lnTo>
                <a:lnTo>
                  <a:pt x="12" y="161"/>
                </a:lnTo>
                <a:lnTo>
                  <a:pt x="13" y="160"/>
                </a:lnTo>
                <a:lnTo>
                  <a:pt x="11" y="157"/>
                </a:lnTo>
                <a:lnTo>
                  <a:pt x="11" y="156"/>
                </a:lnTo>
                <a:lnTo>
                  <a:pt x="10" y="154"/>
                </a:lnTo>
                <a:lnTo>
                  <a:pt x="11" y="154"/>
                </a:lnTo>
                <a:lnTo>
                  <a:pt x="13" y="151"/>
                </a:lnTo>
                <a:lnTo>
                  <a:pt x="15" y="149"/>
                </a:lnTo>
                <a:lnTo>
                  <a:pt x="15" y="147"/>
                </a:lnTo>
                <a:lnTo>
                  <a:pt x="17" y="144"/>
                </a:lnTo>
                <a:lnTo>
                  <a:pt x="19" y="146"/>
                </a:lnTo>
                <a:lnTo>
                  <a:pt x="19" y="144"/>
                </a:lnTo>
                <a:lnTo>
                  <a:pt x="18" y="142"/>
                </a:lnTo>
                <a:lnTo>
                  <a:pt x="18" y="140"/>
                </a:lnTo>
                <a:lnTo>
                  <a:pt x="17" y="138"/>
                </a:lnTo>
                <a:lnTo>
                  <a:pt x="17" y="136"/>
                </a:lnTo>
                <a:lnTo>
                  <a:pt x="15" y="135"/>
                </a:lnTo>
                <a:lnTo>
                  <a:pt x="11" y="135"/>
                </a:lnTo>
                <a:lnTo>
                  <a:pt x="7" y="134"/>
                </a:lnTo>
                <a:lnTo>
                  <a:pt x="6" y="132"/>
                </a:lnTo>
                <a:lnTo>
                  <a:pt x="6" y="128"/>
                </a:lnTo>
                <a:lnTo>
                  <a:pt x="5" y="125"/>
                </a:lnTo>
                <a:lnTo>
                  <a:pt x="3" y="125"/>
                </a:lnTo>
                <a:lnTo>
                  <a:pt x="3" y="124"/>
                </a:lnTo>
                <a:lnTo>
                  <a:pt x="1" y="123"/>
                </a:lnTo>
                <a:lnTo>
                  <a:pt x="1" y="122"/>
                </a:lnTo>
                <a:lnTo>
                  <a:pt x="0" y="120"/>
                </a:lnTo>
                <a:lnTo>
                  <a:pt x="3" y="118"/>
                </a:lnTo>
                <a:lnTo>
                  <a:pt x="5" y="118"/>
                </a:lnTo>
                <a:lnTo>
                  <a:pt x="6" y="117"/>
                </a:lnTo>
                <a:lnTo>
                  <a:pt x="7" y="117"/>
                </a:lnTo>
                <a:lnTo>
                  <a:pt x="9" y="118"/>
                </a:lnTo>
                <a:lnTo>
                  <a:pt x="11" y="119"/>
                </a:lnTo>
                <a:lnTo>
                  <a:pt x="12" y="118"/>
                </a:lnTo>
                <a:lnTo>
                  <a:pt x="12" y="117"/>
                </a:lnTo>
                <a:lnTo>
                  <a:pt x="13" y="117"/>
                </a:lnTo>
                <a:lnTo>
                  <a:pt x="15" y="116"/>
                </a:lnTo>
                <a:lnTo>
                  <a:pt x="15" y="114"/>
                </a:lnTo>
                <a:lnTo>
                  <a:pt x="16" y="114"/>
                </a:lnTo>
                <a:lnTo>
                  <a:pt x="17" y="113"/>
                </a:lnTo>
                <a:lnTo>
                  <a:pt x="19" y="113"/>
                </a:lnTo>
                <a:lnTo>
                  <a:pt x="22" y="111"/>
                </a:lnTo>
                <a:lnTo>
                  <a:pt x="22" y="107"/>
                </a:lnTo>
                <a:lnTo>
                  <a:pt x="23" y="105"/>
                </a:lnTo>
                <a:lnTo>
                  <a:pt x="24" y="104"/>
                </a:lnTo>
                <a:lnTo>
                  <a:pt x="24" y="101"/>
                </a:lnTo>
                <a:lnTo>
                  <a:pt x="22" y="101"/>
                </a:lnTo>
                <a:lnTo>
                  <a:pt x="22" y="100"/>
                </a:lnTo>
                <a:lnTo>
                  <a:pt x="21" y="100"/>
                </a:lnTo>
                <a:lnTo>
                  <a:pt x="21" y="98"/>
                </a:lnTo>
                <a:lnTo>
                  <a:pt x="18" y="97"/>
                </a:lnTo>
                <a:lnTo>
                  <a:pt x="17" y="95"/>
                </a:lnTo>
                <a:lnTo>
                  <a:pt x="16" y="95"/>
                </a:lnTo>
                <a:lnTo>
                  <a:pt x="16" y="88"/>
                </a:lnTo>
                <a:lnTo>
                  <a:pt x="13" y="87"/>
                </a:lnTo>
                <a:lnTo>
                  <a:pt x="12" y="86"/>
                </a:lnTo>
                <a:lnTo>
                  <a:pt x="11" y="86"/>
                </a:lnTo>
                <a:lnTo>
                  <a:pt x="9" y="83"/>
                </a:lnTo>
                <a:lnTo>
                  <a:pt x="9" y="76"/>
                </a:lnTo>
                <a:lnTo>
                  <a:pt x="11" y="76"/>
                </a:lnTo>
                <a:lnTo>
                  <a:pt x="11" y="75"/>
                </a:lnTo>
                <a:lnTo>
                  <a:pt x="12" y="76"/>
                </a:lnTo>
                <a:lnTo>
                  <a:pt x="13" y="76"/>
                </a:lnTo>
                <a:lnTo>
                  <a:pt x="17" y="73"/>
                </a:lnTo>
                <a:lnTo>
                  <a:pt x="17" y="71"/>
                </a:lnTo>
                <a:lnTo>
                  <a:pt x="18" y="71"/>
                </a:lnTo>
                <a:lnTo>
                  <a:pt x="18" y="70"/>
                </a:lnTo>
                <a:lnTo>
                  <a:pt x="21" y="73"/>
                </a:lnTo>
                <a:lnTo>
                  <a:pt x="21" y="74"/>
                </a:lnTo>
                <a:lnTo>
                  <a:pt x="25" y="74"/>
                </a:lnTo>
                <a:lnTo>
                  <a:pt x="28" y="73"/>
                </a:lnTo>
                <a:lnTo>
                  <a:pt x="29" y="71"/>
                </a:lnTo>
                <a:lnTo>
                  <a:pt x="34" y="71"/>
                </a:lnTo>
                <a:lnTo>
                  <a:pt x="36" y="69"/>
                </a:lnTo>
                <a:lnTo>
                  <a:pt x="38" y="69"/>
                </a:lnTo>
                <a:lnTo>
                  <a:pt x="38" y="68"/>
                </a:lnTo>
                <a:lnTo>
                  <a:pt x="40" y="68"/>
                </a:lnTo>
                <a:lnTo>
                  <a:pt x="40" y="67"/>
                </a:lnTo>
                <a:lnTo>
                  <a:pt x="44" y="68"/>
                </a:lnTo>
                <a:lnTo>
                  <a:pt x="47" y="70"/>
                </a:lnTo>
                <a:lnTo>
                  <a:pt x="48" y="70"/>
                </a:lnTo>
                <a:lnTo>
                  <a:pt x="50" y="71"/>
                </a:lnTo>
                <a:lnTo>
                  <a:pt x="53" y="71"/>
                </a:lnTo>
                <a:lnTo>
                  <a:pt x="53" y="70"/>
                </a:lnTo>
                <a:lnTo>
                  <a:pt x="54" y="68"/>
                </a:lnTo>
                <a:lnTo>
                  <a:pt x="55" y="68"/>
                </a:lnTo>
                <a:lnTo>
                  <a:pt x="59" y="67"/>
                </a:lnTo>
                <a:lnTo>
                  <a:pt x="60" y="65"/>
                </a:lnTo>
                <a:lnTo>
                  <a:pt x="60" y="62"/>
                </a:lnTo>
                <a:lnTo>
                  <a:pt x="61" y="61"/>
                </a:lnTo>
                <a:lnTo>
                  <a:pt x="62" y="61"/>
                </a:lnTo>
                <a:lnTo>
                  <a:pt x="65" y="58"/>
                </a:lnTo>
                <a:lnTo>
                  <a:pt x="65" y="55"/>
                </a:lnTo>
                <a:lnTo>
                  <a:pt x="63" y="52"/>
                </a:lnTo>
                <a:lnTo>
                  <a:pt x="62" y="51"/>
                </a:lnTo>
                <a:lnTo>
                  <a:pt x="62" y="50"/>
                </a:lnTo>
                <a:lnTo>
                  <a:pt x="63" y="50"/>
                </a:lnTo>
                <a:lnTo>
                  <a:pt x="63" y="49"/>
                </a:lnTo>
                <a:lnTo>
                  <a:pt x="65" y="49"/>
                </a:lnTo>
                <a:lnTo>
                  <a:pt x="67" y="48"/>
                </a:lnTo>
                <a:lnTo>
                  <a:pt x="71" y="44"/>
                </a:lnTo>
                <a:lnTo>
                  <a:pt x="72" y="44"/>
                </a:lnTo>
                <a:lnTo>
                  <a:pt x="72" y="40"/>
                </a:lnTo>
                <a:lnTo>
                  <a:pt x="73" y="40"/>
                </a:lnTo>
                <a:lnTo>
                  <a:pt x="74" y="39"/>
                </a:lnTo>
                <a:lnTo>
                  <a:pt x="78" y="39"/>
                </a:lnTo>
                <a:lnTo>
                  <a:pt x="78" y="52"/>
                </a:lnTo>
                <a:lnTo>
                  <a:pt x="79" y="52"/>
                </a:lnTo>
                <a:lnTo>
                  <a:pt x="80" y="54"/>
                </a:lnTo>
                <a:lnTo>
                  <a:pt x="81" y="54"/>
                </a:lnTo>
                <a:lnTo>
                  <a:pt x="83" y="55"/>
                </a:lnTo>
                <a:lnTo>
                  <a:pt x="85" y="58"/>
                </a:lnTo>
                <a:lnTo>
                  <a:pt x="85" y="60"/>
                </a:lnTo>
                <a:lnTo>
                  <a:pt x="86" y="60"/>
                </a:lnTo>
                <a:lnTo>
                  <a:pt x="88" y="61"/>
                </a:lnTo>
                <a:lnTo>
                  <a:pt x="90" y="61"/>
                </a:lnTo>
                <a:lnTo>
                  <a:pt x="90" y="60"/>
                </a:lnTo>
                <a:lnTo>
                  <a:pt x="91" y="60"/>
                </a:lnTo>
                <a:lnTo>
                  <a:pt x="91" y="61"/>
                </a:lnTo>
                <a:lnTo>
                  <a:pt x="93" y="61"/>
                </a:lnTo>
                <a:lnTo>
                  <a:pt x="94" y="62"/>
                </a:lnTo>
                <a:lnTo>
                  <a:pt x="94" y="64"/>
                </a:lnTo>
                <a:lnTo>
                  <a:pt x="92" y="67"/>
                </a:lnTo>
                <a:lnTo>
                  <a:pt x="92" y="68"/>
                </a:lnTo>
                <a:lnTo>
                  <a:pt x="93" y="68"/>
                </a:lnTo>
                <a:lnTo>
                  <a:pt x="96" y="69"/>
                </a:lnTo>
                <a:lnTo>
                  <a:pt x="97" y="70"/>
                </a:lnTo>
                <a:lnTo>
                  <a:pt x="97" y="71"/>
                </a:lnTo>
                <a:lnTo>
                  <a:pt x="98" y="73"/>
                </a:lnTo>
                <a:lnTo>
                  <a:pt x="98" y="76"/>
                </a:lnTo>
                <a:lnTo>
                  <a:pt x="99" y="76"/>
                </a:lnTo>
                <a:lnTo>
                  <a:pt x="100" y="77"/>
                </a:lnTo>
                <a:lnTo>
                  <a:pt x="102" y="77"/>
                </a:lnTo>
                <a:lnTo>
                  <a:pt x="103" y="75"/>
                </a:lnTo>
                <a:lnTo>
                  <a:pt x="104" y="74"/>
                </a:lnTo>
                <a:lnTo>
                  <a:pt x="104" y="71"/>
                </a:lnTo>
                <a:lnTo>
                  <a:pt x="103" y="71"/>
                </a:lnTo>
                <a:lnTo>
                  <a:pt x="102" y="70"/>
                </a:lnTo>
                <a:lnTo>
                  <a:pt x="102" y="69"/>
                </a:lnTo>
                <a:lnTo>
                  <a:pt x="100" y="69"/>
                </a:lnTo>
                <a:lnTo>
                  <a:pt x="100" y="68"/>
                </a:lnTo>
                <a:lnTo>
                  <a:pt x="103" y="67"/>
                </a:lnTo>
                <a:lnTo>
                  <a:pt x="102" y="64"/>
                </a:lnTo>
                <a:lnTo>
                  <a:pt x="103" y="63"/>
                </a:lnTo>
                <a:lnTo>
                  <a:pt x="104" y="63"/>
                </a:lnTo>
                <a:lnTo>
                  <a:pt x="104" y="62"/>
                </a:lnTo>
                <a:lnTo>
                  <a:pt x="105" y="61"/>
                </a:lnTo>
                <a:lnTo>
                  <a:pt x="104" y="60"/>
                </a:lnTo>
                <a:lnTo>
                  <a:pt x="105" y="60"/>
                </a:lnTo>
                <a:lnTo>
                  <a:pt x="105" y="58"/>
                </a:lnTo>
                <a:lnTo>
                  <a:pt x="109" y="56"/>
                </a:lnTo>
                <a:lnTo>
                  <a:pt x="109" y="54"/>
                </a:lnTo>
                <a:lnTo>
                  <a:pt x="110" y="54"/>
                </a:lnTo>
                <a:lnTo>
                  <a:pt x="111" y="52"/>
                </a:lnTo>
                <a:lnTo>
                  <a:pt x="114" y="48"/>
                </a:lnTo>
                <a:lnTo>
                  <a:pt x="114" y="45"/>
                </a:lnTo>
                <a:lnTo>
                  <a:pt x="112" y="43"/>
                </a:lnTo>
                <a:lnTo>
                  <a:pt x="112" y="40"/>
                </a:lnTo>
                <a:lnTo>
                  <a:pt x="111" y="39"/>
                </a:lnTo>
                <a:lnTo>
                  <a:pt x="112" y="38"/>
                </a:lnTo>
                <a:lnTo>
                  <a:pt x="112" y="37"/>
                </a:lnTo>
                <a:lnTo>
                  <a:pt x="114" y="36"/>
                </a:lnTo>
                <a:lnTo>
                  <a:pt x="116" y="36"/>
                </a:lnTo>
                <a:lnTo>
                  <a:pt x="116" y="37"/>
                </a:lnTo>
                <a:lnTo>
                  <a:pt x="117" y="38"/>
                </a:lnTo>
                <a:lnTo>
                  <a:pt x="118" y="38"/>
                </a:lnTo>
                <a:lnTo>
                  <a:pt x="118" y="37"/>
                </a:lnTo>
                <a:lnTo>
                  <a:pt x="119" y="37"/>
                </a:lnTo>
                <a:lnTo>
                  <a:pt x="119" y="36"/>
                </a:lnTo>
                <a:lnTo>
                  <a:pt x="121" y="37"/>
                </a:lnTo>
                <a:lnTo>
                  <a:pt x="121" y="44"/>
                </a:lnTo>
                <a:lnTo>
                  <a:pt x="122" y="44"/>
                </a:lnTo>
                <a:lnTo>
                  <a:pt x="122" y="45"/>
                </a:lnTo>
                <a:lnTo>
                  <a:pt x="123" y="46"/>
                </a:lnTo>
                <a:lnTo>
                  <a:pt x="123" y="48"/>
                </a:lnTo>
                <a:lnTo>
                  <a:pt x="124" y="48"/>
                </a:lnTo>
                <a:lnTo>
                  <a:pt x="125" y="49"/>
                </a:lnTo>
                <a:lnTo>
                  <a:pt x="131" y="49"/>
                </a:lnTo>
                <a:lnTo>
                  <a:pt x="131" y="45"/>
                </a:lnTo>
                <a:lnTo>
                  <a:pt x="135" y="45"/>
                </a:lnTo>
                <a:lnTo>
                  <a:pt x="137" y="44"/>
                </a:lnTo>
                <a:lnTo>
                  <a:pt x="141" y="44"/>
                </a:lnTo>
                <a:lnTo>
                  <a:pt x="142" y="45"/>
                </a:lnTo>
                <a:lnTo>
                  <a:pt x="142" y="46"/>
                </a:lnTo>
                <a:lnTo>
                  <a:pt x="143" y="49"/>
                </a:lnTo>
                <a:lnTo>
                  <a:pt x="146" y="50"/>
                </a:lnTo>
                <a:lnTo>
                  <a:pt x="146" y="52"/>
                </a:lnTo>
                <a:lnTo>
                  <a:pt x="149" y="52"/>
                </a:lnTo>
                <a:lnTo>
                  <a:pt x="150" y="51"/>
                </a:lnTo>
                <a:lnTo>
                  <a:pt x="150" y="49"/>
                </a:lnTo>
                <a:lnTo>
                  <a:pt x="148" y="48"/>
                </a:lnTo>
                <a:lnTo>
                  <a:pt x="148" y="44"/>
                </a:lnTo>
                <a:lnTo>
                  <a:pt x="149" y="44"/>
                </a:lnTo>
                <a:lnTo>
                  <a:pt x="149" y="40"/>
                </a:lnTo>
                <a:lnTo>
                  <a:pt x="146" y="40"/>
                </a:lnTo>
                <a:lnTo>
                  <a:pt x="144" y="39"/>
                </a:lnTo>
                <a:lnTo>
                  <a:pt x="146" y="38"/>
                </a:lnTo>
                <a:lnTo>
                  <a:pt x="146" y="37"/>
                </a:lnTo>
                <a:lnTo>
                  <a:pt x="144" y="37"/>
                </a:lnTo>
                <a:lnTo>
                  <a:pt x="146" y="36"/>
                </a:lnTo>
                <a:lnTo>
                  <a:pt x="146" y="33"/>
                </a:lnTo>
                <a:lnTo>
                  <a:pt x="147" y="32"/>
                </a:lnTo>
                <a:lnTo>
                  <a:pt x="147" y="30"/>
                </a:lnTo>
                <a:lnTo>
                  <a:pt x="148" y="30"/>
                </a:lnTo>
                <a:lnTo>
                  <a:pt x="152" y="28"/>
                </a:lnTo>
                <a:lnTo>
                  <a:pt x="154" y="28"/>
                </a:lnTo>
                <a:lnTo>
                  <a:pt x="154" y="31"/>
                </a:lnTo>
                <a:lnTo>
                  <a:pt x="155" y="32"/>
                </a:lnTo>
                <a:lnTo>
                  <a:pt x="156" y="32"/>
                </a:lnTo>
                <a:lnTo>
                  <a:pt x="156" y="33"/>
                </a:lnTo>
                <a:lnTo>
                  <a:pt x="162" y="33"/>
                </a:lnTo>
                <a:lnTo>
                  <a:pt x="164" y="32"/>
                </a:lnTo>
                <a:lnTo>
                  <a:pt x="164" y="28"/>
                </a:lnTo>
                <a:lnTo>
                  <a:pt x="162" y="27"/>
                </a:lnTo>
                <a:lnTo>
                  <a:pt x="160" y="27"/>
                </a:lnTo>
                <a:lnTo>
                  <a:pt x="160" y="22"/>
                </a:lnTo>
                <a:lnTo>
                  <a:pt x="162" y="20"/>
                </a:lnTo>
                <a:lnTo>
                  <a:pt x="162" y="19"/>
                </a:lnTo>
                <a:lnTo>
                  <a:pt x="161" y="19"/>
                </a:lnTo>
                <a:lnTo>
                  <a:pt x="161" y="18"/>
                </a:lnTo>
                <a:lnTo>
                  <a:pt x="162" y="17"/>
                </a:lnTo>
                <a:lnTo>
                  <a:pt x="162" y="15"/>
                </a:lnTo>
                <a:lnTo>
                  <a:pt x="164" y="13"/>
                </a:lnTo>
                <a:lnTo>
                  <a:pt x="166" y="15"/>
                </a:lnTo>
                <a:lnTo>
                  <a:pt x="171" y="14"/>
                </a:lnTo>
                <a:lnTo>
                  <a:pt x="171" y="13"/>
                </a:lnTo>
                <a:lnTo>
                  <a:pt x="172" y="14"/>
                </a:lnTo>
                <a:lnTo>
                  <a:pt x="175" y="15"/>
                </a:lnTo>
                <a:lnTo>
                  <a:pt x="175" y="17"/>
                </a:lnTo>
                <a:lnTo>
                  <a:pt x="174" y="18"/>
                </a:lnTo>
                <a:lnTo>
                  <a:pt x="177" y="18"/>
                </a:lnTo>
                <a:lnTo>
                  <a:pt x="178" y="19"/>
                </a:lnTo>
                <a:lnTo>
                  <a:pt x="180" y="19"/>
                </a:lnTo>
                <a:lnTo>
                  <a:pt x="180" y="20"/>
                </a:lnTo>
                <a:lnTo>
                  <a:pt x="181" y="20"/>
                </a:lnTo>
                <a:lnTo>
                  <a:pt x="183" y="19"/>
                </a:lnTo>
                <a:lnTo>
                  <a:pt x="186" y="19"/>
                </a:lnTo>
                <a:lnTo>
                  <a:pt x="187" y="17"/>
                </a:lnTo>
                <a:lnTo>
                  <a:pt x="189" y="17"/>
                </a:lnTo>
                <a:lnTo>
                  <a:pt x="189" y="13"/>
                </a:lnTo>
                <a:lnTo>
                  <a:pt x="190" y="12"/>
                </a:lnTo>
                <a:lnTo>
                  <a:pt x="190" y="11"/>
                </a:lnTo>
                <a:lnTo>
                  <a:pt x="193" y="7"/>
                </a:lnTo>
                <a:lnTo>
                  <a:pt x="196" y="6"/>
                </a:lnTo>
                <a:lnTo>
                  <a:pt x="201" y="6"/>
                </a:lnTo>
                <a:lnTo>
                  <a:pt x="202" y="7"/>
                </a:lnTo>
                <a:lnTo>
                  <a:pt x="203" y="7"/>
                </a:lnTo>
                <a:lnTo>
                  <a:pt x="205" y="6"/>
                </a:lnTo>
                <a:lnTo>
                  <a:pt x="205" y="5"/>
                </a:lnTo>
                <a:lnTo>
                  <a:pt x="206" y="5"/>
                </a:lnTo>
                <a:lnTo>
                  <a:pt x="208" y="6"/>
                </a:lnTo>
                <a:lnTo>
                  <a:pt x="209" y="6"/>
                </a:lnTo>
                <a:lnTo>
                  <a:pt x="210" y="5"/>
                </a:lnTo>
                <a:lnTo>
                  <a:pt x="211" y="5"/>
                </a:lnTo>
                <a:lnTo>
                  <a:pt x="214" y="6"/>
                </a:lnTo>
                <a:lnTo>
                  <a:pt x="215" y="6"/>
                </a:lnTo>
                <a:lnTo>
                  <a:pt x="216" y="7"/>
                </a:lnTo>
                <a:lnTo>
                  <a:pt x="217" y="7"/>
                </a:lnTo>
                <a:lnTo>
                  <a:pt x="218" y="6"/>
                </a:lnTo>
                <a:lnTo>
                  <a:pt x="221" y="6"/>
                </a:lnTo>
                <a:lnTo>
                  <a:pt x="222" y="5"/>
                </a:lnTo>
                <a:lnTo>
                  <a:pt x="224" y="3"/>
                </a:lnTo>
                <a:lnTo>
                  <a:pt x="226" y="2"/>
                </a:lnTo>
                <a:lnTo>
                  <a:pt x="229" y="2"/>
                </a:lnTo>
                <a:lnTo>
                  <a:pt x="233" y="0"/>
                </a:lnTo>
                <a:close/>
              </a:path>
            </a:pathLst>
          </a:custGeom>
          <a:solidFill>
            <a:schemeClr val="accent5">
              <a:lumMod val="95000"/>
            </a:schemeClr>
          </a:soli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" name="Freeform 35">
            <a:extLst>
              <a:ext uri="{FF2B5EF4-FFF2-40B4-BE49-F238E27FC236}">
                <a16:creationId xmlns:a16="http://schemas.microsoft.com/office/drawing/2014/main" id="{66B477A3-1525-47B1-B85C-B5BE8DB3BD7B}"/>
              </a:ext>
            </a:extLst>
          </p:cNvPr>
          <p:cNvSpPr>
            <a:spLocks noEditPoints="1"/>
          </p:cNvSpPr>
          <p:nvPr/>
        </p:nvSpPr>
        <p:spPr bwMode="auto">
          <a:xfrm>
            <a:off x="591264" y="4171351"/>
            <a:ext cx="273850" cy="405703"/>
          </a:xfrm>
          <a:custGeom>
            <a:avLst/>
            <a:gdLst/>
            <a:ahLst/>
            <a:cxnLst>
              <a:cxn ang="0">
                <a:pos x="34" y="165"/>
              </a:cxn>
              <a:cxn ang="0">
                <a:pos x="33" y="155"/>
              </a:cxn>
              <a:cxn ang="0">
                <a:pos x="29" y="108"/>
              </a:cxn>
              <a:cxn ang="0">
                <a:pos x="22" y="83"/>
              </a:cxn>
              <a:cxn ang="0">
                <a:pos x="87" y="60"/>
              </a:cxn>
              <a:cxn ang="0">
                <a:pos x="136" y="3"/>
              </a:cxn>
              <a:cxn ang="0">
                <a:pos x="131" y="27"/>
              </a:cxn>
              <a:cxn ang="0">
                <a:pos x="112" y="55"/>
              </a:cxn>
              <a:cxn ang="0">
                <a:pos x="101" y="75"/>
              </a:cxn>
              <a:cxn ang="0">
                <a:pos x="134" y="94"/>
              </a:cxn>
              <a:cxn ang="0">
                <a:pos x="146" y="72"/>
              </a:cxn>
              <a:cxn ang="0">
                <a:pos x="160" y="94"/>
              </a:cxn>
              <a:cxn ang="0">
                <a:pos x="182" y="100"/>
              </a:cxn>
              <a:cxn ang="0">
                <a:pos x="180" y="128"/>
              </a:cxn>
              <a:cxn ang="0">
                <a:pos x="180" y="150"/>
              </a:cxn>
              <a:cxn ang="0">
                <a:pos x="183" y="186"/>
              </a:cxn>
              <a:cxn ang="0">
                <a:pos x="174" y="229"/>
              </a:cxn>
              <a:cxn ang="0">
                <a:pos x="157" y="225"/>
              </a:cxn>
              <a:cxn ang="0">
                <a:pos x="148" y="227"/>
              </a:cxn>
              <a:cxn ang="0">
                <a:pos x="124" y="236"/>
              </a:cxn>
              <a:cxn ang="0">
                <a:pos x="111" y="244"/>
              </a:cxn>
              <a:cxn ang="0">
                <a:pos x="97" y="252"/>
              </a:cxn>
              <a:cxn ang="0">
                <a:pos x="91" y="256"/>
              </a:cxn>
              <a:cxn ang="0">
                <a:pos x="75" y="268"/>
              </a:cxn>
              <a:cxn ang="0">
                <a:pos x="58" y="274"/>
              </a:cxn>
              <a:cxn ang="0">
                <a:pos x="44" y="274"/>
              </a:cxn>
              <a:cxn ang="0">
                <a:pos x="27" y="278"/>
              </a:cxn>
              <a:cxn ang="0">
                <a:pos x="40" y="264"/>
              </a:cxn>
              <a:cxn ang="0">
                <a:pos x="15" y="269"/>
              </a:cxn>
              <a:cxn ang="0">
                <a:pos x="28" y="256"/>
              </a:cxn>
              <a:cxn ang="0">
                <a:pos x="18" y="257"/>
              </a:cxn>
              <a:cxn ang="0">
                <a:pos x="5" y="248"/>
              </a:cxn>
              <a:cxn ang="0">
                <a:pos x="21" y="236"/>
              </a:cxn>
              <a:cxn ang="0">
                <a:pos x="9" y="235"/>
              </a:cxn>
              <a:cxn ang="0">
                <a:pos x="6" y="226"/>
              </a:cxn>
              <a:cxn ang="0">
                <a:pos x="30" y="224"/>
              </a:cxn>
              <a:cxn ang="0">
                <a:pos x="34" y="208"/>
              </a:cxn>
              <a:cxn ang="0">
                <a:pos x="65" y="192"/>
              </a:cxn>
              <a:cxn ang="0">
                <a:pos x="40" y="199"/>
              </a:cxn>
              <a:cxn ang="0">
                <a:pos x="43" y="183"/>
              </a:cxn>
              <a:cxn ang="0">
                <a:pos x="59" y="163"/>
              </a:cxn>
              <a:cxn ang="0">
                <a:pos x="62" y="156"/>
              </a:cxn>
              <a:cxn ang="0">
                <a:pos x="37" y="146"/>
              </a:cxn>
              <a:cxn ang="0">
                <a:pos x="27" y="144"/>
              </a:cxn>
              <a:cxn ang="0">
                <a:pos x="15" y="137"/>
              </a:cxn>
              <a:cxn ang="0">
                <a:pos x="23" y="123"/>
              </a:cxn>
              <a:cxn ang="0">
                <a:pos x="22" y="110"/>
              </a:cxn>
              <a:cxn ang="0">
                <a:pos x="22" y="101"/>
              </a:cxn>
              <a:cxn ang="0">
                <a:pos x="27" y="94"/>
              </a:cxn>
              <a:cxn ang="0">
                <a:pos x="27" y="82"/>
              </a:cxn>
              <a:cxn ang="0">
                <a:pos x="52" y="80"/>
              </a:cxn>
              <a:cxn ang="0">
                <a:pos x="71" y="83"/>
              </a:cxn>
              <a:cxn ang="0">
                <a:pos x="81" y="79"/>
              </a:cxn>
              <a:cxn ang="0">
                <a:pos x="96" y="60"/>
              </a:cxn>
              <a:cxn ang="0">
                <a:pos x="84" y="58"/>
              </a:cxn>
              <a:cxn ang="0">
                <a:pos x="81" y="45"/>
              </a:cxn>
              <a:cxn ang="0">
                <a:pos x="85" y="33"/>
              </a:cxn>
              <a:cxn ang="0">
                <a:pos x="98" y="20"/>
              </a:cxn>
              <a:cxn ang="0">
                <a:pos x="112" y="15"/>
              </a:cxn>
              <a:cxn ang="0">
                <a:pos x="116" y="11"/>
              </a:cxn>
              <a:cxn ang="0">
                <a:pos x="124" y="27"/>
              </a:cxn>
              <a:cxn ang="0">
                <a:pos x="133" y="8"/>
              </a:cxn>
            </a:cxnLst>
            <a:rect l="0" t="0" r="r" b="b"/>
            <a:pathLst>
              <a:path w="189" h="280">
                <a:moveTo>
                  <a:pt x="24" y="267"/>
                </a:moveTo>
                <a:lnTo>
                  <a:pt x="28" y="267"/>
                </a:lnTo>
                <a:lnTo>
                  <a:pt x="28" y="268"/>
                </a:lnTo>
                <a:lnTo>
                  <a:pt x="24" y="269"/>
                </a:lnTo>
                <a:lnTo>
                  <a:pt x="24" y="268"/>
                </a:lnTo>
                <a:lnTo>
                  <a:pt x="23" y="268"/>
                </a:lnTo>
                <a:lnTo>
                  <a:pt x="24" y="267"/>
                </a:lnTo>
                <a:close/>
                <a:moveTo>
                  <a:pt x="141" y="231"/>
                </a:moveTo>
                <a:lnTo>
                  <a:pt x="142" y="231"/>
                </a:lnTo>
                <a:lnTo>
                  <a:pt x="142" y="232"/>
                </a:lnTo>
                <a:lnTo>
                  <a:pt x="141" y="231"/>
                </a:lnTo>
                <a:close/>
                <a:moveTo>
                  <a:pt x="167" y="217"/>
                </a:moveTo>
                <a:lnTo>
                  <a:pt x="167" y="218"/>
                </a:lnTo>
                <a:lnTo>
                  <a:pt x="168" y="218"/>
                </a:lnTo>
                <a:lnTo>
                  <a:pt x="170" y="217"/>
                </a:lnTo>
                <a:lnTo>
                  <a:pt x="167" y="217"/>
                </a:lnTo>
                <a:close/>
                <a:moveTo>
                  <a:pt x="28" y="163"/>
                </a:moveTo>
                <a:lnTo>
                  <a:pt x="33" y="163"/>
                </a:lnTo>
                <a:lnTo>
                  <a:pt x="34" y="164"/>
                </a:lnTo>
                <a:lnTo>
                  <a:pt x="34" y="165"/>
                </a:lnTo>
                <a:lnTo>
                  <a:pt x="35" y="165"/>
                </a:lnTo>
                <a:lnTo>
                  <a:pt x="35" y="166"/>
                </a:lnTo>
                <a:lnTo>
                  <a:pt x="34" y="166"/>
                </a:lnTo>
                <a:lnTo>
                  <a:pt x="29" y="164"/>
                </a:lnTo>
                <a:lnTo>
                  <a:pt x="28" y="163"/>
                </a:lnTo>
                <a:close/>
                <a:moveTo>
                  <a:pt x="62" y="160"/>
                </a:moveTo>
                <a:lnTo>
                  <a:pt x="64" y="160"/>
                </a:lnTo>
                <a:lnTo>
                  <a:pt x="62" y="162"/>
                </a:lnTo>
                <a:lnTo>
                  <a:pt x="62" y="160"/>
                </a:lnTo>
                <a:close/>
                <a:moveTo>
                  <a:pt x="60" y="160"/>
                </a:moveTo>
                <a:lnTo>
                  <a:pt x="61" y="160"/>
                </a:lnTo>
                <a:lnTo>
                  <a:pt x="62" y="162"/>
                </a:lnTo>
                <a:lnTo>
                  <a:pt x="60" y="162"/>
                </a:lnTo>
                <a:lnTo>
                  <a:pt x="60" y="160"/>
                </a:lnTo>
                <a:close/>
                <a:moveTo>
                  <a:pt x="33" y="153"/>
                </a:moveTo>
                <a:lnTo>
                  <a:pt x="34" y="153"/>
                </a:lnTo>
                <a:lnTo>
                  <a:pt x="35" y="156"/>
                </a:lnTo>
                <a:lnTo>
                  <a:pt x="35" y="157"/>
                </a:lnTo>
                <a:lnTo>
                  <a:pt x="33" y="157"/>
                </a:lnTo>
                <a:lnTo>
                  <a:pt x="33" y="155"/>
                </a:lnTo>
                <a:lnTo>
                  <a:pt x="31" y="155"/>
                </a:lnTo>
                <a:lnTo>
                  <a:pt x="33" y="153"/>
                </a:lnTo>
                <a:close/>
                <a:moveTo>
                  <a:pt x="184" y="145"/>
                </a:moveTo>
                <a:lnTo>
                  <a:pt x="186" y="145"/>
                </a:lnTo>
                <a:lnTo>
                  <a:pt x="186" y="147"/>
                </a:lnTo>
                <a:lnTo>
                  <a:pt x="185" y="147"/>
                </a:lnTo>
                <a:lnTo>
                  <a:pt x="185" y="146"/>
                </a:lnTo>
                <a:lnTo>
                  <a:pt x="184" y="146"/>
                </a:lnTo>
                <a:lnTo>
                  <a:pt x="184" y="145"/>
                </a:lnTo>
                <a:close/>
                <a:moveTo>
                  <a:pt x="18" y="139"/>
                </a:moveTo>
                <a:lnTo>
                  <a:pt x="19" y="140"/>
                </a:lnTo>
                <a:lnTo>
                  <a:pt x="19" y="139"/>
                </a:lnTo>
                <a:lnTo>
                  <a:pt x="18" y="139"/>
                </a:lnTo>
                <a:close/>
                <a:moveTo>
                  <a:pt x="11" y="134"/>
                </a:moveTo>
                <a:lnTo>
                  <a:pt x="14" y="134"/>
                </a:lnTo>
                <a:lnTo>
                  <a:pt x="12" y="135"/>
                </a:lnTo>
                <a:lnTo>
                  <a:pt x="11" y="134"/>
                </a:lnTo>
                <a:close/>
                <a:moveTo>
                  <a:pt x="28" y="104"/>
                </a:moveTo>
                <a:lnTo>
                  <a:pt x="28" y="108"/>
                </a:lnTo>
                <a:lnTo>
                  <a:pt x="29" y="108"/>
                </a:lnTo>
                <a:lnTo>
                  <a:pt x="29" y="106"/>
                </a:lnTo>
                <a:lnTo>
                  <a:pt x="28" y="104"/>
                </a:lnTo>
                <a:close/>
                <a:moveTo>
                  <a:pt x="134" y="90"/>
                </a:moveTo>
                <a:lnTo>
                  <a:pt x="134" y="94"/>
                </a:lnTo>
                <a:lnTo>
                  <a:pt x="133" y="91"/>
                </a:lnTo>
                <a:lnTo>
                  <a:pt x="134" y="90"/>
                </a:lnTo>
                <a:close/>
                <a:moveTo>
                  <a:pt x="16" y="90"/>
                </a:moveTo>
                <a:lnTo>
                  <a:pt x="16" y="91"/>
                </a:lnTo>
                <a:lnTo>
                  <a:pt x="17" y="91"/>
                </a:lnTo>
                <a:lnTo>
                  <a:pt x="17" y="92"/>
                </a:lnTo>
                <a:lnTo>
                  <a:pt x="16" y="94"/>
                </a:lnTo>
                <a:lnTo>
                  <a:pt x="17" y="94"/>
                </a:lnTo>
                <a:lnTo>
                  <a:pt x="17" y="95"/>
                </a:lnTo>
                <a:lnTo>
                  <a:pt x="15" y="95"/>
                </a:lnTo>
                <a:lnTo>
                  <a:pt x="15" y="92"/>
                </a:lnTo>
                <a:lnTo>
                  <a:pt x="16" y="90"/>
                </a:lnTo>
                <a:close/>
                <a:moveTo>
                  <a:pt x="19" y="80"/>
                </a:moveTo>
                <a:lnTo>
                  <a:pt x="21" y="80"/>
                </a:lnTo>
                <a:lnTo>
                  <a:pt x="21" y="82"/>
                </a:lnTo>
                <a:lnTo>
                  <a:pt x="22" y="83"/>
                </a:lnTo>
                <a:lnTo>
                  <a:pt x="25" y="83"/>
                </a:lnTo>
                <a:lnTo>
                  <a:pt x="24" y="85"/>
                </a:lnTo>
                <a:lnTo>
                  <a:pt x="22" y="85"/>
                </a:lnTo>
                <a:lnTo>
                  <a:pt x="21" y="84"/>
                </a:lnTo>
                <a:lnTo>
                  <a:pt x="21" y="86"/>
                </a:lnTo>
                <a:lnTo>
                  <a:pt x="19" y="86"/>
                </a:lnTo>
                <a:lnTo>
                  <a:pt x="19" y="89"/>
                </a:lnTo>
                <a:lnTo>
                  <a:pt x="18" y="89"/>
                </a:lnTo>
                <a:lnTo>
                  <a:pt x="18" y="90"/>
                </a:lnTo>
                <a:lnTo>
                  <a:pt x="16" y="90"/>
                </a:lnTo>
                <a:lnTo>
                  <a:pt x="16" y="88"/>
                </a:lnTo>
                <a:lnTo>
                  <a:pt x="17" y="88"/>
                </a:lnTo>
                <a:lnTo>
                  <a:pt x="17" y="86"/>
                </a:lnTo>
                <a:lnTo>
                  <a:pt x="16" y="86"/>
                </a:lnTo>
                <a:lnTo>
                  <a:pt x="16" y="84"/>
                </a:lnTo>
                <a:lnTo>
                  <a:pt x="17" y="83"/>
                </a:lnTo>
                <a:lnTo>
                  <a:pt x="17" y="82"/>
                </a:lnTo>
                <a:lnTo>
                  <a:pt x="19" y="80"/>
                </a:lnTo>
                <a:close/>
                <a:moveTo>
                  <a:pt x="89" y="58"/>
                </a:moveTo>
                <a:lnTo>
                  <a:pt x="87" y="60"/>
                </a:lnTo>
                <a:lnTo>
                  <a:pt x="86" y="60"/>
                </a:lnTo>
                <a:lnTo>
                  <a:pt x="86" y="61"/>
                </a:lnTo>
                <a:lnTo>
                  <a:pt x="85" y="61"/>
                </a:lnTo>
                <a:lnTo>
                  <a:pt x="85" y="60"/>
                </a:lnTo>
                <a:lnTo>
                  <a:pt x="86" y="59"/>
                </a:lnTo>
                <a:lnTo>
                  <a:pt x="87" y="59"/>
                </a:lnTo>
                <a:lnTo>
                  <a:pt x="89" y="58"/>
                </a:lnTo>
                <a:close/>
                <a:moveTo>
                  <a:pt x="81" y="28"/>
                </a:moveTo>
                <a:lnTo>
                  <a:pt x="83" y="29"/>
                </a:lnTo>
                <a:lnTo>
                  <a:pt x="84" y="29"/>
                </a:lnTo>
                <a:lnTo>
                  <a:pt x="84" y="32"/>
                </a:lnTo>
                <a:lnTo>
                  <a:pt x="80" y="32"/>
                </a:lnTo>
                <a:lnTo>
                  <a:pt x="80" y="29"/>
                </a:lnTo>
                <a:lnTo>
                  <a:pt x="81" y="29"/>
                </a:lnTo>
                <a:lnTo>
                  <a:pt x="81" y="28"/>
                </a:lnTo>
                <a:close/>
                <a:moveTo>
                  <a:pt x="130" y="0"/>
                </a:moveTo>
                <a:lnTo>
                  <a:pt x="131" y="0"/>
                </a:lnTo>
                <a:lnTo>
                  <a:pt x="133" y="2"/>
                </a:lnTo>
                <a:lnTo>
                  <a:pt x="135" y="3"/>
                </a:lnTo>
                <a:lnTo>
                  <a:pt x="136" y="3"/>
                </a:lnTo>
                <a:lnTo>
                  <a:pt x="137" y="4"/>
                </a:lnTo>
                <a:lnTo>
                  <a:pt x="139" y="4"/>
                </a:lnTo>
                <a:lnTo>
                  <a:pt x="141" y="8"/>
                </a:lnTo>
                <a:lnTo>
                  <a:pt x="143" y="9"/>
                </a:lnTo>
                <a:lnTo>
                  <a:pt x="145" y="10"/>
                </a:lnTo>
                <a:lnTo>
                  <a:pt x="147" y="10"/>
                </a:lnTo>
                <a:lnTo>
                  <a:pt x="148" y="11"/>
                </a:lnTo>
                <a:lnTo>
                  <a:pt x="148" y="10"/>
                </a:lnTo>
                <a:lnTo>
                  <a:pt x="149" y="11"/>
                </a:lnTo>
                <a:lnTo>
                  <a:pt x="149" y="14"/>
                </a:lnTo>
                <a:lnTo>
                  <a:pt x="147" y="14"/>
                </a:lnTo>
                <a:lnTo>
                  <a:pt x="145" y="15"/>
                </a:lnTo>
                <a:lnTo>
                  <a:pt x="141" y="18"/>
                </a:lnTo>
                <a:lnTo>
                  <a:pt x="140" y="18"/>
                </a:lnTo>
                <a:lnTo>
                  <a:pt x="136" y="22"/>
                </a:lnTo>
                <a:lnTo>
                  <a:pt x="136" y="24"/>
                </a:lnTo>
                <a:lnTo>
                  <a:pt x="135" y="24"/>
                </a:lnTo>
                <a:lnTo>
                  <a:pt x="135" y="26"/>
                </a:lnTo>
                <a:lnTo>
                  <a:pt x="134" y="26"/>
                </a:lnTo>
                <a:lnTo>
                  <a:pt x="131" y="27"/>
                </a:lnTo>
                <a:lnTo>
                  <a:pt x="130" y="27"/>
                </a:lnTo>
                <a:lnTo>
                  <a:pt x="129" y="29"/>
                </a:lnTo>
                <a:lnTo>
                  <a:pt x="129" y="34"/>
                </a:lnTo>
                <a:lnTo>
                  <a:pt x="128" y="34"/>
                </a:lnTo>
                <a:lnTo>
                  <a:pt x="128" y="40"/>
                </a:lnTo>
                <a:lnTo>
                  <a:pt x="123" y="45"/>
                </a:lnTo>
                <a:lnTo>
                  <a:pt x="123" y="48"/>
                </a:lnTo>
                <a:lnTo>
                  <a:pt x="118" y="48"/>
                </a:lnTo>
                <a:lnTo>
                  <a:pt x="116" y="51"/>
                </a:lnTo>
                <a:lnTo>
                  <a:pt x="112" y="51"/>
                </a:lnTo>
                <a:lnTo>
                  <a:pt x="111" y="49"/>
                </a:lnTo>
                <a:lnTo>
                  <a:pt x="110" y="51"/>
                </a:lnTo>
                <a:lnTo>
                  <a:pt x="108" y="52"/>
                </a:lnTo>
                <a:lnTo>
                  <a:pt x="109" y="52"/>
                </a:lnTo>
                <a:lnTo>
                  <a:pt x="108" y="53"/>
                </a:lnTo>
                <a:lnTo>
                  <a:pt x="109" y="54"/>
                </a:lnTo>
                <a:lnTo>
                  <a:pt x="110" y="54"/>
                </a:lnTo>
                <a:lnTo>
                  <a:pt x="110" y="55"/>
                </a:lnTo>
                <a:lnTo>
                  <a:pt x="111" y="57"/>
                </a:lnTo>
                <a:lnTo>
                  <a:pt x="112" y="55"/>
                </a:lnTo>
                <a:lnTo>
                  <a:pt x="112" y="57"/>
                </a:lnTo>
                <a:lnTo>
                  <a:pt x="114" y="58"/>
                </a:lnTo>
                <a:lnTo>
                  <a:pt x="115" y="58"/>
                </a:lnTo>
                <a:lnTo>
                  <a:pt x="116" y="57"/>
                </a:lnTo>
                <a:lnTo>
                  <a:pt x="117" y="57"/>
                </a:lnTo>
                <a:lnTo>
                  <a:pt x="117" y="58"/>
                </a:lnTo>
                <a:lnTo>
                  <a:pt x="115" y="59"/>
                </a:lnTo>
                <a:lnTo>
                  <a:pt x="111" y="63"/>
                </a:lnTo>
                <a:lnTo>
                  <a:pt x="109" y="64"/>
                </a:lnTo>
                <a:lnTo>
                  <a:pt x="108" y="64"/>
                </a:lnTo>
                <a:lnTo>
                  <a:pt x="104" y="63"/>
                </a:lnTo>
                <a:lnTo>
                  <a:pt x="103" y="64"/>
                </a:lnTo>
                <a:lnTo>
                  <a:pt x="103" y="65"/>
                </a:lnTo>
                <a:lnTo>
                  <a:pt x="102" y="66"/>
                </a:lnTo>
                <a:lnTo>
                  <a:pt x="102" y="67"/>
                </a:lnTo>
                <a:lnTo>
                  <a:pt x="101" y="67"/>
                </a:lnTo>
                <a:lnTo>
                  <a:pt x="98" y="69"/>
                </a:lnTo>
                <a:lnTo>
                  <a:pt x="98" y="71"/>
                </a:lnTo>
                <a:lnTo>
                  <a:pt x="99" y="72"/>
                </a:lnTo>
                <a:lnTo>
                  <a:pt x="101" y="75"/>
                </a:lnTo>
                <a:lnTo>
                  <a:pt x="102" y="76"/>
                </a:lnTo>
                <a:lnTo>
                  <a:pt x="104" y="76"/>
                </a:lnTo>
                <a:lnTo>
                  <a:pt x="105" y="78"/>
                </a:lnTo>
                <a:lnTo>
                  <a:pt x="105" y="79"/>
                </a:lnTo>
                <a:lnTo>
                  <a:pt x="106" y="80"/>
                </a:lnTo>
                <a:lnTo>
                  <a:pt x="109" y="80"/>
                </a:lnTo>
                <a:lnTo>
                  <a:pt x="110" y="82"/>
                </a:lnTo>
                <a:lnTo>
                  <a:pt x="110" y="86"/>
                </a:lnTo>
                <a:lnTo>
                  <a:pt x="111" y="88"/>
                </a:lnTo>
                <a:lnTo>
                  <a:pt x="117" y="88"/>
                </a:lnTo>
                <a:lnTo>
                  <a:pt x="120" y="90"/>
                </a:lnTo>
                <a:lnTo>
                  <a:pt x="121" y="90"/>
                </a:lnTo>
                <a:lnTo>
                  <a:pt x="121" y="92"/>
                </a:lnTo>
                <a:lnTo>
                  <a:pt x="127" y="92"/>
                </a:lnTo>
                <a:lnTo>
                  <a:pt x="128" y="91"/>
                </a:lnTo>
                <a:lnTo>
                  <a:pt x="129" y="91"/>
                </a:lnTo>
                <a:lnTo>
                  <a:pt x="129" y="92"/>
                </a:lnTo>
                <a:lnTo>
                  <a:pt x="130" y="92"/>
                </a:lnTo>
                <a:lnTo>
                  <a:pt x="130" y="94"/>
                </a:lnTo>
                <a:lnTo>
                  <a:pt x="134" y="94"/>
                </a:lnTo>
                <a:lnTo>
                  <a:pt x="135" y="92"/>
                </a:lnTo>
                <a:lnTo>
                  <a:pt x="135" y="90"/>
                </a:lnTo>
                <a:lnTo>
                  <a:pt x="136" y="90"/>
                </a:lnTo>
                <a:lnTo>
                  <a:pt x="136" y="89"/>
                </a:lnTo>
                <a:lnTo>
                  <a:pt x="135" y="89"/>
                </a:lnTo>
                <a:lnTo>
                  <a:pt x="137" y="86"/>
                </a:lnTo>
                <a:lnTo>
                  <a:pt x="139" y="86"/>
                </a:lnTo>
                <a:lnTo>
                  <a:pt x="140" y="85"/>
                </a:lnTo>
                <a:lnTo>
                  <a:pt x="140" y="84"/>
                </a:lnTo>
                <a:lnTo>
                  <a:pt x="141" y="84"/>
                </a:lnTo>
                <a:lnTo>
                  <a:pt x="139" y="83"/>
                </a:lnTo>
                <a:lnTo>
                  <a:pt x="139" y="82"/>
                </a:lnTo>
                <a:lnTo>
                  <a:pt x="137" y="80"/>
                </a:lnTo>
                <a:lnTo>
                  <a:pt x="139" y="80"/>
                </a:lnTo>
                <a:lnTo>
                  <a:pt x="139" y="78"/>
                </a:lnTo>
                <a:lnTo>
                  <a:pt x="140" y="78"/>
                </a:lnTo>
                <a:lnTo>
                  <a:pt x="141" y="77"/>
                </a:lnTo>
                <a:lnTo>
                  <a:pt x="143" y="73"/>
                </a:lnTo>
                <a:lnTo>
                  <a:pt x="145" y="72"/>
                </a:lnTo>
                <a:lnTo>
                  <a:pt x="146" y="72"/>
                </a:lnTo>
                <a:lnTo>
                  <a:pt x="147" y="73"/>
                </a:lnTo>
                <a:lnTo>
                  <a:pt x="149" y="75"/>
                </a:lnTo>
                <a:lnTo>
                  <a:pt x="151" y="76"/>
                </a:lnTo>
                <a:lnTo>
                  <a:pt x="151" y="77"/>
                </a:lnTo>
                <a:lnTo>
                  <a:pt x="152" y="77"/>
                </a:lnTo>
                <a:lnTo>
                  <a:pt x="152" y="78"/>
                </a:lnTo>
                <a:lnTo>
                  <a:pt x="153" y="79"/>
                </a:lnTo>
                <a:lnTo>
                  <a:pt x="153" y="80"/>
                </a:lnTo>
                <a:lnTo>
                  <a:pt x="152" y="82"/>
                </a:lnTo>
                <a:lnTo>
                  <a:pt x="154" y="84"/>
                </a:lnTo>
                <a:lnTo>
                  <a:pt x="154" y="86"/>
                </a:lnTo>
                <a:lnTo>
                  <a:pt x="155" y="88"/>
                </a:lnTo>
                <a:lnTo>
                  <a:pt x="157" y="88"/>
                </a:lnTo>
                <a:lnTo>
                  <a:pt x="158" y="89"/>
                </a:lnTo>
                <a:lnTo>
                  <a:pt x="159" y="88"/>
                </a:lnTo>
                <a:lnTo>
                  <a:pt x="160" y="88"/>
                </a:lnTo>
                <a:lnTo>
                  <a:pt x="161" y="89"/>
                </a:lnTo>
                <a:lnTo>
                  <a:pt x="161" y="90"/>
                </a:lnTo>
                <a:lnTo>
                  <a:pt x="162" y="91"/>
                </a:lnTo>
                <a:lnTo>
                  <a:pt x="160" y="94"/>
                </a:lnTo>
                <a:lnTo>
                  <a:pt x="161" y="95"/>
                </a:lnTo>
                <a:lnTo>
                  <a:pt x="160" y="97"/>
                </a:lnTo>
                <a:lnTo>
                  <a:pt x="161" y="97"/>
                </a:lnTo>
                <a:lnTo>
                  <a:pt x="162" y="98"/>
                </a:lnTo>
                <a:lnTo>
                  <a:pt x="162" y="100"/>
                </a:lnTo>
                <a:lnTo>
                  <a:pt x="164" y="98"/>
                </a:lnTo>
                <a:lnTo>
                  <a:pt x="165" y="98"/>
                </a:lnTo>
                <a:lnTo>
                  <a:pt x="168" y="97"/>
                </a:lnTo>
                <a:lnTo>
                  <a:pt x="170" y="97"/>
                </a:lnTo>
                <a:lnTo>
                  <a:pt x="171" y="98"/>
                </a:lnTo>
                <a:lnTo>
                  <a:pt x="172" y="97"/>
                </a:lnTo>
                <a:lnTo>
                  <a:pt x="173" y="97"/>
                </a:lnTo>
                <a:lnTo>
                  <a:pt x="173" y="95"/>
                </a:lnTo>
                <a:lnTo>
                  <a:pt x="174" y="94"/>
                </a:lnTo>
                <a:lnTo>
                  <a:pt x="174" y="95"/>
                </a:lnTo>
                <a:lnTo>
                  <a:pt x="178" y="95"/>
                </a:lnTo>
                <a:lnTo>
                  <a:pt x="180" y="97"/>
                </a:lnTo>
                <a:lnTo>
                  <a:pt x="180" y="98"/>
                </a:lnTo>
                <a:lnTo>
                  <a:pt x="182" y="98"/>
                </a:lnTo>
                <a:lnTo>
                  <a:pt x="182" y="100"/>
                </a:lnTo>
                <a:lnTo>
                  <a:pt x="184" y="100"/>
                </a:lnTo>
                <a:lnTo>
                  <a:pt x="184" y="102"/>
                </a:lnTo>
                <a:lnTo>
                  <a:pt x="183" y="103"/>
                </a:lnTo>
                <a:lnTo>
                  <a:pt x="180" y="103"/>
                </a:lnTo>
                <a:lnTo>
                  <a:pt x="179" y="102"/>
                </a:lnTo>
                <a:lnTo>
                  <a:pt x="176" y="101"/>
                </a:lnTo>
                <a:lnTo>
                  <a:pt x="173" y="101"/>
                </a:lnTo>
                <a:lnTo>
                  <a:pt x="174" y="102"/>
                </a:lnTo>
                <a:lnTo>
                  <a:pt x="173" y="103"/>
                </a:lnTo>
                <a:lnTo>
                  <a:pt x="173" y="109"/>
                </a:lnTo>
                <a:lnTo>
                  <a:pt x="176" y="112"/>
                </a:lnTo>
                <a:lnTo>
                  <a:pt x="178" y="112"/>
                </a:lnTo>
                <a:lnTo>
                  <a:pt x="178" y="116"/>
                </a:lnTo>
                <a:lnTo>
                  <a:pt x="179" y="116"/>
                </a:lnTo>
                <a:lnTo>
                  <a:pt x="178" y="117"/>
                </a:lnTo>
                <a:lnTo>
                  <a:pt x="178" y="121"/>
                </a:lnTo>
                <a:lnTo>
                  <a:pt x="179" y="125"/>
                </a:lnTo>
                <a:lnTo>
                  <a:pt x="179" y="127"/>
                </a:lnTo>
                <a:lnTo>
                  <a:pt x="180" y="127"/>
                </a:lnTo>
                <a:lnTo>
                  <a:pt x="180" y="128"/>
                </a:lnTo>
                <a:lnTo>
                  <a:pt x="182" y="131"/>
                </a:lnTo>
                <a:lnTo>
                  <a:pt x="183" y="131"/>
                </a:lnTo>
                <a:lnTo>
                  <a:pt x="184" y="132"/>
                </a:lnTo>
                <a:lnTo>
                  <a:pt x="185" y="132"/>
                </a:lnTo>
                <a:lnTo>
                  <a:pt x="185" y="137"/>
                </a:lnTo>
                <a:lnTo>
                  <a:pt x="184" y="138"/>
                </a:lnTo>
                <a:lnTo>
                  <a:pt x="184" y="140"/>
                </a:lnTo>
                <a:lnTo>
                  <a:pt x="183" y="140"/>
                </a:lnTo>
                <a:lnTo>
                  <a:pt x="182" y="139"/>
                </a:lnTo>
                <a:lnTo>
                  <a:pt x="182" y="140"/>
                </a:lnTo>
                <a:lnTo>
                  <a:pt x="180" y="140"/>
                </a:lnTo>
                <a:lnTo>
                  <a:pt x="183" y="141"/>
                </a:lnTo>
                <a:lnTo>
                  <a:pt x="184" y="143"/>
                </a:lnTo>
                <a:lnTo>
                  <a:pt x="184" y="145"/>
                </a:lnTo>
                <a:lnTo>
                  <a:pt x="183" y="145"/>
                </a:lnTo>
                <a:lnTo>
                  <a:pt x="183" y="146"/>
                </a:lnTo>
                <a:lnTo>
                  <a:pt x="179" y="147"/>
                </a:lnTo>
                <a:lnTo>
                  <a:pt x="179" y="149"/>
                </a:lnTo>
                <a:lnTo>
                  <a:pt x="180" y="149"/>
                </a:lnTo>
                <a:lnTo>
                  <a:pt x="180" y="150"/>
                </a:lnTo>
                <a:lnTo>
                  <a:pt x="183" y="152"/>
                </a:lnTo>
                <a:lnTo>
                  <a:pt x="184" y="152"/>
                </a:lnTo>
                <a:lnTo>
                  <a:pt x="185" y="153"/>
                </a:lnTo>
                <a:lnTo>
                  <a:pt x="184" y="153"/>
                </a:lnTo>
                <a:lnTo>
                  <a:pt x="184" y="157"/>
                </a:lnTo>
                <a:lnTo>
                  <a:pt x="185" y="158"/>
                </a:lnTo>
                <a:lnTo>
                  <a:pt x="185" y="159"/>
                </a:lnTo>
                <a:lnTo>
                  <a:pt x="186" y="159"/>
                </a:lnTo>
                <a:lnTo>
                  <a:pt x="185" y="162"/>
                </a:lnTo>
                <a:lnTo>
                  <a:pt x="186" y="162"/>
                </a:lnTo>
                <a:lnTo>
                  <a:pt x="188" y="165"/>
                </a:lnTo>
                <a:lnTo>
                  <a:pt x="188" y="170"/>
                </a:lnTo>
                <a:lnTo>
                  <a:pt x="186" y="171"/>
                </a:lnTo>
                <a:lnTo>
                  <a:pt x="186" y="172"/>
                </a:lnTo>
                <a:lnTo>
                  <a:pt x="189" y="175"/>
                </a:lnTo>
                <a:lnTo>
                  <a:pt x="189" y="176"/>
                </a:lnTo>
                <a:lnTo>
                  <a:pt x="188" y="177"/>
                </a:lnTo>
                <a:lnTo>
                  <a:pt x="188" y="178"/>
                </a:lnTo>
                <a:lnTo>
                  <a:pt x="186" y="182"/>
                </a:lnTo>
                <a:lnTo>
                  <a:pt x="183" y="186"/>
                </a:lnTo>
                <a:lnTo>
                  <a:pt x="183" y="190"/>
                </a:lnTo>
                <a:lnTo>
                  <a:pt x="182" y="193"/>
                </a:lnTo>
                <a:lnTo>
                  <a:pt x="179" y="196"/>
                </a:lnTo>
                <a:lnTo>
                  <a:pt x="179" y="199"/>
                </a:lnTo>
                <a:lnTo>
                  <a:pt x="180" y="200"/>
                </a:lnTo>
                <a:lnTo>
                  <a:pt x="180" y="205"/>
                </a:lnTo>
                <a:lnTo>
                  <a:pt x="179" y="206"/>
                </a:lnTo>
                <a:lnTo>
                  <a:pt x="177" y="209"/>
                </a:lnTo>
                <a:lnTo>
                  <a:pt x="176" y="211"/>
                </a:lnTo>
                <a:lnTo>
                  <a:pt x="176" y="212"/>
                </a:lnTo>
                <a:lnTo>
                  <a:pt x="174" y="212"/>
                </a:lnTo>
                <a:lnTo>
                  <a:pt x="173" y="214"/>
                </a:lnTo>
                <a:lnTo>
                  <a:pt x="173" y="218"/>
                </a:lnTo>
                <a:lnTo>
                  <a:pt x="170" y="218"/>
                </a:lnTo>
                <a:lnTo>
                  <a:pt x="170" y="220"/>
                </a:lnTo>
                <a:lnTo>
                  <a:pt x="172" y="223"/>
                </a:lnTo>
                <a:lnTo>
                  <a:pt x="172" y="221"/>
                </a:lnTo>
                <a:lnTo>
                  <a:pt x="173" y="224"/>
                </a:lnTo>
                <a:lnTo>
                  <a:pt x="176" y="225"/>
                </a:lnTo>
                <a:lnTo>
                  <a:pt x="174" y="229"/>
                </a:lnTo>
                <a:lnTo>
                  <a:pt x="173" y="230"/>
                </a:lnTo>
                <a:lnTo>
                  <a:pt x="172" y="230"/>
                </a:lnTo>
                <a:lnTo>
                  <a:pt x="172" y="229"/>
                </a:lnTo>
                <a:lnTo>
                  <a:pt x="173" y="227"/>
                </a:lnTo>
                <a:lnTo>
                  <a:pt x="172" y="227"/>
                </a:lnTo>
                <a:lnTo>
                  <a:pt x="172" y="229"/>
                </a:lnTo>
                <a:lnTo>
                  <a:pt x="170" y="229"/>
                </a:lnTo>
                <a:lnTo>
                  <a:pt x="170" y="227"/>
                </a:lnTo>
                <a:lnTo>
                  <a:pt x="168" y="227"/>
                </a:lnTo>
                <a:lnTo>
                  <a:pt x="168" y="229"/>
                </a:lnTo>
                <a:lnTo>
                  <a:pt x="166" y="229"/>
                </a:lnTo>
                <a:lnTo>
                  <a:pt x="165" y="230"/>
                </a:lnTo>
                <a:lnTo>
                  <a:pt x="164" y="230"/>
                </a:lnTo>
                <a:lnTo>
                  <a:pt x="162" y="229"/>
                </a:lnTo>
                <a:lnTo>
                  <a:pt x="161" y="229"/>
                </a:lnTo>
                <a:lnTo>
                  <a:pt x="159" y="227"/>
                </a:lnTo>
                <a:lnTo>
                  <a:pt x="155" y="227"/>
                </a:lnTo>
                <a:lnTo>
                  <a:pt x="155" y="226"/>
                </a:lnTo>
                <a:lnTo>
                  <a:pt x="157" y="226"/>
                </a:lnTo>
                <a:lnTo>
                  <a:pt x="157" y="225"/>
                </a:lnTo>
                <a:lnTo>
                  <a:pt x="155" y="226"/>
                </a:lnTo>
                <a:lnTo>
                  <a:pt x="154" y="226"/>
                </a:lnTo>
                <a:lnTo>
                  <a:pt x="154" y="225"/>
                </a:lnTo>
                <a:lnTo>
                  <a:pt x="153" y="226"/>
                </a:lnTo>
                <a:lnTo>
                  <a:pt x="153" y="227"/>
                </a:lnTo>
                <a:lnTo>
                  <a:pt x="154" y="227"/>
                </a:lnTo>
                <a:lnTo>
                  <a:pt x="154" y="230"/>
                </a:lnTo>
                <a:lnTo>
                  <a:pt x="151" y="232"/>
                </a:lnTo>
                <a:lnTo>
                  <a:pt x="151" y="233"/>
                </a:lnTo>
                <a:lnTo>
                  <a:pt x="148" y="233"/>
                </a:lnTo>
                <a:lnTo>
                  <a:pt x="151" y="231"/>
                </a:lnTo>
                <a:lnTo>
                  <a:pt x="151" y="230"/>
                </a:lnTo>
                <a:lnTo>
                  <a:pt x="149" y="227"/>
                </a:lnTo>
                <a:lnTo>
                  <a:pt x="149" y="226"/>
                </a:lnTo>
                <a:lnTo>
                  <a:pt x="148" y="226"/>
                </a:lnTo>
                <a:lnTo>
                  <a:pt x="148" y="225"/>
                </a:lnTo>
                <a:lnTo>
                  <a:pt x="147" y="223"/>
                </a:lnTo>
                <a:lnTo>
                  <a:pt x="147" y="225"/>
                </a:lnTo>
                <a:lnTo>
                  <a:pt x="148" y="226"/>
                </a:lnTo>
                <a:lnTo>
                  <a:pt x="148" y="227"/>
                </a:lnTo>
                <a:lnTo>
                  <a:pt x="147" y="229"/>
                </a:lnTo>
                <a:lnTo>
                  <a:pt x="147" y="230"/>
                </a:lnTo>
                <a:lnTo>
                  <a:pt x="148" y="230"/>
                </a:lnTo>
                <a:lnTo>
                  <a:pt x="147" y="232"/>
                </a:lnTo>
                <a:lnTo>
                  <a:pt x="146" y="232"/>
                </a:lnTo>
                <a:lnTo>
                  <a:pt x="145" y="233"/>
                </a:lnTo>
                <a:lnTo>
                  <a:pt x="142" y="233"/>
                </a:lnTo>
                <a:lnTo>
                  <a:pt x="142" y="232"/>
                </a:lnTo>
                <a:lnTo>
                  <a:pt x="143" y="231"/>
                </a:lnTo>
                <a:lnTo>
                  <a:pt x="142" y="230"/>
                </a:lnTo>
                <a:lnTo>
                  <a:pt x="141" y="230"/>
                </a:lnTo>
                <a:lnTo>
                  <a:pt x="141" y="231"/>
                </a:lnTo>
                <a:lnTo>
                  <a:pt x="140" y="231"/>
                </a:lnTo>
                <a:lnTo>
                  <a:pt x="140" y="232"/>
                </a:lnTo>
                <a:lnTo>
                  <a:pt x="139" y="233"/>
                </a:lnTo>
                <a:lnTo>
                  <a:pt x="137" y="233"/>
                </a:lnTo>
                <a:lnTo>
                  <a:pt x="136" y="232"/>
                </a:lnTo>
                <a:lnTo>
                  <a:pt x="128" y="233"/>
                </a:lnTo>
                <a:lnTo>
                  <a:pt x="126" y="235"/>
                </a:lnTo>
                <a:lnTo>
                  <a:pt x="124" y="236"/>
                </a:lnTo>
                <a:lnTo>
                  <a:pt x="123" y="236"/>
                </a:lnTo>
                <a:lnTo>
                  <a:pt x="123" y="237"/>
                </a:lnTo>
                <a:lnTo>
                  <a:pt x="122" y="236"/>
                </a:lnTo>
                <a:lnTo>
                  <a:pt x="122" y="235"/>
                </a:lnTo>
                <a:lnTo>
                  <a:pt x="120" y="237"/>
                </a:lnTo>
                <a:lnTo>
                  <a:pt x="120" y="238"/>
                </a:lnTo>
                <a:lnTo>
                  <a:pt x="121" y="237"/>
                </a:lnTo>
                <a:lnTo>
                  <a:pt x="122" y="237"/>
                </a:lnTo>
                <a:lnTo>
                  <a:pt x="123" y="238"/>
                </a:lnTo>
                <a:lnTo>
                  <a:pt x="123" y="239"/>
                </a:lnTo>
                <a:lnTo>
                  <a:pt x="122" y="241"/>
                </a:lnTo>
                <a:lnTo>
                  <a:pt x="122" y="243"/>
                </a:lnTo>
                <a:lnTo>
                  <a:pt x="121" y="243"/>
                </a:lnTo>
                <a:lnTo>
                  <a:pt x="120" y="244"/>
                </a:lnTo>
                <a:lnTo>
                  <a:pt x="117" y="243"/>
                </a:lnTo>
                <a:lnTo>
                  <a:pt x="117" y="244"/>
                </a:lnTo>
                <a:lnTo>
                  <a:pt x="116" y="245"/>
                </a:lnTo>
                <a:lnTo>
                  <a:pt x="116" y="246"/>
                </a:lnTo>
                <a:lnTo>
                  <a:pt x="111" y="245"/>
                </a:lnTo>
                <a:lnTo>
                  <a:pt x="111" y="244"/>
                </a:lnTo>
                <a:lnTo>
                  <a:pt x="110" y="244"/>
                </a:lnTo>
                <a:lnTo>
                  <a:pt x="110" y="246"/>
                </a:lnTo>
                <a:lnTo>
                  <a:pt x="109" y="248"/>
                </a:lnTo>
                <a:lnTo>
                  <a:pt x="108" y="248"/>
                </a:lnTo>
                <a:lnTo>
                  <a:pt x="109" y="249"/>
                </a:lnTo>
                <a:lnTo>
                  <a:pt x="109" y="250"/>
                </a:lnTo>
                <a:lnTo>
                  <a:pt x="108" y="250"/>
                </a:lnTo>
                <a:lnTo>
                  <a:pt x="106" y="251"/>
                </a:lnTo>
                <a:lnTo>
                  <a:pt x="104" y="252"/>
                </a:lnTo>
                <a:lnTo>
                  <a:pt x="103" y="252"/>
                </a:lnTo>
                <a:lnTo>
                  <a:pt x="104" y="254"/>
                </a:lnTo>
                <a:lnTo>
                  <a:pt x="101" y="255"/>
                </a:lnTo>
                <a:lnTo>
                  <a:pt x="99" y="256"/>
                </a:lnTo>
                <a:lnTo>
                  <a:pt x="95" y="256"/>
                </a:lnTo>
                <a:lnTo>
                  <a:pt x="93" y="255"/>
                </a:lnTo>
                <a:lnTo>
                  <a:pt x="95" y="255"/>
                </a:lnTo>
                <a:lnTo>
                  <a:pt x="95" y="254"/>
                </a:lnTo>
                <a:lnTo>
                  <a:pt x="96" y="254"/>
                </a:lnTo>
                <a:lnTo>
                  <a:pt x="96" y="252"/>
                </a:lnTo>
                <a:lnTo>
                  <a:pt x="97" y="252"/>
                </a:lnTo>
                <a:lnTo>
                  <a:pt x="97" y="251"/>
                </a:lnTo>
                <a:lnTo>
                  <a:pt x="96" y="251"/>
                </a:lnTo>
                <a:lnTo>
                  <a:pt x="96" y="250"/>
                </a:lnTo>
                <a:lnTo>
                  <a:pt x="97" y="250"/>
                </a:lnTo>
                <a:lnTo>
                  <a:pt x="97" y="249"/>
                </a:lnTo>
                <a:lnTo>
                  <a:pt x="96" y="249"/>
                </a:lnTo>
                <a:lnTo>
                  <a:pt x="96" y="250"/>
                </a:lnTo>
                <a:lnTo>
                  <a:pt x="95" y="250"/>
                </a:lnTo>
                <a:lnTo>
                  <a:pt x="95" y="249"/>
                </a:lnTo>
                <a:lnTo>
                  <a:pt x="92" y="250"/>
                </a:lnTo>
                <a:lnTo>
                  <a:pt x="92" y="249"/>
                </a:lnTo>
                <a:lnTo>
                  <a:pt x="91" y="249"/>
                </a:lnTo>
                <a:lnTo>
                  <a:pt x="90" y="250"/>
                </a:lnTo>
                <a:lnTo>
                  <a:pt x="89" y="249"/>
                </a:lnTo>
                <a:lnTo>
                  <a:pt x="87" y="250"/>
                </a:lnTo>
                <a:lnTo>
                  <a:pt x="90" y="251"/>
                </a:lnTo>
                <a:lnTo>
                  <a:pt x="91" y="251"/>
                </a:lnTo>
                <a:lnTo>
                  <a:pt x="90" y="254"/>
                </a:lnTo>
                <a:lnTo>
                  <a:pt x="91" y="254"/>
                </a:lnTo>
                <a:lnTo>
                  <a:pt x="91" y="256"/>
                </a:lnTo>
                <a:lnTo>
                  <a:pt x="92" y="256"/>
                </a:lnTo>
                <a:lnTo>
                  <a:pt x="92" y="258"/>
                </a:lnTo>
                <a:lnTo>
                  <a:pt x="90" y="260"/>
                </a:lnTo>
                <a:lnTo>
                  <a:pt x="90" y="261"/>
                </a:lnTo>
                <a:lnTo>
                  <a:pt x="89" y="262"/>
                </a:lnTo>
                <a:lnTo>
                  <a:pt x="85" y="262"/>
                </a:lnTo>
                <a:lnTo>
                  <a:pt x="85" y="263"/>
                </a:lnTo>
                <a:lnTo>
                  <a:pt x="84" y="264"/>
                </a:lnTo>
                <a:lnTo>
                  <a:pt x="84" y="263"/>
                </a:lnTo>
                <a:lnTo>
                  <a:pt x="83" y="263"/>
                </a:lnTo>
                <a:lnTo>
                  <a:pt x="83" y="262"/>
                </a:lnTo>
                <a:lnTo>
                  <a:pt x="81" y="262"/>
                </a:lnTo>
                <a:lnTo>
                  <a:pt x="81" y="263"/>
                </a:lnTo>
                <a:lnTo>
                  <a:pt x="83" y="263"/>
                </a:lnTo>
                <a:lnTo>
                  <a:pt x="83" y="264"/>
                </a:lnTo>
                <a:lnTo>
                  <a:pt x="81" y="266"/>
                </a:lnTo>
                <a:lnTo>
                  <a:pt x="81" y="268"/>
                </a:lnTo>
                <a:lnTo>
                  <a:pt x="80" y="267"/>
                </a:lnTo>
                <a:lnTo>
                  <a:pt x="75" y="267"/>
                </a:lnTo>
                <a:lnTo>
                  <a:pt x="75" y="268"/>
                </a:lnTo>
                <a:lnTo>
                  <a:pt x="74" y="268"/>
                </a:lnTo>
                <a:lnTo>
                  <a:pt x="75" y="269"/>
                </a:lnTo>
                <a:lnTo>
                  <a:pt x="74" y="269"/>
                </a:lnTo>
                <a:lnTo>
                  <a:pt x="74" y="270"/>
                </a:lnTo>
                <a:lnTo>
                  <a:pt x="75" y="272"/>
                </a:lnTo>
                <a:lnTo>
                  <a:pt x="73" y="270"/>
                </a:lnTo>
                <a:lnTo>
                  <a:pt x="71" y="270"/>
                </a:lnTo>
                <a:lnTo>
                  <a:pt x="70" y="269"/>
                </a:lnTo>
                <a:lnTo>
                  <a:pt x="70" y="270"/>
                </a:lnTo>
                <a:lnTo>
                  <a:pt x="68" y="269"/>
                </a:lnTo>
                <a:lnTo>
                  <a:pt x="68" y="270"/>
                </a:lnTo>
                <a:lnTo>
                  <a:pt x="67" y="272"/>
                </a:lnTo>
                <a:lnTo>
                  <a:pt x="67" y="273"/>
                </a:lnTo>
                <a:lnTo>
                  <a:pt x="64" y="273"/>
                </a:lnTo>
                <a:lnTo>
                  <a:pt x="64" y="272"/>
                </a:lnTo>
                <a:lnTo>
                  <a:pt x="62" y="272"/>
                </a:lnTo>
                <a:lnTo>
                  <a:pt x="61" y="273"/>
                </a:lnTo>
                <a:lnTo>
                  <a:pt x="59" y="273"/>
                </a:lnTo>
                <a:lnTo>
                  <a:pt x="58" y="272"/>
                </a:lnTo>
                <a:lnTo>
                  <a:pt x="58" y="274"/>
                </a:lnTo>
                <a:lnTo>
                  <a:pt x="56" y="274"/>
                </a:lnTo>
                <a:lnTo>
                  <a:pt x="55" y="275"/>
                </a:lnTo>
                <a:lnTo>
                  <a:pt x="54" y="274"/>
                </a:lnTo>
                <a:lnTo>
                  <a:pt x="54" y="275"/>
                </a:lnTo>
                <a:lnTo>
                  <a:pt x="53" y="276"/>
                </a:lnTo>
                <a:lnTo>
                  <a:pt x="53" y="278"/>
                </a:lnTo>
                <a:lnTo>
                  <a:pt x="52" y="276"/>
                </a:lnTo>
                <a:lnTo>
                  <a:pt x="50" y="278"/>
                </a:lnTo>
                <a:lnTo>
                  <a:pt x="50" y="275"/>
                </a:lnTo>
                <a:lnTo>
                  <a:pt x="49" y="276"/>
                </a:lnTo>
                <a:lnTo>
                  <a:pt x="49" y="278"/>
                </a:lnTo>
                <a:lnTo>
                  <a:pt x="47" y="278"/>
                </a:lnTo>
                <a:lnTo>
                  <a:pt x="47" y="275"/>
                </a:lnTo>
                <a:lnTo>
                  <a:pt x="48" y="274"/>
                </a:lnTo>
                <a:lnTo>
                  <a:pt x="47" y="274"/>
                </a:lnTo>
                <a:lnTo>
                  <a:pt x="47" y="275"/>
                </a:lnTo>
                <a:lnTo>
                  <a:pt x="46" y="275"/>
                </a:lnTo>
                <a:lnTo>
                  <a:pt x="46" y="276"/>
                </a:lnTo>
                <a:lnTo>
                  <a:pt x="44" y="275"/>
                </a:lnTo>
                <a:lnTo>
                  <a:pt x="44" y="274"/>
                </a:lnTo>
                <a:lnTo>
                  <a:pt x="46" y="273"/>
                </a:lnTo>
                <a:lnTo>
                  <a:pt x="44" y="273"/>
                </a:lnTo>
                <a:lnTo>
                  <a:pt x="43" y="272"/>
                </a:lnTo>
                <a:lnTo>
                  <a:pt x="43" y="273"/>
                </a:lnTo>
                <a:lnTo>
                  <a:pt x="42" y="274"/>
                </a:lnTo>
                <a:lnTo>
                  <a:pt x="39" y="274"/>
                </a:lnTo>
                <a:lnTo>
                  <a:pt x="39" y="275"/>
                </a:lnTo>
                <a:lnTo>
                  <a:pt x="37" y="275"/>
                </a:lnTo>
                <a:lnTo>
                  <a:pt x="37" y="276"/>
                </a:lnTo>
                <a:lnTo>
                  <a:pt x="36" y="276"/>
                </a:lnTo>
                <a:lnTo>
                  <a:pt x="35" y="275"/>
                </a:lnTo>
                <a:lnTo>
                  <a:pt x="34" y="275"/>
                </a:lnTo>
                <a:lnTo>
                  <a:pt x="31" y="278"/>
                </a:lnTo>
                <a:lnTo>
                  <a:pt x="33" y="278"/>
                </a:lnTo>
                <a:lnTo>
                  <a:pt x="30" y="280"/>
                </a:lnTo>
                <a:lnTo>
                  <a:pt x="30" y="279"/>
                </a:lnTo>
                <a:lnTo>
                  <a:pt x="29" y="279"/>
                </a:lnTo>
                <a:lnTo>
                  <a:pt x="28" y="280"/>
                </a:lnTo>
                <a:lnTo>
                  <a:pt x="28" y="278"/>
                </a:lnTo>
                <a:lnTo>
                  <a:pt x="27" y="278"/>
                </a:lnTo>
                <a:lnTo>
                  <a:pt x="28" y="276"/>
                </a:lnTo>
                <a:lnTo>
                  <a:pt x="29" y="276"/>
                </a:lnTo>
                <a:lnTo>
                  <a:pt x="31" y="274"/>
                </a:lnTo>
                <a:lnTo>
                  <a:pt x="33" y="274"/>
                </a:lnTo>
                <a:lnTo>
                  <a:pt x="36" y="270"/>
                </a:lnTo>
                <a:lnTo>
                  <a:pt x="37" y="270"/>
                </a:lnTo>
                <a:lnTo>
                  <a:pt x="39" y="269"/>
                </a:lnTo>
                <a:lnTo>
                  <a:pt x="40" y="269"/>
                </a:lnTo>
                <a:lnTo>
                  <a:pt x="37" y="268"/>
                </a:lnTo>
                <a:lnTo>
                  <a:pt x="29" y="273"/>
                </a:lnTo>
                <a:lnTo>
                  <a:pt x="27" y="273"/>
                </a:lnTo>
                <a:lnTo>
                  <a:pt x="28" y="272"/>
                </a:lnTo>
                <a:lnTo>
                  <a:pt x="29" y="272"/>
                </a:lnTo>
                <a:lnTo>
                  <a:pt x="29" y="270"/>
                </a:lnTo>
                <a:lnTo>
                  <a:pt x="30" y="270"/>
                </a:lnTo>
                <a:lnTo>
                  <a:pt x="31" y="269"/>
                </a:lnTo>
                <a:lnTo>
                  <a:pt x="36" y="267"/>
                </a:lnTo>
                <a:lnTo>
                  <a:pt x="37" y="266"/>
                </a:lnTo>
                <a:lnTo>
                  <a:pt x="39" y="266"/>
                </a:lnTo>
                <a:lnTo>
                  <a:pt x="40" y="264"/>
                </a:lnTo>
                <a:lnTo>
                  <a:pt x="42" y="264"/>
                </a:lnTo>
                <a:lnTo>
                  <a:pt x="43" y="263"/>
                </a:lnTo>
                <a:lnTo>
                  <a:pt x="43" y="261"/>
                </a:lnTo>
                <a:lnTo>
                  <a:pt x="42" y="261"/>
                </a:lnTo>
                <a:lnTo>
                  <a:pt x="42" y="262"/>
                </a:lnTo>
                <a:lnTo>
                  <a:pt x="41" y="261"/>
                </a:lnTo>
                <a:lnTo>
                  <a:pt x="40" y="261"/>
                </a:lnTo>
                <a:lnTo>
                  <a:pt x="40" y="258"/>
                </a:lnTo>
                <a:lnTo>
                  <a:pt x="39" y="258"/>
                </a:lnTo>
                <a:lnTo>
                  <a:pt x="39" y="261"/>
                </a:lnTo>
                <a:lnTo>
                  <a:pt x="40" y="261"/>
                </a:lnTo>
                <a:lnTo>
                  <a:pt x="39" y="262"/>
                </a:lnTo>
                <a:lnTo>
                  <a:pt x="37" y="262"/>
                </a:lnTo>
                <a:lnTo>
                  <a:pt x="35" y="264"/>
                </a:lnTo>
                <a:lnTo>
                  <a:pt x="30" y="264"/>
                </a:lnTo>
                <a:lnTo>
                  <a:pt x="25" y="266"/>
                </a:lnTo>
                <a:lnTo>
                  <a:pt x="23" y="267"/>
                </a:lnTo>
                <a:lnTo>
                  <a:pt x="23" y="268"/>
                </a:lnTo>
                <a:lnTo>
                  <a:pt x="19" y="269"/>
                </a:lnTo>
                <a:lnTo>
                  <a:pt x="15" y="269"/>
                </a:lnTo>
                <a:lnTo>
                  <a:pt x="15" y="270"/>
                </a:lnTo>
                <a:lnTo>
                  <a:pt x="14" y="270"/>
                </a:lnTo>
                <a:lnTo>
                  <a:pt x="14" y="268"/>
                </a:lnTo>
                <a:lnTo>
                  <a:pt x="17" y="268"/>
                </a:lnTo>
                <a:lnTo>
                  <a:pt x="17" y="266"/>
                </a:lnTo>
                <a:lnTo>
                  <a:pt x="16" y="266"/>
                </a:lnTo>
                <a:lnTo>
                  <a:pt x="16" y="264"/>
                </a:lnTo>
                <a:lnTo>
                  <a:pt x="19" y="264"/>
                </a:lnTo>
                <a:lnTo>
                  <a:pt x="22" y="262"/>
                </a:lnTo>
                <a:lnTo>
                  <a:pt x="21" y="262"/>
                </a:lnTo>
                <a:lnTo>
                  <a:pt x="21" y="261"/>
                </a:lnTo>
                <a:lnTo>
                  <a:pt x="23" y="258"/>
                </a:lnTo>
                <a:lnTo>
                  <a:pt x="24" y="258"/>
                </a:lnTo>
                <a:lnTo>
                  <a:pt x="24" y="260"/>
                </a:lnTo>
                <a:lnTo>
                  <a:pt x="25" y="260"/>
                </a:lnTo>
                <a:lnTo>
                  <a:pt x="27" y="258"/>
                </a:lnTo>
                <a:lnTo>
                  <a:pt x="29" y="258"/>
                </a:lnTo>
                <a:lnTo>
                  <a:pt x="29" y="257"/>
                </a:lnTo>
                <a:lnTo>
                  <a:pt x="28" y="257"/>
                </a:lnTo>
                <a:lnTo>
                  <a:pt x="28" y="256"/>
                </a:lnTo>
                <a:lnTo>
                  <a:pt x="29" y="256"/>
                </a:lnTo>
                <a:lnTo>
                  <a:pt x="29" y="255"/>
                </a:lnTo>
                <a:lnTo>
                  <a:pt x="30" y="255"/>
                </a:lnTo>
                <a:lnTo>
                  <a:pt x="31" y="254"/>
                </a:lnTo>
                <a:lnTo>
                  <a:pt x="33" y="254"/>
                </a:lnTo>
                <a:lnTo>
                  <a:pt x="34" y="252"/>
                </a:lnTo>
                <a:lnTo>
                  <a:pt x="36" y="251"/>
                </a:lnTo>
                <a:lnTo>
                  <a:pt x="37" y="251"/>
                </a:lnTo>
                <a:lnTo>
                  <a:pt x="37" y="250"/>
                </a:lnTo>
                <a:lnTo>
                  <a:pt x="35" y="251"/>
                </a:lnTo>
                <a:lnTo>
                  <a:pt x="30" y="252"/>
                </a:lnTo>
                <a:lnTo>
                  <a:pt x="29" y="254"/>
                </a:lnTo>
                <a:lnTo>
                  <a:pt x="27" y="254"/>
                </a:lnTo>
                <a:lnTo>
                  <a:pt x="27" y="255"/>
                </a:lnTo>
                <a:lnTo>
                  <a:pt x="25" y="256"/>
                </a:lnTo>
                <a:lnTo>
                  <a:pt x="25" y="254"/>
                </a:lnTo>
                <a:lnTo>
                  <a:pt x="24" y="255"/>
                </a:lnTo>
                <a:lnTo>
                  <a:pt x="23" y="255"/>
                </a:lnTo>
                <a:lnTo>
                  <a:pt x="21" y="257"/>
                </a:lnTo>
                <a:lnTo>
                  <a:pt x="18" y="257"/>
                </a:lnTo>
                <a:lnTo>
                  <a:pt x="17" y="258"/>
                </a:lnTo>
                <a:lnTo>
                  <a:pt x="16" y="258"/>
                </a:lnTo>
                <a:lnTo>
                  <a:pt x="16" y="260"/>
                </a:lnTo>
                <a:lnTo>
                  <a:pt x="15" y="260"/>
                </a:lnTo>
                <a:lnTo>
                  <a:pt x="15" y="258"/>
                </a:lnTo>
                <a:lnTo>
                  <a:pt x="11" y="257"/>
                </a:lnTo>
                <a:lnTo>
                  <a:pt x="12" y="256"/>
                </a:lnTo>
                <a:lnTo>
                  <a:pt x="12" y="254"/>
                </a:lnTo>
                <a:lnTo>
                  <a:pt x="10" y="252"/>
                </a:lnTo>
                <a:lnTo>
                  <a:pt x="9" y="255"/>
                </a:lnTo>
                <a:lnTo>
                  <a:pt x="8" y="255"/>
                </a:lnTo>
                <a:lnTo>
                  <a:pt x="6" y="256"/>
                </a:lnTo>
                <a:lnTo>
                  <a:pt x="5" y="256"/>
                </a:lnTo>
                <a:lnTo>
                  <a:pt x="6" y="254"/>
                </a:lnTo>
                <a:lnTo>
                  <a:pt x="5" y="252"/>
                </a:lnTo>
                <a:lnTo>
                  <a:pt x="4" y="252"/>
                </a:lnTo>
                <a:lnTo>
                  <a:pt x="4" y="250"/>
                </a:lnTo>
                <a:lnTo>
                  <a:pt x="2" y="250"/>
                </a:lnTo>
                <a:lnTo>
                  <a:pt x="3" y="249"/>
                </a:lnTo>
                <a:lnTo>
                  <a:pt x="5" y="248"/>
                </a:lnTo>
                <a:lnTo>
                  <a:pt x="5" y="246"/>
                </a:lnTo>
                <a:lnTo>
                  <a:pt x="6" y="246"/>
                </a:lnTo>
                <a:lnTo>
                  <a:pt x="6" y="248"/>
                </a:lnTo>
                <a:lnTo>
                  <a:pt x="8" y="248"/>
                </a:lnTo>
                <a:lnTo>
                  <a:pt x="5" y="250"/>
                </a:lnTo>
                <a:lnTo>
                  <a:pt x="9" y="249"/>
                </a:lnTo>
                <a:lnTo>
                  <a:pt x="10" y="248"/>
                </a:lnTo>
                <a:lnTo>
                  <a:pt x="9" y="248"/>
                </a:lnTo>
                <a:lnTo>
                  <a:pt x="9" y="246"/>
                </a:lnTo>
                <a:lnTo>
                  <a:pt x="8" y="245"/>
                </a:lnTo>
                <a:lnTo>
                  <a:pt x="8" y="244"/>
                </a:lnTo>
                <a:lnTo>
                  <a:pt x="9" y="244"/>
                </a:lnTo>
                <a:lnTo>
                  <a:pt x="9" y="243"/>
                </a:lnTo>
                <a:lnTo>
                  <a:pt x="10" y="243"/>
                </a:lnTo>
                <a:lnTo>
                  <a:pt x="11" y="242"/>
                </a:lnTo>
                <a:lnTo>
                  <a:pt x="12" y="242"/>
                </a:lnTo>
                <a:lnTo>
                  <a:pt x="15" y="241"/>
                </a:lnTo>
                <a:lnTo>
                  <a:pt x="18" y="239"/>
                </a:lnTo>
                <a:lnTo>
                  <a:pt x="21" y="238"/>
                </a:lnTo>
                <a:lnTo>
                  <a:pt x="21" y="236"/>
                </a:lnTo>
                <a:lnTo>
                  <a:pt x="22" y="236"/>
                </a:lnTo>
                <a:lnTo>
                  <a:pt x="22" y="238"/>
                </a:lnTo>
                <a:lnTo>
                  <a:pt x="23" y="238"/>
                </a:lnTo>
                <a:lnTo>
                  <a:pt x="23" y="237"/>
                </a:lnTo>
                <a:lnTo>
                  <a:pt x="24" y="233"/>
                </a:lnTo>
                <a:lnTo>
                  <a:pt x="25" y="233"/>
                </a:lnTo>
                <a:lnTo>
                  <a:pt x="27" y="235"/>
                </a:lnTo>
                <a:lnTo>
                  <a:pt x="30" y="233"/>
                </a:lnTo>
                <a:lnTo>
                  <a:pt x="29" y="233"/>
                </a:lnTo>
                <a:lnTo>
                  <a:pt x="29" y="232"/>
                </a:lnTo>
                <a:lnTo>
                  <a:pt x="22" y="232"/>
                </a:lnTo>
                <a:lnTo>
                  <a:pt x="22" y="233"/>
                </a:lnTo>
                <a:lnTo>
                  <a:pt x="21" y="233"/>
                </a:lnTo>
                <a:lnTo>
                  <a:pt x="21" y="232"/>
                </a:lnTo>
                <a:lnTo>
                  <a:pt x="18" y="232"/>
                </a:lnTo>
                <a:lnTo>
                  <a:pt x="14" y="235"/>
                </a:lnTo>
                <a:lnTo>
                  <a:pt x="11" y="235"/>
                </a:lnTo>
                <a:lnTo>
                  <a:pt x="11" y="233"/>
                </a:lnTo>
                <a:lnTo>
                  <a:pt x="8" y="233"/>
                </a:lnTo>
                <a:lnTo>
                  <a:pt x="9" y="235"/>
                </a:lnTo>
                <a:lnTo>
                  <a:pt x="8" y="235"/>
                </a:lnTo>
                <a:lnTo>
                  <a:pt x="5" y="233"/>
                </a:lnTo>
                <a:lnTo>
                  <a:pt x="4" y="233"/>
                </a:lnTo>
                <a:lnTo>
                  <a:pt x="4" y="235"/>
                </a:lnTo>
                <a:lnTo>
                  <a:pt x="3" y="236"/>
                </a:lnTo>
                <a:lnTo>
                  <a:pt x="2" y="236"/>
                </a:lnTo>
                <a:lnTo>
                  <a:pt x="0" y="235"/>
                </a:lnTo>
                <a:lnTo>
                  <a:pt x="0" y="231"/>
                </a:lnTo>
                <a:lnTo>
                  <a:pt x="2" y="231"/>
                </a:lnTo>
                <a:lnTo>
                  <a:pt x="2" y="230"/>
                </a:lnTo>
                <a:lnTo>
                  <a:pt x="0" y="230"/>
                </a:lnTo>
                <a:lnTo>
                  <a:pt x="2" y="229"/>
                </a:lnTo>
                <a:lnTo>
                  <a:pt x="3" y="229"/>
                </a:lnTo>
                <a:lnTo>
                  <a:pt x="3" y="230"/>
                </a:lnTo>
                <a:lnTo>
                  <a:pt x="4" y="230"/>
                </a:lnTo>
                <a:lnTo>
                  <a:pt x="4" y="229"/>
                </a:lnTo>
                <a:lnTo>
                  <a:pt x="5" y="227"/>
                </a:lnTo>
                <a:lnTo>
                  <a:pt x="4" y="227"/>
                </a:lnTo>
                <a:lnTo>
                  <a:pt x="4" y="226"/>
                </a:lnTo>
                <a:lnTo>
                  <a:pt x="6" y="226"/>
                </a:lnTo>
                <a:lnTo>
                  <a:pt x="8" y="225"/>
                </a:lnTo>
                <a:lnTo>
                  <a:pt x="8" y="224"/>
                </a:lnTo>
                <a:lnTo>
                  <a:pt x="9" y="224"/>
                </a:lnTo>
                <a:lnTo>
                  <a:pt x="12" y="223"/>
                </a:lnTo>
                <a:lnTo>
                  <a:pt x="14" y="223"/>
                </a:lnTo>
                <a:lnTo>
                  <a:pt x="14" y="226"/>
                </a:lnTo>
                <a:lnTo>
                  <a:pt x="16" y="225"/>
                </a:lnTo>
                <a:lnTo>
                  <a:pt x="17" y="225"/>
                </a:lnTo>
                <a:lnTo>
                  <a:pt x="18" y="224"/>
                </a:lnTo>
                <a:lnTo>
                  <a:pt x="18" y="223"/>
                </a:lnTo>
                <a:lnTo>
                  <a:pt x="17" y="221"/>
                </a:lnTo>
                <a:lnTo>
                  <a:pt x="19" y="220"/>
                </a:lnTo>
                <a:lnTo>
                  <a:pt x="19" y="225"/>
                </a:lnTo>
                <a:lnTo>
                  <a:pt x="21" y="225"/>
                </a:lnTo>
                <a:lnTo>
                  <a:pt x="22" y="226"/>
                </a:lnTo>
                <a:lnTo>
                  <a:pt x="25" y="226"/>
                </a:lnTo>
                <a:lnTo>
                  <a:pt x="28" y="224"/>
                </a:lnTo>
                <a:lnTo>
                  <a:pt x="28" y="225"/>
                </a:lnTo>
                <a:lnTo>
                  <a:pt x="31" y="225"/>
                </a:lnTo>
                <a:lnTo>
                  <a:pt x="30" y="224"/>
                </a:lnTo>
                <a:lnTo>
                  <a:pt x="25" y="224"/>
                </a:lnTo>
                <a:lnTo>
                  <a:pt x="25" y="223"/>
                </a:lnTo>
                <a:lnTo>
                  <a:pt x="27" y="223"/>
                </a:lnTo>
                <a:lnTo>
                  <a:pt x="27" y="221"/>
                </a:lnTo>
                <a:lnTo>
                  <a:pt x="28" y="221"/>
                </a:lnTo>
                <a:lnTo>
                  <a:pt x="27" y="220"/>
                </a:lnTo>
                <a:lnTo>
                  <a:pt x="27" y="215"/>
                </a:lnTo>
                <a:lnTo>
                  <a:pt x="24" y="215"/>
                </a:lnTo>
                <a:lnTo>
                  <a:pt x="23" y="214"/>
                </a:lnTo>
                <a:lnTo>
                  <a:pt x="22" y="214"/>
                </a:lnTo>
                <a:lnTo>
                  <a:pt x="23" y="213"/>
                </a:lnTo>
                <a:lnTo>
                  <a:pt x="27" y="213"/>
                </a:lnTo>
                <a:lnTo>
                  <a:pt x="30" y="211"/>
                </a:lnTo>
                <a:lnTo>
                  <a:pt x="31" y="211"/>
                </a:lnTo>
                <a:lnTo>
                  <a:pt x="31" y="209"/>
                </a:lnTo>
                <a:lnTo>
                  <a:pt x="33" y="208"/>
                </a:lnTo>
                <a:lnTo>
                  <a:pt x="34" y="208"/>
                </a:lnTo>
                <a:lnTo>
                  <a:pt x="35" y="209"/>
                </a:lnTo>
                <a:lnTo>
                  <a:pt x="35" y="208"/>
                </a:lnTo>
                <a:lnTo>
                  <a:pt x="34" y="208"/>
                </a:lnTo>
                <a:lnTo>
                  <a:pt x="34" y="203"/>
                </a:lnTo>
                <a:lnTo>
                  <a:pt x="35" y="202"/>
                </a:lnTo>
                <a:lnTo>
                  <a:pt x="41" y="202"/>
                </a:lnTo>
                <a:lnTo>
                  <a:pt x="42" y="203"/>
                </a:lnTo>
                <a:lnTo>
                  <a:pt x="43" y="203"/>
                </a:lnTo>
                <a:lnTo>
                  <a:pt x="43" y="202"/>
                </a:lnTo>
                <a:lnTo>
                  <a:pt x="53" y="202"/>
                </a:lnTo>
                <a:lnTo>
                  <a:pt x="54" y="201"/>
                </a:lnTo>
                <a:lnTo>
                  <a:pt x="59" y="199"/>
                </a:lnTo>
                <a:lnTo>
                  <a:pt x="60" y="199"/>
                </a:lnTo>
                <a:lnTo>
                  <a:pt x="61" y="200"/>
                </a:lnTo>
                <a:lnTo>
                  <a:pt x="64" y="198"/>
                </a:lnTo>
                <a:lnTo>
                  <a:pt x="71" y="196"/>
                </a:lnTo>
                <a:lnTo>
                  <a:pt x="73" y="195"/>
                </a:lnTo>
                <a:lnTo>
                  <a:pt x="70" y="195"/>
                </a:lnTo>
                <a:lnTo>
                  <a:pt x="68" y="194"/>
                </a:lnTo>
                <a:lnTo>
                  <a:pt x="65" y="195"/>
                </a:lnTo>
                <a:lnTo>
                  <a:pt x="64" y="194"/>
                </a:lnTo>
                <a:lnTo>
                  <a:pt x="65" y="193"/>
                </a:lnTo>
                <a:lnTo>
                  <a:pt x="65" y="192"/>
                </a:lnTo>
                <a:lnTo>
                  <a:pt x="64" y="190"/>
                </a:lnTo>
                <a:lnTo>
                  <a:pt x="65" y="189"/>
                </a:lnTo>
                <a:lnTo>
                  <a:pt x="65" y="188"/>
                </a:lnTo>
                <a:lnTo>
                  <a:pt x="64" y="189"/>
                </a:lnTo>
                <a:lnTo>
                  <a:pt x="62" y="189"/>
                </a:lnTo>
                <a:lnTo>
                  <a:pt x="61" y="190"/>
                </a:lnTo>
                <a:lnTo>
                  <a:pt x="61" y="192"/>
                </a:lnTo>
                <a:lnTo>
                  <a:pt x="60" y="194"/>
                </a:lnTo>
                <a:lnTo>
                  <a:pt x="56" y="199"/>
                </a:lnTo>
                <a:lnTo>
                  <a:pt x="55" y="200"/>
                </a:lnTo>
                <a:lnTo>
                  <a:pt x="52" y="200"/>
                </a:lnTo>
                <a:lnTo>
                  <a:pt x="50" y="201"/>
                </a:lnTo>
                <a:lnTo>
                  <a:pt x="48" y="201"/>
                </a:lnTo>
                <a:lnTo>
                  <a:pt x="50" y="199"/>
                </a:lnTo>
                <a:lnTo>
                  <a:pt x="50" y="198"/>
                </a:lnTo>
                <a:lnTo>
                  <a:pt x="49" y="199"/>
                </a:lnTo>
                <a:lnTo>
                  <a:pt x="46" y="200"/>
                </a:lnTo>
                <a:lnTo>
                  <a:pt x="42" y="200"/>
                </a:lnTo>
                <a:lnTo>
                  <a:pt x="42" y="199"/>
                </a:lnTo>
                <a:lnTo>
                  <a:pt x="40" y="199"/>
                </a:lnTo>
                <a:lnTo>
                  <a:pt x="40" y="196"/>
                </a:lnTo>
                <a:lnTo>
                  <a:pt x="39" y="196"/>
                </a:lnTo>
                <a:lnTo>
                  <a:pt x="39" y="198"/>
                </a:lnTo>
                <a:lnTo>
                  <a:pt x="36" y="200"/>
                </a:lnTo>
                <a:lnTo>
                  <a:pt x="33" y="200"/>
                </a:lnTo>
                <a:lnTo>
                  <a:pt x="33" y="202"/>
                </a:lnTo>
                <a:lnTo>
                  <a:pt x="30" y="202"/>
                </a:lnTo>
                <a:lnTo>
                  <a:pt x="23" y="203"/>
                </a:lnTo>
                <a:lnTo>
                  <a:pt x="25" y="201"/>
                </a:lnTo>
                <a:lnTo>
                  <a:pt x="28" y="201"/>
                </a:lnTo>
                <a:lnTo>
                  <a:pt x="36" y="193"/>
                </a:lnTo>
                <a:lnTo>
                  <a:pt x="36" y="192"/>
                </a:lnTo>
                <a:lnTo>
                  <a:pt x="37" y="192"/>
                </a:lnTo>
                <a:lnTo>
                  <a:pt x="37" y="190"/>
                </a:lnTo>
                <a:lnTo>
                  <a:pt x="41" y="190"/>
                </a:lnTo>
                <a:lnTo>
                  <a:pt x="41" y="189"/>
                </a:lnTo>
                <a:lnTo>
                  <a:pt x="42" y="188"/>
                </a:lnTo>
                <a:lnTo>
                  <a:pt x="42" y="186"/>
                </a:lnTo>
                <a:lnTo>
                  <a:pt x="43" y="186"/>
                </a:lnTo>
                <a:lnTo>
                  <a:pt x="43" y="183"/>
                </a:lnTo>
                <a:lnTo>
                  <a:pt x="44" y="183"/>
                </a:lnTo>
                <a:lnTo>
                  <a:pt x="44" y="181"/>
                </a:lnTo>
                <a:lnTo>
                  <a:pt x="47" y="178"/>
                </a:lnTo>
                <a:lnTo>
                  <a:pt x="47" y="177"/>
                </a:lnTo>
                <a:lnTo>
                  <a:pt x="42" y="177"/>
                </a:lnTo>
                <a:lnTo>
                  <a:pt x="43" y="176"/>
                </a:lnTo>
                <a:lnTo>
                  <a:pt x="43" y="175"/>
                </a:lnTo>
                <a:lnTo>
                  <a:pt x="46" y="172"/>
                </a:lnTo>
                <a:lnTo>
                  <a:pt x="46" y="171"/>
                </a:lnTo>
                <a:lnTo>
                  <a:pt x="48" y="168"/>
                </a:lnTo>
                <a:lnTo>
                  <a:pt x="49" y="166"/>
                </a:lnTo>
                <a:lnTo>
                  <a:pt x="49" y="165"/>
                </a:lnTo>
                <a:lnTo>
                  <a:pt x="50" y="164"/>
                </a:lnTo>
                <a:lnTo>
                  <a:pt x="50" y="163"/>
                </a:lnTo>
                <a:lnTo>
                  <a:pt x="52" y="162"/>
                </a:lnTo>
                <a:lnTo>
                  <a:pt x="55" y="165"/>
                </a:lnTo>
                <a:lnTo>
                  <a:pt x="56" y="165"/>
                </a:lnTo>
                <a:lnTo>
                  <a:pt x="58" y="164"/>
                </a:lnTo>
                <a:lnTo>
                  <a:pt x="59" y="164"/>
                </a:lnTo>
                <a:lnTo>
                  <a:pt x="59" y="163"/>
                </a:lnTo>
                <a:lnTo>
                  <a:pt x="56" y="162"/>
                </a:lnTo>
                <a:lnTo>
                  <a:pt x="60" y="162"/>
                </a:lnTo>
                <a:lnTo>
                  <a:pt x="61" y="163"/>
                </a:lnTo>
                <a:lnTo>
                  <a:pt x="62" y="163"/>
                </a:lnTo>
                <a:lnTo>
                  <a:pt x="62" y="162"/>
                </a:lnTo>
                <a:lnTo>
                  <a:pt x="64" y="162"/>
                </a:lnTo>
                <a:lnTo>
                  <a:pt x="65" y="163"/>
                </a:lnTo>
                <a:lnTo>
                  <a:pt x="65" y="160"/>
                </a:lnTo>
                <a:lnTo>
                  <a:pt x="64" y="160"/>
                </a:lnTo>
                <a:lnTo>
                  <a:pt x="65" y="159"/>
                </a:lnTo>
                <a:lnTo>
                  <a:pt x="65" y="158"/>
                </a:lnTo>
                <a:lnTo>
                  <a:pt x="66" y="158"/>
                </a:lnTo>
                <a:lnTo>
                  <a:pt x="67" y="157"/>
                </a:lnTo>
                <a:lnTo>
                  <a:pt x="66" y="157"/>
                </a:lnTo>
                <a:lnTo>
                  <a:pt x="66" y="158"/>
                </a:lnTo>
                <a:lnTo>
                  <a:pt x="61" y="158"/>
                </a:lnTo>
                <a:lnTo>
                  <a:pt x="60" y="157"/>
                </a:lnTo>
                <a:lnTo>
                  <a:pt x="62" y="157"/>
                </a:lnTo>
                <a:lnTo>
                  <a:pt x="64" y="156"/>
                </a:lnTo>
                <a:lnTo>
                  <a:pt x="62" y="156"/>
                </a:lnTo>
                <a:lnTo>
                  <a:pt x="64" y="155"/>
                </a:lnTo>
                <a:lnTo>
                  <a:pt x="65" y="155"/>
                </a:lnTo>
                <a:lnTo>
                  <a:pt x="61" y="153"/>
                </a:lnTo>
                <a:lnTo>
                  <a:pt x="60" y="153"/>
                </a:lnTo>
                <a:lnTo>
                  <a:pt x="59" y="155"/>
                </a:lnTo>
                <a:lnTo>
                  <a:pt x="46" y="156"/>
                </a:lnTo>
                <a:lnTo>
                  <a:pt x="44" y="156"/>
                </a:lnTo>
                <a:lnTo>
                  <a:pt x="43" y="157"/>
                </a:lnTo>
                <a:lnTo>
                  <a:pt x="40" y="157"/>
                </a:lnTo>
                <a:lnTo>
                  <a:pt x="40" y="156"/>
                </a:lnTo>
                <a:lnTo>
                  <a:pt x="39" y="155"/>
                </a:lnTo>
                <a:lnTo>
                  <a:pt x="39" y="152"/>
                </a:lnTo>
                <a:lnTo>
                  <a:pt x="37" y="153"/>
                </a:lnTo>
                <a:lnTo>
                  <a:pt x="37" y="156"/>
                </a:lnTo>
                <a:lnTo>
                  <a:pt x="36" y="156"/>
                </a:lnTo>
                <a:lnTo>
                  <a:pt x="36" y="150"/>
                </a:lnTo>
                <a:lnTo>
                  <a:pt x="39" y="150"/>
                </a:lnTo>
                <a:lnTo>
                  <a:pt x="39" y="149"/>
                </a:lnTo>
                <a:lnTo>
                  <a:pt x="37" y="147"/>
                </a:lnTo>
                <a:lnTo>
                  <a:pt x="37" y="146"/>
                </a:lnTo>
                <a:lnTo>
                  <a:pt x="36" y="146"/>
                </a:lnTo>
                <a:lnTo>
                  <a:pt x="36" y="150"/>
                </a:lnTo>
                <a:lnTo>
                  <a:pt x="35" y="150"/>
                </a:lnTo>
                <a:lnTo>
                  <a:pt x="35" y="145"/>
                </a:lnTo>
                <a:lnTo>
                  <a:pt x="33" y="147"/>
                </a:lnTo>
                <a:lnTo>
                  <a:pt x="33" y="149"/>
                </a:lnTo>
                <a:lnTo>
                  <a:pt x="31" y="150"/>
                </a:lnTo>
                <a:lnTo>
                  <a:pt x="31" y="151"/>
                </a:lnTo>
                <a:lnTo>
                  <a:pt x="29" y="152"/>
                </a:lnTo>
                <a:lnTo>
                  <a:pt x="28" y="152"/>
                </a:lnTo>
                <a:lnTo>
                  <a:pt x="28" y="151"/>
                </a:lnTo>
                <a:lnTo>
                  <a:pt x="27" y="150"/>
                </a:lnTo>
                <a:lnTo>
                  <a:pt x="24" y="151"/>
                </a:lnTo>
                <a:lnTo>
                  <a:pt x="24" y="147"/>
                </a:lnTo>
                <a:lnTo>
                  <a:pt x="27" y="147"/>
                </a:lnTo>
                <a:lnTo>
                  <a:pt x="29" y="146"/>
                </a:lnTo>
                <a:lnTo>
                  <a:pt x="29" y="145"/>
                </a:lnTo>
                <a:lnTo>
                  <a:pt x="28" y="145"/>
                </a:lnTo>
                <a:lnTo>
                  <a:pt x="28" y="144"/>
                </a:lnTo>
                <a:lnTo>
                  <a:pt x="27" y="144"/>
                </a:lnTo>
                <a:lnTo>
                  <a:pt x="27" y="145"/>
                </a:lnTo>
                <a:lnTo>
                  <a:pt x="25" y="145"/>
                </a:lnTo>
                <a:lnTo>
                  <a:pt x="25" y="144"/>
                </a:lnTo>
                <a:lnTo>
                  <a:pt x="27" y="143"/>
                </a:lnTo>
                <a:lnTo>
                  <a:pt x="25" y="143"/>
                </a:lnTo>
                <a:lnTo>
                  <a:pt x="25" y="144"/>
                </a:lnTo>
                <a:lnTo>
                  <a:pt x="24" y="143"/>
                </a:lnTo>
                <a:lnTo>
                  <a:pt x="23" y="144"/>
                </a:lnTo>
                <a:lnTo>
                  <a:pt x="23" y="146"/>
                </a:lnTo>
                <a:lnTo>
                  <a:pt x="19" y="146"/>
                </a:lnTo>
                <a:lnTo>
                  <a:pt x="18" y="145"/>
                </a:lnTo>
                <a:lnTo>
                  <a:pt x="18" y="144"/>
                </a:lnTo>
                <a:lnTo>
                  <a:pt x="12" y="144"/>
                </a:lnTo>
                <a:lnTo>
                  <a:pt x="14" y="143"/>
                </a:lnTo>
                <a:lnTo>
                  <a:pt x="14" y="141"/>
                </a:lnTo>
                <a:lnTo>
                  <a:pt x="18" y="141"/>
                </a:lnTo>
                <a:lnTo>
                  <a:pt x="18" y="140"/>
                </a:lnTo>
                <a:lnTo>
                  <a:pt x="17" y="140"/>
                </a:lnTo>
                <a:lnTo>
                  <a:pt x="17" y="139"/>
                </a:lnTo>
                <a:lnTo>
                  <a:pt x="15" y="137"/>
                </a:lnTo>
                <a:lnTo>
                  <a:pt x="15" y="135"/>
                </a:lnTo>
                <a:lnTo>
                  <a:pt x="14" y="135"/>
                </a:lnTo>
                <a:lnTo>
                  <a:pt x="14" y="134"/>
                </a:lnTo>
                <a:lnTo>
                  <a:pt x="16" y="134"/>
                </a:lnTo>
                <a:lnTo>
                  <a:pt x="15" y="133"/>
                </a:lnTo>
                <a:lnTo>
                  <a:pt x="19" y="133"/>
                </a:lnTo>
                <a:lnTo>
                  <a:pt x="19" y="134"/>
                </a:lnTo>
                <a:lnTo>
                  <a:pt x="21" y="134"/>
                </a:lnTo>
                <a:lnTo>
                  <a:pt x="21" y="133"/>
                </a:lnTo>
                <a:lnTo>
                  <a:pt x="18" y="132"/>
                </a:lnTo>
                <a:lnTo>
                  <a:pt x="18" y="131"/>
                </a:lnTo>
                <a:lnTo>
                  <a:pt x="24" y="131"/>
                </a:lnTo>
                <a:lnTo>
                  <a:pt x="25" y="129"/>
                </a:lnTo>
                <a:lnTo>
                  <a:pt x="28" y="129"/>
                </a:lnTo>
                <a:lnTo>
                  <a:pt x="29" y="131"/>
                </a:lnTo>
                <a:lnTo>
                  <a:pt x="33" y="131"/>
                </a:lnTo>
                <a:lnTo>
                  <a:pt x="33" y="129"/>
                </a:lnTo>
                <a:lnTo>
                  <a:pt x="28" y="129"/>
                </a:lnTo>
                <a:lnTo>
                  <a:pt x="24" y="127"/>
                </a:lnTo>
                <a:lnTo>
                  <a:pt x="23" y="123"/>
                </a:lnTo>
                <a:lnTo>
                  <a:pt x="23" y="122"/>
                </a:lnTo>
                <a:lnTo>
                  <a:pt x="24" y="121"/>
                </a:lnTo>
                <a:lnTo>
                  <a:pt x="24" y="119"/>
                </a:lnTo>
                <a:lnTo>
                  <a:pt x="25" y="119"/>
                </a:lnTo>
                <a:lnTo>
                  <a:pt x="27" y="117"/>
                </a:lnTo>
                <a:lnTo>
                  <a:pt x="30" y="117"/>
                </a:lnTo>
                <a:lnTo>
                  <a:pt x="39" y="116"/>
                </a:lnTo>
                <a:lnTo>
                  <a:pt x="37" y="116"/>
                </a:lnTo>
                <a:lnTo>
                  <a:pt x="36" y="115"/>
                </a:lnTo>
                <a:lnTo>
                  <a:pt x="37" y="114"/>
                </a:lnTo>
                <a:lnTo>
                  <a:pt x="36" y="114"/>
                </a:lnTo>
                <a:lnTo>
                  <a:pt x="39" y="112"/>
                </a:lnTo>
                <a:lnTo>
                  <a:pt x="37" y="112"/>
                </a:lnTo>
                <a:lnTo>
                  <a:pt x="37" y="110"/>
                </a:lnTo>
                <a:lnTo>
                  <a:pt x="39" y="110"/>
                </a:lnTo>
                <a:lnTo>
                  <a:pt x="39" y="109"/>
                </a:lnTo>
                <a:lnTo>
                  <a:pt x="30" y="109"/>
                </a:lnTo>
                <a:lnTo>
                  <a:pt x="27" y="112"/>
                </a:lnTo>
                <a:lnTo>
                  <a:pt x="24" y="112"/>
                </a:lnTo>
                <a:lnTo>
                  <a:pt x="22" y="110"/>
                </a:lnTo>
                <a:lnTo>
                  <a:pt x="23" y="110"/>
                </a:lnTo>
                <a:lnTo>
                  <a:pt x="23" y="109"/>
                </a:lnTo>
                <a:lnTo>
                  <a:pt x="22" y="110"/>
                </a:lnTo>
                <a:lnTo>
                  <a:pt x="21" y="110"/>
                </a:lnTo>
                <a:lnTo>
                  <a:pt x="21" y="109"/>
                </a:lnTo>
                <a:lnTo>
                  <a:pt x="19" y="108"/>
                </a:lnTo>
                <a:lnTo>
                  <a:pt x="17" y="108"/>
                </a:lnTo>
                <a:lnTo>
                  <a:pt x="17" y="107"/>
                </a:lnTo>
                <a:lnTo>
                  <a:pt x="18" y="106"/>
                </a:lnTo>
                <a:lnTo>
                  <a:pt x="17" y="104"/>
                </a:lnTo>
                <a:lnTo>
                  <a:pt x="12" y="104"/>
                </a:lnTo>
                <a:lnTo>
                  <a:pt x="10" y="103"/>
                </a:lnTo>
                <a:lnTo>
                  <a:pt x="11" y="103"/>
                </a:lnTo>
                <a:lnTo>
                  <a:pt x="11" y="102"/>
                </a:lnTo>
                <a:lnTo>
                  <a:pt x="12" y="101"/>
                </a:lnTo>
                <a:lnTo>
                  <a:pt x="14" y="101"/>
                </a:lnTo>
                <a:lnTo>
                  <a:pt x="15" y="102"/>
                </a:lnTo>
                <a:lnTo>
                  <a:pt x="16" y="102"/>
                </a:lnTo>
                <a:lnTo>
                  <a:pt x="17" y="101"/>
                </a:lnTo>
                <a:lnTo>
                  <a:pt x="22" y="101"/>
                </a:lnTo>
                <a:lnTo>
                  <a:pt x="23" y="103"/>
                </a:lnTo>
                <a:lnTo>
                  <a:pt x="22" y="103"/>
                </a:lnTo>
                <a:lnTo>
                  <a:pt x="22" y="104"/>
                </a:lnTo>
                <a:lnTo>
                  <a:pt x="23" y="104"/>
                </a:lnTo>
                <a:lnTo>
                  <a:pt x="23" y="108"/>
                </a:lnTo>
                <a:lnTo>
                  <a:pt x="24" y="108"/>
                </a:lnTo>
                <a:lnTo>
                  <a:pt x="24" y="106"/>
                </a:lnTo>
                <a:lnTo>
                  <a:pt x="23" y="106"/>
                </a:lnTo>
                <a:lnTo>
                  <a:pt x="25" y="104"/>
                </a:lnTo>
                <a:lnTo>
                  <a:pt x="27" y="106"/>
                </a:lnTo>
                <a:lnTo>
                  <a:pt x="27" y="102"/>
                </a:lnTo>
                <a:lnTo>
                  <a:pt x="25" y="102"/>
                </a:lnTo>
                <a:lnTo>
                  <a:pt x="25" y="101"/>
                </a:lnTo>
                <a:lnTo>
                  <a:pt x="24" y="101"/>
                </a:lnTo>
                <a:lnTo>
                  <a:pt x="24" y="97"/>
                </a:lnTo>
                <a:lnTo>
                  <a:pt x="25" y="97"/>
                </a:lnTo>
                <a:lnTo>
                  <a:pt x="25" y="96"/>
                </a:lnTo>
                <a:lnTo>
                  <a:pt x="27" y="95"/>
                </a:lnTo>
                <a:lnTo>
                  <a:pt x="25" y="95"/>
                </a:lnTo>
                <a:lnTo>
                  <a:pt x="27" y="94"/>
                </a:lnTo>
                <a:lnTo>
                  <a:pt x="25" y="94"/>
                </a:lnTo>
                <a:lnTo>
                  <a:pt x="25" y="95"/>
                </a:lnTo>
                <a:lnTo>
                  <a:pt x="24" y="95"/>
                </a:lnTo>
                <a:lnTo>
                  <a:pt x="23" y="97"/>
                </a:lnTo>
                <a:lnTo>
                  <a:pt x="22" y="97"/>
                </a:lnTo>
                <a:lnTo>
                  <a:pt x="22" y="96"/>
                </a:lnTo>
                <a:lnTo>
                  <a:pt x="21" y="95"/>
                </a:lnTo>
                <a:lnTo>
                  <a:pt x="23" y="94"/>
                </a:lnTo>
                <a:lnTo>
                  <a:pt x="24" y="94"/>
                </a:lnTo>
                <a:lnTo>
                  <a:pt x="22" y="91"/>
                </a:lnTo>
                <a:lnTo>
                  <a:pt x="23" y="91"/>
                </a:lnTo>
                <a:lnTo>
                  <a:pt x="21" y="89"/>
                </a:lnTo>
                <a:lnTo>
                  <a:pt x="23" y="89"/>
                </a:lnTo>
                <a:lnTo>
                  <a:pt x="21" y="86"/>
                </a:lnTo>
                <a:lnTo>
                  <a:pt x="23" y="86"/>
                </a:lnTo>
                <a:lnTo>
                  <a:pt x="24" y="88"/>
                </a:lnTo>
                <a:lnTo>
                  <a:pt x="24" y="86"/>
                </a:lnTo>
                <a:lnTo>
                  <a:pt x="25" y="86"/>
                </a:lnTo>
                <a:lnTo>
                  <a:pt x="25" y="83"/>
                </a:lnTo>
                <a:lnTo>
                  <a:pt x="27" y="82"/>
                </a:lnTo>
                <a:lnTo>
                  <a:pt x="28" y="83"/>
                </a:lnTo>
                <a:lnTo>
                  <a:pt x="29" y="83"/>
                </a:lnTo>
                <a:lnTo>
                  <a:pt x="30" y="84"/>
                </a:lnTo>
                <a:lnTo>
                  <a:pt x="30" y="83"/>
                </a:lnTo>
                <a:lnTo>
                  <a:pt x="29" y="83"/>
                </a:lnTo>
                <a:lnTo>
                  <a:pt x="29" y="82"/>
                </a:lnTo>
                <a:lnTo>
                  <a:pt x="30" y="82"/>
                </a:lnTo>
                <a:lnTo>
                  <a:pt x="29" y="80"/>
                </a:lnTo>
                <a:lnTo>
                  <a:pt x="28" y="80"/>
                </a:lnTo>
                <a:lnTo>
                  <a:pt x="27" y="79"/>
                </a:lnTo>
                <a:lnTo>
                  <a:pt x="27" y="78"/>
                </a:lnTo>
                <a:lnTo>
                  <a:pt x="30" y="78"/>
                </a:lnTo>
                <a:lnTo>
                  <a:pt x="31" y="79"/>
                </a:lnTo>
                <a:lnTo>
                  <a:pt x="42" y="79"/>
                </a:lnTo>
                <a:lnTo>
                  <a:pt x="42" y="80"/>
                </a:lnTo>
                <a:lnTo>
                  <a:pt x="47" y="80"/>
                </a:lnTo>
                <a:lnTo>
                  <a:pt x="47" y="79"/>
                </a:lnTo>
                <a:lnTo>
                  <a:pt x="48" y="79"/>
                </a:lnTo>
                <a:lnTo>
                  <a:pt x="50" y="80"/>
                </a:lnTo>
                <a:lnTo>
                  <a:pt x="52" y="80"/>
                </a:lnTo>
                <a:lnTo>
                  <a:pt x="52" y="82"/>
                </a:lnTo>
                <a:lnTo>
                  <a:pt x="53" y="82"/>
                </a:lnTo>
                <a:lnTo>
                  <a:pt x="53" y="84"/>
                </a:lnTo>
                <a:lnTo>
                  <a:pt x="54" y="84"/>
                </a:lnTo>
                <a:lnTo>
                  <a:pt x="54" y="85"/>
                </a:lnTo>
                <a:lnTo>
                  <a:pt x="53" y="85"/>
                </a:lnTo>
                <a:lnTo>
                  <a:pt x="53" y="86"/>
                </a:lnTo>
                <a:lnTo>
                  <a:pt x="55" y="88"/>
                </a:lnTo>
                <a:lnTo>
                  <a:pt x="56" y="89"/>
                </a:lnTo>
                <a:lnTo>
                  <a:pt x="56" y="86"/>
                </a:lnTo>
                <a:lnTo>
                  <a:pt x="58" y="86"/>
                </a:lnTo>
                <a:lnTo>
                  <a:pt x="59" y="85"/>
                </a:lnTo>
                <a:lnTo>
                  <a:pt x="59" y="84"/>
                </a:lnTo>
                <a:lnTo>
                  <a:pt x="60" y="83"/>
                </a:lnTo>
                <a:lnTo>
                  <a:pt x="60" y="82"/>
                </a:lnTo>
                <a:lnTo>
                  <a:pt x="61" y="80"/>
                </a:lnTo>
                <a:lnTo>
                  <a:pt x="64" y="82"/>
                </a:lnTo>
                <a:lnTo>
                  <a:pt x="67" y="82"/>
                </a:lnTo>
                <a:lnTo>
                  <a:pt x="67" y="83"/>
                </a:lnTo>
                <a:lnTo>
                  <a:pt x="71" y="83"/>
                </a:lnTo>
                <a:lnTo>
                  <a:pt x="72" y="82"/>
                </a:lnTo>
                <a:lnTo>
                  <a:pt x="73" y="83"/>
                </a:lnTo>
                <a:lnTo>
                  <a:pt x="77" y="83"/>
                </a:lnTo>
                <a:lnTo>
                  <a:pt x="78" y="84"/>
                </a:lnTo>
                <a:lnTo>
                  <a:pt x="78" y="85"/>
                </a:lnTo>
                <a:lnTo>
                  <a:pt x="79" y="85"/>
                </a:lnTo>
                <a:lnTo>
                  <a:pt x="79" y="86"/>
                </a:lnTo>
                <a:lnTo>
                  <a:pt x="80" y="88"/>
                </a:lnTo>
                <a:lnTo>
                  <a:pt x="81" y="86"/>
                </a:lnTo>
                <a:lnTo>
                  <a:pt x="80" y="85"/>
                </a:lnTo>
                <a:lnTo>
                  <a:pt x="80" y="84"/>
                </a:lnTo>
                <a:lnTo>
                  <a:pt x="78" y="84"/>
                </a:lnTo>
                <a:lnTo>
                  <a:pt x="78" y="83"/>
                </a:lnTo>
                <a:lnTo>
                  <a:pt x="79" y="83"/>
                </a:lnTo>
                <a:lnTo>
                  <a:pt x="79" y="82"/>
                </a:lnTo>
                <a:lnTo>
                  <a:pt x="84" y="82"/>
                </a:lnTo>
                <a:lnTo>
                  <a:pt x="83" y="80"/>
                </a:lnTo>
                <a:lnTo>
                  <a:pt x="80" y="80"/>
                </a:lnTo>
                <a:lnTo>
                  <a:pt x="80" y="78"/>
                </a:lnTo>
                <a:lnTo>
                  <a:pt x="81" y="79"/>
                </a:lnTo>
                <a:lnTo>
                  <a:pt x="83" y="79"/>
                </a:lnTo>
                <a:lnTo>
                  <a:pt x="83" y="78"/>
                </a:lnTo>
                <a:lnTo>
                  <a:pt x="77" y="78"/>
                </a:lnTo>
                <a:lnTo>
                  <a:pt x="77" y="76"/>
                </a:lnTo>
                <a:lnTo>
                  <a:pt x="78" y="76"/>
                </a:lnTo>
                <a:lnTo>
                  <a:pt x="79" y="75"/>
                </a:lnTo>
                <a:lnTo>
                  <a:pt x="84" y="71"/>
                </a:lnTo>
                <a:lnTo>
                  <a:pt x="85" y="71"/>
                </a:lnTo>
                <a:lnTo>
                  <a:pt x="85" y="69"/>
                </a:lnTo>
                <a:lnTo>
                  <a:pt x="86" y="70"/>
                </a:lnTo>
                <a:lnTo>
                  <a:pt x="87" y="69"/>
                </a:lnTo>
                <a:lnTo>
                  <a:pt x="89" y="69"/>
                </a:lnTo>
                <a:lnTo>
                  <a:pt x="92" y="67"/>
                </a:lnTo>
                <a:lnTo>
                  <a:pt x="95" y="66"/>
                </a:lnTo>
                <a:lnTo>
                  <a:pt x="96" y="66"/>
                </a:lnTo>
                <a:lnTo>
                  <a:pt x="96" y="65"/>
                </a:lnTo>
                <a:lnTo>
                  <a:pt x="93" y="65"/>
                </a:lnTo>
                <a:lnTo>
                  <a:pt x="93" y="64"/>
                </a:lnTo>
                <a:lnTo>
                  <a:pt x="96" y="63"/>
                </a:lnTo>
                <a:lnTo>
                  <a:pt x="96" y="60"/>
                </a:lnTo>
                <a:lnTo>
                  <a:pt x="97" y="59"/>
                </a:lnTo>
                <a:lnTo>
                  <a:pt x="97" y="58"/>
                </a:lnTo>
                <a:lnTo>
                  <a:pt x="98" y="58"/>
                </a:lnTo>
                <a:lnTo>
                  <a:pt x="99" y="55"/>
                </a:lnTo>
                <a:lnTo>
                  <a:pt x="99" y="54"/>
                </a:lnTo>
                <a:lnTo>
                  <a:pt x="98" y="55"/>
                </a:lnTo>
                <a:lnTo>
                  <a:pt x="97" y="55"/>
                </a:lnTo>
                <a:lnTo>
                  <a:pt x="95" y="57"/>
                </a:lnTo>
                <a:lnTo>
                  <a:pt x="93" y="58"/>
                </a:lnTo>
                <a:lnTo>
                  <a:pt x="92" y="58"/>
                </a:lnTo>
                <a:lnTo>
                  <a:pt x="92" y="55"/>
                </a:lnTo>
                <a:lnTo>
                  <a:pt x="91" y="55"/>
                </a:lnTo>
                <a:lnTo>
                  <a:pt x="90" y="58"/>
                </a:lnTo>
                <a:lnTo>
                  <a:pt x="89" y="58"/>
                </a:lnTo>
                <a:lnTo>
                  <a:pt x="89" y="57"/>
                </a:lnTo>
                <a:lnTo>
                  <a:pt x="86" y="57"/>
                </a:lnTo>
                <a:lnTo>
                  <a:pt x="86" y="55"/>
                </a:lnTo>
                <a:lnTo>
                  <a:pt x="85" y="57"/>
                </a:lnTo>
                <a:lnTo>
                  <a:pt x="85" y="58"/>
                </a:lnTo>
                <a:lnTo>
                  <a:pt x="84" y="58"/>
                </a:lnTo>
                <a:lnTo>
                  <a:pt x="84" y="57"/>
                </a:lnTo>
                <a:lnTo>
                  <a:pt x="81" y="57"/>
                </a:lnTo>
                <a:lnTo>
                  <a:pt x="80" y="58"/>
                </a:lnTo>
                <a:lnTo>
                  <a:pt x="79" y="57"/>
                </a:lnTo>
                <a:lnTo>
                  <a:pt x="75" y="57"/>
                </a:lnTo>
                <a:lnTo>
                  <a:pt x="75" y="55"/>
                </a:lnTo>
                <a:lnTo>
                  <a:pt x="72" y="54"/>
                </a:lnTo>
                <a:lnTo>
                  <a:pt x="71" y="54"/>
                </a:lnTo>
                <a:lnTo>
                  <a:pt x="72" y="53"/>
                </a:lnTo>
                <a:lnTo>
                  <a:pt x="71" y="52"/>
                </a:lnTo>
                <a:lnTo>
                  <a:pt x="72" y="51"/>
                </a:lnTo>
                <a:lnTo>
                  <a:pt x="73" y="51"/>
                </a:lnTo>
                <a:lnTo>
                  <a:pt x="73" y="49"/>
                </a:lnTo>
                <a:lnTo>
                  <a:pt x="77" y="47"/>
                </a:lnTo>
                <a:lnTo>
                  <a:pt x="78" y="46"/>
                </a:lnTo>
                <a:lnTo>
                  <a:pt x="81" y="46"/>
                </a:lnTo>
                <a:lnTo>
                  <a:pt x="84" y="47"/>
                </a:lnTo>
                <a:lnTo>
                  <a:pt x="85" y="47"/>
                </a:lnTo>
                <a:lnTo>
                  <a:pt x="83" y="46"/>
                </a:lnTo>
                <a:lnTo>
                  <a:pt x="81" y="45"/>
                </a:lnTo>
                <a:lnTo>
                  <a:pt x="85" y="45"/>
                </a:lnTo>
                <a:lnTo>
                  <a:pt x="85" y="46"/>
                </a:lnTo>
                <a:lnTo>
                  <a:pt x="86" y="47"/>
                </a:lnTo>
                <a:lnTo>
                  <a:pt x="87" y="47"/>
                </a:lnTo>
                <a:lnTo>
                  <a:pt x="84" y="43"/>
                </a:lnTo>
                <a:lnTo>
                  <a:pt x="81" y="42"/>
                </a:lnTo>
                <a:lnTo>
                  <a:pt x="83" y="41"/>
                </a:lnTo>
                <a:lnTo>
                  <a:pt x="84" y="41"/>
                </a:lnTo>
                <a:lnTo>
                  <a:pt x="84" y="40"/>
                </a:lnTo>
                <a:lnTo>
                  <a:pt x="85" y="41"/>
                </a:lnTo>
                <a:lnTo>
                  <a:pt x="89" y="41"/>
                </a:lnTo>
                <a:lnTo>
                  <a:pt x="89" y="37"/>
                </a:lnTo>
                <a:lnTo>
                  <a:pt x="91" y="39"/>
                </a:lnTo>
                <a:lnTo>
                  <a:pt x="91" y="37"/>
                </a:lnTo>
                <a:lnTo>
                  <a:pt x="90" y="36"/>
                </a:lnTo>
                <a:lnTo>
                  <a:pt x="89" y="36"/>
                </a:lnTo>
                <a:lnTo>
                  <a:pt x="89" y="37"/>
                </a:lnTo>
                <a:lnTo>
                  <a:pt x="87" y="37"/>
                </a:lnTo>
                <a:lnTo>
                  <a:pt x="85" y="35"/>
                </a:lnTo>
                <a:lnTo>
                  <a:pt x="85" y="33"/>
                </a:lnTo>
                <a:lnTo>
                  <a:pt x="86" y="34"/>
                </a:lnTo>
                <a:lnTo>
                  <a:pt x="87" y="34"/>
                </a:lnTo>
                <a:lnTo>
                  <a:pt x="89" y="33"/>
                </a:lnTo>
                <a:lnTo>
                  <a:pt x="87" y="33"/>
                </a:lnTo>
                <a:lnTo>
                  <a:pt x="86" y="32"/>
                </a:lnTo>
                <a:lnTo>
                  <a:pt x="85" y="29"/>
                </a:lnTo>
                <a:lnTo>
                  <a:pt x="87" y="29"/>
                </a:lnTo>
                <a:lnTo>
                  <a:pt x="87" y="27"/>
                </a:lnTo>
                <a:lnTo>
                  <a:pt x="89" y="27"/>
                </a:lnTo>
                <a:lnTo>
                  <a:pt x="90" y="24"/>
                </a:lnTo>
                <a:lnTo>
                  <a:pt x="90" y="27"/>
                </a:lnTo>
                <a:lnTo>
                  <a:pt x="91" y="27"/>
                </a:lnTo>
                <a:lnTo>
                  <a:pt x="91" y="21"/>
                </a:lnTo>
                <a:lnTo>
                  <a:pt x="92" y="18"/>
                </a:lnTo>
                <a:lnTo>
                  <a:pt x="92" y="17"/>
                </a:lnTo>
                <a:lnTo>
                  <a:pt x="93" y="17"/>
                </a:lnTo>
                <a:lnTo>
                  <a:pt x="96" y="18"/>
                </a:lnTo>
                <a:lnTo>
                  <a:pt x="97" y="18"/>
                </a:lnTo>
                <a:lnTo>
                  <a:pt x="98" y="17"/>
                </a:lnTo>
                <a:lnTo>
                  <a:pt x="98" y="20"/>
                </a:lnTo>
                <a:lnTo>
                  <a:pt x="102" y="16"/>
                </a:lnTo>
                <a:lnTo>
                  <a:pt x="103" y="16"/>
                </a:lnTo>
                <a:lnTo>
                  <a:pt x="104" y="15"/>
                </a:lnTo>
                <a:lnTo>
                  <a:pt x="104" y="14"/>
                </a:lnTo>
                <a:lnTo>
                  <a:pt x="105" y="12"/>
                </a:lnTo>
                <a:lnTo>
                  <a:pt x="106" y="14"/>
                </a:lnTo>
                <a:lnTo>
                  <a:pt x="106" y="15"/>
                </a:lnTo>
                <a:lnTo>
                  <a:pt x="104" y="16"/>
                </a:lnTo>
                <a:lnTo>
                  <a:pt x="108" y="16"/>
                </a:lnTo>
                <a:lnTo>
                  <a:pt x="109" y="15"/>
                </a:lnTo>
                <a:lnTo>
                  <a:pt x="109" y="17"/>
                </a:lnTo>
                <a:lnTo>
                  <a:pt x="110" y="17"/>
                </a:lnTo>
                <a:lnTo>
                  <a:pt x="110" y="20"/>
                </a:lnTo>
                <a:lnTo>
                  <a:pt x="111" y="18"/>
                </a:lnTo>
                <a:lnTo>
                  <a:pt x="111" y="16"/>
                </a:lnTo>
                <a:lnTo>
                  <a:pt x="110" y="15"/>
                </a:lnTo>
                <a:lnTo>
                  <a:pt x="110" y="14"/>
                </a:lnTo>
                <a:lnTo>
                  <a:pt x="112" y="11"/>
                </a:lnTo>
                <a:lnTo>
                  <a:pt x="114" y="11"/>
                </a:lnTo>
                <a:lnTo>
                  <a:pt x="112" y="15"/>
                </a:lnTo>
                <a:lnTo>
                  <a:pt x="112" y="16"/>
                </a:lnTo>
                <a:lnTo>
                  <a:pt x="114" y="16"/>
                </a:lnTo>
                <a:lnTo>
                  <a:pt x="114" y="15"/>
                </a:lnTo>
                <a:lnTo>
                  <a:pt x="115" y="16"/>
                </a:lnTo>
                <a:lnTo>
                  <a:pt x="116" y="16"/>
                </a:lnTo>
                <a:lnTo>
                  <a:pt x="116" y="17"/>
                </a:lnTo>
                <a:lnTo>
                  <a:pt x="117" y="17"/>
                </a:lnTo>
                <a:lnTo>
                  <a:pt x="117" y="21"/>
                </a:lnTo>
                <a:lnTo>
                  <a:pt x="118" y="20"/>
                </a:lnTo>
                <a:lnTo>
                  <a:pt x="118" y="17"/>
                </a:lnTo>
                <a:lnTo>
                  <a:pt x="117" y="16"/>
                </a:lnTo>
                <a:lnTo>
                  <a:pt x="117" y="14"/>
                </a:lnTo>
                <a:lnTo>
                  <a:pt x="116" y="12"/>
                </a:lnTo>
                <a:lnTo>
                  <a:pt x="116" y="16"/>
                </a:lnTo>
                <a:lnTo>
                  <a:pt x="115" y="15"/>
                </a:lnTo>
                <a:lnTo>
                  <a:pt x="114" y="15"/>
                </a:lnTo>
                <a:lnTo>
                  <a:pt x="114" y="14"/>
                </a:lnTo>
                <a:lnTo>
                  <a:pt x="115" y="11"/>
                </a:lnTo>
                <a:lnTo>
                  <a:pt x="115" y="10"/>
                </a:lnTo>
                <a:lnTo>
                  <a:pt x="116" y="11"/>
                </a:lnTo>
                <a:lnTo>
                  <a:pt x="118" y="9"/>
                </a:lnTo>
                <a:lnTo>
                  <a:pt x="120" y="9"/>
                </a:lnTo>
                <a:lnTo>
                  <a:pt x="120" y="10"/>
                </a:lnTo>
                <a:lnTo>
                  <a:pt x="121" y="10"/>
                </a:lnTo>
                <a:lnTo>
                  <a:pt x="121" y="15"/>
                </a:lnTo>
                <a:lnTo>
                  <a:pt x="122" y="16"/>
                </a:lnTo>
                <a:lnTo>
                  <a:pt x="122" y="17"/>
                </a:lnTo>
                <a:lnTo>
                  <a:pt x="123" y="18"/>
                </a:lnTo>
                <a:lnTo>
                  <a:pt x="124" y="18"/>
                </a:lnTo>
                <a:lnTo>
                  <a:pt x="124" y="22"/>
                </a:lnTo>
                <a:lnTo>
                  <a:pt x="122" y="24"/>
                </a:lnTo>
                <a:lnTo>
                  <a:pt x="120" y="26"/>
                </a:lnTo>
                <a:lnTo>
                  <a:pt x="123" y="26"/>
                </a:lnTo>
                <a:lnTo>
                  <a:pt x="122" y="28"/>
                </a:lnTo>
                <a:lnTo>
                  <a:pt x="120" y="29"/>
                </a:lnTo>
                <a:lnTo>
                  <a:pt x="118" y="32"/>
                </a:lnTo>
                <a:lnTo>
                  <a:pt x="118" y="33"/>
                </a:lnTo>
                <a:lnTo>
                  <a:pt x="123" y="28"/>
                </a:lnTo>
                <a:lnTo>
                  <a:pt x="124" y="28"/>
                </a:lnTo>
                <a:lnTo>
                  <a:pt x="124" y="27"/>
                </a:lnTo>
                <a:lnTo>
                  <a:pt x="126" y="27"/>
                </a:lnTo>
                <a:lnTo>
                  <a:pt x="127" y="26"/>
                </a:lnTo>
                <a:lnTo>
                  <a:pt x="128" y="26"/>
                </a:lnTo>
                <a:lnTo>
                  <a:pt x="128" y="23"/>
                </a:lnTo>
                <a:lnTo>
                  <a:pt x="127" y="22"/>
                </a:lnTo>
                <a:lnTo>
                  <a:pt x="127" y="18"/>
                </a:lnTo>
                <a:lnTo>
                  <a:pt x="126" y="16"/>
                </a:lnTo>
                <a:lnTo>
                  <a:pt x="123" y="14"/>
                </a:lnTo>
                <a:lnTo>
                  <a:pt x="123" y="12"/>
                </a:lnTo>
                <a:lnTo>
                  <a:pt x="124" y="12"/>
                </a:lnTo>
                <a:lnTo>
                  <a:pt x="124" y="8"/>
                </a:lnTo>
                <a:lnTo>
                  <a:pt x="126" y="8"/>
                </a:lnTo>
                <a:lnTo>
                  <a:pt x="127" y="9"/>
                </a:lnTo>
                <a:lnTo>
                  <a:pt x="127" y="6"/>
                </a:lnTo>
                <a:lnTo>
                  <a:pt x="128" y="8"/>
                </a:lnTo>
                <a:lnTo>
                  <a:pt x="129" y="8"/>
                </a:lnTo>
                <a:lnTo>
                  <a:pt x="131" y="6"/>
                </a:lnTo>
                <a:lnTo>
                  <a:pt x="133" y="6"/>
                </a:lnTo>
                <a:lnTo>
                  <a:pt x="134" y="8"/>
                </a:lnTo>
                <a:lnTo>
                  <a:pt x="133" y="8"/>
                </a:lnTo>
                <a:lnTo>
                  <a:pt x="133" y="9"/>
                </a:lnTo>
                <a:lnTo>
                  <a:pt x="136" y="9"/>
                </a:lnTo>
                <a:lnTo>
                  <a:pt x="133" y="6"/>
                </a:lnTo>
                <a:lnTo>
                  <a:pt x="131" y="4"/>
                </a:lnTo>
                <a:lnTo>
                  <a:pt x="131" y="3"/>
                </a:lnTo>
                <a:lnTo>
                  <a:pt x="130" y="2"/>
                </a:lnTo>
                <a:lnTo>
                  <a:pt x="129" y="2"/>
                </a:lnTo>
                <a:lnTo>
                  <a:pt x="13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" name="Freeform 37">
            <a:extLst>
              <a:ext uri="{FF2B5EF4-FFF2-40B4-BE49-F238E27FC236}">
                <a16:creationId xmlns:a16="http://schemas.microsoft.com/office/drawing/2014/main" id="{3BF8DC7A-22F5-497C-8C9E-6E324A3841A6}"/>
              </a:ext>
            </a:extLst>
          </p:cNvPr>
          <p:cNvSpPr>
            <a:spLocks noEditPoints="1"/>
          </p:cNvSpPr>
          <p:nvPr/>
        </p:nvSpPr>
        <p:spPr bwMode="auto">
          <a:xfrm>
            <a:off x="2215526" y="4850905"/>
            <a:ext cx="414397" cy="253565"/>
          </a:xfrm>
          <a:custGeom>
            <a:avLst/>
            <a:gdLst/>
            <a:ahLst/>
            <a:cxnLst>
              <a:cxn ang="0">
                <a:pos x="199" y="0"/>
              </a:cxn>
              <a:cxn ang="0">
                <a:pos x="214" y="3"/>
              </a:cxn>
              <a:cxn ang="0">
                <a:pos x="223" y="1"/>
              </a:cxn>
              <a:cxn ang="0">
                <a:pos x="232" y="4"/>
              </a:cxn>
              <a:cxn ang="0">
                <a:pos x="245" y="13"/>
              </a:cxn>
              <a:cxn ang="0">
                <a:pos x="261" y="10"/>
              </a:cxn>
              <a:cxn ang="0">
                <a:pos x="266" y="21"/>
              </a:cxn>
              <a:cxn ang="0">
                <a:pos x="274" y="28"/>
              </a:cxn>
              <a:cxn ang="0">
                <a:pos x="285" y="31"/>
              </a:cxn>
              <a:cxn ang="0">
                <a:pos x="286" y="40"/>
              </a:cxn>
              <a:cxn ang="0">
                <a:pos x="271" y="51"/>
              </a:cxn>
              <a:cxn ang="0">
                <a:pos x="256" y="59"/>
              </a:cxn>
              <a:cxn ang="0">
                <a:pos x="245" y="76"/>
              </a:cxn>
              <a:cxn ang="0">
                <a:pos x="239" y="89"/>
              </a:cxn>
              <a:cxn ang="0">
                <a:pos x="235" y="98"/>
              </a:cxn>
              <a:cxn ang="0">
                <a:pos x="231" y="108"/>
              </a:cxn>
              <a:cxn ang="0">
                <a:pos x="229" y="117"/>
              </a:cxn>
              <a:cxn ang="0">
                <a:pos x="219" y="127"/>
              </a:cxn>
              <a:cxn ang="0">
                <a:pos x="214" y="136"/>
              </a:cxn>
              <a:cxn ang="0">
                <a:pos x="208" y="145"/>
              </a:cxn>
              <a:cxn ang="0">
                <a:pos x="201" y="143"/>
              </a:cxn>
              <a:cxn ang="0">
                <a:pos x="194" y="150"/>
              </a:cxn>
              <a:cxn ang="0">
                <a:pos x="176" y="150"/>
              </a:cxn>
              <a:cxn ang="0">
                <a:pos x="164" y="150"/>
              </a:cxn>
              <a:cxn ang="0">
                <a:pos x="151" y="149"/>
              </a:cxn>
              <a:cxn ang="0">
                <a:pos x="142" y="154"/>
              </a:cxn>
              <a:cxn ang="0">
                <a:pos x="134" y="158"/>
              </a:cxn>
              <a:cxn ang="0">
                <a:pos x="125" y="158"/>
              </a:cxn>
              <a:cxn ang="0">
                <a:pos x="114" y="166"/>
              </a:cxn>
              <a:cxn ang="0">
                <a:pos x="107" y="167"/>
              </a:cxn>
              <a:cxn ang="0">
                <a:pos x="96" y="175"/>
              </a:cxn>
              <a:cxn ang="0">
                <a:pos x="75" y="173"/>
              </a:cxn>
              <a:cxn ang="0">
                <a:pos x="56" y="163"/>
              </a:cxn>
              <a:cxn ang="0">
                <a:pos x="50" y="157"/>
              </a:cxn>
              <a:cxn ang="0">
                <a:pos x="37" y="147"/>
              </a:cxn>
              <a:cxn ang="0">
                <a:pos x="27" y="135"/>
              </a:cxn>
              <a:cxn ang="0">
                <a:pos x="20" y="131"/>
              </a:cxn>
              <a:cxn ang="0">
                <a:pos x="12" y="121"/>
              </a:cxn>
              <a:cxn ang="0">
                <a:pos x="9" y="111"/>
              </a:cxn>
              <a:cxn ang="0">
                <a:pos x="3" y="104"/>
              </a:cxn>
              <a:cxn ang="0">
                <a:pos x="13" y="98"/>
              </a:cxn>
              <a:cxn ang="0">
                <a:pos x="16" y="94"/>
              </a:cxn>
              <a:cxn ang="0">
                <a:pos x="14" y="87"/>
              </a:cxn>
              <a:cxn ang="0">
                <a:pos x="14" y="77"/>
              </a:cxn>
              <a:cxn ang="0">
                <a:pos x="22" y="68"/>
              </a:cxn>
              <a:cxn ang="0">
                <a:pos x="20" y="59"/>
              </a:cxn>
              <a:cxn ang="0">
                <a:pos x="18" y="55"/>
              </a:cxn>
              <a:cxn ang="0">
                <a:pos x="25" y="52"/>
              </a:cxn>
              <a:cxn ang="0">
                <a:pos x="32" y="56"/>
              </a:cxn>
              <a:cxn ang="0">
                <a:pos x="39" y="46"/>
              </a:cxn>
              <a:cxn ang="0">
                <a:pos x="43" y="39"/>
              </a:cxn>
              <a:cxn ang="0">
                <a:pos x="52" y="35"/>
              </a:cxn>
              <a:cxn ang="0">
                <a:pos x="65" y="47"/>
              </a:cxn>
              <a:cxn ang="0">
                <a:pos x="103" y="49"/>
              </a:cxn>
              <a:cxn ang="0">
                <a:pos x="115" y="46"/>
              </a:cxn>
              <a:cxn ang="0">
                <a:pos x="120" y="32"/>
              </a:cxn>
              <a:cxn ang="0">
                <a:pos x="143" y="27"/>
              </a:cxn>
              <a:cxn ang="0">
                <a:pos x="151" y="24"/>
              </a:cxn>
              <a:cxn ang="0">
                <a:pos x="164" y="26"/>
              </a:cxn>
              <a:cxn ang="0">
                <a:pos x="170" y="20"/>
              </a:cxn>
              <a:cxn ang="0">
                <a:pos x="182" y="9"/>
              </a:cxn>
              <a:cxn ang="0">
                <a:pos x="189" y="2"/>
              </a:cxn>
            </a:cxnLst>
            <a:rect l="0" t="0" r="r" b="b"/>
            <a:pathLst>
              <a:path w="286" h="175">
                <a:moveTo>
                  <a:pt x="121" y="163"/>
                </a:moveTo>
                <a:lnTo>
                  <a:pt x="123" y="163"/>
                </a:lnTo>
                <a:lnTo>
                  <a:pt x="123" y="164"/>
                </a:lnTo>
                <a:lnTo>
                  <a:pt x="121" y="164"/>
                </a:lnTo>
                <a:lnTo>
                  <a:pt x="121" y="163"/>
                </a:lnTo>
                <a:close/>
                <a:moveTo>
                  <a:pt x="198" y="0"/>
                </a:moveTo>
                <a:lnTo>
                  <a:pt x="199" y="0"/>
                </a:lnTo>
                <a:lnTo>
                  <a:pt x="200" y="1"/>
                </a:lnTo>
                <a:lnTo>
                  <a:pt x="202" y="1"/>
                </a:lnTo>
                <a:lnTo>
                  <a:pt x="205" y="3"/>
                </a:lnTo>
                <a:lnTo>
                  <a:pt x="210" y="3"/>
                </a:lnTo>
                <a:lnTo>
                  <a:pt x="211" y="4"/>
                </a:lnTo>
                <a:lnTo>
                  <a:pt x="212" y="4"/>
                </a:lnTo>
                <a:lnTo>
                  <a:pt x="214" y="3"/>
                </a:lnTo>
                <a:lnTo>
                  <a:pt x="218" y="3"/>
                </a:lnTo>
                <a:lnTo>
                  <a:pt x="218" y="4"/>
                </a:lnTo>
                <a:lnTo>
                  <a:pt x="219" y="3"/>
                </a:lnTo>
                <a:lnTo>
                  <a:pt x="219" y="2"/>
                </a:lnTo>
                <a:lnTo>
                  <a:pt x="220" y="2"/>
                </a:lnTo>
                <a:lnTo>
                  <a:pt x="220" y="1"/>
                </a:lnTo>
                <a:lnTo>
                  <a:pt x="223" y="1"/>
                </a:lnTo>
                <a:lnTo>
                  <a:pt x="225" y="0"/>
                </a:lnTo>
                <a:lnTo>
                  <a:pt x="225" y="1"/>
                </a:lnTo>
                <a:lnTo>
                  <a:pt x="227" y="1"/>
                </a:lnTo>
                <a:lnTo>
                  <a:pt x="227" y="2"/>
                </a:lnTo>
                <a:lnTo>
                  <a:pt x="229" y="2"/>
                </a:lnTo>
                <a:lnTo>
                  <a:pt x="229" y="4"/>
                </a:lnTo>
                <a:lnTo>
                  <a:pt x="232" y="4"/>
                </a:lnTo>
                <a:lnTo>
                  <a:pt x="232" y="6"/>
                </a:lnTo>
                <a:lnTo>
                  <a:pt x="233" y="8"/>
                </a:lnTo>
                <a:lnTo>
                  <a:pt x="236" y="12"/>
                </a:lnTo>
                <a:lnTo>
                  <a:pt x="239" y="15"/>
                </a:lnTo>
                <a:lnTo>
                  <a:pt x="240" y="14"/>
                </a:lnTo>
                <a:lnTo>
                  <a:pt x="243" y="13"/>
                </a:lnTo>
                <a:lnTo>
                  <a:pt x="245" y="13"/>
                </a:lnTo>
                <a:lnTo>
                  <a:pt x="246" y="12"/>
                </a:lnTo>
                <a:lnTo>
                  <a:pt x="254" y="12"/>
                </a:lnTo>
                <a:lnTo>
                  <a:pt x="255" y="10"/>
                </a:lnTo>
                <a:lnTo>
                  <a:pt x="256" y="10"/>
                </a:lnTo>
                <a:lnTo>
                  <a:pt x="256" y="9"/>
                </a:lnTo>
                <a:lnTo>
                  <a:pt x="260" y="9"/>
                </a:lnTo>
                <a:lnTo>
                  <a:pt x="261" y="10"/>
                </a:lnTo>
                <a:lnTo>
                  <a:pt x="260" y="12"/>
                </a:lnTo>
                <a:lnTo>
                  <a:pt x="260" y="13"/>
                </a:lnTo>
                <a:lnTo>
                  <a:pt x="262" y="13"/>
                </a:lnTo>
                <a:lnTo>
                  <a:pt x="262" y="18"/>
                </a:lnTo>
                <a:lnTo>
                  <a:pt x="264" y="20"/>
                </a:lnTo>
                <a:lnTo>
                  <a:pt x="264" y="21"/>
                </a:lnTo>
                <a:lnTo>
                  <a:pt x="266" y="21"/>
                </a:lnTo>
                <a:lnTo>
                  <a:pt x="266" y="20"/>
                </a:lnTo>
                <a:lnTo>
                  <a:pt x="267" y="21"/>
                </a:lnTo>
                <a:lnTo>
                  <a:pt x="268" y="21"/>
                </a:lnTo>
                <a:lnTo>
                  <a:pt x="269" y="20"/>
                </a:lnTo>
                <a:lnTo>
                  <a:pt x="273" y="25"/>
                </a:lnTo>
                <a:lnTo>
                  <a:pt x="273" y="26"/>
                </a:lnTo>
                <a:lnTo>
                  <a:pt x="274" y="28"/>
                </a:lnTo>
                <a:lnTo>
                  <a:pt x="274" y="30"/>
                </a:lnTo>
                <a:lnTo>
                  <a:pt x="279" y="30"/>
                </a:lnTo>
                <a:lnTo>
                  <a:pt x="280" y="28"/>
                </a:lnTo>
                <a:lnTo>
                  <a:pt x="281" y="28"/>
                </a:lnTo>
                <a:lnTo>
                  <a:pt x="281" y="30"/>
                </a:lnTo>
                <a:lnTo>
                  <a:pt x="283" y="30"/>
                </a:lnTo>
                <a:lnTo>
                  <a:pt x="285" y="31"/>
                </a:lnTo>
                <a:lnTo>
                  <a:pt x="285" y="32"/>
                </a:lnTo>
                <a:lnTo>
                  <a:pt x="286" y="33"/>
                </a:lnTo>
                <a:lnTo>
                  <a:pt x="286" y="34"/>
                </a:lnTo>
                <a:lnTo>
                  <a:pt x="285" y="35"/>
                </a:lnTo>
                <a:lnTo>
                  <a:pt x="285" y="38"/>
                </a:lnTo>
                <a:lnTo>
                  <a:pt x="286" y="39"/>
                </a:lnTo>
                <a:lnTo>
                  <a:pt x="286" y="40"/>
                </a:lnTo>
                <a:lnTo>
                  <a:pt x="283" y="43"/>
                </a:lnTo>
                <a:lnTo>
                  <a:pt x="282" y="43"/>
                </a:lnTo>
                <a:lnTo>
                  <a:pt x="281" y="44"/>
                </a:lnTo>
                <a:lnTo>
                  <a:pt x="281" y="46"/>
                </a:lnTo>
                <a:lnTo>
                  <a:pt x="280" y="46"/>
                </a:lnTo>
                <a:lnTo>
                  <a:pt x="275" y="51"/>
                </a:lnTo>
                <a:lnTo>
                  <a:pt x="271" y="51"/>
                </a:lnTo>
                <a:lnTo>
                  <a:pt x="268" y="49"/>
                </a:lnTo>
                <a:lnTo>
                  <a:pt x="267" y="50"/>
                </a:lnTo>
                <a:lnTo>
                  <a:pt x="267" y="52"/>
                </a:lnTo>
                <a:lnTo>
                  <a:pt x="262" y="52"/>
                </a:lnTo>
                <a:lnTo>
                  <a:pt x="257" y="57"/>
                </a:lnTo>
                <a:lnTo>
                  <a:pt x="257" y="58"/>
                </a:lnTo>
                <a:lnTo>
                  <a:pt x="256" y="59"/>
                </a:lnTo>
                <a:lnTo>
                  <a:pt x="256" y="62"/>
                </a:lnTo>
                <a:lnTo>
                  <a:pt x="251" y="64"/>
                </a:lnTo>
                <a:lnTo>
                  <a:pt x="250" y="67"/>
                </a:lnTo>
                <a:lnTo>
                  <a:pt x="249" y="68"/>
                </a:lnTo>
                <a:lnTo>
                  <a:pt x="249" y="75"/>
                </a:lnTo>
                <a:lnTo>
                  <a:pt x="246" y="76"/>
                </a:lnTo>
                <a:lnTo>
                  <a:pt x="245" y="76"/>
                </a:lnTo>
                <a:lnTo>
                  <a:pt x="245" y="77"/>
                </a:lnTo>
                <a:lnTo>
                  <a:pt x="243" y="80"/>
                </a:lnTo>
                <a:lnTo>
                  <a:pt x="243" y="83"/>
                </a:lnTo>
                <a:lnTo>
                  <a:pt x="242" y="84"/>
                </a:lnTo>
                <a:lnTo>
                  <a:pt x="242" y="88"/>
                </a:lnTo>
                <a:lnTo>
                  <a:pt x="240" y="89"/>
                </a:lnTo>
                <a:lnTo>
                  <a:pt x="239" y="89"/>
                </a:lnTo>
                <a:lnTo>
                  <a:pt x="239" y="92"/>
                </a:lnTo>
                <a:lnTo>
                  <a:pt x="238" y="93"/>
                </a:lnTo>
                <a:lnTo>
                  <a:pt x="236" y="94"/>
                </a:lnTo>
                <a:lnTo>
                  <a:pt x="236" y="95"/>
                </a:lnTo>
                <a:lnTo>
                  <a:pt x="233" y="96"/>
                </a:lnTo>
                <a:lnTo>
                  <a:pt x="233" y="98"/>
                </a:lnTo>
                <a:lnTo>
                  <a:pt x="235" y="98"/>
                </a:lnTo>
                <a:lnTo>
                  <a:pt x="236" y="99"/>
                </a:lnTo>
                <a:lnTo>
                  <a:pt x="235" y="99"/>
                </a:lnTo>
                <a:lnTo>
                  <a:pt x="235" y="102"/>
                </a:lnTo>
                <a:lnTo>
                  <a:pt x="232" y="104"/>
                </a:lnTo>
                <a:lnTo>
                  <a:pt x="232" y="107"/>
                </a:lnTo>
                <a:lnTo>
                  <a:pt x="231" y="107"/>
                </a:lnTo>
                <a:lnTo>
                  <a:pt x="231" y="108"/>
                </a:lnTo>
                <a:lnTo>
                  <a:pt x="230" y="108"/>
                </a:lnTo>
                <a:lnTo>
                  <a:pt x="229" y="110"/>
                </a:lnTo>
                <a:lnTo>
                  <a:pt x="227" y="113"/>
                </a:lnTo>
                <a:lnTo>
                  <a:pt x="226" y="114"/>
                </a:lnTo>
                <a:lnTo>
                  <a:pt x="227" y="114"/>
                </a:lnTo>
                <a:lnTo>
                  <a:pt x="229" y="115"/>
                </a:lnTo>
                <a:lnTo>
                  <a:pt x="229" y="117"/>
                </a:lnTo>
                <a:lnTo>
                  <a:pt x="227" y="118"/>
                </a:lnTo>
                <a:lnTo>
                  <a:pt x="225" y="118"/>
                </a:lnTo>
                <a:lnTo>
                  <a:pt x="225" y="120"/>
                </a:lnTo>
                <a:lnTo>
                  <a:pt x="224" y="121"/>
                </a:lnTo>
                <a:lnTo>
                  <a:pt x="220" y="121"/>
                </a:lnTo>
                <a:lnTo>
                  <a:pt x="219" y="123"/>
                </a:lnTo>
                <a:lnTo>
                  <a:pt x="219" y="127"/>
                </a:lnTo>
                <a:lnTo>
                  <a:pt x="218" y="127"/>
                </a:lnTo>
                <a:lnTo>
                  <a:pt x="218" y="130"/>
                </a:lnTo>
                <a:lnTo>
                  <a:pt x="219" y="132"/>
                </a:lnTo>
                <a:lnTo>
                  <a:pt x="219" y="133"/>
                </a:lnTo>
                <a:lnTo>
                  <a:pt x="218" y="135"/>
                </a:lnTo>
                <a:lnTo>
                  <a:pt x="215" y="135"/>
                </a:lnTo>
                <a:lnTo>
                  <a:pt x="214" y="136"/>
                </a:lnTo>
                <a:lnTo>
                  <a:pt x="214" y="139"/>
                </a:lnTo>
                <a:lnTo>
                  <a:pt x="213" y="141"/>
                </a:lnTo>
                <a:lnTo>
                  <a:pt x="213" y="143"/>
                </a:lnTo>
                <a:lnTo>
                  <a:pt x="212" y="142"/>
                </a:lnTo>
                <a:lnTo>
                  <a:pt x="211" y="143"/>
                </a:lnTo>
                <a:lnTo>
                  <a:pt x="210" y="145"/>
                </a:lnTo>
                <a:lnTo>
                  <a:pt x="208" y="145"/>
                </a:lnTo>
                <a:lnTo>
                  <a:pt x="207" y="144"/>
                </a:lnTo>
                <a:lnTo>
                  <a:pt x="205" y="144"/>
                </a:lnTo>
                <a:lnTo>
                  <a:pt x="204" y="143"/>
                </a:lnTo>
                <a:lnTo>
                  <a:pt x="202" y="143"/>
                </a:lnTo>
                <a:lnTo>
                  <a:pt x="202" y="144"/>
                </a:lnTo>
                <a:lnTo>
                  <a:pt x="201" y="144"/>
                </a:lnTo>
                <a:lnTo>
                  <a:pt x="201" y="143"/>
                </a:lnTo>
                <a:lnTo>
                  <a:pt x="198" y="143"/>
                </a:lnTo>
                <a:lnTo>
                  <a:pt x="196" y="145"/>
                </a:lnTo>
                <a:lnTo>
                  <a:pt x="195" y="145"/>
                </a:lnTo>
                <a:lnTo>
                  <a:pt x="196" y="147"/>
                </a:lnTo>
                <a:lnTo>
                  <a:pt x="196" y="148"/>
                </a:lnTo>
                <a:lnTo>
                  <a:pt x="194" y="148"/>
                </a:lnTo>
                <a:lnTo>
                  <a:pt x="194" y="150"/>
                </a:lnTo>
                <a:lnTo>
                  <a:pt x="193" y="151"/>
                </a:lnTo>
                <a:lnTo>
                  <a:pt x="189" y="151"/>
                </a:lnTo>
                <a:lnTo>
                  <a:pt x="188" y="150"/>
                </a:lnTo>
                <a:lnTo>
                  <a:pt x="186" y="149"/>
                </a:lnTo>
                <a:lnTo>
                  <a:pt x="184" y="149"/>
                </a:lnTo>
                <a:lnTo>
                  <a:pt x="183" y="150"/>
                </a:lnTo>
                <a:lnTo>
                  <a:pt x="176" y="150"/>
                </a:lnTo>
                <a:lnTo>
                  <a:pt x="175" y="153"/>
                </a:lnTo>
                <a:lnTo>
                  <a:pt x="173" y="151"/>
                </a:lnTo>
                <a:lnTo>
                  <a:pt x="171" y="150"/>
                </a:lnTo>
                <a:lnTo>
                  <a:pt x="171" y="151"/>
                </a:lnTo>
                <a:lnTo>
                  <a:pt x="170" y="151"/>
                </a:lnTo>
                <a:lnTo>
                  <a:pt x="170" y="150"/>
                </a:lnTo>
                <a:lnTo>
                  <a:pt x="164" y="150"/>
                </a:lnTo>
                <a:lnTo>
                  <a:pt x="162" y="149"/>
                </a:lnTo>
                <a:lnTo>
                  <a:pt x="161" y="150"/>
                </a:lnTo>
                <a:lnTo>
                  <a:pt x="159" y="150"/>
                </a:lnTo>
                <a:lnTo>
                  <a:pt x="156" y="151"/>
                </a:lnTo>
                <a:lnTo>
                  <a:pt x="155" y="151"/>
                </a:lnTo>
                <a:lnTo>
                  <a:pt x="152" y="150"/>
                </a:lnTo>
                <a:lnTo>
                  <a:pt x="151" y="149"/>
                </a:lnTo>
                <a:lnTo>
                  <a:pt x="146" y="149"/>
                </a:lnTo>
                <a:lnTo>
                  <a:pt x="145" y="150"/>
                </a:lnTo>
                <a:lnTo>
                  <a:pt x="144" y="150"/>
                </a:lnTo>
                <a:lnTo>
                  <a:pt x="143" y="151"/>
                </a:lnTo>
                <a:lnTo>
                  <a:pt x="144" y="153"/>
                </a:lnTo>
                <a:lnTo>
                  <a:pt x="143" y="154"/>
                </a:lnTo>
                <a:lnTo>
                  <a:pt x="142" y="154"/>
                </a:lnTo>
                <a:lnTo>
                  <a:pt x="142" y="155"/>
                </a:lnTo>
                <a:lnTo>
                  <a:pt x="140" y="155"/>
                </a:lnTo>
                <a:lnTo>
                  <a:pt x="139" y="156"/>
                </a:lnTo>
                <a:lnTo>
                  <a:pt x="139" y="157"/>
                </a:lnTo>
                <a:lnTo>
                  <a:pt x="136" y="157"/>
                </a:lnTo>
                <a:lnTo>
                  <a:pt x="136" y="158"/>
                </a:lnTo>
                <a:lnTo>
                  <a:pt x="134" y="158"/>
                </a:lnTo>
                <a:lnTo>
                  <a:pt x="134" y="160"/>
                </a:lnTo>
                <a:lnTo>
                  <a:pt x="133" y="161"/>
                </a:lnTo>
                <a:lnTo>
                  <a:pt x="132" y="161"/>
                </a:lnTo>
                <a:lnTo>
                  <a:pt x="128" y="160"/>
                </a:lnTo>
                <a:lnTo>
                  <a:pt x="127" y="160"/>
                </a:lnTo>
                <a:lnTo>
                  <a:pt x="127" y="158"/>
                </a:lnTo>
                <a:lnTo>
                  <a:pt x="125" y="158"/>
                </a:lnTo>
                <a:lnTo>
                  <a:pt x="125" y="162"/>
                </a:lnTo>
                <a:lnTo>
                  <a:pt x="121" y="162"/>
                </a:lnTo>
                <a:lnTo>
                  <a:pt x="121" y="163"/>
                </a:lnTo>
                <a:lnTo>
                  <a:pt x="118" y="163"/>
                </a:lnTo>
                <a:lnTo>
                  <a:pt x="118" y="164"/>
                </a:lnTo>
                <a:lnTo>
                  <a:pt x="114" y="164"/>
                </a:lnTo>
                <a:lnTo>
                  <a:pt x="114" y="166"/>
                </a:lnTo>
                <a:lnTo>
                  <a:pt x="113" y="166"/>
                </a:lnTo>
                <a:lnTo>
                  <a:pt x="113" y="167"/>
                </a:lnTo>
                <a:lnTo>
                  <a:pt x="111" y="166"/>
                </a:lnTo>
                <a:lnTo>
                  <a:pt x="109" y="164"/>
                </a:lnTo>
                <a:lnTo>
                  <a:pt x="108" y="164"/>
                </a:lnTo>
                <a:lnTo>
                  <a:pt x="107" y="166"/>
                </a:lnTo>
                <a:lnTo>
                  <a:pt x="107" y="167"/>
                </a:lnTo>
                <a:lnTo>
                  <a:pt x="105" y="169"/>
                </a:lnTo>
                <a:lnTo>
                  <a:pt x="105" y="170"/>
                </a:lnTo>
                <a:lnTo>
                  <a:pt x="102" y="172"/>
                </a:lnTo>
                <a:lnTo>
                  <a:pt x="101" y="173"/>
                </a:lnTo>
                <a:lnTo>
                  <a:pt x="101" y="172"/>
                </a:lnTo>
                <a:lnTo>
                  <a:pt x="97" y="175"/>
                </a:lnTo>
                <a:lnTo>
                  <a:pt x="96" y="175"/>
                </a:lnTo>
                <a:lnTo>
                  <a:pt x="96" y="174"/>
                </a:lnTo>
                <a:lnTo>
                  <a:pt x="92" y="174"/>
                </a:lnTo>
                <a:lnTo>
                  <a:pt x="90" y="173"/>
                </a:lnTo>
                <a:lnTo>
                  <a:pt x="83" y="173"/>
                </a:lnTo>
                <a:lnTo>
                  <a:pt x="80" y="172"/>
                </a:lnTo>
                <a:lnTo>
                  <a:pt x="75" y="172"/>
                </a:lnTo>
                <a:lnTo>
                  <a:pt x="75" y="173"/>
                </a:lnTo>
                <a:lnTo>
                  <a:pt x="72" y="170"/>
                </a:lnTo>
                <a:lnTo>
                  <a:pt x="68" y="169"/>
                </a:lnTo>
                <a:lnTo>
                  <a:pt x="65" y="169"/>
                </a:lnTo>
                <a:lnTo>
                  <a:pt x="65" y="166"/>
                </a:lnTo>
                <a:lnTo>
                  <a:pt x="62" y="162"/>
                </a:lnTo>
                <a:lnTo>
                  <a:pt x="56" y="162"/>
                </a:lnTo>
                <a:lnTo>
                  <a:pt x="56" y="163"/>
                </a:lnTo>
                <a:lnTo>
                  <a:pt x="55" y="162"/>
                </a:lnTo>
                <a:lnTo>
                  <a:pt x="52" y="162"/>
                </a:lnTo>
                <a:lnTo>
                  <a:pt x="52" y="161"/>
                </a:lnTo>
                <a:lnTo>
                  <a:pt x="51" y="161"/>
                </a:lnTo>
                <a:lnTo>
                  <a:pt x="51" y="158"/>
                </a:lnTo>
                <a:lnTo>
                  <a:pt x="50" y="158"/>
                </a:lnTo>
                <a:lnTo>
                  <a:pt x="50" y="157"/>
                </a:lnTo>
                <a:lnTo>
                  <a:pt x="47" y="153"/>
                </a:lnTo>
                <a:lnTo>
                  <a:pt x="46" y="153"/>
                </a:lnTo>
                <a:lnTo>
                  <a:pt x="43" y="151"/>
                </a:lnTo>
                <a:lnTo>
                  <a:pt x="40" y="150"/>
                </a:lnTo>
                <a:lnTo>
                  <a:pt x="40" y="149"/>
                </a:lnTo>
                <a:lnTo>
                  <a:pt x="39" y="149"/>
                </a:lnTo>
                <a:lnTo>
                  <a:pt x="37" y="147"/>
                </a:lnTo>
                <a:lnTo>
                  <a:pt x="34" y="142"/>
                </a:lnTo>
                <a:lnTo>
                  <a:pt x="33" y="142"/>
                </a:lnTo>
                <a:lnTo>
                  <a:pt x="33" y="138"/>
                </a:lnTo>
                <a:lnTo>
                  <a:pt x="32" y="137"/>
                </a:lnTo>
                <a:lnTo>
                  <a:pt x="32" y="136"/>
                </a:lnTo>
                <a:lnTo>
                  <a:pt x="28" y="136"/>
                </a:lnTo>
                <a:lnTo>
                  <a:pt x="27" y="135"/>
                </a:lnTo>
                <a:lnTo>
                  <a:pt x="26" y="135"/>
                </a:lnTo>
                <a:lnTo>
                  <a:pt x="25" y="133"/>
                </a:lnTo>
                <a:lnTo>
                  <a:pt x="25" y="132"/>
                </a:lnTo>
                <a:lnTo>
                  <a:pt x="22" y="130"/>
                </a:lnTo>
                <a:lnTo>
                  <a:pt x="21" y="130"/>
                </a:lnTo>
                <a:lnTo>
                  <a:pt x="21" y="131"/>
                </a:lnTo>
                <a:lnTo>
                  <a:pt x="20" y="131"/>
                </a:lnTo>
                <a:lnTo>
                  <a:pt x="20" y="130"/>
                </a:lnTo>
                <a:lnTo>
                  <a:pt x="18" y="129"/>
                </a:lnTo>
                <a:lnTo>
                  <a:pt x="18" y="126"/>
                </a:lnTo>
                <a:lnTo>
                  <a:pt x="15" y="125"/>
                </a:lnTo>
                <a:lnTo>
                  <a:pt x="14" y="123"/>
                </a:lnTo>
                <a:lnTo>
                  <a:pt x="13" y="121"/>
                </a:lnTo>
                <a:lnTo>
                  <a:pt x="12" y="121"/>
                </a:lnTo>
                <a:lnTo>
                  <a:pt x="12" y="119"/>
                </a:lnTo>
                <a:lnTo>
                  <a:pt x="13" y="119"/>
                </a:lnTo>
                <a:lnTo>
                  <a:pt x="13" y="117"/>
                </a:lnTo>
                <a:lnTo>
                  <a:pt x="12" y="117"/>
                </a:lnTo>
                <a:lnTo>
                  <a:pt x="9" y="114"/>
                </a:lnTo>
                <a:lnTo>
                  <a:pt x="8" y="112"/>
                </a:lnTo>
                <a:lnTo>
                  <a:pt x="9" y="111"/>
                </a:lnTo>
                <a:lnTo>
                  <a:pt x="9" y="108"/>
                </a:lnTo>
                <a:lnTo>
                  <a:pt x="7" y="106"/>
                </a:lnTo>
                <a:lnTo>
                  <a:pt x="3" y="107"/>
                </a:lnTo>
                <a:lnTo>
                  <a:pt x="0" y="107"/>
                </a:lnTo>
                <a:lnTo>
                  <a:pt x="1" y="106"/>
                </a:lnTo>
                <a:lnTo>
                  <a:pt x="2" y="104"/>
                </a:lnTo>
                <a:lnTo>
                  <a:pt x="3" y="104"/>
                </a:lnTo>
                <a:lnTo>
                  <a:pt x="5" y="102"/>
                </a:lnTo>
                <a:lnTo>
                  <a:pt x="6" y="102"/>
                </a:lnTo>
                <a:lnTo>
                  <a:pt x="6" y="100"/>
                </a:lnTo>
                <a:lnTo>
                  <a:pt x="7" y="100"/>
                </a:lnTo>
                <a:lnTo>
                  <a:pt x="7" y="99"/>
                </a:lnTo>
                <a:lnTo>
                  <a:pt x="8" y="98"/>
                </a:lnTo>
                <a:lnTo>
                  <a:pt x="13" y="98"/>
                </a:lnTo>
                <a:lnTo>
                  <a:pt x="13" y="99"/>
                </a:lnTo>
                <a:lnTo>
                  <a:pt x="15" y="99"/>
                </a:lnTo>
                <a:lnTo>
                  <a:pt x="16" y="98"/>
                </a:lnTo>
                <a:lnTo>
                  <a:pt x="15" y="96"/>
                </a:lnTo>
                <a:lnTo>
                  <a:pt x="14" y="96"/>
                </a:lnTo>
                <a:lnTo>
                  <a:pt x="16" y="95"/>
                </a:lnTo>
                <a:lnTo>
                  <a:pt x="16" y="94"/>
                </a:lnTo>
                <a:lnTo>
                  <a:pt x="15" y="94"/>
                </a:lnTo>
                <a:lnTo>
                  <a:pt x="15" y="92"/>
                </a:lnTo>
                <a:lnTo>
                  <a:pt x="16" y="92"/>
                </a:lnTo>
                <a:lnTo>
                  <a:pt x="18" y="90"/>
                </a:lnTo>
                <a:lnTo>
                  <a:pt x="18" y="89"/>
                </a:lnTo>
                <a:lnTo>
                  <a:pt x="14" y="89"/>
                </a:lnTo>
                <a:lnTo>
                  <a:pt x="14" y="87"/>
                </a:lnTo>
                <a:lnTo>
                  <a:pt x="13" y="87"/>
                </a:lnTo>
                <a:lnTo>
                  <a:pt x="13" y="86"/>
                </a:lnTo>
                <a:lnTo>
                  <a:pt x="14" y="84"/>
                </a:lnTo>
                <a:lnTo>
                  <a:pt x="14" y="83"/>
                </a:lnTo>
                <a:lnTo>
                  <a:pt x="16" y="81"/>
                </a:lnTo>
                <a:lnTo>
                  <a:pt x="15" y="80"/>
                </a:lnTo>
                <a:lnTo>
                  <a:pt x="14" y="77"/>
                </a:lnTo>
                <a:lnTo>
                  <a:pt x="14" y="74"/>
                </a:lnTo>
                <a:lnTo>
                  <a:pt x="15" y="73"/>
                </a:lnTo>
                <a:lnTo>
                  <a:pt x="16" y="74"/>
                </a:lnTo>
                <a:lnTo>
                  <a:pt x="21" y="71"/>
                </a:lnTo>
                <a:lnTo>
                  <a:pt x="22" y="70"/>
                </a:lnTo>
                <a:lnTo>
                  <a:pt x="24" y="70"/>
                </a:lnTo>
                <a:lnTo>
                  <a:pt x="22" y="68"/>
                </a:lnTo>
                <a:lnTo>
                  <a:pt x="24" y="67"/>
                </a:lnTo>
                <a:lnTo>
                  <a:pt x="25" y="67"/>
                </a:lnTo>
                <a:lnTo>
                  <a:pt x="25" y="64"/>
                </a:lnTo>
                <a:lnTo>
                  <a:pt x="24" y="63"/>
                </a:lnTo>
                <a:lnTo>
                  <a:pt x="24" y="61"/>
                </a:lnTo>
                <a:lnTo>
                  <a:pt x="22" y="59"/>
                </a:lnTo>
                <a:lnTo>
                  <a:pt x="20" y="59"/>
                </a:lnTo>
                <a:lnTo>
                  <a:pt x="18" y="58"/>
                </a:lnTo>
                <a:lnTo>
                  <a:pt x="16" y="58"/>
                </a:lnTo>
                <a:lnTo>
                  <a:pt x="14" y="57"/>
                </a:lnTo>
                <a:lnTo>
                  <a:pt x="14" y="55"/>
                </a:lnTo>
                <a:lnTo>
                  <a:pt x="15" y="56"/>
                </a:lnTo>
                <a:lnTo>
                  <a:pt x="16" y="55"/>
                </a:lnTo>
                <a:lnTo>
                  <a:pt x="18" y="55"/>
                </a:lnTo>
                <a:lnTo>
                  <a:pt x="18" y="53"/>
                </a:lnTo>
                <a:lnTo>
                  <a:pt x="19" y="53"/>
                </a:lnTo>
                <a:lnTo>
                  <a:pt x="18" y="52"/>
                </a:lnTo>
                <a:lnTo>
                  <a:pt x="19" y="52"/>
                </a:lnTo>
                <a:lnTo>
                  <a:pt x="20" y="51"/>
                </a:lnTo>
                <a:lnTo>
                  <a:pt x="21" y="51"/>
                </a:lnTo>
                <a:lnTo>
                  <a:pt x="25" y="52"/>
                </a:lnTo>
                <a:lnTo>
                  <a:pt x="26" y="53"/>
                </a:lnTo>
                <a:lnTo>
                  <a:pt x="26" y="55"/>
                </a:lnTo>
                <a:lnTo>
                  <a:pt x="27" y="56"/>
                </a:lnTo>
                <a:lnTo>
                  <a:pt x="31" y="56"/>
                </a:lnTo>
                <a:lnTo>
                  <a:pt x="31" y="55"/>
                </a:lnTo>
                <a:lnTo>
                  <a:pt x="32" y="53"/>
                </a:lnTo>
                <a:lnTo>
                  <a:pt x="32" y="56"/>
                </a:lnTo>
                <a:lnTo>
                  <a:pt x="34" y="56"/>
                </a:lnTo>
                <a:lnTo>
                  <a:pt x="38" y="55"/>
                </a:lnTo>
                <a:lnTo>
                  <a:pt x="41" y="55"/>
                </a:lnTo>
                <a:lnTo>
                  <a:pt x="41" y="53"/>
                </a:lnTo>
                <a:lnTo>
                  <a:pt x="40" y="53"/>
                </a:lnTo>
                <a:lnTo>
                  <a:pt x="40" y="46"/>
                </a:lnTo>
                <a:lnTo>
                  <a:pt x="39" y="46"/>
                </a:lnTo>
                <a:lnTo>
                  <a:pt x="39" y="45"/>
                </a:lnTo>
                <a:lnTo>
                  <a:pt x="38" y="45"/>
                </a:lnTo>
                <a:lnTo>
                  <a:pt x="38" y="44"/>
                </a:lnTo>
                <a:lnTo>
                  <a:pt x="40" y="44"/>
                </a:lnTo>
                <a:lnTo>
                  <a:pt x="41" y="43"/>
                </a:lnTo>
                <a:lnTo>
                  <a:pt x="41" y="39"/>
                </a:lnTo>
                <a:lnTo>
                  <a:pt x="43" y="39"/>
                </a:lnTo>
                <a:lnTo>
                  <a:pt x="43" y="38"/>
                </a:lnTo>
                <a:lnTo>
                  <a:pt x="41" y="38"/>
                </a:lnTo>
                <a:lnTo>
                  <a:pt x="44" y="35"/>
                </a:lnTo>
                <a:lnTo>
                  <a:pt x="46" y="34"/>
                </a:lnTo>
                <a:lnTo>
                  <a:pt x="47" y="34"/>
                </a:lnTo>
                <a:lnTo>
                  <a:pt x="50" y="35"/>
                </a:lnTo>
                <a:lnTo>
                  <a:pt x="52" y="35"/>
                </a:lnTo>
                <a:lnTo>
                  <a:pt x="53" y="37"/>
                </a:lnTo>
                <a:lnTo>
                  <a:pt x="58" y="43"/>
                </a:lnTo>
                <a:lnTo>
                  <a:pt x="59" y="44"/>
                </a:lnTo>
                <a:lnTo>
                  <a:pt x="61" y="44"/>
                </a:lnTo>
                <a:lnTo>
                  <a:pt x="62" y="46"/>
                </a:lnTo>
                <a:lnTo>
                  <a:pt x="64" y="46"/>
                </a:lnTo>
                <a:lnTo>
                  <a:pt x="65" y="47"/>
                </a:lnTo>
                <a:lnTo>
                  <a:pt x="66" y="47"/>
                </a:lnTo>
                <a:lnTo>
                  <a:pt x="66" y="49"/>
                </a:lnTo>
                <a:lnTo>
                  <a:pt x="69" y="50"/>
                </a:lnTo>
                <a:lnTo>
                  <a:pt x="70" y="51"/>
                </a:lnTo>
                <a:lnTo>
                  <a:pt x="92" y="51"/>
                </a:lnTo>
                <a:lnTo>
                  <a:pt x="95" y="50"/>
                </a:lnTo>
                <a:lnTo>
                  <a:pt x="103" y="49"/>
                </a:lnTo>
                <a:lnTo>
                  <a:pt x="106" y="49"/>
                </a:lnTo>
                <a:lnTo>
                  <a:pt x="107" y="50"/>
                </a:lnTo>
                <a:lnTo>
                  <a:pt x="109" y="50"/>
                </a:lnTo>
                <a:lnTo>
                  <a:pt x="112" y="47"/>
                </a:lnTo>
                <a:lnTo>
                  <a:pt x="113" y="47"/>
                </a:lnTo>
                <a:lnTo>
                  <a:pt x="114" y="46"/>
                </a:lnTo>
                <a:lnTo>
                  <a:pt x="115" y="46"/>
                </a:lnTo>
                <a:lnTo>
                  <a:pt x="113" y="45"/>
                </a:lnTo>
                <a:lnTo>
                  <a:pt x="112" y="44"/>
                </a:lnTo>
                <a:lnTo>
                  <a:pt x="112" y="37"/>
                </a:lnTo>
                <a:lnTo>
                  <a:pt x="114" y="37"/>
                </a:lnTo>
                <a:lnTo>
                  <a:pt x="115" y="34"/>
                </a:lnTo>
                <a:lnTo>
                  <a:pt x="115" y="33"/>
                </a:lnTo>
                <a:lnTo>
                  <a:pt x="120" y="32"/>
                </a:lnTo>
                <a:lnTo>
                  <a:pt x="124" y="32"/>
                </a:lnTo>
                <a:lnTo>
                  <a:pt x="127" y="31"/>
                </a:lnTo>
                <a:lnTo>
                  <a:pt x="132" y="32"/>
                </a:lnTo>
                <a:lnTo>
                  <a:pt x="134" y="31"/>
                </a:lnTo>
                <a:lnTo>
                  <a:pt x="140" y="31"/>
                </a:lnTo>
                <a:lnTo>
                  <a:pt x="143" y="28"/>
                </a:lnTo>
                <a:lnTo>
                  <a:pt x="143" y="27"/>
                </a:lnTo>
                <a:lnTo>
                  <a:pt x="144" y="26"/>
                </a:lnTo>
                <a:lnTo>
                  <a:pt x="144" y="22"/>
                </a:lnTo>
                <a:lnTo>
                  <a:pt x="145" y="22"/>
                </a:lnTo>
                <a:lnTo>
                  <a:pt x="149" y="21"/>
                </a:lnTo>
                <a:lnTo>
                  <a:pt x="150" y="21"/>
                </a:lnTo>
                <a:lnTo>
                  <a:pt x="150" y="22"/>
                </a:lnTo>
                <a:lnTo>
                  <a:pt x="151" y="24"/>
                </a:lnTo>
                <a:lnTo>
                  <a:pt x="153" y="22"/>
                </a:lnTo>
                <a:lnTo>
                  <a:pt x="155" y="24"/>
                </a:lnTo>
                <a:lnTo>
                  <a:pt x="155" y="26"/>
                </a:lnTo>
                <a:lnTo>
                  <a:pt x="158" y="26"/>
                </a:lnTo>
                <a:lnTo>
                  <a:pt x="161" y="28"/>
                </a:lnTo>
                <a:lnTo>
                  <a:pt x="162" y="27"/>
                </a:lnTo>
                <a:lnTo>
                  <a:pt x="164" y="26"/>
                </a:lnTo>
                <a:lnTo>
                  <a:pt x="164" y="25"/>
                </a:lnTo>
                <a:lnTo>
                  <a:pt x="167" y="25"/>
                </a:lnTo>
                <a:lnTo>
                  <a:pt x="168" y="24"/>
                </a:lnTo>
                <a:lnTo>
                  <a:pt x="169" y="24"/>
                </a:lnTo>
                <a:lnTo>
                  <a:pt x="169" y="22"/>
                </a:lnTo>
                <a:lnTo>
                  <a:pt x="170" y="21"/>
                </a:lnTo>
                <a:lnTo>
                  <a:pt x="170" y="20"/>
                </a:lnTo>
                <a:lnTo>
                  <a:pt x="173" y="20"/>
                </a:lnTo>
                <a:lnTo>
                  <a:pt x="174" y="19"/>
                </a:lnTo>
                <a:lnTo>
                  <a:pt x="175" y="19"/>
                </a:lnTo>
                <a:lnTo>
                  <a:pt x="176" y="20"/>
                </a:lnTo>
                <a:lnTo>
                  <a:pt x="180" y="16"/>
                </a:lnTo>
                <a:lnTo>
                  <a:pt x="181" y="14"/>
                </a:lnTo>
                <a:lnTo>
                  <a:pt x="182" y="9"/>
                </a:lnTo>
                <a:lnTo>
                  <a:pt x="182" y="8"/>
                </a:lnTo>
                <a:lnTo>
                  <a:pt x="183" y="8"/>
                </a:lnTo>
                <a:lnTo>
                  <a:pt x="186" y="6"/>
                </a:lnTo>
                <a:lnTo>
                  <a:pt x="186" y="4"/>
                </a:lnTo>
                <a:lnTo>
                  <a:pt x="184" y="3"/>
                </a:lnTo>
                <a:lnTo>
                  <a:pt x="186" y="2"/>
                </a:lnTo>
                <a:lnTo>
                  <a:pt x="189" y="2"/>
                </a:lnTo>
                <a:lnTo>
                  <a:pt x="198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" name="Freeform 38">
            <a:extLst>
              <a:ext uri="{FF2B5EF4-FFF2-40B4-BE49-F238E27FC236}">
                <a16:creationId xmlns:a16="http://schemas.microsoft.com/office/drawing/2014/main" id="{509CF877-DB59-4D2E-9FA8-5D22258FDF74}"/>
              </a:ext>
            </a:extLst>
          </p:cNvPr>
          <p:cNvSpPr>
            <a:spLocks noEditPoints="1"/>
          </p:cNvSpPr>
          <p:nvPr/>
        </p:nvSpPr>
        <p:spPr bwMode="auto">
          <a:xfrm>
            <a:off x="2432867" y="5442072"/>
            <a:ext cx="524516" cy="540455"/>
          </a:xfrm>
          <a:custGeom>
            <a:avLst/>
            <a:gdLst/>
            <a:ahLst/>
            <a:cxnLst>
              <a:cxn ang="0">
                <a:pos x="191" y="339"/>
              </a:cxn>
              <a:cxn ang="0">
                <a:pos x="268" y="351"/>
              </a:cxn>
              <a:cxn ang="0">
                <a:pos x="208" y="357"/>
              </a:cxn>
              <a:cxn ang="0">
                <a:pos x="318" y="326"/>
              </a:cxn>
              <a:cxn ang="0">
                <a:pos x="139" y="292"/>
              </a:cxn>
              <a:cxn ang="0">
                <a:pos x="348" y="313"/>
              </a:cxn>
              <a:cxn ang="0">
                <a:pos x="329" y="289"/>
              </a:cxn>
              <a:cxn ang="0">
                <a:pos x="346" y="282"/>
              </a:cxn>
              <a:cxn ang="0">
                <a:pos x="200" y="274"/>
              </a:cxn>
              <a:cxn ang="0">
                <a:pos x="211" y="270"/>
              </a:cxn>
              <a:cxn ang="0">
                <a:pos x="270" y="264"/>
              </a:cxn>
              <a:cxn ang="0">
                <a:pos x="306" y="255"/>
              </a:cxn>
              <a:cxn ang="0">
                <a:pos x="232" y="255"/>
              </a:cxn>
              <a:cxn ang="0">
                <a:pos x="204" y="252"/>
              </a:cxn>
              <a:cxn ang="0">
                <a:pos x="203" y="238"/>
              </a:cxn>
              <a:cxn ang="0">
                <a:pos x="162" y="231"/>
              </a:cxn>
              <a:cxn ang="0">
                <a:pos x="232" y="226"/>
              </a:cxn>
              <a:cxn ang="0">
                <a:pos x="309" y="219"/>
              </a:cxn>
              <a:cxn ang="0">
                <a:pos x="50" y="222"/>
              </a:cxn>
              <a:cxn ang="0">
                <a:pos x="216" y="213"/>
              </a:cxn>
              <a:cxn ang="0">
                <a:pos x="45" y="185"/>
              </a:cxn>
              <a:cxn ang="0">
                <a:pos x="38" y="186"/>
              </a:cxn>
              <a:cxn ang="0">
                <a:pos x="266" y="195"/>
              </a:cxn>
              <a:cxn ang="0">
                <a:pos x="54" y="172"/>
              </a:cxn>
              <a:cxn ang="0">
                <a:pos x="141" y="159"/>
              </a:cxn>
              <a:cxn ang="0">
                <a:pos x="160" y="154"/>
              </a:cxn>
              <a:cxn ang="0">
                <a:pos x="206" y="208"/>
              </a:cxn>
              <a:cxn ang="0">
                <a:pos x="161" y="171"/>
              </a:cxn>
              <a:cxn ang="0">
                <a:pos x="161" y="140"/>
              </a:cxn>
              <a:cxn ang="0">
                <a:pos x="282" y="133"/>
              </a:cxn>
              <a:cxn ang="0">
                <a:pos x="280" y="141"/>
              </a:cxn>
              <a:cxn ang="0">
                <a:pos x="12" y="109"/>
              </a:cxn>
              <a:cxn ang="0">
                <a:pos x="6" y="108"/>
              </a:cxn>
              <a:cxn ang="0">
                <a:pos x="229" y="98"/>
              </a:cxn>
              <a:cxn ang="0">
                <a:pos x="208" y="63"/>
              </a:cxn>
              <a:cxn ang="0">
                <a:pos x="284" y="41"/>
              </a:cxn>
              <a:cxn ang="0">
                <a:pos x="225" y="44"/>
              </a:cxn>
              <a:cxn ang="0">
                <a:pos x="173" y="62"/>
              </a:cxn>
              <a:cxn ang="0">
                <a:pos x="170" y="79"/>
              </a:cxn>
              <a:cxn ang="0">
                <a:pos x="156" y="85"/>
              </a:cxn>
              <a:cxn ang="0">
                <a:pos x="137" y="62"/>
              </a:cxn>
              <a:cxn ang="0">
                <a:pos x="138" y="120"/>
              </a:cxn>
              <a:cxn ang="0">
                <a:pos x="136" y="143"/>
              </a:cxn>
              <a:cxn ang="0">
                <a:pos x="124" y="160"/>
              </a:cxn>
              <a:cxn ang="0">
                <a:pos x="167" y="182"/>
              </a:cxn>
              <a:cxn ang="0">
                <a:pos x="180" y="217"/>
              </a:cxn>
              <a:cxn ang="0">
                <a:pos x="149" y="222"/>
              </a:cxn>
              <a:cxn ang="0">
                <a:pos x="147" y="240"/>
              </a:cxn>
              <a:cxn ang="0">
                <a:pos x="143" y="265"/>
              </a:cxn>
              <a:cxn ang="0">
                <a:pos x="124" y="272"/>
              </a:cxn>
              <a:cxn ang="0">
                <a:pos x="99" y="258"/>
              </a:cxn>
              <a:cxn ang="0">
                <a:pos x="67" y="216"/>
              </a:cxn>
              <a:cxn ang="0">
                <a:pos x="139" y="209"/>
              </a:cxn>
              <a:cxn ang="0">
                <a:pos x="129" y="189"/>
              </a:cxn>
              <a:cxn ang="0">
                <a:pos x="89" y="186"/>
              </a:cxn>
              <a:cxn ang="0">
                <a:pos x="58" y="174"/>
              </a:cxn>
              <a:cxn ang="0">
                <a:pos x="61" y="149"/>
              </a:cxn>
              <a:cxn ang="0">
                <a:pos x="25" y="129"/>
              </a:cxn>
              <a:cxn ang="0">
                <a:pos x="43" y="92"/>
              </a:cxn>
              <a:cxn ang="0">
                <a:pos x="94" y="40"/>
              </a:cxn>
              <a:cxn ang="0">
                <a:pos x="155" y="20"/>
              </a:cxn>
              <a:cxn ang="0">
                <a:pos x="213" y="19"/>
              </a:cxn>
              <a:cxn ang="0">
                <a:pos x="275" y="12"/>
              </a:cxn>
            </a:cxnLst>
            <a:rect l="0" t="0" r="r" b="b"/>
            <a:pathLst>
              <a:path w="362" h="373">
                <a:moveTo>
                  <a:pt x="187" y="369"/>
                </a:moveTo>
                <a:lnTo>
                  <a:pt x="188" y="369"/>
                </a:lnTo>
                <a:lnTo>
                  <a:pt x="189" y="370"/>
                </a:lnTo>
                <a:lnTo>
                  <a:pt x="188" y="370"/>
                </a:lnTo>
                <a:lnTo>
                  <a:pt x="188" y="372"/>
                </a:lnTo>
                <a:lnTo>
                  <a:pt x="189" y="372"/>
                </a:lnTo>
                <a:lnTo>
                  <a:pt x="189" y="373"/>
                </a:lnTo>
                <a:lnTo>
                  <a:pt x="188" y="373"/>
                </a:lnTo>
                <a:lnTo>
                  <a:pt x="186" y="370"/>
                </a:lnTo>
                <a:lnTo>
                  <a:pt x="187" y="370"/>
                </a:lnTo>
                <a:lnTo>
                  <a:pt x="187" y="369"/>
                </a:lnTo>
                <a:close/>
                <a:moveTo>
                  <a:pt x="280" y="346"/>
                </a:moveTo>
                <a:lnTo>
                  <a:pt x="281" y="346"/>
                </a:lnTo>
                <a:lnTo>
                  <a:pt x="281" y="348"/>
                </a:lnTo>
                <a:lnTo>
                  <a:pt x="280" y="348"/>
                </a:lnTo>
                <a:lnTo>
                  <a:pt x="280" y="346"/>
                </a:lnTo>
                <a:close/>
                <a:moveTo>
                  <a:pt x="309" y="341"/>
                </a:moveTo>
                <a:lnTo>
                  <a:pt x="310" y="341"/>
                </a:lnTo>
                <a:lnTo>
                  <a:pt x="310" y="343"/>
                </a:lnTo>
                <a:lnTo>
                  <a:pt x="307" y="343"/>
                </a:lnTo>
                <a:lnTo>
                  <a:pt x="307" y="344"/>
                </a:lnTo>
                <a:lnTo>
                  <a:pt x="306" y="344"/>
                </a:lnTo>
                <a:lnTo>
                  <a:pt x="305" y="345"/>
                </a:lnTo>
                <a:lnTo>
                  <a:pt x="304" y="344"/>
                </a:lnTo>
                <a:lnTo>
                  <a:pt x="304" y="343"/>
                </a:lnTo>
                <a:lnTo>
                  <a:pt x="305" y="342"/>
                </a:lnTo>
                <a:lnTo>
                  <a:pt x="307" y="342"/>
                </a:lnTo>
                <a:lnTo>
                  <a:pt x="309" y="341"/>
                </a:lnTo>
                <a:close/>
                <a:moveTo>
                  <a:pt x="173" y="327"/>
                </a:moveTo>
                <a:lnTo>
                  <a:pt x="174" y="327"/>
                </a:lnTo>
                <a:lnTo>
                  <a:pt x="174" y="333"/>
                </a:lnTo>
                <a:lnTo>
                  <a:pt x="176" y="336"/>
                </a:lnTo>
                <a:lnTo>
                  <a:pt x="186" y="336"/>
                </a:lnTo>
                <a:lnTo>
                  <a:pt x="186" y="335"/>
                </a:lnTo>
                <a:lnTo>
                  <a:pt x="187" y="335"/>
                </a:lnTo>
                <a:lnTo>
                  <a:pt x="187" y="332"/>
                </a:lnTo>
                <a:lnTo>
                  <a:pt x="192" y="332"/>
                </a:lnTo>
                <a:lnTo>
                  <a:pt x="192" y="337"/>
                </a:lnTo>
                <a:lnTo>
                  <a:pt x="187" y="337"/>
                </a:lnTo>
                <a:lnTo>
                  <a:pt x="187" y="338"/>
                </a:lnTo>
                <a:lnTo>
                  <a:pt x="189" y="338"/>
                </a:lnTo>
                <a:lnTo>
                  <a:pt x="191" y="339"/>
                </a:lnTo>
                <a:lnTo>
                  <a:pt x="193" y="339"/>
                </a:lnTo>
                <a:lnTo>
                  <a:pt x="194" y="338"/>
                </a:lnTo>
                <a:lnTo>
                  <a:pt x="194" y="344"/>
                </a:lnTo>
                <a:lnTo>
                  <a:pt x="197" y="344"/>
                </a:lnTo>
                <a:lnTo>
                  <a:pt x="198" y="345"/>
                </a:lnTo>
                <a:lnTo>
                  <a:pt x="201" y="344"/>
                </a:lnTo>
                <a:lnTo>
                  <a:pt x="204" y="344"/>
                </a:lnTo>
                <a:lnTo>
                  <a:pt x="207" y="343"/>
                </a:lnTo>
                <a:lnTo>
                  <a:pt x="208" y="343"/>
                </a:lnTo>
                <a:lnTo>
                  <a:pt x="211" y="342"/>
                </a:lnTo>
                <a:lnTo>
                  <a:pt x="212" y="341"/>
                </a:lnTo>
                <a:lnTo>
                  <a:pt x="214" y="341"/>
                </a:lnTo>
                <a:lnTo>
                  <a:pt x="218" y="342"/>
                </a:lnTo>
                <a:lnTo>
                  <a:pt x="220" y="342"/>
                </a:lnTo>
                <a:lnTo>
                  <a:pt x="222" y="341"/>
                </a:lnTo>
                <a:lnTo>
                  <a:pt x="224" y="342"/>
                </a:lnTo>
                <a:lnTo>
                  <a:pt x="224" y="341"/>
                </a:lnTo>
                <a:lnTo>
                  <a:pt x="226" y="342"/>
                </a:lnTo>
                <a:lnTo>
                  <a:pt x="228" y="342"/>
                </a:lnTo>
                <a:lnTo>
                  <a:pt x="228" y="344"/>
                </a:lnTo>
                <a:lnTo>
                  <a:pt x="229" y="345"/>
                </a:lnTo>
                <a:lnTo>
                  <a:pt x="242" y="345"/>
                </a:lnTo>
                <a:lnTo>
                  <a:pt x="242" y="346"/>
                </a:lnTo>
                <a:lnTo>
                  <a:pt x="243" y="346"/>
                </a:lnTo>
                <a:lnTo>
                  <a:pt x="243" y="348"/>
                </a:lnTo>
                <a:lnTo>
                  <a:pt x="247" y="348"/>
                </a:lnTo>
                <a:lnTo>
                  <a:pt x="253" y="345"/>
                </a:lnTo>
                <a:lnTo>
                  <a:pt x="259" y="345"/>
                </a:lnTo>
                <a:lnTo>
                  <a:pt x="256" y="348"/>
                </a:lnTo>
                <a:lnTo>
                  <a:pt x="256" y="349"/>
                </a:lnTo>
                <a:lnTo>
                  <a:pt x="257" y="350"/>
                </a:lnTo>
                <a:lnTo>
                  <a:pt x="256" y="350"/>
                </a:lnTo>
                <a:lnTo>
                  <a:pt x="256" y="356"/>
                </a:lnTo>
                <a:lnTo>
                  <a:pt x="259" y="356"/>
                </a:lnTo>
                <a:lnTo>
                  <a:pt x="259" y="357"/>
                </a:lnTo>
                <a:lnTo>
                  <a:pt x="260" y="357"/>
                </a:lnTo>
                <a:lnTo>
                  <a:pt x="261" y="356"/>
                </a:lnTo>
                <a:lnTo>
                  <a:pt x="261" y="355"/>
                </a:lnTo>
                <a:lnTo>
                  <a:pt x="263" y="355"/>
                </a:lnTo>
                <a:lnTo>
                  <a:pt x="263" y="354"/>
                </a:lnTo>
                <a:lnTo>
                  <a:pt x="266" y="354"/>
                </a:lnTo>
                <a:lnTo>
                  <a:pt x="268" y="351"/>
                </a:lnTo>
                <a:lnTo>
                  <a:pt x="273" y="351"/>
                </a:lnTo>
                <a:lnTo>
                  <a:pt x="273" y="352"/>
                </a:lnTo>
                <a:lnTo>
                  <a:pt x="275" y="352"/>
                </a:lnTo>
                <a:lnTo>
                  <a:pt x="278" y="350"/>
                </a:lnTo>
                <a:lnTo>
                  <a:pt x="278" y="349"/>
                </a:lnTo>
                <a:lnTo>
                  <a:pt x="279" y="348"/>
                </a:lnTo>
                <a:lnTo>
                  <a:pt x="280" y="348"/>
                </a:lnTo>
                <a:lnTo>
                  <a:pt x="280" y="349"/>
                </a:lnTo>
                <a:lnTo>
                  <a:pt x="279" y="350"/>
                </a:lnTo>
                <a:lnTo>
                  <a:pt x="280" y="352"/>
                </a:lnTo>
                <a:lnTo>
                  <a:pt x="280" y="354"/>
                </a:lnTo>
                <a:lnTo>
                  <a:pt x="281" y="352"/>
                </a:lnTo>
                <a:lnTo>
                  <a:pt x="281" y="354"/>
                </a:lnTo>
                <a:lnTo>
                  <a:pt x="280" y="355"/>
                </a:lnTo>
                <a:lnTo>
                  <a:pt x="280" y="357"/>
                </a:lnTo>
                <a:lnTo>
                  <a:pt x="279" y="358"/>
                </a:lnTo>
                <a:lnTo>
                  <a:pt x="279" y="360"/>
                </a:lnTo>
                <a:lnTo>
                  <a:pt x="276" y="362"/>
                </a:lnTo>
                <a:lnTo>
                  <a:pt x="274" y="363"/>
                </a:lnTo>
                <a:lnTo>
                  <a:pt x="273" y="363"/>
                </a:lnTo>
                <a:lnTo>
                  <a:pt x="272" y="362"/>
                </a:lnTo>
                <a:lnTo>
                  <a:pt x="269" y="362"/>
                </a:lnTo>
                <a:lnTo>
                  <a:pt x="268" y="361"/>
                </a:lnTo>
                <a:lnTo>
                  <a:pt x="265" y="361"/>
                </a:lnTo>
                <a:lnTo>
                  <a:pt x="263" y="362"/>
                </a:lnTo>
                <a:lnTo>
                  <a:pt x="251" y="362"/>
                </a:lnTo>
                <a:lnTo>
                  <a:pt x="248" y="363"/>
                </a:lnTo>
                <a:lnTo>
                  <a:pt x="238" y="363"/>
                </a:lnTo>
                <a:lnTo>
                  <a:pt x="238" y="364"/>
                </a:lnTo>
                <a:lnTo>
                  <a:pt x="237" y="364"/>
                </a:lnTo>
                <a:lnTo>
                  <a:pt x="235" y="366"/>
                </a:lnTo>
                <a:lnTo>
                  <a:pt x="228" y="366"/>
                </a:lnTo>
                <a:lnTo>
                  <a:pt x="226" y="367"/>
                </a:lnTo>
                <a:lnTo>
                  <a:pt x="226" y="366"/>
                </a:lnTo>
                <a:lnTo>
                  <a:pt x="225" y="366"/>
                </a:lnTo>
                <a:lnTo>
                  <a:pt x="214" y="367"/>
                </a:lnTo>
                <a:lnTo>
                  <a:pt x="214" y="366"/>
                </a:lnTo>
                <a:lnTo>
                  <a:pt x="216" y="366"/>
                </a:lnTo>
                <a:lnTo>
                  <a:pt x="216" y="360"/>
                </a:lnTo>
                <a:lnTo>
                  <a:pt x="214" y="358"/>
                </a:lnTo>
                <a:lnTo>
                  <a:pt x="210" y="358"/>
                </a:lnTo>
                <a:lnTo>
                  <a:pt x="208" y="357"/>
                </a:lnTo>
                <a:lnTo>
                  <a:pt x="207" y="357"/>
                </a:lnTo>
                <a:lnTo>
                  <a:pt x="206" y="356"/>
                </a:lnTo>
                <a:lnTo>
                  <a:pt x="205" y="356"/>
                </a:lnTo>
                <a:lnTo>
                  <a:pt x="205" y="355"/>
                </a:lnTo>
                <a:lnTo>
                  <a:pt x="203" y="355"/>
                </a:lnTo>
                <a:lnTo>
                  <a:pt x="200" y="354"/>
                </a:lnTo>
                <a:lnTo>
                  <a:pt x="193" y="354"/>
                </a:lnTo>
                <a:lnTo>
                  <a:pt x="193" y="352"/>
                </a:lnTo>
                <a:lnTo>
                  <a:pt x="187" y="352"/>
                </a:lnTo>
                <a:lnTo>
                  <a:pt x="186" y="354"/>
                </a:lnTo>
                <a:lnTo>
                  <a:pt x="183" y="351"/>
                </a:lnTo>
                <a:lnTo>
                  <a:pt x="178" y="351"/>
                </a:lnTo>
                <a:lnTo>
                  <a:pt x="176" y="350"/>
                </a:lnTo>
                <a:lnTo>
                  <a:pt x="175" y="350"/>
                </a:lnTo>
                <a:lnTo>
                  <a:pt x="174" y="351"/>
                </a:lnTo>
                <a:lnTo>
                  <a:pt x="167" y="351"/>
                </a:lnTo>
                <a:lnTo>
                  <a:pt x="166" y="350"/>
                </a:lnTo>
                <a:lnTo>
                  <a:pt x="166" y="349"/>
                </a:lnTo>
                <a:lnTo>
                  <a:pt x="164" y="349"/>
                </a:lnTo>
                <a:lnTo>
                  <a:pt x="163" y="348"/>
                </a:lnTo>
                <a:lnTo>
                  <a:pt x="163" y="346"/>
                </a:lnTo>
                <a:lnTo>
                  <a:pt x="164" y="346"/>
                </a:lnTo>
                <a:lnTo>
                  <a:pt x="164" y="343"/>
                </a:lnTo>
                <a:lnTo>
                  <a:pt x="166" y="342"/>
                </a:lnTo>
                <a:lnTo>
                  <a:pt x="166" y="339"/>
                </a:lnTo>
                <a:lnTo>
                  <a:pt x="164" y="339"/>
                </a:lnTo>
                <a:lnTo>
                  <a:pt x="166" y="338"/>
                </a:lnTo>
                <a:lnTo>
                  <a:pt x="166" y="333"/>
                </a:lnTo>
                <a:lnTo>
                  <a:pt x="167" y="332"/>
                </a:lnTo>
                <a:lnTo>
                  <a:pt x="167" y="336"/>
                </a:lnTo>
                <a:lnTo>
                  <a:pt x="168" y="336"/>
                </a:lnTo>
                <a:lnTo>
                  <a:pt x="168" y="337"/>
                </a:lnTo>
                <a:lnTo>
                  <a:pt x="172" y="337"/>
                </a:lnTo>
                <a:lnTo>
                  <a:pt x="172" y="336"/>
                </a:lnTo>
                <a:lnTo>
                  <a:pt x="173" y="335"/>
                </a:lnTo>
                <a:lnTo>
                  <a:pt x="172" y="333"/>
                </a:lnTo>
                <a:lnTo>
                  <a:pt x="172" y="329"/>
                </a:lnTo>
                <a:lnTo>
                  <a:pt x="173" y="327"/>
                </a:lnTo>
                <a:close/>
                <a:moveTo>
                  <a:pt x="318" y="320"/>
                </a:moveTo>
                <a:lnTo>
                  <a:pt x="319" y="320"/>
                </a:lnTo>
                <a:lnTo>
                  <a:pt x="319" y="326"/>
                </a:lnTo>
                <a:lnTo>
                  <a:pt x="318" y="326"/>
                </a:lnTo>
                <a:lnTo>
                  <a:pt x="318" y="329"/>
                </a:lnTo>
                <a:lnTo>
                  <a:pt x="317" y="329"/>
                </a:lnTo>
                <a:lnTo>
                  <a:pt x="317" y="331"/>
                </a:lnTo>
                <a:lnTo>
                  <a:pt x="318" y="332"/>
                </a:lnTo>
                <a:lnTo>
                  <a:pt x="319" y="335"/>
                </a:lnTo>
                <a:lnTo>
                  <a:pt x="319" y="337"/>
                </a:lnTo>
                <a:lnTo>
                  <a:pt x="321" y="337"/>
                </a:lnTo>
                <a:lnTo>
                  <a:pt x="318" y="339"/>
                </a:lnTo>
                <a:lnTo>
                  <a:pt x="317" y="339"/>
                </a:lnTo>
                <a:lnTo>
                  <a:pt x="317" y="342"/>
                </a:lnTo>
                <a:lnTo>
                  <a:pt x="316" y="342"/>
                </a:lnTo>
                <a:lnTo>
                  <a:pt x="316" y="341"/>
                </a:lnTo>
                <a:lnTo>
                  <a:pt x="315" y="341"/>
                </a:lnTo>
                <a:lnTo>
                  <a:pt x="315" y="333"/>
                </a:lnTo>
                <a:lnTo>
                  <a:pt x="313" y="333"/>
                </a:lnTo>
                <a:lnTo>
                  <a:pt x="313" y="330"/>
                </a:lnTo>
                <a:lnTo>
                  <a:pt x="315" y="330"/>
                </a:lnTo>
                <a:lnTo>
                  <a:pt x="316" y="329"/>
                </a:lnTo>
                <a:lnTo>
                  <a:pt x="316" y="327"/>
                </a:lnTo>
                <a:lnTo>
                  <a:pt x="317" y="326"/>
                </a:lnTo>
                <a:lnTo>
                  <a:pt x="317" y="321"/>
                </a:lnTo>
                <a:lnTo>
                  <a:pt x="318" y="321"/>
                </a:lnTo>
                <a:lnTo>
                  <a:pt x="318" y="320"/>
                </a:lnTo>
                <a:close/>
                <a:moveTo>
                  <a:pt x="152" y="317"/>
                </a:moveTo>
                <a:lnTo>
                  <a:pt x="154" y="317"/>
                </a:lnTo>
                <a:lnTo>
                  <a:pt x="155" y="318"/>
                </a:lnTo>
                <a:lnTo>
                  <a:pt x="155" y="319"/>
                </a:lnTo>
                <a:lnTo>
                  <a:pt x="154" y="319"/>
                </a:lnTo>
                <a:lnTo>
                  <a:pt x="154" y="318"/>
                </a:lnTo>
                <a:lnTo>
                  <a:pt x="152" y="317"/>
                </a:lnTo>
                <a:close/>
                <a:moveTo>
                  <a:pt x="332" y="299"/>
                </a:moveTo>
                <a:lnTo>
                  <a:pt x="336" y="299"/>
                </a:lnTo>
                <a:lnTo>
                  <a:pt x="336" y="300"/>
                </a:lnTo>
                <a:lnTo>
                  <a:pt x="332" y="300"/>
                </a:lnTo>
                <a:lnTo>
                  <a:pt x="332" y="299"/>
                </a:lnTo>
                <a:close/>
                <a:moveTo>
                  <a:pt x="257" y="290"/>
                </a:moveTo>
                <a:lnTo>
                  <a:pt x="260" y="290"/>
                </a:lnTo>
                <a:lnTo>
                  <a:pt x="262" y="293"/>
                </a:lnTo>
                <a:lnTo>
                  <a:pt x="257" y="293"/>
                </a:lnTo>
                <a:lnTo>
                  <a:pt x="257" y="290"/>
                </a:lnTo>
                <a:close/>
                <a:moveTo>
                  <a:pt x="139" y="290"/>
                </a:moveTo>
                <a:lnTo>
                  <a:pt x="139" y="292"/>
                </a:lnTo>
                <a:lnTo>
                  <a:pt x="142" y="294"/>
                </a:lnTo>
                <a:lnTo>
                  <a:pt x="142" y="295"/>
                </a:lnTo>
                <a:lnTo>
                  <a:pt x="144" y="298"/>
                </a:lnTo>
                <a:lnTo>
                  <a:pt x="145" y="298"/>
                </a:lnTo>
                <a:lnTo>
                  <a:pt x="145" y="299"/>
                </a:lnTo>
                <a:lnTo>
                  <a:pt x="144" y="300"/>
                </a:lnTo>
                <a:lnTo>
                  <a:pt x="144" y="301"/>
                </a:lnTo>
                <a:lnTo>
                  <a:pt x="143" y="303"/>
                </a:lnTo>
                <a:lnTo>
                  <a:pt x="141" y="303"/>
                </a:lnTo>
                <a:lnTo>
                  <a:pt x="139" y="302"/>
                </a:lnTo>
                <a:lnTo>
                  <a:pt x="138" y="302"/>
                </a:lnTo>
                <a:lnTo>
                  <a:pt x="138" y="301"/>
                </a:lnTo>
                <a:lnTo>
                  <a:pt x="137" y="300"/>
                </a:lnTo>
                <a:lnTo>
                  <a:pt x="138" y="298"/>
                </a:lnTo>
                <a:lnTo>
                  <a:pt x="138" y="296"/>
                </a:lnTo>
                <a:lnTo>
                  <a:pt x="137" y="295"/>
                </a:lnTo>
                <a:lnTo>
                  <a:pt x="137" y="294"/>
                </a:lnTo>
                <a:lnTo>
                  <a:pt x="138" y="292"/>
                </a:lnTo>
                <a:lnTo>
                  <a:pt x="139" y="290"/>
                </a:lnTo>
                <a:close/>
                <a:moveTo>
                  <a:pt x="361" y="288"/>
                </a:moveTo>
                <a:lnTo>
                  <a:pt x="362" y="288"/>
                </a:lnTo>
                <a:lnTo>
                  <a:pt x="362" y="292"/>
                </a:lnTo>
                <a:lnTo>
                  <a:pt x="361" y="293"/>
                </a:lnTo>
                <a:lnTo>
                  <a:pt x="361" y="295"/>
                </a:lnTo>
                <a:lnTo>
                  <a:pt x="360" y="296"/>
                </a:lnTo>
                <a:lnTo>
                  <a:pt x="360" y="299"/>
                </a:lnTo>
                <a:lnTo>
                  <a:pt x="359" y="299"/>
                </a:lnTo>
                <a:lnTo>
                  <a:pt x="359" y="300"/>
                </a:lnTo>
                <a:lnTo>
                  <a:pt x="357" y="301"/>
                </a:lnTo>
                <a:lnTo>
                  <a:pt x="356" y="301"/>
                </a:lnTo>
                <a:lnTo>
                  <a:pt x="356" y="302"/>
                </a:lnTo>
                <a:lnTo>
                  <a:pt x="355" y="305"/>
                </a:lnTo>
                <a:lnTo>
                  <a:pt x="355" y="306"/>
                </a:lnTo>
                <a:lnTo>
                  <a:pt x="356" y="306"/>
                </a:lnTo>
                <a:lnTo>
                  <a:pt x="356" y="307"/>
                </a:lnTo>
                <a:lnTo>
                  <a:pt x="355" y="307"/>
                </a:lnTo>
                <a:lnTo>
                  <a:pt x="356" y="308"/>
                </a:lnTo>
                <a:lnTo>
                  <a:pt x="354" y="307"/>
                </a:lnTo>
                <a:lnTo>
                  <a:pt x="353" y="307"/>
                </a:lnTo>
                <a:lnTo>
                  <a:pt x="350" y="309"/>
                </a:lnTo>
                <a:lnTo>
                  <a:pt x="349" y="309"/>
                </a:lnTo>
                <a:lnTo>
                  <a:pt x="348" y="313"/>
                </a:lnTo>
                <a:lnTo>
                  <a:pt x="346" y="315"/>
                </a:lnTo>
                <a:lnTo>
                  <a:pt x="343" y="317"/>
                </a:lnTo>
                <a:lnTo>
                  <a:pt x="341" y="315"/>
                </a:lnTo>
                <a:lnTo>
                  <a:pt x="340" y="314"/>
                </a:lnTo>
                <a:lnTo>
                  <a:pt x="341" y="313"/>
                </a:lnTo>
                <a:lnTo>
                  <a:pt x="342" y="309"/>
                </a:lnTo>
                <a:lnTo>
                  <a:pt x="342" y="306"/>
                </a:lnTo>
                <a:lnTo>
                  <a:pt x="341" y="306"/>
                </a:lnTo>
                <a:lnTo>
                  <a:pt x="340" y="305"/>
                </a:lnTo>
                <a:lnTo>
                  <a:pt x="341" y="303"/>
                </a:lnTo>
                <a:lnTo>
                  <a:pt x="338" y="303"/>
                </a:lnTo>
                <a:lnTo>
                  <a:pt x="341" y="301"/>
                </a:lnTo>
                <a:lnTo>
                  <a:pt x="343" y="301"/>
                </a:lnTo>
                <a:lnTo>
                  <a:pt x="342" y="300"/>
                </a:lnTo>
                <a:lnTo>
                  <a:pt x="343" y="300"/>
                </a:lnTo>
                <a:lnTo>
                  <a:pt x="343" y="298"/>
                </a:lnTo>
                <a:lnTo>
                  <a:pt x="344" y="298"/>
                </a:lnTo>
                <a:lnTo>
                  <a:pt x="344" y="296"/>
                </a:lnTo>
                <a:lnTo>
                  <a:pt x="346" y="296"/>
                </a:lnTo>
                <a:lnTo>
                  <a:pt x="347" y="294"/>
                </a:lnTo>
                <a:lnTo>
                  <a:pt x="348" y="294"/>
                </a:lnTo>
                <a:lnTo>
                  <a:pt x="355" y="290"/>
                </a:lnTo>
                <a:lnTo>
                  <a:pt x="356" y="289"/>
                </a:lnTo>
                <a:lnTo>
                  <a:pt x="360" y="289"/>
                </a:lnTo>
                <a:lnTo>
                  <a:pt x="361" y="288"/>
                </a:lnTo>
                <a:close/>
                <a:moveTo>
                  <a:pt x="243" y="287"/>
                </a:moveTo>
                <a:lnTo>
                  <a:pt x="247" y="290"/>
                </a:lnTo>
                <a:lnTo>
                  <a:pt x="247" y="292"/>
                </a:lnTo>
                <a:lnTo>
                  <a:pt x="244" y="294"/>
                </a:lnTo>
                <a:lnTo>
                  <a:pt x="242" y="293"/>
                </a:lnTo>
                <a:lnTo>
                  <a:pt x="243" y="293"/>
                </a:lnTo>
                <a:lnTo>
                  <a:pt x="243" y="292"/>
                </a:lnTo>
                <a:lnTo>
                  <a:pt x="244" y="292"/>
                </a:lnTo>
                <a:lnTo>
                  <a:pt x="244" y="289"/>
                </a:lnTo>
                <a:lnTo>
                  <a:pt x="243" y="289"/>
                </a:lnTo>
                <a:lnTo>
                  <a:pt x="243" y="287"/>
                </a:lnTo>
                <a:close/>
                <a:moveTo>
                  <a:pt x="325" y="286"/>
                </a:moveTo>
                <a:lnTo>
                  <a:pt x="325" y="287"/>
                </a:lnTo>
                <a:lnTo>
                  <a:pt x="326" y="288"/>
                </a:lnTo>
                <a:lnTo>
                  <a:pt x="326" y="290"/>
                </a:lnTo>
                <a:lnTo>
                  <a:pt x="328" y="290"/>
                </a:lnTo>
                <a:lnTo>
                  <a:pt x="329" y="289"/>
                </a:lnTo>
                <a:lnTo>
                  <a:pt x="329" y="290"/>
                </a:lnTo>
                <a:lnTo>
                  <a:pt x="328" y="292"/>
                </a:lnTo>
                <a:lnTo>
                  <a:pt x="326" y="292"/>
                </a:lnTo>
                <a:lnTo>
                  <a:pt x="325" y="290"/>
                </a:lnTo>
                <a:lnTo>
                  <a:pt x="325" y="289"/>
                </a:lnTo>
                <a:lnTo>
                  <a:pt x="323" y="289"/>
                </a:lnTo>
                <a:lnTo>
                  <a:pt x="323" y="287"/>
                </a:lnTo>
                <a:lnTo>
                  <a:pt x="324" y="287"/>
                </a:lnTo>
                <a:lnTo>
                  <a:pt x="325" y="286"/>
                </a:lnTo>
                <a:close/>
                <a:moveTo>
                  <a:pt x="242" y="286"/>
                </a:moveTo>
                <a:lnTo>
                  <a:pt x="243" y="287"/>
                </a:lnTo>
                <a:lnTo>
                  <a:pt x="242" y="287"/>
                </a:lnTo>
                <a:lnTo>
                  <a:pt x="242" y="286"/>
                </a:lnTo>
                <a:close/>
                <a:moveTo>
                  <a:pt x="316" y="280"/>
                </a:moveTo>
                <a:lnTo>
                  <a:pt x="318" y="280"/>
                </a:lnTo>
                <a:lnTo>
                  <a:pt x="319" y="281"/>
                </a:lnTo>
                <a:lnTo>
                  <a:pt x="318" y="282"/>
                </a:lnTo>
                <a:lnTo>
                  <a:pt x="316" y="282"/>
                </a:lnTo>
                <a:lnTo>
                  <a:pt x="316" y="280"/>
                </a:lnTo>
                <a:close/>
                <a:moveTo>
                  <a:pt x="279" y="280"/>
                </a:moveTo>
                <a:lnTo>
                  <a:pt x="280" y="281"/>
                </a:lnTo>
                <a:lnTo>
                  <a:pt x="280" y="280"/>
                </a:lnTo>
                <a:lnTo>
                  <a:pt x="282" y="282"/>
                </a:lnTo>
                <a:lnTo>
                  <a:pt x="282" y="281"/>
                </a:lnTo>
                <a:lnTo>
                  <a:pt x="284" y="281"/>
                </a:lnTo>
                <a:lnTo>
                  <a:pt x="284" y="282"/>
                </a:lnTo>
                <a:lnTo>
                  <a:pt x="282" y="283"/>
                </a:lnTo>
                <a:lnTo>
                  <a:pt x="282" y="284"/>
                </a:lnTo>
                <a:lnTo>
                  <a:pt x="280" y="284"/>
                </a:lnTo>
                <a:lnTo>
                  <a:pt x="280" y="283"/>
                </a:lnTo>
                <a:lnTo>
                  <a:pt x="279" y="282"/>
                </a:lnTo>
                <a:lnTo>
                  <a:pt x="280" y="282"/>
                </a:lnTo>
                <a:lnTo>
                  <a:pt x="279" y="281"/>
                </a:lnTo>
                <a:lnTo>
                  <a:pt x="279" y="280"/>
                </a:lnTo>
                <a:close/>
                <a:moveTo>
                  <a:pt x="343" y="278"/>
                </a:moveTo>
                <a:lnTo>
                  <a:pt x="344" y="278"/>
                </a:lnTo>
                <a:lnTo>
                  <a:pt x="344" y="280"/>
                </a:lnTo>
                <a:lnTo>
                  <a:pt x="346" y="280"/>
                </a:lnTo>
                <a:lnTo>
                  <a:pt x="347" y="278"/>
                </a:lnTo>
                <a:lnTo>
                  <a:pt x="347" y="283"/>
                </a:lnTo>
                <a:lnTo>
                  <a:pt x="346" y="283"/>
                </a:lnTo>
                <a:lnTo>
                  <a:pt x="346" y="282"/>
                </a:lnTo>
                <a:lnTo>
                  <a:pt x="343" y="282"/>
                </a:lnTo>
                <a:lnTo>
                  <a:pt x="344" y="281"/>
                </a:lnTo>
                <a:lnTo>
                  <a:pt x="342" y="281"/>
                </a:lnTo>
                <a:lnTo>
                  <a:pt x="343" y="280"/>
                </a:lnTo>
                <a:lnTo>
                  <a:pt x="343" y="278"/>
                </a:lnTo>
                <a:close/>
                <a:moveTo>
                  <a:pt x="285" y="278"/>
                </a:moveTo>
                <a:lnTo>
                  <a:pt x="286" y="278"/>
                </a:lnTo>
                <a:lnTo>
                  <a:pt x="287" y="280"/>
                </a:lnTo>
                <a:lnTo>
                  <a:pt x="287" y="281"/>
                </a:lnTo>
                <a:lnTo>
                  <a:pt x="285" y="281"/>
                </a:lnTo>
                <a:lnTo>
                  <a:pt x="285" y="278"/>
                </a:lnTo>
                <a:close/>
                <a:moveTo>
                  <a:pt x="346" y="277"/>
                </a:moveTo>
                <a:lnTo>
                  <a:pt x="347" y="277"/>
                </a:lnTo>
                <a:lnTo>
                  <a:pt x="347" y="278"/>
                </a:lnTo>
                <a:lnTo>
                  <a:pt x="344" y="278"/>
                </a:lnTo>
                <a:lnTo>
                  <a:pt x="346" y="277"/>
                </a:lnTo>
                <a:close/>
                <a:moveTo>
                  <a:pt x="219" y="276"/>
                </a:moveTo>
                <a:lnTo>
                  <a:pt x="220" y="276"/>
                </a:lnTo>
                <a:lnTo>
                  <a:pt x="224" y="278"/>
                </a:lnTo>
                <a:lnTo>
                  <a:pt x="224" y="280"/>
                </a:lnTo>
                <a:lnTo>
                  <a:pt x="223" y="280"/>
                </a:lnTo>
                <a:lnTo>
                  <a:pt x="222" y="278"/>
                </a:lnTo>
                <a:lnTo>
                  <a:pt x="220" y="278"/>
                </a:lnTo>
                <a:lnTo>
                  <a:pt x="219" y="277"/>
                </a:lnTo>
                <a:lnTo>
                  <a:pt x="219" y="276"/>
                </a:lnTo>
                <a:close/>
                <a:moveTo>
                  <a:pt x="231" y="274"/>
                </a:moveTo>
                <a:lnTo>
                  <a:pt x="234" y="274"/>
                </a:lnTo>
                <a:lnTo>
                  <a:pt x="234" y="275"/>
                </a:lnTo>
                <a:lnTo>
                  <a:pt x="230" y="278"/>
                </a:lnTo>
                <a:lnTo>
                  <a:pt x="229" y="278"/>
                </a:lnTo>
                <a:lnTo>
                  <a:pt x="230" y="275"/>
                </a:lnTo>
                <a:lnTo>
                  <a:pt x="231" y="275"/>
                </a:lnTo>
                <a:lnTo>
                  <a:pt x="231" y="274"/>
                </a:lnTo>
                <a:close/>
                <a:moveTo>
                  <a:pt x="89" y="272"/>
                </a:moveTo>
                <a:lnTo>
                  <a:pt x="90" y="272"/>
                </a:lnTo>
                <a:lnTo>
                  <a:pt x="89" y="274"/>
                </a:lnTo>
                <a:lnTo>
                  <a:pt x="88" y="274"/>
                </a:lnTo>
                <a:lnTo>
                  <a:pt x="89" y="272"/>
                </a:lnTo>
                <a:close/>
                <a:moveTo>
                  <a:pt x="199" y="271"/>
                </a:moveTo>
                <a:lnTo>
                  <a:pt x="199" y="272"/>
                </a:lnTo>
                <a:lnTo>
                  <a:pt x="200" y="272"/>
                </a:lnTo>
                <a:lnTo>
                  <a:pt x="200" y="274"/>
                </a:lnTo>
                <a:lnTo>
                  <a:pt x="201" y="275"/>
                </a:lnTo>
                <a:lnTo>
                  <a:pt x="204" y="275"/>
                </a:lnTo>
                <a:lnTo>
                  <a:pt x="204" y="274"/>
                </a:lnTo>
                <a:lnTo>
                  <a:pt x="203" y="274"/>
                </a:lnTo>
                <a:lnTo>
                  <a:pt x="201" y="272"/>
                </a:lnTo>
                <a:lnTo>
                  <a:pt x="201" y="271"/>
                </a:lnTo>
                <a:lnTo>
                  <a:pt x="203" y="271"/>
                </a:lnTo>
                <a:lnTo>
                  <a:pt x="204" y="272"/>
                </a:lnTo>
                <a:lnTo>
                  <a:pt x="205" y="271"/>
                </a:lnTo>
                <a:lnTo>
                  <a:pt x="206" y="271"/>
                </a:lnTo>
                <a:lnTo>
                  <a:pt x="206" y="276"/>
                </a:lnTo>
                <a:lnTo>
                  <a:pt x="199" y="276"/>
                </a:lnTo>
                <a:lnTo>
                  <a:pt x="198" y="277"/>
                </a:lnTo>
                <a:lnTo>
                  <a:pt x="197" y="276"/>
                </a:lnTo>
                <a:lnTo>
                  <a:pt x="198" y="275"/>
                </a:lnTo>
                <a:lnTo>
                  <a:pt x="198" y="272"/>
                </a:lnTo>
                <a:lnTo>
                  <a:pt x="199" y="271"/>
                </a:lnTo>
                <a:close/>
                <a:moveTo>
                  <a:pt x="309" y="270"/>
                </a:moveTo>
                <a:lnTo>
                  <a:pt x="310" y="271"/>
                </a:lnTo>
                <a:lnTo>
                  <a:pt x="309" y="272"/>
                </a:lnTo>
                <a:lnTo>
                  <a:pt x="310" y="274"/>
                </a:lnTo>
                <a:lnTo>
                  <a:pt x="309" y="274"/>
                </a:lnTo>
                <a:lnTo>
                  <a:pt x="309" y="276"/>
                </a:lnTo>
                <a:lnTo>
                  <a:pt x="306" y="274"/>
                </a:lnTo>
                <a:lnTo>
                  <a:pt x="306" y="272"/>
                </a:lnTo>
                <a:lnTo>
                  <a:pt x="309" y="270"/>
                </a:lnTo>
                <a:close/>
                <a:moveTo>
                  <a:pt x="238" y="270"/>
                </a:moveTo>
                <a:lnTo>
                  <a:pt x="239" y="270"/>
                </a:lnTo>
                <a:lnTo>
                  <a:pt x="239" y="271"/>
                </a:lnTo>
                <a:lnTo>
                  <a:pt x="241" y="272"/>
                </a:lnTo>
                <a:lnTo>
                  <a:pt x="242" y="272"/>
                </a:lnTo>
                <a:lnTo>
                  <a:pt x="243" y="274"/>
                </a:lnTo>
                <a:lnTo>
                  <a:pt x="242" y="274"/>
                </a:lnTo>
                <a:lnTo>
                  <a:pt x="242" y="277"/>
                </a:lnTo>
                <a:lnTo>
                  <a:pt x="239" y="276"/>
                </a:lnTo>
                <a:lnTo>
                  <a:pt x="237" y="274"/>
                </a:lnTo>
                <a:lnTo>
                  <a:pt x="236" y="274"/>
                </a:lnTo>
                <a:lnTo>
                  <a:pt x="237" y="272"/>
                </a:lnTo>
                <a:lnTo>
                  <a:pt x="237" y="271"/>
                </a:lnTo>
                <a:lnTo>
                  <a:pt x="238" y="270"/>
                </a:lnTo>
                <a:close/>
                <a:moveTo>
                  <a:pt x="210" y="270"/>
                </a:moveTo>
                <a:lnTo>
                  <a:pt x="211" y="270"/>
                </a:lnTo>
                <a:lnTo>
                  <a:pt x="212" y="271"/>
                </a:lnTo>
                <a:lnTo>
                  <a:pt x="211" y="272"/>
                </a:lnTo>
                <a:lnTo>
                  <a:pt x="210" y="271"/>
                </a:lnTo>
                <a:lnTo>
                  <a:pt x="210" y="270"/>
                </a:lnTo>
                <a:close/>
                <a:moveTo>
                  <a:pt x="87" y="270"/>
                </a:moveTo>
                <a:lnTo>
                  <a:pt x="87" y="272"/>
                </a:lnTo>
                <a:lnTo>
                  <a:pt x="86" y="272"/>
                </a:lnTo>
                <a:lnTo>
                  <a:pt x="87" y="270"/>
                </a:lnTo>
                <a:close/>
                <a:moveTo>
                  <a:pt x="207" y="266"/>
                </a:moveTo>
                <a:lnTo>
                  <a:pt x="207" y="268"/>
                </a:lnTo>
                <a:lnTo>
                  <a:pt x="208" y="268"/>
                </a:lnTo>
                <a:lnTo>
                  <a:pt x="207" y="270"/>
                </a:lnTo>
                <a:lnTo>
                  <a:pt x="206" y="270"/>
                </a:lnTo>
                <a:lnTo>
                  <a:pt x="206" y="269"/>
                </a:lnTo>
                <a:lnTo>
                  <a:pt x="205" y="269"/>
                </a:lnTo>
                <a:lnTo>
                  <a:pt x="207" y="266"/>
                </a:lnTo>
                <a:close/>
                <a:moveTo>
                  <a:pt x="245" y="265"/>
                </a:moveTo>
                <a:lnTo>
                  <a:pt x="245" y="268"/>
                </a:lnTo>
                <a:lnTo>
                  <a:pt x="243" y="268"/>
                </a:lnTo>
                <a:lnTo>
                  <a:pt x="245" y="265"/>
                </a:lnTo>
                <a:close/>
                <a:moveTo>
                  <a:pt x="317" y="264"/>
                </a:moveTo>
                <a:lnTo>
                  <a:pt x="323" y="264"/>
                </a:lnTo>
                <a:lnTo>
                  <a:pt x="325" y="266"/>
                </a:lnTo>
                <a:lnTo>
                  <a:pt x="324" y="266"/>
                </a:lnTo>
                <a:lnTo>
                  <a:pt x="319" y="268"/>
                </a:lnTo>
                <a:lnTo>
                  <a:pt x="316" y="271"/>
                </a:lnTo>
                <a:lnTo>
                  <a:pt x="310" y="271"/>
                </a:lnTo>
                <a:lnTo>
                  <a:pt x="310" y="270"/>
                </a:lnTo>
                <a:lnTo>
                  <a:pt x="311" y="270"/>
                </a:lnTo>
                <a:lnTo>
                  <a:pt x="311" y="269"/>
                </a:lnTo>
                <a:lnTo>
                  <a:pt x="312" y="268"/>
                </a:lnTo>
                <a:lnTo>
                  <a:pt x="317" y="264"/>
                </a:lnTo>
                <a:close/>
                <a:moveTo>
                  <a:pt x="253" y="263"/>
                </a:moveTo>
                <a:lnTo>
                  <a:pt x="254" y="264"/>
                </a:lnTo>
                <a:lnTo>
                  <a:pt x="255" y="264"/>
                </a:lnTo>
                <a:lnTo>
                  <a:pt x="254" y="265"/>
                </a:lnTo>
                <a:lnTo>
                  <a:pt x="251" y="265"/>
                </a:lnTo>
                <a:lnTo>
                  <a:pt x="251" y="264"/>
                </a:lnTo>
                <a:lnTo>
                  <a:pt x="253" y="264"/>
                </a:lnTo>
                <a:lnTo>
                  <a:pt x="253" y="263"/>
                </a:lnTo>
                <a:close/>
                <a:moveTo>
                  <a:pt x="268" y="262"/>
                </a:moveTo>
                <a:lnTo>
                  <a:pt x="270" y="264"/>
                </a:lnTo>
                <a:lnTo>
                  <a:pt x="268" y="264"/>
                </a:lnTo>
                <a:lnTo>
                  <a:pt x="268" y="265"/>
                </a:lnTo>
                <a:lnTo>
                  <a:pt x="266" y="266"/>
                </a:lnTo>
                <a:lnTo>
                  <a:pt x="263" y="269"/>
                </a:lnTo>
                <a:lnTo>
                  <a:pt x="263" y="270"/>
                </a:lnTo>
                <a:lnTo>
                  <a:pt x="260" y="271"/>
                </a:lnTo>
                <a:lnTo>
                  <a:pt x="257" y="271"/>
                </a:lnTo>
                <a:lnTo>
                  <a:pt x="257" y="269"/>
                </a:lnTo>
                <a:lnTo>
                  <a:pt x="262" y="269"/>
                </a:lnTo>
                <a:lnTo>
                  <a:pt x="262" y="268"/>
                </a:lnTo>
                <a:lnTo>
                  <a:pt x="261" y="268"/>
                </a:lnTo>
                <a:lnTo>
                  <a:pt x="261" y="266"/>
                </a:lnTo>
                <a:lnTo>
                  <a:pt x="262" y="266"/>
                </a:lnTo>
                <a:lnTo>
                  <a:pt x="267" y="264"/>
                </a:lnTo>
                <a:lnTo>
                  <a:pt x="266" y="264"/>
                </a:lnTo>
                <a:lnTo>
                  <a:pt x="266" y="263"/>
                </a:lnTo>
                <a:lnTo>
                  <a:pt x="267" y="263"/>
                </a:lnTo>
                <a:lnTo>
                  <a:pt x="268" y="262"/>
                </a:lnTo>
                <a:close/>
                <a:moveTo>
                  <a:pt x="228" y="257"/>
                </a:moveTo>
                <a:lnTo>
                  <a:pt x="230" y="257"/>
                </a:lnTo>
                <a:lnTo>
                  <a:pt x="229" y="259"/>
                </a:lnTo>
                <a:lnTo>
                  <a:pt x="229" y="262"/>
                </a:lnTo>
                <a:lnTo>
                  <a:pt x="228" y="260"/>
                </a:lnTo>
                <a:lnTo>
                  <a:pt x="228" y="259"/>
                </a:lnTo>
                <a:lnTo>
                  <a:pt x="226" y="258"/>
                </a:lnTo>
                <a:lnTo>
                  <a:pt x="228" y="258"/>
                </a:lnTo>
                <a:lnTo>
                  <a:pt x="228" y="257"/>
                </a:lnTo>
                <a:close/>
                <a:moveTo>
                  <a:pt x="211" y="256"/>
                </a:moveTo>
                <a:lnTo>
                  <a:pt x="212" y="257"/>
                </a:lnTo>
                <a:lnTo>
                  <a:pt x="213" y="257"/>
                </a:lnTo>
                <a:lnTo>
                  <a:pt x="213" y="258"/>
                </a:lnTo>
                <a:lnTo>
                  <a:pt x="216" y="259"/>
                </a:lnTo>
                <a:lnTo>
                  <a:pt x="216" y="262"/>
                </a:lnTo>
                <a:lnTo>
                  <a:pt x="214" y="262"/>
                </a:lnTo>
                <a:lnTo>
                  <a:pt x="213" y="264"/>
                </a:lnTo>
                <a:lnTo>
                  <a:pt x="213" y="263"/>
                </a:lnTo>
                <a:lnTo>
                  <a:pt x="212" y="262"/>
                </a:lnTo>
                <a:lnTo>
                  <a:pt x="212" y="258"/>
                </a:lnTo>
                <a:lnTo>
                  <a:pt x="211" y="258"/>
                </a:lnTo>
                <a:lnTo>
                  <a:pt x="211" y="256"/>
                </a:lnTo>
                <a:close/>
                <a:moveTo>
                  <a:pt x="305" y="255"/>
                </a:moveTo>
                <a:lnTo>
                  <a:pt x="306" y="255"/>
                </a:lnTo>
                <a:lnTo>
                  <a:pt x="310" y="256"/>
                </a:lnTo>
                <a:lnTo>
                  <a:pt x="310" y="259"/>
                </a:lnTo>
                <a:lnTo>
                  <a:pt x="311" y="258"/>
                </a:lnTo>
                <a:lnTo>
                  <a:pt x="312" y="258"/>
                </a:lnTo>
                <a:lnTo>
                  <a:pt x="312" y="260"/>
                </a:lnTo>
                <a:lnTo>
                  <a:pt x="311" y="260"/>
                </a:lnTo>
                <a:lnTo>
                  <a:pt x="311" y="262"/>
                </a:lnTo>
                <a:lnTo>
                  <a:pt x="310" y="262"/>
                </a:lnTo>
                <a:lnTo>
                  <a:pt x="310" y="263"/>
                </a:lnTo>
                <a:lnTo>
                  <a:pt x="307" y="263"/>
                </a:lnTo>
                <a:lnTo>
                  <a:pt x="307" y="262"/>
                </a:lnTo>
                <a:lnTo>
                  <a:pt x="306" y="262"/>
                </a:lnTo>
                <a:lnTo>
                  <a:pt x="306" y="260"/>
                </a:lnTo>
                <a:lnTo>
                  <a:pt x="307" y="260"/>
                </a:lnTo>
                <a:lnTo>
                  <a:pt x="307" y="258"/>
                </a:lnTo>
                <a:lnTo>
                  <a:pt x="309" y="258"/>
                </a:lnTo>
                <a:lnTo>
                  <a:pt x="309" y="257"/>
                </a:lnTo>
                <a:lnTo>
                  <a:pt x="306" y="257"/>
                </a:lnTo>
                <a:lnTo>
                  <a:pt x="306" y="256"/>
                </a:lnTo>
                <a:lnTo>
                  <a:pt x="305" y="255"/>
                </a:lnTo>
                <a:close/>
                <a:moveTo>
                  <a:pt x="259" y="252"/>
                </a:moveTo>
                <a:lnTo>
                  <a:pt x="261" y="252"/>
                </a:lnTo>
                <a:lnTo>
                  <a:pt x="261" y="253"/>
                </a:lnTo>
                <a:lnTo>
                  <a:pt x="260" y="253"/>
                </a:lnTo>
                <a:lnTo>
                  <a:pt x="259" y="252"/>
                </a:lnTo>
                <a:close/>
                <a:moveTo>
                  <a:pt x="237" y="251"/>
                </a:moveTo>
                <a:lnTo>
                  <a:pt x="238" y="251"/>
                </a:lnTo>
                <a:lnTo>
                  <a:pt x="238" y="252"/>
                </a:lnTo>
                <a:lnTo>
                  <a:pt x="237" y="252"/>
                </a:lnTo>
                <a:lnTo>
                  <a:pt x="237" y="251"/>
                </a:lnTo>
                <a:close/>
                <a:moveTo>
                  <a:pt x="235" y="251"/>
                </a:moveTo>
                <a:lnTo>
                  <a:pt x="236" y="251"/>
                </a:lnTo>
                <a:lnTo>
                  <a:pt x="235" y="252"/>
                </a:lnTo>
                <a:lnTo>
                  <a:pt x="237" y="252"/>
                </a:lnTo>
                <a:lnTo>
                  <a:pt x="237" y="257"/>
                </a:lnTo>
                <a:lnTo>
                  <a:pt x="235" y="259"/>
                </a:lnTo>
                <a:lnTo>
                  <a:pt x="232" y="259"/>
                </a:lnTo>
                <a:lnTo>
                  <a:pt x="231" y="258"/>
                </a:lnTo>
                <a:lnTo>
                  <a:pt x="230" y="258"/>
                </a:lnTo>
                <a:lnTo>
                  <a:pt x="230" y="256"/>
                </a:lnTo>
                <a:lnTo>
                  <a:pt x="231" y="255"/>
                </a:lnTo>
                <a:lnTo>
                  <a:pt x="232" y="255"/>
                </a:lnTo>
                <a:lnTo>
                  <a:pt x="232" y="253"/>
                </a:lnTo>
                <a:lnTo>
                  <a:pt x="235" y="251"/>
                </a:lnTo>
                <a:close/>
                <a:moveTo>
                  <a:pt x="301" y="249"/>
                </a:moveTo>
                <a:lnTo>
                  <a:pt x="304" y="249"/>
                </a:lnTo>
                <a:lnTo>
                  <a:pt x="304" y="251"/>
                </a:lnTo>
                <a:lnTo>
                  <a:pt x="305" y="251"/>
                </a:lnTo>
                <a:lnTo>
                  <a:pt x="305" y="253"/>
                </a:lnTo>
                <a:lnTo>
                  <a:pt x="303" y="253"/>
                </a:lnTo>
                <a:lnTo>
                  <a:pt x="304" y="252"/>
                </a:lnTo>
                <a:lnTo>
                  <a:pt x="303" y="252"/>
                </a:lnTo>
                <a:lnTo>
                  <a:pt x="303" y="251"/>
                </a:lnTo>
                <a:lnTo>
                  <a:pt x="301" y="251"/>
                </a:lnTo>
                <a:lnTo>
                  <a:pt x="301" y="250"/>
                </a:lnTo>
                <a:lnTo>
                  <a:pt x="300" y="250"/>
                </a:lnTo>
                <a:lnTo>
                  <a:pt x="301" y="249"/>
                </a:lnTo>
                <a:close/>
                <a:moveTo>
                  <a:pt x="247" y="249"/>
                </a:moveTo>
                <a:lnTo>
                  <a:pt x="249" y="249"/>
                </a:lnTo>
                <a:lnTo>
                  <a:pt x="250" y="250"/>
                </a:lnTo>
                <a:lnTo>
                  <a:pt x="250" y="251"/>
                </a:lnTo>
                <a:lnTo>
                  <a:pt x="251" y="253"/>
                </a:lnTo>
                <a:lnTo>
                  <a:pt x="250" y="255"/>
                </a:lnTo>
                <a:lnTo>
                  <a:pt x="250" y="258"/>
                </a:lnTo>
                <a:lnTo>
                  <a:pt x="249" y="260"/>
                </a:lnTo>
                <a:lnTo>
                  <a:pt x="248" y="260"/>
                </a:lnTo>
                <a:lnTo>
                  <a:pt x="247" y="263"/>
                </a:lnTo>
                <a:lnTo>
                  <a:pt x="244" y="263"/>
                </a:lnTo>
                <a:lnTo>
                  <a:pt x="244" y="260"/>
                </a:lnTo>
                <a:lnTo>
                  <a:pt x="243" y="260"/>
                </a:lnTo>
                <a:lnTo>
                  <a:pt x="242" y="259"/>
                </a:lnTo>
                <a:lnTo>
                  <a:pt x="242" y="257"/>
                </a:lnTo>
                <a:lnTo>
                  <a:pt x="241" y="256"/>
                </a:lnTo>
                <a:lnTo>
                  <a:pt x="241" y="255"/>
                </a:lnTo>
                <a:lnTo>
                  <a:pt x="242" y="255"/>
                </a:lnTo>
                <a:lnTo>
                  <a:pt x="243" y="252"/>
                </a:lnTo>
                <a:lnTo>
                  <a:pt x="247" y="249"/>
                </a:lnTo>
                <a:close/>
                <a:moveTo>
                  <a:pt x="204" y="247"/>
                </a:moveTo>
                <a:lnTo>
                  <a:pt x="205" y="249"/>
                </a:lnTo>
                <a:lnTo>
                  <a:pt x="206" y="249"/>
                </a:lnTo>
                <a:lnTo>
                  <a:pt x="206" y="251"/>
                </a:lnTo>
                <a:lnTo>
                  <a:pt x="205" y="251"/>
                </a:lnTo>
                <a:lnTo>
                  <a:pt x="205" y="253"/>
                </a:lnTo>
                <a:lnTo>
                  <a:pt x="204" y="252"/>
                </a:lnTo>
                <a:lnTo>
                  <a:pt x="201" y="252"/>
                </a:lnTo>
                <a:lnTo>
                  <a:pt x="201" y="250"/>
                </a:lnTo>
                <a:lnTo>
                  <a:pt x="203" y="250"/>
                </a:lnTo>
                <a:lnTo>
                  <a:pt x="201" y="249"/>
                </a:lnTo>
                <a:lnTo>
                  <a:pt x="204" y="249"/>
                </a:lnTo>
                <a:lnTo>
                  <a:pt x="204" y="247"/>
                </a:lnTo>
                <a:close/>
                <a:moveTo>
                  <a:pt x="145" y="244"/>
                </a:moveTo>
                <a:lnTo>
                  <a:pt x="148" y="244"/>
                </a:lnTo>
                <a:lnTo>
                  <a:pt x="148" y="246"/>
                </a:lnTo>
                <a:lnTo>
                  <a:pt x="147" y="246"/>
                </a:lnTo>
                <a:lnTo>
                  <a:pt x="147" y="245"/>
                </a:lnTo>
                <a:lnTo>
                  <a:pt x="145" y="244"/>
                </a:lnTo>
                <a:close/>
                <a:moveTo>
                  <a:pt x="291" y="241"/>
                </a:moveTo>
                <a:lnTo>
                  <a:pt x="292" y="243"/>
                </a:lnTo>
                <a:lnTo>
                  <a:pt x="292" y="245"/>
                </a:lnTo>
                <a:lnTo>
                  <a:pt x="291" y="244"/>
                </a:lnTo>
                <a:lnTo>
                  <a:pt x="291" y="241"/>
                </a:lnTo>
                <a:close/>
                <a:moveTo>
                  <a:pt x="291" y="239"/>
                </a:moveTo>
                <a:lnTo>
                  <a:pt x="293" y="239"/>
                </a:lnTo>
                <a:lnTo>
                  <a:pt x="293" y="240"/>
                </a:lnTo>
                <a:lnTo>
                  <a:pt x="292" y="240"/>
                </a:lnTo>
                <a:lnTo>
                  <a:pt x="292" y="241"/>
                </a:lnTo>
                <a:lnTo>
                  <a:pt x="291" y="241"/>
                </a:lnTo>
                <a:lnTo>
                  <a:pt x="291" y="239"/>
                </a:lnTo>
                <a:close/>
                <a:moveTo>
                  <a:pt x="163" y="239"/>
                </a:moveTo>
                <a:lnTo>
                  <a:pt x="166" y="239"/>
                </a:lnTo>
                <a:lnTo>
                  <a:pt x="166" y="240"/>
                </a:lnTo>
                <a:lnTo>
                  <a:pt x="163" y="240"/>
                </a:lnTo>
                <a:lnTo>
                  <a:pt x="163" y="241"/>
                </a:lnTo>
                <a:lnTo>
                  <a:pt x="162" y="241"/>
                </a:lnTo>
                <a:lnTo>
                  <a:pt x="161" y="243"/>
                </a:lnTo>
                <a:lnTo>
                  <a:pt x="157" y="243"/>
                </a:lnTo>
                <a:lnTo>
                  <a:pt x="161" y="240"/>
                </a:lnTo>
                <a:lnTo>
                  <a:pt x="162" y="240"/>
                </a:lnTo>
                <a:lnTo>
                  <a:pt x="163" y="239"/>
                </a:lnTo>
                <a:close/>
                <a:moveTo>
                  <a:pt x="201" y="233"/>
                </a:moveTo>
                <a:lnTo>
                  <a:pt x="203" y="233"/>
                </a:lnTo>
                <a:lnTo>
                  <a:pt x="203" y="234"/>
                </a:lnTo>
                <a:lnTo>
                  <a:pt x="201" y="235"/>
                </a:lnTo>
                <a:lnTo>
                  <a:pt x="204" y="237"/>
                </a:lnTo>
                <a:lnTo>
                  <a:pt x="204" y="238"/>
                </a:lnTo>
                <a:lnTo>
                  <a:pt x="203" y="238"/>
                </a:lnTo>
                <a:lnTo>
                  <a:pt x="203" y="240"/>
                </a:lnTo>
                <a:lnTo>
                  <a:pt x="200" y="243"/>
                </a:lnTo>
                <a:lnTo>
                  <a:pt x="199" y="243"/>
                </a:lnTo>
                <a:lnTo>
                  <a:pt x="199" y="240"/>
                </a:lnTo>
                <a:lnTo>
                  <a:pt x="200" y="240"/>
                </a:lnTo>
                <a:lnTo>
                  <a:pt x="200" y="237"/>
                </a:lnTo>
                <a:lnTo>
                  <a:pt x="199" y="237"/>
                </a:lnTo>
                <a:lnTo>
                  <a:pt x="199" y="235"/>
                </a:lnTo>
                <a:lnTo>
                  <a:pt x="200" y="234"/>
                </a:lnTo>
                <a:lnTo>
                  <a:pt x="201" y="234"/>
                </a:lnTo>
                <a:lnTo>
                  <a:pt x="201" y="233"/>
                </a:lnTo>
                <a:close/>
                <a:moveTo>
                  <a:pt x="239" y="232"/>
                </a:moveTo>
                <a:lnTo>
                  <a:pt x="241" y="232"/>
                </a:lnTo>
                <a:lnTo>
                  <a:pt x="242" y="234"/>
                </a:lnTo>
                <a:lnTo>
                  <a:pt x="242" y="233"/>
                </a:lnTo>
                <a:lnTo>
                  <a:pt x="244" y="233"/>
                </a:lnTo>
                <a:lnTo>
                  <a:pt x="244" y="234"/>
                </a:lnTo>
                <a:lnTo>
                  <a:pt x="245" y="234"/>
                </a:lnTo>
                <a:lnTo>
                  <a:pt x="245" y="235"/>
                </a:lnTo>
                <a:lnTo>
                  <a:pt x="243" y="235"/>
                </a:lnTo>
                <a:lnTo>
                  <a:pt x="243" y="237"/>
                </a:lnTo>
                <a:lnTo>
                  <a:pt x="238" y="237"/>
                </a:lnTo>
                <a:lnTo>
                  <a:pt x="238" y="235"/>
                </a:lnTo>
                <a:lnTo>
                  <a:pt x="239" y="235"/>
                </a:lnTo>
                <a:lnTo>
                  <a:pt x="239" y="234"/>
                </a:lnTo>
                <a:lnTo>
                  <a:pt x="238" y="234"/>
                </a:lnTo>
                <a:lnTo>
                  <a:pt x="239" y="233"/>
                </a:lnTo>
                <a:lnTo>
                  <a:pt x="239" y="232"/>
                </a:lnTo>
                <a:close/>
                <a:moveTo>
                  <a:pt x="222" y="232"/>
                </a:moveTo>
                <a:lnTo>
                  <a:pt x="223" y="232"/>
                </a:lnTo>
                <a:lnTo>
                  <a:pt x="224" y="233"/>
                </a:lnTo>
                <a:lnTo>
                  <a:pt x="224" y="238"/>
                </a:lnTo>
                <a:lnTo>
                  <a:pt x="222" y="239"/>
                </a:lnTo>
                <a:lnTo>
                  <a:pt x="220" y="240"/>
                </a:lnTo>
                <a:lnTo>
                  <a:pt x="220" y="239"/>
                </a:lnTo>
                <a:lnTo>
                  <a:pt x="222" y="238"/>
                </a:lnTo>
                <a:lnTo>
                  <a:pt x="220" y="238"/>
                </a:lnTo>
                <a:lnTo>
                  <a:pt x="220" y="235"/>
                </a:lnTo>
                <a:lnTo>
                  <a:pt x="222" y="235"/>
                </a:lnTo>
                <a:lnTo>
                  <a:pt x="222" y="232"/>
                </a:lnTo>
                <a:close/>
                <a:moveTo>
                  <a:pt x="162" y="229"/>
                </a:moveTo>
                <a:lnTo>
                  <a:pt x="162" y="231"/>
                </a:lnTo>
                <a:lnTo>
                  <a:pt x="163" y="231"/>
                </a:lnTo>
                <a:lnTo>
                  <a:pt x="163" y="232"/>
                </a:lnTo>
                <a:lnTo>
                  <a:pt x="161" y="232"/>
                </a:lnTo>
                <a:lnTo>
                  <a:pt x="160" y="231"/>
                </a:lnTo>
                <a:lnTo>
                  <a:pt x="161" y="231"/>
                </a:lnTo>
                <a:lnTo>
                  <a:pt x="162" y="229"/>
                </a:lnTo>
                <a:close/>
                <a:moveTo>
                  <a:pt x="213" y="226"/>
                </a:moveTo>
                <a:lnTo>
                  <a:pt x="214" y="226"/>
                </a:lnTo>
                <a:lnTo>
                  <a:pt x="214" y="227"/>
                </a:lnTo>
                <a:lnTo>
                  <a:pt x="212" y="227"/>
                </a:lnTo>
                <a:lnTo>
                  <a:pt x="213" y="226"/>
                </a:lnTo>
                <a:close/>
                <a:moveTo>
                  <a:pt x="281" y="222"/>
                </a:moveTo>
                <a:lnTo>
                  <a:pt x="284" y="222"/>
                </a:lnTo>
                <a:lnTo>
                  <a:pt x="276" y="229"/>
                </a:lnTo>
                <a:lnTo>
                  <a:pt x="273" y="229"/>
                </a:lnTo>
                <a:lnTo>
                  <a:pt x="272" y="231"/>
                </a:lnTo>
                <a:lnTo>
                  <a:pt x="270" y="231"/>
                </a:lnTo>
                <a:lnTo>
                  <a:pt x="270" y="232"/>
                </a:lnTo>
                <a:lnTo>
                  <a:pt x="269" y="232"/>
                </a:lnTo>
                <a:lnTo>
                  <a:pt x="269" y="231"/>
                </a:lnTo>
                <a:lnTo>
                  <a:pt x="268" y="232"/>
                </a:lnTo>
                <a:lnTo>
                  <a:pt x="267" y="232"/>
                </a:lnTo>
                <a:lnTo>
                  <a:pt x="267" y="229"/>
                </a:lnTo>
                <a:lnTo>
                  <a:pt x="268" y="228"/>
                </a:lnTo>
                <a:lnTo>
                  <a:pt x="269" y="228"/>
                </a:lnTo>
                <a:lnTo>
                  <a:pt x="269" y="226"/>
                </a:lnTo>
                <a:lnTo>
                  <a:pt x="270" y="226"/>
                </a:lnTo>
                <a:lnTo>
                  <a:pt x="270" y="225"/>
                </a:lnTo>
                <a:lnTo>
                  <a:pt x="272" y="225"/>
                </a:lnTo>
                <a:lnTo>
                  <a:pt x="274" y="226"/>
                </a:lnTo>
                <a:lnTo>
                  <a:pt x="275" y="225"/>
                </a:lnTo>
                <a:lnTo>
                  <a:pt x="276" y="226"/>
                </a:lnTo>
                <a:lnTo>
                  <a:pt x="278" y="225"/>
                </a:lnTo>
                <a:lnTo>
                  <a:pt x="279" y="225"/>
                </a:lnTo>
                <a:lnTo>
                  <a:pt x="281" y="222"/>
                </a:lnTo>
                <a:close/>
                <a:moveTo>
                  <a:pt x="225" y="222"/>
                </a:moveTo>
                <a:lnTo>
                  <a:pt x="228" y="222"/>
                </a:lnTo>
                <a:lnTo>
                  <a:pt x="228" y="223"/>
                </a:lnTo>
                <a:lnTo>
                  <a:pt x="229" y="223"/>
                </a:lnTo>
                <a:lnTo>
                  <a:pt x="229" y="225"/>
                </a:lnTo>
                <a:lnTo>
                  <a:pt x="231" y="225"/>
                </a:lnTo>
                <a:lnTo>
                  <a:pt x="232" y="226"/>
                </a:lnTo>
                <a:lnTo>
                  <a:pt x="232" y="225"/>
                </a:lnTo>
                <a:lnTo>
                  <a:pt x="234" y="225"/>
                </a:lnTo>
                <a:lnTo>
                  <a:pt x="235" y="226"/>
                </a:lnTo>
                <a:lnTo>
                  <a:pt x="236" y="226"/>
                </a:lnTo>
                <a:lnTo>
                  <a:pt x="236" y="227"/>
                </a:lnTo>
                <a:lnTo>
                  <a:pt x="237" y="227"/>
                </a:lnTo>
                <a:lnTo>
                  <a:pt x="236" y="229"/>
                </a:lnTo>
                <a:lnTo>
                  <a:pt x="235" y="231"/>
                </a:lnTo>
                <a:lnTo>
                  <a:pt x="232" y="231"/>
                </a:lnTo>
                <a:lnTo>
                  <a:pt x="230" y="228"/>
                </a:lnTo>
                <a:lnTo>
                  <a:pt x="229" y="228"/>
                </a:lnTo>
                <a:lnTo>
                  <a:pt x="228" y="226"/>
                </a:lnTo>
                <a:lnTo>
                  <a:pt x="226" y="226"/>
                </a:lnTo>
                <a:lnTo>
                  <a:pt x="225" y="225"/>
                </a:lnTo>
                <a:lnTo>
                  <a:pt x="225" y="222"/>
                </a:lnTo>
                <a:close/>
                <a:moveTo>
                  <a:pt x="197" y="222"/>
                </a:moveTo>
                <a:lnTo>
                  <a:pt x="199" y="222"/>
                </a:lnTo>
                <a:lnTo>
                  <a:pt x="200" y="225"/>
                </a:lnTo>
                <a:lnTo>
                  <a:pt x="200" y="226"/>
                </a:lnTo>
                <a:lnTo>
                  <a:pt x="198" y="228"/>
                </a:lnTo>
                <a:lnTo>
                  <a:pt x="197" y="231"/>
                </a:lnTo>
                <a:lnTo>
                  <a:pt x="195" y="231"/>
                </a:lnTo>
                <a:lnTo>
                  <a:pt x="195" y="225"/>
                </a:lnTo>
                <a:lnTo>
                  <a:pt x="197" y="223"/>
                </a:lnTo>
                <a:lnTo>
                  <a:pt x="197" y="222"/>
                </a:lnTo>
                <a:close/>
                <a:moveTo>
                  <a:pt x="164" y="217"/>
                </a:moveTo>
                <a:lnTo>
                  <a:pt x="166" y="219"/>
                </a:lnTo>
                <a:lnTo>
                  <a:pt x="164" y="219"/>
                </a:lnTo>
                <a:lnTo>
                  <a:pt x="164" y="220"/>
                </a:lnTo>
                <a:lnTo>
                  <a:pt x="163" y="220"/>
                </a:lnTo>
                <a:lnTo>
                  <a:pt x="163" y="222"/>
                </a:lnTo>
                <a:lnTo>
                  <a:pt x="161" y="222"/>
                </a:lnTo>
                <a:lnTo>
                  <a:pt x="161" y="221"/>
                </a:lnTo>
                <a:lnTo>
                  <a:pt x="160" y="220"/>
                </a:lnTo>
                <a:lnTo>
                  <a:pt x="160" y="219"/>
                </a:lnTo>
                <a:lnTo>
                  <a:pt x="164" y="217"/>
                </a:lnTo>
                <a:close/>
                <a:moveTo>
                  <a:pt x="300" y="215"/>
                </a:moveTo>
                <a:lnTo>
                  <a:pt x="301" y="215"/>
                </a:lnTo>
                <a:lnTo>
                  <a:pt x="304" y="216"/>
                </a:lnTo>
                <a:lnTo>
                  <a:pt x="305" y="217"/>
                </a:lnTo>
                <a:lnTo>
                  <a:pt x="306" y="217"/>
                </a:lnTo>
                <a:lnTo>
                  <a:pt x="309" y="219"/>
                </a:lnTo>
                <a:lnTo>
                  <a:pt x="309" y="217"/>
                </a:lnTo>
                <a:lnTo>
                  <a:pt x="313" y="217"/>
                </a:lnTo>
                <a:lnTo>
                  <a:pt x="312" y="219"/>
                </a:lnTo>
                <a:lnTo>
                  <a:pt x="311" y="219"/>
                </a:lnTo>
                <a:lnTo>
                  <a:pt x="312" y="220"/>
                </a:lnTo>
                <a:lnTo>
                  <a:pt x="313" y="220"/>
                </a:lnTo>
                <a:lnTo>
                  <a:pt x="313" y="221"/>
                </a:lnTo>
                <a:lnTo>
                  <a:pt x="310" y="221"/>
                </a:lnTo>
                <a:lnTo>
                  <a:pt x="306" y="223"/>
                </a:lnTo>
                <a:lnTo>
                  <a:pt x="305" y="223"/>
                </a:lnTo>
                <a:lnTo>
                  <a:pt x="305" y="225"/>
                </a:lnTo>
                <a:lnTo>
                  <a:pt x="301" y="225"/>
                </a:lnTo>
                <a:lnTo>
                  <a:pt x="300" y="223"/>
                </a:lnTo>
                <a:lnTo>
                  <a:pt x="300" y="222"/>
                </a:lnTo>
                <a:lnTo>
                  <a:pt x="299" y="222"/>
                </a:lnTo>
                <a:lnTo>
                  <a:pt x="299" y="221"/>
                </a:lnTo>
                <a:lnTo>
                  <a:pt x="295" y="221"/>
                </a:lnTo>
                <a:lnTo>
                  <a:pt x="295" y="222"/>
                </a:lnTo>
                <a:lnTo>
                  <a:pt x="293" y="222"/>
                </a:lnTo>
                <a:lnTo>
                  <a:pt x="292" y="221"/>
                </a:lnTo>
                <a:lnTo>
                  <a:pt x="292" y="220"/>
                </a:lnTo>
                <a:lnTo>
                  <a:pt x="293" y="219"/>
                </a:lnTo>
                <a:lnTo>
                  <a:pt x="294" y="219"/>
                </a:lnTo>
                <a:lnTo>
                  <a:pt x="295" y="217"/>
                </a:lnTo>
                <a:lnTo>
                  <a:pt x="295" y="216"/>
                </a:lnTo>
                <a:lnTo>
                  <a:pt x="300" y="215"/>
                </a:lnTo>
                <a:close/>
                <a:moveTo>
                  <a:pt x="44" y="209"/>
                </a:moveTo>
                <a:lnTo>
                  <a:pt x="45" y="210"/>
                </a:lnTo>
                <a:lnTo>
                  <a:pt x="45" y="212"/>
                </a:lnTo>
                <a:lnTo>
                  <a:pt x="46" y="213"/>
                </a:lnTo>
                <a:lnTo>
                  <a:pt x="46" y="214"/>
                </a:lnTo>
                <a:lnTo>
                  <a:pt x="51" y="214"/>
                </a:lnTo>
                <a:lnTo>
                  <a:pt x="52" y="215"/>
                </a:lnTo>
                <a:lnTo>
                  <a:pt x="52" y="216"/>
                </a:lnTo>
                <a:lnTo>
                  <a:pt x="54" y="219"/>
                </a:lnTo>
                <a:lnTo>
                  <a:pt x="56" y="220"/>
                </a:lnTo>
                <a:lnTo>
                  <a:pt x="57" y="222"/>
                </a:lnTo>
                <a:lnTo>
                  <a:pt x="55" y="220"/>
                </a:lnTo>
                <a:lnTo>
                  <a:pt x="52" y="220"/>
                </a:lnTo>
                <a:lnTo>
                  <a:pt x="51" y="221"/>
                </a:lnTo>
                <a:lnTo>
                  <a:pt x="50" y="221"/>
                </a:lnTo>
                <a:lnTo>
                  <a:pt x="50" y="222"/>
                </a:lnTo>
                <a:lnTo>
                  <a:pt x="51" y="223"/>
                </a:lnTo>
                <a:lnTo>
                  <a:pt x="50" y="225"/>
                </a:lnTo>
                <a:lnTo>
                  <a:pt x="49" y="225"/>
                </a:lnTo>
                <a:lnTo>
                  <a:pt x="48" y="222"/>
                </a:lnTo>
                <a:lnTo>
                  <a:pt x="45" y="221"/>
                </a:lnTo>
                <a:lnTo>
                  <a:pt x="44" y="220"/>
                </a:lnTo>
                <a:lnTo>
                  <a:pt x="44" y="217"/>
                </a:lnTo>
                <a:lnTo>
                  <a:pt x="42" y="216"/>
                </a:lnTo>
                <a:lnTo>
                  <a:pt x="40" y="215"/>
                </a:lnTo>
                <a:lnTo>
                  <a:pt x="42" y="215"/>
                </a:lnTo>
                <a:lnTo>
                  <a:pt x="40" y="214"/>
                </a:lnTo>
                <a:lnTo>
                  <a:pt x="42" y="214"/>
                </a:lnTo>
                <a:lnTo>
                  <a:pt x="40" y="213"/>
                </a:lnTo>
                <a:lnTo>
                  <a:pt x="44" y="209"/>
                </a:lnTo>
                <a:close/>
                <a:moveTo>
                  <a:pt x="216" y="206"/>
                </a:moveTo>
                <a:lnTo>
                  <a:pt x="217" y="206"/>
                </a:lnTo>
                <a:lnTo>
                  <a:pt x="217" y="207"/>
                </a:lnTo>
                <a:lnTo>
                  <a:pt x="218" y="207"/>
                </a:lnTo>
                <a:lnTo>
                  <a:pt x="218" y="208"/>
                </a:lnTo>
                <a:lnTo>
                  <a:pt x="219" y="209"/>
                </a:lnTo>
                <a:lnTo>
                  <a:pt x="219" y="210"/>
                </a:lnTo>
                <a:lnTo>
                  <a:pt x="224" y="210"/>
                </a:lnTo>
                <a:lnTo>
                  <a:pt x="224" y="213"/>
                </a:lnTo>
                <a:lnTo>
                  <a:pt x="223" y="214"/>
                </a:lnTo>
                <a:lnTo>
                  <a:pt x="225" y="215"/>
                </a:lnTo>
                <a:lnTo>
                  <a:pt x="225" y="216"/>
                </a:lnTo>
                <a:lnTo>
                  <a:pt x="224" y="216"/>
                </a:lnTo>
                <a:lnTo>
                  <a:pt x="224" y="217"/>
                </a:lnTo>
                <a:lnTo>
                  <a:pt x="225" y="217"/>
                </a:lnTo>
                <a:lnTo>
                  <a:pt x="225" y="220"/>
                </a:lnTo>
                <a:lnTo>
                  <a:pt x="224" y="221"/>
                </a:lnTo>
                <a:lnTo>
                  <a:pt x="224" y="222"/>
                </a:lnTo>
                <a:lnTo>
                  <a:pt x="223" y="221"/>
                </a:lnTo>
                <a:lnTo>
                  <a:pt x="222" y="221"/>
                </a:lnTo>
                <a:lnTo>
                  <a:pt x="222" y="219"/>
                </a:lnTo>
                <a:lnTo>
                  <a:pt x="220" y="217"/>
                </a:lnTo>
                <a:lnTo>
                  <a:pt x="219" y="217"/>
                </a:lnTo>
                <a:lnTo>
                  <a:pt x="219" y="216"/>
                </a:lnTo>
                <a:lnTo>
                  <a:pt x="218" y="215"/>
                </a:lnTo>
                <a:lnTo>
                  <a:pt x="217" y="215"/>
                </a:lnTo>
                <a:lnTo>
                  <a:pt x="217" y="213"/>
                </a:lnTo>
                <a:lnTo>
                  <a:pt x="216" y="213"/>
                </a:lnTo>
                <a:lnTo>
                  <a:pt x="214" y="212"/>
                </a:lnTo>
                <a:lnTo>
                  <a:pt x="213" y="213"/>
                </a:lnTo>
                <a:lnTo>
                  <a:pt x="213" y="210"/>
                </a:lnTo>
                <a:lnTo>
                  <a:pt x="212" y="209"/>
                </a:lnTo>
                <a:lnTo>
                  <a:pt x="213" y="209"/>
                </a:lnTo>
                <a:lnTo>
                  <a:pt x="212" y="208"/>
                </a:lnTo>
                <a:lnTo>
                  <a:pt x="213" y="208"/>
                </a:lnTo>
                <a:lnTo>
                  <a:pt x="213" y="207"/>
                </a:lnTo>
                <a:lnTo>
                  <a:pt x="216" y="206"/>
                </a:lnTo>
                <a:close/>
                <a:moveTo>
                  <a:pt x="161" y="206"/>
                </a:moveTo>
                <a:lnTo>
                  <a:pt x="163" y="206"/>
                </a:lnTo>
                <a:lnTo>
                  <a:pt x="164" y="207"/>
                </a:lnTo>
                <a:lnTo>
                  <a:pt x="164" y="208"/>
                </a:lnTo>
                <a:lnTo>
                  <a:pt x="166" y="208"/>
                </a:lnTo>
                <a:lnTo>
                  <a:pt x="163" y="210"/>
                </a:lnTo>
                <a:lnTo>
                  <a:pt x="163" y="212"/>
                </a:lnTo>
                <a:lnTo>
                  <a:pt x="162" y="210"/>
                </a:lnTo>
                <a:lnTo>
                  <a:pt x="162" y="212"/>
                </a:lnTo>
                <a:lnTo>
                  <a:pt x="158" y="212"/>
                </a:lnTo>
                <a:lnTo>
                  <a:pt x="158" y="210"/>
                </a:lnTo>
                <a:lnTo>
                  <a:pt x="160" y="209"/>
                </a:lnTo>
                <a:lnTo>
                  <a:pt x="162" y="209"/>
                </a:lnTo>
                <a:lnTo>
                  <a:pt x="162" y="208"/>
                </a:lnTo>
                <a:lnTo>
                  <a:pt x="160" y="208"/>
                </a:lnTo>
                <a:lnTo>
                  <a:pt x="161" y="207"/>
                </a:lnTo>
                <a:lnTo>
                  <a:pt x="161" y="206"/>
                </a:lnTo>
                <a:close/>
                <a:moveTo>
                  <a:pt x="138" y="195"/>
                </a:moveTo>
                <a:lnTo>
                  <a:pt x="139" y="195"/>
                </a:lnTo>
                <a:lnTo>
                  <a:pt x="141" y="196"/>
                </a:lnTo>
                <a:lnTo>
                  <a:pt x="139" y="196"/>
                </a:lnTo>
                <a:lnTo>
                  <a:pt x="138" y="195"/>
                </a:lnTo>
                <a:close/>
                <a:moveTo>
                  <a:pt x="75" y="188"/>
                </a:moveTo>
                <a:lnTo>
                  <a:pt x="76" y="188"/>
                </a:lnTo>
                <a:lnTo>
                  <a:pt x="76" y="189"/>
                </a:lnTo>
                <a:lnTo>
                  <a:pt x="75" y="188"/>
                </a:lnTo>
                <a:close/>
                <a:moveTo>
                  <a:pt x="45" y="185"/>
                </a:moveTo>
                <a:lnTo>
                  <a:pt x="46" y="185"/>
                </a:lnTo>
                <a:lnTo>
                  <a:pt x="46" y="189"/>
                </a:lnTo>
                <a:lnTo>
                  <a:pt x="44" y="189"/>
                </a:lnTo>
                <a:lnTo>
                  <a:pt x="44" y="186"/>
                </a:lnTo>
                <a:lnTo>
                  <a:pt x="45" y="186"/>
                </a:lnTo>
                <a:lnTo>
                  <a:pt x="45" y="185"/>
                </a:lnTo>
                <a:close/>
                <a:moveTo>
                  <a:pt x="37" y="180"/>
                </a:moveTo>
                <a:lnTo>
                  <a:pt x="39" y="180"/>
                </a:lnTo>
                <a:lnTo>
                  <a:pt x="42" y="186"/>
                </a:lnTo>
                <a:lnTo>
                  <a:pt x="42" y="188"/>
                </a:lnTo>
                <a:lnTo>
                  <a:pt x="40" y="189"/>
                </a:lnTo>
                <a:lnTo>
                  <a:pt x="40" y="190"/>
                </a:lnTo>
                <a:lnTo>
                  <a:pt x="42" y="192"/>
                </a:lnTo>
                <a:lnTo>
                  <a:pt x="43" y="191"/>
                </a:lnTo>
                <a:lnTo>
                  <a:pt x="44" y="191"/>
                </a:lnTo>
                <a:lnTo>
                  <a:pt x="44" y="192"/>
                </a:lnTo>
                <a:lnTo>
                  <a:pt x="46" y="195"/>
                </a:lnTo>
                <a:lnTo>
                  <a:pt x="46" y="197"/>
                </a:lnTo>
                <a:lnTo>
                  <a:pt x="49" y="198"/>
                </a:lnTo>
                <a:lnTo>
                  <a:pt x="49" y="202"/>
                </a:lnTo>
                <a:lnTo>
                  <a:pt x="44" y="202"/>
                </a:lnTo>
                <a:lnTo>
                  <a:pt x="44" y="201"/>
                </a:lnTo>
                <a:lnTo>
                  <a:pt x="43" y="200"/>
                </a:lnTo>
                <a:lnTo>
                  <a:pt x="39" y="200"/>
                </a:lnTo>
                <a:lnTo>
                  <a:pt x="38" y="201"/>
                </a:lnTo>
                <a:lnTo>
                  <a:pt x="36" y="200"/>
                </a:lnTo>
                <a:lnTo>
                  <a:pt x="36" y="197"/>
                </a:lnTo>
                <a:lnTo>
                  <a:pt x="34" y="196"/>
                </a:lnTo>
                <a:lnTo>
                  <a:pt x="36" y="196"/>
                </a:lnTo>
                <a:lnTo>
                  <a:pt x="36" y="195"/>
                </a:lnTo>
                <a:lnTo>
                  <a:pt x="34" y="191"/>
                </a:lnTo>
                <a:lnTo>
                  <a:pt x="33" y="191"/>
                </a:lnTo>
                <a:lnTo>
                  <a:pt x="33" y="196"/>
                </a:lnTo>
                <a:lnTo>
                  <a:pt x="32" y="197"/>
                </a:lnTo>
                <a:lnTo>
                  <a:pt x="31" y="197"/>
                </a:lnTo>
                <a:lnTo>
                  <a:pt x="29" y="195"/>
                </a:lnTo>
                <a:lnTo>
                  <a:pt x="30" y="195"/>
                </a:lnTo>
                <a:lnTo>
                  <a:pt x="30" y="191"/>
                </a:lnTo>
                <a:lnTo>
                  <a:pt x="31" y="191"/>
                </a:lnTo>
                <a:lnTo>
                  <a:pt x="31" y="190"/>
                </a:lnTo>
                <a:lnTo>
                  <a:pt x="32" y="188"/>
                </a:lnTo>
                <a:lnTo>
                  <a:pt x="33" y="186"/>
                </a:lnTo>
                <a:lnTo>
                  <a:pt x="33" y="188"/>
                </a:lnTo>
                <a:lnTo>
                  <a:pt x="34" y="189"/>
                </a:lnTo>
                <a:lnTo>
                  <a:pt x="36" y="189"/>
                </a:lnTo>
                <a:lnTo>
                  <a:pt x="36" y="188"/>
                </a:lnTo>
                <a:lnTo>
                  <a:pt x="37" y="188"/>
                </a:lnTo>
                <a:lnTo>
                  <a:pt x="38" y="186"/>
                </a:lnTo>
                <a:lnTo>
                  <a:pt x="38" y="183"/>
                </a:lnTo>
                <a:lnTo>
                  <a:pt x="37" y="183"/>
                </a:lnTo>
                <a:lnTo>
                  <a:pt x="38" y="182"/>
                </a:lnTo>
                <a:lnTo>
                  <a:pt x="37" y="180"/>
                </a:lnTo>
                <a:close/>
                <a:moveTo>
                  <a:pt x="43" y="179"/>
                </a:moveTo>
                <a:lnTo>
                  <a:pt x="43" y="180"/>
                </a:lnTo>
                <a:lnTo>
                  <a:pt x="44" y="182"/>
                </a:lnTo>
                <a:lnTo>
                  <a:pt x="45" y="182"/>
                </a:lnTo>
                <a:lnTo>
                  <a:pt x="44" y="183"/>
                </a:lnTo>
                <a:lnTo>
                  <a:pt x="44" y="184"/>
                </a:lnTo>
                <a:lnTo>
                  <a:pt x="43" y="185"/>
                </a:lnTo>
                <a:lnTo>
                  <a:pt x="44" y="185"/>
                </a:lnTo>
                <a:lnTo>
                  <a:pt x="44" y="186"/>
                </a:lnTo>
                <a:lnTo>
                  <a:pt x="43" y="186"/>
                </a:lnTo>
                <a:lnTo>
                  <a:pt x="42" y="184"/>
                </a:lnTo>
                <a:lnTo>
                  <a:pt x="42" y="182"/>
                </a:lnTo>
                <a:lnTo>
                  <a:pt x="40" y="182"/>
                </a:lnTo>
                <a:lnTo>
                  <a:pt x="40" y="180"/>
                </a:lnTo>
                <a:lnTo>
                  <a:pt x="42" y="180"/>
                </a:lnTo>
                <a:lnTo>
                  <a:pt x="43" y="179"/>
                </a:lnTo>
                <a:close/>
                <a:moveTo>
                  <a:pt x="268" y="173"/>
                </a:moveTo>
                <a:lnTo>
                  <a:pt x="270" y="174"/>
                </a:lnTo>
                <a:lnTo>
                  <a:pt x="273" y="177"/>
                </a:lnTo>
                <a:lnTo>
                  <a:pt x="273" y="176"/>
                </a:lnTo>
                <a:lnTo>
                  <a:pt x="274" y="176"/>
                </a:lnTo>
                <a:lnTo>
                  <a:pt x="275" y="177"/>
                </a:lnTo>
                <a:lnTo>
                  <a:pt x="274" y="177"/>
                </a:lnTo>
                <a:lnTo>
                  <a:pt x="274" y="179"/>
                </a:lnTo>
                <a:lnTo>
                  <a:pt x="273" y="179"/>
                </a:lnTo>
                <a:lnTo>
                  <a:pt x="273" y="180"/>
                </a:lnTo>
                <a:lnTo>
                  <a:pt x="274" y="180"/>
                </a:lnTo>
                <a:lnTo>
                  <a:pt x="274" y="188"/>
                </a:lnTo>
                <a:lnTo>
                  <a:pt x="275" y="190"/>
                </a:lnTo>
                <a:lnTo>
                  <a:pt x="273" y="190"/>
                </a:lnTo>
                <a:lnTo>
                  <a:pt x="272" y="191"/>
                </a:lnTo>
                <a:lnTo>
                  <a:pt x="273" y="194"/>
                </a:lnTo>
                <a:lnTo>
                  <a:pt x="272" y="195"/>
                </a:lnTo>
                <a:lnTo>
                  <a:pt x="269" y="195"/>
                </a:lnTo>
                <a:lnTo>
                  <a:pt x="269" y="197"/>
                </a:lnTo>
                <a:lnTo>
                  <a:pt x="267" y="197"/>
                </a:lnTo>
                <a:lnTo>
                  <a:pt x="267" y="196"/>
                </a:lnTo>
                <a:lnTo>
                  <a:pt x="266" y="195"/>
                </a:lnTo>
                <a:lnTo>
                  <a:pt x="265" y="195"/>
                </a:lnTo>
                <a:lnTo>
                  <a:pt x="265" y="194"/>
                </a:lnTo>
                <a:lnTo>
                  <a:pt x="263" y="194"/>
                </a:lnTo>
                <a:lnTo>
                  <a:pt x="263" y="192"/>
                </a:lnTo>
                <a:lnTo>
                  <a:pt x="262" y="192"/>
                </a:lnTo>
                <a:lnTo>
                  <a:pt x="262" y="191"/>
                </a:lnTo>
                <a:lnTo>
                  <a:pt x="263" y="191"/>
                </a:lnTo>
                <a:lnTo>
                  <a:pt x="263" y="190"/>
                </a:lnTo>
                <a:lnTo>
                  <a:pt x="267" y="190"/>
                </a:lnTo>
                <a:lnTo>
                  <a:pt x="267" y="188"/>
                </a:lnTo>
                <a:lnTo>
                  <a:pt x="268" y="188"/>
                </a:lnTo>
                <a:lnTo>
                  <a:pt x="267" y="186"/>
                </a:lnTo>
                <a:lnTo>
                  <a:pt x="267" y="184"/>
                </a:lnTo>
                <a:lnTo>
                  <a:pt x="266" y="184"/>
                </a:lnTo>
                <a:lnTo>
                  <a:pt x="266" y="182"/>
                </a:lnTo>
                <a:lnTo>
                  <a:pt x="265" y="180"/>
                </a:lnTo>
                <a:lnTo>
                  <a:pt x="263" y="180"/>
                </a:lnTo>
                <a:lnTo>
                  <a:pt x="261" y="178"/>
                </a:lnTo>
                <a:lnTo>
                  <a:pt x="261" y="174"/>
                </a:lnTo>
                <a:lnTo>
                  <a:pt x="268" y="173"/>
                </a:lnTo>
                <a:close/>
                <a:moveTo>
                  <a:pt x="248" y="173"/>
                </a:moveTo>
                <a:lnTo>
                  <a:pt x="251" y="173"/>
                </a:lnTo>
                <a:lnTo>
                  <a:pt x="251" y="177"/>
                </a:lnTo>
                <a:lnTo>
                  <a:pt x="249" y="177"/>
                </a:lnTo>
                <a:lnTo>
                  <a:pt x="249" y="174"/>
                </a:lnTo>
                <a:lnTo>
                  <a:pt x="248" y="174"/>
                </a:lnTo>
                <a:lnTo>
                  <a:pt x="248" y="173"/>
                </a:lnTo>
                <a:close/>
                <a:moveTo>
                  <a:pt x="54" y="173"/>
                </a:moveTo>
                <a:lnTo>
                  <a:pt x="55" y="173"/>
                </a:lnTo>
                <a:lnTo>
                  <a:pt x="54" y="174"/>
                </a:lnTo>
                <a:lnTo>
                  <a:pt x="54" y="177"/>
                </a:lnTo>
                <a:lnTo>
                  <a:pt x="52" y="177"/>
                </a:lnTo>
                <a:lnTo>
                  <a:pt x="52" y="176"/>
                </a:lnTo>
                <a:lnTo>
                  <a:pt x="54" y="173"/>
                </a:lnTo>
                <a:close/>
                <a:moveTo>
                  <a:pt x="46" y="172"/>
                </a:moveTo>
                <a:lnTo>
                  <a:pt x="48" y="172"/>
                </a:lnTo>
                <a:lnTo>
                  <a:pt x="48" y="173"/>
                </a:lnTo>
                <a:lnTo>
                  <a:pt x="46" y="172"/>
                </a:lnTo>
                <a:close/>
                <a:moveTo>
                  <a:pt x="52" y="171"/>
                </a:moveTo>
                <a:lnTo>
                  <a:pt x="55" y="171"/>
                </a:lnTo>
                <a:lnTo>
                  <a:pt x="55" y="172"/>
                </a:lnTo>
                <a:lnTo>
                  <a:pt x="54" y="172"/>
                </a:lnTo>
                <a:lnTo>
                  <a:pt x="54" y="173"/>
                </a:lnTo>
                <a:lnTo>
                  <a:pt x="52" y="173"/>
                </a:lnTo>
                <a:lnTo>
                  <a:pt x="52" y="174"/>
                </a:lnTo>
                <a:lnTo>
                  <a:pt x="51" y="174"/>
                </a:lnTo>
                <a:lnTo>
                  <a:pt x="51" y="173"/>
                </a:lnTo>
                <a:lnTo>
                  <a:pt x="52" y="172"/>
                </a:lnTo>
                <a:lnTo>
                  <a:pt x="52" y="171"/>
                </a:lnTo>
                <a:close/>
                <a:moveTo>
                  <a:pt x="46" y="170"/>
                </a:moveTo>
                <a:lnTo>
                  <a:pt x="49" y="170"/>
                </a:lnTo>
                <a:lnTo>
                  <a:pt x="49" y="171"/>
                </a:lnTo>
                <a:lnTo>
                  <a:pt x="46" y="171"/>
                </a:lnTo>
                <a:lnTo>
                  <a:pt x="46" y="170"/>
                </a:lnTo>
                <a:close/>
                <a:moveTo>
                  <a:pt x="43" y="160"/>
                </a:moveTo>
                <a:lnTo>
                  <a:pt x="44" y="160"/>
                </a:lnTo>
                <a:lnTo>
                  <a:pt x="44" y="161"/>
                </a:lnTo>
                <a:lnTo>
                  <a:pt x="45" y="161"/>
                </a:lnTo>
                <a:lnTo>
                  <a:pt x="45" y="167"/>
                </a:lnTo>
                <a:lnTo>
                  <a:pt x="44" y="169"/>
                </a:lnTo>
                <a:lnTo>
                  <a:pt x="44" y="170"/>
                </a:lnTo>
                <a:lnTo>
                  <a:pt x="45" y="169"/>
                </a:lnTo>
                <a:lnTo>
                  <a:pt x="45" y="172"/>
                </a:lnTo>
                <a:lnTo>
                  <a:pt x="44" y="171"/>
                </a:lnTo>
                <a:lnTo>
                  <a:pt x="44" y="173"/>
                </a:lnTo>
                <a:lnTo>
                  <a:pt x="40" y="173"/>
                </a:lnTo>
                <a:lnTo>
                  <a:pt x="40" y="172"/>
                </a:lnTo>
                <a:lnTo>
                  <a:pt x="39" y="172"/>
                </a:lnTo>
                <a:lnTo>
                  <a:pt x="39" y="173"/>
                </a:lnTo>
                <a:lnTo>
                  <a:pt x="38" y="173"/>
                </a:lnTo>
                <a:lnTo>
                  <a:pt x="38" y="169"/>
                </a:lnTo>
                <a:lnTo>
                  <a:pt x="39" y="167"/>
                </a:lnTo>
                <a:lnTo>
                  <a:pt x="39" y="166"/>
                </a:lnTo>
                <a:lnTo>
                  <a:pt x="40" y="164"/>
                </a:lnTo>
                <a:lnTo>
                  <a:pt x="40" y="163"/>
                </a:lnTo>
                <a:lnTo>
                  <a:pt x="43" y="160"/>
                </a:lnTo>
                <a:close/>
                <a:moveTo>
                  <a:pt x="201" y="158"/>
                </a:moveTo>
                <a:lnTo>
                  <a:pt x="203" y="158"/>
                </a:lnTo>
                <a:lnTo>
                  <a:pt x="201" y="159"/>
                </a:lnTo>
                <a:lnTo>
                  <a:pt x="201" y="158"/>
                </a:lnTo>
                <a:close/>
                <a:moveTo>
                  <a:pt x="137" y="158"/>
                </a:moveTo>
                <a:lnTo>
                  <a:pt x="139" y="158"/>
                </a:lnTo>
                <a:lnTo>
                  <a:pt x="139" y="159"/>
                </a:lnTo>
                <a:lnTo>
                  <a:pt x="141" y="159"/>
                </a:lnTo>
                <a:lnTo>
                  <a:pt x="141" y="160"/>
                </a:lnTo>
                <a:lnTo>
                  <a:pt x="139" y="160"/>
                </a:lnTo>
                <a:lnTo>
                  <a:pt x="136" y="161"/>
                </a:lnTo>
                <a:lnTo>
                  <a:pt x="135" y="161"/>
                </a:lnTo>
                <a:lnTo>
                  <a:pt x="135" y="159"/>
                </a:lnTo>
                <a:lnTo>
                  <a:pt x="137" y="159"/>
                </a:lnTo>
                <a:lnTo>
                  <a:pt x="137" y="158"/>
                </a:lnTo>
                <a:close/>
                <a:moveTo>
                  <a:pt x="204" y="153"/>
                </a:moveTo>
                <a:lnTo>
                  <a:pt x="207" y="155"/>
                </a:lnTo>
                <a:lnTo>
                  <a:pt x="207" y="158"/>
                </a:lnTo>
                <a:lnTo>
                  <a:pt x="208" y="159"/>
                </a:lnTo>
                <a:lnTo>
                  <a:pt x="211" y="160"/>
                </a:lnTo>
                <a:lnTo>
                  <a:pt x="212" y="161"/>
                </a:lnTo>
                <a:lnTo>
                  <a:pt x="212" y="164"/>
                </a:lnTo>
                <a:lnTo>
                  <a:pt x="211" y="165"/>
                </a:lnTo>
                <a:lnTo>
                  <a:pt x="211" y="164"/>
                </a:lnTo>
                <a:lnTo>
                  <a:pt x="210" y="165"/>
                </a:lnTo>
                <a:lnTo>
                  <a:pt x="210" y="164"/>
                </a:lnTo>
                <a:lnTo>
                  <a:pt x="207" y="164"/>
                </a:lnTo>
                <a:lnTo>
                  <a:pt x="207" y="165"/>
                </a:lnTo>
                <a:lnTo>
                  <a:pt x="206" y="163"/>
                </a:lnTo>
                <a:lnTo>
                  <a:pt x="207" y="163"/>
                </a:lnTo>
                <a:lnTo>
                  <a:pt x="207" y="160"/>
                </a:lnTo>
                <a:lnTo>
                  <a:pt x="206" y="161"/>
                </a:lnTo>
                <a:lnTo>
                  <a:pt x="206" y="160"/>
                </a:lnTo>
                <a:lnTo>
                  <a:pt x="205" y="160"/>
                </a:lnTo>
                <a:lnTo>
                  <a:pt x="204" y="159"/>
                </a:lnTo>
                <a:lnTo>
                  <a:pt x="203" y="159"/>
                </a:lnTo>
                <a:lnTo>
                  <a:pt x="203" y="154"/>
                </a:lnTo>
                <a:lnTo>
                  <a:pt x="204" y="153"/>
                </a:lnTo>
                <a:close/>
                <a:moveTo>
                  <a:pt x="49" y="153"/>
                </a:moveTo>
                <a:lnTo>
                  <a:pt x="50" y="153"/>
                </a:lnTo>
                <a:lnTo>
                  <a:pt x="50" y="154"/>
                </a:lnTo>
                <a:lnTo>
                  <a:pt x="49" y="154"/>
                </a:lnTo>
                <a:lnTo>
                  <a:pt x="49" y="153"/>
                </a:lnTo>
                <a:close/>
                <a:moveTo>
                  <a:pt x="152" y="149"/>
                </a:moveTo>
                <a:lnTo>
                  <a:pt x="155" y="149"/>
                </a:lnTo>
                <a:lnTo>
                  <a:pt x="155" y="151"/>
                </a:lnTo>
                <a:lnTo>
                  <a:pt x="156" y="151"/>
                </a:lnTo>
                <a:lnTo>
                  <a:pt x="157" y="152"/>
                </a:lnTo>
                <a:lnTo>
                  <a:pt x="157" y="154"/>
                </a:lnTo>
                <a:lnTo>
                  <a:pt x="160" y="154"/>
                </a:lnTo>
                <a:lnTo>
                  <a:pt x="160" y="158"/>
                </a:lnTo>
                <a:lnTo>
                  <a:pt x="161" y="158"/>
                </a:lnTo>
                <a:lnTo>
                  <a:pt x="161" y="160"/>
                </a:lnTo>
                <a:lnTo>
                  <a:pt x="162" y="160"/>
                </a:lnTo>
                <a:lnTo>
                  <a:pt x="163" y="161"/>
                </a:lnTo>
                <a:lnTo>
                  <a:pt x="166" y="163"/>
                </a:lnTo>
                <a:lnTo>
                  <a:pt x="168" y="165"/>
                </a:lnTo>
                <a:lnTo>
                  <a:pt x="173" y="165"/>
                </a:lnTo>
                <a:lnTo>
                  <a:pt x="173" y="167"/>
                </a:lnTo>
                <a:lnTo>
                  <a:pt x="174" y="167"/>
                </a:lnTo>
                <a:lnTo>
                  <a:pt x="175" y="169"/>
                </a:lnTo>
                <a:lnTo>
                  <a:pt x="178" y="169"/>
                </a:lnTo>
                <a:lnTo>
                  <a:pt x="180" y="170"/>
                </a:lnTo>
                <a:lnTo>
                  <a:pt x="182" y="170"/>
                </a:lnTo>
                <a:lnTo>
                  <a:pt x="182" y="169"/>
                </a:lnTo>
                <a:lnTo>
                  <a:pt x="183" y="170"/>
                </a:lnTo>
                <a:lnTo>
                  <a:pt x="189" y="170"/>
                </a:lnTo>
                <a:lnTo>
                  <a:pt x="191" y="171"/>
                </a:lnTo>
                <a:lnTo>
                  <a:pt x="189" y="171"/>
                </a:lnTo>
                <a:lnTo>
                  <a:pt x="189" y="172"/>
                </a:lnTo>
                <a:lnTo>
                  <a:pt x="188" y="172"/>
                </a:lnTo>
                <a:lnTo>
                  <a:pt x="188" y="173"/>
                </a:lnTo>
                <a:lnTo>
                  <a:pt x="189" y="173"/>
                </a:lnTo>
                <a:lnTo>
                  <a:pt x="193" y="177"/>
                </a:lnTo>
                <a:lnTo>
                  <a:pt x="193" y="178"/>
                </a:lnTo>
                <a:lnTo>
                  <a:pt x="192" y="178"/>
                </a:lnTo>
                <a:lnTo>
                  <a:pt x="192" y="184"/>
                </a:lnTo>
                <a:lnTo>
                  <a:pt x="193" y="185"/>
                </a:lnTo>
                <a:lnTo>
                  <a:pt x="193" y="189"/>
                </a:lnTo>
                <a:lnTo>
                  <a:pt x="194" y="190"/>
                </a:lnTo>
                <a:lnTo>
                  <a:pt x="194" y="194"/>
                </a:lnTo>
                <a:lnTo>
                  <a:pt x="195" y="195"/>
                </a:lnTo>
                <a:lnTo>
                  <a:pt x="198" y="196"/>
                </a:lnTo>
                <a:lnTo>
                  <a:pt x="198" y="197"/>
                </a:lnTo>
                <a:lnTo>
                  <a:pt x="200" y="197"/>
                </a:lnTo>
                <a:lnTo>
                  <a:pt x="201" y="198"/>
                </a:lnTo>
                <a:lnTo>
                  <a:pt x="205" y="198"/>
                </a:lnTo>
                <a:lnTo>
                  <a:pt x="208" y="197"/>
                </a:lnTo>
                <a:lnTo>
                  <a:pt x="208" y="203"/>
                </a:lnTo>
                <a:lnTo>
                  <a:pt x="207" y="206"/>
                </a:lnTo>
                <a:lnTo>
                  <a:pt x="207" y="207"/>
                </a:lnTo>
                <a:lnTo>
                  <a:pt x="206" y="208"/>
                </a:lnTo>
                <a:lnTo>
                  <a:pt x="204" y="208"/>
                </a:lnTo>
                <a:lnTo>
                  <a:pt x="204" y="207"/>
                </a:lnTo>
                <a:lnTo>
                  <a:pt x="201" y="204"/>
                </a:lnTo>
                <a:lnTo>
                  <a:pt x="200" y="206"/>
                </a:lnTo>
                <a:lnTo>
                  <a:pt x="200" y="207"/>
                </a:lnTo>
                <a:lnTo>
                  <a:pt x="199" y="207"/>
                </a:lnTo>
                <a:lnTo>
                  <a:pt x="198" y="206"/>
                </a:lnTo>
                <a:lnTo>
                  <a:pt x="198" y="204"/>
                </a:lnTo>
                <a:lnTo>
                  <a:pt x="197" y="204"/>
                </a:lnTo>
                <a:lnTo>
                  <a:pt x="198" y="203"/>
                </a:lnTo>
                <a:lnTo>
                  <a:pt x="197" y="202"/>
                </a:lnTo>
                <a:lnTo>
                  <a:pt x="195" y="202"/>
                </a:lnTo>
                <a:lnTo>
                  <a:pt x="195" y="201"/>
                </a:lnTo>
                <a:lnTo>
                  <a:pt x="193" y="201"/>
                </a:lnTo>
                <a:lnTo>
                  <a:pt x="193" y="200"/>
                </a:lnTo>
                <a:lnTo>
                  <a:pt x="192" y="198"/>
                </a:lnTo>
                <a:lnTo>
                  <a:pt x="192" y="197"/>
                </a:lnTo>
                <a:lnTo>
                  <a:pt x="193" y="197"/>
                </a:lnTo>
                <a:lnTo>
                  <a:pt x="192" y="196"/>
                </a:lnTo>
                <a:lnTo>
                  <a:pt x="192" y="194"/>
                </a:lnTo>
                <a:lnTo>
                  <a:pt x="189" y="194"/>
                </a:lnTo>
                <a:lnTo>
                  <a:pt x="189" y="192"/>
                </a:lnTo>
                <a:lnTo>
                  <a:pt x="191" y="191"/>
                </a:lnTo>
                <a:lnTo>
                  <a:pt x="189" y="191"/>
                </a:lnTo>
                <a:lnTo>
                  <a:pt x="188" y="192"/>
                </a:lnTo>
                <a:lnTo>
                  <a:pt x="188" y="189"/>
                </a:lnTo>
                <a:lnTo>
                  <a:pt x="187" y="189"/>
                </a:lnTo>
                <a:lnTo>
                  <a:pt x="186" y="188"/>
                </a:lnTo>
                <a:lnTo>
                  <a:pt x="186" y="184"/>
                </a:lnTo>
                <a:lnTo>
                  <a:pt x="182" y="184"/>
                </a:lnTo>
                <a:lnTo>
                  <a:pt x="180" y="185"/>
                </a:lnTo>
                <a:lnTo>
                  <a:pt x="179" y="184"/>
                </a:lnTo>
                <a:lnTo>
                  <a:pt x="168" y="184"/>
                </a:lnTo>
                <a:lnTo>
                  <a:pt x="167" y="180"/>
                </a:lnTo>
                <a:lnTo>
                  <a:pt x="168" y="179"/>
                </a:lnTo>
                <a:lnTo>
                  <a:pt x="168" y="177"/>
                </a:lnTo>
                <a:lnTo>
                  <a:pt x="166" y="174"/>
                </a:lnTo>
                <a:lnTo>
                  <a:pt x="163" y="174"/>
                </a:lnTo>
                <a:lnTo>
                  <a:pt x="163" y="173"/>
                </a:lnTo>
                <a:lnTo>
                  <a:pt x="162" y="173"/>
                </a:lnTo>
                <a:lnTo>
                  <a:pt x="162" y="172"/>
                </a:lnTo>
                <a:lnTo>
                  <a:pt x="161" y="171"/>
                </a:lnTo>
                <a:lnTo>
                  <a:pt x="161" y="170"/>
                </a:lnTo>
                <a:lnTo>
                  <a:pt x="160" y="170"/>
                </a:lnTo>
                <a:lnTo>
                  <a:pt x="160" y="169"/>
                </a:lnTo>
                <a:lnTo>
                  <a:pt x="158" y="169"/>
                </a:lnTo>
                <a:lnTo>
                  <a:pt x="154" y="164"/>
                </a:lnTo>
                <a:lnTo>
                  <a:pt x="150" y="161"/>
                </a:lnTo>
                <a:lnTo>
                  <a:pt x="149" y="160"/>
                </a:lnTo>
                <a:lnTo>
                  <a:pt x="144" y="160"/>
                </a:lnTo>
                <a:lnTo>
                  <a:pt x="143" y="159"/>
                </a:lnTo>
                <a:lnTo>
                  <a:pt x="142" y="159"/>
                </a:lnTo>
                <a:lnTo>
                  <a:pt x="141" y="158"/>
                </a:lnTo>
                <a:lnTo>
                  <a:pt x="139" y="158"/>
                </a:lnTo>
                <a:lnTo>
                  <a:pt x="141" y="157"/>
                </a:lnTo>
                <a:lnTo>
                  <a:pt x="142" y="157"/>
                </a:lnTo>
                <a:lnTo>
                  <a:pt x="144" y="154"/>
                </a:lnTo>
                <a:lnTo>
                  <a:pt x="145" y="154"/>
                </a:lnTo>
                <a:lnTo>
                  <a:pt x="145" y="153"/>
                </a:lnTo>
                <a:lnTo>
                  <a:pt x="147" y="152"/>
                </a:lnTo>
                <a:lnTo>
                  <a:pt x="150" y="152"/>
                </a:lnTo>
                <a:lnTo>
                  <a:pt x="150" y="151"/>
                </a:lnTo>
                <a:lnTo>
                  <a:pt x="152" y="149"/>
                </a:lnTo>
                <a:close/>
                <a:moveTo>
                  <a:pt x="168" y="142"/>
                </a:moveTo>
                <a:lnTo>
                  <a:pt x="169" y="142"/>
                </a:lnTo>
                <a:lnTo>
                  <a:pt x="170" y="143"/>
                </a:lnTo>
                <a:lnTo>
                  <a:pt x="173" y="143"/>
                </a:lnTo>
                <a:lnTo>
                  <a:pt x="172" y="145"/>
                </a:lnTo>
                <a:lnTo>
                  <a:pt x="175" y="145"/>
                </a:lnTo>
                <a:lnTo>
                  <a:pt x="175" y="146"/>
                </a:lnTo>
                <a:lnTo>
                  <a:pt x="174" y="147"/>
                </a:lnTo>
                <a:lnTo>
                  <a:pt x="173" y="147"/>
                </a:lnTo>
                <a:lnTo>
                  <a:pt x="172" y="148"/>
                </a:lnTo>
                <a:lnTo>
                  <a:pt x="172" y="147"/>
                </a:lnTo>
                <a:lnTo>
                  <a:pt x="169" y="147"/>
                </a:lnTo>
                <a:lnTo>
                  <a:pt x="169" y="146"/>
                </a:lnTo>
                <a:lnTo>
                  <a:pt x="168" y="143"/>
                </a:lnTo>
                <a:lnTo>
                  <a:pt x="168" y="142"/>
                </a:lnTo>
                <a:close/>
                <a:moveTo>
                  <a:pt x="167" y="140"/>
                </a:moveTo>
                <a:lnTo>
                  <a:pt x="167" y="141"/>
                </a:lnTo>
                <a:lnTo>
                  <a:pt x="168" y="142"/>
                </a:lnTo>
                <a:lnTo>
                  <a:pt x="166" y="141"/>
                </a:lnTo>
                <a:lnTo>
                  <a:pt x="167" y="140"/>
                </a:lnTo>
                <a:close/>
                <a:moveTo>
                  <a:pt x="161" y="140"/>
                </a:moveTo>
                <a:lnTo>
                  <a:pt x="163" y="142"/>
                </a:lnTo>
                <a:lnTo>
                  <a:pt x="163" y="143"/>
                </a:lnTo>
                <a:lnTo>
                  <a:pt x="162" y="142"/>
                </a:lnTo>
                <a:lnTo>
                  <a:pt x="161" y="143"/>
                </a:lnTo>
                <a:lnTo>
                  <a:pt x="161" y="145"/>
                </a:lnTo>
                <a:lnTo>
                  <a:pt x="160" y="145"/>
                </a:lnTo>
                <a:lnTo>
                  <a:pt x="160" y="143"/>
                </a:lnTo>
                <a:lnTo>
                  <a:pt x="158" y="143"/>
                </a:lnTo>
                <a:lnTo>
                  <a:pt x="158" y="142"/>
                </a:lnTo>
                <a:lnTo>
                  <a:pt x="160" y="142"/>
                </a:lnTo>
                <a:lnTo>
                  <a:pt x="160" y="141"/>
                </a:lnTo>
                <a:lnTo>
                  <a:pt x="161" y="141"/>
                </a:lnTo>
                <a:lnTo>
                  <a:pt x="161" y="140"/>
                </a:lnTo>
                <a:close/>
                <a:moveTo>
                  <a:pt x="20" y="139"/>
                </a:moveTo>
                <a:lnTo>
                  <a:pt x="21" y="140"/>
                </a:lnTo>
                <a:lnTo>
                  <a:pt x="23" y="140"/>
                </a:lnTo>
                <a:lnTo>
                  <a:pt x="23" y="141"/>
                </a:lnTo>
                <a:lnTo>
                  <a:pt x="24" y="142"/>
                </a:lnTo>
                <a:lnTo>
                  <a:pt x="21" y="142"/>
                </a:lnTo>
                <a:lnTo>
                  <a:pt x="20" y="141"/>
                </a:lnTo>
                <a:lnTo>
                  <a:pt x="20" y="139"/>
                </a:lnTo>
                <a:close/>
                <a:moveTo>
                  <a:pt x="181" y="136"/>
                </a:moveTo>
                <a:lnTo>
                  <a:pt x="181" y="137"/>
                </a:lnTo>
                <a:lnTo>
                  <a:pt x="182" y="137"/>
                </a:lnTo>
                <a:lnTo>
                  <a:pt x="182" y="139"/>
                </a:lnTo>
                <a:lnTo>
                  <a:pt x="180" y="141"/>
                </a:lnTo>
                <a:lnTo>
                  <a:pt x="179" y="143"/>
                </a:lnTo>
                <a:lnTo>
                  <a:pt x="178" y="145"/>
                </a:lnTo>
                <a:lnTo>
                  <a:pt x="176" y="143"/>
                </a:lnTo>
                <a:lnTo>
                  <a:pt x="178" y="143"/>
                </a:lnTo>
                <a:lnTo>
                  <a:pt x="178" y="142"/>
                </a:lnTo>
                <a:lnTo>
                  <a:pt x="179" y="142"/>
                </a:lnTo>
                <a:lnTo>
                  <a:pt x="179" y="140"/>
                </a:lnTo>
                <a:lnTo>
                  <a:pt x="181" y="136"/>
                </a:lnTo>
                <a:close/>
                <a:moveTo>
                  <a:pt x="186" y="133"/>
                </a:moveTo>
                <a:lnTo>
                  <a:pt x="187" y="133"/>
                </a:lnTo>
                <a:lnTo>
                  <a:pt x="187" y="135"/>
                </a:lnTo>
                <a:lnTo>
                  <a:pt x="186" y="136"/>
                </a:lnTo>
                <a:lnTo>
                  <a:pt x="186" y="133"/>
                </a:lnTo>
                <a:close/>
                <a:moveTo>
                  <a:pt x="275" y="132"/>
                </a:moveTo>
                <a:lnTo>
                  <a:pt x="284" y="132"/>
                </a:lnTo>
                <a:lnTo>
                  <a:pt x="282" y="133"/>
                </a:lnTo>
                <a:lnTo>
                  <a:pt x="284" y="133"/>
                </a:lnTo>
                <a:lnTo>
                  <a:pt x="285" y="134"/>
                </a:lnTo>
                <a:lnTo>
                  <a:pt x="286" y="134"/>
                </a:lnTo>
                <a:lnTo>
                  <a:pt x="284" y="136"/>
                </a:lnTo>
                <a:lnTo>
                  <a:pt x="284" y="137"/>
                </a:lnTo>
                <a:lnTo>
                  <a:pt x="286" y="139"/>
                </a:lnTo>
                <a:lnTo>
                  <a:pt x="287" y="139"/>
                </a:lnTo>
                <a:lnTo>
                  <a:pt x="287" y="140"/>
                </a:lnTo>
                <a:lnTo>
                  <a:pt x="288" y="140"/>
                </a:lnTo>
                <a:lnTo>
                  <a:pt x="290" y="142"/>
                </a:lnTo>
                <a:lnTo>
                  <a:pt x="291" y="143"/>
                </a:lnTo>
                <a:lnTo>
                  <a:pt x="291" y="146"/>
                </a:lnTo>
                <a:lnTo>
                  <a:pt x="292" y="146"/>
                </a:lnTo>
                <a:lnTo>
                  <a:pt x="292" y="148"/>
                </a:lnTo>
                <a:lnTo>
                  <a:pt x="293" y="149"/>
                </a:lnTo>
                <a:lnTo>
                  <a:pt x="294" y="149"/>
                </a:lnTo>
                <a:lnTo>
                  <a:pt x="293" y="151"/>
                </a:lnTo>
                <a:lnTo>
                  <a:pt x="293" y="152"/>
                </a:lnTo>
                <a:lnTo>
                  <a:pt x="292" y="151"/>
                </a:lnTo>
                <a:lnTo>
                  <a:pt x="291" y="151"/>
                </a:lnTo>
                <a:lnTo>
                  <a:pt x="290" y="149"/>
                </a:lnTo>
                <a:lnTo>
                  <a:pt x="290" y="146"/>
                </a:lnTo>
                <a:lnTo>
                  <a:pt x="286" y="146"/>
                </a:lnTo>
                <a:lnTo>
                  <a:pt x="291" y="151"/>
                </a:lnTo>
                <a:lnTo>
                  <a:pt x="291" y="153"/>
                </a:lnTo>
                <a:lnTo>
                  <a:pt x="288" y="153"/>
                </a:lnTo>
                <a:lnTo>
                  <a:pt x="286" y="154"/>
                </a:lnTo>
                <a:lnTo>
                  <a:pt x="285" y="154"/>
                </a:lnTo>
                <a:lnTo>
                  <a:pt x="284" y="153"/>
                </a:lnTo>
                <a:lnTo>
                  <a:pt x="281" y="153"/>
                </a:lnTo>
                <a:lnTo>
                  <a:pt x="280" y="152"/>
                </a:lnTo>
                <a:lnTo>
                  <a:pt x="278" y="151"/>
                </a:lnTo>
                <a:lnTo>
                  <a:pt x="274" y="151"/>
                </a:lnTo>
                <a:lnTo>
                  <a:pt x="273" y="148"/>
                </a:lnTo>
                <a:lnTo>
                  <a:pt x="272" y="148"/>
                </a:lnTo>
                <a:lnTo>
                  <a:pt x="272" y="147"/>
                </a:lnTo>
                <a:lnTo>
                  <a:pt x="275" y="147"/>
                </a:lnTo>
                <a:lnTo>
                  <a:pt x="275" y="146"/>
                </a:lnTo>
                <a:lnTo>
                  <a:pt x="276" y="145"/>
                </a:lnTo>
                <a:lnTo>
                  <a:pt x="278" y="145"/>
                </a:lnTo>
                <a:lnTo>
                  <a:pt x="280" y="142"/>
                </a:lnTo>
                <a:lnTo>
                  <a:pt x="280" y="141"/>
                </a:lnTo>
                <a:lnTo>
                  <a:pt x="275" y="141"/>
                </a:lnTo>
                <a:lnTo>
                  <a:pt x="275" y="142"/>
                </a:lnTo>
                <a:lnTo>
                  <a:pt x="272" y="146"/>
                </a:lnTo>
                <a:lnTo>
                  <a:pt x="272" y="147"/>
                </a:lnTo>
                <a:lnTo>
                  <a:pt x="269" y="147"/>
                </a:lnTo>
                <a:lnTo>
                  <a:pt x="266" y="146"/>
                </a:lnTo>
                <a:lnTo>
                  <a:pt x="266" y="145"/>
                </a:lnTo>
                <a:lnTo>
                  <a:pt x="263" y="145"/>
                </a:lnTo>
                <a:lnTo>
                  <a:pt x="262" y="142"/>
                </a:lnTo>
                <a:lnTo>
                  <a:pt x="261" y="142"/>
                </a:lnTo>
                <a:lnTo>
                  <a:pt x="261" y="141"/>
                </a:lnTo>
                <a:lnTo>
                  <a:pt x="262" y="141"/>
                </a:lnTo>
                <a:lnTo>
                  <a:pt x="262" y="137"/>
                </a:lnTo>
                <a:lnTo>
                  <a:pt x="263" y="137"/>
                </a:lnTo>
                <a:lnTo>
                  <a:pt x="265" y="136"/>
                </a:lnTo>
                <a:lnTo>
                  <a:pt x="266" y="137"/>
                </a:lnTo>
                <a:lnTo>
                  <a:pt x="267" y="136"/>
                </a:lnTo>
                <a:lnTo>
                  <a:pt x="269" y="136"/>
                </a:lnTo>
                <a:lnTo>
                  <a:pt x="270" y="135"/>
                </a:lnTo>
                <a:lnTo>
                  <a:pt x="274" y="135"/>
                </a:lnTo>
                <a:lnTo>
                  <a:pt x="275" y="134"/>
                </a:lnTo>
                <a:lnTo>
                  <a:pt x="275" y="132"/>
                </a:lnTo>
                <a:close/>
                <a:moveTo>
                  <a:pt x="226" y="121"/>
                </a:moveTo>
                <a:lnTo>
                  <a:pt x="228" y="122"/>
                </a:lnTo>
                <a:lnTo>
                  <a:pt x="228" y="123"/>
                </a:lnTo>
                <a:lnTo>
                  <a:pt x="225" y="127"/>
                </a:lnTo>
                <a:lnTo>
                  <a:pt x="225" y="122"/>
                </a:lnTo>
                <a:lnTo>
                  <a:pt x="226" y="121"/>
                </a:lnTo>
                <a:close/>
                <a:moveTo>
                  <a:pt x="19" y="115"/>
                </a:moveTo>
                <a:lnTo>
                  <a:pt x="21" y="117"/>
                </a:lnTo>
                <a:lnTo>
                  <a:pt x="20" y="117"/>
                </a:lnTo>
                <a:lnTo>
                  <a:pt x="20" y="116"/>
                </a:lnTo>
                <a:lnTo>
                  <a:pt x="19" y="116"/>
                </a:lnTo>
                <a:lnTo>
                  <a:pt x="19" y="115"/>
                </a:lnTo>
                <a:close/>
                <a:moveTo>
                  <a:pt x="15" y="114"/>
                </a:moveTo>
                <a:lnTo>
                  <a:pt x="17" y="115"/>
                </a:lnTo>
                <a:lnTo>
                  <a:pt x="14" y="115"/>
                </a:lnTo>
                <a:lnTo>
                  <a:pt x="15" y="114"/>
                </a:lnTo>
                <a:close/>
                <a:moveTo>
                  <a:pt x="8" y="106"/>
                </a:moveTo>
                <a:lnTo>
                  <a:pt x="9" y="108"/>
                </a:lnTo>
                <a:lnTo>
                  <a:pt x="11" y="108"/>
                </a:lnTo>
                <a:lnTo>
                  <a:pt x="12" y="109"/>
                </a:lnTo>
                <a:lnTo>
                  <a:pt x="13" y="109"/>
                </a:lnTo>
                <a:lnTo>
                  <a:pt x="13" y="110"/>
                </a:lnTo>
                <a:lnTo>
                  <a:pt x="11" y="112"/>
                </a:lnTo>
                <a:lnTo>
                  <a:pt x="8" y="114"/>
                </a:lnTo>
                <a:lnTo>
                  <a:pt x="8" y="116"/>
                </a:lnTo>
                <a:lnTo>
                  <a:pt x="11" y="117"/>
                </a:lnTo>
                <a:lnTo>
                  <a:pt x="12" y="118"/>
                </a:lnTo>
                <a:lnTo>
                  <a:pt x="12" y="120"/>
                </a:lnTo>
                <a:lnTo>
                  <a:pt x="11" y="120"/>
                </a:lnTo>
                <a:lnTo>
                  <a:pt x="11" y="121"/>
                </a:lnTo>
                <a:lnTo>
                  <a:pt x="12" y="126"/>
                </a:lnTo>
                <a:lnTo>
                  <a:pt x="12" y="127"/>
                </a:lnTo>
                <a:lnTo>
                  <a:pt x="15" y="127"/>
                </a:lnTo>
                <a:lnTo>
                  <a:pt x="15" y="128"/>
                </a:lnTo>
                <a:lnTo>
                  <a:pt x="19" y="128"/>
                </a:lnTo>
                <a:lnTo>
                  <a:pt x="19" y="130"/>
                </a:lnTo>
                <a:lnTo>
                  <a:pt x="20" y="132"/>
                </a:lnTo>
                <a:lnTo>
                  <a:pt x="19" y="133"/>
                </a:lnTo>
                <a:lnTo>
                  <a:pt x="19" y="132"/>
                </a:lnTo>
                <a:lnTo>
                  <a:pt x="18" y="132"/>
                </a:lnTo>
                <a:lnTo>
                  <a:pt x="17" y="130"/>
                </a:lnTo>
                <a:lnTo>
                  <a:pt x="14" y="130"/>
                </a:lnTo>
                <a:lnTo>
                  <a:pt x="13" y="129"/>
                </a:lnTo>
                <a:lnTo>
                  <a:pt x="11" y="129"/>
                </a:lnTo>
                <a:lnTo>
                  <a:pt x="11" y="128"/>
                </a:lnTo>
                <a:lnTo>
                  <a:pt x="12" y="128"/>
                </a:lnTo>
                <a:lnTo>
                  <a:pt x="11" y="127"/>
                </a:lnTo>
                <a:lnTo>
                  <a:pt x="9" y="127"/>
                </a:lnTo>
                <a:lnTo>
                  <a:pt x="8" y="126"/>
                </a:lnTo>
                <a:lnTo>
                  <a:pt x="8" y="122"/>
                </a:lnTo>
                <a:lnTo>
                  <a:pt x="7" y="121"/>
                </a:lnTo>
                <a:lnTo>
                  <a:pt x="7" y="120"/>
                </a:lnTo>
                <a:lnTo>
                  <a:pt x="6" y="120"/>
                </a:lnTo>
                <a:lnTo>
                  <a:pt x="5" y="118"/>
                </a:lnTo>
                <a:lnTo>
                  <a:pt x="3" y="116"/>
                </a:lnTo>
                <a:lnTo>
                  <a:pt x="2" y="115"/>
                </a:lnTo>
                <a:lnTo>
                  <a:pt x="1" y="115"/>
                </a:lnTo>
                <a:lnTo>
                  <a:pt x="1" y="112"/>
                </a:lnTo>
                <a:lnTo>
                  <a:pt x="0" y="114"/>
                </a:lnTo>
                <a:lnTo>
                  <a:pt x="0" y="109"/>
                </a:lnTo>
                <a:lnTo>
                  <a:pt x="5" y="109"/>
                </a:lnTo>
                <a:lnTo>
                  <a:pt x="6" y="108"/>
                </a:lnTo>
                <a:lnTo>
                  <a:pt x="7" y="108"/>
                </a:lnTo>
                <a:lnTo>
                  <a:pt x="8" y="106"/>
                </a:lnTo>
                <a:close/>
                <a:moveTo>
                  <a:pt x="242" y="96"/>
                </a:moveTo>
                <a:lnTo>
                  <a:pt x="244" y="96"/>
                </a:lnTo>
                <a:lnTo>
                  <a:pt x="244" y="98"/>
                </a:lnTo>
                <a:lnTo>
                  <a:pt x="242" y="100"/>
                </a:lnTo>
                <a:lnTo>
                  <a:pt x="242" y="102"/>
                </a:lnTo>
                <a:lnTo>
                  <a:pt x="241" y="102"/>
                </a:lnTo>
                <a:lnTo>
                  <a:pt x="241" y="104"/>
                </a:lnTo>
                <a:lnTo>
                  <a:pt x="239" y="104"/>
                </a:lnTo>
                <a:lnTo>
                  <a:pt x="241" y="105"/>
                </a:lnTo>
                <a:lnTo>
                  <a:pt x="241" y="106"/>
                </a:lnTo>
                <a:lnTo>
                  <a:pt x="242" y="108"/>
                </a:lnTo>
                <a:lnTo>
                  <a:pt x="241" y="108"/>
                </a:lnTo>
                <a:lnTo>
                  <a:pt x="241" y="109"/>
                </a:lnTo>
                <a:lnTo>
                  <a:pt x="239" y="109"/>
                </a:lnTo>
                <a:lnTo>
                  <a:pt x="238" y="108"/>
                </a:lnTo>
                <a:lnTo>
                  <a:pt x="238" y="106"/>
                </a:lnTo>
                <a:lnTo>
                  <a:pt x="237" y="106"/>
                </a:lnTo>
                <a:lnTo>
                  <a:pt x="237" y="105"/>
                </a:lnTo>
                <a:lnTo>
                  <a:pt x="236" y="105"/>
                </a:lnTo>
                <a:lnTo>
                  <a:pt x="237" y="104"/>
                </a:lnTo>
                <a:lnTo>
                  <a:pt x="237" y="102"/>
                </a:lnTo>
                <a:lnTo>
                  <a:pt x="236" y="102"/>
                </a:lnTo>
                <a:lnTo>
                  <a:pt x="234" y="103"/>
                </a:lnTo>
                <a:lnTo>
                  <a:pt x="235" y="103"/>
                </a:lnTo>
                <a:lnTo>
                  <a:pt x="235" y="104"/>
                </a:lnTo>
                <a:lnTo>
                  <a:pt x="234" y="104"/>
                </a:lnTo>
                <a:lnTo>
                  <a:pt x="234" y="105"/>
                </a:lnTo>
                <a:lnTo>
                  <a:pt x="235" y="106"/>
                </a:lnTo>
                <a:lnTo>
                  <a:pt x="235" y="108"/>
                </a:lnTo>
                <a:lnTo>
                  <a:pt x="232" y="108"/>
                </a:lnTo>
                <a:lnTo>
                  <a:pt x="232" y="105"/>
                </a:lnTo>
                <a:lnTo>
                  <a:pt x="231" y="105"/>
                </a:lnTo>
                <a:lnTo>
                  <a:pt x="229" y="106"/>
                </a:lnTo>
                <a:lnTo>
                  <a:pt x="228" y="106"/>
                </a:lnTo>
                <a:lnTo>
                  <a:pt x="228" y="104"/>
                </a:lnTo>
                <a:lnTo>
                  <a:pt x="229" y="104"/>
                </a:lnTo>
                <a:lnTo>
                  <a:pt x="229" y="102"/>
                </a:lnTo>
                <a:lnTo>
                  <a:pt x="228" y="100"/>
                </a:lnTo>
                <a:lnTo>
                  <a:pt x="228" y="98"/>
                </a:lnTo>
                <a:lnTo>
                  <a:pt x="229" y="98"/>
                </a:lnTo>
                <a:lnTo>
                  <a:pt x="231" y="97"/>
                </a:lnTo>
                <a:lnTo>
                  <a:pt x="232" y="97"/>
                </a:lnTo>
                <a:lnTo>
                  <a:pt x="232" y="98"/>
                </a:lnTo>
                <a:lnTo>
                  <a:pt x="234" y="98"/>
                </a:lnTo>
                <a:lnTo>
                  <a:pt x="235" y="97"/>
                </a:lnTo>
                <a:lnTo>
                  <a:pt x="236" y="97"/>
                </a:lnTo>
                <a:lnTo>
                  <a:pt x="237" y="98"/>
                </a:lnTo>
                <a:lnTo>
                  <a:pt x="237" y="99"/>
                </a:lnTo>
                <a:lnTo>
                  <a:pt x="239" y="99"/>
                </a:lnTo>
                <a:lnTo>
                  <a:pt x="242" y="97"/>
                </a:lnTo>
                <a:lnTo>
                  <a:pt x="242" y="96"/>
                </a:lnTo>
                <a:close/>
                <a:moveTo>
                  <a:pt x="248" y="69"/>
                </a:moveTo>
                <a:lnTo>
                  <a:pt x="254" y="69"/>
                </a:lnTo>
                <a:lnTo>
                  <a:pt x="254" y="71"/>
                </a:lnTo>
                <a:lnTo>
                  <a:pt x="255" y="71"/>
                </a:lnTo>
                <a:lnTo>
                  <a:pt x="255" y="74"/>
                </a:lnTo>
                <a:lnTo>
                  <a:pt x="250" y="75"/>
                </a:lnTo>
                <a:lnTo>
                  <a:pt x="248" y="74"/>
                </a:lnTo>
                <a:lnTo>
                  <a:pt x="245" y="72"/>
                </a:lnTo>
                <a:lnTo>
                  <a:pt x="244" y="72"/>
                </a:lnTo>
                <a:lnTo>
                  <a:pt x="244" y="71"/>
                </a:lnTo>
                <a:lnTo>
                  <a:pt x="245" y="71"/>
                </a:lnTo>
                <a:lnTo>
                  <a:pt x="248" y="69"/>
                </a:lnTo>
                <a:close/>
                <a:moveTo>
                  <a:pt x="211" y="53"/>
                </a:moveTo>
                <a:lnTo>
                  <a:pt x="212" y="54"/>
                </a:lnTo>
                <a:lnTo>
                  <a:pt x="214" y="54"/>
                </a:lnTo>
                <a:lnTo>
                  <a:pt x="214" y="55"/>
                </a:lnTo>
                <a:lnTo>
                  <a:pt x="216" y="55"/>
                </a:lnTo>
                <a:lnTo>
                  <a:pt x="216" y="57"/>
                </a:lnTo>
                <a:lnTo>
                  <a:pt x="217" y="59"/>
                </a:lnTo>
                <a:lnTo>
                  <a:pt x="217" y="60"/>
                </a:lnTo>
                <a:lnTo>
                  <a:pt x="216" y="60"/>
                </a:lnTo>
                <a:lnTo>
                  <a:pt x="216" y="62"/>
                </a:lnTo>
                <a:lnTo>
                  <a:pt x="217" y="62"/>
                </a:lnTo>
                <a:lnTo>
                  <a:pt x="217" y="63"/>
                </a:lnTo>
                <a:lnTo>
                  <a:pt x="214" y="63"/>
                </a:lnTo>
                <a:lnTo>
                  <a:pt x="214" y="65"/>
                </a:lnTo>
                <a:lnTo>
                  <a:pt x="212" y="65"/>
                </a:lnTo>
                <a:lnTo>
                  <a:pt x="211" y="66"/>
                </a:lnTo>
                <a:lnTo>
                  <a:pt x="210" y="65"/>
                </a:lnTo>
                <a:lnTo>
                  <a:pt x="208" y="65"/>
                </a:lnTo>
                <a:lnTo>
                  <a:pt x="208" y="63"/>
                </a:lnTo>
                <a:lnTo>
                  <a:pt x="207" y="62"/>
                </a:lnTo>
                <a:lnTo>
                  <a:pt x="205" y="62"/>
                </a:lnTo>
                <a:lnTo>
                  <a:pt x="205" y="59"/>
                </a:lnTo>
                <a:lnTo>
                  <a:pt x="206" y="57"/>
                </a:lnTo>
                <a:lnTo>
                  <a:pt x="207" y="55"/>
                </a:lnTo>
                <a:lnTo>
                  <a:pt x="211" y="53"/>
                </a:lnTo>
                <a:close/>
                <a:moveTo>
                  <a:pt x="276" y="0"/>
                </a:moveTo>
                <a:lnTo>
                  <a:pt x="278" y="0"/>
                </a:lnTo>
                <a:lnTo>
                  <a:pt x="279" y="1"/>
                </a:lnTo>
                <a:lnTo>
                  <a:pt x="280" y="1"/>
                </a:lnTo>
                <a:lnTo>
                  <a:pt x="280" y="3"/>
                </a:lnTo>
                <a:lnTo>
                  <a:pt x="282" y="3"/>
                </a:lnTo>
                <a:lnTo>
                  <a:pt x="284" y="1"/>
                </a:lnTo>
                <a:lnTo>
                  <a:pt x="284" y="3"/>
                </a:lnTo>
                <a:lnTo>
                  <a:pt x="285" y="4"/>
                </a:lnTo>
                <a:lnTo>
                  <a:pt x="288" y="4"/>
                </a:lnTo>
                <a:lnTo>
                  <a:pt x="288" y="5"/>
                </a:lnTo>
                <a:lnTo>
                  <a:pt x="287" y="6"/>
                </a:lnTo>
                <a:lnTo>
                  <a:pt x="292" y="8"/>
                </a:lnTo>
                <a:lnTo>
                  <a:pt x="293" y="7"/>
                </a:lnTo>
                <a:lnTo>
                  <a:pt x="293" y="13"/>
                </a:lnTo>
                <a:lnTo>
                  <a:pt x="294" y="16"/>
                </a:lnTo>
                <a:lnTo>
                  <a:pt x="294" y="23"/>
                </a:lnTo>
                <a:lnTo>
                  <a:pt x="293" y="24"/>
                </a:lnTo>
                <a:lnTo>
                  <a:pt x="292" y="23"/>
                </a:lnTo>
                <a:lnTo>
                  <a:pt x="291" y="23"/>
                </a:lnTo>
                <a:lnTo>
                  <a:pt x="288" y="24"/>
                </a:lnTo>
                <a:lnTo>
                  <a:pt x="288" y="25"/>
                </a:lnTo>
                <a:lnTo>
                  <a:pt x="287" y="25"/>
                </a:lnTo>
                <a:lnTo>
                  <a:pt x="285" y="28"/>
                </a:lnTo>
                <a:lnTo>
                  <a:pt x="282" y="28"/>
                </a:lnTo>
                <a:lnTo>
                  <a:pt x="281" y="29"/>
                </a:lnTo>
                <a:lnTo>
                  <a:pt x="282" y="29"/>
                </a:lnTo>
                <a:lnTo>
                  <a:pt x="281" y="30"/>
                </a:lnTo>
                <a:lnTo>
                  <a:pt x="281" y="32"/>
                </a:lnTo>
                <a:lnTo>
                  <a:pt x="282" y="34"/>
                </a:lnTo>
                <a:lnTo>
                  <a:pt x="281" y="35"/>
                </a:lnTo>
                <a:lnTo>
                  <a:pt x="282" y="35"/>
                </a:lnTo>
                <a:lnTo>
                  <a:pt x="282" y="36"/>
                </a:lnTo>
                <a:lnTo>
                  <a:pt x="281" y="37"/>
                </a:lnTo>
                <a:lnTo>
                  <a:pt x="281" y="38"/>
                </a:lnTo>
                <a:lnTo>
                  <a:pt x="284" y="41"/>
                </a:lnTo>
                <a:lnTo>
                  <a:pt x="284" y="42"/>
                </a:lnTo>
                <a:lnTo>
                  <a:pt x="282" y="42"/>
                </a:lnTo>
                <a:lnTo>
                  <a:pt x="282" y="46"/>
                </a:lnTo>
                <a:lnTo>
                  <a:pt x="280" y="46"/>
                </a:lnTo>
                <a:lnTo>
                  <a:pt x="280" y="47"/>
                </a:lnTo>
                <a:lnTo>
                  <a:pt x="279" y="47"/>
                </a:lnTo>
                <a:lnTo>
                  <a:pt x="279" y="48"/>
                </a:lnTo>
                <a:lnTo>
                  <a:pt x="278" y="48"/>
                </a:lnTo>
                <a:lnTo>
                  <a:pt x="278" y="49"/>
                </a:lnTo>
                <a:lnTo>
                  <a:pt x="276" y="49"/>
                </a:lnTo>
                <a:lnTo>
                  <a:pt x="276" y="50"/>
                </a:lnTo>
                <a:lnTo>
                  <a:pt x="274" y="53"/>
                </a:lnTo>
                <a:lnTo>
                  <a:pt x="274" y="55"/>
                </a:lnTo>
                <a:lnTo>
                  <a:pt x="273" y="56"/>
                </a:lnTo>
                <a:lnTo>
                  <a:pt x="270" y="56"/>
                </a:lnTo>
                <a:lnTo>
                  <a:pt x="269" y="55"/>
                </a:lnTo>
                <a:lnTo>
                  <a:pt x="269" y="54"/>
                </a:lnTo>
                <a:lnTo>
                  <a:pt x="268" y="53"/>
                </a:lnTo>
                <a:lnTo>
                  <a:pt x="270" y="53"/>
                </a:lnTo>
                <a:lnTo>
                  <a:pt x="270" y="51"/>
                </a:lnTo>
                <a:lnTo>
                  <a:pt x="268" y="51"/>
                </a:lnTo>
                <a:lnTo>
                  <a:pt x="268" y="53"/>
                </a:lnTo>
                <a:lnTo>
                  <a:pt x="266" y="50"/>
                </a:lnTo>
                <a:lnTo>
                  <a:pt x="255" y="50"/>
                </a:lnTo>
                <a:lnTo>
                  <a:pt x="253" y="49"/>
                </a:lnTo>
                <a:lnTo>
                  <a:pt x="248" y="49"/>
                </a:lnTo>
                <a:lnTo>
                  <a:pt x="247" y="48"/>
                </a:lnTo>
                <a:lnTo>
                  <a:pt x="244" y="47"/>
                </a:lnTo>
                <a:lnTo>
                  <a:pt x="242" y="47"/>
                </a:lnTo>
                <a:lnTo>
                  <a:pt x="241" y="46"/>
                </a:lnTo>
                <a:lnTo>
                  <a:pt x="238" y="44"/>
                </a:lnTo>
                <a:lnTo>
                  <a:pt x="237" y="46"/>
                </a:lnTo>
                <a:lnTo>
                  <a:pt x="234" y="46"/>
                </a:lnTo>
                <a:lnTo>
                  <a:pt x="232" y="44"/>
                </a:lnTo>
                <a:lnTo>
                  <a:pt x="231" y="44"/>
                </a:lnTo>
                <a:lnTo>
                  <a:pt x="231" y="43"/>
                </a:lnTo>
                <a:lnTo>
                  <a:pt x="232" y="43"/>
                </a:lnTo>
                <a:lnTo>
                  <a:pt x="232" y="42"/>
                </a:lnTo>
                <a:lnTo>
                  <a:pt x="228" y="42"/>
                </a:lnTo>
                <a:lnTo>
                  <a:pt x="228" y="43"/>
                </a:lnTo>
                <a:lnTo>
                  <a:pt x="226" y="43"/>
                </a:lnTo>
                <a:lnTo>
                  <a:pt x="225" y="44"/>
                </a:lnTo>
                <a:lnTo>
                  <a:pt x="225" y="46"/>
                </a:lnTo>
                <a:lnTo>
                  <a:pt x="223" y="46"/>
                </a:lnTo>
                <a:lnTo>
                  <a:pt x="222" y="47"/>
                </a:lnTo>
                <a:lnTo>
                  <a:pt x="220" y="47"/>
                </a:lnTo>
                <a:lnTo>
                  <a:pt x="219" y="49"/>
                </a:lnTo>
                <a:lnTo>
                  <a:pt x="217" y="50"/>
                </a:lnTo>
                <a:lnTo>
                  <a:pt x="216" y="49"/>
                </a:lnTo>
                <a:lnTo>
                  <a:pt x="214" y="50"/>
                </a:lnTo>
                <a:lnTo>
                  <a:pt x="213" y="50"/>
                </a:lnTo>
                <a:lnTo>
                  <a:pt x="213" y="49"/>
                </a:lnTo>
                <a:lnTo>
                  <a:pt x="211" y="49"/>
                </a:lnTo>
                <a:lnTo>
                  <a:pt x="211" y="50"/>
                </a:lnTo>
                <a:lnTo>
                  <a:pt x="210" y="50"/>
                </a:lnTo>
                <a:lnTo>
                  <a:pt x="210" y="48"/>
                </a:lnTo>
                <a:lnTo>
                  <a:pt x="208" y="48"/>
                </a:lnTo>
                <a:lnTo>
                  <a:pt x="208" y="47"/>
                </a:lnTo>
                <a:lnTo>
                  <a:pt x="207" y="46"/>
                </a:lnTo>
                <a:lnTo>
                  <a:pt x="207" y="44"/>
                </a:lnTo>
                <a:lnTo>
                  <a:pt x="204" y="44"/>
                </a:lnTo>
                <a:lnTo>
                  <a:pt x="203" y="46"/>
                </a:lnTo>
                <a:lnTo>
                  <a:pt x="203" y="44"/>
                </a:lnTo>
                <a:lnTo>
                  <a:pt x="201" y="46"/>
                </a:lnTo>
                <a:lnTo>
                  <a:pt x="200" y="46"/>
                </a:lnTo>
                <a:lnTo>
                  <a:pt x="197" y="49"/>
                </a:lnTo>
                <a:lnTo>
                  <a:pt x="198" y="49"/>
                </a:lnTo>
                <a:lnTo>
                  <a:pt x="198" y="50"/>
                </a:lnTo>
                <a:lnTo>
                  <a:pt x="197" y="50"/>
                </a:lnTo>
                <a:lnTo>
                  <a:pt x="197" y="51"/>
                </a:lnTo>
                <a:lnTo>
                  <a:pt x="198" y="51"/>
                </a:lnTo>
                <a:lnTo>
                  <a:pt x="193" y="55"/>
                </a:lnTo>
                <a:lnTo>
                  <a:pt x="188" y="57"/>
                </a:lnTo>
                <a:lnTo>
                  <a:pt x="183" y="57"/>
                </a:lnTo>
                <a:lnTo>
                  <a:pt x="179" y="54"/>
                </a:lnTo>
                <a:lnTo>
                  <a:pt x="175" y="54"/>
                </a:lnTo>
                <a:lnTo>
                  <a:pt x="173" y="55"/>
                </a:lnTo>
                <a:lnTo>
                  <a:pt x="173" y="56"/>
                </a:lnTo>
                <a:lnTo>
                  <a:pt x="172" y="56"/>
                </a:lnTo>
                <a:lnTo>
                  <a:pt x="170" y="57"/>
                </a:lnTo>
                <a:lnTo>
                  <a:pt x="170" y="60"/>
                </a:lnTo>
                <a:lnTo>
                  <a:pt x="172" y="61"/>
                </a:lnTo>
                <a:lnTo>
                  <a:pt x="173" y="61"/>
                </a:lnTo>
                <a:lnTo>
                  <a:pt x="173" y="62"/>
                </a:lnTo>
                <a:lnTo>
                  <a:pt x="174" y="62"/>
                </a:lnTo>
                <a:lnTo>
                  <a:pt x="174" y="63"/>
                </a:lnTo>
                <a:lnTo>
                  <a:pt x="178" y="67"/>
                </a:lnTo>
                <a:lnTo>
                  <a:pt x="179" y="67"/>
                </a:lnTo>
                <a:lnTo>
                  <a:pt x="180" y="68"/>
                </a:lnTo>
                <a:lnTo>
                  <a:pt x="176" y="68"/>
                </a:lnTo>
                <a:lnTo>
                  <a:pt x="176" y="72"/>
                </a:lnTo>
                <a:lnTo>
                  <a:pt x="178" y="74"/>
                </a:lnTo>
                <a:lnTo>
                  <a:pt x="179" y="75"/>
                </a:lnTo>
                <a:lnTo>
                  <a:pt x="180" y="75"/>
                </a:lnTo>
                <a:lnTo>
                  <a:pt x="181" y="77"/>
                </a:lnTo>
                <a:lnTo>
                  <a:pt x="183" y="77"/>
                </a:lnTo>
                <a:lnTo>
                  <a:pt x="183" y="73"/>
                </a:lnTo>
                <a:lnTo>
                  <a:pt x="185" y="73"/>
                </a:lnTo>
                <a:lnTo>
                  <a:pt x="186" y="75"/>
                </a:lnTo>
                <a:lnTo>
                  <a:pt x="186" y="77"/>
                </a:lnTo>
                <a:lnTo>
                  <a:pt x="187" y="78"/>
                </a:lnTo>
                <a:lnTo>
                  <a:pt x="192" y="78"/>
                </a:lnTo>
                <a:lnTo>
                  <a:pt x="192" y="80"/>
                </a:lnTo>
                <a:lnTo>
                  <a:pt x="193" y="80"/>
                </a:lnTo>
                <a:lnTo>
                  <a:pt x="194" y="81"/>
                </a:lnTo>
                <a:lnTo>
                  <a:pt x="197" y="85"/>
                </a:lnTo>
                <a:lnTo>
                  <a:pt x="200" y="87"/>
                </a:lnTo>
                <a:lnTo>
                  <a:pt x="200" y="89"/>
                </a:lnTo>
                <a:lnTo>
                  <a:pt x="199" y="90"/>
                </a:lnTo>
                <a:lnTo>
                  <a:pt x="197" y="91"/>
                </a:lnTo>
                <a:lnTo>
                  <a:pt x="195" y="90"/>
                </a:lnTo>
                <a:lnTo>
                  <a:pt x="195" y="89"/>
                </a:lnTo>
                <a:lnTo>
                  <a:pt x="194" y="87"/>
                </a:lnTo>
                <a:lnTo>
                  <a:pt x="193" y="87"/>
                </a:lnTo>
                <a:lnTo>
                  <a:pt x="193" y="85"/>
                </a:lnTo>
                <a:lnTo>
                  <a:pt x="189" y="81"/>
                </a:lnTo>
                <a:lnTo>
                  <a:pt x="186" y="81"/>
                </a:lnTo>
                <a:lnTo>
                  <a:pt x="182" y="78"/>
                </a:lnTo>
                <a:lnTo>
                  <a:pt x="181" y="78"/>
                </a:lnTo>
                <a:lnTo>
                  <a:pt x="180" y="77"/>
                </a:lnTo>
                <a:lnTo>
                  <a:pt x="179" y="78"/>
                </a:lnTo>
                <a:lnTo>
                  <a:pt x="178" y="77"/>
                </a:lnTo>
                <a:lnTo>
                  <a:pt x="176" y="77"/>
                </a:lnTo>
                <a:lnTo>
                  <a:pt x="174" y="78"/>
                </a:lnTo>
                <a:lnTo>
                  <a:pt x="172" y="78"/>
                </a:lnTo>
                <a:lnTo>
                  <a:pt x="170" y="79"/>
                </a:lnTo>
                <a:lnTo>
                  <a:pt x="170" y="81"/>
                </a:lnTo>
                <a:lnTo>
                  <a:pt x="172" y="83"/>
                </a:lnTo>
                <a:lnTo>
                  <a:pt x="172" y="84"/>
                </a:lnTo>
                <a:lnTo>
                  <a:pt x="173" y="85"/>
                </a:lnTo>
                <a:lnTo>
                  <a:pt x="174" y="85"/>
                </a:lnTo>
                <a:lnTo>
                  <a:pt x="174" y="86"/>
                </a:lnTo>
                <a:lnTo>
                  <a:pt x="175" y="86"/>
                </a:lnTo>
                <a:lnTo>
                  <a:pt x="178" y="87"/>
                </a:lnTo>
                <a:lnTo>
                  <a:pt x="179" y="87"/>
                </a:lnTo>
                <a:lnTo>
                  <a:pt x="179" y="89"/>
                </a:lnTo>
                <a:lnTo>
                  <a:pt x="180" y="89"/>
                </a:lnTo>
                <a:lnTo>
                  <a:pt x="180" y="90"/>
                </a:lnTo>
                <a:lnTo>
                  <a:pt x="182" y="90"/>
                </a:lnTo>
                <a:lnTo>
                  <a:pt x="183" y="91"/>
                </a:lnTo>
                <a:lnTo>
                  <a:pt x="182" y="92"/>
                </a:lnTo>
                <a:lnTo>
                  <a:pt x="182" y="93"/>
                </a:lnTo>
                <a:lnTo>
                  <a:pt x="183" y="93"/>
                </a:lnTo>
                <a:lnTo>
                  <a:pt x="183" y="96"/>
                </a:lnTo>
                <a:lnTo>
                  <a:pt x="185" y="96"/>
                </a:lnTo>
                <a:lnTo>
                  <a:pt x="185" y="97"/>
                </a:lnTo>
                <a:lnTo>
                  <a:pt x="183" y="97"/>
                </a:lnTo>
                <a:lnTo>
                  <a:pt x="183" y="100"/>
                </a:lnTo>
                <a:lnTo>
                  <a:pt x="181" y="100"/>
                </a:lnTo>
                <a:lnTo>
                  <a:pt x="179" y="98"/>
                </a:lnTo>
                <a:lnTo>
                  <a:pt x="180" y="98"/>
                </a:lnTo>
                <a:lnTo>
                  <a:pt x="178" y="97"/>
                </a:lnTo>
                <a:lnTo>
                  <a:pt x="178" y="96"/>
                </a:lnTo>
                <a:lnTo>
                  <a:pt x="176" y="96"/>
                </a:lnTo>
                <a:lnTo>
                  <a:pt x="176" y="97"/>
                </a:lnTo>
                <a:lnTo>
                  <a:pt x="175" y="94"/>
                </a:lnTo>
                <a:lnTo>
                  <a:pt x="174" y="93"/>
                </a:lnTo>
                <a:lnTo>
                  <a:pt x="175" y="93"/>
                </a:lnTo>
                <a:lnTo>
                  <a:pt x="175" y="92"/>
                </a:lnTo>
                <a:lnTo>
                  <a:pt x="174" y="92"/>
                </a:lnTo>
                <a:lnTo>
                  <a:pt x="174" y="91"/>
                </a:lnTo>
                <a:lnTo>
                  <a:pt x="170" y="85"/>
                </a:lnTo>
                <a:lnTo>
                  <a:pt x="168" y="85"/>
                </a:lnTo>
                <a:lnTo>
                  <a:pt x="168" y="84"/>
                </a:lnTo>
                <a:lnTo>
                  <a:pt x="164" y="84"/>
                </a:lnTo>
                <a:lnTo>
                  <a:pt x="162" y="83"/>
                </a:lnTo>
                <a:lnTo>
                  <a:pt x="157" y="83"/>
                </a:lnTo>
                <a:lnTo>
                  <a:pt x="156" y="85"/>
                </a:lnTo>
                <a:lnTo>
                  <a:pt x="156" y="89"/>
                </a:lnTo>
                <a:lnTo>
                  <a:pt x="157" y="89"/>
                </a:lnTo>
                <a:lnTo>
                  <a:pt x="157" y="90"/>
                </a:lnTo>
                <a:lnTo>
                  <a:pt x="158" y="90"/>
                </a:lnTo>
                <a:lnTo>
                  <a:pt x="158" y="91"/>
                </a:lnTo>
                <a:lnTo>
                  <a:pt x="162" y="94"/>
                </a:lnTo>
                <a:lnTo>
                  <a:pt x="169" y="98"/>
                </a:lnTo>
                <a:lnTo>
                  <a:pt x="169" y="99"/>
                </a:lnTo>
                <a:lnTo>
                  <a:pt x="170" y="99"/>
                </a:lnTo>
                <a:lnTo>
                  <a:pt x="170" y="100"/>
                </a:lnTo>
                <a:lnTo>
                  <a:pt x="173" y="100"/>
                </a:lnTo>
                <a:lnTo>
                  <a:pt x="173" y="102"/>
                </a:lnTo>
                <a:lnTo>
                  <a:pt x="167" y="102"/>
                </a:lnTo>
                <a:lnTo>
                  <a:pt x="161" y="99"/>
                </a:lnTo>
                <a:lnTo>
                  <a:pt x="157" y="99"/>
                </a:lnTo>
                <a:lnTo>
                  <a:pt x="157" y="96"/>
                </a:lnTo>
                <a:lnTo>
                  <a:pt x="156" y="96"/>
                </a:lnTo>
                <a:lnTo>
                  <a:pt x="156" y="93"/>
                </a:lnTo>
                <a:lnTo>
                  <a:pt x="155" y="92"/>
                </a:lnTo>
                <a:lnTo>
                  <a:pt x="154" y="92"/>
                </a:lnTo>
                <a:lnTo>
                  <a:pt x="155" y="90"/>
                </a:lnTo>
                <a:lnTo>
                  <a:pt x="155" y="86"/>
                </a:lnTo>
                <a:lnTo>
                  <a:pt x="151" y="83"/>
                </a:lnTo>
                <a:lnTo>
                  <a:pt x="148" y="83"/>
                </a:lnTo>
                <a:lnTo>
                  <a:pt x="145" y="80"/>
                </a:lnTo>
                <a:lnTo>
                  <a:pt x="144" y="80"/>
                </a:lnTo>
                <a:lnTo>
                  <a:pt x="142" y="78"/>
                </a:lnTo>
                <a:lnTo>
                  <a:pt x="139" y="77"/>
                </a:lnTo>
                <a:lnTo>
                  <a:pt x="138" y="75"/>
                </a:lnTo>
                <a:lnTo>
                  <a:pt x="137" y="77"/>
                </a:lnTo>
                <a:lnTo>
                  <a:pt x="137" y="74"/>
                </a:lnTo>
                <a:lnTo>
                  <a:pt x="136" y="73"/>
                </a:lnTo>
                <a:lnTo>
                  <a:pt x="136" y="72"/>
                </a:lnTo>
                <a:lnTo>
                  <a:pt x="133" y="69"/>
                </a:lnTo>
                <a:lnTo>
                  <a:pt x="139" y="69"/>
                </a:lnTo>
                <a:lnTo>
                  <a:pt x="139" y="68"/>
                </a:lnTo>
                <a:lnTo>
                  <a:pt x="141" y="67"/>
                </a:lnTo>
                <a:lnTo>
                  <a:pt x="141" y="66"/>
                </a:lnTo>
                <a:lnTo>
                  <a:pt x="139" y="65"/>
                </a:lnTo>
                <a:lnTo>
                  <a:pt x="139" y="63"/>
                </a:lnTo>
                <a:lnTo>
                  <a:pt x="138" y="62"/>
                </a:lnTo>
                <a:lnTo>
                  <a:pt x="137" y="62"/>
                </a:lnTo>
                <a:lnTo>
                  <a:pt x="137" y="61"/>
                </a:lnTo>
                <a:lnTo>
                  <a:pt x="135" y="62"/>
                </a:lnTo>
                <a:lnTo>
                  <a:pt x="136" y="63"/>
                </a:lnTo>
                <a:lnTo>
                  <a:pt x="133" y="66"/>
                </a:lnTo>
                <a:lnTo>
                  <a:pt x="131" y="66"/>
                </a:lnTo>
                <a:lnTo>
                  <a:pt x="131" y="68"/>
                </a:lnTo>
                <a:lnTo>
                  <a:pt x="130" y="68"/>
                </a:lnTo>
                <a:lnTo>
                  <a:pt x="130" y="69"/>
                </a:lnTo>
                <a:lnTo>
                  <a:pt x="129" y="69"/>
                </a:lnTo>
                <a:lnTo>
                  <a:pt x="129" y="68"/>
                </a:lnTo>
                <a:lnTo>
                  <a:pt x="127" y="68"/>
                </a:lnTo>
                <a:lnTo>
                  <a:pt x="127" y="71"/>
                </a:lnTo>
                <a:lnTo>
                  <a:pt x="124" y="71"/>
                </a:lnTo>
                <a:lnTo>
                  <a:pt x="124" y="72"/>
                </a:lnTo>
                <a:lnTo>
                  <a:pt x="125" y="73"/>
                </a:lnTo>
                <a:lnTo>
                  <a:pt x="125" y="75"/>
                </a:lnTo>
                <a:lnTo>
                  <a:pt x="126" y="77"/>
                </a:lnTo>
                <a:lnTo>
                  <a:pt x="127" y="77"/>
                </a:lnTo>
                <a:lnTo>
                  <a:pt x="126" y="78"/>
                </a:lnTo>
                <a:lnTo>
                  <a:pt x="125" y="80"/>
                </a:lnTo>
                <a:lnTo>
                  <a:pt x="124" y="84"/>
                </a:lnTo>
                <a:lnTo>
                  <a:pt x="124" y="85"/>
                </a:lnTo>
                <a:lnTo>
                  <a:pt x="123" y="89"/>
                </a:lnTo>
                <a:lnTo>
                  <a:pt x="123" y="91"/>
                </a:lnTo>
                <a:lnTo>
                  <a:pt x="124" y="92"/>
                </a:lnTo>
                <a:lnTo>
                  <a:pt x="123" y="93"/>
                </a:lnTo>
                <a:lnTo>
                  <a:pt x="123" y="94"/>
                </a:lnTo>
                <a:lnTo>
                  <a:pt x="124" y="94"/>
                </a:lnTo>
                <a:lnTo>
                  <a:pt x="124" y="97"/>
                </a:lnTo>
                <a:lnTo>
                  <a:pt x="126" y="98"/>
                </a:lnTo>
                <a:lnTo>
                  <a:pt x="127" y="98"/>
                </a:lnTo>
                <a:lnTo>
                  <a:pt x="127" y="99"/>
                </a:lnTo>
                <a:lnTo>
                  <a:pt x="129" y="99"/>
                </a:lnTo>
                <a:lnTo>
                  <a:pt x="129" y="100"/>
                </a:lnTo>
                <a:lnTo>
                  <a:pt x="130" y="103"/>
                </a:lnTo>
                <a:lnTo>
                  <a:pt x="130" y="104"/>
                </a:lnTo>
                <a:lnTo>
                  <a:pt x="132" y="105"/>
                </a:lnTo>
                <a:lnTo>
                  <a:pt x="135" y="108"/>
                </a:lnTo>
                <a:lnTo>
                  <a:pt x="135" y="109"/>
                </a:lnTo>
                <a:lnTo>
                  <a:pt x="136" y="110"/>
                </a:lnTo>
                <a:lnTo>
                  <a:pt x="136" y="112"/>
                </a:lnTo>
                <a:lnTo>
                  <a:pt x="138" y="120"/>
                </a:lnTo>
                <a:lnTo>
                  <a:pt x="139" y="121"/>
                </a:lnTo>
                <a:lnTo>
                  <a:pt x="144" y="123"/>
                </a:lnTo>
                <a:lnTo>
                  <a:pt x="145" y="124"/>
                </a:lnTo>
                <a:lnTo>
                  <a:pt x="147" y="127"/>
                </a:lnTo>
                <a:lnTo>
                  <a:pt x="150" y="132"/>
                </a:lnTo>
                <a:lnTo>
                  <a:pt x="152" y="134"/>
                </a:lnTo>
                <a:lnTo>
                  <a:pt x="154" y="137"/>
                </a:lnTo>
                <a:lnTo>
                  <a:pt x="156" y="141"/>
                </a:lnTo>
                <a:lnTo>
                  <a:pt x="156" y="142"/>
                </a:lnTo>
                <a:lnTo>
                  <a:pt x="155" y="142"/>
                </a:lnTo>
                <a:lnTo>
                  <a:pt x="154" y="143"/>
                </a:lnTo>
                <a:lnTo>
                  <a:pt x="151" y="145"/>
                </a:lnTo>
                <a:lnTo>
                  <a:pt x="151" y="146"/>
                </a:lnTo>
                <a:lnTo>
                  <a:pt x="149" y="146"/>
                </a:lnTo>
                <a:lnTo>
                  <a:pt x="148" y="147"/>
                </a:lnTo>
                <a:lnTo>
                  <a:pt x="143" y="147"/>
                </a:lnTo>
                <a:lnTo>
                  <a:pt x="144" y="146"/>
                </a:lnTo>
                <a:lnTo>
                  <a:pt x="144" y="145"/>
                </a:lnTo>
                <a:lnTo>
                  <a:pt x="145" y="143"/>
                </a:lnTo>
                <a:lnTo>
                  <a:pt x="147" y="143"/>
                </a:lnTo>
                <a:lnTo>
                  <a:pt x="145" y="146"/>
                </a:lnTo>
                <a:lnTo>
                  <a:pt x="149" y="145"/>
                </a:lnTo>
                <a:lnTo>
                  <a:pt x="149" y="143"/>
                </a:lnTo>
                <a:lnTo>
                  <a:pt x="150" y="143"/>
                </a:lnTo>
                <a:lnTo>
                  <a:pt x="150" y="141"/>
                </a:lnTo>
                <a:lnTo>
                  <a:pt x="149" y="140"/>
                </a:lnTo>
                <a:lnTo>
                  <a:pt x="149" y="137"/>
                </a:lnTo>
                <a:lnTo>
                  <a:pt x="148" y="136"/>
                </a:lnTo>
                <a:lnTo>
                  <a:pt x="147" y="136"/>
                </a:lnTo>
                <a:lnTo>
                  <a:pt x="147" y="135"/>
                </a:lnTo>
                <a:lnTo>
                  <a:pt x="142" y="135"/>
                </a:lnTo>
                <a:lnTo>
                  <a:pt x="142" y="133"/>
                </a:lnTo>
                <a:lnTo>
                  <a:pt x="139" y="133"/>
                </a:lnTo>
                <a:lnTo>
                  <a:pt x="138" y="134"/>
                </a:lnTo>
                <a:lnTo>
                  <a:pt x="138" y="135"/>
                </a:lnTo>
                <a:lnTo>
                  <a:pt x="139" y="135"/>
                </a:lnTo>
                <a:lnTo>
                  <a:pt x="138" y="136"/>
                </a:lnTo>
                <a:lnTo>
                  <a:pt x="135" y="136"/>
                </a:lnTo>
                <a:lnTo>
                  <a:pt x="133" y="137"/>
                </a:lnTo>
                <a:lnTo>
                  <a:pt x="133" y="140"/>
                </a:lnTo>
                <a:lnTo>
                  <a:pt x="135" y="143"/>
                </a:lnTo>
                <a:lnTo>
                  <a:pt x="136" y="143"/>
                </a:lnTo>
                <a:lnTo>
                  <a:pt x="136" y="141"/>
                </a:lnTo>
                <a:lnTo>
                  <a:pt x="137" y="142"/>
                </a:lnTo>
                <a:lnTo>
                  <a:pt x="137" y="143"/>
                </a:lnTo>
                <a:lnTo>
                  <a:pt x="138" y="145"/>
                </a:lnTo>
                <a:lnTo>
                  <a:pt x="138" y="146"/>
                </a:lnTo>
                <a:lnTo>
                  <a:pt x="141" y="146"/>
                </a:lnTo>
                <a:lnTo>
                  <a:pt x="141" y="147"/>
                </a:lnTo>
                <a:lnTo>
                  <a:pt x="142" y="148"/>
                </a:lnTo>
                <a:lnTo>
                  <a:pt x="141" y="149"/>
                </a:lnTo>
                <a:lnTo>
                  <a:pt x="142" y="149"/>
                </a:lnTo>
                <a:lnTo>
                  <a:pt x="139" y="151"/>
                </a:lnTo>
                <a:lnTo>
                  <a:pt x="139" y="152"/>
                </a:lnTo>
                <a:lnTo>
                  <a:pt x="142" y="151"/>
                </a:lnTo>
                <a:lnTo>
                  <a:pt x="143" y="149"/>
                </a:lnTo>
                <a:lnTo>
                  <a:pt x="144" y="149"/>
                </a:lnTo>
                <a:lnTo>
                  <a:pt x="144" y="151"/>
                </a:lnTo>
                <a:lnTo>
                  <a:pt x="143" y="151"/>
                </a:lnTo>
                <a:lnTo>
                  <a:pt x="142" y="152"/>
                </a:lnTo>
                <a:lnTo>
                  <a:pt x="142" y="154"/>
                </a:lnTo>
                <a:lnTo>
                  <a:pt x="139" y="154"/>
                </a:lnTo>
                <a:lnTo>
                  <a:pt x="139" y="155"/>
                </a:lnTo>
                <a:lnTo>
                  <a:pt x="138" y="155"/>
                </a:lnTo>
                <a:lnTo>
                  <a:pt x="137" y="157"/>
                </a:lnTo>
                <a:lnTo>
                  <a:pt x="136" y="155"/>
                </a:lnTo>
                <a:lnTo>
                  <a:pt x="135" y="155"/>
                </a:lnTo>
                <a:lnTo>
                  <a:pt x="135" y="158"/>
                </a:lnTo>
                <a:lnTo>
                  <a:pt x="132" y="158"/>
                </a:lnTo>
                <a:lnTo>
                  <a:pt x="132" y="159"/>
                </a:lnTo>
                <a:lnTo>
                  <a:pt x="130" y="159"/>
                </a:lnTo>
                <a:lnTo>
                  <a:pt x="130" y="158"/>
                </a:lnTo>
                <a:lnTo>
                  <a:pt x="129" y="158"/>
                </a:lnTo>
                <a:lnTo>
                  <a:pt x="129" y="159"/>
                </a:lnTo>
                <a:lnTo>
                  <a:pt x="127" y="159"/>
                </a:lnTo>
                <a:lnTo>
                  <a:pt x="127" y="158"/>
                </a:lnTo>
                <a:lnTo>
                  <a:pt x="126" y="158"/>
                </a:lnTo>
                <a:lnTo>
                  <a:pt x="125" y="157"/>
                </a:lnTo>
                <a:lnTo>
                  <a:pt x="124" y="158"/>
                </a:lnTo>
                <a:lnTo>
                  <a:pt x="123" y="158"/>
                </a:lnTo>
                <a:lnTo>
                  <a:pt x="121" y="159"/>
                </a:lnTo>
                <a:lnTo>
                  <a:pt x="121" y="160"/>
                </a:lnTo>
                <a:lnTo>
                  <a:pt x="124" y="159"/>
                </a:lnTo>
                <a:lnTo>
                  <a:pt x="124" y="160"/>
                </a:lnTo>
                <a:lnTo>
                  <a:pt x="123" y="160"/>
                </a:lnTo>
                <a:lnTo>
                  <a:pt x="123" y="161"/>
                </a:lnTo>
                <a:lnTo>
                  <a:pt x="126" y="161"/>
                </a:lnTo>
                <a:lnTo>
                  <a:pt x="129" y="160"/>
                </a:lnTo>
                <a:lnTo>
                  <a:pt x="131" y="163"/>
                </a:lnTo>
                <a:lnTo>
                  <a:pt x="131" y="164"/>
                </a:lnTo>
                <a:lnTo>
                  <a:pt x="135" y="164"/>
                </a:lnTo>
                <a:lnTo>
                  <a:pt x="136" y="165"/>
                </a:lnTo>
                <a:lnTo>
                  <a:pt x="137" y="164"/>
                </a:lnTo>
                <a:lnTo>
                  <a:pt x="138" y="164"/>
                </a:lnTo>
                <a:lnTo>
                  <a:pt x="139" y="165"/>
                </a:lnTo>
                <a:lnTo>
                  <a:pt x="142" y="165"/>
                </a:lnTo>
                <a:lnTo>
                  <a:pt x="143" y="166"/>
                </a:lnTo>
                <a:lnTo>
                  <a:pt x="144" y="166"/>
                </a:lnTo>
                <a:lnTo>
                  <a:pt x="145" y="171"/>
                </a:lnTo>
                <a:lnTo>
                  <a:pt x="147" y="172"/>
                </a:lnTo>
                <a:lnTo>
                  <a:pt x="147" y="171"/>
                </a:lnTo>
                <a:lnTo>
                  <a:pt x="149" y="171"/>
                </a:lnTo>
                <a:lnTo>
                  <a:pt x="150" y="170"/>
                </a:lnTo>
                <a:lnTo>
                  <a:pt x="149" y="170"/>
                </a:lnTo>
                <a:lnTo>
                  <a:pt x="149" y="169"/>
                </a:lnTo>
                <a:lnTo>
                  <a:pt x="150" y="169"/>
                </a:lnTo>
                <a:lnTo>
                  <a:pt x="151" y="170"/>
                </a:lnTo>
                <a:lnTo>
                  <a:pt x="152" y="170"/>
                </a:lnTo>
                <a:lnTo>
                  <a:pt x="154" y="171"/>
                </a:lnTo>
                <a:lnTo>
                  <a:pt x="155" y="171"/>
                </a:lnTo>
                <a:lnTo>
                  <a:pt x="155" y="172"/>
                </a:lnTo>
                <a:lnTo>
                  <a:pt x="156" y="172"/>
                </a:lnTo>
                <a:lnTo>
                  <a:pt x="154" y="174"/>
                </a:lnTo>
                <a:lnTo>
                  <a:pt x="154" y="176"/>
                </a:lnTo>
                <a:lnTo>
                  <a:pt x="155" y="176"/>
                </a:lnTo>
                <a:lnTo>
                  <a:pt x="156" y="177"/>
                </a:lnTo>
                <a:lnTo>
                  <a:pt x="157" y="177"/>
                </a:lnTo>
                <a:lnTo>
                  <a:pt x="157" y="178"/>
                </a:lnTo>
                <a:lnTo>
                  <a:pt x="155" y="178"/>
                </a:lnTo>
                <a:lnTo>
                  <a:pt x="156" y="179"/>
                </a:lnTo>
                <a:lnTo>
                  <a:pt x="163" y="179"/>
                </a:lnTo>
                <a:lnTo>
                  <a:pt x="164" y="178"/>
                </a:lnTo>
                <a:lnTo>
                  <a:pt x="167" y="180"/>
                </a:lnTo>
                <a:lnTo>
                  <a:pt x="166" y="180"/>
                </a:lnTo>
                <a:lnTo>
                  <a:pt x="166" y="182"/>
                </a:lnTo>
                <a:lnTo>
                  <a:pt x="167" y="182"/>
                </a:lnTo>
                <a:lnTo>
                  <a:pt x="167" y="183"/>
                </a:lnTo>
                <a:lnTo>
                  <a:pt x="168" y="184"/>
                </a:lnTo>
                <a:lnTo>
                  <a:pt x="169" y="186"/>
                </a:lnTo>
                <a:lnTo>
                  <a:pt x="172" y="188"/>
                </a:lnTo>
                <a:lnTo>
                  <a:pt x="176" y="188"/>
                </a:lnTo>
                <a:lnTo>
                  <a:pt x="180" y="190"/>
                </a:lnTo>
                <a:lnTo>
                  <a:pt x="181" y="190"/>
                </a:lnTo>
                <a:lnTo>
                  <a:pt x="185" y="194"/>
                </a:lnTo>
                <a:lnTo>
                  <a:pt x="186" y="194"/>
                </a:lnTo>
                <a:lnTo>
                  <a:pt x="186" y="195"/>
                </a:lnTo>
                <a:lnTo>
                  <a:pt x="187" y="195"/>
                </a:lnTo>
                <a:lnTo>
                  <a:pt x="187" y="197"/>
                </a:lnTo>
                <a:lnTo>
                  <a:pt x="186" y="197"/>
                </a:lnTo>
                <a:lnTo>
                  <a:pt x="186" y="198"/>
                </a:lnTo>
                <a:lnTo>
                  <a:pt x="185" y="198"/>
                </a:lnTo>
                <a:lnTo>
                  <a:pt x="183" y="200"/>
                </a:lnTo>
                <a:lnTo>
                  <a:pt x="183" y="203"/>
                </a:lnTo>
                <a:lnTo>
                  <a:pt x="185" y="204"/>
                </a:lnTo>
                <a:lnTo>
                  <a:pt x="185" y="207"/>
                </a:lnTo>
                <a:lnTo>
                  <a:pt x="183" y="208"/>
                </a:lnTo>
                <a:lnTo>
                  <a:pt x="185" y="208"/>
                </a:lnTo>
                <a:lnTo>
                  <a:pt x="185" y="210"/>
                </a:lnTo>
                <a:lnTo>
                  <a:pt x="186" y="210"/>
                </a:lnTo>
                <a:lnTo>
                  <a:pt x="186" y="212"/>
                </a:lnTo>
                <a:lnTo>
                  <a:pt x="185" y="212"/>
                </a:lnTo>
                <a:lnTo>
                  <a:pt x="185" y="213"/>
                </a:lnTo>
                <a:lnTo>
                  <a:pt x="186" y="213"/>
                </a:lnTo>
                <a:lnTo>
                  <a:pt x="186" y="215"/>
                </a:lnTo>
                <a:lnTo>
                  <a:pt x="187" y="216"/>
                </a:lnTo>
                <a:lnTo>
                  <a:pt x="187" y="219"/>
                </a:lnTo>
                <a:lnTo>
                  <a:pt x="186" y="220"/>
                </a:lnTo>
                <a:lnTo>
                  <a:pt x="187" y="220"/>
                </a:lnTo>
                <a:lnTo>
                  <a:pt x="187" y="221"/>
                </a:lnTo>
                <a:lnTo>
                  <a:pt x="186" y="221"/>
                </a:lnTo>
                <a:lnTo>
                  <a:pt x="186" y="222"/>
                </a:lnTo>
                <a:lnTo>
                  <a:pt x="187" y="222"/>
                </a:lnTo>
                <a:lnTo>
                  <a:pt x="185" y="225"/>
                </a:lnTo>
                <a:lnTo>
                  <a:pt x="185" y="223"/>
                </a:lnTo>
                <a:lnTo>
                  <a:pt x="181" y="223"/>
                </a:lnTo>
                <a:lnTo>
                  <a:pt x="181" y="220"/>
                </a:lnTo>
                <a:lnTo>
                  <a:pt x="180" y="221"/>
                </a:lnTo>
                <a:lnTo>
                  <a:pt x="180" y="217"/>
                </a:lnTo>
                <a:lnTo>
                  <a:pt x="179" y="217"/>
                </a:lnTo>
                <a:lnTo>
                  <a:pt x="179" y="216"/>
                </a:lnTo>
                <a:lnTo>
                  <a:pt x="178" y="216"/>
                </a:lnTo>
                <a:lnTo>
                  <a:pt x="178" y="215"/>
                </a:lnTo>
                <a:lnTo>
                  <a:pt x="175" y="215"/>
                </a:lnTo>
                <a:lnTo>
                  <a:pt x="175" y="216"/>
                </a:lnTo>
                <a:lnTo>
                  <a:pt x="174" y="216"/>
                </a:lnTo>
                <a:lnTo>
                  <a:pt x="174" y="214"/>
                </a:lnTo>
                <a:lnTo>
                  <a:pt x="173" y="214"/>
                </a:lnTo>
                <a:lnTo>
                  <a:pt x="173" y="213"/>
                </a:lnTo>
                <a:lnTo>
                  <a:pt x="170" y="210"/>
                </a:lnTo>
                <a:lnTo>
                  <a:pt x="170" y="209"/>
                </a:lnTo>
                <a:lnTo>
                  <a:pt x="168" y="209"/>
                </a:lnTo>
                <a:lnTo>
                  <a:pt x="168" y="208"/>
                </a:lnTo>
                <a:lnTo>
                  <a:pt x="166" y="208"/>
                </a:lnTo>
                <a:lnTo>
                  <a:pt x="164" y="207"/>
                </a:lnTo>
                <a:lnTo>
                  <a:pt x="167" y="204"/>
                </a:lnTo>
                <a:lnTo>
                  <a:pt x="167" y="203"/>
                </a:lnTo>
                <a:lnTo>
                  <a:pt x="163" y="203"/>
                </a:lnTo>
                <a:lnTo>
                  <a:pt x="163" y="204"/>
                </a:lnTo>
                <a:lnTo>
                  <a:pt x="161" y="204"/>
                </a:lnTo>
                <a:lnTo>
                  <a:pt x="158" y="206"/>
                </a:lnTo>
                <a:lnTo>
                  <a:pt x="158" y="207"/>
                </a:lnTo>
                <a:lnTo>
                  <a:pt x="151" y="207"/>
                </a:lnTo>
                <a:lnTo>
                  <a:pt x="149" y="208"/>
                </a:lnTo>
                <a:lnTo>
                  <a:pt x="148" y="209"/>
                </a:lnTo>
                <a:lnTo>
                  <a:pt x="145" y="210"/>
                </a:lnTo>
                <a:lnTo>
                  <a:pt x="142" y="210"/>
                </a:lnTo>
                <a:lnTo>
                  <a:pt x="142" y="212"/>
                </a:lnTo>
                <a:lnTo>
                  <a:pt x="141" y="212"/>
                </a:lnTo>
                <a:lnTo>
                  <a:pt x="142" y="213"/>
                </a:lnTo>
                <a:lnTo>
                  <a:pt x="142" y="214"/>
                </a:lnTo>
                <a:lnTo>
                  <a:pt x="147" y="214"/>
                </a:lnTo>
                <a:lnTo>
                  <a:pt x="149" y="216"/>
                </a:lnTo>
                <a:lnTo>
                  <a:pt x="149" y="217"/>
                </a:lnTo>
                <a:lnTo>
                  <a:pt x="148" y="219"/>
                </a:lnTo>
                <a:lnTo>
                  <a:pt x="147" y="219"/>
                </a:lnTo>
                <a:lnTo>
                  <a:pt x="147" y="220"/>
                </a:lnTo>
                <a:lnTo>
                  <a:pt x="148" y="220"/>
                </a:lnTo>
                <a:lnTo>
                  <a:pt x="148" y="221"/>
                </a:lnTo>
                <a:lnTo>
                  <a:pt x="149" y="221"/>
                </a:lnTo>
                <a:lnTo>
                  <a:pt x="149" y="222"/>
                </a:lnTo>
                <a:lnTo>
                  <a:pt x="148" y="222"/>
                </a:lnTo>
                <a:lnTo>
                  <a:pt x="149" y="223"/>
                </a:lnTo>
                <a:lnTo>
                  <a:pt x="149" y="225"/>
                </a:lnTo>
                <a:lnTo>
                  <a:pt x="148" y="225"/>
                </a:lnTo>
                <a:lnTo>
                  <a:pt x="148" y="226"/>
                </a:lnTo>
                <a:lnTo>
                  <a:pt x="149" y="226"/>
                </a:lnTo>
                <a:lnTo>
                  <a:pt x="149" y="227"/>
                </a:lnTo>
                <a:lnTo>
                  <a:pt x="151" y="228"/>
                </a:lnTo>
                <a:lnTo>
                  <a:pt x="151" y="227"/>
                </a:lnTo>
                <a:lnTo>
                  <a:pt x="152" y="229"/>
                </a:lnTo>
                <a:lnTo>
                  <a:pt x="154" y="229"/>
                </a:lnTo>
                <a:lnTo>
                  <a:pt x="155" y="231"/>
                </a:lnTo>
                <a:lnTo>
                  <a:pt x="156" y="231"/>
                </a:lnTo>
                <a:lnTo>
                  <a:pt x="156" y="227"/>
                </a:lnTo>
                <a:lnTo>
                  <a:pt x="155" y="227"/>
                </a:lnTo>
                <a:lnTo>
                  <a:pt x="155" y="226"/>
                </a:lnTo>
                <a:lnTo>
                  <a:pt x="156" y="225"/>
                </a:lnTo>
                <a:lnTo>
                  <a:pt x="158" y="225"/>
                </a:lnTo>
                <a:lnTo>
                  <a:pt x="158" y="227"/>
                </a:lnTo>
                <a:lnTo>
                  <a:pt x="157" y="228"/>
                </a:lnTo>
                <a:lnTo>
                  <a:pt x="157" y="229"/>
                </a:lnTo>
                <a:lnTo>
                  <a:pt x="158" y="231"/>
                </a:lnTo>
                <a:lnTo>
                  <a:pt x="158" y="232"/>
                </a:lnTo>
                <a:lnTo>
                  <a:pt x="160" y="232"/>
                </a:lnTo>
                <a:lnTo>
                  <a:pt x="161" y="233"/>
                </a:lnTo>
                <a:lnTo>
                  <a:pt x="162" y="233"/>
                </a:lnTo>
                <a:lnTo>
                  <a:pt x="163" y="234"/>
                </a:lnTo>
                <a:lnTo>
                  <a:pt x="163" y="237"/>
                </a:lnTo>
                <a:lnTo>
                  <a:pt x="154" y="237"/>
                </a:lnTo>
                <a:lnTo>
                  <a:pt x="155" y="238"/>
                </a:lnTo>
                <a:lnTo>
                  <a:pt x="152" y="238"/>
                </a:lnTo>
                <a:lnTo>
                  <a:pt x="151" y="239"/>
                </a:lnTo>
                <a:lnTo>
                  <a:pt x="152" y="239"/>
                </a:lnTo>
                <a:lnTo>
                  <a:pt x="152" y="240"/>
                </a:lnTo>
                <a:lnTo>
                  <a:pt x="150" y="240"/>
                </a:lnTo>
                <a:lnTo>
                  <a:pt x="149" y="241"/>
                </a:lnTo>
                <a:lnTo>
                  <a:pt x="150" y="241"/>
                </a:lnTo>
                <a:lnTo>
                  <a:pt x="150" y="243"/>
                </a:lnTo>
                <a:lnTo>
                  <a:pt x="148" y="243"/>
                </a:lnTo>
                <a:lnTo>
                  <a:pt x="148" y="241"/>
                </a:lnTo>
                <a:lnTo>
                  <a:pt x="147" y="241"/>
                </a:lnTo>
                <a:lnTo>
                  <a:pt x="147" y="240"/>
                </a:lnTo>
                <a:lnTo>
                  <a:pt x="144" y="240"/>
                </a:lnTo>
                <a:lnTo>
                  <a:pt x="144" y="238"/>
                </a:lnTo>
                <a:lnTo>
                  <a:pt x="145" y="238"/>
                </a:lnTo>
                <a:lnTo>
                  <a:pt x="147" y="237"/>
                </a:lnTo>
                <a:lnTo>
                  <a:pt x="147" y="234"/>
                </a:lnTo>
                <a:lnTo>
                  <a:pt x="144" y="234"/>
                </a:lnTo>
                <a:lnTo>
                  <a:pt x="143" y="233"/>
                </a:lnTo>
                <a:lnTo>
                  <a:pt x="142" y="234"/>
                </a:lnTo>
                <a:lnTo>
                  <a:pt x="141" y="233"/>
                </a:lnTo>
                <a:lnTo>
                  <a:pt x="141" y="232"/>
                </a:lnTo>
                <a:lnTo>
                  <a:pt x="139" y="231"/>
                </a:lnTo>
                <a:lnTo>
                  <a:pt x="136" y="231"/>
                </a:lnTo>
                <a:lnTo>
                  <a:pt x="135" y="232"/>
                </a:lnTo>
                <a:lnTo>
                  <a:pt x="133" y="231"/>
                </a:lnTo>
                <a:lnTo>
                  <a:pt x="133" y="229"/>
                </a:lnTo>
                <a:lnTo>
                  <a:pt x="132" y="228"/>
                </a:lnTo>
                <a:lnTo>
                  <a:pt x="132" y="227"/>
                </a:lnTo>
                <a:lnTo>
                  <a:pt x="131" y="227"/>
                </a:lnTo>
                <a:lnTo>
                  <a:pt x="130" y="228"/>
                </a:lnTo>
                <a:lnTo>
                  <a:pt x="130" y="233"/>
                </a:lnTo>
                <a:lnTo>
                  <a:pt x="131" y="234"/>
                </a:lnTo>
                <a:lnTo>
                  <a:pt x="131" y="238"/>
                </a:lnTo>
                <a:lnTo>
                  <a:pt x="133" y="240"/>
                </a:lnTo>
                <a:lnTo>
                  <a:pt x="133" y="243"/>
                </a:lnTo>
                <a:lnTo>
                  <a:pt x="135" y="243"/>
                </a:lnTo>
                <a:lnTo>
                  <a:pt x="135" y="244"/>
                </a:lnTo>
                <a:lnTo>
                  <a:pt x="136" y="245"/>
                </a:lnTo>
                <a:lnTo>
                  <a:pt x="137" y="247"/>
                </a:lnTo>
                <a:lnTo>
                  <a:pt x="137" y="249"/>
                </a:lnTo>
                <a:lnTo>
                  <a:pt x="138" y="249"/>
                </a:lnTo>
                <a:lnTo>
                  <a:pt x="137" y="250"/>
                </a:lnTo>
                <a:lnTo>
                  <a:pt x="137" y="252"/>
                </a:lnTo>
                <a:lnTo>
                  <a:pt x="139" y="252"/>
                </a:lnTo>
                <a:lnTo>
                  <a:pt x="139" y="253"/>
                </a:lnTo>
                <a:lnTo>
                  <a:pt x="141" y="255"/>
                </a:lnTo>
                <a:lnTo>
                  <a:pt x="139" y="255"/>
                </a:lnTo>
                <a:lnTo>
                  <a:pt x="142" y="257"/>
                </a:lnTo>
                <a:lnTo>
                  <a:pt x="142" y="259"/>
                </a:lnTo>
                <a:lnTo>
                  <a:pt x="141" y="259"/>
                </a:lnTo>
                <a:lnTo>
                  <a:pt x="142" y="260"/>
                </a:lnTo>
                <a:lnTo>
                  <a:pt x="142" y="263"/>
                </a:lnTo>
                <a:lnTo>
                  <a:pt x="143" y="265"/>
                </a:lnTo>
                <a:lnTo>
                  <a:pt x="145" y="268"/>
                </a:lnTo>
                <a:lnTo>
                  <a:pt x="145" y="269"/>
                </a:lnTo>
                <a:lnTo>
                  <a:pt x="144" y="270"/>
                </a:lnTo>
                <a:lnTo>
                  <a:pt x="147" y="270"/>
                </a:lnTo>
                <a:lnTo>
                  <a:pt x="147" y="271"/>
                </a:lnTo>
                <a:lnTo>
                  <a:pt x="145" y="271"/>
                </a:lnTo>
                <a:lnTo>
                  <a:pt x="145" y="272"/>
                </a:lnTo>
                <a:lnTo>
                  <a:pt x="143" y="272"/>
                </a:lnTo>
                <a:lnTo>
                  <a:pt x="143" y="275"/>
                </a:lnTo>
                <a:lnTo>
                  <a:pt x="144" y="275"/>
                </a:lnTo>
                <a:lnTo>
                  <a:pt x="143" y="276"/>
                </a:lnTo>
                <a:lnTo>
                  <a:pt x="143" y="278"/>
                </a:lnTo>
                <a:lnTo>
                  <a:pt x="144" y="280"/>
                </a:lnTo>
                <a:lnTo>
                  <a:pt x="144" y="281"/>
                </a:lnTo>
                <a:lnTo>
                  <a:pt x="145" y="281"/>
                </a:lnTo>
                <a:lnTo>
                  <a:pt x="145" y="282"/>
                </a:lnTo>
                <a:lnTo>
                  <a:pt x="148" y="282"/>
                </a:lnTo>
                <a:lnTo>
                  <a:pt x="148" y="284"/>
                </a:lnTo>
                <a:lnTo>
                  <a:pt x="147" y="284"/>
                </a:lnTo>
                <a:lnTo>
                  <a:pt x="150" y="288"/>
                </a:lnTo>
                <a:lnTo>
                  <a:pt x="150" y="289"/>
                </a:lnTo>
                <a:lnTo>
                  <a:pt x="148" y="288"/>
                </a:lnTo>
                <a:lnTo>
                  <a:pt x="145" y="288"/>
                </a:lnTo>
                <a:lnTo>
                  <a:pt x="144" y="287"/>
                </a:lnTo>
                <a:lnTo>
                  <a:pt x="144" y="284"/>
                </a:lnTo>
                <a:lnTo>
                  <a:pt x="143" y="284"/>
                </a:lnTo>
                <a:lnTo>
                  <a:pt x="143" y="283"/>
                </a:lnTo>
                <a:lnTo>
                  <a:pt x="141" y="284"/>
                </a:lnTo>
                <a:lnTo>
                  <a:pt x="139" y="283"/>
                </a:lnTo>
                <a:lnTo>
                  <a:pt x="138" y="281"/>
                </a:lnTo>
                <a:lnTo>
                  <a:pt x="138" y="280"/>
                </a:lnTo>
                <a:lnTo>
                  <a:pt x="136" y="278"/>
                </a:lnTo>
                <a:lnTo>
                  <a:pt x="137" y="277"/>
                </a:lnTo>
                <a:lnTo>
                  <a:pt x="135" y="275"/>
                </a:lnTo>
                <a:lnTo>
                  <a:pt x="135" y="276"/>
                </a:lnTo>
                <a:lnTo>
                  <a:pt x="133" y="276"/>
                </a:lnTo>
                <a:lnTo>
                  <a:pt x="133" y="270"/>
                </a:lnTo>
                <a:lnTo>
                  <a:pt x="132" y="270"/>
                </a:lnTo>
                <a:lnTo>
                  <a:pt x="131" y="269"/>
                </a:lnTo>
                <a:lnTo>
                  <a:pt x="125" y="269"/>
                </a:lnTo>
                <a:lnTo>
                  <a:pt x="124" y="270"/>
                </a:lnTo>
                <a:lnTo>
                  <a:pt x="124" y="272"/>
                </a:lnTo>
                <a:lnTo>
                  <a:pt x="123" y="274"/>
                </a:lnTo>
                <a:lnTo>
                  <a:pt x="121" y="274"/>
                </a:lnTo>
                <a:lnTo>
                  <a:pt x="121" y="275"/>
                </a:lnTo>
                <a:lnTo>
                  <a:pt x="123" y="276"/>
                </a:lnTo>
                <a:lnTo>
                  <a:pt x="123" y="277"/>
                </a:lnTo>
                <a:lnTo>
                  <a:pt x="121" y="277"/>
                </a:lnTo>
                <a:lnTo>
                  <a:pt x="121" y="276"/>
                </a:lnTo>
                <a:lnTo>
                  <a:pt x="120" y="277"/>
                </a:lnTo>
                <a:lnTo>
                  <a:pt x="121" y="278"/>
                </a:lnTo>
                <a:lnTo>
                  <a:pt x="121" y="280"/>
                </a:lnTo>
                <a:lnTo>
                  <a:pt x="120" y="280"/>
                </a:lnTo>
                <a:lnTo>
                  <a:pt x="120" y="278"/>
                </a:lnTo>
                <a:lnTo>
                  <a:pt x="119" y="280"/>
                </a:lnTo>
                <a:lnTo>
                  <a:pt x="119" y="283"/>
                </a:lnTo>
                <a:lnTo>
                  <a:pt x="120" y="284"/>
                </a:lnTo>
                <a:lnTo>
                  <a:pt x="120" y="290"/>
                </a:lnTo>
                <a:lnTo>
                  <a:pt x="119" y="290"/>
                </a:lnTo>
                <a:lnTo>
                  <a:pt x="119" y="288"/>
                </a:lnTo>
                <a:lnTo>
                  <a:pt x="118" y="287"/>
                </a:lnTo>
                <a:lnTo>
                  <a:pt x="117" y="287"/>
                </a:lnTo>
                <a:lnTo>
                  <a:pt x="117" y="286"/>
                </a:lnTo>
                <a:lnTo>
                  <a:pt x="114" y="286"/>
                </a:lnTo>
                <a:lnTo>
                  <a:pt x="114" y="282"/>
                </a:lnTo>
                <a:lnTo>
                  <a:pt x="116" y="283"/>
                </a:lnTo>
                <a:lnTo>
                  <a:pt x="116" y="280"/>
                </a:lnTo>
                <a:lnTo>
                  <a:pt x="114" y="280"/>
                </a:lnTo>
                <a:lnTo>
                  <a:pt x="114" y="276"/>
                </a:lnTo>
                <a:lnTo>
                  <a:pt x="116" y="275"/>
                </a:lnTo>
                <a:lnTo>
                  <a:pt x="114" y="275"/>
                </a:lnTo>
                <a:lnTo>
                  <a:pt x="113" y="274"/>
                </a:lnTo>
                <a:lnTo>
                  <a:pt x="113" y="271"/>
                </a:lnTo>
                <a:lnTo>
                  <a:pt x="112" y="271"/>
                </a:lnTo>
                <a:lnTo>
                  <a:pt x="112" y="269"/>
                </a:lnTo>
                <a:lnTo>
                  <a:pt x="108" y="264"/>
                </a:lnTo>
                <a:lnTo>
                  <a:pt x="106" y="264"/>
                </a:lnTo>
                <a:lnTo>
                  <a:pt x="105" y="263"/>
                </a:lnTo>
                <a:lnTo>
                  <a:pt x="105" y="262"/>
                </a:lnTo>
                <a:lnTo>
                  <a:pt x="106" y="260"/>
                </a:lnTo>
                <a:lnTo>
                  <a:pt x="106" y="258"/>
                </a:lnTo>
                <a:lnTo>
                  <a:pt x="102" y="257"/>
                </a:lnTo>
                <a:lnTo>
                  <a:pt x="100" y="257"/>
                </a:lnTo>
                <a:lnTo>
                  <a:pt x="99" y="258"/>
                </a:lnTo>
                <a:lnTo>
                  <a:pt x="98" y="258"/>
                </a:lnTo>
                <a:lnTo>
                  <a:pt x="96" y="259"/>
                </a:lnTo>
                <a:lnTo>
                  <a:pt x="96" y="265"/>
                </a:lnTo>
                <a:lnTo>
                  <a:pt x="95" y="265"/>
                </a:lnTo>
                <a:lnTo>
                  <a:pt x="95" y="266"/>
                </a:lnTo>
                <a:lnTo>
                  <a:pt x="96" y="266"/>
                </a:lnTo>
                <a:lnTo>
                  <a:pt x="96" y="269"/>
                </a:lnTo>
                <a:lnTo>
                  <a:pt x="98" y="269"/>
                </a:lnTo>
                <a:lnTo>
                  <a:pt x="98" y="270"/>
                </a:lnTo>
                <a:lnTo>
                  <a:pt x="96" y="270"/>
                </a:lnTo>
                <a:lnTo>
                  <a:pt x="96" y="271"/>
                </a:lnTo>
                <a:lnTo>
                  <a:pt x="95" y="272"/>
                </a:lnTo>
                <a:lnTo>
                  <a:pt x="94" y="272"/>
                </a:lnTo>
                <a:lnTo>
                  <a:pt x="94" y="274"/>
                </a:lnTo>
                <a:lnTo>
                  <a:pt x="92" y="269"/>
                </a:lnTo>
                <a:lnTo>
                  <a:pt x="90" y="269"/>
                </a:lnTo>
                <a:lnTo>
                  <a:pt x="89" y="270"/>
                </a:lnTo>
                <a:lnTo>
                  <a:pt x="86" y="266"/>
                </a:lnTo>
                <a:lnTo>
                  <a:pt x="86" y="264"/>
                </a:lnTo>
                <a:lnTo>
                  <a:pt x="87" y="263"/>
                </a:lnTo>
                <a:lnTo>
                  <a:pt x="87" y="260"/>
                </a:lnTo>
                <a:lnTo>
                  <a:pt x="85" y="260"/>
                </a:lnTo>
                <a:lnTo>
                  <a:pt x="85" y="259"/>
                </a:lnTo>
                <a:lnTo>
                  <a:pt x="82" y="257"/>
                </a:lnTo>
                <a:lnTo>
                  <a:pt x="81" y="255"/>
                </a:lnTo>
                <a:lnTo>
                  <a:pt x="81" y="249"/>
                </a:lnTo>
                <a:lnTo>
                  <a:pt x="86" y="244"/>
                </a:lnTo>
                <a:lnTo>
                  <a:pt x="86" y="238"/>
                </a:lnTo>
                <a:lnTo>
                  <a:pt x="82" y="232"/>
                </a:lnTo>
                <a:lnTo>
                  <a:pt x="81" y="229"/>
                </a:lnTo>
                <a:lnTo>
                  <a:pt x="80" y="229"/>
                </a:lnTo>
                <a:lnTo>
                  <a:pt x="76" y="227"/>
                </a:lnTo>
                <a:lnTo>
                  <a:pt x="76" y="226"/>
                </a:lnTo>
                <a:lnTo>
                  <a:pt x="75" y="226"/>
                </a:lnTo>
                <a:lnTo>
                  <a:pt x="74" y="225"/>
                </a:lnTo>
                <a:lnTo>
                  <a:pt x="71" y="223"/>
                </a:lnTo>
                <a:lnTo>
                  <a:pt x="69" y="223"/>
                </a:lnTo>
                <a:lnTo>
                  <a:pt x="70" y="222"/>
                </a:lnTo>
                <a:lnTo>
                  <a:pt x="70" y="220"/>
                </a:lnTo>
                <a:lnTo>
                  <a:pt x="69" y="217"/>
                </a:lnTo>
                <a:lnTo>
                  <a:pt x="68" y="216"/>
                </a:lnTo>
                <a:lnTo>
                  <a:pt x="67" y="216"/>
                </a:lnTo>
                <a:lnTo>
                  <a:pt x="62" y="214"/>
                </a:lnTo>
                <a:lnTo>
                  <a:pt x="62" y="213"/>
                </a:lnTo>
                <a:lnTo>
                  <a:pt x="63" y="209"/>
                </a:lnTo>
                <a:lnTo>
                  <a:pt x="65" y="209"/>
                </a:lnTo>
                <a:lnTo>
                  <a:pt x="69" y="206"/>
                </a:lnTo>
                <a:lnTo>
                  <a:pt x="70" y="206"/>
                </a:lnTo>
                <a:lnTo>
                  <a:pt x="70" y="204"/>
                </a:lnTo>
                <a:lnTo>
                  <a:pt x="69" y="204"/>
                </a:lnTo>
                <a:lnTo>
                  <a:pt x="71" y="202"/>
                </a:lnTo>
                <a:lnTo>
                  <a:pt x="73" y="200"/>
                </a:lnTo>
                <a:lnTo>
                  <a:pt x="73" y="195"/>
                </a:lnTo>
                <a:lnTo>
                  <a:pt x="74" y="196"/>
                </a:lnTo>
                <a:lnTo>
                  <a:pt x="74" y="195"/>
                </a:lnTo>
                <a:lnTo>
                  <a:pt x="77" y="195"/>
                </a:lnTo>
                <a:lnTo>
                  <a:pt x="79" y="197"/>
                </a:lnTo>
                <a:lnTo>
                  <a:pt x="85" y="197"/>
                </a:lnTo>
                <a:lnTo>
                  <a:pt x="87" y="195"/>
                </a:lnTo>
                <a:lnTo>
                  <a:pt x="88" y="191"/>
                </a:lnTo>
                <a:lnTo>
                  <a:pt x="89" y="190"/>
                </a:lnTo>
                <a:lnTo>
                  <a:pt x="93" y="188"/>
                </a:lnTo>
                <a:lnTo>
                  <a:pt x="98" y="188"/>
                </a:lnTo>
                <a:lnTo>
                  <a:pt x="98" y="189"/>
                </a:lnTo>
                <a:lnTo>
                  <a:pt x="100" y="189"/>
                </a:lnTo>
                <a:lnTo>
                  <a:pt x="100" y="190"/>
                </a:lnTo>
                <a:lnTo>
                  <a:pt x="101" y="191"/>
                </a:lnTo>
                <a:lnTo>
                  <a:pt x="105" y="191"/>
                </a:lnTo>
                <a:lnTo>
                  <a:pt x="105" y="192"/>
                </a:lnTo>
                <a:lnTo>
                  <a:pt x="106" y="194"/>
                </a:lnTo>
                <a:lnTo>
                  <a:pt x="106" y="195"/>
                </a:lnTo>
                <a:lnTo>
                  <a:pt x="108" y="195"/>
                </a:lnTo>
                <a:lnTo>
                  <a:pt x="108" y="196"/>
                </a:lnTo>
                <a:lnTo>
                  <a:pt x="113" y="196"/>
                </a:lnTo>
                <a:lnTo>
                  <a:pt x="116" y="198"/>
                </a:lnTo>
                <a:lnTo>
                  <a:pt x="120" y="198"/>
                </a:lnTo>
                <a:lnTo>
                  <a:pt x="127" y="202"/>
                </a:lnTo>
                <a:lnTo>
                  <a:pt x="129" y="203"/>
                </a:lnTo>
                <a:lnTo>
                  <a:pt x="132" y="206"/>
                </a:lnTo>
                <a:lnTo>
                  <a:pt x="132" y="207"/>
                </a:lnTo>
                <a:lnTo>
                  <a:pt x="133" y="207"/>
                </a:lnTo>
                <a:lnTo>
                  <a:pt x="133" y="208"/>
                </a:lnTo>
                <a:lnTo>
                  <a:pt x="135" y="209"/>
                </a:lnTo>
                <a:lnTo>
                  <a:pt x="139" y="209"/>
                </a:lnTo>
                <a:lnTo>
                  <a:pt x="139" y="208"/>
                </a:lnTo>
                <a:lnTo>
                  <a:pt x="141" y="207"/>
                </a:lnTo>
                <a:lnTo>
                  <a:pt x="139" y="207"/>
                </a:lnTo>
                <a:lnTo>
                  <a:pt x="139" y="206"/>
                </a:lnTo>
                <a:lnTo>
                  <a:pt x="138" y="206"/>
                </a:lnTo>
                <a:lnTo>
                  <a:pt x="137" y="204"/>
                </a:lnTo>
                <a:lnTo>
                  <a:pt x="135" y="204"/>
                </a:lnTo>
                <a:lnTo>
                  <a:pt x="136" y="203"/>
                </a:lnTo>
                <a:lnTo>
                  <a:pt x="137" y="203"/>
                </a:lnTo>
                <a:lnTo>
                  <a:pt x="139" y="201"/>
                </a:lnTo>
                <a:lnTo>
                  <a:pt x="141" y="201"/>
                </a:lnTo>
                <a:lnTo>
                  <a:pt x="142" y="202"/>
                </a:lnTo>
                <a:lnTo>
                  <a:pt x="143" y="202"/>
                </a:lnTo>
                <a:lnTo>
                  <a:pt x="144" y="203"/>
                </a:lnTo>
                <a:lnTo>
                  <a:pt x="145" y="202"/>
                </a:lnTo>
                <a:lnTo>
                  <a:pt x="149" y="202"/>
                </a:lnTo>
                <a:lnTo>
                  <a:pt x="149" y="201"/>
                </a:lnTo>
                <a:lnTo>
                  <a:pt x="150" y="201"/>
                </a:lnTo>
                <a:lnTo>
                  <a:pt x="150" y="198"/>
                </a:lnTo>
                <a:lnTo>
                  <a:pt x="149" y="198"/>
                </a:lnTo>
                <a:lnTo>
                  <a:pt x="150" y="197"/>
                </a:lnTo>
                <a:lnTo>
                  <a:pt x="148" y="197"/>
                </a:lnTo>
                <a:lnTo>
                  <a:pt x="147" y="196"/>
                </a:lnTo>
                <a:lnTo>
                  <a:pt x="148" y="196"/>
                </a:lnTo>
                <a:lnTo>
                  <a:pt x="147" y="195"/>
                </a:lnTo>
                <a:lnTo>
                  <a:pt x="144" y="196"/>
                </a:lnTo>
                <a:lnTo>
                  <a:pt x="143" y="196"/>
                </a:lnTo>
                <a:lnTo>
                  <a:pt x="143" y="194"/>
                </a:lnTo>
                <a:lnTo>
                  <a:pt x="138" y="194"/>
                </a:lnTo>
                <a:lnTo>
                  <a:pt x="138" y="195"/>
                </a:lnTo>
                <a:lnTo>
                  <a:pt x="137" y="196"/>
                </a:lnTo>
                <a:lnTo>
                  <a:pt x="137" y="192"/>
                </a:lnTo>
                <a:lnTo>
                  <a:pt x="136" y="194"/>
                </a:lnTo>
                <a:lnTo>
                  <a:pt x="133" y="194"/>
                </a:lnTo>
                <a:lnTo>
                  <a:pt x="131" y="192"/>
                </a:lnTo>
                <a:lnTo>
                  <a:pt x="132" y="192"/>
                </a:lnTo>
                <a:lnTo>
                  <a:pt x="132" y="191"/>
                </a:lnTo>
                <a:lnTo>
                  <a:pt x="133" y="191"/>
                </a:lnTo>
                <a:lnTo>
                  <a:pt x="132" y="190"/>
                </a:lnTo>
                <a:lnTo>
                  <a:pt x="131" y="190"/>
                </a:lnTo>
                <a:lnTo>
                  <a:pt x="130" y="189"/>
                </a:lnTo>
                <a:lnTo>
                  <a:pt x="129" y="189"/>
                </a:lnTo>
                <a:lnTo>
                  <a:pt x="127" y="188"/>
                </a:lnTo>
                <a:lnTo>
                  <a:pt x="127" y="185"/>
                </a:lnTo>
                <a:lnTo>
                  <a:pt x="126" y="185"/>
                </a:lnTo>
                <a:lnTo>
                  <a:pt x="124" y="188"/>
                </a:lnTo>
                <a:lnTo>
                  <a:pt x="124" y="190"/>
                </a:lnTo>
                <a:lnTo>
                  <a:pt x="123" y="190"/>
                </a:lnTo>
                <a:lnTo>
                  <a:pt x="123" y="189"/>
                </a:lnTo>
                <a:lnTo>
                  <a:pt x="121" y="189"/>
                </a:lnTo>
                <a:lnTo>
                  <a:pt x="121" y="186"/>
                </a:lnTo>
                <a:lnTo>
                  <a:pt x="119" y="184"/>
                </a:lnTo>
                <a:lnTo>
                  <a:pt x="119" y="183"/>
                </a:lnTo>
                <a:lnTo>
                  <a:pt x="117" y="183"/>
                </a:lnTo>
                <a:lnTo>
                  <a:pt x="117" y="182"/>
                </a:lnTo>
                <a:lnTo>
                  <a:pt x="116" y="182"/>
                </a:lnTo>
                <a:lnTo>
                  <a:pt x="117" y="183"/>
                </a:lnTo>
                <a:lnTo>
                  <a:pt x="117" y="184"/>
                </a:lnTo>
                <a:lnTo>
                  <a:pt x="116" y="184"/>
                </a:lnTo>
                <a:lnTo>
                  <a:pt x="114" y="185"/>
                </a:lnTo>
                <a:lnTo>
                  <a:pt x="116" y="185"/>
                </a:lnTo>
                <a:lnTo>
                  <a:pt x="116" y="188"/>
                </a:lnTo>
                <a:lnTo>
                  <a:pt x="114" y="188"/>
                </a:lnTo>
                <a:lnTo>
                  <a:pt x="113" y="186"/>
                </a:lnTo>
                <a:lnTo>
                  <a:pt x="111" y="188"/>
                </a:lnTo>
                <a:lnTo>
                  <a:pt x="111" y="186"/>
                </a:lnTo>
                <a:lnTo>
                  <a:pt x="108" y="186"/>
                </a:lnTo>
                <a:lnTo>
                  <a:pt x="107" y="188"/>
                </a:lnTo>
                <a:lnTo>
                  <a:pt x="106" y="188"/>
                </a:lnTo>
                <a:lnTo>
                  <a:pt x="106" y="186"/>
                </a:lnTo>
                <a:lnTo>
                  <a:pt x="105" y="186"/>
                </a:lnTo>
                <a:lnTo>
                  <a:pt x="105" y="185"/>
                </a:lnTo>
                <a:lnTo>
                  <a:pt x="104" y="185"/>
                </a:lnTo>
                <a:lnTo>
                  <a:pt x="101" y="184"/>
                </a:lnTo>
                <a:lnTo>
                  <a:pt x="100" y="184"/>
                </a:lnTo>
                <a:lnTo>
                  <a:pt x="100" y="185"/>
                </a:lnTo>
                <a:lnTo>
                  <a:pt x="99" y="184"/>
                </a:lnTo>
                <a:lnTo>
                  <a:pt x="96" y="184"/>
                </a:lnTo>
                <a:lnTo>
                  <a:pt x="94" y="185"/>
                </a:lnTo>
                <a:lnTo>
                  <a:pt x="93" y="185"/>
                </a:lnTo>
                <a:lnTo>
                  <a:pt x="93" y="184"/>
                </a:lnTo>
                <a:lnTo>
                  <a:pt x="92" y="184"/>
                </a:lnTo>
                <a:lnTo>
                  <a:pt x="90" y="186"/>
                </a:lnTo>
                <a:lnTo>
                  <a:pt x="89" y="186"/>
                </a:lnTo>
                <a:lnTo>
                  <a:pt x="89" y="188"/>
                </a:lnTo>
                <a:lnTo>
                  <a:pt x="88" y="188"/>
                </a:lnTo>
                <a:lnTo>
                  <a:pt x="87" y="186"/>
                </a:lnTo>
                <a:lnTo>
                  <a:pt x="85" y="186"/>
                </a:lnTo>
                <a:lnTo>
                  <a:pt x="83" y="188"/>
                </a:lnTo>
                <a:lnTo>
                  <a:pt x="82" y="186"/>
                </a:lnTo>
                <a:lnTo>
                  <a:pt x="79" y="190"/>
                </a:lnTo>
                <a:lnTo>
                  <a:pt x="77" y="190"/>
                </a:lnTo>
                <a:lnTo>
                  <a:pt x="77" y="186"/>
                </a:lnTo>
                <a:lnTo>
                  <a:pt x="75" y="186"/>
                </a:lnTo>
                <a:lnTo>
                  <a:pt x="75" y="184"/>
                </a:lnTo>
                <a:lnTo>
                  <a:pt x="73" y="184"/>
                </a:lnTo>
                <a:lnTo>
                  <a:pt x="73" y="180"/>
                </a:lnTo>
                <a:lnTo>
                  <a:pt x="71" y="179"/>
                </a:lnTo>
                <a:lnTo>
                  <a:pt x="70" y="179"/>
                </a:lnTo>
                <a:lnTo>
                  <a:pt x="71" y="183"/>
                </a:lnTo>
                <a:lnTo>
                  <a:pt x="71" y="185"/>
                </a:lnTo>
                <a:lnTo>
                  <a:pt x="69" y="185"/>
                </a:lnTo>
                <a:lnTo>
                  <a:pt x="69" y="186"/>
                </a:lnTo>
                <a:lnTo>
                  <a:pt x="68" y="186"/>
                </a:lnTo>
                <a:lnTo>
                  <a:pt x="68" y="188"/>
                </a:lnTo>
                <a:lnTo>
                  <a:pt x="64" y="188"/>
                </a:lnTo>
                <a:lnTo>
                  <a:pt x="64" y="190"/>
                </a:lnTo>
                <a:lnTo>
                  <a:pt x="63" y="190"/>
                </a:lnTo>
                <a:lnTo>
                  <a:pt x="63" y="188"/>
                </a:lnTo>
                <a:lnTo>
                  <a:pt x="61" y="188"/>
                </a:lnTo>
                <a:lnTo>
                  <a:pt x="62" y="186"/>
                </a:lnTo>
                <a:lnTo>
                  <a:pt x="61" y="186"/>
                </a:lnTo>
                <a:lnTo>
                  <a:pt x="61" y="185"/>
                </a:lnTo>
                <a:lnTo>
                  <a:pt x="63" y="185"/>
                </a:lnTo>
                <a:lnTo>
                  <a:pt x="63" y="184"/>
                </a:lnTo>
                <a:lnTo>
                  <a:pt x="61" y="184"/>
                </a:lnTo>
                <a:lnTo>
                  <a:pt x="61" y="183"/>
                </a:lnTo>
                <a:lnTo>
                  <a:pt x="62" y="183"/>
                </a:lnTo>
                <a:lnTo>
                  <a:pt x="62" y="182"/>
                </a:lnTo>
                <a:lnTo>
                  <a:pt x="61" y="180"/>
                </a:lnTo>
                <a:lnTo>
                  <a:pt x="61" y="177"/>
                </a:lnTo>
                <a:lnTo>
                  <a:pt x="60" y="178"/>
                </a:lnTo>
                <a:lnTo>
                  <a:pt x="58" y="178"/>
                </a:lnTo>
                <a:lnTo>
                  <a:pt x="58" y="177"/>
                </a:lnTo>
                <a:lnTo>
                  <a:pt x="57" y="177"/>
                </a:lnTo>
                <a:lnTo>
                  <a:pt x="58" y="174"/>
                </a:lnTo>
                <a:lnTo>
                  <a:pt x="58" y="173"/>
                </a:lnTo>
                <a:lnTo>
                  <a:pt x="57" y="172"/>
                </a:lnTo>
                <a:lnTo>
                  <a:pt x="56" y="170"/>
                </a:lnTo>
                <a:lnTo>
                  <a:pt x="54" y="170"/>
                </a:lnTo>
                <a:lnTo>
                  <a:pt x="54" y="169"/>
                </a:lnTo>
                <a:lnTo>
                  <a:pt x="52" y="164"/>
                </a:lnTo>
                <a:lnTo>
                  <a:pt x="51" y="163"/>
                </a:lnTo>
                <a:lnTo>
                  <a:pt x="50" y="163"/>
                </a:lnTo>
                <a:lnTo>
                  <a:pt x="50" y="164"/>
                </a:lnTo>
                <a:lnTo>
                  <a:pt x="49" y="164"/>
                </a:lnTo>
                <a:lnTo>
                  <a:pt x="48" y="165"/>
                </a:lnTo>
                <a:lnTo>
                  <a:pt x="48" y="164"/>
                </a:lnTo>
                <a:lnTo>
                  <a:pt x="46" y="164"/>
                </a:lnTo>
                <a:lnTo>
                  <a:pt x="45" y="163"/>
                </a:lnTo>
                <a:lnTo>
                  <a:pt x="46" y="161"/>
                </a:lnTo>
                <a:lnTo>
                  <a:pt x="46" y="160"/>
                </a:lnTo>
                <a:lnTo>
                  <a:pt x="48" y="159"/>
                </a:lnTo>
                <a:lnTo>
                  <a:pt x="49" y="159"/>
                </a:lnTo>
                <a:lnTo>
                  <a:pt x="46" y="157"/>
                </a:lnTo>
                <a:lnTo>
                  <a:pt x="46" y="155"/>
                </a:lnTo>
                <a:lnTo>
                  <a:pt x="48" y="154"/>
                </a:lnTo>
                <a:lnTo>
                  <a:pt x="48" y="155"/>
                </a:lnTo>
                <a:lnTo>
                  <a:pt x="49" y="155"/>
                </a:lnTo>
                <a:lnTo>
                  <a:pt x="49" y="157"/>
                </a:lnTo>
                <a:lnTo>
                  <a:pt x="50" y="155"/>
                </a:lnTo>
                <a:lnTo>
                  <a:pt x="54" y="155"/>
                </a:lnTo>
                <a:lnTo>
                  <a:pt x="54" y="154"/>
                </a:lnTo>
                <a:lnTo>
                  <a:pt x="55" y="155"/>
                </a:lnTo>
                <a:lnTo>
                  <a:pt x="58" y="155"/>
                </a:lnTo>
                <a:lnTo>
                  <a:pt x="58" y="158"/>
                </a:lnTo>
                <a:lnTo>
                  <a:pt x="60" y="158"/>
                </a:lnTo>
                <a:lnTo>
                  <a:pt x="61" y="159"/>
                </a:lnTo>
                <a:lnTo>
                  <a:pt x="61" y="157"/>
                </a:lnTo>
                <a:lnTo>
                  <a:pt x="62" y="157"/>
                </a:lnTo>
                <a:lnTo>
                  <a:pt x="64" y="159"/>
                </a:lnTo>
                <a:lnTo>
                  <a:pt x="64" y="157"/>
                </a:lnTo>
                <a:lnTo>
                  <a:pt x="63" y="157"/>
                </a:lnTo>
                <a:lnTo>
                  <a:pt x="63" y="153"/>
                </a:lnTo>
                <a:lnTo>
                  <a:pt x="64" y="153"/>
                </a:lnTo>
                <a:lnTo>
                  <a:pt x="64" y="152"/>
                </a:lnTo>
                <a:lnTo>
                  <a:pt x="61" y="148"/>
                </a:lnTo>
                <a:lnTo>
                  <a:pt x="61" y="149"/>
                </a:lnTo>
                <a:lnTo>
                  <a:pt x="60" y="149"/>
                </a:lnTo>
                <a:lnTo>
                  <a:pt x="58" y="151"/>
                </a:lnTo>
                <a:lnTo>
                  <a:pt x="60" y="152"/>
                </a:lnTo>
                <a:lnTo>
                  <a:pt x="57" y="151"/>
                </a:lnTo>
                <a:lnTo>
                  <a:pt x="56" y="151"/>
                </a:lnTo>
                <a:lnTo>
                  <a:pt x="56" y="149"/>
                </a:lnTo>
                <a:lnTo>
                  <a:pt x="55" y="151"/>
                </a:lnTo>
                <a:lnTo>
                  <a:pt x="55" y="148"/>
                </a:lnTo>
                <a:lnTo>
                  <a:pt x="50" y="148"/>
                </a:lnTo>
                <a:lnTo>
                  <a:pt x="50" y="146"/>
                </a:lnTo>
                <a:lnTo>
                  <a:pt x="49" y="146"/>
                </a:lnTo>
                <a:lnTo>
                  <a:pt x="49" y="147"/>
                </a:lnTo>
                <a:lnTo>
                  <a:pt x="48" y="147"/>
                </a:lnTo>
                <a:lnTo>
                  <a:pt x="48" y="149"/>
                </a:lnTo>
                <a:lnTo>
                  <a:pt x="46" y="151"/>
                </a:lnTo>
                <a:lnTo>
                  <a:pt x="49" y="153"/>
                </a:lnTo>
                <a:lnTo>
                  <a:pt x="46" y="153"/>
                </a:lnTo>
                <a:lnTo>
                  <a:pt x="46" y="154"/>
                </a:lnTo>
                <a:lnTo>
                  <a:pt x="45" y="154"/>
                </a:lnTo>
                <a:lnTo>
                  <a:pt x="45" y="153"/>
                </a:lnTo>
                <a:lnTo>
                  <a:pt x="44" y="152"/>
                </a:lnTo>
                <a:lnTo>
                  <a:pt x="45" y="152"/>
                </a:lnTo>
                <a:lnTo>
                  <a:pt x="45" y="151"/>
                </a:lnTo>
                <a:lnTo>
                  <a:pt x="44" y="149"/>
                </a:lnTo>
                <a:lnTo>
                  <a:pt x="44" y="148"/>
                </a:lnTo>
                <a:lnTo>
                  <a:pt x="36" y="140"/>
                </a:lnTo>
                <a:lnTo>
                  <a:pt x="34" y="140"/>
                </a:lnTo>
                <a:lnTo>
                  <a:pt x="36" y="139"/>
                </a:lnTo>
                <a:lnTo>
                  <a:pt x="34" y="139"/>
                </a:lnTo>
                <a:lnTo>
                  <a:pt x="34" y="137"/>
                </a:lnTo>
                <a:lnTo>
                  <a:pt x="36" y="137"/>
                </a:lnTo>
                <a:lnTo>
                  <a:pt x="36" y="136"/>
                </a:lnTo>
                <a:lnTo>
                  <a:pt x="34" y="136"/>
                </a:lnTo>
                <a:lnTo>
                  <a:pt x="34" y="137"/>
                </a:lnTo>
                <a:lnTo>
                  <a:pt x="33" y="136"/>
                </a:lnTo>
                <a:lnTo>
                  <a:pt x="30" y="136"/>
                </a:lnTo>
                <a:lnTo>
                  <a:pt x="27" y="134"/>
                </a:lnTo>
                <a:lnTo>
                  <a:pt x="27" y="133"/>
                </a:lnTo>
                <a:lnTo>
                  <a:pt x="26" y="132"/>
                </a:lnTo>
                <a:lnTo>
                  <a:pt x="26" y="130"/>
                </a:lnTo>
                <a:lnTo>
                  <a:pt x="25" y="130"/>
                </a:lnTo>
                <a:lnTo>
                  <a:pt x="25" y="129"/>
                </a:lnTo>
                <a:lnTo>
                  <a:pt x="24" y="128"/>
                </a:lnTo>
                <a:lnTo>
                  <a:pt x="26" y="128"/>
                </a:lnTo>
                <a:lnTo>
                  <a:pt x="26" y="127"/>
                </a:lnTo>
                <a:lnTo>
                  <a:pt x="25" y="127"/>
                </a:lnTo>
                <a:lnTo>
                  <a:pt x="24" y="126"/>
                </a:lnTo>
                <a:lnTo>
                  <a:pt x="25" y="126"/>
                </a:lnTo>
                <a:lnTo>
                  <a:pt x="26" y="124"/>
                </a:lnTo>
                <a:lnTo>
                  <a:pt x="25" y="124"/>
                </a:lnTo>
                <a:lnTo>
                  <a:pt x="25" y="123"/>
                </a:lnTo>
                <a:lnTo>
                  <a:pt x="20" y="123"/>
                </a:lnTo>
                <a:lnTo>
                  <a:pt x="21" y="122"/>
                </a:lnTo>
                <a:lnTo>
                  <a:pt x="21" y="121"/>
                </a:lnTo>
                <a:lnTo>
                  <a:pt x="23" y="121"/>
                </a:lnTo>
                <a:lnTo>
                  <a:pt x="23" y="118"/>
                </a:lnTo>
                <a:lnTo>
                  <a:pt x="21" y="117"/>
                </a:lnTo>
                <a:lnTo>
                  <a:pt x="24" y="117"/>
                </a:lnTo>
                <a:lnTo>
                  <a:pt x="24" y="116"/>
                </a:lnTo>
                <a:lnTo>
                  <a:pt x="25" y="116"/>
                </a:lnTo>
                <a:lnTo>
                  <a:pt x="25" y="115"/>
                </a:lnTo>
                <a:lnTo>
                  <a:pt x="27" y="112"/>
                </a:lnTo>
                <a:lnTo>
                  <a:pt x="27" y="111"/>
                </a:lnTo>
                <a:lnTo>
                  <a:pt x="26" y="111"/>
                </a:lnTo>
                <a:lnTo>
                  <a:pt x="26" y="110"/>
                </a:lnTo>
                <a:lnTo>
                  <a:pt x="27" y="110"/>
                </a:lnTo>
                <a:lnTo>
                  <a:pt x="26" y="109"/>
                </a:lnTo>
                <a:lnTo>
                  <a:pt x="26" y="108"/>
                </a:lnTo>
                <a:lnTo>
                  <a:pt x="27" y="108"/>
                </a:lnTo>
                <a:lnTo>
                  <a:pt x="29" y="109"/>
                </a:lnTo>
                <a:lnTo>
                  <a:pt x="31" y="109"/>
                </a:lnTo>
                <a:lnTo>
                  <a:pt x="32" y="108"/>
                </a:lnTo>
                <a:lnTo>
                  <a:pt x="31" y="106"/>
                </a:lnTo>
                <a:lnTo>
                  <a:pt x="30" y="103"/>
                </a:lnTo>
                <a:lnTo>
                  <a:pt x="29" y="102"/>
                </a:lnTo>
                <a:lnTo>
                  <a:pt x="27" y="98"/>
                </a:lnTo>
                <a:lnTo>
                  <a:pt x="31" y="98"/>
                </a:lnTo>
                <a:lnTo>
                  <a:pt x="31" y="96"/>
                </a:lnTo>
                <a:lnTo>
                  <a:pt x="33" y="93"/>
                </a:lnTo>
                <a:lnTo>
                  <a:pt x="34" y="94"/>
                </a:lnTo>
                <a:lnTo>
                  <a:pt x="36" y="93"/>
                </a:lnTo>
                <a:lnTo>
                  <a:pt x="40" y="93"/>
                </a:lnTo>
                <a:lnTo>
                  <a:pt x="42" y="92"/>
                </a:lnTo>
                <a:lnTo>
                  <a:pt x="43" y="92"/>
                </a:lnTo>
                <a:lnTo>
                  <a:pt x="43" y="87"/>
                </a:lnTo>
                <a:lnTo>
                  <a:pt x="44" y="87"/>
                </a:lnTo>
                <a:lnTo>
                  <a:pt x="44" y="81"/>
                </a:lnTo>
                <a:lnTo>
                  <a:pt x="45" y="81"/>
                </a:lnTo>
                <a:lnTo>
                  <a:pt x="46" y="80"/>
                </a:lnTo>
                <a:lnTo>
                  <a:pt x="46" y="79"/>
                </a:lnTo>
                <a:lnTo>
                  <a:pt x="48" y="78"/>
                </a:lnTo>
                <a:lnTo>
                  <a:pt x="48" y="74"/>
                </a:lnTo>
                <a:lnTo>
                  <a:pt x="50" y="72"/>
                </a:lnTo>
                <a:lnTo>
                  <a:pt x="55" y="72"/>
                </a:lnTo>
                <a:lnTo>
                  <a:pt x="55" y="69"/>
                </a:lnTo>
                <a:lnTo>
                  <a:pt x="56" y="68"/>
                </a:lnTo>
                <a:lnTo>
                  <a:pt x="57" y="68"/>
                </a:lnTo>
                <a:lnTo>
                  <a:pt x="57" y="67"/>
                </a:lnTo>
                <a:lnTo>
                  <a:pt x="58" y="67"/>
                </a:lnTo>
                <a:lnTo>
                  <a:pt x="58" y="59"/>
                </a:lnTo>
                <a:lnTo>
                  <a:pt x="56" y="56"/>
                </a:lnTo>
                <a:lnTo>
                  <a:pt x="55" y="56"/>
                </a:lnTo>
                <a:lnTo>
                  <a:pt x="55" y="54"/>
                </a:lnTo>
                <a:lnTo>
                  <a:pt x="56" y="53"/>
                </a:lnTo>
                <a:lnTo>
                  <a:pt x="56" y="50"/>
                </a:lnTo>
                <a:lnTo>
                  <a:pt x="62" y="50"/>
                </a:lnTo>
                <a:lnTo>
                  <a:pt x="64" y="49"/>
                </a:lnTo>
                <a:lnTo>
                  <a:pt x="68" y="49"/>
                </a:lnTo>
                <a:lnTo>
                  <a:pt x="68" y="50"/>
                </a:lnTo>
                <a:lnTo>
                  <a:pt x="69" y="50"/>
                </a:lnTo>
                <a:lnTo>
                  <a:pt x="71" y="49"/>
                </a:lnTo>
                <a:lnTo>
                  <a:pt x="74" y="47"/>
                </a:lnTo>
                <a:lnTo>
                  <a:pt x="75" y="47"/>
                </a:lnTo>
                <a:lnTo>
                  <a:pt x="79" y="48"/>
                </a:lnTo>
                <a:lnTo>
                  <a:pt x="80" y="49"/>
                </a:lnTo>
                <a:lnTo>
                  <a:pt x="82" y="49"/>
                </a:lnTo>
                <a:lnTo>
                  <a:pt x="83" y="48"/>
                </a:lnTo>
                <a:lnTo>
                  <a:pt x="85" y="48"/>
                </a:lnTo>
                <a:lnTo>
                  <a:pt x="85" y="47"/>
                </a:lnTo>
                <a:lnTo>
                  <a:pt x="86" y="46"/>
                </a:lnTo>
                <a:lnTo>
                  <a:pt x="88" y="47"/>
                </a:lnTo>
                <a:lnTo>
                  <a:pt x="89" y="47"/>
                </a:lnTo>
                <a:lnTo>
                  <a:pt x="89" y="46"/>
                </a:lnTo>
                <a:lnTo>
                  <a:pt x="90" y="46"/>
                </a:lnTo>
                <a:lnTo>
                  <a:pt x="90" y="43"/>
                </a:lnTo>
                <a:lnTo>
                  <a:pt x="94" y="40"/>
                </a:lnTo>
                <a:lnTo>
                  <a:pt x="95" y="40"/>
                </a:lnTo>
                <a:lnTo>
                  <a:pt x="95" y="36"/>
                </a:lnTo>
                <a:lnTo>
                  <a:pt x="96" y="36"/>
                </a:lnTo>
                <a:lnTo>
                  <a:pt x="98" y="35"/>
                </a:lnTo>
                <a:lnTo>
                  <a:pt x="100" y="35"/>
                </a:lnTo>
                <a:lnTo>
                  <a:pt x="100" y="34"/>
                </a:lnTo>
                <a:lnTo>
                  <a:pt x="101" y="34"/>
                </a:lnTo>
                <a:lnTo>
                  <a:pt x="101" y="35"/>
                </a:lnTo>
                <a:lnTo>
                  <a:pt x="105" y="35"/>
                </a:lnTo>
                <a:lnTo>
                  <a:pt x="106" y="34"/>
                </a:lnTo>
                <a:lnTo>
                  <a:pt x="107" y="34"/>
                </a:lnTo>
                <a:lnTo>
                  <a:pt x="108" y="32"/>
                </a:lnTo>
                <a:lnTo>
                  <a:pt x="108" y="34"/>
                </a:lnTo>
                <a:lnTo>
                  <a:pt x="112" y="34"/>
                </a:lnTo>
                <a:lnTo>
                  <a:pt x="112" y="35"/>
                </a:lnTo>
                <a:lnTo>
                  <a:pt x="116" y="35"/>
                </a:lnTo>
                <a:lnTo>
                  <a:pt x="117" y="36"/>
                </a:lnTo>
                <a:lnTo>
                  <a:pt x="119" y="36"/>
                </a:lnTo>
                <a:lnTo>
                  <a:pt x="120" y="35"/>
                </a:lnTo>
                <a:lnTo>
                  <a:pt x="121" y="35"/>
                </a:lnTo>
                <a:lnTo>
                  <a:pt x="123" y="36"/>
                </a:lnTo>
                <a:lnTo>
                  <a:pt x="123" y="35"/>
                </a:lnTo>
                <a:lnTo>
                  <a:pt x="125" y="35"/>
                </a:lnTo>
                <a:lnTo>
                  <a:pt x="125" y="32"/>
                </a:lnTo>
                <a:lnTo>
                  <a:pt x="127" y="32"/>
                </a:lnTo>
                <a:lnTo>
                  <a:pt x="127" y="34"/>
                </a:lnTo>
                <a:lnTo>
                  <a:pt x="129" y="34"/>
                </a:lnTo>
                <a:lnTo>
                  <a:pt x="129" y="35"/>
                </a:lnTo>
                <a:lnTo>
                  <a:pt x="130" y="34"/>
                </a:lnTo>
                <a:lnTo>
                  <a:pt x="130" y="26"/>
                </a:lnTo>
                <a:lnTo>
                  <a:pt x="131" y="26"/>
                </a:lnTo>
                <a:lnTo>
                  <a:pt x="131" y="24"/>
                </a:lnTo>
                <a:lnTo>
                  <a:pt x="132" y="23"/>
                </a:lnTo>
                <a:lnTo>
                  <a:pt x="138" y="23"/>
                </a:lnTo>
                <a:lnTo>
                  <a:pt x="147" y="24"/>
                </a:lnTo>
                <a:lnTo>
                  <a:pt x="149" y="24"/>
                </a:lnTo>
                <a:lnTo>
                  <a:pt x="150" y="23"/>
                </a:lnTo>
                <a:lnTo>
                  <a:pt x="150" y="22"/>
                </a:lnTo>
                <a:lnTo>
                  <a:pt x="152" y="19"/>
                </a:lnTo>
                <a:lnTo>
                  <a:pt x="154" y="19"/>
                </a:lnTo>
                <a:lnTo>
                  <a:pt x="154" y="20"/>
                </a:lnTo>
                <a:lnTo>
                  <a:pt x="155" y="20"/>
                </a:lnTo>
                <a:lnTo>
                  <a:pt x="155" y="22"/>
                </a:lnTo>
                <a:lnTo>
                  <a:pt x="156" y="22"/>
                </a:lnTo>
                <a:lnTo>
                  <a:pt x="157" y="20"/>
                </a:lnTo>
                <a:lnTo>
                  <a:pt x="158" y="20"/>
                </a:lnTo>
                <a:lnTo>
                  <a:pt x="158" y="19"/>
                </a:lnTo>
                <a:lnTo>
                  <a:pt x="163" y="19"/>
                </a:lnTo>
                <a:lnTo>
                  <a:pt x="166" y="22"/>
                </a:lnTo>
                <a:lnTo>
                  <a:pt x="167" y="22"/>
                </a:lnTo>
                <a:lnTo>
                  <a:pt x="169" y="19"/>
                </a:lnTo>
                <a:lnTo>
                  <a:pt x="173" y="19"/>
                </a:lnTo>
                <a:lnTo>
                  <a:pt x="174" y="18"/>
                </a:lnTo>
                <a:lnTo>
                  <a:pt x="176" y="18"/>
                </a:lnTo>
                <a:lnTo>
                  <a:pt x="179" y="16"/>
                </a:lnTo>
                <a:lnTo>
                  <a:pt x="180" y="16"/>
                </a:lnTo>
                <a:lnTo>
                  <a:pt x="181" y="18"/>
                </a:lnTo>
                <a:lnTo>
                  <a:pt x="182" y="17"/>
                </a:lnTo>
                <a:lnTo>
                  <a:pt x="183" y="17"/>
                </a:lnTo>
                <a:lnTo>
                  <a:pt x="183" y="16"/>
                </a:lnTo>
                <a:lnTo>
                  <a:pt x="185" y="17"/>
                </a:lnTo>
                <a:lnTo>
                  <a:pt x="186" y="17"/>
                </a:lnTo>
                <a:lnTo>
                  <a:pt x="186" y="12"/>
                </a:lnTo>
                <a:lnTo>
                  <a:pt x="189" y="12"/>
                </a:lnTo>
                <a:lnTo>
                  <a:pt x="189" y="13"/>
                </a:lnTo>
                <a:lnTo>
                  <a:pt x="191" y="13"/>
                </a:lnTo>
                <a:lnTo>
                  <a:pt x="191" y="12"/>
                </a:lnTo>
                <a:lnTo>
                  <a:pt x="192" y="11"/>
                </a:lnTo>
                <a:lnTo>
                  <a:pt x="194" y="11"/>
                </a:lnTo>
                <a:lnTo>
                  <a:pt x="195" y="12"/>
                </a:lnTo>
                <a:lnTo>
                  <a:pt x="195" y="13"/>
                </a:lnTo>
                <a:lnTo>
                  <a:pt x="199" y="13"/>
                </a:lnTo>
                <a:lnTo>
                  <a:pt x="200" y="12"/>
                </a:lnTo>
                <a:lnTo>
                  <a:pt x="203" y="12"/>
                </a:lnTo>
                <a:lnTo>
                  <a:pt x="203" y="11"/>
                </a:lnTo>
                <a:lnTo>
                  <a:pt x="206" y="11"/>
                </a:lnTo>
                <a:lnTo>
                  <a:pt x="206" y="14"/>
                </a:lnTo>
                <a:lnTo>
                  <a:pt x="207" y="14"/>
                </a:lnTo>
                <a:lnTo>
                  <a:pt x="207" y="16"/>
                </a:lnTo>
                <a:lnTo>
                  <a:pt x="208" y="16"/>
                </a:lnTo>
                <a:lnTo>
                  <a:pt x="208" y="18"/>
                </a:lnTo>
                <a:lnTo>
                  <a:pt x="211" y="18"/>
                </a:lnTo>
                <a:lnTo>
                  <a:pt x="212" y="19"/>
                </a:lnTo>
                <a:lnTo>
                  <a:pt x="213" y="19"/>
                </a:lnTo>
                <a:lnTo>
                  <a:pt x="213" y="20"/>
                </a:lnTo>
                <a:lnTo>
                  <a:pt x="216" y="22"/>
                </a:lnTo>
                <a:lnTo>
                  <a:pt x="216" y="23"/>
                </a:lnTo>
                <a:lnTo>
                  <a:pt x="217" y="23"/>
                </a:lnTo>
                <a:lnTo>
                  <a:pt x="217" y="20"/>
                </a:lnTo>
                <a:lnTo>
                  <a:pt x="219" y="20"/>
                </a:lnTo>
                <a:lnTo>
                  <a:pt x="220" y="19"/>
                </a:lnTo>
                <a:lnTo>
                  <a:pt x="223" y="20"/>
                </a:lnTo>
                <a:lnTo>
                  <a:pt x="229" y="23"/>
                </a:lnTo>
                <a:lnTo>
                  <a:pt x="230" y="23"/>
                </a:lnTo>
                <a:lnTo>
                  <a:pt x="230" y="24"/>
                </a:lnTo>
                <a:lnTo>
                  <a:pt x="231" y="24"/>
                </a:lnTo>
                <a:lnTo>
                  <a:pt x="232" y="25"/>
                </a:lnTo>
                <a:lnTo>
                  <a:pt x="234" y="25"/>
                </a:lnTo>
                <a:lnTo>
                  <a:pt x="235" y="28"/>
                </a:lnTo>
                <a:lnTo>
                  <a:pt x="236" y="29"/>
                </a:lnTo>
                <a:lnTo>
                  <a:pt x="238" y="29"/>
                </a:lnTo>
                <a:lnTo>
                  <a:pt x="244" y="26"/>
                </a:lnTo>
                <a:lnTo>
                  <a:pt x="248" y="26"/>
                </a:lnTo>
                <a:lnTo>
                  <a:pt x="248" y="24"/>
                </a:lnTo>
                <a:lnTo>
                  <a:pt x="253" y="24"/>
                </a:lnTo>
                <a:lnTo>
                  <a:pt x="253" y="25"/>
                </a:lnTo>
                <a:lnTo>
                  <a:pt x="255" y="25"/>
                </a:lnTo>
                <a:lnTo>
                  <a:pt x="256" y="24"/>
                </a:lnTo>
                <a:lnTo>
                  <a:pt x="257" y="24"/>
                </a:lnTo>
                <a:lnTo>
                  <a:pt x="260" y="23"/>
                </a:lnTo>
                <a:lnTo>
                  <a:pt x="261" y="23"/>
                </a:lnTo>
                <a:lnTo>
                  <a:pt x="262" y="25"/>
                </a:lnTo>
                <a:lnTo>
                  <a:pt x="263" y="25"/>
                </a:lnTo>
                <a:lnTo>
                  <a:pt x="265" y="24"/>
                </a:lnTo>
                <a:lnTo>
                  <a:pt x="267" y="24"/>
                </a:lnTo>
                <a:lnTo>
                  <a:pt x="268" y="23"/>
                </a:lnTo>
                <a:lnTo>
                  <a:pt x="269" y="23"/>
                </a:lnTo>
                <a:lnTo>
                  <a:pt x="273" y="22"/>
                </a:lnTo>
                <a:lnTo>
                  <a:pt x="274" y="22"/>
                </a:lnTo>
                <a:lnTo>
                  <a:pt x="274" y="18"/>
                </a:lnTo>
                <a:lnTo>
                  <a:pt x="275" y="18"/>
                </a:lnTo>
                <a:lnTo>
                  <a:pt x="275" y="17"/>
                </a:lnTo>
                <a:lnTo>
                  <a:pt x="274" y="16"/>
                </a:lnTo>
                <a:lnTo>
                  <a:pt x="274" y="14"/>
                </a:lnTo>
                <a:lnTo>
                  <a:pt x="275" y="13"/>
                </a:lnTo>
                <a:lnTo>
                  <a:pt x="275" y="12"/>
                </a:lnTo>
                <a:lnTo>
                  <a:pt x="274" y="12"/>
                </a:lnTo>
                <a:lnTo>
                  <a:pt x="274" y="11"/>
                </a:lnTo>
                <a:lnTo>
                  <a:pt x="273" y="11"/>
                </a:lnTo>
                <a:lnTo>
                  <a:pt x="273" y="7"/>
                </a:lnTo>
                <a:lnTo>
                  <a:pt x="272" y="7"/>
                </a:lnTo>
                <a:lnTo>
                  <a:pt x="272" y="6"/>
                </a:lnTo>
                <a:lnTo>
                  <a:pt x="270" y="6"/>
                </a:lnTo>
                <a:lnTo>
                  <a:pt x="270" y="3"/>
                </a:lnTo>
                <a:lnTo>
                  <a:pt x="272" y="3"/>
                </a:lnTo>
                <a:lnTo>
                  <a:pt x="273" y="1"/>
                </a:lnTo>
                <a:lnTo>
                  <a:pt x="276" y="1"/>
                </a:lnTo>
                <a:lnTo>
                  <a:pt x="276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" name="Freeform 39">
            <a:extLst>
              <a:ext uri="{FF2B5EF4-FFF2-40B4-BE49-F238E27FC236}">
                <a16:creationId xmlns:a16="http://schemas.microsoft.com/office/drawing/2014/main" id="{7D50A492-6785-4613-87B5-2A57E92FABAC}"/>
              </a:ext>
            </a:extLst>
          </p:cNvPr>
          <p:cNvSpPr>
            <a:spLocks noEditPoints="1"/>
          </p:cNvSpPr>
          <p:nvPr/>
        </p:nvSpPr>
        <p:spPr bwMode="auto">
          <a:xfrm>
            <a:off x="705731" y="3801872"/>
            <a:ext cx="633187" cy="992525"/>
          </a:xfrm>
          <a:custGeom>
            <a:avLst/>
            <a:gdLst/>
            <a:ahLst/>
            <a:cxnLst>
              <a:cxn ang="0">
                <a:pos x="260" y="596"/>
              </a:cxn>
              <a:cxn ang="0">
                <a:pos x="170" y="411"/>
              </a:cxn>
              <a:cxn ang="0">
                <a:pos x="180" y="337"/>
              </a:cxn>
              <a:cxn ang="0">
                <a:pos x="113" y="287"/>
              </a:cxn>
              <a:cxn ang="0">
                <a:pos x="123" y="319"/>
              </a:cxn>
              <a:cxn ang="0">
                <a:pos x="81" y="343"/>
              </a:cxn>
              <a:cxn ang="0">
                <a:pos x="30" y="335"/>
              </a:cxn>
              <a:cxn ang="0">
                <a:pos x="63" y="282"/>
              </a:cxn>
              <a:cxn ang="0">
                <a:pos x="150" y="229"/>
              </a:cxn>
              <a:cxn ang="0">
                <a:pos x="88" y="234"/>
              </a:cxn>
              <a:cxn ang="0">
                <a:pos x="111" y="212"/>
              </a:cxn>
              <a:cxn ang="0">
                <a:pos x="78" y="168"/>
              </a:cxn>
              <a:cxn ang="0">
                <a:pos x="98" y="184"/>
              </a:cxn>
              <a:cxn ang="0">
                <a:pos x="86" y="165"/>
              </a:cxn>
              <a:cxn ang="0">
                <a:pos x="86" y="130"/>
              </a:cxn>
              <a:cxn ang="0">
                <a:pos x="58" y="124"/>
              </a:cxn>
              <a:cxn ang="0">
                <a:pos x="56" y="88"/>
              </a:cxn>
              <a:cxn ang="0">
                <a:pos x="51" y="83"/>
              </a:cxn>
              <a:cxn ang="0">
                <a:pos x="109" y="131"/>
              </a:cxn>
              <a:cxn ang="0">
                <a:pos x="79" y="103"/>
              </a:cxn>
              <a:cxn ang="0">
                <a:pos x="61" y="75"/>
              </a:cxn>
              <a:cxn ang="0">
                <a:pos x="94" y="36"/>
              </a:cxn>
              <a:cxn ang="0">
                <a:pos x="81" y="61"/>
              </a:cxn>
              <a:cxn ang="0">
                <a:pos x="62" y="45"/>
              </a:cxn>
              <a:cxn ang="0">
                <a:pos x="236" y="3"/>
              </a:cxn>
              <a:cxn ang="0">
                <a:pos x="179" y="62"/>
              </a:cxn>
              <a:cxn ang="0">
                <a:pos x="186" y="92"/>
              </a:cxn>
              <a:cxn ang="0">
                <a:pos x="267" y="79"/>
              </a:cxn>
              <a:cxn ang="0">
                <a:pos x="248" y="174"/>
              </a:cxn>
              <a:cxn ang="0">
                <a:pos x="223" y="210"/>
              </a:cxn>
              <a:cxn ang="0">
                <a:pos x="299" y="273"/>
              </a:cxn>
              <a:cxn ang="0">
                <a:pos x="354" y="357"/>
              </a:cxn>
              <a:cxn ang="0">
                <a:pos x="370" y="427"/>
              </a:cxn>
              <a:cxn ang="0">
                <a:pos x="417" y="499"/>
              </a:cxn>
              <a:cxn ang="0">
                <a:pos x="381" y="534"/>
              </a:cxn>
              <a:cxn ang="0">
                <a:pos x="390" y="574"/>
              </a:cxn>
              <a:cxn ang="0">
                <a:pos x="298" y="580"/>
              </a:cxn>
              <a:cxn ang="0">
                <a:pos x="217" y="591"/>
              </a:cxn>
              <a:cxn ang="0">
                <a:pos x="178" y="607"/>
              </a:cxn>
              <a:cxn ang="0">
                <a:pos x="124" y="620"/>
              </a:cxn>
              <a:cxn ang="0">
                <a:pos x="185" y="552"/>
              </a:cxn>
              <a:cxn ang="0">
                <a:pos x="237" y="528"/>
              </a:cxn>
              <a:cxn ang="0">
                <a:pos x="178" y="516"/>
              </a:cxn>
              <a:cxn ang="0">
                <a:pos x="144" y="517"/>
              </a:cxn>
              <a:cxn ang="0">
                <a:pos x="197" y="458"/>
              </a:cxn>
              <a:cxn ang="0">
                <a:pos x="187" y="413"/>
              </a:cxn>
              <a:cxn ang="0">
                <a:pos x="238" y="378"/>
              </a:cxn>
              <a:cxn ang="0">
                <a:pos x="227" y="343"/>
              </a:cxn>
              <a:cxn ang="0">
                <a:pos x="200" y="295"/>
              </a:cxn>
              <a:cxn ang="0">
                <a:pos x="155" y="302"/>
              </a:cxn>
              <a:cxn ang="0">
                <a:pos x="157" y="223"/>
              </a:cxn>
              <a:cxn ang="0">
                <a:pos x="149" y="216"/>
              </a:cxn>
              <a:cxn ang="0">
                <a:pos x="132" y="236"/>
              </a:cxn>
              <a:cxn ang="0">
                <a:pos x="124" y="218"/>
              </a:cxn>
              <a:cxn ang="0">
                <a:pos x="134" y="175"/>
              </a:cxn>
              <a:cxn ang="0">
                <a:pos x="144" y="149"/>
              </a:cxn>
              <a:cxn ang="0">
                <a:pos x="113" y="152"/>
              </a:cxn>
              <a:cxn ang="0">
                <a:pos x="129" y="125"/>
              </a:cxn>
              <a:cxn ang="0">
                <a:pos x="117" y="88"/>
              </a:cxn>
              <a:cxn ang="0">
                <a:pos x="131" y="67"/>
              </a:cxn>
              <a:cxn ang="0">
                <a:pos x="136" y="36"/>
              </a:cxn>
              <a:cxn ang="0">
                <a:pos x="166" y="11"/>
              </a:cxn>
              <a:cxn ang="0">
                <a:pos x="221" y="5"/>
              </a:cxn>
            </a:cxnLst>
            <a:rect l="0" t="0" r="r" b="b"/>
            <a:pathLst>
              <a:path w="437" h="685">
                <a:moveTo>
                  <a:pt x="268" y="679"/>
                </a:moveTo>
                <a:lnTo>
                  <a:pt x="275" y="679"/>
                </a:lnTo>
                <a:lnTo>
                  <a:pt x="278" y="681"/>
                </a:lnTo>
                <a:lnTo>
                  <a:pt x="278" y="685"/>
                </a:lnTo>
                <a:lnTo>
                  <a:pt x="277" y="684"/>
                </a:lnTo>
                <a:lnTo>
                  <a:pt x="274" y="684"/>
                </a:lnTo>
                <a:lnTo>
                  <a:pt x="273" y="683"/>
                </a:lnTo>
                <a:lnTo>
                  <a:pt x="272" y="683"/>
                </a:lnTo>
                <a:lnTo>
                  <a:pt x="272" y="684"/>
                </a:lnTo>
                <a:lnTo>
                  <a:pt x="268" y="684"/>
                </a:lnTo>
                <a:lnTo>
                  <a:pt x="269" y="683"/>
                </a:lnTo>
                <a:lnTo>
                  <a:pt x="268" y="682"/>
                </a:lnTo>
                <a:lnTo>
                  <a:pt x="268" y="679"/>
                </a:lnTo>
                <a:close/>
                <a:moveTo>
                  <a:pt x="262" y="668"/>
                </a:moveTo>
                <a:lnTo>
                  <a:pt x="263" y="668"/>
                </a:lnTo>
                <a:lnTo>
                  <a:pt x="263" y="669"/>
                </a:lnTo>
                <a:lnTo>
                  <a:pt x="262" y="670"/>
                </a:lnTo>
                <a:lnTo>
                  <a:pt x="262" y="668"/>
                </a:lnTo>
                <a:close/>
                <a:moveTo>
                  <a:pt x="256" y="663"/>
                </a:moveTo>
                <a:lnTo>
                  <a:pt x="257" y="664"/>
                </a:lnTo>
                <a:lnTo>
                  <a:pt x="256" y="665"/>
                </a:lnTo>
                <a:lnTo>
                  <a:pt x="256" y="668"/>
                </a:lnTo>
                <a:lnTo>
                  <a:pt x="255" y="669"/>
                </a:lnTo>
                <a:lnTo>
                  <a:pt x="250" y="669"/>
                </a:lnTo>
                <a:lnTo>
                  <a:pt x="250" y="668"/>
                </a:lnTo>
                <a:lnTo>
                  <a:pt x="252" y="668"/>
                </a:lnTo>
                <a:lnTo>
                  <a:pt x="250" y="666"/>
                </a:lnTo>
                <a:lnTo>
                  <a:pt x="253" y="666"/>
                </a:lnTo>
                <a:lnTo>
                  <a:pt x="254" y="664"/>
                </a:lnTo>
                <a:lnTo>
                  <a:pt x="255" y="664"/>
                </a:lnTo>
                <a:lnTo>
                  <a:pt x="256" y="663"/>
                </a:lnTo>
                <a:close/>
                <a:moveTo>
                  <a:pt x="269" y="650"/>
                </a:moveTo>
                <a:lnTo>
                  <a:pt x="271" y="650"/>
                </a:lnTo>
                <a:lnTo>
                  <a:pt x="271" y="651"/>
                </a:lnTo>
                <a:lnTo>
                  <a:pt x="269" y="651"/>
                </a:lnTo>
                <a:lnTo>
                  <a:pt x="269" y="650"/>
                </a:lnTo>
                <a:close/>
                <a:moveTo>
                  <a:pt x="271" y="648"/>
                </a:moveTo>
                <a:lnTo>
                  <a:pt x="272" y="648"/>
                </a:lnTo>
                <a:lnTo>
                  <a:pt x="272" y="650"/>
                </a:lnTo>
                <a:lnTo>
                  <a:pt x="271" y="650"/>
                </a:lnTo>
                <a:lnTo>
                  <a:pt x="271" y="648"/>
                </a:lnTo>
                <a:close/>
                <a:moveTo>
                  <a:pt x="97" y="635"/>
                </a:moveTo>
                <a:lnTo>
                  <a:pt x="98" y="635"/>
                </a:lnTo>
                <a:lnTo>
                  <a:pt x="98" y="638"/>
                </a:lnTo>
                <a:lnTo>
                  <a:pt x="97" y="636"/>
                </a:lnTo>
                <a:lnTo>
                  <a:pt x="97" y="635"/>
                </a:lnTo>
                <a:close/>
                <a:moveTo>
                  <a:pt x="95" y="634"/>
                </a:moveTo>
                <a:lnTo>
                  <a:pt x="97" y="634"/>
                </a:lnTo>
                <a:lnTo>
                  <a:pt x="95" y="635"/>
                </a:lnTo>
                <a:lnTo>
                  <a:pt x="95" y="634"/>
                </a:lnTo>
                <a:close/>
                <a:moveTo>
                  <a:pt x="259" y="592"/>
                </a:moveTo>
                <a:lnTo>
                  <a:pt x="260" y="593"/>
                </a:lnTo>
                <a:lnTo>
                  <a:pt x="260" y="596"/>
                </a:lnTo>
                <a:lnTo>
                  <a:pt x="259" y="596"/>
                </a:lnTo>
                <a:lnTo>
                  <a:pt x="259" y="592"/>
                </a:lnTo>
                <a:close/>
                <a:moveTo>
                  <a:pt x="306" y="580"/>
                </a:moveTo>
                <a:lnTo>
                  <a:pt x="309" y="580"/>
                </a:lnTo>
                <a:lnTo>
                  <a:pt x="315" y="583"/>
                </a:lnTo>
                <a:lnTo>
                  <a:pt x="317" y="583"/>
                </a:lnTo>
                <a:lnTo>
                  <a:pt x="317" y="584"/>
                </a:lnTo>
                <a:lnTo>
                  <a:pt x="318" y="585"/>
                </a:lnTo>
                <a:lnTo>
                  <a:pt x="318" y="586"/>
                </a:lnTo>
                <a:lnTo>
                  <a:pt x="316" y="586"/>
                </a:lnTo>
                <a:lnTo>
                  <a:pt x="316" y="587"/>
                </a:lnTo>
                <a:lnTo>
                  <a:pt x="315" y="589"/>
                </a:lnTo>
                <a:lnTo>
                  <a:pt x="314" y="589"/>
                </a:lnTo>
                <a:lnTo>
                  <a:pt x="314" y="591"/>
                </a:lnTo>
                <a:lnTo>
                  <a:pt x="309" y="592"/>
                </a:lnTo>
                <a:lnTo>
                  <a:pt x="308" y="592"/>
                </a:lnTo>
                <a:lnTo>
                  <a:pt x="302" y="589"/>
                </a:lnTo>
                <a:lnTo>
                  <a:pt x="302" y="587"/>
                </a:lnTo>
                <a:lnTo>
                  <a:pt x="300" y="587"/>
                </a:lnTo>
                <a:lnTo>
                  <a:pt x="299" y="586"/>
                </a:lnTo>
                <a:lnTo>
                  <a:pt x="298" y="587"/>
                </a:lnTo>
                <a:lnTo>
                  <a:pt x="297" y="587"/>
                </a:lnTo>
                <a:lnTo>
                  <a:pt x="298" y="586"/>
                </a:lnTo>
                <a:lnTo>
                  <a:pt x="299" y="584"/>
                </a:lnTo>
                <a:lnTo>
                  <a:pt x="303" y="583"/>
                </a:lnTo>
                <a:lnTo>
                  <a:pt x="303" y="584"/>
                </a:lnTo>
                <a:lnTo>
                  <a:pt x="304" y="584"/>
                </a:lnTo>
                <a:lnTo>
                  <a:pt x="305" y="583"/>
                </a:lnTo>
                <a:lnTo>
                  <a:pt x="306" y="580"/>
                </a:lnTo>
                <a:close/>
                <a:moveTo>
                  <a:pt x="322" y="577"/>
                </a:moveTo>
                <a:lnTo>
                  <a:pt x="323" y="577"/>
                </a:lnTo>
                <a:lnTo>
                  <a:pt x="323" y="579"/>
                </a:lnTo>
                <a:lnTo>
                  <a:pt x="319" y="579"/>
                </a:lnTo>
                <a:lnTo>
                  <a:pt x="322" y="577"/>
                </a:lnTo>
                <a:close/>
                <a:moveTo>
                  <a:pt x="411" y="496"/>
                </a:moveTo>
                <a:lnTo>
                  <a:pt x="414" y="497"/>
                </a:lnTo>
                <a:lnTo>
                  <a:pt x="414" y="498"/>
                </a:lnTo>
                <a:lnTo>
                  <a:pt x="416" y="498"/>
                </a:lnTo>
                <a:lnTo>
                  <a:pt x="415" y="497"/>
                </a:lnTo>
                <a:lnTo>
                  <a:pt x="412" y="496"/>
                </a:lnTo>
                <a:lnTo>
                  <a:pt x="411" y="496"/>
                </a:lnTo>
                <a:close/>
                <a:moveTo>
                  <a:pt x="404" y="430"/>
                </a:moveTo>
                <a:lnTo>
                  <a:pt x="405" y="430"/>
                </a:lnTo>
                <a:lnTo>
                  <a:pt x="404" y="430"/>
                </a:lnTo>
                <a:close/>
                <a:moveTo>
                  <a:pt x="166" y="405"/>
                </a:moveTo>
                <a:lnTo>
                  <a:pt x="167" y="405"/>
                </a:lnTo>
                <a:lnTo>
                  <a:pt x="167" y="406"/>
                </a:lnTo>
                <a:lnTo>
                  <a:pt x="168" y="405"/>
                </a:lnTo>
                <a:lnTo>
                  <a:pt x="168" y="406"/>
                </a:lnTo>
                <a:lnTo>
                  <a:pt x="169" y="407"/>
                </a:lnTo>
                <a:lnTo>
                  <a:pt x="169" y="408"/>
                </a:lnTo>
                <a:lnTo>
                  <a:pt x="170" y="410"/>
                </a:lnTo>
                <a:lnTo>
                  <a:pt x="170" y="411"/>
                </a:lnTo>
                <a:lnTo>
                  <a:pt x="169" y="411"/>
                </a:lnTo>
                <a:lnTo>
                  <a:pt x="169" y="410"/>
                </a:lnTo>
                <a:lnTo>
                  <a:pt x="168" y="408"/>
                </a:lnTo>
                <a:lnTo>
                  <a:pt x="166" y="408"/>
                </a:lnTo>
                <a:lnTo>
                  <a:pt x="165" y="406"/>
                </a:lnTo>
                <a:lnTo>
                  <a:pt x="166" y="405"/>
                </a:lnTo>
                <a:close/>
                <a:moveTo>
                  <a:pt x="176" y="398"/>
                </a:moveTo>
                <a:lnTo>
                  <a:pt x="180" y="399"/>
                </a:lnTo>
                <a:lnTo>
                  <a:pt x="182" y="399"/>
                </a:lnTo>
                <a:lnTo>
                  <a:pt x="182" y="402"/>
                </a:lnTo>
                <a:lnTo>
                  <a:pt x="185" y="402"/>
                </a:lnTo>
                <a:lnTo>
                  <a:pt x="185" y="406"/>
                </a:lnTo>
                <a:lnTo>
                  <a:pt x="186" y="406"/>
                </a:lnTo>
                <a:lnTo>
                  <a:pt x="186" y="407"/>
                </a:lnTo>
                <a:lnTo>
                  <a:pt x="187" y="407"/>
                </a:lnTo>
                <a:lnTo>
                  <a:pt x="188" y="406"/>
                </a:lnTo>
                <a:lnTo>
                  <a:pt x="192" y="406"/>
                </a:lnTo>
                <a:lnTo>
                  <a:pt x="192" y="407"/>
                </a:lnTo>
                <a:lnTo>
                  <a:pt x="190" y="411"/>
                </a:lnTo>
                <a:lnTo>
                  <a:pt x="188" y="411"/>
                </a:lnTo>
                <a:lnTo>
                  <a:pt x="187" y="412"/>
                </a:lnTo>
                <a:lnTo>
                  <a:pt x="186" y="412"/>
                </a:lnTo>
                <a:lnTo>
                  <a:pt x="185" y="413"/>
                </a:lnTo>
                <a:lnTo>
                  <a:pt x="185" y="415"/>
                </a:lnTo>
                <a:lnTo>
                  <a:pt x="182" y="417"/>
                </a:lnTo>
                <a:lnTo>
                  <a:pt x="180" y="419"/>
                </a:lnTo>
                <a:lnTo>
                  <a:pt x="179" y="419"/>
                </a:lnTo>
                <a:lnTo>
                  <a:pt x="178" y="418"/>
                </a:lnTo>
                <a:lnTo>
                  <a:pt x="178" y="419"/>
                </a:lnTo>
                <a:lnTo>
                  <a:pt x="176" y="419"/>
                </a:lnTo>
                <a:lnTo>
                  <a:pt x="176" y="417"/>
                </a:lnTo>
                <a:lnTo>
                  <a:pt x="178" y="417"/>
                </a:lnTo>
                <a:lnTo>
                  <a:pt x="178" y="414"/>
                </a:lnTo>
                <a:lnTo>
                  <a:pt x="176" y="415"/>
                </a:lnTo>
                <a:lnTo>
                  <a:pt x="176" y="417"/>
                </a:lnTo>
                <a:lnTo>
                  <a:pt x="175" y="417"/>
                </a:lnTo>
                <a:lnTo>
                  <a:pt x="174" y="415"/>
                </a:lnTo>
                <a:lnTo>
                  <a:pt x="173" y="415"/>
                </a:lnTo>
                <a:lnTo>
                  <a:pt x="173" y="413"/>
                </a:lnTo>
                <a:lnTo>
                  <a:pt x="172" y="412"/>
                </a:lnTo>
                <a:lnTo>
                  <a:pt x="170" y="410"/>
                </a:lnTo>
                <a:lnTo>
                  <a:pt x="170" y="400"/>
                </a:lnTo>
                <a:lnTo>
                  <a:pt x="176" y="398"/>
                </a:lnTo>
                <a:close/>
                <a:moveTo>
                  <a:pt x="178" y="327"/>
                </a:moveTo>
                <a:lnTo>
                  <a:pt x="179" y="327"/>
                </a:lnTo>
                <a:lnTo>
                  <a:pt x="179" y="328"/>
                </a:lnTo>
                <a:lnTo>
                  <a:pt x="178" y="331"/>
                </a:lnTo>
                <a:lnTo>
                  <a:pt x="179" y="332"/>
                </a:lnTo>
                <a:lnTo>
                  <a:pt x="179" y="334"/>
                </a:lnTo>
                <a:lnTo>
                  <a:pt x="180" y="334"/>
                </a:lnTo>
                <a:lnTo>
                  <a:pt x="181" y="335"/>
                </a:lnTo>
                <a:lnTo>
                  <a:pt x="181" y="337"/>
                </a:lnTo>
                <a:lnTo>
                  <a:pt x="180" y="337"/>
                </a:lnTo>
                <a:lnTo>
                  <a:pt x="180" y="338"/>
                </a:lnTo>
                <a:lnTo>
                  <a:pt x="179" y="339"/>
                </a:lnTo>
                <a:lnTo>
                  <a:pt x="179" y="340"/>
                </a:lnTo>
                <a:lnTo>
                  <a:pt x="178" y="341"/>
                </a:lnTo>
                <a:lnTo>
                  <a:pt x="178" y="343"/>
                </a:lnTo>
                <a:lnTo>
                  <a:pt x="170" y="350"/>
                </a:lnTo>
                <a:lnTo>
                  <a:pt x="169" y="350"/>
                </a:lnTo>
                <a:lnTo>
                  <a:pt x="169" y="351"/>
                </a:lnTo>
                <a:lnTo>
                  <a:pt x="168" y="353"/>
                </a:lnTo>
                <a:lnTo>
                  <a:pt x="168" y="352"/>
                </a:lnTo>
                <a:lnTo>
                  <a:pt x="166" y="352"/>
                </a:lnTo>
                <a:lnTo>
                  <a:pt x="165" y="351"/>
                </a:lnTo>
                <a:lnTo>
                  <a:pt x="163" y="351"/>
                </a:lnTo>
                <a:lnTo>
                  <a:pt x="162" y="352"/>
                </a:lnTo>
                <a:lnTo>
                  <a:pt x="161" y="352"/>
                </a:lnTo>
                <a:lnTo>
                  <a:pt x="161" y="351"/>
                </a:lnTo>
                <a:lnTo>
                  <a:pt x="162" y="351"/>
                </a:lnTo>
                <a:lnTo>
                  <a:pt x="162" y="350"/>
                </a:lnTo>
                <a:lnTo>
                  <a:pt x="163" y="347"/>
                </a:lnTo>
                <a:lnTo>
                  <a:pt x="163" y="344"/>
                </a:lnTo>
                <a:lnTo>
                  <a:pt x="165" y="343"/>
                </a:lnTo>
                <a:lnTo>
                  <a:pt x="165" y="341"/>
                </a:lnTo>
                <a:lnTo>
                  <a:pt x="169" y="337"/>
                </a:lnTo>
                <a:lnTo>
                  <a:pt x="170" y="332"/>
                </a:lnTo>
                <a:lnTo>
                  <a:pt x="173" y="330"/>
                </a:lnTo>
                <a:lnTo>
                  <a:pt x="178" y="327"/>
                </a:lnTo>
                <a:close/>
                <a:moveTo>
                  <a:pt x="201" y="294"/>
                </a:moveTo>
                <a:lnTo>
                  <a:pt x="203" y="294"/>
                </a:lnTo>
                <a:lnTo>
                  <a:pt x="203" y="295"/>
                </a:lnTo>
                <a:lnTo>
                  <a:pt x="201" y="295"/>
                </a:lnTo>
                <a:lnTo>
                  <a:pt x="201" y="294"/>
                </a:lnTo>
                <a:close/>
                <a:moveTo>
                  <a:pt x="88" y="266"/>
                </a:moveTo>
                <a:lnTo>
                  <a:pt x="89" y="266"/>
                </a:lnTo>
                <a:lnTo>
                  <a:pt x="91" y="267"/>
                </a:lnTo>
                <a:lnTo>
                  <a:pt x="92" y="267"/>
                </a:lnTo>
                <a:lnTo>
                  <a:pt x="94" y="266"/>
                </a:lnTo>
                <a:lnTo>
                  <a:pt x="95" y="266"/>
                </a:lnTo>
                <a:lnTo>
                  <a:pt x="99" y="269"/>
                </a:lnTo>
                <a:lnTo>
                  <a:pt x="103" y="269"/>
                </a:lnTo>
                <a:lnTo>
                  <a:pt x="103" y="267"/>
                </a:lnTo>
                <a:lnTo>
                  <a:pt x="105" y="269"/>
                </a:lnTo>
                <a:lnTo>
                  <a:pt x="106" y="269"/>
                </a:lnTo>
                <a:lnTo>
                  <a:pt x="106" y="270"/>
                </a:lnTo>
                <a:lnTo>
                  <a:pt x="109" y="272"/>
                </a:lnTo>
                <a:lnTo>
                  <a:pt x="109" y="276"/>
                </a:lnTo>
                <a:lnTo>
                  <a:pt x="107" y="277"/>
                </a:lnTo>
                <a:lnTo>
                  <a:pt x="107" y="279"/>
                </a:lnTo>
                <a:lnTo>
                  <a:pt x="110" y="279"/>
                </a:lnTo>
                <a:lnTo>
                  <a:pt x="111" y="281"/>
                </a:lnTo>
                <a:lnTo>
                  <a:pt x="111" y="283"/>
                </a:lnTo>
                <a:lnTo>
                  <a:pt x="110" y="285"/>
                </a:lnTo>
                <a:lnTo>
                  <a:pt x="112" y="285"/>
                </a:lnTo>
                <a:lnTo>
                  <a:pt x="113" y="287"/>
                </a:lnTo>
                <a:lnTo>
                  <a:pt x="113" y="288"/>
                </a:lnTo>
                <a:lnTo>
                  <a:pt x="114" y="289"/>
                </a:lnTo>
                <a:lnTo>
                  <a:pt x="114" y="290"/>
                </a:lnTo>
                <a:lnTo>
                  <a:pt x="117" y="292"/>
                </a:lnTo>
                <a:lnTo>
                  <a:pt x="117" y="294"/>
                </a:lnTo>
                <a:lnTo>
                  <a:pt x="118" y="295"/>
                </a:lnTo>
                <a:lnTo>
                  <a:pt x="118" y="297"/>
                </a:lnTo>
                <a:lnTo>
                  <a:pt x="119" y="298"/>
                </a:lnTo>
                <a:lnTo>
                  <a:pt x="120" y="298"/>
                </a:lnTo>
                <a:lnTo>
                  <a:pt x="118" y="296"/>
                </a:lnTo>
                <a:lnTo>
                  <a:pt x="119" y="295"/>
                </a:lnTo>
                <a:lnTo>
                  <a:pt x="120" y="295"/>
                </a:lnTo>
                <a:lnTo>
                  <a:pt x="123" y="297"/>
                </a:lnTo>
                <a:lnTo>
                  <a:pt x="123" y="302"/>
                </a:lnTo>
                <a:lnTo>
                  <a:pt x="122" y="303"/>
                </a:lnTo>
                <a:lnTo>
                  <a:pt x="122" y="304"/>
                </a:lnTo>
                <a:lnTo>
                  <a:pt x="120" y="304"/>
                </a:lnTo>
                <a:lnTo>
                  <a:pt x="117" y="306"/>
                </a:lnTo>
                <a:lnTo>
                  <a:pt x="114" y="308"/>
                </a:lnTo>
                <a:lnTo>
                  <a:pt x="113" y="310"/>
                </a:lnTo>
                <a:lnTo>
                  <a:pt x="113" y="313"/>
                </a:lnTo>
                <a:lnTo>
                  <a:pt x="114" y="313"/>
                </a:lnTo>
                <a:lnTo>
                  <a:pt x="116" y="312"/>
                </a:lnTo>
                <a:lnTo>
                  <a:pt x="116" y="310"/>
                </a:lnTo>
                <a:lnTo>
                  <a:pt x="117" y="310"/>
                </a:lnTo>
                <a:lnTo>
                  <a:pt x="119" y="308"/>
                </a:lnTo>
                <a:lnTo>
                  <a:pt x="128" y="308"/>
                </a:lnTo>
                <a:lnTo>
                  <a:pt x="129" y="309"/>
                </a:lnTo>
                <a:lnTo>
                  <a:pt x="130" y="309"/>
                </a:lnTo>
                <a:lnTo>
                  <a:pt x="130" y="314"/>
                </a:lnTo>
                <a:lnTo>
                  <a:pt x="131" y="315"/>
                </a:lnTo>
                <a:lnTo>
                  <a:pt x="132" y="315"/>
                </a:lnTo>
                <a:lnTo>
                  <a:pt x="132" y="320"/>
                </a:lnTo>
                <a:lnTo>
                  <a:pt x="134" y="321"/>
                </a:lnTo>
                <a:lnTo>
                  <a:pt x="134" y="324"/>
                </a:lnTo>
                <a:lnTo>
                  <a:pt x="132" y="326"/>
                </a:lnTo>
                <a:lnTo>
                  <a:pt x="132" y="330"/>
                </a:lnTo>
                <a:lnTo>
                  <a:pt x="131" y="330"/>
                </a:lnTo>
                <a:lnTo>
                  <a:pt x="131" y="331"/>
                </a:lnTo>
                <a:lnTo>
                  <a:pt x="132" y="331"/>
                </a:lnTo>
                <a:lnTo>
                  <a:pt x="130" y="333"/>
                </a:lnTo>
                <a:lnTo>
                  <a:pt x="130" y="332"/>
                </a:lnTo>
                <a:lnTo>
                  <a:pt x="129" y="331"/>
                </a:lnTo>
                <a:lnTo>
                  <a:pt x="129" y="330"/>
                </a:lnTo>
                <a:lnTo>
                  <a:pt x="128" y="328"/>
                </a:lnTo>
                <a:lnTo>
                  <a:pt x="128" y="326"/>
                </a:lnTo>
                <a:lnTo>
                  <a:pt x="129" y="325"/>
                </a:lnTo>
                <a:lnTo>
                  <a:pt x="129" y="320"/>
                </a:lnTo>
                <a:lnTo>
                  <a:pt x="124" y="315"/>
                </a:lnTo>
                <a:lnTo>
                  <a:pt x="123" y="315"/>
                </a:lnTo>
                <a:lnTo>
                  <a:pt x="123" y="318"/>
                </a:lnTo>
                <a:lnTo>
                  <a:pt x="122" y="318"/>
                </a:lnTo>
                <a:lnTo>
                  <a:pt x="123" y="319"/>
                </a:lnTo>
                <a:lnTo>
                  <a:pt x="125" y="319"/>
                </a:lnTo>
                <a:lnTo>
                  <a:pt x="125" y="320"/>
                </a:lnTo>
                <a:lnTo>
                  <a:pt x="124" y="320"/>
                </a:lnTo>
                <a:lnTo>
                  <a:pt x="125" y="321"/>
                </a:lnTo>
                <a:lnTo>
                  <a:pt x="125" y="325"/>
                </a:lnTo>
                <a:lnTo>
                  <a:pt x="124" y="328"/>
                </a:lnTo>
                <a:lnTo>
                  <a:pt x="124" y="330"/>
                </a:lnTo>
                <a:lnTo>
                  <a:pt x="122" y="332"/>
                </a:lnTo>
                <a:lnTo>
                  <a:pt x="124" y="331"/>
                </a:lnTo>
                <a:lnTo>
                  <a:pt x="125" y="330"/>
                </a:lnTo>
                <a:lnTo>
                  <a:pt x="128" y="330"/>
                </a:lnTo>
                <a:lnTo>
                  <a:pt x="129" y="331"/>
                </a:lnTo>
                <a:lnTo>
                  <a:pt x="129" y="335"/>
                </a:lnTo>
                <a:lnTo>
                  <a:pt x="128" y="337"/>
                </a:lnTo>
                <a:lnTo>
                  <a:pt x="126" y="339"/>
                </a:lnTo>
                <a:lnTo>
                  <a:pt x="125" y="338"/>
                </a:lnTo>
                <a:lnTo>
                  <a:pt x="125" y="340"/>
                </a:lnTo>
                <a:lnTo>
                  <a:pt x="124" y="340"/>
                </a:lnTo>
                <a:lnTo>
                  <a:pt x="123" y="339"/>
                </a:lnTo>
                <a:lnTo>
                  <a:pt x="119" y="339"/>
                </a:lnTo>
                <a:lnTo>
                  <a:pt x="117" y="340"/>
                </a:lnTo>
                <a:lnTo>
                  <a:pt x="116" y="340"/>
                </a:lnTo>
                <a:lnTo>
                  <a:pt x="116" y="346"/>
                </a:lnTo>
                <a:lnTo>
                  <a:pt x="114" y="349"/>
                </a:lnTo>
                <a:lnTo>
                  <a:pt x="114" y="350"/>
                </a:lnTo>
                <a:lnTo>
                  <a:pt x="113" y="350"/>
                </a:lnTo>
                <a:lnTo>
                  <a:pt x="109" y="355"/>
                </a:lnTo>
                <a:lnTo>
                  <a:pt x="106" y="355"/>
                </a:lnTo>
                <a:lnTo>
                  <a:pt x="105" y="353"/>
                </a:lnTo>
                <a:lnTo>
                  <a:pt x="106" y="353"/>
                </a:lnTo>
                <a:lnTo>
                  <a:pt x="103" y="352"/>
                </a:lnTo>
                <a:lnTo>
                  <a:pt x="103" y="351"/>
                </a:lnTo>
                <a:lnTo>
                  <a:pt x="101" y="350"/>
                </a:lnTo>
                <a:lnTo>
                  <a:pt x="95" y="350"/>
                </a:lnTo>
                <a:lnTo>
                  <a:pt x="95" y="349"/>
                </a:lnTo>
                <a:lnTo>
                  <a:pt x="94" y="350"/>
                </a:lnTo>
                <a:lnTo>
                  <a:pt x="94" y="352"/>
                </a:lnTo>
                <a:lnTo>
                  <a:pt x="93" y="352"/>
                </a:lnTo>
                <a:lnTo>
                  <a:pt x="92" y="353"/>
                </a:lnTo>
                <a:lnTo>
                  <a:pt x="91" y="352"/>
                </a:lnTo>
                <a:lnTo>
                  <a:pt x="89" y="352"/>
                </a:lnTo>
                <a:lnTo>
                  <a:pt x="86" y="353"/>
                </a:lnTo>
                <a:lnTo>
                  <a:pt x="85" y="353"/>
                </a:lnTo>
                <a:lnTo>
                  <a:pt x="83" y="355"/>
                </a:lnTo>
                <a:lnTo>
                  <a:pt x="83" y="353"/>
                </a:lnTo>
                <a:lnTo>
                  <a:pt x="82" y="352"/>
                </a:lnTo>
                <a:lnTo>
                  <a:pt x="81" y="352"/>
                </a:lnTo>
                <a:lnTo>
                  <a:pt x="82" y="350"/>
                </a:lnTo>
                <a:lnTo>
                  <a:pt x="81" y="349"/>
                </a:lnTo>
                <a:lnTo>
                  <a:pt x="83" y="346"/>
                </a:lnTo>
                <a:lnTo>
                  <a:pt x="82" y="345"/>
                </a:lnTo>
                <a:lnTo>
                  <a:pt x="82" y="344"/>
                </a:lnTo>
                <a:lnTo>
                  <a:pt x="81" y="343"/>
                </a:lnTo>
                <a:lnTo>
                  <a:pt x="80" y="343"/>
                </a:lnTo>
                <a:lnTo>
                  <a:pt x="79" y="344"/>
                </a:lnTo>
                <a:lnTo>
                  <a:pt x="78" y="343"/>
                </a:lnTo>
                <a:lnTo>
                  <a:pt x="76" y="343"/>
                </a:lnTo>
                <a:lnTo>
                  <a:pt x="75" y="341"/>
                </a:lnTo>
                <a:lnTo>
                  <a:pt x="75" y="339"/>
                </a:lnTo>
                <a:lnTo>
                  <a:pt x="73" y="337"/>
                </a:lnTo>
                <a:lnTo>
                  <a:pt x="74" y="335"/>
                </a:lnTo>
                <a:lnTo>
                  <a:pt x="74" y="334"/>
                </a:lnTo>
                <a:lnTo>
                  <a:pt x="73" y="333"/>
                </a:lnTo>
                <a:lnTo>
                  <a:pt x="73" y="332"/>
                </a:lnTo>
                <a:lnTo>
                  <a:pt x="72" y="332"/>
                </a:lnTo>
                <a:lnTo>
                  <a:pt x="72" y="331"/>
                </a:lnTo>
                <a:lnTo>
                  <a:pt x="70" y="330"/>
                </a:lnTo>
                <a:lnTo>
                  <a:pt x="68" y="328"/>
                </a:lnTo>
                <a:lnTo>
                  <a:pt x="67" y="327"/>
                </a:lnTo>
                <a:lnTo>
                  <a:pt x="66" y="327"/>
                </a:lnTo>
                <a:lnTo>
                  <a:pt x="64" y="328"/>
                </a:lnTo>
                <a:lnTo>
                  <a:pt x="62" y="332"/>
                </a:lnTo>
                <a:lnTo>
                  <a:pt x="61" y="333"/>
                </a:lnTo>
                <a:lnTo>
                  <a:pt x="60" y="333"/>
                </a:lnTo>
                <a:lnTo>
                  <a:pt x="60" y="335"/>
                </a:lnTo>
                <a:lnTo>
                  <a:pt x="58" y="335"/>
                </a:lnTo>
                <a:lnTo>
                  <a:pt x="60" y="337"/>
                </a:lnTo>
                <a:lnTo>
                  <a:pt x="60" y="338"/>
                </a:lnTo>
                <a:lnTo>
                  <a:pt x="62" y="339"/>
                </a:lnTo>
                <a:lnTo>
                  <a:pt x="61" y="339"/>
                </a:lnTo>
                <a:lnTo>
                  <a:pt x="61" y="340"/>
                </a:lnTo>
                <a:lnTo>
                  <a:pt x="60" y="341"/>
                </a:lnTo>
                <a:lnTo>
                  <a:pt x="58" y="341"/>
                </a:lnTo>
                <a:lnTo>
                  <a:pt x="56" y="344"/>
                </a:lnTo>
                <a:lnTo>
                  <a:pt x="57" y="344"/>
                </a:lnTo>
                <a:lnTo>
                  <a:pt x="57" y="345"/>
                </a:lnTo>
                <a:lnTo>
                  <a:pt x="56" y="345"/>
                </a:lnTo>
                <a:lnTo>
                  <a:pt x="56" y="347"/>
                </a:lnTo>
                <a:lnTo>
                  <a:pt x="55" y="349"/>
                </a:lnTo>
                <a:lnTo>
                  <a:pt x="55" y="345"/>
                </a:lnTo>
                <a:lnTo>
                  <a:pt x="54" y="346"/>
                </a:lnTo>
                <a:lnTo>
                  <a:pt x="55" y="349"/>
                </a:lnTo>
                <a:lnTo>
                  <a:pt x="51" y="349"/>
                </a:lnTo>
                <a:lnTo>
                  <a:pt x="51" y="347"/>
                </a:lnTo>
                <a:lnTo>
                  <a:pt x="50" y="347"/>
                </a:lnTo>
                <a:lnTo>
                  <a:pt x="50" y="346"/>
                </a:lnTo>
                <a:lnTo>
                  <a:pt x="49" y="346"/>
                </a:lnTo>
                <a:lnTo>
                  <a:pt x="48" y="347"/>
                </a:lnTo>
                <a:lnTo>
                  <a:pt x="42" y="347"/>
                </a:lnTo>
                <a:lnTo>
                  <a:pt x="42" y="345"/>
                </a:lnTo>
                <a:lnTo>
                  <a:pt x="41" y="345"/>
                </a:lnTo>
                <a:lnTo>
                  <a:pt x="38" y="343"/>
                </a:lnTo>
                <a:lnTo>
                  <a:pt x="32" y="343"/>
                </a:lnTo>
                <a:lnTo>
                  <a:pt x="31" y="341"/>
                </a:lnTo>
                <a:lnTo>
                  <a:pt x="31" y="337"/>
                </a:lnTo>
                <a:lnTo>
                  <a:pt x="30" y="335"/>
                </a:lnTo>
                <a:lnTo>
                  <a:pt x="27" y="335"/>
                </a:lnTo>
                <a:lnTo>
                  <a:pt x="26" y="334"/>
                </a:lnTo>
                <a:lnTo>
                  <a:pt x="26" y="333"/>
                </a:lnTo>
                <a:lnTo>
                  <a:pt x="25" y="331"/>
                </a:lnTo>
                <a:lnTo>
                  <a:pt x="23" y="331"/>
                </a:lnTo>
                <a:lnTo>
                  <a:pt x="22" y="330"/>
                </a:lnTo>
                <a:lnTo>
                  <a:pt x="20" y="327"/>
                </a:lnTo>
                <a:lnTo>
                  <a:pt x="19" y="326"/>
                </a:lnTo>
                <a:lnTo>
                  <a:pt x="19" y="324"/>
                </a:lnTo>
                <a:lnTo>
                  <a:pt x="22" y="322"/>
                </a:lnTo>
                <a:lnTo>
                  <a:pt x="23" y="322"/>
                </a:lnTo>
                <a:lnTo>
                  <a:pt x="23" y="321"/>
                </a:lnTo>
                <a:lnTo>
                  <a:pt x="24" y="320"/>
                </a:lnTo>
                <a:lnTo>
                  <a:pt x="24" y="319"/>
                </a:lnTo>
                <a:lnTo>
                  <a:pt x="25" y="318"/>
                </a:lnTo>
                <a:lnTo>
                  <a:pt x="29" y="319"/>
                </a:lnTo>
                <a:lnTo>
                  <a:pt x="30" y="319"/>
                </a:lnTo>
                <a:lnTo>
                  <a:pt x="32" y="318"/>
                </a:lnTo>
                <a:lnTo>
                  <a:pt x="36" y="314"/>
                </a:lnTo>
                <a:lnTo>
                  <a:pt x="38" y="313"/>
                </a:lnTo>
                <a:lnTo>
                  <a:pt x="38" y="312"/>
                </a:lnTo>
                <a:lnTo>
                  <a:pt x="37" y="312"/>
                </a:lnTo>
                <a:lnTo>
                  <a:pt x="36" y="313"/>
                </a:lnTo>
                <a:lnTo>
                  <a:pt x="35" y="313"/>
                </a:lnTo>
                <a:lnTo>
                  <a:pt x="33" y="312"/>
                </a:lnTo>
                <a:lnTo>
                  <a:pt x="33" y="310"/>
                </a:lnTo>
                <a:lnTo>
                  <a:pt x="32" y="312"/>
                </a:lnTo>
                <a:lnTo>
                  <a:pt x="31" y="310"/>
                </a:lnTo>
                <a:lnTo>
                  <a:pt x="31" y="309"/>
                </a:lnTo>
                <a:lnTo>
                  <a:pt x="30" y="309"/>
                </a:lnTo>
                <a:lnTo>
                  <a:pt x="29" y="308"/>
                </a:lnTo>
                <a:lnTo>
                  <a:pt x="30" y="307"/>
                </a:lnTo>
                <a:lnTo>
                  <a:pt x="29" y="307"/>
                </a:lnTo>
                <a:lnTo>
                  <a:pt x="31" y="306"/>
                </a:lnTo>
                <a:lnTo>
                  <a:pt x="32" y="304"/>
                </a:lnTo>
                <a:lnTo>
                  <a:pt x="33" y="306"/>
                </a:lnTo>
                <a:lnTo>
                  <a:pt x="37" y="306"/>
                </a:lnTo>
                <a:lnTo>
                  <a:pt x="39" y="303"/>
                </a:lnTo>
                <a:lnTo>
                  <a:pt x="44" y="303"/>
                </a:lnTo>
                <a:lnTo>
                  <a:pt x="44" y="300"/>
                </a:lnTo>
                <a:lnTo>
                  <a:pt x="49" y="295"/>
                </a:lnTo>
                <a:lnTo>
                  <a:pt x="49" y="289"/>
                </a:lnTo>
                <a:lnTo>
                  <a:pt x="50" y="289"/>
                </a:lnTo>
                <a:lnTo>
                  <a:pt x="50" y="284"/>
                </a:lnTo>
                <a:lnTo>
                  <a:pt x="51" y="282"/>
                </a:lnTo>
                <a:lnTo>
                  <a:pt x="52" y="282"/>
                </a:lnTo>
                <a:lnTo>
                  <a:pt x="55" y="281"/>
                </a:lnTo>
                <a:lnTo>
                  <a:pt x="56" y="281"/>
                </a:lnTo>
                <a:lnTo>
                  <a:pt x="56" y="279"/>
                </a:lnTo>
                <a:lnTo>
                  <a:pt x="57" y="279"/>
                </a:lnTo>
                <a:lnTo>
                  <a:pt x="57" y="281"/>
                </a:lnTo>
                <a:lnTo>
                  <a:pt x="62" y="281"/>
                </a:lnTo>
                <a:lnTo>
                  <a:pt x="63" y="282"/>
                </a:lnTo>
                <a:lnTo>
                  <a:pt x="64" y="281"/>
                </a:lnTo>
                <a:lnTo>
                  <a:pt x="66" y="281"/>
                </a:lnTo>
                <a:lnTo>
                  <a:pt x="67" y="279"/>
                </a:lnTo>
                <a:lnTo>
                  <a:pt x="67" y="277"/>
                </a:lnTo>
                <a:lnTo>
                  <a:pt x="68" y="276"/>
                </a:lnTo>
                <a:lnTo>
                  <a:pt x="68" y="275"/>
                </a:lnTo>
                <a:lnTo>
                  <a:pt x="69" y="275"/>
                </a:lnTo>
                <a:lnTo>
                  <a:pt x="69" y="270"/>
                </a:lnTo>
                <a:lnTo>
                  <a:pt x="70" y="270"/>
                </a:lnTo>
                <a:lnTo>
                  <a:pt x="72" y="271"/>
                </a:lnTo>
                <a:lnTo>
                  <a:pt x="78" y="271"/>
                </a:lnTo>
                <a:lnTo>
                  <a:pt x="82" y="269"/>
                </a:lnTo>
                <a:lnTo>
                  <a:pt x="86" y="269"/>
                </a:lnTo>
                <a:lnTo>
                  <a:pt x="88" y="266"/>
                </a:lnTo>
                <a:close/>
                <a:moveTo>
                  <a:pt x="98" y="261"/>
                </a:moveTo>
                <a:lnTo>
                  <a:pt x="103" y="261"/>
                </a:lnTo>
                <a:lnTo>
                  <a:pt x="103" y="264"/>
                </a:lnTo>
                <a:lnTo>
                  <a:pt x="101" y="264"/>
                </a:lnTo>
                <a:lnTo>
                  <a:pt x="101" y="263"/>
                </a:lnTo>
                <a:lnTo>
                  <a:pt x="98" y="263"/>
                </a:lnTo>
                <a:lnTo>
                  <a:pt x="98" y="261"/>
                </a:lnTo>
                <a:close/>
                <a:moveTo>
                  <a:pt x="140" y="230"/>
                </a:moveTo>
                <a:lnTo>
                  <a:pt x="141" y="230"/>
                </a:lnTo>
                <a:lnTo>
                  <a:pt x="143" y="232"/>
                </a:lnTo>
                <a:lnTo>
                  <a:pt x="145" y="234"/>
                </a:lnTo>
                <a:lnTo>
                  <a:pt x="145" y="235"/>
                </a:lnTo>
                <a:lnTo>
                  <a:pt x="147" y="240"/>
                </a:lnTo>
                <a:lnTo>
                  <a:pt x="148" y="242"/>
                </a:lnTo>
                <a:lnTo>
                  <a:pt x="148" y="245"/>
                </a:lnTo>
                <a:lnTo>
                  <a:pt x="147" y="245"/>
                </a:lnTo>
                <a:lnTo>
                  <a:pt x="147" y="246"/>
                </a:lnTo>
                <a:lnTo>
                  <a:pt x="148" y="246"/>
                </a:lnTo>
                <a:lnTo>
                  <a:pt x="149" y="247"/>
                </a:lnTo>
                <a:lnTo>
                  <a:pt x="148" y="247"/>
                </a:lnTo>
                <a:lnTo>
                  <a:pt x="148" y="248"/>
                </a:lnTo>
                <a:lnTo>
                  <a:pt x="149" y="249"/>
                </a:lnTo>
                <a:lnTo>
                  <a:pt x="149" y="251"/>
                </a:lnTo>
                <a:lnTo>
                  <a:pt x="148" y="252"/>
                </a:lnTo>
                <a:lnTo>
                  <a:pt x="143" y="252"/>
                </a:lnTo>
                <a:lnTo>
                  <a:pt x="141" y="251"/>
                </a:lnTo>
                <a:lnTo>
                  <a:pt x="140" y="251"/>
                </a:lnTo>
                <a:lnTo>
                  <a:pt x="137" y="248"/>
                </a:lnTo>
                <a:lnTo>
                  <a:pt x="137" y="244"/>
                </a:lnTo>
                <a:lnTo>
                  <a:pt x="136" y="242"/>
                </a:lnTo>
                <a:lnTo>
                  <a:pt x="136" y="241"/>
                </a:lnTo>
                <a:lnTo>
                  <a:pt x="135" y="239"/>
                </a:lnTo>
                <a:lnTo>
                  <a:pt x="136" y="236"/>
                </a:lnTo>
                <a:lnTo>
                  <a:pt x="136" y="235"/>
                </a:lnTo>
                <a:lnTo>
                  <a:pt x="137" y="233"/>
                </a:lnTo>
                <a:lnTo>
                  <a:pt x="138" y="232"/>
                </a:lnTo>
                <a:lnTo>
                  <a:pt x="140" y="232"/>
                </a:lnTo>
                <a:lnTo>
                  <a:pt x="140" y="230"/>
                </a:lnTo>
                <a:close/>
                <a:moveTo>
                  <a:pt x="150" y="229"/>
                </a:moveTo>
                <a:lnTo>
                  <a:pt x="151" y="229"/>
                </a:lnTo>
                <a:lnTo>
                  <a:pt x="151" y="230"/>
                </a:lnTo>
                <a:lnTo>
                  <a:pt x="150" y="230"/>
                </a:lnTo>
                <a:lnTo>
                  <a:pt x="150" y="229"/>
                </a:lnTo>
                <a:close/>
                <a:moveTo>
                  <a:pt x="143" y="216"/>
                </a:moveTo>
                <a:lnTo>
                  <a:pt x="145" y="216"/>
                </a:lnTo>
                <a:lnTo>
                  <a:pt x="148" y="218"/>
                </a:lnTo>
                <a:lnTo>
                  <a:pt x="149" y="218"/>
                </a:lnTo>
                <a:lnTo>
                  <a:pt x="149" y="221"/>
                </a:lnTo>
                <a:lnTo>
                  <a:pt x="150" y="221"/>
                </a:lnTo>
                <a:lnTo>
                  <a:pt x="150" y="223"/>
                </a:lnTo>
                <a:lnTo>
                  <a:pt x="151" y="224"/>
                </a:lnTo>
                <a:lnTo>
                  <a:pt x="151" y="228"/>
                </a:lnTo>
                <a:lnTo>
                  <a:pt x="150" y="229"/>
                </a:lnTo>
                <a:lnTo>
                  <a:pt x="147" y="226"/>
                </a:lnTo>
                <a:lnTo>
                  <a:pt x="147" y="222"/>
                </a:lnTo>
                <a:lnTo>
                  <a:pt x="144" y="221"/>
                </a:lnTo>
                <a:lnTo>
                  <a:pt x="144" y="218"/>
                </a:lnTo>
                <a:lnTo>
                  <a:pt x="143" y="217"/>
                </a:lnTo>
                <a:lnTo>
                  <a:pt x="143" y="216"/>
                </a:lnTo>
                <a:close/>
                <a:moveTo>
                  <a:pt x="103" y="215"/>
                </a:moveTo>
                <a:lnTo>
                  <a:pt x="105" y="215"/>
                </a:lnTo>
                <a:lnTo>
                  <a:pt x="105" y="222"/>
                </a:lnTo>
                <a:lnTo>
                  <a:pt x="106" y="224"/>
                </a:lnTo>
                <a:lnTo>
                  <a:pt x="106" y="227"/>
                </a:lnTo>
                <a:lnTo>
                  <a:pt x="107" y="227"/>
                </a:lnTo>
                <a:lnTo>
                  <a:pt x="107" y="230"/>
                </a:lnTo>
                <a:lnTo>
                  <a:pt x="109" y="230"/>
                </a:lnTo>
                <a:lnTo>
                  <a:pt x="109" y="234"/>
                </a:lnTo>
                <a:lnTo>
                  <a:pt x="107" y="234"/>
                </a:lnTo>
                <a:lnTo>
                  <a:pt x="107" y="235"/>
                </a:lnTo>
                <a:lnTo>
                  <a:pt x="106" y="236"/>
                </a:lnTo>
                <a:lnTo>
                  <a:pt x="105" y="236"/>
                </a:lnTo>
                <a:lnTo>
                  <a:pt x="104" y="238"/>
                </a:lnTo>
                <a:lnTo>
                  <a:pt x="100" y="238"/>
                </a:lnTo>
                <a:lnTo>
                  <a:pt x="100" y="240"/>
                </a:lnTo>
                <a:lnTo>
                  <a:pt x="99" y="241"/>
                </a:lnTo>
                <a:lnTo>
                  <a:pt x="97" y="241"/>
                </a:lnTo>
                <a:lnTo>
                  <a:pt x="97" y="238"/>
                </a:lnTo>
                <a:lnTo>
                  <a:pt x="99" y="235"/>
                </a:lnTo>
                <a:lnTo>
                  <a:pt x="99" y="233"/>
                </a:lnTo>
                <a:lnTo>
                  <a:pt x="98" y="232"/>
                </a:lnTo>
                <a:lnTo>
                  <a:pt x="97" y="232"/>
                </a:lnTo>
                <a:lnTo>
                  <a:pt x="97" y="230"/>
                </a:lnTo>
                <a:lnTo>
                  <a:pt x="98" y="228"/>
                </a:lnTo>
                <a:lnTo>
                  <a:pt x="99" y="227"/>
                </a:lnTo>
                <a:lnTo>
                  <a:pt x="98" y="226"/>
                </a:lnTo>
                <a:lnTo>
                  <a:pt x="95" y="226"/>
                </a:lnTo>
                <a:lnTo>
                  <a:pt x="95" y="227"/>
                </a:lnTo>
                <a:lnTo>
                  <a:pt x="94" y="229"/>
                </a:lnTo>
                <a:lnTo>
                  <a:pt x="92" y="232"/>
                </a:lnTo>
                <a:lnTo>
                  <a:pt x="91" y="234"/>
                </a:lnTo>
                <a:lnTo>
                  <a:pt x="88" y="234"/>
                </a:lnTo>
                <a:lnTo>
                  <a:pt x="88" y="233"/>
                </a:lnTo>
                <a:lnTo>
                  <a:pt x="89" y="232"/>
                </a:lnTo>
                <a:lnTo>
                  <a:pt x="88" y="230"/>
                </a:lnTo>
                <a:lnTo>
                  <a:pt x="89" y="229"/>
                </a:lnTo>
                <a:lnTo>
                  <a:pt x="91" y="227"/>
                </a:lnTo>
                <a:lnTo>
                  <a:pt x="89" y="226"/>
                </a:lnTo>
                <a:lnTo>
                  <a:pt x="91" y="224"/>
                </a:lnTo>
                <a:lnTo>
                  <a:pt x="91" y="221"/>
                </a:lnTo>
                <a:lnTo>
                  <a:pt x="95" y="218"/>
                </a:lnTo>
                <a:lnTo>
                  <a:pt x="97" y="218"/>
                </a:lnTo>
                <a:lnTo>
                  <a:pt x="95" y="221"/>
                </a:lnTo>
                <a:lnTo>
                  <a:pt x="95" y="223"/>
                </a:lnTo>
                <a:lnTo>
                  <a:pt x="97" y="223"/>
                </a:lnTo>
                <a:lnTo>
                  <a:pt x="97" y="222"/>
                </a:lnTo>
                <a:lnTo>
                  <a:pt x="98" y="220"/>
                </a:lnTo>
                <a:lnTo>
                  <a:pt x="101" y="216"/>
                </a:lnTo>
                <a:lnTo>
                  <a:pt x="103" y="216"/>
                </a:lnTo>
                <a:lnTo>
                  <a:pt x="103" y="215"/>
                </a:lnTo>
                <a:close/>
                <a:moveTo>
                  <a:pt x="103" y="201"/>
                </a:moveTo>
                <a:lnTo>
                  <a:pt x="104" y="201"/>
                </a:lnTo>
                <a:lnTo>
                  <a:pt x="104" y="202"/>
                </a:lnTo>
                <a:lnTo>
                  <a:pt x="103" y="204"/>
                </a:lnTo>
                <a:lnTo>
                  <a:pt x="103" y="206"/>
                </a:lnTo>
                <a:lnTo>
                  <a:pt x="101" y="208"/>
                </a:lnTo>
                <a:lnTo>
                  <a:pt x="99" y="208"/>
                </a:lnTo>
                <a:lnTo>
                  <a:pt x="99" y="205"/>
                </a:lnTo>
                <a:lnTo>
                  <a:pt x="101" y="203"/>
                </a:lnTo>
                <a:lnTo>
                  <a:pt x="101" y="202"/>
                </a:lnTo>
                <a:lnTo>
                  <a:pt x="103" y="202"/>
                </a:lnTo>
                <a:lnTo>
                  <a:pt x="103" y="201"/>
                </a:lnTo>
                <a:close/>
                <a:moveTo>
                  <a:pt x="122" y="198"/>
                </a:moveTo>
                <a:lnTo>
                  <a:pt x="123" y="198"/>
                </a:lnTo>
                <a:lnTo>
                  <a:pt x="123" y="202"/>
                </a:lnTo>
                <a:lnTo>
                  <a:pt x="120" y="204"/>
                </a:lnTo>
                <a:lnTo>
                  <a:pt x="119" y="208"/>
                </a:lnTo>
                <a:lnTo>
                  <a:pt x="116" y="215"/>
                </a:lnTo>
                <a:lnTo>
                  <a:pt x="114" y="218"/>
                </a:lnTo>
                <a:lnTo>
                  <a:pt x="113" y="220"/>
                </a:lnTo>
                <a:lnTo>
                  <a:pt x="112" y="220"/>
                </a:lnTo>
                <a:lnTo>
                  <a:pt x="112" y="223"/>
                </a:lnTo>
                <a:lnTo>
                  <a:pt x="111" y="224"/>
                </a:lnTo>
                <a:lnTo>
                  <a:pt x="111" y="226"/>
                </a:lnTo>
                <a:lnTo>
                  <a:pt x="109" y="226"/>
                </a:lnTo>
                <a:lnTo>
                  <a:pt x="107" y="224"/>
                </a:lnTo>
                <a:lnTo>
                  <a:pt x="106" y="222"/>
                </a:lnTo>
                <a:lnTo>
                  <a:pt x="106" y="216"/>
                </a:lnTo>
                <a:lnTo>
                  <a:pt x="107" y="216"/>
                </a:lnTo>
                <a:lnTo>
                  <a:pt x="110" y="214"/>
                </a:lnTo>
                <a:lnTo>
                  <a:pt x="113" y="212"/>
                </a:lnTo>
                <a:lnTo>
                  <a:pt x="114" y="211"/>
                </a:lnTo>
                <a:lnTo>
                  <a:pt x="113" y="211"/>
                </a:lnTo>
                <a:lnTo>
                  <a:pt x="112" y="212"/>
                </a:lnTo>
                <a:lnTo>
                  <a:pt x="111" y="212"/>
                </a:lnTo>
                <a:lnTo>
                  <a:pt x="110" y="211"/>
                </a:lnTo>
                <a:lnTo>
                  <a:pt x="111" y="209"/>
                </a:lnTo>
                <a:lnTo>
                  <a:pt x="112" y="208"/>
                </a:lnTo>
                <a:lnTo>
                  <a:pt x="113" y="205"/>
                </a:lnTo>
                <a:lnTo>
                  <a:pt x="116" y="204"/>
                </a:lnTo>
                <a:lnTo>
                  <a:pt x="122" y="198"/>
                </a:lnTo>
                <a:close/>
                <a:moveTo>
                  <a:pt x="123" y="195"/>
                </a:moveTo>
                <a:lnTo>
                  <a:pt x="124" y="196"/>
                </a:lnTo>
                <a:lnTo>
                  <a:pt x="123" y="197"/>
                </a:lnTo>
                <a:lnTo>
                  <a:pt x="122" y="197"/>
                </a:lnTo>
                <a:lnTo>
                  <a:pt x="120" y="198"/>
                </a:lnTo>
                <a:lnTo>
                  <a:pt x="120" y="197"/>
                </a:lnTo>
                <a:lnTo>
                  <a:pt x="123" y="195"/>
                </a:lnTo>
                <a:close/>
                <a:moveTo>
                  <a:pt x="125" y="190"/>
                </a:moveTo>
                <a:lnTo>
                  <a:pt x="126" y="190"/>
                </a:lnTo>
                <a:lnTo>
                  <a:pt x="126" y="192"/>
                </a:lnTo>
                <a:lnTo>
                  <a:pt x="125" y="193"/>
                </a:lnTo>
                <a:lnTo>
                  <a:pt x="125" y="195"/>
                </a:lnTo>
                <a:lnTo>
                  <a:pt x="124" y="193"/>
                </a:lnTo>
                <a:lnTo>
                  <a:pt x="124" y="192"/>
                </a:lnTo>
                <a:lnTo>
                  <a:pt x="125" y="191"/>
                </a:lnTo>
                <a:lnTo>
                  <a:pt x="125" y="190"/>
                </a:lnTo>
                <a:close/>
                <a:moveTo>
                  <a:pt x="129" y="178"/>
                </a:moveTo>
                <a:lnTo>
                  <a:pt x="131" y="178"/>
                </a:lnTo>
                <a:lnTo>
                  <a:pt x="129" y="180"/>
                </a:lnTo>
                <a:lnTo>
                  <a:pt x="128" y="180"/>
                </a:lnTo>
                <a:lnTo>
                  <a:pt x="128" y="179"/>
                </a:lnTo>
                <a:lnTo>
                  <a:pt x="129" y="178"/>
                </a:lnTo>
                <a:close/>
                <a:moveTo>
                  <a:pt x="99" y="172"/>
                </a:moveTo>
                <a:lnTo>
                  <a:pt x="101" y="172"/>
                </a:lnTo>
                <a:lnTo>
                  <a:pt x="103" y="173"/>
                </a:lnTo>
                <a:lnTo>
                  <a:pt x="103" y="174"/>
                </a:lnTo>
                <a:lnTo>
                  <a:pt x="100" y="174"/>
                </a:lnTo>
                <a:lnTo>
                  <a:pt x="99" y="173"/>
                </a:lnTo>
                <a:lnTo>
                  <a:pt x="99" y="172"/>
                </a:lnTo>
                <a:close/>
                <a:moveTo>
                  <a:pt x="78" y="168"/>
                </a:moveTo>
                <a:lnTo>
                  <a:pt x="79" y="168"/>
                </a:lnTo>
                <a:lnTo>
                  <a:pt x="79" y="171"/>
                </a:lnTo>
                <a:lnTo>
                  <a:pt x="76" y="171"/>
                </a:lnTo>
                <a:lnTo>
                  <a:pt x="76" y="172"/>
                </a:lnTo>
                <a:lnTo>
                  <a:pt x="75" y="173"/>
                </a:lnTo>
                <a:lnTo>
                  <a:pt x="73" y="173"/>
                </a:lnTo>
                <a:lnTo>
                  <a:pt x="73" y="177"/>
                </a:lnTo>
                <a:lnTo>
                  <a:pt x="72" y="177"/>
                </a:lnTo>
                <a:lnTo>
                  <a:pt x="69" y="175"/>
                </a:lnTo>
                <a:lnTo>
                  <a:pt x="69" y="174"/>
                </a:lnTo>
                <a:lnTo>
                  <a:pt x="68" y="173"/>
                </a:lnTo>
                <a:lnTo>
                  <a:pt x="68" y="172"/>
                </a:lnTo>
                <a:lnTo>
                  <a:pt x="69" y="171"/>
                </a:lnTo>
                <a:lnTo>
                  <a:pt x="73" y="171"/>
                </a:lnTo>
                <a:lnTo>
                  <a:pt x="74" y="169"/>
                </a:lnTo>
                <a:lnTo>
                  <a:pt x="75" y="169"/>
                </a:lnTo>
                <a:lnTo>
                  <a:pt x="78" y="168"/>
                </a:lnTo>
                <a:close/>
                <a:moveTo>
                  <a:pt x="104" y="160"/>
                </a:moveTo>
                <a:lnTo>
                  <a:pt x="105" y="160"/>
                </a:lnTo>
                <a:lnTo>
                  <a:pt x="107" y="161"/>
                </a:lnTo>
                <a:lnTo>
                  <a:pt x="107" y="162"/>
                </a:lnTo>
                <a:lnTo>
                  <a:pt x="109" y="162"/>
                </a:lnTo>
                <a:lnTo>
                  <a:pt x="110" y="165"/>
                </a:lnTo>
                <a:lnTo>
                  <a:pt x="111" y="168"/>
                </a:lnTo>
                <a:lnTo>
                  <a:pt x="111" y="169"/>
                </a:lnTo>
                <a:lnTo>
                  <a:pt x="116" y="169"/>
                </a:lnTo>
                <a:lnTo>
                  <a:pt x="117" y="171"/>
                </a:lnTo>
                <a:lnTo>
                  <a:pt x="119" y="171"/>
                </a:lnTo>
                <a:lnTo>
                  <a:pt x="119" y="172"/>
                </a:lnTo>
                <a:lnTo>
                  <a:pt x="120" y="173"/>
                </a:lnTo>
                <a:lnTo>
                  <a:pt x="122" y="173"/>
                </a:lnTo>
                <a:lnTo>
                  <a:pt x="123" y="174"/>
                </a:lnTo>
                <a:lnTo>
                  <a:pt x="123" y="175"/>
                </a:lnTo>
                <a:lnTo>
                  <a:pt x="125" y="175"/>
                </a:lnTo>
                <a:lnTo>
                  <a:pt x="124" y="178"/>
                </a:lnTo>
                <a:lnTo>
                  <a:pt x="124" y="177"/>
                </a:lnTo>
                <a:lnTo>
                  <a:pt x="123" y="177"/>
                </a:lnTo>
                <a:lnTo>
                  <a:pt x="123" y="178"/>
                </a:lnTo>
                <a:lnTo>
                  <a:pt x="124" y="178"/>
                </a:lnTo>
                <a:lnTo>
                  <a:pt x="124" y="180"/>
                </a:lnTo>
                <a:lnTo>
                  <a:pt x="122" y="180"/>
                </a:lnTo>
                <a:lnTo>
                  <a:pt x="122" y="178"/>
                </a:lnTo>
                <a:lnTo>
                  <a:pt x="120" y="178"/>
                </a:lnTo>
                <a:lnTo>
                  <a:pt x="120" y="180"/>
                </a:lnTo>
                <a:lnTo>
                  <a:pt x="119" y="181"/>
                </a:lnTo>
                <a:lnTo>
                  <a:pt x="123" y="181"/>
                </a:lnTo>
                <a:lnTo>
                  <a:pt x="123" y="183"/>
                </a:lnTo>
                <a:lnTo>
                  <a:pt x="122" y="183"/>
                </a:lnTo>
                <a:lnTo>
                  <a:pt x="118" y="186"/>
                </a:lnTo>
                <a:lnTo>
                  <a:pt x="116" y="186"/>
                </a:lnTo>
                <a:lnTo>
                  <a:pt x="114" y="185"/>
                </a:lnTo>
                <a:lnTo>
                  <a:pt x="116" y="185"/>
                </a:lnTo>
                <a:lnTo>
                  <a:pt x="116" y="183"/>
                </a:lnTo>
                <a:lnTo>
                  <a:pt x="114" y="183"/>
                </a:lnTo>
                <a:lnTo>
                  <a:pt x="114" y="184"/>
                </a:lnTo>
                <a:lnTo>
                  <a:pt x="113" y="184"/>
                </a:lnTo>
                <a:lnTo>
                  <a:pt x="113" y="185"/>
                </a:lnTo>
                <a:lnTo>
                  <a:pt x="112" y="185"/>
                </a:lnTo>
                <a:lnTo>
                  <a:pt x="109" y="186"/>
                </a:lnTo>
                <a:lnTo>
                  <a:pt x="107" y="187"/>
                </a:lnTo>
                <a:lnTo>
                  <a:pt x="105" y="187"/>
                </a:lnTo>
                <a:lnTo>
                  <a:pt x="104" y="189"/>
                </a:lnTo>
                <a:lnTo>
                  <a:pt x="99" y="189"/>
                </a:lnTo>
                <a:lnTo>
                  <a:pt x="99" y="190"/>
                </a:lnTo>
                <a:lnTo>
                  <a:pt x="97" y="190"/>
                </a:lnTo>
                <a:lnTo>
                  <a:pt x="95" y="189"/>
                </a:lnTo>
                <a:lnTo>
                  <a:pt x="95" y="187"/>
                </a:lnTo>
                <a:lnTo>
                  <a:pt x="94" y="187"/>
                </a:lnTo>
                <a:lnTo>
                  <a:pt x="94" y="184"/>
                </a:lnTo>
                <a:lnTo>
                  <a:pt x="98" y="184"/>
                </a:lnTo>
                <a:lnTo>
                  <a:pt x="98" y="185"/>
                </a:lnTo>
                <a:lnTo>
                  <a:pt x="99" y="185"/>
                </a:lnTo>
                <a:lnTo>
                  <a:pt x="99" y="186"/>
                </a:lnTo>
                <a:lnTo>
                  <a:pt x="100" y="186"/>
                </a:lnTo>
                <a:lnTo>
                  <a:pt x="100" y="185"/>
                </a:lnTo>
                <a:lnTo>
                  <a:pt x="99" y="185"/>
                </a:lnTo>
                <a:lnTo>
                  <a:pt x="100" y="184"/>
                </a:lnTo>
                <a:lnTo>
                  <a:pt x="101" y="185"/>
                </a:lnTo>
                <a:lnTo>
                  <a:pt x="103" y="184"/>
                </a:lnTo>
                <a:lnTo>
                  <a:pt x="104" y="184"/>
                </a:lnTo>
                <a:lnTo>
                  <a:pt x="109" y="181"/>
                </a:lnTo>
                <a:lnTo>
                  <a:pt x="109" y="180"/>
                </a:lnTo>
                <a:lnTo>
                  <a:pt x="107" y="180"/>
                </a:lnTo>
                <a:lnTo>
                  <a:pt x="105" y="183"/>
                </a:lnTo>
                <a:lnTo>
                  <a:pt x="103" y="183"/>
                </a:lnTo>
                <a:lnTo>
                  <a:pt x="101" y="181"/>
                </a:lnTo>
                <a:lnTo>
                  <a:pt x="101" y="180"/>
                </a:lnTo>
                <a:lnTo>
                  <a:pt x="104" y="178"/>
                </a:lnTo>
                <a:lnTo>
                  <a:pt x="104" y="177"/>
                </a:lnTo>
                <a:lnTo>
                  <a:pt x="105" y="175"/>
                </a:lnTo>
                <a:lnTo>
                  <a:pt x="106" y="175"/>
                </a:lnTo>
                <a:lnTo>
                  <a:pt x="109" y="174"/>
                </a:lnTo>
                <a:lnTo>
                  <a:pt x="110" y="174"/>
                </a:lnTo>
                <a:lnTo>
                  <a:pt x="110" y="172"/>
                </a:lnTo>
                <a:lnTo>
                  <a:pt x="109" y="172"/>
                </a:lnTo>
                <a:lnTo>
                  <a:pt x="106" y="173"/>
                </a:lnTo>
                <a:lnTo>
                  <a:pt x="105" y="173"/>
                </a:lnTo>
                <a:lnTo>
                  <a:pt x="105" y="174"/>
                </a:lnTo>
                <a:lnTo>
                  <a:pt x="104" y="173"/>
                </a:lnTo>
                <a:lnTo>
                  <a:pt x="104" y="172"/>
                </a:lnTo>
                <a:lnTo>
                  <a:pt x="101" y="169"/>
                </a:lnTo>
                <a:lnTo>
                  <a:pt x="97" y="169"/>
                </a:lnTo>
                <a:lnTo>
                  <a:pt x="97" y="168"/>
                </a:lnTo>
                <a:lnTo>
                  <a:pt x="95" y="168"/>
                </a:lnTo>
                <a:lnTo>
                  <a:pt x="98" y="166"/>
                </a:lnTo>
                <a:lnTo>
                  <a:pt x="97" y="166"/>
                </a:lnTo>
                <a:lnTo>
                  <a:pt x="97" y="163"/>
                </a:lnTo>
                <a:lnTo>
                  <a:pt x="98" y="163"/>
                </a:lnTo>
                <a:lnTo>
                  <a:pt x="99" y="162"/>
                </a:lnTo>
                <a:lnTo>
                  <a:pt x="99" y="163"/>
                </a:lnTo>
                <a:lnTo>
                  <a:pt x="100" y="163"/>
                </a:lnTo>
                <a:lnTo>
                  <a:pt x="100" y="161"/>
                </a:lnTo>
                <a:lnTo>
                  <a:pt x="101" y="161"/>
                </a:lnTo>
                <a:lnTo>
                  <a:pt x="104" y="160"/>
                </a:lnTo>
                <a:close/>
                <a:moveTo>
                  <a:pt x="88" y="158"/>
                </a:moveTo>
                <a:lnTo>
                  <a:pt x="91" y="158"/>
                </a:lnTo>
                <a:lnTo>
                  <a:pt x="91" y="159"/>
                </a:lnTo>
                <a:lnTo>
                  <a:pt x="89" y="159"/>
                </a:lnTo>
                <a:lnTo>
                  <a:pt x="89" y="161"/>
                </a:lnTo>
                <a:lnTo>
                  <a:pt x="88" y="161"/>
                </a:lnTo>
                <a:lnTo>
                  <a:pt x="88" y="162"/>
                </a:lnTo>
                <a:lnTo>
                  <a:pt x="87" y="162"/>
                </a:lnTo>
                <a:lnTo>
                  <a:pt x="86" y="165"/>
                </a:lnTo>
                <a:lnTo>
                  <a:pt x="83" y="166"/>
                </a:lnTo>
                <a:lnTo>
                  <a:pt x="81" y="166"/>
                </a:lnTo>
                <a:lnTo>
                  <a:pt x="81" y="167"/>
                </a:lnTo>
                <a:lnTo>
                  <a:pt x="80" y="166"/>
                </a:lnTo>
                <a:lnTo>
                  <a:pt x="80" y="165"/>
                </a:lnTo>
                <a:lnTo>
                  <a:pt x="81" y="165"/>
                </a:lnTo>
                <a:lnTo>
                  <a:pt x="85" y="161"/>
                </a:lnTo>
                <a:lnTo>
                  <a:pt x="85" y="160"/>
                </a:lnTo>
                <a:lnTo>
                  <a:pt x="86" y="159"/>
                </a:lnTo>
                <a:lnTo>
                  <a:pt x="87" y="159"/>
                </a:lnTo>
                <a:lnTo>
                  <a:pt x="88" y="158"/>
                </a:lnTo>
                <a:close/>
                <a:moveTo>
                  <a:pt x="129" y="156"/>
                </a:moveTo>
                <a:lnTo>
                  <a:pt x="125" y="158"/>
                </a:lnTo>
                <a:lnTo>
                  <a:pt x="128" y="158"/>
                </a:lnTo>
                <a:lnTo>
                  <a:pt x="129" y="156"/>
                </a:lnTo>
                <a:close/>
                <a:moveTo>
                  <a:pt x="94" y="129"/>
                </a:moveTo>
                <a:lnTo>
                  <a:pt x="97" y="129"/>
                </a:lnTo>
                <a:lnTo>
                  <a:pt x="99" y="131"/>
                </a:lnTo>
                <a:lnTo>
                  <a:pt x="99" y="135"/>
                </a:lnTo>
                <a:lnTo>
                  <a:pt x="98" y="137"/>
                </a:lnTo>
                <a:lnTo>
                  <a:pt x="97" y="137"/>
                </a:lnTo>
                <a:lnTo>
                  <a:pt x="95" y="138"/>
                </a:lnTo>
                <a:lnTo>
                  <a:pt x="94" y="137"/>
                </a:lnTo>
                <a:lnTo>
                  <a:pt x="94" y="136"/>
                </a:lnTo>
                <a:lnTo>
                  <a:pt x="91" y="132"/>
                </a:lnTo>
                <a:lnTo>
                  <a:pt x="94" y="129"/>
                </a:lnTo>
                <a:close/>
                <a:moveTo>
                  <a:pt x="49" y="129"/>
                </a:moveTo>
                <a:lnTo>
                  <a:pt x="50" y="129"/>
                </a:lnTo>
                <a:lnTo>
                  <a:pt x="50" y="130"/>
                </a:lnTo>
                <a:lnTo>
                  <a:pt x="49" y="131"/>
                </a:lnTo>
                <a:lnTo>
                  <a:pt x="50" y="132"/>
                </a:lnTo>
                <a:lnTo>
                  <a:pt x="51" y="132"/>
                </a:lnTo>
                <a:lnTo>
                  <a:pt x="51" y="135"/>
                </a:lnTo>
                <a:lnTo>
                  <a:pt x="50" y="135"/>
                </a:lnTo>
                <a:lnTo>
                  <a:pt x="50" y="136"/>
                </a:lnTo>
                <a:lnTo>
                  <a:pt x="49" y="136"/>
                </a:lnTo>
                <a:lnTo>
                  <a:pt x="49" y="137"/>
                </a:lnTo>
                <a:lnTo>
                  <a:pt x="48" y="137"/>
                </a:lnTo>
                <a:lnTo>
                  <a:pt x="48" y="138"/>
                </a:lnTo>
                <a:lnTo>
                  <a:pt x="45" y="137"/>
                </a:lnTo>
                <a:lnTo>
                  <a:pt x="44" y="137"/>
                </a:lnTo>
                <a:lnTo>
                  <a:pt x="44" y="136"/>
                </a:lnTo>
                <a:lnTo>
                  <a:pt x="47" y="134"/>
                </a:lnTo>
                <a:lnTo>
                  <a:pt x="45" y="134"/>
                </a:lnTo>
                <a:lnTo>
                  <a:pt x="45" y="132"/>
                </a:lnTo>
                <a:lnTo>
                  <a:pt x="47" y="131"/>
                </a:lnTo>
                <a:lnTo>
                  <a:pt x="48" y="131"/>
                </a:lnTo>
                <a:lnTo>
                  <a:pt x="49" y="129"/>
                </a:lnTo>
                <a:close/>
                <a:moveTo>
                  <a:pt x="86" y="128"/>
                </a:moveTo>
                <a:lnTo>
                  <a:pt x="87" y="128"/>
                </a:lnTo>
                <a:lnTo>
                  <a:pt x="88" y="129"/>
                </a:lnTo>
                <a:lnTo>
                  <a:pt x="87" y="130"/>
                </a:lnTo>
                <a:lnTo>
                  <a:pt x="86" y="130"/>
                </a:lnTo>
                <a:lnTo>
                  <a:pt x="85" y="129"/>
                </a:lnTo>
                <a:lnTo>
                  <a:pt x="86" y="128"/>
                </a:lnTo>
                <a:close/>
                <a:moveTo>
                  <a:pt x="131" y="124"/>
                </a:moveTo>
                <a:lnTo>
                  <a:pt x="130" y="125"/>
                </a:lnTo>
                <a:lnTo>
                  <a:pt x="135" y="125"/>
                </a:lnTo>
                <a:lnTo>
                  <a:pt x="135" y="124"/>
                </a:lnTo>
                <a:lnTo>
                  <a:pt x="131" y="124"/>
                </a:lnTo>
                <a:close/>
                <a:moveTo>
                  <a:pt x="110" y="109"/>
                </a:moveTo>
                <a:lnTo>
                  <a:pt x="112" y="109"/>
                </a:lnTo>
                <a:lnTo>
                  <a:pt x="113" y="110"/>
                </a:lnTo>
                <a:lnTo>
                  <a:pt x="113" y="111"/>
                </a:lnTo>
                <a:lnTo>
                  <a:pt x="111" y="111"/>
                </a:lnTo>
                <a:lnTo>
                  <a:pt x="110" y="110"/>
                </a:lnTo>
                <a:lnTo>
                  <a:pt x="110" y="109"/>
                </a:lnTo>
                <a:close/>
                <a:moveTo>
                  <a:pt x="103" y="101"/>
                </a:moveTo>
                <a:lnTo>
                  <a:pt x="101" y="103"/>
                </a:lnTo>
                <a:lnTo>
                  <a:pt x="103" y="103"/>
                </a:lnTo>
                <a:lnTo>
                  <a:pt x="103" y="101"/>
                </a:lnTo>
                <a:close/>
                <a:moveTo>
                  <a:pt x="52" y="101"/>
                </a:moveTo>
                <a:lnTo>
                  <a:pt x="56" y="104"/>
                </a:lnTo>
                <a:lnTo>
                  <a:pt x="56" y="105"/>
                </a:lnTo>
                <a:lnTo>
                  <a:pt x="55" y="104"/>
                </a:lnTo>
                <a:lnTo>
                  <a:pt x="55" y="105"/>
                </a:lnTo>
                <a:lnTo>
                  <a:pt x="56" y="105"/>
                </a:lnTo>
                <a:lnTo>
                  <a:pt x="57" y="106"/>
                </a:lnTo>
                <a:lnTo>
                  <a:pt x="58" y="106"/>
                </a:lnTo>
                <a:lnTo>
                  <a:pt x="58" y="107"/>
                </a:lnTo>
                <a:lnTo>
                  <a:pt x="56" y="107"/>
                </a:lnTo>
                <a:lnTo>
                  <a:pt x="52" y="104"/>
                </a:lnTo>
                <a:lnTo>
                  <a:pt x="52" y="103"/>
                </a:lnTo>
                <a:lnTo>
                  <a:pt x="51" y="104"/>
                </a:lnTo>
                <a:lnTo>
                  <a:pt x="51" y="105"/>
                </a:lnTo>
                <a:lnTo>
                  <a:pt x="52" y="106"/>
                </a:lnTo>
                <a:lnTo>
                  <a:pt x="54" y="106"/>
                </a:lnTo>
                <a:lnTo>
                  <a:pt x="55" y="107"/>
                </a:lnTo>
                <a:lnTo>
                  <a:pt x="56" y="107"/>
                </a:lnTo>
                <a:lnTo>
                  <a:pt x="58" y="110"/>
                </a:lnTo>
                <a:lnTo>
                  <a:pt x="60" y="110"/>
                </a:lnTo>
                <a:lnTo>
                  <a:pt x="60" y="111"/>
                </a:lnTo>
                <a:lnTo>
                  <a:pt x="58" y="111"/>
                </a:lnTo>
                <a:lnTo>
                  <a:pt x="57" y="112"/>
                </a:lnTo>
                <a:lnTo>
                  <a:pt x="57" y="115"/>
                </a:lnTo>
                <a:lnTo>
                  <a:pt x="56" y="116"/>
                </a:lnTo>
                <a:lnTo>
                  <a:pt x="52" y="115"/>
                </a:lnTo>
                <a:lnTo>
                  <a:pt x="55" y="116"/>
                </a:lnTo>
                <a:lnTo>
                  <a:pt x="56" y="117"/>
                </a:lnTo>
                <a:lnTo>
                  <a:pt x="56" y="118"/>
                </a:lnTo>
                <a:lnTo>
                  <a:pt x="57" y="119"/>
                </a:lnTo>
                <a:lnTo>
                  <a:pt x="56" y="120"/>
                </a:lnTo>
                <a:lnTo>
                  <a:pt x="56" y="123"/>
                </a:lnTo>
                <a:lnTo>
                  <a:pt x="57" y="123"/>
                </a:lnTo>
                <a:lnTo>
                  <a:pt x="57" y="124"/>
                </a:lnTo>
                <a:lnTo>
                  <a:pt x="58" y="124"/>
                </a:lnTo>
                <a:lnTo>
                  <a:pt x="57" y="125"/>
                </a:lnTo>
                <a:lnTo>
                  <a:pt x="52" y="125"/>
                </a:lnTo>
                <a:lnTo>
                  <a:pt x="51" y="124"/>
                </a:lnTo>
                <a:lnTo>
                  <a:pt x="51" y="123"/>
                </a:lnTo>
                <a:lnTo>
                  <a:pt x="50" y="119"/>
                </a:lnTo>
                <a:lnTo>
                  <a:pt x="50" y="117"/>
                </a:lnTo>
                <a:lnTo>
                  <a:pt x="49" y="116"/>
                </a:lnTo>
                <a:lnTo>
                  <a:pt x="49" y="113"/>
                </a:lnTo>
                <a:lnTo>
                  <a:pt x="50" y="112"/>
                </a:lnTo>
                <a:lnTo>
                  <a:pt x="50" y="110"/>
                </a:lnTo>
                <a:lnTo>
                  <a:pt x="51" y="110"/>
                </a:lnTo>
                <a:lnTo>
                  <a:pt x="51" y="109"/>
                </a:lnTo>
                <a:lnTo>
                  <a:pt x="50" y="106"/>
                </a:lnTo>
                <a:lnTo>
                  <a:pt x="50" y="103"/>
                </a:lnTo>
                <a:lnTo>
                  <a:pt x="52" y="101"/>
                </a:lnTo>
                <a:close/>
                <a:moveTo>
                  <a:pt x="51" y="95"/>
                </a:moveTo>
                <a:lnTo>
                  <a:pt x="56" y="95"/>
                </a:lnTo>
                <a:lnTo>
                  <a:pt x="56" y="97"/>
                </a:lnTo>
                <a:lnTo>
                  <a:pt x="58" y="97"/>
                </a:lnTo>
                <a:lnTo>
                  <a:pt x="60" y="98"/>
                </a:lnTo>
                <a:lnTo>
                  <a:pt x="56" y="98"/>
                </a:lnTo>
                <a:lnTo>
                  <a:pt x="57" y="99"/>
                </a:lnTo>
                <a:lnTo>
                  <a:pt x="58" y="99"/>
                </a:lnTo>
                <a:lnTo>
                  <a:pt x="58" y="100"/>
                </a:lnTo>
                <a:lnTo>
                  <a:pt x="55" y="101"/>
                </a:lnTo>
                <a:lnTo>
                  <a:pt x="54" y="101"/>
                </a:lnTo>
                <a:lnTo>
                  <a:pt x="51" y="99"/>
                </a:lnTo>
                <a:lnTo>
                  <a:pt x="50" y="99"/>
                </a:lnTo>
                <a:lnTo>
                  <a:pt x="50" y="97"/>
                </a:lnTo>
                <a:lnTo>
                  <a:pt x="51" y="95"/>
                </a:lnTo>
                <a:close/>
                <a:moveTo>
                  <a:pt x="109" y="94"/>
                </a:moveTo>
                <a:lnTo>
                  <a:pt x="111" y="94"/>
                </a:lnTo>
                <a:lnTo>
                  <a:pt x="111" y="95"/>
                </a:lnTo>
                <a:lnTo>
                  <a:pt x="109" y="100"/>
                </a:lnTo>
                <a:lnTo>
                  <a:pt x="109" y="103"/>
                </a:lnTo>
                <a:lnTo>
                  <a:pt x="110" y="104"/>
                </a:lnTo>
                <a:lnTo>
                  <a:pt x="110" y="107"/>
                </a:lnTo>
                <a:lnTo>
                  <a:pt x="107" y="107"/>
                </a:lnTo>
                <a:lnTo>
                  <a:pt x="107" y="106"/>
                </a:lnTo>
                <a:lnTo>
                  <a:pt x="106" y="106"/>
                </a:lnTo>
                <a:lnTo>
                  <a:pt x="106" y="105"/>
                </a:lnTo>
                <a:lnTo>
                  <a:pt x="107" y="99"/>
                </a:lnTo>
                <a:lnTo>
                  <a:pt x="107" y="98"/>
                </a:lnTo>
                <a:lnTo>
                  <a:pt x="109" y="98"/>
                </a:lnTo>
                <a:lnTo>
                  <a:pt x="109" y="94"/>
                </a:lnTo>
                <a:close/>
                <a:moveTo>
                  <a:pt x="111" y="88"/>
                </a:moveTo>
                <a:lnTo>
                  <a:pt x="112" y="88"/>
                </a:lnTo>
                <a:lnTo>
                  <a:pt x="111" y="92"/>
                </a:lnTo>
                <a:lnTo>
                  <a:pt x="111" y="93"/>
                </a:lnTo>
                <a:lnTo>
                  <a:pt x="110" y="92"/>
                </a:lnTo>
                <a:lnTo>
                  <a:pt x="111" y="91"/>
                </a:lnTo>
                <a:lnTo>
                  <a:pt x="111" y="88"/>
                </a:lnTo>
                <a:close/>
                <a:moveTo>
                  <a:pt x="56" y="88"/>
                </a:moveTo>
                <a:lnTo>
                  <a:pt x="55" y="91"/>
                </a:lnTo>
                <a:lnTo>
                  <a:pt x="57" y="91"/>
                </a:lnTo>
                <a:lnTo>
                  <a:pt x="57" y="88"/>
                </a:lnTo>
                <a:lnTo>
                  <a:pt x="56" y="88"/>
                </a:lnTo>
                <a:close/>
                <a:moveTo>
                  <a:pt x="54" y="80"/>
                </a:moveTo>
                <a:lnTo>
                  <a:pt x="54" y="81"/>
                </a:lnTo>
                <a:lnTo>
                  <a:pt x="56" y="82"/>
                </a:lnTo>
                <a:lnTo>
                  <a:pt x="56" y="81"/>
                </a:lnTo>
                <a:lnTo>
                  <a:pt x="57" y="81"/>
                </a:lnTo>
                <a:lnTo>
                  <a:pt x="58" y="80"/>
                </a:lnTo>
                <a:lnTo>
                  <a:pt x="61" y="80"/>
                </a:lnTo>
                <a:lnTo>
                  <a:pt x="61" y="81"/>
                </a:lnTo>
                <a:lnTo>
                  <a:pt x="60" y="82"/>
                </a:lnTo>
                <a:lnTo>
                  <a:pt x="64" y="82"/>
                </a:lnTo>
                <a:lnTo>
                  <a:pt x="64" y="85"/>
                </a:lnTo>
                <a:lnTo>
                  <a:pt x="63" y="86"/>
                </a:lnTo>
                <a:lnTo>
                  <a:pt x="62" y="85"/>
                </a:lnTo>
                <a:lnTo>
                  <a:pt x="61" y="85"/>
                </a:lnTo>
                <a:lnTo>
                  <a:pt x="61" y="83"/>
                </a:lnTo>
                <a:lnTo>
                  <a:pt x="60" y="83"/>
                </a:lnTo>
                <a:lnTo>
                  <a:pt x="60" y="86"/>
                </a:lnTo>
                <a:lnTo>
                  <a:pt x="61" y="86"/>
                </a:lnTo>
                <a:lnTo>
                  <a:pt x="61" y="87"/>
                </a:lnTo>
                <a:lnTo>
                  <a:pt x="63" y="87"/>
                </a:lnTo>
                <a:lnTo>
                  <a:pt x="61" y="89"/>
                </a:lnTo>
                <a:lnTo>
                  <a:pt x="58" y="89"/>
                </a:lnTo>
                <a:lnTo>
                  <a:pt x="58" y="91"/>
                </a:lnTo>
                <a:lnTo>
                  <a:pt x="62" y="91"/>
                </a:lnTo>
                <a:lnTo>
                  <a:pt x="62" y="92"/>
                </a:lnTo>
                <a:lnTo>
                  <a:pt x="61" y="93"/>
                </a:lnTo>
                <a:lnTo>
                  <a:pt x="58" y="93"/>
                </a:lnTo>
                <a:lnTo>
                  <a:pt x="57" y="94"/>
                </a:lnTo>
                <a:lnTo>
                  <a:pt x="57" y="93"/>
                </a:lnTo>
                <a:lnTo>
                  <a:pt x="55" y="94"/>
                </a:lnTo>
                <a:lnTo>
                  <a:pt x="55" y="93"/>
                </a:lnTo>
                <a:lnTo>
                  <a:pt x="54" y="93"/>
                </a:lnTo>
                <a:lnTo>
                  <a:pt x="54" y="91"/>
                </a:lnTo>
                <a:lnTo>
                  <a:pt x="52" y="91"/>
                </a:lnTo>
                <a:lnTo>
                  <a:pt x="50" y="88"/>
                </a:lnTo>
                <a:lnTo>
                  <a:pt x="49" y="88"/>
                </a:lnTo>
                <a:lnTo>
                  <a:pt x="49" y="89"/>
                </a:lnTo>
                <a:lnTo>
                  <a:pt x="48" y="89"/>
                </a:lnTo>
                <a:lnTo>
                  <a:pt x="48" y="88"/>
                </a:lnTo>
                <a:lnTo>
                  <a:pt x="47" y="88"/>
                </a:lnTo>
                <a:lnTo>
                  <a:pt x="44" y="87"/>
                </a:lnTo>
                <a:lnTo>
                  <a:pt x="47" y="85"/>
                </a:lnTo>
                <a:lnTo>
                  <a:pt x="47" y="83"/>
                </a:lnTo>
                <a:lnTo>
                  <a:pt x="48" y="81"/>
                </a:lnTo>
                <a:lnTo>
                  <a:pt x="49" y="82"/>
                </a:lnTo>
                <a:lnTo>
                  <a:pt x="51" y="81"/>
                </a:lnTo>
                <a:lnTo>
                  <a:pt x="51" y="82"/>
                </a:lnTo>
                <a:lnTo>
                  <a:pt x="50" y="82"/>
                </a:lnTo>
                <a:lnTo>
                  <a:pt x="51" y="83"/>
                </a:lnTo>
                <a:lnTo>
                  <a:pt x="52" y="82"/>
                </a:lnTo>
                <a:lnTo>
                  <a:pt x="54" y="80"/>
                </a:lnTo>
                <a:close/>
                <a:moveTo>
                  <a:pt x="95" y="79"/>
                </a:moveTo>
                <a:lnTo>
                  <a:pt x="97" y="79"/>
                </a:lnTo>
                <a:lnTo>
                  <a:pt x="100" y="82"/>
                </a:lnTo>
                <a:lnTo>
                  <a:pt x="100" y="83"/>
                </a:lnTo>
                <a:lnTo>
                  <a:pt x="103" y="86"/>
                </a:lnTo>
                <a:lnTo>
                  <a:pt x="103" y="87"/>
                </a:lnTo>
                <a:lnTo>
                  <a:pt x="104" y="87"/>
                </a:lnTo>
                <a:lnTo>
                  <a:pt x="104" y="101"/>
                </a:lnTo>
                <a:lnTo>
                  <a:pt x="105" y="101"/>
                </a:lnTo>
                <a:lnTo>
                  <a:pt x="105" y="103"/>
                </a:lnTo>
                <a:lnTo>
                  <a:pt x="104" y="104"/>
                </a:lnTo>
                <a:lnTo>
                  <a:pt x="104" y="105"/>
                </a:lnTo>
                <a:lnTo>
                  <a:pt x="105" y="106"/>
                </a:lnTo>
                <a:lnTo>
                  <a:pt x="105" y="107"/>
                </a:lnTo>
                <a:lnTo>
                  <a:pt x="106" y="107"/>
                </a:lnTo>
                <a:lnTo>
                  <a:pt x="105" y="109"/>
                </a:lnTo>
                <a:lnTo>
                  <a:pt x="104" y="109"/>
                </a:lnTo>
                <a:lnTo>
                  <a:pt x="104" y="110"/>
                </a:lnTo>
                <a:lnTo>
                  <a:pt x="107" y="109"/>
                </a:lnTo>
                <a:lnTo>
                  <a:pt x="107" y="110"/>
                </a:lnTo>
                <a:lnTo>
                  <a:pt x="109" y="110"/>
                </a:lnTo>
                <a:lnTo>
                  <a:pt x="107" y="111"/>
                </a:lnTo>
                <a:lnTo>
                  <a:pt x="106" y="111"/>
                </a:lnTo>
                <a:lnTo>
                  <a:pt x="106" y="112"/>
                </a:lnTo>
                <a:lnTo>
                  <a:pt x="107" y="112"/>
                </a:lnTo>
                <a:lnTo>
                  <a:pt x="109" y="111"/>
                </a:lnTo>
                <a:lnTo>
                  <a:pt x="110" y="111"/>
                </a:lnTo>
                <a:lnTo>
                  <a:pt x="111" y="112"/>
                </a:lnTo>
                <a:lnTo>
                  <a:pt x="113" y="112"/>
                </a:lnTo>
                <a:lnTo>
                  <a:pt x="113" y="115"/>
                </a:lnTo>
                <a:lnTo>
                  <a:pt x="114" y="115"/>
                </a:lnTo>
                <a:lnTo>
                  <a:pt x="116" y="113"/>
                </a:lnTo>
                <a:lnTo>
                  <a:pt x="117" y="113"/>
                </a:lnTo>
                <a:lnTo>
                  <a:pt x="118" y="112"/>
                </a:lnTo>
                <a:lnTo>
                  <a:pt x="120" y="112"/>
                </a:lnTo>
                <a:lnTo>
                  <a:pt x="122" y="113"/>
                </a:lnTo>
                <a:lnTo>
                  <a:pt x="125" y="113"/>
                </a:lnTo>
                <a:lnTo>
                  <a:pt x="124" y="115"/>
                </a:lnTo>
                <a:lnTo>
                  <a:pt x="124" y="117"/>
                </a:lnTo>
                <a:lnTo>
                  <a:pt x="123" y="118"/>
                </a:lnTo>
                <a:lnTo>
                  <a:pt x="122" y="120"/>
                </a:lnTo>
                <a:lnTo>
                  <a:pt x="119" y="120"/>
                </a:lnTo>
                <a:lnTo>
                  <a:pt x="118" y="123"/>
                </a:lnTo>
                <a:lnTo>
                  <a:pt x="118" y="124"/>
                </a:lnTo>
                <a:lnTo>
                  <a:pt x="117" y="124"/>
                </a:lnTo>
                <a:lnTo>
                  <a:pt x="117" y="125"/>
                </a:lnTo>
                <a:lnTo>
                  <a:pt x="116" y="125"/>
                </a:lnTo>
                <a:lnTo>
                  <a:pt x="116" y="126"/>
                </a:lnTo>
                <a:lnTo>
                  <a:pt x="112" y="130"/>
                </a:lnTo>
                <a:lnTo>
                  <a:pt x="112" y="131"/>
                </a:lnTo>
                <a:lnTo>
                  <a:pt x="109" y="131"/>
                </a:lnTo>
                <a:lnTo>
                  <a:pt x="109" y="129"/>
                </a:lnTo>
                <a:lnTo>
                  <a:pt x="110" y="126"/>
                </a:lnTo>
                <a:lnTo>
                  <a:pt x="110" y="124"/>
                </a:lnTo>
                <a:lnTo>
                  <a:pt x="111" y="124"/>
                </a:lnTo>
                <a:lnTo>
                  <a:pt x="111" y="123"/>
                </a:lnTo>
                <a:lnTo>
                  <a:pt x="112" y="122"/>
                </a:lnTo>
                <a:lnTo>
                  <a:pt x="117" y="119"/>
                </a:lnTo>
                <a:lnTo>
                  <a:pt x="110" y="119"/>
                </a:lnTo>
                <a:lnTo>
                  <a:pt x="110" y="118"/>
                </a:lnTo>
                <a:lnTo>
                  <a:pt x="109" y="117"/>
                </a:lnTo>
                <a:lnTo>
                  <a:pt x="109" y="119"/>
                </a:lnTo>
                <a:lnTo>
                  <a:pt x="107" y="120"/>
                </a:lnTo>
                <a:lnTo>
                  <a:pt x="109" y="120"/>
                </a:lnTo>
                <a:lnTo>
                  <a:pt x="107" y="122"/>
                </a:lnTo>
                <a:lnTo>
                  <a:pt x="107" y="123"/>
                </a:lnTo>
                <a:lnTo>
                  <a:pt x="105" y="123"/>
                </a:lnTo>
                <a:lnTo>
                  <a:pt x="105" y="118"/>
                </a:lnTo>
                <a:lnTo>
                  <a:pt x="103" y="118"/>
                </a:lnTo>
                <a:lnTo>
                  <a:pt x="103" y="119"/>
                </a:lnTo>
                <a:lnTo>
                  <a:pt x="97" y="120"/>
                </a:lnTo>
                <a:lnTo>
                  <a:pt x="97" y="119"/>
                </a:lnTo>
                <a:lnTo>
                  <a:pt x="98" y="118"/>
                </a:lnTo>
                <a:lnTo>
                  <a:pt x="95" y="118"/>
                </a:lnTo>
                <a:lnTo>
                  <a:pt x="95" y="119"/>
                </a:lnTo>
                <a:lnTo>
                  <a:pt x="94" y="117"/>
                </a:lnTo>
                <a:lnTo>
                  <a:pt x="94" y="116"/>
                </a:lnTo>
                <a:lnTo>
                  <a:pt x="95" y="115"/>
                </a:lnTo>
                <a:lnTo>
                  <a:pt x="93" y="115"/>
                </a:lnTo>
                <a:lnTo>
                  <a:pt x="91" y="112"/>
                </a:lnTo>
                <a:lnTo>
                  <a:pt x="91" y="111"/>
                </a:lnTo>
                <a:lnTo>
                  <a:pt x="89" y="110"/>
                </a:lnTo>
                <a:lnTo>
                  <a:pt x="89" y="109"/>
                </a:lnTo>
                <a:lnTo>
                  <a:pt x="92" y="107"/>
                </a:lnTo>
                <a:lnTo>
                  <a:pt x="93" y="107"/>
                </a:lnTo>
                <a:lnTo>
                  <a:pt x="95" y="110"/>
                </a:lnTo>
                <a:lnTo>
                  <a:pt x="97" y="110"/>
                </a:lnTo>
                <a:lnTo>
                  <a:pt x="97" y="109"/>
                </a:lnTo>
                <a:lnTo>
                  <a:pt x="93" y="107"/>
                </a:lnTo>
                <a:lnTo>
                  <a:pt x="93" y="106"/>
                </a:lnTo>
                <a:lnTo>
                  <a:pt x="91" y="106"/>
                </a:lnTo>
                <a:lnTo>
                  <a:pt x="91" y="104"/>
                </a:lnTo>
                <a:lnTo>
                  <a:pt x="89" y="104"/>
                </a:lnTo>
                <a:lnTo>
                  <a:pt x="89" y="103"/>
                </a:lnTo>
                <a:lnTo>
                  <a:pt x="88" y="104"/>
                </a:lnTo>
                <a:lnTo>
                  <a:pt x="88" y="101"/>
                </a:lnTo>
                <a:lnTo>
                  <a:pt x="87" y="101"/>
                </a:lnTo>
                <a:lnTo>
                  <a:pt x="87" y="103"/>
                </a:lnTo>
                <a:lnTo>
                  <a:pt x="86" y="103"/>
                </a:lnTo>
                <a:lnTo>
                  <a:pt x="86" y="107"/>
                </a:lnTo>
                <a:lnTo>
                  <a:pt x="81" y="106"/>
                </a:lnTo>
                <a:lnTo>
                  <a:pt x="80" y="105"/>
                </a:lnTo>
                <a:lnTo>
                  <a:pt x="80" y="104"/>
                </a:lnTo>
                <a:lnTo>
                  <a:pt x="79" y="103"/>
                </a:lnTo>
                <a:lnTo>
                  <a:pt x="79" y="101"/>
                </a:lnTo>
                <a:lnTo>
                  <a:pt x="78" y="99"/>
                </a:lnTo>
                <a:lnTo>
                  <a:pt x="76" y="98"/>
                </a:lnTo>
                <a:lnTo>
                  <a:pt x="79" y="98"/>
                </a:lnTo>
                <a:lnTo>
                  <a:pt x="79" y="93"/>
                </a:lnTo>
                <a:lnTo>
                  <a:pt x="80" y="93"/>
                </a:lnTo>
                <a:lnTo>
                  <a:pt x="82" y="97"/>
                </a:lnTo>
                <a:lnTo>
                  <a:pt x="82" y="98"/>
                </a:lnTo>
                <a:lnTo>
                  <a:pt x="83" y="99"/>
                </a:lnTo>
                <a:lnTo>
                  <a:pt x="85" y="99"/>
                </a:lnTo>
                <a:lnTo>
                  <a:pt x="83" y="98"/>
                </a:lnTo>
                <a:lnTo>
                  <a:pt x="85" y="97"/>
                </a:lnTo>
                <a:lnTo>
                  <a:pt x="83" y="95"/>
                </a:lnTo>
                <a:lnTo>
                  <a:pt x="83" y="93"/>
                </a:lnTo>
                <a:lnTo>
                  <a:pt x="85" y="93"/>
                </a:lnTo>
                <a:lnTo>
                  <a:pt x="86" y="94"/>
                </a:lnTo>
                <a:lnTo>
                  <a:pt x="86" y="93"/>
                </a:lnTo>
                <a:lnTo>
                  <a:pt x="83" y="91"/>
                </a:lnTo>
                <a:lnTo>
                  <a:pt x="82" y="91"/>
                </a:lnTo>
                <a:lnTo>
                  <a:pt x="82" y="89"/>
                </a:lnTo>
                <a:lnTo>
                  <a:pt x="83" y="88"/>
                </a:lnTo>
                <a:lnTo>
                  <a:pt x="83" y="87"/>
                </a:lnTo>
                <a:lnTo>
                  <a:pt x="82" y="87"/>
                </a:lnTo>
                <a:lnTo>
                  <a:pt x="82" y="86"/>
                </a:lnTo>
                <a:lnTo>
                  <a:pt x="83" y="86"/>
                </a:lnTo>
                <a:lnTo>
                  <a:pt x="86" y="88"/>
                </a:lnTo>
                <a:lnTo>
                  <a:pt x="86" y="91"/>
                </a:lnTo>
                <a:lnTo>
                  <a:pt x="87" y="91"/>
                </a:lnTo>
                <a:lnTo>
                  <a:pt x="88" y="92"/>
                </a:lnTo>
                <a:lnTo>
                  <a:pt x="89" y="92"/>
                </a:lnTo>
                <a:lnTo>
                  <a:pt x="89" y="93"/>
                </a:lnTo>
                <a:lnTo>
                  <a:pt x="92" y="93"/>
                </a:lnTo>
                <a:lnTo>
                  <a:pt x="91" y="95"/>
                </a:lnTo>
                <a:lnTo>
                  <a:pt x="92" y="95"/>
                </a:lnTo>
                <a:lnTo>
                  <a:pt x="92" y="94"/>
                </a:lnTo>
                <a:lnTo>
                  <a:pt x="93" y="93"/>
                </a:lnTo>
                <a:lnTo>
                  <a:pt x="97" y="98"/>
                </a:lnTo>
                <a:lnTo>
                  <a:pt x="97" y="94"/>
                </a:lnTo>
                <a:lnTo>
                  <a:pt x="93" y="91"/>
                </a:lnTo>
                <a:lnTo>
                  <a:pt x="93" y="89"/>
                </a:lnTo>
                <a:lnTo>
                  <a:pt x="94" y="88"/>
                </a:lnTo>
                <a:lnTo>
                  <a:pt x="94" y="87"/>
                </a:lnTo>
                <a:lnTo>
                  <a:pt x="93" y="87"/>
                </a:lnTo>
                <a:lnTo>
                  <a:pt x="93" y="85"/>
                </a:lnTo>
                <a:lnTo>
                  <a:pt x="92" y="83"/>
                </a:lnTo>
                <a:lnTo>
                  <a:pt x="92" y="82"/>
                </a:lnTo>
                <a:lnTo>
                  <a:pt x="93" y="82"/>
                </a:lnTo>
                <a:lnTo>
                  <a:pt x="95" y="80"/>
                </a:lnTo>
                <a:lnTo>
                  <a:pt x="95" y="79"/>
                </a:lnTo>
                <a:close/>
                <a:moveTo>
                  <a:pt x="61" y="75"/>
                </a:moveTo>
                <a:lnTo>
                  <a:pt x="61" y="77"/>
                </a:lnTo>
                <a:lnTo>
                  <a:pt x="58" y="77"/>
                </a:lnTo>
                <a:lnTo>
                  <a:pt x="61" y="75"/>
                </a:lnTo>
                <a:close/>
                <a:moveTo>
                  <a:pt x="0" y="69"/>
                </a:moveTo>
                <a:lnTo>
                  <a:pt x="2" y="69"/>
                </a:lnTo>
                <a:lnTo>
                  <a:pt x="1" y="70"/>
                </a:lnTo>
                <a:lnTo>
                  <a:pt x="0" y="70"/>
                </a:lnTo>
                <a:lnTo>
                  <a:pt x="0" y="69"/>
                </a:lnTo>
                <a:close/>
                <a:moveTo>
                  <a:pt x="67" y="61"/>
                </a:moveTo>
                <a:lnTo>
                  <a:pt x="68" y="62"/>
                </a:lnTo>
                <a:lnTo>
                  <a:pt x="68" y="63"/>
                </a:lnTo>
                <a:lnTo>
                  <a:pt x="66" y="63"/>
                </a:lnTo>
                <a:lnTo>
                  <a:pt x="66" y="64"/>
                </a:lnTo>
                <a:lnTo>
                  <a:pt x="64" y="64"/>
                </a:lnTo>
                <a:lnTo>
                  <a:pt x="64" y="63"/>
                </a:lnTo>
                <a:lnTo>
                  <a:pt x="67" y="61"/>
                </a:lnTo>
                <a:close/>
                <a:moveTo>
                  <a:pt x="136" y="60"/>
                </a:moveTo>
                <a:lnTo>
                  <a:pt x="136" y="61"/>
                </a:lnTo>
                <a:lnTo>
                  <a:pt x="135" y="61"/>
                </a:lnTo>
                <a:lnTo>
                  <a:pt x="136" y="60"/>
                </a:lnTo>
                <a:close/>
                <a:moveTo>
                  <a:pt x="81" y="50"/>
                </a:moveTo>
                <a:lnTo>
                  <a:pt x="81" y="51"/>
                </a:lnTo>
                <a:lnTo>
                  <a:pt x="83" y="51"/>
                </a:lnTo>
                <a:lnTo>
                  <a:pt x="85" y="50"/>
                </a:lnTo>
                <a:lnTo>
                  <a:pt x="81" y="50"/>
                </a:lnTo>
                <a:close/>
                <a:moveTo>
                  <a:pt x="73" y="37"/>
                </a:moveTo>
                <a:lnTo>
                  <a:pt x="74" y="38"/>
                </a:lnTo>
                <a:lnTo>
                  <a:pt x="73" y="38"/>
                </a:lnTo>
                <a:lnTo>
                  <a:pt x="73" y="37"/>
                </a:lnTo>
                <a:close/>
                <a:moveTo>
                  <a:pt x="73" y="34"/>
                </a:moveTo>
                <a:lnTo>
                  <a:pt x="74" y="34"/>
                </a:lnTo>
                <a:lnTo>
                  <a:pt x="76" y="37"/>
                </a:lnTo>
                <a:lnTo>
                  <a:pt x="76" y="38"/>
                </a:lnTo>
                <a:lnTo>
                  <a:pt x="74" y="38"/>
                </a:lnTo>
                <a:lnTo>
                  <a:pt x="74" y="37"/>
                </a:lnTo>
                <a:lnTo>
                  <a:pt x="73" y="37"/>
                </a:lnTo>
                <a:lnTo>
                  <a:pt x="73" y="34"/>
                </a:lnTo>
                <a:close/>
                <a:moveTo>
                  <a:pt x="99" y="14"/>
                </a:moveTo>
                <a:lnTo>
                  <a:pt x="100" y="14"/>
                </a:lnTo>
                <a:lnTo>
                  <a:pt x="101" y="17"/>
                </a:lnTo>
                <a:lnTo>
                  <a:pt x="101" y="19"/>
                </a:lnTo>
                <a:lnTo>
                  <a:pt x="103" y="20"/>
                </a:lnTo>
                <a:lnTo>
                  <a:pt x="103" y="21"/>
                </a:lnTo>
                <a:lnTo>
                  <a:pt x="101" y="23"/>
                </a:lnTo>
                <a:lnTo>
                  <a:pt x="100" y="25"/>
                </a:lnTo>
                <a:lnTo>
                  <a:pt x="101" y="26"/>
                </a:lnTo>
                <a:lnTo>
                  <a:pt x="103" y="26"/>
                </a:lnTo>
                <a:lnTo>
                  <a:pt x="103" y="27"/>
                </a:lnTo>
                <a:lnTo>
                  <a:pt x="101" y="27"/>
                </a:lnTo>
                <a:lnTo>
                  <a:pt x="99" y="30"/>
                </a:lnTo>
                <a:lnTo>
                  <a:pt x="99" y="31"/>
                </a:lnTo>
                <a:lnTo>
                  <a:pt x="98" y="32"/>
                </a:lnTo>
                <a:lnTo>
                  <a:pt x="98" y="33"/>
                </a:lnTo>
                <a:lnTo>
                  <a:pt x="97" y="33"/>
                </a:lnTo>
                <a:lnTo>
                  <a:pt x="97" y="36"/>
                </a:lnTo>
                <a:lnTo>
                  <a:pt x="94" y="36"/>
                </a:lnTo>
                <a:lnTo>
                  <a:pt x="97" y="38"/>
                </a:lnTo>
                <a:lnTo>
                  <a:pt x="98" y="38"/>
                </a:lnTo>
                <a:lnTo>
                  <a:pt x="101" y="34"/>
                </a:lnTo>
                <a:lnTo>
                  <a:pt x="103" y="34"/>
                </a:lnTo>
                <a:lnTo>
                  <a:pt x="103" y="37"/>
                </a:lnTo>
                <a:lnTo>
                  <a:pt x="101" y="38"/>
                </a:lnTo>
                <a:lnTo>
                  <a:pt x="101" y="39"/>
                </a:lnTo>
                <a:lnTo>
                  <a:pt x="100" y="39"/>
                </a:lnTo>
                <a:lnTo>
                  <a:pt x="100" y="40"/>
                </a:lnTo>
                <a:lnTo>
                  <a:pt x="99" y="40"/>
                </a:lnTo>
                <a:lnTo>
                  <a:pt x="98" y="39"/>
                </a:lnTo>
                <a:lnTo>
                  <a:pt x="95" y="39"/>
                </a:lnTo>
                <a:lnTo>
                  <a:pt x="93" y="38"/>
                </a:lnTo>
                <a:lnTo>
                  <a:pt x="94" y="40"/>
                </a:lnTo>
                <a:lnTo>
                  <a:pt x="94" y="44"/>
                </a:lnTo>
                <a:lnTo>
                  <a:pt x="91" y="44"/>
                </a:lnTo>
                <a:lnTo>
                  <a:pt x="89" y="46"/>
                </a:lnTo>
                <a:lnTo>
                  <a:pt x="88" y="46"/>
                </a:lnTo>
                <a:lnTo>
                  <a:pt x="87" y="48"/>
                </a:lnTo>
                <a:lnTo>
                  <a:pt x="83" y="48"/>
                </a:lnTo>
                <a:lnTo>
                  <a:pt x="83" y="49"/>
                </a:lnTo>
                <a:lnTo>
                  <a:pt x="85" y="49"/>
                </a:lnTo>
                <a:lnTo>
                  <a:pt x="91" y="48"/>
                </a:lnTo>
                <a:lnTo>
                  <a:pt x="92" y="46"/>
                </a:lnTo>
                <a:lnTo>
                  <a:pt x="93" y="46"/>
                </a:lnTo>
                <a:lnTo>
                  <a:pt x="93" y="48"/>
                </a:lnTo>
                <a:lnTo>
                  <a:pt x="94" y="49"/>
                </a:lnTo>
                <a:lnTo>
                  <a:pt x="94" y="51"/>
                </a:lnTo>
                <a:lnTo>
                  <a:pt x="95" y="51"/>
                </a:lnTo>
                <a:lnTo>
                  <a:pt x="93" y="54"/>
                </a:lnTo>
                <a:lnTo>
                  <a:pt x="93" y="55"/>
                </a:lnTo>
                <a:lnTo>
                  <a:pt x="92" y="55"/>
                </a:lnTo>
                <a:lnTo>
                  <a:pt x="88" y="54"/>
                </a:lnTo>
                <a:lnTo>
                  <a:pt x="87" y="54"/>
                </a:lnTo>
                <a:lnTo>
                  <a:pt x="87" y="55"/>
                </a:lnTo>
                <a:lnTo>
                  <a:pt x="88" y="55"/>
                </a:lnTo>
                <a:lnTo>
                  <a:pt x="91" y="57"/>
                </a:lnTo>
                <a:lnTo>
                  <a:pt x="89" y="58"/>
                </a:lnTo>
                <a:lnTo>
                  <a:pt x="89" y="60"/>
                </a:lnTo>
                <a:lnTo>
                  <a:pt x="87" y="60"/>
                </a:lnTo>
                <a:lnTo>
                  <a:pt x="87" y="61"/>
                </a:lnTo>
                <a:lnTo>
                  <a:pt x="86" y="62"/>
                </a:lnTo>
                <a:lnTo>
                  <a:pt x="85" y="61"/>
                </a:lnTo>
                <a:lnTo>
                  <a:pt x="85" y="60"/>
                </a:lnTo>
                <a:lnTo>
                  <a:pt x="83" y="58"/>
                </a:lnTo>
                <a:lnTo>
                  <a:pt x="83" y="62"/>
                </a:lnTo>
                <a:lnTo>
                  <a:pt x="81" y="60"/>
                </a:lnTo>
                <a:lnTo>
                  <a:pt x="80" y="57"/>
                </a:lnTo>
                <a:lnTo>
                  <a:pt x="80" y="52"/>
                </a:lnTo>
                <a:lnTo>
                  <a:pt x="78" y="55"/>
                </a:lnTo>
                <a:lnTo>
                  <a:pt x="79" y="57"/>
                </a:lnTo>
                <a:lnTo>
                  <a:pt x="81" y="60"/>
                </a:lnTo>
                <a:lnTo>
                  <a:pt x="81" y="61"/>
                </a:lnTo>
                <a:lnTo>
                  <a:pt x="80" y="61"/>
                </a:lnTo>
                <a:lnTo>
                  <a:pt x="82" y="63"/>
                </a:lnTo>
                <a:lnTo>
                  <a:pt x="82" y="64"/>
                </a:lnTo>
                <a:lnTo>
                  <a:pt x="79" y="63"/>
                </a:lnTo>
                <a:lnTo>
                  <a:pt x="76" y="63"/>
                </a:lnTo>
                <a:lnTo>
                  <a:pt x="76" y="64"/>
                </a:lnTo>
                <a:lnTo>
                  <a:pt x="79" y="67"/>
                </a:lnTo>
                <a:lnTo>
                  <a:pt x="79" y="68"/>
                </a:lnTo>
                <a:lnTo>
                  <a:pt x="78" y="69"/>
                </a:lnTo>
                <a:lnTo>
                  <a:pt x="76" y="69"/>
                </a:lnTo>
                <a:lnTo>
                  <a:pt x="74" y="68"/>
                </a:lnTo>
                <a:lnTo>
                  <a:pt x="74" y="72"/>
                </a:lnTo>
                <a:lnTo>
                  <a:pt x="73" y="72"/>
                </a:lnTo>
                <a:lnTo>
                  <a:pt x="73" y="73"/>
                </a:lnTo>
                <a:lnTo>
                  <a:pt x="72" y="74"/>
                </a:lnTo>
                <a:lnTo>
                  <a:pt x="69" y="75"/>
                </a:lnTo>
                <a:lnTo>
                  <a:pt x="69" y="76"/>
                </a:lnTo>
                <a:lnTo>
                  <a:pt x="68" y="76"/>
                </a:lnTo>
                <a:lnTo>
                  <a:pt x="67" y="73"/>
                </a:lnTo>
                <a:lnTo>
                  <a:pt x="66" y="73"/>
                </a:lnTo>
                <a:lnTo>
                  <a:pt x="63" y="70"/>
                </a:lnTo>
                <a:lnTo>
                  <a:pt x="63" y="69"/>
                </a:lnTo>
                <a:lnTo>
                  <a:pt x="62" y="68"/>
                </a:lnTo>
                <a:lnTo>
                  <a:pt x="64" y="68"/>
                </a:lnTo>
                <a:lnTo>
                  <a:pt x="64" y="69"/>
                </a:lnTo>
                <a:lnTo>
                  <a:pt x="68" y="67"/>
                </a:lnTo>
                <a:lnTo>
                  <a:pt x="68" y="66"/>
                </a:lnTo>
                <a:lnTo>
                  <a:pt x="72" y="66"/>
                </a:lnTo>
                <a:lnTo>
                  <a:pt x="69" y="63"/>
                </a:lnTo>
                <a:lnTo>
                  <a:pt x="72" y="62"/>
                </a:lnTo>
                <a:lnTo>
                  <a:pt x="74" y="62"/>
                </a:lnTo>
                <a:lnTo>
                  <a:pt x="74" y="60"/>
                </a:lnTo>
                <a:lnTo>
                  <a:pt x="72" y="60"/>
                </a:lnTo>
                <a:lnTo>
                  <a:pt x="70" y="58"/>
                </a:lnTo>
                <a:lnTo>
                  <a:pt x="66" y="58"/>
                </a:lnTo>
                <a:lnTo>
                  <a:pt x="66" y="57"/>
                </a:lnTo>
                <a:lnTo>
                  <a:pt x="64" y="57"/>
                </a:lnTo>
                <a:lnTo>
                  <a:pt x="63" y="56"/>
                </a:lnTo>
                <a:lnTo>
                  <a:pt x="63" y="55"/>
                </a:lnTo>
                <a:lnTo>
                  <a:pt x="64" y="55"/>
                </a:lnTo>
                <a:lnTo>
                  <a:pt x="64" y="54"/>
                </a:lnTo>
                <a:lnTo>
                  <a:pt x="66" y="54"/>
                </a:lnTo>
                <a:lnTo>
                  <a:pt x="66" y="52"/>
                </a:lnTo>
                <a:lnTo>
                  <a:pt x="68" y="52"/>
                </a:lnTo>
                <a:lnTo>
                  <a:pt x="70" y="50"/>
                </a:lnTo>
                <a:lnTo>
                  <a:pt x="67" y="51"/>
                </a:lnTo>
                <a:lnTo>
                  <a:pt x="66" y="51"/>
                </a:lnTo>
                <a:lnTo>
                  <a:pt x="66" y="50"/>
                </a:lnTo>
                <a:lnTo>
                  <a:pt x="67" y="49"/>
                </a:lnTo>
                <a:lnTo>
                  <a:pt x="64" y="50"/>
                </a:lnTo>
                <a:lnTo>
                  <a:pt x="63" y="48"/>
                </a:lnTo>
                <a:lnTo>
                  <a:pt x="63" y="45"/>
                </a:lnTo>
                <a:lnTo>
                  <a:pt x="62" y="45"/>
                </a:lnTo>
                <a:lnTo>
                  <a:pt x="62" y="44"/>
                </a:lnTo>
                <a:lnTo>
                  <a:pt x="63" y="43"/>
                </a:lnTo>
                <a:lnTo>
                  <a:pt x="63" y="40"/>
                </a:lnTo>
                <a:lnTo>
                  <a:pt x="66" y="40"/>
                </a:lnTo>
                <a:lnTo>
                  <a:pt x="67" y="39"/>
                </a:lnTo>
                <a:lnTo>
                  <a:pt x="66" y="39"/>
                </a:lnTo>
                <a:lnTo>
                  <a:pt x="66" y="36"/>
                </a:lnTo>
                <a:lnTo>
                  <a:pt x="67" y="36"/>
                </a:lnTo>
                <a:lnTo>
                  <a:pt x="68" y="37"/>
                </a:lnTo>
                <a:lnTo>
                  <a:pt x="72" y="37"/>
                </a:lnTo>
                <a:lnTo>
                  <a:pt x="72" y="38"/>
                </a:lnTo>
                <a:lnTo>
                  <a:pt x="70" y="38"/>
                </a:lnTo>
                <a:lnTo>
                  <a:pt x="70" y="39"/>
                </a:lnTo>
                <a:lnTo>
                  <a:pt x="72" y="40"/>
                </a:lnTo>
                <a:lnTo>
                  <a:pt x="72" y="43"/>
                </a:lnTo>
                <a:lnTo>
                  <a:pt x="73" y="44"/>
                </a:lnTo>
                <a:lnTo>
                  <a:pt x="73" y="45"/>
                </a:lnTo>
                <a:lnTo>
                  <a:pt x="74" y="46"/>
                </a:lnTo>
                <a:lnTo>
                  <a:pt x="74" y="44"/>
                </a:lnTo>
                <a:lnTo>
                  <a:pt x="73" y="44"/>
                </a:lnTo>
                <a:lnTo>
                  <a:pt x="73" y="39"/>
                </a:lnTo>
                <a:lnTo>
                  <a:pt x="75" y="39"/>
                </a:lnTo>
                <a:lnTo>
                  <a:pt x="76" y="38"/>
                </a:lnTo>
                <a:lnTo>
                  <a:pt x="79" y="40"/>
                </a:lnTo>
                <a:lnTo>
                  <a:pt x="79" y="42"/>
                </a:lnTo>
                <a:lnTo>
                  <a:pt x="80" y="39"/>
                </a:lnTo>
                <a:lnTo>
                  <a:pt x="79" y="39"/>
                </a:lnTo>
                <a:lnTo>
                  <a:pt x="79" y="38"/>
                </a:lnTo>
                <a:lnTo>
                  <a:pt x="78" y="37"/>
                </a:lnTo>
                <a:lnTo>
                  <a:pt x="76" y="37"/>
                </a:lnTo>
                <a:lnTo>
                  <a:pt x="76" y="34"/>
                </a:lnTo>
                <a:lnTo>
                  <a:pt x="75" y="34"/>
                </a:lnTo>
                <a:lnTo>
                  <a:pt x="75" y="33"/>
                </a:lnTo>
                <a:lnTo>
                  <a:pt x="76" y="33"/>
                </a:lnTo>
                <a:lnTo>
                  <a:pt x="76" y="32"/>
                </a:lnTo>
                <a:lnTo>
                  <a:pt x="75" y="32"/>
                </a:lnTo>
                <a:lnTo>
                  <a:pt x="80" y="27"/>
                </a:lnTo>
                <a:lnTo>
                  <a:pt x="82" y="27"/>
                </a:lnTo>
                <a:lnTo>
                  <a:pt x="83" y="26"/>
                </a:lnTo>
                <a:lnTo>
                  <a:pt x="86" y="25"/>
                </a:lnTo>
                <a:lnTo>
                  <a:pt x="87" y="25"/>
                </a:lnTo>
                <a:lnTo>
                  <a:pt x="88" y="24"/>
                </a:lnTo>
                <a:lnTo>
                  <a:pt x="95" y="18"/>
                </a:lnTo>
                <a:lnTo>
                  <a:pt x="99" y="14"/>
                </a:lnTo>
                <a:close/>
                <a:moveTo>
                  <a:pt x="221" y="0"/>
                </a:moveTo>
                <a:lnTo>
                  <a:pt x="222" y="1"/>
                </a:lnTo>
                <a:lnTo>
                  <a:pt x="222" y="2"/>
                </a:lnTo>
                <a:lnTo>
                  <a:pt x="227" y="2"/>
                </a:lnTo>
                <a:lnTo>
                  <a:pt x="228" y="1"/>
                </a:lnTo>
                <a:lnTo>
                  <a:pt x="230" y="3"/>
                </a:lnTo>
                <a:lnTo>
                  <a:pt x="231" y="3"/>
                </a:lnTo>
                <a:lnTo>
                  <a:pt x="234" y="2"/>
                </a:lnTo>
                <a:lnTo>
                  <a:pt x="236" y="3"/>
                </a:lnTo>
                <a:lnTo>
                  <a:pt x="235" y="5"/>
                </a:lnTo>
                <a:lnTo>
                  <a:pt x="235" y="8"/>
                </a:lnTo>
                <a:lnTo>
                  <a:pt x="234" y="8"/>
                </a:lnTo>
                <a:lnTo>
                  <a:pt x="234" y="9"/>
                </a:lnTo>
                <a:lnTo>
                  <a:pt x="231" y="12"/>
                </a:lnTo>
                <a:lnTo>
                  <a:pt x="231" y="15"/>
                </a:lnTo>
                <a:lnTo>
                  <a:pt x="232" y="17"/>
                </a:lnTo>
                <a:lnTo>
                  <a:pt x="234" y="17"/>
                </a:lnTo>
                <a:lnTo>
                  <a:pt x="234" y="19"/>
                </a:lnTo>
                <a:lnTo>
                  <a:pt x="232" y="21"/>
                </a:lnTo>
                <a:lnTo>
                  <a:pt x="231" y="25"/>
                </a:lnTo>
                <a:lnTo>
                  <a:pt x="229" y="29"/>
                </a:lnTo>
                <a:lnTo>
                  <a:pt x="227" y="31"/>
                </a:lnTo>
                <a:lnTo>
                  <a:pt x="225" y="31"/>
                </a:lnTo>
                <a:lnTo>
                  <a:pt x="222" y="33"/>
                </a:lnTo>
                <a:lnTo>
                  <a:pt x="221" y="33"/>
                </a:lnTo>
                <a:lnTo>
                  <a:pt x="217" y="37"/>
                </a:lnTo>
                <a:lnTo>
                  <a:pt x="217" y="39"/>
                </a:lnTo>
                <a:lnTo>
                  <a:pt x="215" y="42"/>
                </a:lnTo>
                <a:lnTo>
                  <a:pt x="205" y="49"/>
                </a:lnTo>
                <a:lnTo>
                  <a:pt x="203" y="51"/>
                </a:lnTo>
                <a:lnTo>
                  <a:pt x="201" y="51"/>
                </a:lnTo>
                <a:lnTo>
                  <a:pt x="201" y="52"/>
                </a:lnTo>
                <a:lnTo>
                  <a:pt x="200" y="54"/>
                </a:lnTo>
                <a:lnTo>
                  <a:pt x="200" y="55"/>
                </a:lnTo>
                <a:lnTo>
                  <a:pt x="199" y="56"/>
                </a:lnTo>
                <a:lnTo>
                  <a:pt x="198" y="56"/>
                </a:lnTo>
                <a:lnTo>
                  <a:pt x="196" y="57"/>
                </a:lnTo>
                <a:lnTo>
                  <a:pt x="194" y="58"/>
                </a:lnTo>
                <a:lnTo>
                  <a:pt x="194" y="60"/>
                </a:lnTo>
                <a:lnTo>
                  <a:pt x="193" y="60"/>
                </a:lnTo>
                <a:lnTo>
                  <a:pt x="193" y="58"/>
                </a:lnTo>
                <a:lnTo>
                  <a:pt x="192" y="58"/>
                </a:lnTo>
                <a:lnTo>
                  <a:pt x="191" y="57"/>
                </a:lnTo>
                <a:lnTo>
                  <a:pt x="191" y="60"/>
                </a:lnTo>
                <a:lnTo>
                  <a:pt x="193" y="60"/>
                </a:lnTo>
                <a:lnTo>
                  <a:pt x="193" y="61"/>
                </a:lnTo>
                <a:lnTo>
                  <a:pt x="194" y="61"/>
                </a:lnTo>
                <a:lnTo>
                  <a:pt x="194" y="63"/>
                </a:lnTo>
                <a:lnTo>
                  <a:pt x="193" y="64"/>
                </a:lnTo>
                <a:lnTo>
                  <a:pt x="194" y="66"/>
                </a:lnTo>
                <a:lnTo>
                  <a:pt x="193" y="66"/>
                </a:lnTo>
                <a:lnTo>
                  <a:pt x="192" y="64"/>
                </a:lnTo>
                <a:lnTo>
                  <a:pt x="191" y="64"/>
                </a:lnTo>
                <a:lnTo>
                  <a:pt x="191" y="66"/>
                </a:lnTo>
                <a:lnTo>
                  <a:pt x="190" y="66"/>
                </a:lnTo>
                <a:lnTo>
                  <a:pt x="190" y="67"/>
                </a:lnTo>
                <a:lnTo>
                  <a:pt x="188" y="67"/>
                </a:lnTo>
                <a:lnTo>
                  <a:pt x="186" y="66"/>
                </a:lnTo>
                <a:lnTo>
                  <a:pt x="185" y="64"/>
                </a:lnTo>
                <a:lnTo>
                  <a:pt x="181" y="66"/>
                </a:lnTo>
                <a:lnTo>
                  <a:pt x="179" y="63"/>
                </a:lnTo>
                <a:lnTo>
                  <a:pt x="179" y="62"/>
                </a:lnTo>
                <a:lnTo>
                  <a:pt x="178" y="62"/>
                </a:lnTo>
                <a:lnTo>
                  <a:pt x="180" y="66"/>
                </a:lnTo>
                <a:lnTo>
                  <a:pt x="181" y="67"/>
                </a:lnTo>
                <a:lnTo>
                  <a:pt x="182" y="67"/>
                </a:lnTo>
                <a:lnTo>
                  <a:pt x="185" y="66"/>
                </a:lnTo>
                <a:lnTo>
                  <a:pt x="187" y="68"/>
                </a:lnTo>
                <a:lnTo>
                  <a:pt x="188" y="68"/>
                </a:lnTo>
                <a:lnTo>
                  <a:pt x="188" y="67"/>
                </a:lnTo>
                <a:lnTo>
                  <a:pt x="191" y="69"/>
                </a:lnTo>
                <a:lnTo>
                  <a:pt x="192" y="69"/>
                </a:lnTo>
                <a:lnTo>
                  <a:pt x="194" y="67"/>
                </a:lnTo>
                <a:lnTo>
                  <a:pt x="197" y="68"/>
                </a:lnTo>
                <a:lnTo>
                  <a:pt x="197" y="69"/>
                </a:lnTo>
                <a:lnTo>
                  <a:pt x="198" y="70"/>
                </a:lnTo>
                <a:lnTo>
                  <a:pt x="203" y="66"/>
                </a:lnTo>
                <a:lnTo>
                  <a:pt x="204" y="67"/>
                </a:lnTo>
                <a:lnTo>
                  <a:pt x="204" y="68"/>
                </a:lnTo>
                <a:lnTo>
                  <a:pt x="203" y="68"/>
                </a:lnTo>
                <a:lnTo>
                  <a:pt x="197" y="76"/>
                </a:lnTo>
                <a:lnTo>
                  <a:pt x="196" y="79"/>
                </a:lnTo>
                <a:lnTo>
                  <a:pt x="193" y="79"/>
                </a:lnTo>
                <a:lnTo>
                  <a:pt x="193" y="76"/>
                </a:lnTo>
                <a:lnTo>
                  <a:pt x="192" y="75"/>
                </a:lnTo>
                <a:lnTo>
                  <a:pt x="191" y="76"/>
                </a:lnTo>
                <a:lnTo>
                  <a:pt x="187" y="79"/>
                </a:lnTo>
                <a:lnTo>
                  <a:pt x="187" y="80"/>
                </a:lnTo>
                <a:lnTo>
                  <a:pt x="181" y="80"/>
                </a:lnTo>
                <a:lnTo>
                  <a:pt x="181" y="82"/>
                </a:lnTo>
                <a:lnTo>
                  <a:pt x="180" y="82"/>
                </a:lnTo>
                <a:lnTo>
                  <a:pt x="180" y="83"/>
                </a:lnTo>
                <a:lnTo>
                  <a:pt x="178" y="86"/>
                </a:lnTo>
                <a:lnTo>
                  <a:pt x="176" y="86"/>
                </a:lnTo>
                <a:lnTo>
                  <a:pt x="176" y="88"/>
                </a:lnTo>
                <a:lnTo>
                  <a:pt x="178" y="87"/>
                </a:lnTo>
                <a:lnTo>
                  <a:pt x="179" y="87"/>
                </a:lnTo>
                <a:lnTo>
                  <a:pt x="179" y="86"/>
                </a:lnTo>
                <a:lnTo>
                  <a:pt x="180" y="85"/>
                </a:lnTo>
                <a:lnTo>
                  <a:pt x="182" y="83"/>
                </a:lnTo>
                <a:lnTo>
                  <a:pt x="184" y="81"/>
                </a:lnTo>
                <a:lnTo>
                  <a:pt x="187" y="81"/>
                </a:lnTo>
                <a:lnTo>
                  <a:pt x="190" y="82"/>
                </a:lnTo>
                <a:lnTo>
                  <a:pt x="191" y="81"/>
                </a:lnTo>
                <a:lnTo>
                  <a:pt x="193" y="80"/>
                </a:lnTo>
                <a:lnTo>
                  <a:pt x="194" y="80"/>
                </a:lnTo>
                <a:lnTo>
                  <a:pt x="193" y="82"/>
                </a:lnTo>
                <a:lnTo>
                  <a:pt x="191" y="85"/>
                </a:lnTo>
                <a:lnTo>
                  <a:pt x="190" y="87"/>
                </a:lnTo>
                <a:lnTo>
                  <a:pt x="190" y="88"/>
                </a:lnTo>
                <a:lnTo>
                  <a:pt x="187" y="88"/>
                </a:lnTo>
                <a:lnTo>
                  <a:pt x="186" y="89"/>
                </a:lnTo>
                <a:lnTo>
                  <a:pt x="187" y="91"/>
                </a:lnTo>
                <a:lnTo>
                  <a:pt x="185" y="91"/>
                </a:lnTo>
                <a:lnTo>
                  <a:pt x="186" y="92"/>
                </a:lnTo>
                <a:lnTo>
                  <a:pt x="184" y="94"/>
                </a:lnTo>
                <a:lnTo>
                  <a:pt x="185" y="95"/>
                </a:lnTo>
                <a:lnTo>
                  <a:pt x="186" y="95"/>
                </a:lnTo>
                <a:lnTo>
                  <a:pt x="188" y="93"/>
                </a:lnTo>
                <a:lnTo>
                  <a:pt x="190" y="93"/>
                </a:lnTo>
                <a:lnTo>
                  <a:pt x="190" y="92"/>
                </a:lnTo>
                <a:lnTo>
                  <a:pt x="191" y="91"/>
                </a:lnTo>
                <a:lnTo>
                  <a:pt x="192" y="91"/>
                </a:lnTo>
                <a:lnTo>
                  <a:pt x="193" y="89"/>
                </a:lnTo>
                <a:lnTo>
                  <a:pt x="192" y="89"/>
                </a:lnTo>
                <a:lnTo>
                  <a:pt x="191" y="87"/>
                </a:lnTo>
                <a:lnTo>
                  <a:pt x="201" y="87"/>
                </a:lnTo>
                <a:lnTo>
                  <a:pt x="207" y="82"/>
                </a:lnTo>
                <a:lnTo>
                  <a:pt x="210" y="81"/>
                </a:lnTo>
                <a:lnTo>
                  <a:pt x="210" y="82"/>
                </a:lnTo>
                <a:lnTo>
                  <a:pt x="209" y="83"/>
                </a:lnTo>
                <a:lnTo>
                  <a:pt x="211" y="83"/>
                </a:lnTo>
                <a:lnTo>
                  <a:pt x="211" y="81"/>
                </a:lnTo>
                <a:lnTo>
                  <a:pt x="212" y="81"/>
                </a:lnTo>
                <a:lnTo>
                  <a:pt x="213" y="82"/>
                </a:lnTo>
                <a:lnTo>
                  <a:pt x="213" y="81"/>
                </a:lnTo>
                <a:lnTo>
                  <a:pt x="215" y="81"/>
                </a:lnTo>
                <a:lnTo>
                  <a:pt x="215" y="80"/>
                </a:lnTo>
                <a:lnTo>
                  <a:pt x="216" y="79"/>
                </a:lnTo>
                <a:lnTo>
                  <a:pt x="216" y="77"/>
                </a:lnTo>
                <a:lnTo>
                  <a:pt x="217" y="77"/>
                </a:lnTo>
                <a:lnTo>
                  <a:pt x="218" y="76"/>
                </a:lnTo>
                <a:lnTo>
                  <a:pt x="219" y="76"/>
                </a:lnTo>
                <a:lnTo>
                  <a:pt x="224" y="77"/>
                </a:lnTo>
                <a:lnTo>
                  <a:pt x="228" y="79"/>
                </a:lnTo>
                <a:lnTo>
                  <a:pt x="232" y="81"/>
                </a:lnTo>
                <a:lnTo>
                  <a:pt x="236" y="81"/>
                </a:lnTo>
                <a:lnTo>
                  <a:pt x="240" y="79"/>
                </a:lnTo>
                <a:lnTo>
                  <a:pt x="247" y="79"/>
                </a:lnTo>
                <a:lnTo>
                  <a:pt x="247" y="80"/>
                </a:lnTo>
                <a:lnTo>
                  <a:pt x="248" y="80"/>
                </a:lnTo>
                <a:lnTo>
                  <a:pt x="248" y="79"/>
                </a:lnTo>
                <a:lnTo>
                  <a:pt x="249" y="79"/>
                </a:lnTo>
                <a:lnTo>
                  <a:pt x="249" y="80"/>
                </a:lnTo>
                <a:lnTo>
                  <a:pt x="250" y="79"/>
                </a:lnTo>
                <a:lnTo>
                  <a:pt x="254" y="80"/>
                </a:lnTo>
                <a:lnTo>
                  <a:pt x="255" y="80"/>
                </a:lnTo>
                <a:lnTo>
                  <a:pt x="256" y="81"/>
                </a:lnTo>
                <a:lnTo>
                  <a:pt x="257" y="80"/>
                </a:lnTo>
                <a:lnTo>
                  <a:pt x="259" y="80"/>
                </a:lnTo>
                <a:lnTo>
                  <a:pt x="260" y="81"/>
                </a:lnTo>
                <a:lnTo>
                  <a:pt x="262" y="81"/>
                </a:lnTo>
                <a:lnTo>
                  <a:pt x="263" y="80"/>
                </a:lnTo>
                <a:lnTo>
                  <a:pt x="265" y="81"/>
                </a:lnTo>
                <a:lnTo>
                  <a:pt x="265" y="80"/>
                </a:lnTo>
                <a:lnTo>
                  <a:pt x="266" y="80"/>
                </a:lnTo>
                <a:lnTo>
                  <a:pt x="266" y="79"/>
                </a:lnTo>
                <a:lnTo>
                  <a:pt x="267" y="79"/>
                </a:lnTo>
                <a:lnTo>
                  <a:pt x="269" y="80"/>
                </a:lnTo>
                <a:lnTo>
                  <a:pt x="269" y="81"/>
                </a:lnTo>
                <a:lnTo>
                  <a:pt x="271" y="80"/>
                </a:lnTo>
                <a:lnTo>
                  <a:pt x="273" y="79"/>
                </a:lnTo>
                <a:lnTo>
                  <a:pt x="279" y="79"/>
                </a:lnTo>
                <a:lnTo>
                  <a:pt x="279" y="80"/>
                </a:lnTo>
                <a:lnTo>
                  <a:pt x="280" y="81"/>
                </a:lnTo>
                <a:lnTo>
                  <a:pt x="281" y="80"/>
                </a:lnTo>
                <a:lnTo>
                  <a:pt x="283" y="81"/>
                </a:lnTo>
                <a:lnTo>
                  <a:pt x="286" y="86"/>
                </a:lnTo>
                <a:lnTo>
                  <a:pt x="286" y="89"/>
                </a:lnTo>
                <a:lnTo>
                  <a:pt x="287" y="91"/>
                </a:lnTo>
                <a:lnTo>
                  <a:pt x="287" y="93"/>
                </a:lnTo>
                <a:lnTo>
                  <a:pt x="288" y="94"/>
                </a:lnTo>
                <a:lnTo>
                  <a:pt x="287" y="95"/>
                </a:lnTo>
                <a:lnTo>
                  <a:pt x="288" y="97"/>
                </a:lnTo>
                <a:lnTo>
                  <a:pt x="287" y="98"/>
                </a:lnTo>
                <a:lnTo>
                  <a:pt x="286" y="100"/>
                </a:lnTo>
                <a:lnTo>
                  <a:pt x="285" y="101"/>
                </a:lnTo>
                <a:lnTo>
                  <a:pt x="285" y="103"/>
                </a:lnTo>
                <a:lnTo>
                  <a:pt x="279" y="109"/>
                </a:lnTo>
                <a:lnTo>
                  <a:pt x="275" y="119"/>
                </a:lnTo>
                <a:lnTo>
                  <a:pt x="275" y="123"/>
                </a:lnTo>
                <a:lnTo>
                  <a:pt x="277" y="123"/>
                </a:lnTo>
                <a:lnTo>
                  <a:pt x="277" y="124"/>
                </a:lnTo>
                <a:lnTo>
                  <a:pt x="275" y="125"/>
                </a:lnTo>
                <a:lnTo>
                  <a:pt x="272" y="131"/>
                </a:lnTo>
                <a:lnTo>
                  <a:pt x="271" y="135"/>
                </a:lnTo>
                <a:lnTo>
                  <a:pt x="271" y="141"/>
                </a:lnTo>
                <a:lnTo>
                  <a:pt x="269" y="142"/>
                </a:lnTo>
                <a:lnTo>
                  <a:pt x="269" y="143"/>
                </a:lnTo>
                <a:lnTo>
                  <a:pt x="266" y="147"/>
                </a:lnTo>
                <a:lnTo>
                  <a:pt x="265" y="149"/>
                </a:lnTo>
                <a:lnTo>
                  <a:pt x="262" y="152"/>
                </a:lnTo>
                <a:lnTo>
                  <a:pt x="261" y="152"/>
                </a:lnTo>
                <a:lnTo>
                  <a:pt x="261" y="153"/>
                </a:lnTo>
                <a:lnTo>
                  <a:pt x="260" y="154"/>
                </a:lnTo>
                <a:lnTo>
                  <a:pt x="260" y="158"/>
                </a:lnTo>
                <a:lnTo>
                  <a:pt x="259" y="158"/>
                </a:lnTo>
                <a:lnTo>
                  <a:pt x="259" y="159"/>
                </a:lnTo>
                <a:lnTo>
                  <a:pt x="257" y="160"/>
                </a:lnTo>
                <a:lnTo>
                  <a:pt x="257" y="161"/>
                </a:lnTo>
                <a:lnTo>
                  <a:pt x="259" y="161"/>
                </a:lnTo>
                <a:lnTo>
                  <a:pt x="259" y="162"/>
                </a:lnTo>
                <a:lnTo>
                  <a:pt x="257" y="162"/>
                </a:lnTo>
                <a:lnTo>
                  <a:pt x="257" y="163"/>
                </a:lnTo>
                <a:lnTo>
                  <a:pt x="256" y="165"/>
                </a:lnTo>
                <a:lnTo>
                  <a:pt x="256" y="166"/>
                </a:lnTo>
                <a:lnTo>
                  <a:pt x="253" y="168"/>
                </a:lnTo>
                <a:lnTo>
                  <a:pt x="252" y="171"/>
                </a:lnTo>
                <a:lnTo>
                  <a:pt x="250" y="171"/>
                </a:lnTo>
                <a:lnTo>
                  <a:pt x="249" y="172"/>
                </a:lnTo>
                <a:lnTo>
                  <a:pt x="248" y="174"/>
                </a:lnTo>
                <a:lnTo>
                  <a:pt x="244" y="174"/>
                </a:lnTo>
                <a:lnTo>
                  <a:pt x="234" y="175"/>
                </a:lnTo>
                <a:lnTo>
                  <a:pt x="231" y="178"/>
                </a:lnTo>
                <a:lnTo>
                  <a:pt x="227" y="181"/>
                </a:lnTo>
                <a:lnTo>
                  <a:pt x="224" y="183"/>
                </a:lnTo>
                <a:lnTo>
                  <a:pt x="227" y="183"/>
                </a:lnTo>
                <a:lnTo>
                  <a:pt x="229" y="181"/>
                </a:lnTo>
                <a:lnTo>
                  <a:pt x="230" y="181"/>
                </a:lnTo>
                <a:lnTo>
                  <a:pt x="238" y="177"/>
                </a:lnTo>
                <a:lnTo>
                  <a:pt x="240" y="175"/>
                </a:lnTo>
                <a:lnTo>
                  <a:pt x="242" y="175"/>
                </a:lnTo>
                <a:lnTo>
                  <a:pt x="243" y="177"/>
                </a:lnTo>
                <a:lnTo>
                  <a:pt x="244" y="177"/>
                </a:lnTo>
                <a:lnTo>
                  <a:pt x="244" y="181"/>
                </a:lnTo>
                <a:lnTo>
                  <a:pt x="243" y="183"/>
                </a:lnTo>
                <a:lnTo>
                  <a:pt x="244" y="183"/>
                </a:lnTo>
                <a:lnTo>
                  <a:pt x="244" y="184"/>
                </a:lnTo>
                <a:lnTo>
                  <a:pt x="246" y="184"/>
                </a:lnTo>
                <a:lnTo>
                  <a:pt x="246" y="185"/>
                </a:lnTo>
                <a:lnTo>
                  <a:pt x="250" y="185"/>
                </a:lnTo>
                <a:lnTo>
                  <a:pt x="253" y="186"/>
                </a:lnTo>
                <a:lnTo>
                  <a:pt x="253" y="187"/>
                </a:lnTo>
                <a:lnTo>
                  <a:pt x="254" y="189"/>
                </a:lnTo>
                <a:lnTo>
                  <a:pt x="252" y="191"/>
                </a:lnTo>
                <a:lnTo>
                  <a:pt x="252" y="192"/>
                </a:lnTo>
                <a:lnTo>
                  <a:pt x="250" y="193"/>
                </a:lnTo>
                <a:lnTo>
                  <a:pt x="248" y="193"/>
                </a:lnTo>
                <a:lnTo>
                  <a:pt x="246" y="196"/>
                </a:lnTo>
                <a:lnTo>
                  <a:pt x="243" y="196"/>
                </a:lnTo>
                <a:lnTo>
                  <a:pt x="238" y="193"/>
                </a:lnTo>
                <a:lnTo>
                  <a:pt x="238" y="195"/>
                </a:lnTo>
                <a:lnTo>
                  <a:pt x="237" y="195"/>
                </a:lnTo>
                <a:lnTo>
                  <a:pt x="237" y="196"/>
                </a:lnTo>
                <a:lnTo>
                  <a:pt x="235" y="197"/>
                </a:lnTo>
                <a:lnTo>
                  <a:pt x="230" y="202"/>
                </a:lnTo>
                <a:lnTo>
                  <a:pt x="230" y="204"/>
                </a:lnTo>
                <a:lnTo>
                  <a:pt x="229" y="205"/>
                </a:lnTo>
                <a:lnTo>
                  <a:pt x="225" y="205"/>
                </a:lnTo>
                <a:lnTo>
                  <a:pt x="225" y="206"/>
                </a:lnTo>
                <a:lnTo>
                  <a:pt x="224" y="206"/>
                </a:lnTo>
                <a:lnTo>
                  <a:pt x="222" y="208"/>
                </a:lnTo>
                <a:lnTo>
                  <a:pt x="218" y="208"/>
                </a:lnTo>
                <a:lnTo>
                  <a:pt x="212" y="205"/>
                </a:lnTo>
                <a:lnTo>
                  <a:pt x="207" y="206"/>
                </a:lnTo>
                <a:lnTo>
                  <a:pt x="203" y="202"/>
                </a:lnTo>
                <a:lnTo>
                  <a:pt x="201" y="202"/>
                </a:lnTo>
                <a:lnTo>
                  <a:pt x="206" y="206"/>
                </a:lnTo>
                <a:lnTo>
                  <a:pt x="206" y="208"/>
                </a:lnTo>
                <a:lnTo>
                  <a:pt x="207" y="208"/>
                </a:lnTo>
                <a:lnTo>
                  <a:pt x="207" y="209"/>
                </a:lnTo>
                <a:lnTo>
                  <a:pt x="212" y="209"/>
                </a:lnTo>
                <a:lnTo>
                  <a:pt x="219" y="210"/>
                </a:lnTo>
                <a:lnTo>
                  <a:pt x="223" y="210"/>
                </a:lnTo>
                <a:lnTo>
                  <a:pt x="223" y="211"/>
                </a:lnTo>
                <a:lnTo>
                  <a:pt x="224" y="211"/>
                </a:lnTo>
                <a:lnTo>
                  <a:pt x="231" y="212"/>
                </a:lnTo>
                <a:lnTo>
                  <a:pt x="232" y="214"/>
                </a:lnTo>
                <a:lnTo>
                  <a:pt x="236" y="214"/>
                </a:lnTo>
                <a:lnTo>
                  <a:pt x="238" y="212"/>
                </a:lnTo>
                <a:lnTo>
                  <a:pt x="241" y="210"/>
                </a:lnTo>
                <a:lnTo>
                  <a:pt x="241" y="209"/>
                </a:lnTo>
                <a:lnTo>
                  <a:pt x="242" y="209"/>
                </a:lnTo>
                <a:lnTo>
                  <a:pt x="242" y="206"/>
                </a:lnTo>
                <a:lnTo>
                  <a:pt x="244" y="205"/>
                </a:lnTo>
                <a:lnTo>
                  <a:pt x="253" y="205"/>
                </a:lnTo>
                <a:lnTo>
                  <a:pt x="254" y="208"/>
                </a:lnTo>
                <a:lnTo>
                  <a:pt x="255" y="208"/>
                </a:lnTo>
                <a:lnTo>
                  <a:pt x="254" y="209"/>
                </a:lnTo>
                <a:lnTo>
                  <a:pt x="254" y="210"/>
                </a:lnTo>
                <a:lnTo>
                  <a:pt x="256" y="210"/>
                </a:lnTo>
                <a:lnTo>
                  <a:pt x="256" y="209"/>
                </a:lnTo>
                <a:lnTo>
                  <a:pt x="257" y="209"/>
                </a:lnTo>
                <a:lnTo>
                  <a:pt x="257" y="210"/>
                </a:lnTo>
                <a:lnTo>
                  <a:pt x="260" y="211"/>
                </a:lnTo>
                <a:lnTo>
                  <a:pt x="261" y="211"/>
                </a:lnTo>
                <a:lnTo>
                  <a:pt x="263" y="214"/>
                </a:lnTo>
                <a:lnTo>
                  <a:pt x="266" y="215"/>
                </a:lnTo>
                <a:lnTo>
                  <a:pt x="272" y="216"/>
                </a:lnTo>
                <a:lnTo>
                  <a:pt x="273" y="216"/>
                </a:lnTo>
                <a:lnTo>
                  <a:pt x="273" y="218"/>
                </a:lnTo>
                <a:lnTo>
                  <a:pt x="274" y="218"/>
                </a:lnTo>
                <a:lnTo>
                  <a:pt x="275" y="220"/>
                </a:lnTo>
                <a:lnTo>
                  <a:pt x="278" y="224"/>
                </a:lnTo>
                <a:lnTo>
                  <a:pt x="278" y="226"/>
                </a:lnTo>
                <a:lnTo>
                  <a:pt x="284" y="233"/>
                </a:lnTo>
                <a:lnTo>
                  <a:pt x="285" y="234"/>
                </a:lnTo>
                <a:lnTo>
                  <a:pt x="285" y="235"/>
                </a:lnTo>
                <a:lnTo>
                  <a:pt x="286" y="236"/>
                </a:lnTo>
                <a:lnTo>
                  <a:pt x="286" y="238"/>
                </a:lnTo>
                <a:lnTo>
                  <a:pt x="287" y="236"/>
                </a:lnTo>
                <a:lnTo>
                  <a:pt x="288" y="236"/>
                </a:lnTo>
                <a:lnTo>
                  <a:pt x="288" y="238"/>
                </a:lnTo>
                <a:lnTo>
                  <a:pt x="290" y="239"/>
                </a:lnTo>
                <a:lnTo>
                  <a:pt x="291" y="239"/>
                </a:lnTo>
                <a:lnTo>
                  <a:pt x="294" y="241"/>
                </a:lnTo>
                <a:lnTo>
                  <a:pt x="294" y="245"/>
                </a:lnTo>
                <a:lnTo>
                  <a:pt x="296" y="246"/>
                </a:lnTo>
                <a:lnTo>
                  <a:pt x="294" y="247"/>
                </a:lnTo>
                <a:lnTo>
                  <a:pt x="296" y="247"/>
                </a:lnTo>
                <a:lnTo>
                  <a:pt x="296" y="258"/>
                </a:lnTo>
                <a:lnTo>
                  <a:pt x="297" y="260"/>
                </a:lnTo>
                <a:lnTo>
                  <a:pt x="297" y="265"/>
                </a:lnTo>
                <a:lnTo>
                  <a:pt x="299" y="267"/>
                </a:lnTo>
                <a:lnTo>
                  <a:pt x="298" y="269"/>
                </a:lnTo>
                <a:lnTo>
                  <a:pt x="299" y="269"/>
                </a:lnTo>
                <a:lnTo>
                  <a:pt x="299" y="273"/>
                </a:lnTo>
                <a:lnTo>
                  <a:pt x="300" y="275"/>
                </a:lnTo>
                <a:lnTo>
                  <a:pt x="300" y="278"/>
                </a:lnTo>
                <a:lnTo>
                  <a:pt x="302" y="278"/>
                </a:lnTo>
                <a:lnTo>
                  <a:pt x="302" y="279"/>
                </a:lnTo>
                <a:lnTo>
                  <a:pt x="303" y="282"/>
                </a:lnTo>
                <a:lnTo>
                  <a:pt x="303" y="284"/>
                </a:lnTo>
                <a:lnTo>
                  <a:pt x="304" y="284"/>
                </a:lnTo>
                <a:lnTo>
                  <a:pt x="304" y="285"/>
                </a:lnTo>
                <a:lnTo>
                  <a:pt x="305" y="287"/>
                </a:lnTo>
                <a:lnTo>
                  <a:pt x="305" y="290"/>
                </a:lnTo>
                <a:lnTo>
                  <a:pt x="306" y="290"/>
                </a:lnTo>
                <a:lnTo>
                  <a:pt x="305" y="291"/>
                </a:lnTo>
                <a:lnTo>
                  <a:pt x="309" y="301"/>
                </a:lnTo>
                <a:lnTo>
                  <a:pt x="309" y="303"/>
                </a:lnTo>
                <a:lnTo>
                  <a:pt x="311" y="304"/>
                </a:lnTo>
                <a:lnTo>
                  <a:pt x="311" y="306"/>
                </a:lnTo>
                <a:lnTo>
                  <a:pt x="314" y="306"/>
                </a:lnTo>
                <a:lnTo>
                  <a:pt x="314" y="307"/>
                </a:lnTo>
                <a:lnTo>
                  <a:pt x="312" y="307"/>
                </a:lnTo>
                <a:lnTo>
                  <a:pt x="314" y="308"/>
                </a:lnTo>
                <a:lnTo>
                  <a:pt x="314" y="310"/>
                </a:lnTo>
                <a:lnTo>
                  <a:pt x="312" y="312"/>
                </a:lnTo>
                <a:lnTo>
                  <a:pt x="314" y="312"/>
                </a:lnTo>
                <a:lnTo>
                  <a:pt x="314" y="313"/>
                </a:lnTo>
                <a:lnTo>
                  <a:pt x="315" y="313"/>
                </a:lnTo>
                <a:lnTo>
                  <a:pt x="315" y="310"/>
                </a:lnTo>
                <a:lnTo>
                  <a:pt x="316" y="312"/>
                </a:lnTo>
                <a:lnTo>
                  <a:pt x="317" y="312"/>
                </a:lnTo>
                <a:lnTo>
                  <a:pt x="319" y="313"/>
                </a:lnTo>
                <a:lnTo>
                  <a:pt x="321" y="314"/>
                </a:lnTo>
                <a:lnTo>
                  <a:pt x="330" y="316"/>
                </a:lnTo>
                <a:lnTo>
                  <a:pt x="340" y="322"/>
                </a:lnTo>
                <a:lnTo>
                  <a:pt x="341" y="324"/>
                </a:lnTo>
                <a:lnTo>
                  <a:pt x="341" y="327"/>
                </a:lnTo>
                <a:lnTo>
                  <a:pt x="343" y="328"/>
                </a:lnTo>
                <a:lnTo>
                  <a:pt x="345" y="330"/>
                </a:lnTo>
                <a:lnTo>
                  <a:pt x="345" y="332"/>
                </a:lnTo>
                <a:lnTo>
                  <a:pt x="346" y="333"/>
                </a:lnTo>
                <a:lnTo>
                  <a:pt x="346" y="338"/>
                </a:lnTo>
                <a:lnTo>
                  <a:pt x="347" y="338"/>
                </a:lnTo>
                <a:lnTo>
                  <a:pt x="347" y="339"/>
                </a:lnTo>
                <a:lnTo>
                  <a:pt x="348" y="339"/>
                </a:lnTo>
                <a:lnTo>
                  <a:pt x="349" y="340"/>
                </a:lnTo>
                <a:lnTo>
                  <a:pt x="350" y="340"/>
                </a:lnTo>
                <a:lnTo>
                  <a:pt x="352" y="341"/>
                </a:lnTo>
                <a:lnTo>
                  <a:pt x="352" y="344"/>
                </a:lnTo>
                <a:lnTo>
                  <a:pt x="353" y="345"/>
                </a:lnTo>
                <a:lnTo>
                  <a:pt x="359" y="347"/>
                </a:lnTo>
                <a:lnTo>
                  <a:pt x="360" y="349"/>
                </a:lnTo>
                <a:lnTo>
                  <a:pt x="356" y="351"/>
                </a:lnTo>
                <a:lnTo>
                  <a:pt x="355" y="352"/>
                </a:lnTo>
                <a:lnTo>
                  <a:pt x="354" y="356"/>
                </a:lnTo>
                <a:lnTo>
                  <a:pt x="354" y="357"/>
                </a:lnTo>
                <a:lnTo>
                  <a:pt x="355" y="362"/>
                </a:lnTo>
                <a:lnTo>
                  <a:pt x="356" y="364"/>
                </a:lnTo>
                <a:lnTo>
                  <a:pt x="368" y="382"/>
                </a:lnTo>
                <a:lnTo>
                  <a:pt x="370" y="384"/>
                </a:lnTo>
                <a:lnTo>
                  <a:pt x="368" y="387"/>
                </a:lnTo>
                <a:lnTo>
                  <a:pt x="367" y="388"/>
                </a:lnTo>
                <a:lnTo>
                  <a:pt x="368" y="386"/>
                </a:lnTo>
                <a:lnTo>
                  <a:pt x="368" y="384"/>
                </a:lnTo>
                <a:lnTo>
                  <a:pt x="367" y="384"/>
                </a:lnTo>
                <a:lnTo>
                  <a:pt x="365" y="382"/>
                </a:lnTo>
                <a:lnTo>
                  <a:pt x="364" y="382"/>
                </a:lnTo>
                <a:lnTo>
                  <a:pt x="362" y="383"/>
                </a:lnTo>
                <a:lnTo>
                  <a:pt x="358" y="383"/>
                </a:lnTo>
                <a:lnTo>
                  <a:pt x="358" y="382"/>
                </a:lnTo>
                <a:lnTo>
                  <a:pt x="352" y="376"/>
                </a:lnTo>
                <a:lnTo>
                  <a:pt x="350" y="376"/>
                </a:lnTo>
                <a:lnTo>
                  <a:pt x="345" y="377"/>
                </a:lnTo>
                <a:lnTo>
                  <a:pt x="340" y="377"/>
                </a:lnTo>
                <a:lnTo>
                  <a:pt x="339" y="376"/>
                </a:lnTo>
                <a:lnTo>
                  <a:pt x="335" y="376"/>
                </a:lnTo>
                <a:lnTo>
                  <a:pt x="333" y="378"/>
                </a:lnTo>
                <a:lnTo>
                  <a:pt x="334" y="378"/>
                </a:lnTo>
                <a:lnTo>
                  <a:pt x="335" y="377"/>
                </a:lnTo>
                <a:lnTo>
                  <a:pt x="337" y="377"/>
                </a:lnTo>
                <a:lnTo>
                  <a:pt x="340" y="378"/>
                </a:lnTo>
                <a:lnTo>
                  <a:pt x="340" y="380"/>
                </a:lnTo>
                <a:lnTo>
                  <a:pt x="341" y="380"/>
                </a:lnTo>
                <a:lnTo>
                  <a:pt x="342" y="378"/>
                </a:lnTo>
                <a:lnTo>
                  <a:pt x="350" y="377"/>
                </a:lnTo>
                <a:lnTo>
                  <a:pt x="352" y="377"/>
                </a:lnTo>
                <a:lnTo>
                  <a:pt x="352" y="380"/>
                </a:lnTo>
                <a:lnTo>
                  <a:pt x="355" y="384"/>
                </a:lnTo>
                <a:lnTo>
                  <a:pt x="356" y="384"/>
                </a:lnTo>
                <a:lnTo>
                  <a:pt x="358" y="387"/>
                </a:lnTo>
                <a:lnTo>
                  <a:pt x="360" y="387"/>
                </a:lnTo>
                <a:lnTo>
                  <a:pt x="361" y="388"/>
                </a:lnTo>
                <a:lnTo>
                  <a:pt x="362" y="390"/>
                </a:lnTo>
                <a:lnTo>
                  <a:pt x="367" y="394"/>
                </a:lnTo>
                <a:lnTo>
                  <a:pt x="370" y="394"/>
                </a:lnTo>
                <a:lnTo>
                  <a:pt x="370" y="395"/>
                </a:lnTo>
                <a:lnTo>
                  <a:pt x="371" y="395"/>
                </a:lnTo>
                <a:lnTo>
                  <a:pt x="371" y="398"/>
                </a:lnTo>
                <a:lnTo>
                  <a:pt x="372" y="399"/>
                </a:lnTo>
                <a:lnTo>
                  <a:pt x="373" y="399"/>
                </a:lnTo>
                <a:lnTo>
                  <a:pt x="373" y="400"/>
                </a:lnTo>
                <a:lnTo>
                  <a:pt x="374" y="401"/>
                </a:lnTo>
                <a:lnTo>
                  <a:pt x="374" y="402"/>
                </a:lnTo>
                <a:lnTo>
                  <a:pt x="378" y="412"/>
                </a:lnTo>
                <a:lnTo>
                  <a:pt x="378" y="418"/>
                </a:lnTo>
                <a:lnTo>
                  <a:pt x="377" y="421"/>
                </a:lnTo>
                <a:lnTo>
                  <a:pt x="375" y="423"/>
                </a:lnTo>
                <a:lnTo>
                  <a:pt x="374" y="423"/>
                </a:lnTo>
                <a:lnTo>
                  <a:pt x="370" y="427"/>
                </a:lnTo>
                <a:lnTo>
                  <a:pt x="366" y="432"/>
                </a:lnTo>
                <a:lnTo>
                  <a:pt x="366" y="433"/>
                </a:lnTo>
                <a:lnTo>
                  <a:pt x="364" y="433"/>
                </a:lnTo>
                <a:lnTo>
                  <a:pt x="364" y="436"/>
                </a:lnTo>
                <a:lnTo>
                  <a:pt x="367" y="436"/>
                </a:lnTo>
                <a:lnTo>
                  <a:pt x="368" y="437"/>
                </a:lnTo>
                <a:lnTo>
                  <a:pt x="371" y="437"/>
                </a:lnTo>
                <a:lnTo>
                  <a:pt x="372" y="441"/>
                </a:lnTo>
                <a:lnTo>
                  <a:pt x="373" y="442"/>
                </a:lnTo>
                <a:lnTo>
                  <a:pt x="378" y="442"/>
                </a:lnTo>
                <a:lnTo>
                  <a:pt x="379" y="444"/>
                </a:lnTo>
                <a:lnTo>
                  <a:pt x="379" y="443"/>
                </a:lnTo>
                <a:lnTo>
                  <a:pt x="380" y="441"/>
                </a:lnTo>
                <a:lnTo>
                  <a:pt x="381" y="439"/>
                </a:lnTo>
                <a:lnTo>
                  <a:pt x="381" y="437"/>
                </a:lnTo>
                <a:lnTo>
                  <a:pt x="383" y="436"/>
                </a:lnTo>
                <a:lnTo>
                  <a:pt x="383" y="433"/>
                </a:lnTo>
                <a:lnTo>
                  <a:pt x="385" y="431"/>
                </a:lnTo>
                <a:lnTo>
                  <a:pt x="387" y="430"/>
                </a:lnTo>
                <a:lnTo>
                  <a:pt x="391" y="430"/>
                </a:lnTo>
                <a:lnTo>
                  <a:pt x="391" y="429"/>
                </a:lnTo>
                <a:lnTo>
                  <a:pt x="392" y="429"/>
                </a:lnTo>
                <a:lnTo>
                  <a:pt x="393" y="430"/>
                </a:lnTo>
                <a:lnTo>
                  <a:pt x="399" y="430"/>
                </a:lnTo>
                <a:lnTo>
                  <a:pt x="402" y="431"/>
                </a:lnTo>
                <a:lnTo>
                  <a:pt x="405" y="431"/>
                </a:lnTo>
                <a:lnTo>
                  <a:pt x="405" y="430"/>
                </a:lnTo>
                <a:lnTo>
                  <a:pt x="417" y="432"/>
                </a:lnTo>
                <a:lnTo>
                  <a:pt x="422" y="436"/>
                </a:lnTo>
                <a:lnTo>
                  <a:pt x="433" y="443"/>
                </a:lnTo>
                <a:lnTo>
                  <a:pt x="434" y="445"/>
                </a:lnTo>
                <a:lnTo>
                  <a:pt x="435" y="447"/>
                </a:lnTo>
                <a:lnTo>
                  <a:pt x="435" y="450"/>
                </a:lnTo>
                <a:lnTo>
                  <a:pt x="436" y="453"/>
                </a:lnTo>
                <a:lnTo>
                  <a:pt x="436" y="461"/>
                </a:lnTo>
                <a:lnTo>
                  <a:pt x="437" y="463"/>
                </a:lnTo>
                <a:lnTo>
                  <a:pt x="437" y="464"/>
                </a:lnTo>
                <a:lnTo>
                  <a:pt x="436" y="468"/>
                </a:lnTo>
                <a:lnTo>
                  <a:pt x="436" y="470"/>
                </a:lnTo>
                <a:lnTo>
                  <a:pt x="433" y="478"/>
                </a:lnTo>
                <a:lnTo>
                  <a:pt x="432" y="479"/>
                </a:lnTo>
                <a:lnTo>
                  <a:pt x="432" y="485"/>
                </a:lnTo>
                <a:lnTo>
                  <a:pt x="430" y="487"/>
                </a:lnTo>
                <a:lnTo>
                  <a:pt x="430" y="491"/>
                </a:lnTo>
                <a:lnTo>
                  <a:pt x="429" y="492"/>
                </a:lnTo>
                <a:lnTo>
                  <a:pt x="427" y="493"/>
                </a:lnTo>
                <a:lnTo>
                  <a:pt x="426" y="494"/>
                </a:lnTo>
                <a:lnTo>
                  <a:pt x="426" y="493"/>
                </a:lnTo>
                <a:lnTo>
                  <a:pt x="424" y="494"/>
                </a:lnTo>
                <a:lnTo>
                  <a:pt x="424" y="496"/>
                </a:lnTo>
                <a:lnTo>
                  <a:pt x="420" y="500"/>
                </a:lnTo>
                <a:lnTo>
                  <a:pt x="420" y="501"/>
                </a:lnTo>
                <a:lnTo>
                  <a:pt x="417" y="499"/>
                </a:lnTo>
                <a:lnTo>
                  <a:pt x="417" y="500"/>
                </a:lnTo>
                <a:lnTo>
                  <a:pt x="414" y="500"/>
                </a:lnTo>
                <a:lnTo>
                  <a:pt x="412" y="499"/>
                </a:lnTo>
                <a:lnTo>
                  <a:pt x="411" y="499"/>
                </a:lnTo>
                <a:lnTo>
                  <a:pt x="409" y="500"/>
                </a:lnTo>
                <a:lnTo>
                  <a:pt x="416" y="501"/>
                </a:lnTo>
                <a:lnTo>
                  <a:pt x="417" y="500"/>
                </a:lnTo>
                <a:lnTo>
                  <a:pt x="417" y="501"/>
                </a:lnTo>
                <a:lnTo>
                  <a:pt x="414" y="505"/>
                </a:lnTo>
                <a:lnTo>
                  <a:pt x="414" y="506"/>
                </a:lnTo>
                <a:lnTo>
                  <a:pt x="417" y="506"/>
                </a:lnTo>
                <a:lnTo>
                  <a:pt x="417" y="507"/>
                </a:lnTo>
                <a:lnTo>
                  <a:pt x="415" y="510"/>
                </a:lnTo>
                <a:lnTo>
                  <a:pt x="412" y="511"/>
                </a:lnTo>
                <a:lnTo>
                  <a:pt x="411" y="512"/>
                </a:lnTo>
                <a:lnTo>
                  <a:pt x="406" y="512"/>
                </a:lnTo>
                <a:lnTo>
                  <a:pt x="406" y="511"/>
                </a:lnTo>
                <a:lnTo>
                  <a:pt x="404" y="509"/>
                </a:lnTo>
                <a:lnTo>
                  <a:pt x="404" y="510"/>
                </a:lnTo>
                <a:lnTo>
                  <a:pt x="402" y="511"/>
                </a:lnTo>
                <a:lnTo>
                  <a:pt x="401" y="512"/>
                </a:lnTo>
                <a:lnTo>
                  <a:pt x="401" y="513"/>
                </a:lnTo>
                <a:lnTo>
                  <a:pt x="399" y="515"/>
                </a:lnTo>
                <a:lnTo>
                  <a:pt x="398" y="515"/>
                </a:lnTo>
                <a:lnTo>
                  <a:pt x="398" y="516"/>
                </a:lnTo>
                <a:lnTo>
                  <a:pt x="397" y="515"/>
                </a:lnTo>
                <a:lnTo>
                  <a:pt x="396" y="515"/>
                </a:lnTo>
                <a:lnTo>
                  <a:pt x="393" y="516"/>
                </a:lnTo>
                <a:lnTo>
                  <a:pt x="392" y="516"/>
                </a:lnTo>
                <a:lnTo>
                  <a:pt x="393" y="517"/>
                </a:lnTo>
                <a:lnTo>
                  <a:pt x="395" y="517"/>
                </a:lnTo>
                <a:lnTo>
                  <a:pt x="395" y="518"/>
                </a:lnTo>
                <a:lnTo>
                  <a:pt x="396" y="517"/>
                </a:lnTo>
                <a:lnTo>
                  <a:pt x="399" y="516"/>
                </a:lnTo>
                <a:lnTo>
                  <a:pt x="401" y="516"/>
                </a:lnTo>
                <a:lnTo>
                  <a:pt x="402" y="515"/>
                </a:lnTo>
                <a:lnTo>
                  <a:pt x="403" y="516"/>
                </a:lnTo>
                <a:lnTo>
                  <a:pt x="403" y="522"/>
                </a:lnTo>
                <a:lnTo>
                  <a:pt x="402" y="522"/>
                </a:lnTo>
                <a:lnTo>
                  <a:pt x="402" y="523"/>
                </a:lnTo>
                <a:lnTo>
                  <a:pt x="403" y="523"/>
                </a:lnTo>
                <a:lnTo>
                  <a:pt x="402" y="525"/>
                </a:lnTo>
                <a:lnTo>
                  <a:pt x="399" y="527"/>
                </a:lnTo>
                <a:lnTo>
                  <a:pt x="397" y="529"/>
                </a:lnTo>
                <a:lnTo>
                  <a:pt x="390" y="529"/>
                </a:lnTo>
                <a:lnTo>
                  <a:pt x="390" y="530"/>
                </a:lnTo>
                <a:lnTo>
                  <a:pt x="385" y="530"/>
                </a:lnTo>
                <a:lnTo>
                  <a:pt x="383" y="531"/>
                </a:lnTo>
                <a:lnTo>
                  <a:pt x="381" y="531"/>
                </a:lnTo>
                <a:lnTo>
                  <a:pt x="381" y="534"/>
                </a:lnTo>
                <a:lnTo>
                  <a:pt x="380" y="534"/>
                </a:lnTo>
                <a:lnTo>
                  <a:pt x="379" y="535"/>
                </a:lnTo>
                <a:lnTo>
                  <a:pt x="381" y="534"/>
                </a:lnTo>
                <a:lnTo>
                  <a:pt x="383" y="534"/>
                </a:lnTo>
                <a:lnTo>
                  <a:pt x="383" y="533"/>
                </a:lnTo>
                <a:lnTo>
                  <a:pt x="385" y="531"/>
                </a:lnTo>
                <a:lnTo>
                  <a:pt x="392" y="533"/>
                </a:lnTo>
                <a:lnTo>
                  <a:pt x="393" y="534"/>
                </a:lnTo>
                <a:lnTo>
                  <a:pt x="393" y="535"/>
                </a:lnTo>
                <a:lnTo>
                  <a:pt x="390" y="535"/>
                </a:lnTo>
                <a:lnTo>
                  <a:pt x="389" y="536"/>
                </a:lnTo>
                <a:lnTo>
                  <a:pt x="387" y="536"/>
                </a:lnTo>
                <a:lnTo>
                  <a:pt x="386" y="537"/>
                </a:lnTo>
                <a:lnTo>
                  <a:pt x="387" y="539"/>
                </a:lnTo>
                <a:lnTo>
                  <a:pt x="392" y="539"/>
                </a:lnTo>
                <a:lnTo>
                  <a:pt x="392" y="536"/>
                </a:lnTo>
                <a:lnTo>
                  <a:pt x="393" y="536"/>
                </a:lnTo>
                <a:lnTo>
                  <a:pt x="393" y="537"/>
                </a:lnTo>
                <a:lnTo>
                  <a:pt x="395" y="535"/>
                </a:lnTo>
                <a:lnTo>
                  <a:pt x="396" y="535"/>
                </a:lnTo>
                <a:lnTo>
                  <a:pt x="401" y="536"/>
                </a:lnTo>
                <a:lnTo>
                  <a:pt x="401" y="537"/>
                </a:lnTo>
                <a:lnTo>
                  <a:pt x="402" y="537"/>
                </a:lnTo>
                <a:lnTo>
                  <a:pt x="402" y="539"/>
                </a:lnTo>
                <a:lnTo>
                  <a:pt x="403" y="539"/>
                </a:lnTo>
                <a:lnTo>
                  <a:pt x="403" y="540"/>
                </a:lnTo>
                <a:lnTo>
                  <a:pt x="402" y="541"/>
                </a:lnTo>
                <a:lnTo>
                  <a:pt x="397" y="540"/>
                </a:lnTo>
                <a:lnTo>
                  <a:pt x="396" y="540"/>
                </a:lnTo>
                <a:lnTo>
                  <a:pt x="395" y="539"/>
                </a:lnTo>
                <a:lnTo>
                  <a:pt x="395" y="540"/>
                </a:lnTo>
                <a:lnTo>
                  <a:pt x="396" y="541"/>
                </a:lnTo>
                <a:lnTo>
                  <a:pt x="404" y="541"/>
                </a:lnTo>
                <a:lnTo>
                  <a:pt x="409" y="540"/>
                </a:lnTo>
                <a:lnTo>
                  <a:pt x="423" y="539"/>
                </a:lnTo>
                <a:lnTo>
                  <a:pt x="424" y="539"/>
                </a:lnTo>
                <a:lnTo>
                  <a:pt x="423" y="541"/>
                </a:lnTo>
                <a:lnTo>
                  <a:pt x="423" y="542"/>
                </a:lnTo>
                <a:lnTo>
                  <a:pt x="421" y="542"/>
                </a:lnTo>
                <a:lnTo>
                  <a:pt x="421" y="544"/>
                </a:lnTo>
                <a:lnTo>
                  <a:pt x="422" y="546"/>
                </a:lnTo>
                <a:lnTo>
                  <a:pt x="422" y="553"/>
                </a:lnTo>
                <a:lnTo>
                  <a:pt x="421" y="555"/>
                </a:lnTo>
                <a:lnTo>
                  <a:pt x="421" y="556"/>
                </a:lnTo>
                <a:lnTo>
                  <a:pt x="417" y="558"/>
                </a:lnTo>
                <a:lnTo>
                  <a:pt x="415" y="558"/>
                </a:lnTo>
                <a:lnTo>
                  <a:pt x="412" y="560"/>
                </a:lnTo>
                <a:lnTo>
                  <a:pt x="408" y="560"/>
                </a:lnTo>
                <a:lnTo>
                  <a:pt x="406" y="562"/>
                </a:lnTo>
                <a:lnTo>
                  <a:pt x="404" y="565"/>
                </a:lnTo>
                <a:lnTo>
                  <a:pt x="404" y="571"/>
                </a:lnTo>
                <a:lnTo>
                  <a:pt x="403" y="571"/>
                </a:lnTo>
                <a:lnTo>
                  <a:pt x="399" y="570"/>
                </a:lnTo>
                <a:lnTo>
                  <a:pt x="397" y="568"/>
                </a:lnTo>
                <a:lnTo>
                  <a:pt x="395" y="570"/>
                </a:lnTo>
                <a:lnTo>
                  <a:pt x="390" y="574"/>
                </a:lnTo>
                <a:lnTo>
                  <a:pt x="380" y="577"/>
                </a:lnTo>
                <a:lnTo>
                  <a:pt x="378" y="577"/>
                </a:lnTo>
                <a:lnTo>
                  <a:pt x="378" y="579"/>
                </a:lnTo>
                <a:lnTo>
                  <a:pt x="375" y="579"/>
                </a:lnTo>
                <a:lnTo>
                  <a:pt x="374" y="582"/>
                </a:lnTo>
                <a:lnTo>
                  <a:pt x="372" y="582"/>
                </a:lnTo>
                <a:lnTo>
                  <a:pt x="370" y="580"/>
                </a:lnTo>
                <a:lnTo>
                  <a:pt x="367" y="580"/>
                </a:lnTo>
                <a:lnTo>
                  <a:pt x="366" y="579"/>
                </a:lnTo>
                <a:lnTo>
                  <a:pt x="364" y="579"/>
                </a:lnTo>
                <a:lnTo>
                  <a:pt x="355" y="577"/>
                </a:lnTo>
                <a:lnTo>
                  <a:pt x="352" y="577"/>
                </a:lnTo>
                <a:lnTo>
                  <a:pt x="346" y="578"/>
                </a:lnTo>
                <a:lnTo>
                  <a:pt x="339" y="578"/>
                </a:lnTo>
                <a:lnTo>
                  <a:pt x="333" y="580"/>
                </a:lnTo>
                <a:lnTo>
                  <a:pt x="330" y="580"/>
                </a:lnTo>
                <a:lnTo>
                  <a:pt x="330" y="583"/>
                </a:lnTo>
                <a:lnTo>
                  <a:pt x="329" y="583"/>
                </a:lnTo>
                <a:lnTo>
                  <a:pt x="324" y="580"/>
                </a:lnTo>
                <a:lnTo>
                  <a:pt x="324" y="579"/>
                </a:lnTo>
                <a:lnTo>
                  <a:pt x="325" y="579"/>
                </a:lnTo>
                <a:lnTo>
                  <a:pt x="327" y="578"/>
                </a:lnTo>
                <a:lnTo>
                  <a:pt x="325" y="577"/>
                </a:lnTo>
                <a:lnTo>
                  <a:pt x="324" y="577"/>
                </a:lnTo>
                <a:lnTo>
                  <a:pt x="324" y="576"/>
                </a:lnTo>
                <a:lnTo>
                  <a:pt x="319" y="576"/>
                </a:lnTo>
                <a:lnTo>
                  <a:pt x="319" y="578"/>
                </a:lnTo>
                <a:lnTo>
                  <a:pt x="318" y="579"/>
                </a:lnTo>
                <a:lnTo>
                  <a:pt x="316" y="579"/>
                </a:lnTo>
                <a:lnTo>
                  <a:pt x="317" y="578"/>
                </a:lnTo>
                <a:lnTo>
                  <a:pt x="317" y="577"/>
                </a:lnTo>
                <a:lnTo>
                  <a:pt x="318" y="576"/>
                </a:lnTo>
                <a:lnTo>
                  <a:pt x="317" y="574"/>
                </a:lnTo>
                <a:lnTo>
                  <a:pt x="315" y="576"/>
                </a:lnTo>
                <a:lnTo>
                  <a:pt x="314" y="576"/>
                </a:lnTo>
                <a:lnTo>
                  <a:pt x="315" y="577"/>
                </a:lnTo>
                <a:lnTo>
                  <a:pt x="316" y="577"/>
                </a:lnTo>
                <a:lnTo>
                  <a:pt x="316" y="579"/>
                </a:lnTo>
                <a:lnTo>
                  <a:pt x="312" y="579"/>
                </a:lnTo>
                <a:lnTo>
                  <a:pt x="312" y="578"/>
                </a:lnTo>
                <a:lnTo>
                  <a:pt x="310" y="576"/>
                </a:lnTo>
                <a:lnTo>
                  <a:pt x="308" y="576"/>
                </a:lnTo>
                <a:lnTo>
                  <a:pt x="308" y="574"/>
                </a:lnTo>
                <a:lnTo>
                  <a:pt x="306" y="573"/>
                </a:lnTo>
                <a:lnTo>
                  <a:pt x="302" y="571"/>
                </a:lnTo>
                <a:lnTo>
                  <a:pt x="308" y="577"/>
                </a:lnTo>
                <a:lnTo>
                  <a:pt x="308" y="578"/>
                </a:lnTo>
                <a:lnTo>
                  <a:pt x="306" y="579"/>
                </a:lnTo>
                <a:lnTo>
                  <a:pt x="304" y="579"/>
                </a:lnTo>
                <a:lnTo>
                  <a:pt x="304" y="580"/>
                </a:lnTo>
                <a:lnTo>
                  <a:pt x="300" y="580"/>
                </a:lnTo>
                <a:lnTo>
                  <a:pt x="300" y="582"/>
                </a:lnTo>
                <a:lnTo>
                  <a:pt x="298" y="580"/>
                </a:lnTo>
                <a:lnTo>
                  <a:pt x="297" y="584"/>
                </a:lnTo>
                <a:lnTo>
                  <a:pt x="296" y="583"/>
                </a:lnTo>
                <a:lnTo>
                  <a:pt x="291" y="583"/>
                </a:lnTo>
                <a:lnTo>
                  <a:pt x="288" y="584"/>
                </a:lnTo>
                <a:lnTo>
                  <a:pt x="287" y="584"/>
                </a:lnTo>
                <a:lnTo>
                  <a:pt x="286" y="583"/>
                </a:lnTo>
                <a:lnTo>
                  <a:pt x="285" y="583"/>
                </a:lnTo>
                <a:lnTo>
                  <a:pt x="284" y="584"/>
                </a:lnTo>
                <a:lnTo>
                  <a:pt x="283" y="584"/>
                </a:lnTo>
                <a:lnTo>
                  <a:pt x="281" y="585"/>
                </a:lnTo>
                <a:lnTo>
                  <a:pt x="281" y="584"/>
                </a:lnTo>
                <a:lnTo>
                  <a:pt x="278" y="584"/>
                </a:lnTo>
                <a:lnTo>
                  <a:pt x="278" y="583"/>
                </a:lnTo>
                <a:lnTo>
                  <a:pt x="277" y="583"/>
                </a:lnTo>
                <a:lnTo>
                  <a:pt x="275" y="585"/>
                </a:lnTo>
                <a:lnTo>
                  <a:pt x="277" y="585"/>
                </a:lnTo>
                <a:lnTo>
                  <a:pt x="277" y="584"/>
                </a:lnTo>
                <a:lnTo>
                  <a:pt x="279" y="586"/>
                </a:lnTo>
                <a:lnTo>
                  <a:pt x="280" y="586"/>
                </a:lnTo>
                <a:lnTo>
                  <a:pt x="281" y="587"/>
                </a:lnTo>
                <a:lnTo>
                  <a:pt x="280" y="589"/>
                </a:lnTo>
                <a:lnTo>
                  <a:pt x="281" y="589"/>
                </a:lnTo>
                <a:lnTo>
                  <a:pt x="280" y="590"/>
                </a:lnTo>
                <a:lnTo>
                  <a:pt x="280" y="591"/>
                </a:lnTo>
                <a:lnTo>
                  <a:pt x="279" y="592"/>
                </a:lnTo>
                <a:lnTo>
                  <a:pt x="275" y="592"/>
                </a:lnTo>
                <a:lnTo>
                  <a:pt x="272" y="590"/>
                </a:lnTo>
                <a:lnTo>
                  <a:pt x="265" y="590"/>
                </a:lnTo>
                <a:lnTo>
                  <a:pt x="262" y="589"/>
                </a:lnTo>
                <a:lnTo>
                  <a:pt x="260" y="589"/>
                </a:lnTo>
                <a:lnTo>
                  <a:pt x="260" y="590"/>
                </a:lnTo>
                <a:lnTo>
                  <a:pt x="259" y="591"/>
                </a:lnTo>
                <a:lnTo>
                  <a:pt x="259" y="592"/>
                </a:lnTo>
                <a:lnTo>
                  <a:pt x="249" y="585"/>
                </a:lnTo>
                <a:lnTo>
                  <a:pt x="242" y="583"/>
                </a:lnTo>
                <a:lnTo>
                  <a:pt x="238" y="583"/>
                </a:lnTo>
                <a:lnTo>
                  <a:pt x="238" y="584"/>
                </a:lnTo>
                <a:lnTo>
                  <a:pt x="234" y="584"/>
                </a:lnTo>
                <a:lnTo>
                  <a:pt x="231" y="586"/>
                </a:lnTo>
                <a:lnTo>
                  <a:pt x="230" y="586"/>
                </a:lnTo>
                <a:lnTo>
                  <a:pt x="230" y="585"/>
                </a:lnTo>
                <a:lnTo>
                  <a:pt x="229" y="585"/>
                </a:lnTo>
                <a:lnTo>
                  <a:pt x="228" y="586"/>
                </a:lnTo>
                <a:lnTo>
                  <a:pt x="225" y="586"/>
                </a:lnTo>
                <a:lnTo>
                  <a:pt x="225" y="587"/>
                </a:lnTo>
                <a:lnTo>
                  <a:pt x="224" y="589"/>
                </a:lnTo>
                <a:lnTo>
                  <a:pt x="221" y="590"/>
                </a:lnTo>
                <a:lnTo>
                  <a:pt x="218" y="590"/>
                </a:lnTo>
                <a:lnTo>
                  <a:pt x="218" y="589"/>
                </a:lnTo>
                <a:lnTo>
                  <a:pt x="217" y="587"/>
                </a:lnTo>
                <a:lnTo>
                  <a:pt x="218" y="590"/>
                </a:lnTo>
                <a:lnTo>
                  <a:pt x="218" y="591"/>
                </a:lnTo>
                <a:lnTo>
                  <a:pt x="217" y="591"/>
                </a:lnTo>
                <a:lnTo>
                  <a:pt x="217" y="592"/>
                </a:lnTo>
                <a:lnTo>
                  <a:pt x="216" y="593"/>
                </a:lnTo>
                <a:lnTo>
                  <a:pt x="216" y="595"/>
                </a:lnTo>
                <a:lnTo>
                  <a:pt x="215" y="597"/>
                </a:lnTo>
                <a:lnTo>
                  <a:pt x="215" y="598"/>
                </a:lnTo>
                <a:lnTo>
                  <a:pt x="216" y="601"/>
                </a:lnTo>
                <a:lnTo>
                  <a:pt x="213" y="601"/>
                </a:lnTo>
                <a:lnTo>
                  <a:pt x="213" y="604"/>
                </a:lnTo>
                <a:lnTo>
                  <a:pt x="216" y="604"/>
                </a:lnTo>
                <a:lnTo>
                  <a:pt x="216" y="605"/>
                </a:lnTo>
                <a:lnTo>
                  <a:pt x="215" y="605"/>
                </a:lnTo>
                <a:lnTo>
                  <a:pt x="215" y="608"/>
                </a:lnTo>
                <a:lnTo>
                  <a:pt x="213" y="609"/>
                </a:lnTo>
                <a:lnTo>
                  <a:pt x="213" y="608"/>
                </a:lnTo>
                <a:lnTo>
                  <a:pt x="212" y="608"/>
                </a:lnTo>
                <a:lnTo>
                  <a:pt x="212" y="609"/>
                </a:lnTo>
                <a:lnTo>
                  <a:pt x="211" y="610"/>
                </a:lnTo>
                <a:lnTo>
                  <a:pt x="210" y="610"/>
                </a:lnTo>
                <a:lnTo>
                  <a:pt x="210" y="611"/>
                </a:lnTo>
                <a:lnTo>
                  <a:pt x="209" y="613"/>
                </a:lnTo>
                <a:lnTo>
                  <a:pt x="209" y="616"/>
                </a:lnTo>
                <a:lnTo>
                  <a:pt x="206" y="617"/>
                </a:lnTo>
                <a:lnTo>
                  <a:pt x="205" y="617"/>
                </a:lnTo>
                <a:lnTo>
                  <a:pt x="204" y="616"/>
                </a:lnTo>
                <a:lnTo>
                  <a:pt x="203" y="617"/>
                </a:lnTo>
                <a:lnTo>
                  <a:pt x="201" y="616"/>
                </a:lnTo>
                <a:lnTo>
                  <a:pt x="199" y="613"/>
                </a:lnTo>
                <a:lnTo>
                  <a:pt x="197" y="610"/>
                </a:lnTo>
                <a:lnTo>
                  <a:pt x="194" y="610"/>
                </a:lnTo>
                <a:lnTo>
                  <a:pt x="194" y="611"/>
                </a:lnTo>
                <a:lnTo>
                  <a:pt x="191" y="611"/>
                </a:lnTo>
                <a:lnTo>
                  <a:pt x="191" y="610"/>
                </a:lnTo>
                <a:lnTo>
                  <a:pt x="190" y="609"/>
                </a:lnTo>
                <a:lnTo>
                  <a:pt x="190" y="607"/>
                </a:lnTo>
                <a:lnTo>
                  <a:pt x="187" y="607"/>
                </a:lnTo>
                <a:lnTo>
                  <a:pt x="187" y="605"/>
                </a:lnTo>
                <a:lnTo>
                  <a:pt x="186" y="604"/>
                </a:lnTo>
                <a:lnTo>
                  <a:pt x="186" y="603"/>
                </a:lnTo>
                <a:lnTo>
                  <a:pt x="187" y="602"/>
                </a:lnTo>
                <a:lnTo>
                  <a:pt x="185" y="602"/>
                </a:lnTo>
                <a:lnTo>
                  <a:pt x="185" y="605"/>
                </a:lnTo>
                <a:lnTo>
                  <a:pt x="182" y="605"/>
                </a:lnTo>
                <a:lnTo>
                  <a:pt x="182" y="607"/>
                </a:lnTo>
                <a:lnTo>
                  <a:pt x="185" y="605"/>
                </a:lnTo>
                <a:lnTo>
                  <a:pt x="186" y="607"/>
                </a:lnTo>
                <a:lnTo>
                  <a:pt x="185" y="607"/>
                </a:lnTo>
                <a:lnTo>
                  <a:pt x="186" y="608"/>
                </a:lnTo>
                <a:lnTo>
                  <a:pt x="186" y="610"/>
                </a:lnTo>
                <a:lnTo>
                  <a:pt x="185" y="610"/>
                </a:lnTo>
                <a:lnTo>
                  <a:pt x="185" y="608"/>
                </a:lnTo>
                <a:lnTo>
                  <a:pt x="184" y="608"/>
                </a:lnTo>
                <a:lnTo>
                  <a:pt x="180" y="607"/>
                </a:lnTo>
                <a:lnTo>
                  <a:pt x="178" y="607"/>
                </a:lnTo>
                <a:lnTo>
                  <a:pt x="175" y="609"/>
                </a:lnTo>
                <a:lnTo>
                  <a:pt x="173" y="609"/>
                </a:lnTo>
                <a:lnTo>
                  <a:pt x="167" y="610"/>
                </a:lnTo>
                <a:lnTo>
                  <a:pt x="166" y="610"/>
                </a:lnTo>
                <a:lnTo>
                  <a:pt x="166" y="609"/>
                </a:lnTo>
                <a:lnTo>
                  <a:pt x="162" y="609"/>
                </a:lnTo>
                <a:lnTo>
                  <a:pt x="162" y="611"/>
                </a:lnTo>
                <a:lnTo>
                  <a:pt x="161" y="613"/>
                </a:lnTo>
                <a:lnTo>
                  <a:pt x="161" y="616"/>
                </a:lnTo>
                <a:lnTo>
                  <a:pt x="157" y="616"/>
                </a:lnTo>
                <a:lnTo>
                  <a:pt x="156" y="617"/>
                </a:lnTo>
                <a:lnTo>
                  <a:pt x="154" y="619"/>
                </a:lnTo>
                <a:lnTo>
                  <a:pt x="151" y="622"/>
                </a:lnTo>
                <a:lnTo>
                  <a:pt x="151" y="619"/>
                </a:lnTo>
                <a:lnTo>
                  <a:pt x="150" y="619"/>
                </a:lnTo>
                <a:lnTo>
                  <a:pt x="150" y="620"/>
                </a:lnTo>
                <a:lnTo>
                  <a:pt x="149" y="621"/>
                </a:lnTo>
                <a:lnTo>
                  <a:pt x="150" y="622"/>
                </a:lnTo>
                <a:lnTo>
                  <a:pt x="149" y="622"/>
                </a:lnTo>
                <a:lnTo>
                  <a:pt x="149" y="623"/>
                </a:lnTo>
                <a:lnTo>
                  <a:pt x="148" y="625"/>
                </a:lnTo>
                <a:lnTo>
                  <a:pt x="148" y="626"/>
                </a:lnTo>
                <a:lnTo>
                  <a:pt x="149" y="626"/>
                </a:lnTo>
                <a:lnTo>
                  <a:pt x="149" y="628"/>
                </a:lnTo>
                <a:lnTo>
                  <a:pt x="148" y="630"/>
                </a:lnTo>
                <a:lnTo>
                  <a:pt x="145" y="630"/>
                </a:lnTo>
                <a:lnTo>
                  <a:pt x="144" y="632"/>
                </a:lnTo>
                <a:lnTo>
                  <a:pt x="144" y="634"/>
                </a:lnTo>
                <a:lnTo>
                  <a:pt x="143" y="634"/>
                </a:lnTo>
                <a:lnTo>
                  <a:pt x="143" y="633"/>
                </a:lnTo>
                <a:lnTo>
                  <a:pt x="142" y="632"/>
                </a:lnTo>
                <a:lnTo>
                  <a:pt x="142" y="629"/>
                </a:lnTo>
                <a:lnTo>
                  <a:pt x="140" y="627"/>
                </a:lnTo>
                <a:lnTo>
                  <a:pt x="140" y="626"/>
                </a:lnTo>
                <a:lnTo>
                  <a:pt x="138" y="626"/>
                </a:lnTo>
                <a:lnTo>
                  <a:pt x="134" y="623"/>
                </a:lnTo>
                <a:lnTo>
                  <a:pt x="132" y="623"/>
                </a:lnTo>
                <a:lnTo>
                  <a:pt x="132" y="622"/>
                </a:lnTo>
                <a:lnTo>
                  <a:pt x="131" y="622"/>
                </a:lnTo>
                <a:lnTo>
                  <a:pt x="130" y="623"/>
                </a:lnTo>
                <a:lnTo>
                  <a:pt x="129" y="623"/>
                </a:lnTo>
                <a:lnTo>
                  <a:pt x="129" y="625"/>
                </a:lnTo>
                <a:lnTo>
                  <a:pt x="130" y="626"/>
                </a:lnTo>
                <a:lnTo>
                  <a:pt x="128" y="628"/>
                </a:lnTo>
                <a:lnTo>
                  <a:pt x="123" y="628"/>
                </a:lnTo>
                <a:lnTo>
                  <a:pt x="122" y="626"/>
                </a:lnTo>
                <a:lnTo>
                  <a:pt x="123" y="626"/>
                </a:lnTo>
                <a:lnTo>
                  <a:pt x="123" y="625"/>
                </a:lnTo>
                <a:lnTo>
                  <a:pt x="122" y="623"/>
                </a:lnTo>
                <a:lnTo>
                  <a:pt x="122" y="622"/>
                </a:lnTo>
                <a:lnTo>
                  <a:pt x="123" y="622"/>
                </a:lnTo>
                <a:lnTo>
                  <a:pt x="123" y="621"/>
                </a:lnTo>
                <a:lnTo>
                  <a:pt x="124" y="620"/>
                </a:lnTo>
                <a:lnTo>
                  <a:pt x="125" y="620"/>
                </a:lnTo>
                <a:lnTo>
                  <a:pt x="128" y="619"/>
                </a:lnTo>
                <a:lnTo>
                  <a:pt x="130" y="616"/>
                </a:lnTo>
                <a:lnTo>
                  <a:pt x="131" y="616"/>
                </a:lnTo>
                <a:lnTo>
                  <a:pt x="132" y="619"/>
                </a:lnTo>
                <a:lnTo>
                  <a:pt x="134" y="619"/>
                </a:lnTo>
                <a:lnTo>
                  <a:pt x="135" y="617"/>
                </a:lnTo>
                <a:lnTo>
                  <a:pt x="135" y="616"/>
                </a:lnTo>
                <a:lnTo>
                  <a:pt x="136" y="616"/>
                </a:lnTo>
                <a:lnTo>
                  <a:pt x="136" y="615"/>
                </a:lnTo>
                <a:lnTo>
                  <a:pt x="138" y="615"/>
                </a:lnTo>
                <a:lnTo>
                  <a:pt x="143" y="609"/>
                </a:lnTo>
                <a:lnTo>
                  <a:pt x="145" y="608"/>
                </a:lnTo>
                <a:lnTo>
                  <a:pt x="145" y="604"/>
                </a:lnTo>
                <a:lnTo>
                  <a:pt x="147" y="604"/>
                </a:lnTo>
                <a:lnTo>
                  <a:pt x="150" y="603"/>
                </a:lnTo>
                <a:lnTo>
                  <a:pt x="150" y="598"/>
                </a:lnTo>
                <a:lnTo>
                  <a:pt x="151" y="597"/>
                </a:lnTo>
                <a:lnTo>
                  <a:pt x="151" y="596"/>
                </a:lnTo>
                <a:lnTo>
                  <a:pt x="153" y="595"/>
                </a:lnTo>
                <a:lnTo>
                  <a:pt x="154" y="595"/>
                </a:lnTo>
                <a:lnTo>
                  <a:pt x="154" y="593"/>
                </a:lnTo>
                <a:lnTo>
                  <a:pt x="155" y="595"/>
                </a:lnTo>
                <a:lnTo>
                  <a:pt x="155" y="596"/>
                </a:lnTo>
                <a:lnTo>
                  <a:pt x="156" y="597"/>
                </a:lnTo>
                <a:lnTo>
                  <a:pt x="159" y="597"/>
                </a:lnTo>
                <a:lnTo>
                  <a:pt x="159" y="596"/>
                </a:lnTo>
                <a:lnTo>
                  <a:pt x="156" y="596"/>
                </a:lnTo>
                <a:lnTo>
                  <a:pt x="155" y="595"/>
                </a:lnTo>
                <a:lnTo>
                  <a:pt x="155" y="592"/>
                </a:lnTo>
                <a:lnTo>
                  <a:pt x="161" y="592"/>
                </a:lnTo>
                <a:lnTo>
                  <a:pt x="161" y="591"/>
                </a:lnTo>
                <a:lnTo>
                  <a:pt x="162" y="590"/>
                </a:lnTo>
                <a:lnTo>
                  <a:pt x="162" y="586"/>
                </a:lnTo>
                <a:lnTo>
                  <a:pt x="163" y="586"/>
                </a:lnTo>
                <a:lnTo>
                  <a:pt x="167" y="584"/>
                </a:lnTo>
                <a:lnTo>
                  <a:pt x="167" y="583"/>
                </a:lnTo>
                <a:lnTo>
                  <a:pt x="169" y="580"/>
                </a:lnTo>
                <a:lnTo>
                  <a:pt x="170" y="578"/>
                </a:lnTo>
                <a:lnTo>
                  <a:pt x="170" y="572"/>
                </a:lnTo>
                <a:lnTo>
                  <a:pt x="172" y="568"/>
                </a:lnTo>
                <a:lnTo>
                  <a:pt x="172" y="564"/>
                </a:lnTo>
                <a:lnTo>
                  <a:pt x="176" y="564"/>
                </a:lnTo>
                <a:lnTo>
                  <a:pt x="178" y="565"/>
                </a:lnTo>
                <a:lnTo>
                  <a:pt x="181" y="565"/>
                </a:lnTo>
                <a:lnTo>
                  <a:pt x="185" y="561"/>
                </a:lnTo>
                <a:lnTo>
                  <a:pt x="185" y="560"/>
                </a:lnTo>
                <a:lnTo>
                  <a:pt x="186" y="560"/>
                </a:lnTo>
                <a:lnTo>
                  <a:pt x="185" y="559"/>
                </a:lnTo>
                <a:lnTo>
                  <a:pt x="185" y="556"/>
                </a:lnTo>
                <a:lnTo>
                  <a:pt x="184" y="555"/>
                </a:lnTo>
                <a:lnTo>
                  <a:pt x="185" y="555"/>
                </a:lnTo>
                <a:lnTo>
                  <a:pt x="185" y="552"/>
                </a:lnTo>
                <a:lnTo>
                  <a:pt x="187" y="550"/>
                </a:lnTo>
                <a:lnTo>
                  <a:pt x="196" y="550"/>
                </a:lnTo>
                <a:lnTo>
                  <a:pt x="197" y="549"/>
                </a:lnTo>
                <a:lnTo>
                  <a:pt x="201" y="549"/>
                </a:lnTo>
                <a:lnTo>
                  <a:pt x="203" y="548"/>
                </a:lnTo>
                <a:lnTo>
                  <a:pt x="204" y="548"/>
                </a:lnTo>
                <a:lnTo>
                  <a:pt x="210" y="549"/>
                </a:lnTo>
                <a:lnTo>
                  <a:pt x="212" y="549"/>
                </a:lnTo>
                <a:lnTo>
                  <a:pt x="218" y="550"/>
                </a:lnTo>
                <a:lnTo>
                  <a:pt x="221" y="553"/>
                </a:lnTo>
                <a:lnTo>
                  <a:pt x="225" y="552"/>
                </a:lnTo>
                <a:lnTo>
                  <a:pt x="228" y="552"/>
                </a:lnTo>
                <a:lnTo>
                  <a:pt x="230" y="550"/>
                </a:lnTo>
                <a:lnTo>
                  <a:pt x="232" y="552"/>
                </a:lnTo>
                <a:lnTo>
                  <a:pt x="234" y="550"/>
                </a:lnTo>
                <a:lnTo>
                  <a:pt x="235" y="550"/>
                </a:lnTo>
                <a:lnTo>
                  <a:pt x="235" y="552"/>
                </a:lnTo>
                <a:lnTo>
                  <a:pt x="236" y="550"/>
                </a:lnTo>
                <a:lnTo>
                  <a:pt x="236" y="544"/>
                </a:lnTo>
                <a:lnTo>
                  <a:pt x="235" y="543"/>
                </a:lnTo>
                <a:lnTo>
                  <a:pt x="237" y="543"/>
                </a:lnTo>
                <a:lnTo>
                  <a:pt x="237" y="541"/>
                </a:lnTo>
                <a:lnTo>
                  <a:pt x="238" y="540"/>
                </a:lnTo>
                <a:lnTo>
                  <a:pt x="237" y="539"/>
                </a:lnTo>
                <a:lnTo>
                  <a:pt x="240" y="539"/>
                </a:lnTo>
                <a:lnTo>
                  <a:pt x="241" y="537"/>
                </a:lnTo>
                <a:lnTo>
                  <a:pt x="244" y="533"/>
                </a:lnTo>
                <a:lnTo>
                  <a:pt x="246" y="531"/>
                </a:lnTo>
                <a:lnTo>
                  <a:pt x="248" y="531"/>
                </a:lnTo>
                <a:lnTo>
                  <a:pt x="249" y="530"/>
                </a:lnTo>
                <a:lnTo>
                  <a:pt x="253" y="524"/>
                </a:lnTo>
                <a:lnTo>
                  <a:pt x="254" y="523"/>
                </a:lnTo>
                <a:lnTo>
                  <a:pt x="254" y="522"/>
                </a:lnTo>
                <a:lnTo>
                  <a:pt x="255" y="522"/>
                </a:lnTo>
                <a:lnTo>
                  <a:pt x="255" y="521"/>
                </a:lnTo>
                <a:lnTo>
                  <a:pt x="257" y="518"/>
                </a:lnTo>
                <a:lnTo>
                  <a:pt x="259" y="516"/>
                </a:lnTo>
                <a:lnTo>
                  <a:pt x="260" y="516"/>
                </a:lnTo>
                <a:lnTo>
                  <a:pt x="261" y="515"/>
                </a:lnTo>
                <a:lnTo>
                  <a:pt x="262" y="515"/>
                </a:lnTo>
                <a:lnTo>
                  <a:pt x="262" y="512"/>
                </a:lnTo>
                <a:lnTo>
                  <a:pt x="260" y="515"/>
                </a:lnTo>
                <a:lnTo>
                  <a:pt x="259" y="515"/>
                </a:lnTo>
                <a:lnTo>
                  <a:pt x="254" y="519"/>
                </a:lnTo>
                <a:lnTo>
                  <a:pt x="253" y="519"/>
                </a:lnTo>
                <a:lnTo>
                  <a:pt x="250" y="523"/>
                </a:lnTo>
                <a:lnTo>
                  <a:pt x="248" y="525"/>
                </a:lnTo>
                <a:lnTo>
                  <a:pt x="247" y="525"/>
                </a:lnTo>
                <a:lnTo>
                  <a:pt x="244" y="527"/>
                </a:lnTo>
                <a:lnTo>
                  <a:pt x="244" y="528"/>
                </a:lnTo>
                <a:lnTo>
                  <a:pt x="238" y="528"/>
                </a:lnTo>
                <a:lnTo>
                  <a:pt x="237" y="527"/>
                </a:lnTo>
                <a:lnTo>
                  <a:pt x="237" y="528"/>
                </a:lnTo>
                <a:lnTo>
                  <a:pt x="236" y="529"/>
                </a:lnTo>
                <a:lnTo>
                  <a:pt x="234" y="530"/>
                </a:lnTo>
                <a:lnTo>
                  <a:pt x="231" y="533"/>
                </a:lnTo>
                <a:lnTo>
                  <a:pt x="230" y="533"/>
                </a:lnTo>
                <a:lnTo>
                  <a:pt x="230" y="534"/>
                </a:lnTo>
                <a:lnTo>
                  <a:pt x="229" y="534"/>
                </a:lnTo>
                <a:lnTo>
                  <a:pt x="229" y="535"/>
                </a:lnTo>
                <a:lnTo>
                  <a:pt x="230" y="536"/>
                </a:lnTo>
                <a:lnTo>
                  <a:pt x="229" y="537"/>
                </a:lnTo>
                <a:lnTo>
                  <a:pt x="229" y="539"/>
                </a:lnTo>
                <a:lnTo>
                  <a:pt x="228" y="537"/>
                </a:lnTo>
                <a:lnTo>
                  <a:pt x="224" y="539"/>
                </a:lnTo>
                <a:lnTo>
                  <a:pt x="213" y="539"/>
                </a:lnTo>
                <a:lnTo>
                  <a:pt x="213" y="537"/>
                </a:lnTo>
                <a:lnTo>
                  <a:pt x="209" y="533"/>
                </a:lnTo>
                <a:lnTo>
                  <a:pt x="206" y="533"/>
                </a:lnTo>
                <a:lnTo>
                  <a:pt x="205" y="531"/>
                </a:lnTo>
                <a:lnTo>
                  <a:pt x="205" y="529"/>
                </a:lnTo>
                <a:lnTo>
                  <a:pt x="204" y="528"/>
                </a:lnTo>
                <a:lnTo>
                  <a:pt x="204" y="527"/>
                </a:lnTo>
                <a:lnTo>
                  <a:pt x="201" y="524"/>
                </a:lnTo>
                <a:lnTo>
                  <a:pt x="201" y="523"/>
                </a:lnTo>
                <a:lnTo>
                  <a:pt x="196" y="523"/>
                </a:lnTo>
                <a:lnTo>
                  <a:pt x="194" y="524"/>
                </a:lnTo>
                <a:lnTo>
                  <a:pt x="194" y="525"/>
                </a:lnTo>
                <a:lnTo>
                  <a:pt x="196" y="527"/>
                </a:lnTo>
                <a:lnTo>
                  <a:pt x="192" y="527"/>
                </a:lnTo>
                <a:lnTo>
                  <a:pt x="192" y="528"/>
                </a:lnTo>
                <a:lnTo>
                  <a:pt x="191" y="528"/>
                </a:lnTo>
                <a:lnTo>
                  <a:pt x="191" y="527"/>
                </a:lnTo>
                <a:lnTo>
                  <a:pt x="188" y="527"/>
                </a:lnTo>
                <a:lnTo>
                  <a:pt x="188" y="528"/>
                </a:lnTo>
                <a:lnTo>
                  <a:pt x="186" y="528"/>
                </a:lnTo>
                <a:lnTo>
                  <a:pt x="186" y="529"/>
                </a:lnTo>
                <a:lnTo>
                  <a:pt x="185" y="529"/>
                </a:lnTo>
                <a:lnTo>
                  <a:pt x="182" y="528"/>
                </a:lnTo>
                <a:lnTo>
                  <a:pt x="181" y="527"/>
                </a:lnTo>
                <a:lnTo>
                  <a:pt x="182" y="525"/>
                </a:lnTo>
                <a:lnTo>
                  <a:pt x="182" y="523"/>
                </a:lnTo>
                <a:lnTo>
                  <a:pt x="184" y="523"/>
                </a:lnTo>
                <a:lnTo>
                  <a:pt x="184" y="522"/>
                </a:lnTo>
                <a:lnTo>
                  <a:pt x="185" y="522"/>
                </a:lnTo>
                <a:lnTo>
                  <a:pt x="185" y="523"/>
                </a:lnTo>
                <a:lnTo>
                  <a:pt x="186" y="522"/>
                </a:lnTo>
                <a:lnTo>
                  <a:pt x="191" y="522"/>
                </a:lnTo>
                <a:lnTo>
                  <a:pt x="191" y="519"/>
                </a:lnTo>
                <a:lnTo>
                  <a:pt x="190" y="519"/>
                </a:lnTo>
                <a:lnTo>
                  <a:pt x="190" y="521"/>
                </a:lnTo>
                <a:lnTo>
                  <a:pt x="188" y="519"/>
                </a:lnTo>
                <a:lnTo>
                  <a:pt x="186" y="518"/>
                </a:lnTo>
                <a:lnTo>
                  <a:pt x="185" y="519"/>
                </a:lnTo>
                <a:lnTo>
                  <a:pt x="181" y="519"/>
                </a:lnTo>
                <a:lnTo>
                  <a:pt x="178" y="516"/>
                </a:lnTo>
                <a:lnTo>
                  <a:pt x="180" y="516"/>
                </a:lnTo>
                <a:lnTo>
                  <a:pt x="180" y="515"/>
                </a:lnTo>
                <a:lnTo>
                  <a:pt x="179" y="515"/>
                </a:lnTo>
                <a:lnTo>
                  <a:pt x="179" y="512"/>
                </a:lnTo>
                <a:lnTo>
                  <a:pt x="178" y="512"/>
                </a:lnTo>
                <a:lnTo>
                  <a:pt x="178" y="513"/>
                </a:lnTo>
                <a:lnTo>
                  <a:pt x="176" y="513"/>
                </a:lnTo>
                <a:lnTo>
                  <a:pt x="176" y="512"/>
                </a:lnTo>
                <a:lnTo>
                  <a:pt x="175" y="512"/>
                </a:lnTo>
                <a:lnTo>
                  <a:pt x="175" y="513"/>
                </a:lnTo>
                <a:lnTo>
                  <a:pt x="176" y="515"/>
                </a:lnTo>
                <a:lnTo>
                  <a:pt x="175" y="515"/>
                </a:lnTo>
                <a:lnTo>
                  <a:pt x="173" y="516"/>
                </a:lnTo>
                <a:lnTo>
                  <a:pt x="170" y="515"/>
                </a:lnTo>
                <a:lnTo>
                  <a:pt x="169" y="515"/>
                </a:lnTo>
                <a:lnTo>
                  <a:pt x="167" y="516"/>
                </a:lnTo>
                <a:lnTo>
                  <a:pt x="166" y="516"/>
                </a:lnTo>
                <a:lnTo>
                  <a:pt x="166" y="518"/>
                </a:lnTo>
                <a:lnTo>
                  <a:pt x="165" y="518"/>
                </a:lnTo>
                <a:lnTo>
                  <a:pt x="165" y="521"/>
                </a:lnTo>
                <a:lnTo>
                  <a:pt x="163" y="521"/>
                </a:lnTo>
                <a:lnTo>
                  <a:pt x="162" y="522"/>
                </a:lnTo>
                <a:lnTo>
                  <a:pt x="156" y="522"/>
                </a:lnTo>
                <a:lnTo>
                  <a:pt x="156" y="523"/>
                </a:lnTo>
                <a:lnTo>
                  <a:pt x="155" y="524"/>
                </a:lnTo>
                <a:lnTo>
                  <a:pt x="154" y="524"/>
                </a:lnTo>
                <a:lnTo>
                  <a:pt x="151" y="523"/>
                </a:lnTo>
                <a:lnTo>
                  <a:pt x="150" y="523"/>
                </a:lnTo>
                <a:lnTo>
                  <a:pt x="150" y="521"/>
                </a:lnTo>
                <a:lnTo>
                  <a:pt x="148" y="519"/>
                </a:lnTo>
                <a:lnTo>
                  <a:pt x="147" y="519"/>
                </a:lnTo>
                <a:lnTo>
                  <a:pt x="147" y="518"/>
                </a:lnTo>
                <a:lnTo>
                  <a:pt x="150" y="519"/>
                </a:lnTo>
                <a:lnTo>
                  <a:pt x="150" y="518"/>
                </a:lnTo>
                <a:lnTo>
                  <a:pt x="153" y="518"/>
                </a:lnTo>
                <a:lnTo>
                  <a:pt x="155" y="517"/>
                </a:lnTo>
                <a:lnTo>
                  <a:pt x="157" y="517"/>
                </a:lnTo>
                <a:lnTo>
                  <a:pt x="157" y="516"/>
                </a:lnTo>
                <a:lnTo>
                  <a:pt x="159" y="517"/>
                </a:lnTo>
                <a:lnTo>
                  <a:pt x="159" y="516"/>
                </a:lnTo>
                <a:lnTo>
                  <a:pt x="157" y="515"/>
                </a:lnTo>
                <a:lnTo>
                  <a:pt x="157" y="512"/>
                </a:lnTo>
                <a:lnTo>
                  <a:pt x="160" y="511"/>
                </a:lnTo>
                <a:lnTo>
                  <a:pt x="159" y="511"/>
                </a:lnTo>
                <a:lnTo>
                  <a:pt x="157" y="512"/>
                </a:lnTo>
                <a:lnTo>
                  <a:pt x="156" y="512"/>
                </a:lnTo>
                <a:lnTo>
                  <a:pt x="156" y="516"/>
                </a:lnTo>
                <a:lnTo>
                  <a:pt x="153" y="517"/>
                </a:lnTo>
                <a:lnTo>
                  <a:pt x="151" y="517"/>
                </a:lnTo>
                <a:lnTo>
                  <a:pt x="145" y="516"/>
                </a:lnTo>
                <a:lnTo>
                  <a:pt x="145" y="518"/>
                </a:lnTo>
                <a:lnTo>
                  <a:pt x="144" y="518"/>
                </a:lnTo>
                <a:lnTo>
                  <a:pt x="144" y="517"/>
                </a:lnTo>
                <a:lnTo>
                  <a:pt x="142" y="516"/>
                </a:lnTo>
                <a:lnTo>
                  <a:pt x="143" y="515"/>
                </a:lnTo>
                <a:lnTo>
                  <a:pt x="144" y="515"/>
                </a:lnTo>
                <a:lnTo>
                  <a:pt x="144" y="513"/>
                </a:lnTo>
                <a:lnTo>
                  <a:pt x="147" y="513"/>
                </a:lnTo>
                <a:lnTo>
                  <a:pt x="148" y="512"/>
                </a:lnTo>
                <a:lnTo>
                  <a:pt x="148" y="511"/>
                </a:lnTo>
                <a:lnTo>
                  <a:pt x="147" y="510"/>
                </a:lnTo>
                <a:lnTo>
                  <a:pt x="147" y="506"/>
                </a:lnTo>
                <a:lnTo>
                  <a:pt x="145" y="507"/>
                </a:lnTo>
                <a:lnTo>
                  <a:pt x="145" y="506"/>
                </a:lnTo>
                <a:lnTo>
                  <a:pt x="143" y="506"/>
                </a:lnTo>
                <a:lnTo>
                  <a:pt x="143" y="505"/>
                </a:lnTo>
                <a:lnTo>
                  <a:pt x="142" y="506"/>
                </a:lnTo>
                <a:lnTo>
                  <a:pt x="140" y="506"/>
                </a:lnTo>
                <a:lnTo>
                  <a:pt x="140" y="503"/>
                </a:lnTo>
                <a:lnTo>
                  <a:pt x="142" y="503"/>
                </a:lnTo>
                <a:lnTo>
                  <a:pt x="144" y="500"/>
                </a:lnTo>
                <a:lnTo>
                  <a:pt x="147" y="500"/>
                </a:lnTo>
                <a:lnTo>
                  <a:pt x="148" y="499"/>
                </a:lnTo>
                <a:lnTo>
                  <a:pt x="148" y="497"/>
                </a:lnTo>
                <a:lnTo>
                  <a:pt x="149" y="497"/>
                </a:lnTo>
                <a:lnTo>
                  <a:pt x="149" y="496"/>
                </a:lnTo>
                <a:lnTo>
                  <a:pt x="151" y="496"/>
                </a:lnTo>
                <a:lnTo>
                  <a:pt x="154" y="497"/>
                </a:lnTo>
                <a:lnTo>
                  <a:pt x="155" y="497"/>
                </a:lnTo>
                <a:lnTo>
                  <a:pt x="156" y="496"/>
                </a:lnTo>
                <a:lnTo>
                  <a:pt x="159" y="496"/>
                </a:lnTo>
                <a:lnTo>
                  <a:pt x="159" y="493"/>
                </a:lnTo>
                <a:lnTo>
                  <a:pt x="161" y="493"/>
                </a:lnTo>
                <a:lnTo>
                  <a:pt x="163" y="491"/>
                </a:lnTo>
                <a:lnTo>
                  <a:pt x="163" y="490"/>
                </a:lnTo>
                <a:lnTo>
                  <a:pt x="165" y="490"/>
                </a:lnTo>
                <a:lnTo>
                  <a:pt x="166" y="491"/>
                </a:lnTo>
                <a:lnTo>
                  <a:pt x="166" y="488"/>
                </a:lnTo>
                <a:lnTo>
                  <a:pt x="167" y="487"/>
                </a:lnTo>
                <a:lnTo>
                  <a:pt x="173" y="488"/>
                </a:lnTo>
                <a:lnTo>
                  <a:pt x="173" y="487"/>
                </a:lnTo>
                <a:lnTo>
                  <a:pt x="174" y="486"/>
                </a:lnTo>
                <a:lnTo>
                  <a:pt x="175" y="486"/>
                </a:lnTo>
                <a:lnTo>
                  <a:pt x="179" y="482"/>
                </a:lnTo>
                <a:lnTo>
                  <a:pt x="181" y="482"/>
                </a:lnTo>
                <a:lnTo>
                  <a:pt x="186" y="478"/>
                </a:lnTo>
                <a:lnTo>
                  <a:pt x="188" y="474"/>
                </a:lnTo>
                <a:lnTo>
                  <a:pt x="190" y="472"/>
                </a:lnTo>
                <a:lnTo>
                  <a:pt x="190" y="470"/>
                </a:lnTo>
                <a:lnTo>
                  <a:pt x="191" y="468"/>
                </a:lnTo>
                <a:lnTo>
                  <a:pt x="191" y="464"/>
                </a:lnTo>
                <a:lnTo>
                  <a:pt x="192" y="463"/>
                </a:lnTo>
                <a:lnTo>
                  <a:pt x="192" y="461"/>
                </a:lnTo>
                <a:lnTo>
                  <a:pt x="194" y="461"/>
                </a:lnTo>
                <a:lnTo>
                  <a:pt x="197" y="460"/>
                </a:lnTo>
                <a:lnTo>
                  <a:pt x="197" y="458"/>
                </a:lnTo>
                <a:lnTo>
                  <a:pt x="196" y="458"/>
                </a:lnTo>
                <a:lnTo>
                  <a:pt x="193" y="460"/>
                </a:lnTo>
                <a:lnTo>
                  <a:pt x="191" y="460"/>
                </a:lnTo>
                <a:lnTo>
                  <a:pt x="190" y="456"/>
                </a:lnTo>
                <a:lnTo>
                  <a:pt x="188" y="455"/>
                </a:lnTo>
                <a:lnTo>
                  <a:pt x="190" y="454"/>
                </a:lnTo>
                <a:lnTo>
                  <a:pt x="190" y="453"/>
                </a:lnTo>
                <a:lnTo>
                  <a:pt x="191" y="450"/>
                </a:lnTo>
                <a:lnTo>
                  <a:pt x="192" y="450"/>
                </a:lnTo>
                <a:lnTo>
                  <a:pt x="192" y="449"/>
                </a:lnTo>
                <a:lnTo>
                  <a:pt x="194" y="447"/>
                </a:lnTo>
                <a:lnTo>
                  <a:pt x="193" y="447"/>
                </a:lnTo>
                <a:lnTo>
                  <a:pt x="192" y="448"/>
                </a:lnTo>
                <a:lnTo>
                  <a:pt x="188" y="443"/>
                </a:lnTo>
                <a:lnTo>
                  <a:pt x="188" y="441"/>
                </a:lnTo>
                <a:lnTo>
                  <a:pt x="190" y="439"/>
                </a:lnTo>
                <a:lnTo>
                  <a:pt x="190" y="438"/>
                </a:lnTo>
                <a:lnTo>
                  <a:pt x="188" y="437"/>
                </a:lnTo>
                <a:lnTo>
                  <a:pt x="188" y="436"/>
                </a:lnTo>
                <a:lnTo>
                  <a:pt x="192" y="433"/>
                </a:lnTo>
                <a:lnTo>
                  <a:pt x="185" y="433"/>
                </a:lnTo>
                <a:lnTo>
                  <a:pt x="181" y="435"/>
                </a:lnTo>
                <a:lnTo>
                  <a:pt x="180" y="436"/>
                </a:lnTo>
                <a:lnTo>
                  <a:pt x="176" y="436"/>
                </a:lnTo>
                <a:lnTo>
                  <a:pt x="173" y="439"/>
                </a:lnTo>
                <a:lnTo>
                  <a:pt x="173" y="441"/>
                </a:lnTo>
                <a:lnTo>
                  <a:pt x="174" y="442"/>
                </a:lnTo>
                <a:lnTo>
                  <a:pt x="173" y="442"/>
                </a:lnTo>
                <a:lnTo>
                  <a:pt x="173" y="443"/>
                </a:lnTo>
                <a:lnTo>
                  <a:pt x="172" y="443"/>
                </a:lnTo>
                <a:lnTo>
                  <a:pt x="172" y="442"/>
                </a:lnTo>
                <a:lnTo>
                  <a:pt x="170" y="442"/>
                </a:lnTo>
                <a:lnTo>
                  <a:pt x="169" y="441"/>
                </a:lnTo>
                <a:lnTo>
                  <a:pt x="168" y="441"/>
                </a:lnTo>
                <a:lnTo>
                  <a:pt x="168" y="442"/>
                </a:lnTo>
                <a:lnTo>
                  <a:pt x="163" y="442"/>
                </a:lnTo>
                <a:lnTo>
                  <a:pt x="163" y="443"/>
                </a:lnTo>
                <a:lnTo>
                  <a:pt x="162" y="443"/>
                </a:lnTo>
                <a:lnTo>
                  <a:pt x="162" y="441"/>
                </a:lnTo>
                <a:lnTo>
                  <a:pt x="169" y="433"/>
                </a:lnTo>
                <a:lnTo>
                  <a:pt x="169" y="432"/>
                </a:lnTo>
                <a:lnTo>
                  <a:pt x="172" y="432"/>
                </a:lnTo>
                <a:lnTo>
                  <a:pt x="176" y="427"/>
                </a:lnTo>
                <a:lnTo>
                  <a:pt x="179" y="426"/>
                </a:lnTo>
                <a:lnTo>
                  <a:pt x="179" y="425"/>
                </a:lnTo>
                <a:lnTo>
                  <a:pt x="180" y="424"/>
                </a:lnTo>
                <a:lnTo>
                  <a:pt x="180" y="420"/>
                </a:lnTo>
                <a:lnTo>
                  <a:pt x="181" y="420"/>
                </a:lnTo>
                <a:lnTo>
                  <a:pt x="181" y="419"/>
                </a:lnTo>
                <a:lnTo>
                  <a:pt x="184" y="417"/>
                </a:lnTo>
                <a:lnTo>
                  <a:pt x="185" y="417"/>
                </a:lnTo>
                <a:lnTo>
                  <a:pt x="185" y="415"/>
                </a:lnTo>
                <a:lnTo>
                  <a:pt x="187" y="413"/>
                </a:lnTo>
                <a:lnTo>
                  <a:pt x="187" y="412"/>
                </a:lnTo>
                <a:lnTo>
                  <a:pt x="190" y="412"/>
                </a:lnTo>
                <a:lnTo>
                  <a:pt x="191" y="411"/>
                </a:lnTo>
                <a:lnTo>
                  <a:pt x="191" y="412"/>
                </a:lnTo>
                <a:lnTo>
                  <a:pt x="192" y="412"/>
                </a:lnTo>
                <a:lnTo>
                  <a:pt x="193" y="411"/>
                </a:lnTo>
                <a:lnTo>
                  <a:pt x="194" y="411"/>
                </a:lnTo>
                <a:lnTo>
                  <a:pt x="196" y="410"/>
                </a:lnTo>
                <a:lnTo>
                  <a:pt x="200" y="407"/>
                </a:lnTo>
                <a:lnTo>
                  <a:pt x="201" y="407"/>
                </a:lnTo>
                <a:lnTo>
                  <a:pt x="199" y="405"/>
                </a:lnTo>
                <a:lnTo>
                  <a:pt x="199" y="404"/>
                </a:lnTo>
                <a:lnTo>
                  <a:pt x="200" y="405"/>
                </a:lnTo>
                <a:lnTo>
                  <a:pt x="201" y="405"/>
                </a:lnTo>
                <a:lnTo>
                  <a:pt x="203" y="406"/>
                </a:lnTo>
                <a:lnTo>
                  <a:pt x="203" y="405"/>
                </a:lnTo>
                <a:lnTo>
                  <a:pt x="204" y="406"/>
                </a:lnTo>
                <a:lnTo>
                  <a:pt x="205" y="406"/>
                </a:lnTo>
                <a:lnTo>
                  <a:pt x="205" y="407"/>
                </a:lnTo>
                <a:lnTo>
                  <a:pt x="212" y="407"/>
                </a:lnTo>
                <a:lnTo>
                  <a:pt x="221" y="404"/>
                </a:lnTo>
                <a:lnTo>
                  <a:pt x="224" y="404"/>
                </a:lnTo>
                <a:lnTo>
                  <a:pt x="225" y="405"/>
                </a:lnTo>
                <a:lnTo>
                  <a:pt x="225" y="406"/>
                </a:lnTo>
                <a:lnTo>
                  <a:pt x="231" y="410"/>
                </a:lnTo>
                <a:lnTo>
                  <a:pt x="231" y="411"/>
                </a:lnTo>
                <a:lnTo>
                  <a:pt x="232" y="411"/>
                </a:lnTo>
                <a:lnTo>
                  <a:pt x="232" y="407"/>
                </a:lnTo>
                <a:lnTo>
                  <a:pt x="230" y="405"/>
                </a:lnTo>
                <a:lnTo>
                  <a:pt x="229" y="402"/>
                </a:lnTo>
                <a:lnTo>
                  <a:pt x="229" y="400"/>
                </a:lnTo>
                <a:lnTo>
                  <a:pt x="230" y="399"/>
                </a:lnTo>
                <a:lnTo>
                  <a:pt x="232" y="399"/>
                </a:lnTo>
                <a:lnTo>
                  <a:pt x="234" y="398"/>
                </a:lnTo>
                <a:lnTo>
                  <a:pt x="235" y="398"/>
                </a:lnTo>
                <a:lnTo>
                  <a:pt x="236" y="399"/>
                </a:lnTo>
                <a:lnTo>
                  <a:pt x="238" y="405"/>
                </a:lnTo>
                <a:lnTo>
                  <a:pt x="240" y="406"/>
                </a:lnTo>
                <a:lnTo>
                  <a:pt x="240" y="407"/>
                </a:lnTo>
                <a:lnTo>
                  <a:pt x="246" y="407"/>
                </a:lnTo>
                <a:lnTo>
                  <a:pt x="247" y="406"/>
                </a:lnTo>
                <a:lnTo>
                  <a:pt x="247" y="404"/>
                </a:lnTo>
                <a:lnTo>
                  <a:pt x="246" y="404"/>
                </a:lnTo>
                <a:lnTo>
                  <a:pt x="246" y="405"/>
                </a:lnTo>
                <a:lnTo>
                  <a:pt x="241" y="405"/>
                </a:lnTo>
                <a:lnTo>
                  <a:pt x="240" y="404"/>
                </a:lnTo>
                <a:lnTo>
                  <a:pt x="238" y="401"/>
                </a:lnTo>
                <a:lnTo>
                  <a:pt x="237" y="400"/>
                </a:lnTo>
                <a:lnTo>
                  <a:pt x="232" y="389"/>
                </a:lnTo>
                <a:lnTo>
                  <a:pt x="232" y="387"/>
                </a:lnTo>
                <a:lnTo>
                  <a:pt x="235" y="382"/>
                </a:lnTo>
                <a:lnTo>
                  <a:pt x="237" y="378"/>
                </a:lnTo>
                <a:lnTo>
                  <a:pt x="238" y="378"/>
                </a:lnTo>
                <a:lnTo>
                  <a:pt x="238" y="377"/>
                </a:lnTo>
                <a:lnTo>
                  <a:pt x="240" y="376"/>
                </a:lnTo>
                <a:lnTo>
                  <a:pt x="237" y="376"/>
                </a:lnTo>
                <a:lnTo>
                  <a:pt x="235" y="374"/>
                </a:lnTo>
                <a:lnTo>
                  <a:pt x="234" y="371"/>
                </a:lnTo>
                <a:lnTo>
                  <a:pt x="235" y="365"/>
                </a:lnTo>
                <a:lnTo>
                  <a:pt x="234" y="364"/>
                </a:lnTo>
                <a:lnTo>
                  <a:pt x="236" y="362"/>
                </a:lnTo>
                <a:lnTo>
                  <a:pt x="240" y="361"/>
                </a:lnTo>
                <a:lnTo>
                  <a:pt x="241" y="361"/>
                </a:lnTo>
                <a:lnTo>
                  <a:pt x="242" y="359"/>
                </a:lnTo>
                <a:lnTo>
                  <a:pt x="242" y="358"/>
                </a:lnTo>
                <a:lnTo>
                  <a:pt x="243" y="357"/>
                </a:lnTo>
                <a:lnTo>
                  <a:pt x="243" y="356"/>
                </a:lnTo>
                <a:lnTo>
                  <a:pt x="242" y="357"/>
                </a:lnTo>
                <a:lnTo>
                  <a:pt x="241" y="357"/>
                </a:lnTo>
                <a:lnTo>
                  <a:pt x="240" y="355"/>
                </a:lnTo>
                <a:lnTo>
                  <a:pt x="242" y="352"/>
                </a:lnTo>
                <a:lnTo>
                  <a:pt x="242" y="351"/>
                </a:lnTo>
                <a:lnTo>
                  <a:pt x="243" y="351"/>
                </a:lnTo>
                <a:lnTo>
                  <a:pt x="244" y="350"/>
                </a:lnTo>
                <a:lnTo>
                  <a:pt x="244" y="347"/>
                </a:lnTo>
                <a:lnTo>
                  <a:pt x="243" y="345"/>
                </a:lnTo>
                <a:lnTo>
                  <a:pt x="243" y="344"/>
                </a:lnTo>
                <a:lnTo>
                  <a:pt x="242" y="343"/>
                </a:lnTo>
                <a:lnTo>
                  <a:pt x="243" y="343"/>
                </a:lnTo>
                <a:lnTo>
                  <a:pt x="246" y="340"/>
                </a:lnTo>
                <a:lnTo>
                  <a:pt x="244" y="339"/>
                </a:lnTo>
                <a:lnTo>
                  <a:pt x="244" y="341"/>
                </a:lnTo>
                <a:lnTo>
                  <a:pt x="243" y="341"/>
                </a:lnTo>
                <a:lnTo>
                  <a:pt x="241" y="343"/>
                </a:lnTo>
                <a:lnTo>
                  <a:pt x="241" y="344"/>
                </a:lnTo>
                <a:lnTo>
                  <a:pt x="240" y="344"/>
                </a:lnTo>
                <a:lnTo>
                  <a:pt x="240" y="345"/>
                </a:lnTo>
                <a:lnTo>
                  <a:pt x="238" y="346"/>
                </a:lnTo>
                <a:lnTo>
                  <a:pt x="237" y="346"/>
                </a:lnTo>
                <a:lnTo>
                  <a:pt x="236" y="345"/>
                </a:lnTo>
                <a:lnTo>
                  <a:pt x="236" y="341"/>
                </a:lnTo>
                <a:lnTo>
                  <a:pt x="235" y="341"/>
                </a:lnTo>
                <a:lnTo>
                  <a:pt x="235" y="343"/>
                </a:lnTo>
                <a:lnTo>
                  <a:pt x="234" y="344"/>
                </a:lnTo>
                <a:lnTo>
                  <a:pt x="234" y="345"/>
                </a:lnTo>
                <a:lnTo>
                  <a:pt x="232" y="347"/>
                </a:lnTo>
                <a:lnTo>
                  <a:pt x="230" y="350"/>
                </a:lnTo>
                <a:lnTo>
                  <a:pt x="230" y="352"/>
                </a:lnTo>
                <a:lnTo>
                  <a:pt x="229" y="350"/>
                </a:lnTo>
                <a:lnTo>
                  <a:pt x="227" y="350"/>
                </a:lnTo>
                <a:lnTo>
                  <a:pt x="227" y="345"/>
                </a:lnTo>
                <a:lnTo>
                  <a:pt x="225" y="345"/>
                </a:lnTo>
                <a:lnTo>
                  <a:pt x="228" y="344"/>
                </a:lnTo>
                <a:lnTo>
                  <a:pt x="228" y="338"/>
                </a:lnTo>
                <a:lnTo>
                  <a:pt x="227" y="338"/>
                </a:lnTo>
                <a:lnTo>
                  <a:pt x="227" y="343"/>
                </a:lnTo>
                <a:lnTo>
                  <a:pt x="223" y="343"/>
                </a:lnTo>
                <a:lnTo>
                  <a:pt x="221" y="339"/>
                </a:lnTo>
                <a:lnTo>
                  <a:pt x="219" y="338"/>
                </a:lnTo>
                <a:lnTo>
                  <a:pt x="219" y="332"/>
                </a:lnTo>
                <a:lnTo>
                  <a:pt x="218" y="332"/>
                </a:lnTo>
                <a:lnTo>
                  <a:pt x="216" y="328"/>
                </a:lnTo>
                <a:lnTo>
                  <a:pt x="216" y="327"/>
                </a:lnTo>
                <a:lnTo>
                  <a:pt x="211" y="322"/>
                </a:lnTo>
                <a:lnTo>
                  <a:pt x="211" y="321"/>
                </a:lnTo>
                <a:lnTo>
                  <a:pt x="210" y="320"/>
                </a:lnTo>
                <a:lnTo>
                  <a:pt x="210" y="319"/>
                </a:lnTo>
                <a:lnTo>
                  <a:pt x="211" y="319"/>
                </a:lnTo>
                <a:lnTo>
                  <a:pt x="211" y="316"/>
                </a:lnTo>
                <a:lnTo>
                  <a:pt x="212" y="310"/>
                </a:lnTo>
                <a:lnTo>
                  <a:pt x="215" y="307"/>
                </a:lnTo>
                <a:lnTo>
                  <a:pt x="215" y="304"/>
                </a:lnTo>
                <a:lnTo>
                  <a:pt x="216" y="304"/>
                </a:lnTo>
                <a:lnTo>
                  <a:pt x="218" y="302"/>
                </a:lnTo>
                <a:lnTo>
                  <a:pt x="218" y="300"/>
                </a:lnTo>
                <a:lnTo>
                  <a:pt x="219" y="295"/>
                </a:lnTo>
                <a:lnTo>
                  <a:pt x="221" y="292"/>
                </a:lnTo>
                <a:lnTo>
                  <a:pt x="221" y="291"/>
                </a:lnTo>
                <a:lnTo>
                  <a:pt x="222" y="291"/>
                </a:lnTo>
                <a:lnTo>
                  <a:pt x="223" y="292"/>
                </a:lnTo>
                <a:lnTo>
                  <a:pt x="224" y="292"/>
                </a:lnTo>
                <a:lnTo>
                  <a:pt x="225" y="291"/>
                </a:lnTo>
                <a:lnTo>
                  <a:pt x="223" y="290"/>
                </a:lnTo>
                <a:lnTo>
                  <a:pt x="224" y="289"/>
                </a:lnTo>
                <a:lnTo>
                  <a:pt x="228" y="288"/>
                </a:lnTo>
                <a:lnTo>
                  <a:pt x="229" y="289"/>
                </a:lnTo>
                <a:lnTo>
                  <a:pt x="231" y="289"/>
                </a:lnTo>
                <a:lnTo>
                  <a:pt x="235" y="288"/>
                </a:lnTo>
                <a:lnTo>
                  <a:pt x="232" y="288"/>
                </a:lnTo>
                <a:lnTo>
                  <a:pt x="234" y="287"/>
                </a:lnTo>
                <a:lnTo>
                  <a:pt x="235" y="287"/>
                </a:lnTo>
                <a:lnTo>
                  <a:pt x="235" y="285"/>
                </a:lnTo>
                <a:lnTo>
                  <a:pt x="234" y="285"/>
                </a:lnTo>
                <a:lnTo>
                  <a:pt x="230" y="287"/>
                </a:lnTo>
                <a:lnTo>
                  <a:pt x="217" y="285"/>
                </a:lnTo>
                <a:lnTo>
                  <a:pt x="215" y="285"/>
                </a:lnTo>
                <a:lnTo>
                  <a:pt x="215" y="287"/>
                </a:lnTo>
                <a:lnTo>
                  <a:pt x="212" y="284"/>
                </a:lnTo>
                <a:lnTo>
                  <a:pt x="212" y="292"/>
                </a:lnTo>
                <a:lnTo>
                  <a:pt x="211" y="294"/>
                </a:lnTo>
                <a:lnTo>
                  <a:pt x="207" y="292"/>
                </a:lnTo>
                <a:lnTo>
                  <a:pt x="206" y="292"/>
                </a:lnTo>
                <a:lnTo>
                  <a:pt x="205" y="295"/>
                </a:lnTo>
                <a:lnTo>
                  <a:pt x="203" y="294"/>
                </a:lnTo>
                <a:lnTo>
                  <a:pt x="201" y="292"/>
                </a:lnTo>
                <a:lnTo>
                  <a:pt x="201" y="294"/>
                </a:lnTo>
                <a:lnTo>
                  <a:pt x="200" y="294"/>
                </a:lnTo>
                <a:lnTo>
                  <a:pt x="201" y="295"/>
                </a:lnTo>
                <a:lnTo>
                  <a:pt x="200" y="295"/>
                </a:lnTo>
                <a:lnTo>
                  <a:pt x="200" y="296"/>
                </a:lnTo>
                <a:lnTo>
                  <a:pt x="201" y="297"/>
                </a:lnTo>
                <a:lnTo>
                  <a:pt x="199" y="298"/>
                </a:lnTo>
                <a:lnTo>
                  <a:pt x="196" y="301"/>
                </a:lnTo>
                <a:lnTo>
                  <a:pt x="192" y="301"/>
                </a:lnTo>
                <a:lnTo>
                  <a:pt x="192" y="296"/>
                </a:lnTo>
                <a:lnTo>
                  <a:pt x="191" y="297"/>
                </a:lnTo>
                <a:lnTo>
                  <a:pt x="191" y="301"/>
                </a:lnTo>
                <a:lnTo>
                  <a:pt x="190" y="301"/>
                </a:lnTo>
                <a:lnTo>
                  <a:pt x="187" y="300"/>
                </a:lnTo>
                <a:lnTo>
                  <a:pt x="185" y="297"/>
                </a:lnTo>
                <a:lnTo>
                  <a:pt x="186" y="294"/>
                </a:lnTo>
                <a:lnTo>
                  <a:pt x="184" y="296"/>
                </a:lnTo>
                <a:lnTo>
                  <a:pt x="182" y="296"/>
                </a:lnTo>
                <a:lnTo>
                  <a:pt x="180" y="295"/>
                </a:lnTo>
                <a:lnTo>
                  <a:pt x="179" y="294"/>
                </a:lnTo>
                <a:lnTo>
                  <a:pt x="179" y="292"/>
                </a:lnTo>
                <a:lnTo>
                  <a:pt x="178" y="291"/>
                </a:lnTo>
                <a:lnTo>
                  <a:pt x="176" y="291"/>
                </a:lnTo>
                <a:lnTo>
                  <a:pt x="176" y="296"/>
                </a:lnTo>
                <a:lnTo>
                  <a:pt x="178" y="297"/>
                </a:lnTo>
                <a:lnTo>
                  <a:pt x="179" y="297"/>
                </a:lnTo>
                <a:lnTo>
                  <a:pt x="180" y="298"/>
                </a:lnTo>
                <a:lnTo>
                  <a:pt x="180" y="300"/>
                </a:lnTo>
                <a:lnTo>
                  <a:pt x="179" y="300"/>
                </a:lnTo>
                <a:lnTo>
                  <a:pt x="179" y="301"/>
                </a:lnTo>
                <a:lnTo>
                  <a:pt x="180" y="302"/>
                </a:lnTo>
                <a:lnTo>
                  <a:pt x="179" y="303"/>
                </a:lnTo>
                <a:lnTo>
                  <a:pt x="179" y="304"/>
                </a:lnTo>
                <a:lnTo>
                  <a:pt x="180" y="306"/>
                </a:lnTo>
                <a:lnTo>
                  <a:pt x="179" y="307"/>
                </a:lnTo>
                <a:lnTo>
                  <a:pt x="179" y="308"/>
                </a:lnTo>
                <a:lnTo>
                  <a:pt x="178" y="308"/>
                </a:lnTo>
                <a:lnTo>
                  <a:pt x="176" y="307"/>
                </a:lnTo>
                <a:lnTo>
                  <a:pt x="175" y="307"/>
                </a:lnTo>
                <a:lnTo>
                  <a:pt x="175" y="306"/>
                </a:lnTo>
                <a:lnTo>
                  <a:pt x="173" y="306"/>
                </a:lnTo>
                <a:lnTo>
                  <a:pt x="170" y="302"/>
                </a:lnTo>
                <a:lnTo>
                  <a:pt x="169" y="301"/>
                </a:lnTo>
                <a:lnTo>
                  <a:pt x="165" y="297"/>
                </a:lnTo>
                <a:lnTo>
                  <a:pt x="162" y="297"/>
                </a:lnTo>
                <a:lnTo>
                  <a:pt x="161" y="296"/>
                </a:lnTo>
                <a:lnTo>
                  <a:pt x="161" y="295"/>
                </a:lnTo>
                <a:lnTo>
                  <a:pt x="160" y="294"/>
                </a:lnTo>
                <a:lnTo>
                  <a:pt x="157" y="294"/>
                </a:lnTo>
                <a:lnTo>
                  <a:pt x="157" y="295"/>
                </a:lnTo>
                <a:lnTo>
                  <a:pt x="156" y="295"/>
                </a:lnTo>
                <a:lnTo>
                  <a:pt x="155" y="296"/>
                </a:lnTo>
                <a:lnTo>
                  <a:pt x="155" y="297"/>
                </a:lnTo>
                <a:lnTo>
                  <a:pt x="154" y="297"/>
                </a:lnTo>
                <a:lnTo>
                  <a:pt x="154" y="301"/>
                </a:lnTo>
                <a:lnTo>
                  <a:pt x="155" y="301"/>
                </a:lnTo>
                <a:lnTo>
                  <a:pt x="155" y="302"/>
                </a:lnTo>
                <a:lnTo>
                  <a:pt x="156" y="304"/>
                </a:lnTo>
                <a:lnTo>
                  <a:pt x="156" y="306"/>
                </a:lnTo>
                <a:lnTo>
                  <a:pt x="157" y="307"/>
                </a:lnTo>
                <a:lnTo>
                  <a:pt x="157" y="310"/>
                </a:lnTo>
                <a:lnTo>
                  <a:pt x="155" y="310"/>
                </a:lnTo>
                <a:lnTo>
                  <a:pt x="154" y="309"/>
                </a:lnTo>
                <a:lnTo>
                  <a:pt x="154" y="304"/>
                </a:lnTo>
                <a:lnTo>
                  <a:pt x="153" y="304"/>
                </a:lnTo>
                <a:lnTo>
                  <a:pt x="153" y="302"/>
                </a:lnTo>
                <a:lnTo>
                  <a:pt x="150" y="300"/>
                </a:lnTo>
                <a:lnTo>
                  <a:pt x="147" y="295"/>
                </a:lnTo>
                <a:lnTo>
                  <a:pt x="145" y="294"/>
                </a:lnTo>
                <a:lnTo>
                  <a:pt x="144" y="290"/>
                </a:lnTo>
                <a:lnTo>
                  <a:pt x="144" y="284"/>
                </a:lnTo>
                <a:lnTo>
                  <a:pt x="145" y="283"/>
                </a:lnTo>
                <a:lnTo>
                  <a:pt x="147" y="283"/>
                </a:lnTo>
                <a:lnTo>
                  <a:pt x="147" y="282"/>
                </a:lnTo>
                <a:lnTo>
                  <a:pt x="148" y="283"/>
                </a:lnTo>
                <a:lnTo>
                  <a:pt x="148" y="284"/>
                </a:lnTo>
                <a:lnTo>
                  <a:pt x="149" y="284"/>
                </a:lnTo>
                <a:lnTo>
                  <a:pt x="149" y="289"/>
                </a:lnTo>
                <a:lnTo>
                  <a:pt x="150" y="290"/>
                </a:lnTo>
                <a:lnTo>
                  <a:pt x="150" y="291"/>
                </a:lnTo>
                <a:lnTo>
                  <a:pt x="151" y="291"/>
                </a:lnTo>
                <a:lnTo>
                  <a:pt x="153" y="290"/>
                </a:lnTo>
                <a:lnTo>
                  <a:pt x="153" y="289"/>
                </a:lnTo>
                <a:lnTo>
                  <a:pt x="151" y="287"/>
                </a:lnTo>
                <a:lnTo>
                  <a:pt x="150" y="285"/>
                </a:lnTo>
                <a:lnTo>
                  <a:pt x="150" y="279"/>
                </a:lnTo>
                <a:lnTo>
                  <a:pt x="151" y="278"/>
                </a:lnTo>
                <a:lnTo>
                  <a:pt x="151" y="273"/>
                </a:lnTo>
                <a:lnTo>
                  <a:pt x="153" y="273"/>
                </a:lnTo>
                <a:lnTo>
                  <a:pt x="157" y="269"/>
                </a:lnTo>
                <a:lnTo>
                  <a:pt x="157" y="266"/>
                </a:lnTo>
                <a:lnTo>
                  <a:pt x="159" y="264"/>
                </a:lnTo>
                <a:lnTo>
                  <a:pt x="159" y="260"/>
                </a:lnTo>
                <a:lnTo>
                  <a:pt x="161" y="258"/>
                </a:lnTo>
                <a:lnTo>
                  <a:pt x="161" y="257"/>
                </a:lnTo>
                <a:lnTo>
                  <a:pt x="162" y="257"/>
                </a:lnTo>
                <a:lnTo>
                  <a:pt x="162" y="254"/>
                </a:lnTo>
                <a:lnTo>
                  <a:pt x="163" y="252"/>
                </a:lnTo>
                <a:lnTo>
                  <a:pt x="167" y="251"/>
                </a:lnTo>
                <a:lnTo>
                  <a:pt x="168" y="249"/>
                </a:lnTo>
                <a:lnTo>
                  <a:pt x="168" y="246"/>
                </a:lnTo>
                <a:lnTo>
                  <a:pt x="166" y="244"/>
                </a:lnTo>
                <a:lnTo>
                  <a:pt x="166" y="241"/>
                </a:lnTo>
                <a:lnTo>
                  <a:pt x="163" y="239"/>
                </a:lnTo>
                <a:lnTo>
                  <a:pt x="161" y="238"/>
                </a:lnTo>
                <a:lnTo>
                  <a:pt x="160" y="238"/>
                </a:lnTo>
                <a:lnTo>
                  <a:pt x="160" y="236"/>
                </a:lnTo>
                <a:lnTo>
                  <a:pt x="155" y="232"/>
                </a:lnTo>
                <a:lnTo>
                  <a:pt x="157" y="229"/>
                </a:lnTo>
                <a:lnTo>
                  <a:pt x="157" y="223"/>
                </a:lnTo>
                <a:lnTo>
                  <a:pt x="156" y="220"/>
                </a:lnTo>
                <a:lnTo>
                  <a:pt x="156" y="216"/>
                </a:lnTo>
                <a:lnTo>
                  <a:pt x="159" y="214"/>
                </a:lnTo>
                <a:lnTo>
                  <a:pt x="160" y="214"/>
                </a:lnTo>
                <a:lnTo>
                  <a:pt x="161" y="212"/>
                </a:lnTo>
                <a:lnTo>
                  <a:pt x="163" y="215"/>
                </a:lnTo>
                <a:lnTo>
                  <a:pt x="165" y="215"/>
                </a:lnTo>
                <a:lnTo>
                  <a:pt x="165" y="214"/>
                </a:lnTo>
                <a:lnTo>
                  <a:pt x="166" y="215"/>
                </a:lnTo>
                <a:lnTo>
                  <a:pt x="173" y="216"/>
                </a:lnTo>
                <a:lnTo>
                  <a:pt x="174" y="215"/>
                </a:lnTo>
                <a:lnTo>
                  <a:pt x="169" y="214"/>
                </a:lnTo>
                <a:lnTo>
                  <a:pt x="168" y="214"/>
                </a:lnTo>
                <a:lnTo>
                  <a:pt x="166" y="212"/>
                </a:lnTo>
                <a:lnTo>
                  <a:pt x="162" y="209"/>
                </a:lnTo>
                <a:lnTo>
                  <a:pt x="161" y="209"/>
                </a:lnTo>
                <a:lnTo>
                  <a:pt x="161" y="208"/>
                </a:lnTo>
                <a:lnTo>
                  <a:pt x="160" y="206"/>
                </a:lnTo>
                <a:lnTo>
                  <a:pt x="160" y="204"/>
                </a:lnTo>
                <a:lnTo>
                  <a:pt x="159" y="204"/>
                </a:lnTo>
                <a:lnTo>
                  <a:pt x="159" y="206"/>
                </a:lnTo>
                <a:lnTo>
                  <a:pt x="161" y="209"/>
                </a:lnTo>
                <a:lnTo>
                  <a:pt x="161" y="211"/>
                </a:lnTo>
                <a:lnTo>
                  <a:pt x="159" y="211"/>
                </a:lnTo>
                <a:lnTo>
                  <a:pt x="157" y="210"/>
                </a:lnTo>
                <a:lnTo>
                  <a:pt x="157" y="205"/>
                </a:lnTo>
                <a:lnTo>
                  <a:pt x="162" y="196"/>
                </a:lnTo>
                <a:lnTo>
                  <a:pt x="162" y="195"/>
                </a:lnTo>
                <a:lnTo>
                  <a:pt x="161" y="196"/>
                </a:lnTo>
                <a:lnTo>
                  <a:pt x="159" y="201"/>
                </a:lnTo>
                <a:lnTo>
                  <a:pt x="159" y="202"/>
                </a:lnTo>
                <a:lnTo>
                  <a:pt x="157" y="202"/>
                </a:lnTo>
                <a:lnTo>
                  <a:pt x="157" y="197"/>
                </a:lnTo>
                <a:lnTo>
                  <a:pt x="155" y="197"/>
                </a:lnTo>
                <a:lnTo>
                  <a:pt x="156" y="198"/>
                </a:lnTo>
                <a:lnTo>
                  <a:pt x="156" y="211"/>
                </a:lnTo>
                <a:lnTo>
                  <a:pt x="155" y="210"/>
                </a:lnTo>
                <a:lnTo>
                  <a:pt x="154" y="210"/>
                </a:lnTo>
                <a:lnTo>
                  <a:pt x="156" y="212"/>
                </a:lnTo>
                <a:lnTo>
                  <a:pt x="155" y="214"/>
                </a:lnTo>
                <a:lnTo>
                  <a:pt x="155" y="215"/>
                </a:lnTo>
                <a:lnTo>
                  <a:pt x="154" y="216"/>
                </a:lnTo>
                <a:lnTo>
                  <a:pt x="154" y="218"/>
                </a:lnTo>
                <a:lnTo>
                  <a:pt x="153" y="220"/>
                </a:lnTo>
                <a:lnTo>
                  <a:pt x="151" y="220"/>
                </a:lnTo>
                <a:lnTo>
                  <a:pt x="150" y="218"/>
                </a:lnTo>
                <a:lnTo>
                  <a:pt x="149" y="216"/>
                </a:lnTo>
                <a:lnTo>
                  <a:pt x="149" y="212"/>
                </a:lnTo>
                <a:lnTo>
                  <a:pt x="148" y="210"/>
                </a:lnTo>
                <a:lnTo>
                  <a:pt x="147" y="210"/>
                </a:lnTo>
                <a:lnTo>
                  <a:pt x="147" y="211"/>
                </a:lnTo>
                <a:lnTo>
                  <a:pt x="148" y="215"/>
                </a:lnTo>
                <a:lnTo>
                  <a:pt x="149" y="216"/>
                </a:lnTo>
                <a:lnTo>
                  <a:pt x="148" y="217"/>
                </a:lnTo>
                <a:lnTo>
                  <a:pt x="144" y="215"/>
                </a:lnTo>
                <a:lnTo>
                  <a:pt x="144" y="212"/>
                </a:lnTo>
                <a:lnTo>
                  <a:pt x="143" y="214"/>
                </a:lnTo>
                <a:lnTo>
                  <a:pt x="143" y="216"/>
                </a:lnTo>
                <a:lnTo>
                  <a:pt x="142" y="218"/>
                </a:lnTo>
                <a:lnTo>
                  <a:pt x="143" y="220"/>
                </a:lnTo>
                <a:lnTo>
                  <a:pt x="143" y="222"/>
                </a:lnTo>
                <a:lnTo>
                  <a:pt x="141" y="221"/>
                </a:lnTo>
                <a:lnTo>
                  <a:pt x="140" y="221"/>
                </a:lnTo>
                <a:lnTo>
                  <a:pt x="138" y="218"/>
                </a:lnTo>
                <a:lnTo>
                  <a:pt x="138" y="217"/>
                </a:lnTo>
                <a:lnTo>
                  <a:pt x="137" y="217"/>
                </a:lnTo>
                <a:lnTo>
                  <a:pt x="137" y="215"/>
                </a:lnTo>
                <a:lnTo>
                  <a:pt x="138" y="215"/>
                </a:lnTo>
                <a:lnTo>
                  <a:pt x="138" y="212"/>
                </a:lnTo>
                <a:lnTo>
                  <a:pt x="137" y="210"/>
                </a:lnTo>
                <a:lnTo>
                  <a:pt x="138" y="209"/>
                </a:lnTo>
                <a:lnTo>
                  <a:pt x="143" y="201"/>
                </a:lnTo>
                <a:lnTo>
                  <a:pt x="148" y="198"/>
                </a:lnTo>
                <a:lnTo>
                  <a:pt x="149" y="195"/>
                </a:lnTo>
                <a:lnTo>
                  <a:pt x="151" y="192"/>
                </a:lnTo>
                <a:lnTo>
                  <a:pt x="153" y="192"/>
                </a:lnTo>
                <a:lnTo>
                  <a:pt x="155" y="191"/>
                </a:lnTo>
                <a:lnTo>
                  <a:pt x="155" y="190"/>
                </a:lnTo>
                <a:lnTo>
                  <a:pt x="153" y="191"/>
                </a:lnTo>
                <a:lnTo>
                  <a:pt x="150" y="191"/>
                </a:lnTo>
                <a:lnTo>
                  <a:pt x="150" y="192"/>
                </a:lnTo>
                <a:lnTo>
                  <a:pt x="149" y="192"/>
                </a:lnTo>
                <a:lnTo>
                  <a:pt x="149" y="193"/>
                </a:lnTo>
                <a:lnTo>
                  <a:pt x="148" y="196"/>
                </a:lnTo>
                <a:lnTo>
                  <a:pt x="148" y="197"/>
                </a:lnTo>
                <a:lnTo>
                  <a:pt x="142" y="201"/>
                </a:lnTo>
                <a:lnTo>
                  <a:pt x="138" y="205"/>
                </a:lnTo>
                <a:lnTo>
                  <a:pt x="137" y="205"/>
                </a:lnTo>
                <a:lnTo>
                  <a:pt x="137" y="208"/>
                </a:lnTo>
                <a:lnTo>
                  <a:pt x="136" y="209"/>
                </a:lnTo>
                <a:lnTo>
                  <a:pt x="134" y="209"/>
                </a:lnTo>
                <a:lnTo>
                  <a:pt x="132" y="214"/>
                </a:lnTo>
                <a:lnTo>
                  <a:pt x="134" y="214"/>
                </a:lnTo>
                <a:lnTo>
                  <a:pt x="135" y="215"/>
                </a:lnTo>
                <a:lnTo>
                  <a:pt x="135" y="218"/>
                </a:lnTo>
                <a:lnTo>
                  <a:pt x="136" y="220"/>
                </a:lnTo>
                <a:lnTo>
                  <a:pt x="135" y="220"/>
                </a:lnTo>
                <a:lnTo>
                  <a:pt x="137" y="222"/>
                </a:lnTo>
                <a:lnTo>
                  <a:pt x="138" y="224"/>
                </a:lnTo>
                <a:lnTo>
                  <a:pt x="138" y="227"/>
                </a:lnTo>
                <a:lnTo>
                  <a:pt x="137" y="228"/>
                </a:lnTo>
                <a:lnTo>
                  <a:pt x="136" y="228"/>
                </a:lnTo>
                <a:lnTo>
                  <a:pt x="134" y="230"/>
                </a:lnTo>
                <a:lnTo>
                  <a:pt x="134" y="232"/>
                </a:lnTo>
                <a:lnTo>
                  <a:pt x="132" y="233"/>
                </a:lnTo>
                <a:lnTo>
                  <a:pt x="132" y="236"/>
                </a:lnTo>
                <a:lnTo>
                  <a:pt x="131" y="236"/>
                </a:lnTo>
                <a:lnTo>
                  <a:pt x="131" y="239"/>
                </a:lnTo>
                <a:lnTo>
                  <a:pt x="132" y="240"/>
                </a:lnTo>
                <a:lnTo>
                  <a:pt x="132" y="241"/>
                </a:lnTo>
                <a:lnTo>
                  <a:pt x="131" y="242"/>
                </a:lnTo>
                <a:lnTo>
                  <a:pt x="131" y="245"/>
                </a:lnTo>
                <a:lnTo>
                  <a:pt x="130" y="246"/>
                </a:lnTo>
                <a:lnTo>
                  <a:pt x="130" y="248"/>
                </a:lnTo>
                <a:lnTo>
                  <a:pt x="129" y="251"/>
                </a:lnTo>
                <a:lnTo>
                  <a:pt x="129" y="252"/>
                </a:lnTo>
                <a:lnTo>
                  <a:pt x="128" y="252"/>
                </a:lnTo>
                <a:lnTo>
                  <a:pt x="129" y="253"/>
                </a:lnTo>
                <a:lnTo>
                  <a:pt x="129" y="254"/>
                </a:lnTo>
                <a:lnTo>
                  <a:pt x="130" y="255"/>
                </a:lnTo>
                <a:lnTo>
                  <a:pt x="130" y="258"/>
                </a:lnTo>
                <a:lnTo>
                  <a:pt x="129" y="260"/>
                </a:lnTo>
                <a:lnTo>
                  <a:pt x="128" y="260"/>
                </a:lnTo>
                <a:lnTo>
                  <a:pt x="126" y="261"/>
                </a:lnTo>
                <a:lnTo>
                  <a:pt x="123" y="261"/>
                </a:lnTo>
                <a:lnTo>
                  <a:pt x="122" y="263"/>
                </a:lnTo>
                <a:lnTo>
                  <a:pt x="119" y="263"/>
                </a:lnTo>
                <a:lnTo>
                  <a:pt x="119" y="261"/>
                </a:lnTo>
                <a:lnTo>
                  <a:pt x="118" y="258"/>
                </a:lnTo>
                <a:lnTo>
                  <a:pt x="118" y="254"/>
                </a:lnTo>
                <a:lnTo>
                  <a:pt x="119" y="254"/>
                </a:lnTo>
                <a:lnTo>
                  <a:pt x="122" y="252"/>
                </a:lnTo>
                <a:lnTo>
                  <a:pt x="122" y="241"/>
                </a:lnTo>
                <a:lnTo>
                  <a:pt x="123" y="240"/>
                </a:lnTo>
                <a:lnTo>
                  <a:pt x="124" y="236"/>
                </a:lnTo>
                <a:lnTo>
                  <a:pt x="124" y="235"/>
                </a:lnTo>
                <a:lnTo>
                  <a:pt x="123" y="234"/>
                </a:lnTo>
                <a:lnTo>
                  <a:pt x="125" y="233"/>
                </a:lnTo>
                <a:lnTo>
                  <a:pt x="126" y="232"/>
                </a:lnTo>
                <a:lnTo>
                  <a:pt x="126" y="229"/>
                </a:lnTo>
                <a:lnTo>
                  <a:pt x="129" y="227"/>
                </a:lnTo>
                <a:lnTo>
                  <a:pt x="131" y="226"/>
                </a:lnTo>
                <a:lnTo>
                  <a:pt x="132" y="223"/>
                </a:lnTo>
                <a:lnTo>
                  <a:pt x="132" y="221"/>
                </a:lnTo>
                <a:lnTo>
                  <a:pt x="129" y="226"/>
                </a:lnTo>
                <a:lnTo>
                  <a:pt x="126" y="228"/>
                </a:lnTo>
                <a:lnTo>
                  <a:pt x="126" y="227"/>
                </a:lnTo>
                <a:lnTo>
                  <a:pt x="125" y="226"/>
                </a:lnTo>
                <a:lnTo>
                  <a:pt x="124" y="226"/>
                </a:lnTo>
                <a:lnTo>
                  <a:pt x="124" y="221"/>
                </a:lnTo>
                <a:lnTo>
                  <a:pt x="125" y="218"/>
                </a:lnTo>
                <a:lnTo>
                  <a:pt x="126" y="217"/>
                </a:lnTo>
                <a:lnTo>
                  <a:pt x="126" y="216"/>
                </a:lnTo>
                <a:lnTo>
                  <a:pt x="128" y="216"/>
                </a:lnTo>
                <a:lnTo>
                  <a:pt x="128" y="215"/>
                </a:lnTo>
                <a:lnTo>
                  <a:pt x="126" y="215"/>
                </a:lnTo>
                <a:lnTo>
                  <a:pt x="125" y="217"/>
                </a:lnTo>
                <a:lnTo>
                  <a:pt x="124" y="217"/>
                </a:lnTo>
                <a:lnTo>
                  <a:pt x="124" y="218"/>
                </a:lnTo>
                <a:lnTo>
                  <a:pt x="123" y="218"/>
                </a:lnTo>
                <a:lnTo>
                  <a:pt x="123" y="216"/>
                </a:lnTo>
                <a:lnTo>
                  <a:pt x="128" y="209"/>
                </a:lnTo>
                <a:lnTo>
                  <a:pt x="128" y="206"/>
                </a:lnTo>
                <a:lnTo>
                  <a:pt x="126" y="206"/>
                </a:lnTo>
                <a:lnTo>
                  <a:pt x="126" y="208"/>
                </a:lnTo>
                <a:lnTo>
                  <a:pt x="125" y="208"/>
                </a:lnTo>
                <a:lnTo>
                  <a:pt x="125" y="209"/>
                </a:lnTo>
                <a:lnTo>
                  <a:pt x="124" y="211"/>
                </a:lnTo>
                <a:lnTo>
                  <a:pt x="124" y="214"/>
                </a:lnTo>
                <a:lnTo>
                  <a:pt x="123" y="215"/>
                </a:lnTo>
                <a:lnTo>
                  <a:pt x="122" y="214"/>
                </a:lnTo>
                <a:lnTo>
                  <a:pt x="123" y="214"/>
                </a:lnTo>
                <a:lnTo>
                  <a:pt x="123" y="211"/>
                </a:lnTo>
                <a:lnTo>
                  <a:pt x="124" y="208"/>
                </a:lnTo>
                <a:lnTo>
                  <a:pt x="128" y="203"/>
                </a:lnTo>
                <a:lnTo>
                  <a:pt x="130" y="203"/>
                </a:lnTo>
                <a:lnTo>
                  <a:pt x="129" y="202"/>
                </a:lnTo>
                <a:lnTo>
                  <a:pt x="129" y="199"/>
                </a:lnTo>
                <a:lnTo>
                  <a:pt x="130" y="197"/>
                </a:lnTo>
                <a:lnTo>
                  <a:pt x="130" y="196"/>
                </a:lnTo>
                <a:lnTo>
                  <a:pt x="129" y="196"/>
                </a:lnTo>
                <a:lnTo>
                  <a:pt x="129" y="197"/>
                </a:lnTo>
                <a:lnTo>
                  <a:pt x="126" y="199"/>
                </a:lnTo>
                <a:lnTo>
                  <a:pt x="126" y="198"/>
                </a:lnTo>
                <a:lnTo>
                  <a:pt x="128" y="196"/>
                </a:lnTo>
                <a:lnTo>
                  <a:pt x="128" y="195"/>
                </a:lnTo>
                <a:lnTo>
                  <a:pt x="129" y="193"/>
                </a:lnTo>
                <a:lnTo>
                  <a:pt x="129" y="192"/>
                </a:lnTo>
                <a:lnTo>
                  <a:pt x="130" y="191"/>
                </a:lnTo>
                <a:lnTo>
                  <a:pt x="131" y="191"/>
                </a:lnTo>
                <a:lnTo>
                  <a:pt x="131" y="190"/>
                </a:lnTo>
                <a:lnTo>
                  <a:pt x="129" y="190"/>
                </a:lnTo>
                <a:lnTo>
                  <a:pt x="128" y="191"/>
                </a:lnTo>
                <a:lnTo>
                  <a:pt x="126" y="190"/>
                </a:lnTo>
                <a:lnTo>
                  <a:pt x="128" y="187"/>
                </a:lnTo>
                <a:lnTo>
                  <a:pt x="128" y="186"/>
                </a:lnTo>
                <a:lnTo>
                  <a:pt x="126" y="186"/>
                </a:lnTo>
                <a:lnTo>
                  <a:pt x="126" y="189"/>
                </a:lnTo>
                <a:lnTo>
                  <a:pt x="125" y="189"/>
                </a:lnTo>
                <a:lnTo>
                  <a:pt x="125" y="185"/>
                </a:lnTo>
                <a:lnTo>
                  <a:pt x="128" y="185"/>
                </a:lnTo>
                <a:lnTo>
                  <a:pt x="129" y="184"/>
                </a:lnTo>
                <a:lnTo>
                  <a:pt x="129" y="183"/>
                </a:lnTo>
                <a:lnTo>
                  <a:pt x="130" y="184"/>
                </a:lnTo>
                <a:lnTo>
                  <a:pt x="131" y="184"/>
                </a:lnTo>
                <a:lnTo>
                  <a:pt x="134" y="183"/>
                </a:lnTo>
                <a:lnTo>
                  <a:pt x="129" y="183"/>
                </a:lnTo>
                <a:lnTo>
                  <a:pt x="130" y="180"/>
                </a:lnTo>
                <a:lnTo>
                  <a:pt x="130" y="179"/>
                </a:lnTo>
                <a:lnTo>
                  <a:pt x="132" y="179"/>
                </a:lnTo>
                <a:lnTo>
                  <a:pt x="131" y="178"/>
                </a:lnTo>
                <a:lnTo>
                  <a:pt x="134" y="175"/>
                </a:lnTo>
                <a:lnTo>
                  <a:pt x="138" y="175"/>
                </a:lnTo>
                <a:lnTo>
                  <a:pt x="142" y="177"/>
                </a:lnTo>
                <a:lnTo>
                  <a:pt x="143" y="175"/>
                </a:lnTo>
                <a:lnTo>
                  <a:pt x="144" y="175"/>
                </a:lnTo>
                <a:lnTo>
                  <a:pt x="145" y="173"/>
                </a:lnTo>
                <a:lnTo>
                  <a:pt x="145" y="172"/>
                </a:lnTo>
                <a:lnTo>
                  <a:pt x="148" y="169"/>
                </a:lnTo>
                <a:lnTo>
                  <a:pt x="148" y="168"/>
                </a:lnTo>
                <a:lnTo>
                  <a:pt x="149" y="167"/>
                </a:lnTo>
                <a:lnTo>
                  <a:pt x="148" y="167"/>
                </a:lnTo>
                <a:lnTo>
                  <a:pt x="148" y="168"/>
                </a:lnTo>
                <a:lnTo>
                  <a:pt x="147" y="171"/>
                </a:lnTo>
                <a:lnTo>
                  <a:pt x="145" y="172"/>
                </a:lnTo>
                <a:lnTo>
                  <a:pt x="145" y="173"/>
                </a:lnTo>
                <a:lnTo>
                  <a:pt x="144" y="174"/>
                </a:lnTo>
                <a:lnTo>
                  <a:pt x="143" y="174"/>
                </a:lnTo>
                <a:lnTo>
                  <a:pt x="142" y="175"/>
                </a:lnTo>
                <a:lnTo>
                  <a:pt x="137" y="174"/>
                </a:lnTo>
                <a:lnTo>
                  <a:pt x="136" y="175"/>
                </a:lnTo>
                <a:lnTo>
                  <a:pt x="136" y="174"/>
                </a:lnTo>
                <a:lnTo>
                  <a:pt x="135" y="172"/>
                </a:lnTo>
                <a:lnTo>
                  <a:pt x="134" y="172"/>
                </a:lnTo>
                <a:lnTo>
                  <a:pt x="134" y="173"/>
                </a:lnTo>
                <a:lnTo>
                  <a:pt x="132" y="174"/>
                </a:lnTo>
                <a:lnTo>
                  <a:pt x="134" y="169"/>
                </a:lnTo>
                <a:lnTo>
                  <a:pt x="135" y="169"/>
                </a:lnTo>
                <a:lnTo>
                  <a:pt x="136" y="171"/>
                </a:lnTo>
                <a:lnTo>
                  <a:pt x="137" y="171"/>
                </a:lnTo>
                <a:lnTo>
                  <a:pt x="137" y="169"/>
                </a:lnTo>
                <a:lnTo>
                  <a:pt x="140" y="168"/>
                </a:lnTo>
                <a:lnTo>
                  <a:pt x="137" y="168"/>
                </a:lnTo>
                <a:lnTo>
                  <a:pt x="137" y="169"/>
                </a:lnTo>
                <a:lnTo>
                  <a:pt x="136" y="169"/>
                </a:lnTo>
                <a:lnTo>
                  <a:pt x="135" y="168"/>
                </a:lnTo>
                <a:lnTo>
                  <a:pt x="135" y="167"/>
                </a:lnTo>
                <a:lnTo>
                  <a:pt x="136" y="167"/>
                </a:lnTo>
                <a:lnTo>
                  <a:pt x="136" y="166"/>
                </a:lnTo>
                <a:lnTo>
                  <a:pt x="138" y="161"/>
                </a:lnTo>
                <a:lnTo>
                  <a:pt x="140" y="161"/>
                </a:lnTo>
                <a:lnTo>
                  <a:pt x="138" y="160"/>
                </a:lnTo>
                <a:lnTo>
                  <a:pt x="140" y="159"/>
                </a:lnTo>
                <a:lnTo>
                  <a:pt x="142" y="159"/>
                </a:lnTo>
                <a:lnTo>
                  <a:pt x="143" y="158"/>
                </a:lnTo>
                <a:lnTo>
                  <a:pt x="147" y="158"/>
                </a:lnTo>
                <a:lnTo>
                  <a:pt x="148" y="156"/>
                </a:lnTo>
                <a:lnTo>
                  <a:pt x="151" y="156"/>
                </a:lnTo>
                <a:lnTo>
                  <a:pt x="153" y="155"/>
                </a:lnTo>
                <a:lnTo>
                  <a:pt x="145" y="156"/>
                </a:lnTo>
                <a:lnTo>
                  <a:pt x="142" y="155"/>
                </a:lnTo>
                <a:lnTo>
                  <a:pt x="142" y="154"/>
                </a:lnTo>
                <a:lnTo>
                  <a:pt x="147" y="149"/>
                </a:lnTo>
                <a:lnTo>
                  <a:pt x="147" y="148"/>
                </a:lnTo>
                <a:lnTo>
                  <a:pt x="144" y="149"/>
                </a:lnTo>
                <a:lnTo>
                  <a:pt x="144" y="150"/>
                </a:lnTo>
                <a:lnTo>
                  <a:pt x="143" y="152"/>
                </a:lnTo>
                <a:lnTo>
                  <a:pt x="142" y="152"/>
                </a:lnTo>
                <a:lnTo>
                  <a:pt x="142" y="154"/>
                </a:lnTo>
                <a:lnTo>
                  <a:pt x="140" y="156"/>
                </a:lnTo>
                <a:lnTo>
                  <a:pt x="138" y="156"/>
                </a:lnTo>
                <a:lnTo>
                  <a:pt x="137" y="158"/>
                </a:lnTo>
                <a:lnTo>
                  <a:pt x="137" y="159"/>
                </a:lnTo>
                <a:lnTo>
                  <a:pt x="136" y="160"/>
                </a:lnTo>
                <a:lnTo>
                  <a:pt x="135" y="160"/>
                </a:lnTo>
                <a:lnTo>
                  <a:pt x="134" y="161"/>
                </a:lnTo>
                <a:lnTo>
                  <a:pt x="134" y="162"/>
                </a:lnTo>
                <a:lnTo>
                  <a:pt x="132" y="162"/>
                </a:lnTo>
                <a:lnTo>
                  <a:pt x="131" y="163"/>
                </a:lnTo>
                <a:lnTo>
                  <a:pt x="130" y="166"/>
                </a:lnTo>
                <a:lnTo>
                  <a:pt x="124" y="172"/>
                </a:lnTo>
                <a:lnTo>
                  <a:pt x="123" y="172"/>
                </a:lnTo>
                <a:lnTo>
                  <a:pt x="123" y="171"/>
                </a:lnTo>
                <a:lnTo>
                  <a:pt x="122" y="171"/>
                </a:lnTo>
                <a:lnTo>
                  <a:pt x="120" y="169"/>
                </a:lnTo>
                <a:lnTo>
                  <a:pt x="119" y="169"/>
                </a:lnTo>
                <a:lnTo>
                  <a:pt x="120" y="168"/>
                </a:lnTo>
                <a:lnTo>
                  <a:pt x="120" y="166"/>
                </a:lnTo>
                <a:lnTo>
                  <a:pt x="118" y="168"/>
                </a:lnTo>
                <a:lnTo>
                  <a:pt x="116" y="168"/>
                </a:lnTo>
                <a:lnTo>
                  <a:pt x="110" y="162"/>
                </a:lnTo>
                <a:lnTo>
                  <a:pt x="110" y="160"/>
                </a:lnTo>
                <a:lnTo>
                  <a:pt x="114" y="160"/>
                </a:lnTo>
                <a:lnTo>
                  <a:pt x="117" y="162"/>
                </a:lnTo>
                <a:lnTo>
                  <a:pt x="117" y="161"/>
                </a:lnTo>
                <a:lnTo>
                  <a:pt x="116" y="161"/>
                </a:lnTo>
                <a:lnTo>
                  <a:pt x="116" y="160"/>
                </a:lnTo>
                <a:lnTo>
                  <a:pt x="120" y="156"/>
                </a:lnTo>
                <a:lnTo>
                  <a:pt x="124" y="158"/>
                </a:lnTo>
                <a:lnTo>
                  <a:pt x="122" y="156"/>
                </a:lnTo>
                <a:lnTo>
                  <a:pt x="120" y="155"/>
                </a:lnTo>
                <a:lnTo>
                  <a:pt x="116" y="158"/>
                </a:lnTo>
                <a:lnTo>
                  <a:pt x="114" y="159"/>
                </a:lnTo>
                <a:lnTo>
                  <a:pt x="113" y="159"/>
                </a:lnTo>
                <a:lnTo>
                  <a:pt x="112" y="158"/>
                </a:lnTo>
                <a:lnTo>
                  <a:pt x="109" y="158"/>
                </a:lnTo>
                <a:lnTo>
                  <a:pt x="106" y="156"/>
                </a:lnTo>
                <a:lnTo>
                  <a:pt x="105" y="156"/>
                </a:lnTo>
                <a:lnTo>
                  <a:pt x="103" y="159"/>
                </a:lnTo>
                <a:lnTo>
                  <a:pt x="100" y="156"/>
                </a:lnTo>
                <a:lnTo>
                  <a:pt x="100" y="154"/>
                </a:lnTo>
                <a:lnTo>
                  <a:pt x="101" y="153"/>
                </a:lnTo>
                <a:lnTo>
                  <a:pt x="103" y="153"/>
                </a:lnTo>
                <a:lnTo>
                  <a:pt x="109" y="152"/>
                </a:lnTo>
                <a:lnTo>
                  <a:pt x="110" y="152"/>
                </a:lnTo>
                <a:lnTo>
                  <a:pt x="111" y="150"/>
                </a:lnTo>
                <a:lnTo>
                  <a:pt x="112" y="150"/>
                </a:lnTo>
                <a:lnTo>
                  <a:pt x="113" y="152"/>
                </a:lnTo>
                <a:lnTo>
                  <a:pt x="116" y="153"/>
                </a:lnTo>
                <a:lnTo>
                  <a:pt x="116" y="150"/>
                </a:lnTo>
                <a:lnTo>
                  <a:pt x="117" y="150"/>
                </a:lnTo>
                <a:lnTo>
                  <a:pt x="117" y="149"/>
                </a:lnTo>
                <a:lnTo>
                  <a:pt x="118" y="149"/>
                </a:lnTo>
                <a:lnTo>
                  <a:pt x="120" y="150"/>
                </a:lnTo>
                <a:lnTo>
                  <a:pt x="119" y="149"/>
                </a:lnTo>
                <a:lnTo>
                  <a:pt x="118" y="149"/>
                </a:lnTo>
                <a:lnTo>
                  <a:pt x="117" y="148"/>
                </a:lnTo>
                <a:lnTo>
                  <a:pt x="116" y="148"/>
                </a:lnTo>
                <a:lnTo>
                  <a:pt x="116" y="147"/>
                </a:lnTo>
                <a:lnTo>
                  <a:pt x="117" y="146"/>
                </a:lnTo>
                <a:lnTo>
                  <a:pt x="120" y="146"/>
                </a:lnTo>
                <a:lnTo>
                  <a:pt x="123" y="144"/>
                </a:lnTo>
                <a:lnTo>
                  <a:pt x="124" y="143"/>
                </a:lnTo>
                <a:lnTo>
                  <a:pt x="122" y="143"/>
                </a:lnTo>
                <a:lnTo>
                  <a:pt x="122" y="144"/>
                </a:lnTo>
                <a:lnTo>
                  <a:pt x="119" y="144"/>
                </a:lnTo>
                <a:lnTo>
                  <a:pt x="119" y="143"/>
                </a:lnTo>
                <a:lnTo>
                  <a:pt x="120" y="142"/>
                </a:lnTo>
                <a:lnTo>
                  <a:pt x="119" y="141"/>
                </a:lnTo>
                <a:lnTo>
                  <a:pt x="114" y="142"/>
                </a:lnTo>
                <a:lnTo>
                  <a:pt x="113" y="142"/>
                </a:lnTo>
                <a:lnTo>
                  <a:pt x="114" y="141"/>
                </a:lnTo>
                <a:lnTo>
                  <a:pt x="116" y="141"/>
                </a:lnTo>
                <a:lnTo>
                  <a:pt x="114" y="140"/>
                </a:lnTo>
                <a:lnTo>
                  <a:pt x="116" y="138"/>
                </a:lnTo>
                <a:lnTo>
                  <a:pt x="116" y="137"/>
                </a:lnTo>
                <a:lnTo>
                  <a:pt x="117" y="135"/>
                </a:lnTo>
                <a:lnTo>
                  <a:pt x="117" y="134"/>
                </a:lnTo>
                <a:lnTo>
                  <a:pt x="119" y="131"/>
                </a:lnTo>
                <a:lnTo>
                  <a:pt x="122" y="131"/>
                </a:lnTo>
                <a:lnTo>
                  <a:pt x="122" y="132"/>
                </a:lnTo>
                <a:lnTo>
                  <a:pt x="124" y="135"/>
                </a:lnTo>
                <a:lnTo>
                  <a:pt x="128" y="135"/>
                </a:lnTo>
                <a:lnTo>
                  <a:pt x="130" y="134"/>
                </a:lnTo>
                <a:lnTo>
                  <a:pt x="130" y="132"/>
                </a:lnTo>
                <a:lnTo>
                  <a:pt x="129" y="134"/>
                </a:lnTo>
                <a:lnTo>
                  <a:pt x="124" y="134"/>
                </a:lnTo>
                <a:lnTo>
                  <a:pt x="124" y="132"/>
                </a:lnTo>
                <a:lnTo>
                  <a:pt x="123" y="132"/>
                </a:lnTo>
                <a:lnTo>
                  <a:pt x="123" y="130"/>
                </a:lnTo>
                <a:lnTo>
                  <a:pt x="119" y="130"/>
                </a:lnTo>
                <a:lnTo>
                  <a:pt x="119" y="129"/>
                </a:lnTo>
                <a:lnTo>
                  <a:pt x="118" y="129"/>
                </a:lnTo>
                <a:lnTo>
                  <a:pt x="119" y="128"/>
                </a:lnTo>
                <a:lnTo>
                  <a:pt x="120" y="125"/>
                </a:lnTo>
                <a:lnTo>
                  <a:pt x="122" y="124"/>
                </a:lnTo>
                <a:lnTo>
                  <a:pt x="124" y="124"/>
                </a:lnTo>
                <a:lnTo>
                  <a:pt x="125" y="123"/>
                </a:lnTo>
                <a:lnTo>
                  <a:pt x="125" y="124"/>
                </a:lnTo>
                <a:lnTo>
                  <a:pt x="128" y="125"/>
                </a:lnTo>
                <a:lnTo>
                  <a:pt x="129" y="125"/>
                </a:lnTo>
                <a:lnTo>
                  <a:pt x="128" y="123"/>
                </a:lnTo>
                <a:lnTo>
                  <a:pt x="124" y="122"/>
                </a:lnTo>
                <a:lnTo>
                  <a:pt x="123" y="120"/>
                </a:lnTo>
                <a:lnTo>
                  <a:pt x="125" y="118"/>
                </a:lnTo>
                <a:lnTo>
                  <a:pt x="125" y="116"/>
                </a:lnTo>
                <a:lnTo>
                  <a:pt x="126" y="113"/>
                </a:lnTo>
                <a:lnTo>
                  <a:pt x="128" y="112"/>
                </a:lnTo>
                <a:lnTo>
                  <a:pt x="129" y="112"/>
                </a:lnTo>
                <a:lnTo>
                  <a:pt x="131" y="115"/>
                </a:lnTo>
                <a:lnTo>
                  <a:pt x="134" y="116"/>
                </a:lnTo>
                <a:lnTo>
                  <a:pt x="135" y="116"/>
                </a:lnTo>
                <a:lnTo>
                  <a:pt x="135" y="115"/>
                </a:lnTo>
                <a:lnTo>
                  <a:pt x="132" y="115"/>
                </a:lnTo>
                <a:lnTo>
                  <a:pt x="132" y="113"/>
                </a:lnTo>
                <a:lnTo>
                  <a:pt x="131" y="112"/>
                </a:lnTo>
                <a:lnTo>
                  <a:pt x="131" y="111"/>
                </a:lnTo>
                <a:lnTo>
                  <a:pt x="134" y="109"/>
                </a:lnTo>
                <a:lnTo>
                  <a:pt x="131" y="109"/>
                </a:lnTo>
                <a:lnTo>
                  <a:pt x="131" y="110"/>
                </a:lnTo>
                <a:lnTo>
                  <a:pt x="130" y="111"/>
                </a:lnTo>
                <a:lnTo>
                  <a:pt x="129" y="111"/>
                </a:lnTo>
                <a:lnTo>
                  <a:pt x="128" y="112"/>
                </a:lnTo>
                <a:lnTo>
                  <a:pt x="126" y="112"/>
                </a:lnTo>
                <a:lnTo>
                  <a:pt x="125" y="111"/>
                </a:lnTo>
                <a:lnTo>
                  <a:pt x="122" y="111"/>
                </a:lnTo>
                <a:lnTo>
                  <a:pt x="122" y="110"/>
                </a:lnTo>
                <a:lnTo>
                  <a:pt x="123" y="107"/>
                </a:lnTo>
                <a:lnTo>
                  <a:pt x="124" y="106"/>
                </a:lnTo>
                <a:lnTo>
                  <a:pt x="125" y="106"/>
                </a:lnTo>
                <a:lnTo>
                  <a:pt x="125" y="107"/>
                </a:lnTo>
                <a:lnTo>
                  <a:pt x="126" y="106"/>
                </a:lnTo>
                <a:lnTo>
                  <a:pt x="131" y="105"/>
                </a:lnTo>
                <a:lnTo>
                  <a:pt x="134" y="100"/>
                </a:lnTo>
                <a:lnTo>
                  <a:pt x="132" y="100"/>
                </a:lnTo>
                <a:lnTo>
                  <a:pt x="129" y="104"/>
                </a:lnTo>
                <a:lnTo>
                  <a:pt x="129" y="105"/>
                </a:lnTo>
                <a:lnTo>
                  <a:pt x="126" y="105"/>
                </a:lnTo>
                <a:lnTo>
                  <a:pt x="125" y="104"/>
                </a:lnTo>
                <a:lnTo>
                  <a:pt x="126" y="104"/>
                </a:lnTo>
                <a:lnTo>
                  <a:pt x="126" y="101"/>
                </a:lnTo>
                <a:lnTo>
                  <a:pt x="125" y="101"/>
                </a:lnTo>
                <a:lnTo>
                  <a:pt x="122" y="105"/>
                </a:lnTo>
                <a:lnTo>
                  <a:pt x="122" y="106"/>
                </a:lnTo>
                <a:lnTo>
                  <a:pt x="118" y="106"/>
                </a:lnTo>
                <a:lnTo>
                  <a:pt x="117" y="103"/>
                </a:lnTo>
                <a:lnTo>
                  <a:pt x="118" y="103"/>
                </a:lnTo>
                <a:lnTo>
                  <a:pt x="118" y="101"/>
                </a:lnTo>
                <a:lnTo>
                  <a:pt x="117" y="101"/>
                </a:lnTo>
                <a:lnTo>
                  <a:pt x="117" y="99"/>
                </a:lnTo>
                <a:lnTo>
                  <a:pt x="116" y="98"/>
                </a:lnTo>
                <a:lnTo>
                  <a:pt x="116" y="89"/>
                </a:lnTo>
                <a:lnTo>
                  <a:pt x="117" y="89"/>
                </a:lnTo>
                <a:lnTo>
                  <a:pt x="117" y="88"/>
                </a:lnTo>
                <a:lnTo>
                  <a:pt x="119" y="88"/>
                </a:lnTo>
                <a:lnTo>
                  <a:pt x="123" y="92"/>
                </a:lnTo>
                <a:lnTo>
                  <a:pt x="123" y="93"/>
                </a:lnTo>
                <a:lnTo>
                  <a:pt x="125" y="93"/>
                </a:lnTo>
                <a:lnTo>
                  <a:pt x="124" y="92"/>
                </a:lnTo>
                <a:lnTo>
                  <a:pt x="130" y="92"/>
                </a:lnTo>
                <a:lnTo>
                  <a:pt x="130" y="91"/>
                </a:lnTo>
                <a:lnTo>
                  <a:pt x="129" y="89"/>
                </a:lnTo>
                <a:lnTo>
                  <a:pt x="125" y="89"/>
                </a:lnTo>
                <a:lnTo>
                  <a:pt x="124" y="91"/>
                </a:lnTo>
                <a:lnTo>
                  <a:pt x="123" y="89"/>
                </a:lnTo>
                <a:lnTo>
                  <a:pt x="123" y="88"/>
                </a:lnTo>
                <a:lnTo>
                  <a:pt x="122" y="88"/>
                </a:lnTo>
                <a:lnTo>
                  <a:pt x="122" y="87"/>
                </a:lnTo>
                <a:lnTo>
                  <a:pt x="120" y="85"/>
                </a:lnTo>
                <a:lnTo>
                  <a:pt x="119" y="83"/>
                </a:lnTo>
                <a:lnTo>
                  <a:pt x="118" y="83"/>
                </a:lnTo>
                <a:lnTo>
                  <a:pt x="118" y="81"/>
                </a:lnTo>
                <a:lnTo>
                  <a:pt x="119" y="80"/>
                </a:lnTo>
                <a:lnTo>
                  <a:pt x="118" y="80"/>
                </a:lnTo>
                <a:lnTo>
                  <a:pt x="118" y="79"/>
                </a:lnTo>
                <a:lnTo>
                  <a:pt x="120" y="77"/>
                </a:lnTo>
                <a:lnTo>
                  <a:pt x="123" y="80"/>
                </a:lnTo>
                <a:lnTo>
                  <a:pt x="123" y="79"/>
                </a:lnTo>
                <a:lnTo>
                  <a:pt x="124" y="77"/>
                </a:lnTo>
                <a:lnTo>
                  <a:pt x="123" y="77"/>
                </a:lnTo>
                <a:lnTo>
                  <a:pt x="123" y="76"/>
                </a:lnTo>
                <a:lnTo>
                  <a:pt x="122" y="76"/>
                </a:lnTo>
                <a:lnTo>
                  <a:pt x="118" y="75"/>
                </a:lnTo>
                <a:lnTo>
                  <a:pt x="118" y="67"/>
                </a:lnTo>
                <a:lnTo>
                  <a:pt x="120" y="64"/>
                </a:lnTo>
                <a:lnTo>
                  <a:pt x="122" y="64"/>
                </a:lnTo>
                <a:lnTo>
                  <a:pt x="123" y="66"/>
                </a:lnTo>
                <a:lnTo>
                  <a:pt x="124" y="66"/>
                </a:lnTo>
                <a:lnTo>
                  <a:pt x="123" y="67"/>
                </a:lnTo>
                <a:lnTo>
                  <a:pt x="124" y="68"/>
                </a:lnTo>
                <a:lnTo>
                  <a:pt x="124" y="72"/>
                </a:lnTo>
                <a:lnTo>
                  <a:pt x="125" y="73"/>
                </a:lnTo>
                <a:lnTo>
                  <a:pt x="126" y="73"/>
                </a:lnTo>
                <a:lnTo>
                  <a:pt x="125" y="72"/>
                </a:lnTo>
                <a:lnTo>
                  <a:pt x="128" y="72"/>
                </a:lnTo>
                <a:lnTo>
                  <a:pt x="128" y="68"/>
                </a:lnTo>
                <a:lnTo>
                  <a:pt x="124" y="64"/>
                </a:lnTo>
                <a:lnTo>
                  <a:pt x="125" y="63"/>
                </a:lnTo>
                <a:lnTo>
                  <a:pt x="124" y="63"/>
                </a:lnTo>
                <a:lnTo>
                  <a:pt x="125" y="62"/>
                </a:lnTo>
                <a:lnTo>
                  <a:pt x="125" y="61"/>
                </a:lnTo>
                <a:lnTo>
                  <a:pt x="126" y="61"/>
                </a:lnTo>
                <a:lnTo>
                  <a:pt x="128" y="62"/>
                </a:lnTo>
                <a:lnTo>
                  <a:pt x="129" y="62"/>
                </a:lnTo>
                <a:lnTo>
                  <a:pt x="129" y="63"/>
                </a:lnTo>
                <a:lnTo>
                  <a:pt x="130" y="66"/>
                </a:lnTo>
                <a:lnTo>
                  <a:pt x="131" y="67"/>
                </a:lnTo>
                <a:lnTo>
                  <a:pt x="132" y="67"/>
                </a:lnTo>
                <a:lnTo>
                  <a:pt x="132" y="66"/>
                </a:lnTo>
                <a:lnTo>
                  <a:pt x="134" y="66"/>
                </a:lnTo>
                <a:lnTo>
                  <a:pt x="134" y="62"/>
                </a:lnTo>
                <a:lnTo>
                  <a:pt x="135" y="62"/>
                </a:lnTo>
                <a:lnTo>
                  <a:pt x="136" y="63"/>
                </a:lnTo>
                <a:lnTo>
                  <a:pt x="137" y="63"/>
                </a:lnTo>
                <a:lnTo>
                  <a:pt x="140" y="66"/>
                </a:lnTo>
                <a:lnTo>
                  <a:pt x="143" y="67"/>
                </a:lnTo>
                <a:lnTo>
                  <a:pt x="141" y="64"/>
                </a:lnTo>
                <a:lnTo>
                  <a:pt x="136" y="62"/>
                </a:lnTo>
                <a:lnTo>
                  <a:pt x="136" y="61"/>
                </a:lnTo>
                <a:lnTo>
                  <a:pt x="137" y="60"/>
                </a:lnTo>
                <a:lnTo>
                  <a:pt x="138" y="62"/>
                </a:lnTo>
                <a:lnTo>
                  <a:pt x="143" y="62"/>
                </a:lnTo>
                <a:lnTo>
                  <a:pt x="143" y="63"/>
                </a:lnTo>
                <a:lnTo>
                  <a:pt x="145" y="64"/>
                </a:lnTo>
                <a:lnTo>
                  <a:pt x="147" y="66"/>
                </a:lnTo>
                <a:lnTo>
                  <a:pt x="148" y="68"/>
                </a:lnTo>
                <a:lnTo>
                  <a:pt x="149" y="68"/>
                </a:lnTo>
                <a:lnTo>
                  <a:pt x="149" y="67"/>
                </a:lnTo>
                <a:lnTo>
                  <a:pt x="143" y="61"/>
                </a:lnTo>
                <a:lnTo>
                  <a:pt x="144" y="60"/>
                </a:lnTo>
                <a:lnTo>
                  <a:pt x="144" y="58"/>
                </a:lnTo>
                <a:lnTo>
                  <a:pt x="143" y="58"/>
                </a:lnTo>
                <a:lnTo>
                  <a:pt x="143" y="57"/>
                </a:lnTo>
                <a:lnTo>
                  <a:pt x="141" y="57"/>
                </a:lnTo>
                <a:lnTo>
                  <a:pt x="140" y="56"/>
                </a:lnTo>
                <a:lnTo>
                  <a:pt x="138" y="54"/>
                </a:lnTo>
                <a:lnTo>
                  <a:pt x="137" y="54"/>
                </a:lnTo>
                <a:lnTo>
                  <a:pt x="136" y="52"/>
                </a:lnTo>
                <a:lnTo>
                  <a:pt x="134" y="52"/>
                </a:lnTo>
                <a:lnTo>
                  <a:pt x="135" y="51"/>
                </a:lnTo>
                <a:lnTo>
                  <a:pt x="135" y="50"/>
                </a:lnTo>
                <a:lnTo>
                  <a:pt x="134" y="48"/>
                </a:lnTo>
                <a:lnTo>
                  <a:pt x="134" y="46"/>
                </a:lnTo>
                <a:lnTo>
                  <a:pt x="136" y="48"/>
                </a:lnTo>
                <a:lnTo>
                  <a:pt x="137" y="50"/>
                </a:lnTo>
                <a:lnTo>
                  <a:pt x="137" y="49"/>
                </a:lnTo>
                <a:lnTo>
                  <a:pt x="140" y="49"/>
                </a:lnTo>
                <a:lnTo>
                  <a:pt x="141" y="48"/>
                </a:lnTo>
                <a:lnTo>
                  <a:pt x="141" y="46"/>
                </a:lnTo>
                <a:lnTo>
                  <a:pt x="140" y="45"/>
                </a:lnTo>
                <a:lnTo>
                  <a:pt x="141" y="45"/>
                </a:lnTo>
                <a:lnTo>
                  <a:pt x="141" y="44"/>
                </a:lnTo>
                <a:lnTo>
                  <a:pt x="140" y="44"/>
                </a:lnTo>
                <a:lnTo>
                  <a:pt x="141" y="43"/>
                </a:lnTo>
                <a:lnTo>
                  <a:pt x="140" y="43"/>
                </a:lnTo>
                <a:lnTo>
                  <a:pt x="140" y="40"/>
                </a:lnTo>
                <a:lnTo>
                  <a:pt x="138" y="40"/>
                </a:lnTo>
                <a:lnTo>
                  <a:pt x="138" y="38"/>
                </a:lnTo>
                <a:lnTo>
                  <a:pt x="137" y="38"/>
                </a:lnTo>
                <a:lnTo>
                  <a:pt x="136" y="36"/>
                </a:lnTo>
                <a:lnTo>
                  <a:pt x="136" y="33"/>
                </a:lnTo>
                <a:lnTo>
                  <a:pt x="138" y="36"/>
                </a:lnTo>
                <a:lnTo>
                  <a:pt x="141" y="36"/>
                </a:lnTo>
                <a:lnTo>
                  <a:pt x="143" y="33"/>
                </a:lnTo>
                <a:lnTo>
                  <a:pt x="144" y="34"/>
                </a:lnTo>
                <a:lnTo>
                  <a:pt x="145" y="34"/>
                </a:lnTo>
                <a:lnTo>
                  <a:pt x="145" y="33"/>
                </a:lnTo>
                <a:lnTo>
                  <a:pt x="148" y="33"/>
                </a:lnTo>
                <a:lnTo>
                  <a:pt x="149" y="34"/>
                </a:lnTo>
                <a:lnTo>
                  <a:pt x="151" y="34"/>
                </a:lnTo>
                <a:lnTo>
                  <a:pt x="155" y="37"/>
                </a:lnTo>
                <a:lnTo>
                  <a:pt x="153" y="34"/>
                </a:lnTo>
                <a:lnTo>
                  <a:pt x="155" y="34"/>
                </a:lnTo>
                <a:lnTo>
                  <a:pt x="155" y="33"/>
                </a:lnTo>
                <a:lnTo>
                  <a:pt x="151" y="33"/>
                </a:lnTo>
                <a:lnTo>
                  <a:pt x="150" y="34"/>
                </a:lnTo>
                <a:lnTo>
                  <a:pt x="147" y="31"/>
                </a:lnTo>
                <a:lnTo>
                  <a:pt x="147" y="30"/>
                </a:lnTo>
                <a:lnTo>
                  <a:pt x="145" y="29"/>
                </a:lnTo>
                <a:lnTo>
                  <a:pt x="145" y="27"/>
                </a:lnTo>
                <a:lnTo>
                  <a:pt x="144" y="27"/>
                </a:lnTo>
                <a:lnTo>
                  <a:pt x="144" y="26"/>
                </a:lnTo>
                <a:lnTo>
                  <a:pt x="145" y="26"/>
                </a:lnTo>
                <a:lnTo>
                  <a:pt x="145" y="21"/>
                </a:lnTo>
                <a:lnTo>
                  <a:pt x="147" y="21"/>
                </a:lnTo>
                <a:lnTo>
                  <a:pt x="147" y="23"/>
                </a:lnTo>
                <a:lnTo>
                  <a:pt x="149" y="24"/>
                </a:lnTo>
                <a:lnTo>
                  <a:pt x="151" y="24"/>
                </a:lnTo>
                <a:lnTo>
                  <a:pt x="150" y="23"/>
                </a:lnTo>
                <a:lnTo>
                  <a:pt x="150" y="21"/>
                </a:lnTo>
                <a:lnTo>
                  <a:pt x="148" y="21"/>
                </a:lnTo>
                <a:lnTo>
                  <a:pt x="148" y="20"/>
                </a:lnTo>
                <a:lnTo>
                  <a:pt x="150" y="19"/>
                </a:lnTo>
                <a:lnTo>
                  <a:pt x="151" y="19"/>
                </a:lnTo>
                <a:lnTo>
                  <a:pt x="148" y="15"/>
                </a:lnTo>
                <a:lnTo>
                  <a:pt x="148" y="13"/>
                </a:lnTo>
                <a:lnTo>
                  <a:pt x="150" y="12"/>
                </a:lnTo>
                <a:lnTo>
                  <a:pt x="150" y="11"/>
                </a:lnTo>
                <a:lnTo>
                  <a:pt x="151" y="9"/>
                </a:lnTo>
                <a:lnTo>
                  <a:pt x="151" y="5"/>
                </a:lnTo>
                <a:lnTo>
                  <a:pt x="153" y="5"/>
                </a:lnTo>
                <a:lnTo>
                  <a:pt x="157" y="6"/>
                </a:lnTo>
                <a:lnTo>
                  <a:pt x="159" y="6"/>
                </a:lnTo>
                <a:lnTo>
                  <a:pt x="160" y="7"/>
                </a:lnTo>
                <a:lnTo>
                  <a:pt x="160" y="13"/>
                </a:lnTo>
                <a:lnTo>
                  <a:pt x="161" y="12"/>
                </a:lnTo>
                <a:lnTo>
                  <a:pt x="161" y="8"/>
                </a:lnTo>
                <a:lnTo>
                  <a:pt x="162" y="7"/>
                </a:lnTo>
                <a:lnTo>
                  <a:pt x="161" y="6"/>
                </a:lnTo>
                <a:lnTo>
                  <a:pt x="163" y="8"/>
                </a:lnTo>
                <a:lnTo>
                  <a:pt x="165" y="8"/>
                </a:lnTo>
                <a:lnTo>
                  <a:pt x="166" y="9"/>
                </a:lnTo>
                <a:lnTo>
                  <a:pt x="166" y="11"/>
                </a:lnTo>
                <a:lnTo>
                  <a:pt x="167" y="11"/>
                </a:lnTo>
                <a:lnTo>
                  <a:pt x="166" y="12"/>
                </a:lnTo>
                <a:lnTo>
                  <a:pt x="166" y="13"/>
                </a:lnTo>
                <a:lnTo>
                  <a:pt x="165" y="14"/>
                </a:lnTo>
                <a:lnTo>
                  <a:pt x="163" y="17"/>
                </a:lnTo>
                <a:lnTo>
                  <a:pt x="162" y="18"/>
                </a:lnTo>
                <a:lnTo>
                  <a:pt x="162" y="19"/>
                </a:lnTo>
                <a:lnTo>
                  <a:pt x="163" y="19"/>
                </a:lnTo>
                <a:lnTo>
                  <a:pt x="166" y="15"/>
                </a:lnTo>
                <a:lnTo>
                  <a:pt x="166" y="14"/>
                </a:lnTo>
                <a:lnTo>
                  <a:pt x="167" y="14"/>
                </a:lnTo>
                <a:lnTo>
                  <a:pt x="169" y="12"/>
                </a:lnTo>
                <a:lnTo>
                  <a:pt x="169" y="8"/>
                </a:lnTo>
                <a:lnTo>
                  <a:pt x="173" y="8"/>
                </a:lnTo>
                <a:lnTo>
                  <a:pt x="174" y="9"/>
                </a:lnTo>
                <a:lnTo>
                  <a:pt x="176" y="11"/>
                </a:lnTo>
                <a:lnTo>
                  <a:pt x="176" y="13"/>
                </a:lnTo>
                <a:lnTo>
                  <a:pt x="174" y="15"/>
                </a:lnTo>
                <a:lnTo>
                  <a:pt x="174" y="17"/>
                </a:lnTo>
                <a:lnTo>
                  <a:pt x="173" y="19"/>
                </a:lnTo>
                <a:lnTo>
                  <a:pt x="174" y="19"/>
                </a:lnTo>
                <a:lnTo>
                  <a:pt x="176" y="17"/>
                </a:lnTo>
                <a:lnTo>
                  <a:pt x="176" y="14"/>
                </a:lnTo>
                <a:lnTo>
                  <a:pt x="178" y="13"/>
                </a:lnTo>
                <a:lnTo>
                  <a:pt x="180" y="12"/>
                </a:lnTo>
                <a:lnTo>
                  <a:pt x="181" y="11"/>
                </a:lnTo>
                <a:lnTo>
                  <a:pt x="184" y="13"/>
                </a:lnTo>
                <a:lnTo>
                  <a:pt x="185" y="13"/>
                </a:lnTo>
                <a:lnTo>
                  <a:pt x="184" y="12"/>
                </a:lnTo>
                <a:lnTo>
                  <a:pt x="185" y="12"/>
                </a:lnTo>
                <a:lnTo>
                  <a:pt x="185" y="11"/>
                </a:lnTo>
                <a:lnTo>
                  <a:pt x="187" y="11"/>
                </a:lnTo>
                <a:lnTo>
                  <a:pt x="187" y="9"/>
                </a:lnTo>
                <a:lnTo>
                  <a:pt x="191" y="9"/>
                </a:lnTo>
                <a:lnTo>
                  <a:pt x="192" y="8"/>
                </a:lnTo>
                <a:lnTo>
                  <a:pt x="192" y="7"/>
                </a:lnTo>
                <a:lnTo>
                  <a:pt x="193" y="7"/>
                </a:lnTo>
                <a:lnTo>
                  <a:pt x="194" y="8"/>
                </a:lnTo>
                <a:lnTo>
                  <a:pt x="194" y="9"/>
                </a:lnTo>
                <a:lnTo>
                  <a:pt x="196" y="8"/>
                </a:lnTo>
                <a:lnTo>
                  <a:pt x="199" y="9"/>
                </a:lnTo>
                <a:lnTo>
                  <a:pt x="203" y="8"/>
                </a:lnTo>
                <a:lnTo>
                  <a:pt x="204" y="8"/>
                </a:lnTo>
                <a:lnTo>
                  <a:pt x="207" y="6"/>
                </a:lnTo>
                <a:lnTo>
                  <a:pt x="209" y="5"/>
                </a:lnTo>
                <a:lnTo>
                  <a:pt x="213" y="5"/>
                </a:lnTo>
                <a:lnTo>
                  <a:pt x="213" y="7"/>
                </a:lnTo>
                <a:lnTo>
                  <a:pt x="215" y="6"/>
                </a:lnTo>
                <a:lnTo>
                  <a:pt x="217" y="6"/>
                </a:lnTo>
                <a:lnTo>
                  <a:pt x="219" y="7"/>
                </a:lnTo>
                <a:lnTo>
                  <a:pt x="221" y="7"/>
                </a:lnTo>
                <a:lnTo>
                  <a:pt x="222" y="5"/>
                </a:lnTo>
                <a:lnTo>
                  <a:pt x="221" y="5"/>
                </a:lnTo>
                <a:lnTo>
                  <a:pt x="221" y="3"/>
                </a:lnTo>
                <a:lnTo>
                  <a:pt x="219" y="3"/>
                </a:lnTo>
                <a:lnTo>
                  <a:pt x="219" y="1"/>
                </a:lnTo>
                <a:lnTo>
                  <a:pt x="221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" name="Freeform 40">
            <a:extLst>
              <a:ext uri="{FF2B5EF4-FFF2-40B4-BE49-F238E27FC236}">
                <a16:creationId xmlns:a16="http://schemas.microsoft.com/office/drawing/2014/main" id="{0383E168-D662-4FBF-9012-1C55F2237ABF}"/>
              </a:ext>
            </a:extLst>
          </p:cNvPr>
          <p:cNvSpPr>
            <a:spLocks noEditPoints="1"/>
          </p:cNvSpPr>
          <p:nvPr/>
        </p:nvSpPr>
        <p:spPr bwMode="auto">
          <a:xfrm>
            <a:off x="1021600" y="3538165"/>
            <a:ext cx="163731" cy="257911"/>
          </a:xfrm>
          <a:custGeom>
            <a:avLst/>
            <a:gdLst/>
            <a:ahLst/>
            <a:cxnLst>
              <a:cxn ang="0">
                <a:pos x="22" y="171"/>
              </a:cxn>
              <a:cxn ang="0">
                <a:pos x="17" y="170"/>
              </a:cxn>
              <a:cxn ang="0">
                <a:pos x="11" y="171"/>
              </a:cxn>
              <a:cxn ang="0">
                <a:pos x="0" y="164"/>
              </a:cxn>
              <a:cxn ang="0">
                <a:pos x="32" y="147"/>
              </a:cxn>
              <a:cxn ang="0">
                <a:pos x="16" y="153"/>
              </a:cxn>
              <a:cxn ang="0">
                <a:pos x="23" y="158"/>
              </a:cxn>
              <a:cxn ang="0">
                <a:pos x="26" y="159"/>
              </a:cxn>
              <a:cxn ang="0">
                <a:pos x="28" y="163"/>
              </a:cxn>
              <a:cxn ang="0">
                <a:pos x="17" y="160"/>
              </a:cxn>
              <a:cxn ang="0">
                <a:pos x="9" y="157"/>
              </a:cxn>
              <a:cxn ang="0">
                <a:pos x="4" y="158"/>
              </a:cxn>
              <a:cxn ang="0">
                <a:pos x="37" y="146"/>
              </a:cxn>
              <a:cxn ang="0">
                <a:pos x="35" y="145"/>
              </a:cxn>
              <a:cxn ang="0">
                <a:pos x="19" y="145"/>
              </a:cxn>
              <a:cxn ang="0">
                <a:pos x="29" y="136"/>
              </a:cxn>
              <a:cxn ang="0">
                <a:pos x="26" y="142"/>
              </a:cxn>
              <a:cxn ang="0">
                <a:pos x="23" y="135"/>
              </a:cxn>
              <a:cxn ang="0">
                <a:pos x="36" y="138"/>
              </a:cxn>
              <a:cxn ang="0">
                <a:pos x="34" y="136"/>
              </a:cxn>
              <a:cxn ang="0">
                <a:pos x="38" y="130"/>
              </a:cxn>
              <a:cxn ang="0">
                <a:pos x="16" y="129"/>
              </a:cxn>
              <a:cxn ang="0">
                <a:pos x="24" y="134"/>
              </a:cxn>
              <a:cxn ang="0">
                <a:pos x="17" y="132"/>
              </a:cxn>
              <a:cxn ang="0">
                <a:pos x="75" y="114"/>
              </a:cxn>
              <a:cxn ang="0">
                <a:pos x="88" y="64"/>
              </a:cxn>
              <a:cxn ang="0">
                <a:pos x="100" y="59"/>
              </a:cxn>
              <a:cxn ang="0">
                <a:pos x="105" y="42"/>
              </a:cxn>
              <a:cxn ang="0">
                <a:pos x="111" y="19"/>
              </a:cxn>
              <a:cxn ang="0">
                <a:pos x="106" y="23"/>
              </a:cxn>
              <a:cxn ang="0">
                <a:pos x="90" y="29"/>
              </a:cxn>
              <a:cxn ang="0">
                <a:pos x="87" y="39"/>
              </a:cxn>
              <a:cxn ang="0">
                <a:pos x="93" y="31"/>
              </a:cxn>
              <a:cxn ang="0">
                <a:pos x="93" y="39"/>
              </a:cxn>
              <a:cxn ang="0">
                <a:pos x="101" y="35"/>
              </a:cxn>
              <a:cxn ang="0">
                <a:pos x="97" y="45"/>
              </a:cxn>
              <a:cxn ang="0">
                <a:pos x="96" y="49"/>
              </a:cxn>
              <a:cxn ang="0">
                <a:pos x="94" y="58"/>
              </a:cxn>
              <a:cxn ang="0">
                <a:pos x="94" y="64"/>
              </a:cxn>
              <a:cxn ang="0">
                <a:pos x="94" y="73"/>
              </a:cxn>
              <a:cxn ang="0">
                <a:pos x="92" y="84"/>
              </a:cxn>
              <a:cxn ang="0">
                <a:pos x="90" y="77"/>
              </a:cxn>
              <a:cxn ang="0">
                <a:pos x="92" y="64"/>
              </a:cxn>
              <a:cxn ang="0">
                <a:pos x="92" y="53"/>
              </a:cxn>
              <a:cxn ang="0">
                <a:pos x="87" y="53"/>
              </a:cxn>
              <a:cxn ang="0">
                <a:pos x="84" y="60"/>
              </a:cxn>
              <a:cxn ang="0">
                <a:pos x="81" y="52"/>
              </a:cxn>
              <a:cxn ang="0">
                <a:pos x="75" y="47"/>
              </a:cxn>
              <a:cxn ang="0">
                <a:pos x="82" y="46"/>
              </a:cxn>
              <a:cxn ang="0">
                <a:pos x="88" y="43"/>
              </a:cxn>
              <a:cxn ang="0">
                <a:pos x="85" y="34"/>
              </a:cxn>
              <a:cxn ang="0">
                <a:pos x="78" y="33"/>
              </a:cxn>
              <a:cxn ang="0">
                <a:pos x="86" y="29"/>
              </a:cxn>
              <a:cxn ang="0">
                <a:pos x="87" y="21"/>
              </a:cxn>
              <a:cxn ang="0">
                <a:pos x="104" y="13"/>
              </a:cxn>
              <a:cxn ang="0">
                <a:pos x="101" y="18"/>
              </a:cxn>
              <a:cxn ang="0">
                <a:pos x="99" y="30"/>
              </a:cxn>
              <a:cxn ang="0">
                <a:pos x="97" y="17"/>
              </a:cxn>
              <a:cxn ang="0">
                <a:pos x="107" y="5"/>
              </a:cxn>
              <a:cxn ang="0">
                <a:pos x="113" y="4"/>
              </a:cxn>
              <a:cxn ang="0">
                <a:pos x="105" y="15"/>
              </a:cxn>
              <a:cxn ang="0">
                <a:pos x="106" y="4"/>
              </a:cxn>
            </a:cxnLst>
            <a:rect l="0" t="0" r="r" b="b"/>
            <a:pathLst>
              <a:path w="113" h="178">
                <a:moveTo>
                  <a:pt x="12" y="171"/>
                </a:moveTo>
                <a:lnTo>
                  <a:pt x="13" y="172"/>
                </a:lnTo>
                <a:lnTo>
                  <a:pt x="12" y="173"/>
                </a:lnTo>
                <a:lnTo>
                  <a:pt x="10" y="173"/>
                </a:lnTo>
                <a:lnTo>
                  <a:pt x="12" y="171"/>
                </a:lnTo>
                <a:close/>
                <a:moveTo>
                  <a:pt x="20" y="169"/>
                </a:moveTo>
                <a:lnTo>
                  <a:pt x="23" y="169"/>
                </a:lnTo>
                <a:lnTo>
                  <a:pt x="23" y="171"/>
                </a:lnTo>
                <a:lnTo>
                  <a:pt x="22" y="171"/>
                </a:lnTo>
                <a:lnTo>
                  <a:pt x="22" y="177"/>
                </a:lnTo>
                <a:lnTo>
                  <a:pt x="20" y="178"/>
                </a:lnTo>
                <a:lnTo>
                  <a:pt x="19" y="176"/>
                </a:lnTo>
                <a:lnTo>
                  <a:pt x="19" y="173"/>
                </a:lnTo>
                <a:lnTo>
                  <a:pt x="18" y="171"/>
                </a:lnTo>
                <a:lnTo>
                  <a:pt x="19" y="172"/>
                </a:lnTo>
                <a:lnTo>
                  <a:pt x="19" y="171"/>
                </a:lnTo>
                <a:lnTo>
                  <a:pt x="17" y="171"/>
                </a:lnTo>
                <a:lnTo>
                  <a:pt x="17" y="170"/>
                </a:lnTo>
                <a:lnTo>
                  <a:pt x="18" y="170"/>
                </a:lnTo>
                <a:lnTo>
                  <a:pt x="20" y="169"/>
                </a:lnTo>
                <a:close/>
                <a:moveTo>
                  <a:pt x="4" y="162"/>
                </a:moveTo>
                <a:lnTo>
                  <a:pt x="6" y="164"/>
                </a:lnTo>
                <a:lnTo>
                  <a:pt x="9" y="164"/>
                </a:lnTo>
                <a:lnTo>
                  <a:pt x="10" y="168"/>
                </a:lnTo>
                <a:lnTo>
                  <a:pt x="10" y="169"/>
                </a:lnTo>
                <a:lnTo>
                  <a:pt x="11" y="170"/>
                </a:lnTo>
                <a:lnTo>
                  <a:pt x="11" y="171"/>
                </a:lnTo>
                <a:lnTo>
                  <a:pt x="10" y="171"/>
                </a:lnTo>
                <a:lnTo>
                  <a:pt x="7" y="173"/>
                </a:lnTo>
                <a:lnTo>
                  <a:pt x="5" y="173"/>
                </a:lnTo>
                <a:lnTo>
                  <a:pt x="5" y="171"/>
                </a:lnTo>
                <a:lnTo>
                  <a:pt x="4" y="170"/>
                </a:lnTo>
                <a:lnTo>
                  <a:pt x="3" y="168"/>
                </a:lnTo>
                <a:lnTo>
                  <a:pt x="3" y="166"/>
                </a:lnTo>
                <a:lnTo>
                  <a:pt x="0" y="166"/>
                </a:lnTo>
                <a:lnTo>
                  <a:pt x="0" y="164"/>
                </a:lnTo>
                <a:lnTo>
                  <a:pt x="1" y="164"/>
                </a:lnTo>
                <a:lnTo>
                  <a:pt x="1" y="163"/>
                </a:lnTo>
                <a:lnTo>
                  <a:pt x="4" y="162"/>
                </a:lnTo>
                <a:close/>
                <a:moveTo>
                  <a:pt x="32" y="147"/>
                </a:moveTo>
                <a:lnTo>
                  <a:pt x="34" y="147"/>
                </a:lnTo>
                <a:lnTo>
                  <a:pt x="34" y="148"/>
                </a:lnTo>
                <a:lnTo>
                  <a:pt x="32" y="150"/>
                </a:lnTo>
                <a:lnTo>
                  <a:pt x="31" y="148"/>
                </a:lnTo>
                <a:lnTo>
                  <a:pt x="32" y="147"/>
                </a:lnTo>
                <a:close/>
                <a:moveTo>
                  <a:pt x="6" y="144"/>
                </a:moveTo>
                <a:lnTo>
                  <a:pt x="11" y="144"/>
                </a:lnTo>
                <a:lnTo>
                  <a:pt x="13" y="146"/>
                </a:lnTo>
                <a:lnTo>
                  <a:pt x="16" y="146"/>
                </a:lnTo>
                <a:lnTo>
                  <a:pt x="16" y="148"/>
                </a:lnTo>
                <a:lnTo>
                  <a:pt x="18" y="150"/>
                </a:lnTo>
                <a:lnTo>
                  <a:pt x="18" y="151"/>
                </a:lnTo>
                <a:lnTo>
                  <a:pt x="16" y="152"/>
                </a:lnTo>
                <a:lnTo>
                  <a:pt x="16" y="153"/>
                </a:lnTo>
                <a:lnTo>
                  <a:pt x="13" y="156"/>
                </a:lnTo>
                <a:lnTo>
                  <a:pt x="14" y="157"/>
                </a:lnTo>
                <a:lnTo>
                  <a:pt x="17" y="157"/>
                </a:lnTo>
                <a:lnTo>
                  <a:pt x="17" y="156"/>
                </a:lnTo>
                <a:lnTo>
                  <a:pt x="18" y="154"/>
                </a:lnTo>
                <a:lnTo>
                  <a:pt x="19" y="156"/>
                </a:lnTo>
                <a:lnTo>
                  <a:pt x="22" y="156"/>
                </a:lnTo>
                <a:lnTo>
                  <a:pt x="23" y="157"/>
                </a:lnTo>
                <a:lnTo>
                  <a:pt x="23" y="158"/>
                </a:lnTo>
                <a:lnTo>
                  <a:pt x="25" y="158"/>
                </a:lnTo>
                <a:lnTo>
                  <a:pt x="25" y="157"/>
                </a:lnTo>
                <a:lnTo>
                  <a:pt x="28" y="157"/>
                </a:lnTo>
                <a:lnTo>
                  <a:pt x="28" y="158"/>
                </a:lnTo>
                <a:lnTo>
                  <a:pt x="25" y="160"/>
                </a:lnTo>
                <a:lnTo>
                  <a:pt x="25" y="162"/>
                </a:lnTo>
                <a:lnTo>
                  <a:pt x="28" y="162"/>
                </a:lnTo>
                <a:lnTo>
                  <a:pt x="28" y="160"/>
                </a:lnTo>
                <a:lnTo>
                  <a:pt x="26" y="159"/>
                </a:lnTo>
                <a:lnTo>
                  <a:pt x="28" y="159"/>
                </a:lnTo>
                <a:lnTo>
                  <a:pt x="29" y="158"/>
                </a:lnTo>
                <a:lnTo>
                  <a:pt x="30" y="158"/>
                </a:lnTo>
                <a:lnTo>
                  <a:pt x="30" y="159"/>
                </a:lnTo>
                <a:lnTo>
                  <a:pt x="31" y="159"/>
                </a:lnTo>
                <a:lnTo>
                  <a:pt x="31" y="162"/>
                </a:lnTo>
                <a:lnTo>
                  <a:pt x="30" y="162"/>
                </a:lnTo>
                <a:lnTo>
                  <a:pt x="30" y="163"/>
                </a:lnTo>
                <a:lnTo>
                  <a:pt x="28" y="163"/>
                </a:lnTo>
                <a:lnTo>
                  <a:pt x="26" y="165"/>
                </a:lnTo>
                <a:lnTo>
                  <a:pt x="25" y="165"/>
                </a:lnTo>
                <a:lnTo>
                  <a:pt x="22" y="164"/>
                </a:lnTo>
                <a:lnTo>
                  <a:pt x="20" y="163"/>
                </a:lnTo>
                <a:lnTo>
                  <a:pt x="19" y="160"/>
                </a:lnTo>
                <a:lnTo>
                  <a:pt x="19" y="159"/>
                </a:lnTo>
                <a:lnTo>
                  <a:pt x="18" y="159"/>
                </a:lnTo>
                <a:lnTo>
                  <a:pt x="18" y="160"/>
                </a:lnTo>
                <a:lnTo>
                  <a:pt x="17" y="160"/>
                </a:lnTo>
                <a:lnTo>
                  <a:pt x="16" y="162"/>
                </a:lnTo>
                <a:lnTo>
                  <a:pt x="16" y="160"/>
                </a:lnTo>
                <a:lnTo>
                  <a:pt x="14" y="160"/>
                </a:lnTo>
                <a:lnTo>
                  <a:pt x="16" y="162"/>
                </a:lnTo>
                <a:lnTo>
                  <a:pt x="13" y="162"/>
                </a:lnTo>
                <a:lnTo>
                  <a:pt x="13" y="163"/>
                </a:lnTo>
                <a:lnTo>
                  <a:pt x="10" y="163"/>
                </a:lnTo>
                <a:lnTo>
                  <a:pt x="9" y="162"/>
                </a:lnTo>
                <a:lnTo>
                  <a:pt x="9" y="157"/>
                </a:lnTo>
                <a:lnTo>
                  <a:pt x="10" y="156"/>
                </a:lnTo>
                <a:lnTo>
                  <a:pt x="10" y="154"/>
                </a:lnTo>
                <a:lnTo>
                  <a:pt x="9" y="154"/>
                </a:lnTo>
                <a:lnTo>
                  <a:pt x="9" y="156"/>
                </a:lnTo>
                <a:lnTo>
                  <a:pt x="7" y="154"/>
                </a:lnTo>
                <a:lnTo>
                  <a:pt x="7" y="158"/>
                </a:lnTo>
                <a:lnTo>
                  <a:pt x="6" y="159"/>
                </a:lnTo>
                <a:lnTo>
                  <a:pt x="6" y="160"/>
                </a:lnTo>
                <a:lnTo>
                  <a:pt x="4" y="158"/>
                </a:lnTo>
                <a:lnTo>
                  <a:pt x="3" y="154"/>
                </a:lnTo>
                <a:lnTo>
                  <a:pt x="4" y="152"/>
                </a:lnTo>
                <a:lnTo>
                  <a:pt x="4" y="148"/>
                </a:lnTo>
                <a:lnTo>
                  <a:pt x="6" y="144"/>
                </a:lnTo>
                <a:close/>
                <a:moveTo>
                  <a:pt x="35" y="142"/>
                </a:moveTo>
                <a:lnTo>
                  <a:pt x="35" y="144"/>
                </a:lnTo>
                <a:lnTo>
                  <a:pt x="36" y="144"/>
                </a:lnTo>
                <a:lnTo>
                  <a:pt x="36" y="146"/>
                </a:lnTo>
                <a:lnTo>
                  <a:pt x="37" y="146"/>
                </a:lnTo>
                <a:lnTo>
                  <a:pt x="37" y="147"/>
                </a:lnTo>
                <a:lnTo>
                  <a:pt x="38" y="148"/>
                </a:lnTo>
                <a:lnTo>
                  <a:pt x="38" y="150"/>
                </a:lnTo>
                <a:lnTo>
                  <a:pt x="36" y="150"/>
                </a:lnTo>
                <a:lnTo>
                  <a:pt x="35" y="148"/>
                </a:lnTo>
                <a:lnTo>
                  <a:pt x="35" y="147"/>
                </a:lnTo>
                <a:lnTo>
                  <a:pt x="34" y="147"/>
                </a:lnTo>
                <a:lnTo>
                  <a:pt x="35" y="146"/>
                </a:lnTo>
                <a:lnTo>
                  <a:pt x="35" y="145"/>
                </a:lnTo>
                <a:lnTo>
                  <a:pt x="32" y="144"/>
                </a:lnTo>
                <a:lnTo>
                  <a:pt x="35" y="142"/>
                </a:lnTo>
                <a:close/>
                <a:moveTo>
                  <a:pt x="14" y="140"/>
                </a:moveTo>
                <a:lnTo>
                  <a:pt x="17" y="140"/>
                </a:lnTo>
                <a:lnTo>
                  <a:pt x="17" y="141"/>
                </a:lnTo>
                <a:lnTo>
                  <a:pt x="19" y="140"/>
                </a:lnTo>
                <a:lnTo>
                  <a:pt x="20" y="141"/>
                </a:lnTo>
                <a:lnTo>
                  <a:pt x="19" y="142"/>
                </a:lnTo>
                <a:lnTo>
                  <a:pt x="19" y="145"/>
                </a:lnTo>
                <a:lnTo>
                  <a:pt x="18" y="146"/>
                </a:lnTo>
                <a:lnTo>
                  <a:pt x="17" y="145"/>
                </a:lnTo>
                <a:lnTo>
                  <a:pt x="14" y="145"/>
                </a:lnTo>
                <a:lnTo>
                  <a:pt x="13" y="142"/>
                </a:lnTo>
                <a:lnTo>
                  <a:pt x="13" y="141"/>
                </a:lnTo>
                <a:lnTo>
                  <a:pt x="14" y="140"/>
                </a:lnTo>
                <a:close/>
                <a:moveTo>
                  <a:pt x="28" y="135"/>
                </a:moveTo>
                <a:lnTo>
                  <a:pt x="29" y="135"/>
                </a:lnTo>
                <a:lnTo>
                  <a:pt x="29" y="136"/>
                </a:lnTo>
                <a:lnTo>
                  <a:pt x="30" y="136"/>
                </a:lnTo>
                <a:lnTo>
                  <a:pt x="30" y="139"/>
                </a:lnTo>
                <a:lnTo>
                  <a:pt x="29" y="140"/>
                </a:lnTo>
                <a:lnTo>
                  <a:pt x="29" y="144"/>
                </a:lnTo>
                <a:lnTo>
                  <a:pt x="30" y="144"/>
                </a:lnTo>
                <a:lnTo>
                  <a:pt x="29" y="145"/>
                </a:lnTo>
                <a:lnTo>
                  <a:pt x="28" y="145"/>
                </a:lnTo>
                <a:lnTo>
                  <a:pt x="28" y="142"/>
                </a:lnTo>
                <a:lnTo>
                  <a:pt x="26" y="142"/>
                </a:lnTo>
                <a:lnTo>
                  <a:pt x="26" y="141"/>
                </a:lnTo>
                <a:lnTo>
                  <a:pt x="25" y="141"/>
                </a:lnTo>
                <a:lnTo>
                  <a:pt x="25" y="140"/>
                </a:lnTo>
                <a:lnTo>
                  <a:pt x="28" y="140"/>
                </a:lnTo>
                <a:lnTo>
                  <a:pt x="28" y="135"/>
                </a:lnTo>
                <a:close/>
                <a:moveTo>
                  <a:pt x="23" y="135"/>
                </a:moveTo>
                <a:lnTo>
                  <a:pt x="24" y="135"/>
                </a:lnTo>
                <a:lnTo>
                  <a:pt x="23" y="136"/>
                </a:lnTo>
                <a:lnTo>
                  <a:pt x="23" y="135"/>
                </a:lnTo>
                <a:close/>
                <a:moveTo>
                  <a:pt x="43" y="130"/>
                </a:moveTo>
                <a:lnTo>
                  <a:pt x="44" y="132"/>
                </a:lnTo>
                <a:lnTo>
                  <a:pt x="44" y="133"/>
                </a:lnTo>
                <a:lnTo>
                  <a:pt x="41" y="133"/>
                </a:lnTo>
                <a:lnTo>
                  <a:pt x="41" y="134"/>
                </a:lnTo>
                <a:lnTo>
                  <a:pt x="39" y="136"/>
                </a:lnTo>
                <a:lnTo>
                  <a:pt x="38" y="136"/>
                </a:lnTo>
                <a:lnTo>
                  <a:pt x="38" y="135"/>
                </a:lnTo>
                <a:lnTo>
                  <a:pt x="36" y="138"/>
                </a:lnTo>
                <a:lnTo>
                  <a:pt x="36" y="136"/>
                </a:lnTo>
                <a:lnTo>
                  <a:pt x="35" y="136"/>
                </a:lnTo>
                <a:lnTo>
                  <a:pt x="32" y="139"/>
                </a:lnTo>
                <a:lnTo>
                  <a:pt x="32" y="140"/>
                </a:lnTo>
                <a:lnTo>
                  <a:pt x="31" y="140"/>
                </a:lnTo>
                <a:lnTo>
                  <a:pt x="31" y="138"/>
                </a:lnTo>
                <a:lnTo>
                  <a:pt x="32" y="138"/>
                </a:lnTo>
                <a:lnTo>
                  <a:pt x="32" y="136"/>
                </a:lnTo>
                <a:lnTo>
                  <a:pt x="34" y="136"/>
                </a:lnTo>
                <a:lnTo>
                  <a:pt x="34" y="135"/>
                </a:lnTo>
                <a:lnTo>
                  <a:pt x="35" y="135"/>
                </a:lnTo>
                <a:lnTo>
                  <a:pt x="35" y="134"/>
                </a:lnTo>
                <a:lnTo>
                  <a:pt x="37" y="134"/>
                </a:lnTo>
                <a:lnTo>
                  <a:pt x="39" y="132"/>
                </a:lnTo>
                <a:lnTo>
                  <a:pt x="42" y="132"/>
                </a:lnTo>
                <a:lnTo>
                  <a:pt x="43" y="130"/>
                </a:lnTo>
                <a:close/>
                <a:moveTo>
                  <a:pt x="37" y="130"/>
                </a:moveTo>
                <a:lnTo>
                  <a:pt x="38" y="130"/>
                </a:lnTo>
                <a:lnTo>
                  <a:pt x="38" y="132"/>
                </a:lnTo>
                <a:lnTo>
                  <a:pt x="36" y="134"/>
                </a:lnTo>
                <a:lnTo>
                  <a:pt x="36" y="133"/>
                </a:lnTo>
                <a:lnTo>
                  <a:pt x="35" y="132"/>
                </a:lnTo>
                <a:lnTo>
                  <a:pt x="36" y="132"/>
                </a:lnTo>
                <a:lnTo>
                  <a:pt x="37" y="130"/>
                </a:lnTo>
                <a:close/>
                <a:moveTo>
                  <a:pt x="16" y="128"/>
                </a:moveTo>
                <a:lnTo>
                  <a:pt x="17" y="129"/>
                </a:lnTo>
                <a:lnTo>
                  <a:pt x="16" y="129"/>
                </a:lnTo>
                <a:lnTo>
                  <a:pt x="16" y="128"/>
                </a:lnTo>
                <a:close/>
                <a:moveTo>
                  <a:pt x="19" y="126"/>
                </a:moveTo>
                <a:lnTo>
                  <a:pt x="20" y="127"/>
                </a:lnTo>
                <a:lnTo>
                  <a:pt x="20" y="129"/>
                </a:lnTo>
                <a:lnTo>
                  <a:pt x="19" y="129"/>
                </a:lnTo>
                <a:lnTo>
                  <a:pt x="22" y="130"/>
                </a:lnTo>
                <a:lnTo>
                  <a:pt x="23" y="130"/>
                </a:lnTo>
                <a:lnTo>
                  <a:pt x="24" y="133"/>
                </a:lnTo>
                <a:lnTo>
                  <a:pt x="24" y="134"/>
                </a:lnTo>
                <a:lnTo>
                  <a:pt x="25" y="134"/>
                </a:lnTo>
                <a:lnTo>
                  <a:pt x="25" y="135"/>
                </a:lnTo>
                <a:lnTo>
                  <a:pt x="24" y="135"/>
                </a:lnTo>
                <a:lnTo>
                  <a:pt x="20" y="132"/>
                </a:lnTo>
                <a:lnTo>
                  <a:pt x="19" y="132"/>
                </a:lnTo>
                <a:lnTo>
                  <a:pt x="19" y="134"/>
                </a:lnTo>
                <a:lnTo>
                  <a:pt x="18" y="134"/>
                </a:lnTo>
                <a:lnTo>
                  <a:pt x="18" y="133"/>
                </a:lnTo>
                <a:lnTo>
                  <a:pt x="17" y="132"/>
                </a:lnTo>
                <a:lnTo>
                  <a:pt x="17" y="129"/>
                </a:lnTo>
                <a:lnTo>
                  <a:pt x="19" y="127"/>
                </a:lnTo>
                <a:lnTo>
                  <a:pt x="19" y="126"/>
                </a:lnTo>
                <a:close/>
                <a:moveTo>
                  <a:pt x="76" y="110"/>
                </a:moveTo>
                <a:lnTo>
                  <a:pt x="78" y="110"/>
                </a:lnTo>
                <a:lnTo>
                  <a:pt x="78" y="113"/>
                </a:lnTo>
                <a:lnTo>
                  <a:pt x="76" y="113"/>
                </a:lnTo>
                <a:lnTo>
                  <a:pt x="76" y="114"/>
                </a:lnTo>
                <a:lnTo>
                  <a:pt x="75" y="114"/>
                </a:lnTo>
                <a:lnTo>
                  <a:pt x="75" y="111"/>
                </a:lnTo>
                <a:lnTo>
                  <a:pt x="76" y="110"/>
                </a:lnTo>
                <a:close/>
                <a:moveTo>
                  <a:pt x="88" y="64"/>
                </a:moveTo>
                <a:lnTo>
                  <a:pt x="90" y="64"/>
                </a:lnTo>
                <a:lnTo>
                  <a:pt x="90" y="67"/>
                </a:lnTo>
                <a:lnTo>
                  <a:pt x="87" y="70"/>
                </a:lnTo>
                <a:lnTo>
                  <a:pt x="87" y="68"/>
                </a:lnTo>
                <a:lnTo>
                  <a:pt x="88" y="67"/>
                </a:lnTo>
                <a:lnTo>
                  <a:pt x="88" y="64"/>
                </a:lnTo>
                <a:close/>
                <a:moveTo>
                  <a:pt x="56" y="60"/>
                </a:moveTo>
                <a:lnTo>
                  <a:pt x="59" y="60"/>
                </a:lnTo>
                <a:lnTo>
                  <a:pt x="59" y="62"/>
                </a:lnTo>
                <a:lnTo>
                  <a:pt x="57" y="62"/>
                </a:lnTo>
                <a:lnTo>
                  <a:pt x="56" y="61"/>
                </a:lnTo>
                <a:lnTo>
                  <a:pt x="56" y="60"/>
                </a:lnTo>
                <a:close/>
                <a:moveTo>
                  <a:pt x="97" y="58"/>
                </a:moveTo>
                <a:lnTo>
                  <a:pt x="99" y="58"/>
                </a:lnTo>
                <a:lnTo>
                  <a:pt x="100" y="59"/>
                </a:lnTo>
                <a:lnTo>
                  <a:pt x="100" y="62"/>
                </a:lnTo>
                <a:lnTo>
                  <a:pt x="99" y="64"/>
                </a:lnTo>
                <a:lnTo>
                  <a:pt x="98" y="62"/>
                </a:lnTo>
                <a:lnTo>
                  <a:pt x="98" y="60"/>
                </a:lnTo>
                <a:lnTo>
                  <a:pt x="97" y="59"/>
                </a:lnTo>
                <a:lnTo>
                  <a:pt x="97" y="58"/>
                </a:lnTo>
                <a:close/>
                <a:moveTo>
                  <a:pt x="106" y="40"/>
                </a:moveTo>
                <a:lnTo>
                  <a:pt x="106" y="41"/>
                </a:lnTo>
                <a:lnTo>
                  <a:pt x="105" y="42"/>
                </a:lnTo>
                <a:lnTo>
                  <a:pt x="104" y="45"/>
                </a:lnTo>
                <a:lnTo>
                  <a:pt x="101" y="45"/>
                </a:lnTo>
                <a:lnTo>
                  <a:pt x="101" y="42"/>
                </a:lnTo>
                <a:lnTo>
                  <a:pt x="103" y="42"/>
                </a:lnTo>
                <a:lnTo>
                  <a:pt x="103" y="41"/>
                </a:lnTo>
                <a:lnTo>
                  <a:pt x="105" y="41"/>
                </a:lnTo>
                <a:lnTo>
                  <a:pt x="106" y="40"/>
                </a:lnTo>
                <a:close/>
                <a:moveTo>
                  <a:pt x="105" y="19"/>
                </a:moveTo>
                <a:lnTo>
                  <a:pt x="111" y="19"/>
                </a:lnTo>
                <a:lnTo>
                  <a:pt x="111" y="21"/>
                </a:lnTo>
                <a:lnTo>
                  <a:pt x="113" y="21"/>
                </a:lnTo>
                <a:lnTo>
                  <a:pt x="113" y="23"/>
                </a:lnTo>
                <a:lnTo>
                  <a:pt x="112" y="24"/>
                </a:lnTo>
                <a:lnTo>
                  <a:pt x="111" y="23"/>
                </a:lnTo>
                <a:lnTo>
                  <a:pt x="109" y="23"/>
                </a:lnTo>
                <a:lnTo>
                  <a:pt x="109" y="24"/>
                </a:lnTo>
                <a:lnTo>
                  <a:pt x="107" y="24"/>
                </a:lnTo>
                <a:lnTo>
                  <a:pt x="106" y="23"/>
                </a:lnTo>
                <a:lnTo>
                  <a:pt x="105" y="19"/>
                </a:lnTo>
                <a:close/>
                <a:moveTo>
                  <a:pt x="90" y="18"/>
                </a:moveTo>
                <a:lnTo>
                  <a:pt x="91" y="19"/>
                </a:lnTo>
                <a:lnTo>
                  <a:pt x="91" y="22"/>
                </a:lnTo>
                <a:lnTo>
                  <a:pt x="90" y="23"/>
                </a:lnTo>
                <a:lnTo>
                  <a:pt x="90" y="27"/>
                </a:lnTo>
                <a:lnTo>
                  <a:pt x="88" y="28"/>
                </a:lnTo>
                <a:lnTo>
                  <a:pt x="88" y="29"/>
                </a:lnTo>
                <a:lnTo>
                  <a:pt x="90" y="29"/>
                </a:lnTo>
                <a:lnTo>
                  <a:pt x="88" y="31"/>
                </a:lnTo>
                <a:lnTo>
                  <a:pt x="90" y="31"/>
                </a:lnTo>
                <a:lnTo>
                  <a:pt x="90" y="30"/>
                </a:lnTo>
                <a:lnTo>
                  <a:pt x="91" y="31"/>
                </a:lnTo>
                <a:lnTo>
                  <a:pt x="90" y="33"/>
                </a:lnTo>
                <a:lnTo>
                  <a:pt x="90" y="34"/>
                </a:lnTo>
                <a:lnTo>
                  <a:pt x="88" y="34"/>
                </a:lnTo>
                <a:lnTo>
                  <a:pt x="88" y="37"/>
                </a:lnTo>
                <a:lnTo>
                  <a:pt x="87" y="39"/>
                </a:lnTo>
                <a:lnTo>
                  <a:pt x="90" y="39"/>
                </a:lnTo>
                <a:lnTo>
                  <a:pt x="90" y="36"/>
                </a:lnTo>
                <a:lnTo>
                  <a:pt x="91" y="36"/>
                </a:lnTo>
                <a:lnTo>
                  <a:pt x="93" y="35"/>
                </a:lnTo>
                <a:lnTo>
                  <a:pt x="91" y="34"/>
                </a:lnTo>
                <a:lnTo>
                  <a:pt x="91" y="31"/>
                </a:lnTo>
                <a:lnTo>
                  <a:pt x="92" y="31"/>
                </a:lnTo>
                <a:lnTo>
                  <a:pt x="92" y="33"/>
                </a:lnTo>
                <a:lnTo>
                  <a:pt x="93" y="31"/>
                </a:lnTo>
                <a:lnTo>
                  <a:pt x="93" y="30"/>
                </a:lnTo>
                <a:lnTo>
                  <a:pt x="94" y="31"/>
                </a:lnTo>
                <a:lnTo>
                  <a:pt x="94" y="33"/>
                </a:lnTo>
                <a:lnTo>
                  <a:pt x="96" y="33"/>
                </a:lnTo>
                <a:lnTo>
                  <a:pt x="96" y="36"/>
                </a:lnTo>
                <a:lnTo>
                  <a:pt x="94" y="36"/>
                </a:lnTo>
                <a:lnTo>
                  <a:pt x="94" y="37"/>
                </a:lnTo>
                <a:lnTo>
                  <a:pt x="93" y="37"/>
                </a:lnTo>
                <a:lnTo>
                  <a:pt x="93" y="39"/>
                </a:lnTo>
                <a:lnTo>
                  <a:pt x="94" y="39"/>
                </a:lnTo>
                <a:lnTo>
                  <a:pt x="94" y="37"/>
                </a:lnTo>
                <a:lnTo>
                  <a:pt x="96" y="37"/>
                </a:lnTo>
                <a:lnTo>
                  <a:pt x="97" y="39"/>
                </a:lnTo>
                <a:lnTo>
                  <a:pt x="98" y="39"/>
                </a:lnTo>
                <a:lnTo>
                  <a:pt x="98" y="36"/>
                </a:lnTo>
                <a:lnTo>
                  <a:pt x="99" y="36"/>
                </a:lnTo>
                <a:lnTo>
                  <a:pt x="99" y="35"/>
                </a:lnTo>
                <a:lnTo>
                  <a:pt x="101" y="35"/>
                </a:lnTo>
                <a:lnTo>
                  <a:pt x="100" y="36"/>
                </a:lnTo>
                <a:lnTo>
                  <a:pt x="98" y="40"/>
                </a:lnTo>
                <a:lnTo>
                  <a:pt x="98" y="41"/>
                </a:lnTo>
                <a:lnTo>
                  <a:pt x="99" y="40"/>
                </a:lnTo>
                <a:lnTo>
                  <a:pt x="100" y="40"/>
                </a:lnTo>
                <a:lnTo>
                  <a:pt x="100" y="42"/>
                </a:lnTo>
                <a:lnTo>
                  <a:pt x="99" y="42"/>
                </a:lnTo>
                <a:lnTo>
                  <a:pt x="96" y="43"/>
                </a:lnTo>
                <a:lnTo>
                  <a:pt x="97" y="45"/>
                </a:lnTo>
                <a:lnTo>
                  <a:pt x="98" y="45"/>
                </a:lnTo>
                <a:lnTo>
                  <a:pt x="99" y="46"/>
                </a:lnTo>
                <a:lnTo>
                  <a:pt x="98" y="48"/>
                </a:lnTo>
                <a:lnTo>
                  <a:pt x="97" y="48"/>
                </a:lnTo>
                <a:lnTo>
                  <a:pt x="97" y="49"/>
                </a:lnTo>
                <a:lnTo>
                  <a:pt x="99" y="49"/>
                </a:lnTo>
                <a:lnTo>
                  <a:pt x="97" y="52"/>
                </a:lnTo>
                <a:lnTo>
                  <a:pt x="96" y="52"/>
                </a:lnTo>
                <a:lnTo>
                  <a:pt x="96" y="49"/>
                </a:lnTo>
                <a:lnTo>
                  <a:pt x="94" y="49"/>
                </a:lnTo>
                <a:lnTo>
                  <a:pt x="94" y="52"/>
                </a:lnTo>
                <a:lnTo>
                  <a:pt x="93" y="53"/>
                </a:lnTo>
                <a:lnTo>
                  <a:pt x="96" y="53"/>
                </a:lnTo>
                <a:lnTo>
                  <a:pt x="94" y="54"/>
                </a:lnTo>
                <a:lnTo>
                  <a:pt x="94" y="55"/>
                </a:lnTo>
                <a:lnTo>
                  <a:pt x="96" y="54"/>
                </a:lnTo>
                <a:lnTo>
                  <a:pt x="94" y="56"/>
                </a:lnTo>
                <a:lnTo>
                  <a:pt x="94" y="58"/>
                </a:lnTo>
                <a:lnTo>
                  <a:pt x="96" y="56"/>
                </a:lnTo>
                <a:lnTo>
                  <a:pt x="97" y="56"/>
                </a:lnTo>
                <a:lnTo>
                  <a:pt x="96" y="59"/>
                </a:lnTo>
                <a:lnTo>
                  <a:pt x="98" y="60"/>
                </a:lnTo>
                <a:lnTo>
                  <a:pt x="97" y="60"/>
                </a:lnTo>
                <a:lnTo>
                  <a:pt x="97" y="61"/>
                </a:lnTo>
                <a:lnTo>
                  <a:pt x="96" y="61"/>
                </a:lnTo>
                <a:lnTo>
                  <a:pt x="96" y="62"/>
                </a:lnTo>
                <a:lnTo>
                  <a:pt x="94" y="64"/>
                </a:lnTo>
                <a:lnTo>
                  <a:pt x="94" y="65"/>
                </a:lnTo>
                <a:lnTo>
                  <a:pt x="96" y="65"/>
                </a:lnTo>
                <a:lnTo>
                  <a:pt x="94" y="66"/>
                </a:lnTo>
                <a:lnTo>
                  <a:pt x="94" y="67"/>
                </a:lnTo>
                <a:lnTo>
                  <a:pt x="96" y="67"/>
                </a:lnTo>
                <a:lnTo>
                  <a:pt x="96" y="70"/>
                </a:lnTo>
                <a:lnTo>
                  <a:pt x="93" y="70"/>
                </a:lnTo>
                <a:lnTo>
                  <a:pt x="93" y="71"/>
                </a:lnTo>
                <a:lnTo>
                  <a:pt x="94" y="73"/>
                </a:lnTo>
                <a:lnTo>
                  <a:pt x="94" y="74"/>
                </a:lnTo>
                <a:lnTo>
                  <a:pt x="93" y="74"/>
                </a:lnTo>
                <a:lnTo>
                  <a:pt x="92" y="73"/>
                </a:lnTo>
                <a:lnTo>
                  <a:pt x="92" y="79"/>
                </a:lnTo>
                <a:lnTo>
                  <a:pt x="91" y="79"/>
                </a:lnTo>
                <a:lnTo>
                  <a:pt x="92" y="80"/>
                </a:lnTo>
                <a:lnTo>
                  <a:pt x="92" y="82"/>
                </a:lnTo>
                <a:lnTo>
                  <a:pt x="91" y="83"/>
                </a:lnTo>
                <a:lnTo>
                  <a:pt x="92" y="84"/>
                </a:lnTo>
                <a:lnTo>
                  <a:pt x="92" y="85"/>
                </a:lnTo>
                <a:lnTo>
                  <a:pt x="91" y="85"/>
                </a:lnTo>
                <a:lnTo>
                  <a:pt x="91" y="84"/>
                </a:lnTo>
                <a:lnTo>
                  <a:pt x="90" y="84"/>
                </a:lnTo>
                <a:lnTo>
                  <a:pt x="90" y="82"/>
                </a:lnTo>
                <a:lnTo>
                  <a:pt x="87" y="82"/>
                </a:lnTo>
                <a:lnTo>
                  <a:pt x="87" y="78"/>
                </a:lnTo>
                <a:lnTo>
                  <a:pt x="88" y="77"/>
                </a:lnTo>
                <a:lnTo>
                  <a:pt x="90" y="77"/>
                </a:lnTo>
                <a:lnTo>
                  <a:pt x="88" y="76"/>
                </a:lnTo>
                <a:lnTo>
                  <a:pt x="88" y="74"/>
                </a:lnTo>
                <a:lnTo>
                  <a:pt x="90" y="74"/>
                </a:lnTo>
                <a:lnTo>
                  <a:pt x="88" y="73"/>
                </a:lnTo>
                <a:lnTo>
                  <a:pt x="90" y="72"/>
                </a:lnTo>
                <a:lnTo>
                  <a:pt x="90" y="71"/>
                </a:lnTo>
                <a:lnTo>
                  <a:pt x="91" y="66"/>
                </a:lnTo>
                <a:lnTo>
                  <a:pt x="91" y="65"/>
                </a:lnTo>
                <a:lnTo>
                  <a:pt x="92" y="64"/>
                </a:lnTo>
                <a:lnTo>
                  <a:pt x="92" y="61"/>
                </a:lnTo>
                <a:lnTo>
                  <a:pt x="91" y="60"/>
                </a:lnTo>
                <a:lnTo>
                  <a:pt x="91" y="59"/>
                </a:lnTo>
                <a:lnTo>
                  <a:pt x="92" y="58"/>
                </a:lnTo>
                <a:lnTo>
                  <a:pt x="90" y="58"/>
                </a:lnTo>
                <a:lnTo>
                  <a:pt x="90" y="56"/>
                </a:lnTo>
                <a:lnTo>
                  <a:pt x="91" y="54"/>
                </a:lnTo>
                <a:lnTo>
                  <a:pt x="91" y="53"/>
                </a:lnTo>
                <a:lnTo>
                  <a:pt x="92" y="53"/>
                </a:lnTo>
                <a:lnTo>
                  <a:pt x="92" y="52"/>
                </a:lnTo>
                <a:lnTo>
                  <a:pt x="91" y="52"/>
                </a:lnTo>
                <a:lnTo>
                  <a:pt x="90" y="53"/>
                </a:lnTo>
                <a:lnTo>
                  <a:pt x="88" y="55"/>
                </a:lnTo>
                <a:lnTo>
                  <a:pt x="88" y="54"/>
                </a:lnTo>
                <a:lnTo>
                  <a:pt x="87" y="52"/>
                </a:lnTo>
                <a:lnTo>
                  <a:pt x="86" y="50"/>
                </a:lnTo>
                <a:lnTo>
                  <a:pt x="86" y="52"/>
                </a:lnTo>
                <a:lnTo>
                  <a:pt x="87" y="53"/>
                </a:lnTo>
                <a:lnTo>
                  <a:pt x="87" y="54"/>
                </a:lnTo>
                <a:lnTo>
                  <a:pt x="88" y="55"/>
                </a:lnTo>
                <a:lnTo>
                  <a:pt x="87" y="56"/>
                </a:lnTo>
                <a:lnTo>
                  <a:pt x="87" y="55"/>
                </a:lnTo>
                <a:lnTo>
                  <a:pt x="86" y="55"/>
                </a:lnTo>
                <a:lnTo>
                  <a:pt x="86" y="58"/>
                </a:lnTo>
                <a:lnTo>
                  <a:pt x="85" y="58"/>
                </a:lnTo>
                <a:lnTo>
                  <a:pt x="85" y="59"/>
                </a:lnTo>
                <a:lnTo>
                  <a:pt x="84" y="60"/>
                </a:lnTo>
                <a:lnTo>
                  <a:pt x="82" y="59"/>
                </a:lnTo>
                <a:lnTo>
                  <a:pt x="81" y="59"/>
                </a:lnTo>
                <a:lnTo>
                  <a:pt x="81" y="58"/>
                </a:lnTo>
                <a:lnTo>
                  <a:pt x="80" y="56"/>
                </a:lnTo>
                <a:lnTo>
                  <a:pt x="81" y="55"/>
                </a:lnTo>
                <a:lnTo>
                  <a:pt x="82" y="55"/>
                </a:lnTo>
                <a:lnTo>
                  <a:pt x="84" y="54"/>
                </a:lnTo>
                <a:lnTo>
                  <a:pt x="82" y="54"/>
                </a:lnTo>
                <a:lnTo>
                  <a:pt x="81" y="52"/>
                </a:lnTo>
                <a:lnTo>
                  <a:pt x="81" y="54"/>
                </a:lnTo>
                <a:lnTo>
                  <a:pt x="80" y="55"/>
                </a:lnTo>
                <a:lnTo>
                  <a:pt x="80" y="53"/>
                </a:lnTo>
                <a:lnTo>
                  <a:pt x="79" y="54"/>
                </a:lnTo>
                <a:lnTo>
                  <a:pt x="76" y="54"/>
                </a:lnTo>
                <a:lnTo>
                  <a:pt x="76" y="53"/>
                </a:lnTo>
                <a:lnTo>
                  <a:pt x="74" y="53"/>
                </a:lnTo>
                <a:lnTo>
                  <a:pt x="74" y="47"/>
                </a:lnTo>
                <a:lnTo>
                  <a:pt x="75" y="47"/>
                </a:lnTo>
                <a:lnTo>
                  <a:pt x="76" y="46"/>
                </a:lnTo>
                <a:lnTo>
                  <a:pt x="78" y="46"/>
                </a:lnTo>
                <a:lnTo>
                  <a:pt x="78" y="47"/>
                </a:lnTo>
                <a:lnTo>
                  <a:pt x="79" y="48"/>
                </a:lnTo>
                <a:lnTo>
                  <a:pt x="80" y="48"/>
                </a:lnTo>
                <a:lnTo>
                  <a:pt x="79" y="47"/>
                </a:lnTo>
                <a:lnTo>
                  <a:pt x="80" y="47"/>
                </a:lnTo>
                <a:lnTo>
                  <a:pt x="80" y="46"/>
                </a:lnTo>
                <a:lnTo>
                  <a:pt x="82" y="46"/>
                </a:lnTo>
                <a:lnTo>
                  <a:pt x="84" y="47"/>
                </a:lnTo>
                <a:lnTo>
                  <a:pt x="84" y="46"/>
                </a:lnTo>
                <a:lnTo>
                  <a:pt x="86" y="46"/>
                </a:lnTo>
                <a:lnTo>
                  <a:pt x="87" y="47"/>
                </a:lnTo>
                <a:lnTo>
                  <a:pt x="87" y="48"/>
                </a:lnTo>
                <a:lnTo>
                  <a:pt x="88" y="48"/>
                </a:lnTo>
                <a:lnTo>
                  <a:pt x="88" y="47"/>
                </a:lnTo>
                <a:lnTo>
                  <a:pt x="87" y="46"/>
                </a:lnTo>
                <a:lnTo>
                  <a:pt x="88" y="43"/>
                </a:lnTo>
                <a:lnTo>
                  <a:pt x="90" y="42"/>
                </a:lnTo>
                <a:lnTo>
                  <a:pt x="88" y="41"/>
                </a:lnTo>
                <a:lnTo>
                  <a:pt x="88" y="40"/>
                </a:lnTo>
                <a:lnTo>
                  <a:pt x="87" y="40"/>
                </a:lnTo>
                <a:lnTo>
                  <a:pt x="87" y="41"/>
                </a:lnTo>
                <a:lnTo>
                  <a:pt x="86" y="41"/>
                </a:lnTo>
                <a:lnTo>
                  <a:pt x="86" y="37"/>
                </a:lnTo>
                <a:lnTo>
                  <a:pt x="85" y="37"/>
                </a:lnTo>
                <a:lnTo>
                  <a:pt x="85" y="34"/>
                </a:lnTo>
                <a:lnTo>
                  <a:pt x="84" y="31"/>
                </a:lnTo>
                <a:lnTo>
                  <a:pt x="84" y="33"/>
                </a:lnTo>
                <a:lnTo>
                  <a:pt x="82" y="34"/>
                </a:lnTo>
                <a:lnTo>
                  <a:pt x="81" y="33"/>
                </a:lnTo>
                <a:lnTo>
                  <a:pt x="82" y="33"/>
                </a:lnTo>
                <a:lnTo>
                  <a:pt x="82" y="31"/>
                </a:lnTo>
                <a:lnTo>
                  <a:pt x="80" y="31"/>
                </a:lnTo>
                <a:lnTo>
                  <a:pt x="79" y="33"/>
                </a:lnTo>
                <a:lnTo>
                  <a:pt x="78" y="33"/>
                </a:lnTo>
                <a:lnTo>
                  <a:pt x="76" y="31"/>
                </a:lnTo>
                <a:lnTo>
                  <a:pt x="78" y="30"/>
                </a:lnTo>
                <a:lnTo>
                  <a:pt x="78" y="29"/>
                </a:lnTo>
                <a:lnTo>
                  <a:pt x="80" y="29"/>
                </a:lnTo>
                <a:lnTo>
                  <a:pt x="80" y="25"/>
                </a:lnTo>
                <a:lnTo>
                  <a:pt x="81" y="25"/>
                </a:lnTo>
                <a:lnTo>
                  <a:pt x="81" y="27"/>
                </a:lnTo>
                <a:lnTo>
                  <a:pt x="85" y="30"/>
                </a:lnTo>
                <a:lnTo>
                  <a:pt x="86" y="29"/>
                </a:lnTo>
                <a:lnTo>
                  <a:pt x="84" y="29"/>
                </a:lnTo>
                <a:lnTo>
                  <a:pt x="84" y="27"/>
                </a:lnTo>
                <a:lnTo>
                  <a:pt x="82" y="27"/>
                </a:lnTo>
                <a:lnTo>
                  <a:pt x="84" y="25"/>
                </a:lnTo>
                <a:lnTo>
                  <a:pt x="84" y="24"/>
                </a:lnTo>
                <a:lnTo>
                  <a:pt x="86" y="23"/>
                </a:lnTo>
                <a:lnTo>
                  <a:pt x="85" y="23"/>
                </a:lnTo>
                <a:lnTo>
                  <a:pt x="85" y="21"/>
                </a:lnTo>
                <a:lnTo>
                  <a:pt x="87" y="21"/>
                </a:lnTo>
                <a:lnTo>
                  <a:pt x="88" y="22"/>
                </a:lnTo>
                <a:lnTo>
                  <a:pt x="90" y="22"/>
                </a:lnTo>
                <a:lnTo>
                  <a:pt x="90" y="18"/>
                </a:lnTo>
                <a:close/>
                <a:moveTo>
                  <a:pt x="99" y="10"/>
                </a:moveTo>
                <a:lnTo>
                  <a:pt x="100" y="11"/>
                </a:lnTo>
                <a:lnTo>
                  <a:pt x="101" y="10"/>
                </a:lnTo>
                <a:lnTo>
                  <a:pt x="103" y="10"/>
                </a:lnTo>
                <a:lnTo>
                  <a:pt x="103" y="13"/>
                </a:lnTo>
                <a:lnTo>
                  <a:pt x="104" y="13"/>
                </a:lnTo>
                <a:lnTo>
                  <a:pt x="103" y="15"/>
                </a:lnTo>
                <a:lnTo>
                  <a:pt x="104" y="17"/>
                </a:lnTo>
                <a:lnTo>
                  <a:pt x="104" y="18"/>
                </a:lnTo>
                <a:lnTo>
                  <a:pt x="103" y="18"/>
                </a:lnTo>
                <a:lnTo>
                  <a:pt x="101" y="17"/>
                </a:lnTo>
                <a:lnTo>
                  <a:pt x="101" y="16"/>
                </a:lnTo>
                <a:lnTo>
                  <a:pt x="100" y="16"/>
                </a:lnTo>
                <a:lnTo>
                  <a:pt x="100" y="17"/>
                </a:lnTo>
                <a:lnTo>
                  <a:pt x="101" y="18"/>
                </a:lnTo>
                <a:lnTo>
                  <a:pt x="103" y="21"/>
                </a:lnTo>
                <a:lnTo>
                  <a:pt x="100" y="21"/>
                </a:lnTo>
                <a:lnTo>
                  <a:pt x="100" y="22"/>
                </a:lnTo>
                <a:lnTo>
                  <a:pt x="101" y="22"/>
                </a:lnTo>
                <a:lnTo>
                  <a:pt x="101" y="23"/>
                </a:lnTo>
                <a:lnTo>
                  <a:pt x="103" y="24"/>
                </a:lnTo>
                <a:lnTo>
                  <a:pt x="101" y="25"/>
                </a:lnTo>
                <a:lnTo>
                  <a:pt x="101" y="30"/>
                </a:lnTo>
                <a:lnTo>
                  <a:pt x="99" y="30"/>
                </a:lnTo>
                <a:lnTo>
                  <a:pt x="99" y="29"/>
                </a:lnTo>
                <a:lnTo>
                  <a:pt x="98" y="29"/>
                </a:lnTo>
                <a:lnTo>
                  <a:pt x="98" y="30"/>
                </a:lnTo>
                <a:lnTo>
                  <a:pt x="99" y="30"/>
                </a:lnTo>
                <a:lnTo>
                  <a:pt x="99" y="31"/>
                </a:lnTo>
                <a:lnTo>
                  <a:pt x="97" y="30"/>
                </a:lnTo>
                <a:lnTo>
                  <a:pt x="96" y="28"/>
                </a:lnTo>
                <a:lnTo>
                  <a:pt x="96" y="18"/>
                </a:lnTo>
                <a:lnTo>
                  <a:pt x="97" y="17"/>
                </a:lnTo>
                <a:lnTo>
                  <a:pt x="97" y="21"/>
                </a:lnTo>
                <a:lnTo>
                  <a:pt x="98" y="21"/>
                </a:lnTo>
                <a:lnTo>
                  <a:pt x="98" y="11"/>
                </a:lnTo>
                <a:lnTo>
                  <a:pt x="99" y="10"/>
                </a:lnTo>
                <a:close/>
                <a:moveTo>
                  <a:pt x="107" y="0"/>
                </a:moveTo>
                <a:lnTo>
                  <a:pt x="109" y="0"/>
                </a:lnTo>
                <a:lnTo>
                  <a:pt x="109" y="4"/>
                </a:lnTo>
                <a:lnTo>
                  <a:pt x="107" y="4"/>
                </a:lnTo>
                <a:lnTo>
                  <a:pt x="107" y="5"/>
                </a:lnTo>
                <a:lnTo>
                  <a:pt x="109" y="5"/>
                </a:lnTo>
                <a:lnTo>
                  <a:pt x="109" y="4"/>
                </a:lnTo>
                <a:lnTo>
                  <a:pt x="110" y="2"/>
                </a:lnTo>
                <a:lnTo>
                  <a:pt x="110" y="0"/>
                </a:lnTo>
                <a:lnTo>
                  <a:pt x="111" y="0"/>
                </a:lnTo>
                <a:lnTo>
                  <a:pt x="111" y="2"/>
                </a:lnTo>
                <a:lnTo>
                  <a:pt x="112" y="2"/>
                </a:lnTo>
                <a:lnTo>
                  <a:pt x="112" y="3"/>
                </a:lnTo>
                <a:lnTo>
                  <a:pt x="113" y="4"/>
                </a:lnTo>
                <a:lnTo>
                  <a:pt x="111" y="6"/>
                </a:lnTo>
                <a:lnTo>
                  <a:pt x="111" y="7"/>
                </a:lnTo>
                <a:lnTo>
                  <a:pt x="110" y="7"/>
                </a:lnTo>
                <a:lnTo>
                  <a:pt x="111" y="9"/>
                </a:lnTo>
                <a:lnTo>
                  <a:pt x="110" y="11"/>
                </a:lnTo>
                <a:lnTo>
                  <a:pt x="109" y="11"/>
                </a:lnTo>
                <a:lnTo>
                  <a:pt x="110" y="12"/>
                </a:lnTo>
                <a:lnTo>
                  <a:pt x="110" y="15"/>
                </a:lnTo>
                <a:lnTo>
                  <a:pt x="105" y="15"/>
                </a:lnTo>
                <a:lnTo>
                  <a:pt x="104" y="13"/>
                </a:lnTo>
                <a:lnTo>
                  <a:pt x="104" y="11"/>
                </a:lnTo>
                <a:lnTo>
                  <a:pt x="105" y="11"/>
                </a:lnTo>
                <a:lnTo>
                  <a:pt x="105" y="9"/>
                </a:lnTo>
                <a:lnTo>
                  <a:pt x="106" y="7"/>
                </a:lnTo>
                <a:lnTo>
                  <a:pt x="106" y="6"/>
                </a:lnTo>
                <a:lnTo>
                  <a:pt x="105" y="5"/>
                </a:lnTo>
                <a:lnTo>
                  <a:pt x="105" y="4"/>
                </a:lnTo>
                <a:lnTo>
                  <a:pt x="106" y="4"/>
                </a:lnTo>
                <a:lnTo>
                  <a:pt x="106" y="3"/>
                </a:lnTo>
                <a:lnTo>
                  <a:pt x="107" y="3"/>
                </a:lnTo>
                <a:lnTo>
                  <a:pt x="107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" name="Freeform 41">
            <a:extLst>
              <a:ext uri="{FF2B5EF4-FFF2-40B4-BE49-F238E27FC236}">
                <a16:creationId xmlns:a16="http://schemas.microsoft.com/office/drawing/2014/main" id="{2355EF19-F393-46C6-9A11-63527C673F2A}"/>
              </a:ext>
            </a:extLst>
          </p:cNvPr>
          <p:cNvSpPr>
            <a:spLocks noEditPoints="1"/>
          </p:cNvSpPr>
          <p:nvPr/>
        </p:nvSpPr>
        <p:spPr bwMode="auto">
          <a:xfrm>
            <a:off x="1589584" y="4206126"/>
            <a:ext cx="559291" cy="762143"/>
          </a:xfrm>
          <a:custGeom>
            <a:avLst/>
            <a:gdLst/>
            <a:ahLst/>
            <a:cxnLst>
              <a:cxn ang="0">
                <a:pos x="96" y="98"/>
              </a:cxn>
              <a:cxn ang="0">
                <a:pos x="85" y="92"/>
              </a:cxn>
              <a:cxn ang="0">
                <a:pos x="319" y="59"/>
              </a:cxn>
              <a:cxn ang="0">
                <a:pos x="277" y="51"/>
              </a:cxn>
              <a:cxn ang="0">
                <a:pos x="220" y="40"/>
              </a:cxn>
              <a:cxn ang="0">
                <a:pos x="125" y="43"/>
              </a:cxn>
              <a:cxn ang="0">
                <a:pos x="332" y="55"/>
              </a:cxn>
              <a:cxn ang="0">
                <a:pos x="313" y="45"/>
              </a:cxn>
              <a:cxn ang="0">
                <a:pos x="322" y="42"/>
              </a:cxn>
              <a:cxn ang="0">
                <a:pos x="305" y="41"/>
              </a:cxn>
              <a:cxn ang="0">
                <a:pos x="313" y="30"/>
              </a:cxn>
              <a:cxn ang="0">
                <a:pos x="148" y="19"/>
              </a:cxn>
              <a:cxn ang="0">
                <a:pos x="174" y="28"/>
              </a:cxn>
              <a:cxn ang="0">
                <a:pos x="181" y="53"/>
              </a:cxn>
              <a:cxn ang="0">
                <a:pos x="212" y="71"/>
              </a:cxn>
              <a:cxn ang="0">
                <a:pos x="237" y="78"/>
              </a:cxn>
              <a:cxn ang="0">
                <a:pos x="271" y="58"/>
              </a:cxn>
              <a:cxn ang="0">
                <a:pos x="288" y="48"/>
              </a:cxn>
              <a:cxn ang="0">
                <a:pos x="314" y="61"/>
              </a:cxn>
              <a:cxn ang="0">
                <a:pos x="333" y="76"/>
              </a:cxn>
              <a:cxn ang="0">
                <a:pos x="345" y="82"/>
              </a:cxn>
              <a:cxn ang="0">
                <a:pos x="334" y="65"/>
              </a:cxn>
              <a:cxn ang="0">
                <a:pos x="352" y="97"/>
              </a:cxn>
              <a:cxn ang="0">
                <a:pos x="360" y="134"/>
              </a:cxn>
              <a:cxn ang="0">
                <a:pos x="370" y="185"/>
              </a:cxn>
              <a:cxn ang="0">
                <a:pos x="375" y="246"/>
              </a:cxn>
              <a:cxn ang="0">
                <a:pos x="373" y="298"/>
              </a:cxn>
              <a:cxn ang="0">
                <a:pos x="353" y="294"/>
              </a:cxn>
              <a:cxn ang="0">
                <a:pos x="313" y="314"/>
              </a:cxn>
              <a:cxn ang="0">
                <a:pos x="273" y="336"/>
              </a:cxn>
              <a:cxn ang="0">
                <a:pos x="270" y="349"/>
              </a:cxn>
              <a:cxn ang="0">
                <a:pos x="284" y="384"/>
              </a:cxn>
              <a:cxn ang="0">
                <a:pos x="321" y="421"/>
              </a:cxn>
              <a:cxn ang="0">
                <a:pos x="329" y="447"/>
              </a:cxn>
              <a:cxn ang="0">
                <a:pos x="291" y="476"/>
              </a:cxn>
              <a:cxn ang="0">
                <a:pos x="292" y="506"/>
              </a:cxn>
              <a:cxn ang="0">
                <a:pos x="268" y="501"/>
              </a:cxn>
              <a:cxn ang="0">
                <a:pos x="216" y="518"/>
              </a:cxn>
              <a:cxn ang="0">
                <a:pos x="192" y="513"/>
              </a:cxn>
              <a:cxn ang="0">
                <a:pos x="173" y="512"/>
              </a:cxn>
              <a:cxn ang="0">
                <a:pos x="123" y="500"/>
              </a:cxn>
              <a:cxn ang="0">
                <a:pos x="111" y="503"/>
              </a:cxn>
              <a:cxn ang="0">
                <a:pos x="74" y="508"/>
              </a:cxn>
              <a:cxn ang="0">
                <a:pos x="78" y="461"/>
              </a:cxn>
              <a:cxn ang="0">
                <a:pos x="85" y="415"/>
              </a:cxn>
              <a:cxn ang="0">
                <a:pos x="49" y="410"/>
              </a:cxn>
              <a:cxn ang="0">
                <a:pos x="21" y="380"/>
              </a:cxn>
              <a:cxn ang="0">
                <a:pos x="11" y="353"/>
              </a:cxn>
              <a:cxn ang="0">
                <a:pos x="15" y="320"/>
              </a:cxn>
              <a:cxn ang="0">
                <a:pos x="5" y="288"/>
              </a:cxn>
              <a:cxn ang="0">
                <a:pos x="10" y="243"/>
              </a:cxn>
              <a:cxn ang="0">
                <a:pos x="22" y="230"/>
              </a:cxn>
              <a:cxn ang="0">
                <a:pos x="43" y="207"/>
              </a:cxn>
              <a:cxn ang="0">
                <a:pos x="50" y="162"/>
              </a:cxn>
              <a:cxn ang="0">
                <a:pos x="54" y="109"/>
              </a:cxn>
              <a:cxn ang="0">
                <a:pos x="102" y="120"/>
              </a:cxn>
              <a:cxn ang="0">
                <a:pos x="112" y="95"/>
              </a:cxn>
              <a:cxn ang="0">
                <a:pos x="168" y="110"/>
              </a:cxn>
              <a:cxn ang="0">
                <a:pos x="131" y="77"/>
              </a:cxn>
              <a:cxn ang="0">
                <a:pos x="121" y="56"/>
              </a:cxn>
              <a:cxn ang="0">
                <a:pos x="118" y="19"/>
              </a:cxn>
              <a:cxn ang="0">
                <a:pos x="106" y="3"/>
              </a:cxn>
            </a:cxnLst>
            <a:rect l="0" t="0" r="r" b="b"/>
            <a:pathLst>
              <a:path w="386" h="526">
                <a:moveTo>
                  <a:pt x="111" y="117"/>
                </a:moveTo>
                <a:lnTo>
                  <a:pt x="111" y="122"/>
                </a:lnTo>
                <a:lnTo>
                  <a:pt x="112" y="123"/>
                </a:lnTo>
                <a:lnTo>
                  <a:pt x="112" y="122"/>
                </a:lnTo>
                <a:lnTo>
                  <a:pt x="111" y="117"/>
                </a:lnTo>
                <a:close/>
                <a:moveTo>
                  <a:pt x="37" y="105"/>
                </a:moveTo>
                <a:lnTo>
                  <a:pt x="40" y="105"/>
                </a:lnTo>
                <a:lnTo>
                  <a:pt x="40" y="107"/>
                </a:lnTo>
                <a:lnTo>
                  <a:pt x="36" y="107"/>
                </a:lnTo>
                <a:lnTo>
                  <a:pt x="36" y="109"/>
                </a:lnTo>
                <a:lnTo>
                  <a:pt x="35" y="109"/>
                </a:lnTo>
                <a:lnTo>
                  <a:pt x="35" y="108"/>
                </a:lnTo>
                <a:lnTo>
                  <a:pt x="34" y="108"/>
                </a:lnTo>
                <a:lnTo>
                  <a:pt x="34" y="107"/>
                </a:lnTo>
                <a:lnTo>
                  <a:pt x="35" y="107"/>
                </a:lnTo>
                <a:lnTo>
                  <a:pt x="37" y="105"/>
                </a:lnTo>
                <a:close/>
                <a:moveTo>
                  <a:pt x="50" y="99"/>
                </a:moveTo>
                <a:lnTo>
                  <a:pt x="52" y="101"/>
                </a:lnTo>
                <a:lnTo>
                  <a:pt x="43" y="102"/>
                </a:lnTo>
                <a:lnTo>
                  <a:pt x="44" y="101"/>
                </a:lnTo>
                <a:lnTo>
                  <a:pt x="50" y="99"/>
                </a:lnTo>
                <a:close/>
                <a:moveTo>
                  <a:pt x="96" y="97"/>
                </a:moveTo>
                <a:lnTo>
                  <a:pt x="98" y="97"/>
                </a:lnTo>
                <a:lnTo>
                  <a:pt x="97" y="98"/>
                </a:lnTo>
                <a:lnTo>
                  <a:pt x="96" y="98"/>
                </a:lnTo>
                <a:lnTo>
                  <a:pt x="96" y="97"/>
                </a:lnTo>
                <a:close/>
                <a:moveTo>
                  <a:pt x="65" y="97"/>
                </a:moveTo>
                <a:lnTo>
                  <a:pt x="67" y="97"/>
                </a:lnTo>
                <a:lnTo>
                  <a:pt x="66" y="98"/>
                </a:lnTo>
                <a:lnTo>
                  <a:pt x="65" y="97"/>
                </a:lnTo>
                <a:close/>
                <a:moveTo>
                  <a:pt x="56" y="97"/>
                </a:moveTo>
                <a:lnTo>
                  <a:pt x="63" y="97"/>
                </a:lnTo>
                <a:lnTo>
                  <a:pt x="63" y="98"/>
                </a:lnTo>
                <a:lnTo>
                  <a:pt x="61" y="98"/>
                </a:lnTo>
                <a:lnTo>
                  <a:pt x="55" y="99"/>
                </a:lnTo>
                <a:lnTo>
                  <a:pt x="54" y="98"/>
                </a:lnTo>
                <a:lnTo>
                  <a:pt x="56" y="97"/>
                </a:lnTo>
                <a:close/>
                <a:moveTo>
                  <a:pt x="68" y="95"/>
                </a:moveTo>
                <a:lnTo>
                  <a:pt x="74" y="95"/>
                </a:lnTo>
                <a:lnTo>
                  <a:pt x="74" y="96"/>
                </a:lnTo>
                <a:lnTo>
                  <a:pt x="69" y="96"/>
                </a:lnTo>
                <a:lnTo>
                  <a:pt x="69" y="97"/>
                </a:lnTo>
                <a:lnTo>
                  <a:pt x="68" y="97"/>
                </a:lnTo>
                <a:lnTo>
                  <a:pt x="68" y="95"/>
                </a:lnTo>
                <a:close/>
                <a:moveTo>
                  <a:pt x="78" y="93"/>
                </a:moveTo>
                <a:lnTo>
                  <a:pt x="83" y="93"/>
                </a:lnTo>
                <a:lnTo>
                  <a:pt x="81" y="95"/>
                </a:lnTo>
                <a:lnTo>
                  <a:pt x="77" y="95"/>
                </a:lnTo>
                <a:lnTo>
                  <a:pt x="78" y="93"/>
                </a:lnTo>
                <a:close/>
                <a:moveTo>
                  <a:pt x="85" y="92"/>
                </a:moveTo>
                <a:lnTo>
                  <a:pt x="87" y="92"/>
                </a:lnTo>
                <a:lnTo>
                  <a:pt x="88" y="93"/>
                </a:lnTo>
                <a:lnTo>
                  <a:pt x="85" y="93"/>
                </a:lnTo>
                <a:lnTo>
                  <a:pt x="85" y="92"/>
                </a:lnTo>
                <a:close/>
                <a:moveTo>
                  <a:pt x="236" y="76"/>
                </a:moveTo>
                <a:lnTo>
                  <a:pt x="237" y="77"/>
                </a:lnTo>
                <a:lnTo>
                  <a:pt x="236" y="80"/>
                </a:lnTo>
                <a:lnTo>
                  <a:pt x="236" y="78"/>
                </a:lnTo>
                <a:lnTo>
                  <a:pt x="235" y="78"/>
                </a:lnTo>
                <a:lnTo>
                  <a:pt x="235" y="80"/>
                </a:lnTo>
                <a:lnTo>
                  <a:pt x="234" y="80"/>
                </a:lnTo>
                <a:lnTo>
                  <a:pt x="233" y="79"/>
                </a:lnTo>
                <a:lnTo>
                  <a:pt x="236" y="76"/>
                </a:lnTo>
                <a:close/>
                <a:moveTo>
                  <a:pt x="242" y="71"/>
                </a:moveTo>
                <a:lnTo>
                  <a:pt x="240" y="73"/>
                </a:lnTo>
                <a:lnTo>
                  <a:pt x="240" y="72"/>
                </a:lnTo>
                <a:lnTo>
                  <a:pt x="242" y="71"/>
                </a:lnTo>
                <a:close/>
                <a:moveTo>
                  <a:pt x="243" y="70"/>
                </a:moveTo>
                <a:lnTo>
                  <a:pt x="242" y="71"/>
                </a:lnTo>
                <a:lnTo>
                  <a:pt x="243" y="70"/>
                </a:lnTo>
                <a:close/>
                <a:moveTo>
                  <a:pt x="316" y="58"/>
                </a:moveTo>
                <a:lnTo>
                  <a:pt x="316" y="60"/>
                </a:lnTo>
                <a:lnTo>
                  <a:pt x="317" y="60"/>
                </a:lnTo>
                <a:lnTo>
                  <a:pt x="317" y="59"/>
                </a:lnTo>
                <a:lnTo>
                  <a:pt x="319" y="59"/>
                </a:lnTo>
                <a:lnTo>
                  <a:pt x="320" y="60"/>
                </a:lnTo>
                <a:lnTo>
                  <a:pt x="320" y="61"/>
                </a:lnTo>
                <a:lnTo>
                  <a:pt x="316" y="61"/>
                </a:lnTo>
                <a:lnTo>
                  <a:pt x="315" y="60"/>
                </a:lnTo>
                <a:lnTo>
                  <a:pt x="315" y="59"/>
                </a:lnTo>
                <a:lnTo>
                  <a:pt x="316" y="58"/>
                </a:lnTo>
                <a:close/>
                <a:moveTo>
                  <a:pt x="330" y="55"/>
                </a:moveTo>
                <a:lnTo>
                  <a:pt x="332" y="55"/>
                </a:lnTo>
                <a:lnTo>
                  <a:pt x="332" y="56"/>
                </a:lnTo>
                <a:lnTo>
                  <a:pt x="329" y="56"/>
                </a:lnTo>
                <a:lnTo>
                  <a:pt x="330" y="55"/>
                </a:lnTo>
                <a:close/>
                <a:moveTo>
                  <a:pt x="308" y="55"/>
                </a:moveTo>
                <a:lnTo>
                  <a:pt x="309" y="56"/>
                </a:lnTo>
                <a:lnTo>
                  <a:pt x="308" y="56"/>
                </a:lnTo>
                <a:lnTo>
                  <a:pt x="308" y="55"/>
                </a:lnTo>
                <a:close/>
                <a:moveTo>
                  <a:pt x="277" y="52"/>
                </a:moveTo>
                <a:lnTo>
                  <a:pt x="277" y="53"/>
                </a:lnTo>
                <a:lnTo>
                  <a:pt x="276" y="53"/>
                </a:lnTo>
                <a:lnTo>
                  <a:pt x="277" y="52"/>
                </a:lnTo>
                <a:close/>
                <a:moveTo>
                  <a:pt x="277" y="51"/>
                </a:moveTo>
                <a:lnTo>
                  <a:pt x="277" y="52"/>
                </a:lnTo>
                <a:lnTo>
                  <a:pt x="277" y="51"/>
                </a:lnTo>
                <a:close/>
                <a:moveTo>
                  <a:pt x="278" y="49"/>
                </a:moveTo>
                <a:lnTo>
                  <a:pt x="278" y="51"/>
                </a:lnTo>
                <a:lnTo>
                  <a:pt x="277" y="51"/>
                </a:lnTo>
                <a:lnTo>
                  <a:pt x="278" y="49"/>
                </a:lnTo>
                <a:close/>
                <a:moveTo>
                  <a:pt x="282" y="42"/>
                </a:moveTo>
                <a:lnTo>
                  <a:pt x="282" y="43"/>
                </a:lnTo>
                <a:lnTo>
                  <a:pt x="284" y="46"/>
                </a:lnTo>
                <a:lnTo>
                  <a:pt x="297" y="46"/>
                </a:lnTo>
                <a:lnTo>
                  <a:pt x="298" y="47"/>
                </a:lnTo>
                <a:lnTo>
                  <a:pt x="297" y="48"/>
                </a:lnTo>
                <a:lnTo>
                  <a:pt x="296" y="48"/>
                </a:lnTo>
                <a:lnTo>
                  <a:pt x="291" y="47"/>
                </a:lnTo>
                <a:lnTo>
                  <a:pt x="288" y="47"/>
                </a:lnTo>
                <a:lnTo>
                  <a:pt x="288" y="48"/>
                </a:lnTo>
                <a:lnTo>
                  <a:pt x="286" y="48"/>
                </a:lnTo>
                <a:lnTo>
                  <a:pt x="285" y="47"/>
                </a:lnTo>
                <a:lnTo>
                  <a:pt x="285" y="48"/>
                </a:lnTo>
                <a:lnTo>
                  <a:pt x="284" y="48"/>
                </a:lnTo>
                <a:lnTo>
                  <a:pt x="284" y="49"/>
                </a:lnTo>
                <a:lnTo>
                  <a:pt x="283" y="49"/>
                </a:lnTo>
                <a:lnTo>
                  <a:pt x="282" y="51"/>
                </a:lnTo>
                <a:lnTo>
                  <a:pt x="280" y="51"/>
                </a:lnTo>
                <a:lnTo>
                  <a:pt x="280" y="49"/>
                </a:lnTo>
                <a:lnTo>
                  <a:pt x="278" y="49"/>
                </a:lnTo>
                <a:lnTo>
                  <a:pt x="278" y="48"/>
                </a:lnTo>
                <a:lnTo>
                  <a:pt x="280" y="43"/>
                </a:lnTo>
                <a:lnTo>
                  <a:pt x="282" y="42"/>
                </a:lnTo>
                <a:close/>
                <a:moveTo>
                  <a:pt x="220" y="40"/>
                </a:moveTo>
                <a:lnTo>
                  <a:pt x="222" y="40"/>
                </a:lnTo>
                <a:lnTo>
                  <a:pt x="226" y="41"/>
                </a:lnTo>
                <a:lnTo>
                  <a:pt x="228" y="43"/>
                </a:lnTo>
                <a:lnTo>
                  <a:pt x="230" y="48"/>
                </a:lnTo>
                <a:lnTo>
                  <a:pt x="226" y="47"/>
                </a:lnTo>
                <a:lnTo>
                  <a:pt x="224" y="48"/>
                </a:lnTo>
                <a:lnTo>
                  <a:pt x="222" y="48"/>
                </a:lnTo>
                <a:lnTo>
                  <a:pt x="221" y="47"/>
                </a:lnTo>
                <a:lnTo>
                  <a:pt x="222" y="46"/>
                </a:lnTo>
                <a:lnTo>
                  <a:pt x="221" y="46"/>
                </a:lnTo>
                <a:lnTo>
                  <a:pt x="221" y="45"/>
                </a:lnTo>
                <a:lnTo>
                  <a:pt x="220" y="45"/>
                </a:lnTo>
                <a:lnTo>
                  <a:pt x="220" y="46"/>
                </a:lnTo>
                <a:lnTo>
                  <a:pt x="218" y="46"/>
                </a:lnTo>
                <a:lnTo>
                  <a:pt x="218" y="45"/>
                </a:lnTo>
                <a:lnTo>
                  <a:pt x="217" y="45"/>
                </a:lnTo>
                <a:lnTo>
                  <a:pt x="218" y="41"/>
                </a:lnTo>
                <a:lnTo>
                  <a:pt x="220" y="40"/>
                </a:lnTo>
                <a:close/>
                <a:moveTo>
                  <a:pt x="128" y="40"/>
                </a:moveTo>
                <a:lnTo>
                  <a:pt x="131" y="40"/>
                </a:lnTo>
                <a:lnTo>
                  <a:pt x="131" y="41"/>
                </a:lnTo>
                <a:lnTo>
                  <a:pt x="128" y="45"/>
                </a:lnTo>
                <a:lnTo>
                  <a:pt x="125" y="45"/>
                </a:lnTo>
                <a:lnTo>
                  <a:pt x="124" y="43"/>
                </a:lnTo>
                <a:lnTo>
                  <a:pt x="125" y="43"/>
                </a:lnTo>
                <a:lnTo>
                  <a:pt x="125" y="42"/>
                </a:lnTo>
                <a:lnTo>
                  <a:pt x="124" y="42"/>
                </a:lnTo>
                <a:lnTo>
                  <a:pt x="127" y="41"/>
                </a:lnTo>
                <a:lnTo>
                  <a:pt x="128" y="40"/>
                </a:lnTo>
                <a:close/>
                <a:moveTo>
                  <a:pt x="119" y="37"/>
                </a:moveTo>
                <a:lnTo>
                  <a:pt x="119" y="40"/>
                </a:lnTo>
                <a:lnTo>
                  <a:pt x="118" y="42"/>
                </a:lnTo>
                <a:lnTo>
                  <a:pt x="116" y="42"/>
                </a:lnTo>
                <a:lnTo>
                  <a:pt x="116" y="40"/>
                </a:lnTo>
                <a:lnTo>
                  <a:pt x="117" y="39"/>
                </a:lnTo>
                <a:lnTo>
                  <a:pt x="119" y="37"/>
                </a:lnTo>
                <a:close/>
                <a:moveTo>
                  <a:pt x="327" y="35"/>
                </a:moveTo>
                <a:lnTo>
                  <a:pt x="330" y="39"/>
                </a:lnTo>
                <a:lnTo>
                  <a:pt x="329" y="41"/>
                </a:lnTo>
                <a:lnTo>
                  <a:pt x="327" y="42"/>
                </a:lnTo>
                <a:lnTo>
                  <a:pt x="326" y="43"/>
                </a:lnTo>
                <a:lnTo>
                  <a:pt x="326" y="47"/>
                </a:lnTo>
                <a:lnTo>
                  <a:pt x="327" y="47"/>
                </a:lnTo>
                <a:lnTo>
                  <a:pt x="327" y="48"/>
                </a:lnTo>
                <a:lnTo>
                  <a:pt x="328" y="48"/>
                </a:lnTo>
                <a:lnTo>
                  <a:pt x="330" y="49"/>
                </a:lnTo>
                <a:lnTo>
                  <a:pt x="332" y="52"/>
                </a:lnTo>
                <a:lnTo>
                  <a:pt x="333" y="53"/>
                </a:lnTo>
                <a:lnTo>
                  <a:pt x="333" y="54"/>
                </a:lnTo>
                <a:lnTo>
                  <a:pt x="332" y="55"/>
                </a:lnTo>
                <a:lnTo>
                  <a:pt x="332" y="54"/>
                </a:lnTo>
                <a:lnTo>
                  <a:pt x="328" y="54"/>
                </a:lnTo>
                <a:lnTo>
                  <a:pt x="329" y="53"/>
                </a:lnTo>
                <a:lnTo>
                  <a:pt x="322" y="53"/>
                </a:lnTo>
                <a:lnTo>
                  <a:pt x="322" y="54"/>
                </a:lnTo>
                <a:lnTo>
                  <a:pt x="320" y="55"/>
                </a:lnTo>
                <a:lnTo>
                  <a:pt x="319" y="56"/>
                </a:lnTo>
                <a:lnTo>
                  <a:pt x="319" y="58"/>
                </a:lnTo>
                <a:lnTo>
                  <a:pt x="315" y="58"/>
                </a:lnTo>
                <a:lnTo>
                  <a:pt x="315" y="59"/>
                </a:lnTo>
                <a:lnTo>
                  <a:pt x="311" y="59"/>
                </a:lnTo>
                <a:lnTo>
                  <a:pt x="310" y="58"/>
                </a:lnTo>
                <a:lnTo>
                  <a:pt x="310" y="56"/>
                </a:lnTo>
                <a:lnTo>
                  <a:pt x="309" y="56"/>
                </a:lnTo>
                <a:lnTo>
                  <a:pt x="309" y="55"/>
                </a:lnTo>
                <a:lnTo>
                  <a:pt x="307" y="54"/>
                </a:lnTo>
                <a:lnTo>
                  <a:pt x="307" y="52"/>
                </a:lnTo>
                <a:lnTo>
                  <a:pt x="308" y="51"/>
                </a:lnTo>
                <a:lnTo>
                  <a:pt x="313" y="51"/>
                </a:lnTo>
                <a:lnTo>
                  <a:pt x="311" y="49"/>
                </a:lnTo>
                <a:lnTo>
                  <a:pt x="311" y="48"/>
                </a:lnTo>
                <a:lnTo>
                  <a:pt x="310" y="47"/>
                </a:lnTo>
                <a:lnTo>
                  <a:pt x="308" y="47"/>
                </a:lnTo>
                <a:lnTo>
                  <a:pt x="310" y="45"/>
                </a:lnTo>
                <a:lnTo>
                  <a:pt x="313" y="45"/>
                </a:lnTo>
                <a:lnTo>
                  <a:pt x="313" y="43"/>
                </a:lnTo>
                <a:lnTo>
                  <a:pt x="311" y="42"/>
                </a:lnTo>
                <a:lnTo>
                  <a:pt x="311" y="41"/>
                </a:lnTo>
                <a:lnTo>
                  <a:pt x="309" y="41"/>
                </a:lnTo>
                <a:lnTo>
                  <a:pt x="308" y="40"/>
                </a:lnTo>
                <a:lnTo>
                  <a:pt x="308" y="39"/>
                </a:lnTo>
                <a:lnTo>
                  <a:pt x="309" y="39"/>
                </a:lnTo>
                <a:lnTo>
                  <a:pt x="311" y="37"/>
                </a:lnTo>
                <a:lnTo>
                  <a:pt x="313" y="37"/>
                </a:lnTo>
                <a:lnTo>
                  <a:pt x="313" y="39"/>
                </a:lnTo>
                <a:lnTo>
                  <a:pt x="314" y="39"/>
                </a:lnTo>
                <a:lnTo>
                  <a:pt x="314" y="40"/>
                </a:lnTo>
                <a:lnTo>
                  <a:pt x="315" y="40"/>
                </a:lnTo>
                <a:lnTo>
                  <a:pt x="314" y="39"/>
                </a:lnTo>
                <a:lnTo>
                  <a:pt x="315" y="37"/>
                </a:lnTo>
                <a:lnTo>
                  <a:pt x="315" y="36"/>
                </a:lnTo>
                <a:lnTo>
                  <a:pt x="317" y="36"/>
                </a:lnTo>
                <a:lnTo>
                  <a:pt x="316" y="37"/>
                </a:lnTo>
                <a:lnTo>
                  <a:pt x="316" y="40"/>
                </a:lnTo>
                <a:lnTo>
                  <a:pt x="317" y="40"/>
                </a:lnTo>
                <a:lnTo>
                  <a:pt x="317" y="39"/>
                </a:lnTo>
                <a:lnTo>
                  <a:pt x="319" y="39"/>
                </a:lnTo>
                <a:lnTo>
                  <a:pt x="319" y="41"/>
                </a:lnTo>
                <a:lnTo>
                  <a:pt x="320" y="42"/>
                </a:lnTo>
                <a:lnTo>
                  <a:pt x="322" y="42"/>
                </a:lnTo>
                <a:lnTo>
                  <a:pt x="323" y="41"/>
                </a:lnTo>
                <a:lnTo>
                  <a:pt x="323" y="39"/>
                </a:lnTo>
                <a:lnTo>
                  <a:pt x="322" y="39"/>
                </a:lnTo>
                <a:lnTo>
                  <a:pt x="322" y="37"/>
                </a:lnTo>
                <a:lnTo>
                  <a:pt x="323" y="37"/>
                </a:lnTo>
                <a:lnTo>
                  <a:pt x="323" y="36"/>
                </a:lnTo>
                <a:lnTo>
                  <a:pt x="322" y="37"/>
                </a:lnTo>
                <a:lnTo>
                  <a:pt x="320" y="37"/>
                </a:lnTo>
                <a:lnTo>
                  <a:pt x="320" y="36"/>
                </a:lnTo>
                <a:lnTo>
                  <a:pt x="321" y="36"/>
                </a:lnTo>
                <a:lnTo>
                  <a:pt x="327" y="35"/>
                </a:lnTo>
                <a:close/>
                <a:moveTo>
                  <a:pt x="317" y="34"/>
                </a:moveTo>
                <a:lnTo>
                  <a:pt x="319" y="34"/>
                </a:lnTo>
                <a:lnTo>
                  <a:pt x="319" y="35"/>
                </a:lnTo>
                <a:lnTo>
                  <a:pt x="320" y="36"/>
                </a:lnTo>
                <a:lnTo>
                  <a:pt x="319" y="36"/>
                </a:lnTo>
                <a:lnTo>
                  <a:pt x="317" y="35"/>
                </a:lnTo>
                <a:lnTo>
                  <a:pt x="317" y="34"/>
                </a:lnTo>
                <a:close/>
                <a:moveTo>
                  <a:pt x="307" y="34"/>
                </a:moveTo>
                <a:lnTo>
                  <a:pt x="308" y="34"/>
                </a:lnTo>
                <a:lnTo>
                  <a:pt x="308" y="35"/>
                </a:lnTo>
                <a:lnTo>
                  <a:pt x="307" y="35"/>
                </a:lnTo>
                <a:lnTo>
                  <a:pt x="307" y="39"/>
                </a:lnTo>
                <a:lnTo>
                  <a:pt x="305" y="40"/>
                </a:lnTo>
                <a:lnTo>
                  <a:pt x="305" y="41"/>
                </a:lnTo>
                <a:lnTo>
                  <a:pt x="304" y="41"/>
                </a:lnTo>
                <a:lnTo>
                  <a:pt x="305" y="36"/>
                </a:lnTo>
                <a:lnTo>
                  <a:pt x="305" y="35"/>
                </a:lnTo>
                <a:lnTo>
                  <a:pt x="307" y="34"/>
                </a:lnTo>
                <a:close/>
                <a:moveTo>
                  <a:pt x="317" y="28"/>
                </a:moveTo>
                <a:lnTo>
                  <a:pt x="319" y="28"/>
                </a:lnTo>
                <a:lnTo>
                  <a:pt x="320" y="29"/>
                </a:lnTo>
                <a:lnTo>
                  <a:pt x="320" y="30"/>
                </a:lnTo>
                <a:lnTo>
                  <a:pt x="319" y="30"/>
                </a:lnTo>
                <a:lnTo>
                  <a:pt x="317" y="31"/>
                </a:lnTo>
                <a:lnTo>
                  <a:pt x="317" y="34"/>
                </a:lnTo>
                <a:lnTo>
                  <a:pt x="316" y="34"/>
                </a:lnTo>
                <a:lnTo>
                  <a:pt x="316" y="35"/>
                </a:lnTo>
                <a:lnTo>
                  <a:pt x="315" y="35"/>
                </a:lnTo>
                <a:lnTo>
                  <a:pt x="315" y="36"/>
                </a:lnTo>
                <a:lnTo>
                  <a:pt x="314" y="37"/>
                </a:lnTo>
                <a:lnTo>
                  <a:pt x="313" y="37"/>
                </a:lnTo>
                <a:lnTo>
                  <a:pt x="311" y="36"/>
                </a:lnTo>
                <a:lnTo>
                  <a:pt x="313" y="35"/>
                </a:lnTo>
                <a:lnTo>
                  <a:pt x="313" y="34"/>
                </a:lnTo>
                <a:lnTo>
                  <a:pt x="314" y="33"/>
                </a:lnTo>
                <a:lnTo>
                  <a:pt x="314" y="31"/>
                </a:lnTo>
                <a:lnTo>
                  <a:pt x="311" y="31"/>
                </a:lnTo>
                <a:lnTo>
                  <a:pt x="311" y="30"/>
                </a:lnTo>
                <a:lnTo>
                  <a:pt x="313" y="30"/>
                </a:lnTo>
                <a:lnTo>
                  <a:pt x="317" y="28"/>
                </a:lnTo>
                <a:close/>
                <a:moveTo>
                  <a:pt x="104" y="28"/>
                </a:moveTo>
                <a:lnTo>
                  <a:pt x="106" y="31"/>
                </a:lnTo>
                <a:lnTo>
                  <a:pt x="108" y="33"/>
                </a:lnTo>
                <a:lnTo>
                  <a:pt x="104" y="33"/>
                </a:lnTo>
                <a:lnTo>
                  <a:pt x="104" y="31"/>
                </a:lnTo>
                <a:lnTo>
                  <a:pt x="103" y="30"/>
                </a:lnTo>
                <a:lnTo>
                  <a:pt x="104" y="28"/>
                </a:lnTo>
                <a:close/>
                <a:moveTo>
                  <a:pt x="110" y="23"/>
                </a:moveTo>
                <a:lnTo>
                  <a:pt x="114" y="23"/>
                </a:lnTo>
                <a:lnTo>
                  <a:pt x="116" y="25"/>
                </a:lnTo>
                <a:lnTo>
                  <a:pt x="115" y="27"/>
                </a:lnTo>
                <a:lnTo>
                  <a:pt x="115" y="28"/>
                </a:lnTo>
                <a:lnTo>
                  <a:pt x="110" y="28"/>
                </a:lnTo>
                <a:lnTo>
                  <a:pt x="108" y="27"/>
                </a:lnTo>
                <a:lnTo>
                  <a:pt x="108" y="24"/>
                </a:lnTo>
                <a:lnTo>
                  <a:pt x="109" y="24"/>
                </a:lnTo>
                <a:lnTo>
                  <a:pt x="110" y="23"/>
                </a:lnTo>
                <a:close/>
                <a:moveTo>
                  <a:pt x="124" y="12"/>
                </a:moveTo>
                <a:lnTo>
                  <a:pt x="129" y="12"/>
                </a:lnTo>
                <a:lnTo>
                  <a:pt x="131" y="15"/>
                </a:lnTo>
                <a:lnTo>
                  <a:pt x="141" y="16"/>
                </a:lnTo>
                <a:lnTo>
                  <a:pt x="142" y="17"/>
                </a:lnTo>
                <a:lnTo>
                  <a:pt x="142" y="19"/>
                </a:lnTo>
                <a:lnTo>
                  <a:pt x="148" y="19"/>
                </a:lnTo>
                <a:lnTo>
                  <a:pt x="148" y="18"/>
                </a:lnTo>
                <a:lnTo>
                  <a:pt x="149" y="18"/>
                </a:lnTo>
                <a:lnTo>
                  <a:pt x="149" y="19"/>
                </a:lnTo>
                <a:lnTo>
                  <a:pt x="152" y="19"/>
                </a:lnTo>
                <a:lnTo>
                  <a:pt x="154" y="18"/>
                </a:lnTo>
                <a:lnTo>
                  <a:pt x="155" y="17"/>
                </a:lnTo>
                <a:lnTo>
                  <a:pt x="156" y="17"/>
                </a:lnTo>
                <a:lnTo>
                  <a:pt x="156" y="16"/>
                </a:lnTo>
                <a:lnTo>
                  <a:pt x="158" y="15"/>
                </a:lnTo>
                <a:lnTo>
                  <a:pt x="158" y="18"/>
                </a:lnTo>
                <a:lnTo>
                  <a:pt x="162" y="18"/>
                </a:lnTo>
                <a:lnTo>
                  <a:pt x="164" y="19"/>
                </a:lnTo>
                <a:lnTo>
                  <a:pt x="165" y="19"/>
                </a:lnTo>
                <a:lnTo>
                  <a:pt x="167" y="22"/>
                </a:lnTo>
                <a:lnTo>
                  <a:pt x="167" y="23"/>
                </a:lnTo>
                <a:lnTo>
                  <a:pt x="168" y="23"/>
                </a:lnTo>
                <a:lnTo>
                  <a:pt x="171" y="22"/>
                </a:lnTo>
                <a:lnTo>
                  <a:pt x="171" y="21"/>
                </a:lnTo>
                <a:lnTo>
                  <a:pt x="173" y="22"/>
                </a:lnTo>
                <a:lnTo>
                  <a:pt x="173" y="23"/>
                </a:lnTo>
                <a:lnTo>
                  <a:pt x="174" y="25"/>
                </a:lnTo>
                <a:lnTo>
                  <a:pt x="174" y="27"/>
                </a:lnTo>
                <a:lnTo>
                  <a:pt x="175" y="27"/>
                </a:lnTo>
                <a:lnTo>
                  <a:pt x="175" y="28"/>
                </a:lnTo>
                <a:lnTo>
                  <a:pt x="174" y="28"/>
                </a:lnTo>
                <a:lnTo>
                  <a:pt x="173" y="27"/>
                </a:lnTo>
                <a:lnTo>
                  <a:pt x="173" y="28"/>
                </a:lnTo>
                <a:lnTo>
                  <a:pt x="172" y="28"/>
                </a:lnTo>
                <a:lnTo>
                  <a:pt x="172" y="29"/>
                </a:lnTo>
                <a:lnTo>
                  <a:pt x="174" y="29"/>
                </a:lnTo>
                <a:lnTo>
                  <a:pt x="175" y="30"/>
                </a:lnTo>
                <a:lnTo>
                  <a:pt x="175" y="29"/>
                </a:lnTo>
                <a:lnTo>
                  <a:pt x="177" y="29"/>
                </a:lnTo>
                <a:lnTo>
                  <a:pt x="177" y="36"/>
                </a:lnTo>
                <a:lnTo>
                  <a:pt x="175" y="37"/>
                </a:lnTo>
                <a:lnTo>
                  <a:pt x="175" y="40"/>
                </a:lnTo>
                <a:lnTo>
                  <a:pt x="174" y="40"/>
                </a:lnTo>
                <a:lnTo>
                  <a:pt x="172" y="42"/>
                </a:lnTo>
                <a:lnTo>
                  <a:pt x="170" y="43"/>
                </a:lnTo>
                <a:lnTo>
                  <a:pt x="168" y="43"/>
                </a:lnTo>
                <a:lnTo>
                  <a:pt x="170" y="45"/>
                </a:lnTo>
                <a:lnTo>
                  <a:pt x="180" y="42"/>
                </a:lnTo>
                <a:lnTo>
                  <a:pt x="181" y="42"/>
                </a:lnTo>
                <a:lnTo>
                  <a:pt x="184" y="45"/>
                </a:lnTo>
                <a:lnTo>
                  <a:pt x="183" y="46"/>
                </a:lnTo>
                <a:lnTo>
                  <a:pt x="183" y="51"/>
                </a:lnTo>
                <a:lnTo>
                  <a:pt x="180" y="51"/>
                </a:lnTo>
                <a:lnTo>
                  <a:pt x="181" y="52"/>
                </a:lnTo>
                <a:lnTo>
                  <a:pt x="180" y="52"/>
                </a:lnTo>
                <a:lnTo>
                  <a:pt x="181" y="53"/>
                </a:lnTo>
                <a:lnTo>
                  <a:pt x="181" y="54"/>
                </a:lnTo>
                <a:lnTo>
                  <a:pt x="183" y="53"/>
                </a:lnTo>
                <a:lnTo>
                  <a:pt x="184" y="51"/>
                </a:lnTo>
                <a:lnTo>
                  <a:pt x="184" y="48"/>
                </a:lnTo>
                <a:lnTo>
                  <a:pt x="186" y="48"/>
                </a:lnTo>
                <a:lnTo>
                  <a:pt x="187" y="47"/>
                </a:lnTo>
                <a:lnTo>
                  <a:pt x="187" y="46"/>
                </a:lnTo>
                <a:lnTo>
                  <a:pt x="190" y="46"/>
                </a:lnTo>
                <a:lnTo>
                  <a:pt x="191" y="47"/>
                </a:lnTo>
                <a:lnTo>
                  <a:pt x="201" y="52"/>
                </a:lnTo>
                <a:lnTo>
                  <a:pt x="204" y="55"/>
                </a:lnTo>
                <a:lnTo>
                  <a:pt x="208" y="55"/>
                </a:lnTo>
                <a:lnTo>
                  <a:pt x="211" y="52"/>
                </a:lnTo>
                <a:lnTo>
                  <a:pt x="212" y="52"/>
                </a:lnTo>
                <a:lnTo>
                  <a:pt x="215" y="51"/>
                </a:lnTo>
                <a:lnTo>
                  <a:pt x="217" y="51"/>
                </a:lnTo>
                <a:lnTo>
                  <a:pt x="218" y="52"/>
                </a:lnTo>
                <a:lnTo>
                  <a:pt x="222" y="49"/>
                </a:lnTo>
                <a:lnTo>
                  <a:pt x="223" y="51"/>
                </a:lnTo>
                <a:lnTo>
                  <a:pt x="221" y="52"/>
                </a:lnTo>
                <a:lnTo>
                  <a:pt x="221" y="64"/>
                </a:lnTo>
                <a:lnTo>
                  <a:pt x="220" y="64"/>
                </a:lnTo>
                <a:lnTo>
                  <a:pt x="220" y="65"/>
                </a:lnTo>
                <a:lnTo>
                  <a:pt x="215" y="68"/>
                </a:lnTo>
                <a:lnTo>
                  <a:pt x="212" y="71"/>
                </a:lnTo>
                <a:lnTo>
                  <a:pt x="209" y="71"/>
                </a:lnTo>
                <a:lnTo>
                  <a:pt x="206" y="74"/>
                </a:lnTo>
                <a:lnTo>
                  <a:pt x="208" y="76"/>
                </a:lnTo>
                <a:lnTo>
                  <a:pt x="208" y="77"/>
                </a:lnTo>
                <a:lnTo>
                  <a:pt x="209" y="78"/>
                </a:lnTo>
                <a:lnTo>
                  <a:pt x="211" y="78"/>
                </a:lnTo>
                <a:lnTo>
                  <a:pt x="212" y="79"/>
                </a:lnTo>
                <a:lnTo>
                  <a:pt x="212" y="80"/>
                </a:lnTo>
                <a:lnTo>
                  <a:pt x="215" y="80"/>
                </a:lnTo>
                <a:lnTo>
                  <a:pt x="217" y="78"/>
                </a:lnTo>
                <a:lnTo>
                  <a:pt x="220" y="77"/>
                </a:lnTo>
                <a:lnTo>
                  <a:pt x="226" y="77"/>
                </a:lnTo>
                <a:lnTo>
                  <a:pt x="226" y="79"/>
                </a:lnTo>
                <a:lnTo>
                  <a:pt x="228" y="79"/>
                </a:lnTo>
                <a:lnTo>
                  <a:pt x="227" y="82"/>
                </a:lnTo>
                <a:lnTo>
                  <a:pt x="228" y="83"/>
                </a:lnTo>
                <a:lnTo>
                  <a:pt x="229" y="83"/>
                </a:lnTo>
                <a:lnTo>
                  <a:pt x="232" y="80"/>
                </a:lnTo>
                <a:lnTo>
                  <a:pt x="232" y="82"/>
                </a:lnTo>
                <a:lnTo>
                  <a:pt x="233" y="83"/>
                </a:lnTo>
                <a:lnTo>
                  <a:pt x="234" y="83"/>
                </a:lnTo>
                <a:lnTo>
                  <a:pt x="236" y="85"/>
                </a:lnTo>
                <a:lnTo>
                  <a:pt x="236" y="83"/>
                </a:lnTo>
                <a:lnTo>
                  <a:pt x="237" y="82"/>
                </a:lnTo>
                <a:lnTo>
                  <a:pt x="237" y="78"/>
                </a:lnTo>
                <a:lnTo>
                  <a:pt x="239" y="77"/>
                </a:lnTo>
                <a:lnTo>
                  <a:pt x="239" y="76"/>
                </a:lnTo>
                <a:lnTo>
                  <a:pt x="241" y="76"/>
                </a:lnTo>
                <a:lnTo>
                  <a:pt x="242" y="73"/>
                </a:lnTo>
                <a:lnTo>
                  <a:pt x="243" y="73"/>
                </a:lnTo>
                <a:lnTo>
                  <a:pt x="243" y="70"/>
                </a:lnTo>
                <a:lnTo>
                  <a:pt x="245" y="67"/>
                </a:lnTo>
                <a:lnTo>
                  <a:pt x="246" y="67"/>
                </a:lnTo>
                <a:lnTo>
                  <a:pt x="248" y="66"/>
                </a:lnTo>
                <a:lnTo>
                  <a:pt x="252" y="67"/>
                </a:lnTo>
                <a:lnTo>
                  <a:pt x="261" y="65"/>
                </a:lnTo>
                <a:lnTo>
                  <a:pt x="262" y="64"/>
                </a:lnTo>
                <a:lnTo>
                  <a:pt x="264" y="66"/>
                </a:lnTo>
                <a:lnTo>
                  <a:pt x="262" y="68"/>
                </a:lnTo>
                <a:lnTo>
                  <a:pt x="262" y="70"/>
                </a:lnTo>
                <a:lnTo>
                  <a:pt x="264" y="71"/>
                </a:lnTo>
                <a:lnTo>
                  <a:pt x="264" y="66"/>
                </a:lnTo>
                <a:lnTo>
                  <a:pt x="265" y="66"/>
                </a:lnTo>
                <a:lnTo>
                  <a:pt x="265" y="65"/>
                </a:lnTo>
                <a:lnTo>
                  <a:pt x="264" y="65"/>
                </a:lnTo>
                <a:lnTo>
                  <a:pt x="265" y="62"/>
                </a:lnTo>
                <a:lnTo>
                  <a:pt x="266" y="62"/>
                </a:lnTo>
                <a:lnTo>
                  <a:pt x="267" y="60"/>
                </a:lnTo>
                <a:lnTo>
                  <a:pt x="268" y="60"/>
                </a:lnTo>
                <a:lnTo>
                  <a:pt x="271" y="58"/>
                </a:lnTo>
                <a:lnTo>
                  <a:pt x="273" y="56"/>
                </a:lnTo>
                <a:lnTo>
                  <a:pt x="276" y="53"/>
                </a:lnTo>
                <a:lnTo>
                  <a:pt x="276" y="55"/>
                </a:lnTo>
                <a:lnTo>
                  <a:pt x="274" y="55"/>
                </a:lnTo>
                <a:lnTo>
                  <a:pt x="274" y="56"/>
                </a:lnTo>
                <a:lnTo>
                  <a:pt x="276" y="58"/>
                </a:lnTo>
                <a:lnTo>
                  <a:pt x="274" y="59"/>
                </a:lnTo>
                <a:lnTo>
                  <a:pt x="277" y="60"/>
                </a:lnTo>
                <a:lnTo>
                  <a:pt x="278" y="60"/>
                </a:lnTo>
                <a:lnTo>
                  <a:pt x="278" y="59"/>
                </a:lnTo>
                <a:lnTo>
                  <a:pt x="277" y="59"/>
                </a:lnTo>
                <a:lnTo>
                  <a:pt x="277" y="56"/>
                </a:lnTo>
                <a:lnTo>
                  <a:pt x="278" y="56"/>
                </a:lnTo>
                <a:lnTo>
                  <a:pt x="278" y="55"/>
                </a:lnTo>
                <a:lnTo>
                  <a:pt x="279" y="55"/>
                </a:lnTo>
                <a:lnTo>
                  <a:pt x="279" y="54"/>
                </a:lnTo>
                <a:lnTo>
                  <a:pt x="280" y="53"/>
                </a:lnTo>
                <a:lnTo>
                  <a:pt x="283" y="52"/>
                </a:lnTo>
                <a:lnTo>
                  <a:pt x="282" y="52"/>
                </a:lnTo>
                <a:lnTo>
                  <a:pt x="282" y="51"/>
                </a:lnTo>
                <a:lnTo>
                  <a:pt x="284" y="51"/>
                </a:lnTo>
                <a:lnTo>
                  <a:pt x="284" y="52"/>
                </a:lnTo>
                <a:lnTo>
                  <a:pt x="285" y="51"/>
                </a:lnTo>
                <a:lnTo>
                  <a:pt x="288" y="49"/>
                </a:lnTo>
                <a:lnTo>
                  <a:pt x="288" y="48"/>
                </a:lnTo>
                <a:lnTo>
                  <a:pt x="290" y="48"/>
                </a:lnTo>
                <a:lnTo>
                  <a:pt x="289" y="49"/>
                </a:lnTo>
                <a:lnTo>
                  <a:pt x="290" y="49"/>
                </a:lnTo>
                <a:lnTo>
                  <a:pt x="290" y="51"/>
                </a:lnTo>
                <a:lnTo>
                  <a:pt x="292" y="51"/>
                </a:lnTo>
                <a:lnTo>
                  <a:pt x="293" y="52"/>
                </a:lnTo>
                <a:lnTo>
                  <a:pt x="296" y="52"/>
                </a:lnTo>
                <a:lnTo>
                  <a:pt x="297" y="51"/>
                </a:lnTo>
                <a:lnTo>
                  <a:pt x="297" y="49"/>
                </a:lnTo>
                <a:lnTo>
                  <a:pt x="298" y="48"/>
                </a:lnTo>
                <a:lnTo>
                  <a:pt x="301" y="47"/>
                </a:lnTo>
                <a:lnTo>
                  <a:pt x="302" y="46"/>
                </a:lnTo>
                <a:lnTo>
                  <a:pt x="303" y="47"/>
                </a:lnTo>
                <a:lnTo>
                  <a:pt x="302" y="47"/>
                </a:lnTo>
                <a:lnTo>
                  <a:pt x="302" y="48"/>
                </a:lnTo>
                <a:lnTo>
                  <a:pt x="303" y="49"/>
                </a:lnTo>
                <a:lnTo>
                  <a:pt x="305" y="51"/>
                </a:lnTo>
                <a:lnTo>
                  <a:pt x="304" y="53"/>
                </a:lnTo>
                <a:lnTo>
                  <a:pt x="307" y="55"/>
                </a:lnTo>
                <a:lnTo>
                  <a:pt x="307" y="58"/>
                </a:lnTo>
                <a:lnTo>
                  <a:pt x="309" y="58"/>
                </a:lnTo>
                <a:lnTo>
                  <a:pt x="309" y="59"/>
                </a:lnTo>
                <a:lnTo>
                  <a:pt x="311" y="60"/>
                </a:lnTo>
                <a:lnTo>
                  <a:pt x="313" y="60"/>
                </a:lnTo>
                <a:lnTo>
                  <a:pt x="314" y="61"/>
                </a:lnTo>
                <a:lnTo>
                  <a:pt x="315" y="64"/>
                </a:lnTo>
                <a:lnTo>
                  <a:pt x="316" y="65"/>
                </a:lnTo>
                <a:lnTo>
                  <a:pt x="315" y="65"/>
                </a:lnTo>
                <a:lnTo>
                  <a:pt x="315" y="66"/>
                </a:lnTo>
                <a:lnTo>
                  <a:pt x="316" y="66"/>
                </a:lnTo>
                <a:lnTo>
                  <a:pt x="317" y="65"/>
                </a:lnTo>
                <a:lnTo>
                  <a:pt x="319" y="66"/>
                </a:lnTo>
                <a:lnTo>
                  <a:pt x="317" y="66"/>
                </a:lnTo>
                <a:lnTo>
                  <a:pt x="317" y="67"/>
                </a:lnTo>
                <a:lnTo>
                  <a:pt x="320" y="67"/>
                </a:lnTo>
                <a:lnTo>
                  <a:pt x="320" y="68"/>
                </a:lnTo>
                <a:lnTo>
                  <a:pt x="321" y="70"/>
                </a:lnTo>
                <a:lnTo>
                  <a:pt x="321" y="71"/>
                </a:lnTo>
                <a:lnTo>
                  <a:pt x="322" y="71"/>
                </a:lnTo>
                <a:lnTo>
                  <a:pt x="322" y="68"/>
                </a:lnTo>
                <a:lnTo>
                  <a:pt x="327" y="68"/>
                </a:lnTo>
                <a:lnTo>
                  <a:pt x="328" y="67"/>
                </a:lnTo>
                <a:lnTo>
                  <a:pt x="330" y="66"/>
                </a:lnTo>
                <a:lnTo>
                  <a:pt x="330" y="67"/>
                </a:lnTo>
                <a:lnTo>
                  <a:pt x="332" y="67"/>
                </a:lnTo>
                <a:lnTo>
                  <a:pt x="335" y="71"/>
                </a:lnTo>
                <a:lnTo>
                  <a:pt x="335" y="72"/>
                </a:lnTo>
                <a:lnTo>
                  <a:pt x="334" y="73"/>
                </a:lnTo>
                <a:lnTo>
                  <a:pt x="334" y="74"/>
                </a:lnTo>
                <a:lnTo>
                  <a:pt x="333" y="76"/>
                </a:lnTo>
                <a:lnTo>
                  <a:pt x="334" y="77"/>
                </a:lnTo>
                <a:lnTo>
                  <a:pt x="335" y="77"/>
                </a:lnTo>
                <a:lnTo>
                  <a:pt x="335" y="78"/>
                </a:lnTo>
                <a:lnTo>
                  <a:pt x="336" y="79"/>
                </a:lnTo>
                <a:lnTo>
                  <a:pt x="338" y="79"/>
                </a:lnTo>
                <a:lnTo>
                  <a:pt x="338" y="82"/>
                </a:lnTo>
                <a:lnTo>
                  <a:pt x="340" y="82"/>
                </a:lnTo>
                <a:lnTo>
                  <a:pt x="340" y="84"/>
                </a:lnTo>
                <a:lnTo>
                  <a:pt x="339" y="84"/>
                </a:lnTo>
                <a:lnTo>
                  <a:pt x="335" y="88"/>
                </a:lnTo>
                <a:lnTo>
                  <a:pt x="336" y="89"/>
                </a:lnTo>
                <a:lnTo>
                  <a:pt x="336" y="88"/>
                </a:lnTo>
                <a:lnTo>
                  <a:pt x="338" y="86"/>
                </a:lnTo>
                <a:lnTo>
                  <a:pt x="339" y="86"/>
                </a:lnTo>
                <a:lnTo>
                  <a:pt x="340" y="85"/>
                </a:lnTo>
                <a:lnTo>
                  <a:pt x="341" y="85"/>
                </a:lnTo>
                <a:lnTo>
                  <a:pt x="341" y="83"/>
                </a:lnTo>
                <a:lnTo>
                  <a:pt x="340" y="80"/>
                </a:lnTo>
                <a:lnTo>
                  <a:pt x="340" y="78"/>
                </a:lnTo>
                <a:lnTo>
                  <a:pt x="341" y="78"/>
                </a:lnTo>
                <a:lnTo>
                  <a:pt x="342" y="79"/>
                </a:lnTo>
                <a:lnTo>
                  <a:pt x="342" y="82"/>
                </a:lnTo>
                <a:lnTo>
                  <a:pt x="344" y="80"/>
                </a:lnTo>
                <a:lnTo>
                  <a:pt x="345" y="80"/>
                </a:lnTo>
                <a:lnTo>
                  <a:pt x="345" y="82"/>
                </a:lnTo>
                <a:lnTo>
                  <a:pt x="346" y="79"/>
                </a:lnTo>
                <a:lnTo>
                  <a:pt x="346" y="78"/>
                </a:lnTo>
                <a:lnTo>
                  <a:pt x="344" y="76"/>
                </a:lnTo>
                <a:lnTo>
                  <a:pt x="344" y="74"/>
                </a:lnTo>
                <a:lnTo>
                  <a:pt x="342" y="74"/>
                </a:lnTo>
                <a:lnTo>
                  <a:pt x="342" y="73"/>
                </a:lnTo>
                <a:lnTo>
                  <a:pt x="340" y="73"/>
                </a:lnTo>
                <a:lnTo>
                  <a:pt x="340" y="77"/>
                </a:lnTo>
                <a:lnTo>
                  <a:pt x="339" y="77"/>
                </a:lnTo>
                <a:lnTo>
                  <a:pt x="338" y="78"/>
                </a:lnTo>
                <a:lnTo>
                  <a:pt x="338" y="77"/>
                </a:lnTo>
                <a:lnTo>
                  <a:pt x="339" y="76"/>
                </a:lnTo>
                <a:lnTo>
                  <a:pt x="338" y="74"/>
                </a:lnTo>
                <a:lnTo>
                  <a:pt x="336" y="76"/>
                </a:lnTo>
                <a:lnTo>
                  <a:pt x="335" y="76"/>
                </a:lnTo>
                <a:lnTo>
                  <a:pt x="335" y="77"/>
                </a:lnTo>
                <a:lnTo>
                  <a:pt x="334" y="77"/>
                </a:lnTo>
                <a:lnTo>
                  <a:pt x="334" y="74"/>
                </a:lnTo>
                <a:lnTo>
                  <a:pt x="335" y="72"/>
                </a:lnTo>
                <a:lnTo>
                  <a:pt x="336" y="71"/>
                </a:lnTo>
                <a:lnTo>
                  <a:pt x="335" y="70"/>
                </a:lnTo>
                <a:lnTo>
                  <a:pt x="334" y="67"/>
                </a:lnTo>
                <a:lnTo>
                  <a:pt x="333" y="67"/>
                </a:lnTo>
                <a:lnTo>
                  <a:pt x="334" y="66"/>
                </a:lnTo>
                <a:lnTo>
                  <a:pt x="334" y="65"/>
                </a:lnTo>
                <a:lnTo>
                  <a:pt x="335" y="65"/>
                </a:lnTo>
                <a:lnTo>
                  <a:pt x="336" y="66"/>
                </a:lnTo>
                <a:lnTo>
                  <a:pt x="338" y="68"/>
                </a:lnTo>
                <a:lnTo>
                  <a:pt x="338" y="70"/>
                </a:lnTo>
                <a:lnTo>
                  <a:pt x="339" y="71"/>
                </a:lnTo>
                <a:lnTo>
                  <a:pt x="344" y="73"/>
                </a:lnTo>
                <a:lnTo>
                  <a:pt x="345" y="73"/>
                </a:lnTo>
                <a:lnTo>
                  <a:pt x="352" y="82"/>
                </a:lnTo>
                <a:lnTo>
                  <a:pt x="352" y="84"/>
                </a:lnTo>
                <a:lnTo>
                  <a:pt x="351" y="85"/>
                </a:lnTo>
                <a:lnTo>
                  <a:pt x="352" y="85"/>
                </a:lnTo>
                <a:lnTo>
                  <a:pt x="352" y="86"/>
                </a:lnTo>
                <a:lnTo>
                  <a:pt x="347" y="88"/>
                </a:lnTo>
                <a:lnTo>
                  <a:pt x="346" y="88"/>
                </a:lnTo>
                <a:lnTo>
                  <a:pt x="346" y="86"/>
                </a:lnTo>
                <a:lnTo>
                  <a:pt x="344" y="89"/>
                </a:lnTo>
                <a:lnTo>
                  <a:pt x="338" y="89"/>
                </a:lnTo>
                <a:lnTo>
                  <a:pt x="338" y="90"/>
                </a:lnTo>
                <a:lnTo>
                  <a:pt x="339" y="91"/>
                </a:lnTo>
                <a:lnTo>
                  <a:pt x="340" y="91"/>
                </a:lnTo>
                <a:lnTo>
                  <a:pt x="342" y="93"/>
                </a:lnTo>
                <a:lnTo>
                  <a:pt x="345" y="95"/>
                </a:lnTo>
                <a:lnTo>
                  <a:pt x="345" y="96"/>
                </a:lnTo>
                <a:lnTo>
                  <a:pt x="348" y="96"/>
                </a:lnTo>
                <a:lnTo>
                  <a:pt x="352" y="97"/>
                </a:lnTo>
                <a:lnTo>
                  <a:pt x="353" y="96"/>
                </a:lnTo>
                <a:lnTo>
                  <a:pt x="353" y="95"/>
                </a:lnTo>
                <a:lnTo>
                  <a:pt x="354" y="95"/>
                </a:lnTo>
                <a:lnTo>
                  <a:pt x="354" y="96"/>
                </a:lnTo>
                <a:lnTo>
                  <a:pt x="355" y="97"/>
                </a:lnTo>
                <a:lnTo>
                  <a:pt x="354" y="97"/>
                </a:lnTo>
                <a:lnTo>
                  <a:pt x="353" y="98"/>
                </a:lnTo>
                <a:lnTo>
                  <a:pt x="353" y="99"/>
                </a:lnTo>
                <a:lnTo>
                  <a:pt x="354" y="99"/>
                </a:lnTo>
                <a:lnTo>
                  <a:pt x="354" y="103"/>
                </a:lnTo>
                <a:lnTo>
                  <a:pt x="355" y="104"/>
                </a:lnTo>
                <a:lnTo>
                  <a:pt x="357" y="107"/>
                </a:lnTo>
                <a:lnTo>
                  <a:pt x="357" y="113"/>
                </a:lnTo>
                <a:lnTo>
                  <a:pt x="358" y="115"/>
                </a:lnTo>
                <a:lnTo>
                  <a:pt x="358" y="116"/>
                </a:lnTo>
                <a:lnTo>
                  <a:pt x="359" y="117"/>
                </a:lnTo>
                <a:lnTo>
                  <a:pt x="359" y="121"/>
                </a:lnTo>
                <a:lnTo>
                  <a:pt x="360" y="126"/>
                </a:lnTo>
                <a:lnTo>
                  <a:pt x="360" y="129"/>
                </a:lnTo>
                <a:lnTo>
                  <a:pt x="361" y="129"/>
                </a:lnTo>
                <a:lnTo>
                  <a:pt x="361" y="131"/>
                </a:lnTo>
                <a:lnTo>
                  <a:pt x="363" y="132"/>
                </a:lnTo>
                <a:lnTo>
                  <a:pt x="361" y="133"/>
                </a:lnTo>
                <a:lnTo>
                  <a:pt x="361" y="134"/>
                </a:lnTo>
                <a:lnTo>
                  <a:pt x="360" y="134"/>
                </a:lnTo>
                <a:lnTo>
                  <a:pt x="360" y="135"/>
                </a:lnTo>
                <a:lnTo>
                  <a:pt x="359" y="136"/>
                </a:lnTo>
                <a:lnTo>
                  <a:pt x="360" y="138"/>
                </a:lnTo>
                <a:lnTo>
                  <a:pt x="360" y="140"/>
                </a:lnTo>
                <a:lnTo>
                  <a:pt x="359" y="144"/>
                </a:lnTo>
                <a:lnTo>
                  <a:pt x="358" y="145"/>
                </a:lnTo>
                <a:lnTo>
                  <a:pt x="357" y="147"/>
                </a:lnTo>
                <a:lnTo>
                  <a:pt x="352" y="150"/>
                </a:lnTo>
                <a:lnTo>
                  <a:pt x="350" y="152"/>
                </a:lnTo>
                <a:lnTo>
                  <a:pt x="350" y="153"/>
                </a:lnTo>
                <a:lnTo>
                  <a:pt x="351" y="156"/>
                </a:lnTo>
                <a:lnTo>
                  <a:pt x="351" y="158"/>
                </a:lnTo>
                <a:lnTo>
                  <a:pt x="350" y="158"/>
                </a:lnTo>
                <a:lnTo>
                  <a:pt x="348" y="159"/>
                </a:lnTo>
                <a:lnTo>
                  <a:pt x="351" y="162"/>
                </a:lnTo>
                <a:lnTo>
                  <a:pt x="353" y="162"/>
                </a:lnTo>
                <a:lnTo>
                  <a:pt x="355" y="164"/>
                </a:lnTo>
                <a:lnTo>
                  <a:pt x="360" y="168"/>
                </a:lnTo>
                <a:lnTo>
                  <a:pt x="361" y="171"/>
                </a:lnTo>
                <a:lnTo>
                  <a:pt x="363" y="171"/>
                </a:lnTo>
                <a:lnTo>
                  <a:pt x="364" y="174"/>
                </a:lnTo>
                <a:lnTo>
                  <a:pt x="367" y="175"/>
                </a:lnTo>
                <a:lnTo>
                  <a:pt x="371" y="178"/>
                </a:lnTo>
                <a:lnTo>
                  <a:pt x="370" y="181"/>
                </a:lnTo>
                <a:lnTo>
                  <a:pt x="370" y="185"/>
                </a:lnTo>
                <a:lnTo>
                  <a:pt x="366" y="189"/>
                </a:lnTo>
                <a:lnTo>
                  <a:pt x="366" y="191"/>
                </a:lnTo>
                <a:lnTo>
                  <a:pt x="367" y="195"/>
                </a:lnTo>
                <a:lnTo>
                  <a:pt x="369" y="197"/>
                </a:lnTo>
                <a:lnTo>
                  <a:pt x="369" y="199"/>
                </a:lnTo>
                <a:lnTo>
                  <a:pt x="370" y="199"/>
                </a:lnTo>
                <a:lnTo>
                  <a:pt x="371" y="200"/>
                </a:lnTo>
                <a:lnTo>
                  <a:pt x="372" y="200"/>
                </a:lnTo>
                <a:lnTo>
                  <a:pt x="373" y="201"/>
                </a:lnTo>
                <a:lnTo>
                  <a:pt x="373" y="208"/>
                </a:lnTo>
                <a:lnTo>
                  <a:pt x="372" y="209"/>
                </a:lnTo>
                <a:lnTo>
                  <a:pt x="376" y="213"/>
                </a:lnTo>
                <a:lnTo>
                  <a:pt x="375" y="214"/>
                </a:lnTo>
                <a:lnTo>
                  <a:pt x="375" y="217"/>
                </a:lnTo>
                <a:lnTo>
                  <a:pt x="373" y="218"/>
                </a:lnTo>
                <a:lnTo>
                  <a:pt x="373" y="222"/>
                </a:lnTo>
                <a:lnTo>
                  <a:pt x="372" y="224"/>
                </a:lnTo>
                <a:lnTo>
                  <a:pt x="372" y="225"/>
                </a:lnTo>
                <a:lnTo>
                  <a:pt x="369" y="228"/>
                </a:lnTo>
                <a:lnTo>
                  <a:pt x="369" y="232"/>
                </a:lnTo>
                <a:lnTo>
                  <a:pt x="371" y="234"/>
                </a:lnTo>
                <a:lnTo>
                  <a:pt x="371" y="238"/>
                </a:lnTo>
                <a:lnTo>
                  <a:pt x="372" y="238"/>
                </a:lnTo>
                <a:lnTo>
                  <a:pt x="375" y="240"/>
                </a:lnTo>
                <a:lnTo>
                  <a:pt x="375" y="246"/>
                </a:lnTo>
                <a:lnTo>
                  <a:pt x="373" y="248"/>
                </a:lnTo>
                <a:lnTo>
                  <a:pt x="373" y="250"/>
                </a:lnTo>
                <a:lnTo>
                  <a:pt x="375" y="251"/>
                </a:lnTo>
                <a:lnTo>
                  <a:pt x="377" y="252"/>
                </a:lnTo>
                <a:lnTo>
                  <a:pt x="378" y="252"/>
                </a:lnTo>
                <a:lnTo>
                  <a:pt x="379" y="254"/>
                </a:lnTo>
                <a:lnTo>
                  <a:pt x="380" y="254"/>
                </a:lnTo>
                <a:lnTo>
                  <a:pt x="382" y="255"/>
                </a:lnTo>
                <a:lnTo>
                  <a:pt x="383" y="255"/>
                </a:lnTo>
                <a:lnTo>
                  <a:pt x="384" y="256"/>
                </a:lnTo>
                <a:lnTo>
                  <a:pt x="384" y="264"/>
                </a:lnTo>
                <a:lnTo>
                  <a:pt x="386" y="267"/>
                </a:lnTo>
                <a:lnTo>
                  <a:pt x="386" y="271"/>
                </a:lnTo>
                <a:lnTo>
                  <a:pt x="385" y="273"/>
                </a:lnTo>
                <a:lnTo>
                  <a:pt x="385" y="279"/>
                </a:lnTo>
                <a:lnTo>
                  <a:pt x="384" y="279"/>
                </a:lnTo>
                <a:lnTo>
                  <a:pt x="384" y="281"/>
                </a:lnTo>
                <a:lnTo>
                  <a:pt x="382" y="286"/>
                </a:lnTo>
                <a:lnTo>
                  <a:pt x="380" y="292"/>
                </a:lnTo>
                <a:lnTo>
                  <a:pt x="378" y="293"/>
                </a:lnTo>
                <a:lnTo>
                  <a:pt x="378" y="295"/>
                </a:lnTo>
                <a:lnTo>
                  <a:pt x="377" y="297"/>
                </a:lnTo>
                <a:lnTo>
                  <a:pt x="377" y="299"/>
                </a:lnTo>
                <a:lnTo>
                  <a:pt x="375" y="299"/>
                </a:lnTo>
                <a:lnTo>
                  <a:pt x="373" y="298"/>
                </a:lnTo>
                <a:lnTo>
                  <a:pt x="371" y="297"/>
                </a:lnTo>
                <a:lnTo>
                  <a:pt x="370" y="297"/>
                </a:lnTo>
                <a:lnTo>
                  <a:pt x="370" y="293"/>
                </a:lnTo>
                <a:lnTo>
                  <a:pt x="371" y="292"/>
                </a:lnTo>
                <a:lnTo>
                  <a:pt x="370" y="292"/>
                </a:lnTo>
                <a:lnTo>
                  <a:pt x="370" y="291"/>
                </a:lnTo>
                <a:lnTo>
                  <a:pt x="367" y="292"/>
                </a:lnTo>
                <a:lnTo>
                  <a:pt x="367" y="286"/>
                </a:lnTo>
                <a:lnTo>
                  <a:pt x="365" y="286"/>
                </a:lnTo>
                <a:lnTo>
                  <a:pt x="365" y="285"/>
                </a:lnTo>
                <a:lnTo>
                  <a:pt x="359" y="285"/>
                </a:lnTo>
                <a:lnTo>
                  <a:pt x="359" y="283"/>
                </a:lnTo>
                <a:lnTo>
                  <a:pt x="355" y="283"/>
                </a:lnTo>
                <a:lnTo>
                  <a:pt x="354" y="285"/>
                </a:lnTo>
                <a:lnTo>
                  <a:pt x="354" y="286"/>
                </a:lnTo>
                <a:lnTo>
                  <a:pt x="353" y="287"/>
                </a:lnTo>
                <a:lnTo>
                  <a:pt x="355" y="287"/>
                </a:lnTo>
                <a:lnTo>
                  <a:pt x="357" y="288"/>
                </a:lnTo>
                <a:lnTo>
                  <a:pt x="355" y="288"/>
                </a:lnTo>
                <a:lnTo>
                  <a:pt x="355" y="289"/>
                </a:lnTo>
                <a:lnTo>
                  <a:pt x="357" y="291"/>
                </a:lnTo>
                <a:lnTo>
                  <a:pt x="360" y="291"/>
                </a:lnTo>
                <a:lnTo>
                  <a:pt x="359" y="293"/>
                </a:lnTo>
                <a:lnTo>
                  <a:pt x="358" y="294"/>
                </a:lnTo>
                <a:lnTo>
                  <a:pt x="353" y="294"/>
                </a:lnTo>
                <a:lnTo>
                  <a:pt x="352" y="295"/>
                </a:lnTo>
                <a:lnTo>
                  <a:pt x="352" y="297"/>
                </a:lnTo>
                <a:lnTo>
                  <a:pt x="345" y="299"/>
                </a:lnTo>
                <a:lnTo>
                  <a:pt x="341" y="299"/>
                </a:lnTo>
                <a:lnTo>
                  <a:pt x="341" y="300"/>
                </a:lnTo>
                <a:lnTo>
                  <a:pt x="339" y="300"/>
                </a:lnTo>
                <a:lnTo>
                  <a:pt x="339" y="304"/>
                </a:lnTo>
                <a:lnTo>
                  <a:pt x="338" y="304"/>
                </a:lnTo>
                <a:lnTo>
                  <a:pt x="336" y="305"/>
                </a:lnTo>
                <a:lnTo>
                  <a:pt x="334" y="304"/>
                </a:lnTo>
                <a:lnTo>
                  <a:pt x="333" y="305"/>
                </a:lnTo>
                <a:lnTo>
                  <a:pt x="324" y="305"/>
                </a:lnTo>
                <a:lnTo>
                  <a:pt x="323" y="306"/>
                </a:lnTo>
                <a:lnTo>
                  <a:pt x="323" y="310"/>
                </a:lnTo>
                <a:lnTo>
                  <a:pt x="322" y="310"/>
                </a:lnTo>
                <a:lnTo>
                  <a:pt x="322" y="311"/>
                </a:lnTo>
                <a:lnTo>
                  <a:pt x="321" y="312"/>
                </a:lnTo>
                <a:lnTo>
                  <a:pt x="321" y="313"/>
                </a:lnTo>
                <a:lnTo>
                  <a:pt x="320" y="313"/>
                </a:lnTo>
                <a:lnTo>
                  <a:pt x="317" y="311"/>
                </a:lnTo>
                <a:lnTo>
                  <a:pt x="316" y="311"/>
                </a:lnTo>
                <a:lnTo>
                  <a:pt x="315" y="312"/>
                </a:lnTo>
                <a:lnTo>
                  <a:pt x="315" y="313"/>
                </a:lnTo>
                <a:lnTo>
                  <a:pt x="314" y="314"/>
                </a:lnTo>
                <a:lnTo>
                  <a:pt x="313" y="314"/>
                </a:lnTo>
                <a:lnTo>
                  <a:pt x="313" y="313"/>
                </a:lnTo>
                <a:lnTo>
                  <a:pt x="311" y="313"/>
                </a:lnTo>
                <a:lnTo>
                  <a:pt x="310" y="318"/>
                </a:lnTo>
                <a:lnTo>
                  <a:pt x="309" y="318"/>
                </a:lnTo>
                <a:lnTo>
                  <a:pt x="308" y="319"/>
                </a:lnTo>
                <a:lnTo>
                  <a:pt x="302" y="319"/>
                </a:lnTo>
                <a:lnTo>
                  <a:pt x="302" y="324"/>
                </a:lnTo>
                <a:lnTo>
                  <a:pt x="301" y="324"/>
                </a:lnTo>
                <a:lnTo>
                  <a:pt x="299" y="325"/>
                </a:lnTo>
                <a:lnTo>
                  <a:pt x="298" y="325"/>
                </a:lnTo>
                <a:lnTo>
                  <a:pt x="293" y="323"/>
                </a:lnTo>
                <a:lnTo>
                  <a:pt x="292" y="324"/>
                </a:lnTo>
                <a:lnTo>
                  <a:pt x="290" y="324"/>
                </a:lnTo>
                <a:lnTo>
                  <a:pt x="289" y="325"/>
                </a:lnTo>
                <a:lnTo>
                  <a:pt x="289" y="326"/>
                </a:lnTo>
                <a:lnTo>
                  <a:pt x="280" y="326"/>
                </a:lnTo>
                <a:lnTo>
                  <a:pt x="279" y="328"/>
                </a:lnTo>
                <a:lnTo>
                  <a:pt x="279" y="330"/>
                </a:lnTo>
                <a:lnTo>
                  <a:pt x="278" y="330"/>
                </a:lnTo>
                <a:lnTo>
                  <a:pt x="277" y="331"/>
                </a:lnTo>
                <a:lnTo>
                  <a:pt x="276" y="331"/>
                </a:lnTo>
                <a:lnTo>
                  <a:pt x="274" y="334"/>
                </a:lnTo>
                <a:lnTo>
                  <a:pt x="274" y="335"/>
                </a:lnTo>
                <a:lnTo>
                  <a:pt x="273" y="335"/>
                </a:lnTo>
                <a:lnTo>
                  <a:pt x="273" y="336"/>
                </a:lnTo>
                <a:lnTo>
                  <a:pt x="272" y="337"/>
                </a:lnTo>
                <a:lnTo>
                  <a:pt x="272" y="342"/>
                </a:lnTo>
                <a:lnTo>
                  <a:pt x="271" y="342"/>
                </a:lnTo>
                <a:lnTo>
                  <a:pt x="271" y="340"/>
                </a:lnTo>
                <a:lnTo>
                  <a:pt x="270" y="338"/>
                </a:lnTo>
                <a:lnTo>
                  <a:pt x="270" y="337"/>
                </a:lnTo>
                <a:lnTo>
                  <a:pt x="268" y="337"/>
                </a:lnTo>
                <a:lnTo>
                  <a:pt x="268" y="336"/>
                </a:lnTo>
                <a:lnTo>
                  <a:pt x="270" y="336"/>
                </a:lnTo>
                <a:lnTo>
                  <a:pt x="270" y="335"/>
                </a:lnTo>
                <a:lnTo>
                  <a:pt x="267" y="335"/>
                </a:lnTo>
                <a:lnTo>
                  <a:pt x="266" y="334"/>
                </a:lnTo>
                <a:lnTo>
                  <a:pt x="266" y="331"/>
                </a:lnTo>
                <a:lnTo>
                  <a:pt x="262" y="331"/>
                </a:lnTo>
                <a:lnTo>
                  <a:pt x="264" y="332"/>
                </a:lnTo>
                <a:lnTo>
                  <a:pt x="264" y="336"/>
                </a:lnTo>
                <a:lnTo>
                  <a:pt x="262" y="336"/>
                </a:lnTo>
                <a:lnTo>
                  <a:pt x="262" y="337"/>
                </a:lnTo>
                <a:lnTo>
                  <a:pt x="265" y="338"/>
                </a:lnTo>
                <a:lnTo>
                  <a:pt x="266" y="340"/>
                </a:lnTo>
                <a:lnTo>
                  <a:pt x="266" y="341"/>
                </a:lnTo>
                <a:lnTo>
                  <a:pt x="267" y="341"/>
                </a:lnTo>
                <a:lnTo>
                  <a:pt x="267" y="346"/>
                </a:lnTo>
                <a:lnTo>
                  <a:pt x="270" y="348"/>
                </a:lnTo>
                <a:lnTo>
                  <a:pt x="270" y="349"/>
                </a:lnTo>
                <a:lnTo>
                  <a:pt x="276" y="353"/>
                </a:lnTo>
                <a:lnTo>
                  <a:pt x="277" y="353"/>
                </a:lnTo>
                <a:lnTo>
                  <a:pt x="278" y="354"/>
                </a:lnTo>
                <a:lnTo>
                  <a:pt x="279" y="354"/>
                </a:lnTo>
                <a:lnTo>
                  <a:pt x="279" y="356"/>
                </a:lnTo>
                <a:lnTo>
                  <a:pt x="280" y="357"/>
                </a:lnTo>
                <a:lnTo>
                  <a:pt x="282" y="357"/>
                </a:lnTo>
                <a:lnTo>
                  <a:pt x="282" y="360"/>
                </a:lnTo>
                <a:lnTo>
                  <a:pt x="280" y="361"/>
                </a:lnTo>
                <a:lnTo>
                  <a:pt x="280" y="362"/>
                </a:lnTo>
                <a:lnTo>
                  <a:pt x="278" y="365"/>
                </a:lnTo>
                <a:lnTo>
                  <a:pt x="278" y="367"/>
                </a:lnTo>
                <a:lnTo>
                  <a:pt x="276" y="368"/>
                </a:lnTo>
                <a:lnTo>
                  <a:pt x="276" y="371"/>
                </a:lnTo>
                <a:lnTo>
                  <a:pt x="277" y="372"/>
                </a:lnTo>
                <a:lnTo>
                  <a:pt x="278" y="372"/>
                </a:lnTo>
                <a:lnTo>
                  <a:pt x="278" y="373"/>
                </a:lnTo>
                <a:lnTo>
                  <a:pt x="279" y="373"/>
                </a:lnTo>
                <a:lnTo>
                  <a:pt x="280" y="374"/>
                </a:lnTo>
                <a:lnTo>
                  <a:pt x="280" y="378"/>
                </a:lnTo>
                <a:lnTo>
                  <a:pt x="282" y="378"/>
                </a:lnTo>
                <a:lnTo>
                  <a:pt x="283" y="379"/>
                </a:lnTo>
                <a:lnTo>
                  <a:pt x="283" y="383"/>
                </a:lnTo>
                <a:lnTo>
                  <a:pt x="284" y="383"/>
                </a:lnTo>
                <a:lnTo>
                  <a:pt x="284" y="384"/>
                </a:lnTo>
                <a:lnTo>
                  <a:pt x="285" y="384"/>
                </a:lnTo>
                <a:lnTo>
                  <a:pt x="285" y="387"/>
                </a:lnTo>
                <a:lnTo>
                  <a:pt x="286" y="389"/>
                </a:lnTo>
                <a:lnTo>
                  <a:pt x="286" y="390"/>
                </a:lnTo>
                <a:lnTo>
                  <a:pt x="288" y="390"/>
                </a:lnTo>
                <a:lnTo>
                  <a:pt x="290" y="392"/>
                </a:lnTo>
                <a:lnTo>
                  <a:pt x="291" y="394"/>
                </a:lnTo>
                <a:lnTo>
                  <a:pt x="292" y="396"/>
                </a:lnTo>
                <a:lnTo>
                  <a:pt x="296" y="397"/>
                </a:lnTo>
                <a:lnTo>
                  <a:pt x="296" y="396"/>
                </a:lnTo>
                <a:lnTo>
                  <a:pt x="299" y="396"/>
                </a:lnTo>
                <a:lnTo>
                  <a:pt x="299" y="397"/>
                </a:lnTo>
                <a:lnTo>
                  <a:pt x="301" y="398"/>
                </a:lnTo>
                <a:lnTo>
                  <a:pt x="302" y="398"/>
                </a:lnTo>
                <a:lnTo>
                  <a:pt x="302" y="399"/>
                </a:lnTo>
                <a:lnTo>
                  <a:pt x="303" y="402"/>
                </a:lnTo>
                <a:lnTo>
                  <a:pt x="304" y="402"/>
                </a:lnTo>
                <a:lnTo>
                  <a:pt x="308" y="408"/>
                </a:lnTo>
                <a:lnTo>
                  <a:pt x="308" y="409"/>
                </a:lnTo>
                <a:lnTo>
                  <a:pt x="309" y="410"/>
                </a:lnTo>
                <a:lnTo>
                  <a:pt x="314" y="410"/>
                </a:lnTo>
                <a:lnTo>
                  <a:pt x="314" y="411"/>
                </a:lnTo>
                <a:lnTo>
                  <a:pt x="317" y="415"/>
                </a:lnTo>
                <a:lnTo>
                  <a:pt x="317" y="417"/>
                </a:lnTo>
                <a:lnTo>
                  <a:pt x="321" y="421"/>
                </a:lnTo>
                <a:lnTo>
                  <a:pt x="322" y="421"/>
                </a:lnTo>
                <a:lnTo>
                  <a:pt x="322" y="420"/>
                </a:lnTo>
                <a:lnTo>
                  <a:pt x="324" y="420"/>
                </a:lnTo>
                <a:lnTo>
                  <a:pt x="326" y="421"/>
                </a:lnTo>
                <a:lnTo>
                  <a:pt x="327" y="421"/>
                </a:lnTo>
                <a:lnTo>
                  <a:pt x="327" y="422"/>
                </a:lnTo>
                <a:lnTo>
                  <a:pt x="328" y="423"/>
                </a:lnTo>
                <a:lnTo>
                  <a:pt x="328" y="424"/>
                </a:lnTo>
                <a:lnTo>
                  <a:pt x="329" y="424"/>
                </a:lnTo>
                <a:lnTo>
                  <a:pt x="329" y="426"/>
                </a:lnTo>
                <a:lnTo>
                  <a:pt x="332" y="426"/>
                </a:lnTo>
                <a:lnTo>
                  <a:pt x="333" y="427"/>
                </a:lnTo>
                <a:lnTo>
                  <a:pt x="335" y="432"/>
                </a:lnTo>
                <a:lnTo>
                  <a:pt x="336" y="432"/>
                </a:lnTo>
                <a:lnTo>
                  <a:pt x="334" y="435"/>
                </a:lnTo>
                <a:lnTo>
                  <a:pt x="335" y="435"/>
                </a:lnTo>
                <a:lnTo>
                  <a:pt x="335" y="436"/>
                </a:lnTo>
                <a:lnTo>
                  <a:pt x="336" y="436"/>
                </a:lnTo>
                <a:lnTo>
                  <a:pt x="335" y="437"/>
                </a:lnTo>
                <a:lnTo>
                  <a:pt x="335" y="442"/>
                </a:lnTo>
                <a:lnTo>
                  <a:pt x="334" y="445"/>
                </a:lnTo>
                <a:lnTo>
                  <a:pt x="333" y="445"/>
                </a:lnTo>
                <a:lnTo>
                  <a:pt x="332" y="446"/>
                </a:lnTo>
                <a:lnTo>
                  <a:pt x="332" y="447"/>
                </a:lnTo>
                <a:lnTo>
                  <a:pt x="329" y="447"/>
                </a:lnTo>
                <a:lnTo>
                  <a:pt x="329" y="446"/>
                </a:lnTo>
                <a:lnTo>
                  <a:pt x="328" y="446"/>
                </a:lnTo>
                <a:lnTo>
                  <a:pt x="328" y="445"/>
                </a:lnTo>
                <a:lnTo>
                  <a:pt x="323" y="443"/>
                </a:lnTo>
                <a:lnTo>
                  <a:pt x="322" y="443"/>
                </a:lnTo>
                <a:lnTo>
                  <a:pt x="321" y="445"/>
                </a:lnTo>
                <a:lnTo>
                  <a:pt x="320" y="445"/>
                </a:lnTo>
                <a:lnTo>
                  <a:pt x="320" y="447"/>
                </a:lnTo>
                <a:lnTo>
                  <a:pt x="321" y="447"/>
                </a:lnTo>
                <a:lnTo>
                  <a:pt x="321" y="448"/>
                </a:lnTo>
                <a:lnTo>
                  <a:pt x="320" y="449"/>
                </a:lnTo>
                <a:lnTo>
                  <a:pt x="320" y="455"/>
                </a:lnTo>
                <a:lnTo>
                  <a:pt x="315" y="460"/>
                </a:lnTo>
                <a:lnTo>
                  <a:pt x="313" y="461"/>
                </a:lnTo>
                <a:lnTo>
                  <a:pt x="307" y="463"/>
                </a:lnTo>
                <a:lnTo>
                  <a:pt x="303" y="464"/>
                </a:lnTo>
                <a:lnTo>
                  <a:pt x="299" y="467"/>
                </a:lnTo>
                <a:lnTo>
                  <a:pt x="298" y="467"/>
                </a:lnTo>
                <a:lnTo>
                  <a:pt x="296" y="469"/>
                </a:lnTo>
                <a:lnTo>
                  <a:pt x="295" y="469"/>
                </a:lnTo>
                <a:lnTo>
                  <a:pt x="295" y="470"/>
                </a:lnTo>
                <a:lnTo>
                  <a:pt x="291" y="473"/>
                </a:lnTo>
                <a:lnTo>
                  <a:pt x="290" y="473"/>
                </a:lnTo>
                <a:lnTo>
                  <a:pt x="290" y="475"/>
                </a:lnTo>
                <a:lnTo>
                  <a:pt x="291" y="476"/>
                </a:lnTo>
                <a:lnTo>
                  <a:pt x="291" y="477"/>
                </a:lnTo>
                <a:lnTo>
                  <a:pt x="295" y="479"/>
                </a:lnTo>
                <a:lnTo>
                  <a:pt x="295" y="483"/>
                </a:lnTo>
                <a:lnTo>
                  <a:pt x="296" y="483"/>
                </a:lnTo>
                <a:lnTo>
                  <a:pt x="298" y="485"/>
                </a:lnTo>
                <a:lnTo>
                  <a:pt x="299" y="489"/>
                </a:lnTo>
                <a:lnTo>
                  <a:pt x="301" y="490"/>
                </a:lnTo>
                <a:lnTo>
                  <a:pt x="298" y="495"/>
                </a:lnTo>
                <a:lnTo>
                  <a:pt x="298" y="496"/>
                </a:lnTo>
                <a:lnTo>
                  <a:pt x="297" y="497"/>
                </a:lnTo>
                <a:lnTo>
                  <a:pt x="297" y="498"/>
                </a:lnTo>
                <a:lnTo>
                  <a:pt x="299" y="500"/>
                </a:lnTo>
                <a:lnTo>
                  <a:pt x="301" y="500"/>
                </a:lnTo>
                <a:lnTo>
                  <a:pt x="302" y="498"/>
                </a:lnTo>
                <a:lnTo>
                  <a:pt x="304" y="501"/>
                </a:lnTo>
                <a:lnTo>
                  <a:pt x="304" y="506"/>
                </a:lnTo>
                <a:lnTo>
                  <a:pt x="303" y="507"/>
                </a:lnTo>
                <a:lnTo>
                  <a:pt x="303" y="513"/>
                </a:lnTo>
                <a:lnTo>
                  <a:pt x="302" y="514"/>
                </a:lnTo>
                <a:lnTo>
                  <a:pt x="298" y="514"/>
                </a:lnTo>
                <a:lnTo>
                  <a:pt x="296" y="513"/>
                </a:lnTo>
                <a:lnTo>
                  <a:pt x="295" y="510"/>
                </a:lnTo>
                <a:lnTo>
                  <a:pt x="295" y="509"/>
                </a:lnTo>
                <a:lnTo>
                  <a:pt x="292" y="509"/>
                </a:lnTo>
                <a:lnTo>
                  <a:pt x="292" y="506"/>
                </a:lnTo>
                <a:lnTo>
                  <a:pt x="293" y="506"/>
                </a:lnTo>
                <a:lnTo>
                  <a:pt x="291" y="503"/>
                </a:lnTo>
                <a:lnTo>
                  <a:pt x="291" y="502"/>
                </a:lnTo>
                <a:lnTo>
                  <a:pt x="289" y="501"/>
                </a:lnTo>
                <a:lnTo>
                  <a:pt x="286" y="501"/>
                </a:lnTo>
                <a:lnTo>
                  <a:pt x="285" y="502"/>
                </a:lnTo>
                <a:lnTo>
                  <a:pt x="284" y="502"/>
                </a:lnTo>
                <a:lnTo>
                  <a:pt x="282" y="504"/>
                </a:lnTo>
                <a:lnTo>
                  <a:pt x="280" y="504"/>
                </a:lnTo>
                <a:lnTo>
                  <a:pt x="279" y="503"/>
                </a:lnTo>
                <a:lnTo>
                  <a:pt x="278" y="503"/>
                </a:lnTo>
                <a:lnTo>
                  <a:pt x="278" y="502"/>
                </a:lnTo>
                <a:lnTo>
                  <a:pt x="277" y="501"/>
                </a:lnTo>
                <a:lnTo>
                  <a:pt x="277" y="500"/>
                </a:lnTo>
                <a:lnTo>
                  <a:pt x="274" y="501"/>
                </a:lnTo>
                <a:lnTo>
                  <a:pt x="272" y="500"/>
                </a:lnTo>
                <a:lnTo>
                  <a:pt x="271" y="501"/>
                </a:lnTo>
                <a:lnTo>
                  <a:pt x="268" y="501"/>
                </a:lnTo>
                <a:lnTo>
                  <a:pt x="268" y="498"/>
                </a:lnTo>
                <a:lnTo>
                  <a:pt x="270" y="498"/>
                </a:lnTo>
                <a:lnTo>
                  <a:pt x="270" y="497"/>
                </a:lnTo>
                <a:lnTo>
                  <a:pt x="268" y="498"/>
                </a:lnTo>
                <a:lnTo>
                  <a:pt x="267" y="498"/>
                </a:lnTo>
                <a:lnTo>
                  <a:pt x="267" y="501"/>
                </a:lnTo>
                <a:lnTo>
                  <a:pt x="268" y="501"/>
                </a:lnTo>
                <a:lnTo>
                  <a:pt x="268" y="503"/>
                </a:lnTo>
                <a:lnTo>
                  <a:pt x="266" y="506"/>
                </a:lnTo>
                <a:lnTo>
                  <a:pt x="253" y="506"/>
                </a:lnTo>
                <a:lnTo>
                  <a:pt x="252" y="507"/>
                </a:lnTo>
                <a:lnTo>
                  <a:pt x="243" y="507"/>
                </a:lnTo>
                <a:lnTo>
                  <a:pt x="242" y="508"/>
                </a:lnTo>
                <a:lnTo>
                  <a:pt x="241" y="508"/>
                </a:lnTo>
                <a:lnTo>
                  <a:pt x="241" y="510"/>
                </a:lnTo>
                <a:lnTo>
                  <a:pt x="240" y="512"/>
                </a:lnTo>
                <a:lnTo>
                  <a:pt x="234" y="512"/>
                </a:lnTo>
                <a:lnTo>
                  <a:pt x="233" y="514"/>
                </a:lnTo>
                <a:lnTo>
                  <a:pt x="234" y="514"/>
                </a:lnTo>
                <a:lnTo>
                  <a:pt x="234" y="515"/>
                </a:lnTo>
                <a:lnTo>
                  <a:pt x="233" y="515"/>
                </a:lnTo>
                <a:lnTo>
                  <a:pt x="233" y="516"/>
                </a:lnTo>
                <a:lnTo>
                  <a:pt x="229" y="516"/>
                </a:lnTo>
                <a:lnTo>
                  <a:pt x="229" y="518"/>
                </a:lnTo>
                <a:lnTo>
                  <a:pt x="228" y="519"/>
                </a:lnTo>
                <a:lnTo>
                  <a:pt x="226" y="519"/>
                </a:lnTo>
                <a:lnTo>
                  <a:pt x="226" y="516"/>
                </a:lnTo>
                <a:lnTo>
                  <a:pt x="224" y="516"/>
                </a:lnTo>
                <a:lnTo>
                  <a:pt x="222" y="519"/>
                </a:lnTo>
                <a:lnTo>
                  <a:pt x="216" y="519"/>
                </a:lnTo>
                <a:lnTo>
                  <a:pt x="215" y="518"/>
                </a:lnTo>
                <a:lnTo>
                  <a:pt x="216" y="518"/>
                </a:lnTo>
                <a:lnTo>
                  <a:pt x="216" y="516"/>
                </a:lnTo>
                <a:lnTo>
                  <a:pt x="215" y="516"/>
                </a:lnTo>
                <a:lnTo>
                  <a:pt x="214" y="514"/>
                </a:lnTo>
                <a:lnTo>
                  <a:pt x="211" y="513"/>
                </a:lnTo>
                <a:lnTo>
                  <a:pt x="212" y="512"/>
                </a:lnTo>
                <a:lnTo>
                  <a:pt x="211" y="510"/>
                </a:lnTo>
                <a:lnTo>
                  <a:pt x="210" y="510"/>
                </a:lnTo>
                <a:lnTo>
                  <a:pt x="208" y="512"/>
                </a:lnTo>
                <a:lnTo>
                  <a:pt x="206" y="512"/>
                </a:lnTo>
                <a:lnTo>
                  <a:pt x="206" y="510"/>
                </a:lnTo>
                <a:lnTo>
                  <a:pt x="201" y="508"/>
                </a:lnTo>
                <a:lnTo>
                  <a:pt x="199" y="508"/>
                </a:lnTo>
                <a:lnTo>
                  <a:pt x="199" y="509"/>
                </a:lnTo>
                <a:lnTo>
                  <a:pt x="198" y="510"/>
                </a:lnTo>
                <a:lnTo>
                  <a:pt x="196" y="510"/>
                </a:lnTo>
                <a:lnTo>
                  <a:pt x="195" y="509"/>
                </a:lnTo>
                <a:lnTo>
                  <a:pt x="193" y="509"/>
                </a:lnTo>
                <a:lnTo>
                  <a:pt x="195" y="508"/>
                </a:lnTo>
                <a:lnTo>
                  <a:pt x="195" y="507"/>
                </a:lnTo>
                <a:lnTo>
                  <a:pt x="193" y="507"/>
                </a:lnTo>
                <a:lnTo>
                  <a:pt x="192" y="508"/>
                </a:lnTo>
                <a:lnTo>
                  <a:pt x="192" y="509"/>
                </a:lnTo>
                <a:lnTo>
                  <a:pt x="193" y="509"/>
                </a:lnTo>
                <a:lnTo>
                  <a:pt x="193" y="510"/>
                </a:lnTo>
                <a:lnTo>
                  <a:pt x="192" y="513"/>
                </a:lnTo>
                <a:lnTo>
                  <a:pt x="193" y="513"/>
                </a:lnTo>
                <a:lnTo>
                  <a:pt x="193" y="519"/>
                </a:lnTo>
                <a:lnTo>
                  <a:pt x="192" y="520"/>
                </a:lnTo>
                <a:lnTo>
                  <a:pt x="191" y="520"/>
                </a:lnTo>
                <a:lnTo>
                  <a:pt x="190" y="521"/>
                </a:lnTo>
                <a:lnTo>
                  <a:pt x="190" y="522"/>
                </a:lnTo>
                <a:lnTo>
                  <a:pt x="186" y="526"/>
                </a:lnTo>
                <a:lnTo>
                  <a:pt x="181" y="526"/>
                </a:lnTo>
                <a:lnTo>
                  <a:pt x="181" y="525"/>
                </a:lnTo>
                <a:lnTo>
                  <a:pt x="183" y="525"/>
                </a:lnTo>
                <a:lnTo>
                  <a:pt x="183" y="523"/>
                </a:lnTo>
                <a:lnTo>
                  <a:pt x="184" y="521"/>
                </a:lnTo>
                <a:lnTo>
                  <a:pt x="184" y="520"/>
                </a:lnTo>
                <a:lnTo>
                  <a:pt x="179" y="520"/>
                </a:lnTo>
                <a:lnTo>
                  <a:pt x="179" y="521"/>
                </a:lnTo>
                <a:lnTo>
                  <a:pt x="178" y="521"/>
                </a:lnTo>
                <a:lnTo>
                  <a:pt x="178" y="519"/>
                </a:lnTo>
                <a:lnTo>
                  <a:pt x="177" y="518"/>
                </a:lnTo>
                <a:lnTo>
                  <a:pt x="178" y="518"/>
                </a:lnTo>
                <a:lnTo>
                  <a:pt x="178" y="516"/>
                </a:lnTo>
                <a:lnTo>
                  <a:pt x="175" y="513"/>
                </a:lnTo>
                <a:lnTo>
                  <a:pt x="175" y="514"/>
                </a:lnTo>
                <a:lnTo>
                  <a:pt x="174" y="514"/>
                </a:lnTo>
                <a:lnTo>
                  <a:pt x="174" y="513"/>
                </a:lnTo>
                <a:lnTo>
                  <a:pt x="173" y="512"/>
                </a:lnTo>
                <a:lnTo>
                  <a:pt x="173" y="509"/>
                </a:lnTo>
                <a:lnTo>
                  <a:pt x="172" y="510"/>
                </a:lnTo>
                <a:lnTo>
                  <a:pt x="171" y="510"/>
                </a:lnTo>
                <a:lnTo>
                  <a:pt x="168" y="509"/>
                </a:lnTo>
                <a:lnTo>
                  <a:pt x="168" y="510"/>
                </a:lnTo>
                <a:lnTo>
                  <a:pt x="167" y="509"/>
                </a:lnTo>
                <a:lnTo>
                  <a:pt x="167" y="507"/>
                </a:lnTo>
                <a:lnTo>
                  <a:pt x="165" y="507"/>
                </a:lnTo>
                <a:lnTo>
                  <a:pt x="162" y="509"/>
                </a:lnTo>
                <a:lnTo>
                  <a:pt x="162" y="510"/>
                </a:lnTo>
                <a:lnTo>
                  <a:pt x="155" y="510"/>
                </a:lnTo>
                <a:lnTo>
                  <a:pt x="145" y="503"/>
                </a:lnTo>
                <a:lnTo>
                  <a:pt x="142" y="502"/>
                </a:lnTo>
                <a:lnTo>
                  <a:pt x="139" y="502"/>
                </a:lnTo>
                <a:lnTo>
                  <a:pt x="134" y="501"/>
                </a:lnTo>
                <a:lnTo>
                  <a:pt x="133" y="501"/>
                </a:lnTo>
                <a:lnTo>
                  <a:pt x="131" y="502"/>
                </a:lnTo>
                <a:lnTo>
                  <a:pt x="128" y="502"/>
                </a:lnTo>
                <a:lnTo>
                  <a:pt x="127" y="501"/>
                </a:lnTo>
                <a:lnTo>
                  <a:pt x="125" y="501"/>
                </a:lnTo>
                <a:lnTo>
                  <a:pt x="127" y="500"/>
                </a:lnTo>
                <a:lnTo>
                  <a:pt x="125" y="500"/>
                </a:lnTo>
                <a:lnTo>
                  <a:pt x="124" y="498"/>
                </a:lnTo>
                <a:lnTo>
                  <a:pt x="123" y="498"/>
                </a:lnTo>
                <a:lnTo>
                  <a:pt x="123" y="500"/>
                </a:lnTo>
                <a:lnTo>
                  <a:pt x="121" y="500"/>
                </a:lnTo>
                <a:lnTo>
                  <a:pt x="121" y="498"/>
                </a:lnTo>
                <a:lnTo>
                  <a:pt x="119" y="498"/>
                </a:lnTo>
                <a:lnTo>
                  <a:pt x="121" y="497"/>
                </a:lnTo>
                <a:lnTo>
                  <a:pt x="121" y="496"/>
                </a:lnTo>
                <a:lnTo>
                  <a:pt x="119" y="496"/>
                </a:lnTo>
                <a:lnTo>
                  <a:pt x="119" y="495"/>
                </a:lnTo>
                <a:lnTo>
                  <a:pt x="118" y="495"/>
                </a:lnTo>
                <a:lnTo>
                  <a:pt x="118" y="494"/>
                </a:lnTo>
                <a:lnTo>
                  <a:pt x="117" y="494"/>
                </a:lnTo>
                <a:lnTo>
                  <a:pt x="117" y="496"/>
                </a:lnTo>
                <a:lnTo>
                  <a:pt x="116" y="496"/>
                </a:lnTo>
                <a:lnTo>
                  <a:pt x="116" y="494"/>
                </a:lnTo>
                <a:lnTo>
                  <a:pt x="114" y="494"/>
                </a:lnTo>
                <a:lnTo>
                  <a:pt x="114" y="495"/>
                </a:lnTo>
                <a:lnTo>
                  <a:pt x="110" y="495"/>
                </a:lnTo>
                <a:lnTo>
                  <a:pt x="110" y="496"/>
                </a:lnTo>
                <a:lnTo>
                  <a:pt x="109" y="497"/>
                </a:lnTo>
                <a:lnTo>
                  <a:pt x="109" y="498"/>
                </a:lnTo>
                <a:lnTo>
                  <a:pt x="108" y="500"/>
                </a:lnTo>
                <a:lnTo>
                  <a:pt x="106" y="500"/>
                </a:lnTo>
                <a:lnTo>
                  <a:pt x="108" y="501"/>
                </a:lnTo>
                <a:lnTo>
                  <a:pt x="108" y="502"/>
                </a:lnTo>
                <a:lnTo>
                  <a:pt x="109" y="503"/>
                </a:lnTo>
                <a:lnTo>
                  <a:pt x="111" y="503"/>
                </a:lnTo>
                <a:lnTo>
                  <a:pt x="112" y="502"/>
                </a:lnTo>
                <a:lnTo>
                  <a:pt x="116" y="502"/>
                </a:lnTo>
                <a:lnTo>
                  <a:pt x="116" y="503"/>
                </a:lnTo>
                <a:lnTo>
                  <a:pt x="115" y="503"/>
                </a:lnTo>
                <a:lnTo>
                  <a:pt x="115" y="507"/>
                </a:lnTo>
                <a:lnTo>
                  <a:pt x="112" y="504"/>
                </a:lnTo>
                <a:lnTo>
                  <a:pt x="111" y="504"/>
                </a:lnTo>
                <a:lnTo>
                  <a:pt x="110" y="506"/>
                </a:lnTo>
                <a:lnTo>
                  <a:pt x="110" y="507"/>
                </a:lnTo>
                <a:lnTo>
                  <a:pt x="103" y="507"/>
                </a:lnTo>
                <a:lnTo>
                  <a:pt x="103" y="504"/>
                </a:lnTo>
                <a:lnTo>
                  <a:pt x="98" y="504"/>
                </a:lnTo>
                <a:lnTo>
                  <a:pt x="98" y="506"/>
                </a:lnTo>
                <a:lnTo>
                  <a:pt x="97" y="506"/>
                </a:lnTo>
                <a:lnTo>
                  <a:pt x="96" y="507"/>
                </a:lnTo>
                <a:lnTo>
                  <a:pt x="94" y="507"/>
                </a:lnTo>
                <a:lnTo>
                  <a:pt x="94" y="508"/>
                </a:lnTo>
                <a:lnTo>
                  <a:pt x="86" y="508"/>
                </a:lnTo>
                <a:lnTo>
                  <a:pt x="86" y="507"/>
                </a:lnTo>
                <a:lnTo>
                  <a:pt x="84" y="507"/>
                </a:lnTo>
                <a:lnTo>
                  <a:pt x="83" y="506"/>
                </a:lnTo>
                <a:lnTo>
                  <a:pt x="83" y="507"/>
                </a:lnTo>
                <a:lnTo>
                  <a:pt x="80" y="509"/>
                </a:lnTo>
                <a:lnTo>
                  <a:pt x="75" y="509"/>
                </a:lnTo>
                <a:lnTo>
                  <a:pt x="74" y="508"/>
                </a:lnTo>
                <a:lnTo>
                  <a:pt x="75" y="508"/>
                </a:lnTo>
                <a:lnTo>
                  <a:pt x="77" y="506"/>
                </a:lnTo>
                <a:lnTo>
                  <a:pt x="75" y="506"/>
                </a:lnTo>
                <a:lnTo>
                  <a:pt x="73" y="507"/>
                </a:lnTo>
                <a:lnTo>
                  <a:pt x="73" y="504"/>
                </a:lnTo>
                <a:lnTo>
                  <a:pt x="72" y="502"/>
                </a:lnTo>
                <a:lnTo>
                  <a:pt x="71" y="502"/>
                </a:lnTo>
                <a:lnTo>
                  <a:pt x="71" y="501"/>
                </a:lnTo>
                <a:lnTo>
                  <a:pt x="69" y="501"/>
                </a:lnTo>
                <a:lnTo>
                  <a:pt x="69" y="498"/>
                </a:lnTo>
                <a:lnTo>
                  <a:pt x="71" y="498"/>
                </a:lnTo>
                <a:lnTo>
                  <a:pt x="71" y="491"/>
                </a:lnTo>
                <a:lnTo>
                  <a:pt x="72" y="491"/>
                </a:lnTo>
                <a:lnTo>
                  <a:pt x="72" y="488"/>
                </a:lnTo>
                <a:lnTo>
                  <a:pt x="73" y="488"/>
                </a:lnTo>
                <a:lnTo>
                  <a:pt x="73" y="484"/>
                </a:lnTo>
                <a:lnTo>
                  <a:pt x="74" y="483"/>
                </a:lnTo>
                <a:lnTo>
                  <a:pt x="74" y="480"/>
                </a:lnTo>
                <a:lnTo>
                  <a:pt x="73" y="477"/>
                </a:lnTo>
                <a:lnTo>
                  <a:pt x="73" y="472"/>
                </a:lnTo>
                <a:lnTo>
                  <a:pt x="74" y="471"/>
                </a:lnTo>
                <a:lnTo>
                  <a:pt x="74" y="470"/>
                </a:lnTo>
                <a:lnTo>
                  <a:pt x="77" y="466"/>
                </a:lnTo>
                <a:lnTo>
                  <a:pt x="78" y="465"/>
                </a:lnTo>
                <a:lnTo>
                  <a:pt x="78" y="461"/>
                </a:lnTo>
                <a:lnTo>
                  <a:pt x="80" y="459"/>
                </a:lnTo>
                <a:lnTo>
                  <a:pt x="80" y="458"/>
                </a:lnTo>
                <a:lnTo>
                  <a:pt x="79" y="457"/>
                </a:lnTo>
                <a:lnTo>
                  <a:pt x="79" y="455"/>
                </a:lnTo>
                <a:lnTo>
                  <a:pt x="80" y="453"/>
                </a:lnTo>
                <a:lnTo>
                  <a:pt x="80" y="451"/>
                </a:lnTo>
                <a:lnTo>
                  <a:pt x="81" y="449"/>
                </a:lnTo>
                <a:lnTo>
                  <a:pt x="81" y="448"/>
                </a:lnTo>
                <a:lnTo>
                  <a:pt x="83" y="448"/>
                </a:lnTo>
                <a:lnTo>
                  <a:pt x="83" y="442"/>
                </a:lnTo>
                <a:lnTo>
                  <a:pt x="84" y="439"/>
                </a:lnTo>
                <a:lnTo>
                  <a:pt x="85" y="439"/>
                </a:lnTo>
                <a:lnTo>
                  <a:pt x="88" y="435"/>
                </a:lnTo>
                <a:lnTo>
                  <a:pt x="88" y="433"/>
                </a:lnTo>
                <a:lnTo>
                  <a:pt x="91" y="433"/>
                </a:lnTo>
                <a:lnTo>
                  <a:pt x="92" y="432"/>
                </a:lnTo>
                <a:lnTo>
                  <a:pt x="92" y="430"/>
                </a:lnTo>
                <a:lnTo>
                  <a:pt x="94" y="429"/>
                </a:lnTo>
                <a:lnTo>
                  <a:pt x="97" y="423"/>
                </a:lnTo>
                <a:lnTo>
                  <a:pt x="98" y="421"/>
                </a:lnTo>
                <a:lnTo>
                  <a:pt x="99" y="420"/>
                </a:lnTo>
                <a:lnTo>
                  <a:pt x="98" y="420"/>
                </a:lnTo>
                <a:lnTo>
                  <a:pt x="94" y="418"/>
                </a:lnTo>
                <a:lnTo>
                  <a:pt x="87" y="415"/>
                </a:lnTo>
                <a:lnTo>
                  <a:pt x="85" y="415"/>
                </a:lnTo>
                <a:lnTo>
                  <a:pt x="81" y="414"/>
                </a:lnTo>
                <a:lnTo>
                  <a:pt x="80" y="414"/>
                </a:lnTo>
                <a:lnTo>
                  <a:pt x="79" y="415"/>
                </a:lnTo>
                <a:lnTo>
                  <a:pt x="74" y="415"/>
                </a:lnTo>
                <a:lnTo>
                  <a:pt x="74" y="414"/>
                </a:lnTo>
                <a:lnTo>
                  <a:pt x="73" y="412"/>
                </a:lnTo>
                <a:lnTo>
                  <a:pt x="71" y="412"/>
                </a:lnTo>
                <a:lnTo>
                  <a:pt x="71" y="411"/>
                </a:lnTo>
                <a:lnTo>
                  <a:pt x="69" y="411"/>
                </a:lnTo>
                <a:lnTo>
                  <a:pt x="68" y="410"/>
                </a:lnTo>
                <a:lnTo>
                  <a:pt x="68" y="408"/>
                </a:lnTo>
                <a:lnTo>
                  <a:pt x="67" y="408"/>
                </a:lnTo>
                <a:lnTo>
                  <a:pt x="66" y="406"/>
                </a:lnTo>
                <a:lnTo>
                  <a:pt x="63" y="406"/>
                </a:lnTo>
                <a:lnTo>
                  <a:pt x="63" y="408"/>
                </a:lnTo>
                <a:lnTo>
                  <a:pt x="62" y="408"/>
                </a:lnTo>
                <a:lnTo>
                  <a:pt x="62" y="409"/>
                </a:lnTo>
                <a:lnTo>
                  <a:pt x="61" y="409"/>
                </a:lnTo>
                <a:lnTo>
                  <a:pt x="60" y="410"/>
                </a:lnTo>
                <a:lnTo>
                  <a:pt x="54" y="410"/>
                </a:lnTo>
                <a:lnTo>
                  <a:pt x="54" y="409"/>
                </a:lnTo>
                <a:lnTo>
                  <a:pt x="52" y="408"/>
                </a:lnTo>
                <a:lnTo>
                  <a:pt x="52" y="409"/>
                </a:lnTo>
                <a:lnTo>
                  <a:pt x="50" y="410"/>
                </a:lnTo>
                <a:lnTo>
                  <a:pt x="49" y="410"/>
                </a:lnTo>
                <a:lnTo>
                  <a:pt x="49" y="405"/>
                </a:lnTo>
                <a:lnTo>
                  <a:pt x="48" y="405"/>
                </a:lnTo>
                <a:lnTo>
                  <a:pt x="46" y="404"/>
                </a:lnTo>
                <a:lnTo>
                  <a:pt x="41" y="404"/>
                </a:lnTo>
                <a:lnTo>
                  <a:pt x="41" y="405"/>
                </a:lnTo>
                <a:lnTo>
                  <a:pt x="42" y="406"/>
                </a:lnTo>
                <a:lnTo>
                  <a:pt x="41" y="408"/>
                </a:lnTo>
                <a:lnTo>
                  <a:pt x="37" y="408"/>
                </a:lnTo>
                <a:lnTo>
                  <a:pt x="36" y="406"/>
                </a:lnTo>
                <a:lnTo>
                  <a:pt x="36" y="403"/>
                </a:lnTo>
                <a:lnTo>
                  <a:pt x="35" y="404"/>
                </a:lnTo>
                <a:lnTo>
                  <a:pt x="35" y="403"/>
                </a:lnTo>
                <a:lnTo>
                  <a:pt x="34" y="402"/>
                </a:lnTo>
                <a:lnTo>
                  <a:pt x="34" y="399"/>
                </a:lnTo>
                <a:lnTo>
                  <a:pt x="30" y="397"/>
                </a:lnTo>
                <a:lnTo>
                  <a:pt x="30" y="396"/>
                </a:lnTo>
                <a:lnTo>
                  <a:pt x="29" y="396"/>
                </a:lnTo>
                <a:lnTo>
                  <a:pt x="30" y="394"/>
                </a:lnTo>
                <a:lnTo>
                  <a:pt x="30" y="393"/>
                </a:lnTo>
                <a:lnTo>
                  <a:pt x="28" y="392"/>
                </a:lnTo>
                <a:lnTo>
                  <a:pt x="28" y="390"/>
                </a:lnTo>
                <a:lnTo>
                  <a:pt x="27" y="389"/>
                </a:lnTo>
                <a:lnTo>
                  <a:pt x="23" y="387"/>
                </a:lnTo>
                <a:lnTo>
                  <a:pt x="21" y="387"/>
                </a:lnTo>
                <a:lnTo>
                  <a:pt x="21" y="380"/>
                </a:lnTo>
                <a:lnTo>
                  <a:pt x="23" y="378"/>
                </a:lnTo>
                <a:lnTo>
                  <a:pt x="23" y="377"/>
                </a:lnTo>
                <a:lnTo>
                  <a:pt x="24" y="377"/>
                </a:lnTo>
                <a:lnTo>
                  <a:pt x="24" y="375"/>
                </a:lnTo>
                <a:lnTo>
                  <a:pt x="23" y="375"/>
                </a:lnTo>
                <a:lnTo>
                  <a:pt x="23" y="374"/>
                </a:lnTo>
                <a:lnTo>
                  <a:pt x="24" y="374"/>
                </a:lnTo>
                <a:lnTo>
                  <a:pt x="27" y="372"/>
                </a:lnTo>
                <a:lnTo>
                  <a:pt x="27" y="368"/>
                </a:lnTo>
                <a:lnTo>
                  <a:pt x="28" y="366"/>
                </a:lnTo>
                <a:lnTo>
                  <a:pt x="27" y="366"/>
                </a:lnTo>
                <a:lnTo>
                  <a:pt x="25" y="365"/>
                </a:lnTo>
                <a:lnTo>
                  <a:pt x="22" y="365"/>
                </a:lnTo>
                <a:lnTo>
                  <a:pt x="21" y="363"/>
                </a:lnTo>
                <a:lnTo>
                  <a:pt x="21" y="362"/>
                </a:lnTo>
                <a:lnTo>
                  <a:pt x="18" y="362"/>
                </a:lnTo>
                <a:lnTo>
                  <a:pt x="18" y="361"/>
                </a:lnTo>
                <a:lnTo>
                  <a:pt x="17" y="361"/>
                </a:lnTo>
                <a:lnTo>
                  <a:pt x="16" y="360"/>
                </a:lnTo>
                <a:lnTo>
                  <a:pt x="15" y="356"/>
                </a:lnTo>
                <a:lnTo>
                  <a:pt x="13" y="355"/>
                </a:lnTo>
                <a:lnTo>
                  <a:pt x="13" y="356"/>
                </a:lnTo>
                <a:lnTo>
                  <a:pt x="12" y="355"/>
                </a:lnTo>
                <a:lnTo>
                  <a:pt x="12" y="354"/>
                </a:lnTo>
                <a:lnTo>
                  <a:pt x="11" y="353"/>
                </a:lnTo>
                <a:lnTo>
                  <a:pt x="11" y="349"/>
                </a:lnTo>
                <a:lnTo>
                  <a:pt x="10" y="349"/>
                </a:lnTo>
                <a:lnTo>
                  <a:pt x="11" y="348"/>
                </a:lnTo>
                <a:lnTo>
                  <a:pt x="10" y="348"/>
                </a:lnTo>
                <a:lnTo>
                  <a:pt x="11" y="346"/>
                </a:lnTo>
                <a:lnTo>
                  <a:pt x="11" y="341"/>
                </a:lnTo>
                <a:lnTo>
                  <a:pt x="13" y="341"/>
                </a:lnTo>
                <a:lnTo>
                  <a:pt x="13" y="338"/>
                </a:lnTo>
                <a:lnTo>
                  <a:pt x="12" y="338"/>
                </a:lnTo>
                <a:lnTo>
                  <a:pt x="12" y="337"/>
                </a:lnTo>
                <a:lnTo>
                  <a:pt x="13" y="337"/>
                </a:lnTo>
                <a:lnTo>
                  <a:pt x="15" y="336"/>
                </a:lnTo>
                <a:lnTo>
                  <a:pt x="17" y="335"/>
                </a:lnTo>
                <a:lnTo>
                  <a:pt x="17" y="334"/>
                </a:lnTo>
                <a:lnTo>
                  <a:pt x="18" y="332"/>
                </a:lnTo>
                <a:lnTo>
                  <a:pt x="22" y="332"/>
                </a:lnTo>
                <a:lnTo>
                  <a:pt x="22" y="330"/>
                </a:lnTo>
                <a:lnTo>
                  <a:pt x="21" y="328"/>
                </a:lnTo>
                <a:lnTo>
                  <a:pt x="21" y="323"/>
                </a:lnTo>
                <a:lnTo>
                  <a:pt x="19" y="322"/>
                </a:lnTo>
                <a:lnTo>
                  <a:pt x="19" y="320"/>
                </a:lnTo>
                <a:lnTo>
                  <a:pt x="18" y="320"/>
                </a:lnTo>
                <a:lnTo>
                  <a:pt x="17" y="319"/>
                </a:lnTo>
                <a:lnTo>
                  <a:pt x="16" y="320"/>
                </a:lnTo>
                <a:lnTo>
                  <a:pt x="15" y="320"/>
                </a:lnTo>
                <a:lnTo>
                  <a:pt x="15" y="319"/>
                </a:lnTo>
                <a:lnTo>
                  <a:pt x="13" y="319"/>
                </a:lnTo>
                <a:lnTo>
                  <a:pt x="15" y="318"/>
                </a:lnTo>
                <a:lnTo>
                  <a:pt x="13" y="318"/>
                </a:lnTo>
                <a:lnTo>
                  <a:pt x="13" y="316"/>
                </a:lnTo>
                <a:lnTo>
                  <a:pt x="17" y="312"/>
                </a:lnTo>
                <a:lnTo>
                  <a:pt x="13" y="312"/>
                </a:lnTo>
                <a:lnTo>
                  <a:pt x="13" y="311"/>
                </a:lnTo>
                <a:lnTo>
                  <a:pt x="12" y="310"/>
                </a:lnTo>
                <a:lnTo>
                  <a:pt x="13" y="310"/>
                </a:lnTo>
                <a:lnTo>
                  <a:pt x="10" y="306"/>
                </a:lnTo>
                <a:lnTo>
                  <a:pt x="10" y="305"/>
                </a:lnTo>
                <a:lnTo>
                  <a:pt x="6" y="305"/>
                </a:lnTo>
                <a:lnTo>
                  <a:pt x="6" y="301"/>
                </a:lnTo>
                <a:lnTo>
                  <a:pt x="5" y="301"/>
                </a:lnTo>
                <a:lnTo>
                  <a:pt x="5" y="300"/>
                </a:lnTo>
                <a:lnTo>
                  <a:pt x="6" y="299"/>
                </a:lnTo>
                <a:lnTo>
                  <a:pt x="6" y="297"/>
                </a:lnTo>
                <a:lnTo>
                  <a:pt x="7" y="297"/>
                </a:lnTo>
                <a:lnTo>
                  <a:pt x="9" y="295"/>
                </a:lnTo>
                <a:lnTo>
                  <a:pt x="9" y="292"/>
                </a:lnTo>
                <a:lnTo>
                  <a:pt x="7" y="292"/>
                </a:lnTo>
                <a:lnTo>
                  <a:pt x="6" y="291"/>
                </a:lnTo>
                <a:lnTo>
                  <a:pt x="6" y="288"/>
                </a:lnTo>
                <a:lnTo>
                  <a:pt x="5" y="288"/>
                </a:lnTo>
                <a:lnTo>
                  <a:pt x="4" y="287"/>
                </a:lnTo>
                <a:lnTo>
                  <a:pt x="3" y="287"/>
                </a:lnTo>
                <a:lnTo>
                  <a:pt x="1" y="288"/>
                </a:lnTo>
                <a:lnTo>
                  <a:pt x="0" y="288"/>
                </a:lnTo>
                <a:lnTo>
                  <a:pt x="0" y="283"/>
                </a:lnTo>
                <a:lnTo>
                  <a:pt x="1" y="282"/>
                </a:lnTo>
                <a:lnTo>
                  <a:pt x="3" y="283"/>
                </a:lnTo>
                <a:lnTo>
                  <a:pt x="4" y="283"/>
                </a:lnTo>
                <a:lnTo>
                  <a:pt x="5" y="281"/>
                </a:lnTo>
                <a:lnTo>
                  <a:pt x="10" y="277"/>
                </a:lnTo>
                <a:lnTo>
                  <a:pt x="12" y="276"/>
                </a:lnTo>
                <a:lnTo>
                  <a:pt x="11" y="275"/>
                </a:lnTo>
                <a:lnTo>
                  <a:pt x="12" y="274"/>
                </a:lnTo>
                <a:lnTo>
                  <a:pt x="10" y="275"/>
                </a:lnTo>
                <a:lnTo>
                  <a:pt x="9" y="274"/>
                </a:lnTo>
                <a:lnTo>
                  <a:pt x="9" y="270"/>
                </a:lnTo>
                <a:lnTo>
                  <a:pt x="10" y="269"/>
                </a:lnTo>
                <a:lnTo>
                  <a:pt x="10" y="268"/>
                </a:lnTo>
                <a:lnTo>
                  <a:pt x="12" y="264"/>
                </a:lnTo>
                <a:lnTo>
                  <a:pt x="13" y="263"/>
                </a:lnTo>
                <a:lnTo>
                  <a:pt x="15" y="263"/>
                </a:lnTo>
                <a:lnTo>
                  <a:pt x="15" y="251"/>
                </a:lnTo>
                <a:lnTo>
                  <a:pt x="12" y="250"/>
                </a:lnTo>
                <a:lnTo>
                  <a:pt x="10" y="245"/>
                </a:lnTo>
                <a:lnTo>
                  <a:pt x="10" y="243"/>
                </a:lnTo>
                <a:lnTo>
                  <a:pt x="7" y="242"/>
                </a:lnTo>
                <a:lnTo>
                  <a:pt x="6" y="240"/>
                </a:lnTo>
                <a:lnTo>
                  <a:pt x="7" y="238"/>
                </a:lnTo>
                <a:lnTo>
                  <a:pt x="6" y="238"/>
                </a:lnTo>
                <a:lnTo>
                  <a:pt x="5" y="237"/>
                </a:lnTo>
                <a:lnTo>
                  <a:pt x="4" y="237"/>
                </a:lnTo>
                <a:lnTo>
                  <a:pt x="4" y="236"/>
                </a:lnTo>
                <a:lnTo>
                  <a:pt x="5" y="234"/>
                </a:lnTo>
                <a:lnTo>
                  <a:pt x="5" y="233"/>
                </a:lnTo>
                <a:lnTo>
                  <a:pt x="3" y="231"/>
                </a:lnTo>
                <a:lnTo>
                  <a:pt x="4" y="230"/>
                </a:lnTo>
                <a:lnTo>
                  <a:pt x="6" y="230"/>
                </a:lnTo>
                <a:lnTo>
                  <a:pt x="7" y="228"/>
                </a:lnTo>
                <a:lnTo>
                  <a:pt x="12" y="228"/>
                </a:lnTo>
                <a:lnTo>
                  <a:pt x="11" y="226"/>
                </a:lnTo>
                <a:lnTo>
                  <a:pt x="10" y="226"/>
                </a:lnTo>
                <a:lnTo>
                  <a:pt x="11" y="225"/>
                </a:lnTo>
                <a:lnTo>
                  <a:pt x="12" y="226"/>
                </a:lnTo>
                <a:lnTo>
                  <a:pt x="15" y="227"/>
                </a:lnTo>
                <a:lnTo>
                  <a:pt x="17" y="227"/>
                </a:lnTo>
                <a:lnTo>
                  <a:pt x="18" y="228"/>
                </a:lnTo>
                <a:lnTo>
                  <a:pt x="19" y="228"/>
                </a:lnTo>
                <a:lnTo>
                  <a:pt x="21" y="230"/>
                </a:lnTo>
                <a:lnTo>
                  <a:pt x="21" y="231"/>
                </a:lnTo>
                <a:lnTo>
                  <a:pt x="22" y="230"/>
                </a:lnTo>
                <a:lnTo>
                  <a:pt x="23" y="230"/>
                </a:lnTo>
                <a:lnTo>
                  <a:pt x="22" y="227"/>
                </a:lnTo>
                <a:lnTo>
                  <a:pt x="25" y="228"/>
                </a:lnTo>
                <a:lnTo>
                  <a:pt x="27" y="228"/>
                </a:lnTo>
                <a:lnTo>
                  <a:pt x="29" y="226"/>
                </a:lnTo>
                <a:lnTo>
                  <a:pt x="32" y="225"/>
                </a:lnTo>
                <a:lnTo>
                  <a:pt x="37" y="225"/>
                </a:lnTo>
                <a:lnTo>
                  <a:pt x="38" y="224"/>
                </a:lnTo>
                <a:lnTo>
                  <a:pt x="40" y="221"/>
                </a:lnTo>
                <a:lnTo>
                  <a:pt x="41" y="221"/>
                </a:lnTo>
                <a:lnTo>
                  <a:pt x="41" y="220"/>
                </a:lnTo>
                <a:lnTo>
                  <a:pt x="40" y="220"/>
                </a:lnTo>
                <a:lnTo>
                  <a:pt x="40" y="219"/>
                </a:lnTo>
                <a:lnTo>
                  <a:pt x="38" y="218"/>
                </a:lnTo>
                <a:lnTo>
                  <a:pt x="36" y="217"/>
                </a:lnTo>
                <a:lnTo>
                  <a:pt x="35" y="217"/>
                </a:lnTo>
                <a:lnTo>
                  <a:pt x="35" y="214"/>
                </a:lnTo>
                <a:lnTo>
                  <a:pt x="36" y="214"/>
                </a:lnTo>
                <a:lnTo>
                  <a:pt x="36" y="213"/>
                </a:lnTo>
                <a:lnTo>
                  <a:pt x="37" y="212"/>
                </a:lnTo>
                <a:lnTo>
                  <a:pt x="37" y="211"/>
                </a:lnTo>
                <a:lnTo>
                  <a:pt x="41" y="211"/>
                </a:lnTo>
                <a:lnTo>
                  <a:pt x="42" y="209"/>
                </a:lnTo>
                <a:lnTo>
                  <a:pt x="42" y="208"/>
                </a:lnTo>
                <a:lnTo>
                  <a:pt x="43" y="207"/>
                </a:lnTo>
                <a:lnTo>
                  <a:pt x="46" y="206"/>
                </a:lnTo>
                <a:lnTo>
                  <a:pt x="47" y="203"/>
                </a:lnTo>
                <a:lnTo>
                  <a:pt x="48" y="203"/>
                </a:lnTo>
                <a:lnTo>
                  <a:pt x="49" y="202"/>
                </a:lnTo>
                <a:lnTo>
                  <a:pt x="49" y="197"/>
                </a:lnTo>
                <a:lnTo>
                  <a:pt x="50" y="195"/>
                </a:lnTo>
                <a:lnTo>
                  <a:pt x="50" y="193"/>
                </a:lnTo>
                <a:lnTo>
                  <a:pt x="49" y="191"/>
                </a:lnTo>
                <a:lnTo>
                  <a:pt x="47" y="187"/>
                </a:lnTo>
                <a:lnTo>
                  <a:pt x="47" y="188"/>
                </a:lnTo>
                <a:lnTo>
                  <a:pt x="41" y="188"/>
                </a:lnTo>
                <a:lnTo>
                  <a:pt x="37" y="187"/>
                </a:lnTo>
                <a:lnTo>
                  <a:pt x="36" y="187"/>
                </a:lnTo>
                <a:lnTo>
                  <a:pt x="35" y="185"/>
                </a:lnTo>
                <a:lnTo>
                  <a:pt x="35" y="181"/>
                </a:lnTo>
                <a:lnTo>
                  <a:pt x="37" y="179"/>
                </a:lnTo>
                <a:lnTo>
                  <a:pt x="36" y="178"/>
                </a:lnTo>
                <a:lnTo>
                  <a:pt x="36" y="175"/>
                </a:lnTo>
                <a:lnTo>
                  <a:pt x="37" y="175"/>
                </a:lnTo>
                <a:lnTo>
                  <a:pt x="38" y="174"/>
                </a:lnTo>
                <a:lnTo>
                  <a:pt x="42" y="174"/>
                </a:lnTo>
                <a:lnTo>
                  <a:pt x="44" y="175"/>
                </a:lnTo>
                <a:lnTo>
                  <a:pt x="49" y="175"/>
                </a:lnTo>
                <a:lnTo>
                  <a:pt x="50" y="174"/>
                </a:lnTo>
                <a:lnTo>
                  <a:pt x="50" y="162"/>
                </a:lnTo>
                <a:lnTo>
                  <a:pt x="52" y="160"/>
                </a:lnTo>
                <a:lnTo>
                  <a:pt x="52" y="159"/>
                </a:lnTo>
                <a:lnTo>
                  <a:pt x="55" y="153"/>
                </a:lnTo>
                <a:lnTo>
                  <a:pt x="56" y="151"/>
                </a:lnTo>
                <a:lnTo>
                  <a:pt x="56" y="140"/>
                </a:lnTo>
                <a:lnTo>
                  <a:pt x="55" y="140"/>
                </a:lnTo>
                <a:lnTo>
                  <a:pt x="55" y="139"/>
                </a:lnTo>
                <a:lnTo>
                  <a:pt x="56" y="136"/>
                </a:lnTo>
                <a:lnTo>
                  <a:pt x="56" y="132"/>
                </a:lnTo>
                <a:lnTo>
                  <a:pt x="59" y="129"/>
                </a:lnTo>
                <a:lnTo>
                  <a:pt x="57" y="128"/>
                </a:lnTo>
                <a:lnTo>
                  <a:pt x="60" y="126"/>
                </a:lnTo>
                <a:lnTo>
                  <a:pt x="61" y="126"/>
                </a:lnTo>
                <a:lnTo>
                  <a:pt x="63" y="127"/>
                </a:lnTo>
                <a:lnTo>
                  <a:pt x="62" y="126"/>
                </a:lnTo>
                <a:lnTo>
                  <a:pt x="61" y="126"/>
                </a:lnTo>
                <a:lnTo>
                  <a:pt x="52" y="125"/>
                </a:lnTo>
                <a:lnTo>
                  <a:pt x="50" y="125"/>
                </a:lnTo>
                <a:lnTo>
                  <a:pt x="49" y="122"/>
                </a:lnTo>
                <a:lnTo>
                  <a:pt x="49" y="116"/>
                </a:lnTo>
                <a:lnTo>
                  <a:pt x="50" y="114"/>
                </a:lnTo>
                <a:lnTo>
                  <a:pt x="50" y="113"/>
                </a:lnTo>
                <a:lnTo>
                  <a:pt x="53" y="113"/>
                </a:lnTo>
                <a:lnTo>
                  <a:pt x="54" y="111"/>
                </a:lnTo>
                <a:lnTo>
                  <a:pt x="54" y="109"/>
                </a:lnTo>
                <a:lnTo>
                  <a:pt x="53" y="109"/>
                </a:lnTo>
                <a:lnTo>
                  <a:pt x="52" y="108"/>
                </a:lnTo>
                <a:lnTo>
                  <a:pt x="57" y="102"/>
                </a:lnTo>
                <a:lnTo>
                  <a:pt x="61" y="101"/>
                </a:lnTo>
                <a:lnTo>
                  <a:pt x="67" y="99"/>
                </a:lnTo>
                <a:lnTo>
                  <a:pt x="68" y="99"/>
                </a:lnTo>
                <a:lnTo>
                  <a:pt x="68" y="101"/>
                </a:lnTo>
                <a:lnTo>
                  <a:pt x="69" y="101"/>
                </a:lnTo>
                <a:lnTo>
                  <a:pt x="75" y="99"/>
                </a:lnTo>
                <a:lnTo>
                  <a:pt x="88" y="98"/>
                </a:lnTo>
                <a:lnTo>
                  <a:pt x="92" y="98"/>
                </a:lnTo>
                <a:lnTo>
                  <a:pt x="92" y="102"/>
                </a:lnTo>
                <a:lnTo>
                  <a:pt x="94" y="107"/>
                </a:lnTo>
                <a:lnTo>
                  <a:pt x="96" y="107"/>
                </a:lnTo>
                <a:lnTo>
                  <a:pt x="96" y="109"/>
                </a:lnTo>
                <a:lnTo>
                  <a:pt x="97" y="109"/>
                </a:lnTo>
                <a:lnTo>
                  <a:pt x="98" y="110"/>
                </a:lnTo>
                <a:lnTo>
                  <a:pt x="96" y="113"/>
                </a:lnTo>
                <a:lnTo>
                  <a:pt x="93" y="113"/>
                </a:lnTo>
                <a:lnTo>
                  <a:pt x="93" y="116"/>
                </a:lnTo>
                <a:lnTo>
                  <a:pt x="94" y="116"/>
                </a:lnTo>
                <a:lnTo>
                  <a:pt x="94" y="117"/>
                </a:lnTo>
                <a:lnTo>
                  <a:pt x="97" y="117"/>
                </a:lnTo>
                <a:lnTo>
                  <a:pt x="99" y="120"/>
                </a:lnTo>
                <a:lnTo>
                  <a:pt x="102" y="120"/>
                </a:lnTo>
                <a:lnTo>
                  <a:pt x="104" y="115"/>
                </a:lnTo>
                <a:lnTo>
                  <a:pt x="104" y="113"/>
                </a:lnTo>
                <a:lnTo>
                  <a:pt x="103" y="111"/>
                </a:lnTo>
                <a:lnTo>
                  <a:pt x="100" y="111"/>
                </a:lnTo>
                <a:lnTo>
                  <a:pt x="100" y="107"/>
                </a:lnTo>
                <a:lnTo>
                  <a:pt x="102" y="107"/>
                </a:lnTo>
                <a:lnTo>
                  <a:pt x="102" y="105"/>
                </a:lnTo>
                <a:lnTo>
                  <a:pt x="105" y="105"/>
                </a:lnTo>
                <a:lnTo>
                  <a:pt x="106" y="107"/>
                </a:lnTo>
                <a:lnTo>
                  <a:pt x="106" y="108"/>
                </a:lnTo>
                <a:lnTo>
                  <a:pt x="109" y="109"/>
                </a:lnTo>
                <a:lnTo>
                  <a:pt x="112" y="110"/>
                </a:lnTo>
                <a:lnTo>
                  <a:pt x="114" y="110"/>
                </a:lnTo>
                <a:lnTo>
                  <a:pt x="114" y="111"/>
                </a:lnTo>
                <a:lnTo>
                  <a:pt x="112" y="111"/>
                </a:lnTo>
                <a:lnTo>
                  <a:pt x="112" y="113"/>
                </a:lnTo>
                <a:lnTo>
                  <a:pt x="111" y="115"/>
                </a:lnTo>
                <a:lnTo>
                  <a:pt x="114" y="113"/>
                </a:lnTo>
                <a:lnTo>
                  <a:pt x="115" y="110"/>
                </a:lnTo>
                <a:lnTo>
                  <a:pt x="114" y="107"/>
                </a:lnTo>
                <a:lnTo>
                  <a:pt x="112" y="107"/>
                </a:lnTo>
                <a:lnTo>
                  <a:pt x="112" y="104"/>
                </a:lnTo>
                <a:lnTo>
                  <a:pt x="111" y="103"/>
                </a:lnTo>
                <a:lnTo>
                  <a:pt x="111" y="98"/>
                </a:lnTo>
                <a:lnTo>
                  <a:pt x="112" y="95"/>
                </a:lnTo>
                <a:lnTo>
                  <a:pt x="114" y="90"/>
                </a:lnTo>
                <a:lnTo>
                  <a:pt x="115" y="88"/>
                </a:lnTo>
                <a:lnTo>
                  <a:pt x="116" y="86"/>
                </a:lnTo>
                <a:lnTo>
                  <a:pt x="117" y="86"/>
                </a:lnTo>
                <a:lnTo>
                  <a:pt x="118" y="85"/>
                </a:lnTo>
                <a:lnTo>
                  <a:pt x="122" y="89"/>
                </a:lnTo>
                <a:lnTo>
                  <a:pt x="123" y="89"/>
                </a:lnTo>
                <a:lnTo>
                  <a:pt x="127" y="90"/>
                </a:lnTo>
                <a:lnTo>
                  <a:pt x="129" y="90"/>
                </a:lnTo>
                <a:lnTo>
                  <a:pt x="131" y="89"/>
                </a:lnTo>
                <a:lnTo>
                  <a:pt x="134" y="90"/>
                </a:lnTo>
                <a:lnTo>
                  <a:pt x="134" y="89"/>
                </a:lnTo>
                <a:lnTo>
                  <a:pt x="137" y="88"/>
                </a:lnTo>
                <a:lnTo>
                  <a:pt x="145" y="88"/>
                </a:lnTo>
                <a:lnTo>
                  <a:pt x="146" y="89"/>
                </a:lnTo>
                <a:lnTo>
                  <a:pt x="149" y="96"/>
                </a:lnTo>
                <a:lnTo>
                  <a:pt x="153" y="99"/>
                </a:lnTo>
                <a:lnTo>
                  <a:pt x="153" y="101"/>
                </a:lnTo>
                <a:lnTo>
                  <a:pt x="154" y="102"/>
                </a:lnTo>
                <a:lnTo>
                  <a:pt x="156" y="107"/>
                </a:lnTo>
                <a:lnTo>
                  <a:pt x="158" y="107"/>
                </a:lnTo>
                <a:lnTo>
                  <a:pt x="158" y="108"/>
                </a:lnTo>
                <a:lnTo>
                  <a:pt x="160" y="108"/>
                </a:lnTo>
                <a:lnTo>
                  <a:pt x="165" y="110"/>
                </a:lnTo>
                <a:lnTo>
                  <a:pt x="168" y="110"/>
                </a:lnTo>
                <a:lnTo>
                  <a:pt x="167" y="109"/>
                </a:lnTo>
                <a:lnTo>
                  <a:pt x="166" y="109"/>
                </a:lnTo>
                <a:lnTo>
                  <a:pt x="162" y="108"/>
                </a:lnTo>
                <a:lnTo>
                  <a:pt x="160" y="108"/>
                </a:lnTo>
                <a:lnTo>
                  <a:pt x="156" y="104"/>
                </a:lnTo>
                <a:lnTo>
                  <a:pt x="155" y="102"/>
                </a:lnTo>
                <a:lnTo>
                  <a:pt x="155" y="98"/>
                </a:lnTo>
                <a:lnTo>
                  <a:pt x="153" y="97"/>
                </a:lnTo>
                <a:lnTo>
                  <a:pt x="152" y="97"/>
                </a:lnTo>
                <a:lnTo>
                  <a:pt x="150" y="96"/>
                </a:lnTo>
                <a:lnTo>
                  <a:pt x="150" y="93"/>
                </a:lnTo>
                <a:lnTo>
                  <a:pt x="149" y="91"/>
                </a:lnTo>
                <a:lnTo>
                  <a:pt x="149" y="90"/>
                </a:lnTo>
                <a:lnTo>
                  <a:pt x="148" y="90"/>
                </a:lnTo>
                <a:lnTo>
                  <a:pt x="146" y="88"/>
                </a:lnTo>
                <a:lnTo>
                  <a:pt x="143" y="86"/>
                </a:lnTo>
                <a:lnTo>
                  <a:pt x="142" y="86"/>
                </a:lnTo>
                <a:lnTo>
                  <a:pt x="136" y="85"/>
                </a:lnTo>
                <a:lnTo>
                  <a:pt x="133" y="85"/>
                </a:lnTo>
                <a:lnTo>
                  <a:pt x="130" y="84"/>
                </a:lnTo>
                <a:lnTo>
                  <a:pt x="129" y="83"/>
                </a:lnTo>
                <a:lnTo>
                  <a:pt x="125" y="76"/>
                </a:lnTo>
                <a:lnTo>
                  <a:pt x="128" y="74"/>
                </a:lnTo>
                <a:lnTo>
                  <a:pt x="129" y="74"/>
                </a:lnTo>
                <a:lnTo>
                  <a:pt x="131" y="77"/>
                </a:lnTo>
                <a:lnTo>
                  <a:pt x="133" y="76"/>
                </a:lnTo>
                <a:lnTo>
                  <a:pt x="133" y="74"/>
                </a:lnTo>
                <a:lnTo>
                  <a:pt x="134" y="73"/>
                </a:lnTo>
                <a:lnTo>
                  <a:pt x="134" y="71"/>
                </a:lnTo>
                <a:lnTo>
                  <a:pt x="131" y="68"/>
                </a:lnTo>
                <a:lnTo>
                  <a:pt x="131" y="67"/>
                </a:lnTo>
                <a:lnTo>
                  <a:pt x="129" y="67"/>
                </a:lnTo>
                <a:lnTo>
                  <a:pt x="128" y="68"/>
                </a:lnTo>
                <a:lnTo>
                  <a:pt x="127" y="68"/>
                </a:lnTo>
                <a:lnTo>
                  <a:pt x="125" y="67"/>
                </a:lnTo>
                <a:lnTo>
                  <a:pt x="125" y="65"/>
                </a:lnTo>
                <a:lnTo>
                  <a:pt x="124" y="65"/>
                </a:lnTo>
                <a:lnTo>
                  <a:pt x="125" y="64"/>
                </a:lnTo>
                <a:lnTo>
                  <a:pt x="125" y="62"/>
                </a:lnTo>
                <a:lnTo>
                  <a:pt x="127" y="61"/>
                </a:lnTo>
                <a:lnTo>
                  <a:pt x="125" y="60"/>
                </a:lnTo>
                <a:lnTo>
                  <a:pt x="127" y="59"/>
                </a:lnTo>
                <a:lnTo>
                  <a:pt x="129" y="59"/>
                </a:lnTo>
                <a:lnTo>
                  <a:pt x="129" y="58"/>
                </a:lnTo>
                <a:lnTo>
                  <a:pt x="130" y="58"/>
                </a:lnTo>
                <a:lnTo>
                  <a:pt x="130" y="56"/>
                </a:lnTo>
                <a:lnTo>
                  <a:pt x="131" y="55"/>
                </a:lnTo>
                <a:lnTo>
                  <a:pt x="130" y="55"/>
                </a:lnTo>
                <a:lnTo>
                  <a:pt x="129" y="56"/>
                </a:lnTo>
                <a:lnTo>
                  <a:pt x="121" y="56"/>
                </a:lnTo>
                <a:lnTo>
                  <a:pt x="119" y="59"/>
                </a:lnTo>
                <a:lnTo>
                  <a:pt x="116" y="55"/>
                </a:lnTo>
                <a:lnTo>
                  <a:pt x="116" y="53"/>
                </a:lnTo>
                <a:lnTo>
                  <a:pt x="117" y="52"/>
                </a:lnTo>
                <a:lnTo>
                  <a:pt x="119" y="52"/>
                </a:lnTo>
                <a:lnTo>
                  <a:pt x="118" y="51"/>
                </a:lnTo>
                <a:lnTo>
                  <a:pt x="117" y="52"/>
                </a:lnTo>
                <a:lnTo>
                  <a:pt x="117" y="49"/>
                </a:lnTo>
                <a:lnTo>
                  <a:pt x="118" y="48"/>
                </a:lnTo>
                <a:lnTo>
                  <a:pt x="118" y="49"/>
                </a:lnTo>
                <a:lnTo>
                  <a:pt x="122" y="48"/>
                </a:lnTo>
                <a:lnTo>
                  <a:pt x="128" y="48"/>
                </a:lnTo>
                <a:lnTo>
                  <a:pt x="130" y="46"/>
                </a:lnTo>
                <a:lnTo>
                  <a:pt x="133" y="45"/>
                </a:lnTo>
                <a:lnTo>
                  <a:pt x="133" y="40"/>
                </a:lnTo>
                <a:lnTo>
                  <a:pt x="128" y="35"/>
                </a:lnTo>
                <a:lnTo>
                  <a:pt x="128" y="34"/>
                </a:lnTo>
                <a:lnTo>
                  <a:pt x="125" y="34"/>
                </a:lnTo>
                <a:lnTo>
                  <a:pt x="127" y="33"/>
                </a:lnTo>
                <a:lnTo>
                  <a:pt x="125" y="29"/>
                </a:lnTo>
                <a:lnTo>
                  <a:pt x="124" y="28"/>
                </a:lnTo>
                <a:lnTo>
                  <a:pt x="123" y="28"/>
                </a:lnTo>
                <a:lnTo>
                  <a:pt x="119" y="24"/>
                </a:lnTo>
                <a:lnTo>
                  <a:pt x="119" y="22"/>
                </a:lnTo>
                <a:lnTo>
                  <a:pt x="118" y="19"/>
                </a:lnTo>
                <a:lnTo>
                  <a:pt x="118" y="18"/>
                </a:lnTo>
                <a:lnTo>
                  <a:pt x="117" y="17"/>
                </a:lnTo>
                <a:lnTo>
                  <a:pt x="118" y="15"/>
                </a:lnTo>
                <a:lnTo>
                  <a:pt x="118" y="13"/>
                </a:lnTo>
                <a:lnTo>
                  <a:pt x="122" y="13"/>
                </a:lnTo>
                <a:lnTo>
                  <a:pt x="124" y="12"/>
                </a:lnTo>
                <a:close/>
                <a:moveTo>
                  <a:pt x="108" y="0"/>
                </a:moveTo>
                <a:lnTo>
                  <a:pt x="110" y="2"/>
                </a:lnTo>
                <a:lnTo>
                  <a:pt x="108" y="2"/>
                </a:lnTo>
                <a:lnTo>
                  <a:pt x="109" y="3"/>
                </a:lnTo>
                <a:lnTo>
                  <a:pt x="109" y="4"/>
                </a:lnTo>
                <a:lnTo>
                  <a:pt x="106" y="5"/>
                </a:lnTo>
                <a:lnTo>
                  <a:pt x="105" y="6"/>
                </a:lnTo>
                <a:lnTo>
                  <a:pt x="105" y="11"/>
                </a:lnTo>
                <a:lnTo>
                  <a:pt x="106" y="13"/>
                </a:lnTo>
                <a:lnTo>
                  <a:pt x="111" y="13"/>
                </a:lnTo>
                <a:lnTo>
                  <a:pt x="110" y="15"/>
                </a:lnTo>
                <a:lnTo>
                  <a:pt x="104" y="15"/>
                </a:lnTo>
                <a:lnTo>
                  <a:pt x="103" y="16"/>
                </a:lnTo>
                <a:lnTo>
                  <a:pt x="103" y="24"/>
                </a:lnTo>
                <a:lnTo>
                  <a:pt x="102" y="23"/>
                </a:lnTo>
                <a:lnTo>
                  <a:pt x="102" y="21"/>
                </a:lnTo>
                <a:lnTo>
                  <a:pt x="103" y="13"/>
                </a:lnTo>
                <a:lnTo>
                  <a:pt x="103" y="12"/>
                </a:lnTo>
                <a:lnTo>
                  <a:pt x="106" y="3"/>
                </a:lnTo>
                <a:lnTo>
                  <a:pt x="108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" name="Freeform 42">
            <a:extLst>
              <a:ext uri="{FF2B5EF4-FFF2-40B4-BE49-F238E27FC236}">
                <a16:creationId xmlns:a16="http://schemas.microsoft.com/office/drawing/2014/main" id="{18535831-AF3D-4E7F-B2F0-0D1BB3879725}"/>
              </a:ext>
            </a:extLst>
          </p:cNvPr>
          <p:cNvSpPr>
            <a:spLocks/>
          </p:cNvSpPr>
          <p:nvPr/>
        </p:nvSpPr>
        <p:spPr bwMode="auto">
          <a:xfrm>
            <a:off x="3676058" y="5289933"/>
            <a:ext cx="410050" cy="210097"/>
          </a:xfrm>
          <a:custGeom>
            <a:avLst/>
            <a:gdLst/>
            <a:ahLst/>
            <a:cxnLst>
              <a:cxn ang="0">
                <a:pos x="26" y="2"/>
              </a:cxn>
              <a:cxn ang="0">
                <a:pos x="43" y="12"/>
              </a:cxn>
              <a:cxn ang="0">
                <a:pos x="60" y="17"/>
              </a:cxn>
              <a:cxn ang="0">
                <a:pos x="73" y="22"/>
              </a:cxn>
              <a:cxn ang="0">
                <a:pos x="103" y="20"/>
              </a:cxn>
              <a:cxn ang="0">
                <a:pos x="112" y="24"/>
              </a:cxn>
              <a:cxn ang="0">
                <a:pos x="126" y="30"/>
              </a:cxn>
              <a:cxn ang="0">
                <a:pos x="143" y="41"/>
              </a:cxn>
              <a:cxn ang="0">
                <a:pos x="161" y="48"/>
              </a:cxn>
              <a:cxn ang="0">
                <a:pos x="161" y="57"/>
              </a:cxn>
              <a:cxn ang="0">
                <a:pos x="169" y="56"/>
              </a:cxn>
              <a:cxn ang="0">
                <a:pos x="181" y="50"/>
              </a:cxn>
              <a:cxn ang="0">
                <a:pos x="200" y="51"/>
              </a:cxn>
              <a:cxn ang="0">
                <a:pos x="204" y="50"/>
              </a:cxn>
              <a:cxn ang="0">
                <a:pos x="217" y="50"/>
              </a:cxn>
              <a:cxn ang="0">
                <a:pos x="229" y="61"/>
              </a:cxn>
              <a:cxn ang="0">
                <a:pos x="237" y="78"/>
              </a:cxn>
              <a:cxn ang="0">
                <a:pos x="250" y="90"/>
              </a:cxn>
              <a:cxn ang="0">
                <a:pos x="256" y="91"/>
              </a:cxn>
              <a:cxn ang="0">
                <a:pos x="266" y="94"/>
              </a:cxn>
              <a:cxn ang="0">
                <a:pos x="266" y="105"/>
              </a:cxn>
              <a:cxn ang="0">
                <a:pos x="263" y="113"/>
              </a:cxn>
              <a:cxn ang="0">
                <a:pos x="269" y="121"/>
              </a:cxn>
              <a:cxn ang="0">
                <a:pos x="280" y="128"/>
              </a:cxn>
              <a:cxn ang="0">
                <a:pos x="280" y="141"/>
              </a:cxn>
              <a:cxn ang="0">
                <a:pos x="272" y="142"/>
              </a:cxn>
              <a:cxn ang="0">
                <a:pos x="253" y="137"/>
              </a:cxn>
              <a:cxn ang="0">
                <a:pos x="241" y="129"/>
              </a:cxn>
              <a:cxn ang="0">
                <a:pos x="228" y="123"/>
              </a:cxn>
              <a:cxn ang="0">
                <a:pos x="210" y="131"/>
              </a:cxn>
              <a:cxn ang="0">
                <a:pos x="205" y="134"/>
              </a:cxn>
              <a:cxn ang="0">
                <a:pos x="192" y="137"/>
              </a:cxn>
              <a:cxn ang="0">
                <a:pos x="187" y="137"/>
              </a:cxn>
              <a:cxn ang="0">
                <a:pos x="178" y="134"/>
              </a:cxn>
              <a:cxn ang="0">
                <a:pos x="170" y="137"/>
              </a:cxn>
              <a:cxn ang="0">
                <a:pos x="151" y="140"/>
              </a:cxn>
              <a:cxn ang="0">
                <a:pos x="141" y="136"/>
              </a:cxn>
              <a:cxn ang="0">
                <a:pos x="131" y="133"/>
              </a:cxn>
              <a:cxn ang="0">
                <a:pos x="130" y="128"/>
              </a:cxn>
              <a:cxn ang="0">
                <a:pos x="122" y="119"/>
              </a:cxn>
              <a:cxn ang="0">
                <a:pos x="118" y="117"/>
              </a:cxn>
              <a:cxn ang="0">
                <a:pos x="109" y="118"/>
              </a:cxn>
              <a:cxn ang="0">
                <a:pos x="93" y="119"/>
              </a:cxn>
              <a:cxn ang="0">
                <a:pos x="78" y="123"/>
              </a:cxn>
              <a:cxn ang="0">
                <a:pos x="72" y="119"/>
              </a:cxn>
              <a:cxn ang="0">
                <a:pos x="72" y="110"/>
              </a:cxn>
              <a:cxn ang="0">
                <a:pos x="73" y="87"/>
              </a:cxn>
              <a:cxn ang="0">
                <a:pos x="64" y="54"/>
              </a:cxn>
              <a:cxn ang="0">
                <a:pos x="49" y="45"/>
              </a:cxn>
              <a:cxn ang="0">
                <a:pos x="37" y="30"/>
              </a:cxn>
              <a:cxn ang="0">
                <a:pos x="16" y="24"/>
              </a:cxn>
              <a:cxn ang="0">
                <a:pos x="11" y="16"/>
              </a:cxn>
              <a:cxn ang="0">
                <a:pos x="1" y="11"/>
              </a:cxn>
              <a:cxn ang="0">
                <a:pos x="7" y="0"/>
              </a:cxn>
            </a:cxnLst>
            <a:rect l="0" t="0" r="r" b="b"/>
            <a:pathLst>
              <a:path w="283" h="145">
                <a:moveTo>
                  <a:pt x="7" y="0"/>
                </a:moveTo>
                <a:lnTo>
                  <a:pt x="11" y="0"/>
                </a:lnTo>
                <a:lnTo>
                  <a:pt x="20" y="4"/>
                </a:lnTo>
                <a:lnTo>
                  <a:pt x="23" y="5"/>
                </a:lnTo>
                <a:lnTo>
                  <a:pt x="24" y="4"/>
                </a:lnTo>
                <a:lnTo>
                  <a:pt x="26" y="2"/>
                </a:lnTo>
                <a:lnTo>
                  <a:pt x="29" y="2"/>
                </a:lnTo>
                <a:lnTo>
                  <a:pt x="30" y="4"/>
                </a:lnTo>
                <a:lnTo>
                  <a:pt x="32" y="5"/>
                </a:lnTo>
                <a:lnTo>
                  <a:pt x="36" y="6"/>
                </a:lnTo>
                <a:lnTo>
                  <a:pt x="37" y="7"/>
                </a:lnTo>
                <a:lnTo>
                  <a:pt x="43" y="12"/>
                </a:lnTo>
                <a:lnTo>
                  <a:pt x="50" y="12"/>
                </a:lnTo>
                <a:lnTo>
                  <a:pt x="51" y="13"/>
                </a:lnTo>
                <a:lnTo>
                  <a:pt x="53" y="13"/>
                </a:lnTo>
                <a:lnTo>
                  <a:pt x="55" y="14"/>
                </a:lnTo>
                <a:lnTo>
                  <a:pt x="60" y="14"/>
                </a:lnTo>
                <a:lnTo>
                  <a:pt x="60" y="17"/>
                </a:lnTo>
                <a:lnTo>
                  <a:pt x="61" y="17"/>
                </a:lnTo>
                <a:lnTo>
                  <a:pt x="63" y="18"/>
                </a:lnTo>
                <a:lnTo>
                  <a:pt x="67" y="22"/>
                </a:lnTo>
                <a:lnTo>
                  <a:pt x="69" y="22"/>
                </a:lnTo>
                <a:lnTo>
                  <a:pt x="72" y="20"/>
                </a:lnTo>
                <a:lnTo>
                  <a:pt x="73" y="22"/>
                </a:lnTo>
                <a:lnTo>
                  <a:pt x="82" y="22"/>
                </a:lnTo>
                <a:lnTo>
                  <a:pt x="85" y="23"/>
                </a:lnTo>
                <a:lnTo>
                  <a:pt x="88" y="23"/>
                </a:lnTo>
                <a:lnTo>
                  <a:pt x="92" y="22"/>
                </a:lnTo>
                <a:lnTo>
                  <a:pt x="93" y="20"/>
                </a:lnTo>
                <a:lnTo>
                  <a:pt x="103" y="20"/>
                </a:lnTo>
                <a:lnTo>
                  <a:pt x="105" y="22"/>
                </a:lnTo>
                <a:lnTo>
                  <a:pt x="107" y="24"/>
                </a:lnTo>
                <a:lnTo>
                  <a:pt x="110" y="25"/>
                </a:lnTo>
                <a:lnTo>
                  <a:pt x="111" y="26"/>
                </a:lnTo>
                <a:lnTo>
                  <a:pt x="112" y="25"/>
                </a:lnTo>
                <a:lnTo>
                  <a:pt x="112" y="24"/>
                </a:lnTo>
                <a:lnTo>
                  <a:pt x="120" y="24"/>
                </a:lnTo>
                <a:lnTo>
                  <a:pt x="123" y="26"/>
                </a:lnTo>
                <a:lnTo>
                  <a:pt x="124" y="26"/>
                </a:lnTo>
                <a:lnTo>
                  <a:pt x="128" y="27"/>
                </a:lnTo>
                <a:lnTo>
                  <a:pt x="128" y="29"/>
                </a:lnTo>
                <a:lnTo>
                  <a:pt x="126" y="30"/>
                </a:lnTo>
                <a:lnTo>
                  <a:pt x="126" y="31"/>
                </a:lnTo>
                <a:lnTo>
                  <a:pt x="128" y="31"/>
                </a:lnTo>
                <a:lnTo>
                  <a:pt x="134" y="37"/>
                </a:lnTo>
                <a:lnTo>
                  <a:pt x="135" y="37"/>
                </a:lnTo>
                <a:lnTo>
                  <a:pt x="136" y="38"/>
                </a:lnTo>
                <a:lnTo>
                  <a:pt x="143" y="41"/>
                </a:lnTo>
                <a:lnTo>
                  <a:pt x="148" y="42"/>
                </a:lnTo>
                <a:lnTo>
                  <a:pt x="149" y="42"/>
                </a:lnTo>
                <a:lnTo>
                  <a:pt x="151" y="43"/>
                </a:lnTo>
                <a:lnTo>
                  <a:pt x="155" y="47"/>
                </a:lnTo>
                <a:lnTo>
                  <a:pt x="159" y="48"/>
                </a:lnTo>
                <a:lnTo>
                  <a:pt x="161" y="48"/>
                </a:lnTo>
                <a:lnTo>
                  <a:pt x="161" y="51"/>
                </a:lnTo>
                <a:lnTo>
                  <a:pt x="159" y="53"/>
                </a:lnTo>
                <a:lnTo>
                  <a:pt x="157" y="54"/>
                </a:lnTo>
                <a:lnTo>
                  <a:pt x="157" y="55"/>
                </a:lnTo>
                <a:lnTo>
                  <a:pt x="159" y="56"/>
                </a:lnTo>
                <a:lnTo>
                  <a:pt x="161" y="57"/>
                </a:lnTo>
                <a:lnTo>
                  <a:pt x="165" y="57"/>
                </a:lnTo>
                <a:lnTo>
                  <a:pt x="167" y="60"/>
                </a:lnTo>
                <a:lnTo>
                  <a:pt x="168" y="60"/>
                </a:lnTo>
                <a:lnTo>
                  <a:pt x="168" y="59"/>
                </a:lnTo>
                <a:lnTo>
                  <a:pt x="169" y="57"/>
                </a:lnTo>
                <a:lnTo>
                  <a:pt x="169" y="56"/>
                </a:lnTo>
                <a:lnTo>
                  <a:pt x="172" y="56"/>
                </a:lnTo>
                <a:lnTo>
                  <a:pt x="175" y="55"/>
                </a:lnTo>
                <a:lnTo>
                  <a:pt x="178" y="55"/>
                </a:lnTo>
                <a:lnTo>
                  <a:pt x="179" y="54"/>
                </a:lnTo>
                <a:lnTo>
                  <a:pt x="180" y="51"/>
                </a:lnTo>
                <a:lnTo>
                  <a:pt x="181" y="50"/>
                </a:lnTo>
                <a:lnTo>
                  <a:pt x="186" y="50"/>
                </a:lnTo>
                <a:lnTo>
                  <a:pt x="190" y="48"/>
                </a:lnTo>
                <a:lnTo>
                  <a:pt x="194" y="48"/>
                </a:lnTo>
                <a:lnTo>
                  <a:pt x="197" y="49"/>
                </a:lnTo>
                <a:lnTo>
                  <a:pt x="198" y="49"/>
                </a:lnTo>
                <a:lnTo>
                  <a:pt x="200" y="51"/>
                </a:lnTo>
                <a:lnTo>
                  <a:pt x="200" y="53"/>
                </a:lnTo>
                <a:lnTo>
                  <a:pt x="201" y="55"/>
                </a:lnTo>
                <a:lnTo>
                  <a:pt x="201" y="56"/>
                </a:lnTo>
                <a:lnTo>
                  <a:pt x="203" y="56"/>
                </a:lnTo>
                <a:lnTo>
                  <a:pt x="203" y="53"/>
                </a:lnTo>
                <a:lnTo>
                  <a:pt x="204" y="50"/>
                </a:lnTo>
                <a:lnTo>
                  <a:pt x="205" y="49"/>
                </a:lnTo>
                <a:lnTo>
                  <a:pt x="205" y="48"/>
                </a:lnTo>
                <a:lnTo>
                  <a:pt x="207" y="48"/>
                </a:lnTo>
                <a:lnTo>
                  <a:pt x="212" y="51"/>
                </a:lnTo>
                <a:lnTo>
                  <a:pt x="216" y="51"/>
                </a:lnTo>
                <a:lnTo>
                  <a:pt x="217" y="50"/>
                </a:lnTo>
                <a:lnTo>
                  <a:pt x="219" y="53"/>
                </a:lnTo>
                <a:lnTo>
                  <a:pt x="223" y="57"/>
                </a:lnTo>
                <a:lnTo>
                  <a:pt x="224" y="59"/>
                </a:lnTo>
                <a:lnTo>
                  <a:pt x="224" y="60"/>
                </a:lnTo>
                <a:lnTo>
                  <a:pt x="225" y="61"/>
                </a:lnTo>
                <a:lnTo>
                  <a:pt x="229" y="61"/>
                </a:lnTo>
                <a:lnTo>
                  <a:pt x="231" y="60"/>
                </a:lnTo>
                <a:lnTo>
                  <a:pt x="234" y="60"/>
                </a:lnTo>
                <a:lnTo>
                  <a:pt x="241" y="62"/>
                </a:lnTo>
                <a:lnTo>
                  <a:pt x="243" y="65"/>
                </a:lnTo>
                <a:lnTo>
                  <a:pt x="242" y="66"/>
                </a:lnTo>
                <a:lnTo>
                  <a:pt x="237" y="78"/>
                </a:lnTo>
                <a:lnTo>
                  <a:pt x="241" y="81"/>
                </a:lnTo>
                <a:lnTo>
                  <a:pt x="246" y="84"/>
                </a:lnTo>
                <a:lnTo>
                  <a:pt x="249" y="85"/>
                </a:lnTo>
                <a:lnTo>
                  <a:pt x="249" y="86"/>
                </a:lnTo>
                <a:lnTo>
                  <a:pt x="250" y="88"/>
                </a:lnTo>
                <a:lnTo>
                  <a:pt x="250" y="90"/>
                </a:lnTo>
                <a:lnTo>
                  <a:pt x="253" y="90"/>
                </a:lnTo>
                <a:lnTo>
                  <a:pt x="253" y="88"/>
                </a:lnTo>
                <a:lnTo>
                  <a:pt x="254" y="88"/>
                </a:lnTo>
                <a:lnTo>
                  <a:pt x="254" y="90"/>
                </a:lnTo>
                <a:lnTo>
                  <a:pt x="256" y="90"/>
                </a:lnTo>
                <a:lnTo>
                  <a:pt x="256" y="91"/>
                </a:lnTo>
                <a:lnTo>
                  <a:pt x="258" y="92"/>
                </a:lnTo>
                <a:lnTo>
                  <a:pt x="259" y="92"/>
                </a:lnTo>
                <a:lnTo>
                  <a:pt x="261" y="91"/>
                </a:lnTo>
                <a:lnTo>
                  <a:pt x="263" y="91"/>
                </a:lnTo>
                <a:lnTo>
                  <a:pt x="265" y="92"/>
                </a:lnTo>
                <a:lnTo>
                  <a:pt x="266" y="94"/>
                </a:lnTo>
                <a:lnTo>
                  <a:pt x="267" y="94"/>
                </a:lnTo>
                <a:lnTo>
                  <a:pt x="269" y="96"/>
                </a:lnTo>
                <a:lnTo>
                  <a:pt x="271" y="96"/>
                </a:lnTo>
                <a:lnTo>
                  <a:pt x="272" y="97"/>
                </a:lnTo>
                <a:lnTo>
                  <a:pt x="271" y="100"/>
                </a:lnTo>
                <a:lnTo>
                  <a:pt x="266" y="105"/>
                </a:lnTo>
                <a:lnTo>
                  <a:pt x="263" y="104"/>
                </a:lnTo>
                <a:lnTo>
                  <a:pt x="262" y="105"/>
                </a:lnTo>
                <a:lnTo>
                  <a:pt x="261" y="108"/>
                </a:lnTo>
                <a:lnTo>
                  <a:pt x="261" y="110"/>
                </a:lnTo>
                <a:lnTo>
                  <a:pt x="262" y="112"/>
                </a:lnTo>
                <a:lnTo>
                  <a:pt x="263" y="113"/>
                </a:lnTo>
                <a:lnTo>
                  <a:pt x="263" y="112"/>
                </a:lnTo>
                <a:lnTo>
                  <a:pt x="265" y="112"/>
                </a:lnTo>
                <a:lnTo>
                  <a:pt x="266" y="115"/>
                </a:lnTo>
                <a:lnTo>
                  <a:pt x="266" y="118"/>
                </a:lnTo>
                <a:lnTo>
                  <a:pt x="267" y="119"/>
                </a:lnTo>
                <a:lnTo>
                  <a:pt x="269" y="121"/>
                </a:lnTo>
                <a:lnTo>
                  <a:pt x="271" y="122"/>
                </a:lnTo>
                <a:lnTo>
                  <a:pt x="273" y="123"/>
                </a:lnTo>
                <a:lnTo>
                  <a:pt x="277" y="125"/>
                </a:lnTo>
                <a:lnTo>
                  <a:pt x="279" y="127"/>
                </a:lnTo>
                <a:lnTo>
                  <a:pt x="279" y="128"/>
                </a:lnTo>
                <a:lnTo>
                  <a:pt x="280" y="128"/>
                </a:lnTo>
                <a:lnTo>
                  <a:pt x="281" y="129"/>
                </a:lnTo>
                <a:lnTo>
                  <a:pt x="283" y="131"/>
                </a:lnTo>
                <a:lnTo>
                  <a:pt x="283" y="134"/>
                </a:lnTo>
                <a:lnTo>
                  <a:pt x="281" y="135"/>
                </a:lnTo>
                <a:lnTo>
                  <a:pt x="280" y="137"/>
                </a:lnTo>
                <a:lnTo>
                  <a:pt x="280" y="141"/>
                </a:lnTo>
                <a:lnTo>
                  <a:pt x="279" y="142"/>
                </a:lnTo>
                <a:lnTo>
                  <a:pt x="275" y="142"/>
                </a:lnTo>
                <a:lnTo>
                  <a:pt x="275" y="143"/>
                </a:lnTo>
                <a:lnTo>
                  <a:pt x="274" y="145"/>
                </a:lnTo>
                <a:lnTo>
                  <a:pt x="273" y="145"/>
                </a:lnTo>
                <a:lnTo>
                  <a:pt x="272" y="142"/>
                </a:lnTo>
                <a:lnTo>
                  <a:pt x="271" y="142"/>
                </a:lnTo>
                <a:lnTo>
                  <a:pt x="268" y="141"/>
                </a:lnTo>
                <a:lnTo>
                  <a:pt x="263" y="136"/>
                </a:lnTo>
                <a:lnTo>
                  <a:pt x="258" y="136"/>
                </a:lnTo>
                <a:lnTo>
                  <a:pt x="256" y="137"/>
                </a:lnTo>
                <a:lnTo>
                  <a:pt x="253" y="137"/>
                </a:lnTo>
                <a:lnTo>
                  <a:pt x="246" y="135"/>
                </a:lnTo>
                <a:lnTo>
                  <a:pt x="244" y="134"/>
                </a:lnTo>
                <a:lnTo>
                  <a:pt x="243" y="134"/>
                </a:lnTo>
                <a:lnTo>
                  <a:pt x="242" y="133"/>
                </a:lnTo>
                <a:lnTo>
                  <a:pt x="241" y="130"/>
                </a:lnTo>
                <a:lnTo>
                  <a:pt x="241" y="129"/>
                </a:lnTo>
                <a:lnTo>
                  <a:pt x="243" y="129"/>
                </a:lnTo>
                <a:lnTo>
                  <a:pt x="243" y="128"/>
                </a:lnTo>
                <a:lnTo>
                  <a:pt x="240" y="128"/>
                </a:lnTo>
                <a:lnTo>
                  <a:pt x="234" y="125"/>
                </a:lnTo>
                <a:lnTo>
                  <a:pt x="231" y="123"/>
                </a:lnTo>
                <a:lnTo>
                  <a:pt x="228" y="123"/>
                </a:lnTo>
                <a:lnTo>
                  <a:pt x="225" y="122"/>
                </a:lnTo>
                <a:lnTo>
                  <a:pt x="222" y="122"/>
                </a:lnTo>
                <a:lnTo>
                  <a:pt x="216" y="128"/>
                </a:lnTo>
                <a:lnTo>
                  <a:pt x="212" y="130"/>
                </a:lnTo>
                <a:lnTo>
                  <a:pt x="211" y="131"/>
                </a:lnTo>
                <a:lnTo>
                  <a:pt x="210" y="131"/>
                </a:lnTo>
                <a:lnTo>
                  <a:pt x="210" y="133"/>
                </a:lnTo>
                <a:lnTo>
                  <a:pt x="207" y="133"/>
                </a:lnTo>
                <a:lnTo>
                  <a:pt x="204" y="131"/>
                </a:lnTo>
                <a:lnTo>
                  <a:pt x="203" y="133"/>
                </a:lnTo>
                <a:lnTo>
                  <a:pt x="204" y="134"/>
                </a:lnTo>
                <a:lnTo>
                  <a:pt x="205" y="134"/>
                </a:lnTo>
                <a:lnTo>
                  <a:pt x="205" y="135"/>
                </a:lnTo>
                <a:lnTo>
                  <a:pt x="194" y="135"/>
                </a:lnTo>
                <a:lnTo>
                  <a:pt x="194" y="136"/>
                </a:lnTo>
                <a:lnTo>
                  <a:pt x="193" y="136"/>
                </a:lnTo>
                <a:lnTo>
                  <a:pt x="193" y="137"/>
                </a:lnTo>
                <a:lnTo>
                  <a:pt x="192" y="137"/>
                </a:lnTo>
                <a:lnTo>
                  <a:pt x="192" y="136"/>
                </a:lnTo>
                <a:lnTo>
                  <a:pt x="191" y="135"/>
                </a:lnTo>
                <a:lnTo>
                  <a:pt x="191" y="136"/>
                </a:lnTo>
                <a:lnTo>
                  <a:pt x="190" y="136"/>
                </a:lnTo>
                <a:lnTo>
                  <a:pt x="188" y="137"/>
                </a:lnTo>
                <a:lnTo>
                  <a:pt x="187" y="137"/>
                </a:lnTo>
                <a:lnTo>
                  <a:pt x="187" y="136"/>
                </a:lnTo>
                <a:lnTo>
                  <a:pt x="185" y="135"/>
                </a:lnTo>
                <a:lnTo>
                  <a:pt x="184" y="135"/>
                </a:lnTo>
                <a:lnTo>
                  <a:pt x="182" y="136"/>
                </a:lnTo>
                <a:lnTo>
                  <a:pt x="180" y="136"/>
                </a:lnTo>
                <a:lnTo>
                  <a:pt x="178" y="134"/>
                </a:lnTo>
                <a:lnTo>
                  <a:pt x="176" y="134"/>
                </a:lnTo>
                <a:lnTo>
                  <a:pt x="176" y="136"/>
                </a:lnTo>
                <a:lnTo>
                  <a:pt x="175" y="136"/>
                </a:lnTo>
                <a:lnTo>
                  <a:pt x="174" y="137"/>
                </a:lnTo>
                <a:lnTo>
                  <a:pt x="172" y="136"/>
                </a:lnTo>
                <a:lnTo>
                  <a:pt x="170" y="137"/>
                </a:lnTo>
                <a:lnTo>
                  <a:pt x="168" y="137"/>
                </a:lnTo>
                <a:lnTo>
                  <a:pt x="167" y="139"/>
                </a:lnTo>
                <a:lnTo>
                  <a:pt x="162" y="139"/>
                </a:lnTo>
                <a:lnTo>
                  <a:pt x="160" y="141"/>
                </a:lnTo>
                <a:lnTo>
                  <a:pt x="157" y="141"/>
                </a:lnTo>
                <a:lnTo>
                  <a:pt x="151" y="140"/>
                </a:lnTo>
                <a:lnTo>
                  <a:pt x="149" y="140"/>
                </a:lnTo>
                <a:lnTo>
                  <a:pt x="147" y="141"/>
                </a:lnTo>
                <a:lnTo>
                  <a:pt x="145" y="141"/>
                </a:lnTo>
                <a:lnTo>
                  <a:pt x="147" y="140"/>
                </a:lnTo>
                <a:lnTo>
                  <a:pt x="143" y="136"/>
                </a:lnTo>
                <a:lnTo>
                  <a:pt x="141" y="136"/>
                </a:lnTo>
                <a:lnTo>
                  <a:pt x="137" y="137"/>
                </a:lnTo>
                <a:lnTo>
                  <a:pt x="136" y="137"/>
                </a:lnTo>
                <a:lnTo>
                  <a:pt x="135" y="135"/>
                </a:lnTo>
                <a:lnTo>
                  <a:pt x="135" y="134"/>
                </a:lnTo>
                <a:lnTo>
                  <a:pt x="132" y="134"/>
                </a:lnTo>
                <a:lnTo>
                  <a:pt x="131" y="133"/>
                </a:lnTo>
                <a:lnTo>
                  <a:pt x="134" y="131"/>
                </a:lnTo>
                <a:lnTo>
                  <a:pt x="135" y="131"/>
                </a:lnTo>
                <a:lnTo>
                  <a:pt x="135" y="130"/>
                </a:lnTo>
                <a:lnTo>
                  <a:pt x="134" y="130"/>
                </a:lnTo>
                <a:lnTo>
                  <a:pt x="132" y="129"/>
                </a:lnTo>
                <a:lnTo>
                  <a:pt x="130" y="128"/>
                </a:lnTo>
                <a:lnTo>
                  <a:pt x="128" y="125"/>
                </a:lnTo>
                <a:lnTo>
                  <a:pt x="126" y="125"/>
                </a:lnTo>
                <a:lnTo>
                  <a:pt x="125" y="123"/>
                </a:lnTo>
                <a:lnTo>
                  <a:pt x="125" y="122"/>
                </a:lnTo>
                <a:lnTo>
                  <a:pt x="124" y="122"/>
                </a:lnTo>
                <a:lnTo>
                  <a:pt x="122" y="119"/>
                </a:lnTo>
                <a:lnTo>
                  <a:pt x="120" y="119"/>
                </a:lnTo>
                <a:lnTo>
                  <a:pt x="120" y="121"/>
                </a:lnTo>
                <a:lnTo>
                  <a:pt x="119" y="121"/>
                </a:lnTo>
                <a:lnTo>
                  <a:pt x="117" y="118"/>
                </a:lnTo>
                <a:lnTo>
                  <a:pt x="118" y="118"/>
                </a:lnTo>
                <a:lnTo>
                  <a:pt x="118" y="117"/>
                </a:lnTo>
                <a:lnTo>
                  <a:pt x="119" y="117"/>
                </a:lnTo>
                <a:lnTo>
                  <a:pt x="119" y="115"/>
                </a:lnTo>
                <a:lnTo>
                  <a:pt x="113" y="113"/>
                </a:lnTo>
                <a:lnTo>
                  <a:pt x="111" y="115"/>
                </a:lnTo>
                <a:lnTo>
                  <a:pt x="109" y="115"/>
                </a:lnTo>
                <a:lnTo>
                  <a:pt x="109" y="118"/>
                </a:lnTo>
                <a:lnTo>
                  <a:pt x="105" y="122"/>
                </a:lnTo>
                <a:lnTo>
                  <a:pt x="105" y="123"/>
                </a:lnTo>
                <a:lnTo>
                  <a:pt x="104" y="123"/>
                </a:lnTo>
                <a:lnTo>
                  <a:pt x="97" y="119"/>
                </a:lnTo>
                <a:lnTo>
                  <a:pt x="94" y="121"/>
                </a:lnTo>
                <a:lnTo>
                  <a:pt x="93" y="119"/>
                </a:lnTo>
                <a:lnTo>
                  <a:pt x="86" y="119"/>
                </a:lnTo>
                <a:lnTo>
                  <a:pt x="82" y="118"/>
                </a:lnTo>
                <a:lnTo>
                  <a:pt x="81" y="119"/>
                </a:lnTo>
                <a:lnTo>
                  <a:pt x="80" y="119"/>
                </a:lnTo>
                <a:lnTo>
                  <a:pt x="79" y="122"/>
                </a:lnTo>
                <a:lnTo>
                  <a:pt x="78" y="123"/>
                </a:lnTo>
                <a:lnTo>
                  <a:pt x="76" y="123"/>
                </a:lnTo>
                <a:lnTo>
                  <a:pt x="75" y="122"/>
                </a:lnTo>
                <a:lnTo>
                  <a:pt x="74" y="122"/>
                </a:lnTo>
                <a:lnTo>
                  <a:pt x="73" y="121"/>
                </a:lnTo>
                <a:lnTo>
                  <a:pt x="73" y="119"/>
                </a:lnTo>
                <a:lnTo>
                  <a:pt x="72" y="119"/>
                </a:lnTo>
                <a:lnTo>
                  <a:pt x="72" y="121"/>
                </a:lnTo>
                <a:lnTo>
                  <a:pt x="69" y="121"/>
                </a:lnTo>
                <a:lnTo>
                  <a:pt x="64" y="118"/>
                </a:lnTo>
                <a:lnTo>
                  <a:pt x="68" y="113"/>
                </a:lnTo>
                <a:lnTo>
                  <a:pt x="69" y="111"/>
                </a:lnTo>
                <a:lnTo>
                  <a:pt x="72" y="110"/>
                </a:lnTo>
                <a:lnTo>
                  <a:pt x="72" y="109"/>
                </a:lnTo>
                <a:lnTo>
                  <a:pt x="74" y="105"/>
                </a:lnTo>
                <a:lnTo>
                  <a:pt x="74" y="103"/>
                </a:lnTo>
                <a:lnTo>
                  <a:pt x="75" y="102"/>
                </a:lnTo>
                <a:lnTo>
                  <a:pt x="75" y="91"/>
                </a:lnTo>
                <a:lnTo>
                  <a:pt x="73" y="87"/>
                </a:lnTo>
                <a:lnTo>
                  <a:pt x="72" y="85"/>
                </a:lnTo>
                <a:lnTo>
                  <a:pt x="70" y="85"/>
                </a:lnTo>
                <a:lnTo>
                  <a:pt x="70" y="79"/>
                </a:lnTo>
                <a:lnTo>
                  <a:pt x="68" y="70"/>
                </a:lnTo>
                <a:lnTo>
                  <a:pt x="66" y="68"/>
                </a:lnTo>
                <a:lnTo>
                  <a:pt x="64" y="54"/>
                </a:lnTo>
                <a:lnTo>
                  <a:pt x="63" y="51"/>
                </a:lnTo>
                <a:lnTo>
                  <a:pt x="61" y="49"/>
                </a:lnTo>
                <a:lnTo>
                  <a:pt x="56" y="47"/>
                </a:lnTo>
                <a:lnTo>
                  <a:pt x="55" y="47"/>
                </a:lnTo>
                <a:lnTo>
                  <a:pt x="55" y="45"/>
                </a:lnTo>
                <a:lnTo>
                  <a:pt x="49" y="45"/>
                </a:lnTo>
                <a:lnTo>
                  <a:pt x="48" y="43"/>
                </a:lnTo>
                <a:lnTo>
                  <a:pt x="47" y="39"/>
                </a:lnTo>
                <a:lnTo>
                  <a:pt x="44" y="36"/>
                </a:lnTo>
                <a:lnTo>
                  <a:pt x="44" y="35"/>
                </a:lnTo>
                <a:lnTo>
                  <a:pt x="39" y="35"/>
                </a:lnTo>
                <a:lnTo>
                  <a:pt x="37" y="30"/>
                </a:lnTo>
                <a:lnTo>
                  <a:pt x="33" y="29"/>
                </a:lnTo>
                <a:lnTo>
                  <a:pt x="25" y="29"/>
                </a:lnTo>
                <a:lnTo>
                  <a:pt x="23" y="26"/>
                </a:lnTo>
                <a:lnTo>
                  <a:pt x="20" y="26"/>
                </a:lnTo>
                <a:lnTo>
                  <a:pt x="18" y="24"/>
                </a:lnTo>
                <a:lnTo>
                  <a:pt x="16" y="24"/>
                </a:lnTo>
                <a:lnTo>
                  <a:pt x="14" y="25"/>
                </a:lnTo>
                <a:lnTo>
                  <a:pt x="13" y="24"/>
                </a:lnTo>
                <a:lnTo>
                  <a:pt x="13" y="23"/>
                </a:lnTo>
                <a:lnTo>
                  <a:pt x="12" y="22"/>
                </a:lnTo>
                <a:lnTo>
                  <a:pt x="12" y="18"/>
                </a:lnTo>
                <a:lnTo>
                  <a:pt x="11" y="16"/>
                </a:lnTo>
                <a:lnTo>
                  <a:pt x="10" y="16"/>
                </a:lnTo>
                <a:lnTo>
                  <a:pt x="8" y="14"/>
                </a:lnTo>
                <a:lnTo>
                  <a:pt x="6" y="14"/>
                </a:lnTo>
                <a:lnTo>
                  <a:pt x="5" y="12"/>
                </a:lnTo>
                <a:lnTo>
                  <a:pt x="2" y="12"/>
                </a:lnTo>
                <a:lnTo>
                  <a:pt x="1" y="11"/>
                </a:lnTo>
                <a:lnTo>
                  <a:pt x="0" y="11"/>
                </a:lnTo>
                <a:lnTo>
                  <a:pt x="0" y="10"/>
                </a:lnTo>
                <a:lnTo>
                  <a:pt x="4" y="2"/>
                </a:lnTo>
                <a:lnTo>
                  <a:pt x="4" y="1"/>
                </a:lnTo>
                <a:lnTo>
                  <a:pt x="5" y="1"/>
                </a:lnTo>
                <a:lnTo>
                  <a:pt x="7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" name="Freeform 44">
            <a:extLst>
              <a:ext uri="{FF2B5EF4-FFF2-40B4-BE49-F238E27FC236}">
                <a16:creationId xmlns:a16="http://schemas.microsoft.com/office/drawing/2014/main" id="{DC9262F2-3D12-476C-BCFC-CFAA8831F6EF}"/>
              </a:ext>
            </a:extLst>
          </p:cNvPr>
          <p:cNvSpPr>
            <a:spLocks noEditPoints="1"/>
          </p:cNvSpPr>
          <p:nvPr/>
        </p:nvSpPr>
        <p:spPr bwMode="auto">
          <a:xfrm>
            <a:off x="2424174" y="2163120"/>
            <a:ext cx="737511" cy="1504000"/>
          </a:xfrm>
          <a:custGeom>
            <a:avLst/>
            <a:gdLst/>
            <a:ahLst/>
            <a:cxnLst>
              <a:cxn ang="0">
                <a:pos x="39" y="1022"/>
              </a:cxn>
              <a:cxn ang="0">
                <a:pos x="40" y="1019"/>
              </a:cxn>
              <a:cxn ang="0">
                <a:pos x="27" y="1022"/>
              </a:cxn>
              <a:cxn ang="0">
                <a:pos x="32" y="1013"/>
              </a:cxn>
              <a:cxn ang="0">
                <a:pos x="98" y="1009"/>
              </a:cxn>
              <a:cxn ang="0">
                <a:pos x="77" y="1007"/>
              </a:cxn>
              <a:cxn ang="0">
                <a:pos x="89" y="1001"/>
              </a:cxn>
              <a:cxn ang="0">
                <a:pos x="259" y="1004"/>
              </a:cxn>
              <a:cxn ang="0">
                <a:pos x="125" y="1022"/>
              </a:cxn>
              <a:cxn ang="0">
                <a:pos x="111" y="995"/>
              </a:cxn>
              <a:cxn ang="0">
                <a:pos x="51" y="995"/>
              </a:cxn>
              <a:cxn ang="0">
                <a:pos x="26" y="994"/>
              </a:cxn>
              <a:cxn ang="0">
                <a:pos x="21" y="1003"/>
              </a:cxn>
              <a:cxn ang="0">
                <a:pos x="11" y="996"/>
              </a:cxn>
              <a:cxn ang="0">
                <a:pos x="296" y="989"/>
              </a:cxn>
              <a:cxn ang="0">
                <a:pos x="66" y="982"/>
              </a:cxn>
              <a:cxn ang="0">
                <a:pos x="74" y="977"/>
              </a:cxn>
              <a:cxn ang="0">
                <a:pos x="76" y="939"/>
              </a:cxn>
              <a:cxn ang="0">
                <a:pos x="69" y="731"/>
              </a:cxn>
              <a:cxn ang="0">
                <a:pos x="104" y="730"/>
              </a:cxn>
              <a:cxn ang="0">
                <a:pos x="73" y="725"/>
              </a:cxn>
              <a:cxn ang="0">
                <a:pos x="234" y="558"/>
              </a:cxn>
              <a:cxn ang="0">
                <a:pos x="379" y="36"/>
              </a:cxn>
              <a:cxn ang="0">
                <a:pos x="428" y="265"/>
              </a:cxn>
              <a:cxn ang="0">
                <a:pos x="443" y="470"/>
              </a:cxn>
              <a:cxn ang="0">
                <a:pos x="430" y="579"/>
              </a:cxn>
              <a:cxn ang="0">
                <a:pos x="466" y="647"/>
              </a:cxn>
              <a:cxn ang="0">
                <a:pos x="502" y="780"/>
              </a:cxn>
              <a:cxn ang="0">
                <a:pos x="412" y="909"/>
              </a:cxn>
              <a:cxn ang="0">
                <a:pos x="343" y="979"/>
              </a:cxn>
              <a:cxn ang="0">
                <a:pos x="317" y="978"/>
              </a:cxn>
              <a:cxn ang="0">
                <a:pos x="306" y="973"/>
              </a:cxn>
              <a:cxn ang="0">
                <a:pos x="279" y="994"/>
              </a:cxn>
              <a:cxn ang="0">
                <a:pos x="260" y="994"/>
              </a:cxn>
              <a:cxn ang="0">
                <a:pos x="230" y="1009"/>
              </a:cxn>
              <a:cxn ang="0">
                <a:pos x="205" y="1020"/>
              </a:cxn>
              <a:cxn ang="0">
                <a:pos x="166" y="1026"/>
              </a:cxn>
              <a:cxn ang="0">
                <a:pos x="161" y="1020"/>
              </a:cxn>
              <a:cxn ang="0">
                <a:pos x="142" y="1007"/>
              </a:cxn>
              <a:cxn ang="0">
                <a:pos x="125" y="988"/>
              </a:cxn>
              <a:cxn ang="0">
                <a:pos x="89" y="980"/>
              </a:cxn>
              <a:cxn ang="0">
                <a:pos x="77" y="945"/>
              </a:cxn>
              <a:cxn ang="0">
                <a:pos x="85" y="911"/>
              </a:cxn>
              <a:cxn ang="0">
                <a:pos x="82" y="869"/>
              </a:cxn>
              <a:cxn ang="0">
                <a:pos x="75" y="817"/>
              </a:cxn>
              <a:cxn ang="0">
                <a:pos x="70" y="776"/>
              </a:cxn>
              <a:cxn ang="0">
                <a:pos x="85" y="738"/>
              </a:cxn>
              <a:cxn ang="0">
                <a:pos x="118" y="731"/>
              </a:cxn>
              <a:cxn ang="0">
                <a:pos x="127" y="696"/>
              </a:cxn>
              <a:cxn ang="0">
                <a:pos x="148" y="683"/>
              </a:cxn>
              <a:cxn ang="0">
                <a:pos x="186" y="636"/>
              </a:cxn>
              <a:cxn ang="0">
                <a:pos x="212" y="583"/>
              </a:cxn>
              <a:cxn ang="0">
                <a:pos x="250" y="568"/>
              </a:cxn>
              <a:cxn ang="0">
                <a:pos x="236" y="505"/>
              </a:cxn>
              <a:cxn ang="0">
                <a:pos x="203" y="482"/>
              </a:cxn>
              <a:cxn ang="0">
                <a:pos x="181" y="406"/>
              </a:cxn>
              <a:cxn ang="0">
                <a:pos x="179" y="315"/>
              </a:cxn>
              <a:cxn ang="0">
                <a:pos x="151" y="216"/>
              </a:cxn>
              <a:cxn ang="0">
                <a:pos x="82" y="166"/>
              </a:cxn>
              <a:cxn ang="0">
                <a:pos x="112" y="135"/>
              </a:cxn>
              <a:cxn ang="0">
                <a:pos x="231" y="175"/>
              </a:cxn>
              <a:cxn ang="0">
                <a:pos x="267" y="80"/>
              </a:cxn>
              <a:cxn ang="0">
                <a:pos x="329" y="18"/>
              </a:cxn>
            </a:cxnLst>
            <a:rect l="0" t="0" r="r" b="b"/>
            <a:pathLst>
              <a:path w="509" h="1038">
                <a:moveTo>
                  <a:pt x="126" y="1032"/>
                </a:moveTo>
                <a:lnTo>
                  <a:pt x="126" y="1033"/>
                </a:lnTo>
                <a:lnTo>
                  <a:pt x="124" y="1034"/>
                </a:lnTo>
                <a:lnTo>
                  <a:pt x="123" y="1034"/>
                </a:lnTo>
                <a:lnTo>
                  <a:pt x="123" y="1033"/>
                </a:lnTo>
                <a:lnTo>
                  <a:pt x="125" y="1033"/>
                </a:lnTo>
                <a:lnTo>
                  <a:pt x="126" y="1032"/>
                </a:lnTo>
                <a:close/>
                <a:moveTo>
                  <a:pt x="57" y="1027"/>
                </a:moveTo>
                <a:lnTo>
                  <a:pt x="60" y="1027"/>
                </a:lnTo>
                <a:lnTo>
                  <a:pt x="60" y="1029"/>
                </a:lnTo>
                <a:lnTo>
                  <a:pt x="57" y="1029"/>
                </a:lnTo>
                <a:lnTo>
                  <a:pt x="57" y="1027"/>
                </a:lnTo>
                <a:close/>
                <a:moveTo>
                  <a:pt x="60" y="1026"/>
                </a:moveTo>
                <a:lnTo>
                  <a:pt x="63" y="1026"/>
                </a:lnTo>
                <a:lnTo>
                  <a:pt x="63" y="1027"/>
                </a:lnTo>
                <a:lnTo>
                  <a:pt x="62" y="1027"/>
                </a:lnTo>
                <a:lnTo>
                  <a:pt x="63" y="1028"/>
                </a:lnTo>
                <a:lnTo>
                  <a:pt x="62" y="1028"/>
                </a:lnTo>
                <a:lnTo>
                  <a:pt x="60" y="1027"/>
                </a:lnTo>
                <a:lnTo>
                  <a:pt x="60" y="1026"/>
                </a:lnTo>
                <a:close/>
                <a:moveTo>
                  <a:pt x="185" y="1023"/>
                </a:moveTo>
                <a:lnTo>
                  <a:pt x="186" y="1025"/>
                </a:lnTo>
                <a:lnTo>
                  <a:pt x="186" y="1026"/>
                </a:lnTo>
                <a:lnTo>
                  <a:pt x="184" y="1026"/>
                </a:lnTo>
                <a:lnTo>
                  <a:pt x="184" y="1025"/>
                </a:lnTo>
                <a:lnTo>
                  <a:pt x="185" y="1023"/>
                </a:lnTo>
                <a:close/>
                <a:moveTo>
                  <a:pt x="131" y="1022"/>
                </a:moveTo>
                <a:lnTo>
                  <a:pt x="131" y="1023"/>
                </a:lnTo>
                <a:lnTo>
                  <a:pt x="130" y="1023"/>
                </a:lnTo>
                <a:lnTo>
                  <a:pt x="131" y="1022"/>
                </a:lnTo>
                <a:close/>
                <a:moveTo>
                  <a:pt x="35" y="1020"/>
                </a:moveTo>
                <a:lnTo>
                  <a:pt x="36" y="1020"/>
                </a:lnTo>
                <a:lnTo>
                  <a:pt x="38" y="1021"/>
                </a:lnTo>
                <a:lnTo>
                  <a:pt x="39" y="1021"/>
                </a:lnTo>
                <a:lnTo>
                  <a:pt x="39" y="1022"/>
                </a:lnTo>
                <a:lnTo>
                  <a:pt x="38" y="1023"/>
                </a:lnTo>
                <a:lnTo>
                  <a:pt x="35" y="1023"/>
                </a:lnTo>
                <a:lnTo>
                  <a:pt x="35" y="1025"/>
                </a:lnTo>
                <a:lnTo>
                  <a:pt x="33" y="1026"/>
                </a:lnTo>
                <a:lnTo>
                  <a:pt x="32" y="1026"/>
                </a:lnTo>
                <a:lnTo>
                  <a:pt x="32" y="1023"/>
                </a:lnTo>
                <a:lnTo>
                  <a:pt x="33" y="1022"/>
                </a:lnTo>
                <a:lnTo>
                  <a:pt x="35" y="1020"/>
                </a:lnTo>
                <a:close/>
                <a:moveTo>
                  <a:pt x="142" y="1019"/>
                </a:moveTo>
                <a:lnTo>
                  <a:pt x="143" y="1019"/>
                </a:lnTo>
                <a:lnTo>
                  <a:pt x="143" y="1020"/>
                </a:lnTo>
                <a:lnTo>
                  <a:pt x="142" y="1021"/>
                </a:lnTo>
                <a:lnTo>
                  <a:pt x="141" y="1020"/>
                </a:lnTo>
                <a:lnTo>
                  <a:pt x="142" y="1019"/>
                </a:lnTo>
                <a:close/>
                <a:moveTo>
                  <a:pt x="43" y="1017"/>
                </a:moveTo>
                <a:lnTo>
                  <a:pt x="46" y="1017"/>
                </a:lnTo>
                <a:lnTo>
                  <a:pt x="46" y="1021"/>
                </a:lnTo>
                <a:lnTo>
                  <a:pt x="45" y="1021"/>
                </a:lnTo>
                <a:lnTo>
                  <a:pt x="44" y="1020"/>
                </a:lnTo>
                <a:lnTo>
                  <a:pt x="44" y="1021"/>
                </a:lnTo>
                <a:lnTo>
                  <a:pt x="42" y="1021"/>
                </a:lnTo>
                <a:lnTo>
                  <a:pt x="42" y="1020"/>
                </a:lnTo>
                <a:lnTo>
                  <a:pt x="43" y="1019"/>
                </a:lnTo>
                <a:lnTo>
                  <a:pt x="43" y="1017"/>
                </a:lnTo>
                <a:close/>
                <a:moveTo>
                  <a:pt x="142" y="1016"/>
                </a:moveTo>
                <a:lnTo>
                  <a:pt x="144" y="1016"/>
                </a:lnTo>
                <a:lnTo>
                  <a:pt x="144" y="1017"/>
                </a:lnTo>
                <a:lnTo>
                  <a:pt x="143" y="1019"/>
                </a:lnTo>
                <a:lnTo>
                  <a:pt x="143" y="1017"/>
                </a:lnTo>
                <a:lnTo>
                  <a:pt x="142" y="1017"/>
                </a:lnTo>
                <a:lnTo>
                  <a:pt x="142" y="1016"/>
                </a:lnTo>
                <a:close/>
                <a:moveTo>
                  <a:pt x="42" y="1016"/>
                </a:moveTo>
                <a:lnTo>
                  <a:pt x="43" y="1016"/>
                </a:lnTo>
                <a:lnTo>
                  <a:pt x="43" y="1019"/>
                </a:lnTo>
                <a:lnTo>
                  <a:pt x="40" y="1019"/>
                </a:lnTo>
                <a:lnTo>
                  <a:pt x="40" y="1017"/>
                </a:lnTo>
                <a:lnTo>
                  <a:pt x="42" y="1016"/>
                </a:lnTo>
                <a:close/>
                <a:moveTo>
                  <a:pt x="39" y="1016"/>
                </a:moveTo>
                <a:lnTo>
                  <a:pt x="40" y="1016"/>
                </a:lnTo>
                <a:lnTo>
                  <a:pt x="39" y="1019"/>
                </a:lnTo>
                <a:lnTo>
                  <a:pt x="39" y="1020"/>
                </a:lnTo>
                <a:lnTo>
                  <a:pt x="37" y="1020"/>
                </a:lnTo>
                <a:lnTo>
                  <a:pt x="38" y="1019"/>
                </a:lnTo>
                <a:lnTo>
                  <a:pt x="38" y="1017"/>
                </a:lnTo>
                <a:lnTo>
                  <a:pt x="39" y="1016"/>
                </a:lnTo>
                <a:close/>
                <a:moveTo>
                  <a:pt x="120" y="1015"/>
                </a:moveTo>
                <a:lnTo>
                  <a:pt x="122" y="1015"/>
                </a:lnTo>
                <a:lnTo>
                  <a:pt x="122" y="1017"/>
                </a:lnTo>
                <a:lnTo>
                  <a:pt x="123" y="1017"/>
                </a:lnTo>
                <a:lnTo>
                  <a:pt x="122" y="1015"/>
                </a:lnTo>
                <a:lnTo>
                  <a:pt x="123" y="1015"/>
                </a:lnTo>
                <a:lnTo>
                  <a:pt x="124" y="1016"/>
                </a:lnTo>
                <a:lnTo>
                  <a:pt x="124" y="1022"/>
                </a:lnTo>
                <a:lnTo>
                  <a:pt x="123" y="1021"/>
                </a:lnTo>
                <a:lnTo>
                  <a:pt x="122" y="1021"/>
                </a:lnTo>
                <a:lnTo>
                  <a:pt x="122" y="1022"/>
                </a:lnTo>
                <a:lnTo>
                  <a:pt x="120" y="1021"/>
                </a:lnTo>
                <a:lnTo>
                  <a:pt x="120" y="1015"/>
                </a:lnTo>
                <a:close/>
                <a:moveTo>
                  <a:pt x="214" y="1014"/>
                </a:moveTo>
                <a:lnTo>
                  <a:pt x="216" y="1014"/>
                </a:lnTo>
                <a:lnTo>
                  <a:pt x="214" y="1014"/>
                </a:lnTo>
                <a:close/>
                <a:moveTo>
                  <a:pt x="25" y="1014"/>
                </a:moveTo>
                <a:lnTo>
                  <a:pt x="26" y="1015"/>
                </a:lnTo>
                <a:lnTo>
                  <a:pt x="27" y="1015"/>
                </a:lnTo>
                <a:lnTo>
                  <a:pt x="29" y="1016"/>
                </a:lnTo>
                <a:lnTo>
                  <a:pt x="30" y="1019"/>
                </a:lnTo>
                <a:lnTo>
                  <a:pt x="30" y="1022"/>
                </a:lnTo>
                <a:lnTo>
                  <a:pt x="29" y="1023"/>
                </a:lnTo>
                <a:lnTo>
                  <a:pt x="29" y="1022"/>
                </a:lnTo>
                <a:lnTo>
                  <a:pt x="27" y="1022"/>
                </a:lnTo>
                <a:lnTo>
                  <a:pt x="26" y="1023"/>
                </a:lnTo>
                <a:lnTo>
                  <a:pt x="25" y="1022"/>
                </a:lnTo>
                <a:lnTo>
                  <a:pt x="26" y="1021"/>
                </a:lnTo>
                <a:lnTo>
                  <a:pt x="25" y="1020"/>
                </a:lnTo>
                <a:lnTo>
                  <a:pt x="24" y="1020"/>
                </a:lnTo>
                <a:lnTo>
                  <a:pt x="24" y="1019"/>
                </a:lnTo>
                <a:lnTo>
                  <a:pt x="21" y="1019"/>
                </a:lnTo>
                <a:lnTo>
                  <a:pt x="23" y="1016"/>
                </a:lnTo>
                <a:lnTo>
                  <a:pt x="24" y="1016"/>
                </a:lnTo>
                <a:lnTo>
                  <a:pt x="25" y="1014"/>
                </a:lnTo>
                <a:close/>
                <a:moveTo>
                  <a:pt x="143" y="1011"/>
                </a:moveTo>
                <a:lnTo>
                  <a:pt x="145" y="1011"/>
                </a:lnTo>
                <a:lnTo>
                  <a:pt x="145" y="1015"/>
                </a:lnTo>
                <a:lnTo>
                  <a:pt x="141" y="1015"/>
                </a:lnTo>
                <a:lnTo>
                  <a:pt x="142" y="1014"/>
                </a:lnTo>
                <a:lnTo>
                  <a:pt x="142" y="1013"/>
                </a:lnTo>
                <a:lnTo>
                  <a:pt x="143" y="1011"/>
                </a:lnTo>
                <a:close/>
                <a:moveTo>
                  <a:pt x="102" y="1010"/>
                </a:moveTo>
                <a:lnTo>
                  <a:pt x="104" y="1010"/>
                </a:lnTo>
                <a:lnTo>
                  <a:pt x="105" y="1011"/>
                </a:lnTo>
                <a:lnTo>
                  <a:pt x="106" y="1011"/>
                </a:lnTo>
                <a:lnTo>
                  <a:pt x="106" y="1013"/>
                </a:lnTo>
                <a:lnTo>
                  <a:pt x="102" y="1013"/>
                </a:lnTo>
                <a:lnTo>
                  <a:pt x="102" y="1010"/>
                </a:lnTo>
                <a:close/>
                <a:moveTo>
                  <a:pt x="48" y="1009"/>
                </a:moveTo>
                <a:lnTo>
                  <a:pt x="49" y="1009"/>
                </a:lnTo>
                <a:lnTo>
                  <a:pt x="49" y="1010"/>
                </a:lnTo>
                <a:lnTo>
                  <a:pt x="50" y="1010"/>
                </a:lnTo>
                <a:lnTo>
                  <a:pt x="50" y="1013"/>
                </a:lnTo>
                <a:lnTo>
                  <a:pt x="49" y="1013"/>
                </a:lnTo>
                <a:lnTo>
                  <a:pt x="48" y="1010"/>
                </a:lnTo>
                <a:lnTo>
                  <a:pt x="48" y="1009"/>
                </a:lnTo>
                <a:close/>
                <a:moveTo>
                  <a:pt x="30" y="1009"/>
                </a:moveTo>
                <a:lnTo>
                  <a:pt x="31" y="1011"/>
                </a:lnTo>
                <a:lnTo>
                  <a:pt x="32" y="1013"/>
                </a:lnTo>
                <a:lnTo>
                  <a:pt x="32" y="1011"/>
                </a:lnTo>
                <a:lnTo>
                  <a:pt x="31" y="1010"/>
                </a:lnTo>
                <a:lnTo>
                  <a:pt x="31" y="1009"/>
                </a:lnTo>
                <a:lnTo>
                  <a:pt x="33" y="1011"/>
                </a:lnTo>
                <a:lnTo>
                  <a:pt x="33" y="1013"/>
                </a:lnTo>
                <a:lnTo>
                  <a:pt x="32" y="1015"/>
                </a:lnTo>
                <a:lnTo>
                  <a:pt x="32" y="1016"/>
                </a:lnTo>
                <a:lnTo>
                  <a:pt x="31" y="1016"/>
                </a:lnTo>
                <a:lnTo>
                  <a:pt x="31" y="1015"/>
                </a:lnTo>
                <a:lnTo>
                  <a:pt x="30" y="1015"/>
                </a:lnTo>
                <a:lnTo>
                  <a:pt x="29" y="1013"/>
                </a:lnTo>
                <a:lnTo>
                  <a:pt x="30" y="1011"/>
                </a:lnTo>
                <a:lnTo>
                  <a:pt x="30" y="1009"/>
                </a:lnTo>
                <a:close/>
                <a:moveTo>
                  <a:pt x="86" y="1008"/>
                </a:moveTo>
                <a:lnTo>
                  <a:pt x="89" y="1008"/>
                </a:lnTo>
                <a:lnTo>
                  <a:pt x="91" y="1009"/>
                </a:lnTo>
                <a:lnTo>
                  <a:pt x="89" y="1010"/>
                </a:lnTo>
                <a:lnTo>
                  <a:pt x="89" y="1013"/>
                </a:lnTo>
                <a:lnTo>
                  <a:pt x="87" y="1013"/>
                </a:lnTo>
                <a:lnTo>
                  <a:pt x="86" y="1014"/>
                </a:lnTo>
                <a:lnTo>
                  <a:pt x="85" y="1014"/>
                </a:lnTo>
                <a:lnTo>
                  <a:pt x="85" y="1013"/>
                </a:lnTo>
                <a:lnTo>
                  <a:pt x="83" y="1013"/>
                </a:lnTo>
                <a:lnTo>
                  <a:pt x="85" y="1011"/>
                </a:lnTo>
                <a:lnTo>
                  <a:pt x="87" y="1011"/>
                </a:lnTo>
                <a:lnTo>
                  <a:pt x="86" y="1010"/>
                </a:lnTo>
                <a:lnTo>
                  <a:pt x="83" y="1010"/>
                </a:lnTo>
                <a:lnTo>
                  <a:pt x="86" y="1008"/>
                </a:lnTo>
                <a:close/>
                <a:moveTo>
                  <a:pt x="94" y="1005"/>
                </a:moveTo>
                <a:lnTo>
                  <a:pt x="99" y="1005"/>
                </a:lnTo>
                <a:lnTo>
                  <a:pt x="100" y="1007"/>
                </a:lnTo>
                <a:lnTo>
                  <a:pt x="99" y="1007"/>
                </a:lnTo>
                <a:lnTo>
                  <a:pt x="99" y="1008"/>
                </a:lnTo>
                <a:lnTo>
                  <a:pt x="100" y="1009"/>
                </a:lnTo>
                <a:lnTo>
                  <a:pt x="98" y="1009"/>
                </a:lnTo>
                <a:lnTo>
                  <a:pt x="96" y="1010"/>
                </a:lnTo>
                <a:lnTo>
                  <a:pt x="96" y="1011"/>
                </a:lnTo>
                <a:lnTo>
                  <a:pt x="94" y="1013"/>
                </a:lnTo>
                <a:lnTo>
                  <a:pt x="93" y="1013"/>
                </a:lnTo>
                <a:lnTo>
                  <a:pt x="92" y="1011"/>
                </a:lnTo>
                <a:lnTo>
                  <a:pt x="93" y="1011"/>
                </a:lnTo>
                <a:lnTo>
                  <a:pt x="93" y="1007"/>
                </a:lnTo>
                <a:lnTo>
                  <a:pt x="94" y="1005"/>
                </a:lnTo>
                <a:close/>
                <a:moveTo>
                  <a:pt x="122" y="1004"/>
                </a:moveTo>
                <a:lnTo>
                  <a:pt x="122" y="1005"/>
                </a:lnTo>
                <a:lnTo>
                  <a:pt x="119" y="1008"/>
                </a:lnTo>
                <a:lnTo>
                  <a:pt x="119" y="1009"/>
                </a:lnTo>
                <a:lnTo>
                  <a:pt x="118" y="1009"/>
                </a:lnTo>
                <a:lnTo>
                  <a:pt x="118" y="1005"/>
                </a:lnTo>
                <a:lnTo>
                  <a:pt x="122" y="1004"/>
                </a:lnTo>
                <a:close/>
                <a:moveTo>
                  <a:pt x="106" y="1004"/>
                </a:moveTo>
                <a:lnTo>
                  <a:pt x="107" y="1004"/>
                </a:lnTo>
                <a:lnTo>
                  <a:pt x="108" y="1005"/>
                </a:lnTo>
                <a:lnTo>
                  <a:pt x="106" y="1008"/>
                </a:lnTo>
                <a:lnTo>
                  <a:pt x="107" y="1009"/>
                </a:lnTo>
                <a:lnTo>
                  <a:pt x="106" y="1010"/>
                </a:lnTo>
                <a:lnTo>
                  <a:pt x="104" y="1010"/>
                </a:lnTo>
                <a:lnTo>
                  <a:pt x="102" y="1009"/>
                </a:lnTo>
                <a:lnTo>
                  <a:pt x="102" y="1007"/>
                </a:lnTo>
                <a:lnTo>
                  <a:pt x="105" y="1005"/>
                </a:lnTo>
                <a:lnTo>
                  <a:pt x="106" y="1004"/>
                </a:lnTo>
                <a:close/>
                <a:moveTo>
                  <a:pt x="75" y="1004"/>
                </a:moveTo>
                <a:lnTo>
                  <a:pt x="77" y="1004"/>
                </a:lnTo>
                <a:lnTo>
                  <a:pt x="79" y="1005"/>
                </a:lnTo>
                <a:lnTo>
                  <a:pt x="82" y="1005"/>
                </a:lnTo>
                <a:lnTo>
                  <a:pt x="82" y="1007"/>
                </a:lnTo>
                <a:lnTo>
                  <a:pt x="80" y="1007"/>
                </a:lnTo>
                <a:lnTo>
                  <a:pt x="80" y="1008"/>
                </a:lnTo>
                <a:lnTo>
                  <a:pt x="79" y="1008"/>
                </a:lnTo>
                <a:lnTo>
                  <a:pt x="77" y="1007"/>
                </a:lnTo>
                <a:lnTo>
                  <a:pt x="75" y="1007"/>
                </a:lnTo>
                <a:lnTo>
                  <a:pt x="75" y="1005"/>
                </a:lnTo>
                <a:lnTo>
                  <a:pt x="74" y="1005"/>
                </a:lnTo>
                <a:lnTo>
                  <a:pt x="75" y="1004"/>
                </a:lnTo>
                <a:close/>
                <a:moveTo>
                  <a:pt x="267" y="1003"/>
                </a:moveTo>
                <a:lnTo>
                  <a:pt x="268" y="1003"/>
                </a:lnTo>
                <a:lnTo>
                  <a:pt x="268" y="1005"/>
                </a:lnTo>
                <a:lnTo>
                  <a:pt x="266" y="1005"/>
                </a:lnTo>
                <a:lnTo>
                  <a:pt x="266" y="1004"/>
                </a:lnTo>
                <a:lnTo>
                  <a:pt x="267" y="1003"/>
                </a:lnTo>
                <a:close/>
                <a:moveTo>
                  <a:pt x="124" y="1003"/>
                </a:moveTo>
                <a:lnTo>
                  <a:pt x="125" y="1003"/>
                </a:lnTo>
                <a:lnTo>
                  <a:pt x="124" y="1005"/>
                </a:lnTo>
                <a:lnTo>
                  <a:pt x="124" y="1003"/>
                </a:lnTo>
                <a:close/>
                <a:moveTo>
                  <a:pt x="24" y="1003"/>
                </a:moveTo>
                <a:lnTo>
                  <a:pt x="24" y="1005"/>
                </a:lnTo>
                <a:lnTo>
                  <a:pt x="23" y="1005"/>
                </a:lnTo>
                <a:lnTo>
                  <a:pt x="24" y="1003"/>
                </a:lnTo>
                <a:close/>
                <a:moveTo>
                  <a:pt x="50" y="1002"/>
                </a:moveTo>
                <a:lnTo>
                  <a:pt x="50" y="1003"/>
                </a:lnTo>
                <a:lnTo>
                  <a:pt x="51" y="1004"/>
                </a:lnTo>
                <a:lnTo>
                  <a:pt x="51" y="1005"/>
                </a:lnTo>
                <a:lnTo>
                  <a:pt x="49" y="1005"/>
                </a:lnTo>
                <a:lnTo>
                  <a:pt x="49" y="1003"/>
                </a:lnTo>
                <a:lnTo>
                  <a:pt x="50" y="1002"/>
                </a:lnTo>
                <a:close/>
                <a:moveTo>
                  <a:pt x="116" y="1001"/>
                </a:moveTo>
                <a:lnTo>
                  <a:pt x="118" y="1001"/>
                </a:lnTo>
                <a:lnTo>
                  <a:pt x="118" y="1003"/>
                </a:lnTo>
                <a:lnTo>
                  <a:pt x="117" y="1005"/>
                </a:lnTo>
                <a:lnTo>
                  <a:pt x="114" y="1007"/>
                </a:lnTo>
                <a:lnTo>
                  <a:pt x="114" y="1003"/>
                </a:lnTo>
                <a:lnTo>
                  <a:pt x="116" y="1001"/>
                </a:lnTo>
                <a:close/>
                <a:moveTo>
                  <a:pt x="88" y="999"/>
                </a:moveTo>
                <a:lnTo>
                  <a:pt x="88" y="1001"/>
                </a:lnTo>
                <a:lnTo>
                  <a:pt x="89" y="1001"/>
                </a:lnTo>
                <a:lnTo>
                  <a:pt x="88" y="1002"/>
                </a:lnTo>
                <a:lnTo>
                  <a:pt x="88" y="1003"/>
                </a:lnTo>
                <a:lnTo>
                  <a:pt x="87" y="1003"/>
                </a:lnTo>
                <a:lnTo>
                  <a:pt x="87" y="1001"/>
                </a:lnTo>
                <a:lnTo>
                  <a:pt x="88" y="999"/>
                </a:lnTo>
                <a:close/>
                <a:moveTo>
                  <a:pt x="36" y="999"/>
                </a:moveTo>
                <a:lnTo>
                  <a:pt x="39" y="999"/>
                </a:lnTo>
                <a:lnTo>
                  <a:pt x="39" y="1001"/>
                </a:lnTo>
                <a:lnTo>
                  <a:pt x="37" y="1005"/>
                </a:lnTo>
                <a:lnTo>
                  <a:pt x="37" y="1002"/>
                </a:lnTo>
                <a:lnTo>
                  <a:pt x="36" y="1003"/>
                </a:lnTo>
                <a:lnTo>
                  <a:pt x="36" y="999"/>
                </a:lnTo>
                <a:close/>
                <a:moveTo>
                  <a:pt x="4" y="999"/>
                </a:moveTo>
                <a:lnTo>
                  <a:pt x="6" y="1002"/>
                </a:lnTo>
                <a:lnTo>
                  <a:pt x="6" y="1004"/>
                </a:lnTo>
                <a:lnTo>
                  <a:pt x="7" y="1005"/>
                </a:lnTo>
                <a:lnTo>
                  <a:pt x="7" y="1009"/>
                </a:lnTo>
                <a:lnTo>
                  <a:pt x="6" y="1009"/>
                </a:lnTo>
                <a:lnTo>
                  <a:pt x="5" y="1008"/>
                </a:lnTo>
                <a:lnTo>
                  <a:pt x="5" y="1005"/>
                </a:lnTo>
                <a:lnTo>
                  <a:pt x="4" y="1005"/>
                </a:lnTo>
                <a:lnTo>
                  <a:pt x="4" y="1010"/>
                </a:lnTo>
                <a:lnTo>
                  <a:pt x="2" y="1011"/>
                </a:lnTo>
                <a:lnTo>
                  <a:pt x="1" y="1010"/>
                </a:lnTo>
                <a:lnTo>
                  <a:pt x="1" y="1009"/>
                </a:lnTo>
                <a:lnTo>
                  <a:pt x="0" y="1008"/>
                </a:lnTo>
                <a:lnTo>
                  <a:pt x="0" y="1005"/>
                </a:lnTo>
                <a:lnTo>
                  <a:pt x="1" y="1005"/>
                </a:lnTo>
                <a:lnTo>
                  <a:pt x="1" y="1002"/>
                </a:lnTo>
                <a:lnTo>
                  <a:pt x="4" y="999"/>
                </a:lnTo>
                <a:close/>
                <a:moveTo>
                  <a:pt x="256" y="997"/>
                </a:moveTo>
                <a:lnTo>
                  <a:pt x="257" y="997"/>
                </a:lnTo>
                <a:lnTo>
                  <a:pt x="261" y="1001"/>
                </a:lnTo>
                <a:lnTo>
                  <a:pt x="259" y="1003"/>
                </a:lnTo>
                <a:lnTo>
                  <a:pt x="259" y="1004"/>
                </a:lnTo>
                <a:lnTo>
                  <a:pt x="257" y="1004"/>
                </a:lnTo>
                <a:lnTo>
                  <a:pt x="257" y="1002"/>
                </a:lnTo>
                <a:lnTo>
                  <a:pt x="256" y="1002"/>
                </a:lnTo>
                <a:lnTo>
                  <a:pt x="256" y="999"/>
                </a:lnTo>
                <a:lnTo>
                  <a:pt x="255" y="998"/>
                </a:lnTo>
                <a:lnTo>
                  <a:pt x="256" y="997"/>
                </a:lnTo>
                <a:close/>
                <a:moveTo>
                  <a:pt x="143" y="997"/>
                </a:moveTo>
                <a:lnTo>
                  <a:pt x="145" y="997"/>
                </a:lnTo>
                <a:lnTo>
                  <a:pt x="145" y="999"/>
                </a:lnTo>
                <a:lnTo>
                  <a:pt x="144" y="999"/>
                </a:lnTo>
                <a:lnTo>
                  <a:pt x="143" y="1001"/>
                </a:lnTo>
                <a:lnTo>
                  <a:pt x="143" y="1002"/>
                </a:lnTo>
                <a:lnTo>
                  <a:pt x="142" y="1003"/>
                </a:lnTo>
                <a:lnTo>
                  <a:pt x="142" y="1004"/>
                </a:lnTo>
                <a:lnTo>
                  <a:pt x="141" y="1004"/>
                </a:lnTo>
                <a:lnTo>
                  <a:pt x="141" y="1008"/>
                </a:lnTo>
                <a:lnTo>
                  <a:pt x="139" y="1008"/>
                </a:lnTo>
                <a:lnTo>
                  <a:pt x="141" y="1009"/>
                </a:lnTo>
                <a:lnTo>
                  <a:pt x="141" y="1013"/>
                </a:lnTo>
                <a:lnTo>
                  <a:pt x="139" y="1015"/>
                </a:lnTo>
                <a:lnTo>
                  <a:pt x="136" y="1017"/>
                </a:lnTo>
                <a:lnTo>
                  <a:pt x="136" y="1019"/>
                </a:lnTo>
                <a:lnTo>
                  <a:pt x="137" y="1019"/>
                </a:lnTo>
                <a:lnTo>
                  <a:pt x="137" y="1020"/>
                </a:lnTo>
                <a:lnTo>
                  <a:pt x="136" y="1021"/>
                </a:lnTo>
                <a:lnTo>
                  <a:pt x="135" y="1021"/>
                </a:lnTo>
                <a:lnTo>
                  <a:pt x="133" y="1022"/>
                </a:lnTo>
                <a:lnTo>
                  <a:pt x="133" y="1021"/>
                </a:lnTo>
                <a:lnTo>
                  <a:pt x="132" y="1019"/>
                </a:lnTo>
                <a:lnTo>
                  <a:pt x="132" y="1020"/>
                </a:lnTo>
                <a:lnTo>
                  <a:pt x="131" y="1022"/>
                </a:lnTo>
                <a:lnTo>
                  <a:pt x="130" y="1021"/>
                </a:lnTo>
                <a:lnTo>
                  <a:pt x="130" y="1019"/>
                </a:lnTo>
                <a:lnTo>
                  <a:pt x="127" y="1021"/>
                </a:lnTo>
                <a:lnTo>
                  <a:pt x="125" y="1022"/>
                </a:lnTo>
                <a:lnTo>
                  <a:pt x="125" y="1014"/>
                </a:lnTo>
                <a:lnTo>
                  <a:pt x="124" y="1013"/>
                </a:lnTo>
                <a:lnTo>
                  <a:pt x="123" y="1013"/>
                </a:lnTo>
                <a:lnTo>
                  <a:pt x="125" y="1010"/>
                </a:lnTo>
                <a:lnTo>
                  <a:pt x="130" y="1010"/>
                </a:lnTo>
                <a:lnTo>
                  <a:pt x="123" y="1009"/>
                </a:lnTo>
                <a:lnTo>
                  <a:pt x="123" y="1008"/>
                </a:lnTo>
                <a:lnTo>
                  <a:pt x="124" y="1005"/>
                </a:lnTo>
                <a:lnTo>
                  <a:pt x="125" y="1007"/>
                </a:lnTo>
                <a:lnTo>
                  <a:pt x="129" y="1005"/>
                </a:lnTo>
                <a:lnTo>
                  <a:pt x="131" y="1004"/>
                </a:lnTo>
                <a:lnTo>
                  <a:pt x="139" y="1003"/>
                </a:lnTo>
                <a:lnTo>
                  <a:pt x="141" y="1002"/>
                </a:lnTo>
                <a:lnTo>
                  <a:pt x="143" y="997"/>
                </a:lnTo>
                <a:close/>
                <a:moveTo>
                  <a:pt x="54" y="997"/>
                </a:moveTo>
                <a:lnTo>
                  <a:pt x="55" y="997"/>
                </a:lnTo>
                <a:lnTo>
                  <a:pt x="55" y="998"/>
                </a:lnTo>
                <a:lnTo>
                  <a:pt x="56" y="999"/>
                </a:lnTo>
                <a:lnTo>
                  <a:pt x="57" y="999"/>
                </a:lnTo>
                <a:lnTo>
                  <a:pt x="57" y="1001"/>
                </a:lnTo>
                <a:lnTo>
                  <a:pt x="55" y="1001"/>
                </a:lnTo>
                <a:lnTo>
                  <a:pt x="55" y="1002"/>
                </a:lnTo>
                <a:lnTo>
                  <a:pt x="54" y="1002"/>
                </a:lnTo>
                <a:lnTo>
                  <a:pt x="54" y="997"/>
                </a:lnTo>
                <a:close/>
                <a:moveTo>
                  <a:pt x="100" y="996"/>
                </a:moveTo>
                <a:lnTo>
                  <a:pt x="104" y="996"/>
                </a:lnTo>
                <a:lnTo>
                  <a:pt x="104" y="997"/>
                </a:lnTo>
                <a:lnTo>
                  <a:pt x="105" y="997"/>
                </a:lnTo>
                <a:lnTo>
                  <a:pt x="104" y="998"/>
                </a:lnTo>
                <a:lnTo>
                  <a:pt x="101" y="998"/>
                </a:lnTo>
                <a:lnTo>
                  <a:pt x="101" y="997"/>
                </a:lnTo>
                <a:lnTo>
                  <a:pt x="100" y="997"/>
                </a:lnTo>
                <a:lnTo>
                  <a:pt x="100" y="996"/>
                </a:lnTo>
                <a:close/>
                <a:moveTo>
                  <a:pt x="110" y="995"/>
                </a:moveTo>
                <a:lnTo>
                  <a:pt x="111" y="995"/>
                </a:lnTo>
                <a:lnTo>
                  <a:pt x="116" y="996"/>
                </a:lnTo>
                <a:lnTo>
                  <a:pt x="119" y="997"/>
                </a:lnTo>
                <a:lnTo>
                  <a:pt x="119" y="999"/>
                </a:lnTo>
                <a:lnTo>
                  <a:pt x="118" y="999"/>
                </a:lnTo>
                <a:lnTo>
                  <a:pt x="118" y="998"/>
                </a:lnTo>
                <a:lnTo>
                  <a:pt x="117" y="999"/>
                </a:lnTo>
                <a:lnTo>
                  <a:pt x="116" y="999"/>
                </a:lnTo>
                <a:lnTo>
                  <a:pt x="114" y="1001"/>
                </a:lnTo>
                <a:lnTo>
                  <a:pt x="113" y="1001"/>
                </a:lnTo>
                <a:lnTo>
                  <a:pt x="114" y="999"/>
                </a:lnTo>
                <a:lnTo>
                  <a:pt x="113" y="998"/>
                </a:lnTo>
                <a:lnTo>
                  <a:pt x="112" y="999"/>
                </a:lnTo>
                <a:lnTo>
                  <a:pt x="111" y="999"/>
                </a:lnTo>
                <a:lnTo>
                  <a:pt x="110" y="998"/>
                </a:lnTo>
                <a:lnTo>
                  <a:pt x="108" y="999"/>
                </a:lnTo>
                <a:lnTo>
                  <a:pt x="108" y="996"/>
                </a:lnTo>
                <a:lnTo>
                  <a:pt x="110" y="995"/>
                </a:lnTo>
                <a:close/>
                <a:moveTo>
                  <a:pt x="122" y="991"/>
                </a:moveTo>
                <a:lnTo>
                  <a:pt x="122" y="992"/>
                </a:lnTo>
                <a:lnTo>
                  <a:pt x="123" y="994"/>
                </a:lnTo>
                <a:lnTo>
                  <a:pt x="125" y="994"/>
                </a:lnTo>
                <a:lnTo>
                  <a:pt x="125" y="995"/>
                </a:lnTo>
                <a:lnTo>
                  <a:pt x="124" y="996"/>
                </a:lnTo>
                <a:lnTo>
                  <a:pt x="123" y="996"/>
                </a:lnTo>
                <a:lnTo>
                  <a:pt x="122" y="997"/>
                </a:lnTo>
                <a:lnTo>
                  <a:pt x="120" y="997"/>
                </a:lnTo>
                <a:lnTo>
                  <a:pt x="122" y="996"/>
                </a:lnTo>
                <a:lnTo>
                  <a:pt x="122" y="995"/>
                </a:lnTo>
                <a:lnTo>
                  <a:pt x="118" y="995"/>
                </a:lnTo>
                <a:lnTo>
                  <a:pt x="122" y="991"/>
                </a:lnTo>
                <a:close/>
                <a:moveTo>
                  <a:pt x="52" y="991"/>
                </a:moveTo>
                <a:lnTo>
                  <a:pt x="54" y="991"/>
                </a:lnTo>
                <a:lnTo>
                  <a:pt x="54" y="995"/>
                </a:lnTo>
                <a:lnTo>
                  <a:pt x="52" y="996"/>
                </a:lnTo>
                <a:lnTo>
                  <a:pt x="51" y="995"/>
                </a:lnTo>
                <a:lnTo>
                  <a:pt x="51" y="994"/>
                </a:lnTo>
                <a:lnTo>
                  <a:pt x="52" y="992"/>
                </a:lnTo>
                <a:lnTo>
                  <a:pt x="52" y="991"/>
                </a:lnTo>
                <a:close/>
                <a:moveTo>
                  <a:pt x="116" y="990"/>
                </a:moveTo>
                <a:lnTo>
                  <a:pt x="117" y="990"/>
                </a:lnTo>
                <a:lnTo>
                  <a:pt x="118" y="991"/>
                </a:lnTo>
                <a:lnTo>
                  <a:pt x="117" y="991"/>
                </a:lnTo>
                <a:lnTo>
                  <a:pt x="113" y="992"/>
                </a:lnTo>
                <a:lnTo>
                  <a:pt x="112" y="992"/>
                </a:lnTo>
                <a:lnTo>
                  <a:pt x="112" y="991"/>
                </a:lnTo>
                <a:lnTo>
                  <a:pt x="116" y="990"/>
                </a:lnTo>
                <a:close/>
                <a:moveTo>
                  <a:pt x="111" y="990"/>
                </a:moveTo>
                <a:lnTo>
                  <a:pt x="114" y="990"/>
                </a:lnTo>
                <a:lnTo>
                  <a:pt x="110" y="992"/>
                </a:lnTo>
                <a:lnTo>
                  <a:pt x="111" y="990"/>
                </a:lnTo>
                <a:close/>
                <a:moveTo>
                  <a:pt x="76" y="989"/>
                </a:moveTo>
                <a:lnTo>
                  <a:pt x="77" y="989"/>
                </a:lnTo>
                <a:lnTo>
                  <a:pt x="77" y="991"/>
                </a:lnTo>
                <a:lnTo>
                  <a:pt x="76" y="991"/>
                </a:lnTo>
                <a:lnTo>
                  <a:pt x="75" y="990"/>
                </a:lnTo>
                <a:lnTo>
                  <a:pt x="76" y="989"/>
                </a:lnTo>
                <a:close/>
                <a:moveTo>
                  <a:pt x="14" y="988"/>
                </a:moveTo>
                <a:lnTo>
                  <a:pt x="17" y="988"/>
                </a:lnTo>
                <a:lnTo>
                  <a:pt x="17" y="989"/>
                </a:lnTo>
                <a:lnTo>
                  <a:pt x="18" y="990"/>
                </a:lnTo>
                <a:lnTo>
                  <a:pt x="18" y="991"/>
                </a:lnTo>
                <a:lnTo>
                  <a:pt x="20" y="991"/>
                </a:lnTo>
                <a:lnTo>
                  <a:pt x="23" y="994"/>
                </a:lnTo>
                <a:lnTo>
                  <a:pt x="21" y="992"/>
                </a:lnTo>
                <a:lnTo>
                  <a:pt x="21" y="991"/>
                </a:lnTo>
                <a:lnTo>
                  <a:pt x="23" y="991"/>
                </a:lnTo>
                <a:lnTo>
                  <a:pt x="24" y="992"/>
                </a:lnTo>
                <a:lnTo>
                  <a:pt x="25" y="991"/>
                </a:lnTo>
                <a:lnTo>
                  <a:pt x="25" y="992"/>
                </a:lnTo>
                <a:lnTo>
                  <a:pt x="26" y="994"/>
                </a:lnTo>
                <a:lnTo>
                  <a:pt x="29" y="995"/>
                </a:lnTo>
                <a:lnTo>
                  <a:pt x="29" y="997"/>
                </a:lnTo>
                <a:lnTo>
                  <a:pt x="30" y="997"/>
                </a:lnTo>
                <a:lnTo>
                  <a:pt x="31" y="998"/>
                </a:lnTo>
                <a:lnTo>
                  <a:pt x="32" y="998"/>
                </a:lnTo>
                <a:lnTo>
                  <a:pt x="31" y="1001"/>
                </a:lnTo>
                <a:lnTo>
                  <a:pt x="31" y="1002"/>
                </a:lnTo>
                <a:lnTo>
                  <a:pt x="30" y="1003"/>
                </a:lnTo>
                <a:lnTo>
                  <a:pt x="30" y="1005"/>
                </a:lnTo>
                <a:lnTo>
                  <a:pt x="29" y="1005"/>
                </a:lnTo>
                <a:lnTo>
                  <a:pt x="29" y="1008"/>
                </a:lnTo>
                <a:lnTo>
                  <a:pt x="27" y="1008"/>
                </a:lnTo>
                <a:lnTo>
                  <a:pt x="27" y="1007"/>
                </a:lnTo>
                <a:lnTo>
                  <a:pt x="25" y="1007"/>
                </a:lnTo>
                <a:lnTo>
                  <a:pt x="25" y="1003"/>
                </a:lnTo>
                <a:lnTo>
                  <a:pt x="26" y="1002"/>
                </a:lnTo>
                <a:lnTo>
                  <a:pt x="29" y="1002"/>
                </a:lnTo>
                <a:lnTo>
                  <a:pt x="29" y="1001"/>
                </a:lnTo>
                <a:lnTo>
                  <a:pt x="27" y="1001"/>
                </a:lnTo>
                <a:lnTo>
                  <a:pt x="25" y="1002"/>
                </a:lnTo>
                <a:lnTo>
                  <a:pt x="24" y="1003"/>
                </a:lnTo>
                <a:lnTo>
                  <a:pt x="23" y="1003"/>
                </a:lnTo>
                <a:lnTo>
                  <a:pt x="23" y="1002"/>
                </a:lnTo>
                <a:lnTo>
                  <a:pt x="21" y="1001"/>
                </a:lnTo>
                <a:lnTo>
                  <a:pt x="23" y="998"/>
                </a:lnTo>
                <a:lnTo>
                  <a:pt x="23" y="997"/>
                </a:lnTo>
                <a:lnTo>
                  <a:pt x="24" y="996"/>
                </a:lnTo>
                <a:lnTo>
                  <a:pt x="21" y="995"/>
                </a:lnTo>
                <a:lnTo>
                  <a:pt x="21" y="996"/>
                </a:lnTo>
                <a:lnTo>
                  <a:pt x="23" y="997"/>
                </a:lnTo>
                <a:lnTo>
                  <a:pt x="21" y="998"/>
                </a:lnTo>
                <a:lnTo>
                  <a:pt x="21" y="999"/>
                </a:lnTo>
                <a:lnTo>
                  <a:pt x="20" y="998"/>
                </a:lnTo>
                <a:lnTo>
                  <a:pt x="20" y="1002"/>
                </a:lnTo>
                <a:lnTo>
                  <a:pt x="21" y="1003"/>
                </a:lnTo>
                <a:lnTo>
                  <a:pt x="23" y="1003"/>
                </a:lnTo>
                <a:lnTo>
                  <a:pt x="21" y="1004"/>
                </a:lnTo>
                <a:lnTo>
                  <a:pt x="21" y="1007"/>
                </a:lnTo>
                <a:lnTo>
                  <a:pt x="19" y="1005"/>
                </a:lnTo>
                <a:lnTo>
                  <a:pt x="19" y="1003"/>
                </a:lnTo>
                <a:lnTo>
                  <a:pt x="17" y="1003"/>
                </a:lnTo>
                <a:lnTo>
                  <a:pt x="18" y="1004"/>
                </a:lnTo>
                <a:lnTo>
                  <a:pt x="18" y="1007"/>
                </a:lnTo>
                <a:lnTo>
                  <a:pt x="20" y="1007"/>
                </a:lnTo>
                <a:lnTo>
                  <a:pt x="20" y="1008"/>
                </a:lnTo>
                <a:lnTo>
                  <a:pt x="23" y="1008"/>
                </a:lnTo>
                <a:lnTo>
                  <a:pt x="23" y="1015"/>
                </a:lnTo>
                <a:lnTo>
                  <a:pt x="21" y="1014"/>
                </a:lnTo>
                <a:lnTo>
                  <a:pt x="19" y="1014"/>
                </a:lnTo>
                <a:lnTo>
                  <a:pt x="19" y="1017"/>
                </a:lnTo>
                <a:lnTo>
                  <a:pt x="18" y="1017"/>
                </a:lnTo>
                <a:lnTo>
                  <a:pt x="18" y="1014"/>
                </a:lnTo>
                <a:lnTo>
                  <a:pt x="15" y="1014"/>
                </a:lnTo>
                <a:lnTo>
                  <a:pt x="15" y="1015"/>
                </a:lnTo>
                <a:lnTo>
                  <a:pt x="13" y="1015"/>
                </a:lnTo>
                <a:lnTo>
                  <a:pt x="13" y="1014"/>
                </a:lnTo>
                <a:lnTo>
                  <a:pt x="12" y="1014"/>
                </a:lnTo>
                <a:lnTo>
                  <a:pt x="11" y="1015"/>
                </a:lnTo>
                <a:lnTo>
                  <a:pt x="11" y="1014"/>
                </a:lnTo>
                <a:lnTo>
                  <a:pt x="8" y="1009"/>
                </a:lnTo>
                <a:lnTo>
                  <a:pt x="8" y="1008"/>
                </a:lnTo>
                <a:lnTo>
                  <a:pt x="7" y="1005"/>
                </a:lnTo>
                <a:lnTo>
                  <a:pt x="7" y="1003"/>
                </a:lnTo>
                <a:lnTo>
                  <a:pt x="6" y="999"/>
                </a:lnTo>
                <a:lnTo>
                  <a:pt x="7" y="999"/>
                </a:lnTo>
                <a:lnTo>
                  <a:pt x="8" y="1001"/>
                </a:lnTo>
                <a:lnTo>
                  <a:pt x="8" y="998"/>
                </a:lnTo>
                <a:lnTo>
                  <a:pt x="9" y="998"/>
                </a:lnTo>
                <a:lnTo>
                  <a:pt x="11" y="997"/>
                </a:lnTo>
                <a:lnTo>
                  <a:pt x="11" y="996"/>
                </a:lnTo>
                <a:lnTo>
                  <a:pt x="12" y="996"/>
                </a:lnTo>
                <a:lnTo>
                  <a:pt x="12" y="998"/>
                </a:lnTo>
                <a:lnTo>
                  <a:pt x="11" y="1001"/>
                </a:lnTo>
                <a:lnTo>
                  <a:pt x="11" y="1002"/>
                </a:lnTo>
                <a:lnTo>
                  <a:pt x="12" y="1002"/>
                </a:lnTo>
                <a:lnTo>
                  <a:pt x="12" y="1005"/>
                </a:lnTo>
                <a:lnTo>
                  <a:pt x="13" y="1005"/>
                </a:lnTo>
                <a:lnTo>
                  <a:pt x="13" y="1002"/>
                </a:lnTo>
                <a:lnTo>
                  <a:pt x="14" y="1003"/>
                </a:lnTo>
                <a:lnTo>
                  <a:pt x="14" y="1001"/>
                </a:lnTo>
                <a:lnTo>
                  <a:pt x="15" y="999"/>
                </a:lnTo>
                <a:lnTo>
                  <a:pt x="15" y="997"/>
                </a:lnTo>
                <a:lnTo>
                  <a:pt x="17" y="996"/>
                </a:lnTo>
                <a:lnTo>
                  <a:pt x="17" y="998"/>
                </a:lnTo>
                <a:lnTo>
                  <a:pt x="18" y="998"/>
                </a:lnTo>
                <a:lnTo>
                  <a:pt x="18" y="995"/>
                </a:lnTo>
                <a:lnTo>
                  <a:pt x="17" y="995"/>
                </a:lnTo>
                <a:lnTo>
                  <a:pt x="17" y="992"/>
                </a:lnTo>
                <a:lnTo>
                  <a:pt x="15" y="992"/>
                </a:lnTo>
                <a:lnTo>
                  <a:pt x="15" y="995"/>
                </a:lnTo>
                <a:lnTo>
                  <a:pt x="14" y="995"/>
                </a:lnTo>
                <a:lnTo>
                  <a:pt x="14" y="994"/>
                </a:lnTo>
                <a:lnTo>
                  <a:pt x="13" y="992"/>
                </a:lnTo>
                <a:lnTo>
                  <a:pt x="12" y="992"/>
                </a:lnTo>
                <a:lnTo>
                  <a:pt x="12" y="991"/>
                </a:lnTo>
                <a:lnTo>
                  <a:pt x="13" y="990"/>
                </a:lnTo>
                <a:lnTo>
                  <a:pt x="13" y="989"/>
                </a:lnTo>
                <a:lnTo>
                  <a:pt x="14" y="988"/>
                </a:lnTo>
                <a:close/>
                <a:moveTo>
                  <a:pt x="299" y="984"/>
                </a:moveTo>
                <a:lnTo>
                  <a:pt x="301" y="985"/>
                </a:lnTo>
                <a:lnTo>
                  <a:pt x="301" y="986"/>
                </a:lnTo>
                <a:lnTo>
                  <a:pt x="300" y="986"/>
                </a:lnTo>
                <a:lnTo>
                  <a:pt x="298" y="988"/>
                </a:lnTo>
                <a:lnTo>
                  <a:pt x="297" y="990"/>
                </a:lnTo>
                <a:lnTo>
                  <a:pt x="296" y="989"/>
                </a:lnTo>
                <a:lnTo>
                  <a:pt x="296" y="986"/>
                </a:lnTo>
                <a:lnTo>
                  <a:pt x="298" y="986"/>
                </a:lnTo>
                <a:lnTo>
                  <a:pt x="298" y="985"/>
                </a:lnTo>
                <a:lnTo>
                  <a:pt x="299" y="984"/>
                </a:lnTo>
                <a:close/>
                <a:moveTo>
                  <a:pt x="98" y="982"/>
                </a:moveTo>
                <a:lnTo>
                  <a:pt x="100" y="984"/>
                </a:lnTo>
                <a:lnTo>
                  <a:pt x="101" y="984"/>
                </a:lnTo>
                <a:lnTo>
                  <a:pt x="101" y="985"/>
                </a:lnTo>
                <a:lnTo>
                  <a:pt x="102" y="986"/>
                </a:lnTo>
                <a:lnTo>
                  <a:pt x="102" y="989"/>
                </a:lnTo>
                <a:lnTo>
                  <a:pt x="101" y="988"/>
                </a:lnTo>
                <a:lnTo>
                  <a:pt x="101" y="989"/>
                </a:lnTo>
                <a:lnTo>
                  <a:pt x="102" y="990"/>
                </a:lnTo>
                <a:lnTo>
                  <a:pt x="102" y="991"/>
                </a:lnTo>
                <a:lnTo>
                  <a:pt x="104" y="990"/>
                </a:lnTo>
                <a:lnTo>
                  <a:pt x="105" y="991"/>
                </a:lnTo>
                <a:lnTo>
                  <a:pt x="104" y="992"/>
                </a:lnTo>
                <a:lnTo>
                  <a:pt x="105" y="992"/>
                </a:lnTo>
                <a:lnTo>
                  <a:pt x="105" y="994"/>
                </a:lnTo>
                <a:lnTo>
                  <a:pt x="101" y="994"/>
                </a:lnTo>
                <a:lnTo>
                  <a:pt x="101" y="992"/>
                </a:lnTo>
                <a:lnTo>
                  <a:pt x="100" y="992"/>
                </a:lnTo>
                <a:lnTo>
                  <a:pt x="98" y="991"/>
                </a:lnTo>
                <a:lnTo>
                  <a:pt x="96" y="990"/>
                </a:lnTo>
                <a:lnTo>
                  <a:pt x="96" y="988"/>
                </a:lnTo>
                <a:lnTo>
                  <a:pt x="99" y="988"/>
                </a:lnTo>
                <a:lnTo>
                  <a:pt x="99" y="986"/>
                </a:lnTo>
                <a:lnTo>
                  <a:pt x="96" y="984"/>
                </a:lnTo>
                <a:lnTo>
                  <a:pt x="96" y="983"/>
                </a:lnTo>
                <a:lnTo>
                  <a:pt x="98" y="982"/>
                </a:lnTo>
                <a:close/>
                <a:moveTo>
                  <a:pt x="66" y="982"/>
                </a:moveTo>
                <a:lnTo>
                  <a:pt x="67" y="982"/>
                </a:lnTo>
                <a:lnTo>
                  <a:pt x="67" y="984"/>
                </a:lnTo>
                <a:lnTo>
                  <a:pt x="66" y="983"/>
                </a:lnTo>
                <a:lnTo>
                  <a:pt x="66" y="982"/>
                </a:lnTo>
                <a:close/>
                <a:moveTo>
                  <a:pt x="94" y="977"/>
                </a:moveTo>
                <a:lnTo>
                  <a:pt x="95" y="977"/>
                </a:lnTo>
                <a:lnTo>
                  <a:pt x="95" y="978"/>
                </a:lnTo>
                <a:lnTo>
                  <a:pt x="94" y="979"/>
                </a:lnTo>
                <a:lnTo>
                  <a:pt x="94" y="980"/>
                </a:lnTo>
                <a:lnTo>
                  <a:pt x="93" y="982"/>
                </a:lnTo>
                <a:lnTo>
                  <a:pt x="93" y="983"/>
                </a:lnTo>
                <a:lnTo>
                  <a:pt x="92" y="983"/>
                </a:lnTo>
                <a:lnTo>
                  <a:pt x="92" y="980"/>
                </a:lnTo>
                <a:lnTo>
                  <a:pt x="93" y="979"/>
                </a:lnTo>
                <a:lnTo>
                  <a:pt x="94" y="977"/>
                </a:lnTo>
                <a:close/>
                <a:moveTo>
                  <a:pt x="77" y="974"/>
                </a:moveTo>
                <a:lnTo>
                  <a:pt x="80" y="974"/>
                </a:lnTo>
                <a:lnTo>
                  <a:pt x="80" y="976"/>
                </a:lnTo>
                <a:lnTo>
                  <a:pt x="82" y="976"/>
                </a:lnTo>
                <a:lnTo>
                  <a:pt x="83" y="977"/>
                </a:lnTo>
                <a:lnTo>
                  <a:pt x="82" y="977"/>
                </a:lnTo>
                <a:lnTo>
                  <a:pt x="82" y="980"/>
                </a:lnTo>
                <a:lnTo>
                  <a:pt x="81" y="980"/>
                </a:lnTo>
                <a:lnTo>
                  <a:pt x="82" y="982"/>
                </a:lnTo>
                <a:lnTo>
                  <a:pt x="81" y="982"/>
                </a:lnTo>
                <a:lnTo>
                  <a:pt x="79" y="979"/>
                </a:lnTo>
                <a:lnTo>
                  <a:pt x="79" y="977"/>
                </a:lnTo>
                <a:lnTo>
                  <a:pt x="77" y="977"/>
                </a:lnTo>
                <a:lnTo>
                  <a:pt x="77" y="978"/>
                </a:lnTo>
                <a:lnTo>
                  <a:pt x="76" y="977"/>
                </a:lnTo>
                <a:lnTo>
                  <a:pt x="76" y="976"/>
                </a:lnTo>
                <a:lnTo>
                  <a:pt x="77" y="974"/>
                </a:lnTo>
                <a:close/>
                <a:moveTo>
                  <a:pt x="73" y="974"/>
                </a:moveTo>
                <a:lnTo>
                  <a:pt x="74" y="974"/>
                </a:lnTo>
                <a:lnTo>
                  <a:pt x="75" y="976"/>
                </a:lnTo>
                <a:lnTo>
                  <a:pt x="76" y="978"/>
                </a:lnTo>
                <a:lnTo>
                  <a:pt x="76" y="980"/>
                </a:lnTo>
                <a:lnTo>
                  <a:pt x="74" y="980"/>
                </a:lnTo>
                <a:lnTo>
                  <a:pt x="74" y="977"/>
                </a:lnTo>
                <a:lnTo>
                  <a:pt x="73" y="976"/>
                </a:lnTo>
                <a:lnTo>
                  <a:pt x="73" y="974"/>
                </a:lnTo>
                <a:close/>
                <a:moveTo>
                  <a:pt x="86" y="973"/>
                </a:moveTo>
                <a:lnTo>
                  <a:pt x="87" y="974"/>
                </a:lnTo>
                <a:lnTo>
                  <a:pt x="87" y="973"/>
                </a:lnTo>
                <a:lnTo>
                  <a:pt x="86" y="973"/>
                </a:lnTo>
                <a:close/>
                <a:moveTo>
                  <a:pt x="74" y="967"/>
                </a:moveTo>
                <a:lnTo>
                  <a:pt x="75" y="968"/>
                </a:lnTo>
                <a:lnTo>
                  <a:pt x="75" y="973"/>
                </a:lnTo>
                <a:lnTo>
                  <a:pt x="74" y="972"/>
                </a:lnTo>
                <a:lnTo>
                  <a:pt x="73" y="972"/>
                </a:lnTo>
                <a:lnTo>
                  <a:pt x="73" y="971"/>
                </a:lnTo>
                <a:lnTo>
                  <a:pt x="71" y="970"/>
                </a:lnTo>
                <a:lnTo>
                  <a:pt x="74" y="967"/>
                </a:lnTo>
                <a:close/>
                <a:moveTo>
                  <a:pt x="70" y="948"/>
                </a:moveTo>
                <a:lnTo>
                  <a:pt x="73" y="948"/>
                </a:lnTo>
                <a:lnTo>
                  <a:pt x="73" y="949"/>
                </a:lnTo>
                <a:lnTo>
                  <a:pt x="74" y="949"/>
                </a:lnTo>
                <a:lnTo>
                  <a:pt x="74" y="951"/>
                </a:lnTo>
                <a:lnTo>
                  <a:pt x="71" y="949"/>
                </a:lnTo>
                <a:lnTo>
                  <a:pt x="70" y="948"/>
                </a:lnTo>
                <a:close/>
                <a:moveTo>
                  <a:pt x="73" y="945"/>
                </a:moveTo>
                <a:lnTo>
                  <a:pt x="75" y="946"/>
                </a:lnTo>
                <a:lnTo>
                  <a:pt x="74" y="947"/>
                </a:lnTo>
                <a:lnTo>
                  <a:pt x="73" y="947"/>
                </a:lnTo>
                <a:lnTo>
                  <a:pt x="73" y="946"/>
                </a:lnTo>
                <a:lnTo>
                  <a:pt x="71" y="946"/>
                </a:lnTo>
                <a:lnTo>
                  <a:pt x="73" y="945"/>
                </a:lnTo>
                <a:close/>
                <a:moveTo>
                  <a:pt x="75" y="943"/>
                </a:moveTo>
                <a:lnTo>
                  <a:pt x="76" y="943"/>
                </a:lnTo>
                <a:lnTo>
                  <a:pt x="76" y="947"/>
                </a:lnTo>
                <a:lnTo>
                  <a:pt x="75" y="947"/>
                </a:lnTo>
                <a:lnTo>
                  <a:pt x="75" y="943"/>
                </a:lnTo>
                <a:close/>
                <a:moveTo>
                  <a:pt x="74" y="939"/>
                </a:moveTo>
                <a:lnTo>
                  <a:pt x="76" y="939"/>
                </a:lnTo>
                <a:lnTo>
                  <a:pt x="76" y="940"/>
                </a:lnTo>
                <a:lnTo>
                  <a:pt x="79" y="942"/>
                </a:lnTo>
                <a:lnTo>
                  <a:pt x="77" y="943"/>
                </a:lnTo>
                <a:lnTo>
                  <a:pt x="76" y="943"/>
                </a:lnTo>
                <a:lnTo>
                  <a:pt x="75" y="941"/>
                </a:lnTo>
                <a:lnTo>
                  <a:pt x="73" y="941"/>
                </a:lnTo>
                <a:lnTo>
                  <a:pt x="74" y="939"/>
                </a:lnTo>
                <a:close/>
                <a:moveTo>
                  <a:pt x="77" y="918"/>
                </a:moveTo>
                <a:lnTo>
                  <a:pt x="79" y="918"/>
                </a:lnTo>
                <a:lnTo>
                  <a:pt x="81" y="921"/>
                </a:lnTo>
                <a:lnTo>
                  <a:pt x="77" y="921"/>
                </a:lnTo>
                <a:lnTo>
                  <a:pt x="77" y="918"/>
                </a:lnTo>
                <a:close/>
                <a:moveTo>
                  <a:pt x="79" y="917"/>
                </a:moveTo>
                <a:lnTo>
                  <a:pt x="80" y="918"/>
                </a:lnTo>
                <a:lnTo>
                  <a:pt x="79" y="918"/>
                </a:lnTo>
                <a:lnTo>
                  <a:pt x="79" y="917"/>
                </a:lnTo>
                <a:close/>
                <a:moveTo>
                  <a:pt x="83" y="880"/>
                </a:moveTo>
                <a:lnTo>
                  <a:pt x="85" y="880"/>
                </a:lnTo>
                <a:lnTo>
                  <a:pt x="85" y="881"/>
                </a:lnTo>
                <a:lnTo>
                  <a:pt x="83" y="881"/>
                </a:lnTo>
                <a:lnTo>
                  <a:pt x="83" y="880"/>
                </a:lnTo>
                <a:close/>
                <a:moveTo>
                  <a:pt x="68" y="756"/>
                </a:moveTo>
                <a:lnTo>
                  <a:pt x="70" y="756"/>
                </a:lnTo>
                <a:lnTo>
                  <a:pt x="71" y="757"/>
                </a:lnTo>
                <a:lnTo>
                  <a:pt x="71" y="758"/>
                </a:lnTo>
                <a:lnTo>
                  <a:pt x="73" y="759"/>
                </a:lnTo>
                <a:lnTo>
                  <a:pt x="73" y="761"/>
                </a:lnTo>
                <a:lnTo>
                  <a:pt x="70" y="761"/>
                </a:lnTo>
                <a:lnTo>
                  <a:pt x="70" y="762"/>
                </a:lnTo>
                <a:lnTo>
                  <a:pt x="69" y="761"/>
                </a:lnTo>
                <a:lnTo>
                  <a:pt x="69" y="757"/>
                </a:lnTo>
                <a:lnTo>
                  <a:pt x="68" y="756"/>
                </a:lnTo>
                <a:close/>
                <a:moveTo>
                  <a:pt x="67" y="730"/>
                </a:moveTo>
                <a:lnTo>
                  <a:pt x="68" y="731"/>
                </a:lnTo>
                <a:lnTo>
                  <a:pt x="69" y="731"/>
                </a:lnTo>
                <a:lnTo>
                  <a:pt x="71" y="730"/>
                </a:lnTo>
                <a:lnTo>
                  <a:pt x="73" y="730"/>
                </a:lnTo>
                <a:lnTo>
                  <a:pt x="73" y="731"/>
                </a:lnTo>
                <a:lnTo>
                  <a:pt x="71" y="732"/>
                </a:lnTo>
                <a:lnTo>
                  <a:pt x="71" y="736"/>
                </a:lnTo>
                <a:lnTo>
                  <a:pt x="74" y="736"/>
                </a:lnTo>
                <a:lnTo>
                  <a:pt x="75" y="737"/>
                </a:lnTo>
                <a:lnTo>
                  <a:pt x="75" y="734"/>
                </a:lnTo>
                <a:lnTo>
                  <a:pt x="77" y="732"/>
                </a:lnTo>
                <a:lnTo>
                  <a:pt x="80" y="732"/>
                </a:lnTo>
                <a:lnTo>
                  <a:pt x="81" y="733"/>
                </a:lnTo>
                <a:lnTo>
                  <a:pt x="81" y="738"/>
                </a:lnTo>
                <a:lnTo>
                  <a:pt x="79" y="738"/>
                </a:lnTo>
                <a:lnTo>
                  <a:pt x="79" y="737"/>
                </a:lnTo>
                <a:lnTo>
                  <a:pt x="75" y="739"/>
                </a:lnTo>
                <a:lnTo>
                  <a:pt x="75" y="740"/>
                </a:lnTo>
                <a:lnTo>
                  <a:pt x="76" y="740"/>
                </a:lnTo>
                <a:lnTo>
                  <a:pt x="76" y="741"/>
                </a:lnTo>
                <a:lnTo>
                  <a:pt x="75" y="741"/>
                </a:lnTo>
                <a:lnTo>
                  <a:pt x="73" y="743"/>
                </a:lnTo>
                <a:lnTo>
                  <a:pt x="73" y="740"/>
                </a:lnTo>
                <a:lnTo>
                  <a:pt x="71" y="739"/>
                </a:lnTo>
                <a:lnTo>
                  <a:pt x="71" y="738"/>
                </a:lnTo>
                <a:lnTo>
                  <a:pt x="70" y="739"/>
                </a:lnTo>
                <a:lnTo>
                  <a:pt x="69" y="739"/>
                </a:lnTo>
                <a:lnTo>
                  <a:pt x="69" y="737"/>
                </a:lnTo>
                <a:lnTo>
                  <a:pt x="67" y="734"/>
                </a:lnTo>
                <a:lnTo>
                  <a:pt x="67" y="730"/>
                </a:lnTo>
                <a:close/>
                <a:moveTo>
                  <a:pt x="106" y="726"/>
                </a:moveTo>
                <a:lnTo>
                  <a:pt x="107" y="728"/>
                </a:lnTo>
                <a:lnTo>
                  <a:pt x="107" y="730"/>
                </a:lnTo>
                <a:lnTo>
                  <a:pt x="106" y="731"/>
                </a:lnTo>
                <a:lnTo>
                  <a:pt x="105" y="730"/>
                </a:lnTo>
                <a:lnTo>
                  <a:pt x="105" y="731"/>
                </a:lnTo>
                <a:lnTo>
                  <a:pt x="104" y="730"/>
                </a:lnTo>
                <a:lnTo>
                  <a:pt x="104" y="728"/>
                </a:lnTo>
                <a:lnTo>
                  <a:pt x="105" y="727"/>
                </a:lnTo>
                <a:lnTo>
                  <a:pt x="106" y="727"/>
                </a:lnTo>
                <a:lnTo>
                  <a:pt x="106" y="726"/>
                </a:lnTo>
                <a:close/>
                <a:moveTo>
                  <a:pt x="114" y="725"/>
                </a:moveTo>
                <a:lnTo>
                  <a:pt x="116" y="725"/>
                </a:lnTo>
                <a:lnTo>
                  <a:pt x="116" y="728"/>
                </a:lnTo>
                <a:lnTo>
                  <a:pt x="114" y="730"/>
                </a:lnTo>
                <a:lnTo>
                  <a:pt x="114" y="731"/>
                </a:lnTo>
                <a:lnTo>
                  <a:pt x="113" y="731"/>
                </a:lnTo>
                <a:lnTo>
                  <a:pt x="112" y="730"/>
                </a:lnTo>
                <a:lnTo>
                  <a:pt x="111" y="730"/>
                </a:lnTo>
                <a:lnTo>
                  <a:pt x="112" y="731"/>
                </a:lnTo>
                <a:lnTo>
                  <a:pt x="112" y="732"/>
                </a:lnTo>
                <a:lnTo>
                  <a:pt x="111" y="732"/>
                </a:lnTo>
                <a:lnTo>
                  <a:pt x="111" y="733"/>
                </a:lnTo>
                <a:lnTo>
                  <a:pt x="108" y="732"/>
                </a:lnTo>
                <a:lnTo>
                  <a:pt x="108" y="726"/>
                </a:lnTo>
                <a:lnTo>
                  <a:pt x="111" y="726"/>
                </a:lnTo>
                <a:lnTo>
                  <a:pt x="111" y="727"/>
                </a:lnTo>
                <a:lnTo>
                  <a:pt x="112" y="727"/>
                </a:lnTo>
                <a:lnTo>
                  <a:pt x="112" y="726"/>
                </a:lnTo>
                <a:lnTo>
                  <a:pt x="113" y="726"/>
                </a:lnTo>
                <a:lnTo>
                  <a:pt x="113" y="727"/>
                </a:lnTo>
                <a:lnTo>
                  <a:pt x="114" y="726"/>
                </a:lnTo>
                <a:lnTo>
                  <a:pt x="114" y="725"/>
                </a:lnTo>
                <a:close/>
                <a:moveTo>
                  <a:pt x="76" y="722"/>
                </a:moveTo>
                <a:lnTo>
                  <a:pt x="77" y="722"/>
                </a:lnTo>
                <a:lnTo>
                  <a:pt x="79" y="724"/>
                </a:lnTo>
                <a:lnTo>
                  <a:pt x="79" y="727"/>
                </a:lnTo>
                <a:lnTo>
                  <a:pt x="76" y="730"/>
                </a:lnTo>
                <a:lnTo>
                  <a:pt x="76" y="727"/>
                </a:lnTo>
                <a:lnTo>
                  <a:pt x="75" y="728"/>
                </a:lnTo>
                <a:lnTo>
                  <a:pt x="73" y="726"/>
                </a:lnTo>
                <a:lnTo>
                  <a:pt x="73" y="725"/>
                </a:lnTo>
                <a:lnTo>
                  <a:pt x="75" y="725"/>
                </a:lnTo>
                <a:lnTo>
                  <a:pt x="76" y="722"/>
                </a:lnTo>
                <a:close/>
                <a:moveTo>
                  <a:pt x="105" y="720"/>
                </a:moveTo>
                <a:lnTo>
                  <a:pt x="110" y="720"/>
                </a:lnTo>
                <a:lnTo>
                  <a:pt x="110" y="721"/>
                </a:lnTo>
                <a:lnTo>
                  <a:pt x="108" y="721"/>
                </a:lnTo>
                <a:lnTo>
                  <a:pt x="108" y="722"/>
                </a:lnTo>
                <a:lnTo>
                  <a:pt x="106" y="722"/>
                </a:lnTo>
                <a:lnTo>
                  <a:pt x="105" y="724"/>
                </a:lnTo>
                <a:lnTo>
                  <a:pt x="105" y="725"/>
                </a:lnTo>
                <a:lnTo>
                  <a:pt x="102" y="725"/>
                </a:lnTo>
                <a:lnTo>
                  <a:pt x="104" y="724"/>
                </a:lnTo>
                <a:lnTo>
                  <a:pt x="104" y="721"/>
                </a:lnTo>
                <a:lnTo>
                  <a:pt x="105" y="721"/>
                </a:lnTo>
                <a:lnTo>
                  <a:pt x="105" y="720"/>
                </a:lnTo>
                <a:close/>
                <a:moveTo>
                  <a:pt x="136" y="682"/>
                </a:moveTo>
                <a:lnTo>
                  <a:pt x="138" y="682"/>
                </a:lnTo>
                <a:lnTo>
                  <a:pt x="138" y="683"/>
                </a:lnTo>
                <a:lnTo>
                  <a:pt x="139" y="683"/>
                </a:lnTo>
                <a:lnTo>
                  <a:pt x="139" y="687"/>
                </a:lnTo>
                <a:lnTo>
                  <a:pt x="138" y="687"/>
                </a:lnTo>
                <a:lnTo>
                  <a:pt x="138" y="688"/>
                </a:lnTo>
                <a:lnTo>
                  <a:pt x="136" y="688"/>
                </a:lnTo>
                <a:lnTo>
                  <a:pt x="135" y="687"/>
                </a:lnTo>
                <a:lnTo>
                  <a:pt x="135" y="685"/>
                </a:lnTo>
                <a:lnTo>
                  <a:pt x="133" y="684"/>
                </a:lnTo>
                <a:lnTo>
                  <a:pt x="135" y="684"/>
                </a:lnTo>
                <a:lnTo>
                  <a:pt x="135" y="683"/>
                </a:lnTo>
                <a:lnTo>
                  <a:pt x="136" y="683"/>
                </a:lnTo>
                <a:lnTo>
                  <a:pt x="136" y="682"/>
                </a:lnTo>
                <a:close/>
                <a:moveTo>
                  <a:pt x="225" y="554"/>
                </a:moveTo>
                <a:lnTo>
                  <a:pt x="228" y="556"/>
                </a:lnTo>
                <a:lnTo>
                  <a:pt x="226" y="556"/>
                </a:lnTo>
                <a:lnTo>
                  <a:pt x="226" y="558"/>
                </a:lnTo>
                <a:lnTo>
                  <a:pt x="234" y="558"/>
                </a:lnTo>
                <a:lnTo>
                  <a:pt x="235" y="559"/>
                </a:lnTo>
                <a:lnTo>
                  <a:pt x="232" y="560"/>
                </a:lnTo>
                <a:lnTo>
                  <a:pt x="230" y="560"/>
                </a:lnTo>
                <a:lnTo>
                  <a:pt x="226" y="559"/>
                </a:lnTo>
                <a:lnTo>
                  <a:pt x="224" y="559"/>
                </a:lnTo>
                <a:lnTo>
                  <a:pt x="223" y="561"/>
                </a:lnTo>
                <a:lnTo>
                  <a:pt x="220" y="564"/>
                </a:lnTo>
                <a:lnTo>
                  <a:pt x="222" y="566"/>
                </a:lnTo>
                <a:lnTo>
                  <a:pt x="224" y="566"/>
                </a:lnTo>
                <a:lnTo>
                  <a:pt x="224" y="567"/>
                </a:lnTo>
                <a:lnTo>
                  <a:pt x="222" y="567"/>
                </a:lnTo>
                <a:lnTo>
                  <a:pt x="222" y="568"/>
                </a:lnTo>
                <a:lnTo>
                  <a:pt x="219" y="568"/>
                </a:lnTo>
                <a:lnTo>
                  <a:pt x="219" y="565"/>
                </a:lnTo>
                <a:lnTo>
                  <a:pt x="218" y="564"/>
                </a:lnTo>
                <a:lnTo>
                  <a:pt x="217" y="566"/>
                </a:lnTo>
                <a:lnTo>
                  <a:pt x="216" y="567"/>
                </a:lnTo>
                <a:lnTo>
                  <a:pt x="214" y="565"/>
                </a:lnTo>
                <a:lnTo>
                  <a:pt x="214" y="562"/>
                </a:lnTo>
                <a:lnTo>
                  <a:pt x="213" y="561"/>
                </a:lnTo>
                <a:lnTo>
                  <a:pt x="213" y="560"/>
                </a:lnTo>
                <a:lnTo>
                  <a:pt x="214" y="559"/>
                </a:lnTo>
                <a:lnTo>
                  <a:pt x="217" y="555"/>
                </a:lnTo>
                <a:lnTo>
                  <a:pt x="220" y="555"/>
                </a:lnTo>
                <a:lnTo>
                  <a:pt x="225" y="554"/>
                </a:lnTo>
                <a:close/>
                <a:moveTo>
                  <a:pt x="353" y="0"/>
                </a:moveTo>
                <a:lnTo>
                  <a:pt x="355" y="2"/>
                </a:lnTo>
                <a:lnTo>
                  <a:pt x="358" y="8"/>
                </a:lnTo>
                <a:lnTo>
                  <a:pt x="366" y="22"/>
                </a:lnTo>
                <a:lnTo>
                  <a:pt x="366" y="24"/>
                </a:lnTo>
                <a:lnTo>
                  <a:pt x="374" y="27"/>
                </a:lnTo>
                <a:lnTo>
                  <a:pt x="374" y="31"/>
                </a:lnTo>
                <a:lnTo>
                  <a:pt x="375" y="33"/>
                </a:lnTo>
                <a:lnTo>
                  <a:pt x="377" y="34"/>
                </a:lnTo>
                <a:lnTo>
                  <a:pt x="379" y="36"/>
                </a:lnTo>
                <a:lnTo>
                  <a:pt x="392" y="43"/>
                </a:lnTo>
                <a:lnTo>
                  <a:pt x="406" y="49"/>
                </a:lnTo>
                <a:lnTo>
                  <a:pt x="406" y="50"/>
                </a:lnTo>
                <a:lnTo>
                  <a:pt x="409" y="60"/>
                </a:lnTo>
                <a:lnTo>
                  <a:pt x="415" y="75"/>
                </a:lnTo>
                <a:lnTo>
                  <a:pt x="410" y="86"/>
                </a:lnTo>
                <a:lnTo>
                  <a:pt x="394" y="105"/>
                </a:lnTo>
                <a:lnTo>
                  <a:pt x="394" y="108"/>
                </a:lnTo>
                <a:lnTo>
                  <a:pt x="393" y="117"/>
                </a:lnTo>
                <a:lnTo>
                  <a:pt x="393" y="120"/>
                </a:lnTo>
                <a:lnTo>
                  <a:pt x="398" y="126"/>
                </a:lnTo>
                <a:lnTo>
                  <a:pt x="393" y="132"/>
                </a:lnTo>
                <a:lnTo>
                  <a:pt x="389" y="134"/>
                </a:lnTo>
                <a:lnTo>
                  <a:pt x="378" y="142"/>
                </a:lnTo>
                <a:lnTo>
                  <a:pt x="375" y="142"/>
                </a:lnTo>
                <a:lnTo>
                  <a:pt x="375" y="144"/>
                </a:lnTo>
                <a:lnTo>
                  <a:pt x="377" y="145"/>
                </a:lnTo>
                <a:lnTo>
                  <a:pt x="389" y="145"/>
                </a:lnTo>
                <a:lnTo>
                  <a:pt x="392" y="149"/>
                </a:lnTo>
                <a:lnTo>
                  <a:pt x="390" y="159"/>
                </a:lnTo>
                <a:lnTo>
                  <a:pt x="389" y="162"/>
                </a:lnTo>
                <a:lnTo>
                  <a:pt x="378" y="184"/>
                </a:lnTo>
                <a:lnTo>
                  <a:pt x="377" y="185"/>
                </a:lnTo>
                <a:lnTo>
                  <a:pt x="377" y="186"/>
                </a:lnTo>
                <a:lnTo>
                  <a:pt x="378" y="190"/>
                </a:lnTo>
                <a:lnTo>
                  <a:pt x="379" y="192"/>
                </a:lnTo>
                <a:lnTo>
                  <a:pt x="386" y="222"/>
                </a:lnTo>
                <a:lnTo>
                  <a:pt x="387" y="224"/>
                </a:lnTo>
                <a:lnTo>
                  <a:pt x="389" y="226"/>
                </a:lnTo>
                <a:lnTo>
                  <a:pt x="400" y="230"/>
                </a:lnTo>
                <a:lnTo>
                  <a:pt x="414" y="236"/>
                </a:lnTo>
                <a:lnTo>
                  <a:pt x="416" y="239"/>
                </a:lnTo>
                <a:lnTo>
                  <a:pt x="419" y="246"/>
                </a:lnTo>
                <a:lnTo>
                  <a:pt x="421" y="249"/>
                </a:lnTo>
                <a:lnTo>
                  <a:pt x="428" y="265"/>
                </a:lnTo>
                <a:lnTo>
                  <a:pt x="430" y="269"/>
                </a:lnTo>
                <a:lnTo>
                  <a:pt x="443" y="280"/>
                </a:lnTo>
                <a:lnTo>
                  <a:pt x="442" y="282"/>
                </a:lnTo>
                <a:lnTo>
                  <a:pt x="442" y="283"/>
                </a:lnTo>
                <a:lnTo>
                  <a:pt x="441" y="284"/>
                </a:lnTo>
                <a:lnTo>
                  <a:pt x="441" y="294"/>
                </a:lnTo>
                <a:lnTo>
                  <a:pt x="440" y="298"/>
                </a:lnTo>
                <a:lnTo>
                  <a:pt x="439" y="300"/>
                </a:lnTo>
                <a:lnTo>
                  <a:pt x="422" y="323"/>
                </a:lnTo>
                <a:lnTo>
                  <a:pt x="422" y="326"/>
                </a:lnTo>
                <a:lnTo>
                  <a:pt x="421" y="327"/>
                </a:lnTo>
                <a:lnTo>
                  <a:pt x="421" y="328"/>
                </a:lnTo>
                <a:lnTo>
                  <a:pt x="418" y="331"/>
                </a:lnTo>
                <a:lnTo>
                  <a:pt x="405" y="357"/>
                </a:lnTo>
                <a:lnTo>
                  <a:pt x="403" y="365"/>
                </a:lnTo>
                <a:lnTo>
                  <a:pt x="404" y="374"/>
                </a:lnTo>
                <a:lnTo>
                  <a:pt x="414" y="390"/>
                </a:lnTo>
                <a:lnTo>
                  <a:pt x="416" y="396"/>
                </a:lnTo>
                <a:lnTo>
                  <a:pt x="417" y="398"/>
                </a:lnTo>
                <a:lnTo>
                  <a:pt x="417" y="401"/>
                </a:lnTo>
                <a:lnTo>
                  <a:pt x="418" y="402"/>
                </a:lnTo>
                <a:lnTo>
                  <a:pt x="423" y="411"/>
                </a:lnTo>
                <a:lnTo>
                  <a:pt x="423" y="417"/>
                </a:lnTo>
                <a:lnTo>
                  <a:pt x="424" y="418"/>
                </a:lnTo>
                <a:lnTo>
                  <a:pt x="424" y="423"/>
                </a:lnTo>
                <a:lnTo>
                  <a:pt x="425" y="425"/>
                </a:lnTo>
                <a:lnTo>
                  <a:pt x="428" y="431"/>
                </a:lnTo>
                <a:lnTo>
                  <a:pt x="434" y="443"/>
                </a:lnTo>
                <a:lnTo>
                  <a:pt x="437" y="448"/>
                </a:lnTo>
                <a:lnTo>
                  <a:pt x="439" y="450"/>
                </a:lnTo>
                <a:lnTo>
                  <a:pt x="440" y="455"/>
                </a:lnTo>
                <a:lnTo>
                  <a:pt x="441" y="462"/>
                </a:lnTo>
                <a:lnTo>
                  <a:pt x="441" y="464"/>
                </a:lnTo>
                <a:lnTo>
                  <a:pt x="442" y="469"/>
                </a:lnTo>
                <a:lnTo>
                  <a:pt x="443" y="470"/>
                </a:lnTo>
                <a:lnTo>
                  <a:pt x="446" y="480"/>
                </a:lnTo>
                <a:lnTo>
                  <a:pt x="446" y="482"/>
                </a:lnTo>
                <a:lnTo>
                  <a:pt x="447" y="492"/>
                </a:lnTo>
                <a:lnTo>
                  <a:pt x="448" y="494"/>
                </a:lnTo>
                <a:lnTo>
                  <a:pt x="447" y="497"/>
                </a:lnTo>
                <a:lnTo>
                  <a:pt x="446" y="497"/>
                </a:lnTo>
                <a:lnTo>
                  <a:pt x="443" y="494"/>
                </a:lnTo>
                <a:lnTo>
                  <a:pt x="433" y="498"/>
                </a:lnTo>
                <a:lnTo>
                  <a:pt x="430" y="500"/>
                </a:lnTo>
                <a:lnTo>
                  <a:pt x="431" y="501"/>
                </a:lnTo>
                <a:lnTo>
                  <a:pt x="435" y="504"/>
                </a:lnTo>
                <a:lnTo>
                  <a:pt x="436" y="506"/>
                </a:lnTo>
                <a:lnTo>
                  <a:pt x="435" y="507"/>
                </a:lnTo>
                <a:lnTo>
                  <a:pt x="431" y="512"/>
                </a:lnTo>
                <a:lnTo>
                  <a:pt x="431" y="513"/>
                </a:lnTo>
                <a:lnTo>
                  <a:pt x="430" y="518"/>
                </a:lnTo>
                <a:lnTo>
                  <a:pt x="431" y="527"/>
                </a:lnTo>
                <a:lnTo>
                  <a:pt x="431" y="530"/>
                </a:lnTo>
                <a:lnTo>
                  <a:pt x="427" y="536"/>
                </a:lnTo>
                <a:lnTo>
                  <a:pt x="425" y="540"/>
                </a:lnTo>
                <a:lnTo>
                  <a:pt x="427" y="542"/>
                </a:lnTo>
                <a:lnTo>
                  <a:pt x="433" y="542"/>
                </a:lnTo>
                <a:lnTo>
                  <a:pt x="436" y="543"/>
                </a:lnTo>
                <a:lnTo>
                  <a:pt x="436" y="547"/>
                </a:lnTo>
                <a:lnTo>
                  <a:pt x="435" y="548"/>
                </a:lnTo>
                <a:lnTo>
                  <a:pt x="435" y="550"/>
                </a:lnTo>
                <a:lnTo>
                  <a:pt x="436" y="550"/>
                </a:lnTo>
                <a:lnTo>
                  <a:pt x="436" y="553"/>
                </a:lnTo>
                <a:lnTo>
                  <a:pt x="435" y="554"/>
                </a:lnTo>
                <a:lnTo>
                  <a:pt x="429" y="555"/>
                </a:lnTo>
                <a:lnTo>
                  <a:pt x="427" y="558"/>
                </a:lnTo>
                <a:lnTo>
                  <a:pt x="425" y="560"/>
                </a:lnTo>
                <a:lnTo>
                  <a:pt x="425" y="565"/>
                </a:lnTo>
                <a:lnTo>
                  <a:pt x="427" y="573"/>
                </a:lnTo>
                <a:lnTo>
                  <a:pt x="430" y="579"/>
                </a:lnTo>
                <a:lnTo>
                  <a:pt x="434" y="584"/>
                </a:lnTo>
                <a:lnTo>
                  <a:pt x="437" y="585"/>
                </a:lnTo>
                <a:lnTo>
                  <a:pt x="446" y="585"/>
                </a:lnTo>
                <a:lnTo>
                  <a:pt x="447" y="586"/>
                </a:lnTo>
                <a:lnTo>
                  <a:pt x="448" y="586"/>
                </a:lnTo>
                <a:lnTo>
                  <a:pt x="448" y="587"/>
                </a:lnTo>
                <a:lnTo>
                  <a:pt x="447" y="589"/>
                </a:lnTo>
                <a:lnTo>
                  <a:pt x="447" y="591"/>
                </a:lnTo>
                <a:lnTo>
                  <a:pt x="448" y="592"/>
                </a:lnTo>
                <a:lnTo>
                  <a:pt x="448" y="593"/>
                </a:lnTo>
                <a:lnTo>
                  <a:pt x="449" y="595"/>
                </a:lnTo>
                <a:lnTo>
                  <a:pt x="450" y="597"/>
                </a:lnTo>
                <a:lnTo>
                  <a:pt x="450" y="599"/>
                </a:lnTo>
                <a:lnTo>
                  <a:pt x="448" y="602"/>
                </a:lnTo>
                <a:lnTo>
                  <a:pt x="441" y="605"/>
                </a:lnTo>
                <a:lnTo>
                  <a:pt x="441" y="609"/>
                </a:lnTo>
                <a:lnTo>
                  <a:pt x="442" y="609"/>
                </a:lnTo>
                <a:lnTo>
                  <a:pt x="442" y="612"/>
                </a:lnTo>
                <a:lnTo>
                  <a:pt x="445" y="614"/>
                </a:lnTo>
                <a:lnTo>
                  <a:pt x="446" y="616"/>
                </a:lnTo>
                <a:lnTo>
                  <a:pt x="446" y="618"/>
                </a:lnTo>
                <a:lnTo>
                  <a:pt x="445" y="621"/>
                </a:lnTo>
                <a:lnTo>
                  <a:pt x="445" y="624"/>
                </a:lnTo>
                <a:lnTo>
                  <a:pt x="447" y="627"/>
                </a:lnTo>
                <a:lnTo>
                  <a:pt x="449" y="628"/>
                </a:lnTo>
                <a:lnTo>
                  <a:pt x="456" y="630"/>
                </a:lnTo>
                <a:lnTo>
                  <a:pt x="460" y="634"/>
                </a:lnTo>
                <a:lnTo>
                  <a:pt x="460" y="636"/>
                </a:lnTo>
                <a:lnTo>
                  <a:pt x="461" y="638"/>
                </a:lnTo>
                <a:lnTo>
                  <a:pt x="464" y="638"/>
                </a:lnTo>
                <a:lnTo>
                  <a:pt x="466" y="640"/>
                </a:lnTo>
                <a:lnTo>
                  <a:pt x="466" y="642"/>
                </a:lnTo>
                <a:lnTo>
                  <a:pt x="465" y="645"/>
                </a:lnTo>
                <a:lnTo>
                  <a:pt x="465" y="646"/>
                </a:lnTo>
                <a:lnTo>
                  <a:pt x="466" y="647"/>
                </a:lnTo>
                <a:lnTo>
                  <a:pt x="466" y="650"/>
                </a:lnTo>
                <a:lnTo>
                  <a:pt x="467" y="653"/>
                </a:lnTo>
                <a:lnTo>
                  <a:pt x="467" y="657"/>
                </a:lnTo>
                <a:lnTo>
                  <a:pt x="466" y="659"/>
                </a:lnTo>
                <a:lnTo>
                  <a:pt x="464" y="663"/>
                </a:lnTo>
                <a:lnTo>
                  <a:pt x="456" y="671"/>
                </a:lnTo>
                <a:lnTo>
                  <a:pt x="454" y="678"/>
                </a:lnTo>
                <a:lnTo>
                  <a:pt x="452" y="682"/>
                </a:lnTo>
                <a:lnTo>
                  <a:pt x="445" y="684"/>
                </a:lnTo>
                <a:lnTo>
                  <a:pt x="442" y="685"/>
                </a:lnTo>
                <a:lnTo>
                  <a:pt x="442" y="689"/>
                </a:lnTo>
                <a:lnTo>
                  <a:pt x="453" y="702"/>
                </a:lnTo>
                <a:lnTo>
                  <a:pt x="459" y="706"/>
                </a:lnTo>
                <a:lnTo>
                  <a:pt x="461" y="710"/>
                </a:lnTo>
                <a:lnTo>
                  <a:pt x="464" y="713"/>
                </a:lnTo>
                <a:lnTo>
                  <a:pt x="477" y="721"/>
                </a:lnTo>
                <a:lnTo>
                  <a:pt x="484" y="730"/>
                </a:lnTo>
                <a:lnTo>
                  <a:pt x="492" y="736"/>
                </a:lnTo>
                <a:lnTo>
                  <a:pt x="495" y="738"/>
                </a:lnTo>
                <a:lnTo>
                  <a:pt x="495" y="744"/>
                </a:lnTo>
                <a:lnTo>
                  <a:pt x="496" y="745"/>
                </a:lnTo>
                <a:lnTo>
                  <a:pt x="496" y="746"/>
                </a:lnTo>
                <a:lnTo>
                  <a:pt x="497" y="749"/>
                </a:lnTo>
                <a:lnTo>
                  <a:pt x="499" y="750"/>
                </a:lnTo>
                <a:lnTo>
                  <a:pt x="501" y="752"/>
                </a:lnTo>
                <a:lnTo>
                  <a:pt x="504" y="756"/>
                </a:lnTo>
                <a:lnTo>
                  <a:pt x="504" y="757"/>
                </a:lnTo>
                <a:lnTo>
                  <a:pt x="505" y="757"/>
                </a:lnTo>
                <a:lnTo>
                  <a:pt x="507" y="759"/>
                </a:lnTo>
                <a:lnTo>
                  <a:pt x="507" y="762"/>
                </a:lnTo>
                <a:lnTo>
                  <a:pt x="508" y="764"/>
                </a:lnTo>
                <a:lnTo>
                  <a:pt x="509" y="765"/>
                </a:lnTo>
                <a:lnTo>
                  <a:pt x="505" y="773"/>
                </a:lnTo>
                <a:lnTo>
                  <a:pt x="503" y="776"/>
                </a:lnTo>
                <a:lnTo>
                  <a:pt x="502" y="780"/>
                </a:lnTo>
                <a:lnTo>
                  <a:pt x="501" y="788"/>
                </a:lnTo>
                <a:lnTo>
                  <a:pt x="499" y="790"/>
                </a:lnTo>
                <a:lnTo>
                  <a:pt x="498" y="794"/>
                </a:lnTo>
                <a:lnTo>
                  <a:pt x="497" y="795"/>
                </a:lnTo>
                <a:lnTo>
                  <a:pt x="496" y="800"/>
                </a:lnTo>
                <a:lnTo>
                  <a:pt x="495" y="802"/>
                </a:lnTo>
                <a:lnTo>
                  <a:pt x="495" y="804"/>
                </a:lnTo>
                <a:lnTo>
                  <a:pt x="492" y="805"/>
                </a:lnTo>
                <a:lnTo>
                  <a:pt x="491" y="805"/>
                </a:lnTo>
                <a:lnTo>
                  <a:pt x="491" y="806"/>
                </a:lnTo>
                <a:lnTo>
                  <a:pt x="490" y="808"/>
                </a:lnTo>
                <a:lnTo>
                  <a:pt x="484" y="816"/>
                </a:lnTo>
                <a:lnTo>
                  <a:pt x="484" y="817"/>
                </a:lnTo>
                <a:lnTo>
                  <a:pt x="483" y="819"/>
                </a:lnTo>
                <a:lnTo>
                  <a:pt x="481" y="820"/>
                </a:lnTo>
                <a:lnTo>
                  <a:pt x="481" y="822"/>
                </a:lnTo>
                <a:lnTo>
                  <a:pt x="472" y="829"/>
                </a:lnTo>
                <a:lnTo>
                  <a:pt x="471" y="830"/>
                </a:lnTo>
                <a:lnTo>
                  <a:pt x="470" y="830"/>
                </a:lnTo>
                <a:lnTo>
                  <a:pt x="470" y="831"/>
                </a:lnTo>
                <a:lnTo>
                  <a:pt x="468" y="833"/>
                </a:lnTo>
                <a:lnTo>
                  <a:pt x="462" y="842"/>
                </a:lnTo>
                <a:lnTo>
                  <a:pt x="456" y="848"/>
                </a:lnTo>
                <a:lnTo>
                  <a:pt x="449" y="861"/>
                </a:lnTo>
                <a:lnTo>
                  <a:pt x="442" y="872"/>
                </a:lnTo>
                <a:lnTo>
                  <a:pt x="435" y="879"/>
                </a:lnTo>
                <a:lnTo>
                  <a:pt x="434" y="882"/>
                </a:lnTo>
                <a:lnTo>
                  <a:pt x="434" y="884"/>
                </a:lnTo>
                <a:lnTo>
                  <a:pt x="428" y="891"/>
                </a:lnTo>
                <a:lnTo>
                  <a:pt x="423" y="893"/>
                </a:lnTo>
                <a:lnTo>
                  <a:pt x="422" y="894"/>
                </a:lnTo>
                <a:lnTo>
                  <a:pt x="422" y="896"/>
                </a:lnTo>
                <a:lnTo>
                  <a:pt x="419" y="900"/>
                </a:lnTo>
                <a:lnTo>
                  <a:pt x="414" y="906"/>
                </a:lnTo>
                <a:lnTo>
                  <a:pt x="412" y="909"/>
                </a:lnTo>
                <a:lnTo>
                  <a:pt x="412" y="910"/>
                </a:lnTo>
                <a:lnTo>
                  <a:pt x="411" y="911"/>
                </a:lnTo>
                <a:lnTo>
                  <a:pt x="409" y="915"/>
                </a:lnTo>
                <a:lnTo>
                  <a:pt x="406" y="917"/>
                </a:lnTo>
                <a:lnTo>
                  <a:pt x="399" y="922"/>
                </a:lnTo>
                <a:lnTo>
                  <a:pt x="397" y="923"/>
                </a:lnTo>
                <a:lnTo>
                  <a:pt x="394" y="927"/>
                </a:lnTo>
                <a:lnTo>
                  <a:pt x="392" y="928"/>
                </a:lnTo>
                <a:lnTo>
                  <a:pt x="390" y="930"/>
                </a:lnTo>
                <a:lnTo>
                  <a:pt x="387" y="934"/>
                </a:lnTo>
                <a:lnTo>
                  <a:pt x="386" y="935"/>
                </a:lnTo>
                <a:lnTo>
                  <a:pt x="386" y="937"/>
                </a:lnTo>
                <a:lnTo>
                  <a:pt x="384" y="940"/>
                </a:lnTo>
                <a:lnTo>
                  <a:pt x="380" y="941"/>
                </a:lnTo>
                <a:lnTo>
                  <a:pt x="373" y="948"/>
                </a:lnTo>
                <a:lnTo>
                  <a:pt x="368" y="954"/>
                </a:lnTo>
                <a:lnTo>
                  <a:pt x="365" y="958"/>
                </a:lnTo>
                <a:lnTo>
                  <a:pt x="359" y="965"/>
                </a:lnTo>
                <a:lnTo>
                  <a:pt x="358" y="966"/>
                </a:lnTo>
                <a:lnTo>
                  <a:pt x="354" y="971"/>
                </a:lnTo>
                <a:lnTo>
                  <a:pt x="350" y="974"/>
                </a:lnTo>
                <a:lnTo>
                  <a:pt x="349" y="974"/>
                </a:lnTo>
                <a:lnTo>
                  <a:pt x="349" y="973"/>
                </a:lnTo>
                <a:lnTo>
                  <a:pt x="348" y="972"/>
                </a:lnTo>
                <a:lnTo>
                  <a:pt x="347" y="973"/>
                </a:lnTo>
                <a:lnTo>
                  <a:pt x="348" y="973"/>
                </a:lnTo>
                <a:lnTo>
                  <a:pt x="348" y="974"/>
                </a:lnTo>
                <a:lnTo>
                  <a:pt x="347" y="974"/>
                </a:lnTo>
                <a:lnTo>
                  <a:pt x="347" y="977"/>
                </a:lnTo>
                <a:lnTo>
                  <a:pt x="348" y="978"/>
                </a:lnTo>
                <a:lnTo>
                  <a:pt x="347" y="978"/>
                </a:lnTo>
                <a:lnTo>
                  <a:pt x="348" y="979"/>
                </a:lnTo>
                <a:lnTo>
                  <a:pt x="347" y="980"/>
                </a:lnTo>
                <a:lnTo>
                  <a:pt x="343" y="980"/>
                </a:lnTo>
                <a:lnTo>
                  <a:pt x="343" y="979"/>
                </a:lnTo>
                <a:lnTo>
                  <a:pt x="344" y="978"/>
                </a:lnTo>
                <a:lnTo>
                  <a:pt x="346" y="978"/>
                </a:lnTo>
                <a:lnTo>
                  <a:pt x="343" y="977"/>
                </a:lnTo>
                <a:lnTo>
                  <a:pt x="343" y="978"/>
                </a:lnTo>
                <a:lnTo>
                  <a:pt x="342" y="978"/>
                </a:lnTo>
                <a:lnTo>
                  <a:pt x="342" y="980"/>
                </a:lnTo>
                <a:lnTo>
                  <a:pt x="343" y="982"/>
                </a:lnTo>
                <a:lnTo>
                  <a:pt x="341" y="982"/>
                </a:lnTo>
                <a:lnTo>
                  <a:pt x="337" y="978"/>
                </a:lnTo>
                <a:lnTo>
                  <a:pt x="336" y="979"/>
                </a:lnTo>
                <a:lnTo>
                  <a:pt x="337" y="980"/>
                </a:lnTo>
                <a:lnTo>
                  <a:pt x="336" y="980"/>
                </a:lnTo>
                <a:lnTo>
                  <a:pt x="336" y="982"/>
                </a:lnTo>
                <a:lnTo>
                  <a:pt x="337" y="982"/>
                </a:lnTo>
                <a:lnTo>
                  <a:pt x="337" y="983"/>
                </a:lnTo>
                <a:lnTo>
                  <a:pt x="335" y="983"/>
                </a:lnTo>
                <a:lnTo>
                  <a:pt x="331" y="979"/>
                </a:lnTo>
                <a:lnTo>
                  <a:pt x="327" y="979"/>
                </a:lnTo>
                <a:lnTo>
                  <a:pt x="325" y="978"/>
                </a:lnTo>
                <a:lnTo>
                  <a:pt x="325" y="977"/>
                </a:lnTo>
                <a:lnTo>
                  <a:pt x="329" y="977"/>
                </a:lnTo>
                <a:lnTo>
                  <a:pt x="328" y="976"/>
                </a:lnTo>
                <a:lnTo>
                  <a:pt x="325" y="974"/>
                </a:lnTo>
                <a:lnTo>
                  <a:pt x="325" y="972"/>
                </a:lnTo>
                <a:lnTo>
                  <a:pt x="324" y="972"/>
                </a:lnTo>
                <a:lnTo>
                  <a:pt x="324" y="978"/>
                </a:lnTo>
                <a:lnTo>
                  <a:pt x="323" y="977"/>
                </a:lnTo>
                <a:lnTo>
                  <a:pt x="322" y="977"/>
                </a:lnTo>
                <a:lnTo>
                  <a:pt x="322" y="976"/>
                </a:lnTo>
                <a:lnTo>
                  <a:pt x="321" y="976"/>
                </a:lnTo>
                <a:lnTo>
                  <a:pt x="321" y="977"/>
                </a:lnTo>
                <a:lnTo>
                  <a:pt x="319" y="977"/>
                </a:lnTo>
                <a:lnTo>
                  <a:pt x="318" y="976"/>
                </a:lnTo>
                <a:lnTo>
                  <a:pt x="317" y="976"/>
                </a:lnTo>
                <a:lnTo>
                  <a:pt x="317" y="978"/>
                </a:lnTo>
                <a:lnTo>
                  <a:pt x="316" y="980"/>
                </a:lnTo>
                <a:lnTo>
                  <a:pt x="313" y="980"/>
                </a:lnTo>
                <a:lnTo>
                  <a:pt x="315" y="982"/>
                </a:lnTo>
                <a:lnTo>
                  <a:pt x="315" y="984"/>
                </a:lnTo>
                <a:lnTo>
                  <a:pt x="313" y="982"/>
                </a:lnTo>
                <a:lnTo>
                  <a:pt x="312" y="982"/>
                </a:lnTo>
                <a:lnTo>
                  <a:pt x="309" y="983"/>
                </a:lnTo>
                <a:lnTo>
                  <a:pt x="307" y="983"/>
                </a:lnTo>
                <a:lnTo>
                  <a:pt x="307" y="982"/>
                </a:lnTo>
                <a:lnTo>
                  <a:pt x="309" y="980"/>
                </a:lnTo>
                <a:lnTo>
                  <a:pt x="306" y="980"/>
                </a:lnTo>
                <a:lnTo>
                  <a:pt x="306" y="982"/>
                </a:lnTo>
                <a:lnTo>
                  <a:pt x="305" y="982"/>
                </a:lnTo>
                <a:lnTo>
                  <a:pt x="305" y="985"/>
                </a:lnTo>
                <a:lnTo>
                  <a:pt x="304" y="985"/>
                </a:lnTo>
                <a:lnTo>
                  <a:pt x="304" y="986"/>
                </a:lnTo>
                <a:lnTo>
                  <a:pt x="303" y="986"/>
                </a:lnTo>
                <a:lnTo>
                  <a:pt x="303" y="985"/>
                </a:lnTo>
                <a:lnTo>
                  <a:pt x="301" y="984"/>
                </a:lnTo>
                <a:lnTo>
                  <a:pt x="300" y="984"/>
                </a:lnTo>
                <a:lnTo>
                  <a:pt x="300" y="983"/>
                </a:lnTo>
                <a:lnTo>
                  <a:pt x="299" y="984"/>
                </a:lnTo>
                <a:lnTo>
                  <a:pt x="298" y="984"/>
                </a:lnTo>
                <a:lnTo>
                  <a:pt x="298" y="985"/>
                </a:lnTo>
                <a:lnTo>
                  <a:pt x="297" y="985"/>
                </a:lnTo>
                <a:lnTo>
                  <a:pt x="297" y="984"/>
                </a:lnTo>
                <a:lnTo>
                  <a:pt x="294" y="982"/>
                </a:lnTo>
                <a:lnTo>
                  <a:pt x="294" y="979"/>
                </a:lnTo>
                <a:lnTo>
                  <a:pt x="296" y="979"/>
                </a:lnTo>
                <a:lnTo>
                  <a:pt x="297" y="978"/>
                </a:lnTo>
                <a:lnTo>
                  <a:pt x="298" y="976"/>
                </a:lnTo>
                <a:lnTo>
                  <a:pt x="298" y="972"/>
                </a:lnTo>
                <a:lnTo>
                  <a:pt x="300" y="970"/>
                </a:lnTo>
                <a:lnTo>
                  <a:pt x="301" y="970"/>
                </a:lnTo>
                <a:lnTo>
                  <a:pt x="306" y="973"/>
                </a:lnTo>
                <a:lnTo>
                  <a:pt x="305" y="970"/>
                </a:lnTo>
                <a:lnTo>
                  <a:pt x="304" y="967"/>
                </a:lnTo>
                <a:lnTo>
                  <a:pt x="301" y="966"/>
                </a:lnTo>
                <a:lnTo>
                  <a:pt x="299" y="968"/>
                </a:lnTo>
                <a:lnTo>
                  <a:pt x="297" y="972"/>
                </a:lnTo>
                <a:lnTo>
                  <a:pt x="293" y="979"/>
                </a:lnTo>
                <a:lnTo>
                  <a:pt x="293" y="982"/>
                </a:lnTo>
                <a:lnTo>
                  <a:pt x="294" y="984"/>
                </a:lnTo>
                <a:lnTo>
                  <a:pt x="293" y="985"/>
                </a:lnTo>
                <a:lnTo>
                  <a:pt x="293" y="986"/>
                </a:lnTo>
                <a:lnTo>
                  <a:pt x="292" y="986"/>
                </a:lnTo>
                <a:lnTo>
                  <a:pt x="292" y="989"/>
                </a:lnTo>
                <a:lnTo>
                  <a:pt x="290" y="986"/>
                </a:lnTo>
                <a:lnTo>
                  <a:pt x="290" y="989"/>
                </a:lnTo>
                <a:lnTo>
                  <a:pt x="288" y="989"/>
                </a:lnTo>
                <a:lnTo>
                  <a:pt x="288" y="990"/>
                </a:lnTo>
                <a:lnTo>
                  <a:pt x="287" y="989"/>
                </a:lnTo>
                <a:lnTo>
                  <a:pt x="287" y="988"/>
                </a:lnTo>
                <a:lnTo>
                  <a:pt x="286" y="986"/>
                </a:lnTo>
                <a:lnTo>
                  <a:pt x="286" y="985"/>
                </a:lnTo>
                <a:lnTo>
                  <a:pt x="285" y="984"/>
                </a:lnTo>
                <a:lnTo>
                  <a:pt x="284" y="984"/>
                </a:lnTo>
                <a:lnTo>
                  <a:pt x="284" y="986"/>
                </a:lnTo>
                <a:lnTo>
                  <a:pt x="286" y="988"/>
                </a:lnTo>
                <a:lnTo>
                  <a:pt x="280" y="988"/>
                </a:lnTo>
                <a:lnTo>
                  <a:pt x="278" y="986"/>
                </a:lnTo>
                <a:lnTo>
                  <a:pt x="272" y="980"/>
                </a:lnTo>
                <a:lnTo>
                  <a:pt x="271" y="980"/>
                </a:lnTo>
                <a:lnTo>
                  <a:pt x="271" y="982"/>
                </a:lnTo>
                <a:lnTo>
                  <a:pt x="273" y="983"/>
                </a:lnTo>
                <a:lnTo>
                  <a:pt x="275" y="985"/>
                </a:lnTo>
                <a:lnTo>
                  <a:pt x="275" y="988"/>
                </a:lnTo>
                <a:lnTo>
                  <a:pt x="274" y="988"/>
                </a:lnTo>
                <a:lnTo>
                  <a:pt x="274" y="989"/>
                </a:lnTo>
                <a:lnTo>
                  <a:pt x="279" y="994"/>
                </a:lnTo>
                <a:lnTo>
                  <a:pt x="279" y="995"/>
                </a:lnTo>
                <a:lnTo>
                  <a:pt x="278" y="996"/>
                </a:lnTo>
                <a:lnTo>
                  <a:pt x="275" y="996"/>
                </a:lnTo>
                <a:lnTo>
                  <a:pt x="275" y="995"/>
                </a:lnTo>
                <a:lnTo>
                  <a:pt x="274" y="992"/>
                </a:lnTo>
                <a:lnTo>
                  <a:pt x="274" y="991"/>
                </a:lnTo>
                <a:lnTo>
                  <a:pt x="272" y="991"/>
                </a:lnTo>
                <a:lnTo>
                  <a:pt x="268" y="988"/>
                </a:lnTo>
                <a:lnTo>
                  <a:pt x="267" y="988"/>
                </a:lnTo>
                <a:lnTo>
                  <a:pt x="269" y="990"/>
                </a:lnTo>
                <a:lnTo>
                  <a:pt x="269" y="991"/>
                </a:lnTo>
                <a:lnTo>
                  <a:pt x="271" y="991"/>
                </a:lnTo>
                <a:lnTo>
                  <a:pt x="271" y="994"/>
                </a:lnTo>
                <a:lnTo>
                  <a:pt x="269" y="995"/>
                </a:lnTo>
                <a:lnTo>
                  <a:pt x="269" y="997"/>
                </a:lnTo>
                <a:lnTo>
                  <a:pt x="271" y="999"/>
                </a:lnTo>
                <a:lnTo>
                  <a:pt x="271" y="1001"/>
                </a:lnTo>
                <a:lnTo>
                  <a:pt x="269" y="1001"/>
                </a:lnTo>
                <a:lnTo>
                  <a:pt x="268" y="999"/>
                </a:lnTo>
                <a:lnTo>
                  <a:pt x="268" y="998"/>
                </a:lnTo>
                <a:lnTo>
                  <a:pt x="267" y="997"/>
                </a:lnTo>
                <a:lnTo>
                  <a:pt x="266" y="997"/>
                </a:lnTo>
                <a:lnTo>
                  <a:pt x="265" y="995"/>
                </a:lnTo>
                <a:lnTo>
                  <a:pt x="263" y="995"/>
                </a:lnTo>
                <a:lnTo>
                  <a:pt x="263" y="997"/>
                </a:lnTo>
                <a:lnTo>
                  <a:pt x="265" y="998"/>
                </a:lnTo>
                <a:lnTo>
                  <a:pt x="267" y="999"/>
                </a:lnTo>
                <a:lnTo>
                  <a:pt x="265" y="1001"/>
                </a:lnTo>
                <a:lnTo>
                  <a:pt x="263" y="1002"/>
                </a:lnTo>
                <a:lnTo>
                  <a:pt x="262" y="1001"/>
                </a:lnTo>
                <a:lnTo>
                  <a:pt x="260" y="997"/>
                </a:lnTo>
                <a:lnTo>
                  <a:pt x="259" y="996"/>
                </a:lnTo>
                <a:lnTo>
                  <a:pt x="259" y="995"/>
                </a:lnTo>
                <a:lnTo>
                  <a:pt x="260" y="995"/>
                </a:lnTo>
                <a:lnTo>
                  <a:pt x="260" y="994"/>
                </a:lnTo>
                <a:lnTo>
                  <a:pt x="259" y="994"/>
                </a:lnTo>
                <a:lnTo>
                  <a:pt x="259" y="992"/>
                </a:lnTo>
                <a:lnTo>
                  <a:pt x="261" y="992"/>
                </a:lnTo>
                <a:lnTo>
                  <a:pt x="261" y="991"/>
                </a:lnTo>
                <a:lnTo>
                  <a:pt x="259" y="991"/>
                </a:lnTo>
                <a:lnTo>
                  <a:pt x="259" y="992"/>
                </a:lnTo>
                <a:lnTo>
                  <a:pt x="257" y="994"/>
                </a:lnTo>
                <a:lnTo>
                  <a:pt x="254" y="994"/>
                </a:lnTo>
                <a:lnTo>
                  <a:pt x="254" y="995"/>
                </a:lnTo>
                <a:lnTo>
                  <a:pt x="255" y="995"/>
                </a:lnTo>
                <a:lnTo>
                  <a:pt x="255" y="998"/>
                </a:lnTo>
                <a:lnTo>
                  <a:pt x="254" y="998"/>
                </a:lnTo>
                <a:lnTo>
                  <a:pt x="254" y="1001"/>
                </a:lnTo>
                <a:lnTo>
                  <a:pt x="247" y="1001"/>
                </a:lnTo>
                <a:lnTo>
                  <a:pt x="247" y="999"/>
                </a:lnTo>
                <a:lnTo>
                  <a:pt x="245" y="998"/>
                </a:lnTo>
                <a:lnTo>
                  <a:pt x="245" y="1001"/>
                </a:lnTo>
                <a:lnTo>
                  <a:pt x="240" y="1001"/>
                </a:lnTo>
                <a:lnTo>
                  <a:pt x="240" y="1003"/>
                </a:lnTo>
                <a:lnTo>
                  <a:pt x="238" y="1002"/>
                </a:lnTo>
                <a:lnTo>
                  <a:pt x="238" y="1003"/>
                </a:lnTo>
                <a:lnTo>
                  <a:pt x="240" y="1004"/>
                </a:lnTo>
                <a:lnTo>
                  <a:pt x="240" y="1007"/>
                </a:lnTo>
                <a:lnTo>
                  <a:pt x="236" y="1007"/>
                </a:lnTo>
                <a:lnTo>
                  <a:pt x="236" y="1005"/>
                </a:lnTo>
                <a:lnTo>
                  <a:pt x="234" y="1008"/>
                </a:lnTo>
                <a:lnTo>
                  <a:pt x="235" y="1008"/>
                </a:lnTo>
                <a:lnTo>
                  <a:pt x="235" y="1009"/>
                </a:lnTo>
                <a:lnTo>
                  <a:pt x="232" y="1009"/>
                </a:lnTo>
                <a:lnTo>
                  <a:pt x="231" y="1008"/>
                </a:lnTo>
                <a:lnTo>
                  <a:pt x="232" y="1008"/>
                </a:lnTo>
                <a:lnTo>
                  <a:pt x="232" y="1004"/>
                </a:lnTo>
                <a:lnTo>
                  <a:pt x="231" y="1004"/>
                </a:lnTo>
                <a:lnTo>
                  <a:pt x="231" y="1005"/>
                </a:lnTo>
                <a:lnTo>
                  <a:pt x="230" y="1009"/>
                </a:lnTo>
                <a:lnTo>
                  <a:pt x="230" y="1010"/>
                </a:lnTo>
                <a:lnTo>
                  <a:pt x="225" y="1010"/>
                </a:lnTo>
                <a:lnTo>
                  <a:pt x="225" y="1009"/>
                </a:lnTo>
                <a:lnTo>
                  <a:pt x="226" y="1008"/>
                </a:lnTo>
                <a:lnTo>
                  <a:pt x="226" y="1007"/>
                </a:lnTo>
                <a:lnTo>
                  <a:pt x="225" y="1005"/>
                </a:lnTo>
                <a:lnTo>
                  <a:pt x="224" y="1005"/>
                </a:lnTo>
                <a:lnTo>
                  <a:pt x="224" y="1009"/>
                </a:lnTo>
                <a:lnTo>
                  <a:pt x="223" y="1009"/>
                </a:lnTo>
                <a:lnTo>
                  <a:pt x="222" y="1010"/>
                </a:lnTo>
                <a:lnTo>
                  <a:pt x="218" y="1010"/>
                </a:lnTo>
                <a:lnTo>
                  <a:pt x="218" y="1014"/>
                </a:lnTo>
                <a:lnTo>
                  <a:pt x="217" y="1014"/>
                </a:lnTo>
                <a:lnTo>
                  <a:pt x="217" y="1011"/>
                </a:lnTo>
                <a:lnTo>
                  <a:pt x="216" y="1010"/>
                </a:lnTo>
                <a:lnTo>
                  <a:pt x="213" y="1009"/>
                </a:lnTo>
                <a:lnTo>
                  <a:pt x="212" y="1009"/>
                </a:lnTo>
                <a:lnTo>
                  <a:pt x="213" y="1010"/>
                </a:lnTo>
                <a:lnTo>
                  <a:pt x="214" y="1010"/>
                </a:lnTo>
                <a:lnTo>
                  <a:pt x="214" y="1013"/>
                </a:lnTo>
                <a:lnTo>
                  <a:pt x="213" y="1013"/>
                </a:lnTo>
                <a:lnTo>
                  <a:pt x="212" y="1014"/>
                </a:lnTo>
                <a:lnTo>
                  <a:pt x="212" y="1015"/>
                </a:lnTo>
                <a:lnTo>
                  <a:pt x="214" y="1014"/>
                </a:lnTo>
                <a:lnTo>
                  <a:pt x="214" y="1015"/>
                </a:lnTo>
                <a:lnTo>
                  <a:pt x="213" y="1015"/>
                </a:lnTo>
                <a:lnTo>
                  <a:pt x="214" y="1016"/>
                </a:lnTo>
                <a:lnTo>
                  <a:pt x="210" y="1021"/>
                </a:lnTo>
                <a:lnTo>
                  <a:pt x="210" y="1022"/>
                </a:lnTo>
                <a:lnTo>
                  <a:pt x="207" y="1022"/>
                </a:lnTo>
                <a:lnTo>
                  <a:pt x="207" y="1021"/>
                </a:lnTo>
                <a:lnTo>
                  <a:pt x="209" y="1019"/>
                </a:lnTo>
                <a:lnTo>
                  <a:pt x="209" y="1017"/>
                </a:lnTo>
                <a:lnTo>
                  <a:pt x="205" y="1021"/>
                </a:lnTo>
                <a:lnTo>
                  <a:pt x="205" y="1020"/>
                </a:lnTo>
                <a:lnTo>
                  <a:pt x="203" y="1022"/>
                </a:lnTo>
                <a:lnTo>
                  <a:pt x="203" y="1021"/>
                </a:lnTo>
                <a:lnTo>
                  <a:pt x="205" y="1019"/>
                </a:lnTo>
                <a:lnTo>
                  <a:pt x="205" y="1015"/>
                </a:lnTo>
                <a:lnTo>
                  <a:pt x="203" y="1015"/>
                </a:lnTo>
                <a:lnTo>
                  <a:pt x="203" y="1016"/>
                </a:lnTo>
                <a:lnTo>
                  <a:pt x="201" y="1016"/>
                </a:lnTo>
                <a:lnTo>
                  <a:pt x="201" y="1017"/>
                </a:lnTo>
                <a:lnTo>
                  <a:pt x="200" y="1019"/>
                </a:lnTo>
                <a:lnTo>
                  <a:pt x="198" y="1017"/>
                </a:lnTo>
                <a:lnTo>
                  <a:pt x="197" y="1017"/>
                </a:lnTo>
                <a:lnTo>
                  <a:pt x="197" y="1019"/>
                </a:lnTo>
                <a:lnTo>
                  <a:pt x="198" y="1020"/>
                </a:lnTo>
                <a:lnTo>
                  <a:pt x="195" y="1020"/>
                </a:lnTo>
                <a:lnTo>
                  <a:pt x="194" y="1019"/>
                </a:lnTo>
                <a:lnTo>
                  <a:pt x="192" y="1020"/>
                </a:lnTo>
                <a:lnTo>
                  <a:pt x="191" y="1021"/>
                </a:lnTo>
                <a:lnTo>
                  <a:pt x="189" y="1021"/>
                </a:lnTo>
                <a:lnTo>
                  <a:pt x="189" y="1020"/>
                </a:lnTo>
                <a:lnTo>
                  <a:pt x="191" y="1019"/>
                </a:lnTo>
                <a:lnTo>
                  <a:pt x="189" y="1019"/>
                </a:lnTo>
                <a:lnTo>
                  <a:pt x="188" y="1020"/>
                </a:lnTo>
                <a:lnTo>
                  <a:pt x="188" y="1021"/>
                </a:lnTo>
                <a:lnTo>
                  <a:pt x="187" y="1021"/>
                </a:lnTo>
                <a:lnTo>
                  <a:pt x="187" y="1022"/>
                </a:lnTo>
                <a:lnTo>
                  <a:pt x="185" y="1022"/>
                </a:lnTo>
                <a:lnTo>
                  <a:pt x="181" y="1026"/>
                </a:lnTo>
                <a:lnTo>
                  <a:pt x="180" y="1025"/>
                </a:lnTo>
                <a:lnTo>
                  <a:pt x="173" y="1026"/>
                </a:lnTo>
                <a:lnTo>
                  <a:pt x="173" y="1025"/>
                </a:lnTo>
                <a:lnTo>
                  <a:pt x="172" y="1025"/>
                </a:lnTo>
                <a:lnTo>
                  <a:pt x="172" y="1023"/>
                </a:lnTo>
                <a:lnTo>
                  <a:pt x="168" y="1025"/>
                </a:lnTo>
                <a:lnTo>
                  <a:pt x="167" y="1026"/>
                </a:lnTo>
                <a:lnTo>
                  <a:pt x="166" y="1026"/>
                </a:lnTo>
                <a:lnTo>
                  <a:pt x="166" y="1025"/>
                </a:lnTo>
                <a:lnTo>
                  <a:pt x="168" y="1021"/>
                </a:lnTo>
                <a:lnTo>
                  <a:pt x="168" y="1020"/>
                </a:lnTo>
                <a:lnTo>
                  <a:pt x="170" y="1020"/>
                </a:lnTo>
                <a:lnTo>
                  <a:pt x="170" y="1015"/>
                </a:lnTo>
                <a:lnTo>
                  <a:pt x="169" y="1016"/>
                </a:lnTo>
                <a:lnTo>
                  <a:pt x="168" y="1016"/>
                </a:lnTo>
                <a:lnTo>
                  <a:pt x="168" y="1019"/>
                </a:lnTo>
                <a:lnTo>
                  <a:pt x="167" y="1019"/>
                </a:lnTo>
                <a:lnTo>
                  <a:pt x="167" y="1020"/>
                </a:lnTo>
                <a:lnTo>
                  <a:pt x="166" y="1021"/>
                </a:lnTo>
                <a:lnTo>
                  <a:pt x="166" y="1023"/>
                </a:lnTo>
                <a:lnTo>
                  <a:pt x="164" y="1023"/>
                </a:lnTo>
                <a:lnTo>
                  <a:pt x="164" y="1025"/>
                </a:lnTo>
                <a:lnTo>
                  <a:pt x="163" y="1027"/>
                </a:lnTo>
                <a:lnTo>
                  <a:pt x="161" y="1028"/>
                </a:lnTo>
                <a:lnTo>
                  <a:pt x="157" y="1031"/>
                </a:lnTo>
                <a:lnTo>
                  <a:pt x="157" y="1034"/>
                </a:lnTo>
                <a:lnTo>
                  <a:pt x="158" y="1034"/>
                </a:lnTo>
                <a:lnTo>
                  <a:pt x="158" y="1035"/>
                </a:lnTo>
                <a:lnTo>
                  <a:pt x="150" y="1036"/>
                </a:lnTo>
                <a:lnTo>
                  <a:pt x="147" y="1036"/>
                </a:lnTo>
                <a:lnTo>
                  <a:pt x="145" y="1038"/>
                </a:lnTo>
                <a:lnTo>
                  <a:pt x="143" y="1038"/>
                </a:lnTo>
                <a:lnTo>
                  <a:pt x="143" y="1036"/>
                </a:lnTo>
                <a:lnTo>
                  <a:pt x="145" y="1034"/>
                </a:lnTo>
                <a:lnTo>
                  <a:pt x="147" y="1034"/>
                </a:lnTo>
                <a:lnTo>
                  <a:pt x="153" y="1032"/>
                </a:lnTo>
                <a:lnTo>
                  <a:pt x="155" y="1032"/>
                </a:lnTo>
                <a:lnTo>
                  <a:pt x="154" y="1029"/>
                </a:lnTo>
                <a:lnTo>
                  <a:pt x="157" y="1029"/>
                </a:lnTo>
                <a:lnTo>
                  <a:pt x="157" y="1028"/>
                </a:lnTo>
                <a:lnTo>
                  <a:pt x="160" y="1026"/>
                </a:lnTo>
                <a:lnTo>
                  <a:pt x="161" y="1023"/>
                </a:lnTo>
                <a:lnTo>
                  <a:pt x="161" y="1020"/>
                </a:lnTo>
                <a:lnTo>
                  <a:pt x="157" y="1026"/>
                </a:lnTo>
                <a:lnTo>
                  <a:pt x="157" y="1028"/>
                </a:lnTo>
                <a:lnTo>
                  <a:pt x="156" y="1028"/>
                </a:lnTo>
                <a:lnTo>
                  <a:pt x="156" y="1026"/>
                </a:lnTo>
                <a:lnTo>
                  <a:pt x="155" y="1026"/>
                </a:lnTo>
                <a:lnTo>
                  <a:pt x="155" y="1027"/>
                </a:lnTo>
                <a:lnTo>
                  <a:pt x="153" y="1027"/>
                </a:lnTo>
                <a:lnTo>
                  <a:pt x="153" y="1028"/>
                </a:lnTo>
                <a:lnTo>
                  <a:pt x="151" y="1028"/>
                </a:lnTo>
                <a:lnTo>
                  <a:pt x="151" y="1027"/>
                </a:lnTo>
                <a:lnTo>
                  <a:pt x="153" y="1025"/>
                </a:lnTo>
                <a:lnTo>
                  <a:pt x="153" y="1023"/>
                </a:lnTo>
                <a:lnTo>
                  <a:pt x="156" y="1022"/>
                </a:lnTo>
                <a:lnTo>
                  <a:pt x="156" y="1021"/>
                </a:lnTo>
                <a:lnTo>
                  <a:pt x="157" y="1019"/>
                </a:lnTo>
                <a:lnTo>
                  <a:pt x="158" y="1019"/>
                </a:lnTo>
                <a:lnTo>
                  <a:pt x="156" y="1017"/>
                </a:lnTo>
                <a:lnTo>
                  <a:pt x="151" y="1019"/>
                </a:lnTo>
                <a:lnTo>
                  <a:pt x="149" y="1019"/>
                </a:lnTo>
                <a:lnTo>
                  <a:pt x="148" y="1017"/>
                </a:lnTo>
                <a:lnTo>
                  <a:pt x="148" y="1016"/>
                </a:lnTo>
                <a:lnTo>
                  <a:pt x="147" y="1015"/>
                </a:lnTo>
                <a:lnTo>
                  <a:pt x="148" y="1014"/>
                </a:lnTo>
                <a:lnTo>
                  <a:pt x="149" y="1011"/>
                </a:lnTo>
                <a:lnTo>
                  <a:pt x="149" y="1010"/>
                </a:lnTo>
                <a:lnTo>
                  <a:pt x="148" y="1011"/>
                </a:lnTo>
                <a:lnTo>
                  <a:pt x="148" y="1013"/>
                </a:lnTo>
                <a:lnTo>
                  <a:pt x="147" y="1014"/>
                </a:lnTo>
                <a:lnTo>
                  <a:pt x="147" y="1013"/>
                </a:lnTo>
                <a:lnTo>
                  <a:pt x="145" y="1011"/>
                </a:lnTo>
                <a:lnTo>
                  <a:pt x="143" y="1010"/>
                </a:lnTo>
                <a:lnTo>
                  <a:pt x="143" y="1009"/>
                </a:lnTo>
                <a:lnTo>
                  <a:pt x="142" y="1009"/>
                </a:lnTo>
                <a:lnTo>
                  <a:pt x="143" y="1008"/>
                </a:lnTo>
                <a:lnTo>
                  <a:pt x="142" y="1007"/>
                </a:lnTo>
                <a:lnTo>
                  <a:pt x="144" y="1002"/>
                </a:lnTo>
                <a:lnTo>
                  <a:pt x="149" y="997"/>
                </a:lnTo>
                <a:lnTo>
                  <a:pt x="149" y="994"/>
                </a:lnTo>
                <a:lnTo>
                  <a:pt x="150" y="994"/>
                </a:lnTo>
                <a:lnTo>
                  <a:pt x="151" y="992"/>
                </a:lnTo>
                <a:lnTo>
                  <a:pt x="150" y="991"/>
                </a:lnTo>
                <a:lnTo>
                  <a:pt x="149" y="992"/>
                </a:lnTo>
                <a:lnTo>
                  <a:pt x="148" y="995"/>
                </a:lnTo>
                <a:lnTo>
                  <a:pt x="148" y="996"/>
                </a:lnTo>
                <a:lnTo>
                  <a:pt x="145" y="995"/>
                </a:lnTo>
                <a:lnTo>
                  <a:pt x="142" y="996"/>
                </a:lnTo>
                <a:lnTo>
                  <a:pt x="136" y="1002"/>
                </a:lnTo>
                <a:lnTo>
                  <a:pt x="131" y="1003"/>
                </a:lnTo>
                <a:lnTo>
                  <a:pt x="129" y="1004"/>
                </a:lnTo>
                <a:lnTo>
                  <a:pt x="127" y="1004"/>
                </a:lnTo>
                <a:lnTo>
                  <a:pt x="130" y="1002"/>
                </a:lnTo>
                <a:lnTo>
                  <a:pt x="129" y="1002"/>
                </a:lnTo>
                <a:lnTo>
                  <a:pt x="130" y="999"/>
                </a:lnTo>
                <a:lnTo>
                  <a:pt x="131" y="999"/>
                </a:lnTo>
                <a:lnTo>
                  <a:pt x="132" y="998"/>
                </a:lnTo>
                <a:lnTo>
                  <a:pt x="130" y="998"/>
                </a:lnTo>
                <a:lnTo>
                  <a:pt x="130" y="999"/>
                </a:lnTo>
                <a:lnTo>
                  <a:pt x="127" y="1001"/>
                </a:lnTo>
                <a:lnTo>
                  <a:pt x="124" y="1001"/>
                </a:lnTo>
                <a:lnTo>
                  <a:pt x="125" y="999"/>
                </a:lnTo>
                <a:lnTo>
                  <a:pt x="125" y="998"/>
                </a:lnTo>
                <a:lnTo>
                  <a:pt x="126" y="997"/>
                </a:lnTo>
                <a:lnTo>
                  <a:pt x="126" y="996"/>
                </a:lnTo>
                <a:lnTo>
                  <a:pt x="129" y="994"/>
                </a:lnTo>
                <a:lnTo>
                  <a:pt x="130" y="991"/>
                </a:lnTo>
                <a:lnTo>
                  <a:pt x="132" y="989"/>
                </a:lnTo>
                <a:lnTo>
                  <a:pt x="131" y="988"/>
                </a:lnTo>
                <a:lnTo>
                  <a:pt x="130" y="990"/>
                </a:lnTo>
                <a:lnTo>
                  <a:pt x="125" y="990"/>
                </a:lnTo>
                <a:lnTo>
                  <a:pt x="125" y="988"/>
                </a:lnTo>
                <a:lnTo>
                  <a:pt x="119" y="990"/>
                </a:lnTo>
                <a:lnTo>
                  <a:pt x="118" y="990"/>
                </a:lnTo>
                <a:lnTo>
                  <a:pt x="113" y="985"/>
                </a:lnTo>
                <a:lnTo>
                  <a:pt x="110" y="985"/>
                </a:lnTo>
                <a:lnTo>
                  <a:pt x="110" y="983"/>
                </a:lnTo>
                <a:lnTo>
                  <a:pt x="108" y="984"/>
                </a:lnTo>
                <a:lnTo>
                  <a:pt x="108" y="985"/>
                </a:lnTo>
                <a:lnTo>
                  <a:pt x="107" y="985"/>
                </a:lnTo>
                <a:lnTo>
                  <a:pt x="106" y="983"/>
                </a:lnTo>
                <a:lnTo>
                  <a:pt x="106" y="982"/>
                </a:lnTo>
                <a:lnTo>
                  <a:pt x="105" y="982"/>
                </a:lnTo>
                <a:lnTo>
                  <a:pt x="105" y="980"/>
                </a:lnTo>
                <a:lnTo>
                  <a:pt x="102" y="980"/>
                </a:lnTo>
                <a:lnTo>
                  <a:pt x="102" y="977"/>
                </a:lnTo>
                <a:lnTo>
                  <a:pt x="99" y="977"/>
                </a:lnTo>
                <a:lnTo>
                  <a:pt x="99" y="979"/>
                </a:lnTo>
                <a:lnTo>
                  <a:pt x="100" y="982"/>
                </a:lnTo>
                <a:lnTo>
                  <a:pt x="98" y="980"/>
                </a:lnTo>
                <a:lnTo>
                  <a:pt x="96" y="980"/>
                </a:lnTo>
                <a:lnTo>
                  <a:pt x="96" y="973"/>
                </a:lnTo>
                <a:lnTo>
                  <a:pt x="98" y="972"/>
                </a:lnTo>
                <a:lnTo>
                  <a:pt x="99" y="972"/>
                </a:lnTo>
                <a:lnTo>
                  <a:pt x="98" y="971"/>
                </a:lnTo>
                <a:lnTo>
                  <a:pt x="98" y="970"/>
                </a:lnTo>
                <a:lnTo>
                  <a:pt x="99" y="968"/>
                </a:lnTo>
                <a:lnTo>
                  <a:pt x="95" y="971"/>
                </a:lnTo>
                <a:lnTo>
                  <a:pt x="95" y="972"/>
                </a:lnTo>
                <a:lnTo>
                  <a:pt x="94" y="972"/>
                </a:lnTo>
                <a:lnTo>
                  <a:pt x="92" y="973"/>
                </a:lnTo>
                <a:lnTo>
                  <a:pt x="91" y="973"/>
                </a:lnTo>
                <a:lnTo>
                  <a:pt x="91" y="974"/>
                </a:lnTo>
                <a:lnTo>
                  <a:pt x="92" y="976"/>
                </a:lnTo>
                <a:lnTo>
                  <a:pt x="91" y="977"/>
                </a:lnTo>
                <a:lnTo>
                  <a:pt x="91" y="979"/>
                </a:lnTo>
                <a:lnTo>
                  <a:pt x="89" y="980"/>
                </a:lnTo>
                <a:lnTo>
                  <a:pt x="87" y="980"/>
                </a:lnTo>
                <a:lnTo>
                  <a:pt x="88" y="979"/>
                </a:lnTo>
                <a:lnTo>
                  <a:pt x="87" y="977"/>
                </a:lnTo>
                <a:lnTo>
                  <a:pt x="85" y="973"/>
                </a:lnTo>
                <a:lnTo>
                  <a:pt x="81" y="973"/>
                </a:lnTo>
                <a:lnTo>
                  <a:pt x="81" y="970"/>
                </a:lnTo>
                <a:lnTo>
                  <a:pt x="82" y="971"/>
                </a:lnTo>
                <a:lnTo>
                  <a:pt x="82" y="970"/>
                </a:lnTo>
                <a:lnTo>
                  <a:pt x="80" y="967"/>
                </a:lnTo>
                <a:lnTo>
                  <a:pt x="79" y="967"/>
                </a:lnTo>
                <a:lnTo>
                  <a:pt x="79" y="965"/>
                </a:lnTo>
                <a:lnTo>
                  <a:pt x="77" y="964"/>
                </a:lnTo>
                <a:lnTo>
                  <a:pt x="77" y="962"/>
                </a:lnTo>
                <a:lnTo>
                  <a:pt x="81" y="964"/>
                </a:lnTo>
                <a:lnTo>
                  <a:pt x="82" y="962"/>
                </a:lnTo>
                <a:lnTo>
                  <a:pt x="81" y="962"/>
                </a:lnTo>
                <a:lnTo>
                  <a:pt x="81" y="960"/>
                </a:lnTo>
                <a:lnTo>
                  <a:pt x="82" y="960"/>
                </a:lnTo>
                <a:lnTo>
                  <a:pt x="82" y="959"/>
                </a:lnTo>
                <a:lnTo>
                  <a:pt x="80" y="959"/>
                </a:lnTo>
                <a:lnTo>
                  <a:pt x="80" y="956"/>
                </a:lnTo>
                <a:lnTo>
                  <a:pt x="81" y="956"/>
                </a:lnTo>
                <a:lnTo>
                  <a:pt x="80" y="955"/>
                </a:lnTo>
                <a:lnTo>
                  <a:pt x="79" y="955"/>
                </a:lnTo>
                <a:lnTo>
                  <a:pt x="79" y="952"/>
                </a:lnTo>
                <a:lnTo>
                  <a:pt x="77" y="953"/>
                </a:lnTo>
                <a:lnTo>
                  <a:pt x="77" y="952"/>
                </a:lnTo>
                <a:lnTo>
                  <a:pt x="76" y="951"/>
                </a:lnTo>
                <a:lnTo>
                  <a:pt x="77" y="949"/>
                </a:lnTo>
                <a:lnTo>
                  <a:pt x="76" y="948"/>
                </a:lnTo>
                <a:lnTo>
                  <a:pt x="80" y="948"/>
                </a:lnTo>
                <a:lnTo>
                  <a:pt x="81" y="947"/>
                </a:lnTo>
                <a:lnTo>
                  <a:pt x="79" y="947"/>
                </a:lnTo>
                <a:lnTo>
                  <a:pt x="79" y="946"/>
                </a:lnTo>
                <a:lnTo>
                  <a:pt x="77" y="945"/>
                </a:lnTo>
                <a:lnTo>
                  <a:pt x="79" y="945"/>
                </a:lnTo>
                <a:lnTo>
                  <a:pt x="79" y="943"/>
                </a:lnTo>
                <a:lnTo>
                  <a:pt x="80" y="943"/>
                </a:lnTo>
                <a:lnTo>
                  <a:pt x="80" y="945"/>
                </a:lnTo>
                <a:lnTo>
                  <a:pt x="81" y="945"/>
                </a:lnTo>
                <a:lnTo>
                  <a:pt x="81" y="942"/>
                </a:lnTo>
                <a:lnTo>
                  <a:pt x="80" y="942"/>
                </a:lnTo>
                <a:lnTo>
                  <a:pt x="80" y="941"/>
                </a:lnTo>
                <a:lnTo>
                  <a:pt x="79" y="941"/>
                </a:lnTo>
                <a:lnTo>
                  <a:pt x="79" y="940"/>
                </a:lnTo>
                <a:lnTo>
                  <a:pt x="77" y="936"/>
                </a:lnTo>
                <a:lnTo>
                  <a:pt x="76" y="935"/>
                </a:lnTo>
                <a:lnTo>
                  <a:pt x="77" y="934"/>
                </a:lnTo>
                <a:lnTo>
                  <a:pt x="75" y="931"/>
                </a:lnTo>
                <a:lnTo>
                  <a:pt x="76" y="931"/>
                </a:lnTo>
                <a:lnTo>
                  <a:pt x="79" y="933"/>
                </a:lnTo>
                <a:lnTo>
                  <a:pt x="80" y="933"/>
                </a:lnTo>
                <a:lnTo>
                  <a:pt x="80" y="931"/>
                </a:lnTo>
                <a:lnTo>
                  <a:pt x="79" y="931"/>
                </a:lnTo>
                <a:lnTo>
                  <a:pt x="80" y="930"/>
                </a:lnTo>
                <a:lnTo>
                  <a:pt x="82" y="931"/>
                </a:lnTo>
                <a:lnTo>
                  <a:pt x="83" y="931"/>
                </a:lnTo>
                <a:lnTo>
                  <a:pt x="82" y="930"/>
                </a:lnTo>
                <a:lnTo>
                  <a:pt x="82" y="921"/>
                </a:lnTo>
                <a:lnTo>
                  <a:pt x="85" y="921"/>
                </a:lnTo>
                <a:lnTo>
                  <a:pt x="85" y="919"/>
                </a:lnTo>
                <a:lnTo>
                  <a:pt x="83" y="919"/>
                </a:lnTo>
                <a:lnTo>
                  <a:pt x="85" y="918"/>
                </a:lnTo>
                <a:lnTo>
                  <a:pt x="87" y="918"/>
                </a:lnTo>
                <a:lnTo>
                  <a:pt x="86" y="916"/>
                </a:lnTo>
                <a:lnTo>
                  <a:pt x="85" y="916"/>
                </a:lnTo>
                <a:lnTo>
                  <a:pt x="83" y="915"/>
                </a:lnTo>
                <a:lnTo>
                  <a:pt x="83" y="913"/>
                </a:lnTo>
                <a:lnTo>
                  <a:pt x="85" y="913"/>
                </a:lnTo>
                <a:lnTo>
                  <a:pt x="85" y="911"/>
                </a:lnTo>
                <a:lnTo>
                  <a:pt x="86" y="911"/>
                </a:lnTo>
                <a:lnTo>
                  <a:pt x="86" y="905"/>
                </a:lnTo>
                <a:lnTo>
                  <a:pt x="85" y="903"/>
                </a:lnTo>
                <a:lnTo>
                  <a:pt x="85" y="902"/>
                </a:lnTo>
                <a:lnTo>
                  <a:pt x="82" y="902"/>
                </a:lnTo>
                <a:lnTo>
                  <a:pt x="82" y="900"/>
                </a:lnTo>
                <a:lnTo>
                  <a:pt x="86" y="900"/>
                </a:lnTo>
                <a:lnTo>
                  <a:pt x="87" y="899"/>
                </a:lnTo>
                <a:lnTo>
                  <a:pt x="87" y="898"/>
                </a:lnTo>
                <a:lnTo>
                  <a:pt x="85" y="896"/>
                </a:lnTo>
                <a:lnTo>
                  <a:pt x="81" y="894"/>
                </a:lnTo>
                <a:lnTo>
                  <a:pt x="81" y="893"/>
                </a:lnTo>
                <a:lnTo>
                  <a:pt x="87" y="894"/>
                </a:lnTo>
                <a:lnTo>
                  <a:pt x="88" y="893"/>
                </a:lnTo>
                <a:lnTo>
                  <a:pt x="87" y="891"/>
                </a:lnTo>
                <a:lnTo>
                  <a:pt x="85" y="891"/>
                </a:lnTo>
                <a:lnTo>
                  <a:pt x="82" y="888"/>
                </a:lnTo>
                <a:lnTo>
                  <a:pt x="82" y="886"/>
                </a:lnTo>
                <a:lnTo>
                  <a:pt x="85" y="886"/>
                </a:lnTo>
                <a:lnTo>
                  <a:pt x="92" y="890"/>
                </a:lnTo>
                <a:lnTo>
                  <a:pt x="93" y="891"/>
                </a:lnTo>
                <a:lnTo>
                  <a:pt x="93" y="890"/>
                </a:lnTo>
                <a:lnTo>
                  <a:pt x="91" y="887"/>
                </a:lnTo>
                <a:lnTo>
                  <a:pt x="89" y="885"/>
                </a:lnTo>
                <a:lnTo>
                  <a:pt x="88" y="881"/>
                </a:lnTo>
                <a:lnTo>
                  <a:pt x="87" y="880"/>
                </a:lnTo>
                <a:lnTo>
                  <a:pt x="86" y="880"/>
                </a:lnTo>
                <a:lnTo>
                  <a:pt x="86" y="876"/>
                </a:lnTo>
                <a:lnTo>
                  <a:pt x="85" y="874"/>
                </a:lnTo>
                <a:lnTo>
                  <a:pt x="86" y="874"/>
                </a:lnTo>
                <a:lnTo>
                  <a:pt x="87" y="875"/>
                </a:lnTo>
                <a:lnTo>
                  <a:pt x="88" y="875"/>
                </a:lnTo>
                <a:lnTo>
                  <a:pt x="87" y="873"/>
                </a:lnTo>
                <a:lnTo>
                  <a:pt x="83" y="872"/>
                </a:lnTo>
                <a:lnTo>
                  <a:pt x="82" y="869"/>
                </a:lnTo>
                <a:lnTo>
                  <a:pt x="83" y="868"/>
                </a:lnTo>
                <a:lnTo>
                  <a:pt x="83" y="865"/>
                </a:lnTo>
                <a:lnTo>
                  <a:pt x="82" y="863"/>
                </a:lnTo>
                <a:lnTo>
                  <a:pt x="82" y="862"/>
                </a:lnTo>
                <a:lnTo>
                  <a:pt x="81" y="860"/>
                </a:lnTo>
                <a:lnTo>
                  <a:pt x="80" y="859"/>
                </a:lnTo>
                <a:lnTo>
                  <a:pt x="80" y="856"/>
                </a:lnTo>
                <a:lnTo>
                  <a:pt x="81" y="856"/>
                </a:lnTo>
                <a:lnTo>
                  <a:pt x="80" y="855"/>
                </a:lnTo>
                <a:lnTo>
                  <a:pt x="80" y="854"/>
                </a:lnTo>
                <a:lnTo>
                  <a:pt x="79" y="854"/>
                </a:lnTo>
                <a:lnTo>
                  <a:pt x="79" y="853"/>
                </a:lnTo>
                <a:lnTo>
                  <a:pt x="76" y="854"/>
                </a:lnTo>
                <a:lnTo>
                  <a:pt x="76" y="853"/>
                </a:lnTo>
                <a:lnTo>
                  <a:pt x="75" y="853"/>
                </a:lnTo>
                <a:lnTo>
                  <a:pt x="75" y="849"/>
                </a:lnTo>
                <a:lnTo>
                  <a:pt x="73" y="849"/>
                </a:lnTo>
                <a:lnTo>
                  <a:pt x="75" y="843"/>
                </a:lnTo>
                <a:lnTo>
                  <a:pt x="75" y="836"/>
                </a:lnTo>
                <a:lnTo>
                  <a:pt x="76" y="838"/>
                </a:lnTo>
                <a:lnTo>
                  <a:pt x="76" y="835"/>
                </a:lnTo>
                <a:lnTo>
                  <a:pt x="77" y="833"/>
                </a:lnTo>
                <a:lnTo>
                  <a:pt x="76" y="833"/>
                </a:lnTo>
                <a:lnTo>
                  <a:pt x="79" y="831"/>
                </a:lnTo>
                <a:lnTo>
                  <a:pt x="79" y="830"/>
                </a:lnTo>
                <a:lnTo>
                  <a:pt x="80" y="829"/>
                </a:lnTo>
                <a:lnTo>
                  <a:pt x="77" y="826"/>
                </a:lnTo>
                <a:lnTo>
                  <a:pt x="79" y="824"/>
                </a:lnTo>
                <a:lnTo>
                  <a:pt x="77" y="824"/>
                </a:lnTo>
                <a:lnTo>
                  <a:pt x="77" y="826"/>
                </a:lnTo>
                <a:lnTo>
                  <a:pt x="76" y="826"/>
                </a:lnTo>
                <a:lnTo>
                  <a:pt x="76" y="823"/>
                </a:lnTo>
                <a:lnTo>
                  <a:pt x="77" y="822"/>
                </a:lnTo>
                <a:lnTo>
                  <a:pt x="77" y="816"/>
                </a:lnTo>
                <a:lnTo>
                  <a:pt x="75" y="817"/>
                </a:lnTo>
                <a:lnTo>
                  <a:pt x="74" y="816"/>
                </a:lnTo>
                <a:lnTo>
                  <a:pt x="74" y="813"/>
                </a:lnTo>
                <a:lnTo>
                  <a:pt x="75" y="812"/>
                </a:lnTo>
                <a:lnTo>
                  <a:pt x="74" y="811"/>
                </a:lnTo>
                <a:lnTo>
                  <a:pt x="71" y="816"/>
                </a:lnTo>
                <a:lnTo>
                  <a:pt x="71" y="812"/>
                </a:lnTo>
                <a:lnTo>
                  <a:pt x="70" y="812"/>
                </a:lnTo>
                <a:lnTo>
                  <a:pt x="71" y="811"/>
                </a:lnTo>
                <a:lnTo>
                  <a:pt x="71" y="810"/>
                </a:lnTo>
                <a:lnTo>
                  <a:pt x="70" y="810"/>
                </a:lnTo>
                <a:lnTo>
                  <a:pt x="69" y="811"/>
                </a:lnTo>
                <a:lnTo>
                  <a:pt x="68" y="810"/>
                </a:lnTo>
                <a:lnTo>
                  <a:pt x="69" y="807"/>
                </a:lnTo>
                <a:lnTo>
                  <a:pt x="69" y="806"/>
                </a:lnTo>
                <a:lnTo>
                  <a:pt x="68" y="806"/>
                </a:lnTo>
                <a:lnTo>
                  <a:pt x="68" y="801"/>
                </a:lnTo>
                <a:lnTo>
                  <a:pt x="69" y="800"/>
                </a:lnTo>
                <a:lnTo>
                  <a:pt x="69" y="799"/>
                </a:lnTo>
                <a:lnTo>
                  <a:pt x="68" y="798"/>
                </a:lnTo>
                <a:lnTo>
                  <a:pt x="71" y="794"/>
                </a:lnTo>
                <a:lnTo>
                  <a:pt x="71" y="793"/>
                </a:lnTo>
                <a:lnTo>
                  <a:pt x="68" y="793"/>
                </a:lnTo>
                <a:lnTo>
                  <a:pt x="68" y="790"/>
                </a:lnTo>
                <a:lnTo>
                  <a:pt x="67" y="792"/>
                </a:lnTo>
                <a:lnTo>
                  <a:pt x="66" y="794"/>
                </a:lnTo>
                <a:lnTo>
                  <a:pt x="66" y="792"/>
                </a:lnTo>
                <a:lnTo>
                  <a:pt x="67" y="788"/>
                </a:lnTo>
                <a:lnTo>
                  <a:pt x="67" y="786"/>
                </a:lnTo>
                <a:lnTo>
                  <a:pt x="70" y="782"/>
                </a:lnTo>
                <a:lnTo>
                  <a:pt x="70" y="781"/>
                </a:lnTo>
                <a:lnTo>
                  <a:pt x="69" y="781"/>
                </a:lnTo>
                <a:lnTo>
                  <a:pt x="68" y="780"/>
                </a:lnTo>
                <a:lnTo>
                  <a:pt x="68" y="776"/>
                </a:lnTo>
                <a:lnTo>
                  <a:pt x="69" y="775"/>
                </a:lnTo>
                <a:lnTo>
                  <a:pt x="70" y="776"/>
                </a:lnTo>
                <a:lnTo>
                  <a:pt x="71" y="776"/>
                </a:lnTo>
                <a:lnTo>
                  <a:pt x="71" y="774"/>
                </a:lnTo>
                <a:lnTo>
                  <a:pt x="73" y="771"/>
                </a:lnTo>
                <a:lnTo>
                  <a:pt x="73" y="768"/>
                </a:lnTo>
                <a:lnTo>
                  <a:pt x="74" y="768"/>
                </a:lnTo>
                <a:lnTo>
                  <a:pt x="77" y="770"/>
                </a:lnTo>
                <a:lnTo>
                  <a:pt x="77" y="769"/>
                </a:lnTo>
                <a:lnTo>
                  <a:pt x="79" y="769"/>
                </a:lnTo>
                <a:lnTo>
                  <a:pt x="79" y="768"/>
                </a:lnTo>
                <a:lnTo>
                  <a:pt x="80" y="768"/>
                </a:lnTo>
                <a:lnTo>
                  <a:pt x="80" y="764"/>
                </a:lnTo>
                <a:lnTo>
                  <a:pt x="81" y="762"/>
                </a:lnTo>
                <a:lnTo>
                  <a:pt x="82" y="761"/>
                </a:lnTo>
                <a:lnTo>
                  <a:pt x="82" y="753"/>
                </a:lnTo>
                <a:lnTo>
                  <a:pt x="81" y="753"/>
                </a:lnTo>
                <a:lnTo>
                  <a:pt x="81" y="752"/>
                </a:lnTo>
                <a:lnTo>
                  <a:pt x="83" y="752"/>
                </a:lnTo>
                <a:lnTo>
                  <a:pt x="83" y="750"/>
                </a:lnTo>
                <a:lnTo>
                  <a:pt x="85" y="750"/>
                </a:lnTo>
                <a:lnTo>
                  <a:pt x="88" y="753"/>
                </a:lnTo>
                <a:lnTo>
                  <a:pt x="89" y="753"/>
                </a:lnTo>
                <a:lnTo>
                  <a:pt x="91" y="755"/>
                </a:lnTo>
                <a:lnTo>
                  <a:pt x="92" y="753"/>
                </a:lnTo>
                <a:lnTo>
                  <a:pt x="91" y="751"/>
                </a:lnTo>
                <a:lnTo>
                  <a:pt x="87" y="749"/>
                </a:lnTo>
                <a:lnTo>
                  <a:pt x="87" y="747"/>
                </a:lnTo>
                <a:lnTo>
                  <a:pt x="86" y="746"/>
                </a:lnTo>
                <a:lnTo>
                  <a:pt x="87" y="745"/>
                </a:lnTo>
                <a:lnTo>
                  <a:pt x="86" y="745"/>
                </a:lnTo>
                <a:lnTo>
                  <a:pt x="85" y="744"/>
                </a:lnTo>
                <a:lnTo>
                  <a:pt x="85" y="740"/>
                </a:lnTo>
                <a:lnTo>
                  <a:pt x="86" y="740"/>
                </a:lnTo>
                <a:lnTo>
                  <a:pt x="86" y="739"/>
                </a:lnTo>
                <a:lnTo>
                  <a:pt x="85" y="739"/>
                </a:lnTo>
                <a:lnTo>
                  <a:pt x="85" y="738"/>
                </a:lnTo>
                <a:lnTo>
                  <a:pt x="83" y="737"/>
                </a:lnTo>
                <a:lnTo>
                  <a:pt x="86" y="734"/>
                </a:lnTo>
                <a:lnTo>
                  <a:pt x="87" y="734"/>
                </a:lnTo>
                <a:lnTo>
                  <a:pt x="91" y="738"/>
                </a:lnTo>
                <a:lnTo>
                  <a:pt x="91" y="736"/>
                </a:lnTo>
                <a:lnTo>
                  <a:pt x="92" y="737"/>
                </a:lnTo>
                <a:lnTo>
                  <a:pt x="93" y="737"/>
                </a:lnTo>
                <a:lnTo>
                  <a:pt x="94" y="738"/>
                </a:lnTo>
                <a:lnTo>
                  <a:pt x="95" y="737"/>
                </a:lnTo>
                <a:lnTo>
                  <a:pt x="94" y="737"/>
                </a:lnTo>
                <a:lnTo>
                  <a:pt x="93" y="736"/>
                </a:lnTo>
                <a:lnTo>
                  <a:pt x="95" y="733"/>
                </a:lnTo>
                <a:lnTo>
                  <a:pt x="96" y="734"/>
                </a:lnTo>
                <a:lnTo>
                  <a:pt x="98" y="733"/>
                </a:lnTo>
                <a:lnTo>
                  <a:pt x="100" y="732"/>
                </a:lnTo>
                <a:lnTo>
                  <a:pt x="101" y="732"/>
                </a:lnTo>
                <a:lnTo>
                  <a:pt x="100" y="733"/>
                </a:lnTo>
                <a:lnTo>
                  <a:pt x="100" y="739"/>
                </a:lnTo>
                <a:lnTo>
                  <a:pt x="101" y="740"/>
                </a:lnTo>
                <a:lnTo>
                  <a:pt x="105" y="743"/>
                </a:lnTo>
                <a:lnTo>
                  <a:pt x="104" y="740"/>
                </a:lnTo>
                <a:lnTo>
                  <a:pt x="104" y="739"/>
                </a:lnTo>
                <a:lnTo>
                  <a:pt x="105" y="738"/>
                </a:lnTo>
                <a:lnTo>
                  <a:pt x="105" y="737"/>
                </a:lnTo>
                <a:lnTo>
                  <a:pt x="106" y="736"/>
                </a:lnTo>
                <a:lnTo>
                  <a:pt x="106" y="734"/>
                </a:lnTo>
                <a:lnTo>
                  <a:pt x="107" y="733"/>
                </a:lnTo>
                <a:lnTo>
                  <a:pt x="107" y="734"/>
                </a:lnTo>
                <a:lnTo>
                  <a:pt x="108" y="736"/>
                </a:lnTo>
                <a:lnTo>
                  <a:pt x="110" y="734"/>
                </a:lnTo>
                <a:lnTo>
                  <a:pt x="113" y="734"/>
                </a:lnTo>
                <a:lnTo>
                  <a:pt x="116" y="731"/>
                </a:lnTo>
                <a:lnTo>
                  <a:pt x="117" y="730"/>
                </a:lnTo>
                <a:lnTo>
                  <a:pt x="117" y="728"/>
                </a:lnTo>
                <a:lnTo>
                  <a:pt x="118" y="731"/>
                </a:lnTo>
                <a:lnTo>
                  <a:pt x="119" y="730"/>
                </a:lnTo>
                <a:lnTo>
                  <a:pt x="120" y="727"/>
                </a:lnTo>
                <a:lnTo>
                  <a:pt x="120" y="724"/>
                </a:lnTo>
                <a:lnTo>
                  <a:pt x="118" y="721"/>
                </a:lnTo>
                <a:lnTo>
                  <a:pt x="116" y="718"/>
                </a:lnTo>
                <a:lnTo>
                  <a:pt x="114" y="718"/>
                </a:lnTo>
                <a:lnTo>
                  <a:pt x="114" y="716"/>
                </a:lnTo>
                <a:lnTo>
                  <a:pt x="113" y="715"/>
                </a:lnTo>
                <a:lnTo>
                  <a:pt x="113" y="713"/>
                </a:lnTo>
                <a:lnTo>
                  <a:pt x="114" y="712"/>
                </a:lnTo>
                <a:lnTo>
                  <a:pt x="116" y="712"/>
                </a:lnTo>
                <a:lnTo>
                  <a:pt x="117" y="714"/>
                </a:lnTo>
                <a:lnTo>
                  <a:pt x="119" y="716"/>
                </a:lnTo>
                <a:lnTo>
                  <a:pt x="120" y="716"/>
                </a:lnTo>
                <a:lnTo>
                  <a:pt x="122" y="718"/>
                </a:lnTo>
                <a:lnTo>
                  <a:pt x="119" y="713"/>
                </a:lnTo>
                <a:lnTo>
                  <a:pt x="117" y="710"/>
                </a:lnTo>
                <a:lnTo>
                  <a:pt x="117" y="707"/>
                </a:lnTo>
                <a:lnTo>
                  <a:pt x="119" y="707"/>
                </a:lnTo>
                <a:lnTo>
                  <a:pt x="119" y="710"/>
                </a:lnTo>
                <a:lnTo>
                  <a:pt x="122" y="710"/>
                </a:lnTo>
                <a:lnTo>
                  <a:pt x="122" y="714"/>
                </a:lnTo>
                <a:lnTo>
                  <a:pt x="124" y="712"/>
                </a:lnTo>
                <a:lnTo>
                  <a:pt x="123" y="710"/>
                </a:lnTo>
                <a:lnTo>
                  <a:pt x="124" y="709"/>
                </a:lnTo>
                <a:lnTo>
                  <a:pt x="124" y="708"/>
                </a:lnTo>
                <a:lnTo>
                  <a:pt x="125" y="704"/>
                </a:lnTo>
                <a:lnTo>
                  <a:pt x="125" y="703"/>
                </a:lnTo>
                <a:lnTo>
                  <a:pt x="126" y="702"/>
                </a:lnTo>
                <a:lnTo>
                  <a:pt x="126" y="701"/>
                </a:lnTo>
                <a:lnTo>
                  <a:pt x="129" y="702"/>
                </a:lnTo>
                <a:lnTo>
                  <a:pt x="127" y="701"/>
                </a:lnTo>
                <a:lnTo>
                  <a:pt x="126" y="697"/>
                </a:lnTo>
                <a:lnTo>
                  <a:pt x="126" y="696"/>
                </a:lnTo>
                <a:lnTo>
                  <a:pt x="127" y="696"/>
                </a:lnTo>
                <a:lnTo>
                  <a:pt x="127" y="695"/>
                </a:lnTo>
                <a:lnTo>
                  <a:pt x="130" y="695"/>
                </a:lnTo>
                <a:lnTo>
                  <a:pt x="130" y="690"/>
                </a:lnTo>
                <a:lnTo>
                  <a:pt x="131" y="690"/>
                </a:lnTo>
                <a:lnTo>
                  <a:pt x="131" y="691"/>
                </a:lnTo>
                <a:lnTo>
                  <a:pt x="132" y="691"/>
                </a:lnTo>
                <a:lnTo>
                  <a:pt x="132" y="690"/>
                </a:lnTo>
                <a:lnTo>
                  <a:pt x="133" y="690"/>
                </a:lnTo>
                <a:lnTo>
                  <a:pt x="135" y="691"/>
                </a:lnTo>
                <a:lnTo>
                  <a:pt x="135" y="695"/>
                </a:lnTo>
                <a:lnTo>
                  <a:pt x="136" y="697"/>
                </a:lnTo>
                <a:lnTo>
                  <a:pt x="138" y="697"/>
                </a:lnTo>
                <a:lnTo>
                  <a:pt x="138" y="696"/>
                </a:lnTo>
                <a:lnTo>
                  <a:pt x="139" y="696"/>
                </a:lnTo>
                <a:lnTo>
                  <a:pt x="141" y="695"/>
                </a:lnTo>
                <a:lnTo>
                  <a:pt x="141" y="693"/>
                </a:lnTo>
                <a:lnTo>
                  <a:pt x="142" y="691"/>
                </a:lnTo>
                <a:lnTo>
                  <a:pt x="143" y="691"/>
                </a:lnTo>
                <a:lnTo>
                  <a:pt x="143" y="689"/>
                </a:lnTo>
                <a:lnTo>
                  <a:pt x="141" y="688"/>
                </a:lnTo>
                <a:lnTo>
                  <a:pt x="143" y="688"/>
                </a:lnTo>
                <a:lnTo>
                  <a:pt x="142" y="687"/>
                </a:lnTo>
                <a:lnTo>
                  <a:pt x="142" y="685"/>
                </a:lnTo>
                <a:lnTo>
                  <a:pt x="143" y="687"/>
                </a:lnTo>
                <a:lnTo>
                  <a:pt x="144" y="687"/>
                </a:lnTo>
                <a:lnTo>
                  <a:pt x="144" y="684"/>
                </a:lnTo>
                <a:lnTo>
                  <a:pt x="143" y="683"/>
                </a:lnTo>
                <a:lnTo>
                  <a:pt x="143" y="682"/>
                </a:lnTo>
                <a:lnTo>
                  <a:pt x="144" y="681"/>
                </a:lnTo>
                <a:lnTo>
                  <a:pt x="145" y="681"/>
                </a:lnTo>
                <a:lnTo>
                  <a:pt x="145" y="682"/>
                </a:lnTo>
                <a:lnTo>
                  <a:pt x="147" y="683"/>
                </a:lnTo>
                <a:lnTo>
                  <a:pt x="147" y="684"/>
                </a:lnTo>
                <a:lnTo>
                  <a:pt x="148" y="684"/>
                </a:lnTo>
                <a:lnTo>
                  <a:pt x="148" y="683"/>
                </a:lnTo>
                <a:lnTo>
                  <a:pt x="147" y="682"/>
                </a:lnTo>
                <a:lnTo>
                  <a:pt x="147" y="679"/>
                </a:lnTo>
                <a:lnTo>
                  <a:pt x="150" y="676"/>
                </a:lnTo>
                <a:lnTo>
                  <a:pt x="153" y="676"/>
                </a:lnTo>
                <a:lnTo>
                  <a:pt x="154" y="675"/>
                </a:lnTo>
                <a:lnTo>
                  <a:pt x="154" y="672"/>
                </a:lnTo>
                <a:lnTo>
                  <a:pt x="160" y="672"/>
                </a:lnTo>
                <a:lnTo>
                  <a:pt x="161" y="670"/>
                </a:lnTo>
                <a:lnTo>
                  <a:pt x="162" y="671"/>
                </a:lnTo>
                <a:lnTo>
                  <a:pt x="163" y="671"/>
                </a:lnTo>
                <a:lnTo>
                  <a:pt x="164" y="670"/>
                </a:lnTo>
                <a:lnTo>
                  <a:pt x="164" y="669"/>
                </a:lnTo>
                <a:lnTo>
                  <a:pt x="163" y="667"/>
                </a:lnTo>
                <a:lnTo>
                  <a:pt x="163" y="657"/>
                </a:lnTo>
                <a:lnTo>
                  <a:pt x="167" y="657"/>
                </a:lnTo>
                <a:lnTo>
                  <a:pt x="167" y="658"/>
                </a:lnTo>
                <a:lnTo>
                  <a:pt x="170" y="658"/>
                </a:lnTo>
                <a:lnTo>
                  <a:pt x="173" y="659"/>
                </a:lnTo>
                <a:lnTo>
                  <a:pt x="174" y="658"/>
                </a:lnTo>
                <a:lnTo>
                  <a:pt x="172" y="653"/>
                </a:lnTo>
                <a:lnTo>
                  <a:pt x="172" y="651"/>
                </a:lnTo>
                <a:lnTo>
                  <a:pt x="173" y="652"/>
                </a:lnTo>
                <a:lnTo>
                  <a:pt x="174" y="651"/>
                </a:lnTo>
                <a:lnTo>
                  <a:pt x="174" y="650"/>
                </a:lnTo>
                <a:lnTo>
                  <a:pt x="175" y="650"/>
                </a:lnTo>
                <a:lnTo>
                  <a:pt x="175" y="647"/>
                </a:lnTo>
                <a:lnTo>
                  <a:pt x="176" y="647"/>
                </a:lnTo>
                <a:lnTo>
                  <a:pt x="178" y="646"/>
                </a:lnTo>
                <a:lnTo>
                  <a:pt x="178" y="641"/>
                </a:lnTo>
                <a:lnTo>
                  <a:pt x="180" y="641"/>
                </a:lnTo>
                <a:lnTo>
                  <a:pt x="182" y="640"/>
                </a:lnTo>
                <a:lnTo>
                  <a:pt x="182" y="639"/>
                </a:lnTo>
                <a:lnTo>
                  <a:pt x="184" y="635"/>
                </a:lnTo>
                <a:lnTo>
                  <a:pt x="185" y="636"/>
                </a:lnTo>
                <a:lnTo>
                  <a:pt x="186" y="636"/>
                </a:lnTo>
                <a:lnTo>
                  <a:pt x="187" y="638"/>
                </a:lnTo>
                <a:lnTo>
                  <a:pt x="187" y="636"/>
                </a:lnTo>
                <a:lnTo>
                  <a:pt x="186" y="635"/>
                </a:lnTo>
                <a:lnTo>
                  <a:pt x="186" y="634"/>
                </a:lnTo>
                <a:lnTo>
                  <a:pt x="187" y="633"/>
                </a:lnTo>
                <a:lnTo>
                  <a:pt x="187" y="630"/>
                </a:lnTo>
                <a:lnTo>
                  <a:pt x="188" y="629"/>
                </a:lnTo>
                <a:lnTo>
                  <a:pt x="188" y="628"/>
                </a:lnTo>
                <a:lnTo>
                  <a:pt x="189" y="624"/>
                </a:lnTo>
                <a:lnTo>
                  <a:pt x="189" y="623"/>
                </a:lnTo>
                <a:lnTo>
                  <a:pt x="191" y="623"/>
                </a:lnTo>
                <a:lnTo>
                  <a:pt x="193" y="621"/>
                </a:lnTo>
                <a:lnTo>
                  <a:pt x="193" y="620"/>
                </a:lnTo>
                <a:lnTo>
                  <a:pt x="194" y="620"/>
                </a:lnTo>
                <a:lnTo>
                  <a:pt x="194" y="618"/>
                </a:lnTo>
                <a:lnTo>
                  <a:pt x="195" y="618"/>
                </a:lnTo>
                <a:lnTo>
                  <a:pt x="197" y="617"/>
                </a:lnTo>
                <a:lnTo>
                  <a:pt x="199" y="617"/>
                </a:lnTo>
                <a:lnTo>
                  <a:pt x="198" y="616"/>
                </a:lnTo>
                <a:lnTo>
                  <a:pt x="199" y="615"/>
                </a:lnTo>
                <a:lnTo>
                  <a:pt x="199" y="614"/>
                </a:lnTo>
                <a:lnTo>
                  <a:pt x="200" y="615"/>
                </a:lnTo>
                <a:lnTo>
                  <a:pt x="201" y="614"/>
                </a:lnTo>
                <a:lnTo>
                  <a:pt x="201" y="611"/>
                </a:lnTo>
                <a:lnTo>
                  <a:pt x="203" y="611"/>
                </a:lnTo>
                <a:lnTo>
                  <a:pt x="204" y="610"/>
                </a:lnTo>
                <a:lnTo>
                  <a:pt x="205" y="608"/>
                </a:lnTo>
                <a:lnTo>
                  <a:pt x="205" y="602"/>
                </a:lnTo>
                <a:lnTo>
                  <a:pt x="206" y="601"/>
                </a:lnTo>
                <a:lnTo>
                  <a:pt x="207" y="598"/>
                </a:lnTo>
                <a:lnTo>
                  <a:pt x="207" y="596"/>
                </a:lnTo>
                <a:lnTo>
                  <a:pt x="212" y="591"/>
                </a:lnTo>
                <a:lnTo>
                  <a:pt x="212" y="587"/>
                </a:lnTo>
                <a:lnTo>
                  <a:pt x="214" y="585"/>
                </a:lnTo>
                <a:lnTo>
                  <a:pt x="212" y="583"/>
                </a:lnTo>
                <a:lnTo>
                  <a:pt x="214" y="583"/>
                </a:lnTo>
                <a:lnTo>
                  <a:pt x="217" y="585"/>
                </a:lnTo>
                <a:lnTo>
                  <a:pt x="218" y="585"/>
                </a:lnTo>
                <a:lnTo>
                  <a:pt x="218" y="580"/>
                </a:lnTo>
                <a:lnTo>
                  <a:pt x="220" y="580"/>
                </a:lnTo>
                <a:lnTo>
                  <a:pt x="220" y="578"/>
                </a:lnTo>
                <a:lnTo>
                  <a:pt x="222" y="577"/>
                </a:lnTo>
                <a:lnTo>
                  <a:pt x="228" y="577"/>
                </a:lnTo>
                <a:lnTo>
                  <a:pt x="235" y="572"/>
                </a:lnTo>
                <a:lnTo>
                  <a:pt x="236" y="572"/>
                </a:lnTo>
                <a:lnTo>
                  <a:pt x="237" y="573"/>
                </a:lnTo>
                <a:lnTo>
                  <a:pt x="237" y="574"/>
                </a:lnTo>
                <a:lnTo>
                  <a:pt x="238" y="575"/>
                </a:lnTo>
                <a:lnTo>
                  <a:pt x="238" y="574"/>
                </a:lnTo>
                <a:lnTo>
                  <a:pt x="240" y="575"/>
                </a:lnTo>
                <a:lnTo>
                  <a:pt x="240" y="578"/>
                </a:lnTo>
                <a:lnTo>
                  <a:pt x="242" y="580"/>
                </a:lnTo>
                <a:lnTo>
                  <a:pt x="241" y="581"/>
                </a:lnTo>
                <a:lnTo>
                  <a:pt x="243" y="581"/>
                </a:lnTo>
                <a:lnTo>
                  <a:pt x="247" y="580"/>
                </a:lnTo>
                <a:lnTo>
                  <a:pt x="247" y="572"/>
                </a:lnTo>
                <a:lnTo>
                  <a:pt x="245" y="573"/>
                </a:lnTo>
                <a:lnTo>
                  <a:pt x="244" y="573"/>
                </a:lnTo>
                <a:lnTo>
                  <a:pt x="243" y="571"/>
                </a:lnTo>
                <a:lnTo>
                  <a:pt x="242" y="571"/>
                </a:lnTo>
                <a:lnTo>
                  <a:pt x="241" y="570"/>
                </a:lnTo>
                <a:lnTo>
                  <a:pt x="240" y="567"/>
                </a:lnTo>
                <a:lnTo>
                  <a:pt x="240" y="566"/>
                </a:lnTo>
                <a:lnTo>
                  <a:pt x="241" y="566"/>
                </a:lnTo>
                <a:lnTo>
                  <a:pt x="241" y="565"/>
                </a:lnTo>
                <a:lnTo>
                  <a:pt x="245" y="565"/>
                </a:lnTo>
                <a:lnTo>
                  <a:pt x="245" y="566"/>
                </a:lnTo>
                <a:lnTo>
                  <a:pt x="248" y="567"/>
                </a:lnTo>
                <a:lnTo>
                  <a:pt x="249" y="568"/>
                </a:lnTo>
                <a:lnTo>
                  <a:pt x="250" y="568"/>
                </a:lnTo>
                <a:lnTo>
                  <a:pt x="250" y="566"/>
                </a:lnTo>
                <a:lnTo>
                  <a:pt x="249" y="565"/>
                </a:lnTo>
                <a:lnTo>
                  <a:pt x="249" y="560"/>
                </a:lnTo>
                <a:lnTo>
                  <a:pt x="248" y="559"/>
                </a:lnTo>
                <a:lnTo>
                  <a:pt x="248" y="555"/>
                </a:lnTo>
                <a:lnTo>
                  <a:pt x="245" y="553"/>
                </a:lnTo>
                <a:lnTo>
                  <a:pt x="241" y="552"/>
                </a:lnTo>
                <a:lnTo>
                  <a:pt x="241" y="548"/>
                </a:lnTo>
                <a:lnTo>
                  <a:pt x="243" y="546"/>
                </a:lnTo>
                <a:lnTo>
                  <a:pt x="243" y="544"/>
                </a:lnTo>
                <a:lnTo>
                  <a:pt x="244" y="543"/>
                </a:lnTo>
                <a:lnTo>
                  <a:pt x="243" y="541"/>
                </a:lnTo>
                <a:lnTo>
                  <a:pt x="244" y="542"/>
                </a:lnTo>
                <a:lnTo>
                  <a:pt x="244" y="541"/>
                </a:lnTo>
                <a:lnTo>
                  <a:pt x="245" y="541"/>
                </a:lnTo>
                <a:lnTo>
                  <a:pt x="244" y="540"/>
                </a:lnTo>
                <a:lnTo>
                  <a:pt x="244" y="538"/>
                </a:lnTo>
                <a:lnTo>
                  <a:pt x="245" y="538"/>
                </a:lnTo>
                <a:lnTo>
                  <a:pt x="244" y="537"/>
                </a:lnTo>
                <a:lnTo>
                  <a:pt x="243" y="537"/>
                </a:lnTo>
                <a:lnTo>
                  <a:pt x="244" y="536"/>
                </a:lnTo>
                <a:lnTo>
                  <a:pt x="244" y="534"/>
                </a:lnTo>
                <a:lnTo>
                  <a:pt x="245" y="531"/>
                </a:lnTo>
                <a:lnTo>
                  <a:pt x="244" y="530"/>
                </a:lnTo>
                <a:lnTo>
                  <a:pt x="245" y="530"/>
                </a:lnTo>
                <a:lnTo>
                  <a:pt x="245" y="529"/>
                </a:lnTo>
                <a:lnTo>
                  <a:pt x="243" y="525"/>
                </a:lnTo>
                <a:lnTo>
                  <a:pt x="244" y="525"/>
                </a:lnTo>
                <a:lnTo>
                  <a:pt x="247" y="523"/>
                </a:lnTo>
                <a:lnTo>
                  <a:pt x="247" y="515"/>
                </a:lnTo>
                <a:lnTo>
                  <a:pt x="245" y="512"/>
                </a:lnTo>
                <a:lnTo>
                  <a:pt x="240" y="506"/>
                </a:lnTo>
                <a:lnTo>
                  <a:pt x="238" y="506"/>
                </a:lnTo>
                <a:lnTo>
                  <a:pt x="238" y="507"/>
                </a:lnTo>
                <a:lnTo>
                  <a:pt x="236" y="505"/>
                </a:lnTo>
                <a:lnTo>
                  <a:pt x="236" y="504"/>
                </a:lnTo>
                <a:lnTo>
                  <a:pt x="235" y="503"/>
                </a:lnTo>
                <a:lnTo>
                  <a:pt x="235" y="501"/>
                </a:lnTo>
                <a:lnTo>
                  <a:pt x="234" y="501"/>
                </a:lnTo>
                <a:lnTo>
                  <a:pt x="232" y="500"/>
                </a:lnTo>
                <a:lnTo>
                  <a:pt x="229" y="500"/>
                </a:lnTo>
                <a:lnTo>
                  <a:pt x="228" y="498"/>
                </a:lnTo>
                <a:lnTo>
                  <a:pt x="225" y="497"/>
                </a:lnTo>
                <a:lnTo>
                  <a:pt x="223" y="497"/>
                </a:lnTo>
                <a:lnTo>
                  <a:pt x="220" y="498"/>
                </a:lnTo>
                <a:lnTo>
                  <a:pt x="219" y="499"/>
                </a:lnTo>
                <a:lnTo>
                  <a:pt x="218" y="499"/>
                </a:lnTo>
                <a:lnTo>
                  <a:pt x="218" y="493"/>
                </a:lnTo>
                <a:lnTo>
                  <a:pt x="217" y="493"/>
                </a:lnTo>
                <a:lnTo>
                  <a:pt x="214" y="492"/>
                </a:lnTo>
                <a:lnTo>
                  <a:pt x="214" y="491"/>
                </a:lnTo>
                <a:lnTo>
                  <a:pt x="213" y="489"/>
                </a:lnTo>
                <a:lnTo>
                  <a:pt x="213" y="481"/>
                </a:lnTo>
                <a:lnTo>
                  <a:pt x="217" y="474"/>
                </a:lnTo>
                <a:lnTo>
                  <a:pt x="218" y="473"/>
                </a:lnTo>
                <a:lnTo>
                  <a:pt x="219" y="473"/>
                </a:lnTo>
                <a:lnTo>
                  <a:pt x="219" y="472"/>
                </a:lnTo>
                <a:lnTo>
                  <a:pt x="217" y="473"/>
                </a:lnTo>
                <a:lnTo>
                  <a:pt x="216" y="473"/>
                </a:lnTo>
                <a:lnTo>
                  <a:pt x="216" y="475"/>
                </a:lnTo>
                <a:lnTo>
                  <a:pt x="214" y="476"/>
                </a:lnTo>
                <a:lnTo>
                  <a:pt x="212" y="481"/>
                </a:lnTo>
                <a:lnTo>
                  <a:pt x="211" y="482"/>
                </a:lnTo>
                <a:lnTo>
                  <a:pt x="209" y="482"/>
                </a:lnTo>
                <a:lnTo>
                  <a:pt x="207" y="484"/>
                </a:lnTo>
                <a:lnTo>
                  <a:pt x="207" y="485"/>
                </a:lnTo>
                <a:lnTo>
                  <a:pt x="206" y="486"/>
                </a:lnTo>
                <a:lnTo>
                  <a:pt x="205" y="485"/>
                </a:lnTo>
                <a:lnTo>
                  <a:pt x="204" y="482"/>
                </a:lnTo>
                <a:lnTo>
                  <a:pt x="203" y="482"/>
                </a:lnTo>
                <a:lnTo>
                  <a:pt x="201" y="481"/>
                </a:lnTo>
                <a:lnTo>
                  <a:pt x="199" y="480"/>
                </a:lnTo>
                <a:lnTo>
                  <a:pt x="200" y="481"/>
                </a:lnTo>
                <a:lnTo>
                  <a:pt x="200" y="485"/>
                </a:lnTo>
                <a:lnTo>
                  <a:pt x="198" y="485"/>
                </a:lnTo>
                <a:lnTo>
                  <a:pt x="198" y="484"/>
                </a:lnTo>
                <a:lnTo>
                  <a:pt x="197" y="482"/>
                </a:lnTo>
                <a:lnTo>
                  <a:pt x="197" y="478"/>
                </a:lnTo>
                <a:lnTo>
                  <a:pt x="194" y="475"/>
                </a:lnTo>
                <a:lnTo>
                  <a:pt x="194" y="472"/>
                </a:lnTo>
                <a:lnTo>
                  <a:pt x="192" y="467"/>
                </a:lnTo>
                <a:lnTo>
                  <a:pt x="192" y="463"/>
                </a:lnTo>
                <a:lnTo>
                  <a:pt x="191" y="458"/>
                </a:lnTo>
                <a:lnTo>
                  <a:pt x="191" y="456"/>
                </a:lnTo>
                <a:lnTo>
                  <a:pt x="189" y="456"/>
                </a:lnTo>
                <a:lnTo>
                  <a:pt x="189" y="455"/>
                </a:lnTo>
                <a:lnTo>
                  <a:pt x="188" y="454"/>
                </a:lnTo>
                <a:lnTo>
                  <a:pt x="186" y="446"/>
                </a:lnTo>
                <a:lnTo>
                  <a:pt x="185" y="445"/>
                </a:lnTo>
                <a:lnTo>
                  <a:pt x="180" y="443"/>
                </a:lnTo>
                <a:lnTo>
                  <a:pt x="178" y="441"/>
                </a:lnTo>
                <a:lnTo>
                  <a:pt x="176" y="435"/>
                </a:lnTo>
                <a:lnTo>
                  <a:pt x="176" y="432"/>
                </a:lnTo>
                <a:lnTo>
                  <a:pt x="175" y="430"/>
                </a:lnTo>
                <a:lnTo>
                  <a:pt x="175" y="426"/>
                </a:lnTo>
                <a:lnTo>
                  <a:pt x="176" y="425"/>
                </a:lnTo>
                <a:lnTo>
                  <a:pt x="176" y="424"/>
                </a:lnTo>
                <a:lnTo>
                  <a:pt x="175" y="421"/>
                </a:lnTo>
                <a:lnTo>
                  <a:pt x="175" y="417"/>
                </a:lnTo>
                <a:lnTo>
                  <a:pt x="174" y="415"/>
                </a:lnTo>
                <a:lnTo>
                  <a:pt x="175" y="413"/>
                </a:lnTo>
                <a:lnTo>
                  <a:pt x="178" y="411"/>
                </a:lnTo>
                <a:lnTo>
                  <a:pt x="179" y="411"/>
                </a:lnTo>
                <a:lnTo>
                  <a:pt x="179" y="408"/>
                </a:lnTo>
                <a:lnTo>
                  <a:pt x="181" y="406"/>
                </a:lnTo>
                <a:lnTo>
                  <a:pt x="181" y="405"/>
                </a:lnTo>
                <a:lnTo>
                  <a:pt x="184" y="403"/>
                </a:lnTo>
                <a:lnTo>
                  <a:pt x="185" y="402"/>
                </a:lnTo>
                <a:lnTo>
                  <a:pt x="185" y="392"/>
                </a:lnTo>
                <a:lnTo>
                  <a:pt x="186" y="389"/>
                </a:lnTo>
                <a:lnTo>
                  <a:pt x="186" y="387"/>
                </a:lnTo>
                <a:lnTo>
                  <a:pt x="185" y="383"/>
                </a:lnTo>
                <a:lnTo>
                  <a:pt x="185" y="382"/>
                </a:lnTo>
                <a:lnTo>
                  <a:pt x="186" y="380"/>
                </a:lnTo>
                <a:lnTo>
                  <a:pt x="187" y="378"/>
                </a:lnTo>
                <a:lnTo>
                  <a:pt x="188" y="378"/>
                </a:lnTo>
                <a:lnTo>
                  <a:pt x="189" y="377"/>
                </a:lnTo>
                <a:lnTo>
                  <a:pt x="189" y="376"/>
                </a:lnTo>
                <a:lnTo>
                  <a:pt x="188" y="370"/>
                </a:lnTo>
                <a:lnTo>
                  <a:pt x="187" y="368"/>
                </a:lnTo>
                <a:lnTo>
                  <a:pt x="186" y="366"/>
                </a:lnTo>
                <a:lnTo>
                  <a:pt x="185" y="364"/>
                </a:lnTo>
                <a:lnTo>
                  <a:pt x="182" y="358"/>
                </a:lnTo>
                <a:lnTo>
                  <a:pt x="180" y="356"/>
                </a:lnTo>
                <a:lnTo>
                  <a:pt x="179" y="356"/>
                </a:lnTo>
                <a:lnTo>
                  <a:pt x="178" y="353"/>
                </a:lnTo>
                <a:lnTo>
                  <a:pt x="176" y="350"/>
                </a:lnTo>
                <a:lnTo>
                  <a:pt x="175" y="349"/>
                </a:lnTo>
                <a:lnTo>
                  <a:pt x="175" y="344"/>
                </a:lnTo>
                <a:lnTo>
                  <a:pt x="174" y="341"/>
                </a:lnTo>
                <a:lnTo>
                  <a:pt x="172" y="339"/>
                </a:lnTo>
                <a:lnTo>
                  <a:pt x="172" y="337"/>
                </a:lnTo>
                <a:lnTo>
                  <a:pt x="173" y="335"/>
                </a:lnTo>
                <a:lnTo>
                  <a:pt x="173" y="327"/>
                </a:lnTo>
                <a:lnTo>
                  <a:pt x="174" y="326"/>
                </a:lnTo>
                <a:lnTo>
                  <a:pt x="179" y="325"/>
                </a:lnTo>
                <a:lnTo>
                  <a:pt x="180" y="322"/>
                </a:lnTo>
                <a:lnTo>
                  <a:pt x="180" y="319"/>
                </a:lnTo>
                <a:lnTo>
                  <a:pt x="179" y="317"/>
                </a:lnTo>
                <a:lnTo>
                  <a:pt x="179" y="315"/>
                </a:lnTo>
                <a:lnTo>
                  <a:pt x="180" y="313"/>
                </a:lnTo>
                <a:lnTo>
                  <a:pt x="180" y="310"/>
                </a:lnTo>
                <a:lnTo>
                  <a:pt x="179" y="309"/>
                </a:lnTo>
                <a:lnTo>
                  <a:pt x="175" y="308"/>
                </a:lnTo>
                <a:lnTo>
                  <a:pt x="173" y="307"/>
                </a:lnTo>
                <a:lnTo>
                  <a:pt x="168" y="307"/>
                </a:lnTo>
                <a:lnTo>
                  <a:pt x="166" y="306"/>
                </a:lnTo>
                <a:lnTo>
                  <a:pt x="166" y="301"/>
                </a:lnTo>
                <a:lnTo>
                  <a:pt x="168" y="296"/>
                </a:lnTo>
                <a:lnTo>
                  <a:pt x="167" y="295"/>
                </a:lnTo>
                <a:lnTo>
                  <a:pt x="168" y="294"/>
                </a:lnTo>
                <a:lnTo>
                  <a:pt x="170" y="292"/>
                </a:lnTo>
                <a:lnTo>
                  <a:pt x="170" y="288"/>
                </a:lnTo>
                <a:lnTo>
                  <a:pt x="169" y="284"/>
                </a:lnTo>
                <a:lnTo>
                  <a:pt x="169" y="283"/>
                </a:lnTo>
                <a:lnTo>
                  <a:pt x="168" y="278"/>
                </a:lnTo>
                <a:lnTo>
                  <a:pt x="168" y="259"/>
                </a:lnTo>
                <a:lnTo>
                  <a:pt x="169" y="258"/>
                </a:lnTo>
                <a:lnTo>
                  <a:pt x="173" y="257"/>
                </a:lnTo>
                <a:lnTo>
                  <a:pt x="174" y="255"/>
                </a:lnTo>
                <a:lnTo>
                  <a:pt x="175" y="253"/>
                </a:lnTo>
                <a:lnTo>
                  <a:pt x="175" y="251"/>
                </a:lnTo>
                <a:lnTo>
                  <a:pt x="174" y="249"/>
                </a:lnTo>
                <a:lnTo>
                  <a:pt x="172" y="248"/>
                </a:lnTo>
                <a:lnTo>
                  <a:pt x="168" y="243"/>
                </a:lnTo>
                <a:lnTo>
                  <a:pt x="167" y="242"/>
                </a:lnTo>
                <a:lnTo>
                  <a:pt x="163" y="240"/>
                </a:lnTo>
                <a:lnTo>
                  <a:pt x="163" y="237"/>
                </a:lnTo>
                <a:lnTo>
                  <a:pt x="161" y="230"/>
                </a:lnTo>
                <a:lnTo>
                  <a:pt x="161" y="229"/>
                </a:lnTo>
                <a:lnTo>
                  <a:pt x="158" y="229"/>
                </a:lnTo>
                <a:lnTo>
                  <a:pt x="155" y="231"/>
                </a:lnTo>
                <a:lnTo>
                  <a:pt x="154" y="230"/>
                </a:lnTo>
                <a:lnTo>
                  <a:pt x="154" y="218"/>
                </a:lnTo>
                <a:lnTo>
                  <a:pt x="151" y="216"/>
                </a:lnTo>
                <a:lnTo>
                  <a:pt x="151" y="215"/>
                </a:lnTo>
                <a:lnTo>
                  <a:pt x="150" y="215"/>
                </a:lnTo>
                <a:lnTo>
                  <a:pt x="150" y="212"/>
                </a:lnTo>
                <a:lnTo>
                  <a:pt x="149" y="211"/>
                </a:lnTo>
                <a:lnTo>
                  <a:pt x="143" y="208"/>
                </a:lnTo>
                <a:lnTo>
                  <a:pt x="142" y="205"/>
                </a:lnTo>
                <a:lnTo>
                  <a:pt x="141" y="202"/>
                </a:lnTo>
                <a:lnTo>
                  <a:pt x="139" y="200"/>
                </a:lnTo>
                <a:lnTo>
                  <a:pt x="137" y="202"/>
                </a:lnTo>
                <a:lnTo>
                  <a:pt x="136" y="200"/>
                </a:lnTo>
                <a:lnTo>
                  <a:pt x="135" y="198"/>
                </a:lnTo>
                <a:lnTo>
                  <a:pt x="133" y="197"/>
                </a:lnTo>
                <a:lnTo>
                  <a:pt x="131" y="197"/>
                </a:lnTo>
                <a:lnTo>
                  <a:pt x="129" y="196"/>
                </a:lnTo>
                <a:lnTo>
                  <a:pt x="127" y="196"/>
                </a:lnTo>
                <a:lnTo>
                  <a:pt x="124" y="193"/>
                </a:lnTo>
                <a:lnTo>
                  <a:pt x="120" y="193"/>
                </a:lnTo>
                <a:lnTo>
                  <a:pt x="122" y="192"/>
                </a:lnTo>
                <a:lnTo>
                  <a:pt x="120" y="192"/>
                </a:lnTo>
                <a:lnTo>
                  <a:pt x="118" y="191"/>
                </a:lnTo>
                <a:lnTo>
                  <a:pt x="108" y="191"/>
                </a:lnTo>
                <a:lnTo>
                  <a:pt x="107" y="190"/>
                </a:lnTo>
                <a:lnTo>
                  <a:pt x="107" y="187"/>
                </a:lnTo>
                <a:lnTo>
                  <a:pt x="106" y="187"/>
                </a:lnTo>
                <a:lnTo>
                  <a:pt x="106" y="186"/>
                </a:lnTo>
                <a:lnTo>
                  <a:pt x="104" y="184"/>
                </a:lnTo>
                <a:lnTo>
                  <a:pt x="104" y="183"/>
                </a:lnTo>
                <a:lnTo>
                  <a:pt x="101" y="180"/>
                </a:lnTo>
                <a:lnTo>
                  <a:pt x="94" y="178"/>
                </a:lnTo>
                <a:lnTo>
                  <a:pt x="93" y="174"/>
                </a:lnTo>
                <a:lnTo>
                  <a:pt x="91" y="173"/>
                </a:lnTo>
                <a:lnTo>
                  <a:pt x="87" y="169"/>
                </a:lnTo>
                <a:lnTo>
                  <a:pt x="83" y="168"/>
                </a:lnTo>
                <a:lnTo>
                  <a:pt x="82" y="167"/>
                </a:lnTo>
                <a:lnTo>
                  <a:pt x="82" y="166"/>
                </a:lnTo>
                <a:lnTo>
                  <a:pt x="81" y="162"/>
                </a:lnTo>
                <a:lnTo>
                  <a:pt x="81" y="161"/>
                </a:lnTo>
                <a:lnTo>
                  <a:pt x="80" y="160"/>
                </a:lnTo>
                <a:lnTo>
                  <a:pt x="80" y="159"/>
                </a:lnTo>
                <a:lnTo>
                  <a:pt x="75" y="159"/>
                </a:lnTo>
                <a:lnTo>
                  <a:pt x="75" y="156"/>
                </a:lnTo>
                <a:lnTo>
                  <a:pt x="73" y="151"/>
                </a:lnTo>
                <a:lnTo>
                  <a:pt x="69" y="149"/>
                </a:lnTo>
                <a:lnTo>
                  <a:pt x="66" y="145"/>
                </a:lnTo>
                <a:lnTo>
                  <a:pt x="60" y="142"/>
                </a:lnTo>
                <a:lnTo>
                  <a:pt x="58" y="141"/>
                </a:lnTo>
                <a:lnTo>
                  <a:pt x="58" y="138"/>
                </a:lnTo>
                <a:lnTo>
                  <a:pt x="60" y="138"/>
                </a:lnTo>
                <a:lnTo>
                  <a:pt x="61" y="136"/>
                </a:lnTo>
                <a:lnTo>
                  <a:pt x="61" y="134"/>
                </a:lnTo>
                <a:lnTo>
                  <a:pt x="60" y="132"/>
                </a:lnTo>
                <a:lnTo>
                  <a:pt x="57" y="131"/>
                </a:lnTo>
                <a:lnTo>
                  <a:pt x="55" y="129"/>
                </a:lnTo>
                <a:lnTo>
                  <a:pt x="49" y="128"/>
                </a:lnTo>
                <a:lnTo>
                  <a:pt x="48" y="125"/>
                </a:lnTo>
                <a:lnTo>
                  <a:pt x="51" y="118"/>
                </a:lnTo>
                <a:lnTo>
                  <a:pt x="52" y="118"/>
                </a:lnTo>
                <a:lnTo>
                  <a:pt x="64" y="125"/>
                </a:lnTo>
                <a:lnTo>
                  <a:pt x="67" y="125"/>
                </a:lnTo>
                <a:lnTo>
                  <a:pt x="69" y="119"/>
                </a:lnTo>
                <a:lnTo>
                  <a:pt x="64" y="108"/>
                </a:lnTo>
                <a:lnTo>
                  <a:pt x="66" y="105"/>
                </a:lnTo>
                <a:lnTo>
                  <a:pt x="67" y="103"/>
                </a:lnTo>
                <a:lnTo>
                  <a:pt x="67" y="101"/>
                </a:lnTo>
                <a:lnTo>
                  <a:pt x="76" y="95"/>
                </a:lnTo>
                <a:lnTo>
                  <a:pt x="89" y="98"/>
                </a:lnTo>
                <a:lnTo>
                  <a:pt x="91" y="99"/>
                </a:lnTo>
                <a:lnTo>
                  <a:pt x="102" y="123"/>
                </a:lnTo>
                <a:lnTo>
                  <a:pt x="106" y="129"/>
                </a:lnTo>
                <a:lnTo>
                  <a:pt x="112" y="135"/>
                </a:lnTo>
                <a:lnTo>
                  <a:pt x="112" y="137"/>
                </a:lnTo>
                <a:lnTo>
                  <a:pt x="113" y="140"/>
                </a:lnTo>
                <a:lnTo>
                  <a:pt x="113" y="141"/>
                </a:lnTo>
                <a:lnTo>
                  <a:pt x="117" y="147"/>
                </a:lnTo>
                <a:lnTo>
                  <a:pt x="120" y="149"/>
                </a:lnTo>
                <a:lnTo>
                  <a:pt x="120" y="150"/>
                </a:lnTo>
                <a:lnTo>
                  <a:pt x="122" y="161"/>
                </a:lnTo>
                <a:lnTo>
                  <a:pt x="123" y="163"/>
                </a:lnTo>
                <a:lnTo>
                  <a:pt x="127" y="162"/>
                </a:lnTo>
                <a:lnTo>
                  <a:pt x="130" y="162"/>
                </a:lnTo>
                <a:lnTo>
                  <a:pt x="141" y="168"/>
                </a:lnTo>
                <a:lnTo>
                  <a:pt x="148" y="167"/>
                </a:lnTo>
                <a:lnTo>
                  <a:pt x="150" y="167"/>
                </a:lnTo>
                <a:lnTo>
                  <a:pt x="151" y="168"/>
                </a:lnTo>
                <a:lnTo>
                  <a:pt x="155" y="174"/>
                </a:lnTo>
                <a:lnTo>
                  <a:pt x="156" y="174"/>
                </a:lnTo>
                <a:lnTo>
                  <a:pt x="168" y="167"/>
                </a:lnTo>
                <a:lnTo>
                  <a:pt x="174" y="166"/>
                </a:lnTo>
                <a:lnTo>
                  <a:pt x="179" y="163"/>
                </a:lnTo>
                <a:lnTo>
                  <a:pt x="181" y="154"/>
                </a:lnTo>
                <a:lnTo>
                  <a:pt x="184" y="151"/>
                </a:lnTo>
                <a:lnTo>
                  <a:pt x="187" y="151"/>
                </a:lnTo>
                <a:lnTo>
                  <a:pt x="195" y="156"/>
                </a:lnTo>
                <a:lnTo>
                  <a:pt x="197" y="159"/>
                </a:lnTo>
                <a:lnTo>
                  <a:pt x="198" y="160"/>
                </a:lnTo>
                <a:lnTo>
                  <a:pt x="204" y="165"/>
                </a:lnTo>
                <a:lnTo>
                  <a:pt x="210" y="166"/>
                </a:lnTo>
                <a:lnTo>
                  <a:pt x="218" y="169"/>
                </a:lnTo>
                <a:lnTo>
                  <a:pt x="222" y="172"/>
                </a:lnTo>
                <a:lnTo>
                  <a:pt x="224" y="178"/>
                </a:lnTo>
                <a:lnTo>
                  <a:pt x="226" y="181"/>
                </a:lnTo>
                <a:lnTo>
                  <a:pt x="226" y="183"/>
                </a:lnTo>
                <a:lnTo>
                  <a:pt x="229" y="180"/>
                </a:lnTo>
                <a:lnTo>
                  <a:pt x="229" y="178"/>
                </a:lnTo>
                <a:lnTo>
                  <a:pt x="231" y="175"/>
                </a:lnTo>
                <a:lnTo>
                  <a:pt x="232" y="175"/>
                </a:lnTo>
                <a:lnTo>
                  <a:pt x="235" y="173"/>
                </a:lnTo>
                <a:lnTo>
                  <a:pt x="236" y="173"/>
                </a:lnTo>
                <a:lnTo>
                  <a:pt x="237" y="172"/>
                </a:lnTo>
                <a:lnTo>
                  <a:pt x="238" y="169"/>
                </a:lnTo>
                <a:lnTo>
                  <a:pt x="237" y="168"/>
                </a:lnTo>
                <a:lnTo>
                  <a:pt x="237" y="167"/>
                </a:lnTo>
                <a:lnTo>
                  <a:pt x="238" y="166"/>
                </a:lnTo>
                <a:lnTo>
                  <a:pt x="238" y="155"/>
                </a:lnTo>
                <a:lnTo>
                  <a:pt x="241" y="151"/>
                </a:lnTo>
                <a:lnTo>
                  <a:pt x="248" y="144"/>
                </a:lnTo>
                <a:lnTo>
                  <a:pt x="250" y="143"/>
                </a:lnTo>
                <a:lnTo>
                  <a:pt x="251" y="143"/>
                </a:lnTo>
                <a:lnTo>
                  <a:pt x="257" y="145"/>
                </a:lnTo>
                <a:lnTo>
                  <a:pt x="260" y="143"/>
                </a:lnTo>
                <a:lnTo>
                  <a:pt x="260" y="141"/>
                </a:lnTo>
                <a:lnTo>
                  <a:pt x="261" y="138"/>
                </a:lnTo>
                <a:lnTo>
                  <a:pt x="263" y="136"/>
                </a:lnTo>
                <a:lnTo>
                  <a:pt x="263" y="132"/>
                </a:lnTo>
                <a:lnTo>
                  <a:pt x="266" y="131"/>
                </a:lnTo>
                <a:lnTo>
                  <a:pt x="266" y="128"/>
                </a:lnTo>
                <a:lnTo>
                  <a:pt x="265" y="128"/>
                </a:lnTo>
                <a:lnTo>
                  <a:pt x="265" y="125"/>
                </a:lnTo>
                <a:lnTo>
                  <a:pt x="263" y="123"/>
                </a:lnTo>
                <a:lnTo>
                  <a:pt x="263" y="116"/>
                </a:lnTo>
                <a:lnTo>
                  <a:pt x="265" y="116"/>
                </a:lnTo>
                <a:lnTo>
                  <a:pt x="265" y="113"/>
                </a:lnTo>
                <a:lnTo>
                  <a:pt x="263" y="111"/>
                </a:lnTo>
                <a:lnTo>
                  <a:pt x="262" y="107"/>
                </a:lnTo>
                <a:lnTo>
                  <a:pt x="263" y="104"/>
                </a:lnTo>
                <a:lnTo>
                  <a:pt x="265" y="94"/>
                </a:lnTo>
                <a:lnTo>
                  <a:pt x="265" y="93"/>
                </a:lnTo>
                <a:lnTo>
                  <a:pt x="268" y="86"/>
                </a:lnTo>
                <a:lnTo>
                  <a:pt x="268" y="85"/>
                </a:lnTo>
                <a:lnTo>
                  <a:pt x="267" y="80"/>
                </a:lnTo>
                <a:lnTo>
                  <a:pt x="268" y="77"/>
                </a:lnTo>
                <a:lnTo>
                  <a:pt x="269" y="76"/>
                </a:lnTo>
                <a:lnTo>
                  <a:pt x="269" y="71"/>
                </a:lnTo>
                <a:lnTo>
                  <a:pt x="271" y="70"/>
                </a:lnTo>
                <a:lnTo>
                  <a:pt x="269" y="69"/>
                </a:lnTo>
                <a:lnTo>
                  <a:pt x="269" y="67"/>
                </a:lnTo>
                <a:lnTo>
                  <a:pt x="272" y="64"/>
                </a:lnTo>
                <a:lnTo>
                  <a:pt x="274" y="60"/>
                </a:lnTo>
                <a:lnTo>
                  <a:pt x="274" y="57"/>
                </a:lnTo>
                <a:lnTo>
                  <a:pt x="273" y="55"/>
                </a:lnTo>
                <a:lnTo>
                  <a:pt x="273" y="54"/>
                </a:lnTo>
                <a:lnTo>
                  <a:pt x="272" y="52"/>
                </a:lnTo>
                <a:lnTo>
                  <a:pt x="273" y="51"/>
                </a:lnTo>
                <a:lnTo>
                  <a:pt x="273" y="49"/>
                </a:lnTo>
                <a:lnTo>
                  <a:pt x="275" y="46"/>
                </a:lnTo>
                <a:lnTo>
                  <a:pt x="281" y="45"/>
                </a:lnTo>
                <a:lnTo>
                  <a:pt x="282" y="44"/>
                </a:lnTo>
                <a:lnTo>
                  <a:pt x="282" y="43"/>
                </a:lnTo>
                <a:lnTo>
                  <a:pt x="284" y="43"/>
                </a:lnTo>
                <a:lnTo>
                  <a:pt x="285" y="39"/>
                </a:lnTo>
                <a:lnTo>
                  <a:pt x="287" y="34"/>
                </a:lnTo>
                <a:lnTo>
                  <a:pt x="292" y="30"/>
                </a:lnTo>
                <a:lnTo>
                  <a:pt x="293" y="27"/>
                </a:lnTo>
                <a:lnTo>
                  <a:pt x="292" y="25"/>
                </a:lnTo>
                <a:lnTo>
                  <a:pt x="293" y="24"/>
                </a:lnTo>
                <a:lnTo>
                  <a:pt x="296" y="19"/>
                </a:lnTo>
                <a:lnTo>
                  <a:pt x="297" y="19"/>
                </a:lnTo>
                <a:lnTo>
                  <a:pt x="304" y="18"/>
                </a:lnTo>
                <a:lnTo>
                  <a:pt x="306" y="18"/>
                </a:lnTo>
                <a:lnTo>
                  <a:pt x="310" y="17"/>
                </a:lnTo>
                <a:lnTo>
                  <a:pt x="315" y="19"/>
                </a:lnTo>
                <a:lnTo>
                  <a:pt x="317" y="19"/>
                </a:lnTo>
                <a:lnTo>
                  <a:pt x="319" y="21"/>
                </a:lnTo>
                <a:lnTo>
                  <a:pt x="321" y="21"/>
                </a:lnTo>
                <a:lnTo>
                  <a:pt x="329" y="18"/>
                </a:lnTo>
                <a:lnTo>
                  <a:pt x="331" y="15"/>
                </a:lnTo>
                <a:lnTo>
                  <a:pt x="330" y="15"/>
                </a:lnTo>
                <a:lnTo>
                  <a:pt x="330" y="13"/>
                </a:lnTo>
                <a:lnTo>
                  <a:pt x="332" y="13"/>
                </a:lnTo>
                <a:lnTo>
                  <a:pt x="335" y="9"/>
                </a:lnTo>
                <a:lnTo>
                  <a:pt x="340" y="7"/>
                </a:lnTo>
                <a:lnTo>
                  <a:pt x="340" y="5"/>
                </a:lnTo>
                <a:lnTo>
                  <a:pt x="342" y="2"/>
                </a:lnTo>
                <a:lnTo>
                  <a:pt x="344" y="1"/>
                </a:lnTo>
                <a:lnTo>
                  <a:pt x="349" y="2"/>
                </a:lnTo>
                <a:lnTo>
                  <a:pt x="353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" name="Freeform 45">
            <a:extLst>
              <a:ext uri="{FF2B5EF4-FFF2-40B4-BE49-F238E27FC236}">
                <a16:creationId xmlns:a16="http://schemas.microsoft.com/office/drawing/2014/main" id="{832E57C8-FB86-462F-9D6C-512EE983CA34}"/>
              </a:ext>
            </a:extLst>
          </p:cNvPr>
          <p:cNvSpPr>
            <a:spLocks noEditPoints="1"/>
          </p:cNvSpPr>
          <p:nvPr/>
        </p:nvSpPr>
        <p:spPr bwMode="auto">
          <a:xfrm>
            <a:off x="765137" y="3339659"/>
            <a:ext cx="82590" cy="130405"/>
          </a:xfrm>
          <a:custGeom>
            <a:avLst/>
            <a:gdLst/>
            <a:ahLst/>
            <a:cxnLst>
              <a:cxn ang="0">
                <a:pos x="41" y="90"/>
              </a:cxn>
              <a:cxn ang="0">
                <a:pos x="38" y="85"/>
              </a:cxn>
              <a:cxn ang="0">
                <a:pos x="35" y="84"/>
              </a:cxn>
              <a:cxn ang="0">
                <a:pos x="32" y="69"/>
              </a:cxn>
              <a:cxn ang="0">
                <a:pos x="39" y="74"/>
              </a:cxn>
              <a:cxn ang="0">
                <a:pos x="37" y="76"/>
              </a:cxn>
              <a:cxn ang="0">
                <a:pos x="40" y="82"/>
              </a:cxn>
              <a:cxn ang="0">
                <a:pos x="32" y="80"/>
              </a:cxn>
              <a:cxn ang="0">
                <a:pos x="28" y="70"/>
              </a:cxn>
              <a:cxn ang="0">
                <a:pos x="31" y="67"/>
              </a:cxn>
              <a:cxn ang="0">
                <a:pos x="37" y="45"/>
              </a:cxn>
              <a:cxn ang="0">
                <a:pos x="41" y="50"/>
              </a:cxn>
              <a:cxn ang="0">
                <a:pos x="40" y="58"/>
              </a:cxn>
              <a:cxn ang="0">
                <a:pos x="32" y="50"/>
              </a:cxn>
              <a:cxn ang="0">
                <a:pos x="2" y="25"/>
              </a:cxn>
              <a:cxn ang="0">
                <a:pos x="1" y="25"/>
              </a:cxn>
              <a:cxn ang="0">
                <a:pos x="21" y="25"/>
              </a:cxn>
              <a:cxn ang="0">
                <a:pos x="20" y="31"/>
              </a:cxn>
              <a:cxn ang="0">
                <a:pos x="17" y="30"/>
              </a:cxn>
              <a:cxn ang="0">
                <a:pos x="10" y="30"/>
              </a:cxn>
              <a:cxn ang="0">
                <a:pos x="9" y="26"/>
              </a:cxn>
              <a:cxn ang="0">
                <a:pos x="13" y="24"/>
              </a:cxn>
              <a:cxn ang="0">
                <a:pos x="57" y="8"/>
              </a:cxn>
              <a:cxn ang="0">
                <a:pos x="52" y="11"/>
              </a:cxn>
              <a:cxn ang="0">
                <a:pos x="22" y="8"/>
              </a:cxn>
              <a:cxn ang="0">
                <a:pos x="28" y="19"/>
              </a:cxn>
              <a:cxn ang="0">
                <a:pos x="34" y="26"/>
              </a:cxn>
              <a:cxn ang="0">
                <a:pos x="38" y="31"/>
              </a:cxn>
              <a:cxn ang="0">
                <a:pos x="39" y="41"/>
              </a:cxn>
              <a:cxn ang="0">
                <a:pos x="29" y="31"/>
              </a:cxn>
              <a:cxn ang="0">
                <a:pos x="26" y="25"/>
              </a:cxn>
              <a:cxn ang="0">
                <a:pos x="19" y="23"/>
              </a:cxn>
              <a:cxn ang="0">
                <a:pos x="17" y="18"/>
              </a:cxn>
              <a:cxn ang="0">
                <a:pos x="19" y="7"/>
              </a:cxn>
              <a:cxn ang="0">
                <a:pos x="31" y="8"/>
              </a:cxn>
              <a:cxn ang="0">
                <a:pos x="33" y="10"/>
              </a:cxn>
              <a:cxn ang="0">
                <a:pos x="38" y="13"/>
              </a:cxn>
              <a:cxn ang="0">
                <a:pos x="38" y="18"/>
              </a:cxn>
              <a:cxn ang="0">
                <a:pos x="41" y="23"/>
              </a:cxn>
              <a:cxn ang="0">
                <a:pos x="39" y="27"/>
              </a:cxn>
              <a:cxn ang="0">
                <a:pos x="34" y="18"/>
              </a:cxn>
              <a:cxn ang="0">
                <a:pos x="33" y="21"/>
              </a:cxn>
              <a:cxn ang="0">
                <a:pos x="26" y="14"/>
              </a:cxn>
              <a:cxn ang="0">
                <a:pos x="27" y="6"/>
              </a:cxn>
              <a:cxn ang="0">
                <a:pos x="52" y="12"/>
              </a:cxn>
              <a:cxn ang="0">
                <a:pos x="47" y="13"/>
              </a:cxn>
              <a:cxn ang="0">
                <a:pos x="51" y="19"/>
              </a:cxn>
              <a:cxn ang="0">
                <a:pos x="47" y="18"/>
              </a:cxn>
              <a:cxn ang="0">
                <a:pos x="45" y="13"/>
              </a:cxn>
              <a:cxn ang="0">
                <a:pos x="46" y="2"/>
              </a:cxn>
              <a:cxn ang="0">
                <a:pos x="44" y="10"/>
              </a:cxn>
              <a:cxn ang="0">
                <a:pos x="41" y="10"/>
              </a:cxn>
              <a:cxn ang="0">
                <a:pos x="38" y="6"/>
              </a:cxn>
              <a:cxn ang="0">
                <a:pos x="39" y="12"/>
              </a:cxn>
              <a:cxn ang="0">
                <a:pos x="35" y="4"/>
              </a:cxn>
              <a:cxn ang="0">
                <a:pos x="48" y="4"/>
              </a:cxn>
              <a:cxn ang="0">
                <a:pos x="52" y="6"/>
              </a:cxn>
              <a:cxn ang="0">
                <a:pos x="46" y="2"/>
              </a:cxn>
            </a:cxnLst>
            <a:rect l="0" t="0" r="r" b="b"/>
            <a:pathLst>
              <a:path w="57" h="90">
                <a:moveTo>
                  <a:pt x="38" y="84"/>
                </a:moveTo>
                <a:lnTo>
                  <a:pt x="40" y="84"/>
                </a:lnTo>
                <a:lnTo>
                  <a:pt x="40" y="86"/>
                </a:lnTo>
                <a:lnTo>
                  <a:pt x="41" y="87"/>
                </a:lnTo>
                <a:lnTo>
                  <a:pt x="41" y="90"/>
                </a:lnTo>
                <a:lnTo>
                  <a:pt x="40" y="90"/>
                </a:lnTo>
                <a:lnTo>
                  <a:pt x="39" y="88"/>
                </a:lnTo>
                <a:lnTo>
                  <a:pt x="38" y="86"/>
                </a:lnTo>
                <a:lnTo>
                  <a:pt x="37" y="85"/>
                </a:lnTo>
                <a:lnTo>
                  <a:pt x="38" y="85"/>
                </a:lnTo>
                <a:lnTo>
                  <a:pt x="38" y="84"/>
                </a:lnTo>
                <a:close/>
                <a:moveTo>
                  <a:pt x="35" y="84"/>
                </a:moveTo>
                <a:lnTo>
                  <a:pt x="37" y="84"/>
                </a:lnTo>
                <a:lnTo>
                  <a:pt x="37" y="85"/>
                </a:lnTo>
                <a:lnTo>
                  <a:pt x="35" y="84"/>
                </a:lnTo>
                <a:close/>
                <a:moveTo>
                  <a:pt x="31" y="67"/>
                </a:moveTo>
                <a:lnTo>
                  <a:pt x="32" y="68"/>
                </a:lnTo>
                <a:lnTo>
                  <a:pt x="31" y="68"/>
                </a:lnTo>
                <a:lnTo>
                  <a:pt x="31" y="69"/>
                </a:lnTo>
                <a:lnTo>
                  <a:pt x="32" y="69"/>
                </a:lnTo>
                <a:lnTo>
                  <a:pt x="31" y="72"/>
                </a:lnTo>
                <a:lnTo>
                  <a:pt x="34" y="72"/>
                </a:lnTo>
                <a:lnTo>
                  <a:pt x="35" y="73"/>
                </a:lnTo>
                <a:lnTo>
                  <a:pt x="38" y="73"/>
                </a:lnTo>
                <a:lnTo>
                  <a:pt x="39" y="74"/>
                </a:lnTo>
                <a:lnTo>
                  <a:pt x="39" y="75"/>
                </a:lnTo>
                <a:lnTo>
                  <a:pt x="38" y="76"/>
                </a:lnTo>
                <a:lnTo>
                  <a:pt x="37" y="75"/>
                </a:lnTo>
                <a:lnTo>
                  <a:pt x="35" y="75"/>
                </a:lnTo>
                <a:lnTo>
                  <a:pt x="37" y="76"/>
                </a:lnTo>
                <a:lnTo>
                  <a:pt x="37" y="78"/>
                </a:lnTo>
                <a:lnTo>
                  <a:pt x="39" y="78"/>
                </a:lnTo>
                <a:lnTo>
                  <a:pt x="39" y="80"/>
                </a:lnTo>
                <a:lnTo>
                  <a:pt x="40" y="81"/>
                </a:lnTo>
                <a:lnTo>
                  <a:pt x="40" y="82"/>
                </a:lnTo>
                <a:lnTo>
                  <a:pt x="38" y="82"/>
                </a:lnTo>
                <a:lnTo>
                  <a:pt x="37" y="84"/>
                </a:lnTo>
                <a:lnTo>
                  <a:pt x="35" y="82"/>
                </a:lnTo>
                <a:lnTo>
                  <a:pt x="35" y="84"/>
                </a:lnTo>
                <a:lnTo>
                  <a:pt x="32" y="80"/>
                </a:lnTo>
                <a:lnTo>
                  <a:pt x="32" y="78"/>
                </a:lnTo>
                <a:lnTo>
                  <a:pt x="31" y="76"/>
                </a:lnTo>
                <a:lnTo>
                  <a:pt x="29" y="74"/>
                </a:lnTo>
                <a:lnTo>
                  <a:pt x="29" y="72"/>
                </a:lnTo>
                <a:lnTo>
                  <a:pt x="28" y="70"/>
                </a:lnTo>
                <a:lnTo>
                  <a:pt x="28" y="69"/>
                </a:lnTo>
                <a:lnTo>
                  <a:pt x="29" y="69"/>
                </a:lnTo>
                <a:lnTo>
                  <a:pt x="29" y="68"/>
                </a:lnTo>
                <a:lnTo>
                  <a:pt x="28" y="68"/>
                </a:lnTo>
                <a:lnTo>
                  <a:pt x="31" y="67"/>
                </a:lnTo>
                <a:close/>
                <a:moveTo>
                  <a:pt x="31" y="44"/>
                </a:moveTo>
                <a:lnTo>
                  <a:pt x="33" y="44"/>
                </a:lnTo>
                <a:lnTo>
                  <a:pt x="34" y="45"/>
                </a:lnTo>
                <a:lnTo>
                  <a:pt x="35" y="44"/>
                </a:lnTo>
                <a:lnTo>
                  <a:pt x="37" y="45"/>
                </a:lnTo>
                <a:lnTo>
                  <a:pt x="37" y="47"/>
                </a:lnTo>
                <a:lnTo>
                  <a:pt x="38" y="47"/>
                </a:lnTo>
                <a:lnTo>
                  <a:pt x="40" y="48"/>
                </a:lnTo>
                <a:lnTo>
                  <a:pt x="41" y="48"/>
                </a:lnTo>
                <a:lnTo>
                  <a:pt x="41" y="50"/>
                </a:lnTo>
                <a:lnTo>
                  <a:pt x="42" y="51"/>
                </a:lnTo>
                <a:lnTo>
                  <a:pt x="42" y="57"/>
                </a:lnTo>
                <a:lnTo>
                  <a:pt x="41" y="57"/>
                </a:lnTo>
                <a:lnTo>
                  <a:pt x="41" y="58"/>
                </a:lnTo>
                <a:lnTo>
                  <a:pt x="40" y="58"/>
                </a:lnTo>
                <a:lnTo>
                  <a:pt x="38" y="53"/>
                </a:lnTo>
                <a:lnTo>
                  <a:pt x="38" y="51"/>
                </a:lnTo>
                <a:lnTo>
                  <a:pt x="33" y="51"/>
                </a:lnTo>
                <a:lnTo>
                  <a:pt x="33" y="50"/>
                </a:lnTo>
                <a:lnTo>
                  <a:pt x="32" y="50"/>
                </a:lnTo>
                <a:lnTo>
                  <a:pt x="32" y="48"/>
                </a:lnTo>
                <a:lnTo>
                  <a:pt x="31" y="45"/>
                </a:lnTo>
                <a:lnTo>
                  <a:pt x="31" y="44"/>
                </a:lnTo>
                <a:close/>
                <a:moveTo>
                  <a:pt x="1" y="25"/>
                </a:moveTo>
                <a:lnTo>
                  <a:pt x="2" y="25"/>
                </a:lnTo>
                <a:lnTo>
                  <a:pt x="3" y="26"/>
                </a:lnTo>
                <a:lnTo>
                  <a:pt x="4" y="26"/>
                </a:lnTo>
                <a:lnTo>
                  <a:pt x="3" y="27"/>
                </a:lnTo>
                <a:lnTo>
                  <a:pt x="0" y="26"/>
                </a:lnTo>
                <a:lnTo>
                  <a:pt x="1" y="25"/>
                </a:lnTo>
                <a:close/>
                <a:moveTo>
                  <a:pt x="15" y="21"/>
                </a:moveTo>
                <a:lnTo>
                  <a:pt x="17" y="21"/>
                </a:lnTo>
                <a:lnTo>
                  <a:pt x="17" y="23"/>
                </a:lnTo>
                <a:lnTo>
                  <a:pt x="19" y="23"/>
                </a:lnTo>
                <a:lnTo>
                  <a:pt x="21" y="25"/>
                </a:lnTo>
                <a:lnTo>
                  <a:pt x="21" y="26"/>
                </a:lnTo>
                <a:lnTo>
                  <a:pt x="25" y="26"/>
                </a:lnTo>
                <a:lnTo>
                  <a:pt x="25" y="30"/>
                </a:lnTo>
                <a:lnTo>
                  <a:pt x="23" y="31"/>
                </a:lnTo>
                <a:lnTo>
                  <a:pt x="20" y="31"/>
                </a:lnTo>
                <a:lnTo>
                  <a:pt x="20" y="32"/>
                </a:lnTo>
                <a:lnTo>
                  <a:pt x="21" y="32"/>
                </a:lnTo>
                <a:lnTo>
                  <a:pt x="19" y="33"/>
                </a:lnTo>
                <a:lnTo>
                  <a:pt x="19" y="31"/>
                </a:lnTo>
                <a:lnTo>
                  <a:pt x="17" y="30"/>
                </a:lnTo>
                <a:lnTo>
                  <a:pt x="17" y="32"/>
                </a:lnTo>
                <a:lnTo>
                  <a:pt x="15" y="31"/>
                </a:lnTo>
                <a:lnTo>
                  <a:pt x="13" y="31"/>
                </a:lnTo>
                <a:lnTo>
                  <a:pt x="11" y="30"/>
                </a:lnTo>
                <a:lnTo>
                  <a:pt x="10" y="30"/>
                </a:lnTo>
                <a:lnTo>
                  <a:pt x="10" y="29"/>
                </a:lnTo>
                <a:lnTo>
                  <a:pt x="14" y="29"/>
                </a:lnTo>
                <a:lnTo>
                  <a:pt x="13" y="27"/>
                </a:lnTo>
                <a:lnTo>
                  <a:pt x="10" y="27"/>
                </a:lnTo>
                <a:lnTo>
                  <a:pt x="9" y="26"/>
                </a:lnTo>
                <a:lnTo>
                  <a:pt x="8" y="24"/>
                </a:lnTo>
                <a:lnTo>
                  <a:pt x="8" y="23"/>
                </a:lnTo>
                <a:lnTo>
                  <a:pt x="9" y="23"/>
                </a:lnTo>
                <a:lnTo>
                  <a:pt x="10" y="24"/>
                </a:lnTo>
                <a:lnTo>
                  <a:pt x="13" y="24"/>
                </a:lnTo>
                <a:lnTo>
                  <a:pt x="13" y="23"/>
                </a:lnTo>
                <a:lnTo>
                  <a:pt x="14" y="23"/>
                </a:lnTo>
                <a:lnTo>
                  <a:pt x="15" y="21"/>
                </a:lnTo>
                <a:close/>
                <a:moveTo>
                  <a:pt x="56" y="8"/>
                </a:moveTo>
                <a:lnTo>
                  <a:pt x="57" y="8"/>
                </a:lnTo>
                <a:lnTo>
                  <a:pt x="56" y="11"/>
                </a:lnTo>
                <a:lnTo>
                  <a:pt x="56" y="13"/>
                </a:lnTo>
                <a:lnTo>
                  <a:pt x="53" y="13"/>
                </a:lnTo>
                <a:lnTo>
                  <a:pt x="53" y="12"/>
                </a:lnTo>
                <a:lnTo>
                  <a:pt x="52" y="11"/>
                </a:lnTo>
                <a:lnTo>
                  <a:pt x="53" y="10"/>
                </a:lnTo>
                <a:lnTo>
                  <a:pt x="56" y="8"/>
                </a:lnTo>
                <a:close/>
                <a:moveTo>
                  <a:pt x="19" y="7"/>
                </a:moveTo>
                <a:lnTo>
                  <a:pt x="19" y="8"/>
                </a:lnTo>
                <a:lnTo>
                  <a:pt x="22" y="8"/>
                </a:lnTo>
                <a:lnTo>
                  <a:pt x="25" y="11"/>
                </a:lnTo>
                <a:lnTo>
                  <a:pt x="25" y="13"/>
                </a:lnTo>
                <a:lnTo>
                  <a:pt x="27" y="17"/>
                </a:lnTo>
                <a:lnTo>
                  <a:pt x="27" y="19"/>
                </a:lnTo>
                <a:lnTo>
                  <a:pt x="28" y="19"/>
                </a:lnTo>
                <a:lnTo>
                  <a:pt x="31" y="21"/>
                </a:lnTo>
                <a:lnTo>
                  <a:pt x="33" y="23"/>
                </a:lnTo>
                <a:lnTo>
                  <a:pt x="33" y="25"/>
                </a:lnTo>
                <a:lnTo>
                  <a:pt x="32" y="26"/>
                </a:lnTo>
                <a:lnTo>
                  <a:pt x="34" y="26"/>
                </a:lnTo>
                <a:lnTo>
                  <a:pt x="35" y="27"/>
                </a:lnTo>
                <a:lnTo>
                  <a:pt x="35" y="30"/>
                </a:lnTo>
                <a:lnTo>
                  <a:pt x="33" y="30"/>
                </a:lnTo>
                <a:lnTo>
                  <a:pt x="33" y="31"/>
                </a:lnTo>
                <a:lnTo>
                  <a:pt x="38" y="31"/>
                </a:lnTo>
                <a:lnTo>
                  <a:pt x="39" y="32"/>
                </a:lnTo>
                <a:lnTo>
                  <a:pt x="38" y="33"/>
                </a:lnTo>
                <a:lnTo>
                  <a:pt x="38" y="37"/>
                </a:lnTo>
                <a:lnTo>
                  <a:pt x="39" y="37"/>
                </a:lnTo>
                <a:lnTo>
                  <a:pt x="39" y="41"/>
                </a:lnTo>
                <a:lnTo>
                  <a:pt x="38" y="42"/>
                </a:lnTo>
                <a:lnTo>
                  <a:pt x="37" y="39"/>
                </a:lnTo>
                <a:lnTo>
                  <a:pt x="33" y="36"/>
                </a:lnTo>
                <a:lnTo>
                  <a:pt x="31" y="32"/>
                </a:lnTo>
                <a:lnTo>
                  <a:pt x="29" y="31"/>
                </a:lnTo>
                <a:lnTo>
                  <a:pt x="28" y="31"/>
                </a:lnTo>
                <a:lnTo>
                  <a:pt x="28" y="27"/>
                </a:lnTo>
                <a:lnTo>
                  <a:pt x="27" y="27"/>
                </a:lnTo>
                <a:lnTo>
                  <a:pt x="27" y="26"/>
                </a:lnTo>
                <a:lnTo>
                  <a:pt x="26" y="25"/>
                </a:lnTo>
                <a:lnTo>
                  <a:pt x="22" y="25"/>
                </a:lnTo>
                <a:lnTo>
                  <a:pt x="21" y="24"/>
                </a:lnTo>
                <a:lnTo>
                  <a:pt x="21" y="21"/>
                </a:lnTo>
                <a:lnTo>
                  <a:pt x="20" y="21"/>
                </a:lnTo>
                <a:lnTo>
                  <a:pt x="19" y="23"/>
                </a:lnTo>
                <a:lnTo>
                  <a:pt x="19" y="21"/>
                </a:lnTo>
                <a:lnTo>
                  <a:pt x="17" y="20"/>
                </a:lnTo>
                <a:lnTo>
                  <a:pt x="16" y="20"/>
                </a:lnTo>
                <a:lnTo>
                  <a:pt x="16" y="18"/>
                </a:lnTo>
                <a:lnTo>
                  <a:pt x="17" y="18"/>
                </a:lnTo>
                <a:lnTo>
                  <a:pt x="17" y="14"/>
                </a:lnTo>
                <a:lnTo>
                  <a:pt x="19" y="14"/>
                </a:lnTo>
                <a:lnTo>
                  <a:pt x="17" y="13"/>
                </a:lnTo>
                <a:lnTo>
                  <a:pt x="17" y="11"/>
                </a:lnTo>
                <a:lnTo>
                  <a:pt x="19" y="7"/>
                </a:lnTo>
                <a:close/>
                <a:moveTo>
                  <a:pt x="29" y="5"/>
                </a:moveTo>
                <a:lnTo>
                  <a:pt x="29" y="6"/>
                </a:lnTo>
                <a:lnTo>
                  <a:pt x="31" y="6"/>
                </a:lnTo>
                <a:lnTo>
                  <a:pt x="32" y="7"/>
                </a:lnTo>
                <a:lnTo>
                  <a:pt x="31" y="8"/>
                </a:lnTo>
                <a:lnTo>
                  <a:pt x="29" y="8"/>
                </a:lnTo>
                <a:lnTo>
                  <a:pt x="29" y="13"/>
                </a:lnTo>
                <a:lnTo>
                  <a:pt x="31" y="14"/>
                </a:lnTo>
                <a:lnTo>
                  <a:pt x="31" y="11"/>
                </a:lnTo>
                <a:lnTo>
                  <a:pt x="33" y="10"/>
                </a:lnTo>
                <a:lnTo>
                  <a:pt x="34" y="10"/>
                </a:lnTo>
                <a:lnTo>
                  <a:pt x="35" y="11"/>
                </a:lnTo>
                <a:lnTo>
                  <a:pt x="34" y="11"/>
                </a:lnTo>
                <a:lnTo>
                  <a:pt x="38" y="12"/>
                </a:lnTo>
                <a:lnTo>
                  <a:pt x="38" y="13"/>
                </a:lnTo>
                <a:lnTo>
                  <a:pt x="37" y="14"/>
                </a:lnTo>
                <a:lnTo>
                  <a:pt x="37" y="15"/>
                </a:lnTo>
                <a:lnTo>
                  <a:pt x="39" y="15"/>
                </a:lnTo>
                <a:lnTo>
                  <a:pt x="44" y="18"/>
                </a:lnTo>
                <a:lnTo>
                  <a:pt x="38" y="18"/>
                </a:lnTo>
                <a:lnTo>
                  <a:pt x="38" y="19"/>
                </a:lnTo>
                <a:lnTo>
                  <a:pt x="44" y="21"/>
                </a:lnTo>
                <a:lnTo>
                  <a:pt x="45" y="24"/>
                </a:lnTo>
                <a:lnTo>
                  <a:pt x="42" y="23"/>
                </a:lnTo>
                <a:lnTo>
                  <a:pt x="41" y="23"/>
                </a:lnTo>
                <a:lnTo>
                  <a:pt x="44" y="25"/>
                </a:lnTo>
                <a:lnTo>
                  <a:pt x="44" y="26"/>
                </a:lnTo>
                <a:lnTo>
                  <a:pt x="41" y="26"/>
                </a:lnTo>
                <a:lnTo>
                  <a:pt x="41" y="30"/>
                </a:lnTo>
                <a:lnTo>
                  <a:pt x="39" y="27"/>
                </a:lnTo>
                <a:lnTo>
                  <a:pt x="39" y="23"/>
                </a:lnTo>
                <a:lnTo>
                  <a:pt x="38" y="21"/>
                </a:lnTo>
                <a:lnTo>
                  <a:pt x="37" y="19"/>
                </a:lnTo>
                <a:lnTo>
                  <a:pt x="35" y="18"/>
                </a:lnTo>
                <a:lnTo>
                  <a:pt x="34" y="18"/>
                </a:lnTo>
                <a:lnTo>
                  <a:pt x="37" y="20"/>
                </a:lnTo>
                <a:lnTo>
                  <a:pt x="38" y="23"/>
                </a:lnTo>
                <a:lnTo>
                  <a:pt x="38" y="26"/>
                </a:lnTo>
                <a:lnTo>
                  <a:pt x="35" y="25"/>
                </a:lnTo>
                <a:lnTo>
                  <a:pt x="33" y="21"/>
                </a:lnTo>
                <a:lnTo>
                  <a:pt x="31" y="21"/>
                </a:lnTo>
                <a:lnTo>
                  <a:pt x="31" y="20"/>
                </a:lnTo>
                <a:lnTo>
                  <a:pt x="29" y="19"/>
                </a:lnTo>
                <a:lnTo>
                  <a:pt x="28" y="19"/>
                </a:lnTo>
                <a:lnTo>
                  <a:pt x="26" y="14"/>
                </a:lnTo>
                <a:lnTo>
                  <a:pt x="25" y="10"/>
                </a:lnTo>
                <a:lnTo>
                  <a:pt x="23" y="8"/>
                </a:lnTo>
                <a:lnTo>
                  <a:pt x="23" y="7"/>
                </a:lnTo>
                <a:lnTo>
                  <a:pt x="26" y="7"/>
                </a:lnTo>
                <a:lnTo>
                  <a:pt x="27" y="6"/>
                </a:lnTo>
                <a:lnTo>
                  <a:pt x="29" y="5"/>
                </a:lnTo>
                <a:close/>
                <a:moveTo>
                  <a:pt x="46" y="2"/>
                </a:moveTo>
                <a:lnTo>
                  <a:pt x="48" y="10"/>
                </a:lnTo>
                <a:lnTo>
                  <a:pt x="50" y="11"/>
                </a:lnTo>
                <a:lnTo>
                  <a:pt x="52" y="12"/>
                </a:lnTo>
                <a:lnTo>
                  <a:pt x="52" y="13"/>
                </a:lnTo>
                <a:lnTo>
                  <a:pt x="51" y="14"/>
                </a:lnTo>
                <a:lnTo>
                  <a:pt x="48" y="13"/>
                </a:lnTo>
                <a:lnTo>
                  <a:pt x="48" y="12"/>
                </a:lnTo>
                <a:lnTo>
                  <a:pt x="47" y="13"/>
                </a:lnTo>
                <a:lnTo>
                  <a:pt x="50" y="15"/>
                </a:lnTo>
                <a:lnTo>
                  <a:pt x="51" y="15"/>
                </a:lnTo>
                <a:lnTo>
                  <a:pt x="51" y="18"/>
                </a:lnTo>
                <a:lnTo>
                  <a:pt x="52" y="18"/>
                </a:lnTo>
                <a:lnTo>
                  <a:pt x="51" y="19"/>
                </a:lnTo>
                <a:lnTo>
                  <a:pt x="50" y="19"/>
                </a:lnTo>
                <a:lnTo>
                  <a:pt x="48" y="18"/>
                </a:lnTo>
                <a:lnTo>
                  <a:pt x="47" y="15"/>
                </a:lnTo>
                <a:lnTo>
                  <a:pt x="46" y="15"/>
                </a:lnTo>
                <a:lnTo>
                  <a:pt x="47" y="18"/>
                </a:lnTo>
                <a:lnTo>
                  <a:pt x="47" y="20"/>
                </a:lnTo>
                <a:lnTo>
                  <a:pt x="46" y="19"/>
                </a:lnTo>
                <a:lnTo>
                  <a:pt x="46" y="18"/>
                </a:lnTo>
                <a:lnTo>
                  <a:pt x="44" y="15"/>
                </a:lnTo>
                <a:lnTo>
                  <a:pt x="45" y="13"/>
                </a:lnTo>
                <a:lnTo>
                  <a:pt x="46" y="13"/>
                </a:lnTo>
                <a:lnTo>
                  <a:pt x="46" y="8"/>
                </a:lnTo>
                <a:lnTo>
                  <a:pt x="45" y="6"/>
                </a:lnTo>
                <a:lnTo>
                  <a:pt x="45" y="4"/>
                </a:lnTo>
                <a:lnTo>
                  <a:pt x="46" y="2"/>
                </a:lnTo>
                <a:close/>
                <a:moveTo>
                  <a:pt x="40" y="2"/>
                </a:moveTo>
                <a:lnTo>
                  <a:pt x="41" y="2"/>
                </a:lnTo>
                <a:lnTo>
                  <a:pt x="41" y="4"/>
                </a:lnTo>
                <a:lnTo>
                  <a:pt x="44" y="8"/>
                </a:lnTo>
                <a:lnTo>
                  <a:pt x="44" y="10"/>
                </a:lnTo>
                <a:lnTo>
                  <a:pt x="45" y="11"/>
                </a:lnTo>
                <a:lnTo>
                  <a:pt x="45" y="12"/>
                </a:lnTo>
                <a:lnTo>
                  <a:pt x="42" y="12"/>
                </a:lnTo>
                <a:lnTo>
                  <a:pt x="42" y="11"/>
                </a:lnTo>
                <a:lnTo>
                  <a:pt x="41" y="10"/>
                </a:lnTo>
                <a:lnTo>
                  <a:pt x="40" y="7"/>
                </a:lnTo>
                <a:lnTo>
                  <a:pt x="40" y="2"/>
                </a:lnTo>
                <a:close/>
                <a:moveTo>
                  <a:pt x="35" y="1"/>
                </a:moveTo>
                <a:lnTo>
                  <a:pt x="37" y="2"/>
                </a:lnTo>
                <a:lnTo>
                  <a:pt x="38" y="6"/>
                </a:lnTo>
                <a:lnTo>
                  <a:pt x="41" y="12"/>
                </a:lnTo>
                <a:lnTo>
                  <a:pt x="41" y="14"/>
                </a:lnTo>
                <a:lnTo>
                  <a:pt x="40" y="14"/>
                </a:lnTo>
                <a:lnTo>
                  <a:pt x="40" y="13"/>
                </a:lnTo>
                <a:lnTo>
                  <a:pt x="39" y="12"/>
                </a:lnTo>
                <a:lnTo>
                  <a:pt x="39" y="10"/>
                </a:lnTo>
                <a:lnTo>
                  <a:pt x="38" y="8"/>
                </a:lnTo>
                <a:lnTo>
                  <a:pt x="37" y="6"/>
                </a:lnTo>
                <a:lnTo>
                  <a:pt x="37" y="5"/>
                </a:lnTo>
                <a:lnTo>
                  <a:pt x="35" y="4"/>
                </a:lnTo>
                <a:lnTo>
                  <a:pt x="35" y="1"/>
                </a:lnTo>
                <a:close/>
                <a:moveTo>
                  <a:pt x="45" y="0"/>
                </a:moveTo>
                <a:lnTo>
                  <a:pt x="47" y="0"/>
                </a:lnTo>
                <a:lnTo>
                  <a:pt x="48" y="1"/>
                </a:lnTo>
                <a:lnTo>
                  <a:pt x="48" y="4"/>
                </a:lnTo>
                <a:lnTo>
                  <a:pt x="50" y="5"/>
                </a:lnTo>
                <a:lnTo>
                  <a:pt x="50" y="7"/>
                </a:lnTo>
                <a:lnTo>
                  <a:pt x="51" y="7"/>
                </a:lnTo>
                <a:lnTo>
                  <a:pt x="51" y="6"/>
                </a:lnTo>
                <a:lnTo>
                  <a:pt x="52" y="6"/>
                </a:lnTo>
                <a:lnTo>
                  <a:pt x="52" y="10"/>
                </a:lnTo>
                <a:lnTo>
                  <a:pt x="51" y="10"/>
                </a:lnTo>
                <a:lnTo>
                  <a:pt x="47" y="6"/>
                </a:lnTo>
                <a:lnTo>
                  <a:pt x="47" y="5"/>
                </a:lnTo>
                <a:lnTo>
                  <a:pt x="46" y="2"/>
                </a:lnTo>
                <a:lnTo>
                  <a:pt x="46" y="1"/>
                </a:lnTo>
                <a:lnTo>
                  <a:pt x="45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" name="Freeform 46">
            <a:extLst>
              <a:ext uri="{FF2B5EF4-FFF2-40B4-BE49-F238E27FC236}">
                <a16:creationId xmlns:a16="http://schemas.microsoft.com/office/drawing/2014/main" id="{D984584D-5C93-49F3-80F1-2F83812133F1}"/>
              </a:ext>
            </a:extLst>
          </p:cNvPr>
          <p:cNvSpPr>
            <a:spLocks noEditPoints="1"/>
          </p:cNvSpPr>
          <p:nvPr/>
        </p:nvSpPr>
        <p:spPr bwMode="auto">
          <a:xfrm>
            <a:off x="2566170" y="3684507"/>
            <a:ext cx="389765" cy="253565"/>
          </a:xfrm>
          <a:custGeom>
            <a:avLst/>
            <a:gdLst/>
            <a:ahLst/>
            <a:cxnLst>
              <a:cxn ang="0">
                <a:pos x="91" y="127"/>
              </a:cxn>
              <a:cxn ang="0">
                <a:pos x="34" y="89"/>
              </a:cxn>
              <a:cxn ang="0">
                <a:pos x="55" y="93"/>
              </a:cxn>
              <a:cxn ang="0">
                <a:pos x="58" y="100"/>
              </a:cxn>
              <a:cxn ang="0">
                <a:pos x="53" y="105"/>
              </a:cxn>
              <a:cxn ang="0">
                <a:pos x="41" y="114"/>
              </a:cxn>
              <a:cxn ang="0">
                <a:pos x="31" y="115"/>
              </a:cxn>
              <a:cxn ang="0">
                <a:pos x="18" y="129"/>
              </a:cxn>
              <a:cxn ang="0">
                <a:pos x="6" y="137"/>
              </a:cxn>
              <a:cxn ang="0">
                <a:pos x="15" y="124"/>
              </a:cxn>
              <a:cxn ang="0">
                <a:pos x="3" y="111"/>
              </a:cxn>
              <a:cxn ang="0">
                <a:pos x="4" y="101"/>
              </a:cxn>
              <a:cxn ang="0">
                <a:pos x="10" y="99"/>
              </a:cxn>
              <a:cxn ang="0">
                <a:pos x="21" y="89"/>
              </a:cxn>
              <a:cxn ang="0">
                <a:pos x="66" y="92"/>
              </a:cxn>
              <a:cxn ang="0">
                <a:pos x="55" y="86"/>
              </a:cxn>
              <a:cxn ang="0">
                <a:pos x="65" y="52"/>
              </a:cxn>
              <a:cxn ang="0">
                <a:pos x="56" y="57"/>
              </a:cxn>
              <a:cxn ang="0">
                <a:pos x="35" y="49"/>
              </a:cxn>
              <a:cxn ang="0">
                <a:pos x="49" y="62"/>
              </a:cxn>
              <a:cxn ang="0">
                <a:pos x="46" y="68"/>
              </a:cxn>
              <a:cxn ang="0">
                <a:pos x="40" y="71"/>
              </a:cxn>
              <a:cxn ang="0">
                <a:pos x="28" y="80"/>
              </a:cxn>
              <a:cxn ang="0">
                <a:pos x="22" y="64"/>
              </a:cxn>
              <a:cxn ang="0">
                <a:pos x="28" y="53"/>
              </a:cxn>
              <a:cxn ang="0">
                <a:pos x="112" y="7"/>
              </a:cxn>
              <a:cxn ang="0">
                <a:pos x="165" y="4"/>
              </a:cxn>
              <a:cxn ang="0">
                <a:pos x="171" y="4"/>
              </a:cxn>
              <a:cxn ang="0">
                <a:pos x="192" y="8"/>
              </a:cxn>
              <a:cxn ang="0">
                <a:pos x="214" y="18"/>
              </a:cxn>
              <a:cxn ang="0">
                <a:pos x="261" y="20"/>
              </a:cxn>
              <a:cxn ang="0">
                <a:pos x="268" y="27"/>
              </a:cxn>
              <a:cxn ang="0">
                <a:pos x="257" y="35"/>
              </a:cxn>
              <a:cxn ang="0">
                <a:pos x="237" y="80"/>
              </a:cxn>
              <a:cxn ang="0">
                <a:pos x="245" y="138"/>
              </a:cxn>
              <a:cxn ang="0">
                <a:pos x="239" y="154"/>
              </a:cxn>
              <a:cxn ang="0">
                <a:pos x="232" y="168"/>
              </a:cxn>
              <a:cxn ang="0">
                <a:pos x="214" y="167"/>
              </a:cxn>
              <a:cxn ang="0">
                <a:pos x="200" y="174"/>
              </a:cxn>
              <a:cxn ang="0">
                <a:pos x="181" y="157"/>
              </a:cxn>
              <a:cxn ang="0">
                <a:pos x="164" y="144"/>
              </a:cxn>
              <a:cxn ang="0">
                <a:pos x="150" y="133"/>
              </a:cxn>
              <a:cxn ang="0">
                <a:pos x="143" y="137"/>
              </a:cxn>
              <a:cxn ang="0">
                <a:pos x="126" y="137"/>
              </a:cxn>
              <a:cxn ang="0">
                <a:pos x="107" y="145"/>
              </a:cxn>
              <a:cxn ang="0">
                <a:pos x="112" y="113"/>
              </a:cxn>
              <a:cxn ang="0">
                <a:pos x="103" y="110"/>
              </a:cxn>
              <a:cxn ang="0">
                <a:pos x="95" y="114"/>
              </a:cxn>
              <a:cxn ang="0">
                <a:pos x="80" y="102"/>
              </a:cxn>
              <a:cxn ang="0">
                <a:pos x="72" y="88"/>
              </a:cxn>
              <a:cxn ang="0">
                <a:pos x="72" y="77"/>
              </a:cxn>
              <a:cxn ang="0">
                <a:pos x="83" y="74"/>
              </a:cxn>
              <a:cxn ang="0">
                <a:pos x="74" y="70"/>
              </a:cxn>
              <a:cxn ang="0">
                <a:pos x="68" y="59"/>
              </a:cxn>
              <a:cxn ang="0">
                <a:pos x="74" y="56"/>
              </a:cxn>
              <a:cxn ang="0">
                <a:pos x="72" y="47"/>
              </a:cxn>
              <a:cxn ang="0">
                <a:pos x="82" y="34"/>
              </a:cxn>
              <a:cxn ang="0">
                <a:pos x="96" y="32"/>
              </a:cxn>
              <a:cxn ang="0">
                <a:pos x="101" y="20"/>
              </a:cxn>
              <a:cxn ang="0">
                <a:pos x="116" y="16"/>
              </a:cxn>
              <a:cxn ang="0">
                <a:pos x="124" y="18"/>
              </a:cxn>
              <a:cxn ang="0">
                <a:pos x="132" y="13"/>
              </a:cxn>
              <a:cxn ang="0">
                <a:pos x="153" y="10"/>
              </a:cxn>
            </a:cxnLst>
            <a:rect l="0" t="0" r="r" b="b"/>
            <a:pathLst>
              <a:path w="269" h="175">
                <a:moveTo>
                  <a:pt x="58" y="150"/>
                </a:moveTo>
                <a:lnTo>
                  <a:pt x="60" y="150"/>
                </a:lnTo>
                <a:lnTo>
                  <a:pt x="60" y="153"/>
                </a:lnTo>
                <a:lnTo>
                  <a:pt x="59" y="153"/>
                </a:lnTo>
                <a:lnTo>
                  <a:pt x="58" y="151"/>
                </a:lnTo>
                <a:lnTo>
                  <a:pt x="58" y="150"/>
                </a:lnTo>
                <a:close/>
                <a:moveTo>
                  <a:pt x="90" y="123"/>
                </a:moveTo>
                <a:lnTo>
                  <a:pt x="93" y="124"/>
                </a:lnTo>
                <a:lnTo>
                  <a:pt x="93" y="125"/>
                </a:lnTo>
                <a:lnTo>
                  <a:pt x="91" y="127"/>
                </a:lnTo>
                <a:lnTo>
                  <a:pt x="90" y="127"/>
                </a:lnTo>
                <a:lnTo>
                  <a:pt x="89" y="126"/>
                </a:lnTo>
                <a:lnTo>
                  <a:pt x="89" y="124"/>
                </a:lnTo>
                <a:lnTo>
                  <a:pt x="90" y="123"/>
                </a:lnTo>
                <a:close/>
                <a:moveTo>
                  <a:pt x="32" y="84"/>
                </a:moveTo>
                <a:lnTo>
                  <a:pt x="32" y="86"/>
                </a:lnTo>
                <a:lnTo>
                  <a:pt x="33" y="87"/>
                </a:lnTo>
                <a:lnTo>
                  <a:pt x="33" y="88"/>
                </a:lnTo>
                <a:lnTo>
                  <a:pt x="34" y="88"/>
                </a:lnTo>
                <a:lnTo>
                  <a:pt x="34" y="89"/>
                </a:lnTo>
                <a:lnTo>
                  <a:pt x="35" y="88"/>
                </a:lnTo>
                <a:lnTo>
                  <a:pt x="39" y="88"/>
                </a:lnTo>
                <a:lnTo>
                  <a:pt x="41" y="86"/>
                </a:lnTo>
                <a:lnTo>
                  <a:pt x="43" y="87"/>
                </a:lnTo>
                <a:lnTo>
                  <a:pt x="45" y="86"/>
                </a:lnTo>
                <a:lnTo>
                  <a:pt x="46" y="86"/>
                </a:lnTo>
                <a:lnTo>
                  <a:pt x="49" y="88"/>
                </a:lnTo>
                <a:lnTo>
                  <a:pt x="53" y="90"/>
                </a:lnTo>
                <a:lnTo>
                  <a:pt x="55" y="92"/>
                </a:lnTo>
                <a:lnTo>
                  <a:pt x="55" y="93"/>
                </a:lnTo>
                <a:lnTo>
                  <a:pt x="57" y="95"/>
                </a:lnTo>
                <a:lnTo>
                  <a:pt x="60" y="95"/>
                </a:lnTo>
                <a:lnTo>
                  <a:pt x="63" y="98"/>
                </a:lnTo>
                <a:lnTo>
                  <a:pt x="63" y="100"/>
                </a:lnTo>
                <a:lnTo>
                  <a:pt x="60" y="99"/>
                </a:lnTo>
                <a:lnTo>
                  <a:pt x="59" y="99"/>
                </a:lnTo>
                <a:lnTo>
                  <a:pt x="60" y="100"/>
                </a:lnTo>
                <a:lnTo>
                  <a:pt x="60" y="101"/>
                </a:lnTo>
                <a:lnTo>
                  <a:pt x="59" y="100"/>
                </a:lnTo>
                <a:lnTo>
                  <a:pt x="58" y="100"/>
                </a:lnTo>
                <a:lnTo>
                  <a:pt x="58" y="99"/>
                </a:lnTo>
                <a:lnTo>
                  <a:pt x="57" y="99"/>
                </a:lnTo>
                <a:lnTo>
                  <a:pt x="57" y="98"/>
                </a:lnTo>
                <a:lnTo>
                  <a:pt x="56" y="98"/>
                </a:lnTo>
                <a:lnTo>
                  <a:pt x="56" y="100"/>
                </a:lnTo>
                <a:lnTo>
                  <a:pt x="55" y="101"/>
                </a:lnTo>
                <a:lnTo>
                  <a:pt x="53" y="101"/>
                </a:lnTo>
                <a:lnTo>
                  <a:pt x="52" y="102"/>
                </a:lnTo>
                <a:lnTo>
                  <a:pt x="53" y="102"/>
                </a:lnTo>
                <a:lnTo>
                  <a:pt x="53" y="105"/>
                </a:lnTo>
                <a:lnTo>
                  <a:pt x="52" y="105"/>
                </a:lnTo>
                <a:lnTo>
                  <a:pt x="50" y="107"/>
                </a:lnTo>
                <a:lnTo>
                  <a:pt x="49" y="105"/>
                </a:lnTo>
                <a:lnTo>
                  <a:pt x="47" y="105"/>
                </a:lnTo>
                <a:lnTo>
                  <a:pt x="47" y="106"/>
                </a:lnTo>
                <a:lnTo>
                  <a:pt x="49" y="107"/>
                </a:lnTo>
                <a:lnTo>
                  <a:pt x="44" y="112"/>
                </a:lnTo>
                <a:lnTo>
                  <a:pt x="43" y="112"/>
                </a:lnTo>
                <a:lnTo>
                  <a:pt x="41" y="113"/>
                </a:lnTo>
                <a:lnTo>
                  <a:pt x="41" y="114"/>
                </a:lnTo>
                <a:lnTo>
                  <a:pt x="38" y="114"/>
                </a:lnTo>
                <a:lnTo>
                  <a:pt x="37" y="115"/>
                </a:lnTo>
                <a:lnTo>
                  <a:pt x="39" y="117"/>
                </a:lnTo>
                <a:lnTo>
                  <a:pt x="38" y="118"/>
                </a:lnTo>
                <a:lnTo>
                  <a:pt x="35" y="118"/>
                </a:lnTo>
                <a:lnTo>
                  <a:pt x="34" y="117"/>
                </a:lnTo>
                <a:lnTo>
                  <a:pt x="34" y="115"/>
                </a:lnTo>
                <a:lnTo>
                  <a:pt x="32" y="115"/>
                </a:lnTo>
                <a:lnTo>
                  <a:pt x="31" y="117"/>
                </a:lnTo>
                <a:lnTo>
                  <a:pt x="31" y="115"/>
                </a:lnTo>
                <a:lnTo>
                  <a:pt x="29" y="115"/>
                </a:lnTo>
                <a:lnTo>
                  <a:pt x="29" y="118"/>
                </a:lnTo>
                <a:lnTo>
                  <a:pt x="28" y="118"/>
                </a:lnTo>
                <a:lnTo>
                  <a:pt x="28" y="117"/>
                </a:lnTo>
                <a:lnTo>
                  <a:pt x="26" y="117"/>
                </a:lnTo>
                <a:lnTo>
                  <a:pt x="26" y="118"/>
                </a:lnTo>
                <a:lnTo>
                  <a:pt x="22" y="118"/>
                </a:lnTo>
                <a:lnTo>
                  <a:pt x="19" y="121"/>
                </a:lnTo>
                <a:lnTo>
                  <a:pt x="19" y="126"/>
                </a:lnTo>
                <a:lnTo>
                  <a:pt x="18" y="129"/>
                </a:lnTo>
                <a:lnTo>
                  <a:pt x="16" y="132"/>
                </a:lnTo>
                <a:lnTo>
                  <a:pt x="16" y="133"/>
                </a:lnTo>
                <a:lnTo>
                  <a:pt x="15" y="133"/>
                </a:lnTo>
                <a:lnTo>
                  <a:pt x="15" y="137"/>
                </a:lnTo>
                <a:lnTo>
                  <a:pt x="9" y="143"/>
                </a:lnTo>
                <a:lnTo>
                  <a:pt x="8" y="143"/>
                </a:lnTo>
                <a:lnTo>
                  <a:pt x="7" y="141"/>
                </a:lnTo>
                <a:lnTo>
                  <a:pt x="7" y="138"/>
                </a:lnTo>
                <a:lnTo>
                  <a:pt x="6" y="138"/>
                </a:lnTo>
                <a:lnTo>
                  <a:pt x="6" y="137"/>
                </a:lnTo>
                <a:lnTo>
                  <a:pt x="7" y="137"/>
                </a:lnTo>
                <a:lnTo>
                  <a:pt x="8" y="135"/>
                </a:lnTo>
                <a:lnTo>
                  <a:pt x="9" y="131"/>
                </a:lnTo>
                <a:lnTo>
                  <a:pt x="10" y="130"/>
                </a:lnTo>
                <a:lnTo>
                  <a:pt x="10" y="129"/>
                </a:lnTo>
                <a:lnTo>
                  <a:pt x="12" y="129"/>
                </a:lnTo>
                <a:lnTo>
                  <a:pt x="13" y="130"/>
                </a:lnTo>
                <a:lnTo>
                  <a:pt x="14" y="129"/>
                </a:lnTo>
                <a:lnTo>
                  <a:pt x="14" y="126"/>
                </a:lnTo>
                <a:lnTo>
                  <a:pt x="15" y="124"/>
                </a:lnTo>
                <a:lnTo>
                  <a:pt x="15" y="123"/>
                </a:lnTo>
                <a:lnTo>
                  <a:pt x="13" y="123"/>
                </a:lnTo>
                <a:lnTo>
                  <a:pt x="10" y="121"/>
                </a:lnTo>
                <a:lnTo>
                  <a:pt x="9" y="121"/>
                </a:lnTo>
                <a:lnTo>
                  <a:pt x="8" y="117"/>
                </a:lnTo>
                <a:lnTo>
                  <a:pt x="4" y="117"/>
                </a:lnTo>
                <a:lnTo>
                  <a:pt x="1" y="113"/>
                </a:lnTo>
                <a:lnTo>
                  <a:pt x="1" y="111"/>
                </a:lnTo>
                <a:lnTo>
                  <a:pt x="3" y="112"/>
                </a:lnTo>
                <a:lnTo>
                  <a:pt x="3" y="111"/>
                </a:lnTo>
                <a:lnTo>
                  <a:pt x="2" y="110"/>
                </a:lnTo>
                <a:lnTo>
                  <a:pt x="2" y="108"/>
                </a:lnTo>
                <a:lnTo>
                  <a:pt x="3" y="108"/>
                </a:lnTo>
                <a:lnTo>
                  <a:pt x="4" y="110"/>
                </a:lnTo>
                <a:lnTo>
                  <a:pt x="4" y="111"/>
                </a:lnTo>
                <a:lnTo>
                  <a:pt x="6" y="110"/>
                </a:lnTo>
                <a:lnTo>
                  <a:pt x="6" y="107"/>
                </a:lnTo>
                <a:lnTo>
                  <a:pt x="7" y="107"/>
                </a:lnTo>
                <a:lnTo>
                  <a:pt x="7" y="105"/>
                </a:lnTo>
                <a:lnTo>
                  <a:pt x="4" y="101"/>
                </a:lnTo>
                <a:lnTo>
                  <a:pt x="4" y="100"/>
                </a:lnTo>
                <a:lnTo>
                  <a:pt x="0" y="95"/>
                </a:lnTo>
                <a:lnTo>
                  <a:pt x="2" y="96"/>
                </a:lnTo>
                <a:lnTo>
                  <a:pt x="3" y="96"/>
                </a:lnTo>
                <a:lnTo>
                  <a:pt x="3" y="95"/>
                </a:lnTo>
                <a:lnTo>
                  <a:pt x="4" y="94"/>
                </a:lnTo>
                <a:lnTo>
                  <a:pt x="6" y="94"/>
                </a:lnTo>
                <a:lnTo>
                  <a:pt x="7" y="95"/>
                </a:lnTo>
                <a:lnTo>
                  <a:pt x="8" y="95"/>
                </a:lnTo>
                <a:lnTo>
                  <a:pt x="10" y="99"/>
                </a:lnTo>
                <a:lnTo>
                  <a:pt x="10" y="102"/>
                </a:lnTo>
                <a:lnTo>
                  <a:pt x="12" y="101"/>
                </a:lnTo>
                <a:lnTo>
                  <a:pt x="12" y="96"/>
                </a:lnTo>
                <a:lnTo>
                  <a:pt x="15" y="93"/>
                </a:lnTo>
                <a:lnTo>
                  <a:pt x="15" y="92"/>
                </a:lnTo>
                <a:lnTo>
                  <a:pt x="16" y="92"/>
                </a:lnTo>
                <a:lnTo>
                  <a:pt x="16" y="95"/>
                </a:lnTo>
                <a:lnTo>
                  <a:pt x="19" y="95"/>
                </a:lnTo>
                <a:lnTo>
                  <a:pt x="19" y="90"/>
                </a:lnTo>
                <a:lnTo>
                  <a:pt x="21" y="89"/>
                </a:lnTo>
                <a:lnTo>
                  <a:pt x="27" y="88"/>
                </a:lnTo>
                <a:lnTo>
                  <a:pt x="31" y="86"/>
                </a:lnTo>
                <a:lnTo>
                  <a:pt x="32" y="84"/>
                </a:lnTo>
                <a:close/>
                <a:moveTo>
                  <a:pt x="56" y="81"/>
                </a:moveTo>
                <a:lnTo>
                  <a:pt x="58" y="81"/>
                </a:lnTo>
                <a:lnTo>
                  <a:pt x="62" y="82"/>
                </a:lnTo>
                <a:lnTo>
                  <a:pt x="64" y="84"/>
                </a:lnTo>
                <a:lnTo>
                  <a:pt x="64" y="88"/>
                </a:lnTo>
                <a:lnTo>
                  <a:pt x="66" y="90"/>
                </a:lnTo>
                <a:lnTo>
                  <a:pt x="66" y="92"/>
                </a:lnTo>
                <a:lnTo>
                  <a:pt x="65" y="92"/>
                </a:lnTo>
                <a:lnTo>
                  <a:pt x="65" y="93"/>
                </a:lnTo>
                <a:lnTo>
                  <a:pt x="63" y="93"/>
                </a:lnTo>
                <a:lnTo>
                  <a:pt x="63" y="92"/>
                </a:lnTo>
                <a:lnTo>
                  <a:pt x="60" y="92"/>
                </a:lnTo>
                <a:lnTo>
                  <a:pt x="59" y="93"/>
                </a:lnTo>
                <a:lnTo>
                  <a:pt x="55" y="89"/>
                </a:lnTo>
                <a:lnTo>
                  <a:pt x="52" y="87"/>
                </a:lnTo>
                <a:lnTo>
                  <a:pt x="52" y="86"/>
                </a:lnTo>
                <a:lnTo>
                  <a:pt x="55" y="86"/>
                </a:lnTo>
                <a:lnTo>
                  <a:pt x="55" y="82"/>
                </a:lnTo>
                <a:lnTo>
                  <a:pt x="56" y="81"/>
                </a:lnTo>
                <a:close/>
                <a:moveTo>
                  <a:pt x="26" y="56"/>
                </a:moveTo>
                <a:lnTo>
                  <a:pt x="27" y="57"/>
                </a:lnTo>
                <a:lnTo>
                  <a:pt x="26" y="57"/>
                </a:lnTo>
                <a:lnTo>
                  <a:pt x="26" y="56"/>
                </a:lnTo>
                <a:close/>
                <a:moveTo>
                  <a:pt x="56" y="51"/>
                </a:moveTo>
                <a:lnTo>
                  <a:pt x="58" y="51"/>
                </a:lnTo>
                <a:lnTo>
                  <a:pt x="60" y="52"/>
                </a:lnTo>
                <a:lnTo>
                  <a:pt x="65" y="52"/>
                </a:lnTo>
                <a:lnTo>
                  <a:pt x="65" y="55"/>
                </a:lnTo>
                <a:lnTo>
                  <a:pt x="66" y="56"/>
                </a:lnTo>
                <a:lnTo>
                  <a:pt x="65" y="57"/>
                </a:lnTo>
                <a:lnTo>
                  <a:pt x="64" y="57"/>
                </a:lnTo>
                <a:lnTo>
                  <a:pt x="64" y="56"/>
                </a:lnTo>
                <a:lnTo>
                  <a:pt x="63" y="57"/>
                </a:lnTo>
                <a:lnTo>
                  <a:pt x="59" y="57"/>
                </a:lnTo>
                <a:lnTo>
                  <a:pt x="59" y="56"/>
                </a:lnTo>
                <a:lnTo>
                  <a:pt x="57" y="58"/>
                </a:lnTo>
                <a:lnTo>
                  <a:pt x="56" y="57"/>
                </a:lnTo>
                <a:lnTo>
                  <a:pt x="55" y="53"/>
                </a:lnTo>
                <a:lnTo>
                  <a:pt x="55" y="52"/>
                </a:lnTo>
                <a:lnTo>
                  <a:pt x="56" y="51"/>
                </a:lnTo>
                <a:close/>
                <a:moveTo>
                  <a:pt x="74" y="49"/>
                </a:moveTo>
                <a:lnTo>
                  <a:pt x="74" y="50"/>
                </a:lnTo>
                <a:lnTo>
                  <a:pt x="76" y="51"/>
                </a:lnTo>
                <a:lnTo>
                  <a:pt x="74" y="49"/>
                </a:lnTo>
                <a:close/>
                <a:moveTo>
                  <a:pt x="32" y="47"/>
                </a:moveTo>
                <a:lnTo>
                  <a:pt x="34" y="47"/>
                </a:lnTo>
                <a:lnTo>
                  <a:pt x="35" y="49"/>
                </a:lnTo>
                <a:lnTo>
                  <a:pt x="37" y="49"/>
                </a:lnTo>
                <a:lnTo>
                  <a:pt x="38" y="50"/>
                </a:lnTo>
                <a:lnTo>
                  <a:pt x="37" y="52"/>
                </a:lnTo>
                <a:lnTo>
                  <a:pt x="37" y="53"/>
                </a:lnTo>
                <a:lnTo>
                  <a:pt x="38" y="55"/>
                </a:lnTo>
                <a:lnTo>
                  <a:pt x="43" y="55"/>
                </a:lnTo>
                <a:lnTo>
                  <a:pt x="46" y="56"/>
                </a:lnTo>
                <a:lnTo>
                  <a:pt x="47" y="57"/>
                </a:lnTo>
                <a:lnTo>
                  <a:pt x="47" y="61"/>
                </a:lnTo>
                <a:lnTo>
                  <a:pt x="49" y="62"/>
                </a:lnTo>
                <a:lnTo>
                  <a:pt x="49" y="63"/>
                </a:lnTo>
                <a:lnTo>
                  <a:pt x="50" y="63"/>
                </a:lnTo>
                <a:lnTo>
                  <a:pt x="50" y="67"/>
                </a:lnTo>
                <a:lnTo>
                  <a:pt x="51" y="67"/>
                </a:lnTo>
                <a:lnTo>
                  <a:pt x="51" y="69"/>
                </a:lnTo>
                <a:lnTo>
                  <a:pt x="50" y="69"/>
                </a:lnTo>
                <a:lnTo>
                  <a:pt x="49" y="68"/>
                </a:lnTo>
                <a:lnTo>
                  <a:pt x="47" y="68"/>
                </a:lnTo>
                <a:lnTo>
                  <a:pt x="47" y="69"/>
                </a:lnTo>
                <a:lnTo>
                  <a:pt x="46" y="68"/>
                </a:lnTo>
                <a:lnTo>
                  <a:pt x="46" y="69"/>
                </a:lnTo>
                <a:lnTo>
                  <a:pt x="44" y="69"/>
                </a:lnTo>
                <a:lnTo>
                  <a:pt x="44" y="70"/>
                </a:lnTo>
                <a:lnTo>
                  <a:pt x="45" y="70"/>
                </a:lnTo>
                <a:lnTo>
                  <a:pt x="45" y="72"/>
                </a:lnTo>
                <a:lnTo>
                  <a:pt x="44" y="72"/>
                </a:lnTo>
                <a:lnTo>
                  <a:pt x="43" y="74"/>
                </a:lnTo>
                <a:lnTo>
                  <a:pt x="41" y="74"/>
                </a:lnTo>
                <a:lnTo>
                  <a:pt x="40" y="72"/>
                </a:lnTo>
                <a:lnTo>
                  <a:pt x="40" y="71"/>
                </a:lnTo>
                <a:lnTo>
                  <a:pt x="41" y="70"/>
                </a:lnTo>
                <a:lnTo>
                  <a:pt x="43" y="70"/>
                </a:lnTo>
                <a:lnTo>
                  <a:pt x="41" y="69"/>
                </a:lnTo>
                <a:lnTo>
                  <a:pt x="40" y="69"/>
                </a:lnTo>
                <a:lnTo>
                  <a:pt x="38" y="71"/>
                </a:lnTo>
                <a:lnTo>
                  <a:pt x="38" y="72"/>
                </a:lnTo>
                <a:lnTo>
                  <a:pt x="34" y="80"/>
                </a:lnTo>
                <a:lnTo>
                  <a:pt x="33" y="81"/>
                </a:lnTo>
                <a:lnTo>
                  <a:pt x="31" y="81"/>
                </a:lnTo>
                <a:lnTo>
                  <a:pt x="28" y="80"/>
                </a:lnTo>
                <a:lnTo>
                  <a:pt x="27" y="78"/>
                </a:lnTo>
                <a:lnTo>
                  <a:pt x="27" y="77"/>
                </a:lnTo>
                <a:lnTo>
                  <a:pt x="28" y="76"/>
                </a:lnTo>
                <a:lnTo>
                  <a:pt x="27" y="76"/>
                </a:lnTo>
                <a:lnTo>
                  <a:pt x="27" y="74"/>
                </a:lnTo>
                <a:lnTo>
                  <a:pt x="26" y="72"/>
                </a:lnTo>
                <a:lnTo>
                  <a:pt x="26" y="68"/>
                </a:lnTo>
                <a:lnTo>
                  <a:pt x="25" y="67"/>
                </a:lnTo>
                <a:lnTo>
                  <a:pt x="24" y="64"/>
                </a:lnTo>
                <a:lnTo>
                  <a:pt x="22" y="64"/>
                </a:lnTo>
                <a:lnTo>
                  <a:pt x="21" y="63"/>
                </a:lnTo>
                <a:lnTo>
                  <a:pt x="20" y="64"/>
                </a:lnTo>
                <a:lnTo>
                  <a:pt x="15" y="64"/>
                </a:lnTo>
                <a:lnTo>
                  <a:pt x="9" y="61"/>
                </a:lnTo>
                <a:lnTo>
                  <a:pt x="9" y="59"/>
                </a:lnTo>
                <a:lnTo>
                  <a:pt x="12" y="58"/>
                </a:lnTo>
                <a:lnTo>
                  <a:pt x="14" y="59"/>
                </a:lnTo>
                <a:lnTo>
                  <a:pt x="27" y="57"/>
                </a:lnTo>
                <a:lnTo>
                  <a:pt x="28" y="57"/>
                </a:lnTo>
                <a:lnTo>
                  <a:pt x="28" y="53"/>
                </a:lnTo>
                <a:lnTo>
                  <a:pt x="29" y="53"/>
                </a:lnTo>
                <a:lnTo>
                  <a:pt x="32" y="51"/>
                </a:lnTo>
                <a:lnTo>
                  <a:pt x="32" y="47"/>
                </a:lnTo>
                <a:close/>
                <a:moveTo>
                  <a:pt x="113" y="6"/>
                </a:moveTo>
                <a:lnTo>
                  <a:pt x="114" y="7"/>
                </a:lnTo>
                <a:lnTo>
                  <a:pt x="115" y="9"/>
                </a:lnTo>
                <a:lnTo>
                  <a:pt x="114" y="9"/>
                </a:lnTo>
                <a:lnTo>
                  <a:pt x="113" y="10"/>
                </a:lnTo>
                <a:lnTo>
                  <a:pt x="112" y="9"/>
                </a:lnTo>
                <a:lnTo>
                  <a:pt x="112" y="7"/>
                </a:lnTo>
                <a:lnTo>
                  <a:pt x="113" y="6"/>
                </a:lnTo>
                <a:close/>
                <a:moveTo>
                  <a:pt x="156" y="0"/>
                </a:moveTo>
                <a:lnTo>
                  <a:pt x="157" y="0"/>
                </a:lnTo>
                <a:lnTo>
                  <a:pt x="158" y="3"/>
                </a:lnTo>
                <a:lnTo>
                  <a:pt x="159" y="4"/>
                </a:lnTo>
                <a:lnTo>
                  <a:pt x="161" y="4"/>
                </a:lnTo>
                <a:lnTo>
                  <a:pt x="162" y="7"/>
                </a:lnTo>
                <a:lnTo>
                  <a:pt x="163" y="8"/>
                </a:lnTo>
                <a:lnTo>
                  <a:pt x="165" y="8"/>
                </a:lnTo>
                <a:lnTo>
                  <a:pt x="165" y="4"/>
                </a:lnTo>
                <a:lnTo>
                  <a:pt x="164" y="4"/>
                </a:lnTo>
                <a:lnTo>
                  <a:pt x="164" y="0"/>
                </a:lnTo>
                <a:lnTo>
                  <a:pt x="165" y="0"/>
                </a:lnTo>
                <a:lnTo>
                  <a:pt x="168" y="2"/>
                </a:lnTo>
                <a:lnTo>
                  <a:pt x="168" y="3"/>
                </a:lnTo>
                <a:lnTo>
                  <a:pt x="169" y="4"/>
                </a:lnTo>
                <a:lnTo>
                  <a:pt x="169" y="7"/>
                </a:lnTo>
                <a:lnTo>
                  <a:pt x="170" y="8"/>
                </a:lnTo>
                <a:lnTo>
                  <a:pt x="173" y="6"/>
                </a:lnTo>
                <a:lnTo>
                  <a:pt x="171" y="4"/>
                </a:lnTo>
                <a:lnTo>
                  <a:pt x="173" y="3"/>
                </a:lnTo>
                <a:lnTo>
                  <a:pt x="174" y="3"/>
                </a:lnTo>
                <a:lnTo>
                  <a:pt x="175" y="6"/>
                </a:lnTo>
                <a:lnTo>
                  <a:pt x="176" y="6"/>
                </a:lnTo>
                <a:lnTo>
                  <a:pt x="176" y="3"/>
                </a:lnTo>
                <a:lnTo>
                  <a:pt x="178" y="3"/>
                </a:lnTo>
                <a:lnTo>
                  <a:pt x="181" y="6"/>
                </a:lnTo>
                <a:lnTo>
                  <a:pt x="181" y="7"/>
                </a:lnTo>
                <a:lnTo>
                  <a:pt x="190" y="7"/>
                </a:lnTo>
                <a:lnTo>
                  <a:pt x="192" y="8"/>
                </a:lnTo>
                <a:lnTo>
                  <a:pt x="196" y="10"/>
                </a:lnTo>
                <a:lnTo>
                  <a:pt x="199" y="10"/>
                </a:lnTo>
                <a:lnTo>
                  <a:pt x="199" y="12"/>
                </a:lnTo>
                <a:lnTo>
                  <a:pt x="201" y="9"/>
                </a:lnTo>
                <a:lnTo>
                  <a:pt x="203" y="9"/>
                </a:lnTo>
                <a:lnTo>
                  <a:pt x="206" y="10"/>
                </a:lnTo>
                <a:lnTo>
                  <a:pt x="208" y="13"/>
                </a:lnTo>
                <a:lnTo>
                  <a:pt x="211" y="14"/>
                </a:lnTo>
                <a:lnTo>
                  <a:pt x="212" y="16"/>
                </a:lnTo>
                <a:lnTo>
                  <a:pt x="214" y="18"/>
                </a:lnTo>
                <a:lnTo>
                  <a:pt x="215" y="19"/>
                </a:lnTo>
                <a:lnTo>
                  <a:pt x="217" y="19"/>
                </a:lnTo>
                <a:lnTo>
                  <a:pt x="224" y="20"/>
                </a:lnTo>
                <a:lnTo>
                  <a:pt x="231" y="19"/>
                </a:lnTo>
                <a:lnTo>
                  <a:pt x="237" y="19"/>
                </a:lnTo>
                <a:lnTo>
                  <a:pt x="243" y="21"/>
                </a:lnTo>
                <a:lnTo>
                  <a:pt x="250" y="21"/>
                </a:lnTo>
                <a:lnTo>
                  <a:pt x="256" y="24"/>
                </a:lnTo>
                <a:lnTo>
                  <a:pt x="258" y="22"/>
                </a:lnTo>
                <a:lnTo>
                  <a:pt x="261" y="20"/>
                </a:lnTo>
                <a:lnTo>
                  <a:pt x="262" y="18"/>
                </a:lnTo>
                <a:lnTo>
                  <a:pt x="263" y="19"/>
                </a:lnTo>
                <a:lnTo>
                  <a:pt x="265" y="20"/>
                </a:lnTo>
                <a:lnTo>
                  <a:pt x="265" y="21"/>
                </a:lnTo>
                <a:lnTo>
                  <a:pt x="267" y="24"/>
                </a:lnTo>
                <a:lnTo>
                  <a:pt x="268" y="24"/>
                </a:lnTo>
                <a:lnTo>
                  <a:pt x="268" y="25"/>
                </a:lnTo>
                <a:lnTo>
                  <a:pt x="269" y="26"/>
                </a:lnTo>
                <a:lnTo>
                  <a:pt x="269" y="27"/>
                </a:lnTo>
                <a:lnTo>
                  <a:pt x="268" y="27"/>
                </a:lnTo>
                <a:lnTo>
                  <a:pt x="267" y="28"/>
                </a:lnTo>
                <a:lnTo>
                  <a:pt x="263" y="28"/>
                </a:lnTo>
                <a:lnTo>
                  <a:pt x="262" y="29"/>
                </a:lnTo>
                <a:lnTo>
                  <a:pt x="264" y="31"/>
                </a:lnTo>
                <a:lnTo>
                  <a:pt x="265" y="31"/>
                </a:lnTo>
                <a:lnTo>
                  <a:pt x="264" y="32"/>
                </a:lnTo>
                <a:lnTo>
                  <a:pt x="260" y="32"/>
                </a:lnTo>
                <a:lnTo>
                  <a:pt x="257" y="33"/>
                </a:lnTo>
                <a:lnTo>
                  <a:pt x="256" y="34"/>
                </a:lnTo>
                <a:lnTo>
                  <a:pt x="257" y="35"/>
                </a:lnTo>
                <a:lnTo>
                  <a:pt x="256" y="37"/>
                </a:lnTo>
                <a:lnTo>
                  <a:pt x="255" y="44"/>
                </a:lnTo>
                <a:lnTo>
                  <a:pt x="252" y="50"/>
                </a:lnTo>
                <a:lnTo>
                  <a:pt x="251" y="52"/>
                </a:lnTo>
                <a:lnTo>
                  <a:pt x="249" y="56"/>
                </a:lnTo>
                <a:lnTo>
                  <a:pt x="249" y="57"/>
                </a:lnTo>
                <a:lnTo>
                  <a:pt x="244" y="62"/>
                </a:lnTo>
                <a:lnTo>
                  <a:pt x="238" y="67"/>
                </a:lnTo>
                <a:lnTo>
                  <a:pt x="236" y="76"/>
                </a:lnTo>
                <a:lnTo>
                  <a:pt x="237" y="80"/>
                </a:lnTo>
                <a:lnTo>
                  <a:pt x="237" y="84"/>
                </a:lnTo>
                <a:lnTo>
                  <a:pt x="239" y="94"/>
                </a:lnTo>
                <a:lnTo>
                  <a:pt x="242" y="106"/>
                </a:lnTo>
                <a:lnTo>
                  <a:pt x="238" y="112"/>
                </a:lnTo>
                <a:lnTo>
                  <a:pt x="238" y="119"/>
                </a:lnTo>
                <a:lnTo>
                  <a:pt x="240" y="124"/>
                </a:lnTo>
                <a:lnTo>
                  <a:pt x="242" y="127"/>
                </a:lnTo>
                <a:lnTo>
                  <a:pt x="244" y="130"/>
                </a:lnTo>
                <a:lnTo>
                  <a:pt x="244" y="137"/>
                </a:lnTo>
                <a:lnTo>
                  <a:pt x="245" y="138"/>
                </a:lnTo>
                <a:lnTo>
                  <a:pt x="245" y="144"/>
                </a:lnTo>
                <a:lnTo>
                  <a:pt x="250" y="147"/>
                </a:lnTo>
                <a:lnTo>
                  <a:pt x="251" y="149"/>
                </a:lnTo>
                <a:lnTo>
                  <a:pt x="250" y="149"/>
                </a:lnTo>
                <a:lnTo>
                  <a:pt x="249" y="150"/>
                </a:lnTo>
                <a:lnTo>
                  <a:pt x="246" y="151"/>
                </a:lnTo>
                <a:lnTo>
                  <a:pt x="240" y="153"/>
                </a:lnTo>
                <a:lnTo>
                  <a:pt x="239" y="153"/>
                </a:lnTo>
                <a:lnTo>
                  <a:pt x="240" y="154"/>
                </a:lnTo>
                <a:lnTo>
                  <a:pt x="239" y="154"/>
                </a:lnTo>
                <a:lnTo>
                  <a:pt x="238" y="155"/>
                </a:lnTo>
                <a:lnTo>
                  <a:pt x="238" y="160"/>
                </a:lnTo>
                <a:lnTo>
                  <a:pt x="237" y="161"/>
                </a:lnTo>
                <a:lnTo>
                  <a:pt x="233" y="162"/>
                </a:lnTo>
                <a:lnTo>
                  <a:pt x="233" y="163"/>
                </a:lnTo>
                <a:lnTo>
                  <a:pt x="232" y="163"/>
                </a:lnTo>
                <a:lnTo>
                  <a:pt x="232" y="164"/>
                </a:lnTo>
                <a:lnTo>
                  <a:pt x="233" y="166"/>
                </a:lnTo>
                <a:lnTo>
                  <a:pt x="233" y="168"/>
                </a:lnTo>
                <a:lnTo>
                  <a:pt x="232" y="168"/>
                </a:lnTo>
                <a:lnTo>
                  <a:pt x="232" y="169"/>
                </a:lnTo>
                <a:lnTo>
                  <a:pt x="231" y="169"/>
                </a:lnTo>
                <a:lnTo>
                  <a:pt x="231" y="174"/>
                </a:lnTo>
                <a:lnTo>
                  <a:pt x="230" y="175"/>
                </a:lnTo>
                <a:lnTo>
                  <a:pt x="224" y="173"/>
                </a:lnTo>
                <a:lnTo>
                  <a:pt x="220" y="173"/>
                </a:lnTo>
                <a:lnTo>
                  <a:pt x="218" y="170"/>
                </a:lnTo>
                <a:lnTo>
                  <a:pt x="217" y="168"/>
                </a:lnTo>
                <a:lnTo>
                  <a:pt x="215" y="168"/>
                </a:lnTo>
                <a:lnTo>
                  <a:pt x="214" y="167"/>
                </a:lnTo>
                <a:lnTo>
                  <a:pt x="212" y="167"/>
                </a:lnTo>
                <a:lnTo>
                  <a:pt x="211" y="166"/>
                </a:lnTo>
                <a:lnTo>
                  <a:pt x="211" y="167"/>
                </a:lnTo>
                <a:lnTo>
                  <a:pt x="209" y="168"/>
                </a:lnTo>
                <a:lnTo>
                  <a:pt x="209" y="169"/>
                </a:lnTo>
                <a:lnTo>
                  <a:pt x="208" y="169"/>
                </a:lnTo>
                <a:lnTo>
                  <a:pt x="208" y="170"/>
                </a:lnTo>
                <a:lnTo>
                  <a:pt x="202" y="170"/>
                </a:lnTo>
                <a:lnTo>
                  <a:pt x="200" y="173"/>
                </a:lnTo>
                <a:lnTo>
                  <a:pt x="200" y="174"/>
                </a:lnTo>
                <a:lnTo>
                  <a:pt x="196" y="174"/>
                </a:lnTo>
                <a:lnTo>
                  <a:pt x="195" y="175"/>
                </a:lnTo>
                <a:lnTo>
                  <a:pt x="194" y="174"/>
                </a:lnTo>
                <a:lnTo>
                  <a:pt x="193" y="172"/>
                </a:lnTo>
                <a:lnTo>
                  <a:pt x="193" y="170"/>
                </a:lnTo>
                <a:lnTo>
                  <a:pt x="189" y="169"/>
                </a:lnTo>
                <a:lnTo>
                  <a:pt x="187" y="168"/>
                </a:lnTo>
                <a:lnTo>
                  <a:pt x="186" y="166"/>
                </a:lnTo>
                <a:lnTo>
                  <a:pt x="182" y="160"/>
                </a:lnTo>
                <a:lnTo>
                  <a:pt x="181" y="157"/>
                </a:lnTo>
                <a:lnTo>
                  <a:pt x="176" y="154"/>
                </a:lnTo>
                <a:lnTo>
                  <a:pt x="175" y="153"/>
                </a:lnTo>
                <a:lnTo>
                  <a:pt x="175" y="150"/>
                </a:lnTo>
                <a:lnTo>
                  <a:pt x="176" y="150"/>
                </a:lnTo>
                <a:lnTo>
                  <a:pt x="176" y="149"/>
                </a:lnTo>
                <a:lnTo>
                  <a:pt x="175" y="149"/>
                </a:lnTo>
                <a:lnTo>
                  <a:pt x="175" y="148"/>
                </a:lnTo>
                <a:lnTo>
                  <a:pt x="167" y="148"/>
                </a:lnTo>
                <a:lnTo>
                  <a:pt x="165" y="147"/>
                </a:lnTo>
                <a:lnTo>
                  <a:pt x="164" y="144"/>
                </a:lnTo>
                <a:lnTo>
                  <a:pt x="164" y="143"/>
                </a:lnTo>
                <a:lnTo>
                  <a:pt x="163" y="142"/>
                </a:lnTo>
                <a:lnTo>
                  <a:pt x="162" y="142"/>
                </a:lnTo>
                <a:lnTo>
                  <a:pt x="161" y="143"/>
                </a:lnTo>
                <a:lnTo>
                  <a:pt x="158" y="143"/>
                </a:lnTo>
                <a:lnTo>
                  <a:pt x="156" y="141"/>
                </a:lnTo>
                <a:lnTo>
                  <a:pt x="156" y="138"/>
                </a:lnTo>
                <a:lnTo>
                  <a:pt x="153" y="138"/>
                </a:lnTo>
                <a:lnTo>
                  <a:pt x="152" y="137"/>
                </a:lnTo>
                <a:lnTo>
                  <a:pt x="150" y="133"/>
                </a:lnTo>
                <a:lnTo>
                  <a:pt x="147" y="132"/>
                </a:lnTo>
                <a:lnTo>
                  <a:pt x="147" y="133"/>
                </a:lnTo>
                <a:lnTo>
                  <a:pt x="146" y="132"/>
                </a:lnTo>
                <a:lnTo>
                  <a:pt x="146" y="131"/>
                </a:lnTo>
                <a:lnTo>
                  <a:pt x="145" y="130"/>
                </a:lnTo>
                <a:lnTo>
                  <a:pt x="144" y="130"/>
                </a:lnTo>
                <a:lnTo>
                  <a:pt x="144" y="131"/>
                </a:lnTo>
                <a:lnTo>
                  <a:pt x="145" y="133"/>
                </a:lnTo>
                <a:lnTo>
                  <a:pt x="145" y="135"/>
                </a:lnTo>
                <a:lnTo>
                  <a:pt x="143" y="137"/>
                </a:lnTo>
                <a:lnTo>
                  <a:pt x="142" y="137"/>
                </a:lnTo>
                <a:lnTo>
                  <a:pt x="142" y="136"/>
                </a:lnTo>
                <a:lnTo>
                  <a:pt x="140" y="135"/>
                </a:lnTo>
                <a:lnTo>
                  <a:pt x="140" y="131"/>
                </a:lnTo>
                <a:lnTo>
                  <a:pt x="139" y="130"/>
                </a:lnTo>
                <a:lnTo>
                  <a:pt x="136" y="130"/>
                </a:lnTo>
                <a:lnTo>
                  <a:pt x="131" y="135"/>
                </a:lnTo>
                <a:lnTo>
                  <a:pt x="127" y="135"/>
                </a:lnTo>
                <a:lnTo>
                  <a:pt x="126" y="136"/>
                </a:lnTo>
                <a:lnTo>
                  <a:pt x="126" y="137"/>
                </a:lnTo>
                <a:lnTo>
                  <a:pt x="124" y="137"/>
                </a:lnTo>
                <a:lnTo>
                  <a:pt x="122" y="136"/>
                </a:lnTo>
                <a:lnTo>
                  <a:pt x="121" y="136"/>
                </a:lnTo>
                <a:lnTo>
                  <a:pt x="120" y="138"/>
                </a:lnTo>
                <a:lnTo>
                  <a:pt x="119" y="139"/>
                </a:lnTo>
                <a:lnTo>
                  <a:pt x="113" y="139"/>
                </a:lnTo>
                <a:lnTo>
                  <a:pt x="111" y="141"/>
                </a:lnTo>
                <a:lnTo>
                  <a:pt x="108" y="143"/>
                </a:lnTo>
                <a:lnTo>
                  <a:pt x="108" y="144"/>
                </a:lnTo>
                <a:lnTo>
                  <a:pt x="107" y="145"/>
                </a:lnTo>
                <a:lnTo>
                  <a:pt x="103" y="145"/>
                </a:lnTo>
                <a:lnTo>
                  <a:pt x="103" y="144"/>
                </a:lnTo>
                <a:lnTo>
                  <a:pt x="105" y="144"/>
                </a:lnTo>
                <a:lnTo>
                  <a:pt x="105" y="141"/>
                </a:lnTo>
                <a:lnTo>
                  <a:pt x="107" y="136"/>
                </a:lnTo>
                <a:lnTo>
                  <a:pt x="107" y="133"/>
                </a:lnTo>
                <a:lnTo>
                  <a:pt x="109" y="130"/>
                </a:lnTo>
                <a:lnTo>
                  <a:pt x="111" y="129"/>
                </a:lnTo>
                <a:lnTo>
                  <a:pt x="111" y="114"/>
                </a:lnTo>
                <a:lnTo>
                  <a:pt x="112" y="113"/>
                </a:lnTo>
                <a:lnTo>
                  <a:pt x="113" y="113"/>
                </a:lnTo>
                <a:lnTo>
                  <a:pt x="114" y="112"/>
                </a:lnTo>
                <a:lnTo>
                  <a:pt x="115" y="110"/>
                </a:lnTo>
                <a:lnTo>
                  <a:pt x="109" y="104"/>
                </a:lnTo>
                <a:lnTo>
                  <a:pt x="108" y="104"/>
                </a:lnTo>
                <a:lnTo>
                  <a:pt x="107" y="102"/>
                </a:lnTo>
                <a:lnTo>
                  <a:pt x="105" y="104"/>
                </a:lnTo>
                <a:lnTo>
                  <a:pt x="105" y="105"/>
                </a:lnTo>
                <a:lnTo>
                  <a:pt x="103" y="106"/>
                </a:lnTo>
                <a:lnTo>
                  <a:pt x="103" y="110"/>
                </a:lnTo>
                <a:lnTo>
                  <a:pt x="102" y="112"/>
                </a:lnTo>
                <a:lnTo>
                  <a:pt x="101" y="112"/>
                </a:lnTo>
                <a:lnTo>
                  <a:pt x="101" y="113"/>
                </a:lnTo>
                <a:lnTo>
                  <a:pt x="100" y="113"/>
                </a:lnTo>
                <a:lnTo>
                  <a:pt x="99" y="112"/>
                </a:lnTo>
                <a:lnTo>
                  <a:pt x="97" y="112"/>
                </a:lnTo>
                <a:lnTo>
                  <a:pt x="97" y="113"/>
                </a:lnTo>
                <a:lnTo>
                  <a:pt x="96" y="114"/>
                </a:lnTo>
                <a:lnTo>
                  <a:pt x="96" y="115"/>
                </a:lnTo>
                <a:lnTo>
                  <a:pt x="95" y="114"/>
                </a:lnTo>
                <a:lnTo>
                  <a:pt x="94" y="112"/>
                </a:lnTo>
                <a:lnTo>
                  <a:pt x="91" y="111"/>
                </a:lnTo>
                <a:lnTo>
                  <a:pt x="90" y="108"/>
                </a:lnTo>
                <a:lnTo>
                  <a:pt x="88" y="107"/>
                </a:lnTo>
                <a:lnTo>
                  <a:pt x="84" y="107"/>
                </a:lnTo>
                <a:lnTo>
                  <a:pt x="84" y="106"/>
                </a:lnTo>
                <a:lnTo>
                  <a:pt x="82" y="106"/>
                </a:lnTo>
                <a:lnTo>
                  <a:pt x="81" y="107"/>
                </a:lnTo>
                <a:lnTo>
                  <a:pt x="80" y="106"/>
                </a:lnTo>
                <a:lnTo>
                  <a:pt x="80" y="102"/>
                </a:lnTo>
                <a:lnTo>
                  <a:pt x="78" y="101"/>
                </a:lnTo>
                <a:lnTo>
                  <a:pt x="78" y="100"/>
                </a:lnTo>
                <a:lnTo>
                  <a:pt x="77" y="99"/>
                </a:lnTo>
                <a:lnTo>
                  <a:pt x="78" y="96"/>
                </a:lnTo>
                <a:lnTo>
                  <a:pt x="78" y="92"/>
                </a:lnTo>
                <a:lnTo>
                  <a:pt x="75" y="92"/>
                </a:lnTo>
                <a:lnTo>
                  <a:pt x="74" y="90"/>
                </a:lnTo>
                <a:lnTo>
                  <a:pt x="74" y="88"/>
                </a:lnTo>
                <a:lnTo>
                  <a:pt x="72" y="87"/>
                </a:lnTo>
                <a:lnTo>
                  <a:pt x="72" y="88"/>
                </a:lnTo>
                <a:lnTo>
                  <a:pt x="71" y="88"/>
                </a:lnTo>
                <a:lnTo>
                  <a:pt x="71" y="89"/>
                </a:lnTo>
                <a:lnTo>
                  <a:pt x="70" y="89"/>
                </a:lnTo>
                <a:lnTo>
                  <a:pt x="70" y="87"/>
                </a:lnTo>
                <a:lnTo>
                  <a:pt x="71" y="87"/>
                </a:lnTo>
                <a:lnTo>
                  <a:pt x="71" y="84"/>
                </a:lnTo>
                <a:lnTo>
                  <a:pt x="70" y="82"/>
                </a:lnTo>
                <a:lnTo>
                  <a:pt x="70" y="78"/>
                </a:lnTo>
                <a:lnTo>
                  <a:pt x="71" y="77"/>
                </a:lnTo>
                <a:lnTo>
                  <a:pt x="72" y="77"/>
                </a:lnTo>
                <a:lnTo>
                  <a:pt x="72" y="76"/>
                </a:lnTo>
                <a:lnTo>
                  <a:pt x="71" y="75"/>
                </a:lnTo>
                <a:lnTo>
                  <a:pt x="72" y="74"/>
                </a:lnTo>
                <a:lnTo>
                  <a:pt x="75" y="75"/>
                </a:lnTo>
                <a:lnTo>
                  <a:pt x="76" y="75"/>
                </a:lnTo>
                <a:lnTo>
                  <a:pt x="77" y="74"/>
                </a:lnTo>
                <a:lnTo>
                  <a:pt x="80" y="74"/>
                </a:lnTo>
                <a:lnTo>
                  <a:pt x="82" y="75"/>
                </a:lnTo>
                <a:lnTo>
                  <a:pt x="83" y="75"/>
                </a:lnTo>
                <a:lnTo>
                  <a:pt x="83" y="74"/>
                </a:lnTo>
                <a:lnTo>
                  <a:pt x="82" y="72"/>
                </a:lnTo>
                <a:lnTo>
                  <a:pt x="83" y="71"/>
                </a:lnTo>
                <a:lnTo>
                  <a:pt x="84" y="71"/>
                </a:lnTo>
                <a:lnTo>
                  <a:pt x="86" y="72"/>
                </a:lnTo>
                <a:lnTo>
                  <a:pt x="87" y="72"/>
                </a:lnTo>
                <a:lnTo>
                  <a:pt x="84" y="70"/>
                </a:lnTo>
                <a:lnTo>
                  <a:pt x="83" y="70"/>
                </a:lnTo>
                <a:lnTo>
                  <a:pt x="82" y="71"/>
                </a:lnTo>
                <a:lnTo>
                  <a:pt x="81" y="70"/>
                </a:lnTo>
                <a:lnTo>
                  <a:pt x="74" y="70"/>
                </a:lnTo>
                <a:lnTo>
                  <a:pt x="74" y="71"/>
                </a:lnTo>
                <a:lnTo>
                  <a:pt x="70" y="71"/>
                </a:lnTo>
                <a:lnTo>
                  <a:pt x="68" y="72"/>
                </a:lnTo>
                <a:lnTo>
                  <a:pt x="69" y="69"/>
                </a:lnTo>
                <a:lnTo>
                  <a:pt x="71" y="69"/>
                </a:lnTo>
                <a:lnTo>
                  <a:pt x="72" y="68"/>
                </a:lnTo>
                <a:lnTo>
                  <a:pt x="69" y="64"/>
                </a:lnTo>
                <a:lnTo>
                  <a:pt x="69" y="63"/>
                </a:lnTo>
                <a:lnTo>
                  <a:pt x="68" y="61"/>
                </a:lnTo>
                <a:lnTo>
                  <a:pt x="68" y="59"/>
                </a:lnTo>
                <a:lnTo>
                  <a:pt x="69" y="58"/>
                </a:lnTo>
                <a:lnTo>
                  <a:pt x="71" y="58"/>
                </a:lnTo>
                <a:lnTo>
                  <a:pt x="72" y="57"/>
                </a:lnTo>
                <a:lnTo>
                  <a:pt x="75" y="57"/>
                </a:lnTo>
                <a:lnTo>
                  <a:pt x="76" y="56"/>
                </a:lnTo>
                <a:lnTo>
                  <a:pt x="76" y="52"/>
                </a:lnTo>
                <a:lnTo>
                  <a:pt x="75" y="52"/>
                </a:lnTo>
                <a:lnTo>
                  <a:pt x="75" y="53"/>
                </a:lnTo>
                <a:lnTo>
                  <a:pt x="74" y="53"/>
                </a:lnTo>
                <a:lnTo>
                  <a:pt x="74" y="56"/>
                </a:lnTo>
                <a:lnTo>
                  <a:pt x="72" y="56"/>
                </a:lnTo>
                <a:lnTo>
                  <a:pt x="72" y="55"/>
                </a:lnTo>
                <a:lnTo>
                  <a:pt x="69" y="53"/>
                </a:lnTo>
                <a:lnTo>
                  <a:pt x="68" y="51"/>
                </a:lnTo>
                <a:lnTo>
                  <a:pt x="69" y="51"/>
                </a:lnTo>
                <a:lnTo>
                  <a:pt x="68" y="50"/>
                </a:lnTo>
                <a:lnTo>
                  <a:pt x="69" y="49"/>
                </a:lnTo>
                <a:lnTo>
                  <a:pt x="70" y="46"/>
                </a:lnTo>
                <a:lnTo>
                  <a:pt x="71" y="46"/>
                </a:lnTo>
                <a:lnTo>
                  <a:pt x="72" y="47"/>
                </a:lnTo>
                <a:lnTo>
                  <a:pt x="72" y="43"/>
                </a:lnTo>
                <a:lnTo>
                  <a:pt x="70" y="35"/>
                </a:lnTo>
                <a:lnTo>
                  <a:pt x="72" y="34"/>
                </a:lnTo>
                <a:lnTo>
                  <a:pt x="75" y="34"/>
                </a:lnTo>
                <a:lnTo>
                  <a:pt x="76" y="33"/>
                </a:lnTo>
                <a:lnTo>
                  <a:pt x="77" y="33"/>
                </a:lnTo>
                <a:lnTo>
                  <a:pt x="77" y="32"/>
                </a:lnTo>
                <a:lnTo>
                  <a:pt x="78" y="32"/>
                </a:lnTo>
                <a:lnTo>
                  <a:pt x="81" y="34"/>
                </a:lnTo>
                <a:lnTo>
                  <a:pt x="82" y="34"/>
                </a:lnTo>
                <a:lnTo>
                  <a:pt x="82" y="32"/>
                </a:lnTo>
                <a:lnTo>
                  <a:pt x="81" y="32"/>
                </a:lnTo>
                <a:lnTo>
                  <a:pt x="82" y="31"/>
                </a:lnTo>
                <a:lnTo>
                  <a:pt x="82" y="29"/>
                </a:lnTo>
                <a:lnTo>
                  <a:pt x="86" y="29"/>
                </a:lnTo>
                <a:lnTo>
                  <a:pt x="88" y="31"/>
                </a:lnTo>
                <a:lnTo>
                  <a:pt x="90" y="31"/>
                </a:lnTo>
                <a:lnTo>
                  <a:pt x="91" y="29"/>
                </a:lnTo>
                <a:lnTo>
                  <a:pt x="94" y="29"/>
                </a:lnTo>
                <a:lnTo>
                  <a:pt x="96" y="32"/>
                </a:lnTo>
                <a:lnTo>
                  <a:pt x="96" y="28"/>
                </a:lnTo>
                <a:lnTo>
                  <a:pt x="94" y="25"/>
                </a:lnTo>
                <a:lnTo>
                  <a:pt x="94" y="21"/>
                </a:lnTo>
                <a:lnTo>
                  <a:pt x="96" y="21"/>
                </a:lnTo>
                <a:lnTo>
                  <a:pt x="100" y="25"/>
                </a:lnTo>
                <a:lnTo>
                  <a:pt x="102" y="25"/>
                </a:lnTo>
                <a:lnTo>
                  <a:pt x="102" y="24"/>
                </a:lnTo>
                <a:lnTo>
                  <a:pt x="101" y="21"/>
                </a:lnTo>
                <a:lnTo>
                  <a:pt x="100" y="21"/>
                </a:lnTo>
                <a:lnTo>
                  <a:pt x="101" y="20"/>
                </a:lnTo>
                <a:lnTo>
                  <a:pt x="105" y="20"/>
                </a:lnTo>
                <a:lnTo>
                  <a:pt x="106" y="19"/>
                </a:lnTo>
                <a:lnTo>
                  <a:pt x="107" y="15"/>
                </a:lnTo>
                <a:lnTo>
                  <a:pt x="109" y="14"/>
                </a:lnTo>
                <a:lnTo>
                  <a:pt x="111" y="14"/>
                </a:lnTo>
                <a:lnTo>
                  <a:pt x="112" y="15"/>
                </a:lnTo>
                <a:lnTo>
                  <a:pt x="113" y="18"/>
                </a:lnTo>
                <a:lnTo>
                  <a:pt x="114" y="18"/>
                </a:lnTo>
                <a:lnTo>
                  <a:pt x="115" y="16"/>
                </a:lnTo>
                <a:lnTo>
                  <a:pt x="116" y="16"/>
                </a:lnTo>
                <a:lnTo>
                  <a:pt x="119" y="18"/>
                </a:lnTo>
                <a:lnTo>
                  <a:pt x="120" y="18"/>
                </a:lnTo>
                <a:lnTo>
                  <a:pt x="120" y="16"/>
                </a:lnTo>
                <a:lnTo>
                  <a:pt x="119" y="16"/>
                </a:lnTo>
                <a:lnTo>
                  <a:pt x="119" y="15"/>
                </a:lnTo>
                <a:lnTo>
                  <a:pt x="120" y="15"/>
                </a:lnTo>
                <a:lnTo>
                  <a:pt x="121" y="14"/>
                </a:lnTo>
                <a:lnTo>
                  <a:pt x="121" y="13"/>
                </a:lnTo>
                <a:lnTo>
                  <a:pt x="124" y="15"/>
                </a:lnTo>
                <a:lnTo>
                  <a:pt x="124" y="18"/>
                </a:lnTo>
                <a:lnTo>
                  <a:pt x="125" y="18"/>
                </a:lnTo>
                <a:lnTo>
                  <a:pt x="126" y="16"/>
                </a:lnTo>
                <a:lnTo>
                  <a:pt x="127" y="14"/>
                </a:lnTo>
                <a:lnTo>
                  <a:pt x="127" y="12"/>
                </a:lnTo>
                <a:lnTo>
                  <a:pt x="126" y="12"/>
                </a:lnTo>
                <a:lnTo>
                  <a:pt x="126" y="8"/>
                </a:lnTo>
                <a:lnTo>
                  <a:pt x="127" y="7"/>
                </a:lnTo>
                <a:lnTo>
                  <a:pt x="128" y="8"/>
                </a:lnTo>
                <a:lnTo>
                  <a:pt x="131" y="12"/>
                </a:lnTo>
                <a:lnTo>
                  <a:pt x="132" y="13"/>
                </a:lnTo>
                <a:lnTo>
                  <a:pt x="136" y="12"/>
                </a:lnTo>
                <a:lnTo>
                  <a:pt x="137" y="12"/>
                </a:lnTo>
                <a:lnTo>
                  <a:pt x="138" y="13"/>
                </a:lnTo>
                <a:lnTo>
                  <a:pt x="140" y="13"/>
                </a:lnTo>
                <a:lnTo>
                  <a:pt x="139" y="10"/>
                </a:lnTo>
                <a:lnTo>
                  <a:pt x="142" y="10"/>
                </a:lnTo>
                <a:lnTo>
                  <a:pt x="143" y="12"/>
                </a:lnTo>
                <a:lnTo>
                  <a:pt x="152" y="14"/>
                </a:lnTo>
                <a:lnTo>
                  <a:pt x="152" y="12"/>
                </a:lnTo>
                <a:lnTo>
                  <a:pt x="153" y="10"/>
                </a:lnTo>
                <a:lnTo>
                  <a:pt x="158" y="10"/>
                </a:lnTo>
                <a:lnTo>
                  <a:pt x="158" y="9"/>
                </a:lnTo>
                <a:lnTo>
                  <a:pt x="157" y="9"/>
                </a:lnTo>
                <a:lnTo>
                  <a:pt x="156" y="8"/>
                </a:lnTo>
                <a:lnTo>
                  <a:pt x="156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" name="Freeform 47">
            <a:extLst>
              <a:ext uri="{FF2B5EF4-FFF2-40B4-BE49-F238E27FC236}">
                <a16:creationId xmlns:a16="http://schemas.microsoft.com/office/drawing/2014/main" id="{87E7C8A9-BF2C-4CED-A2D6-9E2DEDA521DD}"/>
              </a:ext>
            </a:extLst>
          </p:cNvPr>
          <p:cNvSpPr>
            <a:spLocks noEditPoints="1"/>
          </p:cNvSpPr>
          <p:nvPr/>
        </p:nvSpPr>
        <p:spPr bwMode="auto">
          <a:xfrm>
            <a:off x="1725785" y="3910542"/>
            <a:ext cx="431784" cy="349195"/>
          </a:xfrm>
          <a:custGeom>
            <a:avLst/>
            <a:gdLst/>
            <a:ahLst/>
            <a:cxnLst>
              <a:cxn ang="0">
                <a:pos x="101" y="217"/>
              </a:cxn>
              <a:cxn ang="0">
                <a:pos x="186" y="213"/>
              </a:cxn>
              <a:cxn ang="0">
                <a:pos x="176" y="204"/>
              </a:cxn>
              <a:cxn ang="0">
                <a:pos x="71" y="210"/>
              </a:cxn>
              <a:cxn ang="0">
                <a:pos x="23" y="198"/>
              </a:cxn>
              <a:cxn ang="0">
                <a:pos x="117" y="206"/>
              </a:cxn>
              <a:cxn ang="0">
                <a:pos x="20" y="203"/>
              </a:cxn>
              <a:cxn ang="0">
                <a:pos x="296" y="206"/>
              </a:cxn>
              <a:cxn ang="0">
                <a:pos x="68" y="176"/>
              </a:cxn>
              <a:cxn ang="0">
                <a:pos x="102" y="169"/>
              </a:cxn>
              <a:cxn ang="0">
                <a:pos x="111" y="171"/>
              </a:cxn>
              <a:cxn ang="0">
                <a:pos x="115" y="196"/>
              </a:cxn>
              <a:cxn ang="0">
                <a:pos x="87" y="198"/>
              </a:cxn>
              <a:cxn ang="0">
                <a:pos x="73" y="180"/>
              </a:cxn>
              <a:cxn ang="0">
                <a:pos x="190" y="167"/>
              </a:cxn>
              <a:cxn ang="0">
                <a:pos x="108" y="151"/>
              </a:cxn>
              <a:cxn ang="0">
                <a:pos x="183" y="127"/>
              </a:cxn>
              <a:cxn ang="0">
                <a:pos x="186" y="163"/>
              </a:cxn>
              <a:cxn ang="0">
                <a:pos x="170" y="197"/>
              </a:cxn>
              <a:cxn ang="0">
                <a:pos x="163" y="209"/>
              </a:cxn>
              <a:cxn ang="0">
                <a:pos x="164" y="240"/>
              </a:cxn>
              <a:cxn ang="0">
                <a:pos x="142" y="237"/>
              </a:cxn>
              <a:cxn ang="0">
                <a:pos x="140" y="219"/>
              </a:cxn>
              <a:cxn ang="0">
                <a:pos x="153" y="213"/>
              </a:cxn>
              <a:cxn ang="0">
                <a:pos x="153" y="194"/>
              </a:cxn>
              <a:cxn ang="0">
                <a:pos x="132" y="184"/>
              </a:cxn>
              <a:cxn ang="0">
                <a:pos x="127" y="163"/>
              </a:cxn>
              <a:cxn ang="0">
                <a:pos x="139" y="153"/>
              </a:cxn>
              <a:cxn ang="0">
                <a:pos x="153" y="142"/>
              </a:cxn>
              <a:cxn ang="0">
                <a:pos x="155" y="160"/>
              </a:cxn>
              <a:cxn ang="0">
                <a:pos x="161" y="160"/>
              </a:cxn>
              <a:cxn ang="0">
                <a:pos x="45" y="85"/>
              </a:cxn>
              <a:cxn ang="0">
                <a:pos x="147" y="83"/>
              </a:cxn>
              <a:cxn ang="0">
                <a:pos x="33" y="69"/>
              </a:cxn>
              <a:cxn ang="0">
                <a:pos x="20" y="74"/>
              </a:cxn>
              <a:cxn ang="0">
                <a:pos x="79" y="54"/>
              </a:cxn>
              <a:cxn ang="0">
                <a:pos x="127" y="38"/>
              </a:cxn>
              <a:cxn ang="0">
                <a:pos x="99" y="13"/>
              </a:cxn>
              <a:cxn ang="0">
                <a:pos x="95" y="81"/>
              </a:cxn>
              <a:cxn ang="0">
                <a:pos x="96" y="90"/>
              </a:cxn>
              <a:cxn ang="0">
                <a:pos x="109" y="117"/>
              </a:cxn>
              <a:cxn ang="0">
                <a:pos x="101" y="114"/>
              </a:cxn>
              <a:cxn ang="0">
                <a:pos x="89" y="143"/>
              </a:cxn>
              <a:cxn ang="0">
                <a:pos x="76" y="158"/>
              </a:cxn>
              <a:cxn ang="0">
                <a:pos x="60" y="173"/>
              </a:cxn>
              <a:cxn ang="0">
                <a:pos x="61" y="196"/>
              </a:cxn>
              <a:cxn ang="0">
                <a:pos x="70" y="210"/>
              </a:cxn>
              <a:cxn ang="0">
                <a:pos x="60" y="219"/>
              </a:cxn>
              <a:cxn ang="0">
                <a:pos x="24" y="203"/>
              </a:cxn>
              <a:cxn ang="0">
                <a:pos x="8" y="171"/>
              </a:cxn>
              <a:cxn ang="0">
                <a:pos x="9" y="146"/>
              </a:cxn>
              <a:cxn ang="0">
                <a:pos x="5" y="85"/>
              </a:cxn>
              <a:cxn ang="0">
                <a:pos x="28" y="92"/>
              </a:cxn>
              <a:cxn ang="0">
                <a:pos x="43" y="77"/>
              </a:cxn>
              <a:cxn ang="0">
                <a:pos x="49" y="92"/>
              </a:cxn>
              <a:cxn ang="0">
                <a:pos x="48" y="80"/>
              </a:cxn>
              <a:cxn ang="0">
                <a:pos x="64" y="61"/>
              </a:cxn>
              <a:cxn ang="0">
                <a:pos x="48" y="57"/>
              </a:cxn>
              <a:cxn ang="0">
                <a:pos x="25" y="62"/>
              </a:cxn>
              <a:cxn ang="0">
                <a:pos x="17" y="84"/>
              </a:cxn>
              <a:cxn ang="0">
                <a:pos x="16" y="57"/>
              </a:cxn>
              <a:cxn ang="0">
                <a:pos x="79" y="12"/>
              </a:cxn>
            </a:cxnLst>
            <a:rect l="0" t="0" r="r" b="b"/>
            <a:pathLst>
              <a:path w="298" h="241">
                <a:moveTo>
                  <a:pt x="77" y="216"/>
                </a:moveTo>
                <a:lnTo>
                  <a:pt x="79" y="219"/>
                </a:lnTo>
                <a:lnTo>
                  <a:pt x="80" y="219"/>
                </a:lnTo>
                <a:lnTo>
                  <a:pt x="79" y="220"/>
                </a:lnTo>
                <a:lnTo>
                  <a:pt x="78" y="219"/>
                </a:lnTo>
                <a:lnTo>
                  <a:pt x="77" y="219"/>
                </a:lnTo>
                <a:lnTo>
                  <a:pt x="76" y="217"/>
                </a:lnTo>
                <a:lnTo>
                  <a:pt x="77" y="216"/>
                </a:lnTo>
                <a:close/>
                <a:moveTo>
                  <a:pt x="89" y="212"/>
                </a:moveTo>
                <a:lnTo>
                  <a:pt x="90" y="212"/>
                </a:lnTo>
                <a:lnTo>
                  <a:pt x="93" y="214"/>
                </a:lnTo>
                <a:lnTo>
                  <a:pt x="95" y="215"/>
                </a:lnTo>
                <a:lnTo>
                  <a:pt x="95" y="216"/>
                </a:lnTo>
                <a:lnTo>
                  <a:pt x="96" y="216"/>
                </a:lnTo>
                <a:lnTo>
                  <a:pt x="96" y="217"/>
                </a:lnTo>
                <a:lnTo>
                  <a:pt x="97" y="217"/>
                </a:lnTo>
                <a:lnTo>
                  <a:pt x="97" y="215"/>
                </a:lnTo>
                <a:lnTo>
                  <a:pt x="98" y="216"/>
                </a:lnTo>
                <a:lnTo>
                  <a:pt x="98" y="219"/>
                </a:lnTo>
                <a:lnTo>
                  <a:pt x="101" y="219"/>
                </a:lnTo>
                <a:lnTo>
                  <a:pt x="101" y="217"/>
                </a:lnTo>
                <a:lnTo>
                  <a:pt x="102" y="217"/>
                </a:lnTo>
                <a:lnTo>
                  <a:pt x="102" y="220"/>
                </a:lnTo>
                <a:lnTo>
                  <a:pt x="103" y="220"/>
                </a:lnTo>
                <a:lnTo>
                  <a:pt x="99" y="221"/>
                </a:lnTo>
                <a:lnTo>
                  <a:pt x="98" y="222"/>
                </a:lnTo>
                <a:lnTo>
                  <a:pt x="97" y="222"/>
                </a:lnTo>
                <a:lnTo>
                  <a:pt x="90" y="214"/>
                </a:lnTo>
                <a:lnTo>
                  <a:pt x="89" y="212"/>
                </a:lnTo>
                <a:close/>
                <a:moveTo>
                  <a:pt x="154" y="204"/>
                </a:moveTo>
                <a:lnTo>
                  <a:pt x="155" y="206"/>
                </a:lnTo>
                <a:lnTo>
                  <a:pt x="154" y="206"/>
                </a:lnTo>
                <a:lnTo>
                  <a:pt x="154" y="204"/>
                </a:lnTo>
                <a:close/>
                <a:moveTo>
                  <a:pt x="176" y="204"/>
                </a:moveTo>
                <a:lnTo>
                  <a:pt x="177" y="204"/>
                </a:lnTo>
                <a:lnTo>
                  <a:pt x="178" y="207"/>
                </a:lnTo>
                <a:lnTo>
                  <a:pt x="183" y="207"/>
                </a:lnTo>
                <a:lnTo>
                  <a:pt x="186" y="208"/>
                </a:lnTo>
                <a:lnTo>
                  <a:pt x="188" y="209"/>
                </a:lnTo>
                <a:lnTo>
                  <a:pt x="189" y="212"/>
                </a:lnTo>
                <a:lnTo>
                  <a:pt x="189" y="213"/>
                </a:lnTo>
                <a:lnTo>
                  <a:pt x="186" y="213"/>
                </a:lnTo>
                <a:lnTo>
                  <a:pt x="182" y="212"/>
                </a:lnTo>
                <a:lnTo>
                  <a:pt x="180" y="213"/>
                </a:lnTo>
                <a:lnTo>
                  <a:pt x="178" y="213"/>
                </a:lnTo>
                <a:lnTo>
                  <a:pt x="177" y="214"/>
                </a:lnTo>
                <a:lnTo>
                  <a:pt x="174" y="217"/>
                </a:lnTo>
                <a:lnTo>
                  <a:pt x="173" y="217"/>
                </a:lnTo>
                <a:lnTo>
                  <a:pt x="170" y="216"/>
                </a:lnTo>
                <a:lnTo>
                  <a:pt x="170" y="215"/>
                </a:lnTo>
                <a:lnTo>
                  <a:pt x="171" y="215"/>
                </a:lnTo>
                <a:lnTo>
                  <a:pt x="171" y="213"/>
                </a:lnTo>
                <a:lnTo>
                  <a:pt x="172" y="212"/>
                </a:lnTo>
                <a:lnTo>
                  <a:pt x="173" y="212"/>
                </a:lnTo>
                <a:lnTo>
                  <a:pt x="173" y="210"/>
                </a:lnTo>
                <a:lnTo>
                  <a:pt x="174" y="210"/>
                </a:lnTo>
                <a:lnTo>
                  <a:pt x="174" y="212"/>
                </a:lnTo>
                <a:lnTo>
                  <a:pt x="176" y="212"/>
                </a:lnTo>
                <a:lnTo>
                  <a:pt x="177" y="210"/>
                </a:lnTo>
                <a:lnTo>
                  <a:pt x="177" y="208"/>
                </a:lnTo>
                <a:lnTo>
                  <a:pt x="178" y="208"/>
                </a:lnTo>
                <a:lnTo>
                  <a:pt x="176" y="206"/>
                </a:lnTo>
                <a:lnTo>
                  <a:pt x="176" y="204"/>
                </a:lnTo>
                <a:close/>
                <a:moveTo>
                  <a:pt x="153" y="204"/>
                </a:moveTo>
                <a:lnTo>
                  <a:pt x="154" y="204"/>
                </a:lnTo>
                <a:lnTo>
                  <a:pt x="153" y="204"/>
                </a:lnTo>
                <a:close/>
                <a:moveTo>
                  <a:pt x="68" y="203"/>
                </a:moveTo>
                <a:lnTo>
                  <a:pt x="72" y="203"/>
                </a:lnTo>
                <a:lnTo>
                  <a:pt x="74" y="207"/>
                </a:lnTo>
                <a:lnTo>
                  <a:pt x="76" y="207"/>
                </a:lnTo>
                <a:lnTo>
                  <a:pt x="78" y="208"/>
                </a:lnTo>
                <a:lnTo>
                  <a:pt x="79" y="208"/>
                </a:lnTo>
                <a:lnTo>
                  <a:pt x="80" y="209"/>
                </a:lnTo>
                <a:lnTo>
                  <a:pt x="81" y="212"/>
                </a:lnTo>
                <a:lnTo>
                  <a:pt x="81" y="213"/>
                </a:lnTo>
                <a:lnTo>
                  <a:pt x="84" y="217"/>
                </a:lnTo>
                <a:lnTo>
                  <a:pt x="83" y="219"/>
                </a:lnTo>
                <a:lnTo>
                  <a:pt x="80" y="219"/>
                </a:lnTo>
                <a:lnTo>
                  <a:pt x="77" y="215"/>
                </a:lnTo>
                <a:lnTo>
                  <a:pt x="76" y="215"/>
                </a:lnTo>
                <a:lnTo>
                  <a:pt x="76" y="216"/>
                </a:lnTo>
                <a:lnTo>
                  <a:pt x="73" y="216"/>
                </a:lnTo>
                <a:lnTo>
                  <a:pt x="71" y="214"/>
                </a:lnTo>
                <a:lnTo>
                  <a:pt x="71" y="210"/>
                </a:lnTo>
                <a:lnTo>
                  <a:pt x="73" y="213"/>
                </a:lnTo>
                <a:lnTo>
                  <a:pt x="74" y="213"/>
                </a:lnTo>
                <a:lnTo>
                  <a:pt x="74" y="212"/>
                </a:lnTo>
                <a:lnTo>
                  <a:pt x="72" y="210"/>
                </a:lnTo>
                <a:lnTo>
                  <a:pt x="72" y="208"/>
                </a:lnTo>
                <a:lnTo>
                  <a:pt x="67" y="208"/>
                </a:lnTo>
                <a:lnTo>
                  <a:pt x="67" y="207"/>
                </a:lnTo>
                <a:lnTo>
                  <a:pt x="68" y="206"/>
                </a:lnTo>
                <a:lnTo>
                  <a:pt x="65" y="206"/>
                </a:lnTo>
                <a:lnTo>
                  <a:pt x="68" y="203"/>
                </a:lnTo>
                <a:close/>
                <a:moveTo>
                  <a:pt x="149" y="202"/>
                </a:moveTo>
                <a:lnTo>
                  <a:pt x="152" y="203"/>
                </a:lnTo>
                <a:lnTo>
                  <a:pt x="153" y="204"/>
                </a:lnTo>
                <a:lnTo>
                  <a:pt x="151" y="204"/>
                </a:lnTo>
                <a:lnTo>
                  <a:pt x="149" y="203"/>
                </a:lnTo>
                <a:lnTo>
                  <a:pt x="149" y="202"/>
                </a:lnTo>
                <a:close/>
                <a:moveTo>
                  <a:pt x="23" y="198"/>
                </a:moveTo>
                <a:lnTo>
                  <a:pt x="24" y="200"/>
                </a:lnTo>
                <a:lnTo>
                  <a:pt x="23" y="198"/>
                </a:lnTo>
                <a:close/>
                <a:moveTo>
                  <a:pt x="21" y="198"/>
                </a:moveTo>
                <a:lnTo>
                  <a:pt x="23" y="198"/>
                </a:lnTo>
                <a:lnTo>
                  <a:pt x="21" y="198"/>
                </a:lnTo>
                <a:close/>
                <a:moveTo>
                  <a:pt x="121" y="197"/>
                </a:moveTo>
                <a:lnTo>
                  <a:pt x="121" y="198"/>
                </a:lnTo>
                <a:lnTo>
                  <a:pt x="120" y="207"/>
                </a:lnTo>
                <a:lnTo>
                  <a:pt x="116" y="214"/>
                </a:lnTo>
                <a:lnTo>
                  <a:pt x="112" y="227"/>
                </a:lnTo>
                <a:lnTo>
                  <a:pt x="111" y="228"/>
                </a:lnTo>
                <a:lnTo>
                  <a:pt x="110" y="228"/>
                </a:lnTo>
                <a:lnTo>
                  <a:pt x="109" y="223"/>
                </a:lnTo>
                <a:lnTo>
                  <a:pt x="108" y="223"/>
                </a:lnTo>
                <a:lnTo>
                  <a:pt x="108" y="222"/>
                </a:lnTo>
                <a:lnTo>
                  <a:pt x="107" y="221"/>
                </a:lnTo>
                <a:lnTo>
                  <a:pt x="108" y="221"/>
                </a:lnTo>
                <a:lnTo>
                  <a:pt x="109" y="220"/>
                </a:lnTo>
                <a:lnTo>
                  <a:pt x="109" y="217"/>
                </a:lnTo>
                <a:lnTo>
                  <a:pt x="111" y="217"/>
                </a:lnTo>
                <a:lnTo>
                  <a:pt x="111" y="216"/>
                </a:lnTo>
                <a:lnTo>
                  <a:pt x="110" y="216"/>
                </a:lnTo>
                <a:lnTo>
                  <a:pt x="110" y="214"/>
                </a:lnTo>
                <a:lnTo>
                  <a:pt x="115" y="209"/>
                </a:lnTo>
                <a:lnTo>
                  <a:pt x="117" y="206"/>
                </a:lnTo>
                <a:lnTo>
                  <a:pt x="117" y="204"/>
                </a:lnTo>
                <a:lnTo>
                  <a:pt x="118" y="201"/>
                </a:lnTo>
                <a:lnTo>
                  <a:pt x="121" y="197"/>
                </a:lnTo>
                <a:close/>
                <a:moveTo>
                  <a:pt x="80" y="196"/>
                </a:moveTo>
                <a:lnTo>
                  <a:pt x="81" y="198"/>
                </a:lnTo>
                <a:lnTo>
                  <a:pt x="81" y="200"/>
                </a:lnTo>
                <a:lnTo>
                  <a:pt x="80" y="200"/>
                </a:lnTo>
                <a:lnTo>
                  <a:pt x="80" y="196"/>
                </a:lnTo>
                <a:close/>
                <a:moveTo>
                  <a:pt x="80" y="195"/>
                </a:moveTo>
                <a:lnTo>
                  <a:pt x="80" y="196"/>
                </a:lnTo>
                <a:lnTo>
                  <a:pt x="79" y="196"/>
                </a:lnTo>
                <a:lnTo>
                  <a:pt x="80" y="195"/>
                </a:lnTo>
                <a:close/>
                <a:moveTo>
                  <a:pt x="17" y="195"/>
                </a:moveTo>
                <a:lnTo>
                  <a:pt x="21" y="195"/>
                </a:lnTo>
                <a:lnTo>
                  <a:pt x="22" y="196"/>
                </a:lnTo>
                <a:lnTo>
                  <a:pt x="21" y="196"/>
                </a:lnTo>
                <a:lnTo>
                  <a:pt x="20" y="197"/>
                </a:lnTo>
                <a:lnTo>
                  <a:pt x="20" y="198"/>
                </a:lnTo>
                <a:lnTo>
                  <a:pt x="21" y="198"/>
                </a:lnTo>
                <a:lnTo>
                  <a:pt x="20" y="200"/>
                </a:lnTo>
                <a:lnTo>
                  <a:pt x="20" y="203"/>
                </a:lnTo>
                <a:lnTo>
                  <a:pt x="18" y="203"/>
                </a:lnTo>
                <a:lnTo>
                  <a:pt x="18" y="204"/>
                </a:lnTo>
                <a:lnTo>
                  <a:pt x="17" y="204"/>
                </a:lnTo>
                <a:lnTo>
                  <a:pt x="16" y="203"/>
                </a:lnTo>
                <a:lnTo>
                  <a:pt x="16" y="196"/>
                </a:lnTo>
                <a:lnTo>
                  <a:pt x="17" y="195"/>
                </a:lnTo>
                <a:close/>
                <a:moveTo>
                  <a:pt x="282" y="186"/>
                </a:moveTo>
                <a:lnTo>
                  <a:pt x="284" y="189"/>
                </a:lnTo>
                <a:lnTo>
                  <a:pt x="284" y="190"/>
                </a:lnTo>
                <a:lnTo>
                  <a:pt x="285" y="191"/>
                </a:lnTo>
                <a:lnTo>
                  <a:pt x="288" y="192"/>
                </a:lnTo>
                <a:lnTo>
                  <a:pt x="289" y="194"/>
                </a:lnTo>
                <a:lnTo>
                  <a:pt x="291" y="194"/>
                </a:lnTo>
                <a:lnTo>
                  <a:pt x="291" y="195"/>
                </a:lnTo>
                <a:lnTo>
                  <a:pt x="295" y="198"/>
                </a:lnTo>
                <a:lnTo>
                  <a:pt x="297" y="198"/>
                </a:lnTo>
                <a:lnTo>
                  <a:pt x="298" y="200"/>
                </a:lnTo>
                <a:lnTo>
                  <a:pt x="297" y="201"/>
                </a:lnTo>
                <a:lnTo>
                  <a:pt x="298" y="202"/>
                </a:lnTo>
                <a:lnTo>
                  <a:pt x="298" y="203"/>
                </a:lnTo>
                <a:lnTo>
                  <a:pt x="296" y="206"/>
                </a:lnTo>
                <a:lnTo>
                  <a:pt x="296" y="209"/>
                </a:lnTo>
                <a:lnTo>
                  <a:pt x="295" y="210"/>
                </a:lnTo>
                <a:lnTo>
                  <a:pt x="292" y="209"/>
                </a:lnTo>
                <a:lnTo>
                  <a:pt x="291" y="209"/>
                </a:lnTo>
                <a:lnTo>
                  <a:pt x="289" y="208"/>
                </a:lnTo>
                <a:lnTo>
                  <a:pt x="285" y="207"/>
                </a:lnTo>
                <a:lnTo>
                  <a:pt x="283" y="206"/>
                </a:lnTo>
                <a:lnTo>
                  <a:pt x="279" y="203"/>
                </a:lnTo>
                <a:lnTo>
                  <a:pt x="278" y="202"/>
                </a:lnTo>
                <a:lnTo>
                  <a:pt x="279" y="201"/>
                </a:lnTo>
                <a:lnTo>
                  <a:pt x="279" y="191"/>
                </a:lnTo>
                <a:lnTo>
                  <a:pt x="281" y="190"/>
                </a:lnTo>
                <a:lnTo>
                  <a:pt x="281" y="189"/>
                </a:lnTo>
                <a:lnTo>
                  <a:pt x="282" y="188"/>
                </a:lnTo>
                <a:lnTo>
                  <a:pt x="282" y="186"/>
                </a:lnTo>
                <a:close/>
                <a:moveTo>
                  <a:pt x="68" y="174"/>
                </a:moveTo>
                <a:lnTo>
                  <a:pt x="70" y="176"/>
                </a:lnTo>
                <a:lnTo>
                  <a:pt x="71" y="176"/>
                </a:lnTo>
                <a:lnTo>
                  <a:pt x="72" y="177"/>
                </a:lnTo>
                <a:lnTo>
                  <a:pt x="70" y="177"/>
                </a:lnTo>
                <a:lnTo>
                  <a:pt x="68" y="176"/>
                </a:lnTo>
                <a:lnTo>
                  <a:pt x="68" y="174"/>
                </a:lnTo>
                <a:close/>
                <a:moveTo>
                  <a:pt x="12" y="174"/>
                </a:moveTo>
                <a:lnTo>
                  <a:pt x="14" y="174"/>
                </a:lnTo>
                <a:lnTo>
                  <a:pt x="14" y="177"/>
                </a:lnTo>
                <a:lnTo>
                  <a:pt x="16" y="177"/>
                </a:lnTo>
                <a:lnTo>
                  <a:pt x="16" y="183"/>
                </a:lnTo>
                <a:lnTo>
                  <a:pt x="17" y="184"/>
                </a:lnTo>
                <a:lnTo>
                  <a:pt x="16" y="184"/>
                </a:lnTo>
                <a:lnTo>
                  <a:pt x="14" y="182"/>
                </a:lnTo>
                <a:lnTo>
                  <a:pt x="12" y="177"/>
                </a:lnTo>
                <a:lnTo>
                  <a:pt x="12" y="174"/>
                </a:lnTo>
                <a:close/>
                <a:moveTo>
                  <a:pt x="92" y="164"/>
                </a:moveTo>
                <a:lnTo>
                  <a:pt x="92" y="166"/>
                </a:lnTo>
                <a:lnTo>
                  <a:pt x="93" y="166"/>
                </a:lnTo>
                <a:lnTo>
                  <a:pt x="93" y="164"/>
                </a:lnTo>
                <a:lnTo>
                  <a:pt x="95" y="164"/>
                </a:lnTo>
                <a:lnTo>
                  <a:pt x="98" y="166"/>
                </a:lnTo>
                <a:lnTo>
                  <a:pt x="98" y="167"/>
                </a:lnTo>
                <a:lnTo>
                  <a:pt x="99" y="167"/>
                </a:lnTo>
                <a:lnTo>
                  <a:pt x="99" y="169"/>
                </a:lnTo>
                <a:lnTo>
                  <a:pt x="102" y="169"/>
                </a:lnTo>
                <a:lnTo>
                  <a:pt x="103" y="170"/>
                </a:lnTo>
                <a:lnTo>
                  <a:pt x="101" y="170"/>
                </a:lnTo>
                <a:lnTo>
                  <a:pt x="101" y="171"/>
                </a:lnTo>
                <a:lnTo>
                  <a:pt x="102" y="172"/>
                </a:lnTo>
                <a:lnTo>
                  <a:pt x="98" y="176"/>
                </a:lnTo>
                <a:lnTo>
                  <a:pt x="99" y="177"/>
                </a:lnTo>
                <a:lnTo>
                  <a:pt x="101" y="177"/>
                </a:lnTo>
                <a:lnTo>
                  <a:pt x="102" y="174"/>
                </a:lnTo>
                <a:lnTo>
                  <a:pt x="105" y="173"/>
                </a:lnTo>
                <a:lnTo>
                  <a:pt x="107" y="173"/>
                </a:lnTo>
                <a:lnTo>
                  <a:pt x="107" y="172"/>
                </a:lnTo>
                <a:lnTo>
                  <a:pt x="105" y="171"/>
                </a:lnTo>
                <a:lnTo>
                  <a:pt x="105" y="170"/>
                </a:lnTo>
                <a:lnTo>
                  <a:pt x="107" y="171"/>
                </a:lnTo>
                <a:lnTo>
                  <a:pt x="107" y="164"/>
                </a:lnTo>
                <a:lnTo>
                  <a:pt x="108" y="164"/>
                </a:lnTo>
                <a:lnTo>
                  <a:pt x="109" y="165"/>
                </a:lnTo>
                <a:lnTo>
                  <a:pt x="110" y="169"/>
                </a:lnTo>
                <a:lnTo>
                  <a:pt x="110" y="170"/>
                </a:lnTo>
                <a:lnTo>
                  <a:pt x="111" y="170"/>
                </a:lnTo>
                <a:lnTo>
                  <a:pt x="111" y="171"/>
                </a:lnTo>
                <a:lnTo>
                  <a:pt x="112" y="172"/>
                </a:lnTo>
                <a:lnTo>
                  <a:pt x="112" y="173"/>
                </a:lnTo>
                <a:lnTo>
                  <a:pt x="111" y="173"/>
                </a:lnTo>
                <a:lnTo>
                  <a:pt x="109" y="176"/>
                </a:lnTo>
                <a:lnTo>
                  <a:pt x="105" y="174"/>
                </a:lnTo>
                <a:lnTo>
                  <a:pt x="105" y="176"/>
                </a:lnTo>
                <a:lnTo>
                  <a:pt x="104" y="176"/>
                </a:lnTo>
                <a:lnTo>
                  <a:pt x="104" y="177"/>
                </a:lnTo>
                <a:lnTo>
                  <a:pt x="105" y="177"/>
                </a:lnTo>
                <a:lnTo>
                  <a:pt x="105" y="176"/>
                </a:lnTo>
                <a:lnTo>
                  <a:pt x="110" y="176"/>
                </a:lnTo>
                <a:lnTo>
                  <a:pt x="110" y="177"/>
                </a:lnTo>
                <a:lnTo>
                  <a:pt x="115" y="183"/>
                </a:lnTo>
                <a:lnTo>
                  <a:pt x="116" y="186"/>
                </a:lnTo>
                <a:lnTo>
                  <a:pt x="116" y="188"/>
                </a:lnTo>
                <a:lnTo>
                  <a:pt x="115" y="188"/>
                </a:lnTo>
                <a:lnTo>
                  <a:pt x="115" y="186"/>
                </a:lnTo>
                <a:lnTo>
                  <a:pt x="114" y="186"/>
                </a:lnTo>
                <a:lnTo>
                  <a:pt x="114" y="189"/>
                </a:lnTo>
                <a:lnTo>
                  <a:pt x="115" y="191"/>
                </a:lnTo>
                <a:lnTo>
                  <a:pt x="115" y="196"/>
                </a:lnTo>
                <a:lnTo>
                  <a:pt x="114" y="197"/>
                </a:lnTo>
                <a:lnTo>
                  <a:pt x="114" y="200"/>
                </a:lnTo>
                <a:lnTo>
                  <a:pt x="112" y="202"/>
                </a:lnTo>
                <a:lnTo>
                  <a:pt x="112" y="203"/>
                </a:lnTo>
                <a:lnTo>
                  <a:pt x="111" y="204"/>
                </a:lnTo>
                <a:lnTo>
                  <a:pt x="107" y="204"/>
                </a:lnTo>
                <a:lnTo>
                  <a:pt x="104" y="207"/>
                </a:lnTo>
                <a:lnTo>
                  <a:pt x="103" y="207"/>
                </a:lnTo>
                <a:lnTo>
                  <a:pt x="101" y="206"/>
                </a:lnTo>
                <a:lnTo>
                  <a:pt x="97" y="206"/>
                </a:lnTo>
                <a:lnTo>
                  <a:pt x="97" y="204"/>
                </a:lnTo>
                <a:lnTo>
                  <a:pt x="95" y="204"/>
                </a:lnTo>
                <a:lnTo>
                  <a:pt x="91" y="202"/>
                </a:lnTo>
                <a:lnTo>
                  <a:pt x="90" y="202"/>
                </a:lnTo>
                <a:lnTo>
                  <a:pt x="89" y="203"/>
                </a:lnTo>
                <a:lnTo>
                  <a:pt x="89" y="204"/>
                </a:lnTo>
                <a:lnTo>
                  <a:pt x="86" y="202"/>
                </a:lnTo>
                <a:lnTo>
                  <a:pt x="84" y="203"/>
                </a:lnTo>
                <a:lnTo>
                  <a:pt x="84" y="202"/>
                </a:lnTo>
                <a:lnTo>
                  <a:pt x="87" y="200"/>
                </a:lnTo>
                <a:lnTo>
                  <a:pt x="87" y="198"/>
                </a:lnTo>
                <a:lnTo>
                  <a:pt x="86" y="198"/>
                </a:lnTo>
                <a:lnTo>
                  <a:pt x="86" y="197"/>
                </a:lnTo>
                <a:lnTo>
                  <a:pt x="85" y="196"/>
                </a:lnTo>
                <a:lnTo>
                  <a:pt x="85" y="195"/>
                </a:lnTo>
                <a:lnTo>
                  <a:pt x="84" y="196"/>
                </a:lnTo>
                <a:lnTo>
                  <a:pt x="83" y="196"/>
                </a:lnTo>
                <a:lnTo>
                  <a:pt x="81" y="195"/>
                </a:lnTo>
                <a:lnTo>
                  <a:pt x="80" y="195"/>
                </a:lnTo>
                <a:lnTo>
                  <a:pt x="80" y="194"/>
                </a:lnTo>
                <a:lnTo>
                  <a:pt x="79" y="194"/>
                </a:lnTo>
                <a:lnTo>
                  <a:pt x="78" y="192"/>
                </a:lnTo>
                <a:lnTo>
                  <a:pt x="77" y="192"/>
                </a:lnTo>
                <a:lnTo>
                  <a:pt x="77" y="191"/>
                </a:lnTo>
                <a:lnTo>
                  <a:pt x="76" y="190"/>
                </a:lnTo>
                <a:lnTo>
                  <a:pt x="77" y="189"/>
                </a:lnTo>
                <a:lnTo>
                  <a:pt x="77" y="188"/>
                </a:lnTo>
                <a:lnTo>
                  <a:pt x="76" y="186"/>
                </a:lnTo>
                <a:lnTo>
                  <a:pt x="76" y="183"/>
                </a:lnTo>
                <a:lnTo>
                  <a:pt x="72" y="183"/>
                </a:lnTo>
                <a:lnTo>
                  <a:pt x="72" y="180"/>
                </a:lnTo>
                <a:lnTo>
                  <a:pt x="73" y="180"/>
                </a:lnTo>
                <a:lnTo>
                  <a:pt x="74" y="179"/>
                </a:lnTo>
                <a:lnTo>
                  <a:pt x="73" y="179"/>
                </a:lnTo>
                <a:lnTo>
                  <a:pt x="73" y="177"/>
                </a:lnTo>
                <a:lnTo>
                  <a:pt x="68" y="173"/>
                </a:lnTo>
                <a:lnTo>
                  <a:pt x="67" y="172"/>
                </a:lnTo>
                <a:lnTo>
                  <a:pt x="68" y="172"/>
                </a:lnTo>
                <a:lnTo>
                  <a:pt x="68" y="171"/>
                </a:lnTo>
                <a:lnTo>
                  <a:pt x="71" y="169"/>
                </a:lnTo>
                <a:lnTo>
                  <a:pt x="73" y="169"/>
                </a:lnTo>
                <a:lnTo>
                  <a:pt x="73" y="170"/>
                </a:lnTo>
                <a:lnTo>
                  <a:pt x="76" y="172"/>
                </a:lnTo>
                <a:lnTo>
                  <a:pt x="90" y="165"/>
                </a:lnTo>
                <a:lnTo>
                  <a:pt x="91" y="165"/>
                </a:lnTo>
                <a:lnTo>
                  <a:pt x="92" y="164"/>
                </a:lnTo>
                <a:close/>
                <a:moveTo>
                  <a:pt x="190" y="158"/>
                </a:moveTo>
                <a:lnTo>
                  <a:pt x="191" y="158"/>
                </a:lnTo>
                <a:lnTo>
                  <a:pt x="194" y="165"/>
                </a:lnTo>
                <a:lnTo>
                  <a:pt x="192" y="166"/>
                </a:lnTo>
                <a:lnTo>
                  <a:pt x="191" y="166"/>
                </a:lnTo>
                <a:lnTo>
                  <a:pt x="191" y="167"/>
                </a:lnTo>
                <a:lnTo>
                  <a:pt x="190" y="167"/>
                </a:lnTo>
                <a:lnTo>
                  <a:pt x="190" y="169"/>
                </a:lnTo>
                <a:lnTo>
                  <a:pt x="189" y="169"/>
                </a:lnTo>
                <a:lnTo>
                  <a:pt x="188" y="167"/>
                </a:lnTo>
                <a:lnTo>
                  <a:pt x="188" y="163"/>
                </a:lnTo>
                <a:lnTo>
                  <a:pt x="190" y="160"/>
                </a:lnTo>
                <a:lnTo>
                  <a:pt x="190" y="158"/>
                </a:lnTo>
                <a:close/>
                <a:moveTo>
                  <a:pt x="165" y="158"/>
                </a:moveTo>
                <a:lnTo>
                  <a:pt x="166" y="158"/>
                </a:lnTo>
                <a:lnTo>
                  <a:pt x="167" y="159"/>
                </a:lnTo>
                <a:lnTo>
                  <a:pt x="165" y="159"/>
                </a:lnTo>
                <a:lnTo>
                  <a:pt x="165" y="158"/>
                </a:lnTo>
                <a:close/>
                <a:moveTo>
                  <a:pt x="105" y="140"/>
                </a:moveTo>
                <a:lnTo>
                  <a:pt x="107" y="140"/>
                </a:lnTo>
                <a:lnTo>
                  <a:pt x="108" y="141"/>
                </a:lnTo>
                <a:lnTo>
                  <a:pt x="107" y="141"/>
                </a:lnTo>
                <a:lnTo>
                  <a:pt x="107" y="143"/>
                </a:lnTo>
                <a:lnTo>
                  <a:pt x="108" y="145"/>
                </a:lnTo>
                <a:lnTo>
                  <a:pt x="109" y="143"/>
                </a:lnTo>
                <a:lnTo>
                  <a:pt x="109" y="145"/>
                </a:lnTo>
                <a:lnTo>
                  <a:pt x="108" y="146"/>
                </a:lnTo>
                <a:lnTo>
                  <a:pt x="108" y="151"/>
                </a:lnTo>
                <a:lnTo>
                  <a:pt x="105" y="153"/>
                </a:lnTo>
                <a:lnTo>
                  <a:pt x="104" y="153"/>
                </a:lnTo>
                <a:lnTo>
                  <a:pt x="103" y="151"/>
                </a:lnTo>
                <a:lnTo>
                  <a:pt x="103" y="146"/>
                </a:lnTo>
                <a:lnTo>
                  <a:pt x="104" y="146"/>
                </a:lnTo>
                <a:lnTo>
                  <a:pt x="104" y="145"/>
                </a:lnTo>
                <a:lnTo>
                  <a:pt x="105" y="143"/>
                </a:lnTo>
                <a:lnTo>
                  <a:pt x="105" y="140"/>
                </a:lnTo>
                <a:close/>
                <a:moveTo>
                  <a:pt x="103" y="135"/>
                </a:moveTo>
                <a:lnTo>
                  <a:pt x="104" y="135"/>
                </a:lnTo>
                <a:lnTo>
                  <a:pt x="104" y="139"/>
                </a:lnTo>
                <a:lnTo>
                  <a:pt x="105" y="140"/>
                </a:lnTo>
                <a:lnTo>
                  <a:pt x="103" y="140"/>
                </a:lnTo>
                <a:lnTo>
                  <a:pt x="103" y="135"/>
                </a:lnTo>
                <a:close/>
                <a:moveTo>
                  <a:pt x="2" y="134"/>
                </a:moveTo>
                <a:lnTo>
                  <a:pt x="3" y="135"/>
                </a:lnTo>
                <a:lnTo>
                  <a:pt x="2" y="135"/>
                </a:lnTo>
                <a:lnTo>
                  <a:pt x="2" y="134"/>
                </a:lnTo>
                <a:close/>
                <a:moveTo>
                  <a:pt x="176" y="126"/>
                </a:moveTo>
                <a:lnTo>
                  <a:pt x="179" y="126"/>
                </a:lnTo>
                <a:lnTo>
                  <a:pt x="183" y="127"/>
                </a:lnTo>
                <a:lnTo>
                  <a:pt x="185" y="127"/>
                </a:lnTo>
                <a:lnTo>
                  <a:pt x="188" y="129"/>
                </a:lnTo>
                <a:lnTo>
                  <a:pt x="189" y="129"/>
                </a:lnTo>
                <a:lnTo>
                  <a:pt x="191" y="131"/>
                </a:lnTo>
                <a:lnTo>
                  <a:pt x="191" y="133"/>
                </a:lnTo>
                <a:lnTo>
                  <a:pt x="189" y="135"/>
                </a:lnTo>
                <a:lnTo>
                  <a:pt x="189" y="136"/>
                </a:lnTo>
                <a:lnTo>
                  <a:pt x="188" y="140"/>
                </a:lnTo>
                <a:lnTo>
                  <a:pt x="186" y="140"/>
                </a:lnTo>
                <a:lnTo>
                  <a:pt x="186" y="141"/>
                </a:lnTo>
                <a:lnTo>
                  <a:pt x="189" y="143"/>
                </a:lnTo>
                <a:lnTo>
                  <a:pt x="189" y="146"/>
                </a:lnTo>
                <a:lnTo>
                  <a:pt x="190" y="148"/>
                </a:lnTo>
                <a:lnTo>
                  <a:pt x="190" y="149"/>
                </a:lnTo>
                <a:lnTo>
                  <a:pt x="191" y="151"/>
                </a:lnTo>
                <a:lnTo>
                  <a:pt x="190" y="151"/>
                </a:lnTo>
                <a:lnTo>
                  <a:pt x="190" y="155"/>
                </a:lnTo>
                <a:lnTo>
                  <a:pt x="191" y="157"/>
                </a:lnTo>
                <a:lnTo>
                  <a:pt x="190" y="158"/>
                </a:lnTo>
                <a:lnTo>
                  <a:pt x="188" y="161"/>
                </a:lnTo>
                <a:lnTo>
                  <a:pt x="186" y="163"/>
                </a:lnTo>
                <a:lnTo>
                  <a:pt x="186" y="164"/>
                </a:lnTo>
                <a:lnTo>
                  <a:pt x="185" y="164"/>
                </a:lnTo>
                <a:lnTo>
                  <a:pt x="185" y="165"/>
                </a:lnTo>
                <a:lnTo>
                  <a:pt x="184" y="164"/>
                </a:lnTo>
                <a:lnTo>
                  <a:pt x="183" y="164"/>
                </a:lnTo>
                <a:lnTo>
                  <a:pt x="179" y="165"/>
                </a:lnTo>
                <a:lnTo>
                  <a:pt x="176" y="169"/>
                </a:lnTo>
                <a:lnTo>
                  <a:pt x="173" y="173"/>
                </a:lnTo>
                <a:lnTo>
                  <a:pt x="174" y="177"/>
                </a:lnTo>
                <a:lnTo>
                  <a:pt x="177" y="179"/>
                </a:lnTo>
                <a:lnTo>
                  <a:pt x="180" y="179"/>
                </a:lnTo>
                <a:lnTo>
                  <a:pt x="184" y="183"/>
                </a:lnTo>
                <a:lnTo>
                  <a:pt x="184" y="186"/>
                </a:lnTo>
                <a:lnTo>
                  <a:pt x="185" y="188"/>
                </a:lnTo>
                <a:lnTo>
                  <a:pt x="184" y="189"/>
                </a:lnTo>
                <a:lnTo>
                  <a:pt x="182" y="190"/>
                </a:lnTo>
                <a:lnTo>
                  <a:pt x="173" y="192"/>
                </a:lnTo>
                <a:lnTo>
                  <a:pt x="172" y="194"/>
                </a:lnTo>
                <a:lnTo>
                  <a:pt x="171" y="194"/>
                </a:lnTo>
                <a:lnTo>
                  <a:pt x="171" y="195"/>
                </a:lnTo>
                <a:lnTo>
                  <a:pt x="170" y="197"/>
                </a:lnTo>
                <a:lnTo>
                  <a:pt x="170" y="198"/>
                </a:lnTo>
                <a:lnTo>
                  <a:pt x="168" y="198"/>
                </a:lnTo>
                <a:lnTo>
                  <a:pt x="168" y="196"/>
                </a:lnTo>
                <a:lnTo>
                  <a:pt x="166" y="196"/>
                </a:lnTo>
                <a:lnTo>
                  <a:pt x="166" y="198"/>
                </a:lnTo>
                <a:lnTo>
                  <a:pt x="167" y="198"/>
                </a:lnTo>
                <a:lnTo>
                  <a:pt x="171" y="200"/>
                </a:lnTo>
                <a:lnTo>
                  <a:pt x="172" y="200"/>
                </a:lnTo>
                <a:lnTo>
                  <a:pt x="173" y="202"/>
                </a:lnTo>
                <a:lnTo>
                  <a:pt x="172" y="202"/>
                </a:lnTo>
                <a:lnTo>
                  <a:pt x="172" y="203"/>
                </a:lnTo>
                <a:lnTo>
                  <a:pt x="171" y="203"/>
                </a:lnTo>
                <a:lnTo>
                  <a:pt x="170" y="204"/>
                </a:lnTo>
                <a:lnTo>
                  <a:pt x="171" y="204"/>
                </a:lnTo>
                <a:lnTo>
                  <a:pt x="172" y="208"/>
                </a:lnTo>
                <a:lnTo>
                  <a:pt x="172" y="209"/>
                </a:lnTo>
                <a:lnTo>
                  <a:pt x="171" y="210"/>
                </a:lnTo>
                <a:lnTo>
                  <a:pt x="168" y="210"/>
                </a:lnTo>
                <a:lnTo>
                  <a:pt x="167" y="212"/>
                </a:lnTo>
                <a:lnTo>
                  <a:pt x="165" y="212"/>
                </a:lnTo>
                <a:lnTo>
                  <a:pt x="163" y="209"/>
                </a:lnTo>
                <a:lnTo>
                  <a:pt x="161" y="209"/>
                </a:lnTo>
                <a:lnTo>
                  <a:pt x="161" y="212"/>
                </a:lnTo>
                <a:lnTo>
                  <a:pt x="160" y="213"/>
                </a:lnTo>
                <a:lnTo>
                  <a:pt x="160" y="214"/>
                </a:lnTo>
                <a:lnTo>
                  <a:pt x="161" y="215"/>
                </a:lnTo>
                <a:lnTo>
                  <a:pt x="163" y="215"/>
                </a:lnTo>
                <a:lnTo>
                  <a:pt x="163" y="214"/>
                </a:lnTo>
                <a:lnTo>
                  <a:pt x="164" y="213"/>
                </a:lnTo>
                <a:lnTo>
                  <a:pt x="164" y="214"/>
                </a:lnTo>
                <a:lnTo>
                  <a:pt x="167" y="217"/>
                </a:lnTo>
                <a:lnTo>
                  <a:pt x="168" y="216"/>
                </a:lnTo>
                <a:lnTo>
                  <a:pt x="170" y="216"/>
                </a:lnTo>
                <a:lnTo>
                  <a:pt x="170" y="217"/>
                </a:lnTo>
                <a:lnTo>
                  <a:pt x="171" y="219"/>
                </a:lnTo>
                <a:lnTo>
                  <a:pt x="172" y="221"/>
                </a:lnTo>
                <a:lnTo>
                  <a:pt x="168" y="225"/>
                </a:lnTo>
                <a:lnTo>
                  <a:pt x="166" y="228"/>
                </a:lnTo>
                <a:lnTo>
                  <a:pt x="166" y="229"/>
                </a:lnTo>
                <a:lnTo>
                  <a:pt x="165" y="231"/>
                </a:lnTo>
                <a:lnTo>
                  <a:pt x="164" y="231"/>
                </a:lnTo>
                <a:lnTo>
                  <a:pt x="164" y="240"/>
                </a:lnTo>
                <a:lnTo>
                  <a:pt x="163" y="241"/>
                </a:lnTo>
                <a:lnTo>
                  <a:pt x="163" y="239"/>
                </a:lnTo>
                <a:lnTo>
                  <a:pt x="161" y="238"/>
                </a:lnTo>
                <a:lnTo>
                  <a:pt x="160" y="235"/>
                </a:lnTo>
                <a:lnTo>
                  <a:pt x="160" y="232"/>
                </a:lnTo>
                <a:lnTo>
                  <a:pt x="161" y="229"/>
                </a:lnTo>
                <a:lnTo>
                  <a:pt x="160" y="229"/>
                </a:lnTo>
                <a:lnTo>
                  <a:pt x="160" y="227"/>
                </a:lnTo>
                <a:lnTo>
                  <a:pt x="159" y="227"/>
                </a:lnTo>
                <a:lnTo>
                  <a:pt x="159" y="229"/>
                </a:lnTo>
                <a:lnTo>
                  <a:pt x="158" y="229"/>
                </a:lnTo>
                <a:lnTo>
                  <a:pt x="157" y="231"/>
                </a:lnTo>
                <a:lnTo>
                  <a:pt x="159" y="232"/>
                </a:lnTo>
                <a:lnTo>
                  <a:pt x="159" y="233"/>
                </a:lnTo>
                <a:lnTo>
                  <a:pt x="158" y="234"/>
                </a:lnTo>
                <a:lnTo>
                  <a:pt x="155" y="235"/>
                </a:lnTo>
                <a:lnTo>
                  <a:pt x="148" y="234"/>
                </a:lnTo>
                <a:lnTo>
                  <a:pt x="147" y="234"/>
                </a:lnTo>
                <a:lnTo>
                  <a:pt x="145" y="235"/>
                </a:lnTo>
                <a:lnTo>
                  <a:pt x="143" y="237"/>
                </a:lnTo>
                <a:lnTo>
                  <a:pt x="142" y="237"/>
                </a:lnTo>
                <a:lnTo>
                  <a:pt x="135" y="232"/>
                </a:lnTo>
                <a:lnTo>
                  <a:pt x="130" y="229"/>
                </a:lnTo>
                <a:lnTo>
                  <a:pt x="129" y="228"/>
                </a:lnTo>
                <a:lnTo>
                  <a:pt x="127" y="227"/>
                </a:lnTo>
                <a:lnTo>
                  <a:pt x="124" y="227"/>
                </a:lnTo>
                <a:lnTo>
                  <a:pt x="123" y="226"/>
                </a:lnTo>
                <a:lnTo>
                  <a:pt x="123" y="223"/>
                </a:lnTo>
                <a:lnTo>
                  <a:pt x="127" y="223"/>
                </a:lnTo>
                <a:lnTo>
                  <a:pt x="128" y="221"/>
                </a:lnTo>
                <a:lnTo>
                  <a:pt x="127" y="221"/>
                </a:lnTo>
                <a:lnTo>
                  <a:pt x="124" y="219"/>
                </a:lnTo>
                <a:lnTo>
                  <a:pt x="124" y="215"/>
                </a:lnTo>
                <a:lnTo>
                  <a:pt x="126" y="213"/>
                </a:lnTo>
                <a:lnTo>
                  <a:pt x="127" y="214"/>
                </a:lnTo>
                <a:lnTo>
                  <a:pt x="133" y="213"/>
                </a:lnTo>
                <a:lnTo>
                  <a:pt x="134" y="213"/>
                </a:lnTo>
                <a:lnTo>
                  <a:pt x="136" y="214"/>
                </a:lnTo>
                <a:lnTo>
                  <a:pt x="136" y="215"/>
                </a:lnTo>
                <a:lnTo>
                  <a:pt x="138" y="215"/>
                </a:lnTo>
                <a:lnTo>
                  <a:pt x="139" y="217"/>
                </a:lnTo>
                <a:lnTo>
                  <a:pt x="140" y="219"/>
                </a:lnTo>
                <a:lnTo>
                  <a:pt x="141" y="219"/>
                </a:lnTo>
                <a:lnTo>
                  <a:pt x="148" y="223"/>
                </a:lnTo>
                <a:lnTo>
                  <a:pt x="148" y="222"/>
                </a:lnTo>
                <a:lnTo>
                  <a:pt x="147" y="221"/>
                </a:lnTo>
                <a:lnTo>
                  <a:pt x="147" y="220"/>
                </a:lnTo>
                <a:lnTo>
                  <a:pt x="149" y="220"/>
                </a:lnTo>
                <a:lnTo>
                  <a:pt x="151" y="219"/>
                </a:lnTo>
                <a:lnTo>
                  <a:pt x="151" y="215"/>
                </a:lnTo>
                <a:lnTo>
                  <a:pt x="154" y="219"/>
                </a:lnTo>
                <a:lnTo>
                  <a:pt x="154" y="220"/>
                </a:lnTo>
                <a:lnTo>
                  <a:pt x="155" y="221"/>
                </a:lnTo>
                <a:lnTo>
                  <a:pt x="157" y="221"/>
                </a:lnTo>
                <a:lnTo>
                  <a:pt x="155" y="222"/>
                </a:lnTo>
                <a:lnTo>
                  <a:pt x="159" y="226"/>
                </a:lnTo>
                <a:lnTo>
                  <a:pt x="159" y="225"/>
                </a:lnTo>
                <a:lnTo>
                  <a:pt x="157" y="223"/>
                </a:lnTo>
                <a:lnTo>
                  <a:pt x="157" y="221"/>
                </a:lnTo>
                <a:lnTo>
                  <a:pt x="154" y="219"/>
                </a:lnTo>
                <a:lnTo>
                  <a:pt x="154" y="214"/>
                </a:lnTo>
                <a:lnTo>
                  <a:pt x="153" y="214"/>
                </a:lnTo>
                <a:lnTo>
                  <a:pt x="153" y="213"/>
                </a:lnTo>
                <a:lnTo>
                  <a:pt x="154" y="212"/>
                </a:lnTo>
                <a:lnTo>
                  <a:pt x="155" y="212"/>
                </a:lnTo>
                <a:lnTo>
                  <a:pt x="157" y="213"/>
                </a:lnTo>
                <a:lnTo>
                  <a:pt x="158" y="213"/>
                </a:lnTo>
                <a:lnTo>
                  <a:pt x="159" y="212"/>
                </a:lnTo>
                <a:lnTo>
                  <a:pt x="160" y="212"/>
                </a:lnTo>
                <a:lnTo>
                  <a:pt x="160" y="210"/>
                </a:lnTo>
                <a:lnTo>
                  <a:pt x="159" y="208"/>
                </a:lnTo>
                <a:lnTo>
                  <a:pt x="159" y="207"/>
                </a:lnTo>
                <a:lnTo>
                  <a:pt x="155" y="206"/>
                </a:lnTo>
                <a:lnTo>
                  <a:pt x="158" y="206"/>
                </a:lnTo>
                <a:lnTo>
                  <a:pt x="154" y="202"/>
                </a:lnTo>
                <a:lnTo>
                  <a:pt x="153" y="200"/>
                </a:lnTo>
                <a:lnTo>
                  <a:pt x="158" y="200"/>
                </a:lnTo>
                <a:lnTo>
                  <a:pt x="157" y="198"/>
                </a:lnTo>
                <a:lnTo>
                  <a:pt x="157" y="197"/>
                </a:lnTo>
                <a:lnTo>
                  <a:pt x="154" y="198"/>
                </a:lnTo>
                <a:lnTo>
                  <a:pt x="153" y="197"/>
                </a:lnTo>
                <a:lnTo>
                  <a:pt x="154" y="196"/>
                </a:lnTo>
                <a:lnTo>
                  <a:pt x="154" y="195"/>
                </a:lnTo>
                <a:lnTo>
                  <a:pt x="153" y="194"/>
                </a:lnTo>
                <a:lnTo>
                  <a:pt x="152" y="194"/>
                </a:lnTo>
                <a:lnTo>
                  <a:pt x="152" y="195"/>
                </a:lnTo>
                <a:lnTo>
                  <a:pt x="151" y="196"/>
                </a:lnTo>
                <a:lnTo>
                  <a:pt x="149" y="196"/>
                </a:lnTo>
                <a:lnTo>
                  <a:pt x="148" y="195"/>
                </a:lnTo>
                <a:lnTo>
                  <a:pt x="145" y="195"/>
                </a:lnTo>
                <a:lnTo>
                  <a:pt x="145" y="194"/>
                </a:lnTo>
                <a:lnTo>
                  <a:pt x="143" y="195"/>
                </a:lnTo>
                <a:lnTo>
                  <a:pt x="141" y="192"/>
                </a:lnTo>
                <a:lnTo>
                  <a:pt x="140" y="194"/>
                </a:lnTo>
                <a:lnTo>
                  <a:pt x="135" y="194"/>
                </a:lnTo>
                <a:lnTo>
                  <a:pt x="135" y="195"/>
                </a:lnTo>
                <a:lnTo>
                  <a:pt x="134" y="195"/>
                </a:lnTo>
                <a:lnTo>
                  <a:pt x="134" y="194"/>
                </a:lnTo>
                <a:lnTo>
                  <a:pt x="133" y="191"/>
                </a:lnTo>
                <a:lnTo>
                  <a:pt x="134" y="192"/>
                </a:lnTo>
                <a:lnTo>
                  <a:pt x="135" y="191"/>
                </a:lnTo>
                <a:lnTo>
                  <a:pt x="133" y="191"/>
                </a:lnTo>
                <a:lnTo>
                  <a:pt x="133" y="188"/>
                </a:lnTo>
                <a:lnTo>
                  <a:pt x="130" y="185"/>
                </a:lnTo>
                <a:lnTo>
                  <a:pt x="132" y="184"/>
                </a:lnTo>
                <a:lnTo>
                  <a:pt x="130" y="183"/>
                </a:lnTo>
                <a:lnTo>
                  <a:pt x="129" y="183"/>
                </a:lnTo>
                <a:lnTo>
                  <a:pt x="129" y="184"/>
                </a:lnTo>
                <a:lnTo>
                  <a:pt x="128" y="184"/>
                </a:lnTo>
                <a:lnTo>
                  <a:pt x="128" y="185"/>
                </a:lnTo>
                <a:lnTo>
                  <a:pt x="127" y="184"/>
                </a:lnTo>
                <a:lnTo>
                  <a:pt x="127" y="182"/>
                </a:lnTo>
                <a:lnTo>
                  <a:pt x="128" y="183"/>
                </a:lnTo>
                <a:lnTo>
                  <a:pt x="130" y="180"/>
                </a:lnTo>
                <a:lnTo>
                  <a:pt x="132" y="180"/>
                </a:lnTo>
                <a:lnTo>
                  <a:pt x="132" y="176"/>
                </a:lnTo>
                <a:lnTo>
                  <a:pt x="130" y="173"/>
                </a:lnTo>
                <a:lnTo>
                  <a:pt x="130" y="172"/>
                </a:lnTo>
                <a:lnTo>
                  <a:pt x="129" y="171"/>
                </a:lnTo>
                <a:lnTo>
                  <a:pt x="128" y="171"/>
                </a:lnTo>
                <a:lnTo>
                  <a:pt x="127" y="172"/>
                </a:lnTo>
                <a:lnTo>
                  <a:pt x="127" y="170"/>
                </a:lnTo>
                <a:lnTo>
                  <a:pt x="128" y="170"/>
                </a:lnTo>
                <a:lnTo>
                  <a:pt x="129" y="169"/>
                </a:lnTo>
                <a:lnTo>
                  <a:pt x="129" y="165"/>
                </a:lnTo>
                <a:lnTo>
                  <a:pt x="127" y="163"/>
                </a:lnTo>
                <a:lnTo>
                  <a:pt x="124" y="161"/>
                </a:lnTo>
                <a:lnTo>
                  <a:pt x="120" y="160"/>
                </a:lnTo>
                <a:lnTo>
                  <a:pt x="127" y="160"/>
                </a:lnTo>
                <a:lnTo>
                  <a:pt x="126" y="159"/>
                </a:lnTo>
                <a:lnTo>
                  <a:pt x="123" y="158"/>
                </a:lnTo>
                <a:lnTo>
                  <a:pt x="122" y="158"/>
                </a:lnTo>
                <a:lnTo>
                  <a:pt x="122" y="155"/>
                </a:lnTo>
                <a:lnTo>
                  <a:pt x="118" y="155"/>
                </a:lnTo>
                <a:lnTo>
                  <a:pt x="117" y="154"/>
                </a:lnTo>
                <a:lnTo>
                  <a:pt x="124" y="155"/>
                </a:lnTo>
                <a:lnTo>
                  <a:pt x="126" y="155"/>
                </a:lnTo>
                <a:lnTo>
                  <a:pt x="128" y="154"/>
                </a:lnTo>
                <a:lnTo>
                  <a:pt x="132" y="158"/>
                </a:lnTo>
                <a:lnTo>
                  <a:pt x="133" y="157"/>
                </a:lnTo>
                <a:lnTo>
                  <a:pt x="130" y="155"/>
                </a:lnTo>
                <a:lnTo>
                  <a:pt x="132" y="154"/>
                </a:lnTo>
                <a:lnTo>
                  <a:pt x="132" y="155"/>
                </a:lnTo>
                <a:lnTo>
                  <a:pt x="134" y="155"/>
                </a:lnTo>
                <a:lnTo>
                  <a:pt x="136" y="154"/>
                </a:lnTo>
                <a:lnTo>
                  <a:pt x="138" y="153"/>
                </a:lnTo>
                <a:lnTo>
                  <a:pt x="139" y="153"/>
                </a:lnTo>
                <a:lnTo>
                  <a:pt x="139" y="148"/>
                </a:lnTo>
                <a:lnTo>
                  <a:pt x="140" y="148"/>
                </a:lnTo>
                <a:lnTo>
                  <a:pt x="142" y="146"/>
                </a:lnTo>
                <a:lnTo>
                  <a:pt x="143" y="147"/>
                </a:lnTo>
                <a:lnTo>
                  <a:pt x="145" y="145"/>
                </a:lnTo>
                <a:lnTo>
                  <a:pt x="145" y="142"/>
                </a:lnTo>
                <a:lnTo>
                  <a:pt x="143" y="139"/>
                </a:lnTo>
                <a:lnTo>
                  <a:pt x="139" y="139"/>
                </a:lnTo>
                <a:lnTo>
                  <a:pt x="136" y="137"/>
                </a:lnTo>
                <a:lnTo>
                  <a:pt x="135" y="136"/>
                </a:lnTo>
                <a:lnTo>
                  <a:pt x="135" y="135"/>
                </a:lnTo>
                <a:lnTo>
                  <a:pt x="140" y="137"/>
                </a:lnTo>
                <a:lnTo>
                  <a:pt x="141" y="137"/>
                </a:lnTo>
                <a:lnTo>
                  <a:pt x="147" y="139"/>
                </a:lnTo>
                <a:lnTo>
                  <a:pt x="153" y="139"/>
                </a:lnTo>
                <a:lnTo>
                  <a:pt x="154" y="137"/>
                </a:lnTo>
                <a:lnTo>
                  <a:pt x="155" y="137"/>
                </a:lnTo>
                <a:lnTo>
                  <a:pt x="155" y="139"/>
                </a:lnTo>
                <a:lnTo>
                  <a:pt x="154" y="140"/>
                </a:lnTo>
                <a:lnTo>
                  <a:pt x="154" y="142"/>
                </a:lnTo>
                <a:lnTo>
                  <a:pt x="153" y="142"/>
                </a:lnTo>
                <a:lnTo>
                  <a:pt x="153" y="141"/>
                </a:lnTo>
                <a:lnTo>
                  <a:pt x="152" y="141"/>
                </a:lnTo>
                <a:lnTo>
                  <a:pt x="151" y="142"/>
                </a:lnTo>
                <a:lnTo>
                  <a:pt x="153" y="146"/>
                </a:lnTo>
                <a:lnTo>
                  <a:pt x="154" y="147"/>
                </a:lnTo>
                <a:lnTo>
                  <a:pt x="153" y="149"/>
                </a:lnTo>
                <a:lnTo>
                  <a:pt x="152" y="148"/>
                </a:lnTo>
                <a:lnTo>
                  <a:pt x="149" y="151"/>
                </a:lnTo>
                <a:lnTo>
                  <a:pt x="148" y="151"/>
                </a:lnTo>
                <a:lnTo>
                  <a:pt x="149" y="152"/>
                </a:lnTo>
                <a:lnTo>
                  <a:pt x="152" y="151"/>
                </a:lnTo>
                <a:lnTo>
                  <a:pt x="153" y="151"/>
                </a:lnTo>
                <a:lnTo>
                  <a:pt x="153" y="149"/>
                </a:lnTo>
                <a:lnTo>
                  <a:pt x="155" y="152"/>
                </a:lnTo>
                <a:lnTo>
                  <a:pt x="155" y="154"/>
                </a:lnTo>
                <a:lnTo>
                  <a:pt x="151" y="154"/>
                </a:lnTo>
                <a:lnTo>
                  <a:pt x="151" y="155"/>
                </a:lnTo>
                <a:lnTo>
                  <a:pt x="155" y="155"/>
                </a:lnTo>
                <a:lnTo>
                  <a:pt x="157" y="158"/>
                </a:lnTo>
                <a:lnTo>
                  <a:pt x="157" y="159"/>
                </a:lnTo>
                <a:lnTo>
                  <a:pt x="155" y="160"/>
                </a:lnTo>
                <a:lnTo>
                  <a:pt x="157" y="160"/>
                </a:lnTo>
                <a:lnTo>
                  <a:pt x="158" y="159"/>
                </a:lnTo>
                <a:lnTo>
                  <a:pt x="159" y="155"/>
                </a:lnTo>
                <a:lnTo>
                  <a:pt x="159" y="151"/>
                </a:lnTo>
                <a:lnTo>
                  <a:pt x="161" y="148"/>
                </a:lnTo>
                <a:lnTo>
                  <a:pt x="163" y="148"/>
                </a:lnTo>
                <a:lnTo>
                  <a:pt x="164" y="146"/>
                </a:lnTo>
                <a:lnTo>
                  <a:pt x="161" y="141"/>
                </a:lnTo>
                <a:lnTo>
                  <a:pt x="161" y="140"/>
                </a:lnTo>
                <a:lnTo>
                  <a:pt x="163" y="140"/>
                </a:lnTo>
                <a:lnTo>
                  <a:pt x="165" y="142"/>
                </a:lnTo>
                <a:lnTo>
                  <a:pt x="165" y="146"/>
                </a:lnTo>
                <a:lnTo>
                  <a:pt x="166" y="146"/>
                </a:lnTo>
                <a:lnTo>
                  <a:pt x="166" y="148"/>
                </a:lnTo>
                <a:lnTo>
                  <a:pt x="167" y="152"/>
                </a:lnTo>
                <a:lnTo>
                  <a:pt x="167" y="154"/>
                </a:lnTo>
                <a:lnTo>
                  <a:pt x="166" y="157"/>
                </a:lnTo>
                <a:lnTo>
                  <a:pt x="165" y="155"/>
                </a:lnTo>
                <a:lnTo>
                  <a:pt x="164" y="155"/>
                </a:lnTo>
                <a:lnTo>
                  <a:pt x="164" y="158"/>
                </a:lnTo>
                <a:lnTo>
                  <a:pt x="161" y="160"/>
                </a:lnTo>
                <a:lnTo>
                  <a:pt x="164" y="160"/>
                </a:lnTo>
                <a:lnTo>
                  <a:pt x="165" y="159"/>
                </a:lnTo>
                <a:lnTo>
                  <a:pt x="167" y="161"/>
                </a:lnTo>
                <a:lnTo>
                  <a:pt x="170" y="157"/>
                </a:lnTo>
                <a:lnTo>
                  <a:pt x="170" y="155"/>
                </a:lnTo>
                <a:lnTo>
                  <a:pt x="167" y="147"/>
                </a:lnTo>
                <a:lnTo>
                  <a:pt x="167" y="143"/>
                </a:lnTo>
                <a:lnTo>
                  <a:pt x="166" y="139"/>
                </a:lnTo>
                <a:lnTo>
                  <a:pt x="165" y="137"/>
                </a:lnTo>
                <a:lnTo>
                  <a:pt x="164" y="137"/>
                </a:lnTo>
                <a:lnTo>
                  <a:pt x="159" y="140"/>
                </a:lnTo>
                <a:lnTo>
                  <a:pt x="159" y="136"/>
                </a:lnTo>
                <a:lnTo>
                  <a:pt x="166" y="133"/>
                </a:lnTo>
                <a:lnTo>
                  <a:pt x="172" y="127"/>
                </a:lnTo>
                <a:lnTo>
                  <a:pt x="176" y="126"/>
                </a:lnTo>
                <a:close/>
                <a:moveTo>
                  <a:pt x="89" y="98"/>
                </a:moveTo>
                <a:lnTo>
                  <a:pt x="89" y="99"/>
                </a:lnTo>
                <a:lnTo>
                  <a:pt x="90" y="99"/>
                </a:lnTo>
                <a:lnTo>
                  <a:pt x="90" y="98"/>
                </a:lnTo>
                <a:lnTo>
                  <a:pt x="89" y="98"/>
                </a:lnTo>
                <a:close/>
                <a:moveTo>
                  <a:pt x="45" y="85"/>
                </a:moveTo>
                <a:lnTo>
                  <a:pt x="46" y="85"/>
                </a:lnTo>
                <a:lnTo>
                  <a:pt x="45" y="86"/>
                </a:lnTo>
                <a:lnTo>
                  <a:pt x="45" y="85"/>
                </a:lnTo>
                <a:close/>
                <a:moveTo>
                  <a:pt x="86" y="80"/>
                </a:moveTo>
                <a:lnTo>
                  <a:pt x="85" y="81"/>
                </a:lnTo>
                <a:lnTo>
                  <a:pt x="84" y="81"/>
                </a:lnTo>
                <a:lnTo>
                  <a:pt x="81" y="83"/>
                </a:lnTo>
                <a:lnTo>
                  <a:pt x="79" y="85"/>
                </a:lnTo>
                <a:lnTo>
                  <a:pt x="73" y="86"/>
                </a:lnTo>
                <a:lnTo>
                  <a:pt x="74" y="86"/>
                </a:lnTo>
                <a:lnTo>
                  <a:pt x="81" y="85"/>
                </a:lnTo>
                <a:lnTo>
                  <a:pt x="83" y="84"/>
                </a:lnTo>
                <a:lnTo>
                  <a:pt x="83" y="83"/>
                </a:lnTo>
                <a:lnTo>
                  <a:pt x="86" y="83"/>
                </a:lnTo>
                <a:lnTo>
                  <a:pt x="86" y="80"/>
                </a:lnTo>
                <a:close/>
                <a:moveTo>
                  <a:pt x="151" y="79"/>
                </a:moveTo>
                <a:lnTo>
                  <a:pt x="151" y="80"/>
                </a:lnTo>
                <a:lnTo>
                  <a:pt x="149" y="80"/>
                </a:lnTo>
                <a:lnTo>
                  <a:pt x="148" y="81"/>
                </a:lnTo>
                <a:lnTo>
                  <a:pt x="148" y="83"/>
                </a:lnTo>
                <a:lnTo>
                  <a:pt x="147" y="83"/>
                </a:lnTo>
                <a:lnTo>
                  <a:pt x="147" y="84"/>
                </a:lnTo>
                <a:lnTo>
                  <a:pt x="146" y="84"/>
                </a:lnTo>
                <a:lnTo>
                  <a:pt x="145" y="83"/>
                </a:lnTo>
                <a:lnTo>
                  <a:pt x="145" y="80"/>
                </a:lnTo>
                <a:lnTo>
                  <a:pt x="148" y="80"/>
                </a:lnTo>
                <a:lnTo>
                  <a:pt x="151" y="79"/>
                </a:lnTo>
                <a:close/>
                <a:moveTo>
                  <a:pt x="6" y="75"/>
                </a:moveTo>
                <a:lnTo>
                  <a:pt x="8" y="79"/>
                </a:lnTo>
                <a:lnTo>
                  <a:pt x="8" y="81"/>
                </a:lnTo>
                <a:lnTo>
                  <a:pt x="6" y="81"/>
                </a:lnTo>
                <a:lnTo>
                  <a:pt x="6" y="75"/>
                </a:lnTo>
                <a:close/>
                <a:moveTo>
                  <a:pt x="33" y="61"/>
                </a:moveTo>
                <a:lnTo>
                  <a:pt x="34" y="62"/>
                </a:lnTo>
                <a:lnTo>
                  <a:pt x="35" y="61"/>
                </a:lnTo>
                <a:lnTo>
                  <a:pt x="35" y="68"/>
                </a:lnTo>
                <a:lnTo>
                  <a:pt x="34" y="68"/>
                </a:lnTo>
                <a:lnTo>
                  <a:pt x="34" y="67"/>
                </a:lnTo>
                <a:lnTo>
                  <a:pt x="33" y="67"/>
                </a:lnTo>
                <a:lnTo>
                  <a:pt x="31" y="68"/>
                </a:lnTo>
                <a:lnTo>
                  <a:pt x="31" y="69"/>
                </a:lnTo>
                <a:lnTo>
                  <a:pt x="33" y="69"/>
                </a:lnTo>
                <a:lnTo>
                  <a:pt x="33" y="73"/>
                </a:lnTo>
                <a:lnTo>
                  <a:pt x="34" y="73"/>
                </a:lnTo>
                <a:lnTo>
                  <a:pt x="34" y="74"/>
                </a:lnTo>
                <a:lnTo>
                  <a:pt x="33" y="74"/>
                </a:lnTo>
                <a:lnTo>
                  <a:pt x="33" y="75"/>
                </a:lnTo>
                <a:lnTo>
                  <a:pt x="31" y="77"/>
                </a:lnTo>
                <a:lnTo>
                  <a:pt x="31" y="78"/>
                </a:lnTo>
                <a:lnTo>
                  <a:pt x="29" y="80"/>
                </a:lnTo>
                <a:lnTo>
                  <a:pt x="29" y="81"/>
                </a:lnTo>
                <a:lnTo>
                  <a:pt x="25" y="83"/>
                </a:lnTo>
                <a:lnTo>
                  <a:pt x="24" y="84"/>
                </a:lnTo>
                <a:lnTo>
                  <a:pt x="24" y="83"/>
                </a:lnTo>
                <a:lnTo>
                  <a:pt x="23" y="80"/>
                </a:lnTo>
                <a:lnTo>
                  <a:pt x="22" y="80"/>
                </a:lnTo>
                <a:lnTo>
                  <a:pt x="21" y="79"/>
                </a:lnTo>
                <a:lnTo>
                  <a:pt x="21" y="78"/>
                </a:lnTo>
                <a:lnTo>
                  <a:pt x="20" y="78"/>
                </a:lnTo>
                <a:lnTo>
                  <a:pt x="18" y="79"/>
                </a:lnTo>
                <a:lnTo>
                  <a:pt x="18" y="77"/>
                </a:lnTo>
                <a:lnTo>
                  <a:pt x="20" y="77"/>
                </a:lnTo>
                <a:lnTo>
                  <a:pt x="20" y="74"/>
                </a:lnTo>
                <a:lnTo>
                  <a:pt x="21" y="74"/>
                </a:lnTo>
                <a:lnTo>
                  <a:pt x="23" y="73"/>
                </a:lnTo>
                <a:lnTo>
                  <a:pt x="24" y="72"/>
                </a:lnTo>
                <a:lnTo>
                  <a:pt x="23" y="72"/>
                </a:lnTo>
                <a:lnTo>
                  <a:pt x="23" y="71"/>
                </a:lnTo>
                <a:lnTo>
                  <a:pt x="24" y="69"/>
                </a:lnTo>
                <a:lnTo>
                  <a:pt x="24" y="67"/>
                </a:lnTo>
                <a:lnTo>
                  <a:pt x="25" y="67"/>
                </a:lnTo>
                <a:lnTo>
                  <a:pt x="27" y="66"/>
                </a:lnTo>
                <a:lnTo>
                  <a:pt x="29" y="66"/>
                </a:lnTo>
                <a:lnTo>
                  <a:pt x="30" y="65"/>
                </a:lnTo>
                <a:lnTo>
                  <a:pt x="30" y="66"/>
                </a:lnTo>
                <a:lnTo>
                  <a:pt x="31" y="65"/>
                </a:lnTo>
                <a:lnTo>
                  <a:pt x="33" y="61"/>
                </a:lnTo>
                <a:close/>
                <a:moveTo>
                  <a:pt x="35" y="60"/>
                </a:moveTo>
                <a:lnTo>
                  <a:pt x="36" y="60"/>
                </a:lnTo>
                <a:lnTo>
                  <a:pt x="35" y="61"/>
                </a:lnTo>
                <a:lnTo>
                  <a:pt x="35" y="60"/>
                </a:lnTo>
                <a:close/>
                <a:moveTo>
                  <a:pt x="80" y="51"/>
                </a:moveTo>
                <a:lnTo>
                  <a:pt x="79" y="53"/>
                </a:lnTo>
                <a:lnTo>
                  <a:pt x="79" y="54"/>
                </a:lnTo>
                <a:lnTo>
                  <a:pt x="79" y="53"/>
                </a:lnTo>
                <a:lnTo>
                  <a:pt x="80" y="53"/>
                </a:lnTo>
                <a:lnTo>
                  <a:pt x="81" y="51"/>
                </a:lnTo>
                <a:lnTo>
                  <a:pt x="81" y="53"/>
                </a:lnTo>
                <a:lnTo>
                  <a:pt x="86" y="56"/>
                </a:lnTo>
                <a:lnTo>
                  <a:pt x="89" y="59"/>
                </a:lnTo>
                <a:lnTo>
                  <a:pt x="91" y="59"/>
                </a:lnTo>
                <a:lnTo>
                  <a:pt x="87" y="56"/>
                </a:lnTo>
                <a:lnTo>
                  <a:pt x="85" y="54"/>
                </a:lnTo>
                <a:lnTo>
                  <a:pt x="83" y="53"/>
                </a:lnTo>
                <a:lnTo>
                  <a:pt x="81" y="51"/>
                </a:lnTo>
                <a:lnTo>
                  <a:pt x="80" y="51"/>
                </a:lnTo>
                <a:close/>
                <a:moveTo>
                  <a:pt x="129" y="32"/>
                </a:moveTo>
                <a:lnTo>
                  <a:pt x="130" y="32"/>
                </a:lnTo>
                <a:lnTo>
                  <a:pt x="132" y="34"/>
                </a:lnTo>
                <a:lnTo>
                  <a:pt x="132" y="36"/>
                </a:lnTo>
                <a:lnTo>
                  <a:pt x="130" y="35"/>
                </a:lnTo>
                <a:lnTo>
                  <a:pt x="129" y="35"/>
                </a:lnTo>
                <a:lnTo>
                  <a:pt x="126" y="36"/>
                </a:lnTo>
                <a:lnTo>
                  <a:pt x="127" y="36"/>
                </a:lnTo>
                <a:lnTo>
                  <a:pt x="127" y="38"/>
                </a:lnTo>
                <a:lnTo>
                  <a:pt x="126" y="40"/>
                </a:lnTo>
                <a:lnTo>
                  <a:pt x="126" y="41"/>
                </a:lnTo>
                <a:lnTo>
                  <a:pt x="124" y="42"/>
                </a:lnTo>
                <a:lnTo>
                  <a:pt x="124" y="43"/>
                </a:lnTo>
                <a:lnTo>
                  <a:pt x="123" y="43"/>
                </a:lnTo>
                <a:lnTo>
                  <a:pt x="120" y="40"/>
                </a:lnTo>
                <a:lnTo>
                  <a:pt x="118" y="40"/>
                </a:lnTo>
                <a:lnTo>
                  <a:pt x="117" y="38"/>
                </a:lnTo>
                <a:lnTo>
                  <a:pt x="117" y="37"/>
                </a:lnTo>
                <a:lnTo>
                  <a:pt x="118" y="37"/>
                </a:lnTo>
                <a:lnTo>
                  <a:pt x="121" y="35"/>
                </a:lnTo>
                <a:lnTo>
                  <a:pt x="123" y="35"/>
                </a:lnTo>
                <a:lnTo>
                  <a:pt x="124" y="34"/>
                </a:lnTo>
                <a:lnTo>
                  <a:pt x="127" y="34"/>
                </a:lnTo>
                <a:lnTo>
                  <a:pt x="129" y="32"/>
                </a:lnTo>
                <a:close/>
                <a:moveTo>
                  <a:pt x="104" y="0"/>
                </a:moveTo>
                <a:lnTo>
                  <a:pt x="108" y="0"/>
                </a:lnTo>
                <a:lnTo>
                  <a:pt x="105" y="1"/>
                </a:lnTo>
                <a:lnTo>
                  <a:pt x="104" y="4"/>
                </a:lnTo>
                <a:lnTo>
                  <a:pt x="101" y="8"/>
                </a:lnTo>
                <a:lnTo>
                  <a:pt x="99" y="13"/>
                </a:lnTo>
                <a:lnTo>
                  <a:pt x="102" y="20"/>
                </a:lnTo>
                <a:lnTo>
                  <a:pt x="104" y="24"/>
                </a:lnTo>
                <a:lnTo>
                  <a:pt x="103" y="28"/>
                </a:lnTo>
                <a:lnTo>
                  <a:pt x="103" y="32"/>
                </a:lnTo>
                <a:lnTo>
                  <a:pt x="104" y="40"/>
                </a:lnTo>
                <a:lnTo>
                  <a:pt x="99" y="44"/>
                </a:lnTo>
                <a:lnTo>
                  <a:pt x="97" y="49"/>
                </a:lnTo>
                <a:lnTo>
                  <a:pt x="97" y="53"/>
                </a:lnTo>
                <a:lnTo>
                  <a:pt x="96" y="56"/>
                </a:lnTo>
                <a:lnTo>
                  <a:pt x="96" y="57"/>
                </a:lnTo>
                <a:lnTo>
                  <a:pt x="95" y="59"/>
                </a:lnTo>
                <a:lnTo>
                  <a:pt x="93" y="59"/>
                </a:lnTo>
                <a:lnTo>
                  <a:pt x="95" y="60"/>
                </a:lnTo>
                <a:lnTo>
                  <a:pt x="92" y="62"/>
                </a:lnTo>
                <a:lnTo>
                  <a:pt x="92" y="67"/>
                </a:lnTo>
                <a:lnTo>
                  <a:pt x="93" y="71"/>
                </a:lnTo>
                <a:lnTo>
                  <a:pt x="93" y="75"/>
                </a:lnTo>
                <a:lnTo>
                  <a:pt x="95" y="79"/>
                </a:lnTo>
                <a:lnTo>
                  <a:pt x="95" y="80"/>
                </a:lnTo>
                <a:lnTo>
                  <a:pt x="96" y="80"/>
                </a:lnTo>
                <a:lnTo>
                  <a:pt x="95" y="81"/>
                </a:lnTo>
                <a:lnTo>
                  <a:pt x="93" y="80"/>
                </a:lnTo>
                <a:lnTo>
                  <a:pt x="90" y="80"/>
                </a:lnTo>
                <a:lnTo>
                  <a:pt x="90" y="81"/>
                </a:lnTo>
                <a:lnTo>
                  <a:pt x="89" y="80"/>
                </a:lnTo>
                <a:lnTo>
                  <a:pt x="87" y="80"/>
                </a:lnTo>
                <a:lnTo>
                  <a:pt x="89" y="81"/>
                </a:lnTo>
                <a:lnTo>
                  <a:pt x="89" y="83"/>
                </a:lnTo>
                <a:lnTo>
                  <a:pt x="92" y="83"/>
                </a:lnTo>
                <a:lnTo>
                  <a:pt x="93" y="81"/>
                </a:lnTo>
                <a:lnTo>
                  <a:pt x="95" y="81"/>
                </a:lnTo>
                <a:lnTo>
                  <a:pt x="96" y="83"/>
                </a:lnTo>
                <a:lnTo>
                  <a:pt x="96" y="87"/>
                </a:lnTo>
                <a:lnTo>
                  <a:pt x="92" y="90"/>
                </a:lnTo>
                <a:lnTo>
                  <a:pt x="90" y="92"/>
                </a:lnTo>
                <a:lnTo>
                  <a:pt x="90" y="96"/>
                </a:lnTo>
                <a:lnTo>
                  <a:pt x="91" y="93"/>
                </a:lnTo>
                <a:lnTo>
                  <a:pt x="91" y="92"/>
                </a:lnTo>
                <a:lnTo>
                  <a:pt x="92" y="91"/>
                </a:lnTo>
                <a:lnTo>
                  <a:pt x="95" y="90"/>
                </a:lnTo>
                <a:lnTo>
                  <a:pt x="95" y="88"/>
                </a:lnTo>
                <a:lnTo>
                  <a:pt x="96" y="90"/>
                </a:lnTo>
                <a:lnTo>
                  <a:pt x="96" y="92"/>
                </a:lnTo>
                <a:lnTo>
                  <a:pt x="97" y="93"/>
                </a:lnTo>
                <a:lnTo>
                  <a:pt x="101" y="96"/>
                </a:lnTo>
                <a:lnTo>
                  <a:pt x="104" y="96"/>
                </a:lnTo>
                <a:lnTo>
                  <a:pt x="114" y="94"/>
                </a:lnTo>
                <a:lnTo>
                  <a:pt x="117" y="94"/>
                </a:lnTo>
                <a:lnTo>
                  <a:pt x="117" y="96"/>
                </a:lnTo>
                <a:lnTo>
                  <a:pt x="118" y="98"/>
                </a:lnTo>
                <a:lnTo>
                  <a:pt x="122" y="100"/>
                </a:lnTo>
                <a:lnTo>
                  <a:pt x="122" y="102"/>
                </a:lnTo>
                <a:lnTo>
                  <a:pt x="121" y="102"/>
                </a:lnTo>
                <a:lnTo>
                  <a:pt x="120" y="104"/>
                </a:lnTo>
                <a:lnTo>
                  <a:pt x="120" y="110"/>
                </a:lnTo>
                <a:lnTo>
                  <a:pt x="112" y="117"/>
                </a:lnTo>
                <a:lnTo>
                  <a:pt x="112" y="123"/>
                </a:lnTo>
                <a:lnTo>
                  <a:pt x="110" y="123"/>
                </a:lnTo>
                <a:lnTo>
                  <a:pt x="108" y="121"/>
                </a:lnTo>
                <a:lnTo>
                  <a:pt x="109" y="121"/>
                </a:lnTo>
                <a:lnTo>
                  <a:pt x="110" y="120"/>
                </a:lnTo>
                <a:lnTo>
                  <a:pt x="110" y="118"/>
                </a:lnTo>
                <a:lnTo>
                  <a:pt x="109" y="117"/>
                </a:lnTo>
                <a:lnTo>
                  <a:pt x="108" y="117"/>
                </a:lnTo>
                <a:lnTo>
                  <a:pt x="104" y="121"/>
                </a:lnTo>
                <a:lnTo>
                  <a:pt x="104" y="123"/>
                </a:lnTo>
                <a:lnTo>
                  <a:pt x="105" y="126"/>
                </a:lnTo>
                <a:lnTo>
                  <a:pt x="105" y="127"/>
                </a:lnTo>
                <a:lnTo>
                  <a:pt x="102" y="127"/>
                </a:lnTo>
                <a:lnTo>
                  <a:pt x="102" y="124"/>
                </a:lnTo>
                <a:lnTo>
                  <a:pt x="103" y="123"/>
                </a:lnTo>
                <a:lnTo>
                  <a:pt x="103" y="122"/>
                </a:lnTo>
                <a:lnTo>
                  <a:pt x="97" y="122"/>
                </a:lnTo>
                <a:lnTo>
                  <a:pt x="97" y="121"/>
                </a:lnTo>
                <a:lnTo>
                  <a:pt x="96" y="120"/>
                </a:lnTo>
                <a:lnTo>
                  <a:pt x="97" y="120"/>
                </a:lnTo>
                <a:lnTo>
                  <a:pt x="98" y="118"/>
                </a:lnTo>
                <a:lnTo>
                  <a:pt x="99" y="118"/>
                </a:lnTo>
                <a:lnTo>
                  <a:pt x="101" y="120"/>
                </a:lnTo>
                <a:lnTo>
                  <a:pt x="102" y="118"/>
                </a:lnTo>
                <a:lnTo>
                  <a:pt x="101" y="117"/>
                </a:lnTo>
                <a:lnTo>
                  <a:pt x="101" y="116"/>
                </a:lnTo>
                <a:lnTo>
                  <a:pt x="102" y="114"/>
                </a:lnTo>
                <a:lnTo>
                  <a:pt x="101" y="114"/>
                </a:lnTo>
                <a:lnTo>
                  <a:pt x="101" y="112"/>
                </a:lnTo>
                <a:lnTo>
                  <a:pt x="98" y="112"/>
                </a:lnTo>
                <a:lnTo>
                  <a:pt x="98" y="114"/>
                </a:lnTo>
                <a:lnTo>
                  <a:pt x="97" y="114"/>
                </a:lnTo>
                <a:lnTo>
                  <a:pt x="97" y="115"/>
                </a:lnTo>
                <a:lnTo>
                  <a:pt x="96" y="115"/>
                </a:lnTo>
                <a:lnTo>
                  <a:pt x="95" y="117"/>
                </a:lnTo>
                <a:lnTo>
                  <a:pt x="95" y="118"/>
                </a:lnTo>
                <a:lnTo>
                  <a:pt x="90" y="123"/>
                </a:lnTo>
                <a:lnTo>
                  <a:pt x="90" y="124"/>
                </a:lnTo>
                <a:lnTo>
                  <a:pt x="92" y="127"/>
                </a:lnTo>
                <a:lnTo>
                  <a:pt x="92" y="130"/>
                </a:lnTo>
                <a:lnTo>
                  <a:pt x="91" y="131"/>
                </a:lnTo>
                <a:lnTo>
                  <a:pt x="91" y="133"/>
                </a:lnTo>
                <a:lnTo>
                  <a:pt x="92" y="133"/>
                </a:lnTo>
                <a:lnTo>
                  <a:pt x="92" y="134"/>
                </a:lnTo>
                <a:lnTo>
                  <a:pt x="91" y="136"/>
                </a:lnTo>
                <a:lnTo>
                  <a:pt x="91" y="141"/>
                </a:lnTo>
                <a:lnTo>
                  <a:pt x="90" y="142"/>
                </a:lnTo>
                <a:lnTo>
                  <a:pt x="90" y="143"/>
                </a:lnTo>
                <a:lnTo>
                  <a:pt x="89" y="143"/>
                </a:lnTo>
                <a:lnTo>
                  <a:pt x="89" y="146"/>
                </a:lnTo>
                <a:lnTo>
                  <a:pt x="90" y="146"/>
                </a:lnTo>
                <a:lnTo>
                  <a:pt x="89" y="147"/>
                </a:lnTo>
                <a:lnTo>
                  <a:pt x="87" y="147"/>
                </a:lnTo>
                <a:lnTo>
                  <a:pt x="86" y="146"/>
                </a:lnTo>
                <a:lnTo>
                  <a:pt x="86" y="143"/>
                </a:lnTo>
                <a:lnTo>
                  <a:pt x="80" y="143"/>
                </a:lnTo>
                <a:lnTo>
                  <a:pt x="80" y="145"/>
                </a:lnTo>
                <a:lnTo>
                  <a:pt x="79" y="146"/>
                </a:lnTo>
                <a:lnTo>
                  <a:pt x="76" y="146"/>
                </a:lnTo>
                <a:lnTo>
                  <a:pt x="77" y="147"/>
                </a:lnTo>
                <a:lnTo>
                  <a:pt x="83" y="148"/>
                </a:lnTo>
                <a:lnTo>
                  <a:pt x="83" y="149"/>
                </a:lnTo>
                <a:lnTo>
                  <a:pt x="81" y="151"/>
                </a:lnTo>
                <a:lnTo>
                  <a:pt x="81" y="153"/>
                </a:lnTo>
                <a:lnTo>
                  <a:pt x="84" y="153"/>
                </a:lnTo>
                <a:lnTo>
                  <a:pt x="84" y="154"/>
                </a:lnTo>
                <a:lnTo>
                  <a:pt x="81" y="154"/>
                </a:lnTo>
                <a:lnTo>
                  <a:pt x="81" y="158"/>
                </a:lnTo>
                <a:lnTo>
                  <a:pt x="80" y="157"/>
                </a:lnTo>
                <a:lnTo>
                  <a:pt x="76" y="158"/>
                </a:lnTo>
                <a:lnTo>
                  <a:pt x="73" y="159"/>
                </a:lnTo>
                <a:lnTo>
                  <a:pt x="72" y="159"/>
                </a:lnTo>
                <a:lnTo>
                  <a:pt x="70" y="158"/>
                </a:lnTo>
                <a:lnTo>
                  <a:pt x="68" y="157"/>
                </a:lnTo>
                <a:lnTo>
                  <a:pt x="62" y="157"/>
                </a:lnTo>
                <a:lnTo>
                  <a:pt x="62" y="158"/>
                </a:lnTo>
                <a:lnTo>
                  <a:pt x="66" y="158"/>
                </a:lnTo>
                <a:lnTo>
                  <a:pt x="70" y="161"/>
                </a:lnTo>
                <a:lnTo>
                  <a:pt x="70" y="163"/>
                </a:lnTo>
                <a:lnTo>
                  <a:pt x="74" y="163"/>
                </a:lnTo>
                <a:lnTo>
                  <a:pt x="74" y="164"/>
                </a:lnTo>
                <a:lnTo>
                  <a:pt x="72" y="165"/>
                </a:lnTo>
                <a:lnTo>
                  <a:pt x="71" y="167"/>
                </a:lnTo>
                <a:lnTo>
                  <a:pt x="68" y="167"/>
                </a:lnTo>
                <a:lnTo>
                  <a:pt x="68" y="170"/>
                </a:lnTo>
                <a:lnTo>
                  <a:pt x="66" y="170"/>
                </a:lnTo>
                <a:lnTo>
                  <a:pt x="65" y="171"/>
                </a:lnTo>
                <a:lnTo>
                  <a:pt x="62" y="171"/>
                </a:lnTo>
                <a:lnTo>
                  <a:pt x="62" y="172"/>
                </a:lnTo>
                <a:lnTo>
                  <a:pt x="60" y="172"/>
                </a:lnTo>
                <a:lnTo>
                  <a:pt x="60" y="173"/>
                </a:lnTo>
                <a:lnTo>
                  <a:pt x="64" y="173"/>
                </a:lnTo>
                <a:lnTo>
                  <a:pt x="64" y="172"/>
                </a:lnTo>
                <a:lnTo>
                  <a:pt x="66" y="174"/>
                </a:lnTo>
                <a:lnTo>
                  <a:pt x="67" y="174"/>
                </a:lnTo>
                <a:lnTo>
                  <a:pt x="66" y="176"/>
                </a:lnTo>
                <a:lnTo>
                  <a:pt x="66" y="177"/>
                </a:lnTo>
                <a:lnTo>
                  <a:pt x="64" y="177"/>
                </a:lnTo>
                <a:lnTo>
                  <a:pt x="64" y="179"/>
                </a:lnTo>
                <a:lnTo>
                  <a:pt x="65" y="180"/>
                </a:lnTo>
                <a:lnTo>
                  <a:pt x="64" y="180"/>
                </a:lnTo>
                <a:lnTo>
                  <a:pt x="64" y="182"/>
                </a:lnTo>
                <a:lnTo>
                  <a:pt x="66" y="184"/>
                </a:lnTo>
                <a:lnTo>
                  <a:pt x="66" y="186"/>
                </a:lnTo>
                <a:lnTo>
                  <a:pt x="67" y="189"/>
                </a:lnTo>
                <a:lnTo>
                  <a:pt x="68" y="189"/>
                </a:lnTo>
                <a:lnTo>
                  <a:pt x="68" y="192"/>
                </a:lnTo>
                <a:lnTo>
                  <a:pt x="67" y="194"/>
                </a:lnTo>
                <a:lnTo>
                  <a:pt x="67" y="195"/>
                </a:lnTo>
                <a:lnTo>
                  <a:pt x="62" y="195"/>
                </a:lnTo>
                <a:lnTo>
                  <a:pt x="62" y="196"/>
                </a:lnTo>
                <a:lnTo>
                  <a:pt x="61" y="196"/>
                </a:lnTo>
                <a:lnTo>
                  <a:pt x="61" y="197"/>
                </a:lnTo>
                <a:lnTo>
                  <a:pt x="59" y="197"/>
                </a:lnTo>
                <a:lnTo>
                  <a:pt x="59" y="198"/>
                </a:lnTo>
                <a:lnTo>
                  <a:pt x="60" y="198"/>
                </a:lnTo>
                <a:lnTo>
                  <a:pt x="60" y="200"/>
                </a:lnTo>
                <a:lnTo>
                  <a:pt x="58" y="200"/>
                </a:lnTo>
                <a:lnTo>
                  <a:pt x="59" y="201"/>
                </a:lnTo>
                <a:lnTo>
                  <a:pt x="61" y="201"/>
                </a:lnTo>
                <a:lnTo>
                  <a:pt x="61" y="202"/>
                </a:lnTo>
                <a:lnTo>
                  <a:pt x="62" y="203"/>
                </a:lnTo>
                <a:lnTo>
                  <a:pt x="60" y="206"/>
                </a:lnTo>
                <a:lnTo>
                  <a:pt x="58" y="206"/>
                </a:lnTo>
                <a:lnTo>
                  <a:pt x="56" y="207"/>
                </a:lnTo>
                <a:lnTo>
                  <a:pt x="58" y="208"/>
                </a:lnTo>
                <a:lnTo>
                  <a:pt x="60" y="207"/>
                </a:lnTo>
                <a:lnTo>
                  <a:pt x="62" y="207"/>
                </a:lnTo>
                <a:lnTo>
                  <a:pt x="62" y="206"/>
                </a:lnTo>
                <a:lnTo>
                  <a:pt x="64" y="206"/>
                </a:lnTo>
                <a:lnTo>
                  <a:pt x="67" y="209"/>
                </a:lnTo>
                <a:lnTo>
                  <a:pt x="70" y="209"/>
                </a:lnTo>
                <a:lnTo>
                  <a:pt x="70" y="210"/>
                </a:lnTo>
                <a:lnTo>
                  <a:pt x="71" y="216"/>
                </a:lnTo>
                <a:lnTo>
                  <a:pt x="71" y="217"/>
                </a:lnTo>
                <a:lnTo>
                  <a:pt x="70" y="217"/>
                </a:lnTo>
                <a:lnTo>
                  <a:pt x="70" y="216"/>
                </a:lnTo>
                <a:lnTo>
                  <a:pt x="68" y="216"/>
                </a:lnTo>
                <a:lnTo>
                  <a:pt x="68" y="217"/>
                </a:lnTo>
                <a:lnTo>
                  <a:pt x="71" y="220"/>
                </a:lnTo>
                <a:lnTo>
                  <a:pt x="71" y="221"/>
                </a:lnTo>
                <a:lnTo>
                  <a:pt x="70" y="221"/>
                </a:lnTo>
                <a:lnTo>
                  <a:pt x="68" y="220"/>
                </a:lnTo>
                <a:lnTo>
                  <a:pt x="66" y="220"/>
                </a:lnTo>
                <a:lnTo>
                  <a:pt x="65" y="219"/>
                </a:lnTo>
                <a:lnTo>
                  <a:pt x="66" y="219"/>
                </a:lnTo>
                <a:lnTo>
                  <a:pt x="65" y="217"/>
                </a:lnTo>
                <a:lnTo>
                  <a:pt x="65" y="216"/>
                </a:lnTo>
                <a:lnTo>
                  <a:pt x="66" y="215"/>
                </a:lnTo>
                <a:lnTo>
                  <a:pt x="65" y="214"/>
                </a:lnTo>
                <a:lnTo>
                  <a:pt x="62" y="216"/>
                </a:lnTo>
                <a:lnTo>
                  <a:pt x="62" y="217"/>
                </a:lnTo>
                <a:lnTo>
                  <a:pt x="61" y="219"/>
                </a:lnTo>
                <a:lnTo>
                  <a:pt x="60" y="219"/>
                </a:lnTo>
                <a:lnTo>
                  <a:pt x="58" y="221"/>
                </a:lnTo>
                <a:lnTo>
                  <a:pt x="58" y="223"/>
                </a:lnTo>
                <a:lnTo>
                  <a:pt x="55" y="223"/>
                </a:lnTo>
                <a:lnTo>
                  <a:pt x="55" y="222"/>
                </a:lnTo>
                <a:lnTo>
                  <a:pt x="54" y="222"/>
                </a:lnTo>
                <a:lnTo>
                  <a:pt x="54" y="223"/>
                </a:lnTo>
                <a:lnTo>
                  <a:pt x="48" y="223"/>
                </a:lnTo>
                <a:lnTo>
                  <a:pt x="48" y="221"/>
                </a:lnTo>
                <a:lnTo>
                  <a:pt x="47" y="220"/>
                </a:lnTo>
                <a:lnTo>
                  <a:pt x="37" y="219"/>
                </a:lnTo>
                <a:lnTo>
                  <a:pt x="35" y="216"/>
                </a:lnTo>
                <a:lnTo>
                  <a:pt x="30" y="216"/>
                </a:lnTo>
                <a:lnTo>
                  <a:pt x="28" y="217"/>
                </a:lnTo>
                <a:lnTo>
                  <a:pt x="24" y="217"/>
                </a:lnTo>
                <a:lnTo>
                  <a:pt x="24" y="215"/>
                </a:lnTo>
                <a:lnTo>
                  <a:pt x="25" y="213"/>
                </a:lnTo>
                <a:lnTo>
                  <a:pt x="24" y="212"/>
                </a:lnTo>
                <a:lnTo>
                  <a:pt x="24" y="209"/>
                </a:lnTo>
                <a:lnTo>
                  <a:pt x="23" y="208"/>
                </a:lnTo>
                <a:lnTo>
                  <a:pt x="23" y="206"/>
                </a:lnTo>
                <a:lnTo>
                  <a:pt x="24" y="203"/>
                </a:lnTo>
                <a:lnTo>
                  <a:pt x="24" y="202"/>
                </a:lnTo>
                <a:lnTo>
                  <a:pt x="25" y="200"/>
                </a:lnTo>
                <a:lnTo>
                  <a:pt x="24" y="200"/>
                </a:lnTo>
                <a:lnTo>
                  <a:pt x="25" y="198"/>
                </a:lnTo>
                <a:lnTo>
                  <a:pt x="25" y="197"/>
                </a:lnTo>
                <a:lnTo>
                  <a:pt x="24" y="195"/>
                </a:lnTo>
                <a:lnTo>
                  <a:pt x="24" y="183"/>
                </a:lnTo>
                <a:lnTo>
                  <a:pt x="23" y="180"/>
                </a:lnTo>
                <a:lnTo>
                  <a:pt x="23" y="177"/>
                </a:lnTo>
                <a:lnTo>
                  <a:pt x="22" y="176"/>
                </a:lnTo>
                <a:lnTo>
                  <a:pt x="17" y="176"/>
                </a:lnTo>
                <a:lnTo>
                  <a:pt x="15" y="174"/>
                </a:lnTo>
                <a:lnTo>
                  <a:pt x="14" y="173"/>
                </a:lnTo>
                <a:lnTo>
                  <a:pt x="10" y="167"/>
                </a:lnTo>
                <a:lnTo>
                  <a:pt x="10" y="166"/>
                </a:lnTo>
                <a:lnTo>
                  <a:pt x="8" y="166"/>
                </a:lnTo>
                <a:lnTo>
                  <a:pt x="8" y="167"/>
                </a:lnTo>
                <a:lnTo>
                  <a:pt x="6" y="169"/>
                </a:lnTo>
                <a:lnTo>
                  <a:pt x="8" y="170"/>
                </a:lnTo>
                <a:lnTo>
                  <a:pt x="6" y="171"/>
                </a:lnTo>
                <a:lnTo>
                  <a:pt x="8" y="171"/>
                </a:lnTo>
                <a:lnTo>
                  <a:pt x="10" y="173"/>
                </a:lnTo>
                <a:lnTo>
                  <a:pt x="10" y="174"/>
                </a:lnTo>
                <a:lnTo>
                  <a:pt x="5" y="171"/>
                </a:lnTo>
                <a:lnTo>
                  <a:pt x="4" y="170"/>
                </a:lnTo>
                <a:lnTo>
                  <a:pt x="2" y="170"/>
                </a:lnTo>
                <a:lnTo>
                  <a:pt x="0" y="169"/>
                </a:lnTo>
                <a:lnTo>
                  <a:pt x="0" y="167"/>
                </a:lnTo>
                <a:lnTo>
                  <a:pt x="3" y="161"/>
                </a:lnTo>
                <a:lnTo>
                  <a:pt x="4" y="158"/>
                </a:lnTo>
                <a:lnTo>
                  <a:pt x="4" y="152"/>
                </a:lnTo>
                <a:lnTo>
                  <a:pt x="2" y="137"/>
                </a:lnTo>
                <a:lnTo>
                  <a:pt x="2" y="135"/>
                </a:lnTo>
                <a:lnTo>
                  <a:pt x="3" y="136"/>
                </a:lnTo>
                <a:lnTo>
                  <a:pt x="4" y="142"/>
                </a:lnTo>
                <a:lnTo>
                  <a:pt x="4" y="145"/>
                </a:lnTo>
                <a:lnTo>
                  <a:pt x="5" y="145"/>
                </a:lnTo>
                <a:lnTo>
                  <a:pt x="5" y="146"/>
                </a:lnTo>
                <a:lnTo>
                  <a:pt x="4" y="147"/>
                </a:lnTo>
                <a:lnTo>
                  <a:pt x="4" y="148"/>
                </a:lnTo>
                <a:lnTo>
                  <a:pt x="5" y="149"/>
                </a:lnTo>
                <a:lnTo>
                  <a:pt x="9" y="146"/>
                </a:lnTo>
                <a:lnTo>
                  <a:pt x="10" y="146"/>
                </a:lnTo>
                <a:lnTo>
                  <a:pt x="12" y="143"/>
                </a:lnTo>
                <a:lnTo>
                  <a:pt x="14" y="141"/>
                </a:lnTo>
                <a:lnTo>
                  <a:pt x="12" y="140"/>
                </a:lnTo>
                <a:lnTo>
                  <a:pt x="12" y="139"/>
                </a:lnTo>
                <a:lnTo>
                  <a:pt x="10" y="136"/>
                </a:lnTo>
                <a:lnTo>
                  <a:pt x="10" y="130"/>
                </a:lnTo>
                <a:lnTo>
                  <a:pt x="9" y="129"/>
                </a:lnTo>
                <a:lnTo>
                  <a:pt x="4" y="127"/>
                </a:lnTo>
                <a:lnTo>
                  <a:pt x="3" y="127"/>
                </a:lnTo>
                <a:lnTo>
                  <a:pt x="3" y="131"/>
                </a:lnTo>
                <a:lnTo>
                  <a:pt x="2" y="134"/>
                </a:lnTo>
                <a:lnTo>
                  <a:pt x="0" y="133"/>
                </a:lnTo>
                <a:lnTo>
                  <a:pt x="0" y="126"/>
                </a:lnTo>
                <a:lnTo>
                  <a:pt x="2" y="121"/>
                </a:lnTo>
                <a:lnTo>
                  <a:pt x="2" y="90"/>
                </a:lnTo>
                <a:lnTo>
                  <a:pt x="4" y="84"/>
                </a:lnTo>
                <a:lnTo>
                  <a:pt x="5" y="81"/>
                </a:lnTo>
                <a:lnTo>
                  <a:pt x="6" y="81"/>
                </a:lnTo>
                <a:lnTo>
                  <a:pt x="6" y="83"/>
                </a:lnTo>
                <a:lnTo>
                  <a:pt x="5" y="85"/>
                </a:lnTo>
                <a:lnTo>
                  <a:pt x="5" y="86"/>
                </a:lnTo>
                <a:lnTo>
                  <a:pt x="6" y="86"/>
                </a:lnTo>
                <a:lnTo>
                  <a:pt x="6" y="88"/>
                </a:lnTo>
                <a:lnTo>
                  <a:pt x="9" y="88"/>
                </a:lnTo>
                <a:lnTo>
                  <a:pt x="9" y="92"/>
                </a:lnTo>
                <a:lnTo>
                  <a:pt x="10" y="92"/>
                </a:lnTo>
                <a:lnTo>
                  <a:pt x="10" y="91"/>
                </a:lnTo>
                <a:lnTo>
                  <a:pt x="15" y="91"/>
                </a:lnTo>
                <a:lnTo>
                  <a:pt x="16" y="92"/>
                </a:lnTo>
                <a:lnTo>
                  <a:pt x="18" y="93"/>
                </a:lnTo>
                <a:lnTo>
                  <a:pt x="20" y="92"/>
                </a:lnTo>
                <a:lnTo>
                  <a:pt x="20" y="91"/>
                </a:lnTo>
                <a:lnTo>
                  <a:pt x="21" y="91"/>
                </a:lnTo>
                <a:lnTo>
                  <a:pt x="22" y="94"/>
                </a:lnTo>
                <a:lnTo>
                  <a:pt x="22" y="97"/>
                </a:lnTo>
                <a:lnTo>
                  <a:pt x="23" y="97"/>
                </a:lnTo>
                <a:lnTo>
                  <a:pt x="23" y="98"/>
                </a:lnTo>
                <a:lnTo>
                  <a:pt x="24" y="99"/>
                </a:lnTo>
                <a:lnTo>
                  <a:pt x="27" y="98"/>
                </a:lnTo>
                <a:lnTo>
                  <a:pt x="28" y="98"/>
                </a:lnTo>
                <a:lnTo>
                  <a:pt x="28" y="92"/>
                </a:lnTo>
                <a:lnTo>
                  <a:pt x="29" y="92"/>
                </a:lnTo>
                <a:lnTo>
                  <a:pt x="27" y="90"/>
                </a:lnTo>
                <a:lnTo>
                  <a:pt x="27" y="88"/>
                </a:lnTo>
                <a:lnTo>
                  <a:pt x="25" y="88"/>
                </a:lnTo>
                <a:lnTo>
                  <a:pt x="25" y="86"/>
                </a:lnTo>
                <a:lnTo>
                  <a:pt x="28" y="86"/>
                </a:lnTo>
                <a:lnTo>
                  <a:pt x="30" y="81"/>
                </a:lnTo>
                <a:lnTo>
                  <a:pt x="35" y="81"/>
                </a:lnTo>
                <a:lnTo>
                  <a:pt x="35" y="80"/>
                </a:lnTo>
                <a:lnTo>
                  <a:pt x="31" y="80"/>
                </a:lnTo>
                <a:lnTo>
                  <a:pt x="33" y="79"/>
                </a:lnTo>
                <a:lnTo>
                  <a:pt x="33" y="78"/>
                </a:lnTo>
                <a:lnTo>
                  <a:pt x="35" y="75"/>
                </a:lnTo>
                <a:lnTo>
                  <a:pt x="36" y="73"/>
                </a:lnTo>
                <a:lnTo>
                  <a:pt x="39" y="73"/>
                </a:lnTo>
                <a:lnTo>
                  <a:pt x="39" y="74"/>
                </a:lnTo>
                <a:lnTo>
                  <a:pt x="40" y="74"/>
                </a:lnTo>
                <a:lnTo>
                  <a:pt x="40" y="73"/>
                </a:lnTo>
                <a:lnTo>
                  <a:pt x="42" y="73"/>
                </a:lnTo>
                <a:lnTo>
                  <a:pt x="43" y="74"/>
                </a:lnTo>
                <a:lnTo>
                  <a:pt x="43" y="77"/>
                </a:lnTo>
                <a:lnTo>
                  <a:pt x="46" y="79"/>
                </a:lnTo>
                <a:lnTo>
                  <a:pt x="46" y="81"/>
                </a:lnTo>
                <a:lnTo>
                  <a:pt x="45" y="81"/>
                </a:lnTo>
                <a:lnTo>
                  <a:pt x="42" y="84"/>
                </a:lnTo>
                <a:lnTo>
                  <a:pt x="43" y="85"/>
                </a:lnTo>
                <a:lnTo>
                  <a:pt x="42" y="85"/>
                </a:lnTo>
                <a:lnTo>
                  <a:pt x="41" y="86"/>
                </a:lnTo>
                <a:lnTo>
                  <a:pt x="41" y="92"/>
                </a:lnTo>
                <a:lnTo>
                  <a:pt x="42" y="92"/>
                </a:lnTo>
                <a:lnTo>
                  <a:pt x="42" y="91"/>
                </a:lnTo>
                <a:lnTo>
                  <a:pt x="43" y="88"/>
                </a:lnTo>
                <a:lnTo>
                  <a:pt x="46" y="88"/>
                </a:lnTo>
                <a:lnTo>
                  <a:pt x="45" y="87"/>
                </a:lnTo>
                <a:lnTo>
                  <a:pt x="45" y="86"/>
                </a:lnTo>
                <a:lnTo>
                  <a:pt x="48" y="86"/>
                </a:lnTo>
                <a:lnTo>
                  <a:pt x="49" y="87"/>
                </a:lnTo>
                <a:lnTo>
                  <a:pt x="49" y="86"/>
                </a:lnTo>
                <a:lnTo>
                  <a:pt x="51" y="86"/>
                </a:lnTo>
                <a:lnTo>
                  <a:pt x="51" y="88"/>
                </a:lnTo>
                <a:lnTo>
                  <a:pt x="49" y="90"/>
                </a:lnTo>
                <a:lnTo>
                  <a:pt x="49" y="92"/>
                </a:lnTo>
                <a:lnTo>
                  <a:pt x="51" y="92"/>
                </a:lnTo>
                <a:lnTo>
                  <a:pt x="51" y="93"/>
                </a:lnTo>
                <a:lnTo>
                  <a:pt x="52" y="93"/>
                </a:lnTo>
                <a:lnTo>
                  <a:pt x="52" y="94"/>
                </a:lnTo>
                <a:lnTo>
                  <a:pt x="53" y="94"/>
                </a:lnTo>
                <a:lnTo>
                  <a:pt x="53" y="93"/>
                </a:lnTo>
                <a:lnTo>
                  <a:pt x="54" y="93"/>
                </a:lnTo>
                <a:lnTo>
                  <a:pt x="54" y="92"/>
                </a:lnTo>
                <a:lnTo>
                  <a:pt x="53" y="91"/>
                </a:lnTo>
                <a:lnTo>
                  <a:pt x="52" y="92"/>
                </a:lnTo>
                <a:lnTo>
                  <a:pt x="51" y="92"/>
                </a:lnTo>
                <a:lnTo>
                  <a:pt x="52" y="91"/>
                </a:lnTo>
                <a:lnTo>
                  <a:pt x="52" y="86"/>
                </a:lnTo>
                <a:lnTo>
                  <a:pt x="53" y="84"/>
                </a:lnTo>
                <a:lnTo>
                  <a:pt x="52" y="81"/>
                </a:lnTo>
                <a:lnTo>
                  <a:pt x="51" y="81"/>
                </a:lnTo>
                <a:lnTo>
                  <a:pt x="48" y="83"/>
                </a:lnTo>
                <a:lnTo>
                  <a:pt x="47" y="84"/>
                </a:lnTo>
                <a:lnTo>
                  <a:pt x="46" y="84"/>
                </a:lnTo>
                <a:lnTo>
                  <a:pt x="46" y="81"/>
                </a:lnTo>
                <a:lnTo>
                  <a:pt x="48" y="80"/>
                </a:lnTo>
                <a:lnTo>
                  <a:pt x="48" y="79"/>
                </a:lnTo>
                <a:lnTo>
                  <a:pt x="49" y="78"/>
                </a:lnTo>
                <a:lnTo>
                  <a:pt x="48" y="77"/>
                </a:lnTo>
                <a:lnTo>
                  <a:pt x="47" y="77"/>
                </a:lnTo>
                <a:lnTo>
                  <a:pt x="47" y="75"/>
                </a:lnTo>
                <a:lnTo>
                  <a:pt x="46" y="74"/>
                </a:lnTo>
                <a:lnTo>
                  <a:pt x="46" y="72"/>
                </a:lnTo>
                <a:lnTo>
                  <a:pt x="48" y="69"/>
                </a:lnTo>
                <a:lnTo>
                  <a:pt x="47" y="68"/>
                </a:lnTo>
                <a:lnTo>
                  <a:pt x="47" y="67"/>
                </a:lnTo>
                <a:lnTo>
                  <a:pt x="46" y="67"/>
                </a:lnTo>
                <a:lnTo>
                  <a:pt x="46" y="65"/>
                </a:lnTo>
                <a:lnTo>
                  <a:pt x="49" y="61"/>
                </a:lnTo>
                <a:lnTo>
                  <a:pt x="49" y="60"/>
                </a:lnTo>
                <a:lnTo>
                  <a:pt x="51" y="60"/>
                </a:lnTo>
                <a:lnTo>
                  <a:pt x="51" y="59"/>
                </a:lnTo>
                <a:lnTo>
                  <a:pt x="58" y="56"/>
                </a:lnTo>
                <a:lnTo>
                  <a:pt x="59" y="56"/>
                </a:lnTo>
                <a:lnTo>
                  <a:pt x="64" y="59"/>
                </a:lnTo>
                <a:lnTo>
                  <a:pt x="62" y="60"/>
                </a:lnTo>
                <a:lnTo>
                  <a:pt x="64" y="61"/>
                </a:lnTo>
                <a:lnTo>
                  <a:pt x="65" y="61"/>
                </a:lnTo>
                <a:lnTo>
                  <a:pt x="65" y="60"/>
                </a:lnTo>
                <a:lnTo>
                  <a:pt x="66" y="57"/>
                </a:lnTo>
                <a:lnTo>
                  <a:pt x="67" y="56"/>
                </a:lnTo>
                <a:lnTo>
                  <a:pt x="67" y="55"/>
                </a:lnTo>
                <a:lnTo>
                  <a:pt x="70" y="55"/>
                </a:lnTo>
                <a:lnTo>
                  <a:pt x="71" y="54"/>
                </a:lnTo>
                <a:lnTo>
                  <a:pt x="77" y="54"/>
                </a:lnTo>
                <a:lnTo>
                  <a:pt x="74" y="51"/>
                </a:lnTo>
                <a:lnTo>
                  <a:pt x="73" y="51"/>
                </a:lnTo>
                <a:lnTo>
                  <a:pt x="73" y="50"/>
                </a:lnTo>
                <a:lnTo>
                  <a:pt x="72" y="50"/>
                </a:lnTo>
                <a:lnTo>
                  <a:pt x="71" y="53"/>
                </a:lnTo>
                <a:lnTo>
                  <a:pt x="70" y="53"/>
                </a:lnTo>
                <a:lnTo>
                  <a:pt x="68" y="54"/>
                </a:lnTo>
                <a:lnTo>
                  <a:pt x="68" y="53"/>
                </a:lnTo>
                <a:lnTo>
                  <a:pt x="66" y="53"/>
                </a:lnTo>
                <a:lnTo>
                  <a:pt x="64" y="55"/>
                </a:lnTo>
                <a:lnTo>
                  <a:pt x="60" y="55"/>
                </a:lnTo>
                <a:lnTo>
                  <a:pt x="49" y="59"/>
                </a:lnTo>
                <a:lnTo>
                  <a:pt x="48" y="57"/>
                </a:lnTo>
                <a:lnTo>
                  <a:pt x="43" y="54"/>
                </a:lnTo>
                <a:lnTo>
                  <a:pt x="43" y="55"/>
                </a:lnTo>
                <a:lnTo>
                  <a:pt x="42" y="56"/>
                </a:lnTo>
                <a:lnTo>
                  <a:pt x="41" y="56"/>
                </a:lnTo>
                <a:lnTo>
                  <a:pt x="41" y="57"/>
                </a:lnTo>
                <a:lnTo>
                  <a:pt x="40" y="57"/>
                </a:lnTo>
                <a:lnTo>
                  <a:pt x="40" y="56"/>
                </a:lnTo>
                <a:lnTo>
                  <a:pt x="37" y="56"/>
                </a:lnTo>
                <a:lnTo>
                  <a:pt x="37" y="57"/>
                </a:lnTo>
                <a:lnTo>
                  <a:pt x="36" y="57"/>
                </a:lnTo>
                <a:lnTo>
                  <a:pt x="35" y="59"/>
                </a:lnTo>
                <a:lnTo>
                  <a:pt x="35" y="60"/>
                </a:lnTo>
                <a:lnTo>
                  <a:pt x="34" y="59"/>
                </a:lnTo>
                <a:lnTo>
                  <a:pt x="34" y="57"/>
                </a:lnTo>
                <a:lnTo>
                  <a:pt x="33" y="59"/>
                </a:lnTo>
                <a:lnTo>
                  <a:pt x="31" y="59"/>
                </a:lnTo>
                <a:lnTo>
                  <a:pt x="33" y="60"/>
                </a:lnTo>
                <a:lnTo>
                  <a:pt x="30" y="61"/>
                </a:lnTo>
                <a:lnTo>
                  <a:pt x="29" y="62"/>
                </a:lnTo>
                <a:lnTo>
                  <a:pt x="27" y="61"/>
                </a:lnTo>
                <a:lnTo>
                  <a:pt x="25" y="62"/>
                </a:lnTo>
                <a:lnTo>
                  <a:pt x="24" y="62"/>
                </a:lnTo>
                <a:lnTo>
                  <a:pt x="24" y="65"/>
                </a:lnTo>
                <a:lnTo>
                  <a:pt x="23" y="66"/>
                </a:lnTo>
                <a:lnTo>
                  <a:pt x="23" y="67"/>
                </a:lnTo>
                <a:lnTo>
                  <a:pt x="22" y="68"/>
                </a:lnTo>
                <a:lnTo>
                  <a:pt x="22" y="71"/>
                </a:lnTo>
                <a:lnTo>
                  <a:pt x="21" y="73"/>
                </a:lnTo>
                <a:lnTo>
                  <a:pt x="18" y="73"/>
                </a:lnTo>
                <a:lnTo>
                  <a:pt x="18" y="74"/>
                </a:lnTo>
                <a:lnTo>
                  <a:pt x="17" y="74"/>
                </a:lnTo>
                <a:lnTo>
                  <a:pt x="17" y="80"/>
                </a:lnTo>
                <a:lnTo>
                  <a:pt x="18" y="80"/>
                </a:lnTo>
                <a:lnTo>
                  <a:pt x="20" y="81"/>
                </a:lnTo>
                <a:lnTo>
                  <a:pt x="18" y="81"/>
                </a:lnTo>
                <a:lnTo>
                  <a:pt x="18" y="83"/>
                </a:lnTo>
                <a:lnTo>
                  <a:pt x="17" y="83"/>
                </a:lnTo>
                <a:lnTo>
                  <a:pt x="16" y="81"/>
                </a:lnTo>
                <a:lnTo>
                  <a:pt x="15" y="81"/>
                </a:lnTo>
                <a:lnTo>
                  <a:pt x="15" y="83"/>
                </a:lnTo>
                <a:lnTo>
                  <a:pt x="16" y="83"/>
                </a:lnTo>
                <a:lnTo>
                  <a:pt x="17" y="84"/>
                </a:lnTo>
                <a:lnTo>
                  <a:pt x="21" y="83"/>
                </a:lnTo>
                <a:lnTo>
                  <a:pt x="22" y="83"/>
                </a:lnTo>
                <a:lnTo>
                  <a:pt x="21" y="85"/>
                </a:lnTo>
                <a:lnTo>
                  <a:pt x="22" y="86"/>
                </a:lnTo>
                <a:lnTo>
                  <a:pt x="22" y="88"/>
                </a:lnTo>
                <a:lnTo>
                  <a:pt x="20" y="88"/>
                </a:lnTo>
                <a:lnTo>
                  <a:pt x="20" y="90"/>
                </a:lnTo>
                <a:lnTo>
                  <a:pt x="17" y="87"/>
                </a:lnTo>
                <a:lnTo>
                  <a:pt x="17" y="86"/>
                </a:lnTo>
                <a:lnTo>
                  <a:pt x="15" y="84"/>
                </a:lnTo>
                <a:lnTo>
                  <a:pt x="14" y="84"/>
                </a:lnTo>
                <a:lnTo>
                  <a:pt x="12" y="83"/>
                </a:lnTo>
                <a:lnTo>
                  <a:pt x="11" y="83"/>
                </a:lnTo>
                <a:lnTo>
                  <a:pt x="10" y="81"/>
                </a:lnTo>
                <a:lnTo>
                  <a:pt x="10" y="77"/>
                </a:lnTo>
                <a:lnTo>
                  <a:pt x="9" y="77"/>
                </a:lnTo>
                <a:lnTo>
                  <a:pt x="8" y="75"/>
                </a:lnTo>
                <a:lnTo>
                  <a:pt x="6" y="75"/>
                </a:lnTo>
                <a:lnTo>
                  <a:pt x="6" y="73"/>
                </a:lnTo>
                <a:lnTo>
                  <a:pt x="8" y="71"/>
                </a:lnTo>
                <a:lnTo>
                  <a:pt x="16" y="57"/>
                </a:lnTo>
                <a:lnTo>
                  <a:pt x="17" y="56"/>
                </a:lnTo>
                <a:lnTo>
                  <a:pt x="21" y="50"/>
                </a:lnTo>
                <a:lnTo>
                  <a:pt x="23" y="49"/>
                </a:lnTo>
                <a:lnTo>
                  <a:pt x="24" y="49"/>
                </a:lnTo>
                <a:lnTo>
                  <a:pt x="28" y="50"/>
                </a:lnTo>
                <a:lnTo>
                  <a:pt x="29" y="50"/>
                </a:lnTo>
                <a:lnTo>
                  <a:pt x="34" y="49"/>
                </a:lnTo>
                <a:lnTo>
                  <a:pt x="35" y="48"/>
                </a:lnTo>
                <a:lnTo>
                  <a:pt x="37" y="47"/>
                </a:lnTo>
                <a:lnTo>
                  <a:pt x="37" y="45"/>
                </a:lnTo>
                <a:lnTo>
                  <a:pt x="48" y="48"/>
                </a:lnTo>
                <a:lnTo>
                  <a:pt x="52" y="47"/>
                </a:lnTo>
                <a:lnTo>
                  <a:pt x="56" y="45"/>
                </a:lnTo>
                <a:lnTo>
                  <a:pt x="60" y="43"/>
                </a:lnTo>
                <a:lnTo>
                  <a:pt x="62" y="40"/>
                </a:lnTo>
                <a:lnTo>
                  <a:pt x="72" y="23"/>
                </a:lnTo>
                <a:lnTo>
                  <a:pt x="73" y="20"/>
                </a:lnTo>
                <a:lnTo>
                  <a:pt x="77" y="17"/>
                </a:lnTo>
                <a:lnTo>
                  <a:pt x="78" y="14"/>
                </a:lnTo>
                <a:lnTo>
                  <a:pt x="78" y="13"/>
                </a:lnTo>
                <a:lnTo>
                  <a:pt x="79" y="12"/>
                </a:lnTo>
                <a:lnTo>
                  <a:pt x="85" y="12"/>
                </a:lnTo>
                <a:lnTo>
                  <a:pt x="92" y="10"/>
                </a:lnTo>
                <a:lnTo>
                  <a:pt x="96" y="7"/>
                </a:lnTo>
                <a:lnTo>
                  <a:pt x="101" y="2"/>
                </a:lnTo>
                <a:lnTo>
                  <a:pt x="104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" name="Freeform 48">
            <a:extLst>
              <a:ext uri="{FF2B5EF4-FFF2-40B4-BE49-F238E27FC236}">
                <a16:creationId xmlns:a16="http://schemas.microsoft.com/office/drawing/2014/main" id="{E2065C67-0C66-4830-BF37-FD7509E8006F}"/>
              </a:ext>
            </a:extLst>
          </p:cNvPr>
          <p:cNvSpPr>
            <a:spLocks/>
          </p:cNvSpPr>
          <p:nvPr/>
        </p:nvSpPr>
        <p:spPr bwMode="auto">
          <a:xfrm>
            <a:off x="1969206" y="4616176"/>
            <a:ext cx="412948" cy="236178"/>
          </a:xfrm>
          <a:custGeom>
            <a:avLst/>
            <a:gdLst/>
            <a:ahLst/>
            <a:cxnLst>
              <a:cxn ang="0">
                <a:pos x="108" y="8"/>
              </a:cxn>
              <a:cxn ang="0">
                <a:pos x="115" y="16"/>
              </a:cxn>
              <a:cxn ang="0">
                <a:pos x="123" y="2"/>
              </a:cxn>
              <a:cxn ang="0">
                <a:pos x="130" y="4"/>
              </a:cxn>
              <a:cxn ang="0">
                <a:pos x="136" y="14"/>
              </a:cxn>
              <a:cxn ang="0">
                <a:pos x="152" y="20"/>
              </a:cxn>
              <a:cxn ang="0">
                <a:pos x="164" y="24"/>
              </a:cxn>
              <a:cxn ang="0">
                <a:pos x="170" y="27"/>
              </a:cxn>
              <a:cxn ang="0">
                <a:pos x="184" y="31"/>
              </a:cxn>
              <a:cxn ang="0">
                <a:pos x="176" y="39"/>
              </a:cxn>
              <a:cxn ang="0">
                <a:pos x="182" y="48"/>
              </a:cxn>
              <a:cxn ang="0">
                <a:pos x="192" y="63"/>
              </a:cxn>
              <a:cxn ang="0">
                <a:pos x="207" y="54"/>
              </a:cxn>
              <a:cxn ang="0">
                <a:pos x="205" y="49"/>
              </a:cxn>
              <a:cxn ang="0">
                <a:pos x="208" y="42"/>
              </a:cxn>
              <a:cxn ang="0">
                <a:pos x="222" y="48"/>
              </a:cxn>
              <a:cxn ang="0">
                <a:pos x="235" y="52"/>
              </a:cxn>
              <a:cxn ang="0">
                <a:pos x="239" y="57"/>
              </a:cxn>
              <a:cxn ang="0">
                <a:pos x="240" y="65"/>
              </a:cxn>
              <a:cxn ang="0">
                <a:pos x="251" y="67"/>
              </a:cxn>
              <a:cxn ang="0">
                <a:pos x="260" y="72"/>
              </a:cxn>
              <a:cxn ang="0">
                <a:pos x="266" y="73"/>
              </a:cxn>
              <a:cxn ang="0">
                <a:pos x="276" y="79"/>
              </a:cxn>
              <a:cxn ang="0">
                <a:pos x="281" y="90"/>
              </a:cxn>
              <a:cxn ang="0">
                <a:pos x="285" y="101"/>
              </a:cxn>
              <a:cxn ang="0">
                <a:pos x="272" y="103"/>
              </a:cxn>
              <a:cxn ang="0">
                <a:pos x="256" y="121"/>
              </a:cxn>
              <a:cxn ang="0">
                <a:pos x="245" y="139"/>
              </a:cxn>
              <a:cxn ang="0">
                <a:pos x="226" y="145"/>
              </a:cxn>
              <a:cxn ang="0">
                <a:pos x="210" y="149"/>
              </a:cxn>
              <a:cxn ang="0">
                <a:pos x="201" y="152"/>
              </a:cxn>
              <a:cxn ang="0">
                <a:pos x="189" y="146"/>
              </a:cxn>
              <a:cxn ang="0">
                <a:pos x="167" y="150"/>
              </a:cxn>
              <a:cxn ang="0">
                <a:pos x="155" y="144"/>
              </a:cxn>
              <a:cxn ang="0">
                <a:pos x="139" y="135"/>
              </a:cxn>
              <a:cxn ang="0">
                <a:pos x="127" y="134"/>
              </a:cxn>
              <a:cxn ang="0">
                <a:pos x="122" y="149"/>
              </a:cxn>
              <a:cxn ang="0">
                <a:pos x="110" y="162"/>
              </a:cxn>
              <a:cxn ang="0">
                <a:pos x="99" y="160"/>
              </a:cxn>
              <a:cxn ang="0">
                <a:pos x="83" y="159"/>
              </a:cxn>
              <a:cxn ang="0">
                <a:pos x="80" y="153"/>
              </a:cxn>
              <a:cxn ang="0">
                <a:pos x="70" y="143"/>
              </a:cxn>
              <a:cxn ang="0">
                <a:pos x="62" y="137"/>
              </a:cxn>
              <a:cxn ang="0">
                <a:pos x="47" y="127"/>
              </a:cxn>
              <a:cxn ang="0">
                <a:pos x="37" y="114"/>
              </a:cxn>
              <a:cxn ang="0">
                <a:pos x="24" y="107"/>
              </a:cxn>
              <a:cxn ang="0">
                <a:pos x="20" y="95"/>
              </a:cxn>
              <a:cxn ang="0">
                <a:pos x="14" y="85"/>
              </a:cxn>
              <a:cxn ang="0">
                <a:pos x="17" y="73"/>
              </a:cxn>
              <a:cxn ang="0">
                <a:pos x="5" y="58"/>
              </a:cxn>
              <a:cxn ang="0">
                <a:pos x="0" y="48"/>
              </a:cxn>
              <a:cxn ang="0">
                <a:pos x="8" y="54"/>
              </a:cxn>
              <a:cxn ang="0">
                <a:pos x="12" y="52"/>
              </a:cxn>
              <a:cxn ang="0">
                <a:pos x="27" y="43"/>
              </a:cxn>
              <a:cxn ang="0">
                <a:pos x="40" y="41"/>
              </a:cxn>
              <a:cxn ang="0">
                <a:pos x="52" y="31"/>
              </a:cxn>
              <a:cxn ang="0">
                <a:pos x="60" y="28"/>
              </a:cxn>
              <a:cxn ang="0">
                <a:pos x="76" y="21"/>
              </a:cxn>
              <a:cxn ang="0">
                <a:pos x="91" y="11"/>
              </a:cxn>
              <a:cxn ang="0">
                <a:pos x="93" y="4"/>
              </a:cxn>
            </a:cxnLst>
            <a:rect l="0" t="0" r="r" b="b"/>
            <a:pathLst>
              <a:path w="285" h="163">
                <a:moveTo>
                  <a:pt x="93" y="0"/>
                </a:moveTo>
                <a:lnTo>
                  <a:pt x="97" y="0"/>
                </a:lnTo>
                <a:lnTo>
                  <a:pt x="97" y="2"/>
                </a:lnTo>
                <a:lnTo>
                  <a:pt x="103" y="2"/>
                </a:lnTo>
                <a:lnTo>
                  <a:pt x="103" y="3"/>
                </a:lnTo>
                <a:lnTo>
                  <a:pt x="105" y="3"/>
                </a:lnTo>
                <a:lnTo>
                  <a:pt x="105" y="9"/>
                </a:lnTo>
                <a:lnTo>
                  <a:pt x="108" y="8"/>
                </a:lnTo>
                <a:lnTo>
                  <a:pt x="108" y="9"/>
                </a:lnTo>
                <a:lnTo>
                  <a:pt x="109" y="9"/>
                </a:lnTo>
                <a:lnTo>
                  <a:pt x="108" y="10"/>
                </a:lnTo>
                <a:lnTo>
                  <a:pt x="108" y="14"/>
                </a:lnTo>
                <a:lnTo>
                  <a:pt x="109" y="14"/>
                </a:lnTo>
                <a:lnTo>
                  <a:pt x="111" y="15"/>
                </a:lnTo>
                <a:lnTo>
                  <a:pt x="113" y="16"/>
                </a:lnTo>
                <a:lnTo>
                  <a:pt x="115" y="16"/>
                </a:lnTo>
                <a:lnTo>
                  <a:pt x="115" y="14"/>
                </a:lnTo>
                <a:lnTo>
                  <a:pt x="116" y="12"/>
                </a:lnTo>
                <a:lnTo>
                  <a:pt x="123" y="12"/>
                </a:lnTo>
                <a:lnTo>
                  <a:pt x="123" y="5"/>
                </a:lnTo>
                <a:lnTo>
                  <a:pt x="122" y="4"/>
                </a:lnTo>
                <a:lnTo>
                  <a:pt x="122" y="3"/>
                </a:lnTo>
                <a:lnTo>
                  <a:pt x="123" y="3"/>
                </a:lnTo>
                <a:lnTo>
                  <a:pt x="123" y="2"/>
                </a:lnTo>
                <a:lnTo>
                  <a:pt x="124" y="2"/>
                </a:lnTo>
                <a:lnTo>
                  <a:pt x="124" y="3"/>
                </a:lnTo>
                <a:lnTo>
                  <a:pt x="127" y="3"/>
                </a:lnTo>
                <a:lnTo>
                  <a:pt x="128" y="4"/>
                </a:lnTo>
                <a:lnTo>
                  <a:pt x="129" y="4"/>
                </a:lnTo>
                <a:lnTo>
                  <a:pt x="129" y="3"/>
                </a:lnTo>
                <a:lnTo>
                  <a:pt x="130" y="2"/>
                </a:lnTo>
                <a:lnTo>
                  <a:pt x="130" y="4"/>
                </a:lnTo>
                <a:lnTo>
                  <a:pt x="133" y="4"/>
                </a:lnTo>
                <a:lnTo>
                  <a:pt x="135" y="6"/>
                </a:lnTo>
                <a:lnTo>
                  <a:pt x="135" y="8"/>
                </a:lnTo>
                <a:lnTo>
                  <a:pt x="134" y="9"/>
                </a:lnTo>
                <a:lnTo>
                  <a:pt x="135" y="10"/>
                </a:lnTo>
                <a:lnTo>
                  <a:pt x="135" y="12"/>
                </a:lnTo>
                <a:lnTo>
                  <a:pt x="136" y="12"/>
                </a:lnTo>
                <a:lnTo>
                  <a:pt x="136" y="14"/>
                </a:lnTo>
                <a:lnTo>
                  <a:pt x="139" y="14"/>
                </a:lnTo>
                <a:lnTo>
                  <a:pt x="139" y="18"/>
                </a:lnTo>
                <a:lnTo>
                  <a:pt x="140" y="18"/>
                </a:lnTo>
                <a:lnTo>
                  <a:pt x="140" y="17"/>
                </a:lnTo>
                <a:lnTo>
                  <a:pt x="141" y="16"/>
                </a:lnTo>
                <a:lnTo>
                  <a:pt x="142" y="16"/>
                </a:lnTo>
                <a:lnTo>
                  <a:pt x="151" y="20"/>
                </a:lnTo>
                <a:lnTo>
                  <a:pt x="152" y="20"/>
                </a:lnTo>
                <a:lnTo>
                  <a:pt x="152" y="21"/>
                </a:lnTo>
                <a:lnTo>
                  <a:pt x="153" y="21"/>
                </a:lnTo>
                <a:lnTo>
                  <a:pt x="157" y="20"/>
                </a:lnTo>
                <a:lnTo>
                  <a:pt x="158" y="21"/>
                </a:lnTo>
                <a:lnTo>
                  <a:pt x="159" y="24"/>
                </a:lnTo>
                <a:lnTo>
                  <a:pt x="161" y="24"/>
                </a:lnTo>
                <a:lnTo>
                  <a:pt x="164" y="23"/>
                </a:lnTo>
                <a:lnTo>
                  <a:pt x="164" y="24"/>
                </a:lnTo>
                <a:lnTo>
                  <a:pt x="165" y="24"/>
                </a:lnTo>
                <a:lnTo>
                  <a:pt x="165" y="25"/>
                </a:lnTo>
                <a:lnTo>
                  <a:pt x="166" y="27"/>
                </a:lnTo>
                <a:lnTo>
                  <a:pt x="166" y="28"/>
                </a:lnTo>
                <a:lnTo>
                  <a:pt x="165" y="28"/>
                </a:lnTo>
                <a:lnTo>
                  <a:pt x="165" y="29"/>
                </a:lnTo>
                <a:lnTo>
                  <a:pt x="167" y="29"/>
                </a:lnTo>
                <a:lnTo>
                  <a:pt x="170" y="27"/>
                </a:lnTo>
                <a:lnTo>
                  <a:pt x="171" y="27"/>
                </a:lnTo>
                <a:lnTo>
                  <a:pt x="173" y="28"/>
                </a:lnTo>
                <a:lnTo>
                  <a:pt x="175" y="28"/>
                </a:lnTo>
                <a:lnTo>
                  <a:pt x="175" y="27"/>
                </a:lnTo>
                <a:lnTo>
                  <a:pt x="176" y="25"/>
                </a:lnTo>
                <a:lnTo>
                  <a:pt x="179" y="25"/>
                </a:lnTo>
                <a:lnTo>
                  <a:pt x="184" y="30"/>
                </a:lnTo>
                <a:lnTo>
                  <a:pt x="184" y="31"/>
                </a:lnTo>
                <a:lnTo>
                  <a:pt x="183" y="33"/>
                </a:lnTo>
                <a:lnTo>
                  <a:pt x="183" y="35"/>
                </a:lnTo>
                <a:lnTo>
                  <a:pt x="182" y="35"/>
                </a:lnTo>
                <a:lnTo>
                  <a:pt x="182" y="36"/>
                </a:lnTo>
                <a:lnTo>
                  <a:pt x="178" y="36"/>
                </a:lnTo>
                <a:lnTo>
                  <a:pt x="178" y="37"/>
                </a:lnTo>
                <a:lnTo>
                  <a:pt x="177" y="39"/>
                </a:lnTo>
                <a:lnTo>
                  <a:pt x="176" y="39"/>
                </a:lnTo>
                <a:lnTo>
                  <a:pt x="176" y="40"/>
                </a:lnTo>
                <a:lnTo>
                  <a:pt x="175" y="40"/>
                </a:lnTo>
                <a:lnTo>
                  <a:pt x="175" y="42"/>
                </a:lnTo>
                <a:lnTo>
                  <a:pt x="176" y="42"/>
                </a:lnTo>
                <a:lnTo>
                  <a:pt x="177" y="45"/>
                </a:lnTo>
                <a:lnTo>
                  <a:pt x="180" y="45"/>
                </a:lnTo>
                <a:lnTo>
                  <a:pt x="180" y="47"/>
                </a:lnTo>
                <a:lnTo>
                  <a:pt x="182" y="48"/>
                </a:lnTo>
                <a:lnTo>
                  <a:pt x="184" y="49"/>
                </a:lnTo>
                <a:lnTo>
                  <a:pt x="185" y="51"/>
                </a:lnTo>
                <a:lnTo>
                  <a:pt x="186" y="53"/>
                </a:lnTo>
                <a:lnTo>
                  <a:pt x="189" y="55"/>
                </a:lnTo>
                <a:lnTo>
                  <a:pt x="189" y="57"/>
                </a:lnTo>
                <a:lnTo>
                  <a:pt x="190" y="59"/>
                </a:lnTo>
                <a:lnTo>
                  <a:pt x="190" y="60"/>
                </a:lnTo>
                <a:lnTo>
                  <a:pt x="192" y="63"/>
                </a:lnTo>
                <a:lnTo>
                  <a:pt x="196" y="63"/>
                </a:lnTo>
                <a:lnTo>
                  <a:pt x="198" y="60"/>
                </a:lnTo>
                <a:lnTo>
                  <a:pt x="198" y="59"/>
                </a:lnTo>
                <a:lnTo>
                  <a:pt x="201" y="57"/>
                </a:lnTo>
                <a:lnTo>
                  <a:pt x="203" y="57"/>
                </a:lnTo>
                <a:lnTo>
                  <a:pt x="204" y="55"/>
                </a:lnTo>
                <a:lnTo>
                  <a:pt x="207" y="55"/>
                </a:lnTo>
                <a:lnTo>
                  <a:pt x="207" y="54"/>
                </a:lnTo>
                <a:lnTo>
                  <a:pt x="208" y="54"/>
                </a:lnTo>
                <a:lnTo>
                  <a:pt x="208" y="55"/>
                </a:lnTo>
                <a:lnTo>
                  <a:pt x="209" y="55"/>
                </a:lnTo>
                <a:lnTo>
                  <a:pt x="209" y="54"/>
                </a:lnTo>
                <a:lnTo>
                  <a:pt x="208" y="53"/>
                </a:lnTo>
                <a:lnTo>
                  <a:pt x="208" y="51"/>
                </a:lnTo>
                <a:lnTo>
                  <a:pt x="207" y="49"/>
                </a:lnTo>
                <a:lnTo>
                  <a:pt x="205" y="49"/>
                </a:lnTo>
                <a:lnTo>
                  <a:pt x="205" y="48"/>
                </a:lnTo>
                <a:lnTo>
                  <a:pt x="204" y="47"/>
                </a:lnTo>
                <a:lnTo>
                  <a:pt x="204" y="45"/>
                </a:lnTo>
                <a:lnTo>
                  <a:pt x="203" y="42"/>
                </a:lnTo>
                <a:lnTo>
                  <a:pt x="202" y="41"/>
                </a:lnTo>
                <a:lnTo>
                  <a:pt x="205" y="41"/>
                </a:lnTo>
                <a:lnTo>
                  <a:pt x="207" y="42"/>
                </a:lnTo>
                <a:lnTo>
                  <a:pt x="208" y="42"/>
                </a:lnTo>
                <a:lnTo>
                  <a:pt x="211" y="43"/>
                </a:lnTo>
                <a:lnTo>
                  <a:pt x="213" y="43"/>
                </a:lnTo>
                <a:lnTo>
                  <a:pt x="213" y="45"/>
                </a:lnTo>
                <a:lnTo>
                  <a:pt x="216" y="45"/>
                </a:lnTo>
                <a:lnTo>
                  <a:pt x="216" y="47"/>
                </a:lnTo>
                <a:lnTo>
                  <a:pt x="217" y="47"/>
                </a:lnTo>
                <a:lnTo>
                  <a:pt x="219" y="48"/>
                </a:lnTo>
                <a:lnTo>
                  <a:pt x="222" y="48"/>
                </a:lnTo>
                <a:lnTo>
                  <a:pt x="222" y="52"/>
                </a:lnTo>
                <a:lnTo>
                  <a:pt x="223" y="53"/>
                </a:lnTo>
                <a:lnTo>
                  <a:pt x="223" y="52"/>
                </a:lnTo>
                <a:lnTo>
                  <a:pt x="226" y="52"/>
                </a:lnTo>
                <a:lnTo>
                  <a:pt x="226" y="53"/>
                </a:lnTo>
                <a:lnTo>
                  <a:pt x="227" y="53"/>
                </a:lnTo>
                <a:lnTo>
                  <a:pt x="228" y="52"/>
                </a:lnTo>
                <a:lnTo>
                  <a:pt x="235" y="52"/>
                </a:lnTo>
                <a:lnTo>
                  <a:pt x="236" y="49"/>
                </a:lnTo>
                <a:lnTo>
                  <a:pt x="236" y="48"/>
                </a:lnTo>
                <a:lnTo>
                  <a:pt x="238" y="48"/>
                </a:lnTo>
                <a:lnTo>
                  <a:pt x="239" y="49"/>
                </a:lnTo>
                <a:lnTo>
                  <a:pt x="239" y="54"/>
                </a:lnTo>
                <a:lnTo>
                  <a:pt x="240" y="55"/>
                </a:lnTo>
                <a:lnTo>
                  <a:pt x="239" y="55"/>
                </a:lnTo>
                <a:lnTo>
                  <a:pt x="239" y="57"/>
                </a:lnTo>
                <a:lnTo>
                  <a:pt x="236" y="58"/>
                </a:lnTo>
                <a:lnTo>
                  <a:pt x="234" y="58"/>
                </a:lnTo>
                <a:lnTo>
                  <a:pt x="233" y="59"/>
                </a:lnTo>
                <a:lnTo>
                  <a:pt x="233" y="60"/>
                </a:lnTo>
                <a:lnTo>
                  <a:pt x="235" y="63"/>
                </a:lnTo>
                <a:lnTo>
                  <a:pt x="239" y="63"/>
                </a:lnTo>
                <a:lnTo>
                  <a:pt x="239" y="65"/>
                </a:lnTo>
                <a:lnTo>
                  <a:pt x="240" y="65"/>
                </a:lnTo>
                <a:lnTo>
                  <a:pt x="240" y="67"/>
                </a:lnTo>
                <a:lnTo>
                  <a:pt x="244" y="71"/>
                </a:lnTo>
                <a:lnTo>
                  <a:pt x="247" y="71"/>
                </a:lnTo>
                <a:lnTo>
                  <a:pt x="248" y="70"/>
                </a:lnTo>
                <a:lnTo>
                  <a:pt x="251" y="70"/>
                </a:lnTo>
                <a:lnTo>
                  <a:pt x="252" y="68"/>
                </a:lnTo>
                <a:lnTo>
                  <a:pt x="252" y="67"/>
                </a:lnTo>
                <a:lnTo>
                  <a:pt x="251" y="67"/>
                </a:lnTo>
                <a:lnTo>
                  <a:pt x="251" y="66"/>
                </a:lnTo>
                <a:lnTo>
                  <a:pt x="252" y="66"/>
                </a:lnTo>
                <a:lnTo>
                  <a:pt x="254" y="68"/>
                </a:lnTo>
                <a:lnTo>
                  <a:pt x="254" y="70"/>
                </a:lnTo>
                <a:lnTo>
                  <a:pt x="257" y="71"/>
                </a:lnTo>
                <a:lnTo>
                  <a:pt x="258" y="71"/>
                </a:lnTo>
                <a:lnTo>
                  <a:pt x="259" y="72"/>
                </a:lnTo>
                <a:lnTo>
                  <a:pt x="260" y="72"/>
                </a:lnTo>
                <a:lnTo>
                  <a:pt x="262" y="73"/>
                </a:lnTo>
                <a:lnTo>
                  <a:pt x="262" y="74"/>
                </a:lnTo>
                <a:lnTo>
                  <a:pt x="263" y="76"/>
                </a:lnTo>
                <a:lnTo>
                  <a:pt x="264" y="76"/>
                </a:lnTo>
                <a:lnTo>
                  <a:pt x="265" y="74"/>
                </a:lnTo>
                <a:lnTo>
                  <a:pt x="264" y="74"/>
                </a:lnTo>
                <a:lnTo>
                  <a:pt x="264" y="73"/>
                </a:lnTo>
                <a:lnTo>
                  <a:pt x="266" y="73"/>
                </a:lnTo>
                <a:lnTo>
                  <a:pt x="267" y="74"/>
                </a:lnTo>
                <a:lnTo>
                  <a:pt x="271" y="76"/>
                </a:lnTo>
                <a:lnTo>
                  <a:pt x="272" y="76"/>
                </a:lnTo>
                <a:lnTo>
                  <a:pt x="273" y="74"/>
                </a:lnTo>
                <a:lnTo>
                  <a:pt x="273" y="76"/>
                </a:lnTo>
                <a:lnTo>
                  <a:pt x="275" y="77"/>
                </a:lnTo>
                <a:lnTo>
                  <a:pt x="275" y="78"/>
                </a:lnTo>
                <a:lnTo>
                  <a:pt x="276" y="79"/>
                </a:lnTo>
                <a:lnTo>
                  <a:pt x="275" y="80"/>
                </a:lnTo>
                <a:lnTo>
                  <a:pt x="275" y="84"/>
                </a:lnTo>
                <a:lnTo>
                  <a:pt x="276" y="86"/>
                </a:lnTo>
                <a:lnTo>
                  <a:pt x="277" y="88"/>
                </a:lnTo>
                <a:lnTo>
                  <a:pt x="277" y="89"/>
                </a:lnTo>
                <a:lnTo>
                  <a:pt x="279" y="89"/>
                </a:lnTo>
                <a:lnTo>
                  <a:pt x="279" y="90"/>
                </a:lnTo>
                <a:lnTo>
                  <a:pt x="281" y="90"/>
                </a:lnTo>
                <a:lnTo>
                  <a:pt x="281" y="91"/>
                </a:lnTo>
                <a:lnTo>
                  <a:pt x="282" y="91"/>
                </a:lnTo>
                <a:lnTo>
                  <a:pt x="282" y="90"/>
                </a:lnTo>
                <a:lnTo>
                  <a:pt x="283" y="90"/>
                </a:lnTo>
                <a:lnTo>
                  <a:pt x="284" y="91"/>
                </a:lnTo>
                <a:lnTo>
                  <a:pt x="284" y="95"/>
                </a:lnTo>
                <a:lnTo>
                  <a:pt x="285" y="95"/>
                </a:lnTo>
                <a:lnTo>
                  <a:pt x="285" y="101"/>
                </a:lnTo>
                <a:lnTo>
                  <a:pt x="284" y="101"/>
                </a:lnTo>
                <a:lnTo>
                  <a:pt x="282" y="103"/>
                </a:lnTo>
                <a:lnTo>
                  <a:pt x="279" y="103"/>
                </a:lnTo>
                <a:lnTo>
                  <a:pt x="277" y="102"/>
                </a:lnTo>
                <a:lnTo>
                  <a:pt x="276" y="103"/>
                </a:lnTo>
                <a:lnTo>
                  <a:pt x="273" y="102"/>
                </a:lnTo>
                <a:lnTo>
                  <a:pt x="273" y="103"/>
                </a:lnTo>
                <a:lnTo>
                  <a:pt x="272" y="103"/>
                </a:lnTo>
                <a:lnTo>
                  <a:pt x="272" y="106"/>
                </a:lnTo>
                <a:lnTo>
                  <a:pt x="269" y="109"/>
                </a:lnTo>
                <a:lnTo>
                  <a:pt x="266" y="109"/>
                </a:lnTo>
                <a:lnTo>
                  <a:pt x="266" y="111"/>
                </a:lnTo>
                <a:lnTo>
                  <a:pt x="264" y="114"/>
                </a:lnTo>
                <a:lnTo>
                  <a:pt x="258" y="116"/>
                </a:lnTo>
                <a:lnTo>
                  <a:pt x="256" y="119"/>
                </a:lnTo>
                <a:lnTo>
                  <a:pt x="256" y="121"/>
                </a:lnTo>
                <a:lnTo>
                  <a:pt x="254" y="123"/>
                </a:lnTo>
                <a:lnTo>
                  <a:pt x="254" y="129"/>
                </a:lnTo>
                <a:lnTo>
                  <a:pt x="251" y="133"/>
                </a:lnTo>
                <a:lnTo>
                  <a:pt x="247" y="133"/>
                </a:lnTo>
                <a:lnTo>
                  <a:pt x="246" y="134"/>
                </a:lnTo>
                <a:lnTo>
                  <a:pt x="246" y="138"/>
                </a:lnTo>
                <a:lnTo>
                  <a:pt x="245" y="138"/>
                </a:lnTo>
                <a:lnTo>
                  <a:pt x="245" y="139"/>
                </a:lnTo>
                <a:lnTo>
                  <a:pt x="241" y="139"/>
                </a:lnTo>
                <a:lnTo>
                  <a:pt x="241" y="140"/>
                </a:lnTo>
                <a:lnTo>
                  <a:pt x="240" y="143"/>
                </a:lnTo>
                <a:lnTo>
                  <a:pt x="239" y="143"/>
                </a:lnTo>
                <a:lnTo>
                  <a:pt x="231" y="146"/>
                </a:lnTo>
                <a:lnTo>
                  <a:pt x="229" y="146"/>
                </a:lnTo>
                <a:lnTo>
                  <a:pt x="227" y="144"/>
                </a:lnTo>
                <a:lnTo>
                  <a:pt x="226" y="145"/>
                </a:lnTo>
                <a:lnTo>
                  <a:pt x="225" y="145"/>
                </a:lnTo>
                <a:lnTo>
                  <a:pt x="223" y="146"/>
                </a:lnTo>
                <a:lnTo>
                  <a:pt x="219" y="144"/>
                </a:lnTo>
                <a:lnTo>
                  <a:pt x="217" y="143"/>
                </a:lnTo>
                <a:lnTo>
                  <a:pt x="215" y="143"/>
                </a:lnTo>
                <a:lnTo>
                  <a:pt x="213" y="145"/>
                </a:lnTo>
                <a:lnTo>
                  <a:pt x="213" y="146"/>
                </a:lnTo>
                <a:lnTo>
                  <a:pt x="210" y="149"/>
                </a:lnTo>
                <a:lnTo>
                  <a:pt x="209" y="151"/>
                </a:lnTo>
                <a:lnTo>
                  <a:pt x="207" y="157"/>
                </a:lnTo>
                <a:lnTo>
                  <a:pt x="205" y="158"/>
                </a:lnTo>
                <a:lnTo>
                  <a:pt x="205" y="159"/>
                </a:lnTo>
                <a:lnTo>
                  <a:pt x="204" y="158"/>
                </a:lnTo>
                <a:lnTo>
                  <a:pt x="204" y="153"/>
                </a:lnTo>
                <a:lnTo>
                  <a:pt x="203" y="152"/>
                </a:lnTo>
                <a:lnTo>
                  <a:pt x="201" y="152"/>
                </a:lnTo>
                <a:lnTo>
                  <a:pt x="200" y="153"/>
                </a:lnTo>
                <a:lnTo>
                  <a:pt x="197" y="151"/>
                </a:lnTo>
                <a:lnTo>
                  <a:pt x="194" y="151"/>
                </a:lnTo>
                <a:lnTo>
                  <a:pt x="194" y="149"/>
                </a:lnTo>
                <a:lnTo>
                  <a:pt x="192" y="149"/>
                </a:lnTo>
                <a:lnTo>
                  <a:pt x="191" y="147"/>
                </a:lnTo>
                <a:lnTo>
                  <a:pt x="189" y="147"/>
                </a:lnTo>
                <a:lnTo>
                  <a:pt x="189" y="146"/>
                </a:lnTo>
                <a:lnTo>
                  <a:pt x="188" y="146"/>
                </a:lnTo>
                <a:lnTo>
                  <a:pt x="186" y="147"/>
                </a:lnTo>
                <a:lnTo>
                  <a:pt x="184" y="147"/>
                </a:lnTo>
                <a:lnTo>
                  <a:pt x="182" y="151"/>
                </a:lnTo>
                <a:lnTo>
                  <a:pt x="182" y="152"/>
                </a:lnTo>
                <a:lnTo>
                  <a:pt x="180" y="151"/>
                </a:lnTo>
                <a:lnTo>
                  <a:pt x="170" y="151"/>
                </a:lnTo>
                <a:lnTo>
                  <a:pt x="167" y="150"/>
                </a:lnTo>
                <a:lnTo>
                  <a:pt x="163" y="146"/>
                </a:lnTo>
                <a:lnTo>
                  <a:pt x="163" y="145"/>
                </a:lnTo>
                <a:lnTo>
                  <a:pt x="160" y="145"/>
                </a:lnTo>
                <a:lnTo>
                  <a:pt x="161" y="144"/>
                </a:lnTo>
                <a:lnTo>
                  <a:pt x="159" y="144"/>
                </a:lnTo>
                <a:lnTo>
                  <a:pt x="159" y="143"/>
                </a:lnTo>
                <a:lnTo>
                  <a:pt x="157" y="143"/>
                </a:lnTo>
                <a:lnTo>
                  <a:pt x="155" y="144"/>
                </a:lnTo>
                <a:lnTo>
                  <a:pt x="153" y="144"/>
                </a:lnTo>
                <a:lnTo>
                  <a:pt x="149" y="141"/>
                </a:lnTo>
                <a:lnTo>
                  <a:pt x="147" y="140"/>
                </a:lnTo>
                <a:lnTo>
                  <a:pt x="146" y="140"/>
                </a:lnTo>
                <a:lnTo>
                  <a:pt x="144" y="138"/>
                </a:lnTo>
                <a:lnTo>
                  <a:pt x="142" y="138"/>
                </a:lnTo>
                <a:lnTo>
                  <a:pt x="141" y="137"/>
                </a:lnTo>
                <a:lnTo>
                  <a:pt x="139" y="135"/>
                </a:lnTo>
                <a:lnTo>
                  <a:pt x="135" y="135"/>
                </a:lnTo>
                <a:lnTo>
                  <a:pt x="135" y="137"/>
                </a:lnTo>
                <a:lnTo>
                  <a:pt x="134" y="137"/>
                </a:lnTo>
                <a:lnTo>
                  <a:pt x="134" y="138"/>
                </a:lnTo>
                <a:lnTo>
                  <a:pt x="130" y="138"/>
                </a:lnTo>
                <a:lnTo>
                  <a:pt x="130" y="135"/>
                </a:lnTo>
                <a:lnTo>
                  <a:pt x="129" y="134"/>
                </a:lnTo>
                <a:lnTo>
                  <a:pt x="127" y="134"/>
                </a:lnTo>
                <a:lnTo>
                  <a:pt x="124" y="133"/>
                </a:lnTo>
                <a:lnTo>
                  <a:pt x="123" y="133"/>
                </a:lnTo>
                <a:lnTo>
                  <a:pt x="123" y="134"/>
                </a:lnTo>
                <a:lnTo>
                  <a:pt x="122" y="135"/>
                </a:lnTo>
                <a:lnTo>
                  <a:pt x="122" y="145"/>
                </a:lnTo>
                <a:lnTo>
                  <a:pt x="121" y="146"/>
                </a:lnTo>
                <a:lnTo>
                  <a:pt x="121" y="147"/>
                </a:lnTo>
                <a:lnTo>
                  <a:pt x="122" y="149"/>
                </a:lnTo>
                <a:lnTo>
                  <a:pt x="121" y="150"/>
                </a:lnTo>
                <a:lnTo>
                  <a:pt x="118" y="149"/>
                </a:lnTo>
                <a:lnTo>
                  <a:pt x="115" y="149"/>
                </a:lnTo>
                <a:lnTo>
                  <a:pt x="115" y="152"/>
                </a:lnTo>
                <a:lnTo>
                  <a:pt x="113" y="153"/>
                </a:lnTo>
                <a:lnTo>
                  <a:pt x="111" y="154"/>
                </a:lnTo>
                <a:lnTo>
                  <a:pt x="111" y="160"/>
                </a:lnTo>
                <a:lnTo>
                  <a:pt x="110" y="162"/>
                </a:lnTo>
                <a:lnTo>
                  <a:pt x="109" y="162"/>
                </a:lnTo>
                <a:lnTo>
                  <a:pt x="109" y="159"/>
                </a:lnTo>
                <a:lnTo>
                  <a:pt x="107" y="159"/>
                </a:lnTo>
                <a:lnTo>
                  <a:pt x="107" y="158"/>
                </a:lnTo>
                <a:lnTo>
                  <a:pt x="104" y="159"/>
                </a:lnTo>
                <a:lnTo>
                  <a:pt x="102" y="158"/>
                </a:lnTo>
                <a:lnTo>
                  <a:pt x="101" y="157"/>
                </a:lnTo>
                <a:lnTo>
                  <a:pt x="99" y="160"/>
                </a:lnTo>
                <a:lnTo>
                  <a:pt x="98" y="160"/>
                </a:lnTo>
                <a:lnTo>
                  <a:pt x="97" y="162"/>
                </a:lnTo>
                <a:lnTo>
                  <a:pt x="96" y="162"/>
                </a:lnTo>
                <a:lnTo>
                  <a:pt x="96" y="163"/>
                </a:lnTo>
                <a:lnTo>
                  <a:pt x="95" y="163"/>
                </a:lnTo>
                <a:lnTo>
                  <a:pt x="91" y="160"/>
                </a:lnTo>
                <a:lnTo>
                  <a:pt x="85" y="160"/>
                </a:lnTo>
                <a:lnTo>
                  <a:pt x="83" y="159"/>
                </a:lnTo>
                <a:lnTo>
                  <a:pt x="83" y="158"/>
                </a:lnTo>
                <a:lnTo>
                  <a:pt x="82" y="158"/>
                </a:lnTo>
                <a:lnTo>
                  <a:pt x="82" y="157"/>
                </a:lnTo>
                <a:lnTo>
                  <a:pt x="83" y="157"/>
                </a:lnTo>
                <a:lnTo>
                  <a:pt x="83" y="154"/>
                </a:lnTo>
                <a:lnTo>
                  <a:pt x="82" y="154"/>
                </a:lnTo>
                <a:lnTo>
                  <a:pt x="82" y="153"/>
                </a:lnTo>
                <a:lnTo>
                  <a:pt x="80" y="153"/>
                </a:lnTo>
                <a:lnTo>
                  <a:pt x="78" y="151"/>
                </a:lnTo>
                <a:lnTo>
                  <a:pt x="77" y="151"/>
                </a:lnTo>
                <a:lnTo>
                  <a:pt x="77" y="150"/>
                </a:lnTo>
                <a:lnTo>
                  <a:pt x="76" y="150"/>
                </a:lnTo>
                <a:lnTo>
                  <a:pt x="74" y="149"/>
                </a:lnTo>
                <a:lnTo>
                  <a:pt x="73" y="149"/>
                </a:lnTo>
                <a:lnTo>
                  <a:pt x="71" y="144"/>
                </a:lnTo>
                <a:lnTo>
                  <a:pt x="70" y="143"/>
                </a:lnTo>
                <a:lnTo>
                  <a:pt x="67" y="143"/>
                </a:lnTo>
                <a:lnTo>
                  <a:pt x="67" y="141"/>
                </a:lnTo>
                <a:lnTo>
                  <a:pt x="66" y="141"/>
                </a:lnTo>
                <a:lnTo>
                  <a:pt x="66" y="140"/>
                </a:lnTo>
                <a:lnTo>
                  <a:pt x="65" y="139"/>
                </a:lnTo>
                <a:lnTo>
                  <a:pt x="65" y="138"/>
                </a:lnTo>
                <a:lnTo>
                  <a:pt x="64" y="138"/>
                </a:lnTo>
                <a:lnTo>
                  <a:pt x="62" y="137"/>
                </a:lnTo>
                <a:lnTo>
                  <a:pt x="60" y="137"/>
                </a:lnTo>
                <a:lnTo>
                  <a:pt x="60" y="138"/>
                </a:lnTo>
                <a:lnTo>
                  <a:pt x="59" y="138"/>
                </a:lnTo>
                <a:lnTo>
                  <a:pt x="55" y="134"/>
                </a:lnTo>
                <a:lnTo>
                  <a:pt x="55" y="132"/>
                </a:lnTo>
                <a:lnTo>
                  <a:pt x="52" y="128"/>
                </a:lnTo>
                <a:lnTo>
                  <a:pt x="52" y="127"/>
                </a:lnTo>
                <a:lnTo>
                  <a:pt x="47" y="127"/>
                </a:lnTo>
                <a:lnTo>
                  <a:pt x="46" y="126"/>
                </a:lnTo>
                <a:lnTo>
                  <a:pt x="46" y="125"/>
                </a:lnTo>
                <a:lnTo>
                  <a:pt x="42" y="119"/>
                </a:lnTo>
                <a:lnTo>
                  <a:pt x="41" y="119"/>
                </a:lnTo>
                <a:lnTo>
                  <a:pt x="40" y="116"/>
                </a:lnTo>
                <a:lnTo>
                  <a:pt x="40" y="115"/>
                </a:lnTo>
                <a:lnTo>
                  <a:pt x="39" y="115"/>
                </a:lnTo>
                <a:lnTo>
                  <a:pt x="37" y="114"/>
                </a:lnTo>
                <a:lnTo>
                  <a:pt x="37" y="113"/>
                </a:lnTo>
                <a:lnTo>
                  <a:pt x="34" y="113"/>
                </a:lnTo>
                <a:lnTo>
                  <a:pt x="34" y="114"/>
                </a:lnTo>
                <a:lnTo>
                  <a:pt x="30" y="113"/>
                </a:lnTo>
                <a:lnTo>
                  <a:pt x="29" y="111"/>
                </a:lnTo>
                <a:lnTo>
                  <a:pt x="28" y="109"/>
                </a:lnTo>
                <a:lnTo>
                  <a:pt x="26" y="107"/>
                </a:lnTo>
                <a:lnTo>
                  <a:pt x="24" y="107"/>
                </a:lnTo>
                <a:lnTo>
                  <a:pt x="24" y="106"/>
                </a:lnTo>
                <a:lnTo>
                  <a:pt x="23" y="104"/>
                </a:lnTo>
                <a:lnTo>
                  <a:pt x="23" y="101"/>
                </a:lnTo>
                <a:lnTo>
                  <a:pt x="22" y="101"/>
                </a:lnTo>
                <a:lnTo>
                  <a:pt x="22" y="100"/>
                </a:lnTo>
                <a:lnTo>
                  <a:pt x="21" y="100"/>
                </a:lnTo>
                <a:lnTo>
                  <a:pt x="21" y="96"/>
                </a:lnTo>
                <a:lnTo>
                  <a:pt x="20" y="95"/>
                </a:lnTo>
                <a:lnTo>
                  <a:pt x="18" y="95"/>
                </a:lnTo>
                <a:lnTo>
                  <a:pt x="18" y="91"/>
                </a:lnTo>
                <a:lnTo>
                  <a:pt x="17" y="90"/>
                </a:lnTo>
                <a:lnTo>
                  <a:pt x="16" y="90"/>
                </a:lnTo>
                <a:lnTo>
                  <a:pt x="16" y="89"/>
                </a:lnTo>
                <a:lnTo>
                  <a:pt x="15" y="89"/>
                </a:lnTo>
                <a:lnTo>
                  <a:pt x="14" y="88"/>
                </a:lnTo>
                <a:lnTo>
                  <a:pt x="14" y="85"/>
                </a:lnTo>
                <a:lnTo>
                  <a:pt x="16" y="84"/>
                </a:lnTo>
                <a:lnTo>
                  <a:pt x="16" y="82"/>
                </a:lnTo>
                <a:lnTo>
                  <a:pt x="18" y="79"/>
                </a:lnTo>
                <a:lnTo>
                  <a:pt x="18" y="78"/>
                </a:lnTo>
                <a:lnTo>
                  <a:pt x="20" y="77"/>
                </a:lnTo>
                <a:lnTo>
                  <a:pt x="20" y="74"/>
                </a:lnTo>
                <a:lnTo>
                  <a:pt x="18" y="74"/>
                </a:lnTo>
                <a:lnTo>
                  <a:pt x="17" y="73"/>
                </a:lnTo>
                <a:lnTo>
                  <a:pt x="17" y="71"/>
                </a:lnTo>
                <a:lnTo>
                  <a:pt x="16" y="71"/>
                </a:lnTo>
                <a:lnTo>
                  <a:pt x="15" y="70"/>
                </a:lnTo>
                <a:lnTo>
                  <a:pt x="14" y="70"/>
                </a:lnTo>
                <a:lnTo>
                  <a:pt x="8" y="66"/>
                </a:lnTo>
                <a:lnTo>
                  <a:pt x="8" y="65"/>
                </a:lnTo>
                <a:lnTo>
                  <a:pt x="5" y="63"/>
                </a:lnTo>
                <a:lnTo>
                  <a:pt x="5" y="58"/>
                </a:lnTo>
                <a:lnTo>
                  <a:pt x="4" y="58"/>
                </a:lnTo>
                <a:lnTo>
                  <a:pt x="4" y="57"/>
                </a:lnTo>
                <a:lnTo>
                  <a:pt x="3" y="55"/>
                </a:lnTo>
                <a:lnTo>
                  <a:pt x="0" y="54"/>
                </a:lnTo>
                <a:lnTo>
                  <a:pt x="0" y="53"/>
                </a:lnTo>
                <a:lnTo>
                  <a:pt x="2" y="53"/>
                </a:lnTo>
                <a:lnTo>
                  <a:pt x="2" y="49"/>
                </a:lnTo>
                <a:lnTo>
                  <a:pt x="0" y="48"/>
                </a:lnTo>
                <a:lnTo>
                  <a:pt x="4" y="48"/>
                </a:lnTo>
                <a:lnTo>
                  <a:pt x="4" y="51"/>
                </a:lnTo>
                <a:lnTo>
                  <a:pt x="5" y="52"/>
                </a:lnTo>
                <a:lnTo>
                  <a:pt x="8" y="52"/>
                </a:lnTo>
                <a:lnTo>
                  <a:pt x="8" y="53"/>
                </a:lnTo>
                <a:lnTo>
                  <a:pt x="6" y="53"/>
                </a:lnTo>
                <a:lnTo>
                  <a:pt x="6" y="54"/>
                </a:lnTo>
                <a:lnTo>
                  <a:pt x="8" y="54"/>
                </a:lnTo>
                <a:lnTo>
                  <a:pt x="8" y="55"/>
                </a:lnTo>
                <a:lnTo>
                  <a:pt x="9" y="57"/>
                </a:lnTo>
                <a:lnTo>
                  <a:pt x="9" y="59"/>
                </a:lnTo>
                <a:lnTo>
                  <a:pt x="10" y="59"/>
                </a:lnTo>
                <a:lnTo>
                  <a:pt x="10" y="54"/>
                </a:lnTo>
                <a:lnTo>
                  <a:pt x="11" y="53"/>
                </a:lnTo>
                <a:lnTo>
                  <a:pt x="11" y="52"/>
                </a:lnTo>
                <a:lnTo>
                  <a:pt x="12" y="52"/>
                </a:lnTo>
                <a:lnTo>
                  <a:pt x="12" y="51"/>
                </a:lnTo>
                <a:lnTo>
                  <a:pt x="14" y="48"/>
                </a:lnTo>
                <a:lnTo>
                  <a:pt x="15" y="48"/>
                </a:lnTo>
                <a:lnTo>
                  <a:pt x="16" y="47"/>
                </a:lnTo>
                <a:lnTo>
                  <a:pt x="17" y="47"/>
                </a:lnTo>
                <a:lnTo>
                  <a:pt x="17" y="45"/>
                </a:lnTo>
                <a:lnTo>
                  <a:pt x="18" y="43"/>
                </a:lnTo>
                <a:lnTo>
                  <a:pt x="27" y="43"/>
                </a:lnTo>
                <a:lnTo>
                  <a:pt x="27" y="42"/>
                </a:lnTo>
                <a:lnTo>
                  <a:pt x="28" y="41"/>
                </a:lnTo>
                <a:lnTo>
                  <a:pt x="30" y="41"/>
                </a:lnTo>
                <a:lnTo>
                  <a:pt x="31" y="40"/>
                </a:lnTo>
                <a:lnTo>
                  <a:pt x="36" y="42"/>
                </a:lnTo>
                <a:lnTo>
                  <a:pt x="37" y="42"/>
                </a:lnTo>
                <a:lnTo>
                  <a:pt x="39" y="41"/>
                </a:lnTo>
                <a:lnTo>
                  <a:pt x="40" y="41"/>
                </a:lnTo>
                <a:lnTo>
                  <a:pt x="40" y="36"/>
                </a:lnTo>
                <a:lnTo>
                  <a:pt x="46" y="36"/>
                </a:lnTo>
                <a:lnTo>
                  <a:pt x="47" y="35"/>
                </a:lnTo>
                <a:lnTo>
                  <a:pt x="48" y="35"/>
                </a:lnTo>
                <a:lnTo>
                  <a:pt x="49" y="30"/>
                </a:lnTo>
                <a:lnTo>
                  <a:pt x="51" y="30"/>
                </a:lnTo>
                <a:lnTo>
                  <a:pt x="51" y="31"/>
                </a:lnTo>
                <a:lnTo>
                  <a:pt x="52" y="31"/>
                </a:lnTo>
                <a:lnTo>
                  <a:pt x="53" y="30"/>
                </a:lnTo>
                <a:lnTo>
                  <a:pt x="53" y="29"/>
                </a:lnTo>
                <a:lnTo>
                  <a:pt x="54" y="28"/>
                </a:lnTo>
                <a:lnTo>
                  <a:pt x="55" y="28"/>
                </a:lnTo>
                <a:lnTo>
                  <a:pt x="58" y="30"/>
                </a:lnTo>
                <a:lnTo>
                  <a:pt x="59" y="30"/>
                </a:lnTo>
                <a:lnTo>
                  <a:pt x="59" y="29"/>
                </a:lnTo>
                <a:lnTo>
                  <a:pt x="60" y="28"/>
                </a:lnTo>
                <a:lnTo>
                  <a:pt x="60" y="27"/>
                </a:lnTo>
                <a:lnTo>
                  <a:pt x="61" y="27"/>
                </a:lnTo>
                <a:lnTo>
                  <a:pt x="61" y="23"/>
                </a:lnTo>
                <a:lnTo>
                  <a:pt x="62" y="22"/>
                </a:lnTo>
                <a:lnTo>
                  <a:pt x="71" y="22"/>
                </a:lnTo>
                <a:lnTo>
                  <a:pt x="72" y="21"/>
                </a:lnTo>
                <a:lnTo>
                  <a:pt x="74" y="22"/>
                </a:lnTo>
                <a:lnTo>
                  <a:pt x="76" y="21"/>
                </a:lnTo>
                <a:lnTo>
                  <a:pt x="77" y="21"/>
                </a:lnTo>
                <a:lnTo>
                  <a:pt x="77" y="17"/>
                </a:lnTo>
                <a:lnTo>
                  <a:pt x="79" y="17"/>
                </a:lnTo>
                <a:lnTo>
                  <a:pt x="79" y="16"/>
                </a:lnTo>
                <a:lnTo>
                  <a:pt x="83" y="16"/>
                </a:lnTo>
                <a:lnTo>
                  <a:pt x="90" y="14"/>
                </a:lnTo>
                <a:lnTo>
                  <a:pt x="90" y="12"/>
                </a:lnTo>
                <a:lnTo>
                  <a:pt x="91" y="11"/>
                </a:lnTo>
                <a:lnTo>
                  <a:pt x="96" y="11"/>
                </a:lnTo>
                <a:lnTo>
                  <a:pt x="97" y="10"/>
                </a:lnTo>
                <a:lnTo>
                  <a:pt x="98" y="8"/>
                </a:lnTo>
                <a:lnTo>
                  <a:pt x="95" y="8"/>
                </a:lnTo>
                <a:lnTo>
                  <a:pt x="93" y="6"/>
                </a:lnTo>
                <a:lnTo>
                  <a:pt x="93" y="5"/>
                </a:lnTo>
                <a:lnTo>
                  <a:pt x="95" y="5"/>
                </a:lnTo>
                <a:lnTo>
                  <a:pt x="93" y="4"/>
                </a:lnTo>
                <a:lnTo>
                  <a:pt x="91" y="4"/>
                </a:lnTo>
                <a:lnTo>
                  <a:pt x="92" y="3"/>
                </a:lnTo>
                <a:lnTo>
                  <a:pt x="92" y="2"/>
                </a:lnTo>
                <a:lnTo>
                  <a:pt x="93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" name="Freeform 49">
            <a:extLst>
              <a:ext uri="{FF2B5EF4-FFF2-40B4-BE49-F238E27FC236}">
                <a16:creationId xmlns:a16="http://schemas.microsoft.com/office/drawing/2014/main" id="{76ABD24F-9CB5-4090-9A80-370540B2E635}"/>
              </a:ext>
            </a:extLst>
          </p:cNvPr>
          <p:cNvSpPr>
            <a:spLocks/>
          </p:cNvSpPr>
          <p:nvPr/>
        </p:nvSpPr>
        <p:spPr bwMode="auto">
          <a:xfrm>
            <a:off x="3205152" y="5915875"/>
            <a:ext cx="140548" cy="84039"/>
          </a:xfrm>
          <a:custGeom>
            <a:avLst/>
            <a:gdLst/>
            <a:ahLst/>
            <a:cxnLst>
              <a:cxn ang="0">
                <a:pos x="97" y="0"/>
              </a:cxn>
              <a:cxn ang="0">
                <a:pos x="95" y="3"/>
              </a:cxn>
              <a:cxn ang="0">
                <a:pos x="88" y="9"/>
              </a:cxn>
              <a:cxn ang="0">
                <a:pos x="75" y="18"/>
              </a:cxn>
              <a:cxn ang="0">
                <a:pos x="70" y="19"/>
              </a:cxn>
              <a:cxn ang="0">
                <a:pos x="69" y="23"/>
              </a:cxn>
              <a:cxn ang="0">
                <a:pos x="69" y="28"/>
              </a:cxn>
              <a:cxn ang="0">
                <a:pos x="71" y="31"/>
              </a:cxn>
              <a:cxn ang="0">
                <a:pos x="74" y="33"/>
              </a:cxn>
              <a:cxn ang="0">
                <a:pos x="75" y="34"/>
              </a:cxn>
              <a:cxn ang="0">
                <a:pos x="76" y="36"/>
              </a:cxn>
              <a:cxn ang="0">
                <a:pos x="74" y="37"/>
              </a:cxn>
              <a:cxn ang="0">
                <a:pos x="72" y="36"/>
              </a:cxn>
              <a:cxn ang="0">
                <a:pos x="68" y="37"/>
              </a:cxn>
              <a:cxn ang="0">
                <a:pos x="66" y="39"/>
              </a:cxn>
              <a:cxn ang="0">
                <a:pos x="59" y="37"/>
              </a:cxn>
              <a:cxn ang="0">
                <a:pos x="58" y="40"/>
              </a:cxn>
              <a:cxn ang="0">
                <a:pos x="57" y="43"/>
              </a:cxn>
              <a:cxn ang="0">
                <a:pos x="56" y="46"/>
              </a:cxn>
              <a:cxn ang="0">
                <a:pos x="52" y="47"/>
              </a:cxn>
              <a:cxn ang="0">
                <a:pos x="49" y="48"/>
              </a:cxn>
              <a:cxn ang="0">
                <a:pos x="47" y="49"/>
              </a:cxn>
              <a:cxn ang="0">
                <a:pos x="43" y="51"/>
              </a:cxn>
              <a:cxn ang="0">
                <a:pos x="41" y="52"/>
              </a:cxn>
              <a:cxn ang="0">
                <a:pos x="38" y="51"/>
              </a:cxn>
              <a:cxn ang="0">
                <a:pos x="33" y="52"/>
              </a:cxn>
              <a:cxn ang="0">
                <a:pos x="31" y="54"/>
              </a:cxn>
              <a:cxn ang="0">
                <a:pos x="32" y="58"/>
              </a:cxn>
              <a:cxn ang="0">
                <a:pos x="28" y="57"/>
              </a:cxn>
              <a:cxn ang="0">
                <a:pos x="27" y="53"/>
              </a:cxn>
              <a:cxn ang="0">
                <a:pos x="20" y="54"/>
              </a:cxn>
              <a:cxn ang="0">
                <a:pos x="14" y="53"/>
              </a:cxn>
              <a:cxn ang="0">
                <a:pos x="12" y="52"/>
              </a:cxn>
              <a:cxn ang="0">
                <a:pos x="7" y="51"/>
              </a:cxn>
              <a:cxn ang="0">
                <a:pos x="6" y="47"/>
              </a:cxn>
              <a:cxn ang="0">
                <a:pos x="4" y="43"/>
              </a:cxn>
              <a:cxn ang="0">
                <a:pos x="3" y="42"/>
              </a:cxn>
              <a:cxn ang="0">
                <a:pos x="2" y="40"/>
              </a:cxn>
              <a:cxn ang="0">
                <a:pos x="1" y="36"/>
              </a:cxn>
              <a:cxn ang="0">
                <a:pos x="0" y="31"/>
              </a:cxn>
              <a:cxn ang="0">
                <a:pos x="3" y="34"/>
              </a:cxn>
              <a:cxn ang="0">
                <a:pos x="10" y="29"/>
              </a:cxn>
              <a:cxn ang="0">
                <a:pos x="12" y="27"/>
              </a:cxn>
              <a:cxn ang="0">
                <a:pos x="22" y="28"/>
              </a:cxn>
              <a:cxn ang="0">
                <a:pos x="27" y="25"/>
              </a:cxn>
              <a:cxn ang="0">
                <a:pos x="28" y="16"/>
              </a:cxn>
              <a:cxn ang="0">
                <a:pos x="37" y="17"/>
              </a:cxn>
              <a:cxn ang="0">
                <a:pos x="43" y="18"/>
              </a:cxn>
              <a:cxn ang="0">
                <a:pos x="58" y="17"/>
              </a:cxn>
              <a:cxn ang="0">
                <a:pos x="63" y="15"/>
              </a:cxn>
              <a:cxn ang="0">
                <a:pos x="68" y="14"/>
              </a:cxn>
              <a:cxn ang="0">
                <a:pos x="76" y="10"/>
              </a:cxn>
              <a:cxn ang="0">
                <a:pos x="80" y="8"/>
              </a:cxn>
              <a:cxn ang="0">
                <a:pos x="84" y="6"/>
              </a:cxn>
              <a:cxn ang="0">
                <a:pos x="95" y="0"/>
              </a:cxn>
            </a:cxnLst>
            <a:rect l="0" t="0" r="r" b="b"/>
            <a:pathLst>
              <a:path w="97" h="58">
                <a:moveTo>
                  <a:pt x="95" y="0"/>
                </a:moveTo>
                <a:lnTo>
                  <a:pt x="97" y="0"/>
                </a:lnTo>
                <a:lnTo>
                  <a:pt x="96" y="3"/>
                </a:lnTo>
                <a:lnTo>
                  <a:pt x="95" y="3"/>
                </a:lnTo>
                <a:lnTo>
                  <a:pt x="91" y="6"/>
                </a:lnTo>
                <a:lnTo>
                  <a:pt x="88" y="9"/>
                </a:lnTo>
                <a:lnTo>
                  <a:pt x="78" y="15"/>
                </a:lnTo>
                <a:lnTo>
                  <a:pt x="75" y="18"/>
                </a:lnTo>
                <a:lnTo>
                  <a:pt x="75" y="19"/>
                </a:lnTo>
                <a:lnTo>
                  <a:pt x="70" y="19"/>
                </a:lnTo>
                <a:lnTo>
                  <a:pt x="69" y="22"/>
                </a:lnTo>
                <a:lnTo>
                  <a:pt x="69" y="23"/>
                </a:lnTo>
                <a:lnTo>
                  <a:pt x="68" y="28"/>
                </a:lnTo>
                <a:lnTo>
                  <a:pt x="69" y="28"/>
                </a:lnTo>
                <a:lnTo>
                  <a:pt x="71" y="30"/>
                </a:lnTo>
                <a:lnTo>
                  <a:pt x="71" y="31"/>
                </a:lnTo>
                <a:lnTo>
                  <a:pt x="72" y="33"/>
                </a:lnTo>
                <a:lnTo>
                  <a:pt x="74" y="33"/>
                </a:lnTo>
                <a:lnTo>
                  <a:pt x="74" y="34"/>
                </a:lnTo>
                <a:lnTo>
                  <a:pt x="75" y="34"/>
                </a:lnTo>
                <a:lnTo>
                  <a:pt x="75" y="35"/>
                </a:lnTo>
                <a:lnTo>
                  <a:pt x="76" y="36"/>
                </a:lnTo>
                <a:lnTo>
                  <a:pt x="76" y="37"/>
                </a:lnTo>
                <a:lnTo>
                  <a:pt x="74" y="37"/>
                </a:lnTo>
                <a:lnTo>
                  <a:pt x="74" y="36"/>
                </a:lnTo>
                <a:lnTo>
                  <a:pt x="72" y="36"/>
                </a:lnTo>
                <a:lnTo>
                  <a:pt x="71" y="37"/>
                </a:lnTo>
                <a:lnTo>
                  <a:pt x="68" y="37"/>
                </a:lnTo>
                <a:lnTo>
                  <a:pt x="68" y="39"/>
                </a:lnTo>
                <a:lnTo>
                  <a:pt x="66" y="39"/>
                </a:lnTo>
                <a:lnTo>
                  <a:pt x="65" y="37"/>
                </a:lnTo>
                <a:lnTo>
                  <a:pt x="59" y="37"/>
                </a:lnTo>
                <a:lnTo>
                  <a:pt x="58" y="39"/>
                </a:lnTo>
                <a:lnTo>
                  <a:pt x="58" y="40"/>
                </a:lnTo>
                <a:lnTo>
                  <a:pt x="57" y="40"/>
                </a:lnTo>
                <a:lnTo>
                  <a:pt x="57" y="43"/>
                </a:lnTo>
                <a:lnTo>
                  <a:pt x="56" y="43"/>
                </a:lnTo>
                <a:lnTo>
                  <a:pt x="56" y="46"/>
                </a:lnTo>
                <a:lnTo>
                  <a:pt x="53" y="46"/>
                </a:lnTo>
                <a:lnTo>
                  <a:pt x="52" y="47"/>
                </a:lnTo>
                <a:lnTo>
                  <a:pt x="50" y="47"/>
                </a:lnTo>
                <a:lnTo>
                  <a:pt x="49" y="48"/>
                </a:lnTo>
                <a:lnTo>
                  <a:pt x="47" y="48"/>
                </a:lnTo>
                <a:lnTo>
                  <a:pt x="47" y="49"/>
                </a:lnTo>
                <a:lnTo>
                  <a:pt x="46" y="49"/>
                </a:lnTo>
                <a:lnTo>
                  <a:pt x="43" y="51"/>
                </a:lnTo>
                <a:lnTo>
                  <a:pt x="41" y="51"/>
                </a:lnTo>
                <a:lnTo>
                  <a:pt x="41" y="52"/>
                </a:lnTo>
                <a:lnTo>
                  <a:pt x="40" y="52"/>
                </a:lnTo>
                <a:lnTo>
                  <a:pt x="38" y="51"/>
                </a:lnTo>
                <a:lnTo>
                  <a:pt x="34" y="52"/>
                </a:lnTo>
                <a:lnTo>
                  <a:pt x="33" y="52"/>
                </a:lnTo>
                <a:lnTo>
                  <a:pt x="32" y="54"/>
                </a:lnTo>
                <a:lnTo>
                  <a:pt x="31" y="54"/>
                </a:lnTo>
                <a:lnTo>
                  <a:pt x="31" y="57"/>
                </a:lnTo>
                <a:lnTo>
                  <a:pt x="32" y="58"/>
                </a:lnTo>
                <a:lnTo>
                  <a:pt x="28" y="58"/>
                </a:lnTo>
                <a:lnTo>
                  <a:pt x="28" y="57"/>
                </a:lnTo>
                <a:lnTo>
                  <a:pt x="27" y="54"/>
                </a:lnTo>
                <a:lnTo>
                  <a:pt x="27" y="53"/>
                </a:lnTo>
                <a:lnTo>
                  <a:pt x="22" y="53"/>
                </a:lnTo>
                <a:lnTo>
                  <a:pt x="20" y="54"/>
                </a:lnTo>
                <a:lnTo>
                  <a:pt x="16" y="54"/>
                </a:lnTo>
                <a:lnTo>
                  <a:pt x="14" y="53"/>
                </a:lnTo>
                <a:lnTo>
                  <a:pt x="13" y="52"/>
                </a:lnTo>
                <a:lnTo>
                  <a:pt x="12" y="52"/>
                </a:lnTo>
                <a:lnTo>
                  <a:pt x="10" y="51"/>
                </a:lnTo>
                <a:lnTo>
                  <a:pt x="7" y="51"/>
                </a:lnTo>
                <a:lnTo>
                  <a:pt x="6" y="49"/>
                </a:lnTo>
                <a:lnTo>
                  <a:pt x="6" y="47"/>
                </a:lnTo>
                <a:lnTo>
                  <a:pt x="4" y="46"/>
                </a:lnTo>
                <a:lnTo>
                  <a:pt x="4" y="43"/>
                </a:lnTo>
                <a:lnTo>
                  <a:pt x="3" y="43"/>
                </a:lnTo>
                <a:lnTo>
                  <a:pt x="3" y="42"/>
                </a:lnTo>
                <a:lnTo>
                  <a:pt x="2" y="42"/>
                </a:lnTo>
                <a:lnTo>
                  <a:pt x="2" y="40"/>
                </a:lnTo>
                <a:lnTo>
                  <a:pt x="1" y="39"/>
                </a:lnTo>
                <a:lnTo>
                  <a:pt x="1" y="36"/>
                </a:lnTo>
                <a:lnTo>
                  <a:pt x="0" y="34"/>
                </a:lnTo>
                <a:lnTo>
                  <a:pt x="0" y="31"/>
                </a:lnTo>
                <a:lnTo>
                  <a:pt x="1" y="31"/>
                </a:lnTo>
                <a:lnTo>
                  <a:pt x="3" y="34"/>
                </a:lnTo>
                <a:lnTo>
                  <a:pt x="6" y="34"/>
                </a:lnTo>
                <a:lnTo>
                  <a:pt x="10" y="29"/>
                </a:lnTo>
                <a:lnTo>
                  <a:pt x="10" y="28"/>
                </a:lnTo>
                <a:lnTo>
                  <a:pt x="12" y="27"/>
                </a:lnTo>
                <a:lnTo>
                  <a:pt x="21" y="27"/>
                </a:lnTo>
                <a:lnTo>
                  <a:pt x="22" y="28"/>
                </a:lnTo>
                <a:lnTo>
                  <a:pt x="25" y="28"/>
                </a:lnTo>
                <a:lnTo>
                  <a:pt x="27" y="25"/>
                </a:lnTo>
                <a:lnTo>
                  <a:pt x="27" y="16"/>
                </a:lnTo>
                <a:lnTo>
                  <a:pt x="28" y="16"/>
                </a:lnTo>
                <a:lnTo>
                  <a:pt x="29" y="17"/>
                </a:lnTo>
                <a:lnTo>
                  <a:pt x="37" y="17"/>
                </a:lnTo>
                <a:lnTo>
                  <a:pt x="41" y="18"/>
                </a:lnTo>
                <a:lnTo>
                  <a:pt x="43" y="18"/>
                </a:lnTo>
                <a:lnTo>
                  <a:pt x="49" y="19"/>
                </a:lnTo>
                <a:lnTo>
                  <a:pt x="58" y="17"/>
                </a:lnTo>
                <a:lnTo>
                  <a:pt x="62" y="16"/>
                </a:lnTo>
                <a:lnTo>
                  <a:pt x="63" y="15"/>
                </a:lnTo>
                <a:lnTo>
                  <a:pt x="65" y="15"/>
                </a:lnTo>
                <a:lnTo>
                  <a:pt x="68" y="14"/>
                </a:lnTo>
                <a:lnTo>
                  <a:pt x="74" y="11"/>
                </a:lnTo>
                <a:lnTo>
                  <a:pt x="76" y="10"/>
                </a:lnTo>
                <a:lnTo>
                  <a:pt x="78" y="10"/>
                </a:lnTo>
                <a:lnTo>
                  <a:pt x="80" y="8"/>
                </a:lnTo>
                <a:lnTo>
                  <a:pt x="81" y="8"/>
                </a:lnTo>
                <a:lnTo>
                  <a:pt x="84" y="6"/>
                </a:lnTo>
                <a:lnTo>
                  <a:pt x="85" y="5"/>
                </a:lnTo>
                <a:lnTo>
                  <a:pt x="95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" name="Freeform 50">
            <a:extLst>
              <a:ext uri="{FF2B5EF4-FFF2-40B4-BE49-F238E27FC236}">
                <a16:creationId xmlns:a16="http://schemas.microsoft.com/office/drawing/2014/main" id="{59D2B54A-F2A4-47D7-95E8-7AF1572CC33A}"/>
              </a:ext>
            </a:extLst>
          </p:cNvPr>
          <p:cNvSpPr>
            <a:spLocks noEditPoints="1"/>
          </p:cNvSpPr>
          <p:nvPr/>
        </p:nvSpPr>
        <p:spPr bwMode="auto">
          <a:xfrm>
            <a:off x="2056143" y="5033471"/>
            <a:ext cx="360787" cy="353541"/>
          </a:xfrm>
          <a:custGeom>
            <a:avLst/>
            <a:gdLst/>
            <a:ahLst/>
            <a:cxnLst>
              <a:cxn ang="0">
                <a:pos x="190" y="226"/>
              </a:cxn>
              <a:cxn ang="0">
                <a:pos x="198" y="232"/>
              </a:cxn>
              <a:cxn ang="0">
                <a:pos x="165" y="224"/>
              </a:cxn>
              <a:cxn ang="0">
                <a:pos x="144" y="216"/>
              </a:cxn>
              <a:cxn ang="0">
                <a:pos x="172" y="215"/>
              </a:cxn>
              <a:cxn ang="0">
                <a:pos x="185" y="221"/>
              </a:cxn>
              <a:cxn ang="0">
                <a:pos x="160" y="213"/>
              </a:cxn>
              <a:cxn ang="0">
                <a:pos x="109" y="208"/>
              </a:cxn>
              <a:cxn ang="0">
                <a:pos x="135" y="203"/>
              </a:cxn>
              <a:cxn ang="0">
                <a:pos x="126" y="189"/>
              </a:cxn>
              <a:cxn ang="0">
                <a:pos x="124" y="189"/>
              </a:cxn>
              <a:cxn ang="0">
                <a:pos x="122" y="183"/>
              </a:cxn>
              <a:cxn ang="0">
                <a:pos x="79" y="165"/>
              </a:cxn>
              <a:cxn ang="0">
                <a:pos x="69" y="158"/>
              </a:cxn>
              <a:cxn ang="0">
                <a:pos x="73" y="158"/>
              </a:cxn>
              <a:cxn ang="0">
                <a:pos x="69" y="147"/>
              </a:cxn>
              <a:cxn ang="0">
                <a:pos x="58" y="144"/>
              </a:cxn>
              <a:cxn ang="0">
                <a:pos x="72" y="132"/>
              </a:cxn>
              <a:cxn ang="0">
                <a:pos x="41" y="120"/>
              </a:cxn>
              <a:cxn ang="0">
                <a:pos x="60" y="116"/>
              </a:cxn>
              <a:cxn ang="0">
                <a:pos x="67" y="128"/>
              </a:cxn>
              <a:cxn ang="0">
                <a:pos x="69" y="134"/>
              </a:cxn>
              <a:cxn ang="0">
                <a:pos x="38" y="116"/>
              </a:cxn>
              <a:cxn ang="0">
                <a:pos x="18" y="105"/>
              </a:cxn>
              <a:cxn ang="0">
                <a:pos x="53" y="102"/>
              </a:cxn>
              <a:cxn ang="0">
                <a:pos x="37" y="84"/>
              </a:cxn>
              <a:cxn ang="0">
                <a:pos x="42" y="116"/>
              </a:cxn>
              <a:cxn ang="0">
                <a:pos x="39" y="96"/>
              </a:cxn>
              <a:cxn ang="0">
                <a:pos x="50" y="89"/>
              </a:cxn>
              <a:cxn ang="0">
                <a:pos x="39" y="87"/>
              </a:cxn>
              <a:cxn ang="0">
                <a:pos x="128" y="3"/>
              </a:cxn>
              <a:cxn ang="0">
                <a:pos x="150" y="23"/>
              </a:cxn>
              <a:cxn ang="0">
                <a:pos x="182" y="44"/>
              </a:cxn>
              <a:cxn ang="0">
                <a:pos x="219" y="38"/>
              </a:cxn>
              <a:cxn ang="0">
                <a:pos x="229" y="60"/>
              </a:cxn>
              <a:cxn ang="0">
                <a:pos x="236" y="74"/>
              </a:cxn>
              <a:cxn ang="0">
                <a:pos x="235" y="86"/>
              </a:cxn>
              <a:cxn ang="0">
                <a:pos x="221" y="92"/>
              </a:cxn>
              <a:cxn ang="0">
                <a:pos x="190" y="85"/>
              </a:cxn>
              <a:cxn ang="0">
                <a:pos x="156" y="85"/>
              </a:cxn>
              <a:cxn ang="0">
                <a:pos x="129" y="80"/>
              </a:cxn>
              <a:cxn ang="0">
                <a:pos x="107" y="80"/>
              </a:cxn>
              <a:cxn ang="0">
                <a:pos x="100" y="111"/>
              </a:cxn>
              <a:cxn ang="0">
                <a:pos x="112" y="127"/>
              </a:cxn>
              <a:cxn ang="0">
                <a:pos x="124" y="152"/>
              </a:cxn>
              <a:cxn ang="0">
                <a:pos x="160" y="190"/>
              </a:cxn>
              <a:cxn ang="0">
                <a:pos x="168" y="209"/>
              </a:cxn>
              <a:cxn ang="0">
                <a:pos x="149" y="194"/>
              </a:cxn>
              <a:cxn ang="0">
                <a:pos x="116" y="181"/>
              </a:cxn>
              <a:cxn ang="0">
                <a:pos x="104" y="171"/>
              </a:cxn>
              <a:cxn ang="0">
                <a:pos x="85" y="158"/>
              </a:cxn>
              <a:cxn ang="0">
                <a:pos x="73" y="136"/>
              </a:cxn>
              <a:cxn ang="0">
                <a:pos x="67" y="121"/>
              </a:cxn>
              <a:cxn ang="0">
                <a:pos x="54" y="85"/>
              </a:cxn>
              <a:cxn ang="0">
                <a:pos x="32" y="83"/>
              </a:cxn>
              <a:cxn ang="0">
                <a:pos x="22" y="99"/>
              </a:cxn>
              <a:cxn ang="0">
                <a:pos x="6" y="86"/>
              </a:cxn>
              <a:cxn ang="0">
                <a:pos x="6" y="66"/>
              </a:cxn>
              <a:cxn ang="0">
                <a:pos x="42" y="62"/>
              </a:cxn>
              <a:cxn ang="0">
                <a:pos x="63" y="64"/>
              </a:cxn>
              <a:cxn ang="0">
                <a:pos x="75" y="52"/>
              </a:cxn>
              <a:cxn ang="0">
                <a:pos x="89" y="23"/>
              </a:cxn>
              <a:cxn ang="0">
                <a:pos x="118" y="11"/>
              </a:cxn>
            </a:cxnLst>
            <a:rect l="0" t="0" r="r" b="b"/>
            <a:pathLst>
              <a:path w="249" h="244">
                <a:moveTo>
                  <a:pt x="210" y="243"/>
                </a:moveTo>
                <a:lnTo>
                  <a:pt x="211" y="243"/>
                </a:lnTo>
                <a:lnTo>
                  <a:pt x="211" y="244"/>
                </a:lnTo>
                <a:lnTo>
                  <a:pt x="210" y="243"/>
                </a:lnTo>
                <a:close/>
                <a:moveTo>
                  <a:pt x="141" y="224"/>
                </a:moveTo>
                <a:lnTo>
                  <a:pt x="145" y="224"/>
                </a:lnTo>
                <a:lnTo>
                  <a:pt x="145" y="226"/>
                </a:lnTo>
                <a:lnTo>
                  <a:pt x="143" y="226"/>
                </a:lnTo>
                <a:lnTo>
                  <a:pt x="142" y="225"/>
                </a:lnTo>
                <a:lnTo>
                  <a:pt x="142" y="226"/>
                </a:lnTo>
                <a:lnTo>
                  <a:pt x="141" y="226"/>
                </a:lnTo>
                <a:lnTo>
                  <a:pt x="141" y="225"/>
                </a:lnTo>
                <a:lnTo>
                  <a:pt x="140" y="225"/>
                </a:lnTo>
                <a:lnTo>
                  <a:pt x="141" y="224"/>
                </a:lnTo>
                <a:close/>
                <a:moveTo>
                  <a:pt x="186" y="222"/>
                </a:moveTo>
                <a:lnTo>
                  <a:pt x="187" y="222"/>
                </a:lnTo>
                <a:lnTo>
                  <a:pt x="190" y="225"/>
                </a:lnTo>
                <a:lnTo>
                  <a:pt x="190" y="226"/>
                </a:lnTo>
                <a:lnTo>
                  <a:pt x="192" y="227"/>
                </a:lnTo>
                <a:lnTo>
                  <a:pt x="200" y="232"/>
                </a:lnTo>
                <a:lnTo>
                  <a:pt x="202" y="233"/>
                </a:lnTo>
                <a:lnTo>
                  <a:pt x="205" y="233"/>
                </a:lnTo>
                <a:lnTo>
                  <a:pt x="205" y="234"/>
                </a:lnTo>
                <a:lnTo>
                  <a:pt x="206" y="236"/>
                </a:lnTo>
                <a:lnTo>
                  <a:pt x="209" y="236"/>
                </a:lnTo>
                <a:lnTo>
                  <a:pt x="209" y="240"/>
                </a:lnTo>
                <a:lnTo>
                  <a:pt x="210" y="242"/>
                </a:lnTo>
                <a:lnTo>
                  <a:pt x="210" y="243"/>
                </a:lnTo>
                <a:lnTo>
                  <a:pt x="209" y="242"/>
                </a:lnTo>
                <a:lnTo>
                  <a:pt x="207" y="242"/>
                </a:lnTo>
                <a:lnTo>
                  <a:pt x="207" y="240"/>
                </a:lnTo>
                <a:lnTo>
                  <a:pt x="200" y="236"/>
                </a:lnTo>
                <a:lnTo>
                  <a:pt x="199" y="234"/>
                </a:lnTo>
                <a:lnTo>
                  <a:pt x="200" y="233"/>
                </a:lnTo>
                <a:lnTo>
                  <a:pt x="199" y="232"/>
                </a:lnTo>
                <a:lnTo>
                  <a:pt x="198" y="232"/>
                </a:lnTo>
                <a:lnTo>
                  <a:pt x="196" y="231"/>
                </a:lnTo>
                <a:lnTo>
                  <a:pt x="193" y="231"/>
                </a:lnTo>
                <a:lnTo>
                  <a:pt x="193" y="228"/>
                </a:lnTo>
                <a:lnTo>
                  <a:pt x="191" y="228"/>
                </a:lnTo>
                <a:lnTo>
                  <a:pt x="188" y="226"/>
                </a:lnTo>
                <a:lnTo>
                  <a:pt x="186" y="225"/>
                </a:lnTo>
                <a:lnTo>
                  <a:pt x="185" y="224"/>
                </a:lnTo>
                <a:lnTo>
                  <a:pt x="186" y="222"/>
                </a:lnTo>
                <a:close/>
                <a:moveTo>
                  <a:pt x="162" y="222"/>
                </a:moveTo>
                <a:lnTo>
                  <a:pt x="166" y="222"/>
                </a:lnTo>
                <a:lnTo>
                  <a:pt x="167" y="224"/>
                </a:lnTo>
                <a:lnTo>
                  <a:pt x="171" y="224"/>
                </a:lnTo>
                <a:lnTo>
                  <a:pt x="175" y="226"/>
                </a:lnTo>
                <a:lnTo>
                  <a:pt x="176" y="225"/>
                </a:lnTo>
                <a:lnTo>
                  <a:pt x="176" y="226"/>
                </a:lnTo>
                <a:lnTo>
                  <a:pt x="179" y="227"/>
                </a:lnTo>
                <a:lnTo>
                  <a:pt x="180" y="228"/>
                </a:lnTo>
                <a:lnTo>
                  <a:pt x="165" y="224"/>
                </a:lnTo>
                <a:lnTo>
                  <a:pt x="163" y="225"/>
                </a:lnTo>
                <a:lnTo>
                  <a:pt x="163" y="224"/>
                </a:lnTo>
                <a:lnTo>
                  <a:pt x="162" y="224"/>
                </a:lnTo>
                <a:lnTo>
                  <a:pt x="162" y="222"/>
                </a:lnTo>
                <a:close/>
                <a:moveTo>
                  <a:pt x="134" y="210"/>
                </a:moveTo>
                <a:lnTo>
                  <a:pt x="135" y="210"/>
                </a:lnTo>
                <a:lnTo>
                  <a:pt x="136" y="212"/>
                </a:lnTo>
                <a:lnTo>
                  <a:pt x="138" y="212"/>
                </a:lnTo>
                <a:lnTo>
                  <a:pt x="141" y="213"/>
                </a:lnTo>
                <a:lnTo>
                  <a:pt x="143" y="213"/>
                </a:lnTo>
                <a:lnTo>
                  <a:pt x="144" y="212"/>
                </a:lnTo>
                <a:lnTo>
                  <a:pt x="149" y="212"/>
                </a:lnTo>
                <a:lnTo>
                  <a:pt x="153" y="213"/>
                </a:lnTo>
                <a:lnTo>
                  <a:pt x="155" y="213"/>
                </a:lnTo>
                <a:lnTo>
                  <a:pt x="155" y="214"/>
                </a:lnTo>
                <a:lnTo>
                  <a:pt x="156" y="215"/>
                </a:lnTo>
                <a:lnTo>
                  <a:pt x="147" y="215"/>
                </a:lnTo>
                <a:lnTo>
                  <a:pt x="144" y="216"/>
                </a:lnTo>
                <a:lnTo>
                  <a:pt x="142" y="216"/>
                </a:lnTo>
                <a:lnTo>
                  <a:pt x="137" y="215"/>
                </a:lnTo>
                <a:lnTo>
                  <a:pt x="134" y="215"/>
                </a:lnTo>
                <a:lnTo>
                  <a:pt x="132" y="214"/>
                </a:lnTo>
                <a:lnTo>
                  <a:pt x="136" y="213"/>
                </a:lnTo>
                <a:lnTo>
                  <a:pt x="135" y="212"/>
                </a:lnTo>
                <a:lnTo>
                  <a:pt x="132" y="212"/>
                </a:lnTo>
                <a:lnTo>
                  <a:pt x="134" y="210"/>
                </a:lnTo>
                <a:close/>
                <a:moveTo>
                  <a:pt x="149" y="208"/>
                </a:moveTo>
                <a:lnTo>
                  <a:pt x="150" y="209"/>
                </a:lnTo>
                <a:lnTo>
                  <a:pt x="159" y="209"/>
                </a:lnTo>
                <a:lnTo>
                  <a:pt x="165" y="212"/>
                </a:lnTo>
                <a:lnTo>
                  <a:pt x="167" y="214"/>
                </a:lnTo>
                <a:lnTo>
                  <a:pt x="167" y="215"/>
                </a:lnTo>
                <a:lnTo>
                  <a:pt x="169" y="215"/>
                </a:lnTo>
                <a:lnTo>
                  <a:pt x="171" y="216"/>
                </a:lnTo>
                <a:lnTo>
                  <a:pt x="171" y="215"/>
                </a:lnTo>
                <a:lnTo>
                  <a:pt x="172" y="215"/>
                </a:lnTo>
                <a:lnTo>
                  <a:pt x="173" y="216"/>
                </a:lnTo>
                <a:lnTo>
                  <a:pt x="174" y="216"/>
                </a:lnTo>
                <a:lnTo>
                  <a:pt x="175" y="218"/>
                </a:lnTo>
                <a:lnTo>
                  <a:pt x="176" y="218"/>
                </a:lnTo>
                <a:lnTo>
                  <a:pt x="179" y="220"/>
                </a:lnTo>
                <a:lnTo>
                  <a:pt x="178" y="219"/>
                </a:lnTo>
                <a:lnTo>
                  <a:pt x="178" y="218"/>
                </a:lnTo>
                <a:lnTo>
                  <a:pt x="176" y="218"/>
                </a:lnTo>
                <a:lnTo>
                  <a:pt x="175" y="216"/>
                </a:lnTo>
                <a:lnTo>
                  <a:pt x="176" y="216"/>
                </a:lnTo>
                <a:lnTo>
                  <a:pt x="176" y="215"/>
                </a:lnTo>
                <a:lnTo>
                  <a:pt x="179" y="215"/>
                </a:lnTo>
                <a:lnTo>
                  <a:pt x="180" y="216"/>
                </a:lnTo>
                <a:lnTo>
                  <a:pt x="181" y="216"/>
                </a:lnTo>
                <a:lnTo>
                  <a:pt x="182" y="215"/>
                </a:lnTo>
                <a:lnTo>
                  <a:pt x="182" y="219"/>
                </a:lnTo>
                <a:lnTo>
                  <a:pt x="184" y="219"/>
                </a:lnTo>
                <a:lnTo>
                  <a:pt x="185" y="221"/>
                </a:lnTo>
                <a:lnTo>
                  <a:pt x="186" y="222"/>
                </a:lnTo>
                <a:lnTo>
                  <a:pt x="185" y="222"/>
                </a:lnTo>
                <a:lnTo>
                  <a:pt x="184" y="221"/>
                </a:lnTo>
                <a:lnTo>
                  <a:pt x="181" y="221"/>
                </a:lnTo>
                <a:lnTo>
                  <a:pt x="181" y="222"/>
                </a:lnTo>
                <a:lnTo>
                  <a:pt x="180" y="222"/>
                </a:lnTo>
                <a:lnTo>
                  <a:pt x="180" y="221"/>
                </a:lnTo>
                <a:lnTo>
                  <a:pt x="179" y="221"/>
                </a:lnTo>
                <a:lnTo>
                  <a:pt x="180" y="222"/>
                </a:lnTo>
                <a:lnTo>
                  <a:pt x="179" y="222"/>
                </a:lnTo>
                <a:lnTo>
                  <a:pt x="176" y="221"/>
                </a:lnTo>
                <a:lnTo>
                  <a:pt x="175" y="221"/>
                </a:lnTo>
                <a:lnTo>
                  <a:pt x="171" y="219"/>
                </a:lnTo>
                <a:lnTo>
                  <a:pt x="167" y="218"/>
                </a:lnTo>
                <a:lnTo>
                  <a:pt x="167" y="216"/>
                </a:lnTo>
                <a:lnTo>
                  <a:pt x="166" y="215"/>
                </a:lnTo>
                <a:lnTo>
                  <a:pt x="163" y="215"/>
                </a:lnTo>
                <a:lnTo>
                  <a:pt x="160" y="213"/>
                </a:lnTo>
                <a:lnTo>
                  <a:pt x="159" y="213"/>
                </a:lnTo>
                <a:lnTo>
                  <a:pt x="157" y="212"/>
                </a:lnTo>
                <a:lnTo>
                  <a:pt x="150" y="212"/>
                </a:lnTo>
                <a:lnTo>
                  <a:pt x="150" y="210"/>
                </a:lnTo>
                <a:lnTo>
                  <a:pt x="149" y="210"/>
                </a:lnTo>
                <a:lnTo>
                  <a:pt x="149" y="208"/>
                </a:lnTo>
                <a:close/>
                <a:moveTo>
                  <a:pt x="110" y="206"/>
                </a:moveTo>
                <a:lnTo>
                  <a:pt x="116" y="206"/>
                </a:lnTo>
                <a:lnTo>
                  <a:pt x="116" y="207"/>
                </a:lnTo>
                <a:lnTo>
                  <a:pt x="117" y="206"/>
                </a:lnTo>
                <a:lnTo>
                  <a:pt x="117" y="207"/>
                </a:lnTo>
                <a:lnTo>
                  <a:pt x="115" y="209"/>
                </a:lnTo>
                <a:lnTo>
                  <a:pt x="111" y="209"/>
                </a:lnTo>
                <a:lnTo>
                  <a:pt x="110" y="210"/>
                </a:lnTo>
                <a:lnTo>
                  <a:pt x="109" y="209"/>
                </a:lnTo>
                <a:lnTo>
                  <a:pt x="110" y="209"/>
                </a:lnTo>
                <a:lnTo>
                  <a:pt x="110" y="208"/>
                </a:lnTo>
                <a:lnTo>
                  <a:pt x="109" y="208"/>
                </a:lnTo>
                <a:lnTo>
                  <a:pt x="109" y="207"/>
                </a:lnTo>
                <a:lnTo>
                  <a:pt x="110" y="206"/>
                </a:lnTo>
                <a:close/>
                <a:moveTo>
                  <a:pt x="122" y="199"/>
                </a:moveTo>
                <a:lnTo>
                  <a:pt x="123" y="199"/>
                </a:lnTo>
                <a:lnTo>
                  <a:pt x="123" y="200"/>
                </a:lnTo>
                <a:lnTo>
                  <a:pt x="122" y="200"/>
                </a:lnTo>
                <a:lnTo>
                  <a:pt x="122" y="199"/>
                </a:lnTo>
                <a:close/>
                <a:moveTo>
                  <a:pt x="131" y="197"/>
                </a:moveTo>
                <a:lnTo>
                  <a:pt x="134" y="197"/>
                </a:lnTo>
                <a:lnTo>
                  <a:pt x="134" y="199"/>
                </a:lnTo>
                <a:lnTo>
                  <a:pt x="135" y="199"/>
                </a:lnTo>
                <a:lnTo>
                  <a:pt x="135" y="200"/>
                </a:lnTo>
                <a:lnTo>
                  <a:pt x="136" y="201"/>
                </a:lnTo>
                <a:lnTo>
                  <a:pt x="143" y="201"/>
                </a:lnTo>
                <a:lnTo>
                  <a:pt x="144" y="202"/>
                </a:lnTo>
                <a:lnTo>
                  <a:pt x="155" y="202"/>
                </a:lnTo>
                <a:lnTo>
                  <a:pt x="156" y="203"/>
                </a:lnTo>
                <a:lnTo>
                  <a:pt x="135" y="203"/>
                </a:lnTo>
                <a:lnTo>
                  <a:pt x="130" y="202"/>
                </a:lnTo>
                <a:lnTo>
                  <a:pt x="126" y="201"/>
                </a:lnTo>
                <a:lnTo>
                  <a:pt x="125" y="201"/>
                </a:lnTo>
                <a:lnTo>
                  <a:pt x="124" y="200"/>
                </a:lnTo>
                <a:lnTo>
                  <a:pt x="124" y="199"/>
                </a:lnTo>
                <a:lnTo>
                  <a:pt x="129" y="199"/>
                </a:lnTo>
                <a:lnTo>
                  <a:pt x="129" y="200"/>
                </a:lnTo>
                <a:lnTo>
                  <a:pt x="130" y="200"/>
                </a:lnTo>
                <a:lnTo>
                  <a:pt x="130" y="199"/>
                </a:lnTo>
                <a:lnTo>
                  <a:pt x="131" y="199"/>
                </a:lnTo>
                <a:lnTo>
                  <a:pt x="131" y="197"/>
                </a:lnTo>
                <a:close/>
                <a:moveTo>
                  <a:pt x="129" y="197"/>
                </a:moveTo>
                <a:lnTo>
                  <a:pt x="130" y="197"/>
                </a:lnTo>
                <a:lnTo>
                  <a:pt x="130" y="199"/>
                </a:lnTo>
                <a:lnTo>
                  <a:pt x="129" y="197"/>
                </a:lnTo>
                <a:close/>
                <a:moveTo>
                  <a:pt x="124" y="188"/>
                </a:moveTo>
                <a:lnTo>
                  <a:pt x="125" y="188"/>
                </a:lnTo>
                <a:lnTo>
                  <a:pt x="126" y="189"/>
                </a:lnTo>
                <a:lnTo>
                  <a:pt x="135" y="189"/>
                </a:lnTo>
                <a:lnTo>
                  <a:pt x="141" y="190"/>
                </a:lnTo>
                <a:lnTo>
                  <a:pt x="140" y="190"/>
                </a:lnTo>
                <a:lnTo>
                  <a:pt x="140" y="191"/>
                </a:lnTo>
                <a:lnTo>
                  <a:pt x="141" y="191"/>
                </a:lnTo>
                <a:lnTo>
                  <a:pt x="141" y="190"/>
                </a:lnTo>
                <a:lnTo>
                  <a:pt x="143" y="193"/>
                </a:lnTo>
                <a:lnTo>
                  <a:pt x="143" y="194"/>
                </a:lnTo>
                <a:lnTo>
                  <a:pt x="142" y="194"/>
                </a:lnTo>
                <a:lnTo>
                  <a:pt x="142" y="195"/>
                </a:lnTo>
                <a:lnTo>
                  <a:pt x="130" y="195"/>
                </a:lnTo>
                <a:lnTo>
                  <a:pt x="128" y="194"/>
                </a:lnTo>
                <a:lnTo>
                  <a:pt x="124" y="193"/>
                </a:lnTo>
                <a:lnTo>
                  <a:pt x="123" y="191"/>
                </a:lnTo>
                <a:lnTo>
                  <a:pt x="124" y="191"/>
                </a:lnTo>
                <a:lnTo>
                  <a:pt x="124" y="190"/>
                </a:lnTo>
                <a:lnTo>
                  <a:pt x="125" y="190"/>
                </a:lnTo>
                <a:lnTo>
                  <a:pt x="124" y="189"/>
                </a:lnTo>
                <a:lnTo>
                  <a:pt x="124" y="188"/>
                </a:lnTo>
                <a:close/>
                <a:moveTo>
                  <a:pt x="115" y="187"/>
                </a:moveTo>
                <a:lnTo>
                  <a:pt x="118" y="187"/>
                </a:lnTo>
                <a:lnTo>
                  <a:pt x="118" y="188"/>
                </a:lnTo>
                <a:lnTo>
                  <a:pt x="120" y="188"/>
                </a:lnTo>
                <a:lnTo>
                  <a:pt x="120" y="189"/>
                </a:lnTo>
                <a:lnTo>
                  <a:pt x="122" y="190"/>
                </a:lnTo>
                <a:lnTo>
                  <a:pt x="123" y="190"/>
                </a:lnTo>
                <a:lnTo>
                  <a:pt x="122" y="191"/>
                </a:lnTo>
                <a:lnTo>
                  <a:pt x="120" y="191"/>
                </a:lnTo>
                <a:lnTo>
                  <a:pt x="118" y="189"/>
                </a:lnTo>
                <a:lnTo>
                  <a:pt x="116" y="189"/>
                </a:lnTo>
                <a:lnTo>
                  <a:pt x="115" y="188"/>
                </a:lnTo>
                <a:lnTo>
                  <a:pt x="115" y="187"/>
                </a:lnTo>
                <a:close/>
                <a:moveTo>
                  <a:pt x="117" y="181"/>
                </a:moveTo>
                <a:lnTo>
                  <a:pt x="119" y="182"/>
                </a:lnTo>
                <a:lnTo>
                  <a:pt x="122" y="182"/>
                </a:lnTo>
                <a:lnTo>
                  <a:pt x="122" y="183"/>
                </a:lnTo>
                <a:lnTo>
                  <a:pt x="120" y="183"/>
                </a:lnTo>
                <a:lnTo>
                  <a:pt x="118" y="182"/>
                </a:lnTo>
                <a:lnTo>
                  <a:pt x="117" y="183"/>
                </a:lnTo>
                <a:lnTo>
                  <a:pt x="116" y="183"/>
                </a:lnTo>
                <a:lnTo>
                  <a:pt x="115" y="182"/>
                </a:lnTo>
                <a:lnTo>
                  <a:pt x="117" y="182"/>
                </a:lnTo>
                <a:lnTo>
                  <a:pt x="117" y="181"/>
                </a:lnTo>
                <a:close/>
                <a:moveTo>
                  <a:pt x="92" y="173"/>
                </a:moveTo>
                <a:lnTo>
                  <a:pt x="93" y="173"/>
                </a:lnTo>
                <a:lnTo>
                  <a:pt x="95" y="175"/>
                </a:lnTo>
                <a:lnTo>
                  <a:pt x="92" y="173"/>
                </a:lnTo>
                <a:close/>
                <a:moveTo>
                  <a:pt x="89" y="171"/>
                </a:moveTo>
                <a:lnTo>
                  <a:pt x="91" y="171"/>
                </a:lnTo>
                <a:lnTo>
                  <a:pt x="92" y="172"/>
                </a:lnTo>
                <a:lnTo>
                  <a:pt x="92" y="173"/>
                </a:lnTo>
                <a:lnTo>
                  <a:pt x="89" y="172"/>
                </a:lnTo>
                <a:lnTo>
                  <a:pt x="89" y="171"/>
                </a:lnTo>
                <a:close/>
                <a:moveTo>
                  <a:pt x="79" y="165"/>
                </a:moveTo>
                <a:lnTo>
                  <a:pt x="80" y="165"/>
                </a:lnTo>
                <a:lnTo>
                  <a:pt x="80" y="166"/>
                </a:lnTo>
                <a:lnTo>
                  <a:pt x="79" y="165"/>
                </a:lnTo>
                <a:close/>
                <a:moveTo>
                  <a:pt x="74" y="159"/>
                </a:moveTo>
                <a:lnTo>
                  <a:pt x="79" y="164"/>
                </a:lnTo>
                <a:lnTo>
                  <a:pt x="79" y="165"/>
                </a:lnTo>
                <a:lnTo>
                  <a:pt x="76" y="164"/>
                </a:lnTo>
                <a:lnTo>
                  <a:pt x="76" y="163"/>
                </a:lnTo>
                <a:lnTo>
                  <a:pt x="75" y="161"/>
                </a:lnTo>
                <a:lnTo>
                  <a:pt x="74" y="161"/>
                </a:lnTo>
                <a:lnTo>
                  <a:pt x="74" y="159"/>
                </a:lnTo>
                <a:close/>
                <a:moveTo>
                  <a:pt x="70" y="159"/>
                </a:moveTo>
                <a:lnTo>
                  <a:pt x="72" y="159"/>
                </a:lnTo>
                <a:lnTo>
                  <a:pt x="70" y="159"/>
                </a:lnTo>
                <a:close/>
                <a:moveTo>
                  <a:pt x="69" y="158"/>
                </a:moveTo>
                <a:lnTo>
                  <a:pt x="70" y="158"/>
                </a:lnTo>
                <a:lnTo>
                  <a:pt x="70" y="159"/>
                </a:lnTo>
                <a:lnTo>
                  <a:pt x="69" y="158"/>
                </a:lnTo>
                <a:close/>
                <a:moveTo>
                  <a:pt x="75" y="152"/>
                </a:moveTo>
                <a:lnTo>
                  <a:pt x="76" y="152"/>
                </a:lnTo>
                <a:lnTo>
                  <a:pt x="79" y="154"/>
                </a:lnTo>
                <a:lnTo>
                  <a:pt x="80" y="154"/>
                </a:lnTo>
                <a:lnTo>
                  <a:pt x="80" y="156"/>
                </a:lnTo>
                <a:lnTo>
                  <a:pt x="81" y="157"/>
                </a:lnTo>
                <a:lnTo>
                  <a:pt x="82" y="157"/>
                </a:lnTo>
                <a:lnTo>
                  <a:pt x="82" y="159"/>
                </a:lnTo>
                <a:lnTo>
                  <a:pt x="81" y="159"/>
                </a:lnTo>
                <a:lnTo>
                  <a:pt x="81" y="158"/>
                </a:lnTo>
                <a:lnTo>
                  <a:pt x="80" y="158"/>
                </a:lnTo>
                <a:lnTo>
                  <a:pt x="79" y="157"/>
                </a:lnTo>
                <a:lnTo>
                  <a:pt x="79" y="156"/>
                </a:lnTo>
                <a:lnTo>
                  <a:pt x="76" y="156"/>
                </a:lnTo>
                <a:lnTo>
                  <a:pt x="76" y="154"/>
                </a:lnTo>
                <a:lnTo>
                  <a:pt x="75" y="152"/>
                </a:lnTo>
                <a:close/>
                <a:moveTo>
                  <a:pt x="64" y="150"/>
                </a:moveTo>
                <a:lnTo>
                  <a:pt x="73" y="158"/>
                </a:lnTo>
                <a:lnTo>
                  <a:pt x="72" y="159"/>
                </a:lnTo>
                <a:lnTo>
                  <a:pt x="70" y="157"/>
                </a:lnTo>
                <a:lnTo>
                  <a:pt x="69" y="157"/>
                </a:lnTo>
                <a:lnTo>
                  <a:pt x="69" y="158"/>
                </a:lnTo>
                <a:lnTo>
                  <a:pt x="68" y="157"/>
                </a:lnTo>
                <a:lnTo>
                  <a:pt x="67" y="154"/>
                </a:lnTo>
                <a:lnTo>
                  <a:pt x="66" y="153"/>
                </a:lnTo>
                <a:lnTo>
                  <a:pt x="64" y="150"/>
                </a:lnTo>
                <a:close/>
                <a:moveTo>
                  <a:pt x="63" y="148"/>
                </a:moveTo>
                <a:lnTo>
                  <a:pt x="64" y="148"/>
                </a:lnTo>
                <a:lnTo>
                  <a:pt x="64" y="150"/>
                </a:lnTo>
                <a:lnTo>
                  <a:pt x="63" y="148"/>
                </a:lnTo>
                <a:close/>
                <a:moveTo>
                  <a:pt x="67" y="144"/>
                </a:moveTo>
                <a:lnTo>
                  <a:pt x="73" y="148"/>
                </a:lnTo>
                <a:lnTo>
                  <a:pt x="74" y="150"/>
                </a:lnTo>
                <a:lnTo>
                  <a:pt x="70" y="150"/>
                </a:lnTo>
                <a:lnTo>
                  <a:pt x="70" y="148"/>
                </a:lnTo>
                <a:lnTo>
                  <a:pt x="69" y="147"/>
                </a:lnTo>
                <a:lnTo>
                  <a:pt x="68" y="145"/>
                </a:lnTo>
                <a:lnTo>
                  <a:pt x="67" y="145"/>
                </a:lnTo>
                <a:lnTo>
                  <a:pt x="67" y="144"/>
                </a:lnTo>
                <a:close/>
                <a:moveTo>
                  <a:pt x="56" y="144"/>
                </a:moveTo>
                <a:lnTo>
                  <a:pt x="58" y="144"/>
                </a:lnTo>
                <a:lnTo>
                  <a:pt x="61" y="145"/>
                </a:lnTo>
                <a:lnTo>
                  <a:pt x="61" y="146"/>
                </a:lnTo>
                <a:lnTo>
                  <a:pt x="62" y="146"/>
                </a:lnTo>
                <a:lnTo>
                  <a:pt x="62" y="147"/>
                </a:lnTo>
                <a:lnTo>
                  <a:pt x="64" y="147"/>
                </a:lnTo>
                <a:lnTo>
                  <a:pt x="63" y="148"/>
                </a:lnTo>
                <a:lnTo>
                  <a:pt x="62" y="148"/>
                </a:lnTo>
                <a:lnTo>
                  <a:pt x="58" y="145"/>
                </a:lnTo>
                <a:lnTo>
                  <a:pt x="57" y="145"/>
                </a:lnTo>
                <a:lnTo>
                  <a:pt x="56" y="144"/>
                </a:lnTo>
                <a:close/>
                <a:moveTo>
                  <a:pt x="57" y="142"/>
                </a:moveTo>
                <a:lnTo>
                  <a:pt x="58" y="142"/>
                </a:lnTo>
                <a:lnTo>
                  <a:pt x="58" y="144"/>
                </a:lnTo>
                <a:lnTo>
                  <a:pt x="57" y="142"/>
                </a:lnTo>
                <a:close/>
                <a:moveTo>
                  <a:pt x="53" y="136"/>
                </a:moveTo>
                <a:lnTo>
                  <a:pt x="54" y="136"/>
                </a:lnTo>
                <a:lnTo>
                  <a:pt x="54" y="138"/>
                </a:lnTo>
                <a:lnTo>
                  <a:pt x="53" y="136"/>
                </a:lnTo>
                <a:close/>
                <a:moveTo>
                  <a:pt x="54" y="135"/>
                </a:moveTo>
                <a:lnTo>
                  <a:pt x="55" y="136"/>
                </a:lnTo>
                <a:lnTo>
                  <a:pt x="54" y="136"/>
                </a:lnTo>
                <a:lnTo>
                  <a:pt x="54" y="135"/>
                </a:lnTo>
                <a:close/>
                <a:moveTo>
                  <a:pt x="47" y="132"/>
                </a:moveTo>
                <a:lnTo>
                  <a:pt x="48" y="133"/>
                </a:lnTo>
                <a:lnTo>
                  <a:pt x="49" y="133"/>
                </a:lnTo>
                <a:lnTo>
                  <a:pt x="49" y="134"/>
                </a:lnTo>
                <a:lnTo>
                  <a:pt x="47" y="133"/>
                </a:lnTo>
                <a:lnTo>
                  <a:pt x="47" y="132"/>
                </a:lnTo>
                <a:close/>
                <a:moveTo>
                  <a:pt x="70" y="130"/>
                </a:moveTo>
                <a:lnTo>
                  <a:pt x="70" y="132"/>
                </a:lnTo>
                <a:lnTo>
                  <a:pt x="72" y="132"/>
                </a:lnTo>
                <a:lnTo>
                  <a:pt x="70" y="130"/>
                </a:lnTo>
                <a:close/>
                <a:moveTo>
                  <a:pt x="54" y="128"/>
                </a:moveTo>
                <a:lnTo>
                  <a:pt x="55" y="128"/>
                </a:lnTo>
                <a:lnTo>
                  <a:pt x="55" y="130"/>
                </a:lnTo>
                <a:lnTo>
                  <a:pt x="56" y="130"/>
                </a:lnTo>
                <a:lnTo>
                  <a:pt x="56" y="132"/>
                </a:lnTo>
                <a:lnTo>
                  <a:pt x="55" y="133"/>
                </a:lnTo>
                <a:lnTo>
                  <a:pt x="55" y="132"/>
                </a:lnTo>
                <a:lnTo>
                  <a:pt x="54" y="132"/>
                </a:lnTo>
                <a:lnTo>
                  <a:pt x="54" y="128"/>
                </a:lnTo>
                <a:close/>
                <a:moveTo>
                  <a:pt x="41" y="121"/>
                </a:moveTo>
                <a:lnTo>
                  <a:pt x="42" y="121"/>
                </a:lnTo>
                <a:lnTo>
                  <a:pt x="44" y="123"/>
                </a:lnTo>
                <a:lnTo>
                  <a:pt x="44" y="124"/>
                </a:lnTo>
                <a:lnTo>
                  <a:pt x="43" y="124"/>
                </a:lnTo>
                <a:lnTo>
                  <a:pt x="42" y="123"/>
                </a:lnTo>
                <a:lnTo>
                  <a:pt x="41" y="121"/>
                </a:lnTo>
                <a:close/>
                <a:moveTo>
                  <a:pt x="41" y="120"/>
                </a:moveTo>
                <a:lnTo>
                  <a:pt x="42" y="121"/>
                </a:lnTo>
                <a:lnTo>
                  <a:pt x="41" y="120"/>
                </a:lnTo>
                <a:close/>
                <a:moveTo>
                  <a:pt x="32" y="114"/>
                </a:moveTo>
                <a:lnTo>
                  <a:pt x="32" y="116"/>
                </a:lnTo>
                <a:lnTo>
                  <a:pt x="31" y="116"/>
                </a:lnTo>
                <a:lnTo>
                  <a:pt x="31" y="115"/>
                </a:lnTo>
                <a:lnTo>
                  <a:pt x="32" y="114"/>
                </a:lnTo>
                <a:close/>
                <a:moveTo>
                  <a:pt x="32" y="113"/>
                </a:moveTo>
                <a:lnTo>
                  <a:pt x="33" y="113"/>
                </a:lnTo>
                <a:lnTo>
                  <a:pt x="33" y="114"/>
                </a:lnTo>
                <a:lnTo>
                  <a:pt x="32" y="114"/>
                </a:lnTo>
                <a:lnTo>
                  <a:pt x="32" y="113"/>
                </a:lnTo>
                <a:close/>
                <a:moveTo>
                  <a:pt x="53" y="111"/>
                </a:moveTo>
                <a:lnTo>
                  <a:pt x="55" y="113"/>
                </a:lnTo>
                <a:lnTo>
                  <a:pt x="57" y="117"/>
                </a:lnTo>
                <a:lnTo>
                  <a:pt x="58" y="118"/>
                </a:lnTo>
                <a:lnTo>
                  <a:pt x="58" y="116"/>
                </a:lnTo>
                <a:lnTo>
                  <a:pt x="60" y="116"/>
                </a:lnTo>
                <a:lnTo>
                  <a:pt x="62" y="118"/>
                </a:lnTo>
                <a:lnTo>
                  <a:pt x="63" y="121"/>
                </a:lnTo>
                <a:lnTo>
                  <a:pt x="64" y="121"/>
                </a:lnTo>
                <a:lnTo>
                  <a:pt x="67" y="123"/>
                </a:lnTo>
                <a:lnTo>
                  <a:pt x="67" y="124"/>
                </a:lnTo>
                <a:lnTo>
                  <a:pt x="66" y="124"/>
                </a:lnTo>
                <a:lnTo>
                  <a:pt x="64" y="123"/>
                </a:lnTo>
                <a:lnTo>
                  <a:pt x="64" y="122"/>
                </a:lnTo>
                <a:lnTo>
                  <a:pt x="62" y="121"/>
                </a:lnTo>
                <a:lnTo>
                  <a:pt x="61" y="121"/>
                </a:lnTo>
                <a:lnTo>
                  <a:pt x="61" y="120"/>
                </a:lnTo>
                <a:lnTo>
                  <a:pt x="60" y="120"/>
                </a:lnTo>
                <a:lnTo>
                  <a:pt x="60" y="121"/>
                </a:lnTo>
                <a:lnTo>
                  <a:pt x="62" y="122"/>
                </a:lnTo>
                <a:lnTo>
                  <a:pt x="66" y="127"/>
                </a:lnTo>
                <a:lnTo>
                  <a:pt x="67" y="128"/>
                </a:lnTo>
                <a:lnTo>
                  <a:pt x="68" y="128"/>
                </a:lnTo>
                <a:lnTo>
                  <a:pt x="67" y="128"/>
                </a:lnTo>
                <a:lnTo>
                  <a:pt x="67" y="127"/>
                </a:lnTo>
                <a:lnTo>
                  <a:pt x="66" y="126"/>
                </a:lnTo>
                <a:lnTo>
                  <a:pt x="66" y="124"/>
                </a:lnTo>
                <a:lnTo>
                  <a:pt x="67" y="126"/>
                </a:lnTo>
                <a:lnTo>
                  <a:pt x="72" y="129"/>
                </a:lnTo>
                <a:lnTo>
                  <a:pt x="72" y="130"/>
                </a:lnTo>
                <a:lnTo>
                  <a:pt x="73" y="130"/>
                </a:lnTo>
                <a:lnTo>
                  <a:pt x="74" y="132"/>
                </a:lnTo>
                <a:lnTo>
                  <a:pt x="74" y="133"/>
                </a:lnTo>
                <a:lnTo>
                  <a:pt x="73" y="132"/>
                </a:lnTo>
                <a:lnTo>
                  <a:pt x="73" y="134"/>
                </a:lnTo>
                <a:lnTo>
                  <a:pt x="72" y="134"/>
                </a:lnTo>
                <a:lnTo>
                  <a:pt x="70" y="133"/>
                </a:lnTo>
                <a:lnTo>
                  <a:pt x="69" y="133"/>
                </a:lnTo>
                <a:lnTo>
                  <a:pt x="72" y="134"/>
                </a:lnTo>
                <a:lnTo>
                  <a:pt x="72" y="135"/>
                </a:lnTo>
                <a:lnTo>
                  <a:pt x="70" y="135"/>
                </a:lnTo>
                <a:lnTo>
                  <a:pt x="69" y="134"/>
                </a:lnTo>
                <a:lnTo>
                  <a:pt x="68" y="134"/>
                </a:lnTo>
                <a:lnTo>
                  <a:pt x="68" y="130"/>
                </a:lnTo>
                <a:lnTo>
                  <a:pt x="69" y="129"/>
                </a:lnTo>
                <a:lnTo>
                  <a:pt x="66" y="129"/>
                </a:lnTo>
                <a:lnTo>
                  <a:pt x="64" y="127"/>
                </a:lnTo>
                <a:lnTo>
                  <a:pt x="62" y="126"/>
                </a:lnTo>
                <a:lnTo>
                  <a:pt x="62" y="124"/>
                </a:lnTo>
                <a:lnTo>
                  <a:pt x="60" y="123"/>
                </a:lnTo>
                <a:lnTo>
                  <a:pt x="61" y="123"/>
                </a:lnTo>
                <a:lnTo>
                  <a:pt x="60" y="122"/>
                </a:lnTo>
                <a:lnTo>
                  <a:pt x="58" y="120"/>
                </a:lnTo>
                <a:lnTo>
                  <a:pt x="54" y="114"/>
                </a:lnTo>
                <a:lnTo>
                  <a:pt x="53" y="113"/>
                </a:lnTo>
                <a:lnTo>
                  <a:pt x="53" y="111"/>
                </a:lnTo>
                <a:close/>
                <a:moveTo>
                  <a:pt x="36" y="110"/>
                </a:moveTo>
                <a:lnTo>
                  <a:pt x="37" y="111"/>
                </a:lnTo>
                <a:lnTo>
                  <a:pt x="38" y="111"/>
                </a:lnTo>
                <a:lnTo>
                  <a:pt x="38" y="116"/>
                </a:lnTo>
                <a:lnTo>
                  <a:pt x="39" y="117"/>
                </a:lnTo>
                <a:lnTo>
                  <a:pt x="41" y="120"/>
                </a:lnTo>
                <a:lnTo>
                  <a:pt x="39" y="118"/>
                </a:lnTo>
                <a:lnTo>
                  <a:pt x="38" y="118"/>
                </a:lnTo>
                <a:lnTo>
                  <a:pt x="38" y="120"/>
                </a:lnTo>
                <a:lnTo>
                  <a:pt x="37" y="120"/>
                </a:lnTo>
                <a:lnTo>
                  <a:pt x="37" y="118"/>
                </a:lnTo>
                <a:lnTo>
                  <a:pt x="38" y="117"/>
                </a:lnTo>
                <a:lnTo>
                  <a:pt x="37" y="116"/>
                </a:lnTo>
                <a:lnTo>
                  <a:pt x="36" y="114"/>
                </a:lnTo>
                <a:lnTo>
                  <a:pt x="36" y="110"/>
                </a:lnTo>
                <a:close/>
                <a:moveTo>
                  <a:pt x="18" y="105"/>
                </a:moveTo>
                <a:lnTo>
                  <a:pt x="18" y="107"/>
                </a:lnTo>
                <a:lnTo>
                  <a:pt x="17" y="107"/>
                </a:lnTo>
                <a:lnTo>
                  <a:pt x="18" y="105"/>
                </a:lnTo>
                <a:close/>
                <a:moveTo>
                  <a:pt x="17" y="104"/>
                </a:moveTo>
                <a:lnTo>
                  <a:pt x="18" y="104"/>
                </a:lnTo>
                <a:lnTo>
                  <a:pt x="18" y="105"/>
                </a:lnTo>
                <a:lnTo>
                  <a:pt x="17" y="104"/>
                </a:lnTo>
                <a:close/>
                <a:moveTo>
                  <a:pt x="53" y="102"/>
                </a:moveTo>
                <a:lnTo>
                  <a:pt x="54" y="103"/>
                </a:lnTo>
                <a:lnTo>
                  <a:pt x="53" y="104"/>
                </a:lnTo>
                <a:lnTo>
                  <a:pt x="54" y="104"/>
                </a:lnTo>
                <a:lnTo>
                  <a:pt x="55" y="107"/>
                </a:lnTo>
                <a:lnTo>
                  <a:pt x="56" y="107"/>
                </a:lnTo>
                <a:lnTo>
                  <a:pt x="57" y="109"/>
                </a:lnTo>
                <a:lnTo>
                  <a:pt x="57" y="111"/>
                </a:lnTo>
                <a:lnTo>
                  <a:pt x="53" y="107"/>
                </a:lnTo>
                <a:lnTo>
                  <a:pt x="53" y="108"/>
                </a:lnTo>
                <a:lnTo>
                  <a:pt x="51" y="108"/>
                </a:lnTo>
                <a:lnTo>
                  <a:pt x="49" y="105"/>
                </a:lnTo>
                <a:lnTo>
                  <a:pt x="53" y="105"/>
                </a:lnTo>
                <a:lnTo>
                  <a:pt x="51" y="104"/>
                </a:lnTo>
                <a:lnTo>
                  <a:pt x="51" y="103"/>
                </a:lnTo>
                <a:lnTo>
                  <a:pt x="53" y="103"/>
                </a:lnTo>
                <a:lnTo>
                  <a:pt x="53" y="102"/>
                </a:lnTo>
                <a:close/>
                <a:moveTo>
                  <a:pt x="13" y="101"/>
                </a:moveTo>
                <a:lnTo>
                  <a:pt x="14" y="102"/>
                </a:lnTo>
                <a:lnTo>
                  <a:pt x="13" y="102"/>
                </a:lnTo>
                <a:lnTo>
                  <a:pt x="13" y="101"/>
                </a:lnTo>
                <a:close/>
                <a:moveTo>
                  <a:pt x="25" y="96"/>
                </a:moveTo>
                <a:lnTo>
                  <a:pt x="25" y="97"/>
                </a:lnTo>
                <a:lnTo>
                  <a:pt x="24" y="97"/>
                </a:lnTo>
                <a:lnTo>
                  <a:pt x="25" y="96"/>
                </a:lnTo>
                <a:close/>
                <a:moveTo>
                  <a:pt x="23" y="91"/>
                </a:moveTo>
                <a:lnTo>
                  <a:pt x="24" y="92"/>
                </a:lnTo>
                <a:lnTo>
                  <a:pt x="23" y="93"/>
                </a:lnTo>
                <a:lnTo>
                  <a:pt x="25" y="93"/>
                </a:lnTo>
                <a:lnTo>
                  <a:pt x="24" y="92"/>
                </a:lnTo>
                <a:lnTo>
                  <a:pt x="24" y="91"/>
                </a:lnTo>
                <a:lnTo>
                  <a:pt x="23" y="91"/>
                </a:lnTo>
                <a:close/>
                <a:moveTo>
                  <a:pt x="35" y="83"/>
                </a:moveTo>
                <a:lnTo>
                  <a:pt x="36" y="83"/>
                </a:lnTo>
                <a:lnTo>
                  <a:pt x="37" y="84"/>
                </a:lnTo>
                <a:lnTo>
                  <a:pt x="37" y="89"/>
                </a:lnTo>
                <a:lnTo>
                  <a:pt x="39" y="93"/>
                </a:lnTo>
                <a:lnTo>
                  <a:pt x="39" y="95"/>
                </a:lnTo>
                <a:lnTo>
                  <a:pt x="42" y="95"/>
                </a:lnTo>
                <a:lnTo>
                  <a:pt x="42" y="96"/>
                </a:lnTo>
                <a:lnTo>
                  <a:pt x="41" y="97"/>
                </a:lnTo>
                <a:lnTo>
                  <a:pt x="41" y="102"/>
                </a:lnTo>
                <a:lnTo>
                  <a:pt x="42" y="104"/>
                </a:lnTo>
                <a:lnTo>
                  <a:pt x="42" y="105"/>
                </a:lnTo>
                <a:lnTo>
                  <a:pt x="41" y="105"/>
                </a:lnTo>
                <a:lnTo>
                  <a:pt x="41" y="107"/>
                </a:lnTo>
                <a:lnTo>
                  <a:pt x="42" y="107"/>
                </a:lnTo>
                <a:lnTo>
                  <a:pt x="42" y="111"/>
                </a:lnTo>
                <a:lnTo>
                  <a:pt x="43" y="113"/>
                </a:lnTo>
                <a:lnTo>
                  <a:pt x="43" y="115"/>
                </a:lnTo>
                <a:lnTo>
                  <a:pt x="44" y="115"/>
                </a:lnTo>
                <a:lnTo>
                  <a:pt x="44" y="116"/>
                </a:lnTo>
                <a:lnTo>
                  <a:pt x="42" y="116"/>
                </a:lnTo>
                <a:lnTo>
                  <a:pt x="39" y="114"/>
                </a:lnTo>
                <a:lnTo>
                  <a:pt x="38" y="111"/>
                </a:lnTo>
                <a:lnTo>
                  <a:pt x="38" y="108"/>
                </a:lnTo>
                <a:lnTo>
                  <a:pt x="37" y="108"/>
                </a:lnTo>
                <a:lnTo>
                  <a:pt x="37" y="104"/>
                </a:lnTo>
                <a:lnTo>
                  <a:pt x="36" y="104"/>
                </a:lnTo>
                <a:lnTo>
                  <a:pt x="36" y="103"/>
                </a:lnTo>
                <a:lnTo>
                  <a:pt x="35" y="99"/>
                </a:lnTo>
                <a:lnTo>
                  <a:pt x="33" y="99"/>
                </a:lnTo>
                <a:lnTo>
                  <a:pt x="33" y="98"/>
                </a:lnTo>
                <a:lnTo>
                  <a:pt x="35" y="98"/>
                </a:lnTo>
                <a:lnTo>
                  <a:pt x="33" y="97"/>
                </a:lnTo>
                <a:lnTo>
                  <a:pt x="36" y="97"/>
                </a:lnTo>
                <a:lnTo>
                  <a:pt x="36" y="98"/>
                </a:lnTo>
                <a:lnTo>
                  <a:pt x="37" y="99"/>
                </a:lnTo>
                <a:lnTo>
                  <a:pt x="38" y="99"/>
                </a:lnTo>
                <a:lnTo>
                  <a:pt x="38" y="97"/>
                </a:lnTo>
                <a:lnTo>
                  <a:pt x="39" y="96"/>
                </a:lnTo>
                <a:lnTo>
                  <a:pt x="38" y="96"/>
                </a:lnTo>
                <a:lnTo>
                  <a:pt x="37" y="95"/>
                </a:lnTo>
                <a:lnTo>
                  <a:pt x="36" y="91"/>
                </a:lnTo>
                <a:lnTo>
                  <a:pt x="36" y="90"/>
                </a:lnTo>
                <a:lnTo>
                  <a:pt x="33" y="87"/>
                </a:lnTo>
                <a:lnTo>
                  <a:pt x="33" y="85"/>
                </a:lnTo>
                <a:lnTo>
                  <a:pt x="35" y="84"/>
                </a:lnTo>
                <a:lnTo>
                  <a:pt x="35" y="83"/>
                </a:lnTo>
                <a:close/>
                <a:moveTo>
                  <a:pt x="44" y="79"/>
                </a:moveTo>
                <a:lnTo>
                  <a:pt x="47" y="79"/>
                </a:lnTo>
                <a:lnTo>
                  <a:pt x="47" y="80"/>
                </a:lnTo>
                <a:lnTo>
                  <a:pt x="48" y="81"/>
                </a:lnTo>
                <a:lnTo>
                  <a:pt x="48" y="83"/>
                </a:lnTo>
                <a:lnTo>
                  <a:pt x="47" y="84"/>
                </a:lnTo>
                <a:lnTo>
                  <a:pt x="50" y="84"/>
                </a:lnTo>
                <a:lnTo>
                  <a:pt x="50" y="85"/>
                </a:lnTo>
                <a:lnTo>
                  <a:pt x="49" y="87"/>
                </a:lnTo>
                <a:lnTo>
                  <a:pt x="50" y="89"/>
                </a:lnTo>
                <a:lnTo>
                  <a:pt x="53" y="89"/>
                </a:lnTo>
                <a:lnTo>
                  <a:pt x="53" y="91"/>
                </a:lnTo>
                <a:lnTo>
                  <a:pt x="56" y="95"/>
                </a:lnTo>
                <a:lnTo>
                  <a:pt x="55" y="95"/>
                </a:lnTo>
                <a:lnTo>
                  <a:pt x="55" y="96"/>
                </a:lnTo>
                <a:lnTo>
                  <a:pt x="54" y="95"/>
                </a:lnTo>
                <a:lnTo>
                  <a:pt x="54" y="97"/>
                </a:lnTo>
                <a:lnTo>
                  <a:pt x="51" y="97"/>
                </a:lnTo>
                <a:lnTo>
                  <a:pt x="49" y="96"/>
                </a:lnTo>
                <a:lnTo>
                  <a:pt x="48" y="95"/>
                </a:lnTo>
                <a:lnTo>
                  <a:pt x="48" y="91"/>
                </a:lnTo>
                <a:lnTo>
                  <a:pt x="47" y="91"/>
                </a:lnTo>
                <a:lnTo>
                  <a:pt x="48" y="92"/>
                </a:lnTo>
                <a:lnTo>
                  <a:pt x="47" y="92"/>
                </a:lnTo>
                <a:lnTo>
                  <a:pt x="43" y="91"/>
                </a:lnTo>
                <a:lnTo>
                  <a:pt x="42" y="91"/>
                </a:lnTo>
                <a:lnTo>
                  <a:pt x="39" y="89"/>
                </a:lnTo>
                <a:lnTo>
                  <a:pt x="39" y="87"/>
                </a:lnTo>
                <a:lnTo>
                  <a:pt x="42" y="87"/>
                </a:lnTo>
                <a:lnTo>
                  <a:pt x="42" y="86"/>
                </a:lnTo>
                <a:lnTo>
                  <a:pt x="43" y="86"/>
                </a:lnTo>
                <a:lnTo>
                  <a:pt x="44" y="85"/>
                </a:lnTo>
                <a:lnTo>
                  <a:pt x="44" y="81"/>
                </a:lnTo>
                <a:lnTo>
                  <a:pt x="45" y="80"/>
                </a:lnTo>
                <a:lnTo>
                  <a:pt x="44" y="80"/>
                </a:lnTo>
                <a:lnTo>
                  <a:pt x="44" y="79"/>
                </a:lnTo>
                <a:close/>
                <a:moveTo>
                  <a:pt x="228" y="37"/>
                </a:moveTo>
                <a:lnTo>
                  <a:pt x="229" y="37"/>
                </a:lnTo>
                <a:lnTo>
                  <a:pt x="229" y="38"/>
                </a:lnTo>
                <a:lnTo>
                  <a:pt x="228" y="38"/>
                </a:lnTo>
                <a:lnTo>
                  <a:pt x="228" y="37"/>
                </a:lnTo>
                <a:close/>
                <a:moveTo>
                  <a:pt x="120" y="0"/>
                </a:moveTo>
                <a:lnTo>
                  <a:pt x="124" y="0"/>
                </a:lnTo>
                <a:lnTo>
                  <a:pt x="124" y="1"/>
                </a:lnTo>
                <a:lnTo>
                  <a:pt x="126" y="1"/>
                </a:lnTo>
                <a:lnTo>
                  <a:pt x="128" y="3"/>
                </a:lnTo>
                <a:lnTo>
                  <a:pt x="130" y="4"/>
                </a:lnTo>
                <a:lnTo>
                  <a:pt x="130" y="5"/>
                </a:lnTo>
                <a:lnTo>
                  <a:pt x="131" y="5"/>
                </a:lnTo>
                <a:lnTo>
                  <a:pt x="131" y="4"/>
                </a:lnTo>
                <a:lnTo>
                  <a:pt x="132" y="4"/>
                </a:lnTo>
                <a:lnTo>
                  <a:pt x="135" y="6"/>
                </a:lnTo>
                <a:lnTo>
                  <a:pt x="135" y="7"/>
                </a:lnTo>
                <a:lnTo>
                  <a:pt x="136" y="9"/>
                </a:lnTo>
                <a:lnTo>
                  <a:pt x="137" y="9"/>
                </a:lnTo>
                <a:lnTo>
                  <a:pt x="138" y="10"/>
                </a:lnTo>
                <a:lnTo>
                  <a:pt x="142" y="10"/>
                </a:lnTo>
                <a:lnTo>
                  <a:pt x="142" y="11"/>
                </a:lnTo>
                <a:lnTo>
                  <a:pt x="143" y="12"/>
                </a:lnTo>
                <a:lnTo>
                  <a:pt x="143" y="16"/>
                </a:lnTo>
                <a:lnTo>
                  <a:pt x="144" y="16"/>
                </a:lnTo>
                <a:lnTo>
                  <a:pt x="147" y="21"/>
                </a:lnTo>
                <a:lnTo>
                  <a:pt x="149" y="23"/>
                </a:lnTo>
                <a:lnTo>
                  <a:pt x="150" y="23"/>
                </a:lnTo>
                <a:lnTo>
                  <a:pt x="150" y="24"/>
                </a:lnTo>
                <a:lnTo>
                  <a:pt x="153" y="25"/>
                </a:lnTo>
                <a:lnTo>
                  <a:pt x="156" y="27"/>
                </a:lnTo>
                <a:lnTo>
                  <a:pt x="157" y="27"/>
                </a:lnTo>
                <a:lnTo>
                  <a:pt x="160" y="31"/>
                </a:lnTo>
                <a:lnTo>
                  <a:pt x="160" y="32"/>
                </a:lnTo>
                <a:lnTo>
                  <a:pt x="161" y="32"/>
                </a:lnTo>
                <a:lnTo>
                  <a:pt x="161" y="35"/>
                </a:lnTo>
                <a:lnTo>
                  <a:pt x="162" y="35"/>
                </a:lnTo>
                <a:lnTo>
                  <a:pt x="162" y="36"/>
                </a:lnTo>
                <a:lnTo>
                  <a:pt x="165" y="36"/>
                </a:lnTo>
                <a:lnTo>
                  <a:pt x="166" y="37"/>
                </a:lnTo>
                <a:lnTo>
                  <a:pt x="166" y="36"/>
                </a:lnTo>
                <a:lnTo>
                  <a:pt x="172" y="36"/>
                </a:lnTo>
                <a:lnTo>
                  <a:pt x="175" y="40"/>
                </a:lnTo>
                <a:lnTo>
                  <a:pt x="175" y="43"/>
                </a:lnTo>
                <a:lnTo>
                  <a:pt x="178" y="43"/>
                </a:lnTo>
                <a:lnTo>
                  <a:pt x="182" y="44"/>
                </a:lnTo>
                <a:lnTo>
                  <a:pt x="185" y="47"/>
                </a:lnTo>
                <a:lnTo>
                  <a:pt x="185" y="46"/>
                </a:lnTo>
                <a:lnTo>
                  <a:pt x="190" y="46"/>
                </a:lnTo>
                <a:lnTo>
                  <a:pt x="193" y="47"/>
                </a:lnTo>
                <a:lnTo>
                  <a:pt x="200" y="47"/>
                </a:lnTo>
                <a:lnTo>
                  <a:pt x="202" y="48"/>
                </a:lnTo>
                <a:lnTo>
                  <a:pt x="206" y="48"/>
                </a:lnTo>
                <a:lnTo>
                  <a:pt x="206" y="49"/>
                </a:lnTo>
                <a:lnTo>
                  <a:pt x="207" y="49"/>
                </a:lnTo>
                <a:lnTo>
                  <a:pt x="211" y="46"/>
                </a:lnTo>
                <a:lnTo>
                  <a:pt x="211" y="47"/>
                </a:lnTo>
                <a:lnTo>
                  <a:pt x="212" y="46"/>
                </a:lnTo>
                <a:lnTo>
                  <a:pt x="215" y="44"/>
                </a:lnTo>
                <a:lnTo>
                  <a:pt x="215" y="43"/>
                </a:lnTo>
                <a:lnTo>
                  <a:pt x="217" y="41"/>
                </a:lnTo>
                <a:lnTo>
                  <a:pt x="217" y="40"/>
                </a:lnTo>
                <a:lnTo>
                  <a:pt x="218" y="38"/>
                </a:lnTo>
                <a:lnTo>
                  <a:pt x="219" y="38"/>
                </a:lnTo>
                <a:lnTo>
                  <a:pt x="221" y="40"/>
                </a:lnTo>
                <a:lnTo>
                  <a:pt x="223" y="41"/>
                </a:lnTo>
                <a:lnTo>
                  <a:pt x="223" y="40"/>
                </a:lnTo>
                <a:lnTo>
                  <a:pt x="224" y="40"/>
                </a:lnTo>
                <a:lnTo>
                  <a:pt x="224" y="38"/>
                </a:lnTo>
                <a:lnTo>
                  <a:pt x="228" y="38"/>
                </a:lnTo>
                <a:lnTo>
                  <a:pt x="228" y="41"/>
                </a:lnTo>
                <a:lnTo>
                  <a:pt x="229" y="41"/>
                </a:lnTo>
                <a:lnTo>
                  <a:pt x="228" y="42"/>
                </a:lnTo>
                <a:lnTo>
                  <a:pt x="227" y="42"/>
                </a:lnTo>
                <a:lnTo>
                  <a:pt x="227" y="46"/>
                </a:lnTo>
                <a:lnTo>
                  <a:pt x="229" y="48"/>
                </a:lnTo>
                <a:lnTo>
                  <a:pt x="229" y="52"/>
                </a:lnTo>
                <a:lnTo>
                  <a:pt x="230" y="52"/>
                </a:lnTo>
                <a:lnTo>
                  <a:pt x="231" y="53"/>
                </a:lnTo>
                <a:lnTo>
                  <a:pt x="231" y="54"/>
                </a:lnTo>
                <a:lnTo>
                  <a:pt x="229" y="56"/>
                </a:lnTo>
                <a:lnTo>
                  <a:pt x="229" y="60"/>
                </a:lnTo>
                <a:lnTo>
                  <a:pt x="230" y="61"/>
                </a:lnTo>
                <a:lnTo>
                  <a:pt x="231" y="61"/>
                </a:lnTo>
                <a:lnTo>
                  <a:pt x="231" y="60"/>
                </a:lnTo>
                <a:lnTo>
                  <a:pt x="234" y="60"/>
                </a:lnTo>
                <a:lnTo>
                  <a:pt x="234" y="61"/>
                </a:lnTo>
                <a:lnTo>
                  <a:pt x="236" y="61"/>
                </a:lnTo>
                <a:lnTo>
                  <a:pt x="236" y="62"/>
                </a:lnTo>
                <a:lnTo>
                  <a:pt x="237" y="62"/>
                </a:lnTo>
                <a:lnTo>
                  <a:pt x="236" y="64"/>
                </a:lnTo>
                <a:lnTo>
                  <a:pt x="233" y="64"/>
                </a:lnTo>
                <a:lnTo>
                  <a:pt x="233" y="67"/>
                </a:lnTo>
                <a:lnTo>
                  <a:pt x="234" y="67"/>
                </a:lnTo>
                <a:lnTo>
                  <a:pt x="234" y="68"/>
                </a:lnTo>
                <a:lnTo>
                  <a:pt x="231" y="70"/>
                </a:lnTo>
                <a:lnTo>
                  <a:pt x="233" y="71"/>
                </a:lnTo>
                <a:lnTo>
                  <a:pt x="233" y="72"/>
                </a:lnTo>
                <a:lnTo>
                  <a:pt x="236" y="72"/>
                </a:lnTo>
                <a:lnTo>
                  <a:pt x="236" y="74"/>
                </a:lnTo>
                <a:lnTo>
                  <a:pt x="237" y="74"/>
                </a:lnTo>
                <a:lnTo>
                  <a:pt x="237" y="75"/>
                </a:lnTo>
                <a:lnTo>
                  <a:pt x="240" y="77"/>
                </a:lnTo>
                <a:lnTo>
                  <a:pt x="248" y="79"/>
                </a:lnTo>
                <a:lnTo>
                  <a:pt x="248" y="80"/>
                </a:lnTo>
                <a:lnTo>
                  <a:pt x="249" y="80"/>
                </a:lnTo>
                <a:lnTo>
                  <a:pt x="249" y="84"/>
                </a:lnTo>
                <a:lnTo>
                  <a:pt x="246" y="84"/>
                </a:lnTo>
                <a:lnTo>
                  <a:pt x="244" y="83"/>
                </a:lnTo>
                <a:lnTo>
                  <a:pt x="244" y="84"/>
                </a:lnTo>
                <a:lnTo>
                  <a:pt x="241" y="84"/>
                </a:lnTo>
                <a:lnTo>
                  <a:pt x="240" y="83"/>
                </a:lnTo>
                <a:lnTo>
                  <a:pt x="240" y="81"/>
                </a:lnTo>
                <a:lnTo>
                  <a:pt x="237" y="81"/>
                </a:lnTo>
                <a:lnTo>
                  <a:pt x="238" y="83"/>
                </a:lnTo>
                <a:lnTo>
                  <a:pt x="238" y="85"/>
                </a:lnTo>
                <a:lnTo>
                  <a:pt x="235" y="85"/>
                </a:lnTo>
                <a:lnTo>
                  <a:pt x="235" y="86"/>
                </a:lnTo>
                <a:lnTo>
                  <a:pt x="236" y="87"/>
                </a:lnTo>
                <a:lnTo>
                  <a:pt x="236" y="95"/>
                </a:lnTo>
                <a:lnTo>
                  <a:pt x="237" y="96"/>
                </a:lnTo>
                <a:lnTo>
                  <a:pt x="237" y="95"/>
                </a:lnTo>
                <a:lnTo>
                  <a:pt x="238" y="96"/>
                </a:lnTo>
                <a:lnTo>
                  <a:pt x="235" y="99"/>
                </a:lnTo>
                <a:lnTo>
                  <a:pt x="234" y="98"/>
                </a:lnTo>
                <a:lnTo>
                  <a:pt x="233" y="98"/>
                </a:lnTo>
                <a:lnTo>
                  <a:pt x="233" y="99"/>
                </a:lnTo>
                <a:lnTo>
                  <a:pt x="234" y="102"/>
                </a:lnTo>
                <a:lnTo>
                  <a:pt x="227" y="102"/>
                </a:lnTo>
                <a:lnTo>
                  <a:pt x="223" y="98"/>
                </a:lnTo>
                <a:lnTo>
                  <a:pt x="223" y="96"/>
                </a:lnTo>
                <a:lnTo>
                  <a:pt x="224" y="96"/>
                </a:lnTo>
                <a:lnTo>
                  <a:pt x="224" y="93"/>
                </a:lnTo>
                <a:lnTo>
                  <a:pt x="223" y="93"/>
                </a:lnTo>
                <a:lnTo>
                  <a:pt x="222" y="92"/>
                </a:lnTo>
                <a:lnTo>
                  <a:pt x="221" y="92"/>
                </a:lnTo>
                <a:lnTo>
                  <a:pt x="219" y="89"/>
                </a:lnTo>
                <a:lnTo>
                  <a:pt x="218" y="89"/>
                </a:lnTo>
                <a:lnTo>
                  <a:pt x="218" y="90"/>
                </a:lnTo>
                <a:lnTo>
                  <a:pt x="217" y="90"/>
                </a:lnTo>
                <a:lnTo>
                  <a:pt x="217" y="87"/>
                </a:lnTo>
                <a:lnTo>
                  <a:pt x="213" y="87"/>
                </a:lnTo>
                <a:lnTo>
                  <a:pt x="213" y="90"/>
                </a:lnTo>
                <a:lnTo>
                  <a:pt x="211" y="90"/>
                </a:lnTo>
                <a:lnTo>
                  <a:pt x="207" y="86"/>
                </a:lnTo>
                <a:lnTo>
                  <a:pt x="204" y="86"/>
                </a:lnTo>
                <a:lnTo>
                  <a:pt x="202" y="85"/>
                </a:lnTo>
                <a:lnTo>
                  <a:pt x="200" y="84"/>
                </a:lnTo>
                <a:lnTo>
                  <a:pt x="199" y="84"/>
                </a:lnTo>
                <a:lnTo>
                  <a:pt x="199" y="86"/>
                </a:lnTo>
                <a:lnTo>
                  <a:pt x="198" y="87"/>
                </a:lnTo>
                <a:lnTo>
                  <a:pt x="194" y="87"/>
                </a:lnTo>
                <a:lnTo>
                  <a:pt x="192" y="85"/>
                </a:lnTo>
                <a:lnTo>
                  <a:pt x="190" y="85"/>
                </a:lnTo>
                <a:lnTo>
                  <a:pt x="187" y="87"/>
                </a:lnTo>
                <a:lnTo>
                  <a:pt x="187" y="89"/>
                </a:lnTo>
                <a:lnTo>
                  <a:pt x="185" y="89"/>
                </a:lnTo>
                <a:lnTo>
                  <a:pt x="184" y="90"/>
                </a:lnTo>
                <a:lnTo>
                  <a:pt x="182" y="90"/>
                </a:lnTo>
                <a:lnTo>
                  <a:pt x="181" y="89"/>
                </a:lnTo>
                <a:lnTo>
                  <a:pt x="179" y="85"/>
                </a:lnTo>
                <a:lnTo>
                  <a:pt x="179" y="84"/>
                </a:lnTo>
                <a:lnTo>
                  <a:pt x="175" y="84"/>
                </a:lnTo>
                <a:lnTo>
                  <a:pt x="173" y="86"/>
                </a:lnTo>
                <a:lnTo>
                  <a:pt x="168" y="86"/>
                </a:lnTo>
                <a:lnTo>
                  <a:pt x="169" y="85"/>
                </a:lnTo>
                <a:lnTo>
                  <a:pt x="163" y="85"/>
                </a:lnTo>
                <a:lnTo>
                  <a:pt x="161" y="83"/>
                </a:lnTo>
                <a:lnTo>
                  <a:pt x="160" y="83"/>
                </a:lnTo>
                <a:lnTo>
                  <a:pt x="159" y="84"/>
                </a:lnTo>
                <a:lnTo>
                  <a:pt x="156" y="84"/>
                </a:lnTo>
                <a:lnTo>
                  <a:pt x="156" y="85"/>
                </a:lnTo>
                <a:lnTo>
                  <a:pt x="154" y="84"/>
                </a:lnTo>
                <a:lnTo>
                  <a:pt x="153" y="83"/>
                </a:lnTo>
                <a:lnTo>
                  <a:pt x="150" y="81"/>
                </a:lnTo>
                <a:lnTo>
                  <a:pt x="150" y="80"/>
                </a:lnTo>
                <a:lnTo>
                  <a:pt x="149" y="80"/>
                </a:lnTo>
                <a:lnTo>
                  <a:pt x="149" y="79"/>
                </a:lnTo>
                <a:lnTo>
                  <a:pt x="145" y="79"/>
                </a:lnTo>
                <a:lnTo>
                  <a:pt x="145" y="77"/>
                </a:lnTo>
                <a:lnTo>
                  <a:pt x="144" y="78"/>
                </a:lnTo>
                <a:lnTo>
                  <a:pt x="143" y="78"/>
                </a:lnTo>
                <a:lnTo>
                  <a:pt x="143" y="79"/>
                </a:lnTo>
                <a:lnTo>
                  <a:pt x="142" y="79"/>
                </a:lnTo>
                <a:lnTo>
                  <a:pt x="142" y="80"/>
                </a:lnTo>
                <a:lnTo>
                  <a:pt x="141" y="80"/>
                </a:lnTo>
                <a:lnTo>
                  <a:pt x="141" y="83"/>
                </a:lnTo>
                <a:lnTo>
                  <a:pt x="140" y="83"/>
                </a:lnTo>
                <a:lnTo>
                  <a:pt x="131" y="80"/>
                </a:lnTo>
                <a:lnTo>
                  <a:pt x="129" y="80"/>
                </a:lnTo>
                <a:lnTo>
                  <a:pt x="126" y="81"/>
                </a:lnTo>
                <a:lnTo>
                  <a:pt x="125" y="85"/>
                </a:lnTo>
                <a:lnTo>
                  <a:pt x="124" y="85"/>
                </a:lnTo>
                <a:lnTo>
                  <a:pt x="124" y="86"/>
                </a:lnTo>
                <a:lnTo>
                  <a:pt x="123" y="86"/>
                </a:lnTo>
                <a:lnTo>
                  <a:pt x="122" y="87"/>
                </a:lnTo>
                <a:lnTo>
                  <a:pt x="122" y="89"/>
                </a:lnTo>
                <a:lnTo>
                  <a:pt x="120" y="91"/>
                </a:lnTo>
                <a:lnTo>
                  <a:pt x="120" y="93"/>
                </a:lnTo>
                <a:lnTo>
                  <a:pt x="118" y="93"/>
                </a:lnTo>
                <a:lnTo>
                  <a:pt x="116" y="92"/>
                </a:lnTo>
                <a:lnTo>
                  <a:pt x="111" y="87"/>
                </a:lnTo>
                <a:lnTo>
                  <a:pt x="111" y="86"/>
                </a:lnTo>
                <a:lnTo>
                  <a:pt x="110" y="84"/>
                </a:lnTo>
                <a:lnTo>
                  <a:pt x="109" y="84"/>
                </a:lnTo>
                <a:lnTo>
                  <a:pt x="109" y="83"/>
                </a:lnTo>
                <a:lnTo>
                  <a:pt x="107" y="83"/>
                </a:lnTo>
                <a:lnTo>
                  <a:pt x="107" y="80"/>
                </a:lnTo>
                <a:lnTo>
                  <a:pt x="99" y="80"/>
                </a:lnTo>
                <a:lnTo>
                  <a:pt x="97" y="83"/>
                </a:lnTo>
                <a:lnTo>
                  <a:pt x="97" y="89"/>
                </a:lnTo>
                <a:lnTo>
                  <a:pt x="95" y="91"/>
                </a:lnTo>
                <a:lnTo>
                  <a:pt x="95" y="92"/>
                </a:lnTo>
                <a:lnTo>
                  <a:pt x="97" y="93"/>
                </a:lnTo>
                <a:lnTo>
                  <a:pt x="95" y="95"/>
                </a:lnTo>
                <a:lnTo>
                  <a:pt x="95" y="97"/>
                </a:lnTo>
                <a:lnTo>
                  <a:pt x="94" y="97"/>
                </a:lnTo>
                <a:lnTo>
                  <a:pt x="94" y="99"/>
                </a:lnTo>
                <a:lnTo>
                  <a:pt x="95" y="101"/>
                </a:lnTo>
                <a:lnTo>
                  <a:pt x="95" y="102"/>
                </a:lnTo>
                <a:lnTo>
                  <a:pt x="97" y="103"/>
                </a:lnTo>
                <a:lnTo>
                  <a:pt x="97" y="104"/>
                </a:lnTo>
                <a:lnTo>
                  <a:pt x="94" y="104"/>
                </a:lnTo>
                <a:lnTo>
                  <a:pt x="94" y="108"/>
                </a:lnTo>
                <a:lnTo>
                  <a:pt x="98" y="111"/>
                </a:lnTo>
                <a:lnTo>
                  <a:pt x="100" y="111"/>
                </a:lnTo>
                <a:lnTo>
                  <a:pt x="100" y="110"/>
                </a:lnTo>
                <a:lnTo>
                  <a:pt x="101" y="110"/>
                </a:lnTo>
                <a:lnTo>
                  <a:pt x="101" y="111"/>
                </a:lnTo>
                <a:lnTo>
                  <a:pt x="103" y="111"/>
                </a:lnTo>
                <a:lnTo>
                  <a:pt x="104" y="113"/>
                </a:lnTo>
                <a:lnTo>
                  <a:pt x="104" y="114"/>
                </a:lnTo>
                <a:lnTo>
                  <a:pt x="105" y="115"/>
                </a:lnTo>
                <a:lnTo>
                  <a:pt x="106" y="115"/>
                </a:lnTo>
                <a:lnTo>
                  <a:pt x="107" y="116"/>
                </a:lnTo>
                <a:lnTo>
                  <a:pt x="107" y="118"/>
                </a:lnTo>
                <a:lnTo>
                  <a:pt x="106" y="120"/>
                </a:lnTo>
                <a:lnTo>
                  <a:pt x="106" y="121"/>
                </a:lnTo>
                <a:lnTo>
                  <a:pt x="107" y="122"/>
                </a:lnTo>
                <a:lnTo>
                  <a:pt x="109" y="122"/>
                </a:lnTo>
                <a:lnTo>
                  <a:pt x="110" y="121"/>
                </a:lnTo>
                <a:lnTo>
                  <a:pt x="111" y="121"/>
                </a:lnTo>
                <a:lnTo>
                  <a:pt x="111" y="124"/>
                </a:lnTo>
                <a:lnTo>
                  <a:pt x="112" y="127"/>
                </a:lnTo>
                <a:lnTo>
                  <a:pt x="113" y="128"/>
                </a:lnTo>
                <a:lnTo>
                  <a:pt x="113" y="129"/>
                </a:lnTo>
                <a:lnTo>
                  <a:pt x="112" y="129"/>
                </a:lnTo>
                <a:lnTo>
                  <a:pt x="112" y="130"/>
                </a:lnTo>
                <a:lnTo>
                  <a:pt x="115" y="130"/>
                </a:lnTo>
                <a:lnTo>
                  <a:pt x="115" y="134"/>
                </a:lnTo>
                <a:lnTo>
                  <a:pt x="113" y="135"/>
                </a:lnTo>
                <a:lnTo>
                  <a:pt x="113" y="136"/>
                </a:lnTo>
                <a:lnTo>
                  <a:pt x="115" y="138"/>
                </a:lnTo>
                <a:lnTo>
                  <a:pt x="115" y="140"/>
                </a:lnTo>
                <a:lnTo>
                  <a:pt x="118" y="144"/>
                </a:lnTo>
                <a:lnTo>
                  <a:pt x="118" y="145"/>
                </a:lnTo>
                <a:lnTo>
                  <a:pt x="119" y="147"/>
                </a:lnTo>
                <a:lnTo>
                  <a:pt x="120" y="148"/>
                </a:lnTo>
                <a:lnTo>
                  <a:pt x="122" y="148"/>
                </a:lnTo>
                <a:lnTo>
                  <a:pt x="122" y="150"/>
                </a:lnTo>
                <a:lnTo>
                  <a:pt x="124" y="150"/>
                </a:lnTo>
                <a:lnTo>
                  <a:pt x="124" y="152"/>
                </a:lnTo>
                <a:lnTo>
                  <a:pt x="126" y="152"/>
                </a:lnTo>
                <a:lnTo>
                  <a:pt x="129" y="154"/>
                </a:lnTo>
                <a:lnTo>
                  <a:pt x="130" y="157"/>
                </a:lnTo>
                <a:lnTo>
                  <a:pt x="131" y="158"/>
                </a:lnTo>
                <a:lnTo>
                  <a:pt x="132" y="160"/>
                </a:lnTo>
                <a:lnTo>
                  <a:pt x="135" y="161"/>
                </a:lnTo>
                <a:lnTo>
                  <a:pt x="135" y="164"/>
                </a:lnTo>
                <a:lnTo>
                  <a:pt x="136" y="165"/>
                </a:lnTo>
                <a:lnTo>
                  <a:pt x="136" y="166"/>
                </a:lnTo>
                <a:lnTo>
                  <a:pt x="141" y="170"/>
                </a:lnTo>
                <a:lnTo>
                  <a:pt x="148" y="177"/>
                </a:lnTo>
                <a:lnTo>
                  <a:pt x="149" y="179"/>
                </a:lnTo>
                <a:lnTo>
                  <a:pt x="150" y="181"/>
                </a:lnTo>
                <a:lnTo>
                  <a:pt x="151" y="181"/>
                </a:lnTo>
                <a:lnTo>
                  <a:pt x="154" y="182"/>
                </a:lnTo>
                <a:lnTo>
                  <a:pt x="159" y="183"/>
                </a:lnTo>
                <a:lnTo>
                  <a:pt x="160" y="184"/>
                </a:lnTo>
                <a:lnTo>
                  <a:pt x="160" y="190"/>
                </a:lnTo>
                <a:lnTo>
                  <a:pt x="161" y="193"/>
                </a:lnTo>
                <a:lnTo>
                  <a:pt x="162" y="196"/>
                </a:lnTo>
                <a:lnTo>
                  <a:pt x="163" y="197"/>
                </a:lnTo>
                <a:lnTo>
                  <a:pt x="165" y="197"/>
                </a:lnTo>
                <a:lnTo>
                  <a:pt x="165" y="199"/>
                </a:lnTo>
                <a:lnTo>
                  <a:pt x="166" y="199"/>
                </a:lnTo>
                <a:lnTo>
                  <a:pt x="166" y="201"/>
                </a:lnTo>
                <a:lnTo>
                  <a:pt x="167" y="202"/>
                </a:lnTo>
                <a:lnTo>
                  <a:pt x="173" y="206"/>
                </a:lnTo>
                <a:lnTo>
                  <a:pt x="173" y="207"/>
                </a:lnTo>
                <a:lnTo>
                  <a:pt x="176" y="210"/>
                </a:lnTo>
                <a:lnTo>
                  <a:pt x="176" y="213"/>
                </a:lnTo>
                <a:lnTo>
                  <a:pt x="175" y="214"/>
                </a:lnTo>
                <a:lnTo>
                  <a:pt x="173" y="214"/>
                </a:lnTo>
                <a:lnTo>
                  <a:pt x="172" y="213"/>
                </a:lnTo>
                <a:lnTo>
                  <a:pt x="171" y="213"/>
                </a:lnTo>
                <a:lnTo>
                  <a:pt x="168" y="210"/>
                </a:lnTo>
                <a:lnTo>
                  <a:pt x="168" y="209"/>
                </a:lnTo>
                <a:lnTo>
                  <a:pt x="169" y="209"/>
                </a:lnTo>
                <a:lnTo>
                  <a:pt x="169" y="208"/>
                </a:lnTo>
                <a:lnTo>
                  <a:pt x="168" y="209"/>
                </a:lnTo>
                <a:lnTo>
                  <a:pt x="167" y="209"/>
                </a:lnTo>
                <a:lnTo>
                  <a:pt x="167" y="208"/>
                </a:lnTo>
                <a:lnTo>
                  <a:pt x="166" y="207"/>
                </a:lnTo>
                <a:lnTo>
                  <a:pt x="166" y="208"/>
                </a:lnTo>
                <a:lnTo>
                  <a:pt x="163" y="207"/>
                </a:lnTo>
                <a:lnTo>
                  <a:pt x="161" y="203"/>
                </a:lnTo>
                <a:lnTo>
                  <a:pt x="155" y="200"/>
                </a:lnTo>
                <a:lnTo>
                  <a:pt x="154" y="199"/>
                </a:lnTo>
                <a:lnTo>
                  <a:pt x="153" y="199"/>
                </a:lnTo>
                <a:lnTo>
                  <a:pt x="153" y="197"/>
                </a:lnTo>
                <a:lnTo>
                  <a:pt x="151" y="197"/>
                </a:lnTo>
                <a:lnTo>
                  <a:pt x="151" y="196"/>
                </a:lnTo>
                <a:lnTo>
                  <a:pt x="150" y="196"/>
                </a:lnTo>
                <a:lnTo>
                  <a:pt x="150" y="195"/>
                </a:lnTo>
                <a:lnTo>
                  <a:pt x="149" y="194"/>
                </a:lnTo>
                <a:lnTo>
                  <a:pt x="145" y="189"/>
                </a:lnTo>
                <a:lnTo>
                  <a:pt x="144" y="188"/>
                </a:lnTo>
                <a:lnTo>
                  <a:pt x="143" y="188"/>
                </a:lnTo>
                <a:lnTo>
                  <a:pt x="143" y="187"/>
                </a:lnTo>
                <a:lnTo>
                  <a:pt x="137" y="187"/>
                </a:lnTo>
                <a:lnTo>
                  <a:pt x="132" y="184"/>
                </a:lnTo>
                <a:lnTo>
                  <a:pt x="129" y="182"/>
                </a:lnTo>
                <a:lnTo>
                  <a:pt x="129" y="181"/>
                </a:lnTo>
                <a:lnTo>
                  <a:pt x="128" y="181"/>
                </a:lnTo>
                <a:lnTo>
                  <a:pt x="128" y="182"/>
                </a:lnTo>
                <a:lnTo>
                  <a:pt x="125" y="181"/>
                </a:lnTo>
                <a:lnTo>
                  <a:pt x="124" y="181"/>
                </a:lnTo>
                <a:lnTo>
                  <a:pt x="125" y="179"/>
                </a:lnTo>
                <a:lnTo>
                  <a:pt x="124" y="178"/>
                </a:lnTo>
                <a:lnTo>
                  <a:pt x="120" y="178"/>
                </a:lnTo>
                <a:lnTo>
                  <a:pt x="119" y="179"/>
                </a:lnTo>
                <a:lnTo>
                  <a:pt x="118" y="179"/>
                </a:lnTo>
                <a:lnTo>
                  <a:pt x="116" y="181"/>
                </a:lnTo>
                <a:lnTo>
                  <a:pt x="112" y="181"/>
                </a:lnTo>
                <a:lnTo>
                  <a:pt x="113" y="182"/>
                </a:lnTo>
                <a:lnTo>
                  <a:pt x="111" y="182"/>
                </a:lnTo>
                <a:lnTo>
                  <a:pt x="111" y="183"/>
                </a:lnTo>
                <a:lnTo>
                  <a:pt x="110" y="183"/>
                </a:lnTo>
                <a:lnTo>
                  <a:pt x="109" y="182"/>
                </a:lnTo>
                <a:lnTo>
                  <a:pt x="104" y="182"/>
                </a:lnTo>
                <a:lnTo>
                  <a:pt x="104" y="181"/>
                </a:lnTo>
                <a:lnTo>
                  <a:pt x="105" y="181"/>
                </a:lnTo>
                <a:lnTo>
                  <a:pt x="105" y="179"/>
                </a:lnTo>
                <a:lnTo>
                  <a:pt x="104" y="179"/>
                </a:lnTo>
                <a:lnTo>
                  <a:pt x="104" y="177"/>
                </a:lnTo>
                <a:lnTo>
                  <a:pt x="103" y="177"/>
                </a:lnTo>
                <a:lnTo>
                  <a:pt x="103" y="173"/>
                </a:lnTo>
                <a:lnTo>
                  <a:pt x="101" y="173"/>
                </a:lnTo>
                <a:lnTo>
                  <a:pt x="103" y="172"/>
                </a:lnTo>
                <a:lnTo>
                  <a:pt x="104" y="173"/>
                </a:lnTo>
                <a:lnTo>
                  <a:pt x="104" y="171"/>
                </a:lnTo>
                <a:lnTo>
                  <a:pt x="103" y="171"/>
                </a:lnTo>
                <a:lnTo>
                  <a:pt x="101" y="170"/>
                </a:lnTo>
                <a:lnTo>
                  <a:pt x="100" y="170"/>
                </a:lnTo>
                <a:lnTo>
                  <a:pt x="100" y="169"/>
                </a:lnTo>
                <a:lnTo>
                  <a:pt x="99" y="169"/>
                </a:lnTo>
                <a:lnTo>
                  <a:pt x="98" y="167"/>
                </a:lnTo>
                <a:lnTo>
                  <a:pt x="97" y="167"/>
                </a:lnTo>
                <a:lnTo>
                  <a:pt x="97" y="166"/>
                </a:lnTo>
                <a:lnTo>
                  <a:pt x="93" y="166"/>
                </a:lnTo>
                <a:lnTo>
                  <a:pt x="93" y="164"/>
                </a:lnTo>
                <a:lnTo>
                  <a:pt x="92" y="164"/>
                </a:lnTo>
                <a:lnTo>
                  <a:pt x="92" y="163"/>
                </a:lnTo>
                <a:lnTo>
                  <a:pt x="91" y="163"/>
                </a:lnTo>
                <a:lnTo>
                  <a:pt x="88" y="160"/>
                </a:lnTo>
                <a:lnTo>
                  <a:pt x="87" y="160"/>
                </a:lnTo>
                <a:lnTo>
                  <a:pt x="87" y="159"/>
                </a:lnTo>
                <a:lnTo>
                  <a:pt x="86" y="158"/>
                </a:lnTo>
                <a:lnTo>
                  <a:pt x="85" y="158"/>
                </a:lnTo>
                <a:lnTo>
                  <a:pt x="84" y="157"/>
                </a:lnTo>
                <a:lnTo>
                  <a:pt x="82" y="157"/>
                </a:lnTo>
                <a:lnTo>
                  <a:pt x="82" y="156"/>
                </a:lnTo>
                <a:lnTo>
                  <a:pt x="80" y="153"/>
                </a:lnTo>
                <a:lnTo>
                  <a:pt x="79" y="151"/>
                </a:lnTo>
                <a:lnTo>
                  <a:pt x="76" y="151"/>
                </a:lnTo>
                <a:lnTo>
                  <a:pt x="76" y="150"/>
                </a:lnTo>
                <a:lnTo>
                  <a:pt x="75" y="147"/>
                </a:lnTo>
                <a:lnTo>
                  <a:pt x="73" y="145"/>
                </a:lnTo>
                <a:lnTo>
                  <a:pt x="73" y="144"/>
                </a:lnTo>
                <a:lnTo>
                  <a:pt x="72" y="144"/>
                </a:lnTo>
                <a:lnTo>
                  <a:pt x="70" y="141"/>
                </a:lnTo>
                <a:lnTo>
                  <a:pt x="70" y="139"/>
                </a:lnTo>
                <a:lnTo>
                  <a:pt x="68" y="136"/>
                </a:lnTo>
                <a:lnTo>
                  <a:pt x="70" y="136"/>
                </a:lnTo>
                <a:lnTo>
                  <a:pt x="70" y="138"/>
                </a:lnTo>
                <a:lnTo>
                  <a:pt x="72" y="138"/>
                </a:lnTo>
                <a:lnTo>
                  <a:pt x="73" y="136"/>
                </a:lnTo>
                <a:lnTo>
                  <a:pt x="72" y="135"/>
                </a:lnTo>
                <a:lnTo>
                  <a:pt x="74" y="136"/>
                </a:lnTo>
                <a:lnTo>
                  <a:pt x="75" y="138"/>
                </a:lnTo>
                <a:lnTo>
                  <a:pt x="76" y="138"/>
                </a:lnTo>
                <a:lnTo>
                  <a:pt x="75" y="135"/>
                </a:lnTo>
                <a:lnTo>
                  <a:pt x="76" y="135"/>
                </a:lnTo>
                <a:lnTo>
                  <a:pt x="75" y="134"/>
                </a:lnTo>
                <a:lnTo>
                  <a:pt x="75" y="133"/>
                </a:lnTo>
                <a:lnTo>
                  <a:pt x="76" y="135"/>
                </a:lnTo>
                <a:lnTo>
                  <a:pt x="85" y="138"/>
                </a:lnTo>
                <a:lnTo>
                  <a:pt x="86" y="138"/>
                </a:lnTo>
                <a:lnTo>
                  <a:pt x="86" y="136"/>
                </a:lnTo>
                <a:lnTo>
                  <a:pt x="82" y="135"/>
                </a:lnTo>
                <a:lnTo>
                  <a:pt x="81" y="134"/>
                </a:lnTo>
                <a:lnTo>
                  <a:pt x="76" y="132"/>
                </a:lnTo>
                <a:lnTo>
                  <a:pt x="70" y="126"/>
                </a:lnTo>
                <a:lnTo>
                  <a:pt x="68" y="122"/>
                </a:lnTo>
                <a:lnTo>
                  <a:pt x="67" y="121"/>
                </a:lnTo>
                <a:lnTo>
                  <a:pt x="66" y="121"/>
                </a:lnTo>
                <a:lnTo>
                  <a:pt x="66" y="120"/>
                </a:lnTo>
                <a:lnTo>
                  <a:pt x="64" y="118"/>
                </a:lnTo>
                <a:lnTo>
                  <a:pt x="63" y="118"/>
                </a:lnTo>
                <a:lnTo>
                  <a:pt x="60" y="111"/>
                </a:lnTo>
                <a:lnTo>
                  <a:pt x="58" y="110"/>
                </a:lnTo>
                <a:lnTo>
                  <a:pt x="60" y="109"/>
                </a:lnTo>
                <a:lnTo>
                  <a:pt x="60" y="108"/>
                </a:lnTo>
                <a:lnTo>
                  <a:pt x="58" y="108"/>
                </a:lnTo>
                <a:lnTo>
                  <a:pt x="58" y="102"/>
                </a:lnTo>
                <a:lnTo>
                  <a:pt x="60" y="98"/>
                </a:lnTo>
                <a:lnTo>
                  <a:pt x="60" y="97"/>
                </a:lnTo>
                <a:lnTo>
                  <a:pt x="61" y="96"/>
                </a:lnTo>
                <a:lnTo>
                  <a:pt x="60" y="95"/>
                </a:lnTo>
                <a:lnTo>
                  <a:pt x="57" y="89"/>
                </a:lnTo>
                <a:lnTo>
                  <a:pt x="57" y="87"/>
                </a:lnTo>
                <a:lnTo>
                  <a:pt x="56" y="86"/>
                </a:lnTo>
                <a:lnTo>
                  <a:pt x="54" y="85"/>
                </a:lnTo>
                <a:lnTo>
                  <a:pt x="49" y="81"/>
                </a:lnTo>
                <a:lnTo>
                  <a:pt x="48" y="79"/>
                </a:lnTo>
                <a:lnTo>
                  <a:pt x="47" y="79"/>
                </a:lnTo>
                <a:lnTo>
                  <a:pt x="45" y="78"/>
                </a:lnTo>
                <a:lnTo>
                  <a:pt x="45" y="77"/>
                </a:lnTo>
                <a:lnTo>
                  <a:pt x="47" y="77"/>
                </a:lnTo>
                <a:lnTo>
                  <a:pt x="44" y="74"/>
                </a:lnTo>
                <a:lnTo>
                  <a:pt x="45" y="75"/>
                </a:lnTo>
                <a:lnTo>
                  <a:pt x="45" y="77"/>
                </a:lnTo>
                <a:lnTo>
                  <a:pt x="44" y="77"/>
                </a:lnTo>
                <a:lnTo>
                  <a:pt x="43" y="75"/>
                </a:lnTo>
                <a:lnTo>
                  <a:pt x="38" y="73"/>
                </a:lnTo>
                <a:lnTo>
                  <a:pt x="37" y="73"/>
                </a:lnTo>
                <a:lnTo>
                  <a:pt x="36" y="72"/>
                </a:lnTo>
                <a:lnTo>
                  <a:pt x="33" y="74"/>
                </a:lnTo>
                <a:lnTo>
                  <a:pt x="33" y="77"/>
                </a:lnTo>
                <a:lnTo>
                  <a:pt x="32" y="78"/>
                </a:lnTo>
                <a:lnTo>
                  <a:pt x="32" y="83"/>
                </a:lnTo>
                <a:lnTo>
                  <a:pt x="31" y="84"/>
                </a:lnTo>
                <a:lnTo>
                  <a:pt x="31" y="85"/>
                </a:lnTo>
                <a:lnTo>
                  <a:pt x="30" y="86"/>
                </a:lnTo>
                <a:lnTo>
                  <a:pt x="30" y="87"/>
                </a:lnTo>
                <a:lnTo>
                  <a:pt x="29" y="87"/>
                </a:lnTo>
                <a:lnTo>
                  <a:pt x="29" y="90"/>
                </a:lnTo>
                <a:lnTo>
                  <a:pt x="28" y="90"/>
                </a:lnTo>
                <a:lnTo>
                  <a:pt x="29" y="91"/>
                </a:lnTo>
                <a:lnTo>
                  <a:pt x="29" y="93"/>
                </a:lnTo>
                <a:lnTo>
                  <a:pt x="28" y="95"/>
                </a:lnTo>
                <a:lnTo>
                  <a:pt x="26" y="95"/>
                </a:lnTo>
                <a:lnTo>
                  <a:pt x="25" y="96"/>
                </a:lnTo>
                <a:lnTo>
                  <a:pt x="25" y="95"/>
                </a:lnTo>
                <a:lnTo>
                  <a:pt x="24" y="95"/>
                </a:lnTo>
                <a:lnTo>
                  <a:pt x="24" y="96"/>
                </a:lnTo>
                <a:lnTo>
                  <a:pt x="23" y="96"/>
                </a:lnTo>
                <a:lnTo>
                  <a:pt x="23" y="99"/>
                </a:lnTo>
                <a:lnTo>
                  <a:pt x="22" y="99"/>
                </a:lnTo>
                <a:lnTo>
                  <a:pt x="22" y="102"/>
                </a:lnTo>
                <a:lnTo>
                  <a:pt x="20" y="102"/>
                </a:lnTo>
                <a:lnTo>
                  <a:pt x="20" y="104"/>
                </a:lnTo>
                <a:lnTo>
                  <a:pt x="18" y="104"/>
                </a:lnTo>
                <a:lnTo>
                  <a:pt x="18" y="103"/>
                </a:lnTo>
                <a:lnTo>
                  <a:pt x="17" y="104"/>
                </a:lnTo>
                <a:lnTo>
                  <a:pt x="16" y="104"/>
                </a:lnTo>
                <a:lnTo>
                  <a:pt x="16" y="103"/>
                </a:lnTo>
                <a:lnTo>
                  <a:pt x="14" y="102"/>
                </a:lnTo>
                <a:lnTo>
                  <a:pt x="14" y="101"/>
                </a:lnTo>
                <a:lnTo>
                  <a:pt x="13" y="101"/>
                </a:lnTo>
                <a:lnTo>
                  <a:pt x="13" y="98"/>
                </a:lnTo>
                <a:lnTo>
                  <a:pt x="11" y="93"/>
                </a:lnTo>
                <a:lnTo>
                  <a:pt x="7" y="90"/>
                </a:lnTo>
                <a:lnTo>
                  <a:pt x="6" y="90"/>
                </a:lnTo>
                <a:lnTo>
                  <a:pt x="6" y="87"/>
                </a:lnTo>
                <a:lnTo>
                  <a:pt x="5" y="86"/>
                </a:lnTo>
                <a:lnTo>
                  <a:pt x="6" y="86"/>
                </a:lnTo>
                <a:lnTo>
                  <a:pt x="10" y="85"/>
                </a:lnTo>
                <a:lnTo>
                  <a:pt x="5" y="85"/>
                </a:lnTo>
                <a:lnTo>
                  <a:pt x="5" y="78"/>
                </a:lnTo>
                <a:lnTo>
                  <a:pt x="4" y="78"/>
                </a:lnTo>
                <a:lnTo>
                  <a:pt x="4" y="77"/>
                </a:lnTo>
                <a:lnTo>
                  <a:pt x="5" y="77"/>
                </a:lnTo>
                <a:lnTo>
                  <a:pt x="4" y="75"/>
                </a:lnTo>
                <a:lnTo>
                  <a:pt x="5" y="74"/>
                </a:lnTo>
                <a:lnTo>
                  <a:pt x="4" y="74"/>
                </a:lnTo>
                <a:lnTo>
                  <a:pt x="2" y="73"/>
                </a:lnTo>
                <a:lnTo>
                  <a:pt x="2" y="71"/>
                </a:lnTo>
                <a:lnTo>
                  <a:pt x="1" y="67"/>
                </a:lnTo>
                <a:lnTo>
                  <a:pt x="1" y="65"/>
                </a:lnTo>
                <a:lnTo>
                  <a:pt x="0" y="64"/>
                </a:lnTo>
                <a:lnTo>
                  <a:pt x="1" y="62"/>
                </a:lnTo>
                <a:lnTo>
                  <a:pt x="1" y="64"/>
                </a:lnTo>
                <a:lnTo>
                  <a:pt x="4" y="64"/>
                </a:lnTo>
                <a:lnTo>
                  <a:pt x="6" y="66"/>
                </a:lnTo>
                <a:lnTo>
                  <a:pt x="12" y="66"/>
                </a:lnTo>
                <a:lnTo>
                  <a:pt x="13" y="67"/>
                </a:lnTo>
                <a:lnTo>
                  <a:pt x="14" y="67"/>
                </a:lnTo>
                <a:lnTo>
                  <a:pt x="14" y="68"/>
                </a:lnTo>
                <a:lnTo>
                  <a:pt x="17" y="68"/>
                </a:lnTo>
                <a:lnTo>
                  <a:pt x="18" y="67"/>
                </a:lnTo>
                <a:lnTo>
                  <a:pt x="20" y="66"/>
                </a:lnTo>
                <a:lnTo>
                  <a:pt x="20" y="62"/>
                </a:lnTo>
                <a:lnTo>
                  <a:pt x="22" y="62"/>
                </a:lnTo>
                <a:lnTo>
                  <a:pt x="23" y="64"/>
                </a:lnTo>
                <a:lnTo>
                  <a:pt x="24" y="64"/>
                </a:lnTo>
                <a:lnTo>
                  <a:pt x="24" y="65"/>
                </a:lnTo>
                <a:lnTo>
                  <a:pt x="28" y="65"/>
                </a:lnTo>
                <a:lnTo>
                  <a:pt x="30" y="64"/>
                </a:lnTo>
                <a:lnTo>
                  <a:pt x="32" y="64"/>
                </a:lnTo>
                <a:lnTo>
                  <a:pt x="33" y="65"/>
                </a:lnTo>
                <a:lnTo>
                  <a:pt x="37" y="65"/>
                </a:lnTo>
                <a:lnTo>
                  <a:pt x="42" y="62"/>
                </a:lnTo>
                <a:lnTo>
                  <a:pt x="42" y="59"/>
                </a:lnTo>
                <a:lnTo>
                  <a:pt x="44" y="56"/>
                </a:lnTo>
                <a:lnTo>
                  <a:pt x="44" y="55"/>
                </a:lnTo>
                <a:lnTo>
                  <a:pt x="45" y="54"/>
                </a:lnTo>
                <a:lnTo>
                  <a:pt x="47" y="54"/>
                </a:lnTo>
                <a:lnTo>
                  <a:pt x="47" y="58"/>
                </a:lnTo>
                <a:lnTo>
                  <a:pt x="48" y="58"/>
                </a:lnTo>
                <a:lnTo>
                  <a:pt x="49" y="59"/>
                </a:lnTo>
                <a:lnTo>
                  <a:pt x="50" y="59"/>
                </a:lnTo>
                <a:lnTo>
                  <a:pt x="50" y="62"/>
                </a:lnTo>
                <a:lnTo>
                  <a:pt x="55" y="64"/>
                </a:lnTo>
                <a:lnTo>
                  <a:pt x="55" y="66"/>
                </a:lnTo>
                <a:lnTo>
                  <a:pt x="57" y="66"/>
                </a:lnTo>
                <a:lnTo>
                  <a:pt x="60" y="64"/>
                </a:lnTo>
                <a:lnTo>
                  <a:pt x="60" y="62"/>
                </a:lnTo>
                <a:lnTo>
                  <a:pt x="61" y="62"/>
                </a:lnTo>
                <a:lnTo>
                  <a:pt x="62" y="64"/>
                </a:lnTo>
                <a:lnTo>
                  <a:pt x="63" y="64"/>
                </a:lnTo>
                <a:lnTo>
                  <a:pt x="63" y="65"/>
                </a:lnTo>
                <a:lnTo>
                  <a:pt x="67" y="65"/>
                </a:lnTo>
                <a:lnTo>
                  <a:pt x="69" y="67"/>
                </a:lnTo>
                <a:lnTo>
                  <a:pt x="72" y="68"/>
                </a:lnTo>
                <a:lnTo>
                  <a:pt x="73" y="67"/>
                </a:lnTo>
                <a:lnTo>
                  <a:pt x="75" y="66"/>
                </a:lnTo>
                <a:lnTo>
                  <a:pt x="76" y="66"/>
                </a:lnTo>
                <a:lnTo>
                  <a:pt x="79" y="65"/>
                </a:lnTo>
                <a:lnTo>
                  <a:pt x="76" y="64"/>
                </a:lnTo>
                <a:lnTo>
                  <a:pt x="76" y="61"/>
                </a:lnTo>
                <a:lnTo>
                  <a:pt x="75" y="59"/>
                </a:lnTo>
                <a:lnTo>
                  <a:pt x="75" y="58"/>
                </a:lnTo>
                <a:lnTo>
                  <a:pt x="76" y="55"/>
                </a:lnTo>
                <a:lnTo>
                  <a:pt x="80" y="55"/>
                </a:lnTo>
                <a:lnTo>
                  <a:pt x="79" y="54"/>
                </a:lnTo>
                <a:lnTo>
                  <a:pt x="79" y="53"/>
                </a:lnTo>
                <a:lnTo>
                  <a:pt x="75" y="53"/>
                </a:lnTo>
                <a:lnTo>
                  <a:pt x="75" y="52"/>
                </a:lnTo>
                <a:lnTo>
                  <a:pt x="74" y="50"/>
                </a:lnTo>
                <a:lnTo>
                  <a:pt x="75" y="49"/>
                </a:lnTo>
                <a:lnTo>
                  <a:pt x="76" y="49"/>
                </a:lnTo>
                <a:lnTo>
                  <a:pt x="76" y="48"/>
                </a:lnTo>
                <a:lnTo>
                  <a:pt x="82" y="47"/>
                </a:lnTo>
                <a:lnTo>
                  <a:pt x="82" y="44"/>
                </a:lnTo>
                <a:lnTo>
                  <a:pt x="86" y="44"/>
                </a:lnTo>
                <a:lnTo>
                  <a:pt x="86" y="43"/>
                </a:lnTo>
                <a:lnTo>
                  <a:pt x="87" y="44"/>
                </a:lnTo>
                <a:lnTo>
                  <a:pt x="91" y="44"/>
                </a:lnTo>
                <a:lnTo>
                  <a:pt x="92" y="43"/>
                </a:lnTo>
                <a:lnTo>
                  <a:pt x="92" y="34"/>
                </a:lnTo>
                <a:lnTo>
                  <a:pt x="93" y="32"/>
                </a:lnTo>
                <a:lnTo>
                  <a:pt x="93" y="30"/>
                </a:lnTo>
                <a:lnTo>
                  <a:pt x="92" y="30"/>
                </a:lnTo>
                <a:lnTo>
                  <a:pt x="88" y="27"/>
                </a:lnTo>
                <a:lnTo>
                  <a:pt x="88" y="25"/>
                </a:lnTo>
                <a:lnTo>
                  <a:pt x="89" y="23"/>
                </a:lnTo>
                <a:lnTo>
                  <a:pt x="91" y="22"/>
                </a:lnTo>
                <a:lnTo>
                  <a:pt x="91" y="21"/>
                </a:lnTo>
                <a:lnTo>
                  <a:pt x="97" y="21"/>
                </a:lnTo>
                <a:lnTo>
                  <a:pt x="97" y="18"/>
                </a:lnTo>
                <a:lnTo>
                  <a:pt x="99" y="18"/>
                </a:lnTo>
                <a:lnTo>
                  <a:pt x="101" y="17"/>
                </a:lnTo>
                <a:lnTo>
                  <a:pt x="103" y="17"/>
                </a:lnTo>
                <a:lnTo>
                  <a:pt x="104" y="16"/>
                </a:lnTo>
                <a:lnTo>
                  <a:pt x="106" y="16"/>
                </a:lnTo>
                <a:lnTo>
                  <a:pt x="107" y="15"/>
                </a:lnTo>
                <a:lnTo>
                  <a:pt x="109" y="15"/>
                </a:lnTo>
                <a:lnTo>
                  <a:pt x="109" y="10"/>
                </a:lnTo>
                <a:lnTo>
                  <a:pt x="110" y="11"/>
                </a:lnTo>
                <a:lnTo>
                  <a:pt x="111" y="11"/>
                </a:lnTo>
                <a:lnTo>
                  <a:pt x="111" y="10"/>
                </a:lnTo>
                <a:lnTo>
                  <a:pt x="112" y="10"/>
                </a:lnTo>
                <a:lnTo>
                  <a:pt x="113" y="11"/>
                </a:lnTo>
                <a:lnTo>
                  <a:pt x="118" y="11"/>
                </a:lnTo>
                <a:lnTo>
                  <a:pt x="118" y="10"/>
                </a:lnTo>
                <a:lnTo>
                  <a:pt x="117" y="9"/>
                </a:lnTo>
                <a:lnTo>
                  <a:pt x="117" y="6"/>
                </a:lnTo>
                <a:lnTo>
                  <a:pt x="116" y="5"/>
                </a:lnTo>
                <a:lnTo>
                  <a:pt x="116" y="4"/>
                </a:lnTo>
                <a:lnTo>
                  <a:pt x="117" y="1"/>
                </a:lnTo>
                <a:lnTo>
                  <a:pt x="119" y="1"/>
                </a:lnTo>
                <a:lnTo>
                  <a:pt x="12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" name="Freeform 51">
            <a:extLst>
              <a:ext uri="{FF2B5EF4-FFF2-40B4-BE49-F238E27FC236}">
                <a16:creationId xmlns:a16="http://schemas.microsoft.com/office/drawing/2014/main" id="{A80C3F75-6884-4D0F-B412-003A33429213}"/>
              </a:ext>
            </a:extLst>
          </p:cNvPr>
          <p:cNvSpPr>
            <a:spLocks/>
          </p:cNvSpPr>
          <p:nvPr/>
        </p:nvSpPr>
        <p:spPr bwMode="auto">
          <a:xfrm>
            <a:off x="2596597" y="5234873"/>
            <a:ext cx="383970" cy="249218"/>
          </a:xfrm>
          <a:custGeom>
            <a:avLst/>
            <a:gdLst/>
            <a:ahLst/>
            <a:cxnLst>
              <a:cxn ang="0">
                <a:pos x="30" y="9"/>
              </a:cxn>
              <a:cxn ang="0">
                <a:pos x="22" y="21"/>
              </a:cxn>
              <a:cxn ang="0">
                <a:pos x="38" y="21"/>
              </a:cxn>
              <a:cxn ang="0">
                <a:pos x="62" y="24"/>
              </a:cxn>
              <a:cxn ang="0">
                <a:pos x="98" y="27"/>
              </a:cxn>
              <a:cxn ang="0">
                <a:pos x="126" y="33"/>
              </a:cxn>
              <a:cxn ang="0">
                <a:pos x="140" y="31"/>
              </a:cxn>
              <a:cxn ang="0">
                <a:pos x="153" y="21"/>
              </a:cxn>
              <a:cxn ang="0">
                <a:pos x="181" y="8"/>
              </a:cxn>
              <a:cxn ang="0">
                <a:pos x="202" y="5"/>
              </a:cxn>
              <a:cxn ang="0">
                <a:pos x="211" y="11"/>
              </a:cxn>
              <a:cxn ang="0">
                <a:pos x="228" y="17"/>
              </a:cxn>
              <a:cxn ang="0">
                <a:pos x="248" y="27"/>
              </a:cxn>
              <a:cxn ang="0">
                <a:pos x="262" y="45"/>
              </a:cxn>
              <a:cxn ang="0">
                <a:pos x="255" y="48"/>
              </a:cxn>
              <a:cxn ang="0">
                <a:pos x="240" y="58"/>
              </a:cxn>
              <a:cxn ang="0">
                <a:pos x="236" y="65"/>
              </a:cxn>
              <a:cxn ang="0">
                <a:pos x="224" y="92"/>
              </a:cxn>
              <a:cxn ang="0">
                <a:pos x="217" y="101"/>
              </a:cxn>
              <a:cxn ang="0">
                <a:pos x="222" y="103"/>
              </a:cxn>
              <a:cxn ang="0">
                <a:pos x="227" y="106"/>
              </a:cxn>
              <a:cxn ang="0">
                <a:pos x="230" y="111"/>
              </a:cxn>
              <a:cxn ang="0">
                <a:pos x="233" y="119"/>
              </a:cxn>
              <a:cxn ang="0">
                <a:pos x="239" y="125"/>
              </a:cxn>
              <a:cxn ang="0">
                <a:pos x="230" y="132"/>
              </a:cxn>
              <a:cxn ang="0">
                <a:pos x="218" y="132"/>
              </a:cxn>
              <a:cxn ang="0">
                <a:pos x="206" y="123"/>
              </a:cxn>
              <a:cxn ang="0">
                <a:pos x="194" y="129"/>
              </a:cxn>
              <a:cxn ang="0">
                <a:pos x="186" y="131"/>
              </a:cxn>
              <a:cxn ang="0">
                <a:pos x="179" y="135"/>
              </a:cxn>
              <a:cxn ang="0">
                <a:pos x="168" y="144"/>
              </a:cxn>
              <a:cxn ang="0">
                <a:pos x="163" y="144"/>
              </a:cxn>
              <a:cxn ang="0">
                <a:pos x="160" y="150"/>
              </a:cxn>
              <a:cxn ang="0">
                <a:pos x="161" y="159"/>
              </a:cxn>
              <a:cxn ang="0">
                <a:pos x="155" y="166"/>
              </a:cxn>
              <a:cxn ang="0">
                <a:pos x="144" y="167"/>
              </a:cxn>
              <a:cxn ang="0">
                <a:pos x="131" y="169"/>
              </a:cxn>
              <a:cxn ang="0">
                <a:pos x="117" y="167"/>
              </a:cxn>
              <a:cxn ang="0">
                <a:pos x="104" y="166"/>
              </a:cxn>
              <a:cxn ang="0">
                <a:pos x="95" y="161"/>
              </a:cxn>
              <a:cxn ang="0">
                <a:pos x="90" y="155"/>
              </a:cxn>
              <a:cxn ang="0">
                <a:pos x="78" y="155"/>
              </a:cxn>
              <a:cxn ang="0">
                <a:pos x="70" y="159"/>
              </a:cxn>
              <a:cxn ang="0">
                <a:pos x="61" y="161"/>
              </a:cxn>
              <a:cxn ang="0">
                <a:pos x="45" y="163"/>
              </a:cxn>
              <a:cxn ang="0">
                <a:pos x="39" y="162"/>
              </a:cxn>
              <a:cxn ang="0">
                <a:pos x="26" y="163"/>
              </a:cxn>
              <a:cxn ang="0">
                <a:pos x="28" y="147"/>
              </a:cxn>
              <a:cxn ang="0">
                <a:pos x="23" y="136"/>
              </a:cxn>
              <a:cxn ang="0">
                <a:pos x="16" y="125"/>
              </a:cxn>
              <a:cxn ang="0">
                <a:pos x="0" y="111"/>
              </a:cxn>
              <a:cxn ang="0">
                <a:pos x="8" y="105"/>
              </a:cxn>
              <a:cxn ang="0">
                <a:pos x="6" y="88"/>
              </a:cxn>
              <a:cxn ang="0">
                <a:pos x="7" y="80"/>
              </a:cxn>
              <a:cxn ang="0">
                <a:pos x="20" y="73"/>
              </a:cxn>
              <a:cxn ang="0">
                <a:pos x="26" y="60"/>
              </a:cxn>
              <a:cxn ang="0">
                <a:pos x="13" y="46"/>
              </a:cxn>
              <a:cxn ang="0">
                <a:pos x="6" y="39"/>
              </a:cxn>
              <a:cxn ang="0">
                <a:pos x="1" y="26"/>
              </a:cxn>
              <a:cxn ang="0">
                <a:pos x="10" y="9"/>
              </a:cxn>
              <a:cxn ang="0">
                <a:pos x="13" y="1"/>
              </a:cxn>
            </a:cxnLst>
            <a:rect l="0" t="0" r="r" b="b"/>
            <a:pathLst>
              <a:path w="265" h="172">
                <a:moveTo>
                  <a:pt x="16" y="0"/>
                </a:moveTo>
                <a:lnTo>
                  <a:pt x="24" y="6"/>
                </a:lnTo>
                <a:lnTo>
                  <a:pt x="26" y="7"/>
                </a:lnTo>
                <a:lnTo>
                  <a:pt x="28" y="7"/>
                </a:lnTo>
                <a:lnTo>
                  <a:pt x="29" y="8"/>
                </a:lnTo>
                <a:lnTo>
                  <a:pt x="30" y="8"/>
                </a:lnTo>
                <a:lnTo>
                  <a:pt x="30" y="9"/>
                </a:lnTo>
                <a:lnTo>
                  <a:pt x="29" y="12"/>
                </a:lnTo>
                <a:lnTo>
                  <a:pt x="28" y="13"/>
                </a:lnTo>
                <a:lnTo>
                  <a:pt x="24" y="13"/>
                </a:lnTo>
                <a:lnTo>
                  <a:pt x="24" y="14"/>
                </a:lnTo>
                <a:lnTo>
                  <a:pt x="23" y="15"/>
                </a:lnTo>
                <a:lnTo>
                  <a:pt x="22" y="20"/>
                </a:lnTo>
                <a:lnTo>
                  <a:pt x="22" y="21"/>
                </a:lnTo>
                <a:lnTo>
                  <a:pt x="23" y="22"/>
                </a:lnTo>
                <a:lnTo>
                  <a:pt x="24" y="22"/>
                </a:lnTo>
                <a:lnTo>
                  <a:pt x="25" y="24"/>
                </a:lnTo>
                <a:lnTo>
                  <a:pt x="31" y="22"/>
                </a:lnTo>
                <a:lnTo>
                  <a:pt x="34" y="22"/>
                </a:lnTo>
                <a:lnTo>
                  <a:pt x="35" y="21"/>
                </a:lnTo>
                <a:lnTo>
                  <a:pt x="38" y="21"/>
                </a:lnTo>
                <a:lnTo>
                  <a:pt x="42" y="20"/>
                </a:lnTo>
                <a:lnTo>
                  <a:pt x="49" y="20"/>
                </a:lnTo>
                <a:lnTo>
                  <a:pt x="54" y="22"/>
                </a:lnTo>
                <a:lnTo>
                  <a:pt x="55" y="24"/>
                </a:lnTo>
                <a:lnTo>
                  <a:pt x="59" y="22"/>
                </a:lnTo>
                <a:lnTo>
                  <a:pt x="60" y="22"/>
                </a:lnTo>
                <a:lnTo>
                  <a:pt x="62" y="24"/>
                </a:lnTo>
                <a:lnTo>
                  <a:pt x="76" y="27"/>
                </a:lnTo>
                <a:lnTo>
                  <a:pt x="78" y="28"/>
                </a:lnTo>
                <a:lnTo>
                  <a:pt x="85" y="27"/>
                </a:lnTo>
                <a:lnTo>
                  <a:pt x="86" y="27"/>
                </a:lnTo>
                <a:lnTo>
                  <a:pt x="91" y="25"/>
                </a:lnTo>
                <a:lnTo>
                  <a:pt x="92" y="25"/>
                </a:lnTo>
                <a:lnTo>
                  <a:pt x="98" y="27"/>
                </a:lnTo>
                <a:lnTo>
                  <a:pt x="100" y="28"/>
                </a:lnTo>
                <a:lnTo>
                  <a:pt x="111" y="28"/>
                </a:lnTo>
                <a:lnTo>
                  <a:pt x="116" y="30"/>
                </a:lnTo>
                <a:lnTo>
                  <a:pt x="122" y="31"/>
                </a:lnTo>
                <a:lnTo>
                  <a:pt x="123" y="31"/>
                </a:lnTo>
                <a:lnTo>
                  <a:pt x="125" y="32"/>
                </a:lnTo>
                <a:lnTo>
                  <a:pt x="126" y="33"/>
                </a:lnTo>
                <a:lnTo>
                  <a:pt x="128" y="33"/>
                </a:lnTo>
                <a:lnTo>
                  <a:pt x="130" y="34"/>
                </a:lnTo>
                <a:lnTo>
                  <a:pt x="131" y="33"/>
                </a:lnTo>
                <a:lnTo>
                  <a:pt x="136" y="33"/>
                </a:lnTo>
                <a:lnTo>
                  <a:pt x="137" y="32"/>
                </a:lnTo>
                <a:lnTo>
                  <a:pt x="138" y="32"/>
                </a:lnTo>
                <a:lnTo>
                  <a:pt x="140" y="31"/>
                </a:lnTo>
                <a:lnTo>
                  <a:pt x="141" y="31"/>
                </a:lnTo>
                <a:lnTo>
                  <a:pt x="141" y="30"/>
                </a:lnTo>
                <a:lnTo>
                  <a:pt x="146" y="30"/>
                </a:lnTo>
                <a:lnTo>
                  <a:pt x="147" y="27"/>
                </a:lnTo>
                <a:lnTo>
                  <a:pt x="152" y="22"/>
                </a:lnTo>
                <a:lnTo>
                  <a:pt x="152" y="21"/>
                </a:lnTo>
                <a:lnTo>
                  <a:pt x="153" y="21"/>
                </a:lnTo>
                <a:lnTo>
                  <a:pt x="157" y="18"/>
                </a:lnTo>
                <a:lnTo>
                  <a:pt x="157" y="17"/>
                </a:lnTo>
                <a:lnTo>
                  <a:pt x="161" y="13"/>
                </a:lnTo>
                <a:lnTo>
                  <a:pt x="168" y="11"/>
                </a:lnTo>
                <a:lnTo>
                  <a:pt x="169" y="11"/>
                </a:lnTo>
                <a:lnTo>
                  <a:pt x="173" y="9"/>
                </a:lnTo>
                <a:lnTo>
                  <a:pt x="181" y="8"/>
                </a:lnTo>
                <a:lnTo>
                  <a:pt x="184" y="8"/>
                </a:lnTo>
                <a:lnTo>
                  <a:pt x="185" y="7"/>
                </a:lnTo>
                <a:lnTo>
                  <a:pt x="188" y="7"/>
                </a:lnTo>
                <a:lnTo>
                  <a:pt x="192" y="5"/>
                </a:lnTo>
                <a:lnTo>
                  <a:pt x="197" y="3"/>
                </a:lnTo>
                <a:lnTo>
                  <a:pt x="198" y="3"/>
                </a:lnTo>
                <a:lnTo>
                  <a:pt x="202" y="5"/>
                </a:lnTo>
                <a:lnTo>
                  <a:pt x="206" y="6"/>
                </a:lnTo>
                <a:lnTo>
                  <a:pt x="206" y="7"/>
                </a:lnTo>
                <a:lnTo>
                  <a:pt x="208" y="6"/>
                </a:lnTo>
                <a:lnTo>
                  <a:pt x="208" y="7"/>
                </a:lnTo>
                <a:lnTo>
                  <a:pt x="209" y="7"/>
                </a:lnTo>
                <a:lnTo>
                  <a:pt x="209" y="9"/>
                </a:lnTo>
                <a:lnTo>
                  <a:pt x="211" y="11"/>
                </a:lnTo>
                <a:lnTo>
                  <a:pt x="212" y="11"/>
                </a:lnTo>
                <a:lnTo>
                  <a:pt x="212" y="12"/>
                </a:lnTo>
                <a:lnTo>
                  <a:pt x="213" y="13"/>
                </a:lnTo>
                <a:lnTo>
                  <a:pt x="222" y="13"/>
                </a:lnTo>
                <a:lnTo>
                  <a:pt x="224" y="12"/>
                </a:lnTo>
                <a:lnTo>
                  <a:pt x="225" y="14"/>
                </a:lnTo>
                <a:lnTo>
                  <a:pt x="228" y="17"/>
                </a:lnTo>
                <a:lnTo>
                  <a:pt x="230" y="15"/>
                </a:lnTo>
                <a:lnTo>
                  <a:pt x="234" y="14"/>
                </a:lnTo>
                <a:lnTo>
                  <a:pt x="236" y="14"/>
                </a:lnTo>
                <a:lnTo>
                  <a:pt x="236" y="15"/>
                </a:lnTo>
                <a:lnTo>
                  <a:pt x="239" y="22"/>
                </a:lnTo>
                <a:lnTo>
                  <a:pt x="240" y="24"/>
                </a:lnTo>
                <a:lnTo>
                  <a:pt x="248" y="27"/>
                </a:lnTo>
                <a:lnTo>
                  <a:pt x="258" y="28"/>
                </a:lnTo>
                <a:lnTo>
                  <a:pt x="264" y="28"/>
                </a:lnTo>
                <a:lnTo>
                  <a:pt x="264" y="38"/>
                </a:lnTo>
                <a:lnTo>
                  <a:pt x="265" y="39"/>
                </a:lnTo>
                <a:lnTo>
                  <a:pt x="265" y="42"/>
                </a:lnTo>
                <a:lnTo>
                  <a:pt x="264" y="44"/>
                </a:lnTo>
                <a:lnTo>
                  <a:pt x="262" y="45"/>
                </a:lnTo>
                <a:lnTo>
                  <a:pt x="262" y="46"/>
                </a:lnTo>
                <a:lnTo>
                  <a:pt x="260" y="48"/>
                </a:lnTo>
                <a:lnTo>
                  <a:pt x="260" y="49"/>
                </a:lnTo>
                <a:lnTo>
                  <a:pt x="259" y="50"/>
                </a:lnTo>
                <a:lnTo>
                  <a:pt x="256" y="49"/>
                </a:lnTo>
                <a:lnTo>
                  <a:pt x="256" y="48"/>
                </a:lnTo>
                <a:lnTo>
                  <a:pt x="255" y="48"/>
                </a:lnTo>
                <a:lnTo>
                  <a:pt x="253" y="46"/>
                </a:lnTo>
                <a:lnTo>
                  <a:pt x="252" y="48"/>
                </a:lnTo>
                <a:lnTo>
                  <a:pt x="246" y="48"/>
                </a:lnTo>
                <a:lnTo>
                  <a:pt x="244" y="49"/>
                </a:lnTo>
                <a:lnTo>
                  <a:pt x="243" y="51"/>
                </a:lnTo>
                <a:lnTo>
                  <a:pt x="241" y="57"/>
                </a:lnTo>
                <a:lnTo>
                  <a:pt x="240" y="58"/>
                </a:lnTo>
                <a:lnTo>
                  <a:pt x="236" y="60"/>
                </a:lnTo>
                <a:lnTo>
                  <a:pt x="235" y="60"/>
                </a:lnTo>
                <a:lnTo>
                  <a:pt x="235" y="61"/>
                </a:lnTo>
                <a:lnTo>
                  <a:pt x="236" y="62"/>
                </a:lnTo>
                <a:lnTo>
                  <a:pt x="237" y="62"/>
                </a:lnTo>
                <a:lnTo>
                  <a:pt x="237" y="63"/>
                </a:lnTo>
                <a:lnTo>
                  <a:pt x="236" y="65"/>
                </a:lnTo>
                <a:lnTo>
                  <a:pt x="236" y="68"/>
                </a:lnTo>
                <a:lnTo>
                  <a:pt x="235" y="68"/>
                </a:lnTo>
                <a:lnTo>
                  <a:pt x="235" y="88"/>
                </a:lnTo>
                <a:lnTo>
                  <a:pt x="228" y="88"/>
                </a:lnTo>
                <a:lnTo>
                  <a:pt x="228" y="91"/>
                </a:lnTo>
                <a:lnTo>
                  <a:pt x="227" y="92"/>
                </a:lnTo>
                <a:lnTo>
                  <a:pt x="224" y="92"/>
                </a:lnTo>
                <a:lnTo>
                  <a:pt x="223" y="93"/>
                </a:lnTo>
                <a:lnTo>
                  <a:pt x="224" y="94"/>
                </a:lnTo>
                <a:lnTo>
                  <a:pt x="224" y="97"/>
                </a:lnTo>
                <a:lnTo>
                  <a:pt x="219" y="97"/>
                </a:lnTo>
                <a:lnTo>
                  <a:pt x="218" y="98"/>
                </a:lnTo>
                <a:lnTo>
                  <a:pt x="218" y="100"/>
                </a:lnTo>
                <a:lnTo>
                  <a:pt x="217" y="101"/>
                </a:lnTo>
                <a:lnTo>
                  <a:pt x="216" y="101"/>
                </a:lnTo>
                <a:lnTo>
                  <a:pt x="216" y="103"/>
                </a:lnTo>
                <a:lnTo>
                  <a:pt x="217" y="103"/>
                </a:lnTo>
                <a:lnTo>
                  <a:pt x="218" y="104"/>
                </a:lnTo>
                <a:lnTo>
                  <a:pt x="219" y="104"/>
                </a:lnTo>
                <a:lnTo>
                  <a:pt x="219" y="103"/>
                </a:lnTo>
                <a:lnTo>
                  <a:pt x="222" y="103"/>
                </a:lnTo>
                <a:lnTo>
                  <a:pt x="222" y="104"/>
                </a:lnTo>
                <a:lnTo>
                  <a:pt x="223" y="103"/>
                </a:lnTo>
                <a:lnTo>
                  <a:pt x="224" y="103"/>
                </a:lnTo>
                <a:lnTo>
                  <a:pt x="224" y="105"/>
                </a:lnTo>
                <a:lnTo>
                  <a:pt x="228" y="105"/>
                </a:lnTo>
                <a:lnTo>
                  <a:pt x="228" y="106"/>
                </a:lnTo>
                <a:lnTo>
                  <a:pt x="227" y="106"/>
                </a:lnTo>
                <a:lnTo>
                  <a:pt x="228" y="107"/>
                </a:lnTo>
                <a:lnTo>
                  <a:pt x="227" y="107"/>
                </a:lnTo>
                <a:lnTo>
                  <a:pt x="227" y="108"/>
                </a:lnTo>
                <a:lnTo>
                  <a:pt x="228" y="108"/>
                </a:lnTo>
                <a:lnTo>
                  <a:pt x="228" y="110"/>
                </a:lnTo>
                <a:lnTo>
                  <a:pt x="230" y="110"/>
                </a:lnTo>
                <a:lnTo>
                  <a:pt x="230" y="111"/>
                </a:lnTo>
                <a:lnTo>
                  <a:pt x="229" y="112"/>
                </a:lnTo>
                <a:lnTo>
                  <a:pt x="229" y="114"/>
                </a:lnTo>
                <a:lnTo>
                  <a:pt x="230" y="114"/>
                </a:lnTo>
                <a:lnTo>
                  <a:pt x="230" y="116"/>
                </a:lnTo>
                <a:lnTo>
                  <a:pt x="233" y="118"/>
                </a:lnTo>
                <a:lnTo>
                  <a:pt x="234" y="118"/>
                </a:lnTo>
                <a:lnTo>
                  <a:pt x="233" y="119"/>
                </a:lnTo>
                <a:lnTo>
                  <a:pt x="234" y="120"/>
                </a:lnTo>
                <a:lnTo>
                  <a:pt x="235" y="120"/>
                </a:lnTo>
                <a:lnTo>
                  <a:pt x="235" y="122"/>
                </a:lnTo>
                <a:lnTo>
                  <a:pt x="237" y="123"/>
                </a:lnTo>
                <a:lnTo>
                  <a:pt x="237" y="124"/>
                </a:lnTo>
                <a:lnTo>
                  <a:pt x="239" y="124"/>
                </a:lnTo>
                <a:lnTo>
                  <a:pt x="239" y="125"/>
                </a:lnTo>
                <a:lnTo>
                  <a:pt x="240" y="126"/>
                </a:lnTo>
                <a:lnTo>
                  <a:pt x="240" y="130"/>
                </a:lnTo>
                <a:lnTo>
                  <a:pt x="235" y="130"/>
                </a:lnTo>
                <a:lnTo>
                  <a:pt x="234" y="129"/>
                </a:lnTo>
                <a:lnTo>
                  <a:pt x="231" y="129"/>
                </a:lnTo>
                <a:lnTo>
                  <a:pt x="231" y="132"/>
                </a:lnTo>
                <a:lnTo>
                  <a:pt x="230" y="132"/>
                </a:lnTo>
                <a:lnTo>
                  <a:pt x="228" y="130"/>
                </a:lnTo>
                <a:lnTo>
                  <a:pt x="227" y="130"/>
                </a:lnTo>
                <a:lnTo>
                  <a:pt x="223" y="131"/>
                </a:lnTo>
                <a:lnTo>
                  <a:pt x="223" y="132"/>
                </a:lnTo>
                <a:lnTo>
                  <a:pt x="221" y="132"/>
                </a:lnTo>
                <a:lnTo>
                  <a:pt x="221" y="135"/>
                </a:lnTo>
                <a:lnTo>
                  <a:pt x="218" y="132"/>
                </a:lnTo>
                <a:lnTo>
                  <a:pt x="215" y="130"/>
                </a:lnTo>
                <a:lnTo>
                  <a:pt x="213" y="129"/>
                </a:lnTo>
                <a:lnTo>
                  <a:pt x="211" y="125"/>
                </a:lnTo>
                <a:lnTo>
                  <a:pt x="210" y="124"/>
                </a:lnTo>
                <a:lnTo>
                  <a:pt x="209" y="124"/>
                </a:lnTo>
                <a:lnTo>
                  <a:pt x="208" y="123"/>
                </a:lnTo>
                <a:lnTo>
                  <a:pt x="206" y="123"/>
                </a:lnTo>
                <a:lnTo>
                  <a:pt x="205" y="124"/>
                </a:lnTo>
                <a:lnTo>
                  <a:pt x="205" y="125"/>
                </a:lnTo>
                <a:lnTo>
                  <a:pt x="202" y="125"/>
                </a:lnTo>
                <a:lnTo>
                  <a:pt x="200" y="124"/>
                </a:lnTo>
                <a:lnTo>
                  <a:pt x="198" y="124"/>
                </a:lnTo>
                <a:lnTo>
                  <a:pt x="197" y="126"/>
                </a:lnTo>
                <a:lnTo>
                  <a:pt x="194" y="129"/>
                </a:lnTo>
                <a:lnTo>
                  <a:pt x="193" y="129"/>
                </a:lnTo>
                <a:lnTo>
                  <a:pt x="192" y="130"/>
                </a:lnTo>
                <a:lnTo>
                  <a:pt x="190" y="130"/>
                </a:lnTo>
                <a:lnTo>
                  <a:pt x="190" y="131"/>
                </a:lnTo>
                <a:lnTo>
                  <a:pt x="188" y="130"/>
                </a:lnTo>
                <a:lnTo>
                  <a:pt x="187" y="130"/>
                </a:lnTo>
                <a:lnTo>
                  <a:pt x="186" y="131"/>
                </a:lnTo>
                <a:lnTo>
                  <a:pt x="185" y="131"/>
                </a:lnTo>
                <a:lnTo>
                  <a:pt x="181" y="130"/>
                </a:lnTo>
                <a:lnTo>
                  <a:pt x="179" y="132"/>
                </a:lnTo>
                <a:lnTo>
                  <a:pt x="178" y="132"/>
                </a:lnTo>
                <a:lnTo>
                  <a:pt x="178" y="134"/>
                </a:lnTo>
                <a:lnTo>
                  <a:pt x="179" y="134"/>
                </a:lnTo>
                <a:lnTo>
                  <a:pt x="179" y="135"/>
                </a:lnTo>
                <a:lnTo>
                  <a:pt x="178" y="135"/>
                </a:lnTo>
                <a:lnTo>
                  <a:pt x="178" y="138"/>
                </a:lnTo>
                <a:lnTo>
                  <a:pt x="177" y="138"/>
                </a:lnTo>
                <a:lnTo>
                  <a:pt x="175" y="140"/>
                </a:lnTo>
                <a:lnTo>
                  <a:pt x="171" y="140"/>
                </a:lnTo>
                <a:lnTo>
                  <a:pt x="168" y="142"/>
                </a:lnTo>
                <a:lnTo>
                  <a:pt x="168" y="144"/>
                </a:lnTo>
                <a:lnTo>
                  <a:pt x="169" y="146"/>
                </a:lnTo>
                <a:lnTo>
                  <a:pt x="167" y="146"/>
                </a:lnTo>
                <a:lnTo>
                  <a:pt x="167" y="144"/>
                </a:lnTo>
                <a:lnTo>
                  <a:pt x="166" y="144"/>
                </a:lnTo>
                <a:lnTo>
                  <a:pt x="165" y="143"/>
                </a:lnTo>
                <a:lnTo>
                  <a:pt x="163" y="143"/>
                </a:lnTo>
                <a:lnTo>
                  <a:pt x="163" y="144"/>
                </a:lnTo>
                <a:lnTo>
                  <a:pt x="160" y="144"/>
                </a:lnTo>
                <a:lnTo>
                  <a:pt x="159" y="146"/>
                </a:lnTo>
                <a:lnTo>
                  <a:pt x="157" y="146"/>
                </a:lnTo>
                <a:lnTo>
                  <a:pt x="157" y="149"/>
                </a:lnTo>
                <a:lnTo>
                  <a:pt x="159" y="149"/>
                </a:lnTo>
                <a:lnTo>
                  <a:pt x="159" y="150"/>
                </a:lnTo>
                <a:lnTo>
                  <a:pt x="160" y="150"/>
                </a:lnTo>
                <a:lnTo>
                  <a:pt x="160" y="154"/>
                </a:lnTo>
                <a:lnTo>
                  <a:pt x="161" y="154"/>
                </a:lnTo>
                <a:lnTo>
                  <a:pt x="161" y="155"/>
                </a:lnTo>
                <a:lnTo>
                  <a:pt x="162" y="155"/>
                </a:lnTo>
                <a:lnTo>
                  <a:pt x="162" y="156"/>
                </a:lnTo>
                <a:lnTo>
                  <a:pt x="161" y="157"/>
                </a:lnTo>
                <a:lnTo>
                  <a:pt x="161" y="159"/>
                </a:lnTo>
                <a:lnTo>
                  <a:pt x="162" y="160"/>
                </a:lnTo>
                <a:lnTo>
                  <a:pt x="162" y="161"/>
                </a:lnTo>
                <a:lnTo>
                  <a:pt x="161" y="161"/>
                </a:lnTo>
                <a:lnTo>
                  <a:pt x="161" y="165"/>
                </a:lnTo>
                <a:lnTo>
                  <a:pt x="160" y="165"/>
                </a:lnTo>
                <a:lnTo>
                  <a:pt x="156" y="166"/>
                </a:lnTo>
                <a:lnTo>
                  <a:pt x="155" y="166"/>
                </a:lnTo>
                <a:lnTo>
                  <a:pt x="154" y="167"/>
                </a:lnTo>
                <a:lnTo>
                  <a:pt x="152" y="167"/>
                </a:lnTo>
                <a:lnTo>
                  <a:pt x="150" y="168"/>
                </a:lnTo>
                <a:lnTo>
                  <a:pt x="149" y="168"/>
                </a:lnTo>
                <a:lnTo>
                  <a:pt x="148" y="166"/>
                </a:lnTo>
                <a:lnTo>
                  <a:pt x="147" y="166"/>
                </a:lnTo>
                <a:lnTo>
                  <a:pt x="144" y="167"/>
                </a:lnTo>
                <a:lnTo>
                  <a:pt x="143" y="167"/>
                </a:lnTo>
                <a:lnTo>
                  <a:pt x="142" y="168"/>
                </a:lnTo>
                <a:lnTo>
                  <a:pt x="140" y="168"/>
                </a:lnTo>
                <a:lnTo>
                  <a:pt x="140" y="167"/>
                </a:lnTo>
                <a:lnTo>
                  <a:pt x="135" y="167"/>
                </a:lnTo>
                <a:lnTo>
                  <a:pt x="135" y="169"/>
                </a:lnTo>
                <a:lnTo>
                  <a:pt x="131" y="169"/>
                </a:lnTo>
                <a:lnTo>
                  <a:pt x="125" y="172"/>
                </a:lnTo>
                <a:lnTo>
                  <a:pt x="123" y="172"/>
                </a:lnTo>
                <a:lnTo>
                  <a:pt x="122" y="171"/>
                </a:lnTo>
                <a:lnTo>
                  <a:pt x="121" y="168"/>
                </a:lnTo>
                <a:lnTo>
                  <a:pt x="119" y="168"/>
                </a:lnTo>
                <a:lnTo>
                  <a:pt x="118" y="167"/>
                </a:lnTo>
                <a:lnTo>
                  <a:pt x="117" y="167"/>
                </a:lnTo>
                <a:lnTo>
                  <a:pt x="117" y="166"/>
                </a:lnTo>
                <a:lnTo>
                  <a:pt x="116" y="166"/>
                </a:lnTo>
                <a:lnTo>
                  <a:pt x="110" y="163"/>
                </a:lnTo>
                <a:lnTo>
                  <a:pt x="107" y="162"/>
                </a:lnTo>
                <a:lnTo>
                  <a:pt x="106" y="163"/>
                </a:lnTo>
                <a:lnTo>
                  <a:pt x="104" y="163"/>
                </a:lnTo>
                <a:lnTo>
                  <a:pt x="104" y="166"/>
                </a:lnTo>
                <a:lnTo>
                  <a:pt x="103" y="166"/>
                </a:lnTo>
                <a:lnTo>
                  <a:pt x="103" y="165"/>
                </a:lnTo>
                <a:lnTo>
                  <a:pt x="100" y="163"/>
                </a:lnTo>
                <a:lnTo>
                  <a:pt x="100" y="162"/>
                </a:lnTo>
                <a:lnTo>
                  <a:pt x="99" y="162"/>
                </a:lnTo>
                <a:lnTo>
                  <a:pt x="98" y="161"/>
                </a:lnTo>
                <a:lnTo>
                  <a:pt x="95" y="161"/>
                </a:lnTo>
                <a:lnTo>
                  <a:pt x="95" y="159"/>
                </a:lnTo>
                <a:lnTo>
                  <a:pt x="94" y="159"/>
                </a:lnTo>
                <a:lnTo>
                  <a:pt x="94" y="157"/>
                </a:lnTo>
                <a:lnTo>
                  <a:pt x="93" y="157"/>
                </a:lnTo>
                <a:lnTo>
                  <a:pt x="93" y="154"/>
                </a:lnTo>
                <a:lnTo>
                  <a:pt x="90" y="154"/>
                </a:lnTo>
                <a:lnTo>
                  <a:pt x="90" y="155"/>
                </a:lnTo>
                <a:lnTo>
                  <a:pt x="87" y="155"/>
                </a:lnTo>
                <a:lnTo>
                  <a:pt x="86" y="156"/>
                </a:lnTo>
                <a:lnTo>
                  <a:pt x="82" y="156"/>
                </a:lnTo>
                <a:lnTo>
                  <a:pt x="82" y="155"/>
                </a:lnTo>
                <a:lnTo>
                  <a:pt x="81" y="154"/>
                </a:lnTo>
                <a:lnTo>
                  <a:pt x="79" y="154"/>
                </a:lnTo>
                <a:lnTo>
                  <a:pt x="78" y="155"/>
                </a:lnTo>
                <a:lnTo>
                  <a:pt x="78" y="156"/>
                </a:lnTo>
                <a:lnTo>
                  <a:pt x="76" y="156"/>
                </a:lnTo>
                <a:lnTo>
                  <a:pt x="76" y="155"/>
                </a:lnTo>
                <a:lnTo>
                  <a:pt x="73" y="155"/>
                </a:lnTo>
                <a:lnTo>
                  <a:pt x="73" y="160"/>
                </a:lnTo>
                <a:lnTo>
                  <a:pt x="72" y="160"/>
                </a:lnTo>
                <a:lnTo>
                  <a:pt x="70" y="159"/>
                </a:lnTo>
                <a:lnTo>
                  <a:pt x="70" y="160"/>
                </a:lnTo>
                <a:lnTo>
                  <a:pt x="69" y="160"/>
                </a:lnTo>
                <a:lnTo>
                  <a:pt x="68" y="161"/>
                </a:lnTo>
                <a:lnTo>
                  <a:pt x="67" y="159"/>
                </a:lnTo>
                <a:lnTo>
                  <a:pt x="66" y="159"/>
                </a:lnTo>
                <a:lnTo>
                  <a:pt x="63" y="161"/>
                </a:lnTo>
                <a:lnTo>
                  <a:pt x="61" y="161"/>
                </a:lnTo>
                <a:lnTo>
                  <a:pt x="60" y="162"/>
                </a:lnTo>
                <a:lnTo>
                  <a:pt x="56" y="162"/>
                </a:lnTo>
                <a:lnTo>
                  <a:pt x="54" y="165"/>
                </a:lnTo>
                <a:lnTo>
                  <a:pt x="53" y="165"/>
                </a:lnTo>
                <a:lnTo>
                  <a:pt x="50" y="162"/>
                </a:lnTo>
                <a:lnTo>
                  <a:pt x="45" y="162"/>
                </a:lnTo>
                <a:lnTo>
                  <a:pt x="45" y="163"/>
                </a:lnTo>
                <a:lnTo>
                  <a:pt x="44" y="163"/>
                </a:lnTo>
                <a:lnTo>
                  <a:pt x="43" y="165"/>
                </a:lnTo>
                <a:lnTo>
                  <a:pt x="42" y="165"/>
                </a:lnTo>
                <a:lnTo>
                  <a:pt x="42" y="163"/>
                </a:lnTo>
                <a:lnTo>
                  <a:pt x="41" y="163"/>
                </a:lnTo>
                <a:lnTo>
                  <a:pt x="41" y="162"/>
                </a:lnTo>
                <a:lnTo>
                  <a:pt x="39" y="162"/>
                </a:lnTo>
                <a:lnTo>
                  <a:pt x="37" y="165"/>
                </a:lnTo>
                <a:lnTo>
                  <a:pt x="37" y="166"/>
                </a:lnTo>
                <a:lnTo>
                  <a:pt x="36" y="167"/>
                </a:lnTo>
                <a:lnTo>
                  <a:pt x="34" y="167"/>
                </a:lnTo>
                <a:lnTo>
                  <a:pt x="25" y="166"/>
                </a:lnTo>
                <a:lnTo>
                  <a:pt x="26" y="166"/>
                </a:lnTo>
                <a:lnTo>
                  <a:pt x="26" y="163"/>
                </a:lnTo>
                <a:lnTo>
                  <a:pt x="25" y="162"/>
                </a:lnTo>
                <a:lnTo>
                  <a:pt x="26" y="162"/>
                </a:lnTo>
                <a:lnTo>
                  <a:pt x="26" y="153"/>
                </a:lnTo>
                <a:lnTo>
                  <a:pt x="25" y="153"/>
                </a:lnTo>
                <a:lnTo>
                  <a:pt x="25" y="150"/>
                </a:lnTo>
                <a:lnTo>
                  <a:pt x="28" y="148"/>
                </a:lnTo>
                <a:lnTo>
                  <a:pt x="28" y="147"/>
                </a:lnTo>
                <a:lnTo>
                  <a:pt x="29" y="146"/>
                </a:lnTo>
                <a:lnTo>
                  <a:pt x="29" y="143"/>
                </a:lnTo>
                <a:lnTo>
                  <a:pt x="28" y="142"/>
                </a:lnTo>
                <a:lnTo>
                  <a:pt x="26" y="142"/>
                </a:lnTo>
                <a:lnTo>
                  <a:pt x="24" y="137"/>
                </a:lnTo>
                <a:lnTo>
                  <a:pt x="24" y="136"/>
                </a:lnTo>
                <a:lnTo>
                  <a:pt x="23" y="136"/>
                </a:lnTo>
                <a:lnTo>
                  <a:pt x="23" y="130"/>
                </a:lnTo>
                <a:lnTo>
                  <a:pt x="22" y="129"/>
                </a:lnTo>
                <a:lnTo>
                  <a:pt x="22" y="128"/>
                </a:lnTo>
                <a:lnTo>
                  <a:pt x="19" y="128"/>
                </a:lnTo>
                <a:lnTo>
                  <a:pt x="19" y="126"/>
                </a:lnTo>
                <a:lnTo>
                  <a:pt x="17" y="126"/>
                </a:lnTo>
                <a:lnTo>
                  <a:pt x="16" y="125"/>
                </a:lnTo>
                <a:lnTo>
                  <a:pt x="14" y="125"/>
                </a:lnTo>
                <a:lnTo>
                  <a:pt x="12" y="124"/>
                </a:lnTo>
                <a:lnTo>
                  <a:pt x="8" y="122"/>
                </a:lnTo>
                <a:lnTo>
                  <a:pt x="7" y="120"/>
                </a:lnTo>
                <a:lnTo>
                  <a:pt x="7" y="119"/>
                </a:lnTo>
                <a:lnTo>
                  <a:pt x="5" y="117"/>
                </a:lnTo>
                <a:lnTo>
                  <a:pt x="0" y="111"/>
                </a:lnTo>
                <a:lnTo>
                  <a:pt x="4" y="111"/>
                </a:lnTo>
                <a:lnTo>
                  <a:pt x="4" y="110"/>
                </a:lnTo>
                <a:lnTo>
                  <a:pt x="5" y="110"/>
                </a:lnTo>
                <a:lnTo>
                  <a:pt x="5" y="107"/>
                </a:lnTo>
                <a:lnTo>
                  <a:pt x="6" y="106"/>
                </a:lnTo>
                <a:lnTo>
                  <a:pt x="7" y="106"/>
                </a:lnTo>
                <a:lnTo>
                  <a:pt x="8" y="105"/>
                </a:lnTo>
                <a:lnTo>
                  <a:pt x="8" y="100"/>
                </a:lnTo>
                <a:lnTo>
                  <a:pt x="6" y="98"/>
                </a:lnTo>
                <a:lnTo>
                  <a:pt x="4" y="97"/>
                </a:lnTo>
                <a:lnTo>
                  <a:pt x="4" y="95"/>
                </a:lnTo>
                <a:lnTo>
                  <a:pt x="5" y="93"/>
                </a:lnTo>
                <a:lnTo>
                  <a:pt x="5" y="89"/>
                </a:lnTo>
                <a:lnTo>
                  <a:pt x="6" y="88"/>
                </a:lnTo>
                <a:lnTo>
                  <a:pt x="6" y="86"/>
                </a:lnTo>
                <a:lnTo>
                  <a:pt x="5" y="85"/>
                </a:lnTo>
                <a:lnTo>
                  <a:pt x="4" y="82"/>
                </a:lnTo>
                <a:lnTo>
                  <a:pt x="5" y="82"/>
                </a:lnTo>
                <a:lnTo>
                  <a:pt x="5" y="81"/>
                </a:lnTo>
                <a:lnTo>
                  <a:pt x="6" y="81"/>
                </a:lnTo>
                <a:lnTo>
                  <a:pt x="7" y="80"/>
                </a:lnTo>
                <a:lnTo>
                  <a:pt x="7" y="79"/>
                </a:lnTo>
                <a:lnTo>
                  <a:pt x="17" y="79"/>
                </a:lnTo>
                <a:lnTo>
                  <a:pt x="17" y="77"/>
                </a:lnTo>
                <a:lnTo>
                  <a:pt x="18" y="76"/>
                </a:lnTo>
                <a:lnTo>
                  <a:pt x="18" y="74"/>
                </a:lnTo>
                <a:lnTo>
                  <a:pt x="19" y="73"/>
                </a:lnTo>
                <a:lnTo>
                  <a:pt x="20" y="73"/>
                </a:lnTo>
                <a:lnTo>
                  <a:pt x="24" y="69"/>
                </a:lnTo>
                <a:lnTo>
                  <a:pt x="24" y="67"/>
                </a:lnTo>
                <a:lnTo>
                  <a:pt x="25" y="67"/>
                </a:lnTo>
                <a:lnTo>
                  <a:pt x="26" y="65"/>
                </a:lnTo>
                <a:lnTo>
                  <a:pt x="28" y="63"/>
                </a:lnTo>
                <a:lnTo>
                  <a:pt x="28" y="61"/>
                </a:lnTo>
                <a:lnTo>
                  <a:pt x="26" y="60"/>
                </a:lnTo>
                <a:lnTo>
                  <a:pt x="25" y="60"/>
                </a:lnTo>
                <a:lnTo>
                  <a:pt x="20" y="55"/>
                </a:lnTo>
                <a:lnTo>
                  <a:pt x="20" y="52"/>
                </a:lnTo>
                <a:lnTo>
                  <a:pt x="17" y="50"/>
                </a:lnTo>
                <a:lnTo>
                  <a:pt x="17" y="49"/>
                </a:lnTo>
                <a:lnTo>
                  <a:pt x="13" y="49"/>
                </a:lnTo>
                <a:lnTo>
                  <a:pt x="13" y="46"/>
                </a:lnTo>
                <a:lnTo>
                  <a:pt x="11" y="46"/>
                </a:lnTo>
                <a:lnTo>
                  <a:pt x="11" y="45"/>
                </a:lnTo>
                <a:lnTo>
                  <a:pt x="8" y="45"/>
                </a:lnTo>
                <a:lnTo>
                  <a:pt x="8" y="44"/>
                </a:lnTo>
                <a:lnTo>
                  <a:pt x="7" y="43"/>
                </a:lnTo>
                <a:lnTo>
                  <a:pt x="7" y="40"/>
                </a:lnTo>
                <a:lnTo>
                  <a:pt x="6" y="39"/>
                </a:lnTo>
                <a:lnTo>
                  <a:pt x="6" y="34"/>
                </a:lnTo>
                <a:lnTo>
                  <a:pt x="5" y="33"/>
                </a:lnTo>
                <a:lnTo>
                  <a:pt x="4" y="33"/>
                </a:lnTo>
                <a:lnTo>
                  <a:pt x="4" y="32"/>
                </a:lnTo>
                <a:lnTo>
                  <a:pt x="3" y="31"/>
                </a:lnTo>
                <a:lnTo>
                  <a:pt x="3" y="27"/>
                </a:lnTo>
                <a:lnTo>
                  <a:pt x="1" y="26"/>
                </a:lnTo>
                <a:lnTo>
                  <a:pt x="1" y="22"/>
                </a:lnTo>
                <a:lnTo>
                  <a:pt x="3" y="20"/>
                </a:lnTo>
                <a:lnTo>
                  <a:pt x="3" y="14"/>
                </a:lnTo>
                <a:lnTo>
                  <a:pt x="4" y="13"/>
                </a:lnTo>
                <a:lnTo>
                  <a:pt x="7" y="13"/>
                </a:lnTo>
                <a:lnTo>
                  <a:pt x="7" y="12"/>
                </a:lnTo>
                <a:lnTo>
                  <a:pt x="10" y="9"/>
                </a:lnTo>
                <a:lnTo>
                  <a:pt x="12" y="9"/>
                </a:lnTo>
                <a:lnTo>
                  <a:pt x="12" y="8"/>
                </a:lnTo>
                <a:lnTo>
                  <a:pt x="11" y="7"/>
                </a:lnTo>
                <a:lnTo>
                  <a:pt x="11" y="6"/>
                </a:lnTo>
                <a:lnTo>
                  <a:pt x="12" y="5"/>
                </a:lnTo>
                <a:lnTo>
                  <a:pt x="12" y="2"/>
                </a:lnTo>
                <a:lnTo>
                  <a:pt x="13" y="1"/>
                </a:lnTo>
                <a:lnTo>
                  <a:pt x="16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" name="Freeform 52">
            <a:extLst>
              <a:ext uri="{FF2B5EF4-FFF2-40B4-BE49-F238E27FC236}">
                <a16:creationId xmlns:a16="http://schemas.microsoft.com/office/drawing/2014/main" id="{121A289A-88FD-4C5D-A648-23C4B69F53A5}"/>
              </a:ext>
            </a:extLst>
          </p:cNvPr>
          <p:cNvSpPr>
            <a:spLocks/>
          </p:cNvSpPr>
          <p:nvPr/>
        </p:nvSpPr>
        <p:spPr bwMode="auto">
          <a:xfrm>
            <a:off x="2192343" y="5145039"/>
            <a:ext cx="239076" cy="230382"/>
          </a:xfrm>
          <a:custGeom>
            <a:avLst/>
            <a:gdLst/>
            <a:ahLst/>
            <a:cxnLst>
              <a:cxn ang="0">
                <a:pos x="56" y="3"/>
              </a:cxn>
              <a:cxn ang="0">
                <a:pos x="62" y="7"/>
              </a:cxn>
              <a:cxn ang="0">
                <a:pos x="75" y="8"/>
              </a:cxn>
              <a:cxn ang="0">
                <a:pos x="85" y="8"/>
              </a:cxn>
              <a:cxn ang="0">
                <a:pos x="93" y="12"/>
              </a:cxn>
              <a:cxn ang="0">
                <a:pos x="104" y="10"/>
              </a:cxn>
              <a:cxn ang="0">
                <a:pos x="110" y="9"/>
              </a:cxn>
              <a:cxn ang="0">
                <a:pos x="123" y="10"/>
              </a:cxn>
              <a:cxn ang="0">
                <a:pos x="127" y="15"/>
              </a:cxn>
              <a:cxn ang="0">
                <a:pos x="129" y="19"/>
              </a:cxn>
              <a:cxn ang="0">
                <a:pos x="142" y="24"/>
              </a:cxn>
              <a:cxn ang="0">
                <a:pos x="148" y="21"/>
              </a:cxn>
              <a:cxn ang="0">
                <a:pos x="154" y="22"/>
              </a:cxn>
              <a:cxn ang="0">
                <a:pos x="150" y="34"/>
              </a:cxn>
              <a:cxn ang="0">
                <a:pos x="146" y="44"/>
              </a:cxn>
              <a:cxn ang="0">
                <a:pos x="143" y="56"/>
              </a:cxn>
              <a:cxn ang="0">
                <a:pos x="154" y="64"/>
              </a:cxn>
              <a:cxn ang="0">
                <a:pos x="160" y="70"/>
              </a:cxn>
              <a:cxn ang="0">
                <a:pos x="164" y="71"/>
              </a:cxn>
              <a:cxn ang="0">
                <a:pos x="160" y="77"/>
              </a:cxn>
              <a:cxn ang="0">
                <a:pos x="149" y="75"/>
              </a:cxn>
              <a:cxn ang="0">
                <a:pos x="152" y="81"/>
              </a:cxn>
              <a:cxn ang="0">
                <a:pos x="159" y="98"/>
              </a:cxn>
              <a:cxn ang="0">
                <a:pos x="155" y="101"/>
              </a:cxn>
              <a:cxn ang="0">
                <a:pos x="150" y="100"/>
              </a:cxn>
              <a:cxn ang="0">
                <a:pos x="143" y="102"/>
              </a:cxn>
              <a:cxn ang="0">
                <a:pos x="140" y="102"/>
              </a:cxn>
              <a:cxn ang="0">
                <a:pos x="136" y="106"/>
              </a:cxn>
              <a:cxn ang="0">
                <a:pos x="140" y="113"/>
              </a:cxn>
              <a:cxn ang="0">
                <a:pos x="139" y="118"/>
              </a:cxn>
              <a:cxn ang="0">
                <a:pos x="131" y="113"/>
              </a:cxn>
              <a:cxn ang="0">
                <a:pos x="125" y="120"/>
              </a:cxn>
              <a:cxn ang="0">
                <a:pos x="115" y="136"/>
              </a:cxn>
              <a:cxn ang="0">
                <a:pos x="115" y="144"/>
              </a:cxn>
              <a:cxn ang="0">
                <a:pos x="119" y="155"/>
              </a:cxn>
              <a:cxn ang="0">
                <a:pos x="111" y="156"/>
              </a:cxn>
              <a:cxn ang="0">
                <a:pos x="96" y="148"/>
              </a:cxn>
              <a:cxn ang="0">
                <a:pos x="88" y="142"/>
              </a:cxn>
              <a:cxn ang="0">
                <a:pos x="82" y="138"/>
              </a:cxn>
              <a:cxn ang="0">
                <a:pos x="80" y="138"/>
              </a:cxn>
              <a:cxn ang="0">
                <a:pos x="79" y="130"/>
              </a:cxn>
              <a:cxn ang="0">
                <a:pos x="71" y="122"/>
              </a:cxn>
              <a:cxn ang="0">
                <a:pos x="66" y="113"/>
              </a:cxn>
              <a:cxn ang="0">
                <a:pos x="56" y="104"/>
              </a:cxn>
              <a:cxn ang="0">
                <a:pos x="42" y="88"/>
              </a:cxn>
              <a:cxn ang="0">
                <a:pos x="36" y="80"/>
              </a:cxn>
              <a:cxn ang="0">
                <a:pos x="28" y="73"/>
              </a:cxn>
              <a:cxn ang="0">
                <a:pos x="24" y="67"/>
              </a:cxn>
              <a:cxn ang="0">
                <a:pos x="21" y="57"/>
              </a:cxn>
              <a:cxn ang="0">
                <a:pos x="19" y="51"/>
              </a:cxn>
              <a:cxn ang="0">
                <a:pos x="15" y="45"/>
              </a:cxn>
              <a:cxn ang="0">
                <a:pos x="13" y="39"/>
              </a:cxn>
              <a:cxn ang="0">
                <a:pos x="9" y="34"/>
              </a:cxn>
              <a:cxn ang="0">
                <a:pos x="4" y="34"/>
              </a:cxn>
              <a:cxn ang="0">
                <a:pos x="1" y="25"/>
              </a:cxn>
              <a:cxn ang="0">
                <a:pos x="1" y="18"/>
              </a:cxn>
              <a:cxn ang="0">
                <a:pos x="3" y="6"/>
              </a:cxn>
              <a:cxn ang="0">
                <a:pos x="15" y="7"/>
              </a:cxn>
              <a:cxn ang="0">
                <a:pos x="24" y="16"/>
              </a:cxn>
              <a:cxn ang="0">
                <a:pos x="29" y="9"/>
              </a:cxn>
              <a:cxn ang="0">
                <a:pos x="35" y="3"/>
              </a:cxn>
              <a:cxn ang="0">
                <a:pos x="48" y="3"/>
              </a:cxn>
              <a:cxn ang="0">
                <a:pos x="51" y="0"/>
              </a:cxn>
            </a:cxnLst>
            <a:rect l="0" t="0" r="r" b="b"/>
            <a:pathLst>
              <a:path w="165" h="159">
                <a:moveTo>
                  <a:pt x="51" y="0"/>
                </a:moveTo>
                <a:lnTo>
                  <a:pt x="51" y="2"/>
                </a:lnTo>
                <a:lnTo>
                  <a:pt x="55" y="2"/>
                </a:lnTo>
                <a:lnTo>
                  <a:pt x="55" y="3"/>
                </a:lnTo>
                <a:lnTo>
                  <a:pt x="56" y="3"/>
                </a:lnTo>
                <a:lnTo>
                  <a:pt x="56" y="4"/>
                </a:lnTo>
                <a:lnTo>
                  <a:pt x="59" y="6"/>
                </a:lnTo>
                <a:lnTo>
                  <a:pt x="60" y="7"/>
                </a:lnTo>
                <a:lnTo>
                  <a:pt x="62" y="8"/>
                </a:lnTo>
                <a:lnTo>
                  <a:pt x="62" y="7"/>
                </a:lnTo>
                <a:lnTo>
                  <a:pt x="65" y="7"/>
                </a:lnTo>
                <a:lnTo>
                  <a:pt x="66" y="6"/>
                </a:lnTo>
                <a:lnTo>
                  <a:pt x="67" y="6"/>
                </a:lnTo>
                <a:lnTo>
                  <a:pt x="69" y="8"/>
                </a:lnTo>
                <a:lnTo>
                  <a:pt x="75" y="8"/>
                </a:lnTo>
                <a:lnTo>
                  <a:pt x="74" y="9"/>
                </a:lnTo>
                <a:lnTo>
                  <a:pt x="79" y="9"/>
                </a:lnTo>
                <a:lnTo>
                  <a:pt x="81" y="7"/>
                </a:lnTo>
                <a:lnTo>
                  <a:pt x="85" y="7"/>
                </a:lnTo>
                <a:lnTo>
                  <a:pt x="85" y="8"/>
                </a:lnTo>
                <a:lnTo>
                  <a:pt x="87" y="12"/>
                </a:lnTo>
                <a:lnTo>
                  <a:pt x="88" y="13"/>
                </a:lnTo>
                <a:lnTo>
                  <a:pt x="90" y="13"/>
                </a:lnTo>
                <a:lnTo>
                  <a:pt x="91" y="12"/>
                </a:lnTo>
                <a:lnTo>
                  <a:pt x="93" y="12"/>
                </a:lnTo>
                <a:lnTo>
                  <a:pt x="93" y="10"/>
                </a:lnTo>
                <a:lnTo>
                  <a:pt x="96" y="8"/>
                </a:lnTo>
                <a:lnTo>
                  <a:pt x="98" y="8"/>
                </a:lnTo>
                <a:lnTo>
                  <a:pt x="100" y="10"/>
                </a:lnTo>
                <a:lnTo>
                  <a:pt x="104" y="10"/>
                </a:lnTo>
                <a:lnTo>
                  <a:pt x="105" y="9"/>
                </a:lnTo>
                <a:lnTo>
                  <a:pt x="105" y="7"/>
                </a:lnTo>
                <a:lnTo>
                  <a:pt x="106" y="7"/>
                </a:lnTo>
                <a:lnTo>
                  <a:pt x="108" y="8"/>
                </a:lnTo>
                <a:lnTo>
                  <a:pt x="110" y="9"/>
                </a:lnTo>
                <a:lnTo>
                  <a:pt x="113" y="9"/>
                </a:lnTo>
                <a:lnTo>
                  <a:pt x="117" y="13"/>
                </a:lnTo>
                <a:lnTo>
                  <a:pt x="119" y="13"/>
                </a:lnTo>
                <a:lnTo>
                  <a:pt x="119" y="10"/>
                </a:lnTo>
                <a:lnTo>
                  <a:pt x="123" y="10"/>
                </a:lnTo>
                <a:lnTo>
                  <a:pt x="123" y="13"/>
                </a:lnTo>
                <a:lnTo>
                  <a:pt x="124" y="13"/>
                </a:lnTo>
                <a:lnTo>
                  <a:pt x="124" y="12"/>
                </a:lnTo>
                <a:lnTo>
                  <a:pt x="125" y="12"/>
                </a:lnTo>
                <a:lnTo>
                  <a:pt x="127" y="15"/>
                </a:lnTo>
                <a:lnTo>
                  <a:pt x="128" y="15"/>
                </a:lnTo>
                <a:lnTo>
                  <a:pt x="129" y="16"/>
                </a:lnTo>
                <a:lnTo>
                  <a:pt x="130" y="16"/>
                </a:lnTo>
                <a:lnTo>
                  <a:pt x="130" y="19"/>
                </a:lnTo>
                <a:lnTo>
                  <a:pt x="129" y="19"/>
                </a:lnTo>
                <a:lnTo>
                  <a:pt x="129" y="21"/>
                </a:lnTo>
                <a:lnTo>
                  <a:pt x="133" y="25"/>
                </a:lnTo>
                <a:lnTo>
                  <a:pt x="140" y="25"/>
                </a:lnTo>
                <a:lnTo>
                  <a:pt x="141" y="24"/>
                </a:lnTo>
                <a:lnTo>
                  <a:pt x="142" y="24"/>
                </a:lnTo>
                <a:lnTo>
                  <a:pt x="146" y="21"/>
                </a:lnTo>
                <a:lnTo>
                  <a:pt x="147" y="21"/>
                </a:lnTo>
                <a:lnTo>
                  <a:pt x="147" y="22"/>
                </a:lnTo>
                <a:lnTo>
                  <a:pt x="148" y="22"/>
                </a:lnTo>
                <a:lnTo>
                  <a:pt x="148" y="21"/>
                </a:lnTo>
                <a:lnTo>
                  <a:pt x="149" y="21"/>
                </a:lnTo>
                <a:lnTo>
                  <a:pt x="150" y="22"/>
                </a:lnTo>
                <a:lnTo>
                  <a:pt x="152" y="21"/>
                </a:lnTo>
                <a:lnTo>
                  <a:pt x="153" y="22"/>
                </a:lnTo>
                <a:lnTo>
                  <a:pt x="154" y="22"/>
                </a:lnTo>
                <a:lnTo>
                  <a:pt x="154" y="25"/>
                </a:lnTo>
                <a:lnTo>
                  <a:pt x="153" y="32"/>
                </a:lnTo>
                <a:lnTo>
                  <a:pt x="152" y="33"/>
                </a:lnTo>
                <a:lnTo>
                  <a:pt x="152" y="34"/>
                </a:lnTo>
                <a:lnTo>
                  <a:pt x="150" y="34"/>
                </a:lnTo>
                <a:lnTo>
                  <a:pt x="150" y="36"/>
                </a:lnTo>
                <a:lnTo>
                  <a:pt x="149" y="38"/>
                </a:lnTo>
                <a:lnTo>
                  <a:pt x="147" y="40"/>
                </a:lnTo>
                <a:lnTo>
                  <a:pt x="147" y="44"/>
                </a:lnTo>
                <a:lnTo>
                  <a:pt x="146" y="44"/>
                </a:lnTo>
                <a:lnTo>
                  <a:pt x="146" y="45"/>
                </a:lnTo>
                <a:lnTo>
                  <a:pt x="144" y="45"/>
                </a:lnTo>
                <a:lnTo>
                  <a:pt x="144" y="51"/>
                </a:lnTo>
                <a:lnTo>
                  <a:pt x="143" y="52"/>
                </a:lnTo>
                <a:lnTo>
                  <a:pt x="143" y="56"/>
                </a:lnTo>
                <a:lnTo>
                  <a:pt x="146" y="58"/>
                </a:lnTo>
                <a:lnTo>
                  <a:pt x="148" y="59"/>
                </a:lnTo>
                <a:lnTo>
                  <a:pt x="152" y="59"/>
                </a:lnTo>
                <a:lnTo>
                  <a:pt x="154" y="62"/>
                </a:lnTo>
                <a:lnTo>
                  <a:pt x="154" y="64"/>
                </a:lnTo>
                <a:lnTo>
                  <a:pt x="156" y="67"/>
                </a:lnTo>
                <a:lnTo>
                  <a:pt x="159" y="67"/>
                </a:lnTo>
                <a:lnTo>
                  <a:pt x="159" y="69"/>
                </a:lnTo>
                <a:lnTo>
                  <a:pt x="160" y="69"/>
                </a:lnTo>
                <a:lnTo>
                  <a:pt x="160" y="70"/>
                </a:lnTo>
                <a:lnTo>
                  <a:pt x="161" y="70"/>
                </a:lnTo>
                <a:lnTo>
                  <a:pt x="162" y="71"/>
                </a:lnTo>
                <a:lnTo>
                  <a:pt x="162" y="73"/>
                </a:lnTo>
                <a:lnTo>
                  <a:pt x="164" y="73"/>
                </a:lnTo>
                <a:lnTo>
                  <a:pt x="164" y="71"/>
                </a:lnTo>
                <a:lnTo>
                  <a:pt x="165" y="73"/>
                </a:lnTo>
                <a:lnTo>
                  <a:pt x="165" y="75"/>
                </a:lnTo>
                <a:lnTo>
                  <a:pt x="164" y="75"/>
                </a:lnTo>
                <a:lnTo>
                  <a:pt x="161" y="77"/>
                </a:lnTo>
                <a:lnTo>
                  <a:pt x="160" y="77"/>
                </a:lnTo>
                <a:lnTo>
                  <a:pt x="158" y="76"/>
                </a:lnTo>
                <a:lnTo>
                  <a:pt x="155" y="77"/>
                </a:lnTo>
                <a:lnTo>
                  <a:pt x="154" y="77"/>
                </a:lnTo>
                <a:lnTo>
                  <a:pt x="152" y="75"/>
                </a:lnTo>
                <a:lnTo>
                  <a:pt x="149" y="75"/>
                </a:lnTo>
                <a:lnTo>
                  <a:pt x="148" y="76"/>
                </a:lnTo>
                <a:lnTo>
                  <a:pt x="149" y="77"/>
                </a:lnTo>
                <a:lnTo>
                  <a:pt x="148" y="79"/>
                </a:lnTo>
                <a:lnTo>
                  <a:pt x="149" y="79"/>
                </a:lnTo>
                <a:lnTo>
                  <a:pt x="152" y="81"/>
                </a:lnTo>
                <a:lnTo>
                  <a:pt x="154" y="84"/>
                </a:lnTo>
                <a:lnTo>
                  <a:pt x="158" y="89"/>
                </a:lnTo>
                <a:lnTo>
                  <a:pt x="160" y="94"/>
                </a:lnTo>
                <a:lnTo>
                  <a:pt x="160" y="96"/>
                </a:lnTo>
                <a:lnTo>
                  <a:pt x="159" y="98"/>
                </a:lnTo>
                <a:lnTo>
                  <a:pt x="159" y="101"/>
                </a:lnTo>
                <a:lnTo>
                  <a:pt x="158" y="100"/>
                </a:lnTo>
                <a:lnTo>
                  <a:pt x="156" y="100"/>
                </a:lnTo>
                <a:lnTo>
                  <a:pt x="156" y="102"/>
                </a:lnTo>
                <a:lnTo>
                  <a:pt x="155" y="101"/>
                </a:lnTo>
                <a:lnTo>
                  <a:pt x="155" y="100"/>
                </a:lnTo>
                <a:lnTo>
                  <a:pt x="154" y="99"/>
                </a:lnTo>
                <a:lnTo>
                  <a:pt x="152" y="99"/>
                </a:lnTo>
                <a:lnTo>
                  <a:pt x="152" y="100"/>
                </a:lnTo>
                <a:lnTo>
                  <a:pt x="150" y="100"/>
                </a:lnTo>
                <a:lnTo>
                  <a:pt x="149" y="99"/>
                </a:lnTo>
                <a:lnTo>
                  <a:pt x="149" y="100"/>
                </a:lnTo>
                <a:lnTo>
                  <a:pt x="148" y="101"/>
                </a:lnTo>
                <a:lnTo>
                  <a:pt x="148" y="102"/>
                </a:lnTo>
                <a:lnTo>
                  <a:pt x="143" y="102"/>
                </a:lnTo>
                <a:lnTo>
                  <a:pt x="142" y="104"/>
                </a:lnTo>
                <a:lnTo>
                  <a:pt x="142" y="105"/>
                </a:lnTo>
                <a:lnTo>
                  <a:pt x="141" y="105"/>
                </a:lnTo>
                <a:lnTo>
                  <a:pt x="140" y="104"/>
                </a:lnTo>
                <a:lnTo>
                  <a:pt x="140" y="102"/>
                </a:lnTo>
                <a:lnTo>
                  <a:pt x="137" y="102"/>
                </a:lnTo>
                <a:lnTo>
                  <a:pt x="136" y="104"/>
                </a:lnTo>
                <a:lnTo>
                  <a:pt x="135" y="104"/>
                </a:lnTo>
                <a:lnTo>
                  <a:pt x="135" y="106"/>
                </a:lnTo>
                <a:lnTo>
                  <a:pt x="136" y="106"/>
                </a:lnTo>
                <a:lnTo>
                  <a:pt x="136" y="108"/>
                </a:lnTo>
                <a:lnTo>
                  <a:pt x="137" y="107"/>
                </a:lnTo>
                <a:lnTo>
                  <a:pt x="137" y="108"/>
                </a:lnTo>
                <a:lnTo>
                  <a:pt x="139" y="110"/>
                </a:lnTo>
                <a:lnTo>
                  <a:pt x="140" y="113"/>
                </a:lnTo>
                <a:lnTo>
                  <a:pt x="142" y="116"/>
                </a:lnTo>
                <a:lnTo>
                  <a:pt x="140" y="116"/>
                </a:lnTo>
                <a:lnTo>
                  <a:pt x="140" y="117"/>
                </a:lnTo>
                <a:lnTo>
                  <a:pt x="139" y="117"/>
                </a:lnTo>
                <a:lnTo>
                  <a:pt x="139" y="118"/>
                </a:lnTo>
                <a:lnTo>
                  <a:pt x="137" y="117"/>
                </a:lnTo>
                <a:lnTo>
                  <a:pt x="137" y="114"/>
                </a:lnTo>
                <a:lnTo>
                  <a:pt x="136" y="114"/>
                </a:lnTo>
                <a:lnTo>
                  <a:pt x="135" y="113"/>
                </a:lnTo>
                <a:lnTo>
                  <a:pt x="131" y="113"/>
                </a:lnTo>
                <a:lnTo>
                  <a:pt x="131" y="114"/>
                </a:lnTo>
                <a:lnTo>
                  <a:pt x="130" y="116"/>
                </a:lnTo>
                <a:lnTo>
                  <a:pt x="125" y="119"/>
                </a:lnTo>
                <a:lnTo>
                  <a:pt x="124" y="120"/>
                </a:lnTo>
                <a:lnTo>
                  <a:pt x="125" y="120"/>
                </a:lnTo>
                <a:lnTo>
                  <a:pt x="123" y="123"/>
                </a:lnTo>
                <a:lnTo>
                  <a:pt x="123" y="132"/>
                </a:lnTo>
                <a:lnTo>
                  <a:pt x="117" y="132"/>
                </a:lnTo>
                <a:lnTo>
                  <a:pt x="116" y="133"/>
                </a:lnTo>
                <a:lnTo>
                  <a:pt x="115" y="136"/>
                </a:lnTo>
                <a:lnTo>
                  <a:pt x="115" y="138"/>
                </a:lnTo>
                <a:lnTo>
                  <a:pt x="116" y="141"/>
                </a:lnTo>
                <a:lnTo>
                  <a:pt x="116" y="143"/>
                </a:lnTo>
                <a:lnTo>
                  <a:pt x="115" y="143"/>
                </a:lnTo>
                <a:lnTo>
                  <a:pt x="115" y="144"/>
                </a:lnTo>
                <a:lnTo>
                  <a:pt x="116" y="145"/>
                </a:lnTo>
                <a:lnTo>
                  <a:pt x="116" y="147"/>
                </a:lnTo>
                <a:lnTo>
                  <a:pt x="117" y="149"/>
                </a:lnTo>
                <a:lnTo>
                  <a:pt x="119" y="151"/>
                </a:lnTo>
                <a:lnTo>
                  <a:pt x="119" y="155"/>
                </a:lnTo>
                <a:lnTo>
                  <a:pt x="117" y="157"/>
                </a:lnTo>
                <a:lnTo>
                  <a:pt x="117" y="159"/>
                </a:lnTo>
                <a:lnTo>
                  <a:pt x="112" y="159"/>
                </a:lnTo>
                <a:lnTo>
                  <a:pt x="111" y="157"/>
                </a:lnTo>
                <a:lnTo>
                  <a:pt x="111" y="156"/>
                </a:lnTo>
                <a:lnTo>
                  <a:pt x="108" y="156"/>
                </a:lnTo>
                <a:lnTo>
                  <a:pt x="106" y="155"/>
                </a:lnTo>
                <a:lnTo>
                  <a:pt x="98" y="150"/>
                </a:lnTo>
                <a:lnTo>
                  <a:pt x="96" y="149"/>
                </a:lnTo>
                <a:lnTo>
                  <a:pt x="96" y="148"/>
                </a:lnTo>
                <a:lnTo>
                  <a:pt x="93" y="145"/>
                </a:lnTo>
                <a:lnTo>
                  <a:pt x="92" y="145"/>
                </a:lnTo>
                <a:lnTo>
                  <a:pt x="91" y="144"/>
                </a:lnTo>
                <a:lnTo>
                  <a:pt x="90" y="142"/>
                </a:lnTo>
                <a:lnTo>
                  <a:pt x="88" y="142"/>
                </a:lnTo>
                <a:lnTo>
                  <a:pt x="88" y="138"/>
                </a:lnTo>
                <a:lnTo>
                  <a:pt x="87" y="139"/>
                </a:lnTo>
                <a:lnTo>
                  <a:pt x="86" y="139"/>
                </a:lnTo>
                <a:lnTo>
                  <a:pt x="85" y="138"/>
                </a:lnTo>
                <a:lnTo>
                  <a:pt x="82" y="138"/>
                </a:lnTo>
                <a:lnTo>
                  <a:pt x="82" y="139"/>
                </a:lnTo>
                <a:lnTo>
                  <a:pt x="81" y="139"/>
                </a:lnTo>
                <a:lnTo>
                  <a:pt x="78" y="137"/>
                </a:lnTo>
                <a:lnTo>
                  <a:pt x="79" y="137"/>
                </a:lnTo>
                <a:lnTo>
                  <a:pt x="80" y="138"/>
                </a:lnTo>
                <a:lnTo>
                  <a:pt x="80" y="137"/>
                </a:lnTo>
                <a:lnTo>
                  <a:pt x="81" y="137"/>
                </a:lnTo>
                <a:lnTo>
                  <a:pt x="82" y="136"/>
                </a:lnTo>
                <a:lnTo>
                  <a:pt x="82" y="133"/>
                </a:lnTo>
                <a:lnTo>
                  <a:pt x="79" y="130"/>
                </a:lnTo>
                <a:lnTo>
                  <a:pt x="79" y="129"/>
                </a:lnTo>
                <a:lnTo>
                  <a:pt x="73" y="125"/>
                </a:lnTo>
                <a:lnTo>
                  <a:pt x="72" y="124"/>
                </a:lnTo>
                <a:lnTo>
                  <a:pt x="72" y="122"/>
                </a:lnTo>
                <a:lnTo>
                  <a:pt x="71" y="122"/>
                </a:lnTo>
                <a:lnTo>
                  <a:pt x="71" y="120"/>
                </a:lnTo>
                <a:lnTo>
                  <a:pt x="69" y="120"/>
                </a:lnTo>
                <a:lnTo>
                  <a:pt x="68" y="119"/>
                </a:lnTo>
                <a:lnTo>
                  <a:pt x="67" y="116"/>
                </a:lnTo>
                <a:lnTo>
                  <a:pt x="66" y="113"/>
                </a:lnTo>
                <a:lnTo>
                  <a:pt x="66" y="107"/>
                </a:lnTo>
                <a:lnTo>
                  <a:pt x="65" y="106"/>
                </a:lnTo>
                <a:lnTo>
                  <a:pt x="60" y="105"/>
                </a:lnTo>
                <a:lnTo>
                  <a:pt x="57" y="104"/>
                </a:lnTo>
                <a:lnTo>
                  <a:pt x="56" y="104"/>
                </a:lnTo>
                <a:lnTo>
                  <a:pt x="55" y="102"/>
                </a:lnTo>
                <a:lnTo>
                  <a:pt x="54" y="100"/>
                </a:lnTo>
                <a:lnTo>
                  <a:pt x="47" y="93"/>
                </a:lnTo>
                <a:lnTo>
                  <a:pt x="42" y="89"/>
                </a:lnTo>
                <a:lnTo>
                  <a:pt x="42" y="88"/>
                </a:lnTo>
                <a:lnTo>
                  <a:pt x="41" y="87"/>
                </a:lnTo>
                <a:lnTo>
                  <a:pt x="41" y="84"/>
                </a:lnTo>
                <a:lnTo>
                  <a:pt x="38" y="83"/>
                </a:lnTo>
                <a:lnTo>
                  <a:pt x="37" y="81"/>
                </a:lnTo>
                <a:lnTo>
                  <a:pt x="36" y="80"/>
                </a:lnTo>
                <a:lnTo>
                  <a:pt x="35" y="77"/>
                </a:lnTo>
                <a:lnTo>
                  <a:pt x="32" y="75"/>
                </a:lnTo>
                <a:lnTo>
                  <a:pt x="30" y="75"/>
                </a:lnTo>
                <a:lnTo>
                  <a:pt x="30" y="73"/>
                </a:lnTo>
                <a:lnTo>
                  <a:pt x="28" y="73"/>
                </a:lnTo>
                <a:lnTo>
                  <a:pt x="28" y="71"/>
                </a:lnTo>
                <a:lnTo>
                  <a:pt x="26" y="71"/>
                </a:lnTo>
                <a:lnTo>
                  <a:pt x="25" y="70"/>
                </a:lnTo>
                <a:lnTo>
                  <a:pt x="24" y="68"/>
                </a:lnTo>
                <a:lnTo>
                  <a:pt x="24" y="67"/>
                </a:lnTo>
                <a:lnTo>
                  <a:pt x="21" y="63"/>
                </a:lnTo>
                <a:lnTo>
                  <a:pt x="21" y="61"/>
                </a:lnTo>
                <a:lnTo>
                  <a:pt x="19" y="59"/>
                </a:lnTo>
                <a:lnTo>
                  <a:pt x="19" y="58"/>
                </a:lnTo>
                <a:lnTo>
                  <a:pt x="21" y="57"/>
                </a:lnTo>
                <a:lnTo>
                  <a:pt x="21" y="53"/>
                </a:lnTo>
                <a:lnTo>
                  <a:pt x="18" y="53"/>
                </a:lnTo>
                <a:lnTo>
                  <a:pt x="18" y="52"/>
                </a:lnTo>
                <a:lnTo>
                  <a:pt x="19" y="52"/>
                </a:lnTo>
                <a:lnTo>
                  <a:pt x="19" y="51"/>
                </a:lnTo>
                <a:lnTo>
                  <a:pt x="18" y="50"/>
                </a:lnTo>
                <a:lnTo>
                  <a:pt x="17" y="47"/>
                </a:lnTo>
                <a:lnTo>
                  <a:pt x="17" y="44"/>
                </a:lnTo>
                <a:lnTo>
                  <a:pt x="16" y="44"/>
                </a:lnTo>
                <a:lnTo>
                  <a:pt x="15" y="45"/>
                </a:lnTo>
                <a:lnTo>
                  <a:pt x="13" y="45"/>
                </a:lnTo>
                <a:lnTo>
                  <a:pt x="12" y="44"/>
                </a:lnTo>
                <a:lnTo>
                  <a:pt x="12" y="43"/>
                </a:lnTo>
                <a:lnTo>
                  <a:pt x="13" y="41"/>
                </a:lnTo>
                <a:lnTo>
                  <a:pt x="13" y="39"/>
                </a:lnTo>
                <a:lnTo>
                  <a:pt x="12" y="38"/>
                </a:lnTo>
                <a:lnTo>
                  <a:pt x="11" y="38"/>
                </a:lnTo>
                <a:lnTo>
                  <a:pt x="10" y="37"/>
                </a:lnTo>
                <a:lnTo>
                  <a:pt x="10" y="36"/>
                </a:lnTo>
                <a:lnTo>
                  <a:pt x="9" y="34"/>
                </a:lnTo>
                <a:lnTo>
                  <a:pt x="7" y="34"/>
                </a:lnTo>
                <a:lnTo>
                  <a:pt x="7" y="33"/>
                </a:lnTo>
                <a:lnTo>
                  <a:pt x="6" y="33"/>
                </a:lnTo>
                <a:lnTo>
                  <a:pt x="6" y="34"/>
                </a:lnTo>
                <a:lnTo>
                  <a:pt x="4" y="34"/>
                </a:lnTo>
                <a:lnTo>
                  <a:pt x="0" y="31"/>
                </a:lnTo>
                <a:lnTo>
                  <a:pt x="0" y="27"/>
                </a:lnTo>
                <a:lnTo>
                  <a:pt x="3" y="27"/>
                </a:lnTo>
                <a:lnTo>
                  <a:pt x="3" y="26"/>
                </a:lnTo>
                <a:lnTo>
                  <a:pt x="1" y="25"/>
                </a:lnTo>
                <a:lnTo>
                  <a:pt x="1" y="24"/>
                </a:lnTo>
                <a:lnTo>
                  <a:pt x="0" y="22"/>
                </a:lnTo>
                <a:lnTo>
                  <a:pt x="0" y="20"/>
                </a:lnTo>
                <a:lnTo>
                  <a:pt x="1" y="20"/>
                </a:lnTo>
                <a:lnTo>
                  <a:pt x="1" y="18"/>
                </a:lnTo>
                <a:lnTo>
                  <a:pt x="3" y="16"/>
                </a:lnTo>
                <a:lnTo>
                  <a:pt x="1" y="15"/>
                </a:lnTo>
                <a:lnTo>
                  <a:pt x="1" y="14"/>
                </a:lnTo>
                <a:lnTo>
                  <a:pt x="3" y="12"/>
                </a:lnTo>
                <a:lnTo>
                  <a:pt x="3" y="6"/>
                </a:lnTo>
                <a:lnTo>
                  <a:pt x="5" y="3"/>
                </a:lnTo>
                <a:lnTo>
                  <a:pt x="13" y="3"/>
                </a:lnTo>
                <a:lnTo>
                  <a:pt x="13" y="6"/>
                </a:lnTo>
                <a:lnTo>
                  <a:pt x="15" y="6"/>
                </a:lnTo>
                <a:lnTo>
                  <a:pt x="15" y="7"/>
                </a:lnTo>
                <a:lnTo>
                  <a:pt x="16" y="7"/>
                </a:lnTo>
                <a:lnTo>
                  <a:pt x="17" y="9"/>
                </a:lnTo>
                <a:lnTo>
                  <a:pt x="17" y="10"/>
                </a:lnTo>
                <a:lnTo>
                  <a:pt x="22" y="15"/>
                </a:lnTo>
                <a:lnTo>
                  <a:pt x="24" y="16"/>
                </a:lnTo>
                <a:lnTo>
                  <a:pt x="26" y="16"/>
                </a:lnTo>
                <a:lnTo>
                  <a:pt x="26" y="14"/>
                </a:lnTo>
                <a:lnTo>
                  <a:pt x="28" y="12"/>
                </a:lnTo>
                <a:lnTo>
                  <a:pt x="28" y="10"/>
                </a:lnTo>
                <a:lnTo>
                  <a:pt x="29" y="9"/>
                </a:lnTo>
                <a:lnTo>
                  <a:pt x="30" y="9"/>
                </a:lnTo>
                <a:lnTo>
                  <a:pt x="30" y="8"/>
                </a:lnTo>
                <a:lnTo>
                  <a:pt x="31" y="8"/>
                </a:lnTo>
                <a:lnTo>
                  <a:pt x="32" y="4"/>
                </a:lnTo>
                <a:lnTo>
                  <a:pt x="35" y="3"/>
                </a:lnTo>
                <a:lnTo>
                  <a:pt x="37" y="3"/>
                </a:lnTo>
                <a:lnTo>
                  <a:pt x="46" y="6"/>
                </a:lnTo>
                <a:lnTo>
                  <a:pt x="47" y="6"/>
                </a:lnTo>
                <a:lnTo>
                  <a:pt x="47" y="3"/>
                </a:lnTo>
                <a:lnTo>
                  <a:pt x="48" y="3"/>
                </a:lnTo>
                <a:lnTo>
                  <a:pt x="48" y="2"/>
                </a:lnTo>
                <a:lnTo>
                  <a:pt x="49" y="2"/>
                </a:lnTo>
                <a:lnTo>
                  <a:pt x="49" y="1"/>
                </a:lnTo>
                <a:lnTo>
                  <a:pt x="50" y="1"/>
                </a:lnTo>
                <a:lnTo>
                  <a:pt x="51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" name="Freeform 53">
            <a:extLst>
              <a:ext uri="{FF2B5EF4-FFF2-40B4-BE49-F238E27FC236}">
                <a16:creationId xmlns:a16="http://schemas.microsoft.com/office/drawing/2014/main" id="{6E7CAF74-4708-41B7-87AC-69D5A6D498BE}"/>
              </a:ext>
            </a:extLst>
          </p:cNvPr>
          <p:cNvSpPr>
            <a:spLocks noEditPoints="1"/>
          </p:cNvSpPr>
          <p:nvPr/>
        </p:nvSpPr>
        <p:spPr bwMode="auto">
          <a:xfrm>
            <a:off x="1386733" y="4571259"/>
            <a:ext cx="234728" cy="192710"/>
          </a:xfrm>
          <a:custGeom>
            <a:avLst/>
            <a:gdLst/>
            <a:ahLst/>
            <a:cxnLst>
              <a:cxn ang="0">
                <a:pos x="94" y="0"/>
              </a:cxn>
              <a:cxn ang="0">
                <a:pos x="94" y="5"/>
              </a:cxn>
              <a:cxn ang="0">
                <a:pos x="103" y="5"/>
              </a:cxn>
              <a:cxn ang="0">
                <a:pos x="107" y="3"/>
              </a:cxn>
              <a:cxn ang="0">
                <a:pos x="109" y="13"/>
              </a:cxn>
              <a:cxn ang="0">
                <a:pos x="120" y="17"/>
              </a:cxn>
              <a:cxn ang="0">
                <a:pos x="127" y="19"/>
              </a:cxn>
              <a:cxn ang="0">
                <a:pos x="137" y="23"/>
              </a:cxn>
              <a:cxn ang="0">
                <a:pos x="137" y="30"/>
              </a:cxn>
              <a:cxn ang="0">
                <a:pos x="134" y="39"/>
              </a:cxn>
              <a:cxn ang="0">
                <a:pos x="132" y="47"/>
              </a:cxn>
              <a:cxn ang="0">
                <a:pos x="137" y="51"/>
              </a:cxn>
              <a:cxn ang="0">
                <a:pos x="153" y="58"/>
              </a:cxn>
              <a:cxn ang="0">
                <a:pos x="153" y="64"/>
              </a:cxn>
              <a:cxn ang="0">
                <a:pos x="155" y="68"/>
              </a:cxn>
              <a:cxn ang="0">
                <a:pos x="159" y="70"/>
              </a:cxn>
              <a:cxn ang="0">
                <a:pos x="158" y="80"/>
              </a:cxn>
              <a:cxn ang="0">
                <a:pos x="152" y="85"/>
              </a:cxn>
              <a:cxn ang="0">
                <a:pos x="151" y="92"/>
              </a:cxn>
              <a:cxn ang="0">
                <a:pos x="144" y="89"/>
              </a:cxn>
              <a:cxn ang="0">
                <a:pos x="140" y="96"/>
              </a:cxn>
              <a:cxn ang="0">
                <a:pos x="136" y="103"/>
              </a:cxn>
              <a:cxn ang="0">
                <a:pos x="134" y="110"/>
              </a:cxn>
              <a:cxn ang="0">
                <a:pos x="137" y="115"/>
              </a:cxn>
              <a:cxn ang="0">
                <a:pos x="139" y="121"/>
              </a:cxn>
              <a:cxn ang="0">
                <a:pos x="140" y="126"/>
              </a:cxn>
              <a:cxn ang="0">
                <a:pos x="136" y="129"/>
              </a:cxn>
              <a:cxn ang="0">
                <a:pos x="130" y="131"/>
              </a:cxn>
              <a:cxn ang="0">
                <a:pos x="122" y="132"/>
              </a:cxn>
              <a:cxn ang="0">
                <a:pos x="119" y="125"/>
              </a:cxn>
              <a:cxn ang="0">
                <a:pos x="115" y="121"/>
              </a:cxn>
              <a:cxn ang="0">
                <a:pos x="110" y="120"/>
              </a:cxn>
              <a:cxn ang="0">
                <a:pos x="103" y="114"/>
              </a:cxn>
              <a:cxn ang="0">
                <a:pos x="97" y="104"/>
              </a:cxn>
              <a:cxn ang="0">
                <a:pos x="97" y="95"/>
              </a:cxn>
              <a:cxn ang="0">
                <a:pos x="95" y="90"/>
              </a:cxn>
              <a:cxn ang="0">
                <a:pos x="80" y="104"/>
              </a:cxn>
              <a:cxn ang="0">
                <a:pos x="69" y="97"/>
              </a:cxn>
              <a:cxn ang="0">
                <a:pos x="69" y="92"/>
              </a:cxn>
              <a:cxn ang="0">
                <a:pos x="69" y="85"/>
              </a:cxn>
              <a:cxn ang="0">
                <a:pos x="66" y="83"/>
              </a:cxn>
              <a:cxn ang="0">
                <a:pos x="58" y="79"/>
              </a:cxn>
              <a:cxn ang="0">
                <a:pos x="51" y="77"/>
              </a:cxn>
              <a:cxn ang="0">
                <a:pos x="47" y="79"/>
              </a:cxn>
              <a:cxn ang="0">
                <a:pos x="40" y="68"/>
              </a:cxn>
              <a:cxn ang="0">
                <a:pos x="34" y="68"/>
              </a:cxn>
              <a:cxn ang="0">
                <a:pos x="31" y="62"/>
              </a:cxn>
              <a:cxn ang="0">
                <a:pos x="27" y="52"/>
              </a:cxn>
              <a:cxn ang="0">
                <a:pos x="19" y="51"/>
              </a:cxn>
              <a:cxn ang="0">
                <a:pos x="10" y="53"/>
              </a:cxn>
              <a:cxn ang="0">
                <a:pos x="6" y="47"/>
              </a:cxn>
              <a:cxn ang="0">
                <a:pos x="2" y="45"/>
              </a:cxn>
              <a:cxn ang="0">
                <a:pos x="1" y="33"/>
              </a:cxn>
              <a:cxn ang="0">
                <a:pos x="25" y="11"/>
              </a:cxn>
              <a:cxn ang="0">
                <a:pos x="41" y="17"/>
              </a:cxn>
              <a:cxn ang="0">
                <a:pos x="52" y="17"/>
              </a:cxn>
              <a:cxn ang="0">
                <a:pos x="59" y="19"/>
              </a:cxn>
              <a:cxn ang="0">
                <a:pos x="71" y="9"/>
              </a:cxn>
              <a:cxn ang="0">
                <a:pos x="72" y="9"/>
              </a:cxn>
              <a:cxn ang="0">
                <a:pos x="78" y="6"/>
              </a:cxn>
              <a:cxn ang="0">
                <a:pos x="84" y="5"/>
              </a:cxn>
              <a:cxn ang="0">
                <a:pos x="94" y="0"/>
              </a:cxn>
            </a:cxnLst>
            <a:rect l="0" t="0" r="r" b="b"/>
            <a:pathLst>
              <a:path w="162" h="133">
                <a:moveTo>
                  <a:pt x="75" y="13"/>
                </a:moveTo>
                <a:lnTo>
                  <a:pt x="75" y="15"/>
                </a:lnTo>
                <a:lnTo>
                  <a:pt x="76" y="13"/>
                </a:lnTo>
                <a:lnTo>
                  <a:pt x="75" y="13"/>
                </a:lnTo>
                <a:close/>
                <a:moveTo>
                  <a:pt x="94" y="0"/>
                </a:moveTo>
                <a:lnTo>
                  <a:pt x="95" y="0"/>
                </a:lnTo>
                <a:lnTo>
                  <a:pt x="96" y="2"/>
                </a:lnTo>
                <a:lnTo>
                  <a:pt x="96" y="6"/>
                </a:lnTo>
                <a:lnTo>
                  <a:pt x="95" y="5"/>
                </a:lnTo>
                <a:lnTo>
                  <a:pt x="94" y="5"/>
                </a:lnTo>
                <a:lnTo>
                  <a:pt x="94" y="6"/>
                </a:lnTo>
                <a:lnTo>
                  <a:pt x="99" y="6"/>
                </a:lnTo>
                <a:lnTo>
                  <a:pt x="100" y="8"/>
                </a:lnTo>
                <a:lnTo>
                  <a:pt x="101" y="8"/>
                </a:lnTo>
                <a:lnTo>
                  <a:pt x="103" y="5"/>
                </a:lnTo>
                <a:lnTo>
                  <a:pt x="103" y="4"/>
                </a:lnTo>
                <a:lnTo>
                  <a:pt x="105" y="3"/>
                </a:lnTo>
                <a:lnTo>
                  <a:pt x="105" y="2"/>
                </a:lnTo>
                <a:lnTo>
                  <a:pt x="106" y="2"/>
                </a:lnTo>
                <a:lnTo>
                  <a:pt x="107" y="3"/>
                </a:lnTo>
                <a:lnTo>
                  <a:pt x="107" y="9"/>
                </a:lnTo>
                <a:lnTo>
                  <a:pt x="108" y="10"/>
                </a:lnTo>
                <a:lnTo>
                  <a:pt x="108" y="11"/>
                </a:lnTo>
                <a:lnTo>
                  <a:pt x="109" y="12"/>
                </a:lnTo>
                <a:lnTo>
                  <a:pt x="109" y="13"/>
                </a:lnTo>
                <a:lnTo>
                  <a:pt x="113" y="13"/>
                </a:lnTo>
                <a:lnTo>
                  <a:pt x="113" y="16"/>
                </a:lnTo>
                <a:lnTo>
                  <a:pt x="114" y="17"/>
                </a:lnTo>
                <a:lnTo>
                  <a:pt x="115" y="16"/>
                </a:lnTo>
                <a:lnTo>
                  <a:pt x="120" y="17"/>
                </a:lnTo>
                <a:lnTo>
                  <a:pt x="122" y="15"/>
                </a:lnTo>
                <a:lnTo>
                  <a:pt x="126" y="15"/>
                </a:lnTo>
                <a:lnTo>
                  <a:pt x="126" y="16"/>
                </a:lnTo>
                <a:lnTo>
                  <a:pt x="127" y="17"/>
                </a:lnTo>
                <a:lnTo>
                  <a:pt x="127" y="19"/>
                </a:lnTo>
                <a:lnTo>
                  <a:pt x="128" y="19"/>
                </a:lnTo>
                <a:lnTo>
                  <a:pt x="131" y="21"/>
                </a:lnTo>
                <a:lnTo>
                  <a:pt x="131" y="22"/>
                </a:lnTo>
                <a:lnTo>
                  <a:pt x="136" y="22"/>
                </a:lnTo>
                <a:lnTo>
                  <a:pt x="137" y="23"/>
                </a:lnTo>
                <a:lnTo>
                  <a:pt x="139" y="23"/>
                </a:lnTo>
                <a:lnTo>
                  <a:pt x="139" y="28"/>
                </a:lnTo>
                <a:lnTo>
                  <a:pt x="138" y="28"/>
                </a:lnTo>
                <a:lnTo>
                  <a:pt x="138" y="30"/>
                </a:lnTo>
                <a:lnTo>
                  <a:pt x="137" y="30"/>
                </a:lnTo>
                <a:lnTo>
                  <a:pt x="137" y="33"/>
                </a:lnTo>
                <a:lnTo>
                  <a:pt x="136" y="34"/>
                </a:lnTo>
                <a:lnTo>
                  <a:pt x="134" y="36"/>
                </a:lnTo>
                <a:lnTo>
                  <a:pt x="137" y="36"/>
                </a:lnTo>
                <a:lnTo>
                  <a:pt x="134" y="39"/>
                </a:lnTo>
                <a:lnTo>
                  <a:pt x="134" y="40"/>
                </a:lnTo>
                <a:lnTo>
                  <a:pt x="133" y="40"/>
                </a:lnTo>
                <a:lnTo>
                  <a:pt x="130" y="43"/>
                </a:lnTo>
                <a:lnTo>
                  <a:pt x="131" y="46"/>
                </a:lnTo>
                <a:lnTo>
                  <a:pt x="132" y="47"/>
                </a:lnTo>
                <a:lnTo>
                  <a:pt x="133" y="47"/>
                </a:lnTo>
                <a:lnTo>
                  <a:pt x="133" y="51"/>
                </a:lnTo>
                <a:lnTo>
                  <a:pt x="134" y="51"/>
                </a:lnTo>
                <a:lnTo>
                  <a:pt x="136" y="49"/>
                </a:lnTo>
                <a:lnTo>
                  <a:pt x="137" y="51"/>
                </a:lnTo>
                <a:lnTo>
                  <a:pt x="146" y="51"/>
                </a:lnTo>
                <a:lnTo>
                  <a:pt x="146" y="53"/>
                </a:lnTo>
                <a:lnTo>
                  <a:pt x="150" y="53"/>
                </a:lnTo>
                <a:lnTo>
                  <a:pt x="150" y="54"/>
                </a:lnTo>
                <a:lnTo>
                  <a:pt x="153" y="58"/>
                </a:lnTo>
                <a:lnTo>
                  <a:pt x="152" y="58"/>
                </a:lnTo>
                <a:lnTo>
                  <a:pt x="153" y="59"/>
                </a:lnTo>
                <a:lnTo>
                  <a:pt x="153" y="60"/>
                </a:lnTo>
                <a:lnTo>
                  <a:pt x="157" y="60"/>
                </a:lnTo>
                <a:lnTo>
                  <a:pt x="153" y="64"/>
                </a:lnTo>
                <a:lnTo>
                  <a:pt x="153" y="66"/>
                </a:lnTo>
                <a:lnTo>
                  <a:pt x="155" y="66"/>
                </a:lnTo>
                <a:lnTo>
                  <a:pt x="153" y="67"/>
                </a:lnTo>
                <a:lnTo>
                  <a:pt x="155" y="67"/>
                </a:lnTo>
                <a:lnTo>
                  <a:pt x="155" y="68"/>
                </a:lnTo>
                <a:lnTo>
                  <a:pt x="156" y="68"/>
                </a:lnTo>
                <a:lnTo>
                  <a:pt x="157" y="67"/>
                </a:lnTo>
                <a:lnTo>
                  <a:pt x="158" y="68"/>
                </a:lnTo>
                <a:lnTo>
                  <a:pt x="159" y="68"/>
                </a:lnTo>
                <a:lnTo>
                  <a:pt x="159" y="70"/>
                </a:lnTo>
                <a:lnTo>
                  <a:pt x="161" y="71"/>
                </a:lnTo>
                <a:lnTo>
                  <a:pt x="161" y="76"/>
                </a:lnTo>
                <a:lnTo>
                  <a:pt x="162" y="78"/>
                </a:lnTo>
                <a:lnTo>
                  <a:pt x="162" y="80"/>
                </a:lnTo>
                <a:lnTo>
                  <a:pt x="158" y="80"/>
                </a:lnTo>
                <a:lnTo>
                  <a:pt x="157" y="82"/>
                </a:lnTo>
                <a:lnTo>
                  <a:pt x="157" y="83"/>
                </a:lnTo>
                <a:lnTo>
                  <a:pt x="155" y="84"/>
                </a:lnTo>
                <a:lnTo>
                  <a:pt x="153" y="85"/>
                </a:lnTo>
                <a:lnTo>
                  <a:pt x="152" y="85"/>
                </a:lnTo>
                <a:lnTo>
                  <a:pt x="152" y="86"/>
                </a:lnTo>
                <a:lnTo>
                  <a:pt x="153" y="86"/>
                </a:lnTo>
                <a:lnTo>
                  <a:pt x="153" y="89"/>
                </a:lnTo>
                <a:lnTo>
                  <a:pt x="151" y="89"/>
                </a:lnTo>
                <a:lnTo>
                  <a:pt x="151" y="92"/>
                </a:lnTo>
                <a:lnTo>
                  <a:pt x="150" y="92"/>
                </a:lnTo>
                <a:lnTo>
                  <a:pt x="150" y="90"/>
                </a:lnTo>
                <a:lnTo>
                  <a:pt x="146" y="90"/>
                </a:lnTo>
                <a:lnTo>
                  <a:pt x="146" y="89"/>
                </a:lnTo>
                <a:lnTo>
                  <a:pt x="144" y="89"/>
                </a:lnTo>
                <a:lnTo>
                  <a:pt x="144" y="92"/>
                </a:lnTo>
                <a:lnTo>
                  <a:pt x="143" y="92"/>
                </a:lnTo>
                <a:lnTo>
                  <a:pt x="141" y="94"/>
                </a:lnTo>
                <a:lnTo>
                  <a:pt x="140" y="94"/>
                </a:lnTo>
                <a:lnTo>
                  <a:pt x="140" y="96"/>
                </a:lnTo>
                <a:lnTo>
                  <a:pt x="139" y="97"/>
                </a:lnTo>
                <a:lnTo>
                  <a:pt x="139" y="99"/>
                </a:lnTo>
                <a:lnTo>
                  <a:pt x="138" y="99"/>
                </a:lnTo>
                <a:lnTo>
                  <a:pt x="138" y="103"/>
                </a:lnTo>
                <a:lnTo>
                  <a:pt x="136" y="103"/>
                </a:lnTo>
                <a:lnTo>
                  <a:pt x="136" y="104"/>
                </a:lnTo>
                <a:lnTo>
                  <a:pt x="134" y="108"/>
                </a:lnTo>
                <a:lnTo>
                  <a:pt x="136" y="109"/>
                </a:lnTo>
                <a:lnTo>
                  <a:pt x="134" y="109"/>
                </a:lnTo>
                <a:lnTo>
                  <a:pt x="134" y="110"/>
                </a:lnTo>
                <a:lnTo>
                  <a:pt x="136" y="110"/>
                </a:lnTo>
                <a:lnTo>
                  <a:pt x="134" y="111"/>
                </a:lnTo>
                <a:lnTo>
                  <a:pt x="134" y="114"/>
                </a:lnTo>
                <a:lnTo>
                  <a:pt x="136" y="114"/>
                </a:lnTo>
                <a:lnTo>
                  <a:pt x="137" y="115"/>
                </a:lnTo>
                <a:lnTo>
                  <a:pt x="138" y="117"/>
                </a:lnTo>
                <a:lnTo>
                  <a:pt x="138" y="119"/>
                </a:lnTo>
                <a:lnTo>
                  <a:pt x="140" y="119"/>
                </a:lnTo>
                <a:lnTo>
                  <a:pt x="140" y="120"/>
                </a:lnTo>
                <a:lnTo>
                  <a:pt x="139" y="121"/>
                </a:lnTo>
                <a:lnTo>
                  <a:pt x="139" y="122"/>
                </a:lnTo>
                <a:lnTo>
                  <a:pt x="141" y="122"/>
                </a:lnTo>
                <a:lnTo>
                  <a:pt x="141" y="125"/>
                </a:lnTo>
                <a:lnTo>
                  <a:pt x="140" y="125"/>
                </a:lnTo>
                <a:lnTo>
                  <a:pt x="140" y="126"/>
                </a:lnTo>
                <a:lnTo>
                  <a:pt x="139" y="127"/>
                </a:lnTo>
                <a:lnTo>
                  <a:pt x="139" y="129"/>
                </a:lnTo>
                <a:lnTo>
                  <a:pt x="138" y="129"/>
                </a:lnTo>
                <a:lnTo>
                  <a:pt x="137" y="131"/>
                </a:lnTo>
                <a:lnTo>
                  <a:pt x="136" y="129"/>
                </a:lnTo>
                <a:lnTo>
                  <a:pt x="134" y="129"/>
                </a:lnTo>
                <a:lnTo>
                  <a:pt x="134" y="131"/>
                </a:lnTo>
                <a:lnTo>
                  <a:pt x="132" y="131"/>
                </a:lnTo>
                <a:lnTo>
                  <a:pt x="131" y="129"/>
                </a:lnTo>
                <a:lnTo>
                  <a:pt x="130" y="131"/>
                </a:lnTo>
                <a:lnTo>
                  <a:pt x="130" y="132"/>
                </a:lnTo>
                <a:lnTo>
                  <a:pt x="126" y="132"/>
                </a:lnTo>
                <a:lnTo>
                  <a:pt x="125" y="133"/>
                </a:lnTo>
                <a:lnTo>
                  <a:pt x="124" y="133"/>
                </a:lnTo>
                <a:lnTo>
                  <a:pt x="122" y="132"/>
                </a:lnTo>
                <a:lnTo>
                  <a:pt x="124" y="131"/>
                </a:lnTo>
                <a:lnTo>
                  <a:pt x="122" y="129"/>
                </a:lnTo>
                <a:lnTo>
                  <a:pt x="121" y="126"/>
                </a:lnTo>
                <a:lnTo>
                  <a:pt x="120" y="126"/>
                </a:lnTo>
                <a:lnTo>
                  <a:pt x="119" y="125"/>
                </a:lnTo>
                <a:lnTo>
                  <a:pt x="118" y="125"/>
                </a:lnTo>
                <a:lnTo>
                  <a:pt x="118" y="126"/>
                </a:lnTo>
                <a:lnTo>
                  <a:pt x="116" y="126"/>
                </a:lnTo>
                <a:lnTo>
                  <a:pt x="116" y="122"/>
                </a:lnTo>
                <a:lnTo>
                  <a:pt x="115" y="121"/>
                </a:lnTo>
                <a:lnTo>
                  <a:pt x="115" y="120"/>
                </a:lnTo>
                <a:lnTo>
                  <a:pt x="114" y="120"/>
                </a:lnTo>
                <a:lnTo>
                  <a:pt x="112" y="121"/>
                </a:lnTo>
                <a:lnTo>
                  <a:pt x="110" y="121"/>
                </a:lnTo>
                <a:lnTo>
                  <a:pt x="110" y="120"/>
                </a:lnTo>
                <a:lnTo>
                  <a:pt x="109" y="120"/>
                </a:lnTo>
                <a:lnTo>
                  <a:pt x="108" y="117"/>
                </a:lnTo>
                <a:lnTo>
                  <a:pt x="107" y="116"/>
                </a:lnTo>
                <a:lnTo>
                  <a:pt x="106" y="116"/>
                </a:lnTo>
                <a:lnTo>
                  <a:pt x="103" y="114"/>
                </a:lnTo>
                <a:lnTo>
                  <a:pt x="97" y="114"/>
                </a:lnTo>
                <a:lnTo>
                  <a:pt x="97" y="108"/>
                </a:lnTo>
                <a:lnTo>
                  <a:pt x="99" y="107"/>
                </a:lnTo>
                <a:lnTo>
                  <a:pt x="99" y="105"/>
                </a:lnTo>
                <a:lnTo>
                  <a:pt x="97" y="104"/>
                </a:lnTo>
                <a:lnTo>
                  <a:pt x="95" y="104"/>
                </a:lnTo>
                <a:lnTo>
                  <a:pt x="95" y="102"/>
                </a:lnTo>
                <a:lnTo>
                  <a:pt x="96" y="98"/>
                </a:lnTo>
                <a:lnTo>
                  <a:pt x="96" y="96"/>
                </a:lnTo>
                <a:lnTo>
                  <a:pt x="97" y="95"/>
                </a:lnTo>
                <a:lnTo>
                  <a:pt x="99" y="95"/>
                </a:lnTo>
                <a:lnTo>
                  <a:pt x="99" y="90"/>
                </a:lnTo>
                <a:lnTo>
                  <a:pt x="96" y="91"/>
                </a:lnTo>
                <a:lnTo>
                  <a:pt x="96" y="90"/>
                </a:lnTo>
                <a:lnTo>
                  <a:pt x="95" y="90"/>
                </a:lnTo>
                <a:lnTo>
                  <a:pt x="90" y="95"/>
                </a:lnTo>
                <a:lnTo>
                  <a:pt x="90" y="101"/>
                </a:lnTo>
                <a:lnTo>
                  <a:pt x="89" y="101"/>
                </a:lnTo>
                <a:lnTo>
                  <a:pt x="82" y="104"/>
                </a:lnTo>
                <a:lnTo>
                  <a:pt x="80" y="104"/>
                </a:lnTo>
                <a:lnTo>
                  <a:pt x="74" y="103"/>
                </a:lnTo>
                <a:lnTo>
                  <a:pt x="70" y="103"/>
                </a:lnTo>
                <a:lnTo>
                  <a:pt x="68" y="102"/>
                </a:lnTo>
                <a:lnTo>
                  <a:pt x="68" y="98"/>
                </a:lnTo>
                <a:lnTo>
                  <a:pt x="69" y="97"/>
                </a:lnTo>
                <a:lnTo>
                  <a:pt x="70" y="97"/>
                </a:lnTo>
                <a:lnTo>
                  <a:pt x="70" y="96"/>
                </a:lnTo>
                <a:lnTo>
                  <a:pt x="71" y="96"/>
                </a:lnTo>
                <a:lnTo>
                  <a:pt x="70" y="95"/>
                </a:lnTo>
                <a:lnTo>
                  <a:pt x="69" y="92"/>
                </a:lnTo>
                <a:lnTo>
                  <a:pt x="69" y="91"/>
                </a:lnTo>
                <a:lnTo>
                  <a:pt x="68" y="92"/>
                </a:lnTo>
                <a:lnTo>
                  <a:pt x="68" y="86"/>
                </a:lnTo>
                <a:lnTo>
                  <a:pt x="69" y="86"/>
                </a:lnTo>
                <a:lnTo>
                  <a:pt x="69" y="85"/>
                </a:lnTo>
                <a:lnTo>
                  <a:pt x="70" y="85"/>
                </a:lnTo>
                <a:lnTo>
                  <a:pt x="70" y="83"/>
                </a:lnTo>
                <a:lnTo>
                  <a:pt x="68" y="83"/>
                </a:lnTo>
                <a:lnTo>
                  <a:pt x="68" y="84"/>
                </a:lnTo>
                <a:lnTo>
                  <a:pt x="66" y="83"/>
                </a:lnTo>
                <a:lnTo>
                  <a:pt x="66" y="80"/>
                </a:lnTo>
                <a:lnTo>
                  <a:pt x="65" y="80"/>
                </a:lnTo>
                <a:lnTo>
                  <a:pt x="63" y="78"/>
                </a:lnTo>
                <a:lnTo>
                  <a:pt x="60" y="78"/>
                </a:lnTo>
                <a:lnTo>
                  <a:pt x="58" y="79"/>
                </a:lnTo>
                <a:lnTo>
                  <a:pt x="57" y="79"/>
                </a:lnTo>
                <a:lnTo>
                  <a:pt x="57" y="78"/>
                </a:lnTo>
                <a:lnTo>
                  <a:pt x="54" y="78"/>
                </a:lnTo>
                <a:lnTo>
                  <a:pt x="53" y="77"/>
                </a:lnTo>
                <a:lnTo>
                  <a:pt x="51" y="77"/>
                </a:lnTo>
                <a:lnTo>
                  <a:pt x="51" y="78"/>
                </a:lnTo>
                <a:lnTo>
                  <a:pt x="50" y="79"/>
                </a:lnTo>
                <a:lnTo>
                  <a:pt x="50" y="80"/>
                </a:lnTo>
                <a:lnTo>
                  <a:pt x="49" y="80"/>
                </a:lnTo>
                <a:lnTo>
                  <a:pt x="47" y="79"/>
                </a:lnTo>
                <a:lnTo>
                  <a:pt x="47" y="73"/>
                </a:lnTo>
                <a:lnTo>
                  <a:pt x="46" y="71"/>
                </a:lnTo>
                <a:lnTo>
                  <a:pt x="46" y="70"/>
                </a:lnTo>
                <a:lnTo>
                  <a:pt x="45" y="68"/>
                </a:lnTo>
                <a:lnTo>
                  <a:pt x="40" y="68"/>
                </a:lnTo>
                <a:lnTo>
                  <a:pt x="40" y="66"/>
                </a:lnTo>
                <a:lnTo>
                  <a:pt x="38" y="66"/>
                </a:lnTo>
                <a:lnTo>
                  <a:pt x="38" y="67"/>
                </a:lnTo>
                <a:lnTo>
                  <a:pt x="35" y="67"/>
                </a:lnTo>
                <a:lnTo>
                  <a:pt x="34" y="68"/>
                </a:lnTo>
                <a:lnTo>
                  <a:pt x="34" y="67"/>
                </a:lnTo>
                <a:lnTo>
                  <a:pt x="32" y="67"/>
                </a:lnTo>
                <a:lnTo>
                  <a:pt x="32" y="66"/>
                </a:lnTo>
                <a:lnTo>
                  <a:pt x="31" y="65"/>
                </a:lnTo>
                <a:lnTo>
                  <a:pt x="31" y="62"/>
                </a:lnTo>
                <a:lnTo>
                  <a:pt x="29" y="59"/>
                </a:lnTo>
                <a:lnTo>
                  <a:pt x="29" y="54"/>
                </a:lnTo>
                <a:lnTo>
                  <a:pt x="28" y="53"/>
                </a:lnTo>
                <a:lnTo>
                  <a:pt x="27" y="53"/>
                </a:lnTo>
                <a:lnTo>
                  <a:pt x="27" y="52"/>
                </a:lnTo>
                <a:lnTo>
                  <a:pt x="26" y="51"/>
                </a:lnTo>
                <a:lnTo>
                  <a:pt x="26" y="49"/>
                </a:lnTo>
                <a:lnTo>
                  <a:pt x="25" y="48"/>
                </a:lnTo>
                <a:lnTo>
                  <a:pt x="23" y="48"/>
                </a:lnTo>
                <a:lnTo>
                  <a:pt x="19" y="51"/>
                </a:lnTo>
                <a:lnTo>
                  <a:pt x="18" y="51"/>
                </a:lnTo>
                <a:lnTo>
                  <a:pt x="16" y="52"/>
                </a:lnTo>
                <a:lnTo>
                  <a:pt x="15" y="54"/>
                </a:lnTo>
                <a:lnTo>
                  <a:pt x="14" y="54"/>
                </a:lnTo>
                <a:lnTo>
                  <a:pt x="10" y="53"/>
                </a:lnTo>
                <a:lnTo>
                  <a:pt x="9" y="52"/>
                </a:lnTo>
                <a:lnTo>
                  <a:pt x="9" y="49"/>
                </a:lnTo>
                <a:lnTo>
                  <a:pt x="7" y="48"/>
                </a:lnTo>
                <a:lnTo>
                  <a:pt x="7" y="47"/>
                </a:lnTo>
                <a:lnTo>
                  <a:pt x="6" y="47"/>
                </a:lnTo>
                <a:lnTo>
                  <a:pt x="6" y="46"/>
                </a:lnTo>
                <a:lnTo>
                  <a:pt x="4" y="47"/>
                </a:lnTo>
                <a:lnTo>
                  <a:pt x="3" y="46"/>
                </a:lnTo>
                <a:lnTo>
                  <a:pt x="3" y="45"/>
                </a:lnTo>
                <a:lnTo>
                  <a:pt x="2" y="45"/>
                </a:lnTo>
                <a:lnTo>
                  <a:pt x="2" y="40"/>
                </a:lnTo>
                <a:lnTo>
                  <a:pt x="3" y="39"/>
                </a:lnTo>
                <a:lnTo>
                  <a:pt x="3" y="36"/>
                </a:lnTo>
                <a:lnTo>
                  <a:pt x="1" y="34"/>
                </a:lnTo>
                <a:lnTo>
                  <a:pt x="1" y="33"/>
                </a:lnTo>
                <a:lnTo>
                  <a:pt x="0" y="29"/>
                </a:lnTo>
                <a:lnTo>
                  <a:pt x="0" y="28"/>
                </a:lnTo>
                <a:lnTo>
                  <a:pt x="2" y="27"/>
                </a:lnTo>
                <a:lnTo>
                  <a:pt x="8" y="23"/>
                </a:lnTo>
                <a:lnTo>
                  <a:pt x="25" y="11"/>
                </a:lnTo>
                <a:lnTo>
                  <a:pt x="34" y="9"/>
                </a:lnTo>
                <a:lnTo>
                  <a:pt x="34" y="15"/>
                </a:lnTo>
                <a:lnTo>
                  <a:pt x="38" y="18"/>
                </a:lnTo>
                <a:lnTo>
                  <a:pt x="40" y="18"/>
                </a:lnTo>
                <a:lnTo>
                  <a:pt x="41" y="17"/>
                </a:lnTo>
                <a:lnTo>
                  <a:pt x="40" y="16"/>
                </a:lnTo>
                <a:lnTo>
                  <a:pt x="41" y="15"/>
                </a:lnTo>
                <a:lnTo>
                  <a:pt x="46" y="15"/>
                </a:lnTo>
                <a:lnTo>
                  <a:pt x="51" y="16"/>
                </a:lnTo>
                <a:lnTo>
                  <a:pt x="52" y="17"/>
                </a:lnTo>
                <a:lnTo>
                  <a:pt x="52" y="19"/>
                </a:lnTo>
                <a:lnTo>
                  <a:pt x="53" y="19"/>
                </a:lnTo>
                <a:lnTo>
                  <a:pt x="53" y="21"/>
                </a:lnTo>
                <a:lnTo>
                  <a:pt x="58" y="19"/>
                </a:lnTo>
                <a:lnTo>
                  <a:pt x="59" y="19"/>
                </a:lnTo>
                <a:lnTo>
                  <a:pt x="66" y="16"/>
                </a:lnTo>
                <a:lnTo>
                  <a:pt x="69" y="13"/>
                </a:lnTo>
                <a:lnTo>
                  <a:pt x="70" y="11"/>
                </a:lnTo>
                <a:lnTo>
                  <a:pt x="71" y="11"/>
                </a:lnTo>
                <a:lnTo>
                  <a:pt x="71" y="9"/>
                </a:lnTo>
                <a:lnTo>
                  <a:pt x="72" y="10"/>
                </a:lnTo>
                <a:lnTo>
                  <a:pt x="72" y="12"/>
                </a:lnTo>
                <a:lnTo>
                  <a:pt x="74" y="12"/>
                </a:lnTo>
                <a:lnTo>
                  <a:pt x="74" y="10"/>
                </a:lnTo>
                <a:lnTo>
                  <a:pt x="72" y="9"/>
                </a:lnTo>
                <a:lnTo>
                  <a:pt x="74" y="9"/>
                </a:lnTo>
                <a:lnTo>
                  <a:pt x="76" y="10"/>
                </a:lnTo>
                <a:lnTo>
                  <a:pt x="80" y="10"/>
                </a:lnTo>
                <a:lnTo>
                  <a:pt x="80" y="8"/>
                </a:lnTo>
                <a:lnTo>
                  <a:pt x="78" y="6"/>
                </a:lnTo>
                <a:lnTo>
                  <a:pt x="78" y="5"/>
                </a:lnTo>
                <a:lnTo>
                  <a:pt x="77" y="4"/>
                </a:lnTo>
                <a:lnTo>
                  <a:pt x="82" y="2"/>
                </a:lnTo>
                <a:lnTo>
                  <a:pt x="84" y="2"/>
                </a:lnTo>
                <a:lnTo>
                  <a:pt x="84" y="5"/>
                </a:lnTo>
                <a:lnTo>
                  <a:pt x="87" y="5"/>
                </a:lnTo>
                <a:lnTo>
                  <a:pt x="88" y="6"/>
                </a:lnTo>
                <a:lnTo>
                  <a:pt x="88" y="5"/>
                </a:lnTo>
                <a:lnTo>
                  <a:pt x="89" y="5"/>
                </a:lnTo>
                <a:lnTo>
                  <a:pt x="94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" name="Freeform 54">
            <a:extLst>
              <a:ext uri="{FF2B5EF4-FFF2-40B4-BE49-F238E27FC236}">
                <a16:creationId xmlns:a16="http://schemas.microsoft.com/office/drawing/2014/main" id="{8DE2557F-1607-4BE4-8F6E-092F93A26364}"/>
              </a:ext>
            </a:extLst>
          </p:cNvPr>
          <p:cNvSpPr>
            <a:spLocks/>
          </p:cNvSpPr>
          <p:nvPr/>
        </p:nvSpPr>
        <p:spPr bwMode="auto">
          <a:xfrm>
            <a:off x="2648759" y="4088762"/>
            <a:ext cx="583923" cy="508579"/>
          </a:xfrm>
          <a:custGeom>
            <a:avLst/>
            <a:gdLst/>
            <a:ahLst/>
            <a:cxnLst>
              <a:cxn ang="0">
                <a:pos x="230" y="7"/>
              </a:cxn>
              <a:cxn ang="0">
                <a:pos x="255" y="13"/>
              </a:cxn>
              <a:cxn ang="0">
                <a:pos x="260" y="26"/>
              </a:cxn>
              <a:cxn ang="0">
                <a:pos x="282" y="24"/>
              </a:cxn>
              <a:cxn ang="0">
                <a:pos x="307" y="30"/>
              </a:cxn>
              <a:cxn ang="0">
                <a:pos x="326" y="43"/>
              </a:cxn>
              <a:cxn ang="0">
                <a:pos x="323" y="67"/>
              </a:cxn>
              <a:cxn ang="0">
                <a:pos x="326" y="87"/>
              </a:cxn>
              <a:cxn ang="0">
                <a:pos x="319" y="100"/>
              </a:cxn>
              <a:cxn ang="0">
                <a:pos x="334" y="121"/>
              </a:cxn>
              <a:cxn ang="0">
                <a:pos x="343" y="141"/>
              </a:cxn>
              <a:cxn ang="0">
                <a:pos x="365" y="155"/>
              </a:cxn>
              <a:cxn ang="0">
                <a:pos x="379" y="174"/>
              </a:cxn>
              <a:cxn ang="0">
                <a:pos x="390" y="189"/>
              </a:cxn>
              <a:cxn ang="0">
                <a:pos x="403" y="198"/>
              </a:cxn>
              <a:cxn ang="0">
                <a:pos x="392" y="210"/>
              </a:cxn>
              <a:cxn ang="0">
                <a:pos x="377" y="225"/>
              </a:cxn>
              <a:cxn ang="0">
                <a:pos x="354" y="215"/>
              </a:cxn>
              <a:cxn ang="0">
                <a:pos x="349" y="240"/>
              </a:cxn>
              <a:cxn ang="0">
                <a:pos x="356" y="260"/>
              </a:cxn>
              <a:cxn ang="0">
                <a:pos x="354" y="277"/>
              </a:cxn>
              <a:cxn ang="0">
                <a:pos x="343" y="293"/>
              </a:cxn>
              <a:cxn ang="0">
                <a:pos x="326" y="299"/>
              </a:cxn>
              <a:cxn ang="0">
                <a:pos x="317" y="308"/>
              </a:cxn>
              <a:cxn ang="0">
                <a:pos x="312" y="323"/>
              </a:cxn>
              <a:cxn ang="0">
                <a:pos x="311" y="332"/>
              </a:cxn>
              <a:cxn ang="0">
                <a:pos x="312" y="346"/>
              </a:cxn>
              <a:cxn ang="0">
                <a:pos x="301" y="344"/>
              </a:cxn>
              <a:cxn ang="0">
                <a:pos x="281" y="338"/>
              </a:cxn>
              <a:cxn ang="0">
                <a:pos x="267" y="337"/>
              </a:cxn>
              <a:cxn ang="0">
                <a:pos x="255" y="336"/>
              </a:cxn>
              <a:cxn ang="0">
                <a:pos x="244" y="329"/>
              </a:cxn>
              <a:cxn ang="0">
                <a:pos x="231" y="337"/>
              </a:cxn>
              <a:cxn ang="0">
                <a:pos x="216" y="327"/>
              </a:cxn>
              <a:cxn ang="0">
                <a:pos x="201" y="329"/>
              </a:cxn>
              <a:cxn ang="0">
                <a:pos x="189" y="333"/>
              </a:cxn>
              <a:cxn ang="0">
                <a:pos x="173" y="327"/>
              </a:cxn>
              <a:cxn ang="0">
                <a:pos x="146" y="313"/>
              </a:cxn>
              <a:cxn ang="0">
                <a:pos x="82" y="302"/>
              </a:cxn>
              <a:cxn ang="0">
                <a:pos x="33" y="327"/>
              </a:cxn>
              <a:cxn ang="0">
                <a:pos x="17" y="331"/>
              </a:cxn>
              <a:cxn ang="0">
                <a:pos x="19" y="312"/>
              </a:cxn>
              <a:cxn ang="0">
                <a:pos x="20" y="296"/>
              </a:cxn>
              <a:cxn ang="0">
                <a:pos x="8" y="286"/>
              </a:cxn>
              <a:cxn ang="0">
                <a:pos x="13" y="260"/>
              </a:cxn>
              <a:cxn ang="0">
                <a:pos x="27" y="214"/>
              </a:cxn>
              <a:cxn ang="0">
                <a:pos x="13" y="167"/>
              </a:cxn>
              <a:cxn ang="0">
                <a:pos x="31" y="163"/>
              </a:cxn>
              <a:cxn ang="0">
                <a:pos x="52" y="166"/>
              </a:cxn>
              <a:cxn ang="0">
                <a:pos x="69" y="151"/>
              </a:cxn>
              <a:cxn ang="0">
                <a:pos x="89" y="141"/>
              </a:cxn>
              <a:cxn ang="0">
                <a:pos x="98" y="146"/>
              </a:cxn>
              <a:cxn ang="0">
                <a:pos x="106" y="137"/>
              </a:cxn>
              <a:cxn ang="0">
                <a:pos x="104" y="122"/>
              </a:cxn>
              <a:cxn ang="0">
                <a:pos x="111" y="94"/>
              </a:cxn>
              <a:cxn ang="0">
                <a:pos x="126" y="86"/>
              </a:cxn>
              <a:cxn ang="0">
                <a:pos x="145" y="77"/>
              </a:cxn>
              <a:cxn ang="0">
                <a:pos x="144" y="63"/>
              </a:cxn>
              <a:cxn ang="0">
                <a:pos x="145" y="35"/>
              </a:cxn>
              <a:cxn ang="0">
                <a:pos x="172" y="28"/>
              </a:cxn>
              <a:cxn ang="0">
                <a:pos x="194" y="12"/>
              </a:cxn>
            </a:cxnLst>
            <a:rect l="0" t="0" r="r" b="b"/>
            <a:pathLst>
              <a:path w="403" h="351">
                <a:moveTo>
                  <a:pt x="206" y="0"/>
                </a:moveTo>
                <a:lnTo>
                  <a:pt x="208" y="0"/>
                </a:lnTo>
                <a:lnTo>
                  <a:pt x="211" y="3"/>
                </a:lnTo>
                <a:lnTo>
                  <a:pt x="213" y="6"/>
                </a:lnTo>
                <a:lnTo>
                  <a:pt x="216" y="8"/>
                </a:lnTo>
                <a:lnTo>
                  <a:pt x="217" y="8"/>
                </a:lnTo>
                <a:lnTo>
                  <a:pt x="219" y="6"/>
                </a:lnTo>
                <a:lnTo>
                  <a:pt x="219" y="5"/>
                </a:lnTo>
                <a:lnTo>
                  <a:pt x="229" y="5"/>
                </a:lnTo>
                <a:lnTo>
                  <a:pt x="230" y="6"/>
                </a:lnTo>
                <a:lnTo>
                  <a:pt x="230" y="7"/>
                </a:lnTo>
                <a:lnTo>
                  <a:pt x="232" y="10"/>
                </a:lnTo>
                <a:lnTo>
                  <a:pt x="232" y="13"/>
                </a:lnTo>
                <a:lnTo>
                  <a:pt x="235" y="16"/>
                </a:lnTo>
                <a:lnTo>
                  <a:pt x="237" y="17"/>
                </a:lnTo>
                <a:lnTo>
                  <a:pt x="238" y="17"/>
                </a:lnTo>
                <a:lnTo>
                  <a:pt x="238" y="14"/>
                </a:lnTo>
                <a:lnTo>
                  <a:pt x="239" y="13"/>
                </a:lnTo>
                <a:lnTo>
                  <a:pt x="247" y="10"/>
                </a:lnTo>
                <a:lnTo>
                  <a:pt x="249" y="10"/>
                </a:lnTo>
                <a:lnTo>
                  <a:pt x="254" y="12"/>
                </a:lnTo>
                <a:lnTo>
                  <a:pt x="255" y="13"/>
                </a:lnTo>
                <a:lnTo>
                  <a:pt x="261" y="16"/>
                </a:lnTo>
                <a:lnTo>
                  <a:pt x="262" y="16"/>
                </a:lnTo>
                <a:lnTo>
                  <a:pt x="263" y="17"/>
                </a:lnTo>
                <a:lnTo>
                  <a:pt x="263" y="18"/>
                </a:lnTo>
                <a:lnTo>
                  <a:pt x="264" y="18"/>
                </a:lnTo>
                <a:lnTo>
                  <a:pt x="264" y="19"/>
                </a:lnTo>
                <a:lnTo>
                  <a:pt x="262" y="19"/>
                </a:lnTo>
                <a:lnTo>
                  <a:pt x="262" y="22"/>
                </a:lnTo>
                <a:lnTo>
                  <a:pt x="261" y="23"/>
                </a:lnTo>
                <a:lnTo>
                  <a:pt x="261" y="24"/>
                </a:lnTo>
                <a:lnTo>
                  <a:pt x="260" y="26"/>
                </a:lnTo>
                <a:lnTo>
                  <a:pt x="260" y="29"/>
                </a:lnTo>
                <a:lnTo>
                  <a:pt x="263" y="32"/>
                </a:lnTo>
                <a:lnTo>
                  <a:pt x="264" y="35"/>
                </a:lnTo>
                <a:lnTo>
                  <a:pt x="266" y="36"/>
                </a:lnTo>
                <a:lnTo>
                  <a:pt x="267" y="36"/>
                </a:lnTo>
                <a:lnTo>
                  <a:pt x="270" y="31"/>
                </a:lnTo>
                <a:lnTo>
                  <a:pt x="274" y="29"/>
                </a:lnTo>
                <a:lnTo>
                  <a:pt x="275" y="29"/>
                </a:lnTo>
                <a:lnTo>
                  <a:pt x="279" y="30"/>
                </a:lnTo>
                <a:lnTo>
                  <a:pt x="280" y="29"/>
                </a:lnTo>
                <a:lnTo>
                  <a:pt x="282" y="24"/>
                </a:lnTo>
                <a:lnTo>
                  <a:pt x="284" y="24"/>
                </a:lnTo>
                <a:lnTo>
                  <a:pt x="286" y="23"/>
                </a:lnTo>
                <a:lnTo>
                  <a:pt x="287" y="23"/>
                </a:lnTo>
                <a:lnTo>
                  <a:pt x="292" y="25"/>
                </a:lnTo>
                <a:lnTo>
                  <a:pt x="293" y="25"/>
                </a:lnTo>
                <a:lnTo>
                  <a:pt x="295" y="23"/>
                </a:lnTo>
                <a:lnTo>
                  <a:pt x="297" y="23"/>
                </a:lnTo>
                <a:lnTo>
                  <a:pt x="298" y="24"/>
                </a:lnTo>
                <a:lnTo>
                  <a:pt x="299" y="24"/>
                </a:lnTo>
                <a:lnTo>
                  <a:pt x="307" y="28"/>
                </a:lnTo>
                <a:lnTo>
                  <a:pt x="307" y="30"/>
                </a:lnTo>
                <a:lnTo>
                  <a:pt x="312" y="32"/>
                </a:lnTo>
                <a:lnTo>
                  <a:pt x="312" y="36"/>
                </a:lnTo>
                <a:lnTo>
                  <a:pt x="313" y="37"/>
                </a:lnTo>
                <a:lnTo>
                  <a:pt x="317" y="37"/>
                </a:lnTo>
                <a:lnTo>
                  <a:pt x="317" y="38"/>
                </a:lnTo>
                <a:lnTo>
                  <a:pt x="318" y="40"/>
                </a:lnTo>
                <a:lnTo>
                  <a:pt x="319" y="42"/>
                </a:lnTo>
                <a:lnTo>
                  <a:pt x="322" y="42"/>
                </a:lnTo>
                <a:lnTo>
                  <a:pt x="323" y="41"/>
                </a:lnTo>
                <a:lnTo>
                  <a:pt x="325" y="42"/>
                </a:lnTo>
                <a:lnTo>
                  <a:pt x="326" y="43"/>
                </a:lnTo>
                <a:lnTo>
                  <a:pt x="326" y="47"/>
                </a:lnTo>
                <a:lnTo>
                  <a:pt x="325" y="49"/>
                </a:lnTo>
                <a:lnTo>
                  <a:pt x="326" y="50"/>
                </a:lnTo>
                <a:lnTo>
                  <a:pt x="325" y="51"/>
                </a:lnTo>
                <a:lnTo>
                  <a:pt x="325" y="55"/>
                </a:lnTo>
                <a:lnTo>
                  <a:pt x="326" y="56"/>
                </a:lnTo>
                <a:lnTo>
                  <a:pt x="326" y="59"/>
                </a:lnTo>
                <a:lnTo>
                  <a:pt x="323" y="60"/>
                </a:lnTo>
                <a:lnTo>
                  <a:pt x="322" y="62"/>
                </a:lnTo>
                <a:lnTo>
                  <a:pt x="322" y="66"/>
                </a:lnTo>
                <a:lnTo>
                  <a:pt x="323" y="67"/>
                </a:lnTo>
                <a:lnTo>
                  <a:pt x="324" y="67"/>
                </a:lnTo>
                <a:lnTo>
                  <a:pt x="324" y="68"/>
                </a:lnTo>
                <a:lnTo>
                  <a:pt x="325" y="72"/>
                </a:lnTo>
                <a:lnTo>
                  <a:pt x="328" y="74"/>
                </a:lnTo>
                <a:lnTo>
                  <a:pt x="328" y="75"/>
                </a:lnTo>
                <a:lnTo>
                  <a:pt x="329" y="75"/>
                </a:lnTo>
                <a:lnTo>
                  <a:pt x="329" y="80"/>
                </a:lnTo>
                <a:lnTo>
                  <a:pt x="330" y="81"/>
                </a:lnTo>
                <a:lnTo>
                  <a:pt x="330" y="85"/>
                </a:lnTo>
                <a:lnTo>
                  <a:pt x="326" y="85"/>
                </a:lnTo>
                <a:lnTo>
                  <a:pt x="326" y="87"/>
                </a:lnTo>
                <a:lnTo>
                  <a:pt x="328" y="89"/>
                </a:lnTo>
                <a:lnTo>
                  <a:pt x="326" y="90"/>
                </a:lnTo>
                <a:lnTo>
                  <a:pt x="325" y="90"/>
                </a:lnTo>
                <a:lnTo>
                  <a:pt x="323" y="91"/>
                </a:lnTo>
                <a:lnTo>
                  <a:pt x="322" y="92"/>
                </a:lnTo>
                <a:lnTo>
                  <a:pt x="323" y="93"/>
                </a:lnTo>
                <a:lnTo>
                  <a:pt x="323" y="96"/>
                </a:lnTo>
                <a:lnTo>
                  <a:pt x="322" y="97"/>
                </a:lnTo>
                <a:lnTo>
                  <a:pt x="321" y="97"/>
                </a:lnTo>
                <a:lnTo>
                  <a:pt x="321" y="99"/>
                </a:lnTo>
                <a:lnTo>
                  <a:pt x="319" y="100"/>
                </a:lnTo>
                <a:lnTo>
                  <a:pt x="321" y="102"/>
                </a:lnTo>
                <a:lnTo>
                  <a:pt x="321" y="103"/>
                </a:lnTo>
                <a:lnTo>
                  <a:pt x="323" y="103"/>
                </a:lnTo>
                <a:lnTo>
                  <a:pt x="329" y="108"/>
                </a:lnTo>
                <a:lnTo>
                  <a:pt x="330" y="109"/>
                </a:lnTo>
                <a:lnTo>
                  <a:pt x="330" y="110"/>
                </a:lnTo>
                <a:lnTo>
                  <a:pt x="335" y="110"/>
                </a:lnTo>
                <a:lnTo>
                  <a:pt x="335" y="112"/>
                </a:lnTo>
                <a:lnTo>
                  <a:pt x="337" y="114"/>
                </a:lnTo>
                <a:lnTo>
                  <a:pt x="336" y="117"/>
                </a:lnTo>
                <a:lnTo>
                  <a:pt x="334" y="121"/>
                </a:lnTo>
                <a:lnTo>
                  <a:pt x="332" y="123"/>
                </a:lnTo>
                <a:lnTo>
                  <a:pt x="334" y="124"/>
                </a:lnTo>
                <a:lnTo>
                  <a:pt x="337" y="126"/>
                </a:lnTo>
                <a:lnTo>
                  <a:pt x="337" y="127"/>
                </a:lnTo>
                <a:lnTo>
                  <a:pt x="338" y="127"/>
                </a:lnTo>
                <a:lnTo>
                  <a:pt x="340" y="128"/>
                </a:lnTo>
                <a:lnTo>
                  <a:pt x="341" y="132"/>
                </a:lnTo>
                <a:lnTo>
                  <a:pt x="341" y="133"/>
                </a:lnTo>
                <a:lnTo>
                  <a:pt x="342" y="133"/>
                </a:lnTo>
                <a:lnTo>
                  <a:pt x="342" y="140"/>
                </a:lnTo>
                <a:lnTo>
                  <a:pt x="343" y="141"/>
                </a:lnTo>
                <a:lnTo>
                  <a:pt x="343" y="142"/>
                </a:lnTo>
                <a:lnTo>
                  <a:pt x="350" y="148"/>
                </a:lnTo>
                <a:lnTo>
                  <a:pt x="352" y="148"/>
                </a:lnTo>
                <a:lnTo>
                  <a:pt x="353" y="149"/>
                </a:lnTo>
                <a:lnTo>
                  <a:pt x="354" y="149"/>
                </a:lnTo>
                <a:lnTo>
                  <a:pt x="357" y="152"/>
                </a:lnTo>
                <a:lnTo>
                  <a:pt x="361" y="152"/>
                </a:lnTo>
                <a:lnTo>
                  <a:pt x="361" y="153"/>
                </a:lnTo>
                <a:lnTo>
                  <a:pt x="362" y="153"/>
                </a:lnTo>
                <a:lnTo>
                  <a:pt x="362" y="155"/>
                </a:lnTo>
                <a:lnTo>
                  <a:pt x="365" y="155"/>
                </a:lnTo>
                <a:lnTo>
                  <a:pt x="366" y="159"/>
                </a:lnTo>
                <a:lnTo>
                  <a:pt x="366" y="161"/>
                </a:lnTo>
                <a:lnTo>
                  <a:pt x="365" y="161"/>
                </a:lnTo>
                <a:lnTo>
                  <a:pt x="365" y="167"/>
                </a:lnTo>
                <a:lnTo>
                  <a:pt x="362" y="172"/>
                </a:lnTo>
                <a:lnTo>
                  <a:pt x="361" y="173"/>
                </a:lnTo>
                <a:lnTo>
                  <a:pt x="363" y="173"/>
                </a:lnTo>
                <a:lnTo>
                  <a:pt x="367" y="174"/>
                </a:lnTo>
                <a:lnTo>
                  <a:pt x="375" y="172"/>
                </a:lnTo>
                <a:lnTo>
                  <a:pt x="377" y="173"/>
                </a:lnTo>
                <a:lnTo>
                  <a:pt x="379" y="174"/>
                </a:lnTo>
                <a:lnTo>
                  <a:pt x="385" y="176"/>
                </a:lnTo>
                <a:lnTo>
                  <a:pt x="386" y="177"/>
                </a:lnTo>
                <a:lnTo>
                  <a:pt x="387" y="179"/>
                </a:lnTo>
                <a:lnTo>
                  <a:pt x="391" y="179"/>
                </a:lnTo>
                <a:lnTo>
                  <a:pt x="393" y="182"/>
                </a:lnTo>
                <a:lnTo>
                  <a:pt x="393" y="183"/>
                </a:lnTo>
                <a:lnTo>
                  <a:pt x="392" y="183"/>
                </a:lnTo>
                <a:lnTo>
                  <a:pt x="390" y="185"/>
                </a:lnTo>
                <a:lnTo>
                  <a:pt x="388" y="185"/>
                </a:lnTo>
                <a:lnTo>
                  <a:pt x="388" y="186"/>
                </a:lnTo>
                <a:lnTo>
                  <a:pt x="390" y="189"/>
                </a:lnTo>
                <a:lnTo>
                  <a:pt x="390" y="190"/>
                </a:lnTo>
                <a:lnTo>
                  <a:pt x="392" y="192"/>
                </a:lnTo>
                <a:lnTo>
                  <a:pt x="394" y="194"/>
                </a:lnTo>
                <a:lnTo>
                  <a:pt x="396" y="194"/>
                </a:lnTo>
                <a:lnTo>
                  <a:pt x="396" y="195"/>
                </a:lnTo>
                <a:lnTo>
                  <a:pt x="397" y="196"/>
                </a:lnTo>
                <a:lnTo>
                  <a:pt x="397" y="195"/>
                </a:lnTo>
                <a:lnTo>
                  <a:pt x="399" y="195"/>
                </a:lnTo>
                <a:lnTo>
                  <a:pt x="399" y="197"/>
                </a:lnTo>
                <a:lnTo>
                  <a:pt x="402" y="197"/>
                </a:lnTo>
                <a:lnTo>
                  <a:pt x="403" y="198"/>
                </a:lnTo>
                <a:lnTo>
                  <a:pt x="403" y="200"/>
                </a:lnTo>
                <a:lnTo>
                  <a:pt x="402" y="204"/>
                </a:lnTo>
                <a:lnTo>
                  <a:pt x="403" y="207"/>
                </a:lnTo>
                <a:lnTo>
                  <a:pt x="397" y="207"/>
                </a:lnTo>
                <a:lnTo>
                  <a:pt x="397" y="208"/>
                </a:lnTo>
                <a:lnTo>
                  <a:pt x="396" y="209"/>
                </a:lnTo>
                <a:lnTo>
                  <a:pt x="393" y="209"/>
                </a:lnTo>
                <a:lnTo>
                  <a:pt x="392" y="208"/>
                </a:lnTo>
                <a:lnTo>
                  <a:pt x="391" y="209"/>
                </a:lnTo>
                <a:lnTo>
                  <a:pt x="391" y="210"/>
                </a:lnTo>
                <a:lnTo>
                  <a:pt x="392" y="210"/>
                </a:lnTo>
                <a:lnTo>
                  <a:pt x="392" y="212"/>
                </a:lnTo>
                <a:lnTo>
                  <a:pt x="391" y="213"/>
                </a:lnTo>
                <a:lnTo>
                  <a:pt x="390" y="215"/>
                </a:lnTo>
                <a:lnTo>
                  <a:pt x="390" y="216"/>
                </a:lnTo>
                <a:lnTo>
                  <a:pt x="388" y="216"/>
                </a:lnTo>
                <a:lnTo>
                  <a:pt x="384" y="221"/>
                </a:lnTo>
                <a:lnTo>
                  <a:pt x="381" y="221"/>
                </a:lnTo>
                <a:lnTo>
                  <a:pt x="381" y="222"/>
                </a:lnTo>
                <a:lnTo>
                  <a:pt x="380" y="223"/>
                </a:lnTo>
                <a:lnTo>
                  <a:pt x="378" y="223"/>
                </a:lnTo>
                <a:lnTo>
                  <a:pt x="377" y="225"/>
                </a:lnTo>
                <a:lnTo>
                  <a:pt x="375" y="225"/>
                </a:lnTo>
                <a:lnTo>
                  <a:pt x="373" y="222"/>
                </a:lnTo>
                <a:lnTo>
                  <a:pt x="372" y="223"/>
                </a:lnTo>
                <a:lnTo>
                  <a:pt x="368" y="223"/>
                </a:lnTo>
                <a:lnTo>
                  <a:pt x="366" y="222"/>
                </a:lnTo>
                <a:lnTo>
                  <a:pt x="363" y="222"/>
                </a:lnTo>
                <a:lnTo>
                  <a:pt x="362" y="221"/>
                </a:lnTo>
                <a:lnTo>
                  <a:pt x="362" y="216"/>
                </a:lnTo>
                <a:lnTo>
                  <a:pt x="359" y="216"/>
                </a:lnTo>
                <a:lnTo>
                  <a:pt x="356" y="215"/>
                </a:lnTo>
                <a:lnTo>
                  <a:pt x="354" y="215"/>
                </a:lnTo>
                <a:lnTo>
                  <a:pt x="353" y="216"/>
                </a:lnTo>
                <a:lnTo>
                  <a:pt x="348" y="216"/>
                </a:lnTo>
                <a:lnTo>
                  <a:pt x="346" y="217"/>
                </a:lnTo>
                <a:lnTo>
                  <a:pt x="346" y="223"/>
                </a:lnTo>
                <a:lnTo>
                  <a:pt x="344" y="225"/>
                </a:lnTo>
                <a:lnTo>
                  <a:pt x="343" y="225"/>
                </a:lnTo>
                <a:lnTo>
                  <a:pt x="341" y="228"/>
                </a:lnTo>
                <a:lnTo>
                  <a:pt x="343" y="232"/>
                </a:lnTo>
                <a:lnTo>
                  <a:pt x="344" y="233"/>
                </a:lnTo>
                <a:lnTo>
                  <a:pt x="346" y="237"/>
                </a:lnTo>
                <a:lnTo>
                  <a:pt x="349" y="240"/>
                </a:lnTo>
                <a:lnTo>
                  <a:pt x="352" y="240"/>
                </a:lnTo>
                <a:lnTo>
                  <a:pt x="352" y="243"/>
                </a:lnTo>
                <a:lnTo>
                  <a:pt x="354" y="245"/>
                </a:lnTo>
                <a:lnTo>
                  <a:pt x="354" y="249"/>
                </a:lnTo>
                <a:lnTo>
                  <a:pt x="353" y="251"/>
                </a:lnTo>
                <a:lnTo>
                  <a:pt x="350" y="252"/>
                </a:lnTo>
                <a:lnTo>
                  <a:pt x="350" y="253"/>
                </a:lnTo>
                <a:lnTo>
                  <a:pt x="353" y="256"/>
                </a:lnTo>
                <a:lnTo>
                  <a:pt x="354" y="258"/>
                </a:lnTo>
                <a:lnTo>
                  <a:pt x="354" y="259"/>
                </a:lnTo>
                <a:lnTo>
                  <a:pt x="356" y="260"/>
                </a:lnTo>
                <a:lnTo>
                  <a:pt x="356" y="262"/>
                </a:lnTo>
                <a:lnTo>
                  <a:pt x="354" y="262"/>
                </a:lnTo>
                <a:lnTo>
                  <a:pt x="354" y="263"/>
                </a:lnTo>
                <a:lnTo>
                  <a:pt x="353" y="264"/>
                </a:lnTo>
                <a:lnTo>
                  <a:pt x="355" y="266"/>
                </a:lnTo>
                <a:lnTo>
                  <a:pt x="355" y="268"/>
                </a:lnTo>
                <a:lnTo>
                  <a:pt x="354" y="270"/>
                </a:lnTo>
                <a:lnTo>
                  <a:pt x="354" y="271"/>
                </a:lnTo>
                <a:lnTo>
                  <a:pt x="355" y="272"/>
                </a:lnTo>
                <a:lnTo>
                  <a:pt x="355" y="276"/>
                </a:lnTo>
                <a:lnTo>
                  <a:pt x="354" y="277"/>
                </a:lnTo>
                <a:lnTo>
                  <a:pt x="355" y="280"/>
                </a:lnTo>
                <a:lnTo>
                  <a:pt x="356" y="281"/>
                </a:lnTo>
                <a:lnTo>
                  <a:pt x="357" y="281"/>
                </a:lnTo>
                <a:lnTo>
                  <a:pt x="359" y="282"/>
                </a:lnTo>
                <a:lnTo>
                  <a:pt x="359" y="286"/>
                </a:lnTo>
                <a:lnTo>
                  <a:pt x="362" y="289"/>
                </a:lnTo>
                <a:lnTo>
                  <a:pt x="362" y="293"/>
                </a:lnTo>
                <a:lnTo>
                  <a:pt x="357" y="293"/>
                </a:lnTo>
                <a:lnTo>
                  <a:pt x="350" y="292"/>
                </a:lnTo>
                <a:lnTo>
                  <a:pt x="346" y="292"/>
                </a:lnTo>
                <a:lnTo>
                  <a:pt x="343" y="293"/>
                </a:lnTo>
                <a:lnTo>
                  <a:pt x="341" y="295"/>
                </a:lnTo>
                <a:lnTo>
                  <a:pt x="341" y="296"/>
                </a:lnTo>
                <a:lnTo>
                  <a:pt x="338" y="296"/>
                </a:lnTo>
                <a:lnTo>
                  <a:pt x="336" y="294"/>
                </a:lnTo>
                <a:lnTo>
                  <a:pt x="328" y="294"/>
                </a:lnTo>
                <a:lnTo>
                  <a:pt x="326" y="295"/>
                </a:lnTo>
                <a:lnTo>
                  <a:pt x="326" y="298"/>
                </a:lnTo>
                <a:lnTo>
                  <a:pt x="328" y="298"/>
                </a:lnTo>
                <a:lnTo>
                  <a:pt x="328" y="300"/>
                </a:lnTo>
                <a:lnTo>
                  <a:pt x="326" y="300"/>
                </a:lnTo>
                <a:lnTo>
                  <a:pt x="326" y="299"/>
                </a:lnTo>
                <a:lnTo>
                  <a:pt x="325" y="299"/>
                </a:lnTo>
                <a:lnTo>
                  <a:pt x="325" y="301"/>
                </a:lnTo>
                <a:lnTo>
                  <a:pt x="324" y="301"/>
                </a:lnTo>
                <a:lnTo>
                  <a:pt x="324" y="302"/>
                </a:lnTo>
                <a:lnTo>
                  <a:pt x="323" y="302"/>
                </a:lnTo>
                <a:lnTo>
                  <a:pt x="322" y="303"/>
                </a:lnTo>
                <a:lnTo>
                  <a:pt x="322" y="306"/>
                </a:lnTo>
                <a:lnTo>
                  <a:pt x="319" y="306"/>
                </a:lnTo>
                <a:lnTo>
                  <a:pt x="319" y="307"/>
                </a:lnTo>
                <a:lnTo>
                  <a:pt x="318" y="308"/>
                </a:lnTo>
                <a:lnTo>
                  <a:pt x="317" y="308"/>
                </a:lnTo>
                <a:lnTo>
                  <a:pt x="317" y="309"/>
                </a:lnTo>
                <a:lnTo>
                  <a:pt x="316" y="311"/>
                </a:lnTo>
                <a:lnTo>
                  <a:pt x="316" y="314"/>
                </a:lnTo>
                <a:lnTo>
                  <a:pt x="315" y="314"/>
                </a:lnTo>
                <a:lnTo>
                  <a:pt x="313" y="315"/>
                </a:lnTo>
                <a:lnTo>
                  <a:pt x="315" y="315"/>
                </a:lnTo>
                <a:lnTo>
                  <a:pt x="315" y="319"/>
                </a:lnTo>
                <a:lnTo>
                  <a:pt x="312" y="319"/>
                </a:lnTo>
                <a:lnTo>
                  <a:pt x="312" y="320"/>
                </a:lnTo>
                <a:lnTo>
                  <a:pt x="311" y="321"/>
                </a:lnTo>
                <a:lnTo>
                  <a:pt x="312" y="323"/>
                </a:lnTo>
                <a:lnTo>
                  <a:pt x="311" y="323"/>
                </a:lnTo>
                <a:lnTo>
                  <a:pt x="311" y="325"/>
                </a:lnTo>
                <a:lnTo>
                  <a:pt x="310" y="326"/>
                </a:lnTo>
                <a:lnTo>
                  <a:pt x="310" y="327"/>
                </a:lnTo>
                <a:lnTo>
                  <a:pt x="311" y="327"/>
                </a:lnTo>
                <a:lnTo>
                  <a:pt x="311" y="329"/>
                </a:lnTo>
                <a:lnTo>
                  <a:pt x="310" y="329"/>
                </a:lnTo>
                <a:lnTo>
                  <a:pt x="310" y="330"/>
                </a:lnTo>
                <a:lnTo>
                  <a:pt x="312" y="330"/>
                </a:lnTo>
                <a:lnTo>
                  <a:pt x="312" y="331"/>
                </a:lnTo>
                <a:lnTo>
                  <a:pt x="311" y="332"/>
                </a:lnTo>
                <a:lnTo>
                  <a:pt x="312" y="332"/>
                </a:lnTo>
                <a:lnTo>
                  <a:pt x="312" y="335"/>
                </a:lnTo>
                <a:lnTo>
                  <a:pt x="313" y="335"/>
                </a:lnTo>
                <a:lnTo>
                  <a:pt x="313" y="336"/>
                </a:lnTo>
                <a:lnTo>
                  <a:pt x="312" y="336"/>
                </a:lnTo>
                <a:lnTo>
                  <a:pt x="312" y="338"/>
                </a:lnTo>
                <a:lnTo>
                  <a:pt x="313" y="338"/>
                </a:lnTo>
                <a:lnTo>
                  <a:pt x="313" y="339"/>
                </a:lnTo>
                <a:lnTo>
                  <a:pt x="315" y="341"/>
                </a:lnTo>
                <a:lnTo>
                  <a:pt x="315" y="344"/>
                </a:lnTo>
                <a:lnTo>
                  <a:pt x="312" y="346"/>
                </a:lnTo>
                <a:lnTo>
                  <a:pt x="312" y="348"/>
                </a:lnTo>
                <a:lnTo>
                  <a:pt x="311" y="349"/>
                </a:lnTo>
                <a:lnTo>
                  <a:pt x="311" y="351"/>
                </a:lnTo>
                <a:lnTo>
                  <a:pt x="310" y="350"/>
                </a:lnTo>
                <a:lnTo>
                  <a:pt x="309" y="350"/>
                </a:lnTo>
                <a:lnTo>
                  <a:pt x="309" y="349"/>
                </a:lnTo>
                <a:lnTo>
                  <a:pt x="307" y="349"/>
                </a:lnTo>
                <a:lnTo>
                  <a:pt x="306" y="348"/>
                </a:lnTo>
                <a:lnTo>
                  <a:pt x="304" y="348"/>
                </a:lnTo>
                <a:lnTo>
                  <a:pt x="303" y="346"/>
                </a:lnTo>
                <a:lnTo>
                  <a:pt x="301" y="344"/>
                </a:lnTo>
                <a:lnTo>
                  <a:pt x="301" y="339"/>
                </a:lnTo>
                <a:lnTo>
                  <a:pt x="300" y="339"/>
                </a:lnTo>
                <a:lnTo>
                  <a:pt x="299" y="338"/>
                </a:lnTo>
                <a:lnTo>
                  <a:pt x="298" y="338"/>
                </a:lnTo>
                <a:lnTo>
                  <a:pt x="297" y="336"/>
                </a:lnTo>
                <a:lnTo>
                  <a:pt x="295" y="335"/>
                </a:lnTo>
                <a:lnTo>
                  <a:pt x="287" y="335"/>
                </a:lnTo>
                <a:lnTo>
                  <a:pt x="285" y="336"/>
                </a:lnTo>
                <a:lnTo>
                  <a:pt x="282" y="336"/>
                </a:lnTo>
                <a:lnTo>
                  <a:pt x="281" y="337"/>
                </a:lnTo>
                <a:lnTo>
                  <a:pt x="281" y="338"/>
                </a:lnTo>
                <a:lnTo>
                  <a:pt x="280" y="338"/>
                </a:lnTo>
                <a:lnTo>
                  <a:pt x="276" y="337"/>
                </a:lnTo>
                <a:lnTo>
                  <a:pt x="275" y="336"/>
                </a:lnTo>
                <a:lnTo>
                  <a:pt x="275" y="335"/>
                </a:lnTo>
                <a:lnTo>
                  <a:pt x="274" y="333"/>
                </a:lnTo>
                <a:lnTo>
                  <a:pt x="273" y="333"/>
                </a:lnTo>
                <a:lnTo>
                  <a:pt x="272" y="335"/>
                </a:lnTo>
                <a:lnTo>
                  <a:pt x="270" y="335"/>
                </a:lnTo>
                <a:lnTo>
                  <a:pt x="270" y="336"/>
                </a:lnTo>
                <a:lnTo>
                  <a:pt x="269" y="337"/>
                </a:lnTo>
                <a:lnTo>
                  <a:pt x="267" y="337"/>
                </a:lnTo>
                <a:lnTo>
                  <a:pt x="267" y="338"/>
                </a:lnTo>
                <a:lnTo>
                  <a:pt x="266" y="339"/>
                </a:lnTo>
                <a:lnTo>
                  <a:pt x="266" y="341"/>
                </a:lnTo>
                <a:lnTo>
                  <a:pt x="261" y="341"/>
                </a:lnTo>
                <a:lnTo>
                  <a:pt x="261" y="342"/>
                </a:lnTo>
                <a:lnTo>
                  <a:pt x="259" y="342"/>
                </a:lnTo>
                <a:lnTo>
                  <a:pt x="257" y="341"/>
                </a:lnTo>
                <a:lnTo>
                  <a:pt x="257" y="339"/>
                </a:lnTo>
                <a:lnTo>
                  <a:pt x="256" y="338"/>
                </a:lnTo>
                <a:lnTo>
                  <a:pt x="256" y="337"/>
                </a:lnTo>
                <a:lnTo>
                  <a:pt x="255" y="336"/>
                </a:lnTo>
                <a:lnTo>
                  <a:pt x="255" y="331"/>
                </a:lnTo>
                <a:lnTo>
                  <a:pt x="253" y="329"/>
                </a:lnTo>
                <a:lnTo>
                  <a:pt x="253" y="326"/>
                </a:lnTo>
                <a:lnTo>
                  <a:pt x="251" y="325"/>
                </a:lnTo>
                <a:lnTo>
                  <a:pt x="250" y="325"/>
                </a:lnTo>
                <a:lnTo>
                  <a:pt x="249" y="324"/>
                </a:lnTo>
                <a:lnTo>
                  <a:pt x="248" y="324"/>
                </a:lnTo>
                <a:lnTo>
                  <a:pt x="248" y="325"/>
                </a:lnTo>
                <a:lnTo>
                  <a:pt x="247" y="325"/>
                </a:lnTo>
                <a:lnTo>
                  <a:pt x="245" y="327"/>
                </a:lnTo>
                <a:lnTo>
                  <a:pt x="244" y="329"/>
                </a:lnTo>
                <a:lnTo>
                  <a:pt x="241" y="329"/>
                </a:lnTo>
                <a:lnTo>
                  <a:pt x="239" y="330"/>
                </a:lnTo>
                <a:lnTo>
                  <a:pt x="238" y="330"/>
                </a:lnTo>
                <a:lnTo>
                  <a:pt x="236" y="332"/>
                </a:lnTo>
                <a:lnTo>
                  <a:pt x="235" y="335"/>
                </a:lnTo>
                <a:lnTo>
                  <a:pt x="235" y="339"/>
                </a:lnTo>
                <a:lnTo>
                  <a:pt x="234" y="339"/>
                </a:lnTo>
                <a:lnTo>
                  <a:pt x="234" y="337"/>
                </a:lnTo>
                <a:lnTo>
                  <a:pt x="232" y="337"/>
                </a:lnTo>
                <a:lnTo>
                  <a:pt x="231" y="338"/>
                </a:lnTo>
                <a:lnTo>
                  <a:pt x="231" y="337"/>
                </a:lnTo>
                <a:lnTo>
                  <a:pt x="230" y="337"/>
                </a:lnTo>
                <a:lnTo>
                  <a:pt x="230" y="336"/>
                </a:lnTo>
                <a:lnTo>
                  <a:pt x="229" y="332"/>
                </a:lnTo>
                <a:lnTo>
                  <a:pt x="229" y="330"/>
                </a:lnTo>
                <a:lnTo>
                  <a:pt x="228" y="329"/>
                </a:lnTo>
                <a:lnTo>
                  <a:pt x="222" y="329"/>
                </a:lnTo>
                <a:lnTo>
                  <a:pt x="219" y="330"/>
                </a:lnTo>
                <a:lnTo>
                  <a:pt x="218" y="331"/>
                </a:lnTo>
                <a:lnTo>
                  <a:pt x="217" y="331"/>
                </a:lnTo>
                <a:lnTo>
                  <a:pt x="217" y="329"/>
                </a:lnTo>
                <a:lnTo>
                  <a:pt x="216" y="327"/>
                </a:lnTo>
                <a:lnTo>
                  <a:pt x="214" y="327"/>
                </a:lnTo>
                <a:lnTo>
                  <a:pt x="214" y="326"/>
                </a:lnTo>
                <a:lnTo>
                  <a:pt x="213" y="325"/>
                </a:lnTo>
                <a:lnTo>
                  <a:pt x="213" y="323"/>
                </a:lnTo>
                <a:lnTo>
                  <a:pt x="212" y="323"/>
                </a:lnTo>
                <a:lnTo>
                  <a:pt x="210" y="325"/>
                </a:lnTo>
                <a:lnTo>
                  <a:pt x="208" y="329"/>
                </a:lnTo>
                <a:lnTo>
                  <a:pt x="207" y="329"/>
                </a:lnTo>
                <a:lnTo>
                  <a:pt x="206" y="330"/>
                </a:lnTo>
                <a:lnTo>
                  <a:pt x="203" y="330"/>
                </a:lnTo>
                <a:lnTo>
                  <a:pt x="201" y="329"/>
                </a:lnTo>
                <a:lnTo>
                  <a:pt x="200" y="329"/>
                </a:lnTo>
                <a:lnTo>
                  <a:pt x="197" y="325"/>
                </a:lnTo>
                <a:lnTo>
                  <a:pt x="195" y="326"/>
                </a:lnTo>
                <a:lnTo>
                  <a:pt x="195" y="327"/>
                </a:lnTo>
                <a:lnTo>
                  <a:pt x="194" y="329"/>
                </a:lnTo>
                <a:lnTo>
                  <a:pt x="194" y="332"/>
                </a:lnTo>
                <a:lnTo>
                  <a:pt x="192" y="335"/>
                </a:lnTo>
                <a:lnTo>
                  <a:pt x="192" y="336"/>
                </a:lnTo>
                <a:lnTo>
                  <a:pt x="191" y="336"/>
                </a:lnTo>
                <a:lnTo>
                  <a:pt x="189" y="335"/>
                </a:lnTo>
                <a:lnTo>
                  <a:pt x="189" y="333"/>
                </a:lnTo>
                <a:lnTo>
                  <a:pt x="191" y="330"/>
                </a:lnTo>
                <a:lnTo>
                  <a:pt x="191" y="327"/>
                </a:lnTo>
                <a:lnTo>
                  <a:pt x="189" y="326"/>
                </a:lnTo>
                <a:lnTo>
                  <a:pt x="187" y="326"/>
                </a:lnTo>
                <a:lnTo>
                  <a:pt x="182" y="325"/>
                </a:lnTo>
                <a:lnTo>
                  <a:pt x="180" y="325"/>
                </a:lnTo>
                <a:lnTo>
                  <a:pt x="179" y="326"/>
                </a:lnTo>
                <a:lnTo>
                  <a:pt x="179" y="327"/>
                </a:lnTo>
                <a:lnTo>
                  <a:pt x="177" y="327"/>
                </a:lnTo>
                <a:lnTo>
                  <a:pt x="175" y="326"/>
                </a:lnTo>
                <a:lnTo>
                  <a:pt x="173" y="327"/>
                </a:lnTo>
                <a:lnTo>
                  <a:pt x="172" y="326"/>
                </a:lnTo>
                <a:lnTo>
                  <a:pt x="172" y="325"/>
                </a:lnTo>
                <a:lnTo>
                  <a:pt x="173" y="324"/>
                </a:lnTo>
                <a:lnTo>
                  <a:pt x="173" y="323"/>
                </a:lnTo>
                <a:lnTo>
                  <a:pt x="169" y="323"/>
                </a:lnTo>
                <a:lnTo>
                  <a:pt x="169" y="317"/>
                </a:lnTo>
                <a:lnTo>
                  <a:pt x="168" y="315"/>
                </a:lnTo>
                <a:lnTo>
                  <a:pt x="162" y="315"/>
                </a:lnTo>
                <a:lnTo>
                  <a:pt x="157" y="317"/>
                </a:lnTo>
                <a:lnTo>
                  <a:pt x="155" y="317"/>
                </a:lnTo>
                <a:lnTo>
                  <a:pt x="146" y="313"/>
                </a:lnTo>
                <a:lnTo>
                  <a:pt x="138" y="312"/>
                </a:lnTo>
                <a:lnTo>
                  <a:pt x="137" y="312"/>
                </a:lnTo>
                <a:lnTo>
                  <a:pt x="137" y="309"/>
                </a:lnTo>
                <a:lnTo>
                  <a:pt x="126" y="309"/>
                </a:lnTo>
                <a:lnTo>
                  <a:pt x="123" y="306"/>
                </a:lnTo>
                <a:lnTo>
                  <a:pt x="118" y="306"/>
                </a:lnTo>
                <a:lnTo>
                  <a:pt x="110" y="303"/>
                </a:lnTo>
                <a:lnTo>
                  <a:pt x="106" y="305"/>
                </a:lnTo>
                <a:lnTo>
                  <a:pt x="92" y="305"/>
                </a:lnTo>
                <a:lnTo>
                  <a:pt x="85" y="302"/>
                </a:lnTo>
                <a:lnTo>
                  <a:pt x="82" y="302"/>
                </a:lnTo>
                <a:lnTo>
                  <a:pt x="81" y="303"/>
                </a:lnTo>
                <a:lnTo>
                  <a:pt x="77" y="305"/>
                </a:lnTo>
                <a:lnTo>
                  <a:pt x="65" y="307"/>
                </a:lnTo>
                <a:lnTo>
                  <a:pt x="50" y="307"/>
                </a:lnTo>
                <a:lnTo>
                  <a:pt x="49" y="308"/>
                </a:lnTo>
                <a:lnTo>
                  <a:pt x="48" y="311"/>
                </a:lnTo>
                <a:lnTo>
                  <a:pt x="48" y="312"/>
                </a:lnTo>
                <a:lnTo>
                  <a:pt x="46" y="317"/>
                </a:lnTo>
                <a:lnTo>
                  <a:pt x="45" y="318"/>
                </a:lnTo>
                <a:lnTo>
                  <a:pt x="40" y="321"/>
                </a:lnTo>
                <a:lnTo>
                  <a:pt x="33" y="327"/>
                </a:lnTo>
                <a:lnTo>
                  <a:pt x="32" y="327"/>
                </a:lnTo>
                <a:lnTo>
                  <a:pt x="29" y="324"/>
                </a:lnTo>
                <a:lnTo>
                  <a:pt x="23" y="324"/>
                </a:lnTo>
                <a:lnTo>
                  <a:pt x="19" y="325"/>
                </a:lnTo>
                <a:lnTo>
                  <a:pt x="18" y="325"/>
                </a:lnTo>
                <a:lnTo>
                  <a:pt x="18" y="327"/>
                </a:lnTo>
                <a:lnTo>
                  <a:pt x="19" y="331"/>
                </a:lnTo>
                <a:lnTo>
                  <a:pt x="19" y="332"/>
                </a:lnTo>
                <a:lnTo>
                  <a:pt x="18" y="332"/>
                </a:lnTo>
                <a:lnTo>
                  <a:pt x="18" y="331"/>
                </a:lnTo>
                <a:lnTo>
                  <a:pt x="17" y="331"/>
                </a:lnTo>
                <a:lnTo>
                  <a:pt x="15" y="330"/>
                </a:lnTo>
                <a:lnTo>
                  <a:pt x="17" y="330"/>
                </a:lnTo>
                <a:lnTo>
                  <a:pt x="15" y="327"/>
                </a:lnTo>
                <a:lnTo>
                  <a:pt x="15" y="324"/>
                </a:lnTo>
                <a:lnTo>
                  <a:pt x="14" y="323"/>
                </a:lnTo>
                <a:lnTo>
                  <a:pt x="15" y="323"/>
                </a:lnTo>
                <a:lnTo>
                  <a:pt x="15" y="315"/>
                </a:lnTo>
                <a:lnTo>
                  <a:pt x="17" y="315"/>
                </a:lnTo>
                <a:lnTo>
                  <a:pt x="18" y="314"/>
                </a:lnTo>
                <a:lnTo>
                  <a:pt x="19" y="314"/>
                </a:lnTo>
                <a:lnTo>
                  <a:pt x="19" y="312"/>
                </a:lnTo>
                <a:lnTo>
                  <a:pt x="18" y="311"/>
                </a:lnTo>
                <a:lnTo>
                  <a:pt x="18" y="308"/>
                </a:lnTo>
                <a:lnTo>
                  <a:pt x="19" y="307"/>
                </a:lnTo>
                <a:lnTo>
                  <a:pt x="18" y="307"/>
                </a:lnTo>
                <a:lnTo>
                  <a:pt x="19" y="306"/>
                </a:lnTo>
                <a:lnTo>
                  <a:pt x="19" y="302"/>
                </a:lnTo>
                <a:lnTo>
                  <a:pt x="20" y="301"/>
                </a:lnTo>
                <a:lnTo>
                  <a:pt x="20" y="300"/>
                </a:lnTo>
                <a:lnTo>
                  <a:pt x="21" y="300"/>
                </a:lnTo>
                <a:lnTo>
                  <a:pt x="20" y="299"/>
                </a:lnTo>
                <a:lnTo>
                  <a:pt x="20" y="296"/>
                </a:lnTo>
                <a:lnTo>
                  <a:pt x="19" y="295"/>
                </a:lnTo>
                <a:lnTo>
                  <a:pt x="19" y="293"/>
                </a:lnTo>
                <a:lnTo>
                  <a:pt x="18" y="293"/>
                </a:lnTo>
                <a:lnTo>
                  <a:pt x="18" y="292"/>
                </a:lnTo>
                <a:lnTo>
                  <a:pt x="17" y="290"/>
                </a:lnTo>
                <a:lnTo>
                  <a:pt x="14" y="290"/>
                </a:lnTo>
                <a:lnTo>
                  <a:pt x="13" y="288"/>
                </a:lnTo>
                <a:lnTo>
                  <a:pt x="13" y="287"/>
                </a:lnTo>
                <a:lnTo>
                  <a:pt x="8" y="287"/>
                </a:lnTo>
                <a:lnTo>
                  <a:pt x="9" y="286"/>
                </a:lnTo>
                <a:lnTo>
                  <a:pt x="8" y="286"/>
                </a:lnTo>
                <a:lnTo>
                  <a:pt x="6" y="284"/>
                </a:lnTo>
                <a:lnTo>
                  <a:pt x="5" y="283"/>
                </a:lnTo>
                <a:lnTo>
                  <a:pt x="5" y="284"/>
                </a:lnTo>
                <a:lnTo>
                  <a:pt x="1" y="283"/>
                </a:lnTo>
                <a:lnTo>
                  <a:pt x="0" y="283"/>
                </a:lnTo>
                <a:lnTo>
                  <a:pt x="1" y="281"/>
                </a:lnTo>
                <a:lnTo>
                  <a:pt x="0" y="280"/>
                </a:lnTo>
                <a:lnTo>
                  <a:pt x="1" y="275"/>
                </a:lnTo>
                <a:lnTo>
                  <a:pt x="3" y="272"/>
                </a:lnTo>
                <a:lnTo>
                  <a:pt x="9" y="264"/>
                </a:lnTo>
                <a:lnTo>
                  <a:pt x="13" y="260"/>
                </a:lnTo>
                <a:lnTo>
                  <a:pt x="24" y="257"/>
                </a:lnTo>
                <a:lnTo>
                  <a:pt x="29" y="253"/>
                </a:lnTo>
                <a:lnTo>
                  <a:pt x="31" y="251"/>
                </a:lnTo>
                <a:lnTo>
                  <a:pt x="31" y="229"/>
                </a:lnTo>
                <a:lnTo>
                  <a:pt x="30" y="228"/>
                </a:lnTo>
                <a:lnTo>
                  <a:pt x="29" y="226"/>
                </a:lnTo>
                <a:lnTo>
                  <a:pt x="29" y="222"/>
                </a:lnTo>
                <a:lnTo>
                  <a:pt x="30" y="222"/>
                </a:lnTo>
                <a:lnTo>
                  <a:pt x="30" y="219"/>
                </a:lnTo>
                <a:lnTo>
                  <a:pt x="27" y="216"/>
                </a:lnTo>
                <a:lnTo>
                  <a:pt x="27" y="214"/>
                </a:lnTo>
                <a:lnTo>
                  <a:pt x="26" y="213"/>
                </a:lnTo>
                <a:lnTo>
                  <a:pt x="25" y="210"/>
                </a:lnTo>
                <a:lnTo>
                  <a:pt x="24" y="204"/>
                </a:lnTo>
                <a:lnTo>
                  <a:pt x="23" y="202"/>
                </a:lnTo>
                <a:lnTo>
                  <a:pt x="21" y="197"/>
                </a:lnTo>
                <a:lnTo>
                  <a:pt x="18" y="186"/>
                </a:lnTo>
                <a:lnTo>
                  <a:pt x="17" y="182"/>
                </a:lnTo>
                <a:lnTo>
                  <a:pt x="17" y="177"/>
                </a:lnTo>
                <a:lnTo>
                  <a:pt x="14" y="174"/>
                </a:lnTo>
                <a:lnTo>
                  <a:pt x="14" y="169"/>
                </a:lnTo>
                <a:lnTo>
                  <a:pt x="13" y="167"/>
                </a:lnTo>
                <a:lnTo>
                  <a:pt x="13" y="164"/>
                </a:lnTo>
                <a:lnTo>
                  <a:pt x="14" y="164"/>
                </a:lnTo>
                <a:lnTo>
                  <a:pt x="18" y="166"/>
                </a:lnTo>
                <a:lnTo>
                  <a:pt x="19" y="166"/>
                </a:lnTo>
                <a:lnTo>
                  <a:pt x="21" y="165"/>
                </a:lnTo>
                <a:lnTo>
                  <a:pt x="24" y="165"/>
                </a:lnTo>
                <a:lnTo>
                  <a:pt x="25" y="164"/>
                </a:lnTo>
                <a:lnTo>
                  <a:pt x="26" y="164"/>
                </a:lnTo>
                <a:lnTo>
                  <a:pt x="26" y="165"/>
                </a:lnTo>
                <a:lnTo>
                  <a:pt x="27" y="165"/>
                </a:lnTo>
                <a:lnTo>
                  <a:pt x="31" y="163"/>
                </a:lnTo>
                <a:lnTo>
                  <a:pt x="32" y="163"/>
                </a:lnTo>
                <a:lnTo>
                  <a:pt x="33" y="164"/>
                </a:lnTo>
                <a:lnTo>
                  <a:pt x="38" y="164"/>
                </a:lnTo>
                <a:lnTo>
                  <a:pt x="40" y="163"/>
                </a:lnTo>
                <a:lnTo>
                  <a:pt x="42" y="161"/>
                </a:lnTo>
                <a:lnTo>
                  <a:pt x="44" y="164"/>
                </a:lnTo>
                <a:lnTo>
                  <a:pt x="45" y="166"/>
                </a:lnTo>
                <a:lnTo>
                  <a:pt x="48" y="166"/>
                </a:lnTo>
                <a:lnTo>
                  <a:pt x="49" y="167"/>
                </a:lnTo>
                <a:lnTo>
                  <a:pt x="50" y="167"/>
                </a:lnTo>
                <a:lnTo>
                  <a:pt x="52" y="166"/>
                </a:lnTo>
                <a:lnTo>
                  <a:pt x="57" y="161"/>
                </a:lnTo>
                <a:lnTo>
                  <a:pt x="59" y="160"/>
                </a:lnTo>
                <a:lnTo>
                  <a:pt x="62" y="160"/>
                </a:lnTo>
                <a:lnTo>
                  <a:pt x="63" y="159"/>
                </a:lnTo>
                <a:lnTo>
                  <a:pt x="64" y="161"/>
                </a:lnTo>
                <a:lnTo>
                  <a:pt x="68" y="161"/>
                </a:lnTo>
                <a:lnTo>
                  <a:pt x="69" y="160"/>
                </a:lnTo>
                <a:lnTo>
                  <a:pt x="69" y="157"/>
                </a:lnTo>
                <a:lnTo>
                  <a:pt x="68" y="155"/>
                </a:lnTo>
                <a:lnTo>
                  <a:pt x="68" y="152"/>
                </a:lnTo>
                <a:lnTo>
                  <a:pt x="69" y="151"/>
                </a:lnTo>
                <a:lnTo>
                  <a:pt x="69" y="149"/>
                </a:lnTo>
                <a:lnTo>
                  <a:pt x="70" y="148"/>
                </a:lnTo>
                <a:lnTo>
                  <a:pt x="75" y="148"/>
                </a:lnTo>
                <a:lnTo>
                  <a:pt x="77" y="149"/>
                </a:lnTo>
                <a:lnTo>
                  <a:pt x="80" y="149"/>
                </a:lnTo>
                <a:lnTo>
                  <a:pt x="82" y="148"/>
                </a:lnTo>
                <a:lnTo>
                  <a:pt x="83" y="146"/>
                </a:lnTo>
                <a:lnTo>
                  <a:pt x="85" y="145"/>
                </a:lnTo>
                <a:lnTo>
                  <a:pt x="85" y="141"/>
                </a:lnTo>
                <a:lnTo>
                  <a:pt x="86" y="140"/>
                </a:lnTo>
                <a:lnTo>
                  <a:pt x="89" y="141"/>
                </a:lnTo>
                <a:lnTo>
                  <a:pt x="93" y="141"/>
                </a:lnTo>
                <a:lnTo>
                  <a:pt x="93" y="140"/>
                </a:lnTo>
                <a:lnTo>
                  <a:pt x="95" y="137"/>
                </a:lnTo>
                <a:lnTo>
                  <a:pt x="96" y="137"/>
                </a:lnTo>
                <a:lnTo>
                  <a:pt x="98" y="139"/>
                </a:lnTo>
                <a:lnTo>
                  <a:pt x="100" y="142"/>
                </a:lnTo>
                <a:lnTo>
                  <a:pt x="99" y="142"/>
                </a:lnTo>
                <a:lnTo>
                  <a:pt x="98" y="143"/>
                </a:lnTo>
                <a:lnTo>
                  <a:pt x="99" y="145"/>
                </a:lnTo>
                <a:lnTo>
                  <a:pt x="99" y="146"/>
                </a:lnTo>
                <a:lnTo>
                  <a:pt x="98" y="146"/>
                </a:lnTo>
                <a:lnTo>
                  <a:pt x="98" y="147"/>
                </a:lnTo>
                <a:lnTo>
                  <a:pt x="100" y="149"/>
                </a:lnTo>
                <a:lnTo>
                  <a:pt x="105" y="149"/>
                </a:lnTo>
                <a:lnTo>
                  <a:pt x="106" y="148"/>
                </a:lnTo>
                <a:lnTo>
                  <a:pt x="108" y="148"/>
                </a:lnTo>
                <a:lnTo>
                  <a:pt x="110" y="147"/>
                </a:lnTo>
                <a:lnTo>
                  <a:pt x="110" y="140"/>
                </a:lnTo>
                <a:lnTo>
                  <a:pt x="108" y="140"/>
                </a:lnTo>
                <a:lnTo>
                  <a:pt x="108" y="139"/>
                </a:lnTo>
                <a:lnTo>
                  <a:pt x="107" y="139"/>
                </a:lnTo>
                <a:lnTo>
                  <a:pt x="106" y="137"/>
                </a:lnTo>
                <a:lnTo>
                  <a:pt x="106" y="135"/>
                </a:lnTo>
                <a:lnTo>
                  <a:pt x="105" y="135"/>
                </a:lnTo>
                <a:lnTo>
                  <a:pt x="102" y="137"/>
                </a:lnTo>
                <a:lnTo>
                  <a:pt x="100" y="137"/>
                </a:lnTo>
                <a:lnTo>
                  <a:pt x="100" y="136"/>
                </a:lnTo>
                <a:lnTo>
                  <a:pt x="99" y="136"/>
                </a:lnTo>
                <a:lnTo>
                  <a:pt x="99" y="134"/>
                </a:lnTo>
                <a:lnTo>
                  <a:pt x="100" y="133"/>
                </a:lnTo>
                <a:lnTo>
                  <a:pt x="102" y="128"/>
                </a:lnTo>
                <a:lnTo>
                  <a:pt x="102" y="123"/>
                </a:lnTo>
                <a:lnTo>
                  <a:pt x="104" y="122"/>
                </a:lnTo>
                <a:lnTo>
                  <a:pt x="104" y="121"/>
                </a:lnTo>
                <a:lnTo>
                  <a:pt x="106" y="120"/>
                </a:lnTo>
                <a:lnTo>
                  <a:pt x="107" y="120"/>
                </a:lnTo>
                <a:lnTo>
                  <a:pt x="108" y="118"/>
                </a:lnTo>
                <a:lnTo>
                  <a:pt x="108" y="115"/>
                </a:lnTo>
                <a:lnTo>
                  <a:pt x="107" y="112"/>
                </a:lnTo>
                <a:lnTo>
                  <a:pt x="107" y="102"/>
                </a:lnTo>
                <a:lnTo>
                  <a:pt x="108" y="100"/>
                </a:lnTo>
                <a:lnTo>
                  <a:pt x="110" y="100"/>
                </a:lnTo>
                <a:lnTo>
                  <a:pt x="110" y="96"/>
                </a:lnTo>
                <a:lnTo>
                  <a:pt x="111" y="94"/>
                </a:lnTo>
                <a:lnTo>
                  <a:pt x="112" y="94"/>
                </a:lnTo>
                <a:lnTo>
                  <a:pt x="112" y="93"/>
                </a:lnTo>
                <a:lnTo>
                  <a:pt x="113" y="92"/>
                </a:lnTo>
                <a:lnTo>
                  <a:pt x="113" y="91"/>
                </a:lnTo>
                <a:lnTo>
                  <a:pt x="116" y="90"/>
                </a:lnTo>
                <a:lnTo>
                  <a:pt x="118" y="91"/>
                </a:lnTo>
                <a:lnTo>
                  <a:pt x="123" y="90"/>
                </a:lnTo>
                <a:lnTo>
                  <a:pt x="125" y="89"/>
                </a:lnTo>
                <a:lnTo>
                  <a:pt x="125" y="87"/>
                </a:lnTo>
                <a:lnTo>
                  <a:pt x="126" y="87"/>
                </a:lnTo>
                <a:lnTo>
                  <a:pt x="126" y="86"/>
                </a:lnTo>
                <a:lnTo>
                  <a:pt x="129" y="83"/>
                </a:lnTo>
                <a:lnTo>
                  <a:pt x="129" y="78"/>
                </a:lnTo>
                <a:lnTo>
                  <a:pt x="130" y="75"/>
                </a:lnTo>
                <a:lnTo>
                  <a:pt x="132" y="75"/>
                </a:lnTo>
                <a:lnTo>
                  <a:pt x="137" y="77"/>
                </a:lnTo>
                <a:lnTo>
                  <a:pt x="138" y="77"/>
                </a:lnTo>
                <a:lnTo>
                  <a:pt x="138" y="75"/>
                </a:lnTo>
                <a:lnTo>
                  <a:pt x="139" y="75"/>
                </a:lnTo>
                <a:lnTo>
                  <a:pt x="143" y="78"/>
                </a:lnTo>
                <a:lnTo>
                  <a:pt x="144" y="78"/>
                </a:lnTo>
                <a:lnTo>
                  <a:pt x="145" y="77"/>
                </a:lnTo>
                <a:lnTo>
                  <a:pt x="145" y="72"/>
                </a:lnTo>
                <a:lnTo>
                  <a:pt x="146" y="72"/>
                </a:lnTo>
                <a:lnTo>
                  <a:pt x="146" y="71"/>
                </a:lnTo>
                <a:lnTo>
                  <a:pt x="148" y="69"/>
                </a:lnTo>
                <a:lnTo>
                  <a:pt x="149" y="69"/>
                </a:lnTo>
                <a:lnTo>
                  <a:pt x="150" y="68"/>
                </a:lnTo>
                <a:lnTo>
                  <a:pt x="151" y="68"/>
                </a:lnTo>
                <a:lnTo>
                  <a:pt x="152" y="67"/>
                </a:lnTo>
                <a:lnTo>
                  <a:pt x="152" y="65"/>
                </a:lnTo>
                <a:lnTo>
                  <a:pt x="151" y="65"/>
                </a:lnTo>
                <a:lnTo>
                  <a:pt x="144" y="63"/>
                </a:lnTo>
                <a:lnTo>
                  <a:pt x="141" y="63"/>
                </a:lnTo>
                <a:lnTo>
                  <a:pt x="138" y="62"/>
                </a:lnTo>
                <a:lnTo>
                  <a:pt x="138" y="60"/>
                </a:lnTo>
                <a:lnTo>
                  <a:pt x="139" y="59"/>
                </a:lnTo>
                <a:lnTo>
                  <a:pt x="139" y="57"/>
                </a:lnTo>
                <a:lnTo>
                  <a:pt x="141" y="54"/>
                </a:lnTo>
                <a:lnTo>
                  <a:pt x="142" y="53"/>
                </a:lnTo>
                <a:lnTo>
                  <a:pt x="142" y="47"/>
                </a:lnTo>
                <a:lnTo>
                  <a:pt x="144" y="44"/>
                </a:lnTo>
                <a:lnTo>
                  <a:pt x="144" y="37"/>
                </a:lnTo>
                <a:lnTo>
                  <a:pt x="145" y="35"/>
                </a:lnTo>
                <a:lnTo>
                  <a:pt x="146" y="35"/>
                </a:lnTo>
                <a:lnTo>
                  <a:pt x="149" y="36"/>
                </a:lnTo>
                <a:lnTo>
                  <a:pt x="150" y="36"/>
                </a:lnTo>
                <a:lnTo>
                  <a:pt x="154" y="34"/>
                </a:lnTo>
                <a:lnTo>
                  <a:pt x="155" y="32"/>
                </a:lnTo>
                <a:lnTo>
                  <a:pt x="160" y="25"/>
                </a:lnTo>
                <a:lnTo>
                  <a:pt x="161" y="25"/>
                </a:lnTo>
                <a:lnTo>
                  <a:pt x="166" y="24"/>
                </a:lnTo>
                <a:lnTo>
                  <a:pt x="168" y="24"/>
                </a:lnTo>
                <a:lnTo>
                  <a:pt x="168" y="25"/>
                </a:lnTo>
                <a:lnTo>
                  <a:pt x="172" y="28"/>
                </a:lnTo>
                <a:lnTo>
                  <a:pt x="173" y="28"/>
                </a:lnTo>
                <a:lnTo>
                  <a:pt x="176" y="24"/>
                </a:lnTo>
                <a:lnTo>
                  <a:pt x="179" y="26"/>
                </a:lnTo>
                <a:lnTo>
                  <a:pt x="180" y="26"/>
                </a:lnTo>
                <a:lnTo>
                  <a:pt x="185" y="28"/>
                </a:lnTo>
                <a:lnTo>
                  <a:pt x="186" y="28"/>
                </a:lnTo>
                <a:lnTo>
                  <a:pt x="187" y="26"/>
                </a:lnTo>
                <a:lnTo>
                  <a:pt x="187" y="20"/>
                </a:lnTo>
                <a:lnTo>
                  <a:pt x="188" y="18"/>
                </a:lnTo>
                <a:lnTo>
                  <a:pt x="193" y="14"/>
                </a:lnTo>
                <a:lnTo>
                  <a:pt x="194" y="12"/>
                </a:lnTo>
                <a:lnTo>
                  <a:pt x="194" y="11"/>
                </a:lnTo>
                <a:lnTo>
                  <a:pt x="199" y="6"/>
                </a:lnTo>
                <a:lnTo>
                  <a:pt x="199" y="5"/>
                </a:lnTo>
                <a:lnTo>
                  <a:pt x="200" y="4"/>
                </a:lnTo>
                <a:lnTo>
                  <a:pt x="201" y="4"/>
                </a:lnTo>
                <a:lnTo>
                  <a:pt x="203" y="3"/>
                </a:lnTo>
                <a:lnTo>
                  <a:pt x="204" y="3"/>
                </a:lnTo>
                <a:lnTo>
                  <a:pt x="206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" name="Freeform 55">
            <a:extLst>
              <a:ext uri="{FF2B5EF4-FFF2-40B4-BE49-F238E27FC236}">
                <a16:creationId xmlns:a16="http://schemas.microsoft.com/office/drawing/2014/main" id="{0615CACC-FD57-4BF1-BEC2-C8AF2770B01C}"/>
              </a:ext>
            </a:extLst>
          </p:cNvPr>
          <p:cNvSpPr>
            <a:spLocks noEditPoints="1"/>
          </p:cNvSpPr>
          <p:nvPr/>
        </p:nvSpPr>
        <p:spPr bwMode="auto">
          <a:xfrm>
            <a:off x="3967294" y="5430481"/>
            <a:ext cx="359337" cy="279646"/>
          </a:xfrm>
          <a:custGeom>
            <a:avLst/>
            <a:gdLst/>
            <a:ahLst/>
            <a:cxnLst>
              <a:cxn ang="0">
                <a:pos x="17" y="124"/>
              </a:cxn>
              <a:cxn ang="0">
                <a:pos x="28" y="134"/>
              </a:cxn>
              <a:cxn ang="0">
                <a:pos x="43" y="138"/>
              </a:cxn>
              <a:cxn ang="0">
                <a:pos x="52" y="145"/>
              </a:cxn>
              <a:cxn ang="0">
                <a:pos x="55" y="167"/>
              </a:cxn>
              <a:cxn ang="0">
                <a:pos x="27" y="154"/>
              </a:cxn>
              <a:cxn ang="0">
                <a:pos x="16" y="144"/>
              </a:cxn>
              <a:cxn ang="0">
                <a:pos x="9" y="136"/>
              </a:cxn>
              <a:cxn ang="0">
                <a:pos x="2" y="123"/>
              </a:cxn>
              <a:cxn ang="0">
                <a:pos x="248" y="88"/>
              </a:cxn>
              <a:cxn ang="0">
                <a:pos x="238" y="81"/>
              </a:cxn>
              <a:cxn ang="0">
                <a:pos x="34" y="71"/>
              </a:cxn>
              <a:cxn ang="0">
                <a:pos x="11" y="46"/>
              </a:cxn>
              <a:cxn ang="0">
                <a:pos x="76" y="1"/>
              </a:cxn>
              <a:cxn ang="0">
                <a:pos x="87" y="9"/>
              </a:cxn>
              <a:cxn ang="0">
                <a:pos x="98" y="18"/>
              </a:cxn>
              <a:cxn ang="0">
                <a:pos x="107" y="33"/>
              </a:cxn>
              <a:cxn ang="0">
                <a:pos x="126" y="39"/>
              </a:cxn>
              <a:cxn ang="0">
                <a:pos x="136" y="31"/>
              </a:cxn>
              <a:cxn ang="0">
                <a:pos x="154" y="16"/>
              </a:cxn>
              <a:cxn ang="0">
                <a:pos x="171" y="14"/>
              </a:cxn>
              <a:cxn ang="0">
                <a:pos x="185" y="34"/>
              </a:cxn>
              <a:cxn ang="0">
                <a:pos x="196" y="58"/>
              </a:cxn>
              <a:cxn ang="0">
                <a:pos x="202" y="69"/>
              </a:cxn>
              <a:cxn ang="0">
                <a:pos x="226" y="75"/>
              </a:cxn>
              <a:cxn ang="0">
                <a:pos x="235" y="82"/>
              </a:cxn>
              <a:cxn ang="0">
                <a:pos x="232" y="87"/>
              </a:cxn>
              <a:cxn ang="0">
                <a:pos x="215" y="88"/>
              </a:cxn>
              <a:cxn ang="0">
                <a:pos x="200" y="98"/>
              </a:cxn>
              <a:cxn ang="0">
                <a:pos x="197" y="107"/>
              </a:cxn>
              <a:cxn ang="0">
                <a:pos x="197" y="122"/>
              </a:cxn>
              <a:cxn ang="0">
                <a:pos x="196" y="142"/>
              </a:cxn>
              <a:cxn ang="0">
                <a:pos x="183" y="162"/>
              </a:cxn>
              <a:cxn ang="0">
                <a:pos x="178" y="151"/>
              </a:cxn>
              <a:cxn ang="0">
                <a:pos x="173" y="181"/>
              </a:cxn>
              <a:cxn ang="0">
                <a:pos x="160" y="188"/>
              </a:cxn>
              <a:cxn ang="0">
                <a:pos x="147" y="175"/>
              </a:cxn>
              <a:cxn ang="0">
                <a:pos x="147" y="161"/>
              </a:cxn>
              <a:cxn ang="0">
                <a:pos x="147" y="142"/>
              </a:cxn>
              <a:cxn ang="0">
                <a:pos x="134" y="123"/>
              </a:cxn>
              <a:cxn ang="0">
                <a:pos x="110" y="135"/>
              </a:cxn>
              <a:cxn ang="0">
                <a:pos x="97" y="149"/>
              </a:cxn>
              <a:cxn ang="0">
                <a:pos x="86" y="154"/>
              </a:cxn>
              <a:cxn ang="0">
                <a:pos x="78" y="163"/>
              </a:cxn>
              <a:cxn ang="0">
                <a:pos x="70" y="149"/>
              </a:cxn>
              <a:cxn ang="0">
                <a:pos x="74" y="143"/>
              </a:cxn>
              <a:cxn ang="0">
                <a:pos x="74" y="129"/>
              </a:cxn>
              <a:cxn ang="0">
                <a:pos x="54" y="123"/>
              </a:cxn>
              <a:cxn ang="0">
                <a:pos x="42" y="108"/>
              </a:cxn>
              <a:cxn ang="0">
                <a:pos x="49" y="101"/>
              </a:cxn>
              <a:cxn ang="0">
                <a:pos x="33" y="81"/>
              </a:cxn>
              <a:cxn ang="0">
                <a:pos x="27" y="68"/>
              </a:cxn>
              <a:cxn ang="0">
                <a:pos x="33" y="56"/>
              </a:cxn>
              <a:cxn ang="0">
                <a:pos x="20" y="49"/>
              </a:cxn>
              <a:cxn ang="0">
                <a:pos x="20" y="42"/>
              </a:cxn>
              <a:cxn ang="0">
                <a:pos x="24" y="25"/>
              </a:cxn>
              <a:cxn ang="0">
                <a:pos x="41" y="36"/>
              </a:cxn>
              <a:cxn ang="0">
                <a:pos x="70" y="45"/>
              </a:cxn>
              <a:cxn ang="0">
                <a:pos x="80" y="38"/>
              </a:cxn>
              <a:cxn ang="0">
                <a:pos x="70" y="25"/>
              </a:cxn>
              <a:cxn ang="0">
                <a:pos x="60" y="13"/>
              </a:cxn>
            </a:cxnLst>
            <a:rect l="0" t="0" r="r" b="b"/>
            <a:pathLst>
              <a:path w="248" h="193">
                <a:moveTo>
                  <a:pt x="195" y="143"/>
                </a:moveTo>
                <a:lnTo>
                  <a:pt x="196" y="143"/>
                </a:lnTo>
                <a:lnTo>
                  <a:pt x="196" y="144"/>
                </a:lnTo>
                <a:lnTo>
                  <a:pt x="195" y="143"/>
                </a:lnTo>
                <a:close/>
                <a:moveTo>
                  <a:pt x="10" y="118"/>
                </a:moveTo>
                <a:lnTo>
                  <a:pt x="12" y="118"/>
                </a:lnTo>
                <a:lnTo>
                  <a:pt x="14" y="119"/>
                </a:lnTo>
                <a:lnTo>
                  <a:pt x="16" y="123"/>
                </a:lnTo>
                <a:lnTo>
                  <a:pt x="17" y="124"/>
                </a:lnTo>
                <a:lnTo>
                  <a:pt x="17" y="129"/>
                </a:lnTo>
                <a:lnTo>
                  <a:pt x="20" y="129"/>
                </a:lnTo>
                <a:lnTo>
                  <a:pt x="21" y="128"/>
                </a:lnTo>
                <a:lnTo>
                  <a:pt x="22" y="128"/>
                </a:lnTo>
                <a:lnTo>
                  <a:pt x="23" y="129"/>
                </a:lnTo>
                <a:lnTo>
                  <a:pt x="23" y="130"/>
                </a:lnTo>
                <a:lnTo>
                  <a:pt x="24" y="131"/>
                </a:lnTo>
                <a:lnTo>
                  <a:pt x="27" y="131"/>
                </a:lnTo>
                <a:lnTo>
                  <a:pt x="28" y="134"/>
                </a:lnTo>
                <a:lnTo>
                  <a:pt x="30" y="134"/>
                </a:lnTo>
                <a:lnTo>
                  <a:pt x="30" y="132"/>
                </a:lnTo>
                <a:lnTo>
                  <a:pt x="34" y="131"/>
                </a:lnTo>
                <a:lnTo>
                  <a:pt x="35" y="130"/>
                </a:lnTo>
                <a:lnTo>
                  <a:pt x="41" y="129"/>
                </a:lnTo>
                <a:lnTo>
                  <a:pt x="42" y="129"/>
                </a:lnTo>
                <a:lnTo>
                  <a:pt x="45" y="131"/>
                </a:lnTo>
                <a:lnTo>
                  <a:pt x="45" y="136"/>
                </a:lnTo>
                <a:lnTo>
                  <a:pt x="43" y="138"/>
                </a:lnTo>
                <a:lnTo>
                  <a:pt x="42" y="140"/>
                </a:lnTo>
                <a:lnTo>
                  <a:pt x="42" y="141"/>
                </a:lnTo>
                <a:lnTo>
                  <a:pt x="43" y="141"/>
                </a:lnTo>
                <a:lnTo>
                  <a:pt x="46" y="142"/>
                </a:lnTo>
                <a:lnTo>
                  <a:pt x="47" y="143"/>
                </a:lnTo>
                <a:lnTo>
                  <a:pt x="48" y="143"/>
                </a:lnTo>
                <a:lnTo>
                  <a:pt x="48" y="144"/>
                </a:lnTo>
                <a:lnTo>
                  <a:pt x="51" y="145"/>
                </a:lnTo>
                <a:lnTo>
                  <a:pt x="52" y="145"/>
                </a:lnTo>
                <a:lnTo>
                  <a:pt x="52" y="148"/>
                </a:lnTo>
                <a:lnTo>
                  <a:pt x="51" y="149"/>
                </a:lnTo>
                <a:lnTo>
                  <a:pt x="51" y="151"/>
                </a:lnTo>
                <a:lnTo>
                  <a:pt x="52" y="153"/>
                </a:lnTo>
                <a:lnTo>
                  <a:pt x="53" y="155"/>
                </a:lnTo>
                <a:lnTo>
                  <a:pt x="54" y="156"/>
                </a:lnTo>
                <a:lnTo>
                  <a:pt x="57" y="162"/>
                </a:lnTo>
                <a:lnTo>
                  <a:pt x="59" y="167"/>
                </a:lnTo>
                <a:lnTo>
                  <a:pt x="55" y="167"/>
                </a:lnTo>
                <a:lnTo>
                  <a:pt x="53" y="166"/>
                </a:lnTo>
                <a:lnTo>
                  <a:pt x="43" y="163"/>
                </a:lnTo>
                <a:lnTo>
                  <a:pt x="41" y="162"/>
                </a:lnTo>
                <a:lnTo>
                  <a:pt x="33" y="162"/>
                </a:lnTo>
                <a:lnTo>
                  <a:pt x="30" y="160"/>
                </a:lnTo>
                <a:lnTo>
                  <a:pt x="29" y="160"/>
                </a:lnTo>
                <a:lnTo>
                  <a:pt x="29" y="156"/>
                </a:lnTo>
                <a:lnTo>
                  <a:pt x="27" y="156"/>
                </a:lnTo>
                <a:lnTo>
                  <a:pt x="27" y="154"/>
                </a:lnTo>
                <a:lnTo>
                  <a:pt x="26" y="154"/>
                </a:lnTo>
                <a:lnTo>
                  <a:pt x="26" y="151"/>
                </a:lnTo>
                <a:lnTo>
                  <a:pt x="24" y="150"/>
                </a:lnTo>
                <a:lnTo>
                  <a:pt x="23" y="150"/>
                </a:lnTo>
                <a:lnTo>
                  <a:pt x="24" y="149"/>
                </a:lnTo>
                <a:lnTo>
                  <a:pt x="22" y="149"/>
                </a:lnTo>
                <a:lnTo>
                  <a:pt x="18" y="148"/>
                </a:lnTo>
                <a:lnTo>
                  <a:pt x="17" y="148"/>
                </a:lnTo>
                <a:lnTo>
                  <a:pt x="16" y="144"/>
                </a:lnTo>
                <a:lnTo>
                  <a:pt x="15" y="143"/>
                </a:lnTo>
                <a:lnTo>
                  <a:pt x="15" y="141"/>
                </a:lnTo>
                <a:lnTo>
                  <a:pt x="14" y="141"/>
                </a:lnTo>
                <a:lnTo>
                  <a:pt x="14" y="140"/>
                </a:lnTo>
                <a:lnTo>
                  <a:pt x="12" y="140"/>
                </a:lnTo>
                <a:lnTo>
                  <a:pt x="11" y="138"/>
                </a:lnTo>
                <a:lnTo>
                  <a:pt x="11" y="137"/>
                </a:lnTo>
                <a:lnTo>
                  <a:pt x="10" y="137"/>
                </a:lnTo>
                <a:lnTo>
                  <a:pt x="9" y="136"/>
                </a:lnTo>
                <a:lnTo>
                  <a:pt x="9" y="135"/>
                </a:lnTo>
                <a:lnTo>
                  <a:pt x="8" y="135"/>
                </a:lnTo>
                <a:lnTo>
                  <a:pt x="8" y="134"/>
                </a:lnTo>
                <a:lnTo>
                  <a:pt x="6" y="128"/>
                </a:lnTo>
                <a:lnTo>
                  <a:pt x="5" y="128"/>
                </a:lnTo>
                <a:lnTo>
                  <a:pt x="5" y="126"/>
                </a:lnTo>
                <a:lnTo>
                  <a:pt x="4" y="126"/>
                </a:lnTo>
                <a:lnTo>
                  <a:pt x="2" y="124"/>
                </a:lnTo>
                <a:lnTo>
                  <a:pt x="2" y="123"/>
                </a:lnTo>
                <a:lnTo>
                  <a:pt x="0" y="122"/>
                </a:lnTo>
                <a:lnTo>
                  <a:pt x="2" y="122"/>
                </a:lnTo>
                <a:lnTo>
                  <a:pt x="4" y="120"/>
                </a:lnTo>
                <a:lnTo>
                  <a:pt x="9" y="120"/>
                </a:lnTo>
                <a:lnTo>
                  <a:pt x="9" y="119"/>
                </a:lnTo>
                <a:lnTo>
                  <a:pt x="10" y="118"/>
                </a:lnTo>
                <a:close/>
                <a:moveTo>
                  <a:pt x="245" y="87"/>
                </a:moveTo>
                <a:lnTo>
                  <a:pt x="247" y="87"/>
                </a:lnTo>
                <a:lnTo>
                  <a:pt x="248" y="88"/>
                </a:lnTo>
                <a:lnTo>
                  <a:pt x="247" y="89"/>
                </a:lnTo>
                <a:lnTo>
                  <a:pt x="247" y="88"/>
                </a:lnTo>
                <a:lnTo>
                  <a:pt x="246" y="89"/>
                </a:lnTo>
                <a:lnTo>
                  <a:pt x="246" y="88"/>
                </a:lnTo>
                <a:lnTo>
                  <a:pt x="245" y="87"/>
                </a:lnTo>
                <a:close/>
                <a:moveTo>
                  <a:pt x="235" y="79"/>
                </a:moveTo>
                <a:lnTo>
                  <a:pt x="236" y="79"/>
                </a:lnTo>
                <a:lnTo>
                  <a:pt x="236" y="80"/>
                </a:lnTo>
                <a:lnTo>
                  <a:pt x="238" y="81"/>
                </a:lnTo>
                <a:lnTo>
                  <a:pt x="238" y="83"/>
                </a:lnTo>
                <a:lnTo>
                  <a:pt x="236" y="83"/>
                </a:lnTo>
                <a:lnTo>
                  <a:pt x="236" y="82"/>
                </a:lnTo>
                <a:lnTo>
                  <a:pt x="235" y="80"/>
                </a:lnTo>
                <a:lnTo>
                  <a:pt x="235" y="79"/>
                </a:lnTo>
                <a:close/>
                <a:moveTo>
                  <a:pt x="30" y="69"/>
                </a:moveTo>
                <a:lnTo>
                  <a:pt x="30" y="71"/>
                </a:lnTo>
                <a:lnTo>
                  <a:pt x="33" y="73"/>
                </a:lnTo>
                <a:lnTo>
                  <a:pt x="34" y="71"/>
                </a:lnTo>
                <a:lnTo>
                  <a:pt x="34" y="69"/>
                </a:lnTo>
                <a:lnTo>
                  <a:pt x="30" y="69"/>
                </a:lnTo>
                <a:close/>
                <a:moveTo>
                  <a:pt x="18" y="50"/>
                </a:moveTo>
                <a:lnTo>
                  <a:pt x="20" y="51"/>
                </a:lnTo>
                <a:lnTo>
                  <a:pt x="20" y="52"/>
                </a:lnTo>
                <a:lnTo>
                  <a:pt x="18" y="51"/>
                </a:lnTo>
                <a:lnTo>
                  <a:pt x="18" y="50"/>
                </a:lnTo>
                <a:close/>
                <a:moveTo>
                  <a:pt x="10" y="45"/>
                </a:moveTo>
                <a:lnTo>
                  <a:pt x="11" y="46"/>
                </a:lnTo>
                <a:lnTo>
                  <a:pt x="11" y="49"/>
                </a:lnTo>
                <a:lnTo>
                  <a:pt x="10" y="49"/>
                </a:lnTo>
                <a:lnTo>
                  <a:pt x="9" y="48"/>
                </a:lnTo>
                <a:lnTo>
                  <a:pt x="9" y="46"/>
                </a:lnTo>
                <a:lnTo>
                  <a:pt x="10" y="45"/>
                </a:lnTo>
                <a:close/>
                <a:moveTo>
                  <a:pt x="71" y="0"/>
                </a:moveTo>
                <a:lnTo>
                  <a:pt x="73" y="0"/>
                </a:lnTo>
                <a:lnTo>
                  <a:pt x="74" y="1"/>
                </a:lnTo>
                <a:lnTo>
                  <a:pt x="76" y="1"/>
                </a:lnTo>
                <a:lnTo>
                  <a:pt x="76" y="6"/>
                </a:lnTo>
                <a:lnTo>
                  <a:pt x="78" y="6"/>
                </a:lnTo>
                <a:lnTo>
                  <a:pt x="80" y="3"/>
                </a:lnTo>
                <a:lnTo>
                  <a:pt x="83" y="3"/>
                </a:lnTo>
                <a:lnTo>
                  <a:pt x="84" y="2"/>
                </a:lnTo>
                <a:lnTo>
                  <a:pt x="84" y="3"/>
                </a:lnTo>
                <a:lnTo>
                  <a:pt x="85" y="5"/>
                </a:lnTo>
                <a:lnTo>
                  <a:pt x="85" y="7"/>
                </a:lnTo>
                <a:lnTo>
                  <a:pt x="87" y="9"/>
                </a:lnTo>
                <a:lnTo>
                  <a:pt x="90" y="9"/>
                </a:lnTo>
                <a:lnTo>
                  <a:pt x="91" y="11"/>
                </a:lnTo>
                <a:lnTo>
                  <a:pt x="91" y="12"/>
                </a:lnTo>
                <a:lnTo>
                  <a:pt x="93" y="14"/>
                </a:lnTo>
                <a:lnTo>
                  <a:pt x="95" y="16"/>
                </a:lnTo>
                <a:lnTo>
                  <a:pt x="96" y="18"/>
                </a:lnTo>
                <a:lnTo>
                  <a:pt x="96" y="19"/>
                </a:lnTo>
                <a:lnTo>
                  <a:pt x="98" y="19"/>
                </a:lnTo>
                <a:lnTo>
                  <a:pt x="98" y="18"/>
                </a:lnTo>
                <a:lnTo>
                  <a:pt x="101" y="18"/>
                </a:lnTo>
                <a:lnTo>
                  <a:pt x="101" y="20"/>
                </a:lnTo>
                <a:lnTo>
                  <a:pt x="102" y="21"/>
                </a:lnTo>
                <a:lnTo>
                  <a:pt x="102" y="22"/>
                </a:lnTo>
                <a:lnTo>
                  <a:pt x="103" y="22"/>
                </a:lnTo>
                <a:lnTo>
                  <a:pt x="103" y="25"/>
                </a:lnTo>
                <a:lnTo>
                  <a:pt x="105" y="27"/>
                </a:lnTo>
                <a:lnTo>
                  <a:pt x="105" y="32"/>
                </a:lnTo>
                <a:lnTo>
                  <a:pt x="107" y="33"/>
                </a:lnTo>
                <a:lnTo>
                  <a:pt x="109" y="34"/>
                </a:lnTo>
                <a:lnTo>
                  <a:pt x="110" y="36"/>
                </a:lnTo>
                <a:lnTo>
                  <a:pt x="115" y="36"/>
                </a:lnTo>
                <a:lnTo>
                  <a:pt x="117" y="38"/>
                </a:lnTo>
                <a:lnTo>
                  <a:pt x="121" y="38"/>
                </a:lnTo>
                <a:lnTo>
                  <a:pt x="121" y="37"/>
                </a:lnTo>
                <a:lnTo>
                  <a:pt x="122" y="37"/>
                </a:lnTo>
                <a:lnTo>
                  <a:pt x="124" y="38"/>
                </a:lnTo>
                <a:lnTo>
                  <a:pt x="126" y="39"/>
                </a:lnTo>
                <a:lnTo>
                  <a:pt x="130" y="39"/>
                </a:lnTo>
                <a:lnTo>
                  <a:pt x="132" y="38"/>
                </a:lnTo>
                <a:lnTo>
                  <a:pt x="133" y="38"/>
                </a:lnTo>
                <a:lnTo>
                  <a:pt x="133" y="33"/>
                </a:lnTo>
                <a:lnTo>
                  <a:pt x="134" y="33"/>
                </a:lnTo>
                <a:lnTo>
                  <a:pt x="134" y="32"/>
                </a:lnTo>
                <a:lnTo>
                  <a:pt x="135" y="31"/>
                </a:lnTo>
                <a:lnTo>
                  <a:pt x="135" y="30"/>
                </a:lnTo>
                <a:lnTo>
                  <a:pt x="136" y="31"/>
                </a:lnTo>
                <a:lnTo>
                  <a:pt x="138" y="30"/>
                </a:lnTo>
                <a:lnTo>
                  <a:pt x="139" y="26"/>
                </a:lnTo>
                <a:lnTo>
                  <a:pt x="140" y="24"/>
                </a:lnTo>
                <a:lnTo>
                  <a:pt x="141" y="24"/>
                </a:lnTo>
                <a:lnTo>
                  <a:pt x="146" y="22"/>
                </a:lnTo>
                <a:lnTo>
                  <a:pt x="147" y="21"/>
                </a:lnTo>
                <a:lnTo>
                  <a:pt x="149" y="20"/>
                </a:lnTo>
                <a:lnTo>
                  <a:pt x="153" y="18"/>
                </a:lnTo>
                <a:lnTo>
                  <a:pt x="154" y="16"/>
                </a:lnTo>
                <a:lnTo>
                  <a:pt x="154" y="15"/>
                </a:lnTo>
                <a:lnTo>
                  <a:pt x="157" y="9"/>
                </a:lnTo>
                <a:lnTo>
                  <a:pt x="161" y="2"/>
                </a:lnTo>
                <a:lnTo>
                  <a:pt x="161" y="3"/>
                </a:lnTo>
                <a:lnTo>
                  <a:pt x="164" y="3"/>
                </a:lnTo>
                <a:lnTo>
                  <a:pt x="165" y="5"/>
                </a:lnTo>
                <a:lnTo>
                  <a:pt x="169" y="11"/>
                </a:lnTo>
                <a:lnTo>
                  <a:pt x="171" y="13"/>
                </a:lnTo>
                <a:lnTo>
                  <a:pt x="171" y="14"/>
                </a:lnTo>
                <a:lnTo>
                  <a:pt x="173" y="18"/>
                </a:lnTo>
                <a:lnTo>
                  <a:pt x="176" y="20"/>
                </a:lnTo>
                <a:lnTo>
                  <a:pt x="176" y="21"/>
                </a:lnTo>
                <a:lnTo>
                  <a:pt x="177" y="21"/>
                </a:lnTo>
                <a:lnTo>
                  <a:pt x="177" y="22"/>
                </a:lnTo>
                <a:lnTo>
                  <a:pt x="182" y="27"/>
                </a:lnTo>
                <a:lnTo>
                  <a:pt x="183" y="30"/>
                </a:lnTo>
                <a:lnTo>
                  <a:pt x="184" y="33"/>
                </a:lnTo>
                <a:lnTo>
                  <a:pt x="185" y="34"/>
                </a:lnTo>
                <a:lnTo>
                  <a:pt x="185" y="40"/>
                </a:lnTo>
                <a:lnTo>
                  <a:pt x="186" y="42"/>
                </a:lnTo>
                <a:lnTo>
                  <a:pt x="186" y="43"/>
                </a:lnTo>
                <a:lnTo>
                  <a:pt x="188" y="46"/>
                </a:lnTo>
                <a:lnTo>
                  <a:pt x="190" y="50"/>
                </a:lnTo>
                <a:lnTo>
                  <a:pt x="195" y="56"/>
                </a:lnTo>
                <a:lnTo>
                  <a:pt x="195" y="57"/>
                </a:lnTo>
                <a:lnTo>
                  <a:pt x="196" y="57"/>
                </a:lnTo>
                <a:lnTo>
                  <a:pt x="196" y="58"/>
                </a:lnTo>
                <a:lnTo>
                  <a:pt x="198" y="59"/>
                </a:lnTo>
                <a:lnTo>
                  <a:pt x="200" y="59"/>
                </a:lnTo>
                <a:lnTo>
                  <a:pt x="201" y="61"/>
                </a:lnTo>
                <a:lnTo>
                  <a:pt x="202" y="61"/>
                </a:lnTo>
                <a:lnTo>
                  <a:pt x="202" y="63"/>
                </a:lnTo>
                <a:lnTo>
                  <a:pt x="201" y="65"/>
                </a:lnTo>
                <a:lnTo>
                  <a:pt x="201" y="68"/>
                </a:lnTo>
                <a:lnTo>
                  <a:pt x="202" y="68"/>
                </a:lnTo>
                <a:lnTo>
                  <a:pt x="202" y="69"/>
                </a:lnTo>
                <a:lnTo>
                  <a:pt x="204" y="71"/>
                </a:lnTo>
                <a:lnTo>
                  <a:pt x="208" y="71"/>
                </a:lnTo>
                <a:lnTo>
                  <a:pt x="210" y="74"/>
                </a:lnTo>
                <a:lnTo>
                  <a:pt x="215" y="74"/>
                </a:lnTo>
                <a:lnTo>
                  <a:pt x="217" y="73"/>
                </a:lnTo>
                <a:lnTo>
                  <a:pt x="223" y="73"/>
                </a:lnTo>
                <a:lnTo>
                  <a:pt x="225" y="74"/>
                </a:lnTo>
                <a:lnTo>
                  <a:pt x="225" y="75"/>
                </a:lnTo>
                <a:lnTo>
                  <a:pt x="226" y="75"/>
                </a:lnTo>
                <a:lnTo>
                  <a:pt x="226" y="76"/>
                </a:lnTo>
                <a:lnTo>
                  <a:pt x="227" y="76"/>
                </a:lnTo>
                <a:lnTo>
                  <a:pt x="231" y="77"/>
                </a:lnTo>
                <a:lnTo>
                  <a:pt x="232" y="77"/>
                </a:lnTo>
                <a:lnTo>
                  <a:pt x="232" y="79"/>
                </a:lnTo>
                <a:lnTo>
                  <a:pt x="233" y="80"/>
                </a:lnTo>
                <a:lnTo>
                  <a:pt x="233" y="81"/>
                </a:lnTo>
                <a:lnTo>
                  <a:pt x="234" y="82"/>
                </a:lnTo>
                <a:lnTo>
                  <a:pt x="235" y="82"/>
                </a:lnTo>
                <a:lnTo>
                  <a:pt x="235" y="83"/>
                </a:lnTo>
                <a:lnTo>
                  <a:pt x="236" y="85"/>
                </a:lnTo>
                <a:lnTo>
                  <a:pt x="236" y="86"/>
                </a:lnTo>
                <a:lnTo>
                  <a:pt x="238" y="89"/>
                </a:lnTo>
                <a:lnTo>
                  <a:pt x="238" y="93"/>
                </a:lnTo>
                <a:lnTo>
                  <a:pt x="236" y="92"/>
                </a:lnTo>
                <a:lnTo>
                  <a:pt x="236" y="91"/>
                </a:lnTo>
                <a:lnTo>
                  <a:pt x="233" y="87"/>
                </a:lnTo>
                <a:lnTo>
                  <a:pt x="232" y="87"/>
                </a:lnTo>
                <a:lnTo>
                  <a:pt x="229" y="86"/>
                </a:lnTo>
                <a:lnTo>
                  <a:pt x="223" y="86"/>
                </a:lnTo>
                <a:lnTo>
                  <a:pt x="222" y="87"/>
                </a:lnTo>
                <a:lnTo>
                  <a:pt x="220" y="87"/>
                </a:lnTo>
                <a:lnTo>
                  <a:pt x="220" y="86"/>
                </a:lnTo>
                <a:lnTo>
                  <a:pt x="219" y="86"/>
                </a:lnTo>
                <a:lnTo>
                  <a:pt x="217" y="85"/>
                </a:lnTo>
                <a:lnTo>
                  <a:pt x="215" y="87"/>
                </a:lnTo>
                <a:lnTo>
                  <a:pt x="215" y="88"/>
                </a:lnTo>
                <a:lnTo>
                  <a:pt x="213" y="91"/>
                </a:lnTo>
                <a:lnTo>
                  <a:pt x="209" y="91"/>
                </a:lnTo>
                <a:lnTo>
                  <a:pt x="207" y="92"/>
                </a:lnTo>
                <a:lnTo>
                  <a:pt x="203" y="93"/>
                </a:lnTo>
                <a:lnTo>
                  <a:pt x="203" y="94"/>
                </a:lnTo>
                <a:lnTo>
                  <a:pt x="201" y="95"/>
                </a:lnTo>
                <a:lnTo>
                  <a:pt x="201" y="97"/>
                </a:lnTo>
                <a:lnTo>
                  <a:pt x="200" y="97"/>
                </a:lnTo>
                <a:lnTo>
                  <a:pt x="200" y="98"/>
                </a:lnTo>
                <a:lnTo>
                  <a:pt x="201" y="100"/>
                </a:lnTo>
                <a:lnTo>
                  <a:pt x="198" y="101"/>
                </a:lnTo>
                <a:lnTo>
                  <a:pt x="197" y="102"/>
                </a:lnTo>
                <a:lnTo>
                  <a:pt x="198" y="104"/>
                </a:lnTo>
                <a:lnTo>
                  <a:pt x="198" y="105"/>
                </a:lnTo>
                <a:lnTo>
                  <a:pt x="200" y="105"/>
                </a:lnTo>
                <a:lnTo>
                  <a:pt x="200" y="106"/>
                </a:lnTo>
                <a:lnTo>
                  <a:pt x="198" y="107"/>
                </a:lnTo>
                <a:lnTo>
                  <a:pt x="197" y="107"/>
                </a:lnTo>
                <a:lnTo>
                  <a:pt x="197" y="111"/>
                </a:lnTo>
                <a:lnTo>
                  <a:pt x="198" y="112"/>
                </a:lnTo>
                <a:lnTo>
                  <a:pt x="198" y="113"/>
                </a:lnTo>
                <a:lnTo>
                  <a:pt x="197" y="113"/>
                </a:lnTo>
                <a:lnTo>
                  <a:pt x="197" y="116"/>
                </a:lnTo>
                <a:lnTo>
                  <a:pt x="196" y="117"/>
                </a:lnTo>
                <a:lnTo>
                  <a:pt x="196" y="119"/>
                </a:lnTo>
                <a:lnTo>
                  <a:pt x="197" y="120"/>
                </a:lnTo>
                <a:lnTo>
                  <a:pt x="197" y="122"/>
                </a:lnTo>
                <a:lnTo>
                  <a:pt x="192" y="126"/>
                </a:lnTo>
                <a:lnTo>
                  <a:pt x="192" y="129"/>
                </a:lnTo>
                <a:lnTo>
                  <a:pt x="191" y="130"/>
                </a:lnTo>
                <a:lnTo>
                  <a:pt x="191" y="134"/>
                </a:lnTo>
                <a:lnTo>
                  <a:pt x="196" y="137"/>
                </a:lnTo>
                <a:lnTo>
                  <a:pt x="196" y="138"/>
                </a:lnTo>
                <a:lnTo>
                  <a:pt x="197" y="140"/>
                </a:lnTo>
                <a:lnTo>
                  <a:pt x="196" y="140"/>
                </a:lnTo>
                <a:lnTo>
                  <a:pt x="196" y="142"/>
                </a:lnTo>
                <a:lnTo>
                  <a:pt x="195" y="142"/>
                </a:lnTo>
                <a:lnTo>
                  <a:pt x="195" y="143"/>
                </a:lnTo>
                <a:lnTo>
                  <a:pt x="192" y="141"/>
                </a:lnTo>
                <a:lnTo>
                  <a:pt x="189" y="144"/>
                </a:lnTo>
                <a:lnTo>
                  <a:pt x="189" y="154"/>
                </a:lnTo>
                <a:lnTo>
                  <a:pt x="188" y="155"/>
                </a:lnTo>
                <a:lnTo>
                  <a:pt x="188" y="159"/>
                </a:lnTo>
                <a:lnTo>
                  <a:pt x="184" y="161"/>
                </a:lnTo>
                <a:lnTo>
                  <a:pt x="183" y="162"/>
                </a:lnTo>
                <a:lnTo>
                  <a:pt x="182" y="161"/>
                </a:lnTo>
                <a:lnTo>
                  <a:pt x="182" y="159"/>
                </a:lnTo>
                <a:lnTo>
                  <a:pt x="184" y="159"/>
                </a:lnTo>
                <a:lnTo>
                  <a:pt x="185" y="157"/>
                </a:lnTo>
                <a:lnTo>
                  <a:pt x="185" y="154"/>
                </a:lnTo>
                <a:lnTo>
                  <a:pt x="182" y="154"/>
                </a:lnTo>
                <a:lnTo>
                  <a:pt x="182" y="150"/>
                </a:lnTo>
                <a:lnTo>
                  <a:pt x="178" y="150"/>
                </a:lnTo>
                <a:lnTo>
                  <a:pt x="178" y="151"/>
                </a:lnTo>
                <a:lnTo>
                  <a:pt x="177" y="151"/>
                </a:lnTo>
                <a:lnTo>
                  <a:pt x="177" y="160"/>
                </a:lnTo>
                <a:lnTo>
                  <a:pt x="176" y="163"/>
                </a:lnTo>
                <a:lnTo>
                  <a:pt x="174" y="166"/>
                </a:lnTo>
                <a:lnTo>
                  <a:pt x="173" y="167"/>
                </a:lnTo>
                <a:lnTo>
                  <a:pt x="172" y="167"/>
                </a:lnTo>
                <a:lnTo>
                  <a:pt x="172" y="171"/>
                </a:lnTo>
                <a:lnTo>
                  <a:pt x="173" y="173"/>
                </a:lnTo>
                <a:lnTo>
                  <a:pt x="173" y="181"/>
                </a:lnTo>
                <a:lnTo>
                  <a:pt x="174" y="191"/>
                </a:lnTo>
                <a:lnTo>
                  <a:pt x="171" y="190"/>
                </a:lnTo>
                <a:lnTo>
                  <a:pt x="170" y="190"/>
                </a:lnTo>
                <a:lnTo>
                  <a:pt x="167" y="192"/>
                </a:lnTo>
                <a:lnTo>
                  <a:pt x="166" y="192"/>
                </a:lnTo>
                <a:lnTo>
                  <a:pt x="165" y="193"/>
                </a:lnTo>
                <a:lnTo>
                  <a:pt x="163" y="192"/>
                </a:lnTo>
                <a:lnTo>
                  <a:pt x="160" y="190"/>
                </a:lnTo>
                <a:lnTo>
                  <a:pt x="160" y="188"/>
                </a:lnTo>
                <a:lnTo>
                  <a:pt x="155" y="184"/>
                </a:lnTo>
                <a:lnTo>
                  <a:pt x="155" y="181"/>
                </a:lnTo>
                <a:lnTo>
                  <a:pt x="154" y="180"/>
                </a:lnTo>
                <a:lnTo>
                  <a:pt x="153" y="180"/>
                </a:lnTo>
                <a:lnTo>
                  <a:pt x="152" y="181"/>
                </a:lnTo>
                <a:lnTo>
                  <a:pt x="149" y="181"/>
                </a:lnTo>
                <a:lnTo>
                  <a:pt x="148" y="180"/>
                </a:lnTo>
                <a:lnTo>
                  <a:pt x="147" y="178"/>
                </a:lnTo>
                <a:lnTo>
                  <a:pt x="147" y="175"/>
                </a:lnTo>
                <a:lnTo>
                  <a:pt x="146" y="174"/>
                </a:lnTo>
                <a:lnTo>
                  <a:pt x="140" y="172"/>
                </a:lnTo>
                <a:lnTo>
                  <a:pt x="136" y="168"/>
                </a:lnTo>
                <a:lnTo>
                  <a:pt x="136" y="166"/>
                </a:lnTo>
                <a:lnTo>
                  <a:pt x="138" y="166"/>
                </a:lnTo>
                <a:lnTo>
                  <a:pt x="139" y="163"/>
                </a:lnTo>
                <a:lnTo>
                  <a:pt x="140" y="163"/>
                </a:lnTo>
                <a:lnTo>
                  <a:pt x="140" y="162"/>
                </a:lnTo>
                <a:lnTo>
                  <a:pt x="147" y="161"/>
                </a:lnTo>
                <a:lnTo>
                  <a:pt x="149" y="160"/>
                </a:lnTo>
                <a:lnTo>
                  <a:pt x="149" y="156"/>
                </a:lnTo>
                <a:lnTo>
                  <a:pt x="148" y="154"/>
                </a:lnTo>
                <a:lnTo>
                  <a:pt x="146" y="153"/>
                </a:lnTo>
                <a:lnTo>
                  <a:pt x="142" y="149"/>
                </a:lnTo>
                <a:lnTo>
                  <a:pt x="141" y="147"/>
                </a:lnTo>
                <a:lnTo>
                  <a:pt x="141" y="145"/>
                </a:lnTo>
                <a:lnTo>
                  <a:pt x="145" y="142"/>
                </a:lnTo>
                <a:lnTo>
                  <a:pt x="147" y="142"/>
                </a:lnTo>
                <a:lnTo>
                  <a:pt x="149" y="140"/>
                </a:lnTo>
                <a:lnTo>
                  <a:pt x="152" y="140"/>
                </a:lnTo>
                <a:lnTo>
                  <a:pt x="151" y="137"/>
                </a:lnTo>
                <a:lnTo>
                  <a:pt x="149" y="136"/>
                </a:lnTo>
                <a:lnTo>
                  <a:pt x="146" y="134"/>
                </a:lnTo>
                <a:lnTo>
                  <a:pt x="139" y="124"/>
                </a:lnTo>
                <a:lnTo>
                  <a:pt x="136" y="122"/>
                </a:lnTo>
                <a:lnTo>
                  <a:pt x="135" y="122"/>
                </a:lnTo>
                <a:lnTo>
                  <a:pt x="134" y="123"/>
                </a:lnTo>
                <a:lnTo>
                  <a:pt x="129" y="123"/>
                </a:lnTo>
                <a:lnTo>
                  <a:pt x="129" y="124"/>
                </a:lnTo>
                <a:lnTo>
                  <a:pt x="128" y="124"/>
                </a:lnTo>
                <a:lnTo>
                  <a:pt x="127" y="126"/>
                </a:lnTo>
                <a:lnTo>
                  <a:pt x="121" y="129"/>
                </a:lnTo>
                <a:lnTo>
                  <a:pt x="117" y="132"/>
                </a:lnTo>
                <a:lnTo>
                  <a:pt x="114" y="134"/>
                </a:lnTo>
                <a:lnTo>
                  <a:pt x="113" y="134"/>
                </a:lnTo>
                <a:lnTo>
                  <a:pt x="110" y="135"/>
                </a:lnTo>
                <a:lnTo>
                  <a:pt x="109" y="138"/>
                </a:lnTo>
                <a:lnTo>
                  <a:pt x="108" y="140"/>
                </a:lnTo>
                <a:lnTo>
                  <a:pt x="105" y="140"/>
                </a:lnTo>
                <a:lnTo>
                  <a:pt x="105" y="141"/>
                </a:lnTo>
                <a:lnTo>
                  <a:pt x="102" y="142"/>
                </a:lnTo>
                <a:lnTo>
                  <a:pt x="99" y="143"/>
                </a:lnTo>
                <a:lnTo>
                  <a:pt x="98" y="144"/>
                </a:lnTo>
                <a:lnTo>
                  <a:pt x="97" y="147"/>
                </a:lnTo>
                <a:lnTo>
                  <a:pt x="97" y="149"/>
                </a:lnTo>
                <a:lnTo>
                  <a:pt x="96" y="149"/>
                </a:lnTo>
                <a:lnTo>
                  <a:pt x="96" y="150"/>
                </a:lnTo>
                <a:lnTo>
                  <a:pt x="93" y="151"/>
                </a:lnTo>
                <a:lnTo>
                  <a:pt x="92" y="151"/>
                </a:lnTo>
                <a:lnTo>
                  <a:pt x="91" y="150"/>
                </a:lnTo>
                <a:lnTo>
                  <a:pt x="90" y="150"/>
                </a:lnTo>
                <a:lnTo>
                  <a:pt x="87" y="153"/>
                </a:lnTo>
                <a:lnTo>
                  <a:pt x="87" y="154"/>
                </a:lnTo>
                <a:lnTo>
                  <a:pt x="86" y="154"/>
                </a:lnTo>
                <a:lnTo>
                  <a:pt x="86" y="155"/>
                </a:lnTo>
                <a:lnTo>
                  <a:pt x="85" y="155"/>
                </a:lnTo>
                <a:lnTo>
                  <a:pt x="85" y="156"/>
                </a:lnTo>
                <a:lnTo>
                  <a:pt x="84" y="157"/>
                </a:lnTo>
                <a:lnTo>
                  <a:pt x="84" y="159"/>
                </a:lnTo>
                <a:lnTo>
                  <a:pt x="82" y="160"/>
                </a:lnTo>
                <a:lnTo>
                  <a:pt x="80" y="160"/>
                </a:lnTo>
                <a:lnTo>
                  <a:pt x="79" y="161"/>
                </a:lnTo>
                <a:lnTo>
                  <a:pt x="78" y="163"/>
                </a:lnTo>
                <a:lnTo>
                  <a:pt x="78" y="165"/>
                </a:lnTo>
                <a:lnTo>
                  <a:pt x="77" y="166"/>
                </a:lnTo>
                <a:lnTo>
                  <a:pt x="74" y="166"/>
                </a:lnTo>
                <a:lnTo>
                  <a:pt x="73" y="163"/>
                </a:lnTo>
                <a:lnTo>
                  <a:pt x="73" y="154"/>
                </a:lnTo>
                <a:lnTo>
                  <a:pt x="72" y="153"/>
                </a:lnTo>
                <a:lnTo>
                  <a:pt x="71" y="153"/>
                </a:lnTo>
                <a:lnTo>
                  <a:pt x="70" y="151"/>
                </a:lnTo>
                <a:lnTo>
                  <a:pt x="70" y="149"/>
                </a:lnTo>
                <a:lnTo>
                  <a:pt x="71" y="148"/>
                </a:lnTo>
                <a:lnTo>
                  <a:pt x="72" y="149"/>
                </a:lnTo>
                <a:lnTo>
                  <a:pt x="74" y="150"/>
                </a:lnTo>
                <a:lnTo>
                  <a:pt x="77" y="149"/>
                </a:lnTo>
                <a:lnTo>
                  <a:pt x="78" y="148"/>
                </a:lnTo>
                <a:lnTo>
                  <a:pt x="78" y="147"/>
                </a:lnTo>
                <a:lnTo>
                  <a:pt x="76" y="145"/>
                </a:lnTo>
                <a:lnTo>
                  <a:pt x="74" y="144"/>
                </a:lnTo>
                <a:lnTo>
                  <a:pt x="74" y="143"/>
                </a:lnTo>
                <a:lnTo>
                  <a:pt x="73" y="142"/>
                </a:lnTo>
                <a:lnTo>
                  <a:pt x="70" y="141"/>
                </a:lnTo>
                <a:lnTo>
                  <a:pt x="68" y="140"/>
                </a:lnTo>
                <a:lnTo>
                  <a:pt x="68" y="136"/>
                </a:lnTo>
                <a:lnTo>
                  <a:pt x="70" y="136"/>
                </a:lnTo>
                <a:lnTo>
                  <a:pt x="73" y="135"/>
                </a:lnTo>
                <a:lnTo>
                  <a:pt x="73" y="132"/>
                </a:lnTo>
                <a:lnTo>
                  <a:pt x="74" y="132"/>
                </a:lnTo>
                <a:lnTo>
                  <a:pt x="74" y="129"/>
                </a:lnTo>
                <a:lnTo>
                  <a:pt x="70" y="129"/>
                </a:lnTo>
                <a:lnTo>
                  <a:pt x="67" y="126"/>
                </a:lnTo>
                <a:lnTo>
                  <a:pt x="66" y="126"/>
                </a:lnTo>
                <a:lnTo>
                  <a:pt x="62" y="128"/>
                </a:lnTo>
                <a:lnTo>
                  <a:pt x="60" y="128"/>
                </a:lnTo>
                <a:lnTo>
                  <a:pt x="59" y="125"/>
                </a:lnTo>
                <a:lnTo>
                  <a:pt x="58" y="124"/>
                </a:lnTo>
                <a:lnTo>
                  <a:pt x="57" y="124"/>
                </a:lnTo>
                <a:lnTo>
                  <a:pt x="54" y="123"/>
                </a:lnTo>
                <a:lnTo>
                  <a:pt x="53" y="119"/>
                </a:lnTo>
                <a:lnTo>
                  <a:pt x="52" y="118"/>
                </a:lnTo>
                <a:lnTo>
                  <a:pt x="49" y="117"/>
                </a:lnTo>
                <a:lnTo>
                  <a:pt x="48" y="117"/>
                </a:lnTo>
                <a:lnTo>
                  <a:pt x="47" y="116"/>
                </a:lnTo>
                <a:lnTo>
                  <a:pt x="45" y="114"/>
                </a:lnTo>
                <a:lnTo>
                  <a:pt x="45" y="113"/>
                </a:lnTo>
                <a:lnTo>
                  <a:pt x="42" y="110"/>
                </a:lnTo>
                <a:lnTo>
                  <a:pt x="42" y="108"/>
                </a:lnTo>
                <a:lnTo>
                  <a:pt x="41" y="108"/>
                </a:lnTo>
                <a:lnTo>
                  <a:pt x="36" y="107"/>
                </a:lnTo>
                <a:lnTo>
                  <a:pt x="35" y="107"/>
                </a:lnTo>
                <a:lnTo>
                  <a:pt x="35" y="106"/>
                </a:lnTo>
                <a:lnTo>
                  <a:pt x="37" y="104"/>
                </a:lnTo>
                <a:lnTo>
                  <a:pt x="45" y="105"/>
                </a:lnTo>
                <a:lnTo>
                  <a:pt x="48" y="105"/>
                </a:lnTo>
                <a:lnTo>
                  <a:pt x="48" y="101"/>
                </a:lnTo>
                <a:lnTo>
                  <a:pt x="49" y="101"/>
                </a:lnTo>
                <a:lnTo>
                  <a:pt x="49" y="100"/>
                </a:lnTo>
                <a:lnTo>
                  <a:pt x="52" y="98"/>
                </a:lnTo>
                <a:lnTo>
                  <a:pt x="52" y="93"/>
                </a:lnTo>
                <a:lnTo>
                  <a:pt x="51" y="92"/>
                </a:lnTo>
                <a:lnTo>
                  <a:pt x="51" y="91"/>
                </a:lnTo>
                <a:lnTo>
                  <a:pt x="47" y="91"/>
                </a:lnTo>
                <a:lnTo>
                  <a:pt x="45" y="89"/>
                </a:lnTo>
                <a:lnTo>
                  <a:pt x="35" y="83"/>
                </a:lnTo>
                <a:lnTo>
                  <a:pt x="33" y="81"/>
                </a:lnTo>
                <a:lnTo>
                  <a:pt x="31" y="79"/>
                </a:lnTo>
                <a:lnTo>
                  <a:pt x="31" y="77"/>
                </a:lnTo>
                <a:lnTo>
                  <a:pt x="30" y="77"/>
                </a:lnTo>
                <a:lnTo>
                  <a:pt x="30" y="76"/>
                </a:lnTo>
                <a:lnTo>
                  <a:pt x="29" y="76"/>
                </a:lnTo>
                <a:lnTo>
                  <a:pt x="29" y="73"/>
                </a:lnTo>
                <a:lnTo>
                  <a:pt x="28" y="73"/>
                </a:lnTo>
                <a:lnTo>
                  <a:pt x="27" y="71"/>
                </a:lnTo>
                <a:lnTo>
                  <a:pt x="27" y="68"/>
                </a:lnTo>
                <a:lnTo>
                  <a:pt x="28" y="67"/>
                </a:lnTo>
                <a:lnTo>
                  <a:pt x="29" y="64"/>
                </a:lnTo>
                <a:lnTo>
                  <a:pt x="30" y="64"/>
                </a:lnTo>
                <a:lnTo>
                  <a:pt x="34" y="62"/>
                </a:lnTo>
                <a:lnTo>
                  <a:pt x="35" y="61"/>
                </a:lnTo>
                <a:lnTo>
                  <a:pt x="36" y="58"/>
                </a:lnTo>
                <a:lnTo>
                  <a:pt x="36" y="57"/>
                </a:lnTo>
                <a:lnTo>
                  <a:pt x="33" y="57"/>
                </a:lnTo>
                <a:lnTo>
                  <a:pt x="33" y="56"/>
                </a:lnTo>
                <a:lnTo>
                  <a:pt x="30" y="54"/>
                </a:lnTo>
                <a:lnTo>
                  <a:pt x="29" y="54"/>
                </a:lnTo>
                <a:lnTo>
                  <a:pt x="29" y="52"/>
                </a:lnTo>
                <a:lnTo>
                  <a:pt x="28" y="52"/>
                </a:lnTo>
                <a:lnTo>
                  <a:pt x="28" y="49"/>
                </a:lnTo>
                <a:lnTo>
                  <a:pt x="27" y="49"/>
                </a:lnTo>
                <a:lnTo>
                  <a:pt x="27" y="50"/>
                </a:lnTo>
                <a:lnTo>
                  <a:pt x="22" y="50"/>
                </a:lnTo>
                <a:lnTo>
                  <a:pt x="20" y="49"/>
                </a:lnTo>
                <a:lnTo>
                  <a:pt x="18" y="48"/>
                </a:lnTo>
                <a:lnTo>
                  <a:pt x="17" y="48"/>
                </a:lnTo>
                <a:lnTo>
                  <a:pt x="16" y="46"/>
                </a:lnTo>
                <a:lnTo>
                  <a:pt x="15" y="48"/>
                </a:lnTo>
                <a:lnTo>
                  <a:pt x="12" y="45"/>
                </a:lnTo>
                <a:lnTo>
                  <a:pt x="14" y="44"/>
                </a:lnTo>
                <a:lnTo>
                  <a:pt x="17" y="44"/>
                </a:lnTo>
                <a:lnTo>
                  <a:pt x="20" y="43"/>
                </a:lnTo>
                <a:lnTo>
                  <a:pt x="20" y="42"/>
                </a:lnTo>
                <a:lnTo>
                  <a:pt x="18" y="42"/>
                </a:lnTo>
                <a:lnTo>
                  <a:pt x="16" y="39"/>
                </a:lnTo>
                <a:lnTo>
                  <a:pt x="12" y="39"/>
                </a:lnTo>
                <a:lnTo>
                  <a:pt x="11" y="38"/>
                </a:lnTo>
                <a:lnTo>
                  <a:pt x="12" y="37"/>
                </a:lnTo>
                <a:lnTo>
                  <a:pt x="11" y="33"/>
                </a:lnTo>
                <a:lnTo>
                  <a:pt x="15" y="31"/>
                </a:lnTo>
                <a:lnTo>
                  <a:pt x="21" y="25"/>
                </a:lnTo>
                <a:lnTo>
                  <a:pt x="24" y="25"/>
                </a:lnTo>
                <a:lnTo>
                  <a:pt x="27" y="26"/>
                </a:lnTo>
                <a:lnTo>
                  <a:pt x="30" y="26"/>
                </a:lnTo>
                <a:lnTo>
                  <a:pt x="33" y="28"/>
                </a:lnTo>
                <a:lnTo>
                  <a:pt x="39" y="31"/>
                </a:lnTo>
                <a:lnTo>
                  <a:pt x="42" y="31"/>
                </a:lnTo>
                <a:lnTo>
                  <a:pt x="42" y="32"/>
                </a:lnTo>
                <a:lnTo>
                  <a:pt x="40" y="32"/>
                </a:lnTo>
                <a:lnTo>
                  <a:pt x="40" y="33"/>
                </a:lnTo>
                <a:lnTo>
                  <a:pt x="41" y="36"/>
                </a:lnTo>
                <a:lnTo>
                  <a:pt x="42" y="37"/>
                </a:lnTo>
                <a:lnTo>
                  <a:pt x="43" y="37"/>
                </a:lnTo>
                <a:lnTo>
                  <a:pt x="45" y="38"/>
                </a:lnTo>
                <a:lnTo>
                  <a:pt x="52" y="40"/>
                </a:lnTo>
                <a:lnTo>
                  <a:pt x="55" y="40"/>
                </a:lnTo>
                <a:lnTo>
                  <a:pt x="57" y="39"/>
                </a:lnTo>
                <a:lnTo>
                  <a:pt x="62" y="39"/>
                </a:lnTo>
                <a:lnTo>
                  <a:pt x="67" y="44"/>
                </a:lnTo>
                <a:lnTo>
                  <a:pt x="70" y="45"/>
                </a:lnTo>
                <a:lnTo>
                  <a:pt x="71" y="45"/>
                </a:lnTo>
                <a:lnTo>
                  <a:pt x="72" y="48"/>
                </a:lnTo>
                <a:lnTo>
                  <a:pt x="73" y="48"/>
                </a:lnTo>
                <a:lnTo>
                  <a:pt x="74" y="46"/>
                </a:lnTo>
                <a:lnTo>
                  <a:pt x="74" y="45"/>
                </a:lnTo>
                <a:lnTo>
                  <a:pt x="78" y="45"/>
                </a:lnTo>
                <a:lnTo>
                  <a:pt x="79" y="44"/>
                </a:lnTo>
                <a:lnTo>
                  <a:pt x="79" y="40"/>
                </a:lnTo>
                <a:lnTo>
                  <a:pt x="80" y="38"/>
                </a:lnTo>
                <a:lnTo>
                  <a:pt x="82" y="37"/>
                </a:lnTo>
                <a:lnTo>
                  <a:pt x="82" y="34"/>
                </a:lnTo>
                <a:lnTo>
                  <a:pt x="80" y="32"/>
                </a:lnTo>
                <a:lnTo>
                  <a:pt x="79" y="31"/>
                </a:lnTo>
                <a:lnTo>
                  <a:pt x="78" y="31"/>
                </a:lnTo>
                <a:lnTo>
                  <a:pt x="78" y="30"/>
                </a:lnTo>
                <a:lnTo>
                  <a:pt x="76" y="28"/>
                </a:lnTo>
                <a:lnTo>
                  <a:pt x="72" y="26"/>
                </a:lnTo>
                <a:lnTo>
                  <a:pt x="70" y="25"/>
                </a:lnTo>
                <a:lnTo>
                  <a:pt x="68" y="24"/>
                </a:lnTo>
                <a:lnTo>
                  <a:pt x="66" y="22"/>
                </a:lnTo>
                <a:lnTo>
                  <a:pt x="65" y="21"/>
                </a:lnTo>
                <a:lnTo>
                  <a:pt x="65" y="18"/>
                </a:lnTo>
                <a:lnTo>
                  <a:pt x="64" y="15"/>
                </a:lnTo>
                <a:lnTo>
                  <a:pt x="62" y="15"/>
                </a:lnTo>
                <a:lnTo>
                  <a:pt x="62" y="16"/>
                </a:lnTo>
                <a:lnTo>
                  <a:pt x="61" y="15"/>
                </a:lnTo>
                <a:lnTo>
                  <a:pt x="60" y="13"/>
                </a:lnTo>
                <a:lnTo>
                  <a:pt x="60" y="11"/>
                </a:lnTo>
                <a:lnTo>
                  <a:pt x="61" y="8"/>
                </a:lnTo>
                <a:lnTo>
                  <a:pt x="62" y="7"/>
                </a:lnTo>
                <a:lnTo>
                  <a:pt x="65" y="8"/>
                </a:lnTo>
                <a:lnTo>
                  <a:pt x="70" y="3"/>
                </a:lnTo>
                <a:lnTo>
                  <a:pt x="71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" name="Freeform 56">
            <a:extLst>
              <a:ext uri="{FF2B5EF4-FFF2-40B4-BE49-F238E27FC236}">
                <a16:creationId xmlns:a16="http://schemas.microsoft.com/office/drawing/2014/main" id="{CC21265E-07CA-4665-BDF2-FD3DBF34E345}"/>
              </a:ext>
            </a:extLst>
          </p:cNvPr>
          <p:cNvSpPr>
            <a:spLocks noEditPoints="1"/>
          </p:cNvSpPr>
          <p:nvPr/>
        </p:nvSpPr>
        <p:spPr bwMode="auto">
          <a:xfrm>
            <a:off x="1814169" y="4808885"/>
            <a:ext cx="465110" cy="239076"/>
          </a:xfrm>
          <a:custGeom>
            <a:avLst/>
            <a:gdLst/>
            <a:ahLst/>
            <a:cxnLst>
              <a:cxn ang="0">
                <a:pos x="113" y="82"/>
              </a:cxn>
              <a:cxn ang="0">
                <a:pos x="231" y="0"/>
              </a:cxn>
              <a:cxn ang="0">
                <a:pos x="246" y="2"/>
              </a:cxn>
              <a:cxn ang="0">
                <a:pos x="264" y="10"/>
              </a:cxn>
              <a:cxn ang="0">
                <a:pos x="287" y="18"/>
              </a:cxn>
              <a:cxn ang="0">
                <a:pos x="299" y="16"/>
              </a:cxn>
              <a:cxn ang="0">
                <a:pos x="312" y="26"/>
              </a:cxn>
              <a:cxn ang="0">
                <a:pos x="310" y="43"/>
              </a:cxn>
              <a:cxn ang="0">
                <a:pos x="317" y="57"/>
              </a:cxn>
              <a:cxn ang="0">
                <a:pos x="318" y="67"/>
              </a:cxn>
              <a:cxn ang="0">
                <a:pos x="316" y="75"/>
              </a:cxn>
              <a:cxn ang="0">
                <a:pos x="308" y="84"/>
              </a:cxn>
              <a:cxn ang="0">
                <a:pos x="295" y="81"/>
              </a:cxn>
              <a:cxn ang="0">
                <a:pos x="295" y="87"/>
              </a:cxn>
              <a:cxn ang="0">
                <a:pos x="301" y="99"/>
              </a:cxn>
              <a:cxn ang="0">
                <a:pos x="291" y="112"/>
              </a:cxn>
              <a:cxn ang="0">
                <a:pos x="292" y="121"/>
              </a:cxn>
              <a:cxn ang="0">
                <a:pos x="290" y="127"/>
              </a:cxn>
              <a:cxn ang="0">
                <a:pos x="278" y="135"/>
              </a:cxn>
              <a:cxn ang="0">
                <a:pos x="271" y="146"/>
              </a:cxn>
              <a:cxn ang="0">
                <a:pos x="253" y="148"/>
              </a:cxn>
              <a:cxn ang="0">
                <a:pos x="228" y="150"/>
              </a:cxn>
              <a:cxn ang="0">
                <a:pos x="220" y="159"/>
              </a:cxn>
              <a:cxn ang="0">
                <a:pos x="211" y="165"/>
              </a:cxn>
              <a:cxn ang="0">
                <a:pos x="192" y="159"/>
              </a:cxn>
              <a:cxn ang="0">
                <a:pos x="167" y="155"/>
              </a:cxn>
              <a:cxn ang="0">
                <a:pos x="137" y="149"/>
              </a:cxn>
              <a:cxn ang="0">
                <a:pos x="118" y="142"/>
              </a:cxn>
              <a:cxn ang="0">
                <a:pos x="110" y="129"/>
              </a:cxn>
              <a:cxn ang="0">
                <a:pos x="98" y="127"/>
              </a:cxn>
              <a:cxn ang="0">
                <a:pos x="85" y="128"/>
              </a:cxn>
              <a:cxn ang="0">
                <a:pos x="69" y="129"/>
              </a:cxn>
              <a:cxn ang="0">
                <a:pos x="56" y="142"/>
              </a:cxn>
              <a:cxn ang="0">
                <a:pos x="47" y="136"/>
              </a:cxn>
              <a:cxn ang="0">
                <a:pos x="32" y="131"/>
              </a:cxn>
              <a:cxn ang="0">
                <a:pos x="15" y="127"/>
              </a:cxn>
              <a:cxn ang="0">
                <a:pos x="3" y="117"/>
              </a:cxn>
              <a:cxn ang="0">
                <a:pos x="0" y="94"/>
              </a:cxn>
              <a:cxn ang="0">
                <a:pos x="17" y="94"/>
              </a:cxn>
              <a:cxn ang="0">
                <a:pos x="22" y="102"/>
              </a:cxn>
              <a:cxn ang="0">
                <a:pos x="26" y="109"/>
              </a:cxn>
              <a:cxn ang="0">
                <a:pos x="37" y="97"/>
              </a:cxn>
              <a:cxn ang="0">
                <a:pos x="51" y="94"/>
              </a:cxn>
              <a:cxn ang="0">
                <a:pos x="61" y="100"/>
              </a:cxn>
              <a:cxn ang="0">
                <a:pos x="74" y="102"/>
              </a:cxn>
              <a:cxn ang="0">
                <a:pos x="86" y="94"/>
              </a:cxn>
              <a:cxn ang="0">
                <a:pos x="116" y="85"/>
              </a:cxn>
              <a:cxn ang="0">
                <a:pos x="127" y="88"/>
              </a:cxn>
              <a:cxn ang="0">
                <a:pos x="137" y="93"/>
              </a:cxn>
              <a:cxn ang="0">
                <a:pos x="149" y="85"/>
              </a:cxn>
              <a:cxn ang="0">
                <a:pos x="144" y="73"/>
              </a:cxn>
              <a:cxn ang="0">
                <a:pos x="136" y="57"/>
              </a:cxn>
              <a:cxn ang="0">
                <a:pos x="160" y="44"/>
              </a:cxn>
              <a:cxn ang="0">
                <a:pos x="168" y="27"/>
              </a:cxn>
              <a:cxn ang="0">
                <a:pos x="180" y="26"/>
              </a:cxn>
              <a:cxn ang="0">
                <a:pos x="184" y="18"/>
              </a:cxn>
              <a:cxn ang="0">
                <a:pos x="190" y="25"/>
              </a:cxn>
              <a:cxn ang="0">
                <a:pos x="206" y="27"/>
              </a:cxn>
              <a:cxn ang="0">
                <a:pos x="218" y="27"/>
              </a:cxn>
              <a:cxn ang="0">
                <a:pos x="228" y="13"/>
              </a:cxn>
            </a:cxnLst>
            <a:rect l="0" t="0" r="r" b="b"/>
            <a:pathLst>
              <a:path w="321" h="165">
                <a:moveTo>
                  <a:pt x="38" y="91"/>
                </a:moveTo>
                <a:lnTo>
                  <a:pt x="40" y="91"/>
                </a:lnTo>
                <a:lnTo>
                  <a:pt x="40" y="92"/>
                </a:lnTo>
                <a:lnTo>
                  <a:pt x="38" y="93"/>
                </a:lnTo>
                <a:lnTo>
                  <a:pt x="37" y="93"/>
                </a:lnTo>
                <a:lnTo>
                  <a:pt x="37" y="92"/>
                </a:lnTo>
                <a:lnTo>
                  <a:pt x="38" y="91"/>
                </a:lnTo>
                <a:close/>
                <a:moveTo>
                  <a:pt x="112" y="82"/>
                </a:moveTo>
                <a:lnTo>
                  <a:pt x="113" y="82"/>
                </a:lnTo>
                <a:lnTo>
                  <a:pt x="113" y="85"/>
                </a:lnTo>
                <a:lnTo>
                  <a:pt x="112" y="85"/>
                </a:lnTo>
                <a:lnTo>
                  <a:pt x="112" y="82"/>
                </a:lnTo>
                <a:close/>
                <a:moveTo>
                  <a:pt x="115" y="81"/>
                </a:moveTo>
                <a:lnTo>
                  <a:pt x="115" y="82"/>
                </a:lnTo>
                <a:lnTo>
                  <a:pt x="113" y="82"/>
                </a:lnTo>
                <a:lnTo>
                  <a:pt x="115" y="81"/>
                </a:lnTo>
                <a:close/>
                <a:moveTo>
                  <a:pt x="230" y="0"/>
                </a:moveTo>
                <a:lnTo>
                  <a:pt x="231" y="0"/>
                </a:lnTo>
                <a:lnTo>
                  <a:pt x="234" y="1"/>
                </a:lnTo>
                <a:lnTo>
                  <a:pt x="236" y="1"/>
                </a:lnTo>
                <a:lnTo>
                  <a:pt x="237" y="2"/>
                </a:lnTo>
                <a:lnTo>
                  <a:pt x="237" y="5"/>
                </a:lnTo>
                <a:lnTo>
                  <a:pt x="241" y="5"/>
                </a:lnTo>
                <a:lnTo>
                  <a:pt x="241" y="4"/>
                </a:lnTo>
                <a:lnTo>
                  <a:pt x="242" y="4"/>
                </a:lnTo>
                <a:lnTo>
                  <a:pt x="242" y="2"/>
                </a:lnTo>
                <a:lnTo>
                  <a:pt x="246" y="2"/>
                </a:lnTo>
                <a:lnTo>
                  <a:pt x="248" y="4"/>
                </a:lnTo>
                <a:lnTo>
                  <a:pt x="249" y="5"/>
                </a:lnTo>
                <a:lnTo>
                  <a:pt x="251" y="5"/>
                </a:lnTo>
                <a:lnTo>
                  <a:pt x="253" y="7"/>
                </a:lnTo>
                <a:lnTo>
                  <a:pt x="254" y="7"/>
                </a:lnTo>
                <a:lnTo>
                  <a:pt x="256" y="8"/>
                </a:lnTo>
                <a:lnTo>
                  <a:pt x="260" y="11"/>
                </a:lnTo>
                <a:lnTo>
                  <a:pt x="262" y="11"/>
                </a:lnTo>
                <a:lnTo>
                  <a:pt x="264" y="10"/>
                </a:lnTo>
                <a:lnTo>
                  <a:pt x="266" y="10"/>
                </a:lnTo>
                <a:lnTo>
                  <a:pt x="266" y="11"/>
                </a:lnTo>
                <a:lnTo>
                  <a:pt x="268" y="11"/>
                </a:lnTo>
                <a:lnTo>
                  <a:pt x="267" y="12"/>
                </a:lnTo>
                <a:lnTo>
                  <a:pt x="270" y="12"/>
                </a:lnTo>
                <a:lnTo>
                  <a:pt x="270" y="13"/>
                </a:lnTo>
                <a:lnTo>
                  <a:pt x="274" y="17"/>
                </a:lnTo>
                <a:lnTo>
                  <a:pt x="277" y="18"/>
                </a:lnTo>
                <a:lnTo>
                  <a:pt x="287" y="18"/>
                </a:lnTo>
                <a:lnTo>
                  <a:pt x="289" y="19"/>
                </a:lnTo>
                <a:lnTo>
                  <a:pt x="289" y="18"/>
                </a:lnTo>
                <a:lnTo>
                  <a:pt x="291" y="14"/>
                </a:lnTo>
                <a:lnTo>
                  <a:pt x="293" y="14"/>
                </a:lnTo>
                <a:lnTo>
                  <a:pt x="295" y="13"/>
                </a:lnTo>
                <a:lnTo>
                  <a:pt x="296" y="13"/>
                </a:lnTo>
                <a:lnTo>
                  <a:pt x="296" y="14"/>
                </a:lnTo>
                <a:lnTo>
                  <a:pt x="298" y="14"/>
                </a:lnTo>
                <a:lnTo>
                  <a:pt x="299" y="16"/>
                </a:lnTo>
                <a:lnTo>
                  <a:pt x="301" y="16"/>
                </a:lnTo>
                <a:lnTo>
                  <a:pt x="301" y="18"/>
                </a:lnTo>
                <a:lnTo>
                  <a:pt x="304" y="18"/>
                </a:lnTo>
                <a:lnTo>
                  <a:pt x="307" y="20"/>
                </a:lnTo>
                <a:lnTo>
                  <a:pt x="308" y="19"/>
                </a:lnTo>
                <a:lnTo>
                  <a:pt x="310" y="19"/>
                </a:lnTo>
                <a:lnTo>
                  <a:pt x="311" y="20"/>
                </a:lnTo>
                <a:lnTo>
                  <a:pt x="311" y="25"/>
                </a:lnTo>
                <a:lnTo>
                  <a:pt x="312" y="26"/>
                </a:lnTo>
                <a:lnTo>
                  <a:pt x="314" y="30"/>
                </a:lnTo>
                <a:lnTo>
                  <a:pt x="312" y="30"/>
                </a:lnTo>
                <a:lnTo>
                  <a:pt x="312" y="31"/>
                </a:lnTo>
                <a:lnTo>
                  <a:pt x="311" y="32"/>
                </a:lnTo>
                <a:lnTo>
                  <a:pt x="311" y="33"/>
                </a:lnTo>
                <a:lnTo>
                  <a:pt x="309" y="36"/>
                </a:lnTo>
                <a:lnTo>
                  <a:pt x="309" y="42"/>
                </a:lnTo>
                <a:lnTo>
                  <a:pt x="310" y="42"/>
                </a:lnTo>
                <a:lnTo>
                  <a:pt x="310" y="43"/>
                </a:lnTo>
                <a:lnTo>
                  <a:pt x="311" y="43"/>
                </a:lnTo>
                <a:lnTo>
                  <a:pt x="311" y="47"/>
                </a:lnTo>
                <a:lnTo>
                  <a:pt x="312" y="47"/>
                </a:lnTo>
                <a:lnTo>
                  <a:pt x="312" y="48"/>
                </a:lnTo>
                <a:lnTo>
                  <a:pt x="314" y="48"/>
                </a:lnTo>
                <a:lnTo>
                  <a:pt x="314" y="54"/>
                </a:lnTo>
                <a:lnTo>
                  <a:pt x="316" y="56"/>
                </a:lnTo>
                <a:lnTo>
                  <a:pt x="317" y="56"/>
                </a:lnTo>
                <a:lnTo>
                  <a:pt x="317" y="57"/>
                </a:lnTo>
                <a:lnTo>
                  <a:pt x="318" y="59"/>
                </a:lnTo>
                <a:lnTo>
                  <a:pt x="318" y="60"/>
                </a:lnTo>
                <a:lnTo>
                  <a:pt x="317" y="61"/>
                </a:lnTo>
                <a:lnTo>
                  <a:pt x="318" y="61"/>
                </a:lnTo>
                <a:lnTo>
                  <a:pt x="318" y="62"/>
                </a:lnTo>
                <a:lnTo>
                  <a:pt x="320" y="63"/>
                </a:lnTo>
                <a:lnTo>
                  <a:pt x="321" y="63"/>
                </a:lnTo>
                <a:lnTo>
                  <a:pt x="321" y="64"/>
                </a:lnTo>
                <a:lnTo>
                  <a:pt x="318" y="67"/>
                </a:lnTo>
                <a:lnTo>
                  <a:pt x="320" y="67"/>
                </a:lnTo>
                <a:lnTo>
                  <a:pt x="320" y="68"/>
                </a:lnTo>
                <a:lnTo>
                  <a:pt x="318" y="68"/>
                </a:lnTo>
                <a:lnTo>
                  <a:pt x="318" y="72"/>
                </a:lnTo>
                <a:lnTo>
                  <a:pt x="317" y="73"/>
                </a:lnTo>
                <a:lnTo>
                  <a:pt x="315" y="73"/>
                </a:lnTo>
                <a:lnTo>
                  <a:pt x="315" y="74"/>
                </a:lnTo>
                <a:lnTo>
                  <a:pt x="316" y="74"/>
                </a:lnTo>
                <a:lnTo>
                  <a:pt x="316" y="75"/>
                </a:lnTo>
                <a:lnTo>
                  <a:pt x="317" y="75"/>
                </a:lnTo>
                <a:lnTo>
                  <a:pt x="317" y="82"/>
                </a:lnTo>
                <a:lnTo>
                  <a:pt x="318" y="82"/>
                </a:lnTo>
                <a:lnTo>
                  <a:pt x="318" y="84"/>
                </a:lnTo>
                <a:lnTo>
                  <a:pt x="315" y="84"/>
                </a:lnTo>
                <a:lnTo>
                  <a:pt x="311" y="85"/>
                </a:lnTo>
                <a:lnTo>
                  <a:pt x="309" y="85"/>
                </a:lnTo>
                <a:lnTo>
                  <a:pt x="309" y="82"/>
                </a:lnTo>
                <a:lnTo>
                  <a:pt x="308" y="84"/>
                </a:lnTo>
                <a:lnTo>
                  <a:pt x="308" y="85"/>
                </a:lnTo>
                <a:lnTo>
                  <a:pt x="304" y="85"/>
                </a:lnTo>
                <a:lnTo>
                  <a:pt x="303" y="84"/>
                </a:lnTo>
                <a:lnTo>
                  <a:pt x="303" y="82"/>
                </a:lnTo>
                <a:lnTo>
                  <a:pt x="302" y="81"/>
                </a:lnTo>
                <a:lnTo>
                  <a:pt x="298" y="80"/>
                </a:lnTo>
                <a:lnTo>
                  <a:pt x="297" y="80"/>
                </a:lnTo>
                <a:lnTo>
                  <a:pt x="296" y="81"/>
                </a:lnTo>
                <a:lnTo>
                  <a:pt x="295" y="81"/>
                </a:lnTo>
                <a:lnTo>
                  <a:pt x="296" y="82"/>
                </a:lnTo>
                <a:lnTo>
                  <a:pt x="295" y="82"/>
                </a:lnTo>
                <a:lnTo>
                  <a:pt x="295" y="84"/>
                </a:lnTo>
                <a:lnTo>
                  <a:pt x="293" y="84"/>
                </a:lnTo>
                <a:lnTo>
                  <a:pt x="292" y="85"/>
                </a:lnTo>
                <a:lnTo>
                  <a:pt x="291" y="84"/>
                </a:lnTo>
                <a:lnTo>
                  <a:pt x="291" y="86"/>
                </a:lnTo>
                <a:lnTo>
                  <a:pt x="293" y="87"/>
                </a:lnTo>
                <a:lnTo>
                  <a:pt x="295" y="87"/>
                </a:lnTo>
                <a:lnTo>
                  <a:pt x="297" y="88"/>
                </a:lnTo>
                <a:lnTo>
                  <a:pt x="299" y="88"/>
                </a:lnTo>
                <a:lnTo>
                  <a:pt x="301" y="90"/>
                </a:lnTo>
                <a:lnTo>
                  <a:pt x="301" y="92"/>
                </a:lnTo>
                <a:lnTo>
                  <a:pt x="302" y="93"/>
                </a:lnTo>
                <a:lnTo>
                  <a:pt x="302" y="96"/>
                </a:lnTo>
                <a:lnTo>
                  <a:pt x="301" y="96"/>
                </a:lnTo>
                <a:lnTo>
                  <a:pt x="299" y="97"/>
                </a:lnTo>
                <a:lnTo>
                  <a:pt x="301" y="99"/>
                </a:lnTo>
                <a:lnTo>
                  <a:pt x="299" y="99"/>
                </a:lnTo>
                <a:lnTo>
                  <a:pt x="298" y="100"/>
                </a:lnTo>
                <a:lnTo>
                  <a:pt x="293" y="103"/>
                </a:lnTo>
                <a:lnTo>
                  <a:pt x="292" y="102"/>
                </a:lnTo>
                <a:lnTo>
                  <a:pt x="291" y="103"/>
                </a:lnTo>
                <a:lnTo>
                  <a:pt x="291" y="106"/>
                </a:lnTo>
                <a:lnTo>
                  <a:pt x="292" y="109"/>
                </a:lnTo>
                <a:lnTo>
                  <a:pt x="293" y="110"/>
                </a:lnTo>
                <a:lnTo>
                  <a:pt x="291" y="112"/>
                </a:lnTo>
                <a:lnTo>
                  <a:pt x="291" y="113"/>
                </a:lnTo>
                <a:lnTo>
                  <a:pt x="290" y="115"/>
                </a:lnTo>
                <a:lnTo>
                  <a:pt x="290" y="116"/>
                </a:lnTo>
                <a:lnTo>
                  <a:pt x="291" y="116"/>
                </a:lnTo>
                <a:lnTo>
                  <a:pt x="291" y="118"/>
                </a:lnTo>
                <a:lnTo>
                  <a:pt x="295" y="118"/>
                </a:lnTo>
                <a:lnTo>
                  <a:pt x="295" y="119"/>
                </a:lnTo>
                <a:lnTo>
                  <a:pt x="293" y="121"/>
                </a:lnTo>
                <a:lnTo>
                  <a:pt x="292" y="121"/>
                </a:lnTo>
                <a:lnTo>
                  <a:pt x="292" y="123"/>
                </a:lnTo>
                <a:lnTo>
                  <a:pt x="293" y="123"/>
                </a:lnTo>
                <a:lnTo>
                  <a:pt x="293" y="124"/>
                </a:lnTo>
                <a:lnTo>
                  <a:pt x="291" y="125"/>
                </a:lnTo>
                <a:lnTo>
                  <a:pt x="292" y="125"/>
                </a:lnTo>
                <a:lnTo>
                  <a:pt x="293" y="127"/>
                </a:lnTo>
                <a:lnTo>
                  <a:pt x="292" y="128"/>
                </a:lnTo>
                <a:lnTo>
                  <a:pt x="290" y="128"/>
                </a:lnTo>
                <a:lnTo>
                  <a:pt x="290" y="127"/>
                </a:lnTo>
                <a:lnTo>
                  <a:pt x="285" y="127"/>
                </a:lnTo>
                <a:lnTo>
                  <a:pt x="284" y="128"/>
                </a:lnTo>
                <a:lnTo>
                  <a:pt x="284" y="129"/>
                </a:lnTo>
                <a:lnTo>
                  <a:pt x="283" y="129"/>
                </a:lnTo>
                <a:lnTo>
                  <a:pt x="283" y="131"/>
                </a:lnTo>
                <a:lnTo>
                  <a:pt x="282" y="131"/>
                </a:lnTo>
                <a:lnTo>
                  <a:pt x="280" y="133"/>
                </a:lnTo>
                <a:lnTo>
                  <a:pt x="279" y="133"/>
                </a:lnTo>
                <a:lnTo>
                  <a:pt x="278" y="135"/>
                </a:lnTo>
                <a:lnTo>
                  <a:pt x="277" y="136"/>
                </a:lnTo>
                <a:lnTo>
                  <a:pt x="276" y="136"/>
                </a:lnTo>
                <a:lnTo>
                  <a:pt x="274" y="137"/>
                </a:lnTo>
                <a:lnTo>
                  <a:pt x="272" y="137"/>
                </a:lnTo>
                <a:lnTo>
                  <a:pt x="272" y="144"/>
                </a:lnTo>
                <a:lnTo>
                  <a:pt x="273" y="144"/>
                </a:lnTo>
                <a:lnTo>
                  <a:pt x="273" y="147"/>
                </a:lnTo>
                <a:lnTo>
                  <a:pt x="272" y="146"/>
                </a:lnTo>
                <a:lnTo>
                  <a:pt x="271" y="146"/>
                </a:lnTo>
                <a:lnTo>
                  <a:pt x="268" y="144"/>
                </a:lnTo>
                <a:lnTo>
                  <a:pt x="264" y="144"/>
                </a:lnTo>
                <a:lnTo>
                  <a:pt x="262" y="146"/>
                </a:lnTo>
                <a:lnTo>
                  <a:pt x="261" y="146"/>
                </a:lnTo>
                <a:lnTo>
                  <a:pt x="259" y="144"/>
                </a:lnTo>
                <a:lnTo>
                  <a:pt x="258" y="144"/>
                </a:lnTo>
                <a:lnTo>
                  <a:pt x="258" y="147"/>
                </a:lnTo>
                <a:lnTo>
                  <a:pt x="254" y="147"/>
                </a:lnTo>
                <a:lnTo>
                  <a:pt x="253" y="148"/>
                </a:lnTo>
                <a:lnTo>
                  <a:pt x="253" y="150"/>
                </a:lnTo>
                <a:lnTo>
                  <a:pt x="249" y="150"/>
                </a:lnTo>
                <a:lnTo>
                  <a:pt x="248" y="149"/>
                </a:lnTo>
                <a:lnTo>
                  <a:pt x="234" y="149"/>
                </a:lnTo>
                <a:lnTo>
                  <a:pt x="234" y="148"/>
                </a:lnTo>
                <a:lnTo>
                  <a:pt x="231" y="149"/>
                </a:lnTo>
                <a:lnTo>
                  <a:pt x="229" y="152"/>
                </a:lnTo>
                <a:lnTo>
                  <a:pt x="229" y="150"/>
                </a:lnTo>
                <a:lnTo>
                  <a:pt x="228" y="150"/>
                </a:lnTo>
                <a:lnTo>
                  <a:pt x="227" y="152"/>
                </a:lnTo>
                <a:lnTo>
                  <a:pt x="224" y="152"/>
                </a:lnTo>
                <a:lnTo>
                  <a:pt x="224" y="153"/>
                </a:lnTo>
                <a:lnTo>
                  <a:pt x="223" y="154"/>
                </a:lnTo>
                <a:lnTo>
                  <a:pt x="223" y="155"/>
                </a:lnTo>
                <a:lnTo>
                  <a:pt x="222" y="156"/>
                </a:lnTo>
                <a:lnTo>
                  <a:pt x="222" y="158"/>
                </a:lnTo>
                <a:lnTo>
                  <a:pt x="221" y="158"/>
                </a:lnTo>
                <a:lnTo>
                  <a:pt x="220" y="159"/>
                </a:lnTo>
                <a:lnTo>
                  <a:pt x="220" y="158"/>
                </a:lnTo>
                <a:lnTo>
                  <a:pt x="217" y="160"/>
                </a:lnTo>
                <a:lnTo>
                  <a:pt x="216" y="160"/>
                </a:lnTo>
                <a:lnTo>
                  <a:pt x="216" y="161"/>
                </a:lnTo>
                <a:lnTo>
                  <a:pt x="214" y="161"/>
                </a:lnTo>
                <a:lnTo>
                  <a:pt x="214" y="162"/>
                </a:lnTo>
                <a:lnTo>
                  <a:pt x="212" y="162"/>
                </a:lnTo>
                <a:lnTo>
                  <a:pt x="212" y="165"/>
                </a:lnTo>
                <a:lnTo>
                  <a:pt x="211" y="165"/>
                </a:lnTo>
                <a:lnTo>
                  <a:pt x="210" y="164"/>
                </a:lnTo>
                <a:lnTo>
                  <a:pt x="210" y="162"/>
                </a:lnTo>
                <a:lnTo>
                  <a:pt x="209" y="164"/>
                </a:lnTo>
                <a:lnTo>
                  <a:pt x="208" y="164"/>
                </a:lnTo>
                <a:lnTo>
                  <a:pt x="208" y="162"/>
                </a:lnTo>
                <a:lnTo>
                  <a:pt x="206" y="162"/>
                </a:lnTo>
                <a:lnTo>
                  <a:pt x="205" y="161"/>
                </a:lnTo>
                <a:lnTo>
                  <a:pt x="195" y="161"/>
                </a:lnTo>
                <a:lnTo>
                  <a:pt x="192" y="159"/>
                </a:lnTo>
                <a:lnTo>
                  <a:pt x="187" y="159"/>
                </a:lnTo>
                <a:lnTo>
                  <a:pt x="184" y="158"/>
                </a:lnTo>
                <a:lnTo>
                  <a:pt x="183" y="156"/>
                </a:lnTo>
                <a:lnTo>
                  <a:pt x="180" y="158"/>
                </a:lnTo>
                <a:lnTo>
                  <a:pt x="179" y="158"/>
                </a:lnTo>
                <a:lnTo>
                  <a:pt x="177" y="156"/>
                </a:lnTo>
                <a:lnTo>
                  <a:pt x="174" y="156"/>
                </a:lnTo>
                <a:lnTo>
                  <a:pt x="169" y="155"/>
                </a:lnTo>
                <a:lnTo>
                  <a:pt x="167" y="155"/>
                </a:lnTo>
                <a:lnTo>
                  <a:pt x="167" y="154"/>
                </a:lnTo>
                <a:lnTo>
                  <a:pt x="162" y="154"/>
                </a:lnTo>
                <a:lnTo>
                  <a:pt x="158" y="155"/>
                </a:lnTo>
                <a:lnTo>
                  <a:pt x="156" y="154"/>
                </a:lnTo>
                <a:lnTo>
                  <a:pt x="155" y="154"/>
                </a:lnTo>
                <a:lnTo>
                  <a:pt x="153" y="153"/>
                </a:lnTo>
                <a:lnTo>
                  <a:pt x="149" y="152"/>
                </a:lnTo>
                <a:lnTo>
                  <a:pt x="140" y="152"/>
                </a:lnTo>
                <a:lnTo>
                  <a:pt x="137" y="149"/>
                </a:lnTo>
                <a:lnTo>
                  <a:pt x="134" y="149"/>
                </a:lnTo>
                <a:lnTo>
                  <a:pt x="133" y="148"/>
                </a:lnTo>
                <a:lnTo>
                  <a:pt x="127" y="148"/>
                </a:lnTo>
                <a:lnTo>
                  <a:pt x="125" y="147"/>
                </a:lnTo>
                <a:lnTo>
                  <a:pt x="123" y="147"/>
                </a:lnTo>
                <a:lnTo>
                  <a:pt x="122" y="146"/>
                </a:lnTo>
                <a:lnTo>
                  <a:pt x="119" y="144"/>
                </a:lnTo>
                <a:lnTo>
                  <a:pt x="119" y="143"/>
                </a:lnTo>
                <a:lnTo>
                  <a:pt x="118" y="142"/>
                </a:lnTo>
                <a:lnTo>
                  <a:pt x="118" y="141"/>
                </a:lnTo>
                <a:lnTo>
                  <a:pt x="116" y="141"/>
                </a:lnTo>
                <a:lnTo>
                  <a:pt x="116" y="135"/>
                </a:lnTo>
                <a:lnTo>
                  <a:pt x="112" y="135"/>
                </a:lnTo>
                <a:lnTo>
                  <a:pt x="112" y="134"/>
                </a:lnTo>
                <a:lnTo>
                  <a:pt x="111" y="134"/>
                </a:lnTo>
                <a:lnTo>
                  <a:pt x="111" y="133"/>
                </a:lnTo>
                <a:lnTo>
                  <a:pt x="110" y="133"/>
                </a:lnTo>
                <a:lnTo>
                  <a:pt x="110" y="129"/>
                </a:lnTo>
                <a:lnTo>
                  <a:pt x="109" y="128"/>
                </a:lnTo>
                <a:lnTo>
                  <a:pt x="110" y="127"/>
                </a:lnTo>
                <a:lnTo>
                  <a:pt x="112" y="125"/>
                </a:lnTo>
                <a:lnTo>
                  <a:pt x="112" y="122"/>
                </a:lnTo>
                <a:lnTo>
                  <a:pt x="109" y="122"/>
                </a:lnTo>
                <a:lnTo>
                  <a:pt x="105" y="124"/>
                </a:lnTo>
                <a:lnTo>
                  <a:pt x="102" y="124"/>
                </a:lnTo>
                <a:lnTo>
                  <a:pt x="100" y="125"/>
                </a:lnTo>
                <a:lnTo>
                  <a:pt x="98" y="127"/>
                </a:lnTo>
                <a:lnTo>
                  <a:pt x="97" y="128"/>
                </a:lnTo>
                <a:lnTo>
                  <a:pt x="94" y="128"/>
                </a:lnTo>
                <a:lnTo>
                  <a:pt x="93" y="129"/>
                </a:lnTo>
                <a:lnTo>
                  <a:pt x="92" y="129"/>
                </a:lnTo>
                <a:lnTo>
                  <a:pt x="91" y="128"/>
                </a:lnTo>
                <a:lnTo>
                  <a:pt x="90" y="128"/>
                </a:lnTo>
                <a:lnTo>
                  <a:pt x="87" y="127"/>
                </a:lnTo>
                <a:lnTo>
                  <a:pt x="86" y="127"/>
                </a:lnTo>
                <a:lnTo>
                  <a:pt x="85" y="128"/>
                </a:lnTo>
                <a:lnTo>
                  <a:pt x="84" y="128"/>
                </a:lnTo>
                <a:lnTo>
                  <a:pt x="82" y="127"/>
                </a:lnTo>
                <a:lnTo>
                  <a:pt x="81" y="127"/>
                </a:lnTo>
                <a:lnTo>
                  <a:pt x="81" y="128"/>
                </a:lnTo>
                <a:lnTo>
                  <a:pt x="79" y="129"/>
                </a:lnTo>
                <a:lnTo>
                  <a:pt x="78" y="129"/>
                </a:lnTo>
                <a:lnTo>
                  <a:pt x="77" y="128"/>
                </a:lnTo>
                <a:lnTo>
                  <a:pt x="72" y="128"/>
                </a:lnTo>
                <a:lnTo>
                  <a:pt x="69" y="129"/>
                </a:lnTo>
                <a:lnTo>
                  <a:pt x="66" y="133"/>
                </a:lnTo>
                <a:lnTo>
                  <a:pt x="66" y="134"/>
                </a:lnTo>
                <a:lnTo>
                  <a:pt x="65" y="135"/>
                </a:lnTo>
                <a:lnTo>
                  <a:pt x="65" y="139"/>
                </a:lnTo>
                <a:lnTo>
                  <a:pt x="63" y="139"/>
                </a:lnTo>
                <a:lnTo>
                  <a:pt x="62" y="141"/>
                </a:lnTo>
                <a:lnTo>
                  <a:pt x="59" y="141"/>
                </a:lnTo>
                <a:lnTo>
                  <a:pt x="57" y="142"/>
                </a:lnTo>
                <a:lnTo>
                  <a:pt x="56" y="142"/>
                </a:lnTo>
                <a:lnTo>
                  <a:pt x="56" y="141"/>
                </a:lnTo>
                <a:lnTo>
                  <a:pt x="54" y="141"/>
                </a:lnTo>
                <a:lnTo>
                  <a:pt x="53" y="140"/>
                </a:lnTo>
                <a:lnTo>
                  <a:pt x="50" y="140"/>
                </a:lnTo>
                <a:lnTo>
                  <a:pt x="51" y="139"/>
                </a:lnTo>
                <a:lnTo>
                  <a:pt x="51" y="137"/>
                </a:lnTo>
                <a:lnTo>
                  <a:pt x="48" y="136"/>
                </a:lnTo>
                <a:lnTo>
                  <a:pt x="47" y="135"/>
                </a:lnTo>
                <a:lnTo>
                  <a:pt x="47" y="136"/>
                </a:lnTo>
                <a:lnTo>
                  <a:pt x="42" y="137"/>
                </a:lnTo>
                <a:lnTo>
                  <a:pt x="38" y="134"/>
                </a:lnTo>
                <a:lnTo>
                  <a:pt x="40" y="133"/>
                </a:lnTo>
                <a:lnTo>
                  <a:pt x="40" y="131"/>
                </a:lnTo>
                <a:lnTo>
                  <a:pt x="36" y="128"/>
                </a:lnTo>
                <a:lnTo>
                  <a:pt x="34" y="128"/>
                </a:lnTo>
                <a:lnTo>
                  <a:pt x="34" y="129"/>
                </a:lnTo>
                <a:lnTo>
                  <a:pt x="32" y="130"/>
                </a:lnTo>
                <a:lnTo>
                  <a:pt x="32" y="131"/>
                </a:lnTo>
                <a:lnTo>
                  <a:pt x="30" y="131"/>
                </a:lnTo>
                <a:lnTo>
                  <a:pt x="29" y="133"/>
                </a:lnTo>
                <a:lnTo>
                  <a:pt x="29" y="135"/>
                </a:lnTo>
                <a:lnTo>
                  <a:pt x="26" y="136"/>
                </a:lnTo>
                <a:lnTo>
                  <a:pt x="23" y="136"/>
                </a:lnTo>
                <a:lnTo>
                  <a:pt x="20" y="134"/>
                </a:lnTo>
                <a:lnTo>
                  <a:pt x="16" y="133"/>
                </a:lnTo>
                <a:lnTo>
                  <a:pt x="15" y="131"/>
                </a:lnTo>
                <a:lnTo>
                  <a:pt x="15" y="127"/>
                </a:lnTo>
                <a:lnTo>
                  <a:pt x="13" y="127"/>
                </a:lnTo>
                <a:lnTo>
                  <a:pt x="6" y="124"/>
                </a:lnTo>
                <a:lnTo>
                  <a:pt x="5" y="123"/>
                </a:lnTo>
                <a:lnTo>
                  <a:pt x="3" y="124"/>
                </a:lnTo>
                <a:lnTo>
                  <a:pt x="3" y="123"/>
                </a:lnTo>
                <a:lnTo>
                  <a:pt x="4" y="122"/>
                </a:lnTo>
                <a:lnTo>
                  <a:pt x="4" y="121"/>
                </a:lnTo>
                <a:lnTo>
                  <a:pt x="3" y="119"/>
                </a:lnTo>
                <a:lnTo>
                  <a:pt x="3" y="117"/>
                </a:lnTo>
                <a:lnTo>
                  <a:pt x="1" y="117"/>
                </a:lnTo>
                <a:lnTo>
                  <a:pt x="1" y="113"/>
                </a:lnTo>
                <a:lnTo>
                  <a:pt x="0" y="113"/>
                </a:lnTo>
                <a:lnTo>
                  <a:pt x="0" y="111"/>
                </a:lnTo>
                <a:lnTo>
                  <a:pt x="3" y="106"/>
                </a:lnTo>
                <a:lnTo>
                  <a:pt x="3" y="105"/>
                </a:lnTo>
                <a:lnTo>
                  <a:pt x="5" y="103"/>
                </a:lnTo>
                <a:lnTo>
                  <a:pt x="5" y="99"/>
                </a:lnTo>
                <a:lnTo>
                  <a:pt x="0" y="94"/>
                </a:lnTo>
                <a:lnTo>
                  <a:pt x="7" y="94"/>
                </a:lnTo>
                <a:lnTo>
                  <a:pt x="7" y="93"/>
                </a:lnTo>
                <a:lnTo>
                  <a:pt x="10" y="91"/>
                </a:lnTo>
                <a:lnTo>
                  <a:pt x="12" y="91"/>
                </a:lnTo>
                <a:lnTo>
                  <a:pt x="12" y="93"/>
                </a:lnTo>
                <a:lnTo>
                  <a:pt x="13" y="94"/>
                </a:lnTo>
                <a:lnTo>
                  <a:pt x="13" y="93"/>
                </a:lnTo>
                <a:lnTo>
                  <a:pt x="16" y="94"/>
                </a:lnTo>
                <a:lnTo>
                  <a:pt x="17" y="94"/>
                </a:lnTo>
                <a:lnTo>
                  <a:pt x="18" y="93"/>
                </a:lnTo>
                <a:lnTo>
                  <a:pt x="18" y="96"/>
                </a:lnTo>
                <a:lnTo>
                  <a:pt x="19" y="97"/>
                </a:lnTo>
                <a:lnTo>
                  <a:pt x="19" y="98"/>
                </a:lnTo>
                <a:lnTo>
                  <a:pt x="20" y="98"/>
                </a:lnTo>
                <a:lnTo>
                  <a:pt x="20" y="97"/>
                </a:lnTo>
                <a:lnTo>
                  <a:pt x="23" y="100"/>
                </a:lnTo>
                <a:lnTo>
                  <a:pt x="23" y="102"/>
                </a:lnTo>
                <a:lnTo>
                  <a:pt x="22" y="102"/>
                </a:lnTo>
                <a:lnTo>
                  <a:pt x="23" y="103"/>
                </a:lnTo>
                <a:lnTo>
                  <a:pt x="23" y="105"/>
                </a:lnTo>
                <a:lnTo>
                  <a:pt x="24" y="105"/>
                </a:lnTo>
                <a:lnTo>
                  <a:pt x="24" y="104"/>
                </a:lnTo>
                <a:lnTo>
                  <a:pt x="29" y="104"/>
                </a:lnTo>
                <a:lnTo>
                  <a:pt x="29" y="105"/>
                </a:lnTo>
                <a:lnTo>
                  <a:pt x="28" y="107"/>
                </a:lnTo>
                <a:lnTo>
                  <a:pt x="28" y="109"/>
                </a:lnTo>
                <a:lnTo>
                  <a:pt x="26" y="109"/>
                </a:lnTo>
                <a:lnTo>
                  <a:pt x="26" y="110"/>
                </a:lnTo>
                <a:lnTo>
                  <a:pt x="31" y="110"/>
                </a:lnTo>
                <a:lnTo>
                  <a:pt x="35" y="106"/>
                </a:lnTo>
                <a:lnTo>
                  <a:pt x="35" y="105"/>
                </a:lnTo>
                <a:lnTo>
                  <a:pt x="36" y="104"/>
                </a:lnTo>
                <a:lnTo>
                  <a:pt x="37" y="104"/>
                </a:lnTo>
                <a:lnTo>
                  <a:pt x="38" y="103"/>
                </a:lnTo>
                <a:lnTo>
                  <a:pt x="38" y="97"/>
                </a:lnTo>
                <a:lnTo>
                  <a:pt x="37" y="97"/>
                </a:lnTo>
                <a:lnTo>
                  <a:pt x="38" y="94"/>
                </a:lnTo>
                <a:lnTo>
                  <a:pt x="38" y="93"/>
                </a:lnTo>
                <a:lnTo>
                  <a:pt x="40" y="93"/>
                </a:lnTo>
                <a:lnTo>
                  <a:pt x="41" y="94"/>
                </a:lnTo>
                <a:lnTo>
                  <a:pt x="43" y="94"/>
                </a:lnTo>
                <a:lnTo>
                  <a:pt x="44" y="93"/>
                </a:lnTo>
                <a:lnTo>
                  <a:pt x="44" y="92"/>
                </a:lnTo>
                <a:lnTo>
                  <a:pt x="46" y="92"/>
                </a:lnTo>
                <a:lnTo>
                  <a:pt x="51" y="94"/>
                </a:lnTo>
                <a:lnTo>
                  <a:pt x="51" y="96"/>
                </a:lnTo>
                <a:lnTo>
                  <a:pt x="53" y="96"/>
                </a:lnTo>
                <a:lnTo>
                  <a:pt x="55" y="94"/>
                </a:lnTo>
                <a:lnTo>
                  <a:pt x="56" y="94"/>
                </a:lnTo>
                <a:lnTo>
                  <a:pt x="57" y="96"/>
                </a:lnTo>
                <a:lnTo>
                  <a:pt x="56" y="97"/>
                </a:lnTo>
                <a:lnTo>
                  <a:pt x="59" y="98"/>
                </a:lnTo>
                <a:lnTo>
                  <a:pt x="60" y="100"/>
                </a:lnTo>
                <a:lnTo>
                  <a:pt x="61" y="100"/>
                </a:lnTo>
                <a:lnTo>
                  <a:pt x="61" y="102"/>
                </a:lnTo>
                <a:lnTo>
                  <a:pt x="60" y="102"/>
                </a:lnTo>
                <a:lnTo>
                  <a:pt x="61" y="103"/>
                </a:lnTo>
                <a:lnTo>
                  <a:pt x="67" y="103"/>
                </a:lnTo>
                <a:lnTo>
                  <a:pt x="69" y="100"/>
                </a:lnTo>
                <a:lnTo>
                  <a:pt x="71" y="100"/>
                </a:lnTo>
                <a:lnTo>
                  <a:pt x="71" y="103"/>
                </a:lnTo>
                <a:lnTo>
                  <a:pt x="73" y="103"/>
                </a:lnTo>
                <a:lnTo>
                  <a:pt x="74" y="102"/>
                </a:lnTo>
                <a:lnTo>
                  <a:pt x="74" y="100"/>
                </a:lnTo>
                <a:lnTo>
                  <a:pt x="78" y="100"/>
                </a:lnTo>
                <a:lnTo>
                  <a:pt x="78" y="99"/>
                </a:lnTo>
                <a:lnTo>
                  <a:pt x="79" y="99"/>
                </a:lnTo>
                <a:lnTo>
                  <a:pt x="79" y="98"/>
                </a:lnTo>
                <a:lnTo>
                  <a:pt x="78" y="98"/>
                </a:lnTo>
                <a:lnTo>
                  <a:pt x="79" y="96"/>
                </a:lnTo>
                <a:lnTo>
                  <a:pt x="85" y="96"/>
                </a:lnTo>
                <a:lnTo>
                  <a:pt x="86" y="94"/>
                </a:lnTo>
                <a:lnTo>
                  <a:pt x="86" y="92"/>
                </a:lnTo>
                <a:lnTo>
                  <a:pt x="87" y="92"/>
                </a:lnTo>
                <a:lnTo>
                  <a:pt x="88" y="91"/>
                </a:lnTo>
                <a:lnTo>
                  <a:pt x="97" y="91"/>
                </a:lnTo>
                <a:lnTo>
                  <a:pt x="98" y="90"/>
                </a:lnTo>
                <a:lnTo>
                  <a:pt x="111" y="90"/>
                </a:lnTo>
                <a:lnTo>
                  <a:pt x="113" y="87"/>
                </a:lnTo>
                <a:lnTo>
                  <a:pt x="113" y="85"/>
                </a:lnTo>
                <a:lnTo>
                  <a:pt x="116" y="85"/>
                </a:lnTo>
                <a:lnTo>
                  <a:pt x="117" y="84"/>
                </a:lnTo>
                <a:lnTo>
                  <a:pt x="119" y="85"/>
                </a:lnTo>
                <a:lnTo>
                  <a:pt x="122" y="84"/>
                </a:lnTo>
                <a:lnTo>
                  <a:pt x="122" y="85"/>
                </a:lnTo>
                <a:lnTo>
                  <a:pt x="123" y="86"/>
                </a:lnTo>
                <a:lnTo>
                  <a:pt x="123" y="87"/>
                </a:lnTo>
                <a:lnTo>
                  <a:pt x="124" y="87"/>
                </a:lnTo>
                <a:lnTo>
                  <a:pt x="125" y="88"/>
                </a:lnTo>
                <a:lnTo>
                  <a:pt x="127" y="88"/>
                </a:lnTo>
                <a:lnTo>
                  <a:pt x="129" y="86"/>
                </a:lnTo>
                <a:lnTo>
                  <a:pt x="130" y="86"/>
                </a:lnTo>
                <a:lnTo>
                  <a:pt x="131" y="85"/>
                </a:lnTo>
                <a:lnTo>
                  <a:pt x="134" y="85"/>
                </a:lnTo>
                <a:lnTo>
                  <a:pt x="136" y="86"/>
                </a:lnTo>
                <a:lnTo>
                  <a:pt x="136" y="87"/>
                </a:lnTo>
                <a:lnTo>
                  <a:pt x="138" y="90"/>
                </a:lnTo>
                <a:lnTo>
                  <a:pt x="137" y="90"/>
                </a:lnTo>
                <a:lnTo>
                  <a:pt x="137" y="93"/>
                </a:lnTo>
                <a:lnTo>
                  <a:pt x="140" y="93"/>
                </a:lnTo>
                <a:lnTo>
                  <a:pt x="140" y="94"/>
                </a:lnTo>
                <a:lnTo>
                  <a:pt x="141" y="97"/>
                </a:lnTo>
                <a:lnTo>
                  <a:pt x="143" y="98"/>
                </a:lnTo>
                <a:lnTo>
                  <a:pt x="147" y="98"/>
                </a:lnTo>
                <a:lnTo>
                  <a:pt x="148" y="97"/>
                </a:lnTo>
                <a:lnTo>
                  <a:pt x="148" y="91"/>
                </a:lnTo>
                <a:lnTo>
                  <a:pt x="149" y="90"/>
                </a:lnTo>
                <a:lnTo>
                  <a:pt x="149" y="85"/>
                </a:lnTo>
                <a:lnTo>
                  <a:pt x="147" y="82"/>
                </a:lnTo>
                <a:lnTo>
                  <a:pt x="146" y="84"/>
                </a:lnTo>
                <a:lnTo>
                  <a:pt x="144" y="84"/>
                </a:lnTo>
                <a:lnTo>
                  <a:pt x="142" y="82"/>
                </a:lnTo>
                <a:lnTo>
                  <a:pt x="142" y="81"/>
                </a:lnTo>
                <a:lnTo>
                  <a:pt x="143" y="80"/>
                </a:lnTo>
                <a:lnTo>
                  <a:pt x="143" y="79"/>
                </a:lnTo>
                <a:lnTo>
                  <a:pt x="146" y="74"/>
                </a:lnTo>
                <a:lnTo>
                  <a:pt x="144" y="73"/>
                </a:lnTo>
                <a:lnTo>
                  <a:pt x="143" y="69"/>
                </a:lnTo>
                <a:lnTo>
                  <a:pt x="141" y="67"/>
                </a:lnTo>
                <a:lnTo>
                  <a:pt x="140" y="67"/>
                </a:lnTo>
                <a:lnTo>
                  <a:pt x="140" y="63"/>
                </a:lnTo>
                <a:lnTo>
                  <a:pt x="136" y="61"/>
                </a:lnTo>
                <a:lnTo>
                  <a:pt x="136" y="60"/>
                </a:lnTo>
                <a:lnTo>
                  <a:pt x="135" y="59"/>
                </a:lnTo>
                <a:lnTo>
                  <a:pt x="135" y="57"/>
                </a:lnTo>
                <a:lnTo>
                  <a:pt x="136" y="57"/>
                </a:lnTo>
                <a:lnTo>
                  <a:pt x="140" y="54"/>
                </a:lnTo>
                <a:lnTo>
                  <a:pt x="140" y="53"/>
                </a:lnTo>
                <a:lnTo>
                  <a:pt x="141" y="53"/>
                </a:lnTo>
                <a:lnTo>
                  <a:pt x="143" y="51"/>
                </a:lnTo>
                <a:lnTo>
                  <a:pt x="144" y="51"/>
                </a:lnTo>
                <a:lnTo>
                  <a:pt x="148" y="48"/>
                </a:lnTo>
                <a:lnTo>
                  <a:pt x="152" y="47"/>
                </a:lnTo>
                <a:lnTo>
                  <a:pt x="158" y="45"/>
                </a:lnTo>
                <a:lnTo>
                  <a:pt x="160" y="44"/>
                </a:lnTo>
                <a:lnTo>
                  <a:pt x="165" y="39"/>
                </a:lnTo>
                <a:lnTo>
                  <a:pt x="165" y="33"/>
                </a:lnTo>
                <a:lnTo>
                  <a:pt x="166" y="32"/>
                </a:lnTo>
                <a:lnTo>
                  <a:pt x="166" y="31"/>
                </a:lnTo>
                <a:lnTo>
                  <a:pt x="165" y="31"/>
                </a:lnTo>
                <a:lnTo>
                  <a:pt x="165" y="29"/>
                </a:lnTo>
                <a:lnTo>
                  <a:pt x="166" y="29"/>
                </a:lnTo>
                <a:lnTo>
                  <a:pt x="167" y="27"/>
                </a:lnTo>
                <a:lnTo>
                  <a:pt x="168" y="27"/>
                </a:lnTo>
                <a:lnTo>
                  <a:pt x="173" y="29"/>
                </a:lnTo>
                <a:lnTo>
                  <a:pt x="173" y="30"/>
                </a:lnTo>
                <a:lnTo>
                  <a:pt x="174" y="30"/>
                </a:lnTo>
                <a:lnTo>
                  <a:pt x="174" y="31"/>
                </a:lnTo>
                <a:lnTo>
                  <a:pt x="177" y="31"/>
                </a:lnTo>
                <a:lnTo>
                  <a:pt x="177" y="30"/>
                </a:lnTo>
                <a:lnTo>
                  <a:pt x="178" y="29"/>
                </a:lnTo>
                <a:lnTo>
                  <a:pt x="179" y="29"/>
                </a:lnTo>
                <a:lnTo>
                  <a:pt x="180" y="26"/>
                </a:lnTo>
                <a:lnTo>
                  <a:pt x="180" y="21"/>
                </a:lnTo>
                <a:lnTo>
                  <a:pt x="181" y="20"/>
                </a:lnTo>
                <a:lnTo>
                  <a:pt x="180" y="20"/>
                </a:lnTo>
                <a:lnTo>
                  <a:pt x="180" y="19"/>
                </a:lnTo>
                <a:lnTo>
                  <a:pt x="179" y="19"/>
                </a:lnTo>
                <a:lnTo>
                  <a:pt x="181" y="16"/>
                </a:lnTo>
                <a:lnTo>
                  <a:pt x="183" y="17"/>
                </a:lnTo>
                <a:lnTo>
                  <a:pt x="184" y="17"/>
                </a:lnTo>
                <a:lnTo>
                  <a:pt x="184" y="18"/>
                </a:lnTo>
                <a:lnTo>
                  <a:pt x="185" y="18"/>
                </a:lnTo>
                <a:lnTo>
                  <a:pt x="187" y="20"/>
                </a:lnTo>
                <a:lnTo>
                  <a:pt x="189" y="20"/>
                </a:lnTo>
                <a:lnTo>
                  <a:pt x="189" y="21"/>
                </a:lnTo>
                <a:lnTo>
                  <a:pt x="190" y="21"/>
                </a:lnTo>
                <a:lnTo>
                  <a:pt x="190" y="24"/>
                </a:lnTo>
                <a:lnTo>
                  <a:pt x="189" y="24"/>
                </a:lnTo>
                <a:lnTo>
                  <a:pt x="189" y="25"/>
                </a:lnTo>
                <a:lnTo>
                  <a:pt x="190" y="25"/>
                </a:lnTo>
                <a:lnTo>
                  <a:pt x="190" y="26"/>
                </a:lnTo>
                <a:lnTo>
                  <a:pt x="192" y="27"/>
                </a:lnTo>
                <a:lnTo>
                  <a:pt x="198" y="27"/>
                </a:lnTo>
                <a:lnTo>
                  <a:pt x="202" y="30"/>
                </a:lnTo>
                <a:lnTo>
                  <a:pt x="203" y="30"/>
                </a:lnTo>
                <a:lnTo>
                  <a:pt x="203" y="29"/>
                </a:lnTo>
                <a:lnTo>
                  <a:pt x="204" y="29"/>
                </a:lnTo>
                <a:lnTo>
                  <a:pt x="205" y="27"/>
                </a:lnTo>
                <a:lnTo>
                  <a:pt x="206" y="27"/>
                </a:lnTo>
                <a:lnTo>
                  <a:pt x="208" y="24"/>
                </a:lnTo>
                <a:lnTo>
                  <a:pt x="209" y="25"/>
                </a:lnTo>
                <a:lnTo>
                  <a:pt x="211" y="26"/>
                </a:lnTo>
                <a:lnTo>
                  <a:pt x="214" y="25"/>
                </a:lnTo>
                <a:lnTo>
                  <a:pt x="214" y="26"/>
                </a:lnTo>
                <a:lnTo>
                  <a:pt x="216" y="26"/>
                </a:lnTo>
                <a:lnTo>
                  <a:pt x="216" y="29"/>
                </a:lnTo>
                <a:lnTo>
                  <a:pt x="217" y="29"/>
                </a:lnTo>
                <a:lnTo>
                  <a:pt x="218" y="27"/>
                </a:lnTo>
                <a:lnTo>
                  <a:pt x="218" y="21"/>
                </a:lnTo>
                <a:lnTo>
                  <a:pt x="220" y="20"/>
                </a:lnTo>
                <a:lnTo>
                  <a:pt x="222" y="19"/>
                </a:lnTo>
                <a:lnTo>
                  <a:pt x="222" y="16"/>
                </a:lnTo>
                <a:lnTo>
                  <a:pt x="225" y="16"/>
                </a:lnTo>
                <a:lnTo>
                  <a:pt x="228" y="17"/>
                </a:lnTo>
                <a:lnTo>
                  <a:pt x="229" y="16"/>
                </a:lnTo>
                <a:lnTo>
                  <a:pt x="228" y="14"/>
                </a:lnTo>
                <a:lnTo>
                  <a:pt x="228" y="13"/>
                </a:lnTo>
                <a:lnTo>
                  <a:pt x="229" y="12"/>
                </a:lnTo>
                <a:lnTo>
                  <a:pt x="229" y="2"/>
                </a:lnTo>
                <a:lnTo>
                  <a:pt x="230" y="1"/>
                </a:lnTo>
                <a:lnTo>
                  <a:pt x="23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" name="Freeform 57">
            <a:extLst>
              <a:ext uri="{FF2B5EF4-FFF2-40B4-BE49-F238E27FC236}">
                <a16:creationId xmlns:a16="http://schemas.microsoft.com/office/drawing/2014/main" id="{5FD0D443-17D2-4A0E-89CC-4E9B8A31053B}"/>
              </a:ext>
            </a:extLst>
          </p:cNvPr>
          <p:cNvSpPr>
            <a:spLocks noEditPoints="1"/>
          </p:cNvSpPr>
          <p:nvPr/>
        </p:nvSpPr>
        <p:spPr bwMode="auto">
          <a:xfrm>
            <a:off x="3886154" y="5478295"/>
            <a:ext cx="194158" cy="194158"/>
          </a:xfrm>
          <a:custGeom>
            <a:avLst/>
            <a:gdLst/>
            <a:ahLst/>
            <a:cxnLst>
              <a:cxn ang="0">
                <a:pos x="86" y="38"/>
              </a:cxn>
              <a:cxn ang="0">
                <a:pos x="76" y="18"/>
              </a:cxn>
              <a:cxn ang="0">
                <a:pos x="66" y="16"/>
              </a:cxn>
              <a:cxn ang="0">
                <a:pos x="68" y="4"/>
              </a:cxn>
              <a:cxn ang="0">
                <a:pos x="76" y="9"/>
              </a:cxn>
              <a:cxn ang="0">
                <a:pos x="71" y="15"/>
              </a:cxn>
              <a:cxn ang="0">
                <a:pos x="78" y="17"/>
              </a:cxn>
              <a:cxn ang="0">
                <a:pos x="85" y="19"/>
              </a:cxn>
              <a:cxn ang="0">
                <a:pos x="92" y="24"/>
              </a:cxn>
              <a:cxn ang="0">
                <a:pos x="85" y="31"/>
              </a:cxn>
              <a:cxn ang="0">
                <a:pos x="85" y="40"/>
              </a:cxn>
              <a:cxn ang="0">
                <a:pos x="87" y="46"/>
              </a:cxn>
              <a:cxn ang="0">
                <a:pos x="107" y="58"/>
              </a:cxn>
              <a:cxn ang="0">
                <a:pos x="105" y="68"/>
              </a:cxn>
              <a:cxn ang="0">
                <a:pos x="91" y="73"/>
              </a:cxn>
              <a:cxn ang="0">
                <a:pos x="98" y="77"/>
              </a:cxn>
              <a:cxn ang="0">
                <a:pos x="105" y="84"/>
              </a:cxn>
              <a:cxn ang="0">
                <a:pos x="114" y="91"/>
              </a:cxn>
              <a:cxn ang="0">
                <a:pos x="123" y="93"/>
              </a:cxn>
              <a:cxn ang="0">
                <a:pos x="129" y="102"/>
              </a:cxn>
              <a:cxn ang="0">
                <a:pos x="129" y="109"/>
              </a:cxn>
              <a:cxn ang="0">
                <a:pos x="134" y="115"/>
              </a:cxn>
              <a:cxn ang="0">
                <a:pos x="126" y="116"/>
              </a:cxn>
              <a:cxn ang="0">
                <a:pos x="129" y="130"/>
              </a:cxn>
              <a:cxn ang="0">
                <a:pos x="118" y="134"/>
              </a:cxn>
              <a:cxn ang="0">
                <a:pos x="108" y="120"/>
              </a:cxn>
              <a:cxn ang="0">
                <a:pos x="107" y="112"/>
              </a:cxn>
              <a:cxn ang="0">
                <a:pos x="99" y="108"/>
              </a:cxn>
              <a:cxn ang="0">
                <a:pos x="101" y="98"/>
              </a:cxn>
              <a:cxn ang="0">
                <a:pos x="86" y="99"/>
              </a:cxn>
              <a:cxn ang="0">
                <a:pos x="79" y="97"/>
              </a:cxn>
              <a:cxn ang="0">
                <a:pos x="73" y="96"/>
              </a:cxn>
              <a:cxn ang="0">
                <a:pos x="66" y="85"/>
              </a:cxn>
              <a:cxn ang="0">
                <a:pos x="56" y="89"/>
              </a:cxn>
              <a:cxn ang="0">
                <a:pos x="49" y="81"/>
              </a:cxn>
              <a:cxn ang="0">
                <a:pos x="47" y="75"/>
              </a:cxn>
              <a:cxn ang="0">
                <a:pos x="33" y="71"/>
              </a:cxn>
              <a:cxn ang="0">
                <a:pos x="16" y="68"/>
              </a:cxn>
              <a:cxn ang="0">
                <a:pos x="12" y="62"/>
              </a:cxn>
              <a:cxn ang="0">
                <a:pos x="8" y="52"/>
              </a:cxn>
              <a:cxn ang="0">
                <a:pos x="8" y="44"/>
              </a:cxn>
              <a:cxn ang="0">
                <a:pos x="11" y="37"/>
              </a:cxn>
              <a:cxn ang="0">
                <a:pos x="6" y="18"/>
              </a:cxn>
              <a:cxn ang="0">
                <a:pos x="2" y="11"/>
              </a:cxn>
              <a:cxn ang="0">
                <a:pos x="17" y="9"/>
              </a:cxn>
              <a:cxn ang="0">
                <a:pos x="29" y="7"/>
              </a:cxn>
              <a:cxn ang="0">
                <a:pos x="35" y="6"/>
              </a:cxn>
              <a:cxn ang="0">
                <a:pos x="42" y="7"/>
              </a:cxn>
              <a:cxn ang="0">
                <a:pos x="47" y="6"/>
              </a:cxn>
              <a:cxn ang="0">
                <a:pos x="49" y="5"/>
              </a:cxn>
              <a:cxn ang="0">
                <a:pos x="59" y="1"/>
              </a:cxn>
              <a:cxn ang="0">
                <a:pos x="67" y="0"/>
              </a:cxn>
            </a:cxnLst>
            <a:rect l="0" t="0" r="r" b="b"/>
            <a:pathLst>
              <a:path w="134" h="134">
                <a:moveTo>
                  <a:pt x="86" y="36"/>
                </a:moveTo>
                <a:lnTo>
                  <a:pt x="90" y="36"/>
                </a:lnTo>
                <a:lnTo>
                  <a:pt x="90" y="38"/>
                </a:lnTo>
                <a:lnTo>
                  <a:pt x="89" y="40"/>
                </a:lnTo>
                <a:lnTo>
                  <a:pt x="86" y="38"/>
                </a:lnTo>
                <a:lnTo>
                  <a:pt x="86" y="36"/>
                </a:lnTo>
                <a:close/>
                <a:moveTo>
                  <a:pt x="74" y="17"/>
                </a:moveTo>
                <a:lnTo>
                  <a:pt x="74" y="18"/>
                </a:lnTo>
                <a:lnTo>
                  <a:pt x="76" y="19"/>
                </a:lnTo>
                <a:lnTo>
                  <a:pt x="76" y="18"/>
                </a:lnTo>
                <a:lnTo>
                  <a:pt x="74" y="17"/>
                </a:lnTo>
                <a:close/>
                <a:moveTo>
                  <a:pt x="66" y="12"/>
                </a:moveTo>
                <a:lnTo>
                  <a:pt x="65" y="13"/>
                </a:lnTo>
                <a:lnTo>
                  <a:pt x="65" y="15"/>
                </a:lnTo>
                <a:lnTo>
                  <a:pt x="66" y="16"/>
                </a:lnTo>
                <a:lnTo>
                  <a:pt x="67" y="16"/>
                </a:lnTo>
                <a:lnTo>
                  <a:pt x="67" y="13"/>
                </a:lnTo>
                <a:lnTo>
                  <a:pt x="66" y="12"/>
                </a:lnTo>
                <a:close/>
                <a:moveTo>
                  <a:pt x="67" y="0"/>
                </a:moveTo>
                <a:lnTo>
                  <a:pt x="68" y="4"/>
                </a:lnTo>
                <a:lnTo>
                  <a:pt x="67" y="5"/>
                </a:lnTo>
                <a:lnTo>
                  <a:pt x="68" y="6"/>
                </a:lnTo>
                <a:lnTo>
                  <a:pt x="72" y="6"/>
                </a:lnTo>
                <a:lnTo>
                  <a:pt x="74" y="9"/>
                </a:lnTo>
                <a:lnTo>
                  <a:pt x="76" y="9"/>
                </a:lnTo>
                <a:lnTo>
                  <a:pt x="76" y="10"/>
                </a:lnTo>
                <a:lnTo>
                  <a:pt x="73" y="11"/>
                </a:lnTo>
                <a:lnTo>
                  <a:pt x="70" y="11"/>
                </a:lnTo>
                <a:lnTo>
                  <a:pt x="68" y="12"/>
                </a:lnTo>
                <a:lnTo>
                  <a:pt x="71" y="15"/>
                </a:lnTo>
                <a:lnTo>
                  <a:pt x="72" y="13"/>
                </a:lnTo>
                <a:lnTo>
                  <a:pt x="73" y="15"/>
                </a:lnTo>
                <a:lnTo>
                  <a:pt x="74" y="15"/>
                </a:lnTo>
                <a:lnTo>
                  <a:pt x="76" y="16"/>
                </a:lnTo>
                <a:lnTo>
                  <a:pt x="78" y="17"/>
                </a:lnTo>
                <a:lnTo>
                  <a:pt x="83" y="17"/>
                </a:lnTo>
                <a:lnTo>
                  <a:pt x="83" y="16"/>
                </a:lnTo>
                <a:lnTo>
                  <a:pt x="84" y="16"/>
                </a:lnTo>
                <a:lnTo>
                  <a:pt x="84" y="19"/>
                </a:lnTo>
                <a:lnTo>
                  <a:pt x="85" y="19"/>
                </a:lnTo>
                <a:lnTo>
                  <a:pt x="85" y="21"/>
                </a:lnTo>
                <a:lnTo>
                  <a:pt x="86" y="21"/>
                </a:lnTo>
                <a:lnTo>
                  <a:pt x="89" y="23"/>
                </a:lnTo>
                <a:lnTo>
                  <a:pt x="89" y="24"/>
                </a:lnTo>
                <a:lnTo>
                  <a:pt x="92" y="24"/>
                </a:lnTo>
                <a:lnTo>
                  <a:pt x="92" y="25"/>
                </a:lnTo>
                <a:lnTo>
                  <a:pt x="91" y="28"/>
                </a:lnTo>
                <a:lnTo>
                  <a:pt x="90" y="29"/>
                </a:lnTo>
                <a:lnTo>
                  <a:pt x="86" y="31"/>
                </a:lnTo>
                <a:lnTo>
                  <a:pt x="85" y="31"/>
                </a:lnTo>
                <a:lnTo>
                  <a:pt x="84" y="34"/>
                </a:lnTo>
                <a:lnTo>
                  <a:pt x="83" y="35"/>
                </a:lnTo>
                <a:lnTo>
                  <a:pt x="83" y="38"/>
                </a:lnTo>
                <a:lnTo>
                  <a:pt x="84" y="40"/>
                </a:lnTo>
                <a:lnTo>
                  <a:pt x="85" y="40"/>
                </a:lnTo>
                <a:lnTo>
                  <a:pt x="85" y="43"/>
                </a:lnTo>
                <a:lnTo>
                  <a:pt x="86" y="43"/>
                </a:lnTo>
                <a:lnTo>
                  <a:pt x="86" y="44"/>
                </a:lnTo>
                <a:lnTo>
                  <a:pt x="87" y="44"/>
                </a:lnTo>
                <a:lnTo>
                  <a:pt x="87" y="46"/>
                </a:lnTo>
                <a:lnTo>
                  <a:pt x="89" y="48"/>
                </a:lnTo>
                <a:lnTo>
                  <a:pt x="91" y="50"/>
                </a:lnTo>
                <a:lnTo>
                  <a:pt x="101" y="56"/>
                </a:lnTo>
                <a:lnTo>
                  <a:pt x="103" y="58"/>
                </a:lnTo>
                <a:lnTo>
                  <a:pt x="107" y="58"/>
                </a:lnTo>
                <a:lnTo>
                  <a:pt x="107" y="59"/>
                </a:lnTo>
                <a:lnTo>
                  <a:pt x="108" y="60"/>
                </a:lnTo>
                <a:lnTo>
                  <a:pt x="108" y="65"/>
                </a:lnTo>
                <a:lnTo>
                  <a:pt x="105" y="67"/>
                </a:lnTo>
                <a:lnTo>
                  <a:pt x="105" y="68"/>
                </a:lnTo>
                <a:lnTo>
                  <a:pt x="104" y="68"/>
                </a:lnTo>
                <a:lnTo>
                  <a:pt x="104" y="72"/>
                </a:lnTo>
                <a:lnTo>
                  <a:pt x="101" y="72"/>
                </a:lnTo>
                <a:lnTo>
                  <a:pt x="93" y="71"/>
                </a:lnTo>
                <a:lnTo>
                  <a:pt x="91" y="73"/>
                </a:lnTo>
                <a:lnTo>
                  <a:pt x="91" y="74"/>
                </a:lnTo>
                <a:lnTo>
                  <a:pt x="92" y="74"/>
                </a:lnTo>
                <a:lnTo>
                  <a:pt x="97" y="75"/>
                </a:lnTo>
                <a:lnTo>
                  <a:pt x="98" y="75"/>
                </a:lnTo>
                <a:lnTo>
                  <a:pt x="98" y="77"/>
                </a:lnTo>
                <a:lnTo>
                  <a:pt x="101" y="80"/>
                </a:lnTo>
                <a:lnTo>
                  <a:pt x="101" y="81"/>
                </a:lnTo>
                <a:lnTo>
                  <a:pt x="103" y="83"/>
                </a:lnTo>
                <a:lnTo>
                  <a:pt x="104" y="84"/>
                </a:lnTo>
                <a:lnTo>
                  <a:pt x="105" y="84"/>
                </a:lnTo>
                <a:lnTo>
                  <a:pt x="108" y="85"/>
                </a:lnTo>
                <a:lnTo>
                  <a:pt x="109" y="86"/>
                </a:lnTo>
                <a:lnTo>
                  <a:pt x="110" y="90"/>
                </a:lnTo>
                <a:lnTo>
                  <a:pt x="113" y="91"/>
                </a:lnTo>
                <a:lnTo>
                  <a:pt x="114" y="91"/>
                </a:lnTo>
                <a:lnTo>
                  <a:pt x="115" y="92"/>
                </a:lnTo>
                <a:lnTo>
                  <a:pt x="116" y="95"/>
                </a:lnTo>
                <a:lnTo>
                  <a:pt x="118" y="95"/>
                </a:lnTo>
                <a:lnTo>
                  <a:pt x="122" y="93"/>
                </a:lnTo>
                <a:lnTo>
                  <a:pt x="123" y="93"/>
                </a:lnTo>
                <a:lnTo>
                  <a:pt x="126" y="96"/>
                </a:lnTo>
                <a:lnTo>
                  <a:pt x="130" y="96"/>
                </a:lnTo>
                <a:lnTo>
                  <a:pt x="130" y="99"/>
                </a:lnTo>
                <a:lnTo>
                  <a:pt x="129" y="99"/>
                </a:lnTo>
                <a:lnTo>
                  <a:pt x="129" y="102"/>
                </a:lnTo>
                <a:lnTo>
                  <a:pt x="126" y="103"/>
                </a:lnTo>
                <a:lnTo>
                  <a:pt x="124" y="103"/>
                </a:lnTo>
                <a:lnTo>
                  <a:pt x="124" y="107"/>
                </a:lnTo>
                <a:lnTo>
                  <a:pt x="126" y="108"/>
                </a:lnTo>
                <a:lnTo>
                  <a:pt x="129" y="109"/>
                </a:lnTo>
                <a:lnTo>
                  <a:pt x="130" y="110"/>
                </a:lnTo>
                <a:lnTo>
                  <a:pt x="130" y="111"/>
                </a:lnTo>
                <a:lnTo>
                  <a:pt x="132" y="112"/>
                </a:lnTo>
                <a:lnTo>
                  <a:pt x="134" y="114"/>
                </a:lnTo>
                <a:lnTo>
                  <a:pt x="134" y="115"/>
                </a:lnTo>
                <a:lnTo>
                  <a:pt x="133" y="116"/>
                </a:lnTo>
                <a:lnTo>
                  <a:pt x="130" y="117"/>
                </a:lnTo>
                <a:lnTo>
                  <a:pt x="128" y="116"/>
                </a:lnTo>
                <a:lnTo>
                  <a:pt x="127" y="115"/>
                </a:lnTo>
                <a:lnTo>
                  <a:pt x="126" y="116"/>
                </a:lnTo>
                <a:lnTo>
                  <a:pt x="126" y="118"/>
                </a:lnTo>
                <a:lnTo>
                  <a:pt x="127" y="120"/>
                </a:lnTo>
                <a:lnTo>
                  <a:pt x="128" y="120"/>
                </a:lnTo>
                <a:lnTo>
                  <a:pt x="129" y="121"/>
                </a:lnTo>
                <a:lnTo>
                  <a:pt x="129" y="130"/>
                </a:lnTo>
                <a:lnTo>
                  <a:pt x="130" y="133"/>
                </a:lnTo>
                <a:lnTo>
                  <a:pt x="129" y="133"/>
                </a:lnTo>
                <a:lnTo>
                  <a:pt x="126" y="132"/>
                </a:lnTo>
                <a:lnTo>
                  <a:pt x="120" y="132"/>
                </a:lnTo>
                <a:lnTo>
                  <a:pt x="118" y="134"/>
                </a:lnTo>
                <a:lnTo>
                  <a:pt x="115" y="134"/>
                </a:lnTo>
                <a:lnTo>
                  <a:pt x="113" y="129"/>
                </a:lnTo>
                <a:lnTo>
                  <a:pt x="110" y="123"/>
                </a:lnTo>
                <a:lnTo>
                  <a:pt x="109" y="122"/>
                </a:lnTo>
                <a:lnTo>
                  <a:pt x="108" y="120"/>
                </a:lnTo>
                <a:lnTo>
                  <a:pt x="107" y="118"/>
                </a:lnTo>
                <a:lnTo>
                  <a:pt x="107" y="116"/>
                </a:lnTo>
                <a:lnTo>
                  <a:pt x="108" y="115"/>
                </a:lnTo>
                <a:lnTo>
                  <a:pt x="108" y="112"/>
                </a:lnTo>
                <a:lnTo>
                  <a:pt x="107" y="112"/>
                </a:lnTo>
                <a:lnTo>
                  <a:pt x="104" y="111"/>
                </a:lnTo>
                <a:lnTo>
                  <a:pt x="104" y="110"/>
                </a:lnTo>
                <a:lnTo>
                  <a:pt x="103" y="110"/>
                </a:lnTo>
                <a:lnTo>
                  <a:pt x="102" y="109"/>
                </a:lnTo>
                <a:lnTo>
                  <a:pt x="99" y="108"/>
                </a:lnTo>
                <a:lnTo>
                  <a:pt x="98" y="108"/>
                </a:lnTo>
                <a:lnTo>
                  <a:pt x="98" y="107"/>
                </a:lnTo>
                <a:lnTo>
                  <a:pt x="99" y="105"/>
                </a:lnTo>
                <a:lnTo>
                  <a:pt x="101" y="103"/>
                </a:lnTo>
                <a:lnTo>
                  <a:pt x="101" y="98"/>
                </a:lnTo>
                <a:lnTo>
                  <a:pt x="98" y="96"/>
                </a:lnTo>
                <a:lnTo>
                  <a:pt x="97" y="96"/>
                </a:lnTo>
                <a:lnTo>
                  <a:pt x="91" y="97"/>
                </a:lnTo>
                <a:lnTo>
                  <a:pt x="90" y="98"/>
                </a:lnTo>
                <a:lnTo>
                  <a:pt x="86" y="99"/>
                </a:lnTo>
                <a:lnTo>
                  <a:pt x="86" y="101"/>
                </a:lnTo>
                <a:lnTo>
                  <a:pt x="84" y="101"/>
                </a:lnTo>
                <a:lnTo>
                  <a:pt x="83" y="98"/>
                </a:lnTo>
                <a:lnTo>
                  <a:pt x="80" y="98"/>
                </a:lnTo>
                <a:lnTo>
                  <a:pt x="79" y="97"/>
                </a:lnTo>
                <a:lnTo>
                  <a:pt x="79" y="96"/>
                </a:lnTo>
                <a:lnTo>
                  <a:pt x="78" y="95"/>
                </a:lnTo>
                <a:lnTo>
                  <a:pt x="77" y="95"/>
                </a:lnTo>
                <a:lnTo>
                  <a:pt x="76" y="96"/>
                </a:lnTo>
                <a:lnTo>
                  <a:pt x="73" y="96"/>
                </a:lnTo>
                <a:lnTo>
                  <a:pt x="73" y="91"/>
                </a:lnTo>
                <a:lnTo>
                  <a:pt x="72" y="90"/>
                </a:lnTo>
                <a:lnTo>
                  <a:pt x="70" y="86"/>
                </a:lnTo>
                <a:lnTo>
                  <a:pt x="68" y="85"/>
                </a:lnTo>
                <a:lnTo>
                  <a:pt x="66" y="85"/>
                </a:lnTo>
                <a:lnTo>
                  <a:pt x="65" y="86"/>
                </a:lnTo>
                <a:lnTo>
                  <a:pt x="65" y="87"/>
                </a:lnTo>
                <a:lnTo>
                  <a:pt x="60" y="87"/>
                </a:lnTo>
                <a:lnTo>
                  <a:pt x="58" y="89"/>
                </a:lnTo>
                <a:lnTo>
                  <a:pt x="56" y="89"/>
                </a:lnTo>
                <a:lnTo>
                  <a:pt x="56" y="87"/>
                </a:lnTo>
                <a:lnTo>
                  <a:pt x="54" y="84"/>
                </a:lnTo>
                <a:lnTo>
                  <a:pt x="53" y="84"/>
                </a:lnTo>
                <a:lnTo>
                  <a:pt x="51" y="81"/>
                </a:lnTo>
                <a:lnTo>
                  <a:pt x="49" y="81"/>
                </a:lnTo>
                <a:lnTo>
                  <a:pt x="49" y="80"/>
                </a:lnTo>
                <a:lnTo>
                  <a:pt x="48" y="80"/>
                </a:lnTo>
                <a:lnTo>
                  <a:pt x="48" y="78"/>
                </a:lnTo>
                <a:lnTo>
                  <a:pt x="47" y="77"/>
                </a:lnTo>
                <a:lnTo>
                  <a:pt x="47" y="75"/>
                </a:lnTo>
                <a:lnTo>
                  <a:pt x="43" y="74"/>
                </a:lnTo>
                <a:lnTo>
                  <a:pt x="41" y="72"/>
                </a:lnTo>
                <a:lnTo>
                  <a:pt x="36" y="69"/>
                </a:lnTo>
                <a:lnTo>
                  <a:pt x="35" y="69"/>
                </a:lnTo>
                <a:lnTo>
                  <a:pt x="33" y="71"/>
                </a:lnTo>
                <a:lnTo>
                  <a:pt x="28" y="71"/>
                </a:lnTo>
                <a:lnTo>
                  <a:pt x="27" y="72"/>
                </a:lnTo>
                <a:lnTo>
                  <a:pt x="25" y="72"/>
                </a:lnTo>
                <a:lnTo>
                  <a:pt x="21" y="71"/>
                </a:lnTo>
                <a:lnTo>
                  <a:pt x="16" y="68"/>
                </a:lnTo>
                <a:lnTo>
                  <a:pt x="12" y="67"/>
                </a:lnTo>
                <a:lnTo>
                  <a:pt x="10" y="66"/>
                </a:lnTo>
                <a:lnTo>
                  <a:pt x="10" y="65"/>
                </a:lnTo>
                <a:lnTo>
                  <a:pt x="12" y="64"/>
                </a:lnTo>
                <a:lnTo>
                  <a:pt x="12" y="62"/>
                </a:lnTo>
                <a:lnTo>
                  <a:pt x="10" y="60"/>
                </a:lnTo>
                <a:lnTo>
                  <a:pt x="11" y="59"/>
                </a:lnTo>
                <a:lnTo>
                  <a:pt x="11" y="58"/>
                </a:lnTo>
                <a:lnTo>
                  <a:pt x="8" y="54"/>
                </a:lnTo>
                <a:lnTo>
                  <a:pt x="8" y="52"/>
                </a:lnTo>
                <a:lnTo>
                  <a:pt x="9" y="49"/>
                </a:lnTo>
                <a:lnTo>
                  <a:pt x="6" y="48"/>
                </a:lnTo>
                <a:lnTo>
                  <a:pt x="6" y="47"/>
                </a:lnTo>
                <a:lnTo>
                  <a:pt x="5" y="46"/>
                </a:lnTo>
                <a:lnTo>
                  <a:pt x="8" y="44"/>
                </a:lnTo>
                <a:lnTo>
                  <a:pt x="8" y="43"/>
                </a:lnTo>
                <a:lnTo>
                  <a:pt x="10" y="43"/>
                </a:lnTo>
                <a:lnTo>
                  <a:pt x="10" y="41"/>
                </a:lnTo>
                <a:lnTo>
                  <a:pt x="12" y="38"/>
                </a:lnTo>
                <a:lnTo>
                  <a:pt x="11" y="37"/>
                </a:lnTo>
                <a:lnTo>
                  <a:pt x="12" y="37"/>
                </a:lnTo>
                <a:lnTo>
                  <a:pt x="12" y="29"/>
                </a:lnTo>
                <a:lnTo>
                  <a:pt x="10" y="26"/>
                </a:lnTo>
                <a:lnTo>
                  <a:pt x="10" y="22"/>
                </a:lnTo>
                <a:lnTo>
                  <a:pt x="6" y="18"/>
                </a:lnTo>
                <a:lnTo>
                  <a:pt x="4" y="17"/>
                </a:lnTo>
                <a:lnTo>
                  <a:pt x="3" y="17"/>
                </a:lnTo>
                <a:lnTo>
                  <a:pt x="0" y="15"/>
                </a:lnTo>
                <a:lnTo>
                  <a:pt x="0" y="11"/>
                </a:lnTo>
                <a:lnTo>
                  <a:pt x="2" y="11"/>
                </a:lnTo>
                <a:lnTo>
                  <a:pt x="4" y="10"/>
                </a:lnTo>
                <a:lnTo>
                  <a:pt x="6" y="10"/>
                </a:lnTo>
                <a:lnTo>
                  <a:pt x="12" y="11"/>
                </a:lnTo>
                <a:lnTo>
                  <a:pt x="15" y="11"/>
                </a:lnTo>
                <a:lnTo>
                  <a:pt x="17" y="9"/>
                </a:lnTo>
                <a:lnTo>
                  <a:pt x="22" y="9"/>
                </a:lnTo>
                <a:lnTo>
                  <a:pt x="23" y="7"/>
                </a:lnTo>
                <a:lnTo>
                  <a:pt x="25" y="7"/>
                </a:lnTo>
                <a:lnTo>
                  <a:pt x="27" y="6"/>
                </a:lnTo>
                <a:lnTo>
                  <a:pt x="29" y="7"/>
                </a:lnTo>
                <a:lnTo>
                  <a:pt x="30" y="6"/>
                </a:lnTo>
                <a:lnTo>
                  <a:pt x="31" y="6"/>
                </a:lnTo>
                <a:lnTo>
                  <a:pt x="31" y="4"/>
                </a:lnTo>
                <a:lnTo>
                  <a:pt x="33" y="4"/>
                </a:lnTo>
                <a:lnTo>
                  <a:pt x="35" y="6"/>
                </a:lnTo>
                <a:lnTo>
                  <a:pt x="37" y="6"/>
                </a:lnTo>
                <a:lnTo>
                  <a:pt x="39" y="5"/>
                </a:lnTo>
                <a:lnTo>
                  <a:pt x="40" y="5"/>
                </a:lnTo>
                <a:lnTo>
                  <a:pt x="42" y="6"/>
                </a:lnTo>
                <a:lnTo>
                  <a:pt x="42" y="7"/>
                </a:lnTo>
                <a:lnTo>
                  <a:pt x="43" y="7"/>
                </a:lnTo>
                <a:lnTo>
                  <a:pt x="45" y="6"/>
                </a:lnTo>
                <a:lnTo>
                  <a:pt x="46" y="6"/>
                </a:lnTo>
                <a:lnTo>
                  <a:pt x="46" y="5"/>
                </a:lnTo>
                <a:lnTo>
                  <a:pt x="47" y="6"/>
                </a:lnTo>
                <a:lnTo>
                  <a:pt x="47" y="7"/>
                </a:lnTo>
                <a:lnTo>
                  <a:pt x="48" y="7"/>
                </a:lnTo>
                <a:lnTo>
                  <a:pt x="48" y="6"/>
                </a:lnTo>
                <a:lnTo>
                  <a:pt x="49" y="6"/>
                </a:lnTo>
                <a:lnTo>
                  <a:pt x="49" y="5"/>
                </a:lnTo>
                <a:lnTo>
                  <a:pt x="60" y="5"/>
                </a:lnTo>
                <a:lnTo>
                  <a:pt x="60" y="4"/>
                </a:lnTo>
                <a:lnTo>
                  <a:pt x="59" y="4"/>
                </a:lnTo>
                <a:lnTo>
                  <a:pt x="58" y="3"/>
                </a:lnTo>
                <a:lnTo>
                  <a:pt x="59" y="1"/>
                </a:lnTo>
                <a:lnTo>
                  <a:pt x="62" y="3"/>
                </a:lnTo>
                <a:lnTo>
                  <a:pt x="65" y="3"/>
                </a:lnTo>
                <a:lnTo>
                  <a:pt x="65" y="1"/>
                </a:lnTo>
                <a:lnTo>
                  <a:pt x="66" y="1"/>
                </a:lnTo>
                <a:lnTo>
                  <a:pt x="67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" name="Freeform 58">
            <a:extLst>
              <a:ext uri="{FF2B5EF4-FFF2-40B4-BE49-F238E27FC236}">
                <a16:creationId xmlns:a16="http://schemas.microsoft.com/office/drawing/2014/main" id="{56CC8CF6-C918-431C-8017-7AF421F1D334}"/>
              </a:ext>
            </a:extLst>
          </p:cNvPr>
          <p:cNvSpPr>
            <a:spLocks/>
          </p:cNvSpPr>
          <p:nvPr/>
        </p:nvSpPr>
        <p:spPr bwMode="auto">
          <a:xfrm>
            <a:off x="1317183" y="5368176"/>
            <a:ext cx="21735" cy="18837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6" y="0"/>
              </a:cxn>
              <a:cxn ang="0">
                <a:pos x="8" y="1"/>
              </a:cxn>
              <a:cxn ang="0">
                <a:pos x="13" y="2"/>
              </a:cxn>
              <a:cxn ang="0">
                <a:pos x="13" y="3"/>
              </a:cxn>
              <a:cxn ang="0">
                <a:pos x="15" y="3"/>
              </a:cxn>
              <a:cxn ang="0">
                <a:pos x="15" y="5"/>
              </a:cxn>
              <a:cxn ang="0">
                <a:pos x="14" y="5"/>
              </a:cxn>
              <a:cxn ang="0">
                <a:pos x="13" y="6"/>
              </a:cxn>
              <a:cxn ang="0">
                <a:pos x="13" y="8"/>
              </a:cxn>
              <a:cxn ang="0">
                <a:pos x="12" y="9"/>
              </a:cxn>
              <a:cxn ang="0">
                <a:pos x="11" y="8"/>
              </a:cxn>
              <a:cxn ang="0">
                <a:pos x="10" y="11"/>
              </a:cxn>
              <a:cxn ang="0">
                <a:pos x="8" y="11"/>
              </a:cxn>
              <a:cxn ang="0">
                <a:pos x="6" y="12"/>
              </a:cxn>
              <a:cxn ang="0">
                <a:pos x="5" y="13"/>
              </a:cxn>
              <a:cxn ang="0">
                <a:pos x="2" y="12"/>
              </a:cxn>
              <a:cxn ang="0">
                <a:pos x="1" y="12"/>
              </a:cxn>
              <a:cxn ang="0">
                <a:pos x="1" y="11"/>
              </a:cxn>
              <a:cxn ang="0">
                <a:pos x="0" y="9"/>
              </a:cxn>
              <a:cxn ang="0">
                <a:pos x="1" y="8"/>
              </a:cxn>
              <a:cxn ang="0">
                <a:pos x="2" y="8"/>
              </a:cxn>
              <a:cxn ang="0">
                <a:pos x="2" y="7"/>
              </a:cxn>
              <a:cxn ang="0">
                <a:pos x="0" y="7"/>
              </a:cxn>
              <a:cxn ang="0">
                <a:pos x="0" y="6"/>
              </a:cxn>
              <a:cxn ang="0">
                <a:pos x="1" y="5"/>
              </a:cxn>
              <a:cxn ang="0">
                <a:pos x="1" y="3"/>
              </a:cxn>
              <a:cxn ang="0">
                <a:pos x="2" y="2"/>
              </a:cxn>
              <a:cxn ang="0">
                <a:pos x="2" y="0"/>
              </a:cxn>
            </a:cxnLst>
            <a:rect l="0" t="0" r="r" b="b"/>
            <a:pathLst>
              <a:path w="15" h="13">
                <a:moveTo>
                  <a:pt x="2" y="0"/>
                </a:moveTo>
                <a:lnTo>
                  <a:pt x="6" y="0"/>
                </a:lnTo>
                <a:lnTo>
                  <a:pt x="8" y="1"/>
                </a:lnTo>
                <a:lnTo>
                  <a:pt x="13" y="2"/>
                </a:lnTo>
                <a:lnTo>
                  <a:pt x="13" y="3"/>
                </a:lnTo>
                <a:lnTo>
                  <a:pt x="15" y="3"/>
                </a:lnTo>
                <a:lnTo>
                  <a:pt x="15" y="5"/>
                </a:lnTo>
                <a:lnTo>
                  <a:pt x="14" y="5"/>
                </a:lnTo>
                <a:lnTo>
                  <a:pt x="13" y="6"/>
                </a:lnTo>
                <a:lnTo>
                  <a:pt x="13" y="8"/>
                </a:lnTo>
                <a:lnTo>
                  <a:pt x="12" y="9"/>
                </a:lnTo>
                <a:lnTo>
                  <a:pt x="11" y="8"/>
                </a:lnTo>
                <a:lnTo>
                  <a:pt x="10" y="11"/>
                </a:lnTo>
                <a:lnTo>
                  <a:pt x="8" y="11"/>
                </a:lnTo>
                <a:lnTo>
                  <a:pt x="6" y="12"/>
                </a:lnTo>
                <a:lnTo>
                  <a:pt x="5" y="13"/>
                </a:lnTo>
                <a:lnTo>
                  <a:pt x="2" y="12"/>
                </a:lnTo>
                <a:lnTo>
                  <a:pt x="1" y="12"/>
                </a:lnTo>
                <a:lnTo>
                  <a:pt x="1" y="11"/>
                </a:lnTo>
                <a:lnTo>
                  <a:pt x="0" y="9"/>
                </a:lnTo>
                <a:lnTo>
                  <a:pt x="1" y="8"/>
                </a:lnTo>
                <a:lnTo>
                  <a:pt x="2" y="8"/>
                </a:lnTo>
                <a:lnTo>
                  <a:pt x="2" y="7"/>
                </a:lnTo>
                <a:lnTo>
                  <a:pt x="0" y="7"/>
                </a:lnTo>
                <a:lnTo>
                  <a:pt x="0" y="6"/>
                </a:lnTo>
                <a:lnTo>
                  <a:pt x="1" y="5"/>
                </a:lnTo>
                <a:lnTo>
                  <a:pt x="1" y="3"/>
                </a:lnTo>
                <a:lnTo>
                  <a:pt x="2" y="2"/>
                </a:lnTo>
                <a:lnTo>
                  <a:pt x="2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Freeform 59">
            <a:extLst>
              <a:ext uri="{FF2B5EF4-FFF2-40B4-BE49-F238E27FC236}">
                <a16:creationId xmlns:a16="http://schemas.microsoft.com/office/drawing/2014/main" id="{A98B2E7C-6DF8-4D15-8849-674538C188D2}"/>
              </a:ext>
            </a:extLst>
          </p:cNvPr>
          <p:cNvSpPr>
            <a:spLocks noEditPoints="1"/>
          </p:cNvSpPr>
          <p:nvPr/>
        </p:nvSpPr>
        <p:spPr bwMode="auto">
          <a:xfrm>
            <a:off x="2409684" y="5368176"/>
            <a:ext cx="107222" cy="243422"/>
          </a:xfrm>
          <a:custGeom>
            <a:avLst/>
            <a:gdLst/>
            <a:ahLst/>
            <a:cxnLst>
              <a:cxn ang="0">
                <a:pos x="6" y="97"/>
              </a:cxn>
              <a:cxn ang="0">
                <a:pos x="17" y="0"/>
              </a:cxn>
              <a:cxn ang="0">
                <a:pos x="24" y="11"/>
              </a:cxn>
              <a:cxn ang="0">
                <a:pos x="33" y="5"/>
              </a:cxn>
              <a:cxn ang="0">
                <a:pos x="39" y="12"/>
              </a:cxn>
              <a:cxn ang="0">
                <a:pos x="40" y="18"/>
              </a:cxn>
              <a:cxn ang="0">
                <a:pos x="50" y="24"/>
              </a:cxn>
              <a:cxn ang="0">
                <a:pos x="55" y="37"/>
              </a:cxn>
              <a:cxn ang="0">
                <a:pos x="54" y="43"/>
              </a:cxn>
              <a:cxn ang="0">
                <a:pos x="52" y="56"/>
              </a:cxn>
              <a:cxn ang="0">
                <a:pos x="49" y="65"/>
              </a:cxn>
              <a:cxn ang="0">
                <a:pos x="53" y="69"/>
              </a:cxn>
              <a:cxn ang="0">
                <a:pos x="53" y="74"/>
              </a:cxn>
              <a:cxn ang="0">
                <a:pos x="53" y="81"/>
              </a:cxn>
              <a:cxn ang="0">
                <a:pos x="58" y="88"/>
              </a:cxn>
              <a:cxn ang="0">
                <a:pos x="61" y="99"/>
              </a:cxn>
              <a:cxn ang="0">
                <a:pos x="72" y="100"/>
              </a:cxn>
              <a:cxn ang="0">
                <a:pos x="74" y="110"/>
              </a:cxn>
              <a:cxn ang="0">
                <a:pos x="71" y="120"/>
              </a:cxn>
              <a:cxn ang="0">
                <a:pos x="62" y="130"/>
              </a:cxn>
              <a:cxn ang="0">
                <a:pos x="59" y="138"/>
              </a:cxn>
              <a:cxn ang="0">
                <a:pos x="50" y="145"/>
              </a:cxn>
              <a:cxn ang="0">
                <a:pos x="45" y="153"/>
              </a:cxn>
              <a:cxn ang="0">
                <a:pos x="45" y="160"/>
              </a:cxn>
              <a:cxn ang="0">
                <a:pos x="42" y="161"/>
              </a:cxn>
              <a:cxn ang="0">
                <a:pos x="41" y="167"/>
              </a:cxn>
              <a:cxn ang="0">
                <a:pos x="33" y="166"/>
              </a:cxn>
              <a:cxn ang="0">
                <a:pos x="30" y="162"/>
              </a:cxn>
              <a:cxn ang="0">
                <a:pos x="29" y="155"/>
              </a:cxn>
              <a:cxn ang="0">
                <a:pos x="28" y="151"/>
              </a:cxn>
              <a:cxn ang="0">
                <a:pos x="21" y="144"/>
              </a:cxn>
              <a:cxn ang="0">
                <a:pos x="14" y="140"/>
              </a:cxn>
              <a:cxn ang="0">
                <a:pos x="4" y="131"/>
              </a:cxn>
              <a:cxn ang="0">
                <a:pos x="0" y="125"/>
              </a:cxn>
              <a:cxn ang="0">
                <a:pos x="5" y="129"/>
              </a:cxn>
              <a:cxn ang="0">
                <a:pos x="8" y="123"/>
              </a:cxn>
              <a:cxn ang="0">
                <a:pos x="8" y="120"/>
              </a:cxn>
              <a:cxn ang="0">
                <a:pos x="4" y="117"/>
              </a:cxn>
              <a:cxn ang="0">
                <a:pos x="4" y="110"/>
              </a:cxn>
              <a:cxn ang="0">
                <a:pos x="10" y="98"/>
              </a:cxn>
              <a:cxn ang="0">
                <a:pos x="9" y="94"/>
              </a:cxn>
              <a:cxn ang="0">
                <a:pos x="9" y="82"/>
              </a:cxn>
              <a:cxn ang="0">
                <a:pos x="6" y="75"/>
              </a:cxn>
              <a:cxn ang="0">
                <a:pos x="10" y="65"/>
              </a:cxn>
              <a:cxn ang="0">
                <a:pos x="12" y="61"/>
              </a:cxn>
              <a:cxn ang="0">
                <a:pos x="12" y="56"/>
              </a:cxn>
              <a:cxn ang="0">
                <a:pos x="14" y="48"/>
              </a:cxn>
              <a:cxn ang="0">
                <a:pos x="4" y="43"/>
              </a:cxn>
              <a:cxn ang="0">
                <a:pos x="4" y="39"/>
              </a:cxn>
              <a:cxn ang="0">
                <a:pos x="2" y="28"/>
              </a:cxn>
              <a:cxn ang="0">
                <a:pos x="5" y="16"/>
              </a:cxn>
              <a:cxn ang="0">
                <a:pos x="11" y="9"/>
              </a:cxn>
              <a:cxn ang="0">
                <a:pos x="17" y="0"/>
              </a:cxn>
            </a:cxnLst>
            <a:rect l="0" t="0" r="r" b="b"/>
            <a:pathLst>
              <a:path w="74" h="168">
                <a:moveTo>
                  <a:pt x="6" y="97"/>
                </a:moveTo>
                <a:lnTo>
                  <a:pt x="6" y="100"/>
                </a:lnTo>
                <a:lnTo>
                  <a:pt x="5" y="100"/>
                </a:lnTo>
                <a:lnTo>
                  <a:pt x="5" y="98"/>
                </a:lnTo>
                <a:lnTo>
                  <a:pt x="6" y="97"/>
                </a:lnTo>
                <a:close/>
                <a:moveTo>
                  <a:pt x="9" y="95"/>
                </a:moveTo>
                <a:lnTo>
                  <a:pt x="8" y="98"/>
                </a:lnTo>
                <a:lnTo>
                  <a:pt x="8" y="97"/>
                </a:lnTo>
                <a:lnTo>
                  <a:pt x="9" y="95"/>
                </a:lnTo>
                <a:close/>
                <a:moveTo>
                  <a:pt x="17" y="0"/>
                </a:moveTo>
                <a:lnTo>
                  <a:pt x="19" y="0"/>
                </a:lnTo>
                <a:lnTo>
                  <a:pt x="19" y="7"/>
                </a:lnTo>
                <a:lnTo>
                  <a:pt x="22" y="9"/>
                </a:lnTo>
                <a:lnTo>
                  <a:pt x="22" y="11"/>
                </a:lnTo>
                <a:lnTo>
                  <a:pt x="24" y="11"/>
                </a:lnTo>
                <a:lnTo>
                  <a:pt x="25" y="9"/>
                </a:lnTo>
                <a:lnTo>
                  <a:pt x="25" y="8"/>
                </a:lnTo>
                <a:lnTo>
                  <a:pt x="30" y="8"/>
                </a:lnTo>
                <a:lnTo>
                  <a:pt x="31" y="6"/>
                </a:lnTo>
                <a:lnTo>
                  <a:pt x="33" y="5"/>
                </a:lnTo>
                <a:lnTo>
                  <a:pt x="34" y="6"/>
                </a:lnTo>
                <a:lnTo>
                  <a:pt x="34" y="7"/>
                </a:lnTo>
                <a:lnTo>
                  <a:pt x="36" y="8"/>
                </a:lnTo>
                <a:lnTo>
                  <a:pt x="37" y="8"/>
                </a:lnTo>
                <a:lnTo>
                  <a:pt x="39" y="12"/>
                </a:lnTo>
                <a:lnTo>
                  <a:pt x="40" y="13"/>
                </a:lnTo>
                <a:lnTo>
                  <a:pt x="39" y="14"/>
                </a:lnTo>
                <a:lnTo>
                  <a:pt x="39" y="15"/>
                </a:lnTo>
                <a:lnTo>
                  <a:pt x="40" y="15"/>
                </a:lnTo>
                <a:lnTo>
                  <a:pt x="40" y="18"/>
                </a:lnTo>
                <a:lnTo>
                  <a:pt x="41" y="18"/>
                </a:lnTo>
                <a:lnTo>
                  <a:pt x="41" y="19"/>
                </a:lnTo>
                <a:lnTo>
                  <a:pt x="45" y="19"/>
                </a:lnTo>
                <a:lnTo>
                  <a:pt x="50" y="22"/>
                </a:lnTo>
                <a:lnTo>
                  <a:pt x="50" y="24"/>
                </a:lnTo>
                <a:lnTo>
                  <a:pt x="52" y="24"/>
                </a:lnTo>
                <a:lnTo>
                  <a:pt x="52" y="25"/>
                </a:lnTo>
                <a:lnTo>
                  <a:pt x="54" y="28"/>
                </a:lnTo>
                <a:lnTo>
                  <a:pt x="54" y="33"/>
                </a:lnTo>
                <a:lnTo>
                  <a:pt x="55" y="37"/>
                </a:lnTo>
                <a:lnTo>
                  <a:pt x="55" y="38"/>
                </a:lnTo>
                <a:lnTo>
                  <a:pt x="56" y="39"/>
                </a:lnTo>
                <a:lnTo>
                  <a:pt x="55" y="40"/>
                </a:lnTo>
                <a:lnTo>
                  <a:pt x="55" y="42"/>
                </a:lnTo>
                <a:lnTo>
                  <a:pt x="54" y="43"/>
                </a:lnTo>
                <a:lnTo>
                  <a:pt x="55" y="44"/>
                </a:lnTo>
                <a:lnTo>
                  <a:pt x="54" y="45"/>
                </a:lnTo>
                <a:lnTo>
                  <a:pt x="54" y="49"/>
                </a:lnTo>
                <a:lnTo>
                  <a:pt x="52" y="51"/>
                </a:lnTo>
                <a:lnTo>
                  <a:pt x="52" y="56"/>
                </a:lnTo>
                <a:lnTo>
                  <a:pt x="53" y="57"/>
                </a:lnTo>
                <a:lnTo>
                  <a:pt x="53" y="61"/>
                </a:lnTo>
                <a:lnTo>
                  <a:pt x="52" y="62"/>
                </a:lnTo>
                <a:lnTo>
                  <a:pt x="49" y="62"/>
                </a:lnTo>
                <a:lnTo>
                  <a:pt x="49" y="65"/>
                </a:lnTo>
                <a:lnTo>
                  <a:pt x="50" y="65"/>
                </a:lnTo>
                <a:lnTo>
                  <a:pt x="50" y="67"/>
                </a:lnTo>
                <a:lnTo>
                  <a:pt x="52" y="67"/>
                </a:lnTo>
                <a:lnTo>
                  <a:pt x="52" y="69"/>
                </a:lnTo>
                <a:lnTo>
                  <a:pt x="53" y="69"/>
                </a:lnTo>
                <a:lnTo>
                  <a:pt x="53" y="70"/>
                </a:lnTo>
                <a:lnTo>
                  <a:pt x="54" y="70"/>
                </a:lnTo>
                <a:lnTo>
                  <a:pt x="54" y="71"/>
                </a:lnTo>
                <a:lnTo>
                  <a:pt x="53" y="73"/>
                </a:lnTo>
                <a:lnTo>
                  <a:pt x="53" y="74"/>
                </a:lnTo>
                <a:lnTo>
                  <a:pt x="52" y="74"/>
                </a:lnTo>
                <a:lnTo>
                  <a:pt x="50" y="75"/>
                </a:lnTo>
                <a:lnTo>
                  <a:pt x="52" y="76"/>
                </a:lnTo>
                <a:lnTo>
                  <a:pt x="52" y="80"/>
                </a:lnTo>
                <a:lnTo>
                  <a:pt x="53" y="81"/>
                </a:lnTo>
                <a:lnTo>
                  <a:pt x="54" y="83"/>
                </a:lnTo>
                <a:lnTo>
                  <a:pt x="54" y="85"/>
                </a:lnTo>
                <a:lnTo>
                  <a:pt x="55" y="86"/>
                </a:lnTo>
                <a:lnTo>
                  <a:pt x="55" y="88"/>
                </a:lnTo>
                <a:lnTo>
                  <a:pt x="58" y="88"/>
                </a:lnTo>
                <a:lnTo>
                  <a:pt x="59" y="89"/>
                </a:lnTo>
                <a:lnTo>
                  <a:pt x="60" y="93"/>
                </a:lnTo>
                <a:lnTo>
                  <a:pt x="60" y="97"/>
                </a:lnTo>
                <a:lnTo>
                  <a:pt x="61" y="98"/>
                </a:lnTo>
                <a:lnTo>
                  <a:pt x="61" y="99"/>
                </a:lnTo>
                <a:lnTo>
                  <a:pt x="64" y="99"/>
                </a:lnTo>
                <a:lnTo>
                  <a:pt x="65" y="98"/>
                </a:lnTo>
                <a:lnTo>
                  <a:pt x="71" y="98"/>
                </a:lnTo>
                <a:lnTo>
                  <a:pt x="71" y="99"/>
                </a:lnTo>
                <a:lnTo>
                  <a:pt x="72" y="100"/>
                </a:lnTo>
                <a:lnTo>
                  <a:pt x="72" y="104"/>
                </a:lnTo>
                <a:lnTo>
                  <a:pt x="71" y="105"/>
                </a:lnTo>
                <a:lnTo>
                  <a:pt x="71" y="107"/>
                </a:lnTo>
                <a:lnTo>
                  <a:pt x="72" y="107"/>
                </a:lnTo>
                <a:lnTo>
                  <a:pt x="74" y="110"/>
                </a:lnTo>
                <a:lnTo>
                  <a:pt x="74" y="118"/>
                </a:lnTo>
                <a:lnTo>
                  <a:pt x="73" y="118"/>
                </a:lnTo>
                <a:lnTo>
                  <a:pt x="73" y="119"/>
                </a:lnTo>
                <a:lnTo>
                  <a:pt x="72" y="119"/>
                </a:lnTo>
                <a:lnTo>
                  <a:pt x="71" y="120"/>
                </a:lnTo>
                <a:lnTo>
                  <a:pt x="71" y="123"/>
                </a:lnTo>
                <a:lnTo>
                  <a:pt x="66" y="123"/>
                </a:lnTo>
                <a:lnTo>
                  <a:pt x="64" y="125"/>
                </a:lnTo>
                <a:lnTo>
                  <a:pt x="64" y="129"/>
                </a:lnTo>
                <a:lnTo>
                  <a:pt x="62" y="130"/>
                </a:lnTo>
                <a:lnTo>
                  <a:pt x="62" y="131"/>
                </a:lnTo>
                <a:lnTo>
                  <a:pt x="61" y="132"/>
                </a:lnTo>
                <a:lnTo>
                  <a:pt x="60" y="132"/>
                </a:lnTo>
                <a:lnTo>
                  <a:pt x="60" y="138"/>
                </a:lnTo>
                <a:lnTo>
                  <a:pt x="59" y="138"/>
                </a:lnTo>
                <a:lnTo>
                  <a:pt x="59" y="143"/>
                </a:lnTo>
                <a:lnTo>
                  <a:pt x="58" y="143"/>
                </a:lnTo>
                <a:lnTo>
                  <a:pt x="56" y="144"/>
                </a:lnTo>
                <a:lnTo>
                  <a:pt x="52" y="144"/>
                </a:lnTo>
                <a:lnTo>
                  <a:pt x="50" y="145"/>
                </a:lnTo>
                <a:lnTo>
                  <a:pt x="49" y="144"/>
                </a:lnTo>
                <a:lnTo>
                  <a:pt x="47" y="147"/>
                </a:lnTo>
                <a:lnTo>
                  <a:pt x="47" y="149"/>
                </a:lnTo>
                <a:lnTo>
                  <a:pt x="43" y="149"/>
                </a:lnTo>
                <a:lnTo>
                  <a:pt x="45" y="153"/>
                </a:lnTo>
                <a:lnTo>
                  <a:pt x="46" y="154"/>
                </a:lnTo>
                <a:lnTo>
                  <a:pt x="47" y="157"/>
                </a:lnTo>
                <a:lnTo>
                  <a:pt x="48" y="159"/>
                </a:lnTo>
                <a:lnTo>
                  <a:pt x="47" y="160"/>
                </a:lnTo>
                <a:lnTo>
                  <a:pt x="45" y="160"/>
                </a:lnTo>
                <a:lnTo>
                  <a:pt x="43" y="159"/>
                </a:lnTo>
                <a:lnTo>
                  <a:pt x="42" y="159"/>
                </a:lnTo>
                <a:lnTo>
                  <a:pt x="42" y="160"/>
                </a:lnTo>
                <a:lnTo>
                  <a:pt x="43" y="161"/>
                </a:lnTo>
                <a:lnTo>
                  <a:pt x="42" y="161"/>
                </a:lnTo>
                <a:lnTo>
                  <a:pt x="42" y="162"/>
                </a:lnTo>
                <a:lnTo>
                  <a:pt x="43" y="162"/>
                </a:lnTo>
                <a:lnTo>
                  <a:pt x="43" y="163"/>
                </a:lnTo>
                <a:lnTo>
                  <a:pt x="41" y="166"/>
                </a:lnTo>
                <a:lnTo>
                  <a:pt x="41" y="167"/>
                </a:lnTo>
                <a:lnTo>
                  <a:pt x="40" y="167"/>
                </a:lnTo>
                <a:lnTo>
                  <a:pt x="40" y="168"/>
                </a:lnTo>
                <a:lnTo>
                  <a:pt x="37" y="168"/>
                </a:lnTo>
                <a:lnTo>
                  <a:pt x="35" y="166"/>
                </a:lnTo>
                <a:lnTo>
                  <a:pt x="33" y="166"/>
                </a:lnTo>
                <a:lnTo>
                  <a:pt x="31" y="165"/>
                </a:lnTo>
                <a:lnTo>
                  <a:pt x="30" y="166"/>
                </a:lnTo>
                <a:lnTo>
                  <a:pt x="30" y="163"/>
                </a:lnTo>
                <a:lnTo>
                  <a:pt x="31" y="162"/>
                </a:lnTo>
                <a:lnTo>
                  <a:pt x="30" y="162"/>
                </a:lnTo>
                <a:lnTo>
                  <a:pt x="30" y="160"/>
                </a:lnTo>
                <a:lnTo>
                  <a:pt x="31" y="157"/>
                </a:lnTo>
                <a:lnTo>
                  <a:pt x="31" y="156"/>
                </a:lnTo>
                <a:lnTo>
                  <a:pt x="30" y="155"/>
                </a:lnTo>
                <a:lnTo>
                  <a:pt x="29" y="155"/>
                </a:lnTo>
                <a:lnTo>
                  <a:pt x="29" y="154"/>
                </a:lnTo>
                <a:lnTo>
                  <a:pt x="27" y="154"/>
                </a:lnTo>
                <a:lnTo>
                  <a:pt x="27" y="153"/>
                </a:lnTo>
                <a:lnTo>
                  <a:pt x="28" y="153"/>
                </a:lnTo>
                <a:lnTo>
                  <a:pt x="28" y="151"/>
                </a:lnTo>
                <a:lnTo>
                  <a:pt x="25" y="147"/>
                </a:lnTo>
                <a:lnTo>
                  <a:pt x="25" y="145"/>
                </a:lnTo>
                <a:lnTo>
                  <a:pt x="22" y="145"/>
                </a:lnTo>
                <a:lnTo>
                  <a:pt x="23" y="144"/>
                </a:lnTo>
                <a:lnTo>
                  <a:pt x="21" y="144"/>
                </a:lnTo>
                <a:lnTo>
                  <a:pt x="21" y="143"/>
                </a:lnTo>
                <a:lnTo>
                  <a:pt x="19" y="143"/>
                </a:lnTo>
                <a:lnTo>
                  <a:pt x="19" y="142"/>
                </a:lnTo>
                <a:lnTo>
                  <a:pt x="18" y="142"/>
                </a:lnTo>
                <a:lnTo>
                  <a:pt x="14" y="140"/>
                </a:lnTo>
                <a:lnTo>
                  <a:pt x="12" y="138"/>
                </a:lnTo>
                <a:lnTo>
                  <a:pt x="10" y="137"/>
                </a:lnTo>
                <a:lnTo>
                  <a:pt x="9" y="137"/>
                </a:lnTo>
                <a:lnTo>
                  <a:pt x="5" y="132"/>
                </a:lnTo>
                <a:lnTo>
                  <a:pt x="4" y="131"/>
                </a:lnTo>
                <a:lnTo>
                  <a:pt x="3" y="129"/>
                </a:lnTo>
                <a:lnTo>
                  <a:pt x="3" y="128"/>
                </a:lnTo>
                <a:lnTo>
                  <a:pt x="2" y="126"/>
                </a:lnTo>
                <a:lnTo>
                  <a:pt x="2" y="125"/>
                </a:lnTo>
                <a:lnTo>
                  <a:pt x="0" y="125"/>
                </a:lnTo>
                <a:lnTo>
                  <a:pt x="2" y="124"/>
                </a:lnTo>
                <a:lnTo>
                  <a:pt x="3" y="124"/>
                </a:lnTo>
                <a:lnTo>
                  <a:pt x="3" y="125"/>
                </a:lnTo>
                <a:lnTo>
                  <a:pt x="5" y="126"/>
                </a:lnTo>
                <a:lnTo>
                  <a:pt x="5" y="129"/>
                </a:lnTo>
                <a:lnTo>
                  <a:pt x="6" y="129"/>
                </a:lnTo>
                <a:lnTo>
                  <a:pt x="6" y="130"/>
                </a:lnTo>
                <a:lnTo>
                  <a:pt x="9" y="130"/>
                </a:lnTo>
                <a:lnTo>
                  <a:pt x="9" y="123"/>
                </a:lnTo>
                <a:lnTo>
                  <a:pt x="8" y="123"/>
                </a:lnTo>
                <a:lnTo>
                  <a:pt x="6" y="122"/>
                </a:lnTo>
                <a:lnTo>
                  <a:pt x="5" y="119"/>
                </a:lnTo>
                <a:lnTo>
                  <a:pt x="6" y="119"/>
                </a:lnTo>
                <a:lnTo>
                  <a:pt x="6" y="120"/>
                </a:lnTo>
                <a:lnTo>
                  <a:pt x="8" y="120"/>
                </a:lnTo>
                <a:lnTo>
                  <a:pt x="8" y="117"/>
                </a:lnTo>
                <a:lnTo>
                  <a:pt x="6" y="116"/>
                </a:lnTo>
                <a:lnTo>
                  <a:pt x="5" y="117"/>
                </a:lnTo>
                <a:lnTo>
                  <a:pt x="5" y="118"/>
                </a:lnTo>
                <a:lnTo>
                  <a:pt x="4" y="117"/>
                </a:lnTo>
                <a:lnTo>
                  <a:pt x="2" y="113"/>
                </a:lnTo>
                <a:lnTo>
                  <a:pt x="2" y="111"/>
                </a:lnTo>
                <a:lnTo>
                  <a:pt x="3" y="111"/>
                </a:lnTo>
                <a:lnTo>
                  <a:pt x="3" y="110"/>
                </a:lnTo>
                <a:lnTo>
                  <a:pt x="4" y="110"/>
                </a:lnTo>
                <a:lnTo>
                  <a:pt x="4" y="104"/>
                </a:lnTo>
                <a:lnTo>
                  <a:pt x="5" y="104"/>
                </a:lnTo>
                <a:lnTo>
                  <a:pt x="5" y="101"/>
                </a:lnTo>
                <a:lnTo>
                  <a:pt x="8" y="99"/>
                </a:lnTo>
                <a:lnTo>
                  <a:pt x="10" y="98"/>
                </a:lnTo>
                <a:lnTo>
                  <a:pt x="11" y="98"/>
                </a:lnTo>
                <a:lnTo>
                  <a:pt x="11" y="97"/>
                </a:lnTo>
                <a:lnTo>
                  <a:pt x="10" y="95"/>
                </a:lnTo>
                <a:lnTo>
                  <a:pt x="10" y="93"/>
                </a:lnTo>
                <a:lnTo>
                  <a:pt x="9" y="94"/>
                </a:lnTo>
                <a:lnTo>
                  <a:pt x="9" y="93"/>
                </a:lnTo>
                <a:lnTo>
                  <a:pt x="8" y="93"/>
                </a:lnTo>
                <a:lnTo>
                  <a:pt x="8" y="85"/>
                </a:lnTo>
                <a:lnTo>
                  <a:pt x="9" y="83"/>
                </a:lnTo>
                <a:lnTo>
                  <a:pt x="9" y="82"/>
                </a:lnTo>
                <a:lnTo>
                  <a:pt x="10" y="80"/>
                </a:lnTo>
                <a:lnTo>
                  <a:pt x="10" y="76"/>
                </a:lnTo>
                <a:lnTo>
                  <a:pt x="9" y="76"/>
                </a:lnTo>
                <a:lnTo>
                  <a:pt x="9" y="75"/>
                </a:lnTo>
                <a:lnTo>
                  <a:pt x="6" y="75"/>
                </a:lnTo>
                <a:lnTo>
                  <a:pt x="6" y="71"/>
                </a:lnTo>
                <a:lnTo>
                  <a:pt x="5" y="70"/>
                </a:lnTo>
                <a:lnTo>
                  <a:pt x="8" y="70"/>
                </a:lnTo>
                <a:lnTo>
                  <a:pt x="8" y="68"/>
                </a:lnTo>
                <a:lnTo>
                  <a:pt x="10" y="65"/>
                </a:lnTo>
                <a:lnTo>
                  <a:pt x="10" y="63"/>
                </a:lnTo>
                <a:lnTo>
                  <a:pt x="9" y="63"/>
                </a:lnTo>
                <a:lnTo>
                  <a:pt x="9" y="62"/>
                </a:lnTo>
                <a:lnTo>
                  <a:pt x="8" y="61"/>
                </a:lnTo>
                <a:lnTo>
                  <a:pt x="12" y="61"/>
                </a:lnTo>
                <a:lnTo>
                  <a:pt x="14" y="58"/>
                </a:lnTo>
                <a:lnTo>
                  <a:pt x="14" y="59"/>
                </a:lnTo>
                <a:lnTo>
                  <a:pt x="15" y="59"/>
                </a:lnTo>
                <a:lnTo>
                  <a:pt x="14" y="57"/>
                </a:lnTo>
                <a:lnTo>
                  <a:pt x="12" y="56"/>
                </a:lnTo>
                <a:lnTo>
                  <a:pt x="14" y="55"/>
                </a:lnTo>
                <a:lnTo>
                  <a:pt x="12" y="52"/>
                </a:lnTo>
                <a:lnTo>
                  <a:pt x="12" y="50"/>
                </a:lnTo>
                <a:lnTo>
                  <a:pt x="14" y="50"/>
                </a:lnTo>
                <a:lnTo>
                  <a:pt x="14" y="48"/>
                </a:lnTo>
                <a:lnTo>
                  <a:pt x="9" y="45"/>
                </a:lnTo>
                <a:lnTo>
                  <a:pt x="8" y="44"/>
                </a:lnTo>
                <a:lnTo>
                  <a:pt x="6" y="44"/>
                </a:lnTo>
                <a:lnTo>
                  <a:pt x="4" y="45"/>
                </a:lnTo>
                <a:lnTo>
                  <a:pt x="4" y="43"/>
                </a:lnTo>
                <a:lnTo>
                  <a:pt x="3" y="42"/>
                </a:lnTo>
                <a:lnTo>
                  <a:pt x="3" y="40"/>
                </a:lnTo>
                <a:lnTo>
                  <a:pt x="4" y="40"/>
                </a:lnTo>
                <a:lnTo>
                  <a:pt x="3" y="39"/>
                </a:lnTo>
                <a:lnTo>
                  <a:pt x="4" y="39"/>
                </a:lnTo>
                <a:lnTo>
                  <a:pt x="4" y="37"/>
                </a:lnTo>
                <a:lnTo>
                  <a:pt x="3" y="36"/>
                </a:lnTo>
                <a:lnTo>
                  <a:pt x="4" y="34"/>
                </a:lnTo>
                <a:lnTo>
                  <a:pt x="4" y="30"/>
                </a:lnTo>
                <a:lnTo>
                  <a:pt x="2" y="28"/>
                </a:lnTo>
                <a:lnTo>
                  <a:pt x="0" y="27"/>
                </a:lnTo>
                <a:lnTo>
                  <a:pt x="0" y="26"/>
                </a:lnTo>
                <a:lnTo>
                  <a:pt x="2" y="25"/>
                </a:lnTo>
                <a:lnTo>
                  <a:pt x="5" y="18"/>
                </a:lnTo>
                <a:lnTo>
                  <a:pt x="5" y="16"/>
                </a:lnTo>
                <a:lnTo>
                  <a:pt x="9" y="13"/>
                </a:lnTo>
                <a:lnTo>
                  <a:pt x="9" y="12"/>
                </a:lnTo>
                <a:lnTo>
                  <a:pt x="10" y="12"/>
                </a:lnTo>
                <a:lnTo>
                  <a:pt x="10" y="11"/>
                </a:lnTo>
                <a:lnTo>
                  <a:pt x="11" y="9"/>
                </a:lnTo>
                <a:lnTo>
                  <a:pt x="11" y="8"/>
                </a:lnTo>
                <a:lnTo>
                  <a:pt x="12" y="7"/>
                </a:lnTo>
                <a:lnTo>
                  <a:pt x="14" y="7"/>
                </a:lnTo>
                <a:lnTo>
                  <a:pt x="14" y="3"/>
                </a:lnTo>
                <a:lnTo>
                  <a:pt x="17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cxnSp>
        <p:nvCxnSpPr>
          <p:cNvPr id="91" name="Straight Connector 145">
            <a:extLst>
              <a:ext uri="{FF2B5EF4-FFF2-40B4-BE49-F238E27FC236}">
                <a16:creationId xmlns:a16="http://schemas.microsoft.com/office/drawing/2014/main" id="{61AA8C87-2648-409D-A1B6-181424C9C201}"/>
              </a:ext>
            </a:extLst>
          </p:cNvPr>
          <p:cNvCxnSpPr>
            <a:cxnSpLocks/>
          </p:cNvCxnSpPr>
          <p:nvPr/>
        </p:nvCxnSpPr>
        <p:spPr>
          <a:xfrm flipH="1">
            <a:off x="5125378" y="1774414"/>
            <a:ext cx="15263" cy="4410076"/>
          </a:xfrm>
          <a:prstGeom prst="line">
            <a:avLst/>
          </a:prstGeom>
          <a:ln w="889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7" name="Group 1">
            <a:extLst>
              <a:ext uri="{FF2B5EF4-FFF2-40B4-BE49-F238E27FC236}">
                <a16:creationId xmlns:a16="http://schemas.microsoft.com/office/drawing/2014/main" id="{A8817BCD-5AC5-4E33-88C9-072F3A3A9FC2}"/>
              </a:ext>
            </a:extLst>
          </p:cNvPr>
          <p:cNvGrpSpPr/>
          <p:nvPr/>
        </p:nvGrpSpPr>
        <p:grpSpPr>
          <a:xfrm>
            <a:off x="796928" y="690314"/>
            <a:ext cx="5475080" cy="553998"/>
            <a:chOff x="796928" y="836802"/>
            <a:chExt cx="5475080" cy="553998"/>
          </a:xfrm>
        </p:grpSpPr>
        <p:sp>
          <p:nvSpPr>
            <p:cNvPr id="92" name="TextBox 142">
              <a:extLst>
                <a:ext uri="{FF2B5EF4-FFF2-40B4-BE49-F238E27FC236}">
                  <a16:creationId xmlns:a16="http://schemas.microsoft.com/office/drawing/2014/main" id="{F39746F4-9921-4BD4-BEAC-0B46DE397F2B}"/>
                </a:ext>
              </a:extLst>
            </p:cNvPr>
            <p:cNvSpPr txBox="1"/>
            <p:nvPr/>
          </p:nvSpPr>
          <p:spPr>
            <a:xfrm>
              <a:off x="1069295" y="836802"/>
              <a:ext cx="5202713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000" dirty="0" err="1">
                  <a:solidFill>
                    <a:schemeClr val="accent1"/>
                  </a:solidFill>
                  <a:latin typeface="+mj-lt"/>
                </a:rPr>
                <a:t>Südeuropa</a:t>
              </a:r>
              <a:r>
                <a:rPr lang="en-US" sz="3000" dirty="0">
                  <a:solidFill>
                    <a:schemeClr val="accent1"/>
                  </a:solidFill>
                  <a:latin typeface="+mj-lt"/>
                </a:rPr>
                <a:t> </a:t>
              </a:r>
              <a:endParaRPr lang="en-US" sz="3000" spc="-200" dirty="0">
                <a:solidFill>
                  <a:schemeClr val="accent1"/>
                </a:solidFill>
                <a:latin typeface="+mj-lt"/>
              </a:endParaRPr>
            </a:p>
          </p:txBody>
        </p:sp>
        <p:cxnSp>
          <p:nvCxnSpPr>
            <p:cNvPr id="93" name="Straight Connector 145">
              <a:extLst>
                <a:ext uri="{FF2B5EF4-FFF2-40B4-BE49-F238E27FC236}">
                  <a16:creationId xmlns:a16="http://schemas.microsoft.com/office/drawing/2014/main" id="{C72C16A4-4C26-463F-9CB9-0237AD3934D8}"/>
                </a:ext>
              </a:extLst>
            </p:cNvPr>
            <p:cNvCxnSpPr>
              <a:cxnSpLocks/>
            </p:cNvCxnSpPr>
            <p:nvPr/>
          </p:nvCxnSpPr>
          <p:spPr>
            <a:xfrm>
              <a:off x="796928" y="858120"/>
              <a:ext cx="0" cy="531091"/>
            </a:xfrm>
            <a:prstGeom prst="line">
              <a:avLst/>
            </a:prstGeom>
            <a:ln w="889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8" name="Group 118">
            <a:extLst>
              <a:ext uri="{FF2B5EF4-FFF2-40B4-BE49-F238E27FC236}">
                <a16:creationId xmlns:a16="http://schemas.microsoft.com/office/drawing/2014/main" id="{35C813F1-C481-4754-952B-0E5EE8210E80}"/>
              </a:ext>
            </a:extLst>
          </p:cNvPr>
          <p:cNvGrpSpPr/>
          <p:nvPr/>
        </p:nvGrpSpPr>
        <p:grpSpPr>
          <a:xfrm>
            <a:off x="1811272" y="4561315"/>
            <a:ext cx="718302" cy="854818"/>
            <a:chOff x="7689849" y="2601913"/>
            <a:chExt cx="3000375" cy="3944937"/>
          </a:xfrm>
          <a:effectLst>
            <a:outerShdw blurRad="76200" dir="18900000" sy="23000" kx="-1200000" algn="bl" rotWithShape="0">
              <a:prstClr val="black">
                <a:alpha val="17000"/>
              </a:prstClr>
            </a:outerShdw>
          </a:effectLst>
        </p:grpSpPr>
        <p:sp>
          <p:nvSpPr>
            <p:cNvPr id="99" name="Freeform 14">
              <a:extLst>
                <a:ext uri="{FF2B5EF4-FFF2-40B4-BE49-F238E27FC236}">
                  <a16:creationId xmlns:a16="http://schemas.microsoft.com/office/drawing/2014/main" id="{E3D7D3DC-1754-42B8-9145-E5BBBC69914E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3662" y="3327400"/>
              <a:ext cx="723900" cy="2241550"/>
            </a:xfrm>
            <a:custGeom>
              <a:avLst/>
              <a:gdLst/>
              <a:ahLst/>
              <a:cxnLst>
                <a:cxn ang="0">
                  <a:pos x="48" y="0"/>
                </a:cxn>
                <a:cxn ang="0">
                  <a:pos x="456" y="1397"/>
                </a:cxn>
                <a:cxn ang="0">
                  <a:pos x="407" y="1412"/>
                </a:cxn>
                <a:cxn ang="0">
                  <a:pos x="0" y="15"/>
                </a:cxn>
                <a:cxn ang="0">
                  <a:pos x="48" y="0"/>
                </a:cxn>
              </a:cxnLst>
              <a:rect l="0" t="0" r="r" b="b"/>
              <a:pathLst>
                <a:path w="456" h="1412">
                  <a:moveTo>
                    <a:pt x="48" y="0"/>
                  </a:moveTo>
                  <a:lnTo>
                    <a:pt x="456" y="1397"/>
                  </a:lnTo>
                  <a:lnTo>
                    <a:pt x="407" y="1412"/>
                  </a:lnTo>
                  <a:lnTo>
                    <a:pt x="0" y="15"/>
                  </a:lnTo>
                  <a:lnTo>
                    <a:pt x="48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85000"/>
                    <a:shade val="30000"/>
                    <a:satMod val="115000"/>
                  </a:schemeClr>
                </a:gs>
                <a:gs pos="50000">
                  <a:schemeClr val="bg1">
                    <a:lumMod val="85000"/>
                    <a:shade val="67500"/>
                    <a:satMod val="115000"/>
                  </a:schemeClr>
                </a:gs>
                <a:gs pos="100000">
                  <a:schemeClr val="bg1">
                    <a:lumMod val="85000"/>
                    <a:shade val="100000"/>
                    <a:satMod val="115000"/>
                  </a:schemeClr>
                </a:gs>
              </a:gsLst>
              <a:lin ang="0" scaled="1"/>
              <a:tileRect/>
            </a:gra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15">
              <a:extLst>
                <a:ext uri="{FF2B5EF4-FFF2-40B4-BE49-F238E27FC236}">
                  <a16:creationId xmlns:a16="http://schemas.microsoft.com/office/drawing/2014/main" id="{E36A97B8-084B-492B-B8DB-BB616F4330C7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2149" y="5530850"/>
              <a:ext cx="455613" cy="1016000"/>
            </a:xfrm>
            <a:custGeom>
              <a:avLst/>
              <a:gdLst/>
              <a:ahLst/>
              <a:cxnLst>
                <a:cxn ang="0">
                  <a:pos x="110" y="0"/>
                </a:cxn>
                <a:cxn ang="0">
                  <a:pos x="287" y="609"/>
                </a:cxn>
                <a:cxn ang="0">
                  <a:pos x="177" y="640"/>
                </a:cxn>
                <a:cxn ang="0">
                  <a:pos x="0" y="31"/>
                </a:cxn>
                <a:cxn ang="0">
                  <a:pos x="110" y="0"/>
                </a:cxn>
              </a:cxnLst>
              <a:rect l="0" t="0" r="r" b="b"/>
              <a:pathLst>
                <a:path w="287" h="640">
                  <a:moveTo>
                    <a:pt x="110" y="0"/>
                  </a:moveTo>
                  <a:lnTo>
                    <a:pt x="287" y="609"/>
                  </a:lnTo>
                  <a:lnTo>
                    <a:pt x="177" y="640"/>
                  </a:lnTo>
                  <a:lnTo>
                    <a:pt x="0" y="31"/>
                  </a:lnTo>
                  <a:lnTo>
                    <a:pt x="11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1">
                    <a:lumMod val="65000"/>
                    <a:lumOff val="35000"/>
                    <a:shade val="30000"/>
                    <a:satMod val="115000"/>
                  </a:schemeClr>
                </a:gs>
                <a:gs pos="50000">
                  <a:schemeClr val="tx1">
                    <a:lumMod val="65000"/>
                    <a:lumOff val="35000"/>
                    <a:shade val="67500"/>
                    <a:satMod val="115000"/>
                  </a:schemeClr>
                </a:gs>
                <a:gs pos="100000">
                  <a:schemeClr val="tx1">
                    <a:lumMod val="65000"/>
                    <a:lumOff val="35000"/>
                    <a:shade val="100000"/>
                    <a:satMod val="115000"/>
                  </a:schemeClr>
                </a:gs>
              </a:gsLst>
              <a:lin ang="0" scaled="1"/>
              <a:tileRect/>
            </a:gra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13">
              <a:extLst>
                <a:ext uri="{FF2B5EF4-FFF2-40B4-BE49-F238E27FC236}">
                  <a16:creationId xmlns:a16="http://schemas.microsoft.com/office/drawing/2014/main" id="{8BB6D46F-35A2-4435-AAB1-08992910FA81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9849" y="2601913"/>
              <a:ext cx="3000375" cy="2309813"/>
            </a:xfrm>
            <a:custGeom>
              <a:avLst/>
              <a:gdLst/>
              <a:ahLst/>
              <a:cxnLst>
                <a:cxn ang="0">
                  <a:pos x="1423" y="0"/>
                </a:cxn>
                <a:cxn ang="0">
                  <a:pos x="1427" y="16"/>
                </a:cxn>
                <a:cxn ang="0">
                  <a:pos x="1440" y="58"/>
                </a:cxn>
                <a:cxn ang="0">
                  <a:pos x="1464" y="122"/>
                </a:cxn>
                <a:cxn ang="0">
                  <a:pos x="1501" y="203"/>
                </a:cxn>
                <a:cxn ang="0">
                  <a:pos x="1550" y="298"/>
                </a:cxn>
                <a:cxn ang="0">
                  <a:pos x="1617" y="400"/>
                </a:cxn>
                <a:cxn ang="0">
                  <a:pos x="1671" y="482"/>
                </a:cxn>
                <a:cxn ang="0">
                  <a:pos x="1722" y="570"/>
                </a:cxn>
                <a:cxn ang="0">
                  <a:pos x="1768" y="659"/>
                </a:cxn>
                <a:cxn ang="0">
                  <a:pos x="1809" y="741"/>
                </a:cxn>
                <a:cxn ang="0">
                  <a:pos x="1843" y="815"/>
                </a:cxn>
                <a:cxn ang="0">
                  <a:pos x="1867" y="874"/>
                </a:cxn>
                <a:cxn ang="0">
                  <a:pos x="1885" y="912"/>
                </a:cxn>
                <a:cxn ang="0">
                  <a:pos x="1890" y="926"/>
                </a:cxn>
                <a:cxn ang="0">
                  <a:pos x="1820" y="942"/>
                </a:cxn>
                <a:cxn ang="0">
                  <a:pos x="1740" y="974"/>
                </a:cxn>
                <a:cxn ang="0">
                  <a:pos x="1602" y="1042"/>
                </a:cxn>
                <a:cxn ang="0">
                  <a:pos x="1501" y="1090"/>
                </a:cxn>
                <a:cxn ang="0">
                  <a:pos x="1396" y="1130"/>
                </a:cxn>
                <a:cxn ang="0">
                  <a:pos x="1288" y="1159"/>
                </a:cxn>
                <a:cxn ang="0">
                  <a:pos x="1182" y="1167"/>
                </a:cxn>
                <a:cxn ang="0">
                  <a:pos x="1067" y="1166"/>
                </a:cxn>
                <a:cxn ang="0">
                  <a:pos x="979" y="1171"/>
                </a:cxn>
                <a:cxn ang="0">
                  <a:pos x="915" y="1181"/>
                </a:cxn>
                <a:cxn ang="0">
                  <a:pos x="866" y="1198"/>
                </a:cxn>
                <a:cxn ang="0">
                  <a:pos x="831" y="1219"/>
                </a:cxn>
                <a:cxn ang="0">
                  <a:pos x="776" y="1262"/>
                </a:cxn>
                <a:cxn ang="0">
                  <a:pos x="733" y="1295"/>
                </a:cxn>
                <a:cxn ang="0">
                  <a:pos x="687" y="1324"/>
                </a:cxn>
                <a:cxn ang="0">
                  <a:pos x="624" y="1357"/>
                </a:cxn>
                <a:cxn ang="0">
                  <a:pos x="578" y="1375"/>
                </a:cxn>
                <a:cxn ang="0">
                  <a:pos x="519" y="1393"/>
                </a:cxn>
                <a:cxn ang="0">
                  <a:pos x="455" y="1413"/>
                </a:cxn>
                <a:cxn ang="0">
                  <a:pos x="394" y="1429"/>
                </a:cxn>
                <a:cxn ang="0">
                  <a:pos x="340" y="1443"/>
                </a:cxn>
                <a:cxn ang="0">
                  <a:pos x="293" y="1454"/>
                </a:cxn>
                <a:cxn ang="0">
                  <a:pos x="0" y="435"/>
                </a:cxn>
                <a:cxn ang="0">
                  <a:pos x="16" y="432"/>
                </a:cxn>
                <a:cxn ang="0">
                  <a:pos x="55" y="425"/>
                </a:cxn>
                <a:cxn ang="0">
                  <a:pos x="107" y="410"/>
                </a:cxn>
                <a:cxn ang="0">
                  <a:pos x="160" y="391"/>
                </a:cxn>
                <a:cxn ang="0">
                  <a:pos x="204" y="362"/>
                </a:cxn>
                <a:cxn ang="0">
                  <a:pos x="249" y="324"/>
                </a:cxn>
                <a:cxn ang="0">
                  <a:pos x="304" y="292"/>
                </a:cxn>
                <a:cxn ang="0">
                  <a:pos x="373" y="273"/>
                </a:cxn>
                <a:cxn ang="0">
                  <a:pos x="460" y="267"/>
                </a:cxn>
                <a:cxn ang="0">
                  <a:pos x="560" y="266"/>
                </a:cxn>
                <a:cxn ang="0">
                  <a:pos x="645" y="258"/>
                </a:cxn>
                <a:cxn ang="0">
                  <a:pos x="722" y="247"/>
                </a:cxn>
                <a:cxn ang="0">
                  <a:pos x="791" y="235"/>
                </a:cxn>
                <a:cxn ang="0">
                  <a:pos x="857" y="206"/>
                </a:cxn>
                <a:cxn ang="0">
                  <a:pos x="935" y="165"/>
                </a:cxn>
                <a:cxn ang="0">
                  <a:pos x="1017" y="118"/>
                </a:cxn>
                <a:cxn ang="0">
                  <a:pos x="1104" y="72"/>
                </a:cxn>
                <a:cxn ang="0">
                  <a:pos x="1195" y="37"/>
                </a:cxn>
                <a:cxn ang="0">
                  <a:pos x="1284" y="15"/>
                </a:cxn>
                <a:cxn ang="0">
                  <a:pos x="1357" y="4"/>
                </a:cxn>
                <a:cxn ang="0">
                  <a:pos x="1405" y="0"/>
                </a:cxn>
              </a:cxnLst>
              <a:rect l="0" t="0" r="r" b="b"/>
              <a:pathLst>
                <a:path w="1890" h="1455">
                  <a:moveTo>
                    <a:pt x="1405" y="0"/>
                  </a:moveTo>
                  <a:lnTo>
                    <a:pt x="1423" y="0"/>
                  </a:lnTo>
                  <a:lnTo>
                    <a:pt x="1425" y="4"/>
                  </a:lnTo>
                  <a:lnTo>
                    <a:pt x="1427" y="16"/>
                  </a:lnTo>
                  <a:lnTo>
                    <a:pt x="1432" y="33"/>
                  </a:lnTo>
                  <a:lnTo>
                    <a:pt x="1440" y="58"/>
                  </a:lnTo>
                  <a:lnTo>
                    <a:pt x="1451" y="87"/>
                  </a:lnTo>
                  <a:lnTo>
                    <a:pt x="1464" y="122"/>
                  </a:lnTo>
                  <a:lnTo>
                    <a:pt x="1481" y="161"/>
                  </a:lnTo>
                  <a:lnTo>
                    <a:pt x="1501" y="203"/>
                  </a:lnTo>
                  <a:lnTo>
                    <a:pt x="1524" y="249"/>
                  </a:lnTo>
                  <a:lnTo>
                    <a:pt x="1550" y="298"/>
                  </a:lnTo>
                  <a:lnTo>
                    <a:pt x="1582" y="349"/>
                  </a:lnTo>
                  <a:lnTo>
                    <a:pt x="1617" y="400"/>
                  </a:lnTo>
                  <a:lnTo>
                    <a:pt x="1645" y="440"/>
                  </a:lnTo>
                  <a:lnTo>
                    <a:pt x="1671" y="482"/>
                  </a:lnTo>
                  <a:lnTo>
                    <a:pt x="1697" y="527"/>
                  </a:lnTo>
                  <a:lnTo>
                    <a:pt x="1722" y="570"/>
                  </a:lnTo>
                  <a:lnTo>
                    <a:pt x="1746" y="614"/>
                  </a:lnTo>
                  <a:lnTo>
                    <a:pt x="1768" y="659"/>
                  </a:lnTo>
                  <a:lnTo>
                    <a:pt x="1790" y="701"/>
                  </a:lnTo>
                  <a:lnTo>
                    <a:pt x="1809" y="741"/>
                  </a:lnTo>
                  <a:lnTo>
                    <a:pt x="1827" y="779"/>
                  </a:lnTo>
                  <a:lnTo>
                    <a:pt x="1843" y="815"/>
                  </a:lnTo>
                  <a:lnTo>
                    <a:pt x="1857" y="846"/>
                  </a:lnTo>
                  <a:lnTo>
                    <a:pt x="1867" y="874"/>
                  </a:lnTo>
                  <a:lnTo>
                    <a:pt x="1877" y="896"/>
                  </a:lnTo>
                  <a:lnTo>
                    <a:pt x="1885" y="912"/>
                  </a:lnTo>
                  <a:lnTo>
                    <a:pt x="1888" y="922"/>
                  </a:lnTo>
                  <a:lnTo>
                    <a:pt x="1890" y="926"/>
                  </a:lnTo>
                  <a:lnTo>
                    <a:pt x="1857" y="931"/>
                  </a:lnTo>
                  <a:lnTo>
                    <a:pt x="1820" y="942"/>
                  </a:lnTo>
                  <a:lnTo>
                    <a:pt x="1781" y="956"/>
                  </a:lnTo>
                  <a:lnTo>
                    <a:pt x="1740" y="974"/>
                  </a:lnTo>
                  <a:lnTo>
                    <a:pt x="1696" y="995"/>
                  </a:lnTo>
                  <a:lnTo>
                    <a:pt x="1602" y="1042"/>
                  </a:lnTo>
                  <a:lnTo>
                    <a:pt x="1552" y="1066"/>
                  </a:lnTo>
                  <a:lnTo>
                    <a:pt x="1501" y="1090"/>
                  </a:lnTo>
                  <a:lnTo>
                    <a:pt x="1448" y="1111"/>
                  </a:lnTo>
                  <a:lnTo>
                    <a:pt x="1396" y="1130"/>
                  </a:lnTo>
                  <a:lnTo>
                    <a:pt x="1342" y="1146"/>
                  </a:lnTo>
                  <a:lnTo>
                    <a:pt x="1288" y="1159"/>
                  </a:lnTo>
                  <a:lnTo>
                    <a:pt x="1235" y="1166"/>
                  </a:lnTo>
                  <a:lnTo>
                    <a:pt x="1182" y="1167"/>
                  </a:lnTo>
                  <a:lnTo>
                    <a:pt x="1121" y="1166"/>
                  </a:lnTo>
                  <a:lnTo>
                    <a:pt x="1067" y="1166"/>
                  </a:lnTo>
                  <a:lnTo>
                    <a:pt x="1020" y="1167"/>
                  </a:lnTo>
                  <a:lnTo>
                    <a:pt x="979" y="1171"/>
                  </a:lnTo>
                  <a:lnTo>
                    <a:pt x="945" y="1176"/>
                  </a:lnTo>
                  <a:lnTo>
                    <a:pt x="915" y="1181"/>
                  </a:lnTo>
                  <a:lnTo>
                    <a:pt x="889" y="1189"/>
                  </a:lnTo>
                  <a:lnTo>
                    <a:pt x="866" y="1198"/>
                  </a:lnTo>
                  <a:lnTo>
                    <a:pt x="848" y="1207"/>
                  </a:lnTo>
                  <a:lnTo>
                    <a:pt x="831" y="1219"/>
                  </a:lnTo>
                  <a:lnTo>
                    <a:pt x="800" y="1243"/>
                  </a:lnTo>
                  <a:lnTo>
                    <a:pt x="776" y="1262"/>
                  </a:lnTo>
                  <a:lnTo>
                    <a:pt x="754" y="1279"/>
                  </a:lnTo>
                  <a:lnTo>
                    <a:pt x="733" y="1295"/>
                  </a:lnTo>
                  <a:lnTo>
                    <a:pt x="712" y="1310"/>
                  </a:lnTo>
                  <a:lnTo>
                    <a:pt x="687" y="1324"/>
                  </a:lnTo>
                  <a:lnTo>
                    <a:pt x="658" y="1340"/>
                  </a:lnTo>
                  <a:lnTo>
                    <a:pt x="624" y="1357"/>
                  </a:lnTo>
                  <a:lnTo>
                    <a:pt x="603" y="1366"/>
                  </a:lnTo>
                  <a:lnTo>
                    <a:pt x="578" y="1375"/>
                  </a:lnTo>
                  <a:lnTo>
                    <a:pt x="549" y="1384"/>
                  </a:lnTo>
                  <a:lnTo>
                    <a:pt x="519" y="1393"/>
                  </a:lnTo>
                  <a:lnTo>
                    <a:pt x="488" y="1404"/>
                  </a:lnTo>
                  <a:lnTo>
                    <a:pt x="455" y="1413"/>
                  </a:lnTo>
                  <a:lnTo>
                    <a:pt x="424" y="1421"/>
                  </a:lnTo>
                  <a:lnTo>
                    <a:pt x="394" y="1429"/>
                  </a:lnTo>
                  <a:lnTo>
                    <a:pt x="365" y="1437"/>
                  </a:lnTo>
                  <a:lnTo>
                    <a:pt x="340" y="1443"/>
                  </a:lnTo>
                  <a:lnTo>
                    <a:pt x="319" y="1447"/>
                  </a:lnTo>
                  <a:lnTo>
                    <a:pt x="293" y="1454"/>
                  </a:lnTo>
                  <a:lnTo>
                    <a:pt x="289" y="1455"/>
                  </a:lnTo>
                  <a:lnTo>
                    <a:pt x="0" y="435"/>
                  </a:lnTo>
                  <a:lnTo>
                    <a:pt x="4" y="435"/>
                  </a:lnTo>
                  <a:lnTo>
                    <a:pt x="16" y="432"/>
                  </a:lnTo>
                  <a:lnTo>
                    <a:pt x="33" y="430"/>
                  </a:lnTo>
                  <a:lnTo>
                    <a:pt x="55" y="425"/>
                  </a:lnTo>
                  <a:lnTo>
                    <a:pt x="80" y="418"/>
                  </a:lnTo>
                  <a:lnTo>
                    <a:pt x="107" y="410"/>
                  </a:lnTo>
                  <a:lnTo>
                    <a:pt x="134" y="401"/>
                  </a:lnTo>
                  <a:lnTo>
                    <a:pt x="160" y="391"/>
                  </a:lnTo>
                  <a:lnTo>
                    <a:pt x="184" y="377"/>
                  </a:lnTo>
                  <a:lnTo>
                    <a:pt x="204" y="362"/>
                  </a:lnTo>
                  <a:lnTo>
                    <a:pt x="226" y="342"/>
                  </a:lnTo>
                  <a:lnTo>
                    <a:pt x="249" y="324"/>
                  </a:lnTo>
                  <a:lnTo>
                    <a:pt x="276" y="307"/>
                  </a:lnTo>
                  <a:lnTo>
                    <a:pt x="304" y="292"/>
                  </a:lnTo>
                  <a:lnTo>
                    <a:pt x="336" y="282"/>
                  </a:lnTo>
                  <a:lnTo>
                    <a:pt x="373" y="273"/>
                  </a:lnTo>
                  <a:lnTo>
                    <a:pt x="414" y="269"/>
                  </a:lnTo>
                  <a:lnTo>
                    <a:pt x="460" y="267"/>
                  </a:lnTo>
                  <a:lnTo>
                    <a:pt x="513" y="267"/>
                  </a:lnTo>
                  <a:lnTo>
                    <a:pt x="560" y="266"/>
                  </a:lnTo>
                  <a:lnTo>
                    <a:pt x="604" y="262"/>
                  </a:lnTo>
                  <a:lnTo>
                    <a:pt x="645" y="258"/>
                  </a:lnTo>
                  <a:lnTo>
                    <a:pt x="684" y="253"/>
                  </a:lnTo>
                  <a:lnTo>
                    <a:pt x="722" y="247"/>
                  </a:lnTo>
                  <a:lnTo>
                    <a:pt x="762" y="241"/>
                  </a:lnTo>
                  <a:lnTo>
                    <a:pt x="791" y="235"/>
                  </a:lnTo>
                  <a:lnTo>
                    <a:pt x="823" y="223"/>
                  </a:lnTo>
                  <a:lnTo>
                    <a:pt x="857" y="206"/>
                  </a:lnTo>
                  <a:lnTo>
                    <a:pt x="895" y="186"/>
                  </a:lnTo>
                  <a:lnTo>
                    <a:pt x="935" y="165"/>
                  </a:lnTo>
                  <a:lnTo>
                    <a:pt x="975" y="142"/>
                  </a:lnTo>
                  <a:lnTo>
                    <a:pt x="1017" y="118"/>
                  </a:lnTo>
                  <a:lnTo>
                    <a:pt x="1060" y="95"/>
                  </a:lnTo>
                  <a:lnTo>
                    <a:pt x="1104" y="72"/>
                  </a:lnTo>
                  <a:lnTo>
                    <a:pt x="1148" y="54"/>
                  </a:lnTo>
                  <a:lnTo>
                    <a:pt x="1195" y="37"/>
                  </a:lnTo>
                  <a:lnTo>
                    <a:pt x="1241" y="24"/>
                  </a:lnTo>
                  <a:lnTo>
                    <a:pt x="1284" y="15"/>
                  </a:lnTo>
                  <a:lnTo>
                    <a:pt x="1322" y="8"/>
                  </a:lnTo>
                  <a:lnTo>
                    <a:pt x="1357" y="4"/>
                  </a:lnTo>
                  <a:lnTo>
                    <a:pt x="1384" y="2"/>
                  </a:lnTo>
                  <a:lnTo>
                    <a:pt x="1405" y="0"/>
                  </a:lnTo>
                  <a:close/>
                </a:path>
              </a:pathLst>
            </a:custGeom>
            <a:blipFill dpi="0" rotWithShape="1"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02" name="Textfeld 101">
            <a:extLst>
              <a:ext uri="{FF2B5EF4-FFF2-40B4-BE49-F238E27FC236}">
                <a16:creationId xmlns:a16="http://schemas.microsoft.com/office/drawing/2014/main" id="{EE11DA8E-B310-472D-BF67-DCFC922D213D}"/>
              </a:ext>
            </a:extLst>
          </p:cNvPr>
          <p:cNvSpPr txBox="1"/>
          <p:nvPr/>
        </p:nvSpPr>
        <p:spPr>
          <a:xfrm>
            <a:off x="5329680" y="1690252"/>
            <a:ext cx="6095404" cy="10310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00"/>
              </a:spcBef>
            </a:pPr>
            <a:r>
              <a:rPr lang="de-DE" sz="1200" b="1" dirty="0">
                <a:solidFill>
                  <a:srgbClr val="32C8C8"/>
                </a:solidFill>
              </a:rPr>
              <a:t>Briefmengenentwicklung (2012 zu 2021)</a:t>
            </a:r>
          </a:p>
          <a:p>
            <a:pPr marL="176213" indent="-87313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Deutlicher Sendungsmengenrückgang von 41% (Italien) und 49% (Spanien) mit deutlich steigender Tendenz</a:t>
            </a:r>
          </a:p>
          <a:p>
            <a:pPr marL="176213" indent="-87313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Poste </a:t>
            </a:r>
            <a:r>
              <a:rPr lang="de-DE" sz="1100" dirty="0" err="1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Italiane</a:t>
            </a:r>
            <a:r>
              <a:rPr lang="de-DE" sz="1100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 gleicht regelmäßige Verluste aus Briefgeschäft durch ertragsreiches Versicherungsgeschäft und staatliche Ausgleichszahlungen aus </a:t>
            </a:r>
          </a:p>
        </p:txBody>
      </p:sp>
      <p:sp>
        <p:nvSpPr>
          <p:cNvPr id="103" name="Textfeld 102">
            <a:extLst>
              <a:ext uri="{FF2B5EF4-FFF2-40B4-BE49-F238E27FC236}">
                <a16:creationId xmlns:a16="http://schemas.microsoft.com/office/drawing/2014/main" id="{98B93239-47FF-4A95-B30F-EEF0FE40E60B}"/>
              </a:ext>
            </a:extLst>
          </p:cNvPr>
          <p:cNvSpPr txBox="1"/>
          <p:nvPr/>
        </p:nvSpPr>
        <p:spPr>
          <a:xfrm>
            <a:off x="5324766" y="2755503"/>
            <a:ext cx="6095404" cy="4847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00"/>
              </a:spcBef>
            </a:pPr>
            <a:r>
              <a:rPr lang="de-DE" sz="1200" b="1" dirty="0">
                <a:solidFill>
                  <a:srgbClr val="32C8C8"/>
                </a:solidFill>
              </a:rPr>
              <a:t>Wettbewerbssituation</a:t>
            </a:r>
          </a:p>
          <a:p>
            <a:pPr marL="176213" indent="-87313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Kein Wettbewerb trotz Netzzugang  </a:t>
            </a:r>
          </a:p>
        </p:txBody>
      </p:sp>
      <p:sp>
        <p:nvSpPr>
          <p:cNvPr id="104" name="Textfeld 103">
            <a:extLst>
              <a:ext uri="{FF2B5EF4-FFF2-40B4-BE49-F238E27FC236}">
                <a16:creationId xmlns:a16="http://schemas.microsoft.com/office/drawing/2014/main" id="{659E0C54-0DFA-404F-A181-5121445F70B1}"/>
              </a:ext>
            </a:extLst>
          </p:cNvPr>
          <p:cNvSpPr txBox="1"/>
          <p:nvPr/>
        </p:nvSpPr>
        <p:spPr>
          <a:xfrm>
            <a:off x="765137" y="6598338"/>
            <a:ext cx="6264998" cy="14561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lvl1pPr>
              <a:buFont typeface="Arial"/>
              <a:buChar char="•"/>
            </a:lvl1pPr>
            <a:lvl2pPr>
              <a:buFont typeface="Arial"/>
              <a:buChar char="•"/>
            </a:lvl2pPr>
            <a:lvl3pPr>
              <a:buFont typeface="Arial"/>
              <a:buChar char="•"/>
            </a:lvl3pPr>
            <a:lvl4pPr>
              <a:buFont typeface="Arial"/>
              <a:buChar char="•"/>
            </a:lvl4pPr>
            <a:lvl5pPr>
              <a:buFont typeface="Arial"/>
              <a:buChar char="•"/>
            </a:lvl5pPr>
            <a:lvl6pPr>
              <a:buFont typeface="Arial"/>
              <a:buChar char="•"/>
            </a:lvl6pPr>
            <a:lvl7pPr>
              <a:buFont typeface="Arial"/>
              <a:buChar char="•"/>
            </a:lvl7pPr>
            <a:lvl8pPr>
              <a:buFont typeface="Arial"/>
              <a:buChar char="•"/>
            </a:lvl8pPr>
            <a:lvl9pPr>
              <a:buFont typeface="Arial"/>
              <a:buChar char="•"/>
            </a:lvl9pPr>
          </a:lstStyle>
          <a:p>
            <a:pPr algn="l">
              <a:lnSpc>
                <a:spcPct val="110000"/>
              </a:lnSpc>
              <a:spcAft>
                <a:spcPts val="500"/>
              </a:spcAft>
              <a:buNone/>
            </a:pPr>
            <a:r>
              <a:rPr lang="de-DE" sz="900" dirty="0">
                <a:solidFill>
                  <a:srgbClr val="878787"/>
                </a:solidFill>
              </a:rPr>
              <a:t>Quellen: IPC </a:t>
            </a:r>
            <a:r>
              <a:rPr lang="de-DE" sz="900" dirty="0" err="1">
                <a:solidFill>
                  <a:srgbClr val="878787"/>
                </a:solidFill>
              </a:rPr>
              <a:t>Regulatory</a:t>
            </a:r>
            <a:r>
              <a:rPr lang="de-DE" sz="900" dirty="0">
                <a:solidFill>
                  <a:srgbClr val="878787"/>
                </a:solidFill>
              </a:rPr>
              <a:t> Database 2022, Geschäftsberichte, EU-Kommission, Regulierungsbehörden</a:t>
            </a:r>
          </a:p>
        </p:txBody>
      </p:sp>
      <p:sp>
        <p:nvSpPr>
          <p:cNvPr id="105" name="Textfeld 104">
            <a:extLst>
              <a:ext uri="{FF2B5EF4-FFF2-40B4-BE49-F238E27FC236}">
                <a16:creationId xmlns:a16="http://schemas.microsoft.com/office/drawing/2014/main" id="{FC039C3F-7A7C-4B9E-BFCA-9307F039625F}"/>
              </a:ext>
            </a:extLst>
          </p:cNvPr>
          <p:cNvSpPr txBox="1"/>
          <p:nvPr/>
        </p:nvSpPr>
        <p:spPr>
          <a:xfrm>
            <a:off x="5329679" y="3265862"/>
            <a:ext cx="6255793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00"/>
              </a:spcBef>
            </a:pPr>
            <a:r>
              <a:rPr lang="de-DE" sz="1200" b="1" dirty="0">
                <a:solidFill>
                  <a:srgbClr val="32C8C8"/>
                </a:solidFill>
              </a:rPr>
              <a:t>Preisregulierung</a:t>
            </a:r>
            <a:endParaRPr lang="de-DE" sz="1400" b="1" dirty="0">
              <a:solidFill>
                <a:srgbClr val="32C8C8"/>
              </a:solidFill>
            </a:endParaRPr>
          </a:p>
          <a:p>
            <a:pPr marL="176213" indent="-87313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Keine Preisvorgaben</a:t>
            </a:r>
          </a:p>
          <a:p>
            <a:pPr marL="176213" indent="-87313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Relativ hoher Preisaufschlag für schnellere Laufzeit (80% E+1) in Italien (2,80€ inkl. digitalem Zustellnachweis) </a:t>
            </a:r>
          </a:p>
          <a:p>
            <a:pPr marL="176213" indent="-87313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Niedriges Preisniveau in Spanien mit 0,75€, allerdings bei längerer Laufzeit von rund 3 Tagen</a:t>
            </a:r>
          </a:p>
          <a:p>
            <a:pPr marL="176213" indent="-87313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Staatliche Ausgleichszahlungen seit 2012 von 3,9 Mrd. € in Italien bzw. 1,3 Mrd. € in Spanien zur finanziellen Absicherung des Universaldienstes </a:t>
            </a:r>
            <a:endParaRPr lang="de-DE" sz="1400" dirty="0">
              <a:solidFill>
                <a:schemeClr val="bg1">
                  <a:lumMod val="50000"/>
                </a:schemeClr>
              </a:solidFill>
              <a:cs typeface="Times New Roman" panose="02020603050405020304" pitchFamily="18" charset="0"/>
            </a:endParaRPr>
          </a:p>
        </p:txBody>
      </p:sp>
      <p:sp>
        <p:nvSpPr>
          <p:cNvPr id="106" name="Textfeld 105">
            <a:extLst>
              <a:ext uri="{FF2B5EF4-FFF2-40B4-BE49-F238E27FC236}">
                <a16:creationId xmlns:a16="http://schemas.microsoft.com/office/drawing/2014/main" id="{97BC2CB6-8A54-4306-8D91-73D88D8F718C}"/>
              </a:ext>
            </a:extLst>
          </p:cNvPr>
          <p:cNvSpPr txBox="1"/>
          <p:nvPr/>
        </p:nvSpPr>
        <p:spPr>
          <a:xfrm>
            <a:off x="5324764" y="4745809"/>
            <a:ext cx="609540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00"/>
              </a:spcBef>
            </a:pPr>
            <a:r>
              <a:rPr lang="de-DE" sz="1200" b="1" dirty="0">
                <a:solidFill>
                  <a:srgbClr val="32C8C8"/>
                </a:solidFill>
              </a:rPr>
              <a:t>Laufzeitvorgaben beim Universaldienst</a:t>
            </a:r>
          </a:p>
          <a:p>
            <a:pPr marL="176213" indent="-87313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Deutliche Lockerung der Laufzeitvorgaben</a:t>
            </a:r>
          </a:p>
          <a:p>
            <a:pPr marL="176213" indent="-87313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Italien: 90% E+4 bzw. bzw. 98% E+6 und Zustellung an 3 Tagen pro Woche in 25% des Landes </a:t>
            </a:r>
          </a:p>
          <a:p>
            <a:pPr marL="176213" indent="-87313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Spanien: Laufzeitvorgabe von 93% E+3 bei 5 Zustelltagen pro Woche </a:t>
            </a:r>
          </a:p>
          <a:p>
            <a:pPr marL="176213" indent="-87313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bg1">
                  <a:lumMod val="50000"/>
                </a:schemeClr>
              </a:solidFill>
              <a:cs typeface="Times New Roman" panose="02020603050405020304" pitchFamily="18" charset="0"/>
            </a:endParaRPr>
          </a:p>
        </p:txBody>
      </p:sp>
      <p:sp>
        <p:nvSpPr>
          <p:cNvPr id="107" name="Freeform 13">
            <a:extLst>
              <a:ext uri="{FF2B5EF4-FFF2-40B4-BE49-F238E27FC236}">
                <a16:creationId xmlns:a16="http://schemas.microsoft.com/office/drawing/2014/main" id="{230DB9BF-80AF-4F39-98F8-51BE06E8D645}"/>
              </a:ext>
            </a:extLst>
          </p:cNvPr>
          <p:cNvSpPr>
            <a:spLocks noEditPoints="1"/>
          </p:cNvSpPr>
          <p:nvPr/>
        </p:nvSpPr>
        <p:spPr bwMode="auto">
          <a:xfrm>
            <a:off x="113840" y="5288125"/>
            <a:ext cx="1376493" cy="1220008"/>
          </a:xfrm>
          <a:custGeom>
            <a:avLst/>
            <a:gdLst/>
            <a:ahLst/>
            <a:cxnLst>
              <a:cxn ang="0">
                <a:pos x="117" y="817"/>
              </a:cxn>
              <a:cxn ang="0">
                <a:pos x="99" y="828"/>
              </a:cxn>
              <a:cxn ang="0">
                <a:pos x="87" y="800"/>
              </a:cxn>
              <a:cxn ang="0">
                <a:pos x="57" y="816"/>
              </a:cxn>
              <a:cxn ang="0">
                <a:pos x="184" y="792"/>
              </a:cxn>
              <a:cxn ang="0">
                <a:pos x="168" y="813"/>
              </a:cxn>
              <a:cxn ang="0">
                <a:pos x="16" y="803"/>
              </a:cxn>
              <a:cxn ang="0">
                <a:pos x="188" y="782"/>
              </a:cxn>
              <a:cxn ang="0">
                <a:pos x="195" y="767"/>
              </a:cxn>
              <a:cxn ang="0">
                <a:pos x="501" y="380"/>
              </a:cxn>
              <a:cxn ang="0">
                <a:pos x="828" y="263"/>
              </a:cxn>
              <a:cxn ang="0">
                <a:pos x="822" y="271"/>
              </a:cxn>
              <a:cxn ang="0">
                <a:pos x="897" y="221"/>
              </a:cxn>
              <a:cxn ang="0">
                <a:pos x="902" y="250"/>
              </a:cxn>
              <a:cxn ang="0">
                <a:pos x="872" y="244"/>
              </a:cxn>
              <a:cxn ang="0">
                <a:pos x="942" y="211"/>
              </a:cxn>
              <a:cxn ang="0">
                <a:pos x="928" y="211"/>
              </a:cxn>
              <a:cxn ang="0">
                <a:pos x="391" y="75"/>
              </a:cxn>
              <a:cxn ang="0">
                <a:pos x="471" y="13"/>
              </a:cxn>
              <a:cxn ang="0">
                <a:pos x="511" y="12"/>
              </a:cxn>
              <a:cxn ang="0">
                <a:pos x="558" y="19"/>
              </a:cxn>
              <a:cxn ang="0">
                <a:pos x="608" y="18"/>
              </a:cxn>
              <a:cxn ang="0">
                <a:pos x="621" y="22"/>
              </a:cxn>
              <a:cxn ang="0">
                <a:pos x="656" y="22"/>
              </a:cxn>
              <a:cxn ang="0">
                <a:pos x="697" y="31"/>
              </a:cxn>
              <a:cxn ang="0">
                <a:pos x="715" y="43"/>
              </a:cxn>
              <a:cxn ang="0">
                <a:pos x="753" y="56"/>
              </a:cxn>
              <a:cxn ang="0">
                <a:pos x="795" y="61"/>
              </a:cxn>
              <a:cxn ang="0">
                <a:pos x="828" y="73"/>
              </a:cxn>
              <a:cxn ang="0">
                <a:pos x="857" y="79"/>
              </a:cxn>
              <a:cxn ang="0">
                <a:pos x="906" y="84"/>
              </a:cxn>
              <a:cxn ang="0">
                <a:pos x="887" y="120"/>
              </a:cxn>
              <a:cxn ang="0">
                <a:pos x="809" y="157"/>
              </a:cxn>
              <a:cxn ang="0">
                <a:pos x="782" y="198"/>
              </a:cxn>
              <a:cxn ang="0">
                <a:pos x="757" y="263"/>
              </a:cxn>
              <a:cxn ang="0">
                <a:pos x="759" y="294"/>
              </a:cxn>
              <a:cxn ang="0">
                <a:pos x="735" y="333"/>
              </a:cxn>
              <a:cxn ang="0">
                <a:pos x="714" y="346"/>
              </a:cxn>
              <a:cxn ang="0">
                <a:pos x="682" y="385"/>
              </a:cxn>
              <a:cxn ang="0">
                <a:pos x="652" y="392"/>
              </a:cxn>
              <a:cxn ang="0">
                <a:pos x="595" y="389"/>
              </a:cxn>
              <a:cxn ang="0">
                <a:pos x="544" y="416"/>
              </a:cxn>
              <a:cxn ang="0">
                <a:pos x="501" y="400"/>
              </a:cxn>
              <a:cxn ang="0">
                <a:pos x="480" y="369"/>
              </a:cxn>
              <a:cxn ang="0">
                <a:pos x="452" y="354"/>
              </a:cxn>
              <a:cxn ang="0">
                <a:pos x="472" y="317"/>
              </a:cxn>
              <a:cxn ang="0">
                <a:pos x="468" y="277"/>
              </a:cxn>
              <a:cxn ang="0">
                <a:pos x="458" y="244"/>
              </a:cxn>
              <a:cxn ang="0">
                <a:pos x="470" y="206"/>
              </a:cxn>
              <a:cxn ang="0">
                <a:pos x="478" y="166"/>
              </a:cxn>
              <a:cxn ang="0">
                <a:pos x="502" y="131"/>
              </a:cxn>
              <a:cxn ang="0">
                <a:pos x="474" y="106"/>
              </a:cxn>
              <a:cxn ang="0">
                <a:pos x="435" y="110"/>
              </a:cxn>
              <a:cxn ang="0">
                <a:pos x="416" y="97"/>
              </a:cxn>
              <a:cxn ang="0">
                <a:pos x="395" y="92"/>
              </a:cxn>
              <a:cxn ang="0">
                <a:pos x="398" y="79"/>
              </a:cxn>
              <a:cxn ang="0">
                <a:pos x="386" y="73"/>
              </a:cxn>
              <a:cxn ang="0">
                <a:pos x="380" y="50"/>
              </a:cxn>
              <a:cxn ang="0">
                <a:pos x="385" y="35"/>
              </a:cxn>
              <a:cxn ang="0">
                <a:pos x="414" y="25"/>
              </a:cxn>
              <a:cxn ang="0">
                <a:pos x="416" y="13"/>
              </a:cxn>
              <a:cxn ang="0">
                <a:pos x="442" y="0"/>
              </a:cxn>
            </a:cxnLst>
            <a:rect l="0" t="0" r="r" b="b"/>
            <a:pathLst>
              <a:path w="950" h="842">
                <a:moveTo>
                  <a:pt x="11" y="833"/>
                </a:moveTo>
                <a:lnTo>
                  <a:pt x="13" y="835"/>
                </a:lnTo>
                <a:lnTo>
                  <a:pt x="12" y="835"/>
                </a:lnTo>
                <a:lnTo>
                  <a:pt x="11" y="837"/>
                </a:lnTo>
                <a:lnTo>
                  <a:pt x="11" y="840"/>
                </a:lnTo>
                <a:lnTo>
                  <a:pt x="10" y="840"/>
                </a:lnTo>
                <a:lnTo>
                  <a:pt x="10" y="841"/>
                </a:lnTo>
                <a:lnTo>
                  <a:pt x="8" y="841"/>
                </a:lnTo>
                <a:lnTo>
                  <a:pt x="8" y="842"/>
                </a:lnTo>
                <a:lnTo>
                  <a:pt x="7" y="842"/>
                </a:lnTo>
                <a:lnTo>
                  <a:pt x="6" y="841"/>
                </a:lnTo>
                <a:lnTo>
                  <a:pt x="5" y="841"/>
                </a:lnTo>
                <a:lnTo>
                  <a:pt x="2" y="840"/>
                </a:lnTo>
                <a:lnTo>
                  <a:pt x="1" y="840"/>
                </a:lnTo>
                <a:lnTo>
                  <a:pt x="1" y="839"/>
                </a:lnTo>
                <a:lnTo>
                  <a:pt x="0" y="837"/>
                </a:lnTo>
                <a:lnTo>
                  <a:pt x="1" y="836"/>
                </a:lnTo>
                <a:lnTo>
                  <a:pt x="4" y="837"/>
                </a:lnTo>
                <a:lnTo>
                  <a:pt x="6" y="837"/>
                </a:lnTo>
                <a:lnTo>
                  <a:pt x="7" y="835"/>
                </a:lnTo>
                <a:lnTo>
                  <a:pt x="7" y="834"/>
                </a:lnTo>
                <a:lnTo>
                  <a:pt x="8" y="834"/>
                </a:lnTo>
                <a:lnTo>
                  <a:pt x="11" y="833"/>
                </a:lnTo>
                <a:close/>
                <a:moveTo>
                  <a:pt x="116" y="817"/>
                </a:moveTo>
                <a:lnTo>
                  <a:pt x="117" y="817"/>
                </a:lnTo>
                <a:lnTo>
                  <a:pt x="117" y="824"/>
                </a:lnTo>
                <a:lnTo>
                  <a:pt x="118" y="824"/>
                </a:lnTo>
                <a:lnTo>
                  <a:pt x="118" y="825"/>
                </a:lnTo>
                <a:lnTo>
                  <a:pt x="119" y="825"/>
                </a:lnTo>
                <a:lnTo>
                  <a:pt x="119" y="827"/>
                </a:lnTo>
                <a:lnTo>
                  <a:pt x="118" y="827"/>
                </a:lnTo>
                <a:lnTo>
                  <a:pt x="118" y="828"/>
                </a:lnTo>
                <a:lnTo>
                  <a:pt x="119" y="829"/>
                </a:lnTo>
                <a:lnTo>
                  <a:pt x="118" y="829"/>
                </a:lnTo>
                <a:lnTo>
                  <a:pt x="118" y="833"/>
                </a:lnTo>
                <a:lnTo>
                  <a:pt x="114" y="836"/>
                </a:lnTo>
                <a:lnTo>
                  <a:pt x="112" y="836"/>
                </a:lnTo>
                <a:lnTo>
                  <a:pt x="112" y="837"/>
                </a:lnTo>
                <a:lnTo>
                  <a:pt x="111" y="837"/>
                </a:lnTo>
                <a:lnTo>
                  <a:pt x="110" y="839"/>
                </a:lnTo>
                <a:lnTo>
                  <a:pt x="108" y="837"/>
                </a:lnTo>
                <a:lnTo>
                  <a:pt x="105" y="837"/>
                </a:lnTo>
                <a:lnTo>
                  <a:pt x="103" y="835"/>
                </a:lnTo>
                <a:lnTo>
                  <a:pt x="103" y="834"/>
                </a:lnTo>
                <a:lnTo>
                  <a:pt x="101" y="834"/>
                </a:lnTo>
                <a:lnTo>
                  <a:pt x="101" y="833"/>
                </a:lnTo>
                <a:lnTo>
                  <a:pt x="100" y="830"/>
                </a:lnTo>
                <a:lnTo>
                  <a:pt x="99" y="829"/>
                </a:lnTo>
                <a:lnTo>
                  <a:pt x="100" y="829"/>
                </a:lnTo>
                <a:lnTo>
                  <a:pt x="99" y="828"/>
                </a:lnTo>
                <a:lnTo>
                  <a:pt x="99" y="827"/>
                </a:lnTo>
                <a:lnTo>
                  <a:pt x="101" y="824"/>
                </a:lnTo>
                <a:lnTo>
                  <a:pt x="103" y="824"/>
                </a:lnTo>
                <a:lnTo>
                  <a:pt x="104" y="823"/>
                </a:lnTo>
                <a:lnTo>
                  <a:pt x="104" y="821"/>
                </a:lnTo>
                <a:lnTo>
                  <a:pt x="105" y="821"/>
                </a:lnTo>
                <a:lnTo>
                  <a:pt x="105" y="818"/>
                </a:lnTo>
                <a:lnTo>
                  <a:pt x="112" y="818"/>
                </a:lnTo>
                <a:lnTo>
                  <a:pt x="114" y="819"/>
                </a:lnTo>
                <a:lnTo>
                  <a:pt x="116" y="819"/>
                </a:lnTo>
                <a:lnTo>
                  <a:pt x="116" y="817"/>
                </a:lnTo>
                <a:close/>
                <a:moveTo>
                  <a:pt x="37" y="816"/>
                </a:moveTo>
                <a:lnTo>
                  <a:pt x="41" y="816"/>
                </a:lnTo>
                <a:lnTo>
                  <a:pt x="45" y="818"/>
                </a:lnTo>
                <a:lnTo>
                  <a:pt x="45" y="822"/>
                </a:lnTo>
                <a:lnTo>
                  <a:pt x="44" y="822"/>
                </a:lnTo>
                <a:lnTo>
                  <a:pt x="42" y="824"/>
                </a:lnTo>
                <a:lnTo>
                  <a:pt x="39" y="824"/>
                </a:lnTo>
                <a:lnTo>
                  <a:pt x="37" y="823"/>
                </a:lnTo>
                <a:lnTo>
                  <a:pt x="36" y="821"/>
                </a:lnTo>
                <a:lnTo>
                  <a:pt x="36" y="817"/>
                </a:lnTo>
                <a:lnTo>
                  <a:pt x="37" y="816"/>
                </a:lnTo>
                <a:close/>
                <a:moveTo>
                  <a:pt x="86" y="798"/>
                </a:moveTo>
                <a:lnTo>
                  <a:pt x="87" y="798"/>
                </a:lnTo>
                <a:lnTo>
                  <a:pt x="87" y="800"/>
                </a:lnTo>
                <a:lnTo>
                  <a:pt x="86" y="800"/>
                </a:lnTo>
                <a:lnTo>
                  <a:pt x="82" y="803"/>
                </a:lnTo>
                <a:lnTo>
                  <a:pt x="81" y="804"/>
                </a:lnTo>
                <a:lnTo>
                  <a:pt x="81" y="805"/>
                </a:lnTo>
                <a:lnTo>
                  <a:pt x="80" y="806"/>
                </a:lnTo>
                <a:lnTo>
                  <a:pt x="79" y="806"/>
                </a:lnTo>
                <a:lnTo>
                  <a:pt x="77" y="807"/>
                </a:lnTo>
                <a:lnTo>
                  <a:pt x="76" y="807"/>
                </a:lnTo>
                <a:lnTo>
                  <a:pt x="76" y="812"/>
                </a:lnTo>
                <a:lnTo>
                  <a:pt x="75" y="813"/>
                </a:lnTo>
                <a:lnTo>
                  <a:pt x="74" y="816"/>
                </a:lnTo>
                <a:lnTo>
                  <a:pt x="74" y="818"/>
                </a:lnTo>
                <a:lnTo>
                  <a:pt x="73" y="819"/>
                </a:lnTo>
                <a:lnTo>
                  <a:pt x="73" y="821"/>
                </a:lnTo>
                <a:lnTo>
                  <a:pt x="69" y="824"/>
                </a:lnTo>
                <a:lnTo>
                  <a:pt x="68" y="824"/>
                </a:lnTo>
                <a:lnTo>
                  <a:pt x="66" y="825"/>
                </a:lnTo>
                <a:lnTo>
                  <a:pt x="62" y="825"/>
                </a:lnTo>
                <a:lnTo>
                  <a:pt x="62" y="823"/>
                </a:lnTo>
                <a:lnTo>
                  <a:pt x="61" y="823"/>
                </a:lnTo>
                <a:lnTo>
                  <a:pt x="61" y="822"/>
                </a:lnTo>
                <a:lnTo>
                  <a:pt x="58" y="819"/>
                </a:lnTo>
                <a:lnTo>
                  <a:pt x="58" y="818"/>
                </a:lnTo>
                <a:lnTo>
                  <a:pt x="57" y="817"/>
                </a:lnTo>
                <a:lnTo>
                  <a:pt x="57" y="816"/>
                </a:lnTo>
                <a:lnTo>
                  <a:pt x="56" y="816"/>
                </a:lnTo>
                <a:lnTo>
                  <a:pt x="56" y="812"/>
                </a:lnTo>
                <a:lnTo>
                  <a:pt x="54" y="810"/>
                </a:lnTo>
                <a:lnTo>
                  <a:pt x="54" y="809"/>
                </a:lnTo>
                <a:lnTo>
                  <a:pt x="55" y="809"/>
                </a:lnTo>
                <a:lnTo>
                  <a:pt x="56" y="807"/>
                </a:lnTo>
                <a:lnTo>
                  <a:pt x="57" y="807"/>
                </a:lnTo>
                <a:lnTo>
                  <a:pt x="58" y="809"/>
                </a:lnTo>
                <a:lnTo>
                  <a:pt x="60" y="809"/>
                </a:lnTo>
                <a:lnTo>
                  <a:pt x="61" y="807"/>
                </a:lnTo>
                <a:lnTo>
                  <a:pt x="63" y="807"/>
                </a:lnTo>
                <a:lnTo>
                  <a:pt x="64" y="806"/>
                </a:lnTo>
                <a:lnTo>
                  <a:pt x="69" y="806"/>
                </a:lnTo>
                <a:lnTo>
                  <a:pt x="69" y="805"/>
                </a:lnTo>
                <a:lnTo>
                  <a:pt x="72" y="805"/>
                </a:lnTo>
                <a:lnTo>
                  <a:pt x="74" y="803"/>
                </a:lnTo>
                <a:lnTo>
                  <a:pt x="74" y="801"/>
                </a:lnTo>
                <a:lnTo>
                  <a:pt x="75" y="800"/>
                </a:lnTo>
                <a:lnTo>
                  <a:pt x="76" y="800"/>
                </a:lnTo>
                <a:lnTo>
                  <a:pt x="77" y="799"/>
                </a:lnTo>
                <a:lnTo>
                  <a:pt x="83" y="799"/>
                </a:lnTo>
                <a:lnTo>
                  <a:pt x="86" y="798"/>
                </a:lnTo>
                <a:close/>
                <a:moveTo>
                  <a:pt x="179" y="790"/>
                </a:moveTo>
                <a:lnTo>
                  <a:pt x="182" y="790"/>
                </a:lnTo>
                <a:lnTo>
                  <a:pt x="184" y="792"/>
                </a:lnTo>
                <a:lnTo>
                  <a:pt x="184" y="800"/>
                </a:lnTo>
                <a:lnTo>
                  <a:pt x="182" y="803"/>
                </a:lnTo>
                <a:lnTo>
                  <a:pt x="182" y="807"/>
                </a:lnTo>
                <a:lnTo>
                  <a:pt x="181" y="807"/>
                </a:lnTo>
                <a:lnTo>
                  <a:pt x="181" y="810"/>
                </a:lnTo>
                <a:lnTo>
                  <a:pt x="180" y="811"/>
                </a:lnTo>
                <a:lnTo>
                  <a:pt x="180" y="812"/>
                </a:lnTo>
                <a:lnTo>
                  <a:pt x="179" y="815"/>
                </a:lnTo>
                <a:lnTo>
                  <a:pt x="178" y="815"/>
                </a:lnTo>
                <a:lnTo>
                  <a:pt x="173" y="816"/>
                </a:lnTo>
                <a:lnTo>
                  <a:pt x="172" y="816"/>
                </a:lnTo>
                <a:lnTo>
                  <a:pt x="169" y="817"/>
                </a:lnTo>
                <a:lnTo>
                  <a:pt x="168" y="817"/>
                </a:lnTo>
                <a:lnTo>
                  <a:pt x="164" y="821"/>
                </a:lnTo>
                <a:lnTo>
                  <a:pt x="163" y="823"/>
                </a:lnTo>
                <a:lnTo>
                  <a:pt x="159" y="823"/>
                </a:lnTo>
                <a:lnTo>
                  <a:pt x="159" y="822"/>
                </a:lnTo>
                <a:lnTo>
                  <a:pt x="155" y="823"/>
                </a:lnTo>
                <a:lnTo>
                  <a:pt x="155" y="821"/>
                </a:lnTo>
                <a:lnTo>
                  <a:pt x="160" y="821"/>
                </a:lnTo>
                <a:lnTo>
                  <a:pt x="162" y="819"/>
                </a:lnTo>
                <a:lnTo>
                  <a:pt x="166" y="816"/>
                </a:lnTo>
                <a:lnTo>
                  <a:pt x="167" y="816"/>
                </a:lnTo>
                <a:lnTo>
                  <a:pt x="167" y="815"/>
                </a:lnTo>
                <a:lnTo>
                  <a:pt x="168" y="813"/>
                </a:lnTo>
                <a:lnTo>
                  <a:pt x="168" y="810"/>
                </a:lnTo>
                <a:lnTo>
                  <a:pt x="169" y="809"/>
                </a:lnTo>
                <a:lnTo>
                  <a:pt x="170" y="805"/>
                </a:lnTo>
                <a:lnTo>
                  <a:pt x="173" y="800"/>
                </a:lnTo>
                <a:lnTo>
                  <a:pt x="175" y="798"/>
                </a:lnTo>
                <a:lnTo>
                  <a:pt x="175" y="796"/>
                </a:lnTo>
                <a:lnTo>
                  <a:pt x="176" y="794"/>
                </a:lnTo>
                <a:lnTo>
                  <a:pt x="176" y="791"/>
                </a:lnTo>
                <a:lnTo>
                  <a:pt x="178" y="791"/>
                </a:lnTo>
                <a:lnTo>
                  <a:pt x="179" y="790"/>
                </a:lnTo>
                <a:close/>
                <a:moveTo>
                  <a:pt x="11" y="785"/>
                </a:moveTo>
                <a:lnTo>
                  <a:pt x="12" y="785"/>
                </a:lnTo>
                <a:lnTo>
                  <a:pt x="13" y="786"/>
                </a:lnTo>
                <a:lnTo>
                  <a:pt x="14" y="786"/>
                </a:lnTo>
                <a:lnTo>
                  <a:pt x="16" y="785"/>
                </a:lnTo>
                <a:lnTo>
                  <a:pt x="17" y="786"/>
                </a:lnTo>
                <a:lnTo>
                  <a:pt x="18" y="786"/>
                </a:lnTo>
                <a:lnTo>
                  <a:pt x="18" y="790"/>
                </a:lnTo>
                <a:lnTo>
                  <a:pt x="19" y="790"/>
                </a:lnTo>
                <a:lnTo>
                  <a:pt x="19" y="791"/>
                </a:lnTo>
                <a:lnTo>
                  <a:pt x="18" y="792"/>
                </a:lnTo>
                <a:lnTo>
                  <a:pt x="18" y="798"/>
                </a:lnTo>
                <a:lnTo>
                  <a:pt x="17" y="799"/>
                </a:lnTo>
                <a:lnTo>
                  <a:pt x="16" y="801"/>
                </a:lnTo>
                <a:lnTo>
                  <a:pt x="16" y="803"/>
                </a:lnTo>
                <a:lnTo>
                  <a:pt x="14" y="804"/>
                </a:lnTo>
                <a:lnTo>
                  <a:pt x="13" y="803"/>
                </a:lnTo>
                <a:lnTo>
                  <a:pt x="13" y="800"/>
                </a:lnTo>
                <a:lnTo>
                  <a:pt x="12" y="799"/>
                </a:lnTo>
                <a:lnTo>
                  <a:pt x="12" y="798"/>
                </a:lnTo>
                <a:lnTo>
                  <a:pt x="11" y="797"/>
                </a:lnTo>
                <a:lnTo>
                  <a:pt x="10" y="793"/>
                </a:lnTo>
                <a:lnTo>
                  <a:pt x="8" y="792"/>
                </a:lnTo>
                <a:lnTo>
                  <a:pt x="8" y="791"/>
                </a:lnTo>
                <a:lnTo>
                  <a:pt x="7" y="790"/>
                </a:lnTo>
                <a:lnTo>
                  <a:pt x="7" y="788"/>
                </a:lnTo>
                <a:lnTo>
                  <a:pt x="8" y="787"/>
                </a:lnTo>
                <a:lnTo>
                  <a:pt x="11" y="786"/>
                </a:lnTo>
                <a:lnTo>
                  <a:pt x="11" y="785"/>
                </a:lnTo>
                <a:close/>
                <a:moveTo>
                  <a:pt x="199" y="766"/>
                </a:moveTo>
                <a:lnTo>
                  <a:pt x="199" y="767"/>
                </a:lnTo>
                <a:lnTo>
                  <a:pt x="200" y="768"/>
                </a:lnTo>
                <a:lnTo>
                  <a:pt x="200" y="770"/>
                </a:lnTo>
                <a:lnTo>
                  <a:pt x="199" y="770"/>
                </a:lnTo>
                <a:lnTo>
                  <a:pt x="199" y="776"/>
                </a:lnTo>
                <a:lnTo>
                  <a:pt x="195" y="780"/>
                </a:lnTo>
                <a:lnTo>
                  <a:pt x="193" y="780"/>
                </a:lnTo>
                <a:lnTo>
                  <a:pt x="193" y="781"/>
                </a:lnTo>
                <a:lnTo>
                  <a:pt x="190" y="781"/>
                </a:lnTo>
                <a:lnTo>
                  <a:pt x="188" y="782"/>
                </a:lnTo>
                <a:lnTo>
                  <a:pt x="187" y="782"/>
                </a:lnTo>
                <a:lnTo>
                  <a:pt x="186" y="784"/>
                </a:lnTo>
                <a:lnTo>
                  <a:pt x="186" y="786"/>
                </a:lnTo>
                <a:lnTo>
                  <a:pt x="185" y="785"/>
                </a:lnTo>
                <a:lnTo>
                  <a:pt x="182" y="785"/>
                </a:lnTo>
                <a:lnTo>
                  <a:pt x="181" y="784"/>
                </a:lnTo>
                <a:lnTo>
                  <a:pt x="181" y="782"/>
                </a:lnTo>
                <a:lnTo>
                  <a:pt x="182" y="782"/>
                </a:lnTo>
                <a:lnTo>
                  <a:pt x="182" y="781"/>
                </a:lnTo>
                <a:lnTo>
                  <a:pt x="184" y="781"/>
                </a:lnTo>
                <a:lnTo>
                  <a:pt x="184" y="778"/>
                </a:lnTo>
                <a:lnTo>
                  <a:pt x="185" y="775"/>
                </a:lnTo>
                <a:lnTo>
                  <a:pt x="186" y="775"/>
                </a:lnTo>
                <a:lnTo>
                  <a:pt x="186" y="774"/>
                </a:lnTo>
                <a:lnTo>
                  <a:pt x="190" y="774"/>
                </a:lnTo>
                <a:lnTo>
                  <a:pt x="192" y="772"/>
                </a:lnTo>
                <a:lnTo>
                  <a:pt x="195" y="772"/>
                </a:lnTo>
                <a:lnTo>
                  <a:pt x="197" y="770"/>
                </a:lnTo>
                <a:lnTo>
                  <a:pt x="197" y="768"/>
                </a:lnTo>
                <a:lnTo>
                  <a:pt x="199" y="766"/>
                </a:lnTo>
                <a:close/>
                <a:moveTo>
                  <a:pt x="197" y="764"/>
                </a:moveTo>
                <a:lnTo>
                  <a:pt x="198" y="764"/>
                </a:lnTo>
                <a:lnTo>
                  <a:pt x="198" y="766"/>
                </a:lnTo>
                <a:lnTo>
                  <a:pt x="197" y="767"/>
                </a:lnTo>
                <a:lnTo>
                  <a:pt x="195" y="767"/>
                </a:lnTo>
                <a:lnTo>
                  <a:pt x="197" y="766"/>
                </a:lnTo>
                <a:lnTo>
                  <a:pt x="197" y="764"/>
                </a:lnTo>
                <a:close/>
                <a:moveTo>
                  <a:pt x="641" y="463"/>
                </a:moveTo>
                <a:lnTo>
                  <a:pt x="642" y="463"/>
                </a:lnTo>
                <a:lnTo>
                  <a:pt x="644" y="465"/>
                </a:lnTo>
                <a:lnTo>
                  <a:pt x="644" y="466"/>
                </a:lnTo>
                <a:lnTo>
                  <a:pt x="642" y="466"/>
                </a:lnTo>
                <a:lnTo>
                  <a:pt x="642" y="465"/>
                </a:lnTo>
                <a:lnTo>
                  <a:pt x="641" y="463"/>
                </a:lnTo>
                <a:close/>
                <a:moveTo>
                  <a:pt x="539" y="432"/>
                </a:moveTo>
                <a:lnTo>
                  <a:pt x="541" y="432"/>
                </a:lnTo>
                <a:lnTo>
                  <a:pt x="542" y="434"/>
                </a:lnTo>
                <a:lnTo>
                  <a:pt x="544" y="434"/>
                </a:lnTo>
                <a:lnTo>
                  <a:pt x="541" y="436"/>
                </a:lnTo>
                <a:lnTo>
                  <a:pt x="541" y="435"/>
                </a:lnTo>
                <a:lnTo>
                  <a:pt x="540" y="435"/>
                </a:lnTo>
                <a:lnTo>
                  <a:pt x="540" y="434"/>
                </a:lnTo>
                <a:lnTo>
                  <a:pt x="539" y="432"/>
                </a:lnTo>
                <a:close/>
                <a:moveTo>
                  <a:pt x="501" y="380"/>
                </a:moveTo>
                <a:lnTo>
                  <a:pt x="499" y="381"/>
                </a:lnTo>
                <a:lnTo>
                  <a:pt x="499" y="382"/>
                </a:lnTo>
                <a:lnTo>
                  <a:pt x="501" y="381"/>
                </a:lnTo>
                <a:lnTo>
                  <a:pt x="504" y="381"/>
                </a:lnTo>
                <a:lnTo>
                  <a:pt x="505" y="380"/>
                </a:lnTo>
                <a:lnTo>
                  <a:pt x="501" y="380"/>
                </a:lnTo>
                <a:close/>
                <a:moveTo>
                  <a:pt x="735" y="338"/>
                </a:moveTo>
                <a:lnTo>
                  <a:pt x="737" y="340"/>
                </a:lnTo>
                <a:lnTo>
                  <a:pt x="735" y="339"/>
                </a:lnTo>
                <a:lnTo>
                  <a:pt x="735" y="338"/>
                </a:lnTo>
                <a:close/>
                <a:moveTo>
                  <a:pt x="735" y="336"/>
                </a:moveTo>
                <a:lnTo>
                  <a:pt x="737" y="336"/>
                </a:lnTo>
                <a:lnTo>
                  <a:pt x="735" y="337"/>
                </a:lnTo>
                <a:lnTo>
                  <a:pt x="735" y="336"/>
                </a:lnTo>
                <a:close/>
                <a:moveTo>
                  <a:pt x="827" y="282"/>
                </a:moveTo>
                <a:lnTo>
                  <a:pt x="830" y="286"/>
                </a:lnTo>
                <a:lnTo>
                  <a:pt x="831" y="287"/>
                </a:lnTo>
                <a:lnTo>
                  <a:pt x="833" y="286"/>
                </a:lnTo>
                <a:lnTo>
                  <a:pt x="833" y="288"/>
                </a:lnTo>
                <a:lnTo>
                  <a:pt x="831" y="288"/>
                </a:lnTo>
                <a:lnTo>
                  <a:pt x="830" y="287"/>
                </a:lnTo>
                <a:lnTo>
                  <a:pt x="827" y="287"/>
                </a:lnTo>
                <a:lnTo>
                  <a:pt x="826" y="288"/>
                </a:lnTo>
                <a:lnTo>
                  <a:pt x="825" y="288"/>
                </a:lnTo>
                <a:lnTo>
                  <a:pt x="826" y="287"/>
                </a:lnTo>
                <a:lnTo>
                  <a:pt x="825" y="287"/>
                </a:lnTo>
                <a:lnTo>
                  <a:pt x="826" y="286"/>
                </a:lnTo>
                <a:lnTo>
                  <a:pt x="826" y="284"/>
                </a:lnTo>
                <a:lnTo>
                  <a:pt x="827" y="283"/>
                </a:lnTo>
                <a:lnTo>
                  <a:pt x="827" y="282"/>
                </a:lnTo>
                <a:close/>
                <a:moveTo>
                  <a:pt x="828" y="263"/>
                </a:moveTo>
                <a:lnTo>
                  <a:pt x="834" y="263"/>
                </a:lnTo>
                <a:lnTo>
                  <a:pt x="834" y="265"/>
                </a:lnTo>
                <a:lnTo>
                  <a:pt x="836" y="268"/>
                </a:lnTo>
                <a:lnTo>
                  <a:pt x="834" y="268"/>
                </a:lnTo>
                <a:lnTo>
                  <a:pt x="834" y="269"/>
                </a:lnTo>
                <a:lnTo>
                  <a:pt x="833" y="269"/>
                </a:lnTo>
                <a:lnTo>
                  <a:pt x="833" y="270"/>
                </a:lnTo>
                <a:lnTo>
                  <a:pt x="830" y="274"/>
                </a:lnTo>
                <a:lnTo>
                  <a:pt x="828" y="274"/>
                </a:lnTo>
                <a:lnTo>
                  <a:pt x="827" y="275"/>
                </a:lnTo>
                <a:lnTo>
                  <a:pt x="826" y="277"/>
                </a:lnTo>
                <a:lnTo>
                  <a:pt x="826" y="278"/>
                </a:lnTo>
                <a:lnTo>
                  <a:pt x="825" y="278"/>
                </a:lnTo>
                <a:lnTo>
                  <a:pt x="825" y="277"/>
                </a:lnTo>
                <a:lnTo>
                  <a:pt x="824" y="276"/>
                </a:lnTo>
                <a:lnTo>
                  <a:pt x="822" y="277"/>
                </a:lnTo>
                <a:lnTo>
                  <a:pt x="821" y="276"/>
                </a:lnTo>
                <a:lnTo>
                  <a:pt x="820" y="276"/>
                </a:lnTo>
                <a:lnTo>
                  <a:pt x="820" y="277"/>
                </a:lnTo>
                <a:lnTo>
                  <a:pt x="819" y="276"/>
                </a:lnTo>
                <a:lnTo>
                  <a:pt x="819" y="275"/>
                </a:lnTo>
                <a:lnTo>
                  <a:pt x="818" y="275"/>
                </a:lnTo>
                <a:lnTo>
                  <a:pt x="819" y="272"/>
                </a:lnTo>
                <a:lnTo>
                  <a:pt x="819" y="271"/>
                </a:lnTo>
                <a:lnTo>
                  <a:pt x="822" y="271"/>
                </a:lnTo>
                <a:lnTo>
                  <a:pt x="821" y="269"/>
                </a:lnTo>
                <a:lnTo>
                  <a:pt x="821" y="268"/>
                </a:lnTo>
                <a:lnTo>
                  <a:pt x="822" y="266"/>
                </a:lnTo>
                <a:lnTo>
                  <a:pt x="824" y="266"/>
                </a:lnTo>
                <a:lnTo>
                  <a:pt x="824" y="265"/>
                </a:lnTo>
                <a:lnTo>
                  <a:pt x="825" y="265"/>
                </a:lnTo>
                <a:lnTo>
                  <a:pt x="826" y="264"/>
                </a:lnTo>
                <a:lnTo>
                  <a:pt x="826" y="265"/>
                </a:lnTo>
                <a:lnTo>
                  <a:pt x="828" y="263"/>
                </a:lnTo>
                <a:close/>
                <a:moveTo>
                  <a:pt x="892" y="259"/>
                </a:moveTo>
                <a:lnTo>
                  <a:pt x="893" y="259"/>
                </a:lnTo>
                <a:lnTo>
                  <a:pt x="893" y="262"/>
                </a:lnTo>
                <a:lnTo>
                  <a:pt x="892" y="263"/>
                </a:lnTo>
                <a:lnTo>
                  <a:pt x="890" y="263"/>
                </a:lnTo>
                <a:lnTo>
                  <a:pt x="890" y="260"/>
                </a:lnTo>
                <a:lnTo>
                  <a:pt x="892" y="259"/>
                </a:lnTo>
                <a:close/>
                <a:moveTo>
                  <a:pt x="901" y="216"/>
                </a:moveTo>
                <a:lnTo>
                  <a:pt x="902" y="216"/>
                </a:lnTo>
                <a:lnTo>
                  <a:pt x="902" y="217"/>
                </a:lnTo>
                <a:lnTo>
                  <a:pt x="900" y="217"/>
                </a:lnTo>
                <a:lnTo>
                  <a:pt x="900" y="219"/>
                </a:lnTo>
                <a:lnTo>
                  <a:pt x="899" y="219"/>
                </a:lnTo>
                <a:lnTo>
                  <a:pt x="899" y="220"/>
                </a:lnTo>
                <a:lnTo>
                  <a:pt x="897" y="219"/>
                </a:lnTo>
                <a:lnTo>
                  <a:pt x="897" y="221"/>
                </a:lnTo>
                <a:lnTo>
                  <a:pt x="899" y="221"/>
                </a:lnTo>
                <a:lnTo>
                  <a:pt x="902" y="220"/>
                </a:lnTo>
                <a:lnTo>
                  <a:pt x="902" y="222"/>
                </a:lnTo>
                <a:lnTo>
                  <a:pt x="901" y="222"/>
                </a:lnTo>
                <a:lnTo>
                  <a:pt x="901" y="223"/>
                </a:lnTo>
                <a:lnTo>
                  <a:pt x="899" y="223"/>
                </a:lnTo>
                <a:lnTo>
                  <a:pt x="899" y="226"/>
                </a:lnTo>
                <a:lnTo>
                  <a:pt x="900" y="227"/>
                </a:lnTo>
                <a:lnTo>
                  <a:pt x="902" y="228"/>
                </a:lnTo>
                <a:lnTo>
                  <a:pt x="907" y="228"/>
                </a:lnTo>
                <a:lnTo>
                  <a:pt x="908" y="227"/>
                </a:lnTo>
                <a:lnTo>
                  <a:pt x="908" y="226"/>
                </a:lnTo>
                <a:lnTo>
                  <a:pt x="909" y="227"/>
                </a:lnTo>
                <a:lnTo>
                  <a:pt x="912" y="228"/>
                </a:lnTo>
                <a:lnTo>
                  <a:pt x="913" y="228"/>
                </a:lnTo>
                <a:lnTo>
                  <a:pt x="913" y="233"/>
                </a:lnTo>
                <a:lnTo>
                  <a:pt x="912" y="234"/>
                </a:lnTo>
                <a:lnTo>
                  <a:pt x="911" y="234"/>
                </a:lnTo>
                <a:lnTo>
                  <a:pt x="911" y="237"/>
                </a:lnTo>
                <a:lnTo>
                  <a:pt x="907" y="240"/>
                </a:lnTo>
                <a:lnTo>
                  <a:pt x="906" y="243"/>
                </a:lnTo>
                <a:lnTo>
                  <a:pt x="906" y="246"/>
                </a:lnTo>
                <a:lnTo>
                  <a:pt x="905" y="246"/>
                </a:lnTo>
                <a:lnTo>
                  <a:pt x="905" y="249"/>
                </a:lnTo>
                <a:lnTo>
                  <a:pt x="902" y="250"/>
                </a:lnTo>
                <a:lnTo>
                  <a:pt x="899" y="252"/>
                </a:lnTo>
                <a:lnTo>
                  <a:pt x="896" y="254"/>
                </a:lnTo>
                <a:lnTo>
                  <a:pt x="895" y="252"/>
                </a:lnTo>
                <a:lnTo>
                  <a:pt x="894" y="252"/>
                </a:lnTo>
                <a:lnTo>
                  <a:pt x="894" y="251"/>
                </a:lnTo>
                <a:lnTo>
                  <a:pt x="893" y="251"/>
                </a:lnTo>
                <a:lnTo>
                  <a:pt x="893" y="250"/>
                </a:lnTo>
                <a:lnTo>
                  <a:pt x="892" y="250"/>
                </a:lnTo>
                <a:lnTo>
                  <a:pt x="892" y="249"/>
                </a:lnTo>
                <a:lnTo>
                  <a:pt x="890" y="250"/>
                </a:lnTo>
                <a:lnTo>
                  <a:pt x="886" y="250"/>
                </a:lnTo>
                <a:lnTo>
                  <a:pt x="883" y="247"/>
                </a:lnTo>
                <a:lnTo>
                  <a:pt x="883" y="244"/>
                </a:lnTo>
                <a:lnTo>
                  <a:pt x="882" y="244"/>
                </a:lnTo>
                <a:lnTo>
                  <a:pt x="882" y="243"/>
                </a:lnTo>
                <a:lnTo>
                  <a:pt x="883" y="241"/>
                </a:lnTo>
                <a:lnTo>
                  <a:pt x="883" y="240"/>
                </a:lnTo>
                <a:lnTo>
                  <a:pt x="882" y="239"/>
                </a:lnTo>
                <a:lnTo>
                  <a:pt x="880" y="239"/>
                </a:lnTo>
                <a:lnTo>
                  <a:pt x="878" y="238"/>
                </a:lnTo>
                <a:lnTo>
                  <a:pt x="878" y="239"/>
                </a:lnTo>
                <a:lnTo>
                  <a:pt x="875" y="240"/>
                </a:lnTo>
                <a:lnTo>
                  <a:pt x="875" y="243"/>
                </a:lnTo>
                <a:lnTo>
                  <a:pt x="874" y="244"/>
                </a:lnTo>
                <a:lnTo>
                  <a:pt x="872" y="244"/>
                </a:lnTo>
                <a:lnTo>
                  <a:pt x="871" y="243"/>
                </a:lnTo>
                <a:lnTo>
                  <a:pt x="871" y="241"/>
                </a:lnTo>
                <a:lnTo>
                  <a:pt x="870" y="240"/>
                </a:lnTo>
                <a:lnTo>
                  <a:pt x="868" y="240"/>
                </a:lnTo>
                <a:lnTo>
                  <a:pt x="866" y="239"/>
                </a:lnTo>
                <a:lnTo>
                  <a:pt x="866" y="235"/>
                </a:lnTo>
                <a:lnTo>
                  <a:pt x="869" y="234"/>
                </a:lnTo>
                <a:lnTo>
                  <a:pt x="870" y="233"/>
                </a:lnTo>
                <a:lnTo>
                  <a:pt x="871" y="233"/>
                </a:lnTo>
                <a:lnTo>
                  <a:pt x="874" y="231"/>
                </a:lnTo>
                <a:lnTo>
                  <a:pt x="875" y="231"/>
                </a:lnTo>
                <a:lnTo>
                  <a:pt x="881" y="225"/>
                </a:lnTo>
                <a:lnTo>
                  <a:pt x="882" y="225"/>
                </a:lnTo>
                <a:lnTo>
                  <a:pt x="884" y="222"/>
                </a:lnTo>
                <a:lnTo>
                  <a:pt x="886" y="222"/>
                </a:lnTo>
                <a:lnTo>
                  <a:pt x="886" y="221"/>
                </a:lnTo>
                <a:lnTo>
                  <a:pt x="888" y="221"/>
                </a:lnTo>
                <a:lnTo>
                  <a:pt x="890" y="219"/>
                </a:lnTo>
                <a:lnTo>
                  <a:pt x="894" y="219"/>
                </a:lnTo>
                <a:lnTo>
                  <a:pt x="896" y="217"/>
                </a:lnTo>
                <a:lnTo>
                  <a:pt x="901" y="216"/>
                </a:lnTo>
                <a:close/>
                <a:moveTo>
                  <a:pt x="939" y="210"/>
                </a:moveTo>
                <a:lnTo>
                  <a:pt x="940" y="210"/>
                </a:lnTo>
                <a:lnTo>
                  <a:pt x="940" y="211"/>
                </a:lnTo>
                <a:lnTo>
                  <a:pt x="942" y="211"/>
                </a:lnTo>
                <a:lnTo>
                  <a:pt x="942" y="213"/>
                </a:lnTo>
                <a:lnTo>
                  <a:pt x="944" y="213"/>
                </a:lnTo>
                <a:lnTo>
                  <a:pt x="945" y="214"/>
                </a:lnTo>
                <a:lnTo>
                  <a:pt x="946" y="214"/>
                </a:lnTo>
                <a:lnTo>
                  <a:pt x="946" y="215"/>
                </a:lnTo>
                <a:lnTo>
                  <a:pt x="948" y="216"/>
                </a:lnTo>
                <a:lnTo>
                  <a:pt x="946" y="217"/>
                </a:lnTo>
                <a:lnTo>
                  <a:pt x="949" y="217"/>
                </a:lnTo>
                <a:lnTo>
                  <a:pt x="949" y="220"/>
                </a:lnTo>
                <a:lnTo>
                  <a:pt x="950" y="221"/>
                </a:lnTo>
                <a:lnTo>
                  <a:pt x="949" y="221"/>
                </a:lnTo>
                <a:lnTo>
                  <a:pt x="949" y="225"/>
                </a:lnTo>
                <a:lnTo>
                  <a:pt x="946" y="225"/>
                </a:lnTo>
                <a:lnTo>
                  <a:pt x="943" y="223"/>
                </a:lnTo>
                <a:lnTo>
                  <a:pt x="937" y="219"/>
                </a:lnTo>
                <a:lnTo>
                  <a:pt x="934" y="217"/>
                </a:lnTo>
                <a:lnTo>
                  <a:pt x="933" y="217"/>
                </a:lnTo>
                <a:lnTo>
                  <a:pt x="930" y="219"/>
                </a:lnTo>
                <a:lnTo>
                  <a:pt x="928" y="217"/>
                </a:lnTo>
                <a:lnTo>
                  <a:pt x="928" y="216"/>
                </a:lnTo>
                <a:lnTo>
                  <a:pt x="930" y="215"/>
                </a:lnTo>
                <a:lnTo>
                  <a:pt x="928" y="215"/>
                </a:lnTo>
                <a:lnTo>
                  <a:pt x="927" y="214"/>
                </a:lnTo>
                <a:lnTo>
                  <a:pt x="927" y="213"/>
                </a:lnTo>
                <a:lnTo>
                  <a:pt x="928" y="211"/>
                </a:lnTo>
                <a:lnTo>
                  <a:pt x="938" y="211"/>
                </a:lnTo>
                <a:lnTo>
                  <a:pt x="939" y="210"/>
                </a:lnTo>
                <a:close/>
                <a:moveTo>
                  <a:pt x="794" y="182"/>
                </a:moveTo>
                <a:lnTo>
                  <a:pt x="795" y="183"/>
                </a:lnTo>
                <a:lnTo>
                  <a:pt x="794" y="184"/>
                </a:lnTo>
                <a:lnTo>
                  <a:pt x="793" y="184"/>
                </a:lnTo>
                <a:lnTo>
                  <a:pt x="791" y="183"/>
                </a:lnTo>
                <a:lnTo>
                  <a:pt x="794" y="182"/>
                </a:lnTo>
                <a:close/>
                <a:moveTo>
                  <a:pt x="799" y="171"/>
                </a:moveTo>
                <a:lnTo>
                  <a:pt x="800" y="171"/>
                </a:lnTo>
                <a:lnTo>
                  <a:pt x="800" y="172"/>
                </a:lnTo>
                <a:lnTo>
                  <a:pt x="799" y="171"/>
                </a:lnTo>
                <a:close/>
                <a:moveTo>
                  <a:pt x="850" y="75"/>
                </a:moveTo>
                <a:lnTo>
                  <a:pt x="851" y="77"/>
                </a:lnTo>
                <a:lnTo>
                  <a:pt x="851" y="78"/>
                </a:lnTo>
                <a:lnTo>
                  <a:pt x="850" y="78"/>
                </a:lnTo>
                <a:lnTo>
                  <a:pt x="849" y="77"/>
                </a:lnTo>
                <a:lnTo>
                  <a:pt x="850" y="75"/>
                </a:lnTo>
                <a:close/>
                <a:moveTo>
                  <a:pt x="392" y="74"/>
                </a:moveTo>
                <a:lnTo>
                  <a:pt x="393" y="74"/>
                </a:lnTo>
                <a:lnTo>
                  <a:pt x="393" y="75"/>
                </a:lnTo>
                <a:lnTo>
                  <a:pt x="392" y="77"/>
                </a:lnTo>
                <a:lnTo>
                  <a:pt x="390" y="77"/>
                </a:lnTo>
                <a:lnTo>
                  <a:pt x="390" y="75"/>
                </a:lnTo>
                <a:lnTo>
                  <a:pt x="391" y="75"/>
                </a:lnTo>
                <a:lnTo>
                  <a:pt x="392" y="74"/>
                </a:lnTo>
                <a:close/>
                <a:moveTo>
                  <a:pt x="435" y="4"/>
                </a:moveTo>
                <a:lnTo>
                  <a:pt x="436" y="4"/>
                </a:lnTo>
                <a:lnTo>
                  <a:pt x="436" y="5"/>
                </a:lnTo>
                <a:lnTo>
                  <a:pt x="435" y="4"/>
                </a:lnTo>
                <a:close/>
                <a:moveTo>
                  <a:pt x="442" y="0"/>
                </a:moveTo>
                <a:lnTo>
                  <a:pt x="443" y="0"/>
                </a:lnTo>
                <a:lnTo>
                  <a:pt x="443" y="1"/>
                </a:lnTo>
                <a:lnTo>
                  <a:pt x="442" y="2"/>
                </a:lnTo>
                <a:lnTo>
                  <a:pt x="442" y="4"/>
                </a:lnTo>
                <a:lnTo>
                  <a:pt x="443" y="4"/>
                </a:lnTo>
                <a:lnTo>
                  <a:pt x="443" y="2"/>
                </a:lnTo>
                <a:lnTo>
                  <a:pt x="445" y="2"/>
                </a:lnTo>
                <a:lnTo>
                  <a:pt x="446" y="5"/>
                </a:lnTo>
                <a:lnTo>
                  <a:pt x="446" y="6"/>
                </a:lnTo>
                <a:lnTo>
                  <a:pt x="447" y="5"/>
                </a:lnTo>
                <a:lnTo>
                  <a:pt x="447" y="4"/>
                </a:lnTo>
                <a:lnTo>
                  <a:pt x="451" y="4"/>
                </a:lnTo>
                <a:lnTo>
                  <a:pt x="454" y="6"/>
                </a:lnTo>
                <a:lnTo>
                  <a:pt x="456" y="6"/>
                </a:lnTo>
                <a:lnTo>
                  <a:pt x="459" y="11"/>
                </a:lnTo>
                <a:lnTo>
                  <a:pt x="461" y="12"/>
                </a:lnTo>
                <a:lnTo>
                  <a:pt x="460" y="12"/>
                </a:lnTo>
                <a:lnTo>
                  <a:pt x="460" y="13"/>
                </a:lnTo>
                <a:lnTo>
                  <a:pt x="471" y="13"/>
                </a:lnTo>
                <a:lnTo>
                  <a:pt x="471" y="14"/>
                </a:lnTo>
                <a:lnTo>
                  <a:pt x="470" y="16"/>
                </a:lnTo>
                <a:lnTo>
                  <a:pt x="470" y="18"/>
                </a:lnTo>
                <a:lnTo>
                  <a:pt x="471" y="17"/>
                </a:lnTo>
                <a:lnTo>
                  <a:pt x="471" y="14"/>
                </a:lnTo>
                <a:lnTo>
                  <a:pt x="472" y="13"/>
                </a:lnTo>
                <a:lnTo>
                  <a:pt x="484" y="13"/>
                </a:lnTo>
                <a:lnTo>
                  <a:pt x="486" y="12"/>
                </a:lnTo>
                <a:lnTo>
                  <a:pt x="489" y="12"/>
                </a:lnTo>
                <a:lnTo>
                  <a:pt x="491" y="13"/>
                </a:lnTo>
                <a:lnTo>
                  <a:pt x="492" y="14"/>
                </a:lnTo>
                <a:lnTo>
                  <a:pt x="492" y="13"/>
                </a:lnTo>
                <a:lnTo>
                  <a:pt x="495" y="13"/>
                </a:lnTo>
                <a:lnTo>
                  <a:pt x="495" y="12"/>
                </a:lnTo>
                <a:lnTo>
                  <a:pt x="496" y="13"/>
                </a:lnTo>
                <a:lnTo>
                  <a:pt x="501" y="13"/>
                </a:lnTo>
                <a:lnTo>
                  <a:pt x="501" y="12"/>
                </a:lnTo>
                <a:lnTo>
                  <a:pt x="503" y="12"/>
                </a:lnTo>
                <a:lnTo>
                  <a:pt x="504" y="11"/>
                </a:lnTo>
                <a:lnTo>
                  <a:pt x="505" y="12"/>
                </a:lnTo>
                <a:lnTo>
                  <a:pt x="507" y="12"/>
                </a:lnTo>
                <a:lnTo>
                  <a:pt x="510" y="13"/>
                </a:lnTo>
                <a:lnTo>
                  <a:pt x="510" y="12"/>
                </a:lnTo>
                <a:lnTo>
                  <a:pt x="511" y="13"/>
                </a:lnTo>
                <a:lnTo>
                  <a:pt x="511" y="12"/>
                </a:lnTo>
                <a:lnTo>
                  <a:pt x="517" y="12"/>
                </a:lnTo>
                <a:lnTo>
                  <a:pt x="518" y="11"/>
                </a:lnTo>
                <a:lnTo>
                  <a:pt x="517" y="11"/>
                </a:lnTo>
                <a:lnTo>
                  <a:pt x="517" y="10"/>
                </a:lnTo>
                <a:lnTo>
                  <a:pt x="518" y="10"/>
                </a:lnTo>
                <a:lnTo>
                  <a:pt x="517" y="8"/>
                </a:lnTo>
                <a:lnTo>
                  <a:pt x="520" y="8"/>
                </a:lnTo>
                <a:lnTo>
                  <a:pt x="520" y="7"/>
                </a:lnTo>
                <a:lnTo>
                  <a:pt x="521" y="7"/>
                </a:lnTo>
                <a:lnTo>
                  <a:pt x="522" y="8"/>
                </a:lnTo>
                <a:lnTo>
                  <a:pt x="523" y="8"/>
                </a:lnTo>
                <a:lnTo>
                  <a:pt x="526" y="12"/>
                </a:lnTo>
                <a:lnTo>
                  <a:pt x="526" y="13"/>
                </a:lnTo>
                <a:lnTo>
                  <a:pt x="540" y="13"/>
                </a:lnTo>
                <a:lnTo>
                  <a:pt x="540" y="14"/>
                </a:lnTo>
                <a:lnTo>
                  <a:pt x="539" y="16"/>
                </a:lnTo>
                <a:lnTo>
                  <a:pt x="541" y="16"/>
                </a:lnTo>
                <a:lnTo>
                  <a:pt x="541" y="14"/>
                </a:lnTo>
                <a:lnTo>
                  <a:pt x="544" y="14"/>
                </a:lnTo>
                <a:lnTo>
                  <a:pt x="547" y="17"/>
                </a:lnTo>
                <a:lnTo>
                  <a:pt x="548" y="17"/>
                </a:lnTo>
                <a:lnTo>
                  <a:pt x="552" y="18"/>
                </a:lnTo>
                <a:lnTo>
                  <a:pt x="554" y="18"/>
                </a:lnTo>
                <a:lnTo>
                  <a:pt x="557" y="19"/>
                </a:lnTo>
                <a:lnTo>
                  <a:pt x="558" y="19"/>
                </a:lnTo>
                <a:lnTo>
                  <a:pt x="558" y="18"/>
                </a:lnTo>
                <a:lnTo>
                  <a:pt x="559" y="18"/>
                </a:lnTo>
                <a:lnTo>
                  <a:pt x="560" y="19"/>
                </a:lnTo>
                <a:lnTo>
                  <a:pt x="563" y="19"/>
                </a:lnTo>
                <a:lnTo>
                  <a:pt x="566" y="22"/>
                </a:lnTo>
                <a:lnTo>
                  <a:pt x="567" y="22"/>
                </a:lnTo>
                <a:lnTo>
                  <a:pt x="577" y="23"/>
                </a:lnTo>
                <a:lnTo>
                  <a:pt x="578" y="24"/>
                </a:lnTo>
                <a:lnTo>
                  <a:pt x="579" y="23"/>
                </a:lnTo>
                <a:lnTo>
                  <a:pt x="582" y="23"/>
                </a:lnTo>
                <a:lnTo>
                  <a:pt x="582" y="24"/>
                </a:lnTo>
                <a:lnTo>
                  <a:pt x="583" y="23"/>
                </a:lnTo>
                <a:lnTo>
                  <a:pt x="590" y="23"/>
                </a:lnTo>
                <a:lnTo>
                  <a:pt x="591" y="22"/>
                </a:lnTo>
                <a:lnTo>
                  <a:pt x="594" y="20"/>
                </a:lnTo>
                <a:lnTo>
                  <a:pt x="597" y="20"/>
                </a:lnTo>
                <a:lnTo>
                  <a:pt x="597" y="19"/>
                </a:lnTo>
                <a:lnTo>
                  <a:pt x="598" y="19"/>
                </a:lnTo>
                <a:lnTo>
                  <a:pt x="600" y="20"/>
                </a:lnTo>
                <a:lnTo>
                  <a:pt x="600" y="19"/>
                </a:lnTo>
                <a:lnTo>
                  <a:pt x="601" y="18"/>
                </a:lnTo>
                <a:lnTo>
                  <a:pt x="603" y="18"/>
                </a:lnTo>
                <a:lnTo>
                  <a:pt x="604" y="17"/>
                </a:lnTo>
                <a:lnTo>
                  <a:pt x="607" y="17"/>
                </a:lnTo>
                <a:lnTo>
                  <a:pt x="608" y="18"/>
                </a:lnTo>
                <a:lnTo>
                  <a:pt x="605" y="19"/>
                </a:lnTo>
                <a:lnTo>
                  <a:pt x="604" y="20"/>
                </a:lnTo>
                <a:lnTo>
                  <a:pt x="605" y="20"/>
                </a:lnTo>
                <a:lnTo>
                  <a:pt x="605" y="22"/>
                </a:lnTo>
                <a:lnTo>
                  <a:pt x="607" y="22"/>
                </a:lnTo>
                <a:lnTo>
                  <a:pt x="607" y="20"/>
                </a:lnTo>
                <a:lnTo>
                  <a:pt x="608" y="19"/>
                </a:lnTo>
                <a:lnTo>
                  <a:pt x="609" y="20"/>
                </a:lnTo>
                <a:lnTo>
                  <a:pt x="609" y="19"/>
                </a:lnTo>
                <a:lnTo>
                  <a:pt x="610" y="18"/>
                </a:lnTo>
                <a:lnTo>
                  <a:pt x="611" y="18"/>
                </a:lnTo>
                <a:lnTo>
                  <a:pt x="611" y="17"/>
                </a:lnTo>
                <a:lnTo>
                  <a:pt x="613" y="17"/>
                </a:lnTo>
                <a:lnTo>
                  <a:pt x="616" y="16"/>
                </a:lnTo>
                <a:lnTo>
                  <a:pt x="617" y="16"/>
                </a:lnTo>
                <a:lnTo>
                  <a:pt x="617" y="17"/>
                </a:lnTo>
                <a:lnTo>
                  <a:pt x="619" y="17"/>
                </a:lnTo>
                <a:lnTo>
                  <a:pt x="619" y="18"/>
                </a:lnTo>
                <a:lnTo>
                  <a:pt x="622" y="18"/>
                </a:lnTo>
                <a:lnTo>
                  <a:pt x="622" y="20"/>
                </a:lnTo>
                <a:lnTo>
                  <a:pt x="621" y="20"/>
                </a:lnTo>
                <a:lnTo>
                  <a:pt x="621" y="19"/>
                </a:lnTo>
                <a:lnTo>
                  <a:pt x="620" y="19"/>
                </a:lnTo>
                <a:lnTo>
                  <a:pt x="620" y="20"/>
                </a:lnTo>
                <a:lnTo>
                  <a:pt x="621" y="22"/>
                </a:lnTo>
                <a:lnTo>
                  <a:pt x="621" y="20"/>
                </a:lnTo>
                <a:lnTo>
                  <a:pt x="622" y="22"/>
                </a:lnTo>
                <a:lnTo>
                  <a:pt x="627" y="22"/>
                </a:lnTo>
                <a:lnTo>
                  <a:pt x="629" y="23"/>
                </a:lnTo>
                <a:lnTo>
                  <a:pt x="632" y="23"/>
                </a:lnTo>
                <a:lnTo>
                  <a:pt x="634" y="25"/>
                </a:lnTo>
                <a:lnTo>
                  <a:pt x="635" y="25"/>
                </a:lnTo>
                <a:lnTo>
                  <a:pt x="636" y="24"/>
                </a:lnTo>
                <a:lnTo>
                  <a:pt x="640" y="28"/>
                </a:lnTo>
                <a:lnTo>
                  <a:pt x="640" y="25"/>
                </a:lnTo>
                <a:lnTo>
                  <a:pt x="639" y="24"/>
                </a:lnTo>
                <a:lnTo>
                  <a:pt x="640" y="24"/>
                </a:lnTo>
                <a:lnTo>
                  <a:pt x="640" y="23"/>
                </a:lnTo>
                <a:lnTo>
                  <a:pt x="642" y="22"/>
                </a:lnTo>
                <a:lnTo>
                  <a:pt x="642" y="20"/>
                </a:lnTo>
                <a:lnTo>
                  <a:pt x="648" y="20"/>
                </a:lnTo>
                <a:lnTo>
                  <a:pt x="650" y="19"/>
                </a:lnTo>
                <a:lnTo>
                  <a:pt x="651" y="19"/>
                </a:lnTo>
                <a:lnTo>
                  <a:pt x="652" y="20"/>
                </a:lnTo>
                <a:lnTo>
                  <a:pt x="652" y="22"/>
                </a:lnTo>
                <a:lnTo>
                  <a:pt x="653" y="22"/>
                </a:lnTo>
                <a:lnTo>
                  <a:pt x="653" y="24"/>
                </a:lnTo>
                <a:lnTo>
                  <a:pt x="654" y="23"/>
                </a:lnTo>
                <a:lnTo>
                  <a:pt x="654" y="22"/>
                </a:lnTo>
                <a:lnTo>
                  <a:pt x="656" y="22"/>
                </a:lnTo>
                <a:lnTo>
                  <a:pt x="657" y="23"/>
                </a:lnTo>
                <a:lnTo>
                  <a:pt x="659" y="24"/>
                </a:lnTo>
                <a:lnTo>
                  <a:pt x="663" y="24"/>
                </a:lnTo>
                <a:lnTo>
                  <a:pt x="663" y="25"/>
                </a:lnTo>
                <a:lnTo>
                  <a:pt x="667" y="28"/>
                </a:lnTo>
                <a:lnTo>
                  <a:pt x="675" y="28"/>
                </a:lnTo>
                <a:lnTo>
                  <a:pt x="675" y="29"/>
                </a:lnTo>
                <a:lnTo>
                  <a:pt x="677" y="29"/>
                </a:lnTo>
                <a:lnTo>
                  <a:pt x="678" y="28"/>
                </a:lnTo>
                <a:lnTo>
                  <a:pt x="679" y="28"/>
                </a:lnTo>
                <a:lnTo>
                  <a:pt x="683" y="26"/>
                </a:lnTo>
                <a:lnTo>
                  <a:pt x="685" y="26"/>
                </a:lnTo>
                <a:lnTo>
                  <a:pt x="687" y="28"/>
                </a:lnTo>
                <a:lnTo>
                  <a:pt x="687" y="26"/>
                </a:lnTo>
                <a:lnTo>
                  <a:pt x="685" y="26"/>
                </a:lnTo>
                <a:lnTo>
                  <a:pt x="688" y="25"/>
                </a:lnTo>
                <a:lnTo>
                  <a:pt x="690" y="23"/>
                </a:lnTo>
                <a:lnTo>
                  <a:pt x="691" y="23"/>
                </a:lnTo>
                <a:lnTo>
                  <a:pt x="691" y="26"/>
                </a:lnTo>
                <a:lnTo>
                  <a:pt x="692" y="26"/>
                </a:lnTo>
                <a:lnTo>
                  <a:pt x="692" y="29"/>
                </a:lnTo>
                <a:lnTo>
                  <a:pt x="695" y="29"/>
                </a:lnTo>
                <a:lnTo>
                  <a:pt x="696" y="28"/>
                </a:lnTo>
                <a:lnTo>
                  <a:pt x="697" y="29"/>
                </a:lnTo>
                <a:lnTo>
                  <a:pt x="697" y="31"/>
                </a:lnTo>
                <a:lnTo>
                  <a:pt x="700" y="31"/>
                </a:lnTo>
                <a:lnTo>
                  <a:pt x="701" y="30"/>
                </a:lnTo>
                <a:lnTo>
                  <a:pt x="701" y="29"/>
                </a:lnTo>
                <a:lnTo>
                  <a:pt x="702" y="29"/>
                </a:lnTo>
                <a:lnTo>
                  <a:pt x="703" y="30"/>
                </a:lnTo>
                <a:lnTo>
                  <a:pt x="706" y="31"/>
                </a:lnTo>
                <a:lnTo>
                  <a:pt x="706" y="30"/>
                </a:lnTo>
                <a:lnTo>
                  <a:pt x="707" y="30"/>
                </a:lnTo>
                <a:lnTo>
                  <a:pt x="708" y="31"/>
                </a:lnTo>
                <a:lnTo>
                  <a:pt x="708" y="36"/>
                </a:lnTo>
                <a:lnTo>
                  <a:pt x="707" y="38"/>
                </a:lnTo>
                <a:lnTo>
                  <a:pt x="704" y="41"/>
                </a:lnTo>
                <a:lnTo>
                  <a:pt x="704" y="42"/>
                </a:lnTo>
                <a:lnTo>
                  <a:pt x="706" y="43"/>
                </a:lnTo>
                <a:lnTo>
                  <a:pt x="707" y="43"/>
                </a:lnTo>
                <a:lnTo>
                  <a:pt x="708" y="44"/>
                </a:lnTo>
                <a:lnTo>
                  <a:pt x="709" y="44"/>
                </a:lnTo>
                <a:lnTo>
                  <a:pt x="709" y="42"/>
                </a:lnTo>
                <a:lnTo>
                  <a:pt x="710" y="41"/>
                </a:lnTo>
                <a:lnTo>
                  <a:pt x="710" y="39"/>
                </a:lnTo>
                <a:lnTo>
                  <a:pt x="712" y="39"/>
                </a:lnTo>
                <a:lnTo>
                  <a:pt x="712" y="42"/>
                </a:lnTo>
                <a:lnTo>
                  <a:pt x="713" y="42"/>
                </a:lnTo>
                <a:lnTo>
                  <a:pt x="713" y="43"/>
                </a:lnTo>
                <a:lnTo>
                  <a:pt x="715" y="43"/>
                </a:lnTo>
                <a:lnTo>
                  <a:pt x="718" y="44"/>
                </a:lnTo>
                <a:lnTo>
                  <a:pt x="719" y="45"/>
                </a:lnTo>
                <a:lnTo>
                  <a:pt x="721" y="45"/>
                </a:lnTo>
                <a:lnTo>
                  <a:pt x="722" y="47"/>
                </a:lnTo>
                <a:lnTo>
                  <a:pt x="723" y="47"/>
                </a:lnTo>
                <a:lnTo>
                  <a:pt x="726" y="48"/>
                </a:lnTo>
                <a:lnTo>
                  <a:pt x="727" y="49"/>
                </a:lnTo>
                <a:lnTo>
                  <a:pt x="731" y="49"/>
                </a:lnTo>
                <a:lnTo>
                  <a:pt x="734" y="48"/>
                </a:lnTo>
                <a:lnTo>
                  <a:pt x="735" y="49"/>
                </a:lnTo>
                <a:lnTo>
                  <a:pt x="735" y="53"/>
                </a:lnTo>
                <a:lnTo>
                  <a:pt x="738" y="53"/>
                </a:lnTo>
                <a:lnTo>
                  <a:pt x="739" y="54"/>
                </a:lnTo>
                <a:lnTo>
                  <a:pt x="740" y="54"/>
                </a:lnTo>
                <a:lnTo>
                  <a:pt x="741" y="56"/>
                </a:lnTo>
                <a:lnTo>
                  <a:pt x="741" y="57"/>
                </a:lnTo>
                <a:lnTo>
                  <a:pt x="743" y="57"/>
                </a:lnTo>
                <a:lnTo>
                  <a:pt x="743" y="59"/>
                </a:lnTo>
                <a:lnTo>
                  <a:pt x="744" y="59"/>
                </a:lnTo>
                <a:lnTo>
                  <a:pt x="745" y="56"/>
                </a:lnTo>
                <a:lnTo>
                  <a:pt x="747" y="57"/>
                </a:lnTo>
                <a:lnTo>
                  <a:pt x="750" y="57"/>
                </a:lnTo>
                <a:lnTo>
                  <a:pt x="752" y="55"/>
                </a:lnTo>
                <a:lnTo>
                  <a:pt x="752" y="56"/>
                </a:lnTo>
                <a:lnTo>
                  <a:pt x="753" y="56"/>
                </a:lnTo>
                <a:lnTo>
                  <a:pt x="753" y="55"/>
                </a:lnTo>
                <a:lnTo>
                  <a:pt x="754" y="55"/>
                </a:lnTo>
                <a:lnTo>
                  <a:pt x="758" y="59"/>
                </a:lnTo>
                <a:lnTo>
                  <a:pt x="759" y="57"/>
                </a:lnTo>
                <a:lnTo>
                  <a:pt x="760" y="57"/>
                </a:lnTo>
                <a:lnTo>
                  <a:pt x="760" y="60"/>
                </a:lnTo>
                <a:lnTo>
                  <a:pt x="762" y="61"/>
                </a:lnTo>
                <a:lnTo>
                  <a:pt x="762" y="62"/>
                </a:lnTo>
                <a:lnTo>
                  <a:pt x="763" y="62"/>
                </a:lnTo>
                <a:lnTo>
                  <a:pt x="763" y="63"/>
                </a:lnTo>
                <a:lnTo>
                  <a:pt x="766" y="63"/>
                </a:lnTo>
                <a:lnTo>
                  <a:pt x="770" y="62"/>
                </a:lnTo>
                <a:lnTo>
                  <a:pt x="772" y="62"/>
                </a:lnTo>
                <a:lnTo>
                  <a:pt x="774" y="61"/>
                </a:lnTo>
                <a:lnTo>
                  <a:pt x="776" y="62"/>
                </a:lnTo>
                <a:lnTo>
                  <a:pt x="777" y="62"/>
                </a:lnTo>
                <a:lnTo>
                  <a:pt x="778" y="63"/>
                </a:lnTo>
                <a:lnTo>
                  <a:pt x="778" y="65"/>
                </a:lnTo>
                <a:lnTo>
                  <a:pt x="779" y="65"/>
                </a:lnTo>
                <a:lnTo>
                  <a:pt x="781" y="63"/>
                </a:lnTo>
                <a:lnTo>
                  <a:pt x="781" y="62"/>
                </a:lnTo>
                <a:lnTo>
                  <a:pt x="782" y="62"/>
                </a:lnTo>
                <a:lnTo>
                  <a:pt x="783" y="63"/>
                </a:lnTo>
                <a:lnTo>
                  <a:pt x="795" y="63"/>
                </a:lnTo>
                <a:lnTo>
                  <a:pt x="795" y="61"/>
                </a:lnTo>
                <a:lnTo>
                  <a:pt x="794" y="61"/>
                </a:lnTo>
                <a:lnTo>
                  <a:pt x="794" y="60"/>
                </a:lnTo>
                <a:lnTo>
                  <a:pt x="795" y="60"/>
                </a:lnTo>
                <a:lnTo>
                  <a:pt x="794" y="59"/>
                </a:lnTo>
                <a:lnTo>
                  <a:pt x="795" y="57"/>
                </a:lnTo>
                <a:lnTo>
                  <a:pt x="795" y="55"/>
                </a:lnTo>
                <a:lnTo>
                  <a:pt x="801" y="55"/>
                </a:lnTo>
                <a:lnTo>
                  <a:pt x="803" y="56"/>
                </a:lnTo>
                <a:lnTo>
                  <a:pt x="805" y="57"/>
                </a:lnTo>
                <a:lnTo>
                  <a:pt x="807" y="57"/>
                </a:lnTo>
                <a:lnTo>
                  <a:pt x="808" y="59"/>
                </a:lnTo>
                <a:lnTo>
                  <a:pt x="813" y="59"/>
                </a:lnTo>
                <a:lnTo>
                  <a:pt x="814" y="60"/>
                </a:lnTo>
                <a:lnTo>
                  <a:pt x="814" y="61"/>
                </a:lnTo>
                <a:lnTo>
                  <a:pt x="815" y="62"/>
                </a:lnTo>
                <a:lnTo>
                  <a:pt x="824" y="62"/>
                </a:lnTo>
                <a:lnTo>
                  <a:pt x="824" y="63"/>
                </a:lnTo>
                <a:lnTo>
                  <a:pt x="825" y="63"/>
                </a:lnTo>
                <a:lnTo>
                  <a:pt x="825" y="65"/>
                </a:lnTo>
                <a:lnTo>
                  <a:pt x="826" y="66"/>
                </a:lnTo>
                <a:lnTo>
                  <a:pt x="827" y="68"/>
                </a:lnTo>
                <a:lnTo>
                  <a:pt x="827" y="71"/>
                </a:lnTo>
                <a:lnTo>
                  <a:pt x="826" y="72"/>
                </a:lnTo>
                <a:lnTo>
                  <a:pt x="826" y="73"/>
                </a:lnTo>
                <a:lnTo>
                  <a:pt x="828" y="73"/>
                </a:lnTo>
                <a:lnTo>
                  <a:pt x="828" y="74"/>
                </a:lnTo>
                <a:lnTo>
                  <a:pt x="827" y="74"/>
                </a:lnTo>
                <a:lnTo>
                  <a:pt x="826" y="75"/>
                </a:lnTo>
                <a:lnTo>
                  <a:pt x="827" y="77"/>
                </a:lnTo>
                <a:lnTo>
                  <a:pt x="827" y="78"/>
                </a:lnTo>
                <a:lnTo>
                  <a:pt x="828" y="78"/>
                </a:lnTo>
                <a:lnTo>
                  <a:pt x="831" y="79"/>
                </a:lnTo>
                <a:lnTo>
                  <a:pt x="832" y="78"/>
                </a:lnTo>
                <a:lnTo>
                  <a:pt x="834" y="77"/>
                </a:lnTo>
                <a:lnTo>
                  <a:pt x="836" y="77"/>
                </a:lnTo>
                <a:lnTo>
                  <a:pt x="837" y="74"/>
                </a:lnTo>
                <a:lnTo>
                  <a:pt x="838" y="75"/>
                </a:lnTo>
                <a:lnTo>
                  <a:pt x="839" y="74"/>
                </a:lnTo>
                <a:lnTo>
                  <a:pt x="840" y="75"/>
                </a:lnTo>
                <a:lnTo>
                  <a:pt x="844" y="75"/>
                </a:lnTo>
                <a:lnTo>
                  <a:pt x="846" y="78"/>
                </a:lnTo>
                <a:lnTo>
                  <a:pt x="849" y="78"/>
                </a:lnTo>
                <a:lnTo>
                  <a:pt x="849" y="79"/>
                </a:lnTo>
                <a:lnTo>
                  <a:pt x="850" y="81"/>
                </a:lnTo>
                <a:lnTo>
                  <a:pt x="851" y="82"/>
                </a:lnTo>
                <a:lnTo>
                  <a:pt x="855" y="82"/>
                </a:lnTo>
                <a:lnTo>
                  <a:pt x="855" y="81"/>
                </a:lnTo>
                <a:lnTo>
                  <a:pt x="856" y="81"/>
                </a:lnTo>
                <a:lnTo>
                  <a:pt x="856" y="80"/>
                </a:lnTo>
                <a:lnTo>
                  <a:pt x="857" y="79"/>
                </a:lnTo>
                <a:lnTo>
                  <a:pt x="864" y="79"/>
                </a:lnTo>
                <a:lnTo>
                  <a:pt x="868" y="80"/>
                </a:lnTo>
                <a:lnTo>
                  <a:pt x="871" y="84"/>
                </a:lnTo>
                <a:lnTo>
                  <a:pt x="874" y="84"/>
                </a:lnTo>
                <a:lnTo>
                  <a:pt x="874" y="82"/>
                </a:lnTo>
                <a:lnTo>
                  <a:pt x="875" y="82"/>
                </a:lnTo>
                <a:lnTo>
                  <a:pt x="877" y="84"/>
                </a:lnTo>
                <a:lnTo>
                  <a:pt x="880" y="84"/>
                </a:lnTo>
                <a:lnTo>
                  <a:pt x="878" y="82"/>
                </a:lnTo>
                <a:lnTo>
                  <a:pt x="878" y="81"/>
                </a:lnTo>
                <a:lnTo>
                  <a:pt x="881" y="80"/>
                </a:lnTo>
                <a:lnTo>
                  <a:pt x="881" y="79"/>
                </a:lnTo>
                <a:lnTo>
                  <a:pt x="886" y="79"/>
                </a:lnTo>
                <a:lnTo>
                  <a:pt x="887" y="78"/>
                </a:lnTo>
                <a:lnTo>
                  <a:pt x="889" y="78"/>
                </a:lnTo>
                <a:lnTo>
                  <a:pt x="889" y="77"/>
                </a:lnTo>
                <a:lnTo>
                  <a:pt x="895" y="77"/>
                </a:lnTo>
                <a:lnTo>
                  <a:pt x="895" y="78"/>
                </a:lnTo>
                <a:lnTo>
                  <a:pt x="896" y="78"/>
                </a:lnTo>
                <a:lnTo>
                  <a:pt x="897" y="79"/>
                </a:lnTo>
                <a:lnTo>
                  <a:pt x="900" y="79"/>
                </a:lnTo>
                <a:lnTo>
                  <a:pt x="901" y="78"/>
                </a:lnTo>
                <a:lnTo>
                  <a:pt x="901" y="82"/>
                </a:lnTo>
                <a:lnTo>
                  <a:pt x="902" y="84"/>
                </a:lnTo>
                <a:lnTo>
                  <a:pt x="906" y="84"/>
                </a:lnTo>
                <a:lnTo>
                  <a:pt x="907" y="85"/>
                </a:lnTo>
                <a:lnTo>
                  <a:pt x="906" y="86"/>
                </a:lnTo>
                <a:lnTo>
                  <a:pt x="906" y="88"/>
                </a:lnTo>
                <a:lnTo>
                  <a:pt x="905" y="88"/>
                </a:lnTo>
                <a:lnTo>
                  <a:pt x="905" y="90"/>
                </a:lnTo>
                <a:lnTo>
                  <a:pt x="903" y="88"/>
                </a:lnTo>
                <a:lnTo>
                  <a:pt x="902" y="90"/>
                </a:lnTo>
                <a:lnTo>
                  <a:pt x="901" y="88"/>
                </a:lnTo>
                <a:lnTo>
                  <a:pt x="900" y="88"/>
                </a:lnTo>
                <a:lnTo>
                  <a:pt x="899" y="90"/>
                </a:lnTo>
                <a:lnTo>
                  <a:pt x="899" y="94"/>
                </a:lnTo>
                <a:lnTo>
                  <a:pt x="901" y="97"/>
                </a:lnTo>
                <a:lnTo>
                  <a:pt x="901" y="98"/>
                </a:lnTo>
                <a:lnTo>
                  <a:pt x="902" y="99"/>
                </a:lnTo>
                <a:lnTo>
                  <a:pt x="902" y="104"/>
                </a:lnTo>
                <a:lnTo>
                  <a:pt x="903" y="104"/>
                </a:lnTo>
                <a:lnTo>
                  <a:pt x="903" y="106"/>
                </a:lnTo>
                <a:lnTo>
                  <a:pt x="902" y="108"/>
                </a:lnTo>
                <a:lnTo>
                  <a:pt x="902" y="109"/>
                </a:lnTo>
                <a:lnTo>
                  <a:pt x="900" y="111"/>
                </a:lnTo>
                <a:lnTo>
                  <a:pt x="899" y="111"/>
                </a:lnTo>
                <a:lnTo>
                  <a:pt x="896" y="112"/>
                </a:lnTo>
                <a:lnTo>
                  <a:pt x="896" y="114"/>
                </a:lnTo>
                <a:lnTo>
                  <a:pt x="890" y="120"/>
                </a:lnTo>
                <a:lnTo>
                  <a:pt x="887" y="120"/>
                </a:lnTo>
                <a:lnTo>
                  <a:pt x="887" y="121"/>
                </a:lnTo>
                <a:lnTo>
                  <a:pt x="886" y="121"/>
                </a:lnTo>
                <a:lnTo>
                  <a:pt x="886" y="122"/>
                </a:lnTo>
                <a:lnTo>
                  <a:pt x="884" y="122"/>
                </a:lnTo>
                <a:lnTo>
                  <a:pt x="884" y="123"/>
                </a:lnTo>
                <a:lnTo>
                  <a:pt x="878" y="125"/>
                </a:lnTo>
                <a:lnTo>
                  <a:pt x="870" y="129"/>
                </a:lnTo>
                <a:lnTo>
                  <a:pt x="869" y="130"/>
                </a:lnTo>
                <a:lnTo>
                  <a:pt x="864" y="133"/>
                </a:lnTo>
                <a:lnTo>
                  <a:pt x="862" y="135"/>
                </a:lnTo>
                <a:lnTo>
                  <a:pt x="859" y="139"/>
                </a:lnTo>
                <a:lnTo>
                  <a:pt x="858" y="141"/>
                </a:lnTo>
                <a:lnTo>
                  <a:pt x="857" y="142"/>
                </a:lnTo>
                <a:lnTo>
                  <a:pt x="853" y="143"/>
                </a:lnTo>
                <a:lnTo>
                  <a:pt x="852" y="145"/>
                </a:lnTo>
                <a:lnTo>
                  <a:pt x="846" y="145"/>
                </a:lnTo>
                <a:lnTo>
                  <a:pt x="845" y="146"/>
                </a:lnTo>
                <a:lnTo>
                  <a:pt x="844" y="146"/>
                </a:lnTo>
                <a:lnTo>
                  <a:pt x="836" y="148"/>
                </a:lnTo>
                <a:lnTo>
                  <a:pt x="832" y="148"/>
                </a:lnTo>
                <a:lnTo>
                  <a:pt x="821" y="153"/>
                </a:lnTo>
                <a:lnTo>
                  <a:pt x="818" y="153"/>
                </a:lnTo>
                <a:lnTo>
                  <a:pt x="818" y="155"/>
                </a:lnTo>
                <a:lnTo>
                  <a:pt x="812" y="155"/>
                </a:lnTo>
                <a:lnTo>
                  <a:pt x="809" y="157"/>
                </a:lnTo>
                <a:lnTo>
                  <a:pt x="805" y="161"/>
                </a:lnTo>
                <a:lnTo>
                  <a:pt x="802" y="165"/>
                </a:lnTo>
                <a:lnTo>
                  <a:pt x="796" y="171"/>
                </a:lnTo>
                <a:lnTo>
                  <a:pt x="797" y="172"/>
                </a:lnTo>
                <a:lnTo>
                  <a:pt x="800" y="172"/>
                </a:lnTo>
                <a:lnTo>
                  <a:pt x="802" y="174"/>
                </a:lnTo>
                <a:lnTo>
                  <a:pt x="803" y="173"/>
                </a:lnTo>
                <a:lnTo>
                  <a:pt x="803" y="177"/>
                </a:lnTo>
                <a:lnTo>
                  <a:pt x="802" y="177"/>
                </a:lnTo>
                <a:lnTo>
                  <a:pt x="800" y="178"/>
                </a:lnTo>
                <a:lnTo>
                  <a:pt x="796" y="182"/>
                </a:lnTo>
                <a:lnTo>
                  <a:pt x="797" y="179"/>
                </a:lnTo>
                <a:lnTo>
                  <a:pt x="796" y="179"/>
                </a:lnTo>
                <a:lnTo>
                  <a:pt x="793" y="180"/>
                </a:lnTo>
                <a:lnTo>
                  <a:pt x="791" y="182"/>
                </a:lnTo>
                <a:lnTo>
                  <a:pt x="790" y="182"/>
                </a:lnTo>
                <a:lnTo>
                  <a:pt x="790" y="183"/>
                </a:lnTo>
                <a:lnTo>
                  <a:pt x="789" y="186"/>
                </a:lnTo>
                <a:lnTo>
                  <a:pt x="788" y="188"/>
                </a:lnTo>
                <a:lnTo>
                  <a:pt x="788" y="189"/>
                </a:lnTo>
                <a:lnTo>
                  <a:pt x="787" y="190"/>
                </a:lnTo>
                <a:lnTo>
                  <a:pt x="785" y="190"/>
                </a:lnTo>
                <a:lnTo>
                  <a:pt x="785" y="192"/>
                </a:lnTo>
                <a:lnTo>
                  <a:pt x="784" y="192"/>
                </a:lnTo>
                <a:lnTo>
                  <a:pt x="782" y="198"/>
                </a:lnTo>
                <a:lnTo>
                  <a:pt x="781" y="200"/>
                </a:lnTo>
                <a:lnTo>
                  <a:pt x="781" y="201"/>
                </a:lnTo>
                <a:lnTo>
                  <a:pt x="779" y="201"/>
                </a:lnTo>
                <a:lnTo>
                  <a:pt x="778" y="203"/>
                </a:lnTo>
                <a:lnTo>
                  <a:pt x="776" y="206"/>
                </a:lnTo>
                <a:lnTo>
                  <a:pt x="774" y="210"/>
                </a:lnTo>
                <a:lnTo>
                  <a:pt x="772" y="211"/>
                </a:lnTo>
                <a:lnTo>
                  <a:pt x="770" y="213"/>
                </a:lnTo>
                <a:lnTo>
                  <a:pt x="769" y="214"/>
                </a:lnTo>
                <a:lnTo>
                  <a:pt x="766" y="219"/>
                </a:lnTo>
                <a:lnTo>
                  <a:pt x="763" y="222"/>
                </a:lnTo>
                <a:lnTo>
                  <a:pt x="759" y="229"/>
                </a:lnTo>
                <a:lnTo>
                  <a:pt x="758" y="231"/>
                </a:lnTo>
                <a:lnTo>
                  <a:pt x="758" y="233"/>
                </a:lnTo>
                <a:lnTo>
                  <a:pt x="756" y="235"/>
                </a:lnTo>
                <a:lnTo>
                  <a:pt x="756" y="238"/>
                </a:lnTo>
                <a:lnTo>
                  <a:pt x="754" y="238"/>
                </a:lnTo>
                <a:lnTo>
                  <a:pt x="753" y="240"/>
                </a:lnTo>
                <a:lnTo>
                  <a:pt x="753" y="247"/>
                </a:lnTo>
                <a:lnTo>
                  <a:pt x="754" y="251"/>
                </a:lnTo>
                <a:lnTo>
                  <a:pt x="757" y="257"/>
                </a:lnTo>
                <a:lnTo>
                  <a:pt x="757" y="258"/>
                </a:lnTo>
                <a:lnTo>
                  <a:pt x="758" y="259"/>
                </a:lnTo>
                <a:lnTo>
                  <a:pt x="757" y="259"/>
                </a:lnTo>
                <a:lnTo>
                  <a:pt x="757" y="263"/>
                </a:lnTo>
                <a:lnTo>
                  <a:pt x="758" y="265"/>
                </a:lnTo>
                <a:lnTo>
                  <a:pt x="759" y="266"/>
                </a:lnTo>
                <a:lnTo>
                  <a:pt x="762" y="271"/>
                </a:lnTo>
                <a:lnTo>
                  <a:pt x="766" y="276"/>
                </a:lnTo>
                <a:lnTo>
                  <a:pt x="770" y="276"/>
                </a:lnTo>
                <a:lnTo>
                  <a:pt x="771" y="277"/>
                </a:lnTo>
                <a:lnTo>
                  <a:pt x="774" y="278"/>
                </a:lnTo>
                <a:lnTo>
                  <a:pt x="775" y="280"/>
                </a:lnTo>
                <a:lnTo>
                  <a:pt x="775" y="281"/>
                </a:lnTo>
                <a:lnTo>
                  <a:pt x="776" y="282"/>
                </a:lnTo>
                <a:lnTo>
                  <a:pt x="777" y="282"/>
                </a:lnTo>
                <a:lnTo>
                  <a:pt x="777" y="283"/>
                </a:lnTo>
                <a:lnTo>
                  <a:pt x="775" y="283"/>
                </a:lnTo>
                <a:lnTo>
                  <a:pt x="775" y="284"/>
                </a:lnTo>
                <a:lnTo>
                  <a:pt x="774" y="284"/>
                </a:lnTo>
                <a:lnTo>
                  <a:pt x="774" y="286"/>
                </a:lnTo>
                <a:lnTo>
                  <a:pt x="772" y="286"/>
                </a:lnTo>
                <a:lnTo>
                  <a:pt x="771" y="287"/>
                </a:lnTo>
                <a:lnTo>
                  <a:pt x="770" y="287"/>
                </a:lnTo>
                <a:lnTo>
                  <a:pt x="770" y="289"/>
                </a:lnTo>
                <a:lnTo>
                  <a:pt x="765" y="289"/>
                </a:lnTo>
                <a:lnTo>
                  <a:pt x="765" y="293"/>
                </a:lnTo>
                <a:lnTo>
                  <a:pt x="764" y="293"/>
                </a:lnTo>
                <a:lnTo>
                  <a:pt x="764" y="294"/>
                </a:lnTo>
                <a:lnTo>
                  <a:pt x="759" y="294"/>
                </a:lnTo>
                <a:lnTo>
                  <a:pt x="757" y="296"/>
                </a:lnTo>
                <a:lnTo>
                  <a:pt x="753" y="297"/>
                </a:lnTo>
                <a:lnTo>
                  <a:pt x="752" y="297"/>
                </a:lnTo>
                <a:lnTo>
                  <a:pt x="752" y="299"/>
                </a:lnTo>
                <a:lnTo>
                  <a:pt x="750" y="301"/>
                </a:lnTo>
                <a:lnTo>
                  <a:pt x="750" y="303"/>
                </a:lnTo>
                <a:lnTo>
                  <a:pt x="747" y="303"/>
                </a:lnTo>
                <a:lnTo>
                  <a:pt x="747" y="305"/>
                </a:lnTo>
                <a:lnTo>
                  <a:pt x="745" y="305"/>
                </a:lnTo>
                <a:lnTo>
                  <a:pt x="745" y="307"/>
                </a:lnTo>
                <a:lnTo>
                  <a:pt x="746" y="312"/>
                </a:lnTo>
                <a:lnTo>
                  <a:pt x="745" y="312"/>
                </a:lnTo>
                <a:lnTo>
                  <a:pt x="745" y="313"/>
                </a:lnTo>
                <a:lnTo>
                  <a:pt x="743" y="312"/>
                </a:lnTo>
                <a:lnTo>
                  <a:pt x="743" y="313"/>
                </a:lnTo>
                <a:lnTo>
                  <a:pt x="741" y="313"/>
                </a:lnTo>
                <a:lnTo>
                  <a:pt x="740" y="314"/>
                </a:lnTo>
                <a:lnTo>
                  <a:pt x="740" y="319"/>
                </a:lnTo>
                <a:lnTo>
                  <a:pt x="739" y="323"/>
                </a:lnTo>
                <a:lnTo>
                  <a:pt x="739" y="324"/>
                </a:lnTo>
                <a:lnTo>
                  <a:pt x="738" y="324"/>
                </a:lnTo>
                <a:lnTo>
                  <a:pt x="737" y="325"/>
                </a:lnTo>
                <a:lnTo>
                  <a:pt x="737" y="326"/>
                </a:lnTo>
                <a:lnTo>
                  <a:pt x="735" y="330"/>
                </a:lnTo>
                <a:lnTo>
                  <a:pt x="735" y="333"/>
                </a:lnTo>
                <a:lnTo>
                  <a:pt x="734" y="332"/>
                </a:lnTo>
                <a:lnTo>
                  <a:pt x="733" y="334"/>
                </a:lnTo>
                <a:lnTo>
                  <a:pt x="732" y="336"/>
                </a:lnTo>
                <a:lnTo>
                  <a:pt x="731" y="336"/>
                </a:lnTo>
                <a:lnTo>
                  <a:pt x="731" y="337"/>
                </a:lnTo>
                <a:lnTo>
                  <a:pt x="732" y="340"/>
                </a:lnTo>
                <a:lnTo>
                  <a:pt x="733" y="340"/>
                </a:lnTo>
                <a:lnTo>
                  <a:pt x="734" y="342"/>
                </a:lnTo>
                <a:lnTo>
                  <a:pt x="737" y="342"/>
                </a:lnTo>
                <a:lnTo>
                  <a:pt x="738" y="343"/>
                </a:lnTo>
                <a:lnTo>
                  <a:pt x="737" y="343"/>
                </a:lnTo>
                <a:lnTo>
                  <a:pt x="737" y="344"/>
                </a:lnTo>
                <a:lnTo>
                  <a:pt x="733" y="344"/>
                </a:lnTo>
                <a:lnTo>
                  <a:pt x="733" y="345"/>
                </a:lnTo>
                <a:lnTo>
                  <a:pt x="729" y="345"/>
                </a:lnTo>
                <a:lnTo>
                  <a:pt x="728" y="346"/>
                </a:lnTo>
                <a:lnTo>
                  <a:pt x="727" y="346"/>
                </a:lnTo>
                <a:lnTo>
                  <a:pt x="726" y="345"/>
                </a:lnTo>
                <a:lnTo>
                  <a:pt x="720" y="345"/>
                </a:lnTo>
                <a:lnTo>
                  <a:pt x="720" y="348"/>
                </a:lnTo>
                <a:lnTo>
                  <a:pt x="718" y="348"/>
                </a:lnTo>
                <a:lnTo>
                  <a:pt x="718" y="346"/>
                </a:lnTo>
                <a:lnTo>
                  <a:pt x="716" y="345"/>
                </a:lnTo>
                <a:lnTo>
                  <a:pt x="714" y="345"/>
                </a:lnTo>
                <a:lnTo>
                  <a:pt x="714" y="346"/>
                </a:lnTo>
                <a:lnTo>
                  <a:pt x="710" y="346"/>
                </a:lnTo>
                <a:lnTo>
                  <a:pt x="709" y="348"/>
                </a:lnTo>
                <a:lnTo>
                  <a:pt x="707" y="349"/>
                </a:lnTo>
                <a:lnTo>
                  <a:pt x="707" y="350"/>
                </a:lnTo>
                <a:lnTo>
                  <a:pt x="704" y="350"/>
                </a:lnTo>
                <a:lnTo>
                  <a:pt x="704" y="352"/>
                </a:lnTo>
                <a:lnTo>
                  <a:pt x="703" y="354"/>
                </a:lnTo>
                <a:lnTo>
                  <a:pt x="701" y="354"/>
                </a:lnTo>
                <a:lnTo>
                  <a:pt x="698" y="355"/>
                </a:lnTo>
                <a:lnTo>
                  <a:pt x="697" y="356"/>
                </a:lnTo>
                <a:lnTo>
                  <a:pt x="697" y="357"/>
                </a:lnTo>
                <a:lnTo>
                  <a:pt x="696" y="357"/>
                </a:lnTo>
                <a:lnTo>
                  <a:pt x="696" y="358"/>
                </a:lnTo>
                <a:lnTo>
                  <a:pt x="690" y="364"/>
                </a:lnTo>
                <a:lnTo>
                  <a:pt x="690" y="367"/>
                </a:lnTo>
                <a:lnTo>
                  <a:pt x="689" y="369"/>
                </a:lnTo>
                <a:lnTo>
                  <a:pt x="689" y="372"/>
                </a:lnTo>
                <a:lnTo>
                  <a:pt x="688" y="375"/>
                </a:lnTo>
                <a:lnTo>
                  <a:pt x="687" y="376"/>
                </a:lnTo>
                <a:lnTo>
                  <a:pt x="687" y="380"/>
                </a:lnTo>
                <a:lnTo>
                  <a:pt x="684" y="380"/>
                </a:lnTo>
                <a:lnTo>
                  <a:pt x="683" y="381"/>
                </a:lnTo>
                <a:lnTo>
                  <a:pt x="683" y="382"/>
                </a:lnTo>
                <a:lnTo>
                  <a:pt x="682" y="383"/>
                </a:lnTo>
                <a:lnTo>
                  <a:pt x="682" y="385"/>
                </a:lnTo>
                <a:lnTo>
                  <a:pt x="681" y="385"/>
                </a:lnTo>
                <a:lnTo>
                  <a:pt x="681" y="386"/>
                </a:lnTo>
                <a:lnTo>
                  <a:pt x="679" y="387"/>
                </a:lnTo>
                <a:lnTo>
                  <a:pt x="679" y="388"/>
                </a:lnTo>
                <a:lnTo>
                  <a:pt x="678" y="388"/>
                </a:lnTo>
                <a:lnTo>
                  <a:pt x="678" y="389"/>
                </a:lnTo>
                <a:lnTo>
                  <a:pt x="676" y="389"/>
                </a:lnTo>
                <a:lnTo>
                  <a:pt x="676" y="391"/>
                </a:lnTo>
                <a:lnTo>
                  <a:pt x="673" y="389"/>
                </a:lnTo>
                <a:lnTo>
                  <a:pt x="672" y="388"/>
                </a:lnTo>
                <a:lnTo>
                  <a:pt x="672" y="387"/>
                </a:lnTo>
                <a:lnTo>
                  <a:pt x="671" y="386"/>
                </a:lnTo>
                <a:lnTo>
                  <a:pt x="669" y="385"/>
                </a:lnTo>
                <a:lnTo>
                  <a:pt x="666" y="385"/>
                </a:lnTo>
                <a:lnTo>
                  <a:pt x="665" y="386"/>
                </a:lnTo>
                <a:lnTo>
                  <a:pt x="664" y="386"/>
                </a:lnTo>
                <a:lnTo>
                  <a:pt x="663" y="385"/>
                </a:lnTo>
                <a:lnTo>
                  <a:pt x="659" y="386"/>
                </a:lnTo>
                <a:lnTo>
                  <a:pt x="658" y="386"/>
                </a:lnTo>
                <a:lnTo>
                  <a:pt x="658" y="388"/>
                </a:lnTo>
                <a:lnTo>
                  <a:pt x="657" y="391"/>
                </a:lnTo>
                <a:lnTo>
                  <a:pt x="656" y="392"/>
                </a:lnTo>
                <a:lnTo>
                  <a:pt x="653" y="392"/>
                </a:lnTo>
                <a:lnTo>
                  <a:pt x="652" y="393"/>
                </a:lnTo>
                <a:lnTo>
                  <a:pt x="652" y="392"/>
                </a:lnTo>
                <a:lnTo>
                  <a:pt x="651" y="393"/>
                </a:lnTo>
                <a:lnTo>
                  <a:pt x="648" y="391"/>
                </a:lnTo>
                <a:lnTo>
                  <a:pt x="647" y="391"/>
                </a:lnTo>
                <a:lnTo>
                  <a:pt x="647" y="392"/>
                </a:lnTo>
                <a:lnTo>
                  <a:pt x="646" y="392"/>
                </a:lnTo>
                <a:lnTo>
                  <a:pt x="645" y="389"/>
                </a:lnTo>
                <a:lnTo>
                  <a:pt x="634" y="389"/>
                </a:lnTo>
                <a:lnTo>
                  <a:pt x="631" y="388"/>
                </a:lnTo>
                <a:lnTo>
                  <a:pt x="627" y="389"/>
                </a:lnTo>
                <a:lnTo>
                  <a:pt x="626" y="389"/>
                </a:lnTo>
                <a:lnTo>
                  <a:pt x="626" y="391"/>
                </a:lnTo>
                <a:lnTo>
                  <a:pt x="625" y="391"/>
                </a:lnTo>
                <a:lnTo>
                  <a:pt x="623" y="392"/>
                </a:lnTo>
                <a:lnTo>
                  <a:pt x="620" y="392"/>
                </a:lnTo>
                <a:lnTo>
                  <a:pt x="619" y="391"/>
                </a:lnTo>
                <a:lnTo>
                  <a:pt x="616" y="391"/>
                </a:lnTo>
                <a:lnTo>
                  <a:pt x="615" y="389"/>
                </a:lnTo>
                <a:lnTo>
                  <a:pt x="613" y="389"/>
                </a:lnTo>
                <a:lnTo>
                  <a:pt x="611" y="391"/>
                </a:lnTo>
                <a:lnTo>
                  <a:pt x="609" y="391"/>
                </a:lnTo>
                <a:lnTo>
                  <a:pt x="607" y="389"/>
                </a:lnTo>
                <a:lnTo>
                  <a:pt x="603" y="389"/>
                </a:lnTo>
                <a:lnTo>
                  <a:pt x="600" y="391"/>
                </a:lnTo>
                <a:lnTo>
                  <a:pt x="596" y="389"/>
                </a:lnTo>
                <a:lnTo>
                  <a:pt x="595" y="389"/>
                </a:lnTo>
                <a:lnTo>
                  <a:pt x="594" y="391"/>
                </a:lnTo>
                <a:lnTo>
                  <a:pt x="580" y="391"/>
                </a:lnTo>
                <a:lnTo>
                  <a:pt x="579" y="393"/>
                </a:lnTo>
                <a:lnTo>
                  <a:pt x="578" y="393"/>
                </a:lnTo>
                <a:lnTo>
                  <a:pt x="578" y="394"/>
                </a:lnTo>
                <a:lnTo>
                  <a:pt x="577" y="395"/>
                </a:lnTo>
                <a:lnTo>
                  <a:pt x="576" y="398"/>
                </a:lnTo>
                <a:lnTo>
                  <a:pt x="573" y="398"/>
                </a:lnTo>
                <a:lnTo>
                  <a:pt x="572" y="400"/>
                </a:lnTo>
                <a:lnTo>
                  <a:pt x="570" y="403"/>
                </a:lnTo>
                <a:lnTo>
                  <a:pt x="566" y="403"/>
                </a:lnTo>
                <a:lnTo>
                  <a:pt x="561" y="401"/>
                </a:lnTo>
                <a:lnTo>
                  <a:pt x="560" y="401"/>
                </a:lnTo>
                <a:lnTo>
                  <a:pt x="559" y="403"/>
                </a:lnTo>
                <a:lnTo>
                  <a:pt x="557" y="404"/>
                </a:lnTo>
                <a:lnTo>
                  <a:pt x="553" y="405"/>
                </a:lnTo>
                <a:lnTo>
                  <a:pt x="552" y="406"/>
                </a:lnTo>
                <a:lnTo>
                  <a:pt x="548" y="406"/>
                </a:lnTo>
                <a:lnTo>
                  <a:pt x="547" y="407"/>
                </a:lnTo>
                <a:lnTo>
                  <a:pt x="546" y="410"/>
                </a:lnTo>
                <a:lnTo>
                  <a:pt x="546" y="412"/>
                </a:lnTo>
                <a:lnTo>
                  <a:pt x="545" y="412"/>
                </a:lnTo>
                <a:lnTo>
                  <a:pt x="545" y="413"/>
                </a:lnTo>
                <a:lnTo>
                  <a:pt x="544" y="413"/>
                </a:lnTo>
                <a:lnTo>
                  <a:pt x="544" y="416"/>
                </a:lnTo>
                <a:lnTo>
                  <a:pt x="541" y="420"/>
                </a:lnTo>
                <a:lnTo>
                  <a:pt x="540" y="419"/>
                </a:lnTo>
                <a:lnTo>
                  <a:pt x="538" y="419"/>
                </a:lnTo>
                <a:lnTo>
                  <a:pt x="538" y="425"/>
                </a:lnTo>
                <a:lnTo>
                  <a:pt x="536" y="425"/>
                </a:lnTo>
                <a:lnTo>
                  <a:pt x="532" y="428"/>
                </a:lnTo>
                <a:lnTo>
                  <a:pt x="530" y="428"/>
                </a:lnTo>
                <a:lnTo>
                  <a:pt x="528" y="425"/>
                </a:lnTo>
                <a:lnTo>
                  <a:pt x="524" y="425"/>
                </a:lnTo>
                <a:lnTo>
                  <a:pt x="524" y="424"/>
                </a:lnTo>
                <a:lnTo>
                  <a:pt x="522" y="424"/>
                </a:lnTo>
                <a:lnTo>
                  <a:pt x="522" y="423"/>
                </a:lnTo>
                <a:lnTo>
                  <a:pt x="517" y="418"/>
                </a:lnTo>
                <a:lnTo>
                  <a:pt x="516" y="418"/>
                </a:lnTo>
                <a:lnTo>
                  <a:pt x="515" y="419"/>
                </a:lnTo>
                <a:lnTo>
                  <a:pt x="513" y="418"/>
                </a:lnTo>
                <a:lnTo>
                  <a:pt x="510" y="416"/>
                </a:lnTo>
                <a:lnTo>
                  <a:pt x="509" y="413"/>
                </a:lnTo>
                <a:lnTo>
                  <a:pt x="507" y="412"/>
                </a:lnTo>
                <a:lnTo>
                  <a:pt x="507" y="409"/>
                </a:lnTo>
                <a:lnTo>
                  <a:pt x="504" y="407"/>
                </a:lnTo>
                <a:lnTo>
                  <a:pt x="503" y="405"/>
                </a:lnTo>
                <a:lnTo>
                  <a:pt x="503" y="404"/>
                </a:lnTo>
                <a:lnTo>
                  <a:pt x="502" y="401"/>
                </a:lnTo>
                <a:lnTo>
                  <a:pt x="501" y="400"/>
                </a:lnTo>
                <a:lnTo>
                  <a:pt x="502" y="400"/>
                </a:lnTo>
                <a:lnTo>
                  <a:pt x="503" y="401"/>
                </a:lnTo>
                <a:lnTo>
                  <a:pt x="503" y="403"/>
                </a:lnTo>
                <a:lnTo>
                  <a:pt x="504" y="404"/>
                </a:lnTo>
                <a:lnTo>
                  <a:pt x="507" y="401"/>
                </a:lnTo>
                <a:lnTo>
                  <a:pt x="504" y="401"/>
                </a:lnTo>
                <a:lnTo>
                  <a:pt x="504" y="398"/>
                </a:lnTo>
                <a:lnTo>
                  <a:pt x="502" y="397"/>
                </a:lnTo>
                <a:lnTo>
                  <a:pt x="502" y="395"/>
                </a:lnTo>
                <a:lnTo>
                  <a:pt x="497" y="395"/>
                </a:lnTo>
                <a:lnTo>
                  <a:pt x="497" y="393"/>
                </a:lnTo>
                <a:lnTo>
                  <a:pt x="496" y="392"/>
                </a:lnTo>
                <a:lnTo>
                  <a:pt x="496" y="388"/>
                </a:lnTo>
                <a:lnTo>
                  <a:pt x="497" y="388"/>
                </a:lnTo>
                <a:lnTo>
                  <a:pt x="498" y="387"/>
                </a:lnTo>
                <a:lnTo>
                  <a:pt x="499" y="387"/>
                </a:lnTo>
                <a:lnTo>
                  <a:pt x="499" y="386"/>
                </a:lnTo>
                <a:lnTo>
                  <a:pt x="497" y="386"/>
                </a:lnTo>
                <a:lnTo>
                  <a:pt x="496" y="385"/>
                </a:lnTo>
                <a:lnTo>
                  <a:pt x="495" y="381"/>
                </a:lnTo>
                <a:lnTo>
                  <a:pt x="493" y="379"/>
                </a:lnTo>
                <a:lnTo>
                  <a:pt x="492" y="377"/>
                </a:lnTo>
                <a:lnTo>
                  <a:pt x="483" y="370"/>
                </a:lnTo>
                <a:lnTo>
                  <a:pt x="482" y="370"/>
                </a:lnTo>
                <a:lnTo>
                  <a:pt x="480" y="369"/>
                </a:lnTo>
                <a:lnTo>
                  <a:pt x="479" y="369"/>
                </a:lnTo>
                <a:lnTo>
                  <a:pt x="478" y="368"/>
                </a:lnTo>
                <a:lnTo>
                  <a:pt x="477" y="368"/>
                </a:lnTo>
                <a:lnTo>
                  <a:pt x="476" y="367"/>
                </a:lnTo>
                <a:lnTo>
                  <a:pt x="476" y="363"/>
                </a:lnTo>
                <a:lnTo>
                  <a:pt x="478" y="361"/>
                </a:lnTo>
                <a:lnTo>
                  <a:pt x="477" y="361"/>
                </a:lnTo>
                <a:lnTo>
                  <a:pt x="476" y="363"/>
                </a:lnTo>
                <a:lnTo>
                  <a:pt x="473" y="363"/>
                </a:lnTo>
                <a:lnTo>
                  <a:pt x="473" y="364"/>
                </a:lnTo>
                <a:lnTo>
                  <a:pt x="474" y="366"/>
                </a:lnTo>
                <a:lnTo>
                  <a:pt x="474" y="367"/>
                </a:lnTo>
                <a:lnTo>
                  <a:pt x="471" y="366"/>
                </a:lnTo>
                <a:lnTo>
                  <a:pt x="468" y="364"/>
                </a:lnTo>
                <a:lnTo>
                  <a:pt x="458" y="366"/>
                </a:lnTo>
                <a:lnTo>
                  <a:pt x="456" y="367"/>
                </a:lnTo>
                <a:lnTo>
                  <a:pt x="455" y="367"/>
                </a:lnTo>
                <a:lnTo>
                  <a:pt x="455" y="366"/>
                </a:lnTo>
                <a:lnTo>
                  <a:pt x="454" y="366"/>
                </a:lnTo>
                <a:lnTo>
                  <a:pt x="453" y="363"/>
                </a:lnTo>
                <a:lnTo>
                  <a:pt x="453" y="362"/>
                </a:lnTo>
                <a:lnTo>
                  <a:pt x="454" y="361"/>
                </a:lnTo>
                <a:lnTo>
                  <a:pt x="453" y="360"/>
                </a:lnTo>
                <a:lnTo>
                  <a:pt x="453" y="355"/>
                </a:lnTo>
                <a:lnTo>
                  <a:pt x="452" y="354"/>
                </a:lnTo>
                <a:lnTo>
                  <a:pt x="452" y="349"/>
                </a:lnTo>
                <a:lnTo>
                  <a:pt x="451" y="349"/>
                </a:lnTo>
                <a:lnTo>
                  <a:pt x="449" y="348"/>
                </a:lnTo>
                <a:lnTo>
                  <a:pt x="449" y="345"/>
                </a:lnTo>
                <a:lnTo>
                  <a:pt x="452" y="343"/>
                </a:lnTo>
                <a:lnTo>
                  <a:pt x="452" y="339"/>
                </a:lnTo>
                <a:lnTo>
                  <a:pt x="453" y="337"/>
                </a:lnTo>
                <a:lnTo>
                  <a:pt x="454" y="336"/>
                </a:lnTo>
                <a:lnTo>
                  <a:pt x="458" y="333"/>
                </a:lnTo>
                <a:lnTo>
                  <a:pt x="459" y="331"/>
                </a:lnTo>
                <a:lnTo>
                  <a:pt x="459" y="329"/>
                </a:lnTo>
                <a:lnTo>
                  <a:pt x="460" y="326"/>
                </a:lnTo>
                <a:lnTo>
                  <a:pt x="460" y="324"/>
                </a:lnTo>
                <a:lnTo>
                  <a:pt x="461" y="324"/>
                </a:lnTo>
                <a:lnTo>
                  <a:pt x="462" y="323"/>
                </a:lnTo>
                <a:lnTo>
                  <a:pt x="464" y="324"/>
                </a:lnTo>
                <a:lnTo>
                  <a:pt x="465" y="323"/>
                </a:lnTo>
                <a:lnTo>
                  <a:pt x="466" y="323"/>
                </a:lnTo>
                <a:lnTo>
                  <a:pt x="466" y="320"/>
                </a:lnTo>
                <a:lnTo>
                  <a:pt x="467" y="320"/>
                </a:lnTo>
                <a:lnTo>
                  <a:pt x="470" y="321"/>
                </a:lnTo>
                <a:lnTo>
                  <a:pt x="471" y="321"/>
                </a:lnTo>
                <a:lnTo>
                  <a:pt x="471" y="320"/>
                </a:lnTo>
                <a:lnTo>
                  <a:pt x="472" y="318"/>
                </a:lnTo>
                <a:lnTo>
                  <a:pt x="472" y="317"/>
                </a:lnTo>
                <a:lnTo>
                  <a:pt x="474" y="312"/>
                </a:lnTo>
                <a:lnTo>
                  <a:pt x="471" y="312"/>
                </a:lnTo>
                <a:lnTo>
                  <a:pt x="470" y="313"/>
                </a:lnTo>
                <a:lnTo>
                  <a:pt x="466" y="313"/>
                </a:lnTo>
                <a:lnTo>
                  <a:pt x="465" y="308"/>
                </a:lnTo>
                <a:lnTo>
                  <a:pt x="462" y="306"/>
                </a:lnTo>
                <a:lnTo>
                  <a:pt x="458" y="300"/>
                </a:lnTo>
                <a:lnTo>
                  <a:pt x="456" y="299"/>
                </a:lnTo>
                <a:lnTo>
                  <a:pt x="458" y="297"/>
                </a:lnTo>
                <a:lnTo>
                  <a:pt x="456" y="296"/>
                </a:lnTo>
                <a:lnTo>
                  <a:pt x="458" y="295"/>
                </a:lnTo>
                <a:lnTo>
                  <a:pt x="458" y="293"/>
                </a:lnTo>
                <a:lnTo>
                  <a:pt x="460" y="290"/>
                </a:lnTo>
                <a:lnTo>
                  <a:pt x="460" y="289"/>
                </a:lnTo>
                <a:lnTo>
                  <a:pt x="459" y="288"/>
                </a:lnTo>
                <a:lnTo>
                  <a:pt x="459" y="287"/>
                </a:lnTo>
                <a:lnTo>
                  <a:pt x="460" y="284"/>
                </a:lnTo>
                <a:lnTo>
                  <a:pt x="460" y="283"/>
                </a:lnTo>
                <a:lnTo>
                  <a:pt x="462" y="282"/>
                </a:lnTo>
                <a:lnTo>
                  <a:pt x="462" y="281"/>
                </a:lnTo>
                <a:lnTo>
                  <a:pt x="464" y="281"/>
                </a:lnTo>
                <a:lnTo>
                  <a:pt x="465" y="280"/>
                </a:lnTo>
                <a:lnTo>
                  <a:pt x="465" y="278"/>
                </a:lnTo>
                <a:lnTo>
                  <a:pt x="468" y="278"/>
                </a:lnTo>
                <a:lnTo>
                  <a:pt x="468" y="277"/>
                </a:lnTo>
                <a:lnTo>
                  <a:pt x="470" y="277"/>
                </a:lnTo>
                <a:lnTo>
                  <a:pt x="470" y="275"/>
                </a:lnTo>
                <a:lnTo>
                  <a:pt x="468" y="274"/>
                </a:lnTo>
                <a:lnTo>
                  <a:pt x="470" y="274"/>
                </a:lnTo>
                <a:lnTo>
                  <a:pt x="471" y="272"/>
                </a:lnTo>
                <a:lnTo>
                  <a:pt x="472" y="269"/>
                </a:lnTo>
                <a:lnTo>
                  <a:pt x="473" y="268"/>
                </a:lnTo>
                <a:lnTo>
                  <a:pt x="472" y="268"/>
                </a:lnTo>
                <a:lnTo>
                  <a:pt x="472" y="264"/>
                </a:lnTo>
                <a:lnTo>
                  <a:pt x="471" y="264"/>
                </a:lnTo>
                <a:lnTo>
                  <a:pt x="470" y="263"/>
                </a:lnTo>
                <a:lnTo>
                  <a:pt x="467" y="263"/>
                </a:lnTo>
                <a:lnTo>
                  <a:pt x="467" y="264"/>
                </a:lnTo>
                <a:lnTo>
                  <a:pt x="466" y="264"/>
                </a:lnTo>
                <a:lnTo>
                  <a:pt x="465" y="263"/>
                </a:lnTo>
                <a:lnTo>
                  <a:pt x="465" y="259"/>
                </a:lnTo>
                <a:lnTo>
                  <a:pt x="462" y="259"/>
                </a:lnTo>
                <a:lnTo>
                  <a:pt x="460" y="257"/>
                </a:lnTo>
                <a:lnTo>
                  <a:pt x="460" y="256"/>
                </a:lnTo>
                <a:lnTo>
                  <a:pt x="461" y="254"/>
                </a:lnTo>
                <a:lnTo>
                  <a:pt x="458" y="251"/>
                </a:lnTo>
                <a:lnTo>
                  <a:pt x="458" y="246"/>
                </a:lnTo>
                <a:lnTo>
                  <a:pt x="459" y="245"/>
                </a:lnTo>
                <a:lnTo>
                  <a:pt x="459" y="244"/>
                </a:lnTo>
                <a:lnTo>
                  <a:pt x="458" y="244"/>
                </a:lnTo>
                <a:lnTo>
                  <a:pt x="456" y="243"/>
                </a:lnTo>
                <a:lnTo>
                  <a:pt x="455" y="243"/>
                </a:lnTo>
                <a:lnTo>
                  <a:pt x="454" y="241"/>
                </a:lnTo>
                <a:lnTo>
                  <a:pt x="454" y="240"/>
                </a:lnTo>
                <a:lnTo>
                  <a:pt x="453" y="240"/>
                </a:lnTo>
                <a:lnTo>
                  <a:pt x="449" y="237"/>
                </a:lnTo>
                <a:lnTo>
                  <a:pt x="448" y="233"/>
                </a:lnTo>
                <a:lnTo>
                  <a:pt x="448" y="232"/>
                </a:lnTo>
                <a:lnTo>
                  <a:pt x="470" y="232"/>
                </a:lnTo>
                <a:lnTo>
                  <a:pt x="471" y="231"/>
                </a:lnTo>
                <a:lnTo>
                  <a:pt x="471" y="228"/>
                </a:lnTo>
                <a:lnTo>
                  <a:pt x="472" y="227"/>
                </a:lnTo>
                <a:lnTo>
                  <a:pt x="472" y="225"/>
                </a:lnTo>
                <a:lnTo>
                  <a:pt x="474" y="222"/>
                </a:lnTo>
                <a:lnTo>
                  <a:pt x="474" y="219"/>
                </a:lnTo>
                <a:lnTo>
                  <a:pt x="476" y="219"/>
                </a:lnTo>
                <a:lnTo>
                  <a:pt x="476" y="215"/>
                </a:lnTo>
                <a:lnTo>
                  <a:pt x="477" y="214"/>
                </a:lnTo>
                <a:lnTo>
                  <a:pt x="476" y="210"/>
                </a:lnTo>
                <a:lnTo>
                  <a:pt x="474" y="209"/>
                </a:lnTo>
                <a:lnTo>
                  <a:pt x="473" y="209"/>
                </a:lnTo>
                <a:lnTo>
                  <a:pt x="473" y="208"/>
                </a:lnTo>
                <a:lnTo>
                  <a:pt x="471" y="208"/>
                </a:lnTo>
                <a:lnTo>
                  <a:pt x="471" y="207"/>
                </a:lnTo>
                <a:lnTo>
                  <a:pt x="470" y="206"/>
                </a:lnTo>
                <a:lnTo>
                  <a:pt x="470" y="204"/>
                </a:lnTo>
                <a:lnTo>
                  <a:pt x="471" y="202"/>
                </a:lnTo>
                <a:lnTo>
                  <a:pt x="472" y="202"/>
                </a:lnTo>
                <a:lnTo>
                  <a:pt x="473" y="201"/>
                </a:lnTo>
                <a:lnTo>
                  <a:pt x="476" y="201"/>
                </a:lnTo>
                <a:lnTo>
                  <a:pt x="477" y="200"/>
                </a:lnTo>
                <a:lnTo>
                  <a:pt x="477" y="198"/>
                </a:lnTo>
                <a:lnTo>
                  <a:pt x="480" y="195"/>
                </a:lnTo>
                <a:lnTo>
                  <a:pt x="478" y="192"/>
                </a:lnTo>
                <a:lnTo>
                  <a:pt x="478" y="188"/>
                </a:lnTo>
                <a:lnTo>
                  <a:pt x="479" y="186"/>
                </a:lnTo>
                <a:lnTo>
                  <a:pt x="479" y="184"/>
                </a:lnTo>
                <a:lnTo>
                  <a:pt x="478" y="184"/>
                </a:lnTo>
                <a:lnTo>
                  <a:pt x="478" y="182"/>
                </a:lnTo>
                <a:lnTo>
                  <a:pt x="479" y="179"/>
                </a:lnTo>
                <a:lnTo>
                  <a:pt x="479" y="176"/>
                </a:lnTo>
                <a:lnTo>
                  <a:pt x="478" y="173"/>
                </a:lnTo>
                <a:lnTo>
                  <a:pt x="478" y="171"/>
                </a:lnTo>
                <a:lnTo>
                  <a:pt x="479" y="171"/>
                </a:lnTo>
                <a:lnTo>
                  <a:pt x="479" y="170"/>
                </a:lnTo>
                <a:lnTo>
                  <a:pt x="478" y="170"/>
                </a:lnTo>
                <a:lnTo>
                  <a:pt x="478" y="168"/>
                </a:lnTo>
                <a:lnTo>
                  <a:pt x="479" y="167"/>
                </a:lnTo>
                <a:lnTo>
                  <a:pt x="479" y="166"/>
                </a:lnTo>
                <a:lnTo>
                  <a:pt x="478" y="166"/>
                </a:lnTo>
                <a:lnTo>
                  <a:pt x="478" y="165"/>
                </a:lnTo>
                <a:lnTo>
                  <a:pt x="477" y="164"/>
                </a:lnTo>
                <a:lnTo>
                  <a:pt x="477" y="161"/>
                </a:lnTo>
                <a:lnTo>
                  <a:pt x="476" y="161"/>
                </a:lnTo>
                <a:lnTo>
                  <a:pt x="474" y="159"/>
                </a:lnTo>
                <a:lnTo>
                  <a:pt x="474" y="157"/>
                </a:lnTo>
                <a:lnTo>
                  <a:pt x="476" y="155"/>
                </a:lnTo>
                <a:lnTo>
                  <a:pt x="478" y="157"/>
                </a:lnTo>
                <a:lnTo>
                  <a:pt x="479" y="157"/>
                </a:lnTo>
                <a:lnTo>
                  <a:pt x="480" y="155"/>
                </a:lnTo>
                <a:lnTo>
                  <a:pt x="482" y="153"/>
                </a:lnTo>
                <a:lnTo>
                  <a:pt x="482" y="151"/>
                </a:lnTo>
                <a:lnTo>
                  <a:pt x="485" y="147"/>
                </a:lnTo>
                <a:lnTo>
                  <a:pt x="486" y="145"/>
                </a:lnTo>
                <a:lnTo>
                  <a:pt x="487" y="143"/>
                </a:lnTo>
                <a:lnTo>
                  <a:pt x="490" y="143"/>
                </a:lnTo>
                <a:lnTo>
                  <a:pt x="493" y="142"/>
                </a:lnTo>
                <a:lnTo>
                  <a:pt x="496" y="140"/>
                </a:lnTo>
                <a:lnTo>
                  <a:pt x="497" y="137"/>
                </a:lnTo>
                <a:lnTo>
                  <a:pt x="498" y="137"/>
                </a:lnTo>
                <a:lnTo>
                  <a:pt x="498" y="136"/>
                </a:lnTo>
                <a:lnTo>
                  <a:pt x="501" y="136"/>
                </a:lnTo>
                <a:lnTo>
                  <a:pt x="501" y="135"/>
                </a:lnTo>
                <a:lnTo>
                  <a:pt x="502" y="133"/>
                </a:lnTo>
                <a:lnTo>
                  <a:pt x="502" y="131"/>
                </a:lnTo>
                <a:lnTo>
                  <a:pt x="503" y="130"/>
                </a:lnTo>
                <a:lnTo>
                  <a:pt x="505" y="127"/>
                </a:lnTo>
                <a:lnTo>
                  <a:pt x="504" y="127"/>
                </a:lnTo>
                <a:lnTo>
                  <a:pt x="504" y="125"/>
                </a:lnTo>
                <a:lnTo>
                  <a:pt x="502" y="124"/>
                </a:lnTo>
                <a:lnTo>
                  <a:pt x="501" y="123"/>
                </a:lnTo>
                <a:lnTo>
                  <a:pt x="498" y="122"/>
                </a:lnTo>
                <a:lnTo>
                  <a:pt x="495" y="121"/>
                </a:lnTo>
                <a:lnTo>
                  <a:pt x="493" y="122"/>
                </a:lnTo>
                <a:lnTo>
                  <a:pt x="491" y="122"/>
                </a:lnTo>
                <a:lnTo>
                  <a:pt x="490" y="121"/>
                </a:lnTo>
                <a:lnTo>
                  <a:pt x="490" y="116"/>
                </a:lnTo>
                <a:lnTo>
                  <a:pt x="491" y="111"/>
                </a:lnTo>
                <a:lnTo>
                  <a:pt x="492" y="110"/>
                </a:lnTo>
                <a:lnTo>
                  <a:pt x="490" y="110"/>
                </a:lnTo>
                <a:lnTo>
                  <a:pt x="490" y="106"/>
                </a:lnTo>
                <a:lnTo>
                  <a:pt x="489" y="105"/>
                </a:lnTo>
                <a:lnTo>
                  <a:pt x="487" y="105"/>
                </a:lnTo>
                <a:lnTo>
                  <a:pt x="487" y="106"/>
                </a:lnTo>
                <a:lnTo>
                  <a:pt x="482" y="106"/>
                </a:lnTo>
                <a:lnTo>
                  <a:pt x="480" y="104"/>
                </a:lnTo>
                <a:lnTo>
                  <a:pt x="479" y="104"/>
                </a:lnTo>
                <a:lnTo>
                  <a:pt x="479" y="105"/>
                </a:lnTo>
                <a:lnTo>
                  <a:pt x="478" y="106"/>
                </a:lnTo>
                <a:lnTo>
                  <a:pt x="474" y="106"/>
                </a:lnTo>
                <a:lnTo>
                  <a:pt x="473" y="105"/>
                </a:lnTo>
                <a:lnTo>
                  <a:pt x="471" y="105"/>
                </a:lnTo>
                <a:lnTo>
                  <a:pt x="470" y="106"/>
                </a:lnTo>
                <a:lnTo>
                  <a:pt x="467" y="104"/>
                </a:lnTo>
                <a:lnTo>
                  <a:pt x="464" y="104"/>
                </a:lnTo>
                <a:lnTo>
                  <a:pt x="464" y="109"/>
                </a:lnTo>
                <a:lnTo>
                  <a:pt x="462" y="109"/>
                </a:lnTo>
                <a:lnTo>
                  <a:pt x="462" y="110"/>
                </a:lnTo>
                <a:lnTo>
                  <a:pt x="461" y="110"/>
                </a:lnTo>
                <a:lnTo>
                  <a:pt x="458" y="111"/>
                </a:lnTo>
                <a:lnTo>
                  <a:pt x="455" y="111"/>
                </a:lnTo>
                <a:lnTo>
                  <a:pt x="453" y="114"/>
                </a:lnTo>
                <a:lnTo>
                  <a:pt x="453" y="112"/>
                </a:lnTo>
                <a:lnTo>
                  <a:pt x="452" y="111"/>
                </a:lnTo>
                <a:lnTo>
                  <a:pt x="451" y="111"/>
                </a:lnTo>
                <a:lnTo>
                  <a:pt x="451" y="110"/>
                </a:lnTo>
                <a:lnTo>
                  <a:pt x="449" y="110"/>
                </a:lnTo>
                <a:lnTo>
                  <a:pt x="449" y="112"/>
                </a:lnTo>
                <a:lnTo>
                  <a:pt x="446" y="112"/>
                </a:lnTo>
                <a:lnTo>
                  <a:pt x="446" y="110"/>
                </a:lnTo>
                <a:lnTo>
                  <a:pt x="443" y="110"/>
                </a:lnTo>
                <a:lnTo>
                  <a:pt x="442" y="109"/>
                </a:lnTo>
                <a:lnTo>
                  <a:pt x="440" y="109"/>
                </a:lnTo>
                <a:lnTo>
                  <a:pt x="437" y="110"/>
                </a:lnTo>
                <a:lnTo>
                  <a:pt x="435" y="110"/>
                </a:lnTo>
                <a:lnTo>
                  <a:pt x="435" y="111"/>
                </a:lnTo>
                <a:lnTo>
                  <a:pt x="434" y="111"/>
                </a:lnTo>
                <a:lnTo>
                  <a:pt x="434" y="108"/>
                </a:lnTo>
                <a:lnTo>
                  <a:pt x="433" y="108"/>
                </a:lnTo>
                <a:lnTo>
                  <a:pt x="433" y="110"/>
                </a:lnTo>
                <a:lnTo>
                  <a:pt x="429" y="110"/>
                </a:lnTo>
                <a:lnTo>
                  <a:pt x="429" y="111"/>
                </a:lnTo>
                <a:lnTo>
                  <a:pt x="428" y="114"/>
                </a:lnTo>
                <a:lnTo>
                  <a:pt x="422" y="114"/>
                </a:lnTo>
                <a:lnTo>
                  <a:pt x="422" y="111"/>
                </a:lnTo>
                <a:lnTo>
                  <a:pt x="420" y="110"/>
                </a:lnTo>
                <a:lnTo>
                  <a:pt x="420" y="108"/>
                </a:lnTo>
                <a:lnTo>
                  <a:pt x="424" y="103"/>
                </a:lnTo>
                <a:lnTo>
                  <a:pt x="424" y="102"/>
                </a:lnTo>
                <a:lnTo>
                  <a:pt x="426" y="102"/>
                </a:lnTo>
                <a:lnTo>
                  <a:pt x="426" y="99"/>
                </a:lnTo>
                <a:lnTo>
                  <a:pt x="424" y="99"/>
                </a:lnTo>
                <a:lnTo>
                  <a:pt x="423" y="98"/>
                </a:lnTo>
                <a:lnTo>
                  <a:pt x="423" y="99"/>
                </a:lnTo>
                <a:lnTo>
                  <a:pt x="421" y="99"/>
                </a:lnTo>
                <a:lnTo>
                  <a:pt x="421" y="94"/>
                </a:lnTo>
                <a:lnTo>
                  <a:pt x="418" y="94"/>
                </a:lnTo>
                <a:lnTo>
                  <a:pt x="418" y="96"/>
                </a:lnTo>
                <a:lnTo>
                  <a:pt x="416" y="96"/>
                </a:lnTo>
                <a:lnTo>
                  <a:pt x="416" y="97"/>
                </a:lnTo>
                <a:lnTo>
                  <a:pt x="415" y="97"/>
                </a:lnTo>
                <a:lnTo>
                  <a:pt x="409" y="98"/>
                </a:lnTo>
                <a:lnTo>
                  <a:pt x="408" y="98"/>
                </a:lnTo>
                <a:lnTo>
                  <a:pt x="406" y="99"/>
                </a:lnTo>
                <a:lnTo>
                  <a:pt x="404" y="99"/>
                </a:lnTo>
                <a:lnTo>
                  <a:pt x="403" y="100"/>
                </a:lnTo>
                <a:lnTo>
                  <a:pt x="402" y="100"/>
                </a:lnTo>
                <a:lnTo>
                  <a:pt x="402" y="103"/>
                </a:lnTo>
                <a:lnTo>
                  <a:pt x="400" y="103"/>
                </a:lnTo>
                <a:lnTo>
                  <a:pt x="399" y="104"/>
                </a:lnTo>
                <a:lnTo>
                  <a:pt x="398" y="104"/>
                </a:lnTo>
                <a:lnTo>
                  <a:pt x="397" y="105"/>
                </a:lnTo>
                <a:lnTo>
                  <a:pt x="397" y="106"/>
                </a:lnTo>
                <a:lnTo>
                  <a:pt x="396" y="106"/>
                </a:lnTo>
                <a:lnTo>
                  <a:pt x="393" y="109"/>
                </a:lnTo>
                <a:lnTo>
                  <a:pt x="392" y="109"/>
                </a:lnTo>
                <a:lnTo>
                  <a:pt x="392" y="108"/>
                </a:lnTo>
                <a:lnTo>
                  <a:pt x="391" y="97"/>
                </a:lnTo>
                <a:lnTo>
                  <a:pt x="392" y="96"/>
                </a:lnTo>
                <a:lnTo>
                  <a:pt x="395" y="96"/>
                </a:lnTo>
                <a:lnTo>
                  <a:pt x="395" y="94"/>
                </a:lnTo>
                <a:lnTo>
                  <a:pt x="393" y="94"/>
                </a:lnTo>
                <a:lnTo>
                  <a:pt x="393" y="93"/>
                </a:lnTo>
                <a:lnTo>
                  <a:pt x="395" y="93"/>
                </a:lnTo>
                <a:lnTo>
                  <a:pt x="395" y="92"/>
                </a:lnTo>
                <a:lnTo>
                  <a:pt x="396" y="92"/>
                </a:lnTo>
                <a:lnTo>
                  <a:pt x="396" y="91"/>
                </a:lnTo>
                <a:lnTo>
                  <a:pt x="397" y="90"/>
                </a:lnTo>
                <a:lnTo>
                  <a:pt x="402" y="87"/>
                </a:lnTo>
                <a:lnTo>
                  <a:pt x="402" y="86"/>
                </a:lnTo>
                <a:lnTo>
                  <a:pt x="403" y="86"/>
                </a:lnTo>
                <a:lnTo>
                  <a:pt x="403" y="82"/>
                </a:lnTo>
                <a:lnTo>
                  <a:pt x="402" y="84"/>
                </a:lnTo>
                <a:lnTo>
                  <a:pt x="402" y="85"/>
                </a:lnTo>
                <a:lnTo>
                  <a:pt x="400" y="86"/>
                </a:lnTo>
                <a:lnTo>
                  <a:pt x="399" y="86"/>
                </a:lnTo>
                <a:lnTo>
                  <a:pt x="397" y="87"/>
                </a:lnTo>
                <a:lnTo>
                  <a:pt x="396" y="88"/>
                </a:lnTo>
                <a:lnTo>
                  <a:pt x="393" y="88"/>
                </a:lnTo>
                <a:lnTo>
                  <a:pt x="393" y="85"/>
                </a:lnTo>
                <a:lnTo>
                  <a:pt x="395" y="86"/>
                </a:lnTo>
                <a:lnTo>
                  <a:pt x="395" y="82"/>
                </a:lnTo>
                <a:lnTo>
                  <a:pt x="397" y="84"/>
                </a:lnTo>
                <a:lnTo>
                  <a:pt x="397" y="82"/>
                </a:lnTo>
                <a:lnTo>
                  <a:pt x="400" y="79"/>
                </a:lnTo>
                <a:lnTo>
                  <a:pt x="402" y="79"/>
                </a:lnTo>
                <a:lnTo>
                  <a:pt x="402" y="78"/>
                </a:lnTo>
                <a:lnTo>
                  <a:pt x="400" y="78"/>
                </a:lnTo>
                <a:lnTo>
                  <a:pt x="399" y="79"/>
                </a:lnTo>
                <a:lnTo>
                  <a:pt x="398" y="79"/>
                </a:lnTo>
                <a:lnTo>
                  <a:pt x="397" y="80"/>
                </a:lnTo>
                <a:lnTo>
                  <a:pt x="393" y="80"/>
                </a:lnTo>
                <a:lnTo>
                  <a:pt x="393" y="79"/>
                </a:lnTo>
                <a:lnTo>
                  <a:pt x="392" y="79"/>
                </a:lnTo>
                <a:lnTo>
                  <a:pt x="392" y="77"/>
                </a:lnTo>
                <a:lnTo>
                  <a:pt x="395" y="77"/>
                </a:lnTo>
                <a:lnTo>
                  <a:pt x="395" y="69"/>
                </a:lnTo>
                <a:lnTo>
                  <a:pt x="396" y="69"/>
                </a:lnTo>
                <a:lnTo>
                  <a:pt x="397" y="68"/>
                </a:lnTo>
                <a:lnTo>
                  <a:pt x="398" y="66"/>
                </a:lnTo>
                <a:lnTo>
                  <a:pt x="398" y="65"/>
                </a:lnTo>
                <a:lnTo>
                  <a:pt x="398" y="66"/>
                </a:lnTo>
                <a:lnTo>
                  <a:pt x="395" y="66"/>
                </a:lnTo>
                <a:lnTo>
                  <a:pt x="395" y="63"/>
                </a:lnTo>
                <a:lnTo>
                  <a:pt x="393" y="65"/>
                </a:lnTo>
                <a:lnTo>
                  <a:pt x="393" y="68"/>
                </a:lnTo>
                <a:lnTo>
                  <a:pt x="392" y="68"/>
                </a:lnTo>
                <a:lnTo>
                  <a:pt x="392" y="67"/>
                </a:lnTo>
                <a:lnTo>
                  <a:pt x="391" y="67"/>
                </a:lnTo>
                <a:lnTo>
                  <a:pt x="390" y="68"/>
                </a:lnTo>
                <a:lnTo>
                  <a:pt x="391" y="69"/>
                </a:lnTo>
                <a:lnTo>
                  <a:pt x="389" y="69"/>
                </a:lnTo>
                <a:lnTo>
                  <a:pt x="389" y="72"/>
                </a:lnTo>
                <a:lnTo>
                  <a:pt x="387" y="72"/>
                </a:lnTo>
                <a:lnTo>
                  <a:pt x="386" y="73"/>
                </a:lnTo>
                <a:lnTo>
                  <a:pt x="386" y="69"/>
                </a:lnTo>
                <a:lnTo>
                  <a:pt x="384" y="69"/>
                </a:lnTo>
                <a:lnTo>
                  <a:pt x="385" y="67"/>
                </a:lnTo>
                <a:lnTo>
                  <a:pt x="385" y="65"/>
                </a:lnTo>
                <a:lnTo>
                  <a:pt x="386" y="63"/>
                </a:lnTo>
                <a:lnTo>
                  <a:pt x="386" y="61"/>
                </a:lnTo>
                <a:lnTo>
                  <a:pt x="387" y="61"/>
                </a:lnTo>
                <a:lnTo>
                  <a:pt x="391" y="57"/>
                </a:lnTo>
                <a:lnTo>
                  <a:pt x="392" y="57"/>
                </a:lnTo>
                <a:lnTo>
                  <a:pt x="392" y="55"/>
                </a:lnTo>
                <a:lnTo>
                  <a:pt x="391" y="55"/>
                </a:lnTo>
                <a:lnTo>
                  <a:pt x="391" y="56"/>
                </a:lnTo>
                <a:lnTo>
                  <a:pt x="390" y="57"/>
                </a:lnTo>
                <a:lnTo>
                  <a:pt x="385" y="57"/>
                </a:lnTo>
                <a:lnTo>
                  <a:pt x="385" y="59"/>
                </a:lnTo>
                <a:lnTo>
                  <a:pt x="384" y="60"/>
                </a:lnTo>
                <a:lnTo>
                  <a:pt x="383" y="60"/>
                </a:lnTo>
                <a:lnTo>
                  <a:pt x="383" y="59"/>
                </a:lnTo>
                <a:lnTo>
                  <a:pt x="381" y="57"/>
                </a:lnTo>
                <a:lnTo>
                  <a:pt x="381" y="56"/>
                </a:lnTo>
                <a:lnTo>
                  <a:pt x="383" y="56"/>
                </a:lnTo>
                <a:lnTo>
                  <a:pt x="383" y="54"/>
                </a:lnTo>
                <a:lnTo>
                  <a:pt x="381" y="54"/>
                </a:lnTo>
                <a:lnTo>
                  <a:pt x="381" y="50"/>
                </a:lnTo>
                <a:lnTo>
                  <a:pt x="380" y="50"/>
                </a:lnTo>
                <a:lnTo>
                  <a:pt x="379" y="49"/>
                </a:lnTo>
                <a:lnTo>
                  <a:pt x="379" y="50"/>
                </a:lnTo>
                <a:lnTo>
                  <a:pt x="378" y="50"/>
                </a:lnTo>
                <a:lnTo>
                  <a:pt x="378" y="49"/>
                </a:lnTo>
                <a:lnTo>
                  <a:pt x="377" y="50"/>
                </a:lnTo>
                <a:lnTo>
                  <a:pt x="377" y="51"/>
                </a:lnTo>
                <a:lnTo>
                  <a:pt x="375" y="51"/>
                </a:lnTo>
                <a:lnTo>
                  <a:pt x="375" y="47"/>
                </a:lnTo>
                <a:lnTo>
                  <a:pt x="377" y="47"/>
                </a:lnTo>
                <a:lnTo>
                  <a:pt x="377" y="44"/>
                </a:lnTo>
                <a:lnTo>
                  <a:pt x="375" y="44"/>
                </a:lnTo>
                <a:lnTo>
                  <a:pt x="375" y="42"/>
                </a:lnTo>
                <a:lnTo>
                  <a:pt x="377" y="42"/>
                </a:lnTo>
                <a:lnTo>
                  <a:pt x="377" y="41"/>
                </a:lnTo>
                <a:lnTo>
                  <a:pt x="378" y="39"/>
                </a:lnTo>
                <a:lnTo>
                  <a:pt x="380" y="39"/>
                </a:lnTo>
                <a:lnTo>
                  <a:pt x="380" y="38"/>
                </a:lnTo>
                <a:lnTo>
                  <a:pt x="381" y="38"/>
                </a:lnTo>
                <a:lnTo>
                  <a:pt x="381" y="37"/>
                </a:lnTo>
                <a:lnTo>
                  <a:pt x="380" y="37"/>
                </a:lnTo>
                <a:lnTo>
                  <a:pt x="379" y="38"/>
                </a:lnTo>
                <a:lnTo>
                  <a:pt x="378" y="37"/>
                </a:lnTo>
                <a:lnTo>
                  <a:pt x="381" y="34"/>
                </a:lnTo>
                <a:lnTo>
                  <a:pt x="383" y="35"/>
                </a:lnTo>
                <a:lnTo>
                  <a:pt x="385" y="35"/>
                </a:lnTo>
                <a:lnTo>
                  <a:pt x="385" y="34"/>
                </a:lnTo>
                <a:lnTo>
                  <a:pt x="386" y="34"/>
                </a:lnTo>
                <a:lnTo>
                  <a:pt x="386" y="32"/>
                </a:lnTo>
                <a:lnTo>
                  <a:pt x="390" y="32"/>
                </a:lnTo>
                <a:lnTo>
                  <a:pt x="391" y="31"/>
                </a:lnTo>
                <a:lnTo>
                  <a:pt x="390" y="31"/>
                </a:lnTo>
                <a:lnTo>
                  <a:pt x="387" y="29"/>
                </a:lnTo>
                <a:lnTo>
                  <a:pt x="390" y="29"/>
                </a:lnTo>
                <a:lnTo>
                  <a:pt x="392" y="28"/>
                </a:lnTo>
                <a:lnTo>
                  <a:pt x="393" y="26"/>
                </a:lnTo>
                <a:lnTo>
                  <a:pt x="395" y="26"/>
                </a:lnTo>
                <a:lnTo>
                  <a:pt x="396" y="28"/>
                </a:lnTo>
                <a:lnTo>
                  <a:pt x="398" y="28"/>
                </a:lnTo>
                <a:lnTo>
                  <a:pt x="399" y="29"/>
                </a:lnTo>
                <a:lnTo>
                  <a:pt x="402" y="29"/>
                </a:lnTo>
                <a:lnTo>
                  <a:pt x="404" y="26"/>
                </a:lnTo>
                <a:lnTo>
                  <a:pt x="406" y="28"/>
                </a:lnTo>
                <a:lnTo>
                  <a:pt x="408" y="26"/>
                </a:lnTo>
                <a:lnTo>
                  <a:pt x="409" y="26"/>
                </a:lnTo>
                <a:lnTo>
                  <a:pt x="409" y="25"/>
                </a:lnTo>
                <a:lnTo>
                  <a:pt x="410" y="25"/>
                </a:lnTo>
                <a:lnTo>
                  <a:pt x="410" y="24"/>
                </a:lnTo>
                <a:lnTo>
                  <a:pt x="411" y="24"/>
                </a:lnTo>
                <a:lnTo>
                  <a:pt x="414" y="23"/>
                </a:lnTo>
                <a:lnTo>
                  <a:pt x="414" y="25"/>
                </a:lnTo>
                <a:lnTo>
                  <a:pt x="415" y="25"/>
                </a:lnTo>
                <a:lnTo>
                  <a:pt x="415" y="23"/>
                </a:lnTo>
                <a:lnTo>
                  <a:pt x="416" y="22"/>
                </a:lnTo>
                <a:lnTo>
                  <a:pt x="416" y="23"/>
                </a:lnTo>
                <a:lnTo>
                  <a:pt x="418" y="23"/>
                </a:lnTo>
                <a:lnTo>
                  <a:pt x="418" y="25"/>
                </a:lnTo>
                <a:lnTo>
                  <a:pt x="420" y="26"/>
                </a:lnTo>
                <a:lnTo>
                  <a:pt x="421" y="26"/>
                </a:lnTo>
                <a:lnTo>
                  <a:pt x="421" y="22"/>
                </a:lnTo>
                <a:lnTo>
                  <a:pt x="420" y="22"/>
                </a:lnTo>
                <a:lnTo>
                  <a:pt x="418" y="20"/>
                </a:lnTo>
                <a:lnTo>
                  <a:pt x="417" y="20"/>
                </a:lnTo>
                <a:lnTo>
                  <a:pt x="416" y="19"/>
                </a:lnTo>
                <a:lnTo>
                  <a:pt x="417" y="19"/>
                </a:lnTo>
                <a:lnTo>
                  <a:pt x="422" y="18"/>
                </a:lnTo>
                <a:lnTo>
                  <a:pt x="422" y="17"/>
                </a:lnTo>
                <a:lnTo>
                  <a:pt x="421" y="18"/>
                </a:lnTo>
                <a:lnTo>
                  <a:pt x="420" y="18"/>
                </a:lnTo>
                <a:lnTo>
                  <a:pt x="418" y="17"/>
                </a:lnTo>
                <a:lnTo>
                  <a:pt x="418" y="18"/>
                </a:lnTo>
                <a:lnTo>
                  <a:pt x="416" y="18"/>
                </a:lnTo>
                <a:lnTo>
                  <a:pt x="416" y="16"/>
                </a:lnTo>
                <a:lnTo>
                  <a:pt x="417" y="14"/>
                </a:lnTo>
                <a:lnTo>
                  <a:pt x="416" y="14"/>
                </a:lnTo>
                <a:lnTo>
                  <a:pt x="416" y="13"/>
                </a:lnTo>
                <a:lnTo>
                  <a:pt x="418" y="13"/>
                </a:lnTo>
                <a:lnTo>
                  <a:pt x="420" y="12"/>
                </a:lnTo>
                <a:lnTo>
                  <a:pt x="426" y="7"/>
                </a:lnTo>
                <a:lnTo>
                  <a:pt x="426" y="8"/>
                </a:lnTo>
                <a:lnTo>
                  <a:pt x="427" y="8"/>
                </a:lnTo>
                <a:lnTo>
                  <a:pt x="427" y="5"/>
                </a:lnTo>
                <a:lnTo>
                  <a:pt x="429" y="5"/>
                </a:lnTo>
                <a:lnTo>
                  <a:pt x="430" y="4"/>
                </a:lnTo>
                <a:lnTo>
                  <a:pt x="431" y="4"/>
                </a:lnTo>
                <a:lnTo>
                  <a:pt x="434" y="1"/>
                </a:lnTo>
                <a:lnTo>
                  <a:pt x="435" y="2"/>
                </a:lnTo>
                <a:lnTo>
                  <a:pt x="435" y="6"/>
                </a:lnTo>
                <a:lnTo>
                  <a:pt x="434" y="6"/>
                </a:lnTo>
                <a:lnTo>
                  <a:pt x="434" y="7"/>
                </a:lnTo>
                <a:lnTo>
                  <a:pt x="435" y="7"/>
                </a:lnTo>
                <a:lnTo>
                  <a:pt x="436" y="6"/>
                </a:lnTo>
                <a:lnTo>
                  <a:pt x="435" y="5"/>
                </a:lnTo>
                <a:lnTo>
                  <a:pt x="436" y="5"/>
                </a:lnTo>
                <a:lnTo>
                  <a:pt x="437" y="4"/>
                </a:lnTo>
                <a:lnTo>
                  <a:pt x="439" y="4"/>
                </a:lnTo>
                <a:lnTo>
                  <a:pt x="439" y="2"/>
                </a:lnTo>
                <a:lnTo>
                  <a:pt x="441" y="2"/>
                </a:lnTo>
                <a:lnTo>
                  <a:pt x="441" y="1"/>
                </a:lnTo>
                <a:lnTo>
                  <a:pt x="442" y="1"/>
                </a:lnTo>
                <a:lnTo>
                  <a:pt x="442" y="0"/>
                </a:lnTo>
                <a:close/>
              </a:path>
            </a:pathLst>
          </a:custGeom>
          <a:solidFill>
            <a:schemeClr val="accent5">
              <a:lumMod val="95000"/>
            </a:schemeClr>
          </a:soli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8" name="Freeform 43">
            <a:extLst>
              <a:ext uri="{FF2B5EF4-FFF2-40B4-BE49-F238E27FC236}">
                <a16:creationId xmlns:a16="http://schemas.microsoft.com/office/drawing/2014/main" id="{9C53730A-C002-4E12-B5D5-3DD207AD9A78}"/>
              </a:ext>
            </a:extLst>
          </p:cNvPr>
          <p:cNvSpPr>
            <a:spLocks noEditPoints="1"/>
          </p:cNvSpPr>
          <p:nvPr/>
        </p:nvSpPr>
        <p:spPr bwMode="auto">
          <a:xfrm>
            <a:off x="918724" y="4611829"/>
            <a:ext cx="896894" cy="862120"/>
          </a:xfrm>
          <a:custGeom>
            <a:avLst/>
            <a:gdLst/>
            <a:ahLst/>
            <a:cxnLst>
              <a:cxn ang="0">
                <a:pos x="613" y="561"/>
              </a:cxn>
              <a:cxn ang="0">
                <a:pos x="600" y="590"/>
              </a:cxn>
              <a:cxn ang="0">
                <a:pos x="582" y="574"/>
              </a:cxn>
              <a:cxn ang="0">
                <a:pos x="585" y="555"/>
              </a:cxn>
              <a:cxn ang="0">
                <a:pos x="581" y="533"/>
              </a:cxn>
              <a:cxn ang="0">
                <a:pos x="610" y="501"/>
              </a:cxn>
              <a:cxn ang="0">
                <a:pos x="167" y="329"/>
              </a:cxn>
              <a:cxn ang="0">
                <a:pos x="151" y="309"/>
              </a:cxn>
              <a:cxn ang="0">
                <a:pos x="87" y="242"/>
              </a:cxn>
              <a:cxn ang="0">
                <a:pos x="3" y="172"/>
              </a:cxn>
              <a:cxn ang="0">
                <a:pos x="330" y="20"/>
              </a:cxn>
              <a:cxn ang="0">
                <a:pos x="363" y="40"/>
              </a:cxn>
              <a:cxn ang="0">
                <a:pos x="391" y="64"/>
              </a:cxn>
              <a:cxn ang="0">
                <a:pos x="422" y="77"/>
              </a:cxn>
              <a:cxn ang="0">
                <a:pos x="453" y="104"/>
              </a:cxn>
              <a:cxn ang="0">
                <a:pos x="493" y="116"/>
              </a:cxn>
              <a:cxn ang="0">
                <a:pos x="529" y="126"/>
              </a:cxn>
              <a:cxn ang="0">
                <a:pos x="546" y="162"/>
              </a:cxn>
              <a:cxn ang="0">
                <a:pos x="534" y="222"/>
              </a:cxn>
              <a:cxn ang="0">
                <a:pos x="509" y="236"/>
              </a:cxn>
              <a:cxn ang="0">
                <a:pos x="487" y="272"/>
              </a:cxn>
              <a:cxn ang="0">
                <a:pos x="468" y="316"/>
              </a:cxn>
              <a:cxn ang="0">
                <a:pos x="506" y="318"/>
              </a:cxn>
              <a:cxn ang="0">
                <a:pos x="518" y="362"/>
              </a:cxn>
              <a:cxn ang="0">
                <a:pos x="509" y="393"/>
              </a:cxn>
              <a:cxn ang="0">
                <a:pos x="524" y="435"/>
              </a:cxn>
              <a:cxn ang="0">
                <a:pos x="525" y="462"/>
              </a:cxn>
              <a:cxn ang="0">
                <a:pos x="497" y="484"/>
              </a:cxn>
              <a:cxn ang="0">
                <a:pos x="474" y="497"/>
              </a:cxn>
              <a:cxn ang="0">
                <a:pos x="442" y="487"/>
              </a:cxn>
              <a:cxn ang="0">
                <a:pos x="423" y="478"/>
              </a:cxn>
              <a:cxn ang="0">
                <a:pos x="385" y="469"/>
              </a:cxn>
              <a:cxn ang="0">
                <a:pos x="348" y="529"/>
              </a:cxn>
              <a:cxn ang="0">
                <a:pos x="305" y="537"/>
              </a:cxn>
              <a:cxn ang="0">
                <a:pos x="264" y="518"/>
              </a:cxn>
              <a:cxn ang="0">
                <a:pos x="219" y="518"/>
              </a:cxn>
              <a:cxn ang="0">
                <a:pos x="183" y="504"/>
              </a:cxn>
              <a:cxn ang="0">
                <a:pos x="155" y="487"/>
              </a:cxn>
              <a:cxn ang="0">
                <a:pos x="157" y="454"/>
              </a:cxn>
              <a:cxn ang="0">
                <a:pos x="183" y="365"/>
              </a:cxn>
              <a:cxn ang="0">
                <a:pos x="164" y="338"/>
              </a:cxn>
              <a:cxn ang="0">
                <a:pos x="169" y="316"/>
              </a:cxn>
              <a:cxn ang="0">
                <a:pos x="139" y="289"/>
              </a:cxn>
              <a:cxn ang="0">
                <a:pos x="122" y="253"/>
              </a:cxn>
              <a:cxn ang="0">
                <a:pos x="114" y="247"/>
              </a:cxn>
              <a:cxn ang="0">
                <a:pos x="103" y="230"/>
              </a:cxn>
              <a:cxn ang="0">
                <a:pos x="91" y="223"/>
              </a:cxn>
              <a:cxn ang="0">
                <a:pos x="81" y="222"/>
              </a:cxn>
              <a:cxn ang="0">
                <a:pos x="51" y="209"/>
              </a:cxn>
              <a:cxn ang="0">
                <a:pos x="20" y="199"/>
              </a:cxn>
              <a:cxn ang="0">
                <a:pos x="23" y="179"/>
              </a:cxn>
              <a:cxn ang="0">
                <a:pos x="20" y="179"/>
              </a:cxn>
              <a:cxn ang="0">
                <a:pos x="33" y="157"/>
              </a:cxn>
              <a:cxn ang="0">
                <a:pos x="60" y="156"/>
              </a:cxn>
              <a:cxn ang="0">
                <a:pos x="87" y="148"/>
              </a:cxn>
              <a:cxn ang="0">
                <a:pos x="118" y="157"/>
              </a:cxn>
              <a:cxn ang="0">
                <a:pos x="131" y="159"/>
              </a:cxn>
              <a:cxn ang="0">
                <a:pos x="150" y="135"/>
              </a:cxn>
              <a:cxn ang="0">
                <a:pos x="137" y="104"/>
              </a:cxn>
              <a:cxn ang="0">
                <a:pos x="161" y="101"/>
              </a:cxn>
              <a:cxn ang="0">
                <a:pos x="236" y="107"/>
              </a:cxn>
              <a:cxn ang="0">
                <a:pos x="279" y="60"/>
              </a:cxn>
              <a:cxn ang="0">
                <a:pos x="306" y="5"/>
              </a:cxn>
            </a:cxnLst>
            <a:rect l="0" t="0" r="r" b="b"/>
            <a:pathLst>
              <a:path w="619" h="595">
                <a:moveTo>
                  <a:pt x="299" y="531"/>
                </a:moveTo>
                <a:lnTo>
                  <a:pt x="298" y="533"/>
                </a:lnTo>
                <a:lnTo>
                  <a:pt x="299" y="534"/>
                </a:lnTo>
                <a:lnTo>
                  <a:pt x="300" y="534"/>
                </a:lnTo>
                <a:lnTo>
                  <a:pt x="300" y="533"/>
                </a:lnTo>
                <a:lnTo>
                  <a:pt x="299" y="531"/>
                </a:lnTo>
                <a:close/>
                <a:moveTo>
                  <a:pt x="613" y="500"/>
                </a:moveTo>
                <a:lnTo>
                  <a:pt x="613" y="501"/>
                </a:lnTo>
                <a:lnTo>
                  <a:pt x="615" y="501"/>
                </a:lnTo>
                <a:lnTo>
                  <a:pt x="615" y="504"/>
                </a:lnTo>
                <a:lnTo>
                  <a:pt x="616" y="505"/>
                </a:lnTo>
                <a:lnTo>
                  <a:pt x="616" y="513"/>
                </a:lnTo>
                <a:lnTo>
                  <a:pt x="615" y="518"/>
                </a:lnTo>
                <a:lnTo>
                  <a:pt x="615" y="524"/>
                </a:lnTo>
                <a:lnTo>
                  <a:pt x="616" y="524"/>
                </a:lnTo>
                <a:lnTo>
                  <a:pt x="616" y="527"/>
                </a:lnTo>
                <a:lnTo>
                  <a:pt x="617" y="527"/>
                </a:lnTo>
                <a:lnTo>
                  <a:pt x="617" y="525"/>
                </a:lnTo>
                <a:lnTo>
                  <a:pt x="618" y="527"/>
                </a:lnTo>
                <a:lnTo>
                  <a:pt x="618" y="538"/>
                </a:lnTo>
                <a:lnTo>
                  <a:pt x="619" y="541"/>
                </a:lnTo>
                <a:lnTo>
                  <a:pt x="619" y="553"/>
                </a:lnTo>
                <a:lnTo>
                  <a:pt x="618" y="553"/>
                </a:lnTo>
                <a:lnTo>
                  <a:pt x="617" y="554"/>
                </a:lnTo>
                <a:lnTo>
                  <a:pt x="617" y="555"/>
                </a:lnTo>
                <a:lnTo>
                  <a:pt x="616" y="556"/>
                </a:lnTo>
                <a:lnTo>
                  <a:pt x="613" y="560"/>
                </a:lnTo>
                <a:lnTo>
                  <a:pt x="613" y="561"/>
                </a:lnTo>
                <a:lnTo>
                  <a:pt x="612" y="561"/>
                </a:lnTo>
                <a:lnTo>
                  <a:pt x="612" y="577"/>
                </a:lnTo>
                <a:lnTo>
                  <a:pt x="611" y="578"/>
                </a:lnTo>
                <a:lnTo>
                  <a:pt x="611" y="579"/>
                </a:lnTo>
                <a:lnTo>
                  <a:pt x="610" y="579"/>
                </a:lnTo>
                <a:lnTo>
                  <a:pt x="610" y="580"/>
                </a:lnTo>
                <a:lnTo>
                  <a:pt x="608" y="580"/>
                </a:lnTo>
                <a:lnTo>
                  <a:pt x="608" y="581"/>
                </a:lnTo>
                <a:lnTo>
                  <a:pt x="611" y="581"/>
                </a:lnTo>
                <a:lnTo>
                  <a:pt x="610" y="583"/>
                </a:lnTo>
                <a:lnTo>
                  <a:pt x="610" y="584"/>
                </a:lnTo>
                <a:lnTo>
                  <a:pt x="609" y="584"/>
                </a:lnTo>
                <a:lnTo>
                  <a:pt x="608" y="585"/>
                </a:lnTo>
                <a:lnTo>
                  <a:pt x="608" y="586"/>
                </a:lnTo>
                <a:lnTo>
                  <a:pt x="606" y="586"/>
                </a:lnTo>
                <a:lnTo>
                  <a:pt x="608" y="587"/>
                </a:lnTo>
                <a:lnTo>
                  <a:pt x="605" y="590"/>
                </a:lnTo>
                <a:lnTo>
                  <a:pt x="605" y="591"/>
                </a:lnTo>
                <a:lnTo>
                  <a:pt x="606" y="591"/>
                </a:lnTo>
                <a:lnTo>
                  <a:pt x="606" y="592"/>
                </a:lnTo>
                <a:lnTo>
                  <a:pt x="605" y="593"/>
                </a:lnTo>
                <a:lnTo>
                  <a:pt x="605" y="595"/>
                </a:lnTo>
                <a:lnTo>
                  <a:pt x="604" y="595"/>
                </a:lnTo>
                <a:lnTo>
                  <a:pt x="603" y="593"/>
                </a:lnTo>
                <a:lnTo>
                  <a:pt x="600" y="593"/>
                </a:lnTo>
                <a:lnTo>
                  <a:pt x="599" y="592"/>
                </a:lnTo>
                <a:lnTo>
                  <a:pt x="600" y="591"/>
                </a:lnTo>
                <a:lnTo>
                  <a:pt x="600" y="590"/>
                </a:lnTo>
                <a:lnTo>
                  <a:pt x="599" y="590"/>
                </a:lnTo>
                <a:lnTo>
                  <a:pt x="598" y="589"/>
                </a:lnTo>
                <a:lnTo>
                  <a:pt x="599" y="589"/>
                </a:lnTo>
                <a:lnTo>
                  <a:pt x="599" y="587"/>
                </a:lnTo>
                <a:lnTo>
                  <a:pt x="598" y="589"/>
                </a:lnTo>
                <a:lnTo>
                  <a:pt x="596" y="589"/>
                </a:lnTo>
                <a:lnTo>
                  <a:pt x="596" y="587"/>
                </a:lnTo>
                <a:lnTo>
                  <a:pt x="592" y="587"/>
                </a:lnTo>
                <a:lnTo>
                  <a:pt x="592" y="586"/>
                </a:lnTo>
                <a:lnTo>
                  <a:pt x="591" y="586"/>
                </a:lnTo>
                <a:lnTo>
                  <a:pt x="591" y="585"/>
                </a:lnTo>
                <a:lnTo>
                  <a:pt x="590" y="585"/>
                </a:lnTo>
                <a:lnTo>
                  <a:pt x="588" y="584"/>
                </a:lnTo>
                <a:lnTo>
                  <a:pt x="587" y="584"/>
                </a:lnTo>
                <a:lnTo>
                  <a:pt x="587" y="581"/>
                </a:lnTo>
                <a:lnTo>
                  <a:pt x="586" y="581"/>
                </a:lnTo>
                <a:lnTo>
                  <a:pt x="587" y="580"/>
                </a:lnTo>
                <a:lnTo>
                  <a:pt x="587" y="579"/>
                </a:lnTo>
                <a:lnTo>
                  <a:pt x="588" y="579"/>
                </a:lnTo>
                <a:lnTo>
                  <a:pt x="591" y="578"/>
                </a:lnTo>
                <a:lnTo>
                  <a:pt x="591" y="577"/>
                </a:lnTo>
                <a:lnTo>
                  <a:pt x="592" y="577"/>
                </a:lnTo>
                <a:lnTo>
                  <a:pt x="592" y="576"/>
                </a:lnTo>
                <a:lnTo>
                  <a:pt x="587" y="576"/>
                </a:lnTo>
                <a:lnTo>
                  <a:pt x="586" y="574"/>
                </a:lnTo>
                <a:lnTo>
                  <a:pt x="586" y="573"/>
                </a:lnTo>
                <a:lnTo>
                  <a:pt x="584" y="574"/>
                </a:lnTo>
                <a:lnTo>
                  <a:pt x="582" y="574"/>
                </a:lnTo>
                <a:lnTo>
                  <a:pt x="584" y="573"/>
                </a:lnTo>
                <a:lnTo>
                  <a:pt x="581" y="573"/>
                </a:lnTo>
                <a:lnTo>
                  <a:pt x="582" y="572"/>
                </a:lnTo>
                <a:lnTo>
                  <a:pt x="584" y="572"/>
                </a:lnTo>
                <a:lnTo>
                  <a:pt x="584" y="570"/>
                </a:lnTo>
                <a:lnTo>
                  <a:pt x="585" y="570"/>
                </a:lnTo>
                <a:lnTo>
                  <a:pt x="586" y="568"/>
                </a:lnTo>
                <a:lnTo>
                  <a:pt x="586" y="567"/>
                </a:lnTo>
                <a:lnTo>
                  <a:pt x="587" y="567"/>
                </a:lnTo>
                <a:lnTo>
                  <a:pt x="586" y="566"/>
                </a:lnTo>
                <a:lnTo>
                  <a:pt x="587" y="565"/>
                </a:lnTo>
                <a:lnTo>
                  <a:pt x="587" y="564"/>
                </a:lnTo>
                <a:lnTo>
                  <a:pt x="586" y="564"/>
                </a:lnTo>
                <a:lnTo>
                  <a:pt x="586" y="562"/>
                </a:lnTo>
                <a:lnTo>
                  <a:pt x="585" y="562"/>
                </a:lnTo>
                <a:lnTo>
                  <a:pt x="584" y="564"/>
                </a:lnTo>
                <a:lnTo>
                  <a:pt x="580" y="564"/>
                </a:lnTo>
                <a:lnTo>
                  <a:pt x="579" y="565"/>
                </a:lnTo>
                <a:lnTo>
                  <a:pt x="579" y="564"/>
                </a:lnTo>
                <a:lnTo>
                  <a:pt x="580" y="562"/>
                </a:lnTo>
                <a:lnTo>
                  <a:pt x="579" y="562"/>
                </a:lnTo>
                <a:lnTo>
                  <a:pt x="578" y="560"/>
                </a:lnTo>
                <a:lnTo>
                  <a:pt x="581" y="560"/>
                </a:lnTo>
                <a:lnTo>
                  <a:pt x="581" y="558"/>
                </a:lnTo>
                <a:lnTo>
                  <a:pt x="584" y="558"/>
                </a:lnTo>
                <a:lnTo>
                  <a:pt x="584" y="556"/>
                </a:lnTo>
                <a:lnTo>
                  <a:pt x="585" y="556"/>
                </a:lnTo>
                <a:lnTo>
                  <a:pt x="585" y="555"/>
                </a:lnTo>
                <a:lnTo>
                  <a:pt x="584" y="555"/>
                </a:lnTo>
                <a:lnTo>
                  <a:pt x="584" y="553"/>
                </a:lnTo>
                <a:lnTo>
                  <a:pt x="581" y="553"/>
                </a:lnTo>
                <a:lnTo>
                  <a:pt x="581" y="552"/>
                </a:lnTo>
                <a:lnTo>
                  <a:pt x="578" y="552"/>
                </a:lnTo>
                <a:lnTo>
                  <a:pt x="579" y="550"/>
                </a:lnTo>
                <a:lnTo>
                  <a:pt x="578" y="550"/>
                </a:lnTo>
                <a:lnTo>
                  <a:pt x="578" y="546"/>
                </a:lnTo>
                <a:lnTo>
                  <a:pt x="577" y="546"/>
                </a:lnTo>
                <a:lnTo>
                  <a:pt x="577" y="544"/>
                </a:lnTo>
                <a:lnTo>
                  <a:pt x="581" y="544"/>
                </a:lnTo>
                <a:lnTo>
                  <a:pt x="581" y="543"/>
                </a:lnTo>
                <a:lnTo>
                  <a:pt x="582" y="543"/>
                </a:lnTo>
                <a:lnTo>
                  <a:pt x="582" y="542"/>
                </a:lnTo>
                <a:lnTo>
                  <a:pt x="581" y="542"/>
                </a:lnTo>
                <a:lnTo>
                  <a:pt x="580" y="541"/>
                </a:lnTo>
                <a:lnTo>
                  <a:pt x="579" y="541"/>
                </a:lnTo>
                <a:lnTo>
                  <a:pt x="579" y="540"/>
                </a:lnTo>
                <a:lnTo>
                  <a:pt x="580" y="540"/>
                </a:lnTo>
                <a:lnTo>
                  <a:pt x="579" y="538"/>
                </a:lnTo>
                <a:lnTo>
                  <a:pt x="577" y="540"/>
                </a:lnTo>
                <a:lnTo>
                  <a:pt x="577" y="537"/>
                </a:lnTo>
                <a:lnTo>
                  <a:pt x="578" y="537"/>
                </a:lnTo>
                <a:lnTo>
                  <a:pt x="578" y="536"/>
                </a:lnTo>
                <a:lnTo>
                  <a:pt x="579" y="537"/>
                </a:lnTo>
                <a:lnTo>
                  <a:pt x="579" y="535"/>
                </a:lnTo>
                <a:lnTo>
                  <a:pt x="581" y="535"/>
                </a:lnTo>
                <a:lnTo>
                  <a:pt x="581" y="533"/>
                </a:lnTo>
                <a:lnTo>
                  <a:pt x="582" y="531"/>
                </a:lnTo>
                <a:lnTo>
                  <a:pt x="581" y="531"/>
                </a:lnTo>
                <a:lnTo>
                  <a:pt x="581" y="530"/>
                </a:lnTo>
                <a:lnTo>
                  <a:pt x="582" y="529"/>
                </a:lnTo>
                <a:lnTo>
                  <a:pt x="584" y="529"/>
                </a:lnTo>
                <a:lnTo>
                  <a:pt x="584" y="527"/>
                </a:lnTo>
                <a:lnTo>
                  <a:pt x="587" y="527"/>
                </a:lnTo>
                <a:lnTo>
                  <a:pt x="587" y="524"/>
                </a:lnTo>
                <a:lnTo>
                  <a:pt x="588" y="524"/>
                </a:lnTo>
                <a:lnTo>
                  <a:pt x="592" y="523"/>
                </a:lnTo>
                <a:lnTo>
                  <a:pt x="597" y="522"/>
                </a:lnTo>
                <a:lnTo>
                  <a:pt x="598" y="521"/>
                </a:lnTo>
                <a:lnTo>
                  <a:pt x="598" y="519"/>
                </a:lnTo>
                <a:lnTo>
                  <a:pt x="600" y="517"/>
                </a:lnTo>
                <a:lnTo>
                  <a:pt x="605" y="517"/>
                </a:lnTo>
                <a:lnTo>
                  <a:pt x="606" y="518"/>
                </a:lnTo>
                <a:lnTo>
                  <a:pt x="608" y="518"/>
                </a:lnTo>
                <a:lnTo>
                  <a:pt x="608" y="521"/>
                </a:lnTo>
                <a:lnTo>
                  <a:pt x="610" y="518"/>
                </a:lnTo>
                <a:lnTo>
                  <a:pt x="610" y="512"/>
                </a:lnTo>
                <a:lnTo>
                  <a:pt x="609" y="512"/>
                </a:lnTo>
                <a:lnTo>
                  <a:pt x="609" y="511"/>
                </a:lnTo>
                <a:lnTo>
                  <a:pt x="610" y="510"/>
                </a:lnTo>
                <a:lnTo>
                  <a:pt x="610" y="506"/>
                </a:lnTo>
                <a:lnTo>
                  <a:pt x="611" y="506"/>
                </a:lnTo>
                <a:lnTo>
                  <a:pt x="611" y="505"/>
                </a:lnTo>
                <a:lnTo>
                  <a:pt x="610" y="504"/>
                </a:lnTo>
                <a:lnTo>
                  <a:pt x="610" y="501"/>
                </a:lnTo>
                <a:lnTo>
                  <a:pt x="612" y="501"/>
                </a:lnTo>
                <a:lnTo>
                  <a:pt x="613" y="500"/>
                </a:lnTo>
                <a:close/>
                <a:moveTo>
                  <a:pt x="478" y="500"/>
                </a:moveTo>
                <a:lnTo>
                  <a:pt x="480" y="500"/>
                </a:lnTo>
                <a:lnTo>
                  <a:pt x="480" y="501"/>
                </a:lnTo>
                <a:lnTo>
                  <a:pt x="479" y="501"/>
                </a:lnTo>
                <a:lnTo>
                  <a:pt x="479" y="503"/>
                </a:lnTo>
                <a:lnTo>
                  <a:pt x="478" y="503"/>
                </a:lnTo>
                <a:lnTo>
                  <a:pt x="476" y="501"/>
                </a:lnTo>
                <a:lnTo>
                  <a:pt x="478" y="501"/>
                </a:lnTo>
                <a:lnTo>
                  <a:pt x="478" y="500"/>
                </a:lnTo>
                <a:close/>
                <a:moveTo>
                  <a:pt x="473" y="499"/>
                </a:moveTo>
                <a:lnTo>
                  <a:pt x="475" y="499"/>
                </a:lnTo>
                <a:lnTo>
                  <a:pt x="473" y="500"/>
                </a:lnTo>
                <a:lnTo>
                  <a:pt x="473" y="499"/>
                </a:lnTo>
                <a:close/>
                <a:moveTo>
                  <a:pt x="414" y="468"/>
                </a:moveTo>
                <a:lnTo>
                  <a:pt x="416" y="470"/>
                </a:lnTo>
                <a:lnTo>
                  <a:pt x="416" y="469"/>
                </a:lnTo>
                <a:lnTo>
                  <a:pt x="414" y="468"/>
                </a:lnTo>
                <a:close/>
                <a:moveTo>
                  <a:pt x="163" y="405"/>
                </a:moveTo>
                <a:lnTo>
                  <a:pt x="163" y="407"/>
                </a:lnTo>
                <a:lnTo>
                  <a:pt x="163" y="405"/>
                </a:lnTo>
                <a:close/>
                <a:moveTo>
                  <a:pt x="157" y="321"/>
                </a:moveTo>
                <a:lnTo>
                  <a:pt x="158" y="321"/>
                </a:lnTo>
                <a:lnTo>
                  <a:pt x="162" y="325"/>
                </a:lnTo>
                <a:lnTo>
                  <a:pt x="164" y="325"/>
                </a:lnTo>
                <a:lnTo>
                  <a:pt x="164" y="328"/>
                </a:lnTo>
                <a:lnTo>
                  <a:pt x="167" y="329"/>
                </a:lnTo>
                <a:lnTo>
                  <a:pt x="167" y="333"/>
                </a:lnTo>
                <a:lnTo>
                  <a:pt x="165" y="334"/>
                </a:lnTo>
                <a:lnTo>
                  <a:pt x="165" y="335"/>
                </a:lnTo>
                <a:lnTo>
                  <a:pt x="164" y="335"/>
                </a:lnTo>
                <a:lnTo>
                  <a:pt x="164" y="333"/>
                </a:lnTo>
                <a:lnTo>
                  <a:pt x="163" y="332"/>
                </a:lnTo>
                <a:lnTo>
                  <a:pt x="161" y="328"/>
                </a:lnTo>
                <a:lnTo>
                  <a:pt x="159" y="328"/>
                </a:lnTo>
                <a:lnTo>
                  <a:pt x="158" y="327"/>
                </a:lnTo>
                <a:lnTo>
                  <a:pt x="158" y="323"/>
                </a:lnTo>
                <a:lnTo>
                  <a:pt x="157" y="321"/>
                </a:lnTo>
                <a:close/>
                <a:moveTo>
                  <a:pt x="152" y="308"/>
                </a:moveTo>
                <a:lnTo>
                  <a:pt x="153" y="308"/>
                </a:lnTo>
                <a:lnTo>
                  <a:pt x="153" y="309"/>
                </a:lnTo>
                <a:lnTo>
                  <a:pt x="155" y="309"/>
                </a:lnTo>
                <a:lnTo>
                  <a:pt x="153" y="310"/>
                </a:lnTo>
                <a:lnTo>
                  <a:pt x="156" y="310"/>
                </a:lnTo>
                <a:lnTo>
                  <a:pt x="157" y="312"/>
                </a:lnTo>
                <a:lnTo>
                  <a:pt x="161" y="312"/>
                </a:lnTo>
                <a:lnTo>
                  <a:pt x="162" y="313"/>
                </a:lnTo>
                <a:lnTo>
                  <a:pt x="163" y="313"/>
                </a:lnTo>
                <a:lnTo>
                  <a:pt x="163" y="314"/>
                </a:lnTo>
                <a:lnTo>
                  <a:pt x="162" y="315"/>
                </a:lnTo>
                <a:lnTo>
                  <a:pt x="162" y="314"/>
                </a:lnTo>
                <a:lnTo>
                  <a:pt x="159" y="314"/>
                </a:lnTo>
                <a:lnTo>
                  <a:pt x="156" y="312"/>
                </a:lnTo>
                <a:lnTo>
                  <a:pt x="152" y="312"/>
                </a:lnTo>
                <a:lnTo>
                  <a:pt x="151" y="309"/>
                </a:lnTo>
                <a:lnTo>
                  <a:pt x="150" y="309"/>
                </a:lnTo>
                <a:lnTo>
                  <a:pt x="152" y="308"/>
                </a:lnTo>
                <a:close/>
                <a:moveTo>
                  <a:pt x="115" y="279"/>
                </a:moveTo>
                <a:lnTo>
                  <a:pt x="118" y="279"/>
                </a:lnTo>
                <a:lnTo>
                  <a:pt x="119" y="280"/>
                </a:lnTo>
                <a:lnTo>
                  <a:pt x="120" y="280"/>
                </a:lnTo>
                <a:lnTo>
                  <a:pt x="120" y="282"/>
                </a:lnTo>
                <a:lnTo>
                  <a:pt x="116" y="282"/>
                </a:lnTo>
                <a:lnTo>
                  <a:pt x="115" y="280"/>
                </a:lnTo>
                <a:lnTo>
                  <a:pt x="115" y="279"/>
                </a:lnTo>
                <a:close/>
                <a:moveTo>
                  <a:pt x="124" y="265"/>
                </a:moveTo>
                <a:lnTo>
                  <a:pt x="125" y="265"/>
                </a:lnTo>
                <a:lnTo>
                  <a:pt x="126" y="266"/>
                </a:lnTo>
                <a:lnTo>
                  <a:pt x="126" y="269"/>
                </a:lnTo>
                <a:lnTo>
                  <a:pt x="125" y="269"/>
                </a:lnTo>
                <a:lnTo>
                  <a:pt x="125" y="267"/>
                </a:lnTo>
                <a:lnTo>
                  <a:pt x="124" y="265"/>
                </a:lnTo>
                <a:close/>
                <a:moveTo>
                  <a:pt x="120" y="261"/>
                </a:moveTo>
                <a:lnTo>
                  <a:pt x="124" y="261"/>
                </a:lnTo>
                <a:lnTo>
                  <a:pt x="124" y="265"/>
                </a:lnTo>
                <a:lnTo>
                  <a:pt x="121" y="265"/>
                </a:lnTo>
                <a:lnTo>
                  <a:pt x="120" y="264"/>
                </a:lnTo>
                <a:lnTo>
                  <a:pt x="120" y="261"/>
                </a:lnTo>
                <a:close/>
                <a:moveTo>
                  <a:pt x="78" y="239"/>
                </a:moveTo>
                <a:lnTo>
                  <a:pt x="80" y="239"/>
                </a:lnTo>
                <a:lnTo>
                  <a:pt x="82" y="240"/>
                </a:lnTo>
                <a:lnTo>
                  <a:pt x="84" y="242"/>
                </a:lnTo>
                <a:lnTo>
                  <a:pt x="87" y="242"/>
                </a:lnTo>
                <a:lnTo>
                  <a:pt x="87" y="245"/>
                </a:lnTo>
                <a:lnTo>
                  <a:pt x="82" y="245"/>
                </a:lnTo>
                <a:lnTo>
                  <a:pt x="80" y="243"/>
                </a:lnTo>
                <a:lnTo>
                  <a:pt x="80" y="241"/>
                </a:lnTo>
                <a:lnTo>
                  <a:pt x="78" y="240"/>
                </a:lnTo>
                <a:lnTo>
                  <a:pt x="78" y="239"/>
                </a:lnTo>
                <a:close/>
                <a:moveTo>
                  <a:pt x="84" y="229"/>
                </a:moveTo>
                <a:lnTo>
                  <a:pt x="84" y="234"/>
                </a:lnTo>
                <a:lnTo>
                  <a:pt x="83" y="232"/>
                </a:lnTo>
                <a:lnTo>
                  <a:pt x="83" y="230"/>
                </a:lnTo>
                <a:lnTo>
                  <a:pt x="84" y="229"/>
                </a:lnTo>
                <a:close/>
                <a:moveTo>
                  <a:pt x="99" y="224"/>
                </a:moveTo>
                <a:lnTo>
                  <a:pt x="101" y="224"/>
                </a:lnTo>
                <a:lnTo>
                  <a:pt x="102" y="226"/>
                </a:lnTo>
                <a:lnTo>
                  <a:pt x="101" y="226"/>
                </a:lnTo>
                <a:lnTo>
                  <a:pt x="99" y="224"/>
                </a:lnTo>
                <a:close/>
                <a:moveTo>
                  <a:pt x="41" y="206"/>
                </a:moveTo>
                <a:lnTo>
                  <a:pt x="41" y="208"/>
                </a:lnTo>
                <a:lnTo>
                  <a:pt x="43" y="208"/>
                </a:lnTo>
                <a:lnTo>
                  <a:pt x="41" y="206"/>
                </a:lnTo>
                <a:close/>
                <a:moveTo>
                  <a:pt x="38" y="180"/>
                </a:moveTo>
                <a:lnTo>
                  <a:pt x="35" y="183"/>
                </a:lnTo>
                <a:lnTo>
                  <a:pt x="39" y="181"/>
                </a:lnTo>
                <a:lnTo>
                  <a:pt x="38" y="181"/>
                </a:lnTo>
                <a:lnTo>
                  <a:pt x="38" y="180"/>
                </a:lnTo>
                <a:close/>
                <a:moveTo>
                  <a:pt x="2" y="169"/>
                </a:moveTo>
                <a:lnTo>
                  <a:pt x="3" y="171"/>
                </a:lnTo>
                <a:lnTo>
                  <a:pt x="3" y="172"/>
                </a:lnTo>
                <a:lnTo>
                  <a:pt x="0" y="172"/>
                </a:lnTo>
                <a:lnTo>
                  <a:pt x="2" y="169"/>
                </a:lnTo>
                <a:close/>
                <a:moveTo>
                  <a:pt x="85" y="149"/>
                </a:moveTo>
                <a:lnTo>
                  <a:pt x="84" y="150"/>
                </a:lnTo>
                <a:lnTo>
                  <a:pt x="84" y="153"/>
                </a:lnTo>
                <a:lnTo>
                  <a:pt x="84" y="150"/>
                </a:lnTo>
                <a:lnTo>
                  <a:pt x="85" y="150"/>
                </a:lnTo>
                <a:lnTo>
                  <a:pt x="85" y="149"/>
                </a:lnTo>
                <a:close/>
                <a:moveTo>
                  <a:pt x="88" y="148"/>
                </a:moveTo>
                <a:lnTo>
                  <a:pt x="89" y="148"/>
                </a:lnTo>
                <a:lnTo>
                  <a:pt x="89" y="149"/>
                </a:lnTo>
                <a:lnTo>
                  <a:pt x="88" y="149"/>
                </a:lnTo>
                <a:lnTo>
                  <a:pt x="88" y="148"/>
                </a:lnTo>
                <a:close/>
                <a:moveTo>
                  <a:pt x="323" y="0"/>
                </a:moveTo>
                <a:lnTo>
                  <a:pt x="323" y="1"/>
                </a:lnTo>
                <a:lnTo>
                  <a:pt x="324" y="5"/>
                </a:lnTo>
                <a:lnTo>
                  <a:pt x="324" y="6"/>
                </a:lnTo>
                <a:lnTo>
                  <a:pt x="326" y="8"/>
                </a:lnTo>
                <a:lnTo>
                  <a:pt x="326" y="11"/>
                </a:lnTo>
                <a:lnTo>
                  <a:pt x="325" y="12"/>
                </a:lnTo>
                <a:lnTo>
                  <a:pt x="325" y="17"/>
                </a:lnTo>
                <a:lnTo>
                  <a:pt x="326" y="17"/>
                </a:lnTo>
                <a:lnTo>
                  <a:pt x="326" y="18"/>
                </a:lnTo>
                <a:lnTo>
                  <a:pt x="327" y="19"/>
                </a:lnTo>
                <a:lnTo>
                  <a:pt x="329" y="18"/>
                </a:lnTo>
                <a:lnTo>
                  <a:pt x="329" y="19"/>
                </a:lnTo>
                <a:lnTo>
                  <a:pt x="330" y="19"/>
                </a:lnTo>
                <a:lnTo>
                  <a:pt x="330" y="20"/>
                </a:lnTo>
                <a:lnTo>
                  <a:pt x="332" y="21"/>
                </a:lnTo>
                <a:lnTo>
                  <a:pt x="332" y="24"/>
                </a:lnTo>
                <a:lnTo>
                  <a:pt x="333" y="25"/>
                </a:lnTo>
                <a:lnTo>
                  <a:pt x="337" y="26"/>
                </a:lnTo>
                <a:lnTo>
                  <a:pt x="338" y="26"/>
                </a:lnTo>
                <a:lnTo>
                  <a:pt x="339" y="24"/>
                </a:lnTo>
                <a:lnTo>
                  <a:pt x="341" y="23"/>
                </a:lnTo>
                <a:lnTo>
                  <a:pt x="342" y="23"/>
                </a:lnTo>
                <a:lnTo>
                  <a:pt x="346" y="20"/>
                </a:lnTo>
                <a:lnTo>
                  <a:pt x="348" y="20"/>
                </a:lnTo>
                <a:lnTo>
                  <a:pt x="349" y="21"/>
                </a:lnTo>
                <a:lnTo>
                  <a:pt x="349" y="23"/>
                </a:lnTo>
                <a:lnTo>
                  <a:pt x="350" y="24"/>
                </a:lnTo>
                <a:lnTo>
                  <a:pt x="350" y="25"/>
                </a:lnTo>
                <a:lnTo>
                  <a:pt x="351" y="25"/>
                </a:lnTo>
                <a:lnTo>
                  <a:pt x="352" y="26"/>
                </a:lnTo>
                <a:lnTo>
                  <a:pt x="352" y="31"/>
                </a:lnTo>
                <a:lnTo>
                  <a:pt x="354" y="34"/>
                </a:lnTo>
                <a:lnTo>
                  <a:pt x="354" y="37"/>
                </a:lnTo>
                <a:lnTo>
                  <a:pt x="355" y="38"/>
                </a:lnTo>
                <a:lnTo>
                  <a:pt x="355" y="39"/>
                </a:lnTo>
                <a:lnTo>
                  <a:pt x="357" y="39"/>
                </a:lnTo>
                <a:lnTo>
                  <a:pt x="357" y="40"/>
                </a:lnTo>
                <a:lnTo>
                  <a:pt x="358" y="39"/>
                </a:lnTo>
                <a:lnTo>
                  <a:pt x="361" y="39"/>
                </a:lnTo>
                <a:lnTo>
                  <a:pt x="361" y="38"/>
                </a:lnTo>
                <a:lnTo>
                  <a:pt x="363" y="38"/>
                </a:lnTo>
                <a:lnTo>
                  <a:pt x="363" y="40"/>
                </a:lnTo>
                <a:lnTo>
                  <a:pt x="368" y="40"/>
                </a:lnTo>
                <a:lnTo>
                  <a:pt x="369" y="42"/>
                </a:lnTo>
                <a:lnTo>
                  <a:pt x="369" y="43"/>
                </a:lnTo>
                <a:lnTo>
                  <a:pt x="370" y="45"/>
                </a:lnTo>
                <a:lnTo>
                  <a:pt x="370" y="51"/>
                </a:lnTo>
                <a:lnTo>
                  <a:pt x="372" y="52"/>
                </a:lnTo>
                <a:lnTo>
                  <a:pt x="373" y="52"/>
                </a:lnTo>
                <a:lnTo>
                  <a:pt x="373" y="51"/>
                </a:lnTo>
                <a:lnTo>
                  <a:pt x="374" y="50"/>
                </a:lnTo>
                <a:lnTo>
                  <a:pt x="374" y="49"/>
                </a:lnTo>
                <a:lnTo>
                  <a:pt x="376" y="49"/>
                </a:lnTo>
                <a:lnTo>
                  <a:pt x="377" y="50"/>
                </a:lnTo>
                <a:lnTo>
                  <a:pt x="380" y="50"/>
                </a:lnTo>
                <a:lnTo>
                  <a:pt x="380" y="51"/>
                </a:lnTo>
                <a:lnTo>
                  <a:pt x="381" y="51"/>
                </a:lnTo>
                <a:lnTo>
                  <a:pt x="383" y="50"/>
                </a:lnTo>
                <a:lnTo>
                  <a:pt x="386" y="50"/>
                </a:lnTo>
                <a:lnTo>
                  <a:pt x="388" y="52"/>
                </a:lnTo>
                <a:lnTo>
                  <a:pt x="389" y="52"/>
                </a:lnTo>
                <a:lnTo>
                  <a:pt x="389" y="55"/>
                </a:lnTo>
                <a:lnTo>
                  <a:pt x="391" y="56"/>
                </a:lnTo>
                <a:lnTo>
                  <a:pt x="391" y="55"/>
                </a:lnTo>
                <a:lnTo>
                  <a:pt x="393" y="55"/>
                </a:lnTo>
                <a:lnTo>
                  <a:pt x="393" y="57"/>
                </a:lnTo>
                <a:lnTo>
                  <a:pt x="392" y="57"/>
                </a:lnTo>
                <a:lnTo>
                  <a:pt x="392" y="58"/>
                </a:lnTo>
                <a:lnTo>
                  <a:pt x="391" y="58"/>
                </a:lnTo>
                <a:lnTo>
                  <a:pt x="391" y="64"/>
                </a:lnTo>
                <a:lnTo>
                  <a:pt x="392" y="63"/>
                </a:lnTo>
                <a:lnTo>
                  <a:pt x="392" y="64"/>
                </a:lnTo>
                <a:lnTo>
                  <a:pt x="393" y="67"/>
                </a:lnTo>
                <a:lnTo>
                  <a:pt x="394" y="68"/>
                </a:lnTo>
                <a:lnTo>
                  <a:pt x="393" y="68"/>
                </a:lnTo>
                <a:lnTo>
                  <a:pt x="393" y="69"/>
                </a:lnTo>
                <a:lnTo>
                  <a:pt x="392" y="69"/>
                </a:lnTo>
                <a:lnTo>
                  <a:pt x="391" y="70"/>
                </a:lnTo>
                <a:lnTo>
                  <a:pt x="391" y="74"/>
                </a:lnTo>
                <a:lnTo>
                  <a:pt x="393" y="75"/>
                </a:lnTo>
                <a:lnTo>
                  <a:pt x="397" y="75"/>
                </a:lnTo>
                <a:lnTo>
                  <a:pt x="403" y="76"/>
                </a:lnTo>
                <a:lnTo>
                  <a:pt x="405" y="76"/>
                </a:lnTo>
                <a:lnTo>
                  <a:pt x="412" y="73"/>
                </a:lnTo>
                <a:lnTo>
                  <a:pt x="413" y="73"/>
                </a:lnTo>
                <a:lnTo>
                  <a:pt x="413" y="67"/>
                </a:lnTo>
                <a:lnTo>
                  <a:pt x="418" y="62"/>
                </a:lnTo>
                <a:lnTo>
                  <a:pt x="419" y="62"/>
                </a:lnTo>
                <a:lnTo>
                  <a:pt x="419" y="63"/>
                </a:lnTo>
                <a:lnTo>
                  <a:pt x="422" y="62"/>
                </a:lnTo>
                <a:lnTo>
                  <a:pt x="422" y="67"/>
                </a:lnTo>
                <a:lnTo>
                  <a:pt x="420" y="67"/>
                </a:lnTo>
                <a:lnTo>
                  <a:pt x="419" y="68"/>
                </a:lnTo>
                <a:lnTo>
                  <a:pt x="419" y="70"/>
                </a:lnTo>
                <a:lnTo>
                  <a:pt x="418" y="74"/>
                </a:lnTo>
                <a:lnTo>
                  <a:pt x="418" y="76"/>
                </a:lnTo>
                <a:lnTo>
                  <a:pt x="420" y="76"/>
                </a:lnTo>
                <a:lnTo>
                  <a:pt x="422" y="77"/>
                </a:lnTo>
                <a:lnTo>
                  <a:pt x="422" y="79"/>
                </a:lnTo>
                <a:lnTo>
                  <a:pt x="420" y="80"/>
                </a:lnTo>
                <a:lnTo>
                  <a:pt x="420" y="86"/>
                </a:lnTo>
                <a:lnTo>
                  <a:pt x="426" y="86"/>
                </a:lnTo>
                <a:lnTo>
                  <a:pt x="429" y="88"/>
                </a:lnTo>
                <a:lnTo>
                  <a:pt x="430" y="88"/>
                </a:lnTo>
                <a:lnTo>
                  <a:pt x="431" y="89"/>
                </a:lnTo>
                <a:lnTo>
                  <a:pt x="432" y="92"/>
                </a:lnTo>
                <a:lnTo>
                  <a:pt x="433" y="92"/>
                </a:lnTo>
                <a:lnTo>
                  <a:pt x="433" y="93"/>
                </a:lnTo>
                <a:lnTo>
                  <a:pt x="435" y="93"/>
                </a:lnTo>
                <a:lnTo>
                  <a:pt x="437" y="92"/>
                </a:lnTo>
                <a:lnTo>
                  <a:pt x="438" y="92"/>
                </a:lnTo>
                <a:lnTo>
                  <a:pt x="438" y="93"/>
                </a:lnTo>
                <a:lnTo>
                  <a:pt x="439" y="94"/>
                </a:lnTo>
                <a:lnTo>
                  <a:pt x="439" y="98"/>
                </a:lnTo>
                <a:lnTo>
                  <a:pt x="441" y="98"/>
                </a:lnTo>
                <a:lnTo>
                  <a:pt x="441" y="97"/>
                </a:lnTo>
                <a:lnTo>
                  <a:pt x="442" y="97"/>
                </a:lnTo>
                <a:lnTo>
                  <a:pt x="443" y="98"/>
                </a:lnTo>
                <a:lnTo>
                  <a:pt x="444" y="98"/>
                </a:lnTo>
                <a:lnTo>
                  <a:pt x="445" y="101"/>
                </a:lnTo>
                <a:lnTo>
                  <a:pt x="447" y="103"/>
                </a:lnTo>
                <a:lnTo>
                  <a:pt x="445" y="104"/>
                </a:lnTo>
                <a:lnTo>
                  <a:pt x="447" y="105"/>
                </a:lnTo>
                <a:lnTo>
                  <a:pt x="448" y="105"/>
                </a:lnTo>
                <a:lnTo>
                  <a:pt x="449" y="104"/>
                </a:lnTo>
                <a:lnTo>
                  <a:pt x="453" y="104"/>
                </a:lnTo>
                <a:lnTo>
                  <a:pt x="453" y="103"/>
                </a:lnTo>
                <a:lnTo>
                  <a:pt x="454" y="101"/>
                </a:lnTo>
                <a:lnTo>
                  <a:pt x="455" y="103"/>
                </a:lnTo>
                <a:lnTo>
                  <a:pt x="457" y="103"/>
                </a:lnTo>
                <a:lnTo>
                  <a:pt x="457" y="101"/>
                </a:lnTo>
                <a:lnTo>
                  <a:pt x="459" y="101"/>
                </a:lnTo>
                <a:lnTo>
                  <a:pt x="460" y="103"/>
                </a:lnTo>
                <a:lnTo>
                  <a:pt x="462" y="104"/>
                </a:lnTo>
                <a:lnTo>
                  <a:pt x="462" y="105"/>
                </a:lnTo>
                <a:lnTo>
                  <a:pt x="463" y="105"/>
                </a:lnTo>
                <a:lnTo>
                  <a:pt x="466" y="106"/>
                </a:lnTo>
                <a:lnTo>
                  <a:pt x="467" y="107"/>
                </a:lnTo>
                <a:lnTo>
                  <a:pt x="467" y="109"/>
                </a:lnTo>
                <a:lnTo>
                  <a:pt x="472" y="109"/>
                </a:lnTo>
                <a:lnTo>
                  <a:pt x="473" y="107"/>
                </a:lnTo>
                <a:lnTo>
                  <a:pt x="473" y="106"/>
                </a:lnTo>
                <a:lnTo>
                  <a:pt x="475" y="106"/>
                </a:lnTo>
                <a:lnTo>
                  <a:pt x="475" y="105"/>
                </a:lnTo>
                <a:lnTo>
                  <a:pt x="480" y="105"/>
                </a:lnTo>
                <a:lnTo>
                  <a:pt x="481" y="107"/>
                </a:lnTo>
                <a:lnTo>
                  <a:pt x="486" y="107"/>
                </a:lnTo>
                <a:lnTo>
                  <a:pt x="490" y="109"/>
                </a:lnTo>
                <a:lnTo>
                  <a:pt x="491" y="110"/>
                </a:lnTo>
                <a:lnTo>
                  <a:pt x="491" y="112"/>
                </a:lnTo>
                <a:lnTo>
                  <a:pt x="493" y="113"/>
                </a:lnTo>
                <a:lnTo>
                  <a:pt x="493" y="114"/>
                </a:lnTo>
                <a:lnTo>
                  <a:pt x="492" y="116"/>
                </a:lnTo>
                <a:lnTo>
                  <a:pt x="493" y="116"/>
                </a:lnTo>
                <a:lnTo>
                  <a:pt x="493" y="117"/>
                </a:lnTo>
                <a:lnTo>
                  <a:pt x="497" y="119"/>
                </a:lnTo>
                <a:lnTo>
                  <a:pt x="497" y="122"/>
                </a:lnTo>
                <a:lnTo>
                  <a:pt x="498" y="123"/>
                </a:lnTo>
                <a:lnTo>
                  <a:pt x="498" y="124"/>
                </a:lnTo>
                <a:lnTo>
                  <a:pt x="499" y="123"/>
                </a:lnTo>
                <a:lnTo>
                  <a:pt x="499" y="126"/>
                </a:lnTo>
                <a:lnTo>
                  <a:pt x="500" y="128"/>
                </a:lnTo>
                <a:lnTo>
                  <a:pt x="504" y="128"/>
                </a:lnTo>
                <a:lnTo>
                  <a:pt x="505" y="126"/>
                </a:lnTo>
                <a:lnTo>
                  <a:pt x="504" y="125"/>
                </a:lnTo>
                <a:lnTo>
                  <a:pt x="504" y="124"/>
                </a:lnTo>
                <a:lnTo>
                  <a:pt x="509" y="124"/>
                </a:lnTo>
                <a:lnTo>
                  <a:pt x="511" y="125"/>
                </a:lnTo>
                <a:lnTo>
                  <a:pt x="512" y="125"/>
                </a:lnTo>
                <a:lnTo>
                  <a:pt x="512" y="130"/>
                </a:lnTo>
                <a:lnTo>
                  <a:pt x="513" y="130"/>
                </a:lnTo>
                <a:lnTo>
                  <a:pt x="515" y="129"/>
                </a:lnTo>
                <a:lnTo>
                  <a:pt x="515" y="128"/>
                </a:lnTo>
                <a:lnTo>
                  <a:pt x="517" y="129"/>
                </a:lnTo>
                <a:lnTo>
                  <a:pt x="517" y="130"/>
                </a:lnTo>
                <a:lnTo>
                  <a:pt x="523" y="130"/>
                </a:lnTo>
                <a:lnTo>
                  <a:pt x="524" y="129"/>
                </a:lnTo>
                <a:lnTo>
                  <a:pt x="525" y="129"/>
                </a:lnTo>
                <a:lnTo>
                  <a:pt x="525" y="128"/>
                </a:lnTo>
                <a:lnTo>
                  <a:pt x="526" y="128"/>
                </a:lnTo>
                <a:lnTo>
                  <a:pt x="526" y="126"/>
                </a:lnTo>
                <a:lnTo>
                  <a:pt x="529" y="126"/>
                </a:lnTo>
                <a:lnTo>
                  <a:pt x="530" y="128"/>
                </a:lnTo>
                <a:lnTo>
                  <a:pt x="531" y="128"/>
                </a:lnTo>
                <a:lnTo>
                  <a:pt x="531" y="130"/>
                </a:lnTo>
                <a:lnTo>
                  <a:pt x="532" y="131"/>
                </a:lnTo>
                <a:lnTo>
                  <a:pt x="534" y="131"/>
                </a:lnTo>
                <a:lnTo>
                  <a:pt x="534" y="132"/>
                </a:lnTo>
                <a:lnTo>
                  <a:pt x="536" y="132"/>
                </a:lnTo>
                <a:lnTo>
                  <a:pt x="537" y="134"/>
                </a:lnTo>
                <a:lnTo>
                  <a:pt x="537" y="135"/>
                </a:lnTo>
                <a:lnTo>
                  <a:pt x="542" y="135"/>
                </a:lnTo>
                <a:lnTo>
                  <a:pt x="543" y="134"/>
                </a:lnTo>
                <a:lnTo>
                  <a:pt x="544" y="134"/>
                </a:lnTo>
                <a:lnTo>
                  <a:pt x="548" y="135"/>
                </a:lnTo>
                <a:lnTo>
                  <a:pt x="550" y="135"/>
                </a:lnTo>
                <a:lnTo>
                  <a:pt x="557" y="138"/>
                </a:lnTo>
                <a:lnTo>
                  <a:pt x="561" y="140"/>
                </a:lnTo>
                <a:lnTo>
                  <a:pt x="562" y="140"/>
                </a:lnTo>
                <a:lnTo>
                  <a:pt x="561" y="141"/>
                </a:lnTo>
                <a:lnTo>
                  <a:pt x="560" y="143"/>
                </a:lnTo>
                <a:lnTo>
                  <a:pt x="557" y="149"/>
                </a:lnTo>
                <a:lnTo>
                  <a:pt x="555" y="150"/>
                </a:lnTo>
                <a:lnTo>
                  <a:pt x="555" y="152"/>
                </a:lnTo>
                <a:lnTo>
                  <a:pt x="554" y="153"/>
                </a:lnTo>
                <a:lnTo>
                  <a:pt x="551" y="153"/>
                </a:lnTo>
                <a:lnTo>
                  <a:pt x="551" y="155"/>
                </a:lnTo>
                <a:lnTo>
                  <a:pt x="548" y="159"/>
                </a:lnTo>
                <a:lnTo>
                  <a:pt x="547" y="159"/>
                </a:lnTo>
                <a:lnTo>
                  <a:pt x="546" y="162"/>
                </a:lnTo>
                <a:lnTo>
                  <a:pt x="546" y="168"/>
                </a:lnTo>
                <a:lnTo>
                  <a:pt x="544" y="168"/>
                </a:lnTo>
                <a:lnTo>
                  <a:pt x="544" y="169"/>
                </a:lnTo>
                <a:lnTo>
                  <a:pt x="543" y="171"/>
                </a:lnTo>
                <a:lnTo>
                  <a:pt x="543" y="173"/>
                </a:lnTo>
                <a:lnTo>
                  <a:pt x="542" y="175"/>
                </a:lnTo>
                <a:lnTo>
                  <a:pt x="542" y="177"/>
                </a:lnTo>
                <a:lnTo>
                  <a:pt x="543" y="178"/>
                </a:lnTo>
                <a:lnTo>
                  <a:pt x="543" y="179"/>
                </a:lnTo>
                <a:lnTo>
                  <a:pt x="541" y="181"/>
                </a:lnTo>
                <a:lnTo>
                  <a:pt x="541" y="185"/>
                </a:lnTo>
                <a:lnTo>
                  <a:pt x="540" y="186"/>
                </a:lnTo>
                <a:lnTo>
                  <a:pt x="537" y="190"/>
                </a:lnTo>
                <a:lnTo>
                  <a:pt x="537" y="191"/>
                </a:lnTo>
                <a:lnTo>
                  <a:pt x="536" y="192"/>
                </a:lnTo>
                <a:lnTo>
                  <a:pt x="536" y="197"/>
                </a:lnTo>
                <a:lnTo>
                  <a:pt x="537" y="200"/>
                </a:lnTo>
                <a:lnTo>
                  <a:pt x="537" y="203"/>
                </a:lnTo>
                <a:lnTo>
                  <a:pt x="536" y="204"/>
                </a:lnTo>
                <a:lnTo>
                  <a:pt x="536" y="208"/>
                </a:lnTo>
                <a:lnTo>
                  <a:pt x="535" y="208"/>
                </a:lnTo>
                <a:lnTo>
                  <a:pt x="535" y="211"/>
                </a:lnTo>
                <a:lnTo>
                  <a:pt x="534" y="211"/>
                </a:lnTo>
                <a:lnTo>
                  <a:pt x="534" y="218"/>
                </a:lnTo>
                <a:lnTo>
                  <a:pt x="532" y="218"/>
                </a:lnTo>
                <a:lnTo>
                  <a:pt x="532" y="221"/>
                </a:lnTo>
                <a:lnTo>
                  <a:pt x="534" y="221"/>
                </a:lnTo>
                <a:lnTo>
                  <a:pt x="534" y="222"/>
                </a:lnTo>
                <a:lnTo>
                  <a:pt x="535" y="222"/>
                </a:lnTo>
                <a:lnTo>
                  <a:pt x="536" y="224"/>
                </a:lnTo>
                <a:lnTo>
                  <a:pt x="536" y="227"/>
                </a:lnTo>
                <a:lnTo>
                  <a:pt x="535" y="227"/>
                </a:lnTo>
                <a:lnTo>
                  <a:pt x="534" y="228"/>
                </a:lnTo>
                <a:lnTo>
                  <a:pt x="531" y="229"/>
                </a:lnTo>
                <a:lnTo>
                  <a:pt x="532" y="230"/>
                </a:lnTo>
                <a:lnTo>
                  <a:pt x="532" y="232"/>
                </a:lnTo>
                <a:lnTo>
                  <a:pt x="531" y="232"/>
                </a:lnTo>
                <a:lnTo>
                  <a:pt x="531" y="233"/>
                </a:lnTo>
                <a:lnTo>
                  <a:pt x="529" y="233"/>
                </a:lnTo>
                <a:lnTo>
                  <a:pt x="529" y="236"/>
                </a:lnTo>
                <a:lnTo>
                  <a:pt x="523" y="236"/>
                </a:lnTo>
                <a:lnTo>
                  <a:pt x="522" y="238"/>
                </a:lnTo>
                <a:lnTo>
                  <a:pt x="520" y="238"/>
                </a:lnTo>
                <a:lnTo>
                  <a:pt x="520" y="236"/>
                </a:lnTo>
                <a:lnTo>
                  <a:pt x="519" y="236"/>
                </a:lnTo>
                <a:lnTo>
                  <a:pt x="518" y="235"/>
                </a:lnTo>
                <a:lnTo>
                  <a:pt x="519" y="233"/>
                </a:lnTo>
                <a:lnTo>
                  <a:pt x="512" y="233"/>
                </a:lnTo>
                <a:lnTo>
                  <a:pt x="512" y="232"/>
                </a:lnTo>
                <a:lnTo>
                  <a:pt x="511" y="233"/>
                </a:lnTo>
                <a:lnTo>
                  <a:pt x="510" y="233"/>
                </a:lnTo>
                <a:lnTo>
                  <a:pt x="510" y="234"/>
                </a:lnTo>
                <a:lnTo>
                  <a:pt x="511" y="234"/>
                </a:lnTo>
                <a:lnTo>
                  <a:pt x="511" y="235"/>
                </a:lnTo>
                <a:lnTo>
                  <a:pt x="510" y="236"/>
                </a:lnTo>
                <a:lnTo>
                  <a:pt x="509" y="236"/>
                </a:lnTo>
                <a:lnTo>
                  <a:pt x="509" y="238"/>
                </a:lnTo>
                <a:lnTo>
                  <a:pt x="506" y="240"/>
                </a:lnTo>
                <a:lnTo>
                  <a:pt x="506" y="241"/>
                </a:lnTo>
                <a:lnTo>
                  <a:pt x="511" y="241"/>
                </a:lnTo>
                <a:lnTo>
                  <a:pt x="511" y="240"/>
                </a:lnTo>
                <a:lnTo>
                  <a:pt x="513" y="242"/>
                </a:lnTo>
                <a:lnTo>
                  <a:pt x="512" y="243"/>
                </a:lnTo>
                <a:lnTo>
                  <a:pt x="511" y="243"/>
                </a:lnTo>
                <a:lnTo>
                  <a:pt x="511" y="245"/>
                </a:lnTo>
                <a:lnTo>
                  <a:pt x="510" y="245"/>
                </a:lnTo>
                <a:lnTo>
                  <a:pt x="510" y="248"/>
                </a:lnTo>
                <a:lnTo>
                  <a:pt x="506" y="249"/>
                </a:lnTo>
                <a:lnTo>
                  <a:pt x="505" y="252"/>
                </a:lnTo>
                <a:lnTo>
                  <a:pt x="505" y="253"/>
                </a:lnTo>
                <a:lnTo>
                  <a:pt x="501" y="255"/>
                </a:lnTo>
                <a:lnTo>
                  <a:pt x="500" y="255"/>
                </a:lnTo>
                <a:lnTo>
                  <a:pt x="500" y="257"/>
                </a:lnTo>
                <a:lnTo>
                  <a:pt x="499" y="258"/>
                </a:lnTo>
                <a:lnTo>
                  <a:pt x="498" y="258"/>
                </a:lnTo>
                <a:lnTo>
                  <a:pt x="498" y="260"/>
                </a:lnTo>
                <a:lnTo>
                  <a:pt x="494" y="264"/>
                </a:lnTo>
                <a:lnTo>
                  <a:pt x="490" y="265"/>
                </a:lnTo>
                <a:lnTo>
                  <a:pt x="488" y="266"/>
                </a:lnTo>
                <a:lnTo>
                  <a:pt x="487" y="269"/>
                </a:lnTo>
                <a:lnTo>
                  <a:pt x="487" y="270"/>
                </a:lnTo>
                <a:lnTo>
                  <a:pt x="488" y="270"/>
                </a:lnTo>
                <a:lnTo>
                  <a:pt x="488" y="272"/>
                </a:lnTo>
                <a:lnTo>
                  <a:pt x="487" y="272"/>
                </a:lnTo>
                <a:lnTo>
                  <a:pt x="487" y="278"/>
                </a:lnTo>
                <a:lnTo>
                  <a:pt x="486" y="279"/>
                </a:lnTo>
                <a:lnTo>
                  <a:pt x="485" y="279"/>
                </a:lnTo>
                <a:lnTo>
                  <a:pt x="484" y="280"/>
                </a:lnTo>
                <a:lnTo>
                  <a:pt x="484" y="282"/>
                </a:lnTo>
                <a:lnTo>
                  <a:pt x="480" y="283"/>
                </a:lnTo>
                <a:lnTo>
                  <a:pt x="474" y="289"/>
                </a:lnTo>
                <a:lnTo>
                  <a:pt x="474" y="290"/>
                </a:lnTo>
                <a:lnTo>
                  <a:pt x="475" y="291"/>
                </a:lnTo>
                <a:lnTo>
                  <a:pt x="474" y="292"/>
                </a:lnTo>
                <a:lnTo>
                  <a:pt x="473" y="295"/>
                </a:lnTo>
                <a:lnTo>
                  <a:pt x="472" y="296"/>
                </a:lnTo>
                <a:lnTo>
                  <a:pt x="472" y="298"/>
                </a:lnTo>
                <a:lnTo>
                  <a:pt x="474" y="300"/>
                </a:lnTo>
                <a:lnTo>
                  <a:pt x="474" y="301"/>
                </a:lnTo>
                <a:lnTo>
                  <a:pt x="475" y="302"/>
                </a:lnTo>
                <a:lnTo>
                  <a:pt x="474" y="304"/>
                </a:lnTo>
                <a:lnTo>
                  <a:pt x="474" y="306"/>
                </a:lnTo>
                <a:lnTo>
                  <a:pt x="473" y="306"/>
                </a:lnTo>
                <a:lnTo>
                  <a:pt x="473" y="309"/>
                </a:lnTo>
                <a:lnTo>
                  <a:pt x="470" y="309"/>
                </a:lnTo>
                <a:lnTo>
                  <a:pt x="468" y="310"/>
                </a:lnTo>
                <a:lnTo>
                  <a:pt x="467" y="312"/>
                </a:lnTo>
                <a:lnTo>
                  <a:pt x="467" y="313"/>
                </a:lnTo>
                <a:lnTo>
                  <a:pt x="468" y="313"/>
                </a:lnTo>
                <a:lnTo>
                  <a:pt x="468" y="315"/>
                </a:lnTo>
                <a:lnTo>
                  <a:pt x="467" y="316"/>
                </a:lnTo>
                <a:lnTo>
                  <a:pt x="468" y="316"/>
                </a:lnTo>
                <a:lnTo>
                  <a:pt x="470" y="315"/>
                </a:lnTo>
                <a:lnTo>
                  <a:pt x="472" y="315"/>
                </a:lnTo>
                <a:lnTo>
                  <a:pt x="474" y="316"/>
                </a:lnTo>
                <a:lnTo>
                  <a:pt x="481" y="309"/>
                </a:lnTo>
                <a:lnTo>
                  <a:pt x="481" y="308"/>
                </a:lnTo>
                <a:lnTo>
                  <a:pt x="479" y="308"/>
                </a:lnTo>
                <a:lnTo>
                  <a:pt x="479" y="306"/>
                </a:lnTo>
                <a:lnTo>
                  <a:pt x="478" y="306"/>
                </a:lnTo>
                <a:lnTo>
                  <a:pt x="479" y="304"/>
                </a:lnTo>
                <a:lnTo>
                  <a:pt x="479" y="303"/>
                </a:lnTo>
                <a:lnTo>
                  <a:pt x="480" y="302"/>
                </a:lnTo>
                <a:lnTo>
                  <a:pt x="482" y="301"/>
                </a:lnTo>
                <a:lnTo>
                  <a:pt x="484" y="300"/>
                </a:lnTo>
                <a:lnTo>
                  <a:pt x="486" y="300"/>
                </a:lnTo>
                <a:lnTo>
                  <a:pt x="490" y="297"/>
                </a:lnTo>
                <a:lnTo>
                  <a:pt x="492" y="296"/>
                </a:lnTo>
                <a:lnTo>
                  <a:pt x="495" y="296"/>
                </a:lnTo>
                <a:lnTo>
                  <a:pt x="501" y="298"/>
                </a:lnTo>
                <a:lnTo>
                  <a:pt x="503" y="300"/>
                </a:lnTo>
                <a:lnTo>
                  <a:pt x="503" y="301"/>
                </a:lnTo>
                <a:lnTo>
                  <a:pt x="500" y="303"/>
                </a:lnTo>
                <a:lnTo>
                  <a:pt x="501" y="304"/>
                </a:lnTo>
                <a:lnTo>
                  <a:pt x="503" y="307"/>
                </a:lnTo>
                <a:lnTo>
                  <a:pt x="504" y="308"/>
                </a:lnTo>
                <a:lnTo>
                  <a:pt x="501" y="313"/>
                </a:lnTo>
                <a:lnTo>
                  <a:pt x="501" y="316"/>
                </a:lnTo>
                <a:lnTo>
                  <a:pt x="505" y="316"/>
                </a:lnTo>
                <a:lnTo>
                  <a:pt x="506" y="318"/>
                </a:lnTo>
                <a:lnTo>
                  <a:pt x="505" y="319"/>
                </a:lnTo>
                <a:lnTo>
                  <a:pt x="505" y="321"/>
                </a:lnTo>
                <a:lnTo>
                  <a:pt x="507" y="321"/>
                </a:lnTo>
                <a:lnTo>
                  <a:pt x="511" y="325"/>
                </a:lnTo>
                <a:lnTo>
                  <a:pt x="511" y="327"/>
                </a:lnTo>
                <a:lnTo>
                  <a:pt x="512" y="328"/>
                </a:lnTo>
                <a:lnTo>
                  <a:pt x="512" y="329"/>
                </a:lnTo>
                <a:lnTo>
                  <a:pt x="511" y="329"/>
                </a:lnTo>
                <a:lnTo>
                  <a:pt x="511" y="331"/>
                </a:lnTo>
                <a:lnTo>
                  <a:pt x="507" y="334"/>
                </a:lnTo>
                <a:lnTo>
                  <a:pt x="506" y="334"/>
                </a:lnTo>
                <a:lnTo>
                  <a:pt x="505" y="333"/>
                </a:lnTo>
                <a:lnTo>
                  <a:pt x="505" y="334"/>
                </a:lnTo>
                <a:lnTo>
                  <a:pt x="503" y="334"/>
                </a:lnTo>
                <a:lnTo>
                  <a:pt x="503" y="341"/>
                </a:lnTo>
                <a:lnTo>
                  <a:pt x="505" y="344"/>
                </a:lnTo>
                <a:lnTo>
                  <a:pt x="506" y="344"/>
                </a:lnTo>
                <a:lnTo>
                  <a:pt x="507" y="345"/>
                </a:lnTo>
                <a:lnTo>
                  <a:pt x="510" y="346"/>
                </a:lnTo>
                <a:lnTo>
                  <a:pt x="510" y="353"/>
                </a:lnTo>
                <a:lnTo>
                  <a:pt x="511" y="353"/>
                </a:lnTo>
                <a:lnTo>
                  <a:pt x="512" y="355"/>
                </a:lnTo>
                <a:lnTo>
                  <a:pt x="515" y="356"/>
                </a:lnTo>
                <a:lnTo>
                  <a:pt x="515" y="358"/>
                </a:lnTo>
                <a:lnTo>
                  <a:pt x="516" y="358"/>
                </a:lnTo>
                <a:lnTo>
                  <a:pt x="516" y="359"/>
                </a:lnTo>
                <a:lnTo>
                  <a:pt x="518" y="359"/>
                </a:lnTo>
                <a:lnTo>
                  <a:pt x="518" y="362"/>
                </a:lnTo>
                <a:lnTo>
                  <a:pt x="517" y="363"/>
                </a:lnTo>
                <a:lnTo>
                  <a:pt x="516" y="365"/>
                </a:lnTo>
                <a:lnTo>
                  <a:pt x="516" y="369"/>
                </a:lnTo>
                <a:lnTo>
                  <a:pt x="513" y="371"/>
                </a:lnTo>
                <a:lnTo>
                  <a:pt x="511" y="371"/>
                </a:lnTo>
                <a:lnTo>
                  <a:pt x="510" y="372"/>
                </a:lnTo>
                <a:lnTo>
                  <a:pt x="509" y="372"/>
                </a:lnTo>
                <a:lnTo>
                  <a:pt x="509" y="374"/>
                </a:lnTo>
                <a:lnTo>
                  <a:pt x="507" y="375"/>
                </a:lnTo>
                <a:lnTo>
                  <a:pt x="506" y="375"/>
                </a:lnTo>
                <a:lnTo>
                  <a:pt x="506" y="376"/>
                </a:lnTo>
                <a:lnTo>
                  <a:pt x="505" y="377"/>
                </a:lnTo>
                <a:lnTo>
                  <a:pt x="503" y="376"/>
                </a:lnTo>
                <a:lnTo>
                  <a:pt x="501" y="375"/>
                </a:lnTo>
                <a:lnTo>
                  <a:pt x="500" y="375"/>
                </a:lnTo>
                <a:lnTo>
                  <a:pt x="499" y="376"/>
                </a:lnTo>
                <a:lnTo>
                  <a:pt x="497" y="376"/>
                </a:lnTo>
                <a:lnTo>
                  <a:pt x="494" y="378"/>
                </a:lnTo>
                <a:lnTo>
                  <a:pt x="495" y="380"/>
                </a:lnTo>
                <a:lnTo>
                  <a:pt x="495" y="381"/>
                </a:lnTo>
                <a:lnTo>
                  <a:pt x="497" y="382"/>
                </a:lnTo>
                <a:lnTo>
                  <a:pt x="497" y="383"/>
                </a:lnTo>
                <a:lnTo>
                  <a:pt x="499" y="383"/>
                </a:lnTo>
                <a:lnTo>
                  <a:pt x="500" y="386"/>
                </a:lnTo>
                <a:lnTo>
                  <a:pt x="500" y="390"/>
                </a:lnTo>
                <a:lnTo>
                  <a:pt x="501" y="392"/>
                </a:lnTo>
                <a:lnTo>
                  <a:pt x="505" y="393"/>
                </a:lnTo>
                <a:lnTo>
                  <a:pt x="509" y="393"/>
                </a:lnTo>
                <a:lnTo>
                  <a:pt x="511" y="394"/>
                </a:lnTo>
                <a:lnTo>
                  <a:pt x="511" y="396"/>
                </a:lnTo>
                <a:lnTo>
                  <a:pt x="512" y="398"/>
                </a:lnTo>
                <a:lnTo>
                  <a:pt x="512" y="400"/>
                </a:lnTo>
                <a:lnTo>
                  <a:pt x="513" y="402"/>
                </a:lnTo>
                <a:lnTo>
                  <a:pt x="513" y="404"/>
                </a:lnTo>
                <a:lnTo>
                  <a:pt x="511" y="402"/>
                </a:lnTo>
                <a:lnTo>
                  <a:pt x="509" y="405"/>
                </a:lnTo>
                <a:lnTo>
                  <a:pt x="509" y="407"/>
                </a:lnTo>
                <a:lnTo>
                  <a:pt x="507" y="409"/>
                </a:lnTo>
                <a:lnTo>
                  <a:pt x="505" y="412"/>
                </a:lnTo>
                <a:lnTo>
                  <a:pt x="504" y="412"/>
                </a:lnTo>
                <a:lnTo>
                  <a:pt x="505" y="414"/>
                </a:lnTo>
                <a:lnTo>
                  <a:pt x="505" y="415"/>
                </a:lnTo>
                <a:lnTo>
                  <a:pt x="507" y="418"/>
                </a:lnTo>
                <a:lnTo>
                  <a:pt x="506" y="419"/>
                </a:lnTo>
                <a:lnTo>
                  <a:pt x="506" y="423"/>
                </a:lnTo>
                <a:lnTo>
                  <a:pt x="507" y="424"/>
                </a:lnTo>
                <a:lnTo>
                  <a:pt x="507" y="426"/>
                </a:lnTo>
                <a:lnTo>
                  <a:pt x="509" y="426"/>
                </a:lnTo>
                <a:lnTo>
                  <a:pt x="510" y="427"/>
                </a:lnTo>
                <a:lnTo>
                  <a:pt x="510" y="429"/>
                </a:lnTo>
                <a:lnTo>
                  <a:pt x="511" y="430"/>
                </a:lnTo>
                <a:lnTo>
                  <a:pt x="513" y="430"/>
                </a:lnTo>
                <a:lnTo>
                  <a:pt x="516" y="431"/>
                </a:lnTo>
                <a:lnTo>
                  <a:pt x="517" y="431"/>
                </a:lnTo>
                <a:lnTo>
                  <a:pt x="522" y="435"/>
                </a:lnTo>
                <a:lnTo>
                  <a:pt x="524" y="435"/>
                </a:lnTo>
                <a:lnTo>
                  <a:pt x="524" y="436"/>
                </a:lnTo>
                <a:lnTo>
                  <a:pt x="528" y="436"/>
                </a:lnTo>
                <a:lnTo>
                  <a:pt x="535" y="435"/>
                </a:lnTo>
                <a:lnTo>
                  <a:pt x="536" y="435"/>
                </a:lnTo>
                <a:lnTo>
                  <a:pt x="537" y="433"/>
                </a:lnTo>
                <a:lnTo>
                  <a:pt x="538" y="433"/>
                </a:lnTo>
                <a:lnTo>
                  <a:pt x="538" y="436"/>
                </a:lnTo>
                <a:lnTo>
                  <a:pt x="541" y="438"/>
                </a:lnTo>
                <a:lnTo>
                  <a:pt x="541" y="439"/>
                </a:lnTo>
                <a:lnTo>
                  <a:pt x="538" y="442"/>
                </a:lnTo>
                <a:lnTo>
                  <a:pt x="538" y="444"/>
                </a:lnTo>
                <a:lnTo>
                  <a:pt x="537" y="445"/>
                </a:lnTo>
                <a:lnTo>
                  <a:pt x="535" y="447"/>
                </a:lnTo>
                <a:lnTo>
                  <a:pt x="534" y="448"/>
                </a:lnTo>
                <a:lnTo>
                  <a:pt x="532" y="450"/>
                </a:lnTo>
                <a:lnTo>
                  <a:pt x="531" y="451"/>
                </a:lnTo>
                <a:lnTo>
                  <a:pt x="531" y="452"/>
                </a:lnTo>
                <a:lnTo>
                  <a:pt x="532" y="456"/>
                </a:lnTo>
                <a:lnTo>
                  <a:pt x="531" y="456"/>
                </a:lnTo>
                <a:lnTo>
                  <a:pt x="531" y="457"/>
                </a:lnTo>
                <a:lnTo>
                  <a:pt x="530" y="457"/>
                </a:lnTo>
                <a:lnTo>
                  <a:pt x="530" y="458"/>
                </a:lnTo>
                <a:lnTo>
                  <a:pt x="529" y="457"/>
                </a:lnTo>
                <a:lnTo>
                  <a:pt x="528" y="457"/>
                </a:lnTo>
                <a:lnTo>
                  <a:pt x="526" y="458"/>
                </a:lnTo>
                <a:lnTo>
                  <a:pt x="526" y="460"/>
                </a:lnTo>
                <a:lnTo>
                  <a:pt x="525" y="461"/>
                </a:lnTo>
                <a:lnTo>
                  <a:pt x="525" y="462"/>
                </a:lnTo>
                <a:lnTo>
                  <a:pt x="524" y="462"/>
                </a:lnTo>
                <a:lnTo>
                  <a:pt x="523" y="461"/>
                </a:lnTo>
                <a:lnTo>
                  <a:pt x="522" y="462"/>
                </a:lnTo>
                <a:lnTo>
                  <a:pt x="520" y="462"/>
                </a:lnTo>
                <a:lnTo>
                  <a:pt x="520" y="464"/>
                </a:lnTo>
                <a:lnTo>
                  <a:pt x="519" y="464"/>
                </a:lnTo>
                <a:lnTo>
                  <a:pt x="519" y="463"/>
                </a:lnTo>
                <a:lnTo>
                  <a:pt x="518" y="463"/>
                </a:lnTo>
                <a:lnTo>
                  <a:pt x="517" y="464"/>
                </a:lnTo>
                <a:lnTo>
                  <a:pt x="517" y="470"/>
                </a:lnTo>
                <a:lnTo>
                  <a:pt x="516" y="469"/>
                </a:lnTo>
                <a:lnTo>
                  <a:pt x="513" y="469"/>
                </a:lnTo>
                <a:lnTo>
                  <a:pt x="513" y="470"/>
                </a:lnTo>
                <a:lnTo>
                  <a:pt x="510" y="470"/>
                </a:lnTo>
                <a:lnTo>
                  <a:pt x="509" y="472"/>
                </a:lnTo>
                <a:lnTo>
                  <a:pt x="509" y="473"/>
                </a:lnTo>
                <a:lnTo>
                  <a:pt x="510" y="473"/>
                </a:lnTo>
                <a:lnTo>
                  <a:pt x="507" y="475"/>
                </a:lnTo>
                <a:lnTo>
                  <a:pt x="507" y="476"/>
                </a:lnTo>
                <a:lnTo>
                  <a:pt x="505" y="476"/>
                </a:lnTo>
                <a:lnTo>
                  <a:pt x="505" y="478"/>
                </a:lnTo>
                <a:lnTo>
                  <a:pt x="500" y="478"/>
                </a:lnTo>
                <a:lnTo>
                  <a:pt x="500" y="480"/>
                </a:lnTo>
                <a:lnTo>
                  <a:pt x="499" y="480"/>
                </a:lnTo>
                <a:lnTo>
                  <a:pt x="499" y="481"/>
                </a:lnTo>
                <a:lnTo>
                  <a:pt x="498" y="481"/>
                </a:lnTo>
                <a:lnTo>
                  <a:pt x="497" y="482"/>
                </a:lnTo>
                <a:lnTo>
                  <a:pt x="497" y="484"/>
                </a:lnTo>
                <a:lnTo>
                  <a:pt x="495" y="485"/>
                </a:lnTo>
                <a:lnTo>
                  <a:pt x="494" y="485"/>
                </a:lnTo>
                <a:lnTo>
                  <a:pt x="494" y="486"/>
                </a:lnTo>
                <a:lnTo>
                  <a:pt x="499" y="486"/>
                </a:lnTo>
                <a:lnTo>
                  <a:pt x="498" y="487"/>
                </a:lnTo>
                <a:lnTo>
                  <a:pt x="498" y="488"/>
                </a:lnTo>
                <a:lnTo>
                  <a:pt x="497" y="488"/>
                </a:lnTo>
                <a:lnTo>
                  <a:pt x="498" y="490"/>
                </a:lnTo>
                <a:lnTo>
                  <a:pt x="497" y="491"/>
                </a:lnTo>
                <a:lnTo>
                  <a:pt x="495" y="491"/>
                </a:lnTo>
                <a:lnTo>
                  <a:pt x="494" y="492"/>
                </a:lnTo>
                <a:lnTo>
                  <a:pt x="494" y="491"/>
                </a:lnTo>
                <a:lnTo>
                  <a:pt x="492" y="491"/>
                </a:lnTo>
                <a:lnTo>
                  <a:pt x="492" y="492"/>
                </a:lnTo>
                <a:lnTo>
                  <a:pt x="491" y="493"/>
                </a:lnTo>
                <a:lnTo>
                  <a:pt x="486" y="493"/>
                </a:lnTo>
                <a:lnTo>
                  <a:pt x="485" y="494"/>
                </a:lnTo>
                <a:lnTo>
                  <a:pt x="485" y="497"/>
                </a:lnTo>
                <a:lnTo>
                  <a:pt x="484" y="497"/>
                </a:lnTo>
                <a:lnTo>
                  <a:pt x="481" y="494"/>
                </a:lnTo>
                <a:lnTo>
                  <a:pt x="479" y="494"/>
                </a:lnTo>
                <a:lnTo>
                  <a:pt x="478" y="495"/>
                </a:lnTo>
                <a:lnTo>
                  <a:pt x="476" y="495"/>
                </a:lnTo>
                <a:lnTo>
                  <a:pt x="476" y="497"/>
                </a:lnTo>
                <a:lnTo>
                  <a:pt x="475" y="498"/>
                </a:lnTo>
                <a:lnTo>
                  <a:pt x="475" y="499"/>
                </a:lnTo>
                <a:lnTo>
                  <a:pt x="474" y="498"/>
                </a:lnTo>
                <a:lnTo>
                  <a:pt x="474" y="497"/>
                </a:lnTo>
                <a:lnTo>
                  <a:pt x="470" y="497"/>
                </a:lnTo>
                <a:lnTo>
                  <a:pt x="469" y="495"/>
                </a:lnTo>
                <a:lnTo>
                  <a:pt x="467" y="495"/>
                </a:lnTo>
                <a:lnTo>
                  <a:pt x="467" y="494"/>
                </a:lnTo>
                <a:lnTo>
                  <a:pt x="464" y="494"/>
                </a:lnTo>
                <a:lnTo>
                  <a:pt x="464" y="495"/>
                </a:lnTo>
                <a:lnTo>
                  <a:pt x="466" y="497"/>
                </a:lnTo>
                <a:lnTo>
                  <a:pt x="467" y="497"/>
                </a:lnTo>
                <a:lnTo>
                  <a:pt x="467" y="498"/>
                </a:lnTo>
                <a:lnTo>
                  <a:pt x="463" y="498"/>
                </a:lnTo>
                <a:lnTo>
                  <a:pt x="463" y="499"/>
                </a:lnTo>
                <a:lnTo>
                  <a:pt x="461" y="499"/>
                </a:lnTo>
                <a:lnTo>
                  <a:pt x="460" y="498"/>
                </a:lnTo>
                <a:lnTo>
                  <a:pt x="460" y="497"/>
                </a:lnTo>
                <a:lnTo>
                  <a:pt x="461" y="497"/>
                </a:lnTo>
                <a:lnTo>
                  <a:pt x="461" y="495"/>
                </a:lnTo>
                <a:lnTo>
                  <a:pt x="460" y="495"/>
                </a:lnTo>
                <a:lnTo>
                  <a:pt x="460" y="494"/>
                </a:lnTo>
                <a:lnTo>
                  <a:pt x="459" y="494"/>
                </a:lnTo>
                <a:lnTo>
                  <a:pt x="456" y="493"/>
                </a:lnTo>
                <a:lnTo>
                  <a:pt x="456" y="492"/>
                </a:lnTo>
                <a:lnTo>
                  <a:pt x="455" y="491"/>
                </a:lnTo>
                <a:lnTo>
                  <a:pt x="454" y="491"/>
                </a:lnTo>
                <a:lnTo>
                  <a:pt x="454" y="492"/>
                </a:lnTo>
                <a:lnTo>
                  <a:pt x="451" y="492"/>
                </a:lnTo>
                <a:lnTo>
                  <a:pt x="449" y="490"/>
                </a:lnTo>
                <a:lnTo>
                  <a:pt x="442" y="490"/>
                </a:lnTo>
                <a:lnTo>
                  <a:pt x="442" y="487"/>
                </a:lnTo>
                <a:lnTo>
                  <a:pt x="443" y="486"/>
                </a:lnTo>
                <a:lnTo>
                  <a:pt x="442" y="486"/>
                </a:lnTo>
                <a:lnTo>
                  <a:pt x="442" y="485"/>
                </a:lnTo>
                <a:lnTo>
                  <a:pt x="441" y="482"/>
                </a:lnTo>
                <a:lnTo>
                  <a:pt x="439" y="481"/>
                </a:lnTo>
                <a:lnTo>
                  <a:pt x="437" y="482"/>
                </a:lnTo>
                <a:lnTo>
                  <a:pt x="429" y="482"/>
                </a:lnTo>
                <a:lnTo>
                  <a:pt x="428" y="481"/>
                </a:lnTo>
                <a:lnTo>
                  <a:pt x="428" y="478"/>
                </a:lnTo>
                <a:lnTo>
                  <a:pt x="433" y="478"/>
                </a:lnTo>
                <a:lnTo>
                  <a:pt x="436" y="475"/>
                </a:lnTo>
                <a:lnTo>
                  <a:pt x="436" y="473"/>
                </a:lnTo>
                <a:lnTo>
                  <a:pt x="435" y="473"/>
                </a:lnTo>
                <a:lnTo>
                  <a:pt x="433" y="474"/>
                </a:lnTo>
                <a:lnTo>
                  <a:pt x="432" y="474"/>
                </a:lnTo>
                <a:lnTo>
                  <a:pt x="432" y="473"/>
                </a:lnTo>
                <a:lnTo>
                  <a:pt x="431" y="472"/>
                </a:lnTo>
                <a:lnTo>
                  <a:pt x="431" y="470"/>
                </a:lnTo>
                <a:lnTo>
                  <a:pt x="429" y="470"/>
                </a:lnTo>
                <a:lnTo>
                  <a:pt x="429" y="469"/>
                </a:lnTo>
                <a:lnTo>
                  <a:pt x="428" y="469"/>
                </a:lnTo>
                <a:lnTo>
                  <a:pt x="428" y="473"/>
                </a:lnTo>
                <a:lnTo>
                  <a:pt x="430" y="475"/>
                </a:lnTo>
                <a:lnTo>
                  <a:pt x="428" y="478"/>
                </a:lnTo>
                <a:lnTo>
                  <a:pt x="426" y="478"/>
                </a:lnTo>
                <a:lnTo>
                  <a:pt x="424" y="476"/>
                </a:lnTo>
                <a:lnTo>
                  <a:pt x="423" y="476"/>
                </a:lnTo>
                <a:lnTo>
                  <a:pt x="423" y="478"/>
                </a:lnTo>
                <a:lnTo>
                  <a:pt x="420" y="478"/>
                </a:lnTo>
                <a:lnTo>
                  <a:pt x="420" y="479"/>
                </a:lnTo>
                <a:lnTo>
                  <a:pt x="422" y="480"/>
                </a:lnTo>
                <a:lnTo>
                  <a:pt x="423" y="480"/>
                </a:lnTo>
                <a:lnTo>
                  <a:pt x="420" y="482"/>
                </a:lnTo>
                <a:lnTo>
                  <a:pt x="420" y="480"/>
                </a:lnTo>
                <a:lnTo>
                  <a:pt x="418" y="479"/>
                </a:lnTo>
                <a:lnTo>
                  <a:pt x="417" y="478"/>
                </a:lnTo>
                <a:lnTo>
                  <a:pt x="416" y="475"/>
                </a:lnTo>
                <a:lnTo>
                  <a:pt x="416" y="478"/>
                </a:lnTo>
                <a:lnTo>
                  <a:pt x="417" y="479"/>
                </a:lnTo>
                <a:lnTo>
                  <a:pt x="418" y="479"/>
                </a:lnTo>
                <a:lnTo>
                  <a:pt x="419" y="480"/>
                </a:lnTo>
                <a:lnTo>
                  <a:pt x="419" y="481"/>
                </a:lnTo>
                <a:lnTo>
                  <a:pt x="410" y="481"/>
                </a:lnTo>
                <a:lnTo>
                  <a:pt x="408" y="480"/>
                </a:lnTo>
                <a:lnTo>
                  <a:pt x="408" y="479"/>
                </a:lnTo>
                <a:lnTo>
                  <a:pt x="410" y="479"/>
                </a:lnTo>
                <a:lnTo>
                  <a:pt x="410" y="476"/>
                </a:lnTo>
                <a:lnTo>
                  <a:pt x="408" y="476"/>
                </a:lnTo>
                <a:lnTo>
                  <a:pt x="406" y="475"/>
                </a:lnTo>
                <a:lnTo>
                  <a:pt x="392" y="475"/>
                </a:lnTo>
                <a:lnTo>
                  <a:pt x="392" y="474"/>
                </a:lnTo>
                <a:lnTo>
                  <a:pt x="391" y="474"/>
                </a:lnTo>
                <a:lnTo>
                  <a:pt x="389" y="472"/>
                </a:lnTo>
                <a:lnTo>
                  <a:pt x="391" y="470"/>
                </a:lnTo>
                <a:lnTo>
                  <a:pt x="389" y="469"/>
                </a:lnTo>
                <a:lnTo>
                  <a:pt x="385" y="469"/>
                </a:lnTo>
                <a:lnTo>
                  <a:pt x="382" y="470"/>
                </a:lnTo>
                <a:lnTo>
                  <a:pt x="374" y="478"/>
                </a:lnTo>
                <a:lnTo>
                  <a:pt x="369" y="480"/>
                </a:lnTo>
                <a:lnTo>
                  <a:pt x="368" y="481"/>
                </a:lnTo>
                <a:lnTo>
                  <a:pt x="364" y="486"/>
                </a:lnTo>
                <a:lnTo>
                  <a:pt x="363" y="486"/>
                </a:lnTo>
                <a:lnTo>
                  <a:pt x="362" y="485"/>
                </a:lnTo>
                <a:lnTo>
                  <a:pt x="358" y="485"/>
                </a:lnTo>
                <a:lnTo>
                  <a:pt x="356" y="486"/>
                </a:lnTo>
                <a:lnTo>
                  <a:pt x="351" y="491"/>
                </a:lnTo>
                <a:lnTo>
                  <a:pt x="351" y="492"/>
                </a:lnTo>
                <a:lnTo>
                  <a:pt x="350" y="492"/>
                </a:lnTo>
                <a:lnTo>
                  <a:pt x="350" y="493"/>
                </a:lnTo>
                <a:lnTo>
                  <a:pt x="349" y="494"/>
                </a:lnTo>
                <a:lnTo>
                  <a:pt x="348" y="494"/>
                </a:lnTo>
                <a:lnTo>
                  <a:pt x="348" y="495"/>
                </a:lnTo>
                <a:lnTo>
                  <a:pt x="346" y="497"/>
                </a:lnTo>
                <a:lnTo>
                  <a:pt x="346" y="499"/>
                </a:lnTo>
                <a:lnTo>
                  <a:pt x="345" y="500"/>
                </a:lnTo>
                <a:lnTo>
                  <a:pt x="345" y="501"/>
                </a:lnTo>
                <a:lnTo>
                  <a:pt x="344" y="504"/>
                </a:lnTo>
                <a:lnTo>
                  <a:pt x="344" y="505"/>
                </a:lnTo>
                <a:lnTo>
                  <a:pt x="345" y="506"/>
                </a:lnTo>
                <a:lnTo>
                  <a:pt x="345" y="507"/>
                </a:lnTo>
                <a:lnTo>
                  <a:pt x="344" y="510"/>
                </a:lnTo>
                <a:lnTo>
                  <a:pt x="344" y="528"/>
                </a:lnTo>
                <a:lnTo>
                  <a:pt x="346" y="528"/>
                </a:lnTo>
                <a:lnTo>
                  <a:pt x="348" y="529"/>
                </a:lnTo>
                <a:lnTo>
                  <a:pt x="349" y="529"/>
                </a:lnTo>
                <a:lnTo>
                  <a:pt x="349" y="531"/>
                </a:lnTo>
                <a:lnTo>
                  <a:pt x="350" y="533"/>
                </a:lnTo>
                <a:lnTo>
                  <a:pt x="350" y="534"/>
                </a:lnTo>
                <a:lnTo>
                  <a:pt x="349" y="535"/>
                </a:lnTo>
                <a:lnTo>
                  <a:pt x="346" y="535"/>
                </a:lnTo>
                <a:lnTo>
                  <a:pt x="345" y="534"/>
                </a:lnTo>
                <a:lnTo>
                  <a:pt x="344" y="534"/>
                </a:lnTo>
                <a:lnTo>
                  <a:pt x="344" y="533"/>
                </a:lnTo>
                <a:lnTo>
                  <a:pt x="338" y="533"/>
                </a:lnTo>
                <a:lnTo>
                  <a:pt x="338" y="534"/>
                </a:lnTo>
                <a:lnTo>
                  <a:pt x="336" y="534"/>
                </a:lnTo>
                <a:lnTo>
                  <a:pt x="335" y="535"/>
                </a:lnTo>
                <a:lnTo>
                  <a:pt x="330" y="535"/>
                </a:lnTo>
                <a:lnTo>
                  <a:pt x="330" y="536"/>
                </a:lnTo>
                <a:lnTo>
                  <a:pt x="327" y="537"/>
                </a:lnTo>
                <a:lnTo>
                  <a:pt x="327" y="538"/>
                </a:lnTo>
                <a:lnTo>
                  <a:pt x="329" y="540"/>
                </a:lnTo>
                <a:lnTo>
                  <a:pt x="326" y="540"/>
                </a:lnTo>
                <a:lnTo>
                  <a:pt x="324" y="538"/>
                </a:lnTo>
                <a:lnTo>
                  <a:pt x="323" y="538"/>
                </a:lnTo>
                <a:lnTo>
                  <a:pt x="323" y="540"/>
                </a:lnTo>
                <a:lnTo>
                  <a:pt x="320" y="540"/>
                </a:lnTo>
                <a:lnTo>
                  <a:pt x="317" y="536"/>
                </a:lnTo>
                <a:lnTo>
                  <a:pt x="313" y="535"/>
                </a:lnTo>
                <a:lnTo>
                  <a:pt x="306" y="535"/>
                </a:lnTo>
                <a:lnTo>
                  <a:pt x="305" y="536"/>
                </a:lnTo>
                <a:lnTo>
                  <a:pt x="305" y="537"/>
                </a:lnTo>
                <a:lnTo>
                  <a:pt x="304" y="537"/>
                </a:lnTo>
                <a:lnTo>
                  <a:pt x="304" y="538"/>
                </a:lnTo>
                <a:lnTo>
                  <a:pt x="300" y="538"/>
                </a:lnTo>
                <a:lnTo>
                  <a:pt x="299" y="537"/>
                </a:lnTo>
                <a:lnTo>
                  <a:pt x="298" y="535"/>
                </a:lnTo>
                <a:lnTo>
                  <a:pt x="298" y="534"/>
                </a:lnTo>
                <a:lnTo>
                  <a:pt x="295" y="534"/>
                </a:lnTo>
                <a:lnTo>
                  <a:pt x="293" y="531"/>
                </a:lnTo>
                <a:lnTo>
                  <a:pt x="289" y="531"/>
                </a:lnTo>
                <a:lnTo>
                  <a:pt x="288" y="530"/>
                </a:lnTo>
                <a:lnTo>
                  <a:pt x="288" y="528"/>
                </a:lnTo>
                <a:lnTo>
                  <a:pt x="289" y="527"/>
                </a:lnTo>
                <a:lnTo>
                  <a:pt x="290" y="527"/>
                </a:lnTo>
                <a:lnTo>
                  <a:pt x="290" y="525"/>
                </a:lnTo>
                <a:lnTo>
                  <a:pt x="288" y="525"/>
                </a:lnTo>
                <a:lnTo>
                  <a:pt x="288" y="524"/>
                </a:lnTo>
                <a:lnTo>
                  <a:pt x="283" y="523"/>
                </a:lnTo>
                <a:lnTo>
                  <a:pt x="281" y="522"/>
                </a:lnTo>
                <a:lnTo>
                  <a:pt x="277" y="522"/>
                </a:lnTo>
                <a:lnTo>
                  <a:pt x="277" y="524"/>
                </a:lnTo>
                <a:lnTo>
                  <a:pt x="276" y="525"/>
                </a:lnTo>
                <a:lnTo>
                  <a:pt x="276" y="524"/>
                </a:lnTo>
                <a:lnTo>
                  <a:pt x="275" y="522"/>
                </a:lnTo>
                <a:lnTo>
                  <a:pt x="274" y="521"/>
                </a:lnTo>
                <a:lnTo>
                  <a:pt x="274" y="519"/>
                </a:lnTo>
                <a:lnTo>
                  <a:pt x="273" y="519"/>
                </a:lnTo>
                <a:lnTo>
                  <a:pt x="273" y="518"/>
                </a:lnTo>
                <a:lnTo>
                  <a:pt x="264" y="518"/>
                </a:lnTo>
                <a:lnTo>
                  <a:pt x="263" y="517"/>
                </a:lnTo>
                <a:lnTo>
                  <a:pt x="263" y="516"/>
                </a:lnTo>
                <a:lnTo>
                  <a:pt x="262" y="515"/>
                </a:lnTo>
                <a:lnTo>
                  <a:pt x="257" y="515"/>
                </a:lnTo>
                <a:lnTo>
                  <a:pt x="256" y="513"/>
                </a:lnTo>
                <a:lnTo>
                  <a:pt x="254" y="513"/>
                </a:lnTo>
                <a:lnTo>
                  <a:pt x="252" y="512"/>
                </a:lnTo>
                <a:lnTo>
                  <a:pt x="250" y="511"/>
                </a:lnTo>
                <a:lnTo>
                  <a:pt x="244" y="511"/>
                </a:lnTo>
                <a:lnTo>
                  <a:pt x="244" y="513"/>
                </a:lnTo>
                <a:lnTo>
                  <a:pt x="243" y="515"/>
                </a:lnTo>
                <a:lnTo>
                  <a:pt x="244" y="516"/>
                </a:lnTo>
                <a:lnTo>
                  <a:pt x="243" y="516"/>
                </a:lnTo>
                <a:lnTo>
                  <a:pt x="243" y="517"/>
                </a:lnTo>
                <a:lnTo>
                  <a:pt x="244" y="517"/>
                </a:lnTo>
                <a:lnTo>
                  <a:pt x="244" y="519"/>
                </a:lnTo>
                <a:lnTo>
                  <a:pt x="232" y="519"/>
                </a:lnTo>
                <a:lnTo>
                  <a:pt x="231" y="518"/>
                </a:lnTo>
                <a:lnTo>
                  <a:pt x="230" y="518"/>
                </a:lnTo>
                <a:lnTo>
                  <a:pt x="230" y="519"/>
                </a:lnTo>
                <a:lnTo>
                  <a:pt x="228" y="521"/>
                </a:lnTo>
                <a:lnTo>
                  <a:pt x="227" y="521"/>
                </a:lnTo>
                <a:lnTo>
                  <a:pt x="227" y="519"/>
                </a:lnTo>
                <a:lnTo>
                  <a:pt x="226" y="518"/>
                </a:lnTo>
                <a:lnTo>
                  <a:pt x="225" y="518"/>
                </a:lnTo>
                <a:lnTo>
                  <a:pt x="223" y="517"/>
                </a:lnTo>
                <a:lnTo>
                  <a:pt x="221" y="518"/>
                </a:lnTo>
                <a:lnTo>
                  <a:pt x="219" y="518"/>
                </a:lnTo>
                <a:lnTo>
                  <a:pt x="215" y="519"/>
                </a:lnTo>
                <a:lnTo>
                  <a:pt x="212" y="519"/>
                </a:lnTo>
                <a:lnTo>
                  <a:pt x="212" y="518"/>
                </a:lnTo>
                <a:lnTo>
                  <a:pt x="211" y="518"/>
                </a:lnTo>
                <a:lnTo>
                  <a:pt x="211" y="517"/>
                </a:lnTo>
                <a:lnTo>
                  <a:pt x="209" y="516"/>
                </a:lnTo>
                <a:lnTo>
                  <a:pt x="209" y="513"/>
                </a:lnTo>
                <a:lnTo>
                  <a:pt x="208" y="513"/>
                </a:lnTo>
                <a:lnTo>
                  <a:pt x="207" y="515"/>
                </a:lnTo>
                <a:lnTo>
                  <a:pt x="203" y="511"/>
                </a:lnTo>
                <a:lnTo>
                  <a:pt x="202" y="511"/>
                </a:lnTo>
                <a:lnTo>
                  <a:pt x="202" y="512"/>
                </a:lnTo>
                <a:lnTo>
                  <a:pt x="201" y="512"/>
                </a:lnTo>
                <a:lnTo>
                  <a:pt x="201" y="511"/>
                </a:lnTo>
                <a:lnTo>
                  <a:pt x="199" y="513"/>
                </a:lnTo>
                <a:lnTo>
                  <a:pt x="196" y="513"/>
                </a:lnTo>
                <a:lnTo>
                  <a:pt x="194" y="512"/>
                </a:lnTo>
                <a:lnTo>
                  <a:pt x="193" y="515"/>
                </a:lnTo>
                <a:lnTo>
                  <a:pt x="192" y="515"/>
                </a:lnTo>
                <a:lnTo>
                  <a:pt x="192" y="513"/>
                </a:lnTo>
                <a:lnTo>
                  <a:pt x="190" y="513"/>
                </a:lnTo>
                <a:lnTo>
                  <a:pt x="190" y="512"/>
                </a:lnTo>
                <a:lnTo>
                  <a:pt x="189" y="510"/>
                </a:lnTo>
                <a:lnTo>
                  <a:pt x="188" y="510"/>
                </a:lnTo>
                <a:lnTo>
                  <a:pt x="187" y="509"/>
                </a:lnTo>
                <a:lnTo>
                  <a:pt x="184" y="509"/>
                </a:lnTo>
                <a:lnTo>
                  <a:pt x="184" y="505"/>
                </a:lnTo>
                <a:lnTo>
                  <a:pt x="183" y="504"/>
                </a:lnTo>
                <a:lnTo>
                  <a:pt x="180" y="505"/>
                </a:lnTo>
                <a:lnTo>
                  <a:pt x="176" y="505"/>
                </a:lnTo>
                <a:lnTo>
                  <a:pt x="175" y="504"/>
                </a:lnTo>
                <a:lnTo>
                  <a:pt x="172" y="503"/>
                </a:lnTo>
                <a:lnTo>
                  <a:pt x="171" y="503"/>
                </a:lnTo>
                <a:lnTo>
                  <a:pt x="170" y="501"/>
                </a:lnTo>
                <a:lnTo>
                  <a:pt x="168" y="501"/>
                </a:lnTo>
                <a:lnTo>
                  <a:pt x="167" y="500"/>
                </a:lnTo>
                <a:lnTo>
                  <a:pt x="164" y="499"/>
                </a:lnTo>
                <a:lnTo>
                  <a:pt x="162" y="499"/>
                </a:lnTo>
                <a:lnTo>
                  <a:pt x="162" y="498"/>
                </a:lnTo>
                <a:lnTo>
                  <a:pt x="161" y="498"/>
                </a:lnTo>
                <a:lnTo>
                  <a:pt x="161" y="495"/>
                </a:lnTo>
                <a:lnTo>
                  <a:pt x="159" y="495"/>
                </a:lnTo>
                <a:lnTo>
                  <a:pt x="159" y="497"/>
                </a:lnTo>
                <a:lnTo>
                  <a:pt x="158" y="498"/>
                </a:lnTo>
                <a:lnTo>
                  <a:pt x="158" y="500"/>
                </a:lnTo>
                <a:lnTo>
                  <a:pt x="157" y="500"/>
                </a:lnTo>
                <a:lnTo>
                  <a:pt x="156" y="499"/>
                </a:lnTo>
                <a:lnTo>
                  <a:pt x="155" y="499"/>
                </a:lnTo>
                <a:lnTo>
                  <a:pt x="153" y="498"/>
                </a:lnTo>
                <a:lnTo>
                  <a:pt x="153" y="497"/>
                </a:lnTo>
                <a:lnTo>
                  <a:pt x="156" y="494"/>
                </a:lnTo>
                <a:lnTo>
                  <a:pt x="157" y="492"/>
                </a:lnTo>
                <a:lnTo>
                  <a:pt x="157" y="487"/>
                </a:lnTo>
                <a:lnTo>
                  <a:pt x="156" y="486"/>
                </a:lnTo>
                <a:lnTo>
                  <a:pt x="155" y="486"/>
                </a:lnTo>
                <a:lnTo>
                  <a:pt x="155" y="487"/>
                </a:lnTo>
                <a:lnTo>
                  <a:pt x="152" y="486"/>
                </a:lnTo>
                <a:lnTo>
                  <a:pt x="151" y="485"/>
                </a:lnTo>
                <a:lnTo>
                  <a:pt x="150" y="485"/>
                </a:lnTo>
                <a:lnTo>
                  <a:pt x="150" y="486"/>
                </a:lnTo>
                <a:lnTo>
                  <a:pt x="149" y="487"/>
                </a:lnTo>
                <a:lnTo>
                  <a:pt x="146" y="487"/>
                </a:lnTo>
                <a:lnTo>
                  <a:pt x="146" y="485"/>
                </a:lnTo>
                <a:lnTo>
                  <a:pt x="145" y="484"/>
                </a:lnTo>
                <a:lnTo>
                  <a:pt x="144" y="485"/>
                </a:lnTo>
                <a:lnTo>
                  <a:pt x="141" y="485"/>
                </a:lnTo>
                <a:lnTo>
                  <a:pt x="141" y="482"/>
                </a:lnTo>
                <a:lnTo>
                  <a:pt x="140" y="482"/>
                </a:lnTo>
                <a:lnTo>
                  <a:pt x="140" y="480"/>
                </a:lnTo>
                <a:lnTo>
                  <a:pt x="141" y="480"/>
                </a:lnTo>
                <a:lnTo>
                  <a:pt x="143" y="479"/>
                </a:lnTo>
                <a:lnTo>
                  <a:pt x="146" y="479"/>
                </a:lnTo>
                <a:lnTo>
                  <a:pt x="146" y="478"/>
                </a:lnTo>
                <a:lnTo>
                  <a:pt x="147" y="476"/>
                </a:lnTo>
                <a:lnTo>
                  <a:pt x="149" y="476"/>
                </a:lnTo>
                <a:lnTo>
                  <a:pt x="149" y="475"/>
                </a:lnTo>
                <a:lnTo>
                  <a:pt x="150" y="474"/>
                </a:lnTo>
                <a:lnTo>
                  <a:pt x="150" y="473"/>
                </a:lnTo>
                <a:lnTo>
                  <a:pt x="152" y="470"/>
                </a:lnTo>
                <a:lnTo>
                  <a:pt x="152" y="469"/>
                </a:lnTo>
                <a:lnTo>
                  <a:pt x="153" y="468"/>
                </a:lnTo>
                <a:lnTo>
                  <a:pt x="153" y="466"/>
                </a:lnTo>
                <a:lnTo>
                  <a:pt x="155" y="463"/>
                </a:lnTo>
                <a:lnTo>
                  <a:pt x="157" y="454"/>
                </a:lnTo>
                <a:lnTo>
                  <a:pt x="158" y="450"/>
                </a:lnTo>
                <a:lnTo>
                  <a:pt x="159" y="443"/>
                </a:lnTo>
                <a:lnTo>
                  <a:pt x="163" y="418"/>
                </a:lnTo>
                <a:lnTo>
                  <a:pt x="163" y="411"/>
                </a:lnTo>
                <a:lnTo>
                  <a:pt x="164" y="409"/>
                </a:lnTo>
                <a:lnTo>
                  <a:pt x="164" y="408"/>
                </a:lnTo>
                <a:lnTo>
                  <a:pt x="165" y="406"/>
                </a:lnTo>
                <a:lnTo>
                  <a:pt x="165" y="405"/>
                </a:lnTo>
                <a:lnTo>
                  <a:pt x="171" y="405"/>
                </a:lnTo>
                <a:lnTo>
                  <a:pt x="171" y="401"/>
                </a:lnTo>
                <a:lnTo>
                  <a:pt x="168" y="399"/>
                </a:lnTo>
                <a:lnTo>
                  <a:pt x="168" y="398"/>
                </a:lnTo>
                <a:lnTo>
                  <a:pt x="167" y="398"/>
                </a:lnTo>
                <a:lnTo>
                  <a:pt x="167" y="399"/>
                </a:lnTo>
                <a:lnTo>
                  <a:pt x="165" y="399"/>
                </a:lnTo>
                <a:lnTo>
                  <a:pt x="164" y="402"/>
                </a:lnTo>
                <a:lnTo>
                  <a:pt x="163" y="405"/>
                </a:lnTo>
                <a:lnTo>
                  <a:pt x="165" y="377"/>
                </a:lnTo>
                <a:lnTo>
                  <a:pt x="167" y="368"/>
                </a:lnTo>
                <a:lnTo>
                  <a:pt x="168" y="355"/>
                </a:lnTo>
                <a:lnTo>
                  <a:pt x="170" y="351"/>
                </a:lnTo>
                <a:lnTo>
                  <a:pt x="170" y="350"/>
                </a:lnTo>
                <a:lnTo>
                  <a:pt x="171" y="350"/>
                </a:lnTo>
                <a:lnTo>
                  <a:pt x="171" y="353"/>
                </a:lnTo>
                <a:lnTo>
                  <a:pt x="172" y="355"/>
                </a:lnTo>
                <a:lnTo>
                  <a:pt x="177" y="357"/>
                </a:lnTo>
                <a:lnTo>
                  <a:pt x="182" y="363"/>
                </a:lnTo>
                <a:lnTo>
                  <a:pt x="183" y="365"/>
                </a:lnTo>
                <a:lnTo>
                  <a:pt x="184" y="366"/>
                </a:lnTo>
                <a:lnTo>
                  <a:pt x="184" y="370"/>
                </a:lnTo>
                <a:lnTo>
                  <a:pt x="186" y="376"/>
                </a:lnTo>
                <a:lnTo>
                  <a:pt x="187" y="380"/>
                </a:lnTo>
                <a:lnTo>
                  <a:pt x="193" y="386"/>
                </a:lnTo>
                <a:lnTo>
                  <a:pt x="193" y="384"/>
                </a:lnTo>
                <a:lnTo>
                  <a:pt x="192" y="383"/>
                </a:lnTo>
                <a:lnTo>
                  <a:pt x="194" y="383"/>
                </a:lnTo>
                <a:lnTo>
                  <a:pt x="193" y="382"/>
                </a:lnTo>
                <a:lnTo>
                  <a:pt x="190" y="381"/>
                </a:lnTo>
                <a:lnTo>
                  <a:pt x="188" y="378"/>
                </a:lnTo>
                <a:lnTo>
                  <a:pt x="188" y="376"/>
                </a:lnTo>
                <a:lnTo>
                  <a:pt x="186" y="365"/>
                </a:lnTo>
                <a:lnTo>
                  <a:pt x="186" y="363"/>
                </a:lnTo>
                <a:lnTo>
                  <a:pt x="184" y="359"/>
                </a:lnTo>
                <a:lnTo>
                  <a:pt x="183" y="357"/>
                </a:lnTo>
                <a:lnTo>
                  <a:pt x="182" y="356"/>
                </a:lnTo>
                <a:lnTo>
                  <a:pt x="181" y="353"/>
                </a:lnTo>
                <a:lnTo>
                  <a:pt x="175" y="350"/>
                </a:lnTo>
                <a:lnTo>
                  <a:pt x="175" y="349"/>
                </a:lnTo>
                <a:lnTo>
                  <a:pt x="174" y="347"/>
                </a:lnTo>
                <a:lnTo>
                  <a:pt x="172" y="347"/>
                </a:lnTo>
                <a:lnTo>
                  <a:pt x="169" y="344"/>
                </a:lnTo>
                <a:lnTo>
                  <a:pt x="168" y="344"/>
                </a:lnTo>
                <a:lnTo>
                  <a:pt x="165" y="341"/>
                </a:lnTo>
                <a:lnTo>
                  <a:pt x="164" y="343"/>
                </a:lnTo>
                <a:lnTo>
                  <a:pt x="163" y="341"/>
                </a:lnTo>
                <a:lnTo>
                  <a:pt x="164" y="338"/>
                </a:lnTo>
                <a:lnTo>
                  <a:pt x="164" y="337"/>
                </a:lnTo>
                <a:lnTo>
                  <a:pt x="167" y="335"/>
                </a:lnTo>
                <a:lnTo>
                  <a:pt x="170" y="339"/>
                </a:lnTo>
                <a:lnTo>
                  <a:pt x="171" y="339"/>
                </a:lnTo>
                <a:lnTo>
                  <a:pt x="171" y="340"/>
                </a:lnTo>
                <a:lnTo>
                  <a:pt x="175" y="341"/>
                </a:lnTo>
                <a:lnTo>
                  <a:pt x="174" y="340"/>
                </a:lnTo>
                <a:lnTo>
                  <a:pt x="170" y="338"/>
                </a:lnTo>
                <a:lnTo>
                  <a:pt x="169" y="335"/>
                </a:lnTo>
                <a:lnTo>
                  <a:pt x="168" y="335"/>
                </a:lnTo>
                <a:lnTo>
                  <a:pt x="168" y="332"/>
                </a:lnTo>
                <a:lnTo>
                  <a:pt x="169" y="332"/>
                </a:lnTo>
                <a:lnTo>
                  <a:pt x="169" y="331"/>
                </a:lnTo>
                <a:lnTo>
                  <a:pt x="170" y="331"/>
                </a:lnTo>
                <a:lnTo>
                  <a:pt x="171" y="329"/>
                </a:lnTo>
                <a:lnTo>
                  <a:pt x="171" y="328"/>
                </a:lnTo>
                <a:lnTo>
                  <a:pt x="170" y="328"/>
                </a:lnTo>
                <a:lnTo>
                  <a:pt x="170" y="327"/>
                </a:lnTo>
                <a:lnTo>
                  <a:pt x="171" y="326"/>
                </a:lnTo>
                <a:lnTo>
                  <a:pt x="170" y="326"/>
                </a:lnTo>
                <a:lnTo>
                  <a:pt x="170" y="325"/>
                </a:lnTo>
                <a:lnTo>
                  <a:pt x="169" y="323"/>
                </a:lnTo>
                <a:lnTo>
                  <a:pt x="171" y="323"/>
                </a:lnTo>
                <a:lnTo>
                  <a:pt x="171" y="321"/>
                </a:lnTo>
                <a:lnTo>
                  <a:pt x="170" y="321"/>
                </a:lnTo>
                <a:lnTo>
                  <a:pt x="170" y="318"/>
                </a:lnTo>
                <a:lnTo>
                  <a:pt x="168" y="318"/>
                </a:lnTo>
                <a:lnTo>
                  <a:pt x="169" y="316"/>
                </a:lnTo>
                <a:lnTo>
                  <a:pt x="168" y="316"/>
                </a:lnTo>
                <a:lnTo>
                  <a:pt x="168" y="315"/>
                </a:lnTo>
                <a:lnTo>
                  <a:pt x="165" y="315"/>
                </a:lnTo>
                <a:lnTo>
                  <a:pt x="165" y="313"/>
                </a:lnTo>
                <a:lnTo>
                  <a:pt x="167" y="313"/>
                </a:lnTo>
                <a:lnTo>
                  <a:pt x="165" y="312"/>
                </a:lnTo>
                <a:lnTo>
                  <a:pt x="169" y="308"/>
                </a:lnTo>
                <a:lnTo>
                  <a:pt x="169" y="306"/>
                </a:lnTo>
                <a:lnTo>
                  <a:pt x="168" y="304"/>
                </a:lnTo>
                <a:lnTo>
                  <a:pt x="167" y="304"/>
                </a:lnTo>
                <a:lnTo>
                  <a:pt x="164" y="306"/>
                </a:lnTo>
                <a:lnTo>
                  <a:pt x="165" y="307"/>
                </a:lnTo>
                <a:lnTo>
                  <a:pt x="164" y="307"/>
                </a:lnTo>
                <a:lnTo>
                  <a:pt x="162" y="304"/>
                </a:lnTo>
                <a:lnTo>
                  <a:pt x="159" y="304"/>
                </a:lnTo>
                <a:lnTo>
                  <a:pt x="158" y="303"/>
                </a:lnTo>
                <a:lnTo>
                  <a:pt x="155" y="303"/>
                </a:lnTo>
                <a:lnTo>
                  <a:pt x="155" y="301"/>
                </a:lnTo>
                <a:lnTo>
                  <a:pt x="152" y="298"/>
                </a:lnTo>
                <a:lnTo>
                  <a:pt x="147" y="298"/>
                </a:lnTo>
                <a:lnTo>
                  <a:pt x="147" y="297"/>
                </a:lnTo>
                <a:lnTo>
                  <a:pt x="145" y="296"/>
                </a:lnTo>
                <a:lnTo>
                  <a:pt x="144" y="295"/>
                </a:lnTo>
                <a:lnTo>
                  <a:pt x="141" y="295"/>
                </a:lnTo>
                <a:lnTo>
                  <a:pt x="141" y="294"/>
                </a:lnTo>
                <a:lnTo>
                  <a:pt x="140" y="292"/>
                </a:lnTo>
                <a:lnTo>
                  <a:pt x="140" y="294"/>
                </a:lnTo>
                <a:lnTo>
                  <a:pt x="139" y="289"/>
                </a:lnTo>
                <a:lnTo>
                  <a:pt x="139" y="288"/>
                </a:lnTo>
                <a:lnTo>
                  <a:pt x="138" y="288"/>
                </a:lnTo>
                <a:lnTo>
                  <a:pt x="138" y="285"/>
                </a:lnTo>
                <a:lnTo>
                  <a:pt x="137" y="285"/>
                </a:lnTo>
                <a:lnTo>
                  <a:pt x="137" y="284"/>
                </a:lnTo>
                <a:lnTo>
                  <a:pt x="136" y="284"/>
                </a:lnTo>
                <a:lnTo>
                  <a:pt x="136" y="282"/>
                </a:lnTo>
                <a:lnTo>
                  <a:pt x="133" y="282"/>
                </a:lnTo>
                <a:lnTo>
                  <a:pt x="133" y="280"/>
                </a:lnTo>
                <a:lnTo>
                  <a:pt x="132" y="278"/>
                </a:lnTo>
                <a:lnTo>
                  <a:pt x="128" y="275"/>
                </a:lnTo>
                <a:lnTo>
                  <a:pt x="126" y="275"/>
                </a:lnTo>
                <a:lnTo>
                  <a:pt x="126" y="269"/>
                </a:lnTo>
                <a:lnTo>
                  <a:pt x="127" y="269"/>
                </a:lnTo>
                <a:lnTo>
                  <a:pt x="127" y="267"/>
                </a:lnTo>
                <a:lnTo>
                  <a:pt x="128" y="266"/>
                </a:lnTo>
                <a:lnTo>
                  <a:pt x="130" y="266"/>
                </a:lnTo>
                <a:lnTo>
                  <a:pt x="130" y="265"/>
                </a:lnTo>
                <a:lnTo>
                  <a:pt x="131" y="263"/>
                </a:lnTo>
                <a:lnTo>
                  <a:pt x="131" y="261"/>
                </a:lnTo>
                <a:lnTo>
                  <a:pt x="132" y="261"/>
                </a:lnTo>
                <a:lnTo>
                  <a:pt x="132" y="259"/>
                </a:lnTo>
                <a:lnTo>
                  <a:pt x="131" y="258"/>
                </a:lnTo>
                <a:lnTo>
                  <a:pt x="127" y="255"/>
                </a:lnTo>
                <a:lnTo>
                  <a:pt x="122" y="255"/>
                </a:lnTo>
                <a:lnTo>
                  <a:pt x="121" y="254"/>
                </a:lnTo>
                <a:lnTo>
                  <a:pt x="122" y="254"/>
                </a:lnTo>
                <a:lnTo>
                  <a:pt x="122" y="253"/>
                </a:lnTo>
                <a:lnTo>
                  <a:pt x="125" y="253"/>
                </a:lnTo>
                <a:lnTo>
                  <a:pt x="125" y="246"/>
                </a:lnTo>
                <a:lnTo>
                  <a:pt x="126" y="246"/>
                </a:lnTo>
                <a:lnTo>
                  <a:pt x="130" y="245"/>
                </a:lnTo>
                <a:lnTo>
                  <a:pt x="132" y="245"/>
                </a:lnTo>
                <a:lnTo>
                  <a:pt x="134" y="246"/>
                </a:lnTo>
                <a:lnTo>
                  <a:pt x="136" y="246"/>
                </a:lnTo>
                <a:lnTo>
                  <a:pt x="136" y="247"/>
                </a:lnTo>
                <a:lnTo>
                  <a:pt x="137" y="248"/>
                </a:lnTo>
                <a:lnTo>
                  <a:pt x="139" y="248"/>
                </a:lnTo>
                <a:lnTo>
                  <a:pt x="140" y="249"/>
                </a:lnTo>
                <a:lnTo>
                  <a:pt x="140" y="248"/>
                </a:lnTo>
                <a:lnTo>
                  <a:pt x="138" y="247"/>
                </a:lnTo>
                <a:lnTo>
                  <a:pt x="136" y="245"/>
                </a:lnTo>
                <a:lnTo>
                  <a:pt x="133" y="245"/>
                </a:lnTo>
                <a:lnTo>
                  <a:pt x="133" y="243"/>
                </a:lnTo>
                <a:lnTo>
                  <a:pt x="125" y="243"/>
                </a:lnTo>
                <a:lnTo>
                  <a:pt x="124" y="245"/>
                </a:lnTo>
                <a:lnTo>
                  <a:pt x="124" y="246"/>
                </a:lnTo>
                <a:lnTo>
                  <a:pt x="122" y="246"/>
                </a:lnTo>
                <a:lnTo>
                  <a:pt x="121" y="247"/>
                </a:lnTo>
                <a:lnTo>
                  <a:pt x="120" y="247"/>
                </a:lnTo>
                <a:lnTo>
                  <a:pt x="120" y="248"/>
                </a:lnTo>
                <a:lnTo>
                  <a:pt x="119" y="248"/>
                </a:lnTo>
                <a:lnTo>
                  <a:pt x="115" y="245"/>
                </a:lnTo>
                <a:lnTo>
                  <a:pt x="115" y="246"/>
                </a:lnTo>
                <a:lnTo>
                  <a:pt x="114" y="246"/>
                </a:lnTo>
                <a:lnTo>
                  <a:pt x="114" y="247"/>
                </a:lnTo>
                <a:lnTo>
                  <a:pt x="113" y="247"/>
                </a:lnTo>
                <a:lnTo>
                  <a:pt x="108" y="245"/>
                </a:lnTo>
                <a:lnTo>
                  <a:pt x="108" y="243"/>
                </a:lnTo>
                <a:lnTo>
                  <a:pt x="109" y="245"/>
                </a:lnTo>
                <a:lnTo>
                  <a:pt x="113" y="245"/>
                </a:lnTo>
                <a:lnTo>
                  <a:pt x="113" y="243"/>
                </a:lnTo>
                <a:lnTo>
                  <a:pt x="112" y="242"/>
                </a:lnTo>
                <a:lnTo>
                  <a:pt x="112" y="241"/>
                </a:lnTo>
                <a:lnTo>
                  <a:pt x="110" y="241"/>
                </a:lnTo>
                <a:lnTo>
                  <a:pt x="109" y="240"/>
                </a:lnTo>
                <a:lnTo>
                  <a:pt x="108" y="240"/>
                </a:lnTo>
                <a:lnTo>
                  <a:pt x="112" y="238"/>
                </a:lnTo>
                <a:lnTo>
                  <a:pt x="115" y="238"/>
                </a:lnTo>
                <a:lnTo>
                  <a:pt x="115" y="236"/>
                </a:lnTo>
                <a:lnTo>
                  <a:pt x="113" y="236"/>
                </a:lnTo>
                <a:lnTo>
                  <a:pt x="113" y="235"/>
                </a:lnTo>
                <a:lnTo>
                  <a:pt x="110" y="235"/>
                </a:lnTo>
                <a:lnTo>
                  <a:pt x="112" y="234"/>
                </a:lnTo>
                <a:lnTo>
                  <a:pt x="110" y="233"/>
                </a:lnTo>
                <a:lnTo>
                  <a:pt x="112" y="233"/>
                </a:lnTo>
                <a:lnTo>
                  <a:pt x="114" y="232"/>
                </a:lnTo>
                <a:lnTo>
                  <a:pt x="110" y="230"/>
                </a:lnTo>
                <a:lnTo>
                  <a:pt x="106" y="230"/>
                </a:lnTo>
                <a:lnTo>
                  <a:pt x="107" y="229"/>
                </a:lnTo>
                <a:lnTo>
                  <a:pt x="106" y="229"/>
                </a:lnTo>
                <a:lnTo>
                  <a:pt x="106" y="232"/>
                </a:lnTo>
                <a:lnTo>
                  <a:pt x="105" y="230"/>
                </a:lnTo>
                <a:lnTo>
                  <a:pt x="103" y="230"/>
                </a:lnTo>
                <a:lnTo>
                  <a:pt x="103" y="232"/>
                </a:lnTo>
                <a:lnTo>
                  <a:pt x="99" y="232"/>
                </a:lnTo>
                <a:lnTo>
                  <a:pt x="97" y="233"/>
                </a:lnTo>
                <a:lnTo>
                  <a:pt x="97" y="232"/>
                </a:lnTo>
                <a:lnTo>
                  <a:pt x="96" y="232"/>
                </a:lnTo>
                <a:lnTo>
                  <a:pt x="95" y="230"/>
                </a:lnTo>
                <a:lnTo>
                  <a:pt x="95" y="229"/>
                </a:lnTo>
                <a:lnTo>
                  <a:pt x="94" y="229"/>
                </a:lnTo>
                <a:lnTo>
                  <a:pt x="93" y="228"/>
                </a:lnTo>
                <a:lnTo>
                  <a:pt x="95" y="228"/>
                </a:lnTo>
                <a:lnTo>
                  <a:pt x="96" y="229"/>
                </a:lnTo>
                <a:lnTo>
                  <a:pt x="97" y="229"/>
                </a:lnTo>
                <a:lnTo>
                  <a:pt x="97" y="228"/>
                </a:lnTo>
                <a:lnTo>
                  <a:pt x="99" y="229"/>
                </a:lnTo>
                <a:lnTo>
                  <a:pt x="100" y="229"/>
                </a:lnTo>
                <a:lnTo>
                  <a:pt x="101" y="228"/>
                </a:lnTo>
                <a:lnTo>
                  <a:pt x="102" y="226"/>
                </a:lnTo>
                <a:lnTo>
                  <a:pt x="102" y="224"/>
                </a:lnTo>
                <a:lnTo>
                  <a:pt x="101" y="224"/>
                </a:lnTo>
                <a:lnTo>
                  <a:pt x="100" y="223"/>
                </a:lnTo>
                <a:lnTo>
                  <a:pt x="99" y="223"/>
                </a:lnTo>
                <a:lnTo>
                  <a:pt x="97" y="224"/>
                </a:lnTo>
                <a:lnTo>
                  <a:pt x="95" y="224"/>
                </a:lnTo>
                <a:lnTo>
                  <a:pt x="95" y="226"/>
                </a:lnTo>
                <a:lnTo>
                  <a:pt x="91" y="226"/>
                </a:lnTo>
                <a:lnTo>
                  <a:pt x="91" y="224"/>
                </a:lnTo>
                <a:lnTo>
                  <a:pt x="93" y="223"/>
                </a:lnTo>
                <a:lnTo>
                  <a:pt x="91" y="223"/>
                </a:lnTo>
                <a:lnTo>
                  <a:pt x="90" y="222"/>
                </a:lnTo>
                <a:lnTo>
                  <a:pt x="90" y="226"/>
                </a:lnTo>
                <a:lnTo>
                  <a:pt x="91" y="226"/>
                </a:lnTo>
                <a:lnTo>
                  <a:pt x="91" y="227"/>
                </a:lnTo>
                <a:lnTo>
                  <a:pt x="93" y="228"/>
                </a:lnTo>
                <a:lnTo>
                  <a:pt x="91" y="228"/>
                </a:lnTo>
                <a:lnTo>
                  <a:pt x="90" y="227"/>
                </a:lnTo>
                <a:lnTo>
                  <a:pt x="89" y="227"/>
                </a:lnTo>
                <a:lnTo>
                  <a:pt x="89" y="226"/>
                </a:lnTo>
                <a:lnTo>
                  <a:pt x="88" y="226"/>
                </a:lnTo>
                <a:lnTo>
                  <a:pt x="89" y="227"/>
                </a:lnTo>
                <a:lnTo>
                  <a:pt x="85" y="227"/>
                </a:lnTo>
                <a:lnTo>
                  <a:pt x="84" y="226"/>
                </a:lnTo>
                <a:lnTo>
                  <a:pt x="84" y="227"/>
                </a:lnTo>
                <a:lnTo>
                  <a:pt x="81" y="223"/>
                </a:lnTo>
                <a:lnTo>
                  <a:pt x="81" y="222"/>
                </a:lnTo>
                <a:lnTo>
                  <a:pt x="82" y="221"/>
                </a:lnTo>
                <a:lnTo>
                  <a:pt x="84" y="220"/>
                </a:lnTo>
                <a:lnTo>
                  <a:pt x="84" y="218"/>
                </a:lnTo>
                <a:lnTo>
                  <a:pt x="83" y="218"/>
                </a:lnTo>
                <a:lnTo>
                  <a:pt x="83" y="217"/>
                </a:lnTo>
                <a:lnTo>
                  <a:pt x="82" y="217"/>
                </a:lnTo>
                <a:lnTo>
                  <a:pt x="82" y="216"/>
                </a:lnTo>
                <a:lnTo>
                  <a:pt x="81" y="217"/>
                </a:lnTo>
                <a:lnTo>
                  <a:pt x="82" y="217"/>
                </a:lnTo>
                <a:lnTo>
                  <a:pt x="82" y="220"/>
                </a:lnTo>
                <a:lnTo>
                  <a:pt x="81" y="220"/>
                </a:lnTo>
                <a:lnTo>
                  <a:pt x="81" y="222"/>
                </a:lnTo>
                <a:lnTo>
                  <a:pt x="80" y="222"/>
                </a:lnTo>
                <a:lnTo>
                  <a:pt x="78" y="221"/>
                </a:lnTo>
                <a:lnTo>
                  <a:pt x="77" y="221"/>
                </a:lnTo>
                <a:lnTo>
                  <a:pt x="75" y="218"/>
                </a:lnTo>
                <a:lnTo>
                  <a:pt x="75" y="217"/>
                </a:lnTo>
                <a:lnTo>
                  <a:pt x="76" y="217"/>
                </a:lnTo>
                <a:lnTo>
                  <a:pt x="76" y="216"/>
                </a:lnTo>
                <a:lnTo>
                  <a:pt x="77" y="215"/>
                </a:lnTo>
                <a:lnTo>
                  <a:pt x="77" y="214"/>
                </a:lnTo>
                <a:lnTo>
                  <a:pt x="76" y="215"/>
                </a:lnTo>
                <a:lnTo>
                  <a:pt x="76" y="216"/>
                </a:lnTo>
                <a:lnTo>
                  <a:pt x="74" y="217"/>
                </a:lnTo>
                <a:lnTo>
                  <a:pt x="74" y="218"/>
                </a:lnTo>
                <a:lnTo>
                  <a:pt x="70" y="220"/>
                </a:lnTo>
                <a:lnTo>
                  <a:pt x="70" y="218"/>
                </a:lnTo>
                <a:lnTo>
                  <a:pt x="68" y="216"/>
                </a:lnTo>
                <a:lnTo>
                  <a:pt x="68" y="215"/>
                </a:lnTo>
                <a:lnTo>
                  <a:pt x="63" y="215"/>
                </a:lnTo>
                <a:lnTo>
                  <a:pt x="62" y="214"/>
                </a:lnTo>
                <a:lnTo>
                  <a:pt x="59" y="214"/>
                </a:lnTo>
                <a:lnTo>
                  <a:pt x="59" y="212"/>
                </a:lnTo>
                <a:lnTo>
                  <a:pt x="57" y="214"/>
                </a:lnTo>
                <a:lnTo>
                  <a:pt x="53" y="214"/>
                </a:lnTo>
                <a:lnTo>
                  <a:pt x="53" y="212"/>
                </a:lnTo>
                <a:lnTo>
                  <a:pt x="52" y="211"/>
                </a:lnTo>
                <a:lnTo>
                  <a:pt x="52" y="210"/>
                </a:lnTo>
                <a:lnTo>
                  <a:pt x="51" y="210"/>
                </a:lnTo>
                <a:lnTo>
                  <a:pt x="51" y="209"/>
                </a:lnTo>
                <a:lnTo>
                  <a:pt x="49" y="206"/>
                </a:lnTo>
                <a:lnTo>
                  <a:pt x="47" y="206"/>
                </a:lnTo>
                <a:lnTo>
                  <a:pt x="49" y="208"/>
                </a:lnTo>
                <a:lnTo>
                  <a:pt x="47" y="209"/>
                </a:lnTo>
                <a:lnTo>
                  <a:pt x="46" y="209"/>
                </a:lnTo>
                <a:lnTo>
                  <a:pt x="46" y="210"/>
                </a:lnTo>
                <a:lnTo>
                  <a:pt x="45" y="209"/>
                </a:lnTo>
                <a:lnTo>
                  <a:pt x="41" y="209"/>
                </a:lnTo>
                <a:lnTo>
                  <a:pt x="40" y="210"/>
                </a:lnTo>
                <a:lnTo>
                  <a:pt x="40" y="209"/>
                </a:lnTo>
                <a:lnTo>
                  <a:pt x="39" y="209"/>
                </a:lnTo>
                <a:lnTo>
                  <a:pt x="40" y="210"/>
                </a:lnTo>
                <a:lnTo>
                  <a:pt x="39" y="210"/>
                </a:lnTo>
                <a:lnTo>
                  <a:pt x="39" y="211"/>
                </a:lnTo>
                <a:lnTo>
                  <a:pt x="40" y="211"/>
                </a:lnTo>
                <a:lnTo>
                  <a:pt x="38" y="214"/>
                </a:lnTo>
                <a:lnTo>
                  <a:pt x="32" y="212"/>
                </a:lnTo>
                <a:lnTo>
                  <a:pt x="32" y="211"/>
                </a:lnTo>
                <a:lnTo>
                  <a:pt x="33" y="211"/>
                </a:lnTo>
                <a:lnTo>
                  <a:pt x="33" y="209"/>
                </a:lnTo>
                <a:lnTo>
                  <a:pt x="32" y="208"/>
                </a:lnTo>
                <a:lnTo>
                  <a:pt x="32" y="206"/>
                </a:lnTo>
                <a:lnTo>
                  <a:pt x="31" y="205"/>
                </a:lnTo>
                <a:lnTo>
                  <a:pt x="28" y="202"/>
                </a:lnTo>
                <a:lnTo>
                  <a:pt x="25" y="199"/>
                </a:lnTo>
                <a:lnTo>
                  <a:pt x="23" y="200"/>
                </a:lnTo>
                <a:lnTo>
                  <a:pt x="22" y="199"/>
                </a:lnTo>
                <a:lnTo>
                  <a:pt x="20" y="199"/>
                </a:lnTo>
                <a:lnTo>
                  <a:pt x="16" y="198"/>
                </a:lnTo>
                <a:lnTo>
                  <a:pt x="18" y="197"/>
                </a:lnTo>
                <a:lnTo>
                  <a:pt x="19" y="197"/>
                </a:lnTo>
                <a:lnTo>
                  <a:pt x="32" y="193"/>
                </a:lnTo>
                <a:lnTo>
                  <a:pt x="34" y="195"/>
                </a:lnTo>
                <a:lnTo>
                  <a:pt x="35" y="193"/>
                </a:lnTo>
                <a:lnTo>
                  <a:pt x="35" y="191"/>
                </a:lnTo>
                <a:lnTo>
                  <a:pt x="34" y="190"/>
                </a:lnTo>
                <a:lnTo>
                  <a:pt x="34" y="187"/>
                </a:lnTo>
                <a:lnTo>
                  <a:pt x="32" y="187"/>
                </a:lnTo>
                <a:lnTo>
                  <a:pt x="32" y="186"/>
                </a:lnTo>
                <a:lnTo>
                  <a:pt x="31" y="186"/>
                </a:lnTo>
                <a:lnTo>
                  <a:pt x="28" y="185"/>
                </a:lnTo>
                <a:lnTo>
                  <a:pt x="27" y="185"/>
                </a:lnTo>
                <a:lnTo>
                  <a:pt x="26" y="186"/>
                </a:lnTo>
                <a:lnTo>
                  <a:pt x="26" y="189"/>
                </a:lnTo>
                <a:lnTo>
                  <a:pt x="25" y="190"/>
                </a:lnTo>
                <a:lnTo>
                  <a:pt x="23" y="190"/>
                </a:lnTo>
                <a:lnTo>
                  <a:pt x="23" y="189"/>
                </a:lnTo>
                <a:lnTo>
                  <a:pt x="25" y="187"/>
                </a:lnTo>
                <a:lnTo>
                  <a:pt x="23" y="187"/>
                </a:lnTo>
                <a:lnTo>
                  <a:pt x="23" y="184"/>
                </a:lnTo>
                <a:lnTo>
                  <a:pt x="21" y="184"/>
                </a:lnTo>
                <a:lnTo>
                  <a:pt x="21" y="183"/>
                </a:lnTo>
                <a:lnTo>
                  <a:pt x="23" y="183"/>
                </a:lnTo>
                <a:lnTo>
                  <a:pt x="23" y="181"/>
                </a:lnTo>
                <a:lnTo>
                  <a:pt x="22" y="181"/>
                </a:lnTo>
                <a:lnTo>
                  <a:pt x="23" y="179"/>
                </a:lnTo>
                <a:lnTo>
                  <a:pt x="25" y="179"/>
                </a:lnTo>
                <a:lnTo>
                  <a:pt x="25" y="181"/>
                </a:lnTo>
                <a:lnTo>
                  <a:pt x="26" y="183"/>
                </a:lnTo>
                <a:lnTo>
                  <a:pt x="29" y="181"/>
                </a:lnTo>
                <a:lnTo>
                  <a:pt x="29" y="183"/>
                </a:lnTo>
                <a:lnTo>
                  <a:pt x="32" y="183"/>
                </a:lnTo>
                <a:lnTo>
                  <a:pt x="33" y="181"/>
                </a:lnTo>
                <a:lnTo>
                  <a:pt x="35" y="181"/>
                </a:lnTo>
                <a:lnTo>
                  <a:pt x="35" y="180"/>
                </a:lnTo>
                <a:lnTo>
                  <a:pt x="34" y="180"/>
                </a:lnTo>
                <a:lnTo>
                  <a:pt x="34" y="179"/>
                </a:lnTo>
                <a:lnTo>
                  <a:pt x="35" y="179"/>
                </a:lnTo>
                <a:lnTo>
                  <a:pt x="35" y="178"/>
                </a:lnTo>
                <a:lnTo>
                  <a:pt x="34" y="179"/>
                </a:lnTo>
                <a:lnTo>
                  <a:pt x="28" y="179"/>
                </a:lnTo>
                <a:lnTo>
                  <a:pt x="31" y="177"/>
                </a:lnTo>
                <a:lnTo>
                  <a:pt x="31" y="175"/>
                </a:lnTo>
                <a:lnTo>
                  <a:pt x="33" y="174"/>
                </a:lnTo>
                <a:lnTo>
                  <a:pt x="34" y="174"/>
                </a:lnTo>
                <a:lnTo>
                  <a:pt x="35" y="173"/>
                </a:lnTo>
                <a:lnTo>
                  <a:pt x="33" y="174"/>
                </a:lnTo>
                <a:lnTo>
                  <a:pt x="32" y="174"/>
                </a:lnTo>
                <a:lnTo>
                  <a:pt x="29" y="175"/>
                </a:lnTo>
                <a:lnTo>
                  <a:pt x="28" y="175"/>
                </a:lnTo>
                <a:lnTo>
                  <a:pt x="25" y="178"/>
                </a:lnTo>
                <a:lnTo>
                  <a:pt x="23" y="178"/>
                </a:lnTo>
                <a:lnTo>
                  <a:pt x="22" y="179"/>
                </a:lnTo>
                <a:lnTo>
                  <a:pt x="20" y="179"/>
                </a:lnTo>
                <a:lnTo>
                  <a:pt x="19" y="178"/>
                </a:lnTo>
                <a:lnTo>
                  <a:pt x="18" y="178"/>
                </a:lnTo>
                <a:lnTo>
                  <a:pt x="18" y="179"/>
                </a:lnTo>
                <a:lnTo>
                  <a:pt x="15" y="179"/>
                </a:lnTo>
                <a:lnTo>
                  <a:pt x="14" y="178"/>
                </a:lnTo>
                <a:lnTo>
                  <a:pt x="14" y="177"/>
                </a:lnTo>
                <a:lnTo>
                  <a:pt x="15" y="177"/>
                </a:lnTo>
                <a:lnTo>
                  <a:pt x="14" y="174"/>
                </a:lnTo>
                <a:lnTo>
                  <a:pt x="14" y="172"/>
                </a:lnTo>
                <a:lnTo>
                  <a:pt x="15" y="171"/>
                </a:lnTo>
                <a:lnTo>
                  <a:pt x="14" y="169"/>
                </a:lnTo>
                <a:lnTo>
                  <a:pt x="15" y="168"/>
                </a:lnTo>
                <a:lnTo>
                  <a:pt x="16" y="166"/>
                </a:lnTo>
                <a:lnTo>
                  <a:pt x="16" y="165"/>
                </a:lnTo>
                <a:lnTo>
                  <a:pt x="18" y="165"/>
                </a:lnTo>
                <a:lnTo>
                  <a:pt x="19" y="163"/>
                </a:lnTo>
                <a:lnTo>
                  <a:pt x="20" y="163"/>
                </a:lnTo>
                <a:lnTo>
                  <a:pt x="21" y="165"/>
                </a:lnTo>
                <a:lnTo>
                  <a:pt x="22" y="165"/>
                </a:lnTo>
                <a:lnTo>
                  <a:pt x="22" y="163"/>
                </a:lnTo>
                <a:lnTo>
                  <a:pt x="21" y="162"/>
                </a:lnTo>
                <a:lnTo>
                  <a:pt x="23" y="162"/>
                </a:lnTo>
                <a:lnTo>
                  <a:pt x="23" y="161"/>
                </a:lnTo>
                <a:lnTo>
                  <a:pt x="27" y="161"/>
                </a:lnTo>
                <a:lnTo>
                  <a:pt x="29" y="160"/>
                </a:lnTo>
                <a:lnTo>
                  <a:pt x="29" y="159"/>
                </a:lnTo>
                <a:lnTo>
                  <a:pt x="32" y="159"/>
                </a:lnTo>
                <a:lnTo>
                  <a:pt x="33" y="157"/>
                </a:lnTo>
                <a:lnTo>
                  <a:pt x="34" y="157"/>
                </a:lnTo>
                <a:lnTo>
                  <a:pt x="34" y="160"/>
                </a:lnTo>
                <a:lnTo>
                  <a:pt x="35" y="160"/>
                </a:lnTo>
                <a:lnTo>
                  <a:pt x="37" y="159"/>
                </a:lnTo>
                <a:lnTo>
                  <a:pt x="38" y="159"/>
                </a:lnTo>
                <a:lnTo>
                  <a:pt x="39" y="160"/>
                </a:lnTo>
                <a:lnTo>
                  <a:pt x="39" y="157"/>
                </a:lnTo>
                <a:lnTo>
                  <a:pt x="40" y="156"/>
                </a:lnTo>
                <a:lnTo>
                  <a:pt x="44" y="156"/>
                </a:lnTo>
                <a:lnTo>
                  <a:pt x="44" y="157"/>
                </a:lnTo>
                <a:lnTo>
                  <a:pt x="45" y="157"/>
                </a:lnTo>
                <a:lnTo>
                  <a:pt x="45" y="155"/>
                </a:lnTo>
                <a:lnTo>
                  <a:pt x="47" y="155"/>
                </a:lnTo>
                <a:lnTo>
                  <a:pt x="49" y="154"/>
                </a:lnTo>
                <a:lnTo>
                  <a:pt x="49" y="157"/>
                </a:lnTo>
                <a:lnTo>
                  <a:pt x="50" y="157"/>
                </a:lnTo>
                <a:lnTo>
                  <a:pt x="49" y="159"/>
                </a:lnTo>
                <a:lnTo>
                  <a:pt x="50" y="159"/>
                </a:lnTo>
                <a:lnTo>
                  <a:pt x="50" y="157"/>
                </a:lnTo>
                <a:lnTo>
                  <a:pt x="52" y="157"/>
                </a:lnTo>
                <a:lnTo>
                  <a:pt x="51" y="159"/>
                </a:lnTo>
                <a:lnTo>
                  <a:pt x="52" y="159"/>
                </a:lnTo>
                <a:lnTo>
                  <a:pt x="53" y="160"/>
                </a:lnTo>
                <a:lnTo>
                  <a:pt x="53" y="157"/>
                </a:lnTo>
                <a:lnTo>
                  <a:pt x="54" y="159"/>
                </a:lnTo>
                <a:lnTo>
                  <a:pt x="54" y="155"/>
                </a:lnTo>
                <a:lnTo>
                  <a:pt x="59" y="155"/>
                </a:lnTo>
                <a:lnTo>
                  <a:pt x="60" y="156"/>
                </a:lnTo>
                <a:lnTo>
                  <a:pt x="63" y="156"/>
                </a:lnTo>
                <a:lnTo>
                  <a:pt x="63" y="157"/>
                </a:lnTo>
                <a:lnTo>
                  <a:pt x="65" y="157"/>
                </a:lnTo>
                <a:lnTo>
                  <a:pt x="65" y="154"/>
                </a:lnTo>
                <a:lnTo>
                  <a:pt x="66" y="154"/>
                </a:lnTo>
                <a:lnTo>
                  <a:pt x="65" y="152"/>
                </a:lnTo>
                <a:lnTo>
                  <a:pt x="65" y="150"/>
                </a:lnTo>
                <a:lnTo>
                  <a:pt x="68" y="148"/>
                </a:lnTo>
                <a:lnTo>
                  <a:pt x="68" y="147"/>
                </a:lnTo>
                <a:lnTo>
                  <a:pt x="69" y="148"/>
                </a:lnTo>
                <a:lnTo>
                  <a:pt x="71" y="148"/>
                </a:lnTo>
                <a:lnTo>
                  <a:pt x="71" y="149"/>
                </a:lnTo>
                <a:lnTo>
                  <a:pt x="74" y="149"/>
                </a:lnTo>
                <a:lnTo>
                  <a:pt x="74" y="148"/>
                </a:lnTo>
                <a:lnTo>
                  <a:pt x="77" y="147"/>
                </a:lnTo>
                <a:lnTo>
                  <a:pt x="78" y="147"/>
                </a:lnTo>
                <a:lnTo>
                  <a:pt x="80" y="146"/>
                </a:lnTo>
                <a:lnTo>
                  <a:pt x="81" y="146"/>
                </a:lnTo>
                <a:lnTo>
                  <a:pt x="81" y="149"/>
                </a:lnTo>
                <a:lnTo>
                  <a:pt x="80" y="149"/>
                </a:lnTo>
                <a:lnTo>
                  <a:pt x="80" y="150"/>
                </a:lnTo>
                <a:lnTo>
                  <a:pt x="81" y="149"/>
                </a:lnTo>
                <a:lnTo>
                  <a:pt x="82" y="147"/>
                </a:lnTo>
                <a:lnTo>
                  <a:pt x="83" y="147"/>
                </a:lnTo>
                <a:lnTo>
                  <a:pt x="83" y="146"/>
                </a:lnTo>
                <a:lnTo>
                  <a:pt x="85" y="146"/>
                </a:lnTo>
                <a:lnTo>
                  <a:pt x="85" y="148"/>
                </a:lnTo>
                <a:lnTo>
                  <a:pt x="87" y="148"/>
                </a:lnTo>
                <a:lnTo>
                  <a:pt x="88" y="149"/>
                </a:lnTo>
                <a:lnTo>
                  <a:pt x="88" y="152"/>
                </a:lnTo>
                <a:lnTo>
                  <a:pt x="93" y="152"/>
                </a:lnTo>
                <a:lnTo>
                  <a:pt x="93" y="154"/>
                </a:lnTo>
                <a:lnTo>
                  <a:pt x="91" y="154"/>
                </a:lnTo>
                <a:lnTo>
                  <a:pt x="96" y="159"/>
                </a:lnTo>
                <a:lnTo>
                  <a:pt x="97" y="161"/>
                </a:lnTo>
                <a:lnTo>
                  <a:pt x="97" y="163"/>
                </a:lnTo>
                <a:lnTo>
                  <a:pt x="99" y="163"/>
                </a:lnTo>
                <a:lnTo>
                  <a:pt x="101" y="165"/>
                </a:lnTo>
                <a:lnTo>
                  <a:pt x="101" y="167"/>
                </a:lnTo>
                <a:lnTo>
                  <a:pt x="102" y="167"/>
                </a:lnTo>
                <a:lnTo>
                  <a:pt x="102" y="168"/>
                </a:lnTo>
                <a:lnTo>
                  <a:pt x="103" y="168"/>
                </a:lnTo>
                <a:lnTo>
                  <a:pt x="103" y="167"/>
                </a:lnTo>
                <a:lnTo>
                  <a:pt x="105" y="167"/>
                </a:lnTo>
                <a:lnTo>
                  <a:pt x="106" y="166"/>
                </a:lnTo>
                <a:lnTo>
                  <a:pt x="107" y="163"/>
                </a:lnTo>
                <a:lnTo>
                  <a:pt x="108" y="163"/>
                </a:lnTo>
                <a:lnTo>
                  <a:pt x="109" y="162"/>
                </a:lnTo>
                <a:lnTo>
                  <a:pt x="112" y="161"/>
                </a:lnTo>
                <a:lnTo>
                  <a:pt x="112" y="160"/>
                </a:lnTo>
                <a:lnTo>
                  <a:pt x="110" y="160"/>
                </a:lnTo>
                <a:lnTo>
                  <a:pt x="113" y="159"/>
                </a:lnTo>
                <a:lnTo>
                  <a:pt x="114" y="159"/>
                </a:lnTo>
                <a:lnTo>
                  <a:pt x="114" y="160"/>
                </a:lnTo>
                <a:lnTo>
                  <a:pt x="115" y="160"/>
                </a:lnTo>
                <a:lnTo>
                  <a:pt x="118" y="157"/>
                </a:lnTo>
                <a:lnTo>
                  <a:pt x="118" y="156"/>
                </a:lnTo>
                <a:lnTo>
                  <a:pt x="119" y="157"/>
                </a:lnTo>
                <a:lnTo>
                  <a:pt x="120" y="157"/>
                </a:lnTo>
                <a:lnTo>
                  <a:pt x="120" y="159"/>
                </a:lnTo>
                <a:lnTo>
                  <a:pt x="119" y="159"/>
                </a:lnTo>
                <a:lnTo>
                  <a:pt x="119" y="160"/>
                </a:lnTo>
                <a:lnTo>
                  <a:pt x="118" y="161"/>
                </a:lnTo>
                <a:lnTo>
                  <a:pt x="119" y="161"/>
                </a:lnTo>
                <a:lnTo>
                  <a:pt x="120" y="160"/>
                </a:lnTo>
                <a:lnTo>
                  <a:pt x="121" y="160"/>
                </a:lnTo>
                <a:lnTo>
                  <a:pt x="121" y="161"/>
                </a:lnTo>
                <a:lnTo>
                  <a:pt x="122" y="162"/>
                </a:lnTo>
                <a:lnTo>
                  <a:pt x="122" y="163"/>
                </a:lnTo>
                <a:lnTo>
                  <a:pt x="125" y="163"/>
                </a:lnTo>
                <a:lnTo>
                  <a:pt x="125" y="161"/>
                </a:lnTo>
                <a:lnTo>
                  <a:pt x="126" y="161"/>
                </a:lnTo>
                <a:lnTo>
                  <a:pt x="126" y="160"/>
                </a:lnTo>
                <a:lnTo>
                  <a:pt x="130" y="160"/>
                </a:lnTo>
                <a:lnTo>
                  <a:pt x="131" y="161"/>
                </a:lnTo>
                <a:lnTo>
                  <a:pt x="131" y="165"/>
                </a:lnTo>
                <a:lnTo>
                  <a:pt x="132" y="166"/>
                </a:lnTo>
                <a:lnTo>
                  <a:pt x="132" y="168"/>
                </a:lnTo>
                <a:lnTo>
                  <a:pt x="133" y="168"/>
                </a:lnTo>
                <a:lnTo>
                  <a:pt x="134" y="167"/>
                </a:lnTo>
                <a:lnTo>
                  <a:pt x="132" y="165"/>
                </a:lnTo>
                <a:lnTo>
                  <a:pt x="132" y="162"/>
                </a:lnTo>
                <a:lnTo>
                  <a:pt x="131" y="161"/>
                </a:lnTo>
                <a:lnTo>
                  <a:pt x="131" y="159"/>
                </a:lnTo>
                <a:lnTo>
                  <a:pt x="132" y="159"/>
                </a:lnTo>
                <a:lnTo>
                  <a:pt x="132" y="156"/>
                </a:lnTo>
                <a:lnTo>
                  <a:pt x="134" y="156"/>
                </a:lnTo>
                <a:lnTo>
                  <a:pt x="138" y="155"/>
                </a:lnTo>
                <a:lnTo>
                  <a:pt x="138" y="161"/>
                </a:lnTo>
                <a:lnTo>
                  <a:pt x="140" y="161"/>
                </a:lnTo>
                <a:lnTo>
                  <a:pt x="143" y="162"/>
                </a:lnTo>
                <a:lnTo>
                  <a:pt x="146" y="161"/>
                </a:lnTo>
                <a:lnTo>
                  <a:pt x="149" y="160"/>
                </a:lnTo>
                <a:lnTo>
                  <a:pt x="158" y="160"/>
                </a:lnTo>
                <a:lnTo>
                  <a:pt x="158" y="159"/>
                </a:lnTo>
                <a:lnTo>
                  <a:pt x="155" y="159"/>
                </a:lnTo>
                <a:lnTo>
                  <a:pt x="155" y="157"/>
                </a:lnTo>
                <a:lnTo>
                  <a:pt x="153" y="157"/>
                </a:lnTo>
                <a:lnTo>
                  <a:pt x="152" y="156"/>
                </a:lnTo>
                <a:lnTo>
                  <a:pt x="152" y="155"/>
                </a:lnTo>
                <a:lnTo>
                  <a:pt x="150" y="153"/>
                </a:lnTo>
                <a:lnTo>
                  <a:pt x="150" y="148"/>
                </a:lnTo>
                <a:lnTo>
                  <a:pt x="149" y="147"/>
                </a:lnTo>
                <a:lnTo>
                  <a:pt x="150" y="146"/>
                </a:lnTo>
                <a:lnTo>
                  <a:pt x="150" y="142"/>
                </a:lnTo>
                <a:lnTo>
                  <a:pt x="151" y="142"/>
                </a:lnTo>
                <a:lnTo>
                  <a:pt x="151" y="141"/>
                </a:lnTo>
                <a:lnTo>
                  <a:pt x="150" y="141"/>
                </a:lnTo>
                <a:lnTo>
                  <a:pt x="150" y="140"/>
                </a:lnTo>
                <a:lnTo>
                  <a:pt x="151" y="136"/>
                </a:lnTo>
                <a:lnTo>
                  <a:pt x="151" y="135"/>
                </a:lnTo>
                <a:lnTo>
                  <a:pt x="150" y="135"/>
                </a:lnTo>
                <a:lnTo>
                  <a:pt x="150" y="136"/>
                </a:lnTo>
                <a:lnTo>
                  <a:pt x="149" y="136"/>
                </a:lnTo>
                <a:lnTo>
                  <a:pt x="149" y="129"/>
                </a:lnTo>
                <a:lnTo>
                  <a:pt x="150" y="128"/>
                </a:lnTo>
                <a:lnTo>
                  <a:pt x="149" y="128"/>
                </a:lnTo>
                <a:lnTo>
                  <a:pt x="149" y="124"/>
                </a:lnTo>
                <a:lnTo>
                  <a:pt x="147" y="123"/>
                </a:lnTo>
                <a:lnTo>
                  <a:pt x="150" y="123"/>
                </a:lnTo>
                <a:lnTo>
                  <a:pt x="149" y="122"/>
                </a:lnTo>
                <a:lnTo>
                  <a:pt x="147" y="122"/>
                </a:lnTo>
                <a:lnTo>
                  <a:pt x="147" y="123"/>
                </a:lnTo>
                <a:lnTo>
                  <a:pt x="146" y="122"/>
                </a:lnTo>
                <a:lnTo>
                  <a:pt x="146" y="118"/>
                </a:lnTo>
                <a:lnTo>
                  <a:pt x="145" y="118"/>
                </a:lnTo>
                <a:lnTo>
                  <a:pt x="144" y="117"/>
                </a:lnTo>
                <a:lnTo>
                  <a:pt x="144" y="116"/>
                </a:lnTo>
                <a:lnTo>
                  <a:pt x="145" y="116"/>
                </a:lnTo>
                <a:lnTo>
                  <a:pt x="144" y="114"/>
                </a:lnTo>
                <a:lnTo>
                  <a:pt x="144" y="116"/>
                </a:lnTo>
                <a:lnTo>
                  <a:pt x="141" y="113"/>
                </a:lnTo>
                <a:lnTo>
                  <a:pt x="141" y="112"/>
                </a:lnTo>
                <a:lnTo>
                  <a:pt x="140" y="112"/>
                </a:lnTo>
                <a:lnTo>
                  <a:pt x="140" y="113"/>
                </a:lnTo>
                <a:lnTo>
                  <a:pt x="139" y="113"/>
                </a:lnTo>
                <a:lnTo>
                  <a:pt x="139" y="107"/>
                </a:lnTo>
                <a:lnTo>
                  <a:pt x="138" y="106"/>
                </a:lnTo>
                <a:lnTo>
                  <a:pt x="138" y="105"/>
                </a:lnTo>
                <a:lnTo>
                  <a:pt x="137" y="104"/>
                </a:lnTo>
                <a:lnTo>
                  <a:pt x="137" y="101"/>
                </a:lnTo>
                <a:lnTo>
                  <a:pt x="138" y="101"/>
                </a:lnTo>
                <a:lnTo>
                  <a:pt x="138" y="94"/>
                </a:lnTo>
                <a:lnTo>
                  <a:pt x="136" y="94"/>
                </a:lnTo>
                <a:lnTo>
                  <a:pt x="134" y="93"/>
                </a:lnTo>
                <a:lnTo>
                  <a:pt x="134" y="91"/>
                </a:lnTo>
                <a:lnTo>
                  <a:pt x="139" y="91"/>
                </a:lnTo>
                <a:lnTo>
                  <a:pt x="139" y="92"/>
                </a:lnTo>
                <a:lnTo>
                  <a:pt x="140" y="92"/>
                </a:lnTo>
                <a:lnTo>
                  <a:pt x="141" y="93"/>
                </a:lnTo>
                <a:lnTo>
                  <a:pt x="144" y="93"/>
                </a:lnTo>
                <a:lnTo>
                  <a:pt x="147" y="94"/>
                </a:lnTo>
                <a:lnTo>
                  <a:pt x="147" y="95"/>
                </a:lnTo>
                <a:lnTo>
                  <a:pt x="149" y="95"/>
                </a:lnTo>
                <a:lnTo>
                  <a:pt x="149" y="94"/>
                </a:lnTo>
                <a:lnTo>
                  <a:pt x="153" y="94"/>
                </a:lnTo>
                <a:lnTo>
                  <a:pt x="153" y="92"/>
                </a:lnTo>
                <a:lnTo>
                  <a:pt x="155" y="92"/>
                </a:lnTo>
                <a:lnTo>
                  <a:pt x="157" y="91"/>
                </a:lnTo>
                <a:lnTo>
                  <a:pt x="162" y="92"/>
                </a:lnTo>
                <a:lnTo>
                  <a:pt x="163" y="92"/>
                </a:lnTo>
                <a:lnTo>
                  <a:pt x="163" y="94"/>
                </a:lnTo>
                <a:lnTo>
                  <a:pt x="164" y="95"/>
                </a:lnTo>
                <a:lnTo>
                  <a:pt x="164" y="97"/>
                </a:lnTo>
                <a:lnTo>
                  <a:pt x="163" y="98"/>
                </a:lnTo>
                <a:lnTo>
                  <a:pt x="163" y="99"/>
                </a:lnTo>
                <a:lnTo>
                  <a:pt x="161" y="99"/>
                </a:lnTo>
                <a:lnTo>
                  <a:pt x="161" y="101"/>
                </a:lnTo>
                <a:lnTo>
                  <a:pt x="162" y="103"/>
                </a:lnTo>
                <a:lnTo>
                  <a:pt x="162" y="104"/>
                </a:lnTo>
                <a:lnTo>
                  <a:pt x="163" y="105"/>
                </a:lnTo>
                <a:lnTo>
                  <a:pt x="167" y="110"/>
                </a:lnTo>
                <a:lnTo>
                  <a:pt x="167" y="113"/>
                </a:lnTo>
                <a:lnTo>
                  <a:pt x="168" y="113"/>
                </a:lnTo>
                <a:lnTo>
                  <a:pt x="168" y="114"/>
                </a:lnTo>
                <a:lnTo>
                  <a:pt x="169" y="114"/>
                </a:lnTo>
                <a:lnTo>
                  <a:pt x="169" y="112"/>
                </a:lnTo>
                <a:lnTo>
                  <a:pt x="170" y="112"/>
                </a:lnTo>
                <a:lnTo>
                  <a:pt x="171" y="111"/>
                </a:lnTo>
                <a:lnTo>
                  <a:pt x="181" y="113"/>
                </a:lnTo>
                <a:lnTo>
                  <a:pt x="188" y="114"/>
                </a:lnTo>
                <a:lnTo>
                  <a:pt x="199" y="114"/>
                </a:lnTo>
                <a:lnTo>
                  <a:pt x="200" y="116"/>
                </a:lnTo>
                <a:lnTo>
                  <a:pt x="201" y="116"/>
                </a:lnTo>
                <a:lnTo>
                  <a:pt x="202" y="117"/>
                </a:lnTo>
                <a:lnTo>
                  <a:pt x="207" y="119"/>
                </a:lnTo>
                <a:lnTo>
                  <a:pt x="208" y="118"/>
                </a:lnTo>
                <a:lnTo>
                  <a:pt x="214" y="117"/>
                </a:lnTo>
                <a:lnTo>
                  <a:pt x="217" y="116"/>
                </a:lnTo>
                <a:lnTo>
                  <a:pt x="218" y="114"/>
                </a:lnTo>
                <a:lnTo>
                  <a:pt x="219" y="114"/>
                </a:lnTo>
                <a:lnTo>
                  <a:pt x="220" y="112"/>
                </a:lnTo>
                <a:lnTo>
                  <a:pt x="223" y="110"/>
                </a:lnTo>
                <a:lnTo>
                  <a:pt x="228" y="109"/>
                </a:lnTo>
                <a:lnTo>
                  <a:pt x="233" y="107"/>
                </a:lnTo>
                <a:lnTo>
                  <a:pt x="236" y="107"/>
                </a:lnTo>
                <a:lnTo>
                  <a:pt x="236" y="106"/>
                </a:lnTo>
                <a:lnTo>
                  <a:pt x="237" y="105"/>
                </a:lnTo>
                <a:lnTo>
                  <a:pt x="233" y="107"/>
                </a:lnTo>
                <a:lnTo>
                  <a:pt x="227" y="107"/>
                </a:lnTo>
                <a:lnTo>
                  <a:pt x="224" y="106"/>
                </a:lnTo>
                <a:lnTo>
                  <a:pt x="221" y="106"/>
                </a:lnTo>
                <a:lnTo>
                  <a:pt x="220" y="105"/>
                </a:lnTo>
                <a:lnTo>
                  <a:pt x="220" y="104"/>
                </a:lnTo>
                <a:lnTo>
                  <a:pt x="219" y="104"/>
                </a:lnTo>
                <a:lnTo>
                  <a:pt x="219" y="103"/>
                </a:lnTo>
                <a:lnTo>
                  <a:pt x="221" y="98"/>
                </a:lnTo>
                <a:lnTo>
                  <a:pt x="224" y="92"/>
                </a:lnTo>
                <a:lnTo>
                  <a:pt x="226" y="89"/>
                </a:lnTo>
                <a:lnTo>
                  <a:pt x="227" y="89"/>
                </a:lnTo>
                <a:lnTo>
                  <a:pt x="232" y="87"/>
                </a:lnTo>
                <a:lnTo>
                  <a:pt x="233" y="86"/>
                </a:lnTo>
                <a:lnTo>
                  <a:pt x="238" y="83"/>
                </a:lnTo>
                <a:lnTo>
                  <a:pt x="239" y="82"/>
                </a:lnTo>
                <a:lnTo>
                  <a:pt x="244" y="80"/>
                </a:lnTo>
                <a:lnTo>
                  <a:pt x="248" y="80"/>
                </a:lnTo>
                <a:lnTo>
                  <a:pt x="265" y="75"/>
                </a:lnTo>
                <a:lnTo>
                  <a:pt x="267" y="74"/>
                </a:lnTo>
                <a:lnTo>
                  <a:pt x="268" y="74"/>
                </a:lnTo>
                <a:lnTo>
                  <a:pt x="269" y="71"/>
                </a:lnTo>
                <a:lnTo>
                  <a:pt x="275" y="67"/>
                </a:lnTo>
                <a:lnTo>
                  <a:pt x="277" y="64"/>
                </a:lnTo>
                <a:lnTo>
                  <a:pt x="277" y="63"/>
                </a:lnTo>
                <a:lnTo>
                  <a:pt x="279" y="60"/>
                </a:lnTo>
                <a:lnTo>
                  <a:pt x="280" y="58"/>
                </a:lnTo>
                <a:lnTo>
                  <a:pt x="282" y="58"/>
                </a:lnTo>
                <a:lnTo>
                  <a:pt x="286" y="60"/>
                </a:lnTo>
                <a:lnTo>
                  <a:pt x="286" y="57"/>
                </a:lnTo>
                <a:lnTo>
                  <a:pt x="283" y="57"/>
                </a:lnTo>
                <a:lnTo>
                  <a:pt x="283" y="55"/>
                </a:lnTo>
                <a:lnTo>
                  <a:pt x="281" y="55"/>
                </a:lnTo>
                <a:lnTo>
                  <a:pt x="281" y="49"/>
                </a:lnTo>
                <a:lnTo>
                  <a:pt x="282" y="48"/>
                </a:lnTo>
                <a:lnTo>
                  <a:pt x="283" y="48"/>
                </a:lnTo>
                <a:lnTo>
                  <a:pt x="282" y="45"/>
                </a:lnTo>
                <a:lnTo>
                  <a:pt x="282" y="37"/>
                </a:lnTo>
                <a:lnTo>
                  <a:pt x="283" y="36"/>
                </a:lnTo>
                <a:lnTo>
                  <a:pt x="283" y="34"/>
                </a:lnTo>
                <a:lnTo>
                  <a:pt x="282" y="33"/>
                </a:lnTo>
                <a:lnTo>
                  <a:pt x="282" y="25"/>
                </a:lnTo>
                <a:lnTo>
                  <a:pt x="283" y="23"/>
                </a:lnTo>
                <a:lnTo>
                  <a:pt x="283" y="15"/>
                </a:lnTo>
                <a:lnTo>
                  <a:pt x="282" y="15"/>
                </a:lnTo>
                <a:lnTo>
                  <a:pt x="282" y="14"/>
                </a:lnTo>
                <a:lnTo>
                  <a:pt x="285" y="14"/>
                </a:lnTo>
                <a:lnTo>
                  <a:pt x="286" y="13"/>
                </a:lnTo>
                <a:lnTo>
                  <a:pt x="287" y="13"/>
                </a:lnTo>
                <a:lnTo>
                  <a:pt x="288" y="11"/>
                </a:lnTo>
                <a:lnTo>
                  <a:pt x="289" y="9"/>
                </a:lnTo>
                <a:lnTo>
                  <a:pt x="296" y="6"/>
                </a:lnTo>
                <a:lnTo>
                  <a:pt x="299" y="6"/>
                </a:lnTo>
                <a:lnTo>
                  <a:pt x="306" y="5"/>
                </a:lnTo>
                <a:lnTo>
                  <a:pt x="313" y="2"/>
                </a:lnTo>
                <a:lnTo>
                  <a:pt x="317" y="2"/>
                </a:lnTo>
                <a:lnTo>
                  <a:pt x="320" y="1"/>
                </a:lnTo>
                <a:lnTo>
                  <a:pt x="321" y="1"/>
                </a:lnTo>
                <a:lnTo>
                  <a:pt x="323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94" name="Group 227">
            <a:extLst>
              <a:ext uri="{FF2B5EF4-FFF2-40B4-BE49-F238E27FC236}">
                <a16:creationId xmlns:a16="http://schemas.microsoft.com/office/drawing/2014/main" id="{D1E66343-5D6C-4468-A8C0-F70FCB7F4981}"/>
              </a:ext>
            </a:extLst>
          </p:cNvPr>
          <p:cNvGrpSpPr/>
          <p:nvPr/>
        </p:nvGrpSpPr>
        <p:grpSpPr>
          <a:xfrm rot="672005">
            <a:off x="846393" y="4801897"/>
            <a:ext cx="608839" cy="896381"/>
            <a:chOff x="7689849" y="2601913"/>
            <a:chExt cx="3000375" cy="3944937"/>
          </a:xfrm>
          <a:effectLst>
            <a:outerShdw blurRad="76200" dir="18900000" sy="23000" kx="-1200000" algn="bl" rotWithShape="0">
              <a:prstClr val="black">
                <a:alpha val="17000"/>
              </a:prstClr>
            </a:outerShdw>
          </a:effectLst>
        </p:grpSpPr>
        <p:sp>
          <p:nvSpPr>
            <p:cNvPr id="95" name="Freeform 14">
              <a:extLst>
                <a:ext uri="{FF2B5EF4-FFF2-40B4-BE49-F238E27FC236}">
                  <a16:creationId xmlns:a16="http://schemas.microsoft.com/office/drawing/2014/main" id="{C4703666-A189-45D5-AC4E-ADE61BC40256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3662" y="3327400"/>
              <a:ext cx="723900" cy="2241550"/>
            </a:xfrm>
            <a:custGeom>
              <a:avLst/>
              <a:gdLst/>
              <a:ahLst/>
              <a:cxnLst>
                <a:cxn ang="0">
                  <a:pos x="48" y="0"/>
                </a:cxn>
                <a:cxn ang="0">
                  <a:pos x="456" y="1397"/>
                </a:cxn>
                <a:cxn ang="0">
                  <a:pos x="407" y="1412"/>
                </a:cxn>
                <a:cxn ang="0">
                  <a:pos x="0" y="15"/>
                </a:cxn>
                <a:cxn ang="0">
                  <a:pos x="48" y="0"/>
                </a:cxn>
              </a:cxnLst>
              <a:rect l="0" t="0" r="r" b="b"/>
              <a:pathLst>
                <a:path w="456" h="1412">
                  <a:moveTo>
                    <a:pt x="48" y="0"/>
                  </a:moveTo>
                  <a:lnTo>
                    <a:pt x="456" y="1397"/>
                  </a:lnTo>
                  <a:lnTo>
                    <a:pt x="407" y="1412"/>
                  </a:lnTo>
                  <a:lnTo>
                    <a:pt x="0" y="15"/>
                  </a:lnTo>
                  <a:lnTo>
                    <a:pt x="48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85000"/>
                    <a:shade val="30000"/>
                    <a:satMod val="115000"/>
                  </a:schemeClr>
                </a:gs>
                <a:gs pos="50000">
                  <a:schemeClr val="bg1">
                    <a:lumMod val="85000"/>
                    <a:shade val="67500"/>
                    <a:satMod val="115000"/>
                  </a:schemeClr>
                </a:gs>
                <a:gs pos="100000">
                  <a:schemeClr val="bg1">
                    <a:lumMod val="85000"/>
                    <a:shade val="100000"/>
                    <a:satMod val="115000"/>
                  </a:schemeClr>
                </a:gs>
              </a:gsLst>
              <a:lin ang="0" scaled="1"/>
              <a:tileRect/>
            </a:gra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15">
              <a:extLst>
                <a:ext uri="{FF2B5EF4-FFF2-40B4-BE49-F238E27FC236}">
                  <a16:creationId xmlns:a16="http://schemas.microsoft.com/office/drawing/2014/main" id="{399E32C9-85EA-4EA1-A47B-8D0393C8A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2149" y="5530850"/>
              <a:ext cx="455613" cy="1016000"/>
            </a:xfrm>
            <a:custGeom>
              <a:avLst/>
              <a:gdLst/>
              <a:ahLst/>
              <a:cxnLst>
                <a:cxn ang="0">
                  <a:pos x="110" y="0"/>
                </a:cxn>
                <a:cxn ang="0">
                  <a:pos x="287" y="609"/>
                </a:cxn>
                <a:cxn ang="0">
                  <a:pos x="177" y="640"/>
                </a:cxn>
                <a:cxn ang="0">
                  <a:pos x="0" y="31"/>
                </a:cxn>
                <a:cxn ang="0">
                  <a:pos x="110" y="0"/>
                </a:cxn>
              </a:cxnLst>
              <a:rect l="0" t="0" r="r" b="b"/>
              <a:pathLst>
                <a:path w="287" h="640">
                  <a:moveTo>
                    <a:pt x="110" y="0"/>
                  </a:moveTo>
                  <a:lnTo>
                    <a:pt x="287" y="609"/>
                  </a:lnTo>
                  <a:lnTo>
                    <a:pt x="177" y="640"/>
                  </a:lnTo>
                  <a:lnTo>
                    <a:pt x="0" y="31"/>
                  </a:lnTo>
                  <a:lnTo>
                    <a:pt x="11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1">
                    <a:lumMod val="65000"/>
                    <a:lumOff val="35000"/>
                    <a:shade val="30000"/>
                    <a:satMod val="115000"/>
                  </a:schemeClr>
                </a:gs>
                <a:gs pos="50000">
                  <a:schemeClr val="tx1">
                    <a:lumMod val="65000"/>
                    <a:lumOff val="35000"/>
                    <a:shade val="67500"/>
                    <a:satMod val="115000"/>
                  </a:schemeClr>
                </a:gs>
                <a:gs pos="100000">
                  <a:schemeClr val="tx1">
                    <a:lumMod val="65000"/>
                    <a:lumOff val="35000"/>
                    <a:shade val="100000"/>
                    <a:satMod val="115000"/>
                  </a:schemeClr>
                </a:gs>
              </a:gsLst>
              <a:lin ang="0" scaled="1"/>
              <a:tileRect/>
            </a:gra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13">
              <a:extLst>
                <a:ext uri="{FF2B5EF4-FFF2-40B4-BE49-F238E27FC236}">
                  <a16:creationId xmlns:a16="http://schemas.microsoft.com/office/drawing/2014/main" id="{E7B362BE-3754-4A6C-89FD-57C8C9B38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9849" y="2601913"/>
              <a:ext cx="3000375" cy="2309814"/>
            </a:xfrm>
            <a:custGeom>
              <a:avLst/>
              <a:gdLst/>
              <a:ahLst/>
              <a:cxnLst>
                <a:cxn ang="0">
                  <a:pos x="1423" y="0"/>
                </a:cxn>
                <a:cxn ang="0">
                  <a:pos x="1427" y="16"/>
                </a:cxn>
                <a:cxn ang="0">
                  <a:pos x="1440" y="58"/>
                </a:cxn>
                <a:cxn ang="0">
                  <a:pos x="1464" y="122"/>
                </a:cxn>
                <a:cxn ang="0">
                  <a:pos x="1501" y="203"/>
                </a:cxn>
                <a:cxn ang="0">
                  <a:pos x="1550" y="298"/>
                </a:cxn>
                <a:cxn ang="0">
                  <a:pos x="1617" y="400"/>
                </a:cxn>
                <a:cxn ang="0">
                  <a:pos x="1671" y="482"/>
                </a:cxn>
                <a:cxn ang="0">
                  <a:pos x="1722" y="570"/>
                </a:cxn>
                <a:cxn ang="0">
                  <a:pos x="1768" y="659"/>
                </a:cxn>
                <a:cxn ang="0">
                  <a:pos x="1809" y="741"/>
                </a:cxn>
                <a:cxn ang="0">
                  <a:pos x="1843" y="815"/>
                </a:cxn>
                <a:cxn ang="0">
                  <a:pos x="1867" y="874"/>
                </a:cxn>
                <a:cxn ang="0">
                  <a:pos x="1885" y="912"/>
                </a:cxn>
                <a:cxn ang="0">
                  <a:pos x="1890" y="926"/>
                </a:cxn>
                <a:cxn ang="0">
                  <a:pos x="1820" y="942"/>
                </a:cxn>
                <a:cxn ang="0">
                  <a:pos x="1740" y="974"/>
                </a:cxn>
                <a:cxn ang="0">
                  <a:pos x="1602" y="1042"/>
                </a:cxn>
                <a:cxn ang="0">
                  <a:pos x="1501" y="1090"/>
                </a:cxn>
                <a:cxn ang="0">
                  <a:pos x="1396" y="1130"/>
                </a:cxn>
                <a:cxn ang="0">
                  <a:pos x="1288" y="1159"/>
                </a:cxn>
                <a:cxn ang="0">
                  <a:pos x="1182" y="1167"/>
                </a:cxn>
                <a:cxn ang="0">
                  <a:pos x="1067" y="1166"/>
                </a:cxn>
                <a:cxn ang="0">
                  <a:pos x="979" y="1171"/>
                </a:cxn>
                <a:cxn ang="0">
                  <a:pos x="915" y="1181"/>
                </a:cxn>
                <a:cxn ang="0">
                  <a:pos x="866" y="1198"/>
                </a:cxn>
                <a:cxn ang="0">
                  <a:pos x="831" y="1219"/>
                </a:cxn>
                <a:cxn ang="0">
                  <a:pos x="776" y="1262"/>
                </a:cxn>
                <a:cxn ang="0">
                  <a:pos x="733" y="1295"/>
                </a:cxn>
                <a:cxn ang="0">
                  <a:pos x="687" y="1324"/>
                </a:cxn>
                <a:cxn ang="0">
                  <a:pos x="624" y="1357"/>
                </a:cxn>
                <a:cxn ang="0">
                  <a:pos x="578" y="1375"/>
                </a:cxn>
                <a:cxn ang="0">
                  <a:pos x="519" y="1393"/>
                </a:cxn>
                <a:cxn ang="0">
                  <a:pos x="455" y="1413"/>
                </a:cxn>
                <a:cxn ang="0">
                  <a:pos x="394" y="1429"/>
                </a:cxn>
                <a:cxn ang="0">
                  <a:pos x="340" y="1443"/>
                </a:cxn>
                <a:cxn ang="0">
                  <a:pos x="293" y="1454"/>
                </a:cxn>
                <a:cxn ang="0">
                  <a:pos x="0" y="435"/>
                </a:cxn>
                <a:cxn ang="0">
                  <a:pos x="16" y="432"/>
                </a:cxn>
                <a:cxn ang="0">
                  <a:pos x="55" y="425"/>
                </a:cxn>
                <a:cxn ang="0">
                  <a:pos x="107" y="410"/>
                </a:cxn>
                <a:cxn ang="0">
                  <a:pos x="160" y="391"/>
                </a:cxn>
                <a:cxn ang="0">
                  <a:pos x="204" y="362"/>
                </a:cxn>
                <a:cxn ang="0">
                  <a:pos x="249" y="324"/>
                </a:cxn>
                <a:cxn ang="0">
                  <a:pos x="304" y="292"/>
                </a:cxn>
                <a:cxn ang="0">
                  <a:pos x="373" y="273"/>
                </a:cxn>
                <a:cxn ang="0">
                  <a:pos x="460" y="267"/>
                </a:cxn>
                <a:cxn ang="0">
                  <a:pos x="560" y="266"/>
                </a:cxn>
                <a:cxn ang="0">
                  <a:pos x="645" y="258"/>
                </a:cxn>
                <a:cxn ang="0">
                  <a:pos x="722" y="247"/>
                </a:cxn>
                <a:cxn ang="0">
                  <a:pos x="791" y="235"/>
                </a:cxn>
                <a:cxn ang="0">
                  <a:pos x="857" y="206"/>
                </a:cxn>
                <a:cxn ang="0">
                  <a:pos x="935" y="165"/>
                </a:cxn>
                <a:cxn ang="0">
                  <a:pos x="1017" y="118"/>
                </a:cxn>
                <a:cxn ang="0">
                  <a:pos x="1104" y="72"/>
                </a:cxn>
                <a:cxn ang="0">
                  <a:pos x="1195" y="37"/>
                </a:cxn>
                <a:cxn ang="0">
                  <a:pos x="1284" y="15"/>
                </a:cxn>
                <a:cxn ang="0">
                  <a:pos x="1357" y="4"/>
                </a:cxn>
                <a:cxn ang="0">
                  <a:pos x="1405" y="0"/>
                </a:cxn>
              </a:cxnLst>
              <a:rect l="0" t="0" r="r" b="b"/>
              <a:pathLst>
                <a:path w="1890" h="1455">
                  <a:moveTo>
                    <a:pt x="1405" y="0"/>
                  </a:moveTo>
                  <a:lnTo>
                    <a:pt x="1423" y="0"/>
                  </a:lnTo>
                  <a:lnTo>
                    <a:pt x="1425" y="4"/>
                  </a:lnTo>
                  <a:lnTo>
                    <a:pt x="1427" y="16"/>
                  </a:lnTo>
                  <a:lnTo>
                    <a:pt x="1432" y="33"/>
                  </a:lnTo>
                  <a:lnTo>
                    <a:pt x="1440" y="58"/>
                  </a:lnTo>
                  <a:lnTo>
                    <a:pt x="1451" y="87"/>
                  </a:lnTo>
                  <a:lnTo>
                    <a:pt x="1464" y="122"/>
                  </a:lnTo>
                  <a:lnTo>
                    <a:pt x="1481" y="161"/>
                  </a:lnTo>
                  <a:lnTo>
                    <a:pt x="1501" y="203"/>
                  </a:lnTo>
                  <a:lnTo>
                    <a:pt x="1524" y="249"/>
                  </a:lnTo>
                  <a:lnTo>
                    <a:pt x="1550" y="298"/>
                  </a:lnTo>
                  <a:lnTo>
                    <a:pt x="1582" y="349"/>
                  </a:lnTo>
                  <a:lnTo>
                    <a:pt x="1617" y="400"/>
                  </a:lnTo>
                  <a:lnTo>
                    <a:pt x="1645" y="440"/>
                  </a:lnTo>
                  <a:lnTo>
                    <a:pt x="1671" y="482"/>
                  </a:lnTo>
                  <a:lnTo>
                    <a:pt x="1697" y="527"/>
                  </a:lnTo>
                  <a:lnTo>
                    <a:pt x="1722" y="570"/>
                  </a:lnTo>
                  <a:lnTo>
                    <a:pt x="1746" y="614"/>
                  </a:lnTo>
                  <a:lnTo>
                    <a:pt x="1768" y="659"/>
                  </a:lnTo>
                  <a:lnTo>
                    <a:pt x="1790" y="701"/>
                  </a:lnTo>
                  <a:lnTo>
                    <a:pt x="1809" y="741"/>
                  </a:lnTo>
                  <a:lnTo>
                    <a:pt x="1827" y="779"/>
                  </a:lnTo>
                  <a:lnTo>
                    <a:pt x="1843" y="815"/>
                  </a:lnTo>
                  <a:lnTo>
                    <a:pt x="1857" y="846"/>
                  </a:lnTo>
                  <a:lnTo>
                    <a:pt x="1867" y="874"/>
                  </a:lnTo>
                  <a:lnTo>
                    <a:pt x="1877" y="896"/>
                  </a:lnTo>
                  <a:lnTo>
                    <a:pt x="1885" y="912"/>
                  </a:lnTo>
                  <a:lnTo>
                    <a:pt x="1888" y="922"/>
                  </a:lnTo>
                  <a:lnTo>
                    <a:pt x="1890" y="926"/>
                  </a:lnTo>
                  <a:lnTo>
                    <a:pt x="1857" y="931"/>
                  </a:lnTo>
                  <a:lnTo>
                    <a:pt x="1820" y="942"/>
                  </a:lnTo>
                  <a:lnTo>
                    <a:pt x="1781" y="956"/>
                  </a:lnTo>
                  <a:lnTo>
                    <a:pt x="1740" y="974"/>
                  </a:lnTo>
                  <a:lnTo>
                    <a:pt x="1696" y="995"/>
                  </a:lnTo>
                  <a:lnTo>
                    <a:pt x="1602" y="1042"/>
                  </a:lnTo>
                  <a:lnTo>
                    <a:pt x="1552" y="1066"/>
                  </a:lnTo>
                  <a:lnTo>
                    <a:pt x="1501" y="1090"/>
                  </a:lnTo>
                  <a:lnTo>
                    <a:pt x="1448" y="1111"/>
                  </a:lnTo>
                  <a:lnTo>
                    <a:pt x="1396" y="1130"/>
                  </a:lnTo>
                  <a:lnTo>
                    <a:pt x="1342" y="1146"/>
                  </a:lnTo>
                  <a:lnTo>
                    <a:pt x="1288" y="1159"/>
                  </a:lnTo>
                  <a:lnTo>
                    <a:pt x="1235" y="1166"/>
                  </a:lnTo>
                  <a:lnTo>
                    <a:pt x="1182" y="1167"/>
                  </a:lnTo>
                  <a:lnTo>
                    <a:pt x="1121" y="1166"/>
                  </a:lnTo>
                  <a:lnTo>
                    <a:pt x="1067" y="1166"/>
                  </a:lnTo>
                  <a:lnTo>
                    <a:pt x="1020" y="1167"/>
                  </a:lnTo>
                  <a:lnTo>
                    <a:pt x="979" y="1171"/>
                  </a:lnTo>
                  <a:lnTo>
                    <a:pt x="945" y="1176"/>
                  </a:lnTo>
                  <a:lnTo>
                    <a:pt x="915" y="1181"/>
                  </a:lnTo>
                  <a:lnTo>
                    <a:pt x="889" y="1189"/>
                  </a:lnTo>
                  <a:lnTo>
                    <a:pt x="866" y="1198"/>
                  </a:lnTo>
                  <a:lnTo>
                    <a:pt x="848" y="1207"/>
                  </a:lnTo>
                  <a:lnTo>
                    <a:pt x="831" y="1219"/>
                  </a:lnTo>
                  <a:lnTo>
                    <a:pt x="800" y="1243"/>
                  </a:lnTo>
                  <a:lnTo>
                    <a:pt x="776" y="1262"/>
                  </a:lnTo>
                  <a:lnTo>
                    <a:pt x="754" y="1279"/>
                  </a:lnTo>
                  <a:lnTo>
                    <a:pt x="733" y="1295"/>
                  </a:lnTo>
                  <a:lnTo>
                    <a:pt x="712" y="1310"/>
                  </a:lnTo>
                  <a:lnTo>
                    <a:pt x="687" y="1324"/>
                  </a:lnTo>
                  <a:lnTo>
                    <a:pt x="658" y="1340"/>
                  </a:lnTo>
                  <a:lnTo>
                    <a:pt x="624" y="1357"/>
                  </a:lnTo>
                  <a:lnTo>
                    <a:pt x="603" y="1366"/>
                  </a:lnTo>
                  <a:lnTo>
                    <a:pt x="578" y="1375"/>
                  </a:lnTo>
                  <a:lnTo>
                    <a:pt x="549" y="1384"/>
                  </a:lnTo>
                  <a:lnTo>
                    <a:pt x="519" y="1393"/>
                  </a:lnTo>
                  <a:lnTo>
                    <a:pt x="488" y="1404"/>
                  </a:lnTo>
                  <a:lnTo>
                    <a:pt x="455" y="1413"/>
                  </a:lnTo>
                  <a:lnTo>
                    <a:pt x="424" y="1421"/>
                  </a:lnTo>
                  <a:lnTo>
                    <a:pt x="394" y="1429"/>
                  </a:lnTo>
                  <a:lnTo>
                    <a:pt x="365" y="1437"/>
                  </a:lnTo>
                  <a:lnTo>
                    <a:pt x="340" y="1443"/>
                  </a:lnTo>
                  <a:lnTo>
                    <a:pt x="319" y="1447"/>
                  </a:lnTo>
                  <a:lnTo>
                    <a:pt x="293" y="1454"/>
                  </a:lnTo>
                  <a:lnTo>
                    <a:pt x="289" y="1455"/>
                  </a:lnTo>
                  <a:lnTo>
                    <a:pt x="0" y="435"/>
                  </a:lnTo>
                  <a:lnTo>
                    <a:pt x="4" y="435"/>
                  </a:lnTo>
                  <a:lnTo>
                    <a:pt x="16" y="432"/>
                  </a:lnTo>
                  <a:lnTo>
                    <a:pt x="33" y="430"/>
                  </a:lnTo>
                  <a:lnTo>
                    <a:pt x="55" y="425"/>
                  </a:lnTo>
                  <a:lnTo>
                    <a:pt x="80" y="418"/>
                  </a:lnTo>
                  <a:lnTo>
                    <a:pt x="107" y="410"/>
                  </a:lnTo>
                  <a:lnTo>
                    <a:pt x="134" y="401"/>
                  </a:lnTo>
                  <a:lnTo>
                    <a:pt x="160" y="391"/>
                  </a:lnTo>
                  <a:lnTo>
                    <a:pt x="184" y="377"/>
                  </a:lnTo>
                  <a:lnTo>
                    <a:pt x="204" y="362"/>
                  </a:lnTo>
                  <a:lnTo>
                    <a:pt x="226" y="342"/>
                  </a:lnTo>
                  <a:lnTo>
                    <a:pt x="249" y="324"/>
                  </a:lnTo>
                  <a:lnTo>
                    <a:pt x="276" y="307"/>
                  </a:lnTo>
                  <a:lnTo>
                    <a:pt x="304" y="292"/>
                  </a:lnTo>
                  <a:lnTo>
                    <a:pt x="336" y="282"/>
                  </a:lnTo>
                  <a:lnTo>
                    <a:pt x="373" y="273"/>
                  </a:lnTo>
                  <a:lnTo>
                    <a:pt x="414" y="269"/>
                  </a:lnTo>
                  <a:lnTo>
                    <a:pt x="460" y="267"/>
                  </a:lnTo>
                  <a:lnTo>
                    <a:pt x="513" y="267"/>
                  </a:lnTo>
                  <a:lnTo>
                    <a:pt x="560" y="266"/>
                  </a:lnTo>
                  <a:lnTo>
                    <a:pt x="604" y="262"/>
                  </a:lnTo>
                  <a:lnTo>
                    <a:pt x="645" y="258"/>
                  </a:lnTo>
                  <a:lnTo>
                    <a:pt x="684" y="253"/>
                  </a:lnTo>
                  <a:lnTo>
                    <a:pt x="722" y="247"/>
                  </a:lnTo>
                  <a:lnTo>
                    <a:pt x="762" y="241"/>
                  </a:lnTo>
                  <a:lnTo>
                    <a:pt x="791" y="235"/>
                  </a:lnTo>
                  <a:lnTo>
                    <a:pt x="823" y="223"/>
                  </a:lnTo>
                  <a:lnTo>
                    <a:pt x="857" y="206"/>
                  </a:lnTo>
                  <a:lnTo>
                    <a:pt x="895" y="186"/>
                  </a:lnTo>
                  <a:lnTo>
                    <a:pt x="935" y="165"/>
                  </a:lnTo>
                  <a:lnTo>
                    <a:pt x="975" y="142"/>
                  </a:lnTo>
                  <a:lnTo>
                    <a:pt x="1017" y="118"/>
                  </a:lnTo>
                  <a:lnTo>
                    <a:pt x="1060" y="95"/>
                  </a:lnTo>
                  <a:lnTo>
                    <a:pt x="1104" y="72"/>
                  </a:lnTo>
                  <a:lnTo>
                    <a:pt x="1148" y="54"/>
                  </a:lnTo>
                  <a:lnTo>
                    <a:pt x="1195" y="37"/>
                  </a:lnTo>
                  <a:lnTo>
                    <a:pt x="1241" y="24"/>
                  </a:lnTo>
                  <a:lnTo>
                    <a:pt x="1284" y="15"/>
                  </a:lnTo>
                  <a:lnTo>
                    <a:pt x="1322" y="8"/>
                  </a:lnTo>
                  <a:lnTo>
                    <a:pt x="1357" y="4"/>
                  </a:lnTo>
                  <a:lnTo>
                    <a:pt x="1384" y="2"/>
                  </a:lnTo>
                  <a:lnTo>
                    <a:pt x="1405" y="0"/>
                  </a:lnTo>
                  <a:close/>
                </a:path>
              </a:pathLst>
            </a:custGeom>
            <a:blipFill dpi="0" rotWithShape="1"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178647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746319-778D-4FBC-9CA5-614FACA00834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4175206" y="6325766"/>
            <a:ext cx="4900087" cy="293322"/>
          </a:xfrm>
        </p:spPr>
        <p:txBody>
          <a:bodyPr/>
          <a:lstStyle/>
          <a:p>
            <a:r>
              <a:rPr lang="en-US" dirty="0" err="1"/>
              <a:t>Europäischer</a:t>
            </a:r>
            <a:r>
              <a:rPr lang="en-US" dirty="0"/>
              <a:t> </a:t>
            </a:r>
            <a:r>
              <a:rPr lang="en-US" dirty="0" err="1"/>
              <a:t>Vergleich</a:t>
            </a:r>
            <a:r>
              <a:rPr lang="en-US" dirty="0"/>
              <a:t> der </a:t>
            </a:r>
            <a:r>
              <a:rPr lang="en-US" dirty="0" err="1"/>
              <a:t>Regulierungsintensität</a:t>
            </a:r>
            <a:r>
              <a:rPr lang="en-US" dirty="0"/>
              <a:t> </a:t>
            </a:r>
            <a:r>
              <a:rPr lang="en-US" dirty="0" err="1"/>
              <a:t>im</a:t>
            </a:r>
            <a:r>
              <a:rPr lang="en-US" dirty="0"/>
              <a:t> </a:t>
            </a:r>
            <a:r>
              <a:rPr lang="en-US" dirty="0" err="1"/>
              <a:t>Postsektor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A51AE9-2B16-4F40-B911-5FF43E4529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F70EEBF-E97C-49FF-B05B-3B4D348638DC}" type="slidenum">
              <a:rPr lang="en-US" smtClean="0"/>
              <a:pPr/>
              <a:t>6</a:t>
            </a:fld>
            <a:endParaRPr lang="en-US" dirty="0"/>
          </a:p>
        </p:txBody>
      </p:sp>
      <p:cxnSp>
        <p:nvCxnSpPr>
          <p:cNvPr id="91" name="Straight Connector 145">
            <a:extLst>
              <a:ext uri="{FF2B5EF4-FFF2-40B4-BE49-F238E27FC236}">
                <a16:creationId xmlns:a16="http://schemas.microsoft.com/office/drawing/2014/main" id="{61AA8C87-2648-409D-A1B6-181424C9C201}"/>
              </a:ext>
            </a:extLst>
          </p:cNvPr>
          <p:cNvCxnSpPr>
            <a:cxnSpLocks/>
          </p:cNvCxnSpPr>
          <p:nvPr/>
        </p:nvCxnSpPr>
        <p:spPr>
          <a:xfrm flipH="1">
            <a:off x="5125378" y="1774414"/>
            <a:ext cx="15263" cy="4410076"/>
          </a:xfrm>
          <a:prstGeom prst="line">
            <a:avLst/>
          </a:prstGeom>
          <a:ln w="889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7" name="Group 1">
            <a:extLst>
              <a:ext uri="{FF2B5EF4-FFF2-40B4-BE49-F238E27FC236}">
                <a16:creationId xmlns:a16="http://schemas.microsoft.com/office/drawing/2014/main" id="{DF724E20-F84B-40AA-890B-11CDA80E2947}"/>
              </a:ext>
            </a:extLst>
          </p:cNvPr>
          <p:cNvGrpSpPr/>
          <p:nvPr/>
        </p:nvGrpSpPr>
        <p:grpSpPr>
          <a:xfrm>
            <a:off x="796928" y="690314"/>
            <a:ext cx="5475080" cy="553998"/>
            <a:chOff x="796928" y="836802"/>
            <a:chExt cx="5475080" cy="553998"/>
          </a:xfrm>
        </p:grpSpPr>
        <p:sp>
          <p:nvSpPr>
            <p:cNvPr id="92" name="TextBox 142">
              <a:extLst>
                <a:ext uri="{FF2B5EF4-FFF2-40B4-BE49-F238E27FC236}">
                  <a16:creationId xmlns:a16="http://schemas.microsoft.com/office/drawing/2014/main" id="{6C7E8A18-012B-46B1-9680-98BB430D987C}"/>
                </a:ext>
              </a:extLst>
            </p:cNvPr>
            <p:cNvSpPr txBox="1"/>
            <p:nvPr/>
          </p:nvSpPr>
          <p:spPr>
            <a:xfrm>
              <a:off x="1069295" y="836802"/>
              <a:ext cx="5202713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000" dirty="0" err="1">
                  <a:solidFill>
                    <a:schemeClr val="accent1"/>
                  </a:solidFill>
                  <a:latin typeface="+mj-lt"/>
                </a:rPr>
                <a:t>Frankreich</a:t>
              </a:r>
              <a:r>
                <a:rPr lang="en-US" sz="3000" dirty="0">
                  <a:solidFill>
                    <a:schemeClr val="accent1"/>
                  </a:solidFill>
                  <a:latin typeface="+mj-lt"/>
                </a:rPr>
                <a:t> und </a:t>
              </a:r>
              <a:r>
                <a:rPr lang="en-US" sz="3000" dirty="0" err="1">
                  <a:solidFill>
                    <a:schemeClr val="accent1"/>
                  </a:solidFill>
                  <a:latin typeface="+mj-lt"/>
                </a:rPr>
                <a:t>Belgien</a:t>
              </a:r>
              <a:r>
                <a:rPr lang="en-US" sz="3000" dirty="0">
                  <a:solidFill>
                    <a:schemeClr val="accent1"/>
                  </a:solidFill>
                  <a:latin typeface="+mj-lt"/>
                </a:rPr>
                <a:t> </a:t>
              </a:r>
              <a:endParaRPr lang="en-US" sz="3000" spc="-200" dirty="0">
                <a:solidFill>
                  <a:schemeClr val="accent1"/>
                </a:solidFill>
                <a:latin typeface="+mj-lt"/>
              </a:endParaRPr>
            </a:p>
          </p:txBody>
        </p:sp>
        <p:cxnSp>
          <p:nvCxnSpPr>
            <p:cNvPr id="93" name="Straight Connector 145">
              <a:extLst>
                <a:ext uri="{FF2B5EF4-FFF2-40B4-BE49-F238E27FC236}">
                  <a16:creationId xmlns:a16="http://schemas.microsoft.com/office/drawing/2014/main" id="{D4D4BFBA-6AF9-43D9-B65E-7983B5A4EC19}"/>
                </a:ext>
              </a:extLst>
            </p:cNvPr>
            <p:cNvCxnSpPr>
              <a:cxnSpLocks/>
            </p:cNvCxnSpPr>
            <p:nvPr/>
          </p:nvCxnSpPr>
          <p:spPr>
            <a:xfrm>
              <a:off x="796928" y="858120"/>
              <a:ext cx="0" cy="531091"/>
            </a:xfrm>
            <a:prstGeom prst="line">
              <a:avLst/>
            </a:prstGeom>
            <a:ln w="889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5" name="Freeform 6">
            <a:extLst>
              <a:ext uri="{FF2B5EF4-FFF2-40B4-BE49-F238E27FC236}">
                <a16:creationId xmlns:a16="http://schemas.microsoft.com/office/drawing/2014/main" id="{9E9D6972-6B9F-47C5-8D58-3623B648C1A9}"/>
              </a:ext>
            </a:extLst>
          </p:cNvPr>
          <p:cNvSpPr>
            <a:spLocks noEditPoints="1"/>
          </p:cNvSpPr>
          <p:nvPr/>
        </p:nvSpPr>
        <p:spPr bwMode="auto">
          <a:xfrm>
            <a:off x="2585006" y="4485772"/>
            <a:ext cx="1101194" cy="736062"/>
          </a:xfrm>
          <a:custGeom>
            <a:avLst/>
            <a:gdLst/>
            <a:ahLst/>
            <a:cxnLst>
              <a:cxn ang="0">
                <a:pos x="472" y="405"/>
              </a:cxn>
              <a:cxn ang="0">
                <a:pos x="555" y="395"/>
              </a:cxn>
              <a:cxn ang="0">
                <a:pos x="405" y="334"/>
              </a:cxn>
              <a:cxn ang="0">
                <a:pos x="492" y="1"/>
              </a:cxn>
              <a:cxn ang="0">
                <a:pos x="518" y="43"/>
              </a:cxn>
              <a:cxn ang="0">
                <a:pos x="535" y="81"/>
              </a:cxn>
              <a:cxn ang="0">
                <a:pos x="558" y="102"/>
              </a:cxn>
              <a:cxn ang="0">
                <a:pos x="591" y="132"/>
              </a:cxn>
              <a:cxn ang="0">
                <a:pos x="652" y="147"/>
              </a:cxn>
              <a:cxn ang="0">
                <a:pos x="701" y="167"/>
              </a:cxn>
              <a:cxn ang="0">
                <a:pos x="746" y="190"/>
              </a:cxn>
              <a:cxn ang="0">
                <a:pos x="740" y="227"/>
              </a:cxn>
              <a:cxn ang="0">
                <a:pos x="738" y="250"/>
              </a:cxn>
              <a:cxn ang="0">
                <a:pos x="745" y="295"/>
              </a:cxn>
              <a:cxn ang="0">
                <a:pos x="680" y="326"/>
              </a:cxn>
              <a:cxn ang="0">
                <a:pos x="640" y="358"/>
              </a:cxn>
              <a:cxn ang="0">
                <a:pos x="597" y="372"/>
              </a:cxn>
              <a:cxn ang="0">
                <a:pos x="555" y="391"/>
              </a:cxn>
              <a:cxn ang="0">
                <a:pos x="544" y="431"/>
              </a:cxn>
              <a:cxn ang="0">
                <a:pos x="598" y="444"/>
              </a:cxn>
              <a:cxn ang="0">
                <a:pos x="595" y="471"/>
              </a:cxn>
              <a:cxn ang="0">
                <a:pos x="546" y="483"/>
              </a:cxn>
              <a:cxn ang="0">
                <a:pos x="494" y="507"/>
              </a:cxn>
              <a:cxn ang="0">
                <a:pos x="483" y="470"/>
              </a:cxn>
              <a:cxn ang="0">
                <a:pos x="443" y="440"/>
              </a:cxn>
              <a:cxn ang="0">
                <a:pos x="487" y="420"/>
              </a:cxn>
              <a:cxn ang="0">
                <a:pos x="467" y="402"/>
              </a:cxn>
              <a:cxn ang="0">
                <a:pos x="428" y="400"/>
              </a:cxn>
              <a:cxn ang="0">
                <a:pos x="401" y="383"/>
              </a:cxn>
              <a:cxn ang="0">
                <a:pos x="422" y="377"/>
              </a:cxn>
              <a:cxn ang="0">
                <a:pos x="412" y="360"/>
              </a:cxn>
              <a:cxn ang="0">
                <a:pos x="392" y="363"/>
              </a:cxn>
              <a:cxn ang="0">
                <a:pos x="365" y="384"/>
              </a:cxn>
              <a:cxn ang="0">
                <a:pos x="330" y="425"/>
              </a:cxn>
              <a:cxn ang="0">
                <a:pos x="314" y="438"/>
              </a:cxn>
              <a:cxn ang="0">
                <a:pos x="318" y="457"/>
              </a:cxn>
              <a:cxn ang="0">
                <a:pos x="281" y="457"/>
              </a:cxn>
              <a:cxn ang="0">
                <a:pos x="268" y="433"/>
              </a:cxn>
              <a:cxn ang="0">
                <a:pos x="291" y="400"/>
              </a:cxn>
              <a:cxn ang="0">
                <a:pos x="317" y="385"/>
              </a:cxn>
              <a:cxn ang="0">
                <a:pos x="330" y="367"/>
              </a:cxn>
              <a:cxn ang="0">
                <a:pos x="314" y="334"/>
              </a:cxn>
              <a:cxn ang="0">
                <a:pos x="298" y="305"/>
              </a:cxn>
              <a:cxn ang="0">
                <a:pos x="279" y="279"/>
              </a:cxn>
              <a:cxn ang="0">
                <a:pos x="251" y="273"/>
              </a:cxn>
              <a:cxn ang="0">
                <a:pos x="205" y="265"/>
              </a:cxn>
              <a:cxn ang="0">
                <a:pos x="171" y="285"/>
              </a:cxn>
              <a:cxn ang="0">
                <a:pos x="88" y="295"/>
              </a:cxn>
              <a:cxn ang="0">
                <a:pos x="36" y="289"/>
              </a:cxn>
              <a:cxn ang="0">
                <a:pos x="9" y="272"/>
              </a:cxn>
              <a:cxn ang="0">
                <a:pos x="18" y="218"/>
              </a:cxn>
              <a:cxn ang="0">
                <a:pos x="32" y="174"/>
              </a:cxn>
              <a:cxn ang="0">
                <a:pos x="80" y="108"/>
              </a:cxn>
              <a:cxn ang="0">
                <a:pos x="63" y="70"/>
              </a:cxn>
              <a:cxn ang="0">
                <a:pos x="121" y="31"/>
              </a:cxn>
              <a:cxn ang="0">
                <a:pos x="223" y="53"/>
              </a:cxn>
              <a:cxn ang="0">
                <a:pos x="257" y="51"/>
              </a:cxn>
              <a:cxn ang="0">
                <a:pos x="291" y="51"/>
              </a:cxn>
              <a:cxn ang="0">
                <a:pos x="319" y="61"/>
              </a:cxn>
              <a:cxn ang="0">
                <a:pos x="359" y="70"/>
              </a:cxn>
              <a:cxn ang="0">
                <a:pos x="357" y="41"/>
              </a:cxn>
              <a:cxn ang="0">
                <a:pos x="387" y="19"/>
              </a:cxn>
              <a:cxn ang="0">
                <a:pos x="447" y="8"/>
              </a:cxn>
            </a:cxnLst>
            <a:rect l="0" t="0" r="r" b="b"/>
            <a:pathLst>
              <a:path w="760" h="508">
                <a:moveTo>
                  <a:pt x="337" y="422"/>
                </a:moveTo>
                <a:lnTo>
                  <a:pt x="328" y="432"/>
                </a:lnTo>
                <a:lnTo>
                  <a:pt x="324" y="434"/>
                </a:lnTo>
                <a:lnTo>
                  <a:pt x="320" y="436"/>
                </a:lnTo>
                <a:lnTo>
                  <a:pt x="323" y="434"/>
                </a:lnTo>
                <a:lnTo>
                  <a:pt x="324" y="433"/>
                </a:lnTo>
                <a:lnTo>
                  <a:pt x="325" y="433"/>
                </a:lnTo>
                <a:lnTo>
                  <a:pt x="325" y="432"/>
                </a:lnTo>
                <a:lnTo>
                  <a:pt x="326" y="432"/>
                </a:lnTo>
                <a:lnTo>
                  <a:pt x="335" y="424"/>
                </a:lnTo>
                <a:lnTo>
                  <a:pt x="337" y="422"/>
                </a:lnTo>
                <a:close/>
                <a:moveTo>
                  <a:pt x="442" y="407"/>
                </a:moveTo>
                <a:lnTo>
                  <a:pt x="443" y="407"/>
                </a:lnTo>
                <a:lnTo>
                  <a:pt x="443" y="408"/>
                </a:lnTo>
                <a:lnTo>
                  <a:pt x="453" y="408"/>
                </a:lnTo>
                <a:lnTo>
                  <a:pt x="455" y="409"/>
                </a:lnTo>
                <a:lnTo>
                  <a:pt x="456" y="408"/>
                </a:lnTo>
                <a:lnTo>
                  <a:pt x="457" y="408"/>
                </a:lnTo>
                <a:lnTo>
                  <a:pt x="457" y="409"/>
                </a:lnTo>
                <a:lnTo>
                  <a:pt x="461" y="409"/>
                </a:lnTo>
                <a:lnTo>
                  <a:pt x="460" y="410"/>
                </a:lnTo>
                <a:lnTo>
                  <a:pt x="442" y="408"/>
                </a:lnTo>
                <a:lnTo>
                  <a:pt x="442" y="407"/>
                </a:lnTo>
                <a:close/>
                <a:moveTo>
                  <a:pt x="472" y="405"/>
                </a:moveTo>
                <a:lnTo>
                  <a:pt x="472" y="406"/>
                </a:lnTo>
                <a:lnTo>
                  <a:pt x="471" y="406"/>
                </a:lnTo>
                <a:lnTo>
                  <a:pt x="472" y="405"/>
                </a:lnTo>
                <a:close/>
                <a:moveTo>
                  <a:pt x="553" y="396"/>
                </a:moveTo>
                <a:lnTo>
                  <a:pt x="554" y="396"/>
                </a:lnTo>
                <a:lnTo>
                  <a:pt x="552" y="401"/>
                </a:lnTo>
                <a:lnTo>
                  <a:pt x="548" y="405"/>
                </a:lnTo>
                <a:lnTo>
                  <a:pt x="547" y="405"/>
                </a:lnTo>
                <a:lnTo>
                  <a:pt x="546" y="406"/>
                </a:lnTo>
                <a:lnTo>
                  <a:pt x="544" y="406"/>
                </a:lnTo>
                <a:lnTo>
                  <a:pt x="542" y="407"/>
                </a:lnTo>
                <a:lnTo>
                  <a:pt x="542" y="406"/>
                </a:lnTo>
                <a:lnTo>
                  <a:pt x="544" y="403"/>
                </a:lnTo>
                <a:lnTo>
                  <a:pt x="544" y="402"/>
                </a:lnTo>
                <a:lnTo>
                  <a:pt x="549" y="401"/>
                </a:lnTo>
                <a:lnTo>
                  <a:pt x="552" y="400"/>
                </a:lnTo>
                <a:lnTo>
                  <a:pt x="552" y="397"/>
                </a:lnTo>
                <a:lnTo>
                  <a:pt x="553" y="396"/>
                </a:lnTo>
                <a:close/>
                <a:moveTo>
                  <a:pt x="398" y="395"/>
                </a:moveTo>
                <a:lnTo>
                  <a:pt x="400" y="395"/>
                </a:lnTo>
                <a:lnTo>
                  <a:pt x="413" y="399"/>
                </a:lnTo>
                <a:lnTo>
                  <a:pt x="419" y="400"/>
                </a:lnTo>
                <a:lnTo>
                  <a:pt x="423" y="402"/>
                </a:lnTo>
                <a:lnTo>
                  <a:pt x="422" y="402"/>
                </a:lnTo>
                <a:lnTo>
                  <a:pt x="421" y="401"/>
                </a:lnTo>
                <a:lnTo>
                  <a:pt x="405" y="397"/>
                </a:lnTo>
                <a:lnTo>
                  <a:pt x="398" y="395"/>
                </a:lnTo>
                <a:close/>
                <a:moveTo>
                  <a:pt x="556" y="391"/>
                </a:moveTo>
                <a:lnTo>
                  <a:pt x="558" y="391"/>
                </a:lnTo>
                <a:lnTo>
                  <a:pt x="555" y="395"/>
                </a:lnTo>
                <a:lnTo>
                  <a:pt x="554" y="396"/>
                </a:lnTo>
                <a:lnTo>
                  <a:pt x="556" y="391"/>
                </a:lnTo>
                <a:close/>
                <a:moveTo>
                  <a:pt x="396" y="389"/>
                </a:moveTo>
                <a:lnTo>
                  <a:pt x="397" y="391"/>
                </a:lnTo>
                <a:lnTo>
                  <a:pt x="397" y="394"/>
                </a:lnTo>
                <a:lnTo>
                  <a:pt x="398" y="395"/>
                </a:lnTo>
                <a:lnTo>
                  <a:pt x="396" y="393"/>
                </a:lnTo>
                <a:lnTo>
                  <a:pt x="396" y="389"/>
                </a:lnTo>
                <a:close/>
                <a:moveTo>
                  <a:pt x="616" y="371"/>
                </a:moveTo>
                <a:lnTo>
                  <a:pt x="617" y="372"/>
                </a:lnTo>
                <a:lnTo>
                  <a:pt x="616" y="372"/>
                </a:lnTo>
                <a:lnTo>
                  <a:pt x="616" y="371"/>
                </a:lnTo>
                <a:close/>
                <a:moveTo>
                  <a:pt x="409" y="341"/>
                </a:moveTo>
                <a:lnTo>
                  <a:pt x="409" y="342"/>
                </a:lnTo>
                <a:lnTo>
                  <a:pt x="411" y="345"/>
                </a:lnTo>
                <a:lnTo>
                  <a:pt x="410" y="346"/>
                </a:lnTo>
                <a:lnTo>
                  <a:pt x="410" y="347"/>
                </a:lnTo>
                <a:lnTo>
                  <a:pt x="409" y="350"/>
                </a:lnTo>
                <a:lnTo>
                  <a:pt x="411" y="350"/>
                </a:lnTo>
                <a:lnTo>
                  <a:pt x="410" y="348"/>
                </a:lnTo>
                <a:lnTo>
                  <a:pt x="411" y="346"/>
                </a:lnTo>
                <a:lnTo>
                  <a:pt x="412" y="345"/>
                </a:lnTo>
                <a:lnTo>
                  <a:pt x="411" y="342"/>
                </a:lnTo>
                <a:lnTo>
                  <a:pt x="410" y="342"/>
                </a:lnTo>
                <a:lnTo>
                  <a:pt x="410" y="341"/>
                </a:lnTo>
                <a:lnTo>
                  <a:pt x="409" y="341"/>
                </a:lnTo>
                <a:close/>
                <a:moveTo>
                  <a:pt x="405" y="334"/>
                </a:moveTo>
                <a:lnTo>
                  <a:pt x="404" y="335"/>
                </a:lnTo>
                <a:lnTo>
                  <a:pt x="405" y="336"/>
                </a:lnTo>
                <a:lnTo>
                  <a:pt x="405" y="338"/>
                </a:lnTo>
                <a:lnTo>
                  <a:pt x="407" y="338"/>
                </a:lnTo>
                <a:lnTo>
                  <a:pt x="409" y="339"/>
                </a:lnTo>
                <a:lnTo>
                  <a:pt x="409" y="338"/>
                </a:lnTo>
                <a:lnTo>
                  <a:pt x="406" y="336"/>
                </a:lnTo>
                <a:lnTo>
                  <a:pt x="405" y="336"/>
                </a:lnTo>
                <a:lnTo>
                  <a:pt x="406" y="335"/>
                </a:lnTo>
                <a:lnTo>
                  <a:pt x="405" y="334"/>
                </a:lnTo>
                <a:close/>
                <a:moveTo>
                  <a:pt x="22" y="213"/>
                </a:moveTo>
                <a:lnTo>
                  <a:pt x="24" y="213"/>
                </a:lnTo>
                <a:lnTo>
                  <a:pt x="24" y="215"/>
                </a:lnTo>
                <a:lnTo>
                  <a:pt x="22" y="213"/>
                </a:lnTo>
                <a:close/>
                <a:moveTo>
                  <a:pt x="466" y="0"/>
                </a:moveTo>
                <a:lnTo>
                  <a:pt x="467" y="0"/>
                </a:lnTo>
                <a:lnTo>
                  <a:pt x="471" y="1"/>
                </a:lnTo>
                <a:lnTo>
                  <a:pt x="474" y="1"/>
                </a:lnTo>
                <a:lnTo>
                  <a:pt x="475" y="2"/>
                </a:lnTo>
                <a:lnTo>
                  <a:pt x="477" y="2"/>
                </a:lnTo>
                <a:lnTo>
                  <a:pt x="478" y="1"/>
                </a:lnTo>
                <a:lnTo>
                  <a:pt x="479" y="1"/>
                </a:lnTo>
                <a:lnTo>
                  <a:pt x="479" y="4"/>
                </a:lnTo>
                <a:lnTo>
                  <a:pt x="480" y="6"/>
                </a:lnTo>
                <a:lnTo>
                  <a:pt x="484" y="2"/>
                </a:lnTo>
                <a:lnTo>
                  <a:pt x="487" y="1"/>
                </a:lnTo>
                <a:lnTo>
                  <a:pt x="492" y="1"/>
                </a:lnTo>
                <a:lnTo>
                  <a:pt x="493" y="2"/>
                </a:lnTo>
                <a:lnTo>
                  <a:pt x="493" y="3"/>
                </a:lnTo>
                <a:lnTo>
                  <a:pt x="494" y="4"/>
                </a:lnTo>
                <a:lnTo>
                  <a:pt x="497" y="6"/>
                </a:lnTo>
                <a:lnTo>
                  <a:pt x="497" y="7"/>
                </a:lnTo>
                <a:lnTo>
                  <a:pt x="498" y="9"/>
                </a:lnTo>
                <a:lnTo>
                  <a:pt x="499" y="9"/>
                </a:lnTo>
                <a:lnTo>
                  <a:pt x="502" y="12"/>
                </a:lnTo>
                <a:lnTo>
                  <a:pt x="502" y="13"/>
                </a:lnTo>
                <a:lnTo>
                  <a:pt x="504" y="15"/>
                </a:lnTo>
                <a:lnTo>
                  <a:pt x="504" y="16"/>
                </a:lnTo>
                <a:lnTo>
                  <a:pt x="503" y="18"/>
                </a:lnTo>
                <a:lnTo>
                  <a:pt x="503" y="24"/>
                </a:lnTo>
                <a:lnTo>
                  <a:pt x="505" y="26"/>
                </a:lnTo>
                <a:lnTo>
                  <a:pt x="505" y="27"/>
                </a:lnTo>
                <a:lnTo>
                  <a:pt x="504" y="28"/>
                </a:lnTo>
                <a:lnTo>
                  <a:pt x="506" y="28"/>
                </a:lnTo>
                <a:lnTo>
                  <a:pt x="509" y="31"/>
                </a:lnTo>
                <a:lnTo>
                  <a:pt x="509" y="32"/>
                </a:lnTo>
                <a:lnTo>
                  <a:pt x="510" y="32"/>
                </a:lnTo>
                <a:lnTo>
                  <a:pt x="510" y="33"/>
                </a:lnTo>
                <a:lnTo>
                  <a:pt x="512" y="33"/>
                </a:lnTo>
                <a:lnTo>
                  <a:pt x="512" y="34"/>
                </a:lnTo>
                <a:lnTo>
                  <a:pt x="515" y="35"/>
                </a:lnTo>
                <a:lnTo>
                  <a:pt x="517" y="38"/>
                </a:lnTo>
                <a:lnTo>
                  <a:pt x="518" y="40"/>
                </a:lnTo>
                <a:lnTo>
                  <a:pt x="518" y="43"/>
                </a:lnTo>
                <a:lnTo>
                  <a:pt x="516" y="45"/>
                </a:lnTo>
                <a:lnTo>
                  <a:pt x="513" y="45"/>
                </a:lnTo>
                <a:lnTo>
                  <a:pt x="506" y="47"/>
                </a:lnTo>
                <a:lnTo>
                  <a:pt x="504" y="47"/>
                </a:lnTo>
                <a:lnTo>
                  <a:pt x="504" y="50"/>
                </a:lnTo>
                <a:lnTo>
                  <a:pt x="505" y="51"/>
                </a:lnTo>
                <a:lnTo>
                  <a:pt x="506" y="51"/>
                </a:lnTo>
                <a:lnTo>
                  <a:pt x="506" y="53"/>
                </a:lnTo>
                <a:lnTo>
                  <a:pt x="510" y="57"/>
                </a:lnTo>
                <a:lnTo>
                  <a:pt x="510" y="65"/>
                </a:lnTo>
                <a:lnTo>
                  <a:pt x="508" y="65"/>
                </a:lnTo>
                <a:lnTo>
                  <a:pt x="511" y="69"/>
                </a:lnTo>
                <a:lnTo>
                  <a:pt x="512" y="69"/>
                </a:lnTo>
                <a:lnTo>
                  <a:pt x="513" y="68"/>
                </a:lnTo>
                <a:lnTo>
                  <a:pt x="513" y="70"/>
                </a:lnTo>
                <a:lnTo>
                  <a:pt x="511" y="75"/>
                </a:lnTo>
                <a:lnTo>
                  <a:pt x="509" y="76"/>
                </a:lnTo>
                <a:lnTo>
                  <a:pt x="511" y="77"/>
                </a:lnTo>
                <a:lnTo>
                  <a:pt x="513" y="77"/>
                </a:lnTo>
                <a:lnTo>
                  <a:pt x="515" y="76"/>
                </a:lnTo>
                <a:lnTo>
                  <a:pt x="518" y="76"/>
                </a:lnTo>
                <a:lnTo>
                  <a:pt x="521" y="77"/>
                </a:lnTo>
                <a:lnTo>
                  <a:pt x="527" y="77"/>
                </a:lnTo>
                <a:lnTo>
                  <a:pt x="527" y="80"/>
                </a:lnTo>
                <a:lnTo>
                  <a:pt x="529" y="82"/>
                </a:lnTo>
                <a:lnTo>
                  <a:pt x="533" y="82"/>
                </a:lnTo>
                <a:lnTo>
                  <a:pt x="535" y="81"/>
                </a:lnTo>
                <a:lnTo>
                  <a:pt x="539" y="80"/>
                </a:lnTo>
                <a:lnTo>
                  <a:pt x="541" y="78"/>
                </a:lnTo>
                <a:lnTo>
                  <a:pt x="542" y="78"/>
                </a:lnTo>
                <a:lnTo>
                  <a:pt x="542" y="80"/>
                </a:lnTo>
                <a:lnTo>
                  <a:pt x="543" y="80"/>
                </a:lnTo>
                <a:lnTo>
                  <a:pt x="544" y="78"/>
                </a:lnTo>
                <a:lnTo>
                  <a:pt x="546" y="78"/>
                </a:lnTo>
                <a:lnTo>
                  <a:pt x="547" y="80"/>
                </a:lnTo>
                <a:lnTo>
                  <a:pt x="547" y="81"/>
                </a:lnTo>
                <a:lnTo>
                  <a:pt x="548" y="87"/>
                </a:lnTo>
                <a:lnTo>
                  <a:pt x="549" y="89"/>
                </a:lnTo>
                <a:lnTo>
                  <a:pt x="550" y="90"/>
                </a:lnTo>
                <a:lnTo>
                  <a:pt x="552" y="90"/>
                </a:lnTo>
                <a:lnTo>
                  <a:pt x="554" y="89"/>
                </a:lnTo>
                <a:lnTo>
                  <a:pt x="555" y="89"/>
                </a:lnTo>
                <a:lnTo>
                  <a:pt x="556" y="90"/>
                </a:lnTo>
                <a:lnTo>
                  <a:pt x="558" y="90"/>
                </a:lnTo>
                <a:lnTo>
                  <a:pt x="558" y="93"/>
                </a:lnTo>
                <a:lnTo>
                  <a:pt x="554" y="93"/>
                </a:lnTo>
                <a:lnTo>
                  <a:pt x="554" y="96"/>
                </a:lnTo>
                <a:lnTo>
                  <a:pt x="555" y="96"/>
                </a:lnTo>
                <a:lnTo>
                  <a:pt x="555" y="98"/>
                </a:lnTo>
                <a:lnTo>
                  <a:pt x="556" y="98"/>
                </a:lnTo>
                <a:lnTo>
                  <a:pt x="558" y="99"/>
                </a:lnTo>
                <a:lnTo>
                  <a:pt x="556" y="100"/>
                </a:lnTo>
                <a:lnTo>
                  <a:pt x="558" y="101"/>
                </a:lnTo>
                <a:lnTo>
                  <a:pt x="558" y="102"/>
                </a:lnTo>
                <a:lnTo>
                  <a:pt x="559" y="104"/>
                </a:lnTo>
                <a:lnTo>
                  <a:pt x="559" y="107"/>
                </a:lnTo>
                <a:lnTo>
                  <a:pt x="560" y="107"/>
                </a:lnTo>
                <a:lnTo>
                  <a:pt x="561" y="108"/>
                </a:lnTo>
                <a:lnTo>
                  <a:pt x="561" y="114"/>
                </a:lnTo>
                <a:lnTo>
                  <a:pt x="562" y="115"/>
                </a:lnTo>
                <a:lnTo>
                  <a:pt x="559" y="117"/>
                </a:lnTo>
                <a:lnTo>
                  <a:pt x="559" y="118"/>
                </a:lnTo>
                <a:lnTo>
                  <a:pt x="560" y="126"/>
                </a:lnTo>
                <a:lnTo>
                  <a:pt x="562" y="129"/>
                </a:lnTo>
                <a:lnTo>
                  <a:pt x="565" y="129"/>
                </a:lnTo>
                <a:lnTo>
                  <a:pt x="566" y="130"/>
                </a:lnTo>
                <a:lnTo>
                  <a:pt x="566" y="133"/>
                </a:lnTo>
                <a:lnTo>
                  <a:pt x="567" y="135"/>
                </a:lnTo>
                <a:lnTo>
                  <a:pt x="567" y="136"/>
                </a:lnTo>
                <a:lnTo>
                  <a:pt x="568" y="136"/>
                </a:lnTo>
                <a:lnTo>
                  <a:pt x="570" y="137"/>
                </a:lnTo>
                <a:lnTo>
                  <a:pt x="572" y="137"/>
                </a:lnTo>
                <a:lnTo>
                  <a:pt x="573" y="136"/>
                </a:lnTo>
                <a:lnTo>
                  <a:pt x="573" y="135"/>
                </a:lnTo>
                <a:lnTo>
                  <a:pt x="574" y="135"/>
                </a:lnTo>
                <a:lnTo>
                  <a:pt x="574" y="133"/>
                </a:lnTo>
                <a:lnTo>
                  <a:pt x="575" y="133"/>
                </a:lnTo>
                <a:lnTo>
                  <a:pt x="577" y="132"/>
                </a:lnTo>
                <a:lnTo>
                  <a:pt x="577" y="131"/>
                </a:lnTo>
                <a:lnTo>
                  <a:pt x="590" y="131"/>
                </a:lnTo>
                <a:lnTo>
                  <a:pt x="591" y="132"/>
                </a:lnTo>
                <a:lnTo>
                  <a:pt x="591" y="133"/>
                </a:lnTo>
                <a:lnTo>
                  <a:pt x="592" y="133"/>
                </a:lnTo>
                <a:lnTo>
                  <a:pt x="596" y="141"/>
                </a:lnTo>
                <a:lnTo>
                  <a:pt x="599" y="141"/>
                </a:lnTo>
                <a:lnTo>
                  <a:pt x="601" y="139"/>
                </a:lnTo>
                <a:lnTo>
                  <a:pt x="604" y="139"/>
                </a:lnTo>
                <a:lnTo>
                  <a:pt x="605" y="141"/>
                </a:lnTo>
                <a:lnTo>
                  <a:pt x="606" y="141"/>
                </a:lnTo>
                <a:lnTo>
                  <a:pt x="608" y="142"/>
                </a:lnTo>
                <a:lnTo>
                  <a:pt x="608" y="145"/>
                </a:lnTo>
                <a:lnTo>
                  <a:pt x="611" y="145"/>
                </a:lnTo>
                <a:lnTo>
                  <a:pt x="612" y="144"/>
                </a:lnTo>
                <a:lnTo>
                  <a:pt x="612" y="143"/>
                </a:lnTo>
                <a:lnTo>
                  <a:pt x="614" y="143"/>
                </a:lnTo>
                <a:lnTo>
                  <a:pt x="614" y="142"/>
                </a:lnTo>
                <a:lnTo>
                  <a:pt x="623" y="137"/>
                </a:lnTo>
                <a:lnTo>
                  <a:pt x="629" y="137"/>
                </a:lnTo>
                <a:lnTo>
                  <a:pt x="635" y="136"/>
                </a:lnTo>
                <a:lnTo>
                  <a:pt x="640" y="131"/>
                </a:lnTo>
                <a:lnTo>
                  <a:pt x="646" y="131"/>
                </a:lnTo>
                <a:lnTo>
                  <a:pt x="646" y="133"/>
                </a:lnTo>
                <a:lnTo>
                  <a:pt x="647" y="135"/>
                </a:lnTo>
                <a:lnTo>
                  <a:pt x="647" y="137"/>
                </a:lnTo>
                <a:lnTo>
                  <a:pt x="651" y="138"/>
                </a:lnTo>
                <a:lnTo>
                  <a:pt x="653" y="143"/>
                </a:lnTo>
                <a:lnTo>
                  <a:pt x="652" y="144"/>
                </a:lnTo>
                <a:lnTo>
                  <a:pt x="652" y="147"/>
                </a:lnTo>
                <a:lnTo>
                  <a:pt x="654" y="148"/>
                </a:lnTo>
                <a:lnTo>
                  <a:pt x="658" y="154"/>
                </a:lnTo>
                <a:lnTo>
                  <a:pt x="659" y="155"/>
                </a:lnTo>
                <a:lnTo>
                  <a:pt x="662" y="156"/>
                </a:lnTo>
                <a:lnTo>
                  <a:pt x="664" y="157"/>
                </a:lnTo>
                <a:lnTo>
                  <a:pt x="666" y="158"/>
                </a:lnTo>
                <a:lnTo>
                  <a:pt x="668" y="163"/>
                </a:lnTo>
                <a:lnTo>
                  <a:pt x="668" y="166"/>
                </a:lnTo>
                <a:lnTo>
                  <a:pt x="670" y="166"/>
                </a:lnTo>
                <a:lnTo>
                  <a:pt x="672" y="164"/>
                </a:lnTo>
                <a:lnTo>
                  <a:pt x="672" y="163"/>
                </a:lnTo>
                <a:lnTo>
                  <a:pt x="673" y="163"/>
                </a:lnTo>
                <a:lnTo>
                  <a:pt x="673" y="164"/>
                </a:lnTo>
                <a:lnTo>
                  <a:pt x="674" y="164"/>
                </a:lnTo>
                <a:lnTo>
                  <a:pt x="677" y="163"/>
                </a:lnTo>
                <a:lnTo>
                  <a:pt x="677" y="160"/>
                </a:lnTo>
                <a:lnTo>
                  <a:pt x="676" y="157"/>
                </a:lnTo>
                <a:lnTo>
                  <a:pt x="677" y="155"/>
                </a:lnTo>
                <a:lnTo>
                  <a:pt x="682" y="155"/>
                </a:lnTo>
                <a:lnTo>
                  <a:pt x="683" y="156"/>
                </a:lnTo>
                <a:lnTo>
                  <a:pt x="684" y="160"/>
                </a:lnTo>
                <a:lnTo>
                  <a:pt x="684" y="161"/>
                </a:lnTo>
                <a:lnTo>
                  <a:pt x="688" y="161"/>
                </a:lnTo>
                <a:lnTo>
                  <a:pt x="689" y="162"/>
                </a:lnTo>
                <a:lnTo>
                  <a:pt x="697" y="162"/>
                </a:lnTo>
                <a:lnTo>
                  <a:pt x="697" y="163"/>
                </a:lnTo>
                <a:lnTo>
                  <a:pt x="701" y="167"/>
                </a:lnTo>
                <a:lnTo>
                  <a:pt x="705" y="168"/>
                </a:lnTo>
                <a:lnTo>
                  <a:pt x="709" y="172"/>
                </a:lnTo>
                <a:lnTo>
                  <a:pt x="714" y="172"/>
                </a:lnTo>
                <a:lnTo>
                  <a:pt x="714" y="170"/>
                </a:lnTo>
                <a:lnTo>
                  <a:pt x="716" y="169"/>
                </a:lnTo>
                <a:lnTo>
                  <a:pt x="716" y="168"/>
                </a:lnTo>
                <a:lnTo>
                  <a:pt x="718" y="167"/>
                </a:lnTo>
                <a:lnTo>
                  <a:pt x="718" y="168"/>
                </a:lnTo>
                <a:lnTo>
                  <a:pt x="721" y="174"/>
                </a:lnTo>
                <a:lnTo>
                  <a:pt x="722" y="176"/>
                </a:lnTo>
                <a:lnTo>
                  <a:pt x="723" y="176"/>
                </a:lnTo>
                <a:lnTo>
                  <a:pt x="726" y="178"/>
                </a:lnTo>
                <a:lnTo>
                  <a:pt x="727" y="176"/>
                </a:lnTo>
                <a:lnTo>
                  <a:pt x="728" y="176"/>
                </a:lnTo>
                <a:lnTo>
                  <a:pt x="730" y="175"/>
                </a:lnTo>
                <a:lnTo>
                  <a:pt x="732" y="176"/>
                </a:lnTo>
                <a:lnTo>
                  <a:pt x="733" y="176"/>
                </a:lnTo>
                <a:lnTo>
                  <a:pt x="735" y="178"/>
                </a:lnTo>
                <a:lnTo>
                  <a:pt x="736" y="179"/>
                </a:lnTo>
                <a:lnTo>
                  <a:pt x="736" y="182"/>
                </a:lnTo>
                <a:lnTo>
                  <a:pt x="738" y="185"/>
                </a:lnTo>
                <a:lnTo>
                  <a:pt x="739" y="185"/>
                </a:lnTo>
                <a:lnTo>
                  <a:pt x="740" y="186"/>
                </a:lnTo>
                <a:lnTo>
                  <a:pt x="742" y="186"/>
                </a:lnTo>
                <a:lnTo>
                  <a:pt x="745" y="188"/>
                </a:lnTo>
                <a:lnTo>
                  <a:pt x="745" y="190"/>
                </a:lnTo>
                <a:lnTo>
                  <a:pt x="746" y="190"/>
                </a:lnTo>
                <a:lnTo>
                  <a:pt x="747" y="188"/>
                </a:lnTo>
                <a:lnTo>
                  <a:pt x="749" y="188"/>
                </a:lnTo>
                <a:lnTo>
                  <a:pt x="749" y="187"/>
                </a:lnTo>
                <a:lnTo>
                  <a:pt x="753" y="185"/>
                </a:lnTo>
                <a:lnTo>
                  <a:pt x="754" y="185"/>
                </a:lnTo>
                <a:lnTo>
                  <a:pt x="759" y="186"/>
                </a:lnTo>
                <a:lnTo>
                  <a:pt x="759" y="188"/>
                </a:lnTo>
                <a:lnTo>
                  <a:pt x="758" y="188"/>
                </a:lnTo>
                <a:lnTo>
                  <a:pt x="755" y="191"/>
                </a:lnTo>
                <a:lnTo>
                  <a:pt x="755" y="194"/>
                </a:lnTo>
                <a:lnTo>
                  <a:pt x="758" y="199"/>
                </a:lnTo>
                <a:lnTo>
                  <a:pt x="760" y="201"/>
                </a:lnTo>
                <a:lnTo>
                  <a:pt x="760" y="204"/>
                </a:lnTo>
                <a:lnTo>
                  <a:pt x="759" y="206"/>
                </a:lnTo>
                <a:lnTo>
                  <a:pt x="759" y="209"/>
                </a:lnTo>
                <a:lnTo>
                  <a:pt x="755" y="212"/>
                </a:lnTo>
                <a:lnTo>
                  <a:pt x="755" y="213"/>
                </a:lnTo>
                <a:lnTo>
                  <a:pt x="753" y="215"/>
                </a:lnTo>
                <a:lnTo>
                  <a:pt x="751" y="217"/>
                </a:lnTo>
                <a:lnTo>
                  <a:pt x="751" y="221"/>
                </a:lnTo>
                <a:lnTo>
                  <a:pt x="749" y="222"/>
                </a:lnTo>
                <a:lnTo>
                  <a:pt x="748" y="221"/>
                </a:lnTo>
                <a:lnTo>
                  <a:pt x="746" y="221"/>
                </a:lnTo>
                <a:lnTo>
                  <a:pt x="744" y="223"/>
                </a:lnTo>
                <a:lnTo>
                  <a:pt x="741" y="222"/>
                </a:lnTo>
                <a:lnTo>
                  <a:pt x="740" y="223"/>
                </a:lnTo>
                <a:lnTo>
                  <a:pt x="740" y="227"/>
                </a:lnTo>
                <a:lnTo>
                  <a:pt x="741" y="228"/>
                </a:lnTo>
                <a:lnTo>
                  <a:pt x="742" y="228"/>
                </a:lnTo>
                <a:lnTo>
                  <a:pt x="742" y="230"/>
                </a:lnTo>
                <a:lnTo>
                  <a:pt x="744" y="231"/>
                </a:lnTo>
                <a:lnTo>
                  <a:pt x="745" y="231"/>
                </a:lnTo>
                <a:lnTo>
                  <a:pt x="748" y="233"/>
                </a:lnTo>
                <a:lnTo>
                  <a:pt x="749" y="231"/>
                </a:lnTo>
                <a:lnTo>
                  <a:pt x="751" y="233"/>
                </a:lnTo>
                <a:lnTo>
                  <a:pt x="751" y="234"/>
                </a:lnTo>
                <a:lnTo>
                  <a:pt x="752" y="234"/>
                </a:lnTo>
                <a:lnTo>
                  <a:pt x="752" y="233"/>
                </a:lnTo>
                <a:lnTo>
                  <a:pt x="753" y="233"/>
                </a:lnTo>
                <a:lnTo>
                  <a:pt x="754" y="231"/>
                </a:lnTo>
                <a:lnTo>
                  <a:pt x="755" y="231"/>
                </a:lnTo>
                <a:lnTo>
                  <a:pt x="755" y="235"/>
                </a:lnTo>
                <a:lnTo>
                  <a:pt x="753" y="237"/>
                </a:lnTo>
                <a:lnTo>
                  <a:pt x="751" y="237"/>
                </a:lnTo>
                <a:lnTo>
                  <a:pt x="746" y="236"/>
                </a:lnTo>
                <a:lnTo>
                  <a:pt x="745" y="236"/>
                </a:lnTo>
                <a:lnTo>
                  <a:pt x="744" y="237"/>
                </a:lnTo>
                <a:lnTo>
                  <a:pt x="744" y="239"/>
                </a:lnTo>
                <a:lnTo>
                  <a:pt x="742" y="239"/>
                </a:lnTo>
                <a:lnTo>
                  <a:pt x="742" y="240"/>
                </a:lnTo>
                <a:lnTo>
                  <a:pt x="741" y="240"/>
                </a:lnTo>
                <a:lnTo>
                  <a:pt x="741" y="241"/>
                </a:lnTo>
                <a:lnTo>
                  <a:pt x="739" y="249"/>
                </a:lnTo>
                <a:lnTo>
                  <a:pt x="738" y="250"/>
                </a:lnTo>
                <a:lnTo>
                  <a:pt x="746" y="250"/>
                </a:lnTo>
                <a:lnTo>
                  <a:pt x="747" y="252"/>
                </a:lnTo>
                <a:lnTo>
                  <a:pt x="747" y="253"/>
                </a:lnTo>
                <a:lnTo>
                  <a:pt x="748" y="254"/>
                </a:lnTo>
                <a:lnTo>
                  <a:pt x="748" y="256"/>
                </a:lnTo>
                <a:lnTo>
                  <a:pt x="747" y="256"/>
                </a:lnTo>
                <a:lnTo>
                  <a:pt x="747" y="258"/>
                </a:lnTo>
                <a:lnTo>
                  <a:pt x="748" y="258"/>
                </a:lnTo>
                <a:lnTo>
                  <a:pt x="749" y="261"/>
                </a:lnTo>
                <a:lnTo>
                  <a:pt x="749" y="264"/>
                </a:lnTo>
                <a:lnTo>
                  <a:pt x="751" y="264"/>
                </a:lnTo>
                <a:lnTo>
                  <a:pt x="746" y="268"/>
                </a:lnTo>
                <a:lnTo>
                  <a:pt x="748" y="270"/>
                </a:lnTo>
                <a:lnTo>
                  <a:pt x="753" y="270"/>
                </a:lnTo>
                <a:lnTo>
                  <a:pt x="753" y="273"/>
                </a:lnTo>
                <a:lnTo>
                  <a:pt x="752" y="273"/>
                </a:lnTo>
                <a:lnTo>
                  <a:pt x="749" y="276"/>
                </a:lnTo>
                <a:lnTo>
                  <a:pt x="749" y="277"/>
                </a:lnTo>
                <a:lnTo>
                  <a:pt x="747" y="280"/>
                </a:lnTo>
                <a:lnTo>
                  <a:pt x="746" y="282"/>
                </a:lnTo>
                <a:lnTo>
                  <a:pt x="746" y="283"/>
                </a:lnTo>
                <a:lnTo>
                  <a:pt x="747" y="285"/>
                </a:lnTo>
                <a:lnTo>
                  <a:pt x="745" y="286"/>
                </a:lnTo>
                <a:lnTo>
                  <a:pt x="744" y="286"/>
                </a:lnTo>
                <a:lnTo>
                  <a:pt x="744" y="287"/>
                </a:lnTo>
                <a:lnTo>
                  <a:pt x="745" y="289"/>
                </a:lnTo>
                <a:lnTo>
                  <a:pt x="745" y="295"/>
                </a:lnTo>
                <a:lnTo>
                  <a:pt x="744" y="297"/>
                </a:lnTo>
                <a:lnTo>
                  <a:pt x="744" y="298"/>
                </a:lnTo>
                <a:lnTo>
                  <a:pt x="742" y="299"/>
                </a:lnTo>
                <a:lnTo>
                  <a:pt x="741" y="299"/>
                </a:lnTo>
                <a:lnTo>
                  <a:pt x="736" y="298"/>
                </a:lnTo>
                <a:lnTo>
                  <a:pt x="735" y="298"/>
                </a:lnTo>
                <a:lnTo>
                  <a:pt x="733" y="299"/>
                </a:lnTo>
                <a:lnTo>
                  <a:pt x="732" y="298"/>
                </a:lnTo>
                <a:lnTo>
                  <a:pt x="729" y="298"/>
                </a:lnTo>
                <a:lnTo>
                  <a:pt x="728" y="299"/>
                </a:lnTo>
                <a:lnTo>
                  <a:pt x="726" y="297"/>
                </a:lnTo>
                <a:lnTo>
                  <a:pt x="724" y="297"/>
                </a:lnTo>
                <a:lnTo>
                  <a:pt x="718" y="298"/>
                </a:lnTo>
                <a:lnTo>
                  <a:pt x="715" y="298"/>
                </a:lnTo>
                <a:lnTo>
                  <a:pt x="713" y="297"/>
                </a:lnTo>
                <a:lnTo>
                  <a:pt x="707" y="296"/>
                </a:lnTo>
                <a:lnTo>
                  <a:pt x="704" y="297"/>
                </a:lnTo>
                <a:lnTo>
                  <a:pt x="701" y="304"/>
                </a:lnTo>
                <a:lnTo>
                  <a:pt x="701" y="308"/>
                </a:lnTo>
                <a:lnTo>
                  <a:pt x="696" y="308"/>
                </a:lnTo>
                <a:lnTo>
                  <a:pt x="695" y="310"/>
                </a:lnTo>
                <a:lnTo>
                  <a:pt x="693" y="310"/>
                </a:lnTo>
                <a:lnTo>
                  <a:pt x="693" y="311"/>
                </a:lnTo>
                <a:lnTo>
                  <a:pt x="684" y="313"/>
                </a:lnTo>
                <a:lnTo>
                  <a:pt x="682" y="315"/>
                </a:lnTo>
                <a:lnTo>
                  <a:pt x="680" y="317"/>
                </a:lnTo>
                <a:lnTo>
                  <a:pt x="680" y="326"/>
                </a:lnTo>
                <a:lnTo>
                  <a:pt x="679" y="328"/>
                </a:lnTo>
                <a:lnTo>
                  <a:pt x="677" y="330"/>
                </a:lnTo>
                <a:lnTo>
                  <a:pt x="677" y="332"/>
                </a:lnTo>
                <a:lnTo>
                  <a:pt x="680" y="332"/>
                </a:lnTo>
                <a:lnTo>
                  <a:pt x="682" y="333"/>
                </a:lnTo>
                <a:lnTo>
                  <a:pt x="682" y="335"/>
                </a:lnTo>
                <a:lnTo>
                  <a:pt x="680" y="335"/>
                </a:lnTo>
                <a:lnTo>
                  <a:pt x="678" y="338"/>
                </a:lnTo>
                <a:lnTo>
                  <a:pt x="678" y="345"/>
                </a:lnTo>
                <a:lnTo>
                  <a:pt x="676" y="347"/>
                </a:lnTo>
                <a:lnTo>
                  <a:pt x="673" y="348"/>
                </a:lnTo>
                <a:lnTo>
                  <a:pt x="674" y="346"/>
                </a:lnTo>
                <a:lnTo>
                  <a:pt x="672" y="344"/>
                </a:lnTo>
                <a:lnTo>
                  <a:pt x="672" y="345"/>
                </a:lnTo>
                <a:lnTo>
                  <a:pt x="668" y="345"/>
                </a:lnTo>
                <a:lnTo>
                  <a:pt x="667" y="344"/>
                </a:lnTo>
                <a:lnTo>
                  <a:pt x="667" y="345"/>
                </a:lnTo>
                <a:lnTo>
                  <a:pt x="664" y="344"/>
                </a:lnTo>
                <a:lnTo>
                  <a:pt x="659" y="346"/>
                </a:lnTo>
                <a:lnTo>
                  <a:pt x="657" y="346"/>
                </a:lnTo>
                <a:lnTo>
                  <a:pt x="652" y="345"/>
                </a:lnTo>
                <a:lnTo>
                  <a:pt x="651" y="345"/>
                </a:lnTo>
                <a:lnTo>
                  <a:pt x="647" y="348"/>
                </a:lnTo>
                <a:lnTo>
                  <a:pt x="643" y="354"/>
                </a:lnTo>
                <a:lnTo>
                  <a:pt x="642" y="357"/>
                </a:lnTo>
                <a:lnTo>
                  <a:pt x="641" y="357"/>
                </a:lnTo>
                <a:lnTo>
                  <a:pt x="640" y="358"/>
                </a:lnTo>
                <a:lnTo>
                  <a:pt x="640" y="356"/>
                </a:lnTo>
                <a:lnTo>
                  <a:pt x="637" y="354"/>
                </a:lnTo>
                <a:lnTo>
                  <a:pt x="636" y="354"/>
                </a:lnTo>
                <a:lnTo>
                  <a:pt x="629" y="358"/>
                </a:lnTo>
                <a:lnTo>
                  <a:pt x="628" y="358"/>
                </a:lnTo>
                <a:lnTo>
                  <a:pt x="627" y="359"/>
                </a:lnTo>
                <a:lnTo>
                  <a:pt x="626" y="359"/>
                </a:lnTo>
                <a:lnTo>
                  <a:pt x="622" y="363"/>
                </a:lnTo>
                <a:lnTo>
                  <a:pt x="621" y="363"/>
                </a:lnTo>
                <a:lnTo>
                  <a:pt x="621" y="365"/>
                </a:lnTo>
                <a:lnTo>
                  <a:pt x="620" y="366"/>
                </a:lnTo>
                <a:lnTo>
                  <a:pt x="620" y="370"/>
                </a:lnTo>
                <a:lnTo>
                  <a:pt x="617" y="372"/>
                </a:lnTo>
                <a:lnTo>
                  <a:pt x="618" y="370"/>
                </a:lnTo>
                <a:lnTo>
                  <a:pt x="618" y="366"/>
                </a:lnTo>
                <a:lnTo>
                  <a:pt x="617" y="365"/>
                </a:lnTo>
                <a:lnTo>
                  <a:pt x="616" y="365"/>
                </a:lnTo>
                <a:lnTo>
                  <a:pt x="615" y="364"/>
                </a:lnTo>
                <a:lnTo>
                  <a:pt x="610" y="364"/>
                </a:lnTo>
                <a:lnTo>
                  <a:pt x="610" y="365"/>
                </a:lnTo>
                <a:lnTo>
                  <a:pt x="606" y="365"/>
                </a:lnTo>
                <a:lnTo>
                  <a:pt x="605" y="366"/>
                </a:lnTo>
                <a:lnTo>
                  <a:pt x="603" y="366"/>
                </a:lnTo>
                <a:lnTo>
                  <a:pt x="602" y="367"/>
                </a:lnTo>
                <a:lnTo>
                  <a:pt x="601" y="367"/>
                </a:lnTo>
                <a:lnTo>
                  <a:pt x="598" y="371"/>
                </a:lnTo>
                <a:lnTo>
                  <a:pt x="597" y="372"/>
                </a:lnTo>
                <a:lnTo>
                  <a:pt x="597" y="375"/>
                </a:lnTo>
                <a:lnTo>
                  <a:pt x="596" y="375"/>
                </a:lnTo>
                <a:lnTo>
                  <a:pt x="596" y="373"/>
                </a:lnTo>
                <a:lnTo>
                  <a:pt x="595" y="373"/>
                </a:lnTo>
                <a:lnTo>
                  <a:pt x="595" y="371"/>
                </a:lnTo>
                <a:lnTo>
                  <a:pt x="593" y="371"/>
                </a:lnTo>
                <a:lnTo>
                  <a:pt x="593" y="370"/>
                </a:lnTo>
                <a:lnTo>
                  <a:pt x="592" y="371"/>
                </a:lnTo>
                <a:lnTo>
                  <a:pt x="591" y="371"/>
                </a:lnTo>
                <a:lnTo>
                  <a:pt x="587" y="370"/>
                </a:lnTo>
                <a:lnTo>
                  <a:pt x="581" y="371"/>
                </a:lnTo>
                <a:lnTo>
                  <a:pt x="580" y="371"/>
                </a:lnTo>
                <a:lnTo>
                  <a:pt x="578" y="373"/>
                </a:lnTo>
                <a:lnTo>
                  <a:pt x="575" y="375"/>
                </a:lnTo>
                <a:lnTo>
                  <a:pt x="570" y="381"/>
                </a:lnTo>
                <a:lnTo>
                  <a:pt x="565" y="383"/>
                </a:lnTo>
                <a:lnTo>
                  <a:pt x="564" y="384"/>
                </a:lnTo>
                <a:lnTo>
                  <a:pt x="562" y="384"/>
                </a:lnTo>
                <a:lnTo>
                  <a:pt x="561" y="387"/>
                </a:lnTo>
                <a:lnTo>
                  <a:pt x="561" y="388"/>
                </a:lnTo>
                <a:lnTo>
                  <a:pt x="559" y="388"/>
                </a:lnTo>
                <a:lnTo>
                  <a:pt x="559" y="389"/>
                </a:lnTo>
                <a:lnTo>
                  <a:pt x="558" y="391"/>
                </a:lnTo>
                <a:lnTo>
                  <a:pt x="558" y="389"/>
                </a:lnTo>
                <a:lnTo>
                  <a:pt x="556" y="390"/>
                </a:lnTo>
                <a:lnTo>
                  <a:pt x="555" y="390"/>
                </a:lnTo>
                <a:lnTo>
                  <a:pt x="555" y="391"/>
                </a:lnTo>
                <a:lnTo>
                  <a:pt x="554" y="390"/>
                </a:lnTo>
                <a:lnTo>
                  <a:pt x="554" y="387"/>
                </a:lnTo>
                <a:lnTo>
                  <a:pt x="555" y="384"/>
                </a:lnTo>
                <a:lnTo>
                  <a:pt x="553" y="384"/>
                </a:lnTo>
                <a:lnTo>
                  <a:pt x="553" y="383"/>
                </a:lnTo>
                <a:lnTo>
                  <a:pt x="552" y="383"/>
                </a:lnTo>
                <a:lnTo>
                  <a:pt x="552" y="382"/>
                </a:lnTo>
                <a:lnTo>
                  <a:pt x="550" y="381"/>
                </a:lnTo>
                <a:lnTo>
                  <a:pt x="549" y="382"/>
                </a:lnTo>
                <a:lnTo>
                  <a:pt x="552" y="384"/>
                </a:lnTo>
                <a:lnTo>
                  <a:pt x="552" y="388"/>
                </a:lnTo>
                <a:lnTo>
                  <a:pt x="549" y="389"/>
                </a:lnTo>
                <a:lnTo>
                  <a:pt x="547" y="394"/>
                </a:lnTo>
                <a:lnTo>
                  <a:pt x="544" y="396"/>
                </a:lnTo>
                <a:lnTo>
                  <a:pt x="540" y="397"/>
                </a:lnTo>
                <a:lnTo>
                  <a:pt x="539" y="397"/>
                </a:lnTo>
                <a:lnTo>
                  <a:pt x="539" y="396"/>
                </a:lnTo>
                <a:lnTo>
                  <a:pt x="537" y="396"/>
                </a:lnTo>
                <a:lnTo>
                  <a:pt x="537" y="397"/>
                </a:lnTo>
                <a:lnTo>
                  <a:pt x="535" y="400"/>
                </a:lnTo>
                <a:lnTo>
                  <a:pt x="535" y="407"/>
                </a:lnTo>
                <a:lnTo>
                  <a:pt x="536" y="408"/>
                </a:lnTo>
                <a:lnTo>
                  <a:pt x="537" y="415"/>
                </a:lnTo>
                <a:lnTo>
                  <a:pt x="537" y="416"/>
                </a:lnTo>
                <a:lnTo>
                  <a:pt x="539" y="418"/>
                </a:lnTo>
                <a:lnTo>
                  <a:pt x="541" y="424"/>
                </a:lnTo>
                <a:lnTo>
                  <a:pt x="544" y="431"/>
                </a:lnTo>
                <a:lnTo>
                  <a:pt x="556" y="449"/>
                </a:lnTo>
                <a:lnTo>
                  <a:pt x="562" y="453"/>
                </a:lnTo>
                <a:lnTo>
                  <a:pt x="565" y="453"/>
                </a:lnTo>
                <a:lnTo>
                  <a:pt x="572" y="451"/>
                </a:lnTo>
                <a:lnTo>
                  <a:pt x="573" y="451"/>
                </a:lnTo>
                <a:lnTo>
                  <a:pt x="574" y="450"/>
                </a:lnTo>
                <a:lnTo>
                  <a:pt x="574" y="449"/>
                </a:lnTo>
                <a:lnTo>
                  <a:pt x="575" y="449"/>
                </a:lnTo>
                <a:lnTo>
                  <a:pt x="575" y="446"/>
                </a:lnTo>
                <a:lnTo>
                  <a:pt x="577" y="445"/>
                </a:lnTo>
                <a:lnTo>
                  <a:pt x="577" y="444"/>
                </a:lnTo>
                <a:lnTo>
                  <a:pt x="578" y="443"/>
                </a:lnTo>
                <a:lnTo>
                  <a:pt x="579" y="444"/>
                </a:lnTo>
                <a:lnTo>
                  <a:pt x="579" y="445"/>
                </a:lnTo>
                <a:lnTo>
                  <a:pt x="578" y="446"/>
                </a:lnTo>
                <a:lnTo>
                  <a:pt x="579" y="446"/>
                </a:lnTo>
                <a:lnTo>
                  <a:pt x="579" y="448"/>
                </a:lnTo>
                <a:lnTo>
                  <a:pt x="583" y="449"/>
                </a:lnTo>
                <a:lnTo>
                  <a:pt x="584" y="450"/>
                </a:lnTo>
                <a:lnTo>
                  <a:pt x="586" y="450"/>
                </a:lnTo>
                <a:lnTo>
                  <a:pt x="587" y="448"/>
                </a:lnTo>
                <a:lnTo>
                  <a:pt x="587" y="445"/>
                </a:lnTo>
                <a:lnTo>
                  <a:pt x="589" y="445"/>
                </a:lnTo>
                <a:lnTo>
                  <a:pt x="590" y="444"/>
                </a:lnTo>
                <a:lnTo>
                  <a:pt x="596" y="444"/>
                </a:lnTo>
                <a:lnTo>
                  <a:pt x="597" y="443"/>
                </a:lnTo>
                <a:lnTo>
                  <a:pt x="598" y="444"/>
                </a:lnTo>
                <a:lnTo>
                  <a:pt x="597" y="445"/>
                </a:lnTo>
                <a:lnTo>
                  <a:pt x="598" y="445"/>
                </a:lnTo>
                <a:lnTo>
                  <a:pt x="599" y="444"/>
                </a:lnTo>
                <a:lnTo>
                  <a:pt x="601" y="444"/>
                </a:lnTo>
                <a:lnTo>
                  <a:pt x="602" y="445"/>
                </a:lnTo>
                <a:lnTo>
                  <a:pt x="605" y="445"/>
                </a:lnTo>
                <a:lnTo>
                  <a:pt x="608" y="448"/>
                </a:lnTo>
                <a:lnTo>
                  <a:pt x="608" y="446"/>
                </a:lnTo>
                <a:lnTo>
                  <a:pt x="610" y="446"/>
                </a:lnTo>
                <a:lnTo>
                  <a:pt x="611" y="448"/>
                </a:lnTo>
                <a:lnTo>
                  <a:pt x="611" y="451"/>
                </a:lnTo>
                <a:lnTo>
                  <a:pt x="605" y="451"/>
                </a:lnTo>
                <a:lnTo>
                  <a:pt x="605" y="455"/>
                </a:lnTo>
                <a:lnTo>
                  <a:pt x="603" y="455"/>
                </a:lnTo>
                <a:lnTo>
                  <a:pt x="603" y="458"/>
                </a:lnTo>
                <a:lnTo>
                  <a:pt x="602" y="461"/>
                </a:lnTo>
                <a:lnTo>
                  <a:pt x="602" y="463"/>
                </a:lnTo>
                <a:lnTo>
                  <a:pt x="603" y="464"/>
                </a:lnTo>
                <a:lnTo>
                  <a:pt x="603" y="465"/>
                </a:lnTo>
                <a:lnTo>
                  <a:pt x="604" y="465"/>
                </a:lnTo>
                <a:lnTo>
                  <a:pt x="604" y="467"/>
                </a:lnTo>
                <a:lnTo>
                  <a:pt x="603" y="468"/>
                </a:lnTo>
                <a:lnTo>
                  <a:pt x="601" y="469"/>
                </a:lnTo>
                <a:lnTo>
                  <a:pt x="596" y="469"/>
                </a:lnTo>
                <a:lnTo>
                  <a:pt x="596" y="470"/>
                </a:lnTo>
                <a:lnTo>
                  <a:pt x="595" y="470"/>
                </a:lnTo>
                <a:lnTo>
                  <a:pt x="595" y="471"/>
                </a:lnTo>
                <a:lnTo>
                  <a:pt x="591" y="470"/>
                </a:lnTo>
                <a:lnTo>
                  <a:pt x="589" y="469"/>
                </a:lnTo>
                <a:lnTo>
                  <a:pt x="586" y="469"/>
                </a:lnTo>
                <a:lnTo>
                  <a:pt x="585" y="471"/>
                </a:lnTo>
                <a:lnTo>
                  <a:pt x="578" y="471"/>
                </a:lnTo>
                <a:lnTo>
                  <a:pt x="577" y="470"/>
                </a:lnTo>
                <a:lnTo>
                  <a:pt x="577" y="469"/>
                </a:lnTo>
                <a:lnTo>
                  <a:pt x="575" y="468"/>
                </a:lnTo>
                <a:lnTo>
                  <a:pt x="572" y="465"/>
                </a:lnTo>
                <a:lnTo>
                  <a:pt x="570" y="464"/>
                </a:lnTo>
                <a:lnTo>
                  <a:pt x="564" y="464"/>
                </a:lnTo>
                <a:lnTo>
                  <a:pt x="562" y="465"/>
                </a:lnTo>
                <a:lnTo>
                  <a:pt x="560" y="467"/>
                </a:lnTo>
                <a:lnTo>
                  <a:pt x="560" y="470"/>
                </a:lnTo>
                <a:lnTo>
                  <a:pt x="561" y="470"/>
                </a:lnTo>
                <a:lnTo>
                  <a:pt x="561" y="471"/>
                </a:lnTo>
                <a:lnTo>
                  <a:pt x="559" y="471"/>
                </a:lnTo>
                <a:lnTo>
                  <a:pt x="558" y="473"/>
                </a:lnTo>
                <a:lnTo>
                  <a:pt x="558" y="475"/>
                </a:lnTo>
                <a:lnTo>
                  <a:pt x="556" y="474"/>
                </a:lnTo>
                <a:lnTo>
                  <a:pt x="553" y="474"/>
                </a:lnTo>
                <a:lnTo>
                  <a:pt x="553" y="476"/>
                </a:lnTo>
                <a:lnTo>
                  <a:pt x="552" y="476"/>
                </a:lnTo>
                <a:lnTo>
                  <a:pt x="550" y="477"/>
                </a:lnTo>
                <a:lnTo>
                  <a:pt x="549" y="477"/>
                </a:lnTo>
                <a:lnTo>
                  <a:pt x="547" y="482"/>
                </a:lnTo>
                <a:lnTo>
                  <a:pt x="546" y="483"/>
                </a:lnTo>
                <a:lnTo>
                  <a:pt x="543" y="483"/>
                </a:lnTo>
                <a:lnTo>
                  <a:pt x="543" y="481"/>
                </a:lnTo>
                <a:lnTo>
                  <a:pt x="540" y="481"/>
                </a:lnTo>
                <a:lnTo>
                  <a:pt x="539" y="482"/>
                </a:lnTo>
                <a:lnTo>
                  <a:pt x="531" y="482"/>
                </a:lnTo>
                <a:lnTo>
                  <a:pt x="528" y="485"/>
                </a:lnTo>
                <a:lnTo>
                  <a:pt x="527" y="486"/>
                </a:lnTo>
                <a:lnTo>
                  <a:pt x="523" y="486"/>
                </a:lnTo>
                <a:lnTo>
                  <a:pt x="521" y="488"/>
                </a:lnTo>
                <a:lnTo>
                  <a:pt x="521" y="487"/>
                </a:lnTo>
                <a:lnTo>
                  <a:pt x="518" y="489"/>
                </a:lnTo>
                <a:lnTo>
                  <a:pt x="518" y="491"/>
                </a:lnTo>
                <a:lnTo>
                  <a:pt x="516" y="493"/>
                </a:lnTo>
                <a:lnTo>
                  <a:pt x="515" y="498"/>
                </a:lnTo>
                <a:lnTo>
                  <a:pt x="515" y="499"/>
                </a:lnTo>
                <a:lnTo>
                  <a:pt x="511" y="499"/>
                </a:lnTo>
                <a:lnTo>
                  <a:pt x="511" y="500"/>
                </a:lnTo>
                <a:lnTo>
                  <a:pt x="510" y="501"/>
                </a:lnTo>
                <a:lnTo>
                  <a:pt x="508" y="501"/>
                </a:lnTo>
                <a:lnTo>
                  <a:pt x="508" y="504"/>
                </a:lnTo>
                <a:lnTo>
                  <a:pt x="506" y="504"/>
                </a:lnTo>
                <a:lnTo>
                  <a:pt x="506" y="505"/>
                </a:lnTo>
                <a:lnTo>
                  <a:pt x="505" y="506"/>
                </a:lnTo>
                <a:lnTo>
                  <a:pt x="503" y="506"/>
                </a:lnTo>
                <a:lnTo>
                  <a:pt x="499" y="508"/>
                </a:lnTo>
                <a:lnTo>
                  <a:pt x="497" y="508"/>
                </a:lnTo>
                <a:lnTo>
                  <a:pt x="494" y="507"/>
                </a:lnTo>
                <a:lnTo>
                  <a:pt x="488" y="507"/>
                </a:lnTo>
                <a:lnTo>
                  <a:pt x="485" y="506"/>
                </a:lnTo>
                <a:lnTo>
                  <a:pt x="485" y="504"/>
                </a:lnTo>
                <a:lnTo>
                  <a:pt x="484" y="501"/>
                </a:lnTo>
                <a:lnTo>
                  <a:pt x="479" y="501"/>
                </a:lnTo>
                <a:lnTo>
                  <a:pt x="479" y="500"/>
                </a:lnTo>
                <a:lnTo>
                  <a:pt x="474" y="498"/>
                </a:lnTo>
                <a:lnTo>
                  <a:pt x="474" y="496"/>
                </a:lnTo>
                <a:lnTo>
                  <a:pt x="475" y="495"/>
                </a:lnTo>
                <a:lnTo>
                  <a:pt x="479" y="495"/>
                </a:lnTo>
                <a:lnTo>
                  <a:pt x="479" y="494"/>
                </a:lnTo>
                <a:lnTo>
                  <a:pt x="481" y="494"/>
                </a:lnTo>
                <a:lnTo>
                  <a:pt x="480" y="493"/>
                </a:lnTo>
                <a:lnTo>
                  <a:pt x="480" y="492"/>
                </a:lnTo>
                <a:lnTo>
                  <a:pt x="481" y="491"/>
                </a:lnTo>
                <a:lnTo>
                  <a:pt x="481" y="487"/>
                </a:lnTo>
                <a:lnTo>
                  <a:pt x="480" y="486"/>
                </a:lnTo>
                <a:lnTo>
                  <a:pt x="480" y="483"/>
                </a:lnTo>
                <a:lnTo>
                  <a:pt x="481" y="482"/>
                </a:lnTo>
                <a:lnTo>
                  <a:pt x="481" y="481"/>
                </a:lnTo>
                <a:lnTo>
                  <a:pt x="484" y="480"/>
                </a:lnTo>
                <a:lnTo>
                  <a:pt x="484" y="479"/>
                </a:lnTo>
                <a:lnTo>
                  <a:pt x="485" y="477"/>
                </a:lnTo>
                <a:lnTo>
                  <a:pt x="485" y="475"/>
                </a:lnTo>
                <a:lnTo>
                  <a:pt x="484" y="473"/>
                </a:lnTo>
                <a:lnTo>
                  <a:pt x="484" y="471"/>
                </a:lnTo>
                <a:lnTo>
                  <a:pt x="483" y="470"/>
                </a:lnTo>
                <a:lnTo>
                  <a:pt x="483" y="465"/>
                </a:lnTo>
                <a:lnTo>
                  <a:pt x="481" y="464"/>
                </a:lnTo>
                <a:lnTo>
                  <a:pt x="478" y="463"/>
                </a:lnTo>
                <a:lnTo>
                  <a:pt x="475" y="461"/>
                </a:lnTo>
                <a:lnTo>
                  <a:pt x="472" y="461"/>
                </a:lnTo>
                <a:lnTo>
                  <a:pt x="471" y="462"/>
                </a:lnTo>
                <a:lnTo>
                  <a:pt x="468" y="462"/>
                </a:lnTo>
                <a:lnTo>
                  <a:pt x="468" y="461"/>
                </a:lnTo>
                <a:lnTo>
                  <a:pt x="467" y="461"/>
                </a:lnTo>
                <a:lnTo>
                  <a:pt x="466" y="459"/>
                </a:lnTo>
                <a:lnTo>
                  <a:pt x="465" y="459"/>
                </a:lnTo>
                <a:lnTo>
                  <a:pt x="463" y="457"/>
                </a:lnTo>
                <a:lnTo>
                  <a:pt x="462" y="457"/>
                </a:lnTo>
                <a:lnTo>
                  <a:pt x="462" y="456"/>
                </a:lnTo>
                <a:lnTo>
                  <a:pt x="461" y="455"/>
                </a:lnTo>
                <a:lnTo>
                  <a:pt x="460" y="455"/>
                </a:lnTo>
                <a:lnTo>
                  <a:pt x="456" y="451"/>
                </a:lnTo>
                <a:lnTo>
                  <a:pt x="454" y="450"/>
                </a:lnTo>
                <a:lnTo>
                  <a:pt x="446" y="450"/>
                </a:lnTo>
                <a:lnTo>
                  <a:pt x="444" y="452"/>
                </a:lnTo>
                <a:lnTo>
                  <a:pt x="440" y="452"/>
                </a:lnTo>
                <a:lnTo>
                  <a:pt x="438" y="451"/>
                </a:lnTo>
                <a:lnTo>
                  <a:pt x="437" y="451"/>
                </a:lnTo>
                <a:lnTo>
                  <a:pt x="436" y="448"/>
                </a:lnTo>
                <a:lnTo>
                  <a:pt x="437" y="445"/>
                </a:lnTo>
                <a:lnTo>
                  <a:pt x="438" y="444"/>
                </a:lnTo>
                <a:lnTo>
                  <a:pt x="443" y="440"/>
                </a:lnTo>
                <a:lnTo>
                  <a:pt x="446" y="440"/>
                </a:lnTo>
                <a:lnTo>
                  <a:pt x="446" y="439"/>
                </a:lnTo>
                <a:lnTo>
                  <a:pt x="447" y="439"/>
                </a:lnTo>
                <a:lnTo>
                  <a:pt x="448" y="438"/>
                </a:lnTo>
                <a:lnTo>
                  <a:pt x="452" y="438"/>
                </a:lnTo>
                <a:lnTo>
                  <a:pt x="452" y="437"/>
                </a:lnTo>
                <a:lnTo>
                  <a:pt x="450" y="437"/>
                </a:lnTo>
                <a:lnTo>
                  <a:pt x="452" y="436"/>
                </a:lnTo>
                <a:lnTo>
                  <a:pt x="453" y="433"/>
                </a:lnTo>
                <a:lnTo>
                  <a:pt x="465" y="427"/>
                </a:lnTo>
                <a:lnTo>
                  <a:pt x="466" y="427"/>
                </a:lnTo>
                <a:lnTo>
                  <a:pt x="466" y="426"/>
                </a:lnTo>
                <a:lnTo>
                  <a:pt x="465" y="425"/>
                </a:lnTo>
                <a:lnTo>
                  <a:pt x="466" y="425"/>
                </a:lnTo>
                <a:lnTo>
                  <a:pt x="467" y="426"/>
                </a:lnTo>
                <a:lnTo>
                  <a:pt x="469" y="426"/>
                </a:lnTo>
                <a:lnTo>
                  <a:pt x="473" y="425"/>
                </a:lnTo>
                <a:lnTo>
                  <a:pt x="474" y="424"/>
                </a:lnTo>
                <a:lnTo>
                  <a:pt x="475" y="421"/>
                </a:lnTo>
                <a:lnTo>
                  <a:pt x="477" y="421"/>
                </a:lnTo>
                <a:lnTo>
                  <a:pt x="478" y="420"/>
                </a:lnTo>
                <a:lnTo>
                  <a:pt x="479" y="420"/>
                </a:lnTo>
                <a:lnTo>
                  <a:pt x="480" y="421"/>
                </a:lnTo>
                <a:lnTo>
                  <a:pt x="483" y="419"/>
                </a:lnTo>
                <a:lnTo>
                  <a:pt x="486" y="419"/>
                </a:lnTo>
                <a:lnTo>
                  <a:pt x="486" y="420"/>
                </a:lnTo>
                <a:lnTo>
                  <a:pt x="487" y="420"/>
                </a:lnTo>
                <a:lnTo>
                  <a:pt x="487" y="416"/>
                </a:lnTo>
                <a:lnTo>
                  <a:pt x="491" y="416"/>
                </a:lnTo>
                <a:lnTo>
                  <a:pt x="491" y="415"/>
                </a:lnTo>
                <a:lnTo>
                  <a:pt x="490" y="415"/>
                </a:lnTo>
                <a:lnTo>
                  <a:pt x="490" y="414"/>
                </a:lnTo>
                <a:lnTo>
                  <a:pt x="485" y="414"/>
                </a:lnTo>
                <a:lnTo>
                  <a:pt x="485" y="413"/>
                </a:lnTo>
                <a:lnTo>
                  <a:pt x="486" y="413"/>
                </a:lnTo>
                <a:lnTo>
                  <a:pt x="485" y="412"/>
                </a:lnTo>
                <a:lnTo>
                  <a:pt x="485" y="407"/>
                </a:lnTo>
                <a:lnTo>
                  <a:pt x="486" y="406"/>
                </a:lnTo>
                <a:lnTo>
                  <a:pt x="485" y="405"/>
                </a:lnTo>
                <a:lnTo>
                  <a:pt x="484" y="402"/>
                </a:lnTo>
                <a:lnTo>
                  <a:pt x="483" y="402"/>
                </a:lnTo>
                <a:lnTo>
                  <a:pt x="480" y="405"/>
                </a:lnTo>
                <a:lnTo>
                  <a:pt x="481" y="406"/>
                </a:lnTo>
                <a:lnTo>
                  <a:pt x="480" y="406"/>
                </a:lnTo>
                <a:lnTo>
                  <a:pt x="480" y="407"/>
                </a:lnTo>
                <a:lnTo>
                  <a:pt x="479" y="407"/>
                </a:lnTo>
                <a:lnTo>
                  <a:pt x="480" y="408"/>
                </a:lnTo>
                <a:lnTo>
                  <a:pt x="475" y="408"/>
                </a:lnTo>
                <a:lnTo>
                  <a:pt x="474" y="406"/>
                </a:lnTo>
                <a:lnTo>
                  <a:pt x="473" y="405"/>
                </a:lnTo>
                <a:lnTo>
                  <a:pt x="472" y="405"/>
                </a:lnTo>
                <a:lnTo>
                  <a:pt x="472" y="403"/>
                </a:lnTo>
                <a:lnTo>
                  <a:pt x="467" y="403"/>
                </a:lnTo>
                <a:lnTo>
                  <a:pt x="467" y="402"/>
                </a:lnTo>
                <a:lnTo>
                  <a:pt x="468" y="402"/>
                </a:lnTo>
                <a:lnTo>
                  <a:pt x="468" y="397"/>
                </a:lnTo>
                <a:lnTo>
                  <a:pt x="467" y="399"/>
                </a:lnTo>
                <a:lnTo>
                  <a:pt x="467" y="401"/>
                </a:lnTo>
                <a:lnTo>
                  <a:pt x="466" y="402"/>
                </a:lnTo>
                <a:lnTo>
                  <a:pt x="465" y="402"/>
                </a:lnTo>
                <a:lnTo>
                  <a:pt x="463" y="403"/>
                </a:lnTo>
                <a:lnTo>
                  <a:pt x="462" y="403"/>
                </a:lnTo>
                <a:lnTo>
                  <a:pt x="462" y="402"/>
                </a:lnTo>
                <a:lnTo>
                  <a:pt x="459" y="401"/>
                </a:lnTo>
                <a:lnTo>
                  <a:pt x="460" y="403"/>
                </a:lnTo>
                <a:lnTo>
                  <a:pt x="459" y="403"/>
                </a:lnTo>
                <a:lnTo>
                  <a:pt x="455" y="405"/>
                </a:lnTo>
                <a:lnTo>
                  <a:pt x="452" y="405"/>
                </a:lnTo>
                <a:lnTo>
                  <a:pt x="449" y="403"/>
                </a:lnTo>
                <a:lnTo>
                  <a:pt x="448" y="403"/>
                </a:lnTo>
                <a:lnTo>
                  <a:pt x="447" y="405"/>
                </a:lnTo>
                <a:lnTo>
                  <a:pt x="441" y="405"/>
                </a:lnTo>
                <a:lnTo>
                  <a:pt x="441" y="406"/>
                </a:lnTo>
                <a:lnTo>
                  <a:pt x="440" y="406"/>
                </a:lnTo>
                <a:lnTo>
                  <a:pt x="438" y="407"/>
                </a:lnTo>
                <a:lnTo>
                  <a:pt x="437" y="407"/>
                </a:lnTo>
                <a:lnTo>
                  <a:pt x="429" y="405"/>
                </a:lnTo>
                <a:lnTo>
                  <a:pt x="428" y="403"/>
                </a:lnTo>
                <a:lnTo>
                  <a:pt x="426" y="403"/>
                </a:lnTo>
                <a:lnTo>
                  <a:pt x="426" y="400"/>
                </a:lnTo>
                <a:lnTo>
                  <a:pt x="428" y="400"/>
                </a:lnTo>
                <a:lnTo>
                  <a:pt x="428" y="399"/>
                </a:lnTo>
                <a:lnTo>
                  <a:pt x="426" y="400"/>
                </a:lnTo>
                <a:lnTo>
                  <a:pt x="424" y="400"/>
                </a:lnTo>
                <a:lnTo>
                  <a:pt x="422" y="399"/>
                </a:lnTo>
                <a:lnTo>
                  <a:pt x="421" y="399"/>
                </a:lnTo>
                <a:lnTo>
                  <a:pt x="419" y="396"/>
                </a:lnTo>
                <a:lnTo>
                  <a:pt x="418" y="395"/>
                </a:lnTo>
                <a:lnTo>
                  <a:pt x="417" y="396"/>
                </a:lnTo>
                <a:lnTo>
                  <a:pt x="415" y="395"/>
                </a:lnTo>
                <a:lnTo>
                  <a:pt x="411" y="391"/>
                </a:lnTo>
                <a:lnTo>
                  <a:pt x="411" y="394"/>
                </a:lnTo>
                <a:lnTo>
                  <a:pt x="407" y="394"/>
                </a:lnTo>
                <a:lnTo>
                  <a:pt x="406" y="393"/>
                </a:lnTo>
                <a:lnTo>
                  <a:pt x="406" y="391"/>
                </a:lnTo>
                <a:lnTo>
                  <a:pt x="407" y="390"/>
                </a:lnTo>
                <a:lnTo>
                  <a:pt x="415" y="390"/>
                </a:lnTo>
                <a:lnTo>
                  <a:pt x="417" y="388"/>
                </a:lnTo>
                <a:lnTo>
                  <a:pt x="418" y="388"/>
                </a:lnTo>
                <a:lnTo>
                  <a:pt x="418" y="387"/>
                </a:lnTo>
                <a:lnTo>
                  <a:pt x="417" y="384"/>
                </a:lnTo>
                <a:lnTo>
                  <a:pt x="415" y="384"/>
                </a:lnTo>
                <a:lnTo>
                  <a:pt x="412" y="383"/>
                </a:lnTo>
                <a:lnTo>
                  <a:pt x="406" y="381"/>
                </a:lnTo>
                <a:lnTo>
                  <a:pt x="404" y="381"/>
                </a:lnTo>
                <a:lnTo>
                  <a:pt x="403" y="382"/>
                </a:lnTo>
                <a:lnTo>
                  <a:pt x="403" y="385"/>
                </a:lnTo>
                <a:lnTo>
                  <a:pt x="401" y="383"/>
                </a:lnTo>
                <a:lnTo>
                  <a:pt x="401" y="382"/>
                </a:lnTo>
                <a:lnTo>
                  <a:pt x="396" y="377"/>
                </a:lnTo>
                <a:lnTo>
                  <a:pt x="396" y="376"/>
                </a:lnTo>
                <a:lnTo>
                  <a:pt x="398" y="378"/>
                </a:lnTo>
                <a:lnTo>
                  <a:pt x="406" y="377"/>
                </a:lnTo>
                <a:lnTo>
                  <a:pt x="407" y="378"/>
                </a:lnTo>
                <a:lnTo>
                  <a:pt x="410" y="379"/>
                </a:lnTo>
                <a:lnTo>
                  <a:pt x="413" y="379"/>
                </a:lnTo>
                <a:lnTo>
                  <a:pt x="417" y="381"/>
                </a:lnTo>
                <a:lnTo>
                  <a:pt x="425" y="381"/>
                </a:lnTo>
                <a:lnTo>
                  <a:pt x="428" y="383"/>
                </a:lnTo>
                <a:lnTo>
                  <a:pt x="431" y="383"/>
                </a:lnTo>
                <a:lnTo>
                  <a:pt x="434" y="381"/>
                </a:lnTo>
                <a:lnTo>
                  <a:pt x="434" y="379"/>
                </a:lnTo>
                <a:lnTo>
                  <a:pt x="438" y="375"/>
                </a:lnTo>
                <a:lnTo>
                  <a:pt x="441" y="375"/>
                </a:lnTo>
                <a:lnTo>
                  <a:pt x="443" y="372"/>
                </a:lnTo>
                <a:lnTo>
                  <a:pt x="443" y="371"/>
                </a:lnTo>
                <a:lnTo>
                  <a:pt x="441" y="373"/>
                </a:lnTo>
                <a:lnTo>
                  <a:pt x="438" y="373"/>
                </a:lnTo>
                <a:lnTo>
                  <a:pt x="434" y="377"/>
                </a:lnTo>
                <a:lnTo>
                  <a:pt x="430" y="377"/>
                </a:lnTo>
                <a:lnTo>
                  <a:pt x="428" y="376"/>
                </a:lnTo>
                <a:lnTo>
                  <a:pt x="426" y="375"/>
                </a:lnTo>
                <a:lnTo>
                  <a:pt x="425" y="376"/>
                </a:lnTo>
                <a:lnTo>
                  <a:pt x="423" y="376"/>
                </a:lnTo>
                <a:lnTo>
                  <a:pt x="422" y="377"/>
                </a:lnTo>
                <a:lnTo>
                  <a:pt x="421" y="375"/>
                </a:lnTo>
                <a:lnTo>
                  <a:pt x="421" y="373"/>
                </a:lnTo>
                <a:lnTo>
                  <a:pt x="417" y="373"/>
                </a:lnTo>
                <a:lnTo>
                  <a:pt x="417" y="372"/>
                </a:lnTo>
                <a:lnTo>
                  <a:pt x="416" y="371"/>
                </a:lnTo>
                <a:lnTo>
                  <a:pt x="416" y="370"/>
                </a:lnTo>
                <a:lnTo>
                  <a:pt x="415" y="369"/>
                </a:lnTo>
                <a:lnTo>
                  <a:pt x="415" y="366"/>
                </a:lnTo>
                <a:lnTo>
                  <a:pt x="413" y="366"/>
                </a:lnTo>
                <a:lnTo>
                  <a:pt x="413" y="363"/>
                </a:lnTo>
                <a:lnTo>
                  <a:pt x="415" y="360"/>
                </a:lnTo>
                <a:lnTo>
                  <a:pt x="416" y="359"/>
                </a:lnTo>
                <a:lnTo>
                  <a:pt x="416" y="357"/>
                </a:lnTo>
                <a:lnTo>
                  <a:pt x="417" y="356"/>
                </a:lnTo>
                <a:lnTo>
                  <a:pt x="416" y="354"/>
                </a:lnTo>
                <a:lnTo>
                  <a:pt x="413" y="353"/>
                </a:lnTo>
                <a:lnTo>
                  <a:pt x="413" y="352"/>
                </a:lnTo>
                <a:lnTo>
                  <a:pt x="415" y="350"/>
                </a:lnTo>
                <a:lnTo>
                  <a:pt x="413" y="348"/>
                </a:lnTo>
                <a:lnTo>
                  <a:pt x="412" y="350"/>
                </a:lnTo>
                <a:lnTo>
                  <a:pt x="413" y="350"/>
                </a:lnTo>
                <a:lnTo>
                  <a:pt x="412" y="352"/>
                </a:lnTo>
                <a:lnTo>
                  <a:pt x="412" y="354"/>
                </a:lnTo>
                <a:lnTo>
                  <a:pt x="415" y="354"/>
                </a:lnTo>
                <a:lnTo>
                  <a:pt x="415" y="357"/>
                </a:lnTo>
                <a:lnTo>
                  <a:pt x="413" y="359"/>
                </a:lnTo>
                <a:lnTo>
                  <a:pt x="412" y="360"/>
                </a:lnTo>
                <a:lnTo>
                  <a:pt x="411" y="360"/>
                </a:lnTo>
                <a:lnTo>
                  <a:pt x="410" y="362"/>
                </a:lnTo>
                <a:lnTo>
                  <a:pt x="410" y="364"/>
                </a:lnTo>
                <a:lnTo>
                  <a:pt x="412" y="366"/>
                </a:lnTo>
                <a:lnTo>
                  <a:pt x="412" y="371"/>
                </a:lnTo>
                <a:lnTo>
                  <a:pt x="410" y="373"/>
                </a:lnTo>
                <a:lnTo>
                  <a:pt x="406" y="373"/>
                </a:lnTo>
                <a:lnTo>
                  <a:pt x="403" y="371"/>
                </a:lnTo>
                <a:lnTo>
                  <a:pt x="400" y="371"/>
                </a:lnTo>
                <a:lnTo>
                  <a:pt x="399" y="372"/>
                </a:lnTo>
                <a:lnTo>
                  <a:pt x="399" y="373"/>
                </a:lnTo>
                <a:lnTo>
                  <a:pt x="394" y="373"/>
                </a:lnTo>
                <a:lnTo>
                  <a:pt x="394" y="371"/>
                </a:lnTo>
                <a:lnTo>
                  <a:pt x="397" y="366"/>
                </a:lnTo>
                <a:lnTo>
                  <a:pt x="398" y="365"/>
                </a:lnTo>
                <a:lnTo>
                  <a:pt x="398" y="364"/>
                </a:lnTo>
                <a:lnTo>
                  <a:pt x="400" y="362"/>
                </a:lnTo>
                <a:lnTo>
                  <a:pt x="399" y="360"/>
                </a:lnTo>
                <a:lnTo>
                  <a:pt x="399" y="363"/>
                </a:lnTo>
                <a:lnTo>
                  <a:pt x="398" y="363"/>
                </a:lnTo>
                <a:lnTo>
                  <a:pt x="398" y="364"/>
                </a:lnTo>
                <a:lnTo>
                  <a:pt x="397" y="364"/>
                </a:lnTo>
                <a:lnTo>
                  <a:pt x="396" y="365"/>
                </a:lnTo>
                <a:lnTo>
                  <a:pt x="396" y="366"/>
                </a:lnTo>
                <a:lnTo>
                  <a:pt x="393" y="364"/>
                </a:lnTo>
                <a:lnTo>
                  <a:pt x="393" y="363"/>
                </a:lnTo>
                <a:lnTo>
                  <a:pt x="392" y="363"/>
                </a:lnTo>
                <a:lnTo>
                  <a:pt x="393" y="364"/>
                </a:lnTo>
                <a:lnTo>
                  <a:pt x="393" y="365"/>
                </a:lnTo>
                <a:lnTo>
                  <a:pt x="394" y="366"/>
                </a:lnTo>
                <a:lnTo>
                  <a:pt x="396" y="366"/>
                </a:lnTo>
                <a:lnTo>
                  <a:pt x="396" y="367"/>
                </a:lnTo>
                <a:lnTo>
                  <a:pt x="394" y="369"/>
                </a:lnTo>
                <a:lnTo>
                  <a:pt x="394" y="370"/>
                </a:lnTo>
                <a:lnTo>
                  <a:pt x="393" y="370"/>
                </a:lnTo>
                <a:lnTo>
                  <a:pt x="392" y="372"/>
                </a:lnTo>
                <a:lnTo>
                  <a:pt x="392" y="373"/>
                </a:lnTo>
                <a:lnTo>
                  <a:pt x="391" y="373"/>
                </a:lnTo>
                <a:lnTo>
                  <a:pt x="388" y="375"/>
                </a:lnTo>
                <a:lnTo>
                  <a:pt x="386" y="375"/>
                </a:lnTo>
                <a:lnTo>
                  <a:pt x="385" y="373"/>
                </a:lnTo>
                <a:lnTo>
                  <a:pt x="376" y="373"/>
                </a:lnTo>
                <a:lnTo>
                  <a:pt x="374" y="375"/>
                </a:lnTo>
                <a:lnTo>
                  <a:pt x="373" y="375"/>
                </a:lnTo>
                <a:lnTo>
                  <a:pt x="372" y="376"/>
                </a:lnTo>
                <a:lnTo>
                  <a:pt x="370" y="376"/>
                </a:lnTo>
                <a:lnTo>
                  <a:pt x="368" y="377"/>
                </a:lnTo>
                <a:lnTo>
                  <a:pt x="365" y="377"/>
                </a:lnTo>
                <a:lnTo>
                  <a:pt x="363" y="379"/>
                </a:lnTo>
                <a:lnTo>
                  <a:pt x="363" y="381"/>
                </a:lnTo>
                <a:lnTo>
                  <a:pt x="365" y="382"/>
                </a:lnTo>
                <a:lnTo>
                  <a:pt x="365" y="383"/>
                </a:lnTo>
                <a:lnTo>
                  <a:pt x="366" y="384"/>
                </a:lnTo>
                <a:lnTo>
                  <a:pt x="365" y="384"/>
                </a:lnTo>
                <a:lnTo>
                  <a:pt x="365" y="387"/>
                </a:lnTo>
                <a:lnTo>
                  <a:pt x="362" y="389"/>
                </a:lnTo>
                <a:lnTo>
                  <a:pt x="362" y="390"/>
                </a:lnTo>
                <a:lnTo>
                  <a:pt x="360" y="390"/>
                </a:lnTo>
                <a:lnTo>
                  <a:pt x="360" y="391"/>
                </a:lnTo>
                <a:lnTo>
                  <a:pt x="361" y="391"/>
                </a:lnTo>
                <a:lnTo>
                  <a:pt x="361" y="393"/>
                </a:lnTo>
                <a:lnTo>
                  <a:pt x="360" y="395"/>
                </a:lnTo>
                <a:lnTo>
                  <a:pt x="356" y="400"/>
                </a:lnTo>
                <a:lnTo>
                  <a:pt x="355" y="401"/>
                </a:lnTo>
                <a:lnTo>
                  <a:pt x="355" y="402"/>
                </a:lnTo>
                <a:lnTo>
                  <a:pt x="354" y="402"/>
                </a:lnTo>
                <a:lnTo>
                  <a:pt x="354" y="403"/>
                </a:lnTo>
                <a:lnTo>
                  <a:pt x="353" y="406"/>
                </a:lnTo>
                <a:lnTo>
                  <a:pt x="353" y="407"/>
                </a:lnTo>
                <a:lnTo>
                  <a:pt x="348" y="412"/>
                </a:lnTo>
                <a:lnTo>
                  <a:pt x="343" y="418"/>
                </a:lnTo>
                <a:lnTo>
                  <a:pt x="341" y="420"/>
                </a:lnTo>
                <a:lnTo>
                  <a:pt x="337" y="422"/>
                </a:lnTo>
                <a:lnTo>
                  <a:pt x="337" y="419"/>
                </a:lnTo>
                <a:lnTo>
                  <a:pt x="336" y="419"/>
                </a:lnTo>
                <a:lnTo>
                  <a:pt x="336" y="422"/>
                </a:lnTo>
                <a:lnTo>
                  <a:pt x="335" y="422"/>
                </a:lnTo>
                <a:lnTo>
                  <a:pt x="332" y="421"/>
                </a:lnTo>
                <a:lnTo>
                  <a:pt x="331" y="420"/>
                </a:lnTo>
                <a:lnTo>
                  <a:pt x="330" y="421"/>
                </a:lnTo>
                <a:lnTo>
                  <a:pt x="330" y="425"/>
                </a:lnTo>
                <a:lnTo>
                  <a:pt x="329" y="425"/>
                </a:lnTo>
                <a:lnTo>
                  <a:pt x="329" y="427"/>
                </a:lnTo>
                <a:lnTo>
                  <a:pt x="328" y="426"/>
                </a:lnTo>
                <a:lnTo>
                  <a:pt x="324" y="426"/>
                </a:lnTo>
                <a:lnTo>
                  <a:pt x="323" y="427"/>
                </a:lnTo>
                <a:lnTo>
                  <a:pt x="323" y="430"/>
                </a:lnTo>
                <a:lnTo>
                  <a:pt x="325" y="430"/>
                </a:lnTo>
                <a:lnTo>
                  <a:pt x="325" y="432"/>
                </a:lnTo>
                <a:lnTo>
                  <a:pt x="323" y="432"/>
                </a:lnTo>
                <a:lnTo>
                  <a:pt x="323" y="433"/>
                </a:lnTo>
                <a:lnTo>
                  <a:pt x="322" y="433"/>
                </a:lnTo>
                <a:lnTo>
                  <a:pt x="320" y="434"/>
                </a:lnTo>
                <a:lnTo>
                  <a:pt x="320" y="432"/>
                </a:lnTo>
                <a:lnTo>
                  <a:pt x="319" y="430"/>
                </a:lnTo>
                <a:lnTo>
                  <a:pt x="318" y="430"/>
                </a:lnTo>
                <a:lnTo>
                  <a:pt x="318" y="425"/>
                </a:lnTo>
                <a:lnTo>
                  <a:pt x="319" y="425"/>
                </a:lnTo>
                <a:lnTo>
                  <a:pt x="317" y="422"/>
                </a:lnTo>
                <a:lnTo>
                  <a:pt x="317" y="421"/>
                </a:lnTo>
                <a:lnTo>
                  <a:pt x="316" y="422"/>
                </a:lnTo>
                <a:lnTo>
                  <a:pt x="317" y="422"/>
                </a:lnTo>
                <a:lnTo>
                  <a:pt x="317" y="425"/>
                </a:lnTo>
                <a:lnTo>
                  <a:pt x="316" y="426"/>
                </a:lnTo>
                <a:lnTo>
                  <a:pt x="316" y="428"/>
                </a:lnTo>
                <a:lnTo>
                  <a:pt x="317" y="428"/>
                </a:lnTo>
                <a:lnTo>
                  <a:pt x="314" y="430"/>
                </a:lnTo>
                <a:lnTo>
                  <a:pt x="314" y="438"/>
                </a:lnTo>
                <a:lnTo>
                  <a:pt x="316" y="438"/>
                </a:lnTo>
                <a:lnTo>
                  <a:pt x="316" y="439"/>
                </a:lnTo>
                <a:lnTo>
                  <a:pt x="318" y="439"/>
                </a:lnTo>
                <a:lnTo>
                  <a:pt x="318" y="438"/>
                </a:lnTo>
                <a:lnTo>
                  <a:pt x="319" y="437"/>
                </a:lnTo>
                <a:lnTo>
                  <a:pt x="319" y="438"/>
                </a:lnTo>
                <a:lnTo>
                  <a:pt x="314" y="443"/>
                </a:lnTo>
                <a:lnTo>
                  <a:pt x="316" y="444"/>
                </a:lnTo>
                <a:lnTo>
                  <a:pt x="316" y="445"/>
                </a:lnTo>
                <a:lnTo>
                  <a:pt x="317" y="445"/>
                </a:lnTo>
                <a:lnTo>
                  <a:pt x="317" y="443"/>
                </a:lnTo>
                <a:lnTo>
                  <a:pt x="318" y="443"/>
                </a:lnTo>
                <a:lnTo>
                  <a:pt x="318" y="444"/>
                </a:lnTo>
                <a:lnTo>
                  <a:pt x="319" y="444"/>
                </a:lnTo>
                <a:lnTo>
                  <a:pt x="319" y="445"/>
                </a:lnTo>
                <a:lnTo>
                  <a:pt x="320" y="444"/>
                </a:lnTo>
                <a:lnTo>
                  <a:pt x="322" y="445"/>
                </a:lnTo>
                <a:lnTo>
                  <a:pt x="322" y="446"/>
                </a:lnTo>
                <a:lnTo>
                  <a:pt x="320" y="446"/>
                </a:lnTo>
                <a:lnTo>
                  <a:pt x="320" y="448"/>
                </a:lnTo>
                <a:lnTo>
                  <a:pt x="322" y="449"/>
                </a:lnTo>
                <a:lnTo>
                  <a:pt x="322" y="453"/>
                </a:lnTo>
                <a:lnTo>
                  <a:pt x="320" y="453"/>
                </a:lnTo>
                <a:lnTo>
                  <a:pt x="320" y="457"/>
                </a:lnTo>
                <a:lnTo>
                  <a:pt x="319" y="458"/>
                </a:lnTo>
                <a:lnTo>
                  <a:pt x="318" y="458"/>
                </a:lnTo>
                <a:lnTo>
                  <a:pt x="318" y="457"/>
                </a:lnTo>
                <a:lnTo>
                  <a:pt x="317" y="457"/>
                </a:lnTo>
                <a:lnTo>
                  <a:pt x="318" y="455"/>
                </a:lnTo>
                <a:lnTo>
                  <a:pt x="318" y="452"/>
                </a:lnTo>
                <a:lnTo>
                  <a:pt x="313" y="448"/>
                </a:lnTo>
                <a:lnTo>
                  <a:pt x="307" y="445"/>
                </a:lnTo>
                <a:lnTo>
                  <a:pt x="303" y="445"/>
                </a:lnTo>
                <a:lnTo>
                  <a:pt x="303" y="446"/>
                </a:lnTo>
                <a:lnTo>
                  <a:pt x="298" y="446"/>
                </a:lnTo>
                <a:lnTo>
                  <a:pt x="298" y="448"/>
                </a:lnTo>
                <a:lnTo>
                  <a:pt x="297" y="448"/>
                </a:lnTo>
                <a:lnTo>
                  <a:pt x="297" y="449"/>
                </a:lnTo>
                <a:lnTo>
                  <a:pt x="295" y="449"/>
                </a:lnTo>
                <a:lnTo>
                  <a:pt x="294" y="450"/>
                </a:lnTo>
                <a:lnTo>
                  <a:pt x="292" y="450"/>
                </a:lnTo>
                <a:lnTo>
                  <a:pt x="289" y="452"/>
                </a:lnTo>
                <a:lnTo>
                  <a:pt x="288" y="452"/>
                </a:lnTo>
                <a:lnTo>
                  <a:pt x="288" y="453"/>
                </a:lnTo>
                <a:lnTo>
                  <a:pt x="287" y="455"/>
                </a:lnTo>
                <a:lnTo>
                  <a:pt x="286" y="455"/>
                </a:lnTo>
                <a:lnTo>
                  <a:pt x="285" y="453"/>
                </a:lnTo>
                <a:lnTo>
                  <a:pt x="283" y="453"/>
                </a:lnTo>
                <a:lnTo>
                  <a:pt x="282" y="452"/>
                </a:lnTo>
                <a:lnTo>
                  <a:pt x="281" y="452"/>
                </a:lnTo>
                <a:lnTo>
                  <a:pt x="281" y="453"/>
                </a:lnTo>
                <a:lnTo>
                  <a:pt x="280" y="455"/>
                </a:lnTo>
                <a:lnTo>
                  <a:pt x="280" y="456"/>
                </a:lnTo>
                <a:lnTo>
                  <a:pt x="281" y="457"/>
                </a:lnTo>
                <a:lnTo>
                  <a:pt x="280" y="457"/>
                </a:lnTo>
                <a:lnTo>
                  <a:pt x="279" y="458"/>
                </a:lnTo>
                <a:lnTo>
                  <a:pt x="278" y="458"/>
                </a:lnTo>
                <a:lnTo>
                  <a:pt x="272" y="457"/>
                </a:lnTo>
                <a:lnTo>
                  <a:pt x="268" y="455"/>
                </a:lnTo>
                <a:lnTo>
                  <a:pt x="264" y="453"/>
                </a:lnTo>
                <a:lnTo>
                  <a:pt x="263" y="453"/>
                </a:lnTo>
                <a:lnTo>
                  <a:pt x="262" y="452"/>
                </a:lnTo>
                <a:lnTo>
                  <a:pt x="261" y="452"/>
                </a:lnTo>
                <a:lnTo>
                  <a:pt x="261" y="451"/>
                </a:lnTo>
                <a:lnTo>
                  <a:pt x="260" y="448"/>
                </a:lnTo>
                <a:lnTo>
                  <a:pt x="260" y="446"/>
                </a:lnTo>
                <a:lnTo>
                  <a:pt x="257" y="444"/>
                </a:lnTo>
                <a:lnTo>
                  <a:pt x="256" y="444"/>
                </a:lnTo>
                <a:lnTo>
                  <a:pt x="256" y="442"/>
                </a:lnTo>
                <a:lnTo>
                  <a:pt x="258" y="440"/>
                </a:lnTo>
                <a:lnTo>
                  <a:pt x="262" y="440"/>
                </a:lnTo>
                <a:lnTo>
                  <a:pt x="264" y="442"/>
                </a:lnTo>
                <a:lnTo>
                  <a:pt x="268" y="442"/>
                </a:lnTo>
                <a:lnTo>
                  <a:pt x="269" y="440"/>
                </a:lnTo>
                <a:lnTo>
                  <a:pt x="268" y="438"/>
                </a:lnTo>
                <a:lnTo>
                  <a:pt x="269" y="438"/>
                </a:lnTo>
                <a:lnTo>
                  <a:pt x="269" y="437"/>
                </a:lnTo>
                <a:lnTo>
                  <a:pt x="270" y="437"/>
                </a:lnTo>
                <a:lnTo>
                  <a:pt x="269" y="436"/>
                </a:lnTo>
                <a:lnTo>
                  <a:pt x="269" y="433"/>
                </a:lnTo>
                <a:lnTo>
                  <a:pt x="268" y="433"/>
                </a:lnTo>
                <a:lnTo>
                  <a:pt x="268" y="432"/>
                </a:lnTo>
                <a:lnTo>
                  <a:pt x="267" y="432"/>
                </a:lnTo>
                <a:lnTo>
                  <a:pt x="268" y="431"/>
                </a:lnTo>
                <a:lnTo>
                  <a:pt x="268" y="430"/>
                </a:lnTo>
                <a:lnTo>
                  <a:pt x="269" y="430"/>
                </a:lnTo>
                <a:lnTo>
                  <a:pt x="269" y="428"/>
                </a:lnTo>
                <a:lnTo>
                  <a:pt x="272" y="428"/>
                </a:lnTo>
                <a:lnTo>
                  <a:pt x="272" y="427"/>
                </a:lnTo>
                <a:lnTo>
                  <a:pt x="270" y="427"/>
                </a:lnTo>
                <a:lnTo>
                  <a:pt x="272" y="426"/>
                </a:lnTo>
                <a:lnTo>
                  <a:pt x="274" y="426"/>
                </a:lnTo>
                <a:lnTo>
                  <a:pt x="275" y="425"/>
                </a:lnTo>
                <a:lnTo>
                  <a:pt x="275" y="422"/>
                </a:lnTo>
                <a:lnTo>
                  <a:pt x="278" y="422"/>
                </a:lnTo>
                <a:lnTo>
                  <a:pt x="278" y="421"/>
                </a:lnTo>
                <a:lnTo>
                  <a:pt x="279" y="421"/>
                </a:lnTo>
                <a:lnTo>
                  <a:pt x="279" y="418"/>
                </a:lnTo>
                <a:lnTo>
                  <a:pt x="278" y="416"/>
                </a:lnTo>
                <a:lnTo>
                  <a:pt x="278" y="415"/>
                </a:lnTo>
                <a:lnTo>
                  <a:pt x="279" y="414"/>
                </a:lnTo>
                <a:lnTo>
                  <a:pt x="287" y="412"/>
                </a:lnTo>
                <a:lnTo>
                  <a:pt x="288" y="412"/>
                </a:lnTo>
                <a:lnTo>
                  <a:pt x="288" y="410"/>
                </a:lnTo>
                <a:lnTo>
                  <a:pt x="287" y="407"/>
                </a:lnTo>
                <a:lnTo>
                  <a:pt x="287" y="405"/>
                </a:lnTo>
                <a:lnTo>
                  <a:pt x="289" y="402"/>
                </a:lnTo>
                <a:lnTo>
                  <a:pt x="291" y="400"/>
                </a:lnTo>
                <a:lnTo>
                  <a:pt x="287" y="396"/>
                </a:lnTo>
                <a:lnTo>
                  <a:pt x="287" y="391"/>
                </a:lnTo>
                <a:lnTo>
                  <a:pt x="286" y="389"/>
                </a:lnTo>
                <a:lnTo>
                  <a:pt x="286" y="385"/>
                </a:lnTo>
                <a:lnTo>
                  <a:pt x="287" y="383"/>
                </a:lnTo>
                <a:lnTo>
                  <a:pt x="291" y="382"/>
                </a:lnTo>
                <a:lnTo>
                  <a:pt x="292" y="381"/>
                </a:lnTo>
                <a:lnTo>
                  <a:pt x="293" y="381"/>
                </a:lnTo>
                <a:lnTo>
                  <a:pt x="297" y="378"/>
                </a:lnTo>
                <a:lnTo>
                  <a:pt x="298" y="378"/>
                </a:lnTo>
                <a:lnTo>
                  <a:pt x="298" y="389"/>
                </a:lnTo>
                <a:lnTo>
                  <a:pt x="299" y="389"/>
                </a:lnTo>
                <a:lnTo>
                  <a:pt x="301" y="387"/>
                </a:lnTo>
                <a:lnTo>
                  <a:pt x="301" y="384"/>
                </a:lnTo>
                <a:lnTo>
                  <a:pt x="303" y="383"/>
                </a:lnTo>
                <a:lnTo>
                  <a:pt x="304" y="385"/>
                </a:lnTo>
                <a:lnTo>
                  <a:pt x="305" y="385"/>
                </a:lnTo>
                <a:lnTo>
                  <a:pt x="308" y="382"/>
                </a:lnTo>
                <a:lnTo>
                  <a:pt x="310" y="382"/>
                </a:lnTo>
                <a:lnTo>
                  <a:pt x="310" y="385"/>
                </a:lnTo>
                <a:lnTo>
                  <a:pt x="312" y="385"/>
                </a:lnTo>
                <a:lnTo>
                  <a:pt x="312" y="387"/>
                </a:lnTo>
                <a:lnTo>
                  <a:pt x="313" y="387"/>
                </a:lnTo>
                <a:lnTo>
                  <a:pt x="313" y="388"/>
                </a:lnTo>
                <a:lnTo>
                  <a:pt x="314" y="389"/>
                </a:lnTo>
                <a:lnTo>
                  <a:pt x="317" y="389"/>
                </a:lnTo>
                <a:lnTo>
                  <a:pt x="317" y="385"/>
                </a:lnTo>
                <a:lnTo>
                  <a:pt x="319" y="385"/>
                </a:lnTo>
                <a:lnTo>
                  <a:pt x="319" y="383"/>
                </a:lnTo>
                <a:lnTo>
                  <a:pt x="320" y="383"/>
                </a:lnTo>
                <a:lnTo>
                  <a:pt x="323" y="385"/>
                </a:lnTo>
                <a:lnTo>
                  <a:pt x="323" y="387"/>
                </a:lnTo>
                <a:lnTo>
                  <a:pt x="324" y="388"/>
                </a:lnTo>
                <a:lnTo>
                  <a:pt x="324" y="390"/>
                </a:lnTo>
                <a:lnTo>
                  <a:pt x="325" y="390"/>
                </a:lnTo>
                <a:lnTo>
                  <a:pt x="326" y="389"/>
                </a:lnTo>
                <a:lnTo>
                  <a:pt x="335" y="389"/>
                </a:lnTo>
                <a:lnTo>
                  <a:pt x="336" y="388"/>
                </a:lnTo>
                <a:lnTo>
                  <a:pt x="337" y="385"/>
                </a:lnTo>
                <a:lnTo>
                  <a:pt x="335" y="385"/>
                </a:lnTo>
                <a:lnTo>
                  <a:pt x="335" y="384"/>
                </a:lnTo>
                <a:lnTo>
                  <a:pt x="332" y="383"/>
                </a:lnTo>
                <a:lnTo>
                  <a:pt x="332" y="381"/>
                </a:lnTo>
                <a:lnTo>
                  <a:pt x="331" y="381"/>
                </a:lnTo>
                <a:lnTo>
                  <a:pt x="331" y="382"/>
                </a:lnTo>
                <a:lnTo>
                  <a:pt x="330" y="382"/>
                </a:lnTo>
                <a:lnTo>
                  <a:pt x="330" y="381"/>
                </a:lnTo>
                <a:lnTo>
                  <a:pt x="328" y="379"/>
                </a:lnTo>
                <a:lnTo>
                  <a:pt x="328" y="377"/>
                </a:lnTo>
                <a:lnTo>
                  <a:pt x="329" y="377"/>
                </a:lnTo>
                <a:lnTo>
                  <a:pt x="330" y="376"/>
                </a:lnTo>
                <a:lnTo>
                  <a:pt x="329" y="375"/>
                </a:lnTo>
                <a:lnTo>
                  <a:pt x="329" y="371"/>
                </a:lnTo>
                <a:lnTo>
                  <a:pt x="330" y="367"/>
                </a:lnTo>
                <a:lnTo>
                  <a:pt x="330" y="365"/>
                </a:lnTo>
                <a:lnTo>
                  <a:pt x="329" y="365"/>
                </a:lnTo>
                <a:lnTo>
                  <a:pt x="329" y="362"/>
                </a:lnTo>
                <a:lnTo>
                  <a:pt x="326" y="362"/>
                </a:lnTo>
                <a:lnTo>
                  <a:pt x="326" y="360"/>
                </a:lnTo>
                <a:lnTo>
                  <a:pt x="325" y="359"/>
                </a:lnTo>
                <a:lnTo>
                  <a:pt x="322" y="359"/>
                </a:lnTo>
                <a:lnTo>
                  <a:pt x="319" y="357"/>
                </a:lnTo>
                <a:lnTo>
                  <a:pt x="319" y="356"/>
                </a:lnTo>
                <a:lnTo>
                  <a:pt x="316" y="356"/>
                </a:lnTo>
                <a:lnTo>
                  <a:pt x="316" y="354"/>
                </a:lnTo>
                <a:lnTo>
                  <a:pt x="313" y="354"/>
                </a:lnTo>
                <a:lnTo>
                  <a:pt x="313" y="350"/>
                </a:lnTo>
                <a:lnTo>
                  <a:pt x="314" y="348"/>
                </a:lnTo>
                <a:lnTo>
                  <a:pt x="314" y="345"/>
                </a:lnTo>
                <a:lnTo>
                  <a:pt x="312" y="345"/>
                </a:lnTo>
                <a:lnTo>
                  <a:pt x="312" y="346"/>
                </a:lnTo>
                <a:lnTo>
                  <a:pt x="311" y="346"/>
                </a:lnTo>
                <a:lnTo>
                  <a:pt x="310" y="344"/>
                </a:lnTo>
                <a:lnTo>
                  <a:pt x="310" y="342"/>
                </a:lnTo>
                <a:lnTo>
                  <a:pt x="312" y="342"/>
                </a:lnTo>
                <a:lnTo>
                  <a:pt x="312" y="341"/>
                </a:lnTo>
                <a:lnTo>
                  <a:pt x="313" y="340"/>
                </a:lnTo>
                <a:lnTo>
                  <a:pt x="312" y="336"/>
                </a:lnTo>
                <a:lnTo>
                  <a:pt x="312" y="335"/>
                </a:lnTo>
                <a:lnTo>
                  <a:pt x="313" y="335"/>
                </a:lnTo>
                <a:lnTo>
                  <a:pt x="314" y="334"/>
                </a:lnTo>
                <a:lnTo>
                  <a:pt x="314" y="333"/>
                </a:lnTo>
                <a:lnTo>
                  <a:pt x="313" y="332"/>
                </a:lnTo>
                <a:lnTo>
                  <a:pt x="313" y="330"/>
                </a:lnTo>
                <a:lnTo>
                  <a:pt x="312" y="329"/>
                </a:lnTo>
                <a:lnTo>
                  <a:pt x="310" y="329"/>
                </a:lnTo>
                <a:lnTo>
                  <a:pt x="310" y="330"/>
                </a:lnTo>
                <a:lnTo>
                  <a:pt x="308" y="332"/>
                </a:lnTo>
                <a:lnTo>
                  <a:pt x="308" y="333"/>
                </a:lnTo>
                <a:lnTo>
                  <a:pt x="306" y="333"/>
                </a:lnTo>
                <a:lnTo>
                  <a:pt x="306" y="332"/>
                </a:lnTo>
                <a:lnTo>
                  <a:pt x="305" y="332"/>
                </a:lnTo>
                <a:lnTo>
                  <a:pt x="305" y="328"/>
                </a:lnTo>
                <a:lnTo>
                  <a:pt x="304" y="327"/>
                </a:lnTo>
                <a:lnTo>
                  <a:pt x="303" y="327"/>
                </a:lnTo>
                <a:lnTo>
                  <a:pt x="301" y="326"/>
                </a:lnTo>
                <a:lnTo>
                  <a:pt x="301" y="325"/>
                </a:lnTo>
                <a:lnTo>
                  <a:pt x="299" y="322"/>
                </a:lnTo>
                <a:lnTo>
                  <a:pt x="298" y="322"/>
                </a:lnTo>
                <a:lnTo>
                  <a:pt x="298" y="323"/>
                </a:lnTo>
                <a:lnTo>
                  <a:pt x="297" y="323"/>
                </a:lnTo>
                <a:lnTo>
                  <a:pt x="297" y="322"/>
                </a:lnTo>
                <a:lnTo>
                  <a:pt x="294" y="317"/>
                </a:lnTo>
                <a:lnTo>
                  <a:pt x="295" y="315"/>
                </a:lnTo>
                <a:lnTo>
                  <a:pt x="297" y="314"/>
                </a:lnTo>
                <a:lnTo>
                  <a:pt x="297" y="313"/>
                </a:lnTo>
                <a:lnTo>
                  <a:pt x="298" y="310"/>
                </a:lnTo>
                <a:lnTo>
                  <a:pt x="298" y="305"/>
                </a:lnTo>
                <a:lnTo>
                  <a:pt x="299" y="304"/>
                </a:lnTo>
                <a:lnTo>
                  <a:pt x="299" y="302"/>
                </a:lnTo>
                <a:lnTo>
                  <a:pt x="298" y="302"/>
                </a:lnTo>
                <a:lnTo>
                  <a:pt x="297" y="301"/>
                </a:lnTo>
                <a:lnTo>
                  <a:pt x="298" y="299"/>
                </a:lnTo>
                <a:lnTo>
                  <a:pt x="298" y="298"/>
                </a:lnTo>
                <a:lnTo>
                  <a:pt x="299" y="297"/>
                </a:lnTo>
                <a:lnTo>
                  <a:pt x="299" y="296"/>
                </a:lnTo>
                <a:lnTo>
                  <a:pt x="298" y="295"/>
                </a:lnTo>
                <a:lnTo>
                  <a:pt x="297" y="295"/>
                </a:lnTo>
                <a:lnTo>
                  <a:pt x="297" y="291"/>
                </a:lnTo>
                <a:lnTo>
                  <a:pt x="295" y="291"/>
                </a:lnTo>
                <a:lnTo>
                  <a:pt x="295" y="290"/>
                </a:lnTo>
                <a:lnTo>
                  <a:pt x="294" y="289"/>
                </a:lnTo>
                <a:lnTo>
                  <a:pt x="293" y="289"/>
                </a:lnTo>
                <a:lnTo>
                  <a:pt x="292" y="290"/>
                </a:lnTo>
                <a:lnTo>
                  <a:pt x="291" y="292"/>
                </a:lnTo>
                <a:lnTo>
                  <a:pt x="287" y="292"/>
                </a:lnTo>
                <a:lnTo>
                  <a:pt x="287" y="291"/>
                </a:lnTo>
                <a:lnTo>
                  <a:pt x="286" y="291"/>
                </a:lnTo>
                <a:lnTo>
                  <a:pt x="285" y="289"/>
                </a:lnTo>
                <a:lnTo>
                  <a:pt x="282" y="286"/>
                </a:lnTo>
                <a:lnTo>
                  <a:pt x="282" y="284"/>
                </a:lnTo>
                <a:lnTo>
                  <a:pt x="281" y="283"/>
                </a:lnTo>
                <a:lnTo>
                  <a:pt x="281" y="280"/>
                </a:lnTo>
                <a:lnTo>
                  <a:pt x="280" y="280"/>
                </a:lnTo>
                <a:lnTo>
                  <a:pt x="279" y="279"/>
                </a:lnTo>
                <a:lnTo>
                  <a:pt x="275" y="279"/>
                </a:lnTo>
                <a:lnTo>
                  <a:pt x="272" y="278"/>
                </a:lnTo>
                <a:lnTo>
                  <a:pt x="269" y="278"/>
                </a:lnTo>
                <a:lnTo>
                  <a:pt x="268" y="280"/>
                </a:lnTo>
                <a:lnTo>
                  <a:pt x="268" y="284"/>
                </a:lnTo>
                <a:lnTo>
                  <a:pt x="267" y="283"/>
                </a:lnTo>
                <a:lnTo>
                  <a:pt x="266" y="283"/>
                </a:lnTo>
                <a:lnTo>
                  <a:pt x="264" y="280"/>
                </a:lnTo>
                <a:lnTo>
                  <a:pt x="266" y="279"/>
                </a:lnTo>
                <a:lnTo>
                  <a:pt x="266" y="278"/>
                </a:lnTo>
                <a:lnTo>
                  <a:pt x="264" y="277"/>
                </a:lnTo>
                <a:lnTo>
                  <a:pt x="263" y="277"/>
                </a:lnTo>
                <a:lnTo>
                  <a:pt x="263" y="279"/>
                </a:lnTo>
                <a:lnTo>
                  <a:pt x="261" y="279"/>
                </a:lnTo>
                <a:lnTo>
                  <a:pt x="261" y="278"/>
                </a:lnTo>
                <a:lnTo>
                  <a:pt x="263" y="276"/>
                </a:lnTo>
                <a:lnTo>
                  <a:pt x="263" y="273"/>
                </a:lnTo>
                <a:lnTo>
                  <a:pt x="262" y="273"/>
                </a:lnTo>
                <a:lnTo>
                  <a:pt x="262" y="272"/>
                </a:lnTo>
                <a:lnTo>
                  <a:pt x="260" y="273"/>
                </a:lnTo>
                <a:lnTo>
                  <a:pt x="258" y="273"/>
                </a:lnTo>
                <a:lnTo>
                  <a:pt x="258" y="274"/>
                </a:lnTo>
                <a:lnTo>
                  <a:pt x="256" y="274"/>
                </a:lnTo>
                <a:lnTo>
                  <a:pt x="255" y="273"/>
                </a:lnTo>
                <a:lnTo>
                  <a:pt x="255" y="271"/>
                </a:lnTo>
                <a:lnTo>
                  <a:pt x="252" y="273"/>
                </a:lnTo>
                <a:lnTo>
                  <a:pt x="251" y="273"/>
                </a:lnTo>
                <a:lnTo>
                  <a:pt x="250" y="272"/>
                </a:lnTo>
                <a:lnTo>
                  <a:pt x="251" y="270"/>
                </a:lnTo>
                <a:lnTo>
                  <a:pt x="251" y="268"/>
                </a:lnTo>
                <a:lnTo>
                  <a:pt x="250" y="268"/>
                </a:lnTo>
                <a:lnTo>
                  <a:pt x="250" y="267"/>
                </a:lnTo>
                <a:lnTo>
                  <a:pt x="245" y="267"/>
                </a:lnTo>
                <a:lnTo>
                  <a:pt x="243" y="265"/>
                </a:lnTo>
                <a:lnTo>
                  <a:pt x="243" y="264"/>
                </a:lnTo>
                <a:lnTo>
                  <a:pt x="241" y="261"/>
                </a:lnTo>
                <a:lnTo>
                  <a:pt x="238" y="260"/>
                </a:lnTo>
                <a:lnTo>
                  <a:pt x="237" y="259"/>
                </a:lnTo>
                <a:lnTo>
                  <a:pt x="231" y="259"/>
                </a:lnTo>
                <a:lnTo>
                  <a:pt x="231" y="258"/>
                </a:lnTo>
                <a:lnTo>
                  <a:pt x="230" y="256"/>
                </a:lnTo>
                <a:lnTo>
                  <a:pt x="229" y="258"/>
                </a:lnTo>
                <a:lnTo>
                  <a:pt x="226" y="258"/>
                </a:lnTo>
                <a:lnTo>
                  <a:pt x="223" y="261"/>
                </a:lnTo>
                <a:lnTo>
                  <a:pt x="221" y="261"/>
                </a:lnTo>
                <a:lnTo>
                  <a:pt x="220" y="260"/>
                </a:lnTo>
                <a:lnTo>
                  <a:pt x="219" y="260"/>
                </a:lnTo>
                <a:lnTo>
                  <a:pt x="214" y="265"/>
                </a:lnTo>
                <a:lnTo>
                  <a:pt x="212" y="265"/>
                </a:lnTo>
                <a:lnTo>
                  <a:pt x="208" y="264"/>
                </a:lnTo>
                <a:lnTo>
                  <a:pt x="207" y="262"/>
                </a:lnTo>
                <a:lnTo>
                  <a:pt x="206" y="262"/>
                </a:lnTo>
                <a:lnTo>
                  <a:pt x="206" y="265"/>
                </a:lnTo>
                <a:lnTo>
                  <a:pt x="205" y="265"/>
                </a:lnTo>
                <a:lnTo>
                  <a:pt x="202" y="266"/>
                </a:lnTo>
                <a:lnTo>
                  <a:pt x="199" y="262"/>
                </a:lnTo>
                <a:lnTo>
                  <a:pt x="198" y="262"/>
                </a:lnTo>
                <a:lnTo>
                  <a:pt x="198" y="265"/>
                </a:lnTo>
                <a:lnTo>
                  <a:pt x="196" y="264"/>
                </a:lnTo>
                <a:lnTo>
                  <a:pt x="195" y="265"/>
                </a:lnTo>
                <a:lnTo>
                  <a:pt x="196" y="266"/>
                </a:lnTo>
                <a:lnTo>
                  <a:pt x="196" y="270"/>
                </a:lnTo>
                <a:lnTo>
                  <a:pt x="194" y="270"/>
                </a:lnTo>
                <a:lnTo>
                  <a:pt x="193" y="268"/>
                </a:lnTo>
                <a:lnTo>
                  <a:pt x="193" y="267"/>
                </a:lnTo>
                <a:lnTo>
                  <a:pt x="192" y="267"/>
                </a:lnTo>
                <a:lnTo>
                  <a:pt x="192" y="268"/>
                </a:lnTo>
                <a:lnTo>
                  <a:pt x="189" y="270"/>
                </a:lnTo>
                <a:lnTo>
                  <a:pt x="189" y="271"/>
                </a:lnTo>
                <a:lnTo>
                  <a:pt x="188" y="272"/>
                </a:lnTo>
                <a:lnTo>
                  <a:pt x="182" y="273"/>
                </a:lnTo>
                <a:lnTo>
                  <a:pt x="179" y="273"/>
                </a:lnTo>
                <a:lnTo>
                  <a:pt x="177" y="274"/>
                </a:lnTo>
                <a:lnTo>
                  <a:pt x="176" y="274"/>
                </a:lnTo>
                <a:lnTo>
                  <a:pt x="175" y="277"/>
                </a:lnTo>
                <a:lnTo>
                  <a:pt x="175" y="280"/>
                </a:lnTo>
                <a:lnTo>
                  <a:pt x="174" y="282"/>
                </a:lnTo>
                <a:lnTo>
                  <a:pt x="174" y="283"/>
                </a:lnTo>
                <a:lnTo>
                  <a:pt x="173" y="284"/>
                </a:lnTo>
                <a:lnTo>
                  <a:pt x="173" y="285"/>
                </a:lnTo>
                <a:lnTo>
                  <a:pt x="171" y="285"/>
                </a:lnTo>
                <a:lnTo>
                  <a:pt x="170" y="287"/>
                </a:lnTo>
                <a:lnTo>
                  <a:pt x="170" y="289"/>
                </a:lnTo>
                <a:lnTo>
                  <a:pt x="164" y="289"/>
                </a:lnTo>
                <a:lnTo>
                  <a:pt x="162" y="290"/>
                </a:lnTo>
                <a:lnTo>
                  <a:pt x="157" y="290"/>
                </a:lnTo>
                <a:lnTo>
                  <a:pt x="152" y="292"/>
                </a:lnTo>
                <a:lnTo>
                  <a:pt x="132" y="295"/>
                </a:lnTo>
                <a:lnTo>
                  <a:pt x="130" y="296"/>
                </a:lnTo>
                <a:lnTo>
                  <a:pt x="126" y="302"/>
                </a:lnTo>
                <a:lnTo>
                  <a:pt x="124" y="304"/>
                </a:lnTo>
                <a:lnTo>
                  <a:pt x="121" y="305"/>
                </a:lnTo>
                <a:lnTo>
                  <a:pt x="115" y="305"/>
                </a:lnTo>
                <a:lnTo>
                  <a:pt x="114" y="304"/>
                </a:lnTo>
                <a:lnTo>
                  <a:pt x="113" y="302"/>
                </a:lnTo>
                <a:lnTo>
                  <a:pt x="113" y="301"/>
                </a:lnTo>
                <a:lnTo>
                  <a:pt x="112" y="299"/>
                </a:lnTo>
                <a:lnTo>
                  <a:pt x="108" y="298"/>
                </a:lnTo>
                <a:lnTo>
                  <a:pt x="107" y="298"/>
                </a:lnTo>
                <a:lnTo>
                  <a:pt x="106" y="297"/>
                </a:lnTo>
                <a:lnTo>
                  <a:pt x="106" y="295"/>
                </a:lnTo>
                <a:lnTo>
                  <a:pt x="105" y="293"/>
                </a:lnTo>
                <a:lnTo>
                  <a:pt x="105" y="292"/>
                </a:lnTo>
                <a:lnTo>
                  <a:pt x="102" y="291"/>
                </a:lnTo>
                <a:lnTo>
                  <a:pt x="95" y="291"/>
                </a:lnTo>
                <a:lnTo>
                  <a:pt x="93" y="292"/>
                </a:lnTo>
                <a:lnTo>
                  <a:pt x="92" y="292"/>
                </a:lnTo>
                <a:lnTo>
                  <a:pt x="88" y="295"/>
                </a:lnTo>
                <a:lnTo>
                  <a:pt x="87" y="295"/>
                </a:lnTo>
                <a:lnTo>
                  <a:pt x="84" y="293"/>
                </a:lnTo>
                <a:lnTo>
                  <a:pt x="82" y="291"/>
                </a:lnTo>
                <a:lnTo>
                  <a:pt x="80" y="291"/>
                </a:lnTo>
                <a:lnTo>
                  <a:pt x="78" y="290"/>
                </a:lnTo>
                <a:lnTo>
                  <a:pt x="77" y="290"/>
                </a:lnTo>
                <a:lnTo>
                  <a:pt x="74" y="292"/>
                </a:lnTo>
                <a:lnTo>
                  <a:pt x="73" y="292"/>
                </a:lnTo>
                <a:lnTo>
                  <a:pt x="73" y="291"/>
                </a:lnTo>
                <a:lnTo>
                  <a:pt x="70" y="289"/>
                </a:lnTo>
                <a:lnTo>
                  <a:pt x="65" y="289"/>
                </a:lnTo>
                <a:lnTo>
                  <a:pt x="64" y="287"/>
                </a:lnTo>
                <a:lnTo>
                  <a:pt x="58" y="287"/>
                </a:lnTo>
                <a:lnTo>
                  <a:pt x="57" y="289"/>
                </a:lnTo>
                <a:lnTo>
                  <a:pt x="57" y="290"/>
                </a:lnTo>
                <a:lnTo>
                  <a:pt x="56" y="290"/>
                </a:lnTo>
                <a:lnTo>
                  <a:pt x="53" y="289"/>
                </a:lnTo>
                <a:lnTo>
                  <a:pt x="51" y="289"/>
                </a:lnTo>
                <a:lnTo>
                  <a:pt x="51" y="287"/>
                </a:lnTo>
                <a:lnTo>
                  <a:pt x="46" y="283"/>
                </a:lnTo>
                <a:lnTo>
                  <a:pt x="43" y="282"/>
                </a:lnTo>
                <a:lnTo>
                  <a:pt x="42" y="282"/>
                </a:lnTo>
                <a:lnTo>
                  <a:pt x="40" y="283"/>
                </a:lnTo>
                <a:lnTo>
                  <a:pt x="39" y="286"/>
                </a:lnTo>
                <a:lnTo>
                  <a:pt x="39" y="287"/>
                </a:lnTo>
                <a:lnTo>
                  <a:pt x="37" y="289"/>
                </a:lnTo>
                <a:lnTo>
                  <a:pt x="36" y="289"/>
                </a:lnTo>
                <a:lnTo>
                  <a:pt x="34" y="287"/>
                </a:lnTo>
                <a:lnTo>
                  <a:pt x="33" y="287"/>
                </a:lnTo>
                <a:lnTo>
                  <a:pt x="33" y="290"/>
                </a:lnTo>
                <a:lnTo>
                  <a:pt x="32" y="291"/>
                </a:lnTo>
                <a:lnTo>
                  <a:pt x="31" y="291"/>
                </a:lnTo>
                <a:lnTo>
                  <a:pt x="30" y="290"/>
                </a:lnTo>
                <a:lnTo>
                  <a:pt x="30" y="287"/>
                </a:lnTo>
                <a:lnTo>
                  <a:pt x="31" y="286"/>
                </a:lnTo>
                <a:lnTo>
                  <a:pt x="31" y="285"/>
                </a:lnTo>
                <a:lnTo>
                  <a:pt x="30" y="284"/>
                </a:lnTo>
                <a:lnTo>
                  <a:pt x="30" y="283"/>
                </a:lnTo>
                <a:lnTo>
                  <a:pt x="28" y="282"/>
                </a:lnTo>
                <a:lnTo>
                  <a:pt x="26" y="282"/>
                </a:lnTo>
                <a:lnTo>
                  <a:pt x="26" y="280"/>
                </a:lnTo>
                <a:lnTo>
                  <a:pt x="25" y="280"/>
                </a:lnTo>
                <a:lnTo>
                  <a:pt x="24" y="282"/>
                </a:lnTo>
                <a:lnTo>
                  <a:pt x="19" y="282"/>
                </a:lnTo>
                <a:lnTo>
                  <a:pt x="19" y="280"/>
                </a:lnTo>
                <a:lnTo>
                  <a:pt x="18" y="278"/>
                </a:lnTo>
                <a:lnTo>
                  <a:pt x="18" y="277"/>
                </a:lnTo>
                <a:lnTo>
                  <a:pt x="14" y="272"/>
                </a:lnTo>
                <a:lnTo>
                  <a:pt x="13" y="273"/>
                </a:lnTo>
                <a:lnTo>
                  <a:pt x="12" y="273"/>
                </a:lnTo>
                <a:lnTo>
                  <a:pt x="11" y="272"/>
                </a:lnTo>
                <a:lnTo>
                  <a:pt x="11" y="273"/>
                </a:lnTo>
                <a:lnTo>
                  <a:pt x="9" y="273"/>
                </a:lnTo>
                <a:lnTo>
                  <a:pt x="9" y="272"/>
                </a:lnTo>
                <a:lnTo>
                  <a:pt x="7" y="270"/>
                </a:lnTo>
                <a:lnTo>
                  <a:pt x="7" y="265"/>
                </a:lnTo>
                <a:lnTo>
                  <a:pt x="5" y="265"/>
                </a:lnTo>
                <a:lnTo>
                  <a:pt x="5" y="264"/>
                </a:lnTo>
                <a:lnTo>
                  <a:pt x="6" y="262"/>
                </a:lnTo>
                <a:lnTo>
                  <a:pt x="5" y="261"/>
                </a:lnTo>
                <a:lnTo>
                  <a:pt x="1" y="261"/>
                </a:lnTo>
                <a:lnTo>
                  <a:pt x="1" y="262"/>
                </a:lnTo>
                <a:lnTo>
                  <a:pt x="0" y="262"/>
                </a:lnTo>
                <a:lnTo>
                  <a:pt x="0" y="252"/>
                </a:lnTo>
                <a:lnTo>
                  <a:pt x="5" y="247"/>
                </a:lnTo>
                <a:lnTo>
                  <a:pt x="5" y="246"/>
                </a:lnTo>
                <a:lnTo>
                  <a:pt x="7" y="246"/>
                </a:lnTo>
                <a:lnTo>
                  <a:pt x="7" y="244"/>
                </a:lnTo>
                <a:lnTo>
                  <a:pt x="8" y="243"/>
                </a:lnTo>
                <a:lnTo>
                  <a:pt x="8" y="240"/>
                </a:lnTo>
                <a:lnTo>
                  <a:pt x="9" y="239"/>
                </a:lnTo>
                <a:lnTo>
                  <a:pt x="9" y="234"/>
                </a:lnTo>
                <a:lnTo>
                  <a:pt x="11" y="233"/>
                </a:lnTo>
                <a:lnTo>
                  <a:pt x="11" y="231"/>
                </a:lnTo>
                <a:lnTo>
                  <a:pt x="12" y="231"/>
                </a:lnTo>
                <a:lnTo>
                  <a:pt x="12" y="229"/>
                </a:lnTo>
                <a:lnTo>
                  <a:pt x="13" y="225"/>
                </a:lnTo>
                <a:lnTo>
                  <a:pt x="15" y="225"/>
                </a:lnTo>
                <a:lnTo>
                  <a:pt x="16" y="224"/>
                </a:lnTo>
                <a:lnTo>
                  <a:pt x="16" y="219"/>
                </a:lnTo>
                <a:lnTo>
                  <a:pt x="18" y="218"/>
                </a:lnTo>
                <a:lnTo>
                  <a:pt x="21" y="222"/>
                </a:lnTo>
                <a:lnTo>
                  <a:pt x="25" y="222"/>
                </a:lnTo>
                <a:lnTo>
                  <a:pt x="26" y="221"/>
                </a:lnTo>
                <a:lnTo>
                  <a:pt x="26" y="222"/>
                </a:lnTo>
                <a:lnTo>
                  <a:pt x="27" y="223"/>
                </a:lnTo>
                <a:lnTo>
                  <a:pt x="28" y="223"/>
                </a:lnTo>
                <a:lnTo>
                  <a:pt x="30" y="224"/>
                </a:lnTo>
                <a:lnTo>
                  <a:pt x="31" y="224"/>
                </a:lnTo>
                <a:lnTo>
                  <a:pt x="31" y="223"/>
                </a:lnTo>
                <a:lnTo>
                  <a:pt x="30" y="222"/>
                </a:lnTo>
                <a:lnTo>
                  <a:pt x="30" y="218"/>
                </a:lnTo>
                <a:lnTo>
                  <a:pt x="27" y="217"/>
                </a:lnTo>
                <a:lnTo>
                  <a:pt x="27" y="216"/>
                </a:lnTo>
                <a:lnTo>
                  <a:pt x="25" y="213"/>
                </a:lnTo>
                <a:lnTo>
                  <a:pt x="24" y="213"/>
                </a:lnTo>
                <a:lnTo>
                  <a:pt x="24" y="211"/>
                </a:lnTo>
                <a:lnTo>
                  <a:pt x="25" y="209"/>
                </a:lnTo>
                <a:lnTo>
                  <a:pt x="25" y="199"/>
                </a:lnTo>
                <a:lnTo>
                  <a:pt x="22" y="197"/>
                </a:lnTo>
                <a:lnTo>
                  <a:pt x="22" y="192"/>
                </a:lnTo>
                <a:lnTo>
                  <a:pt x="21" y="190"/>
                </a:lnTo>
                <a:lnTo>
                  <a:pt x="22" y="187"/>
                </a:lnTo>
                <a:lnTo>
                  <a:pt x="26" y="184"/>
                </a:lnTo>
                <a:lnTo>
                  <a:pt x="26" y="180"/>
                </a:lnTo>
                <a:lnTo>
                  <a:pt x="28" y="180"/>
                </a:lnTo>
                <a:lnTo>
                  <a:pt x="30" y="179"/>
                </a:lnTo>
                <a:lnTo>
                  <a:pt x="32" y="174"/>
                </a:lnTo>
                <a:lnTo>
                  <a:pt x="34" y="172"/>
                </a:lnTo>
                <a:lnTo>
                  <a:pt x="34" y="170"/>
                </a:lnTo>
                <a:lnTo>
                  <a:pt x="36" y="169"/>
                </a:lnTo>
                <a:lnTo>
                  <a:pt x="40" y="162"/>
                </a:lnTo>
                <a:lnTo>
                  <a:pt x="45" y="157"/>
                </a:lnTo>
                <a:lnTo>
                  <a:pt x="55" y="147"/>
                </a:lnTo>
                <a:lnTo>
                  <a:pt x="57" y="145"/>
                </a:lnTo>
                <a:lnTo>
                  <a:pt x="61" y="142"/>
                </a:lnTo>
                <a:lnTo>
                  <a:pt x="63" y="138"/>
                </a:lnTo>
                <a:lnTo>
                  <a:pt x="64" y="138"/>
                </a:lnTo>
                <a:lnTo>
                  <a:pt x="64" y="136"/>
                </a:lnTo>
                <a:lnTo>
                  <a:pt x="67" y="133"/>
                </a:lnTo>
                <a:lnTo>
                  <a:pt x="76" y="133"/>
                </a:lnTo>
                <a:lnTo>
                  <a:pt x="77" y="132"/>
                </a:lnTo>
                <a:lnTo>
                  <a:pt x="78" y="130"/>
                </a:lnTo>
                <a:lnTo>
                  <a:pt x="78" y="126"/>
                </a:lnTo>
                <a:lnTo>
                  <a:pt x="82" y="125"/>
                </a:lnTo>
                <a:lnTo>
                  <a:pt x="82" y="124"/>
                </a:lnTo>
                <a:lnTo>
                  <a:pt x="83" y="124"/>
                </a:lnTo>
                <a:lnTo>
                  <a:pt x="82" y="123"/>
                </a:lnTo>
                <a:lnTo>
                  <a:pt x="82" y="119"/>
                </a:lnTo>
                <a:lnTo>
                  <a:pt x="83" y="118"/>
                </a:lnTo>
                <a:lnTo>
                  <a:pt x="82" y="115"/>
                </a:lnTo>
                <a:lnTo>
                  <a:pt x="82" y="112"/>
                </a:lnTo>
                <a:lnTo>
                  <a:pt x="81" y="112"/>
                </a:lnTo>
                <a:lnTo>
                  <a:pt x="78" y="110"/>
                </a:lnTo>
                <a:lnTo>
                  <a:pt x="80" y="108"/>
                </a:lnTo>
                <a:lnTo>
                  <a:pt x="77" y="108"/>
                </a:lnTo>
                <a:lnTo>
                  <a:pt x="77" y="105"/>
                </a:lnTo>
                <a:lnTo>
                  <a:pt x="78" y="104"/>
                </a:lnTo>
                <a:lnTo>
                  <a:pt x="80" y="104"/>
                </a:lnTo>
                <a:lnTo>
                  <a:pt x="81" y="105"/>
                </a:lnTo>
                <a:lnTo>
                  <a:pt x="81" y="104"/>
                </a:lnTo>
                <a:lnTo>
                  <a:pt x="84" y="104"/>
                </a:lnTo>
                <a:lnTo>
                  <a:pt x="84" y="101"/>
                </a:lnTo>
                <a:lnTo>
                  <a:pt x="81" y="100"/>
                </a:lnTo>
                <a:lnTo>
                  <a:pt x="77" y="98"/>
                </a:lnTo>
                <a:lnTo>
                  <a:pt x="77" y="94"/>
                </a:lnTo>
                <a:lnTo>
                  <a:pt x="76" y="94"/>
                </a:lnTo>
                <a:lnTo>
                  <a:pt x="76" y="93"/>
                </a:lnTo>
                <a:lnTo>
                  <a:pt x="75" y="93"/>
                </a:lnTo>
                <a:lnTo>
                  <a:pt x="75" y="89"/>
                </a:lnTo>
                <a:lnTo>
                  <a:pt x="74" y="88"/>
                </a:lnTo>
                <a:lnTo>
                  <a:pt x="73" y="86"/>
                </a:lnTo>
                <a:lnTo>
                  <a:pt x="73" y="84"/>
                </a:lnTo>
                <a:lnTo>
                  <a:pt x="74" y="83"/>
                </a:lnTo>
                <a:lnTo>
                  <a:pt x="73" y="83"/>
                </a:lnTo>
                <a:lnTo>
                  <a:pt x="71" y="81"/>
                </a:lnTo>
                <a:lnTo>
                  <a:pt x="69" y="80"/>
                </a:lnTo>
                <a:lnTo>
                  <a:pt x="68" y="78"/>
                </a:lnTo>
                <a:lnTo>
                  <a:pt x="65" y="74"/>
                </a:lnTo>
                <a:lnTo>
                  <a:pt x="64" y="72"/>
                </a:lnTo>
                <a:lnTo>
                  <a:pt x="63" y="72"/>
                </a:lnTo>
                <a:lnTo>
                  <a:pt x="63" y="70"/>
                </a:lnTo>
                <a:lnTo>
                  <a:pt x="64" y="69"/>
                </a:lnTo>
                <a:lnTo>
                  <a:pt x="64" y="68"/>
                </a:lnTo>
                <a:lnTo>
                  <a:pt x="65" y="68"/>
                </a:lnTo>
                <a:lnTo>
                  <a:pt x="65" y="65"/>
                </a:lnTo>
                <a:lnTo>
                  <a:pt x="64" y="62"/>
                </a:lnTo>
                <a:lnTo>
                  <a:pt x="64" y="61"/>
                </a:lnTo>
                <a:lnTo>
                  <a:pt x="63" y="59"/>
                </a:lnTo>
                <a:lnTo>
                  <a:pt x="62" y="59"/>
                </a:lnTo>
                <a:lnTo>
                  <a:pt x="62" y="58"/>
                </a:lnTo>
                <a:lnTo>
                  <a:pt x="63" y="58"/>
                </a:lnTo>
                <a:lnTo>
                  <a:pt x="63" y="57"/>
                </a:lnTo>
                <a:lnTo>
                  <a:pt x="62" y="53"/>
                </a:lnTo>
                <a:lnTo>
                  <a:pt x="62" y="51"/>
                </a:lnTo>
                <a:lnTo>
                  <a:pt x="63" y="51"/>
                </a:lnTo>
                <a:lnTo>
                  <a:pt x="67" y="50"/>
                </a:lnTo>
                <a:lnTo>
                  <a:pt x="73" y="50"/>
                </a:lnTo>
                <a:lnTo>
                  <a:pt x="76" y="53"/>
                </a:lnTo>
                <a:lnTo>
                  <a:pt x="77" y="53"/>
                </a:lnTo>
                <a:lnTo>
                  <a:pt x="84" y="47"/>
                </a:lnTo>
                <a:lnTo>
                  <a:pt x="89" y="44"/>
                </a:lnTo>
                <a:lnTo>
                  <a:pt x="90" y="43"/>
                </a:lnTo>
                <a:lnTo>
                  <a:pt x="92" y="38"/>
                </a:lnTo>
                <a:lnTo>
                  <a:pt x="92" y="37"/>
                </a:lnTo>
                <a:lnTo>
                  <a:pt x="93" y="34"/>
                </a:lnTo>
                <a:lnTo>
                  <a:pt x="94" y="33"/>
                </a:lnTo>
                <a:lnTo>
                  <a:pt x="109" y="33"/>
                </a:lnTo>
                <a:lnTo>
                  <a:pt x="121" y="31"/>
                </a:lnTo>
                <a:lnTo>
                  <a:pt x="125" y="29"/>
                </a:lnTo>
                <a:lnTo>
                  <a:pt x="126" y="28"/>
                </a:lnTo>
                <a:lnTo>
                  <a:pt x="129" y="28"/>
                </a:lnTo>
                <a:lnTo>
                  <a:pt x="136" y="31"/>
                </a:lnTo>
                <a:lnTo>
                  <a:pt x="150" y="31"/>
                </a:lnTo>
                <a:lnTo>
                  <a:pt x="154" y="29"/>
                </a:lnTo>
                <a:lnTo>
                  <a:pt x="162" y="32"/>
                </a:lnTo>
                <a:lnTo>
                  <a:pt x="167" y="32"/>
                </a:lnTo>
                <a:lnTo>
                  <a:pt x="170" y="35"/>
                </a:lnTo>
                <a:lnTo>
                  <a:pt x="181" y="35"/>
                </a:lnTo>
                <a:lnTo>
                  <a:pt x="181" y="38"/>
                </a:lnTo>
                <a:lnTo>
                  <a:pt x="182" y="38"/>
                </a:lnTo>
                <a:lnTo>
                  <a:pt x="190" y="39"/>
                </a:lnTo>
                <a:lnTo>
                  <a:pt x="199" y="43"/>
                </a:lnTo>
                <a:lnTo>
                  <a:pt x="201" y="43"/>
                </a:lnTo>
                <a:lnTo>
                  <a:pt x="206" y="41"/>
                </a:lnTo>
                <a:lnTo>
                  <a:pt x="212" y="41"/>
                </a:lnTo>
                <a:lnTo>
                  <a:pt x="213" y="43"/>
                </a:lnTo>
                <a:lnTo>
                  <a:pt x="213" y="49"/>
                </a:lnTo>
                <a:lnTo>
                  <a:pt x="217" y="49"/>
                </a:lnTo>
                <a:lnTo>
                  <a:pt x="217" y="50"/>
                </a:lnTo>
                <a:lnTo>
                  <a:pt x="216" y="51"/>
                </a:lnTo>
                <a:lnTo>
                  <a:pt x="216" y="52"/>
                </a:lnTo>
                <a:lnTo>
                  <a:pt x="217" y="53"/>
                </a:lnTo>
                <a:lnTo>
                  <a:pt x="219" y="52"/>
                </a:lnTo>
                <a:lnTo>
                  <a:pt x="221" y="53"/>
                </a:lnTo>
                <a:lnTo>
                  <a:pt x="223" y="53"/>
                </a:lnTo>
                <a:lnTo>
                  <a:pt x="223" y="52"/>
                </a:lnTo>
                <a:lnTo>
                  <a:pt x="224" y="51"/>
                </a:lnTo>
                <a:lnTo>
                  <a:pt x="226" y="51"/>
                </a:lnTo>
                <a:lnTo>
                  <a:pt x="231" y="52"/>
                </a:lnTo>
                <a:lnTo>
                  <a:pt x="233" y="52"/>
                </a:lnTo>
                <a:lnTo>
                  <a:pt x="235" y="53"/>
                </a:lnTo>
                <a:lnTo>
                  <a:pt x="235" y="56"/>
                </a:lnTo>
                <a:lnTo>
                  <a:pt x="233" y="59"/>
                </a:lnTo>
                <a:lnTo>
                  <a:pt x="233" y="61"/>
                </a:lnTo>
                <a:lnTo>
                  <a:pt x="235" y="62"/>
                </a:lnTo>
                <a:lnTo>
                  <a:pt x="236" y="62"/>
                </a:lnTo>
                <a:lnTo>
                  <a:pt x="236" y="61"/>
                </a:lnTo>
                <a:lnTo>
                  <a:pt x="238" y="58"/>
                </a:lnTo>
                <a:lnTo>
                  <a:pt x="238" y="55"/>
                </a:lnTo>
                <a:lnTo>
                  <a:pt x="239" y="53"/>
                </a:lnTo>
                <a:lnTo>
                  <a:pt x="239" y="52"/>
                </a:lnTo>
                <a:lnTo>
                  <a:pt x="241" y="51"/>
                </a:lnTo>
                <a:lnTo>
                  <a:pt x="244" y="55"/>
                </a:lnTo>
                <a:lnTo>
                  <a:pt x="245" y="55"/>
                </a:lnTo>
                <a:lnTo>
                  <a:pt x="247" y="56"/>
                </a:lnTo>
                <a:lnTo>
                  <a:pt x="250" y="56"/>
                </a:lnTo>
                <a:lnTo>
                  <a:pt x="251" y="55"/>
                </a:lnTo>
                <a:lnTo>
                  <a:pt x="252" y="55"/>
                </a:lnTo>
                <a:lnTo>
                  <a:pt x="254" y="51"/>
                </a:lnTo>
                <a:lnTo>
                  <a:pt x="256" y="49"/>
                </a:lnTo>
                <a:lnTo>
                  <a:pt x="257" y="49"/>
                </a:lnTo>
                <a:lnTo>
                  <a:pt x="257" y="51"/>
                </a:lnTo>
                <a:lnTo>
                  <a:pt x="258" y="52"/>
                </a:lnTo>
                <a:lnTo>
                  <a:pt x="258" y="53"/>
                </a:lnTo>
                <a:lnTo>
                  <a:pt x="260" y="53"/>
                </a:lnTo>
                <a:lnTo>
                  <a:pt x="261" y="55"/>
                </a:lnTo>
                <a:lnTo>
                  <a:pt x="261" y="57"/>
                </a:lnTo>
                <a:lnTo>
                  <a:pt x="262" y="57"/>
                </a:lnTo>
                <a:lnTo>
                  <a:pt x="263" y="56"/>
                </a:lnTo>
                <a:lnTo>
                  <a:pt x="266" y="55"/>
                </a:lnTo>
                <a:lnTo>
                  <a:pt x="272" y="55"/>
                </a:lnTo>
                <a:lnTo>
                  <a:pt x="273" y="56"/>
                </a:lnTo>
                <a:lnTo>
                  <a:pt x="273" y="58"/>
                </a:lnTo>
                <a:lnTo>
                  <a:pt x="274" y="62"/>
                </a:lnTo>
                <a:lnTo>
                  <a:pt x="274" y="63"/>
                </a:lnTo>
                <a:lnTo>
                  <a:pt x="275" y="63"/>
                </a:lnTo>
                <a:lnTo>
                  <a:pt x="275" y="64"/>
                </a:lnTo>
                <a:lnTo>
                  <a:pt x="276" y="63"/>
                </a:lnTo>
                <a:lnTo>
                  <a:pt x="278" y="63"/>
                </a:lnTo>
                <a:lnTo>
                  <a:pt x="278" y="65"/>
                </a:lnTo>
                <a:lnTo>
                  <a:pt x="279" y="65"/>
                </a:lnTo>
                <a:lnTo>
                  <a:pt x="279" y="61"/>
                </a:lnTo>
                <a:lnTo>
                  <a:pt x="280" y="58"/>
                </a:lnTo>
                <a:lnTo>
                  <a:pt x="282" y="56"/>
                </a:lnTo>
                <a:lnTo>
                  <a:pt x="283" y="56"/>
                </a:lnTo>
                <a:lnTo>
                  <a:pt x="285" y="55"/>
                </a:lnTo>
                <a:lnTo>
                  <a:pt x="288" y="55"/>
                </a:lnTo>
                <a:lnTo>
                  <a:pt x="289" y="53"/>
                </a:lnTo>
                <a:lnTo>
                  <a:pt x="291" y="51"/>
                </a:lnTo>
                <a:lnTo>
                  <a:pt x="292" y="51"/>
                </a:lnTo>
                <a:lnTo>
                  <a:pt x="292" y="50"/>
                </a:lnTo>
                <a:lnTo>
                  <a:pt x="293" y="50"/>
                </a:lnTo>
                <a:lnTo>
                  <a:pt x="294" y="51"/>
                </a:lnTo>
                <a:lnTo>
                  <a:pt x="295" y="51"/>
                </a:lnTo>
                <a:lnTo>
                  <a:pt x="297" y="52"/>
                </a:lnTo>
                <a:lnTo>
                  <a:pt x="297" y="55"/>
                </a:lnTo>
                <a:lnTo>
                  <a:pt x="299" y="57"/>
                </a:lnTo>
                <a:lnTo>
                  <a:pt x="299" y="62"/>
                </a:lnTo>
                <a:lnTo>
                  <a:pt x="300" y="63"/>
                </a:lnTo>
                <a:lnTo>
                  <a:pt x="300" y="64"/>
                </a:lnTo>
                <a:lnTo>
                  <a:pt x="301" y="65"/>
                </a:lnTo>
                <a:lnTo>
                  <a:pt x="301" y="67"/>
                </a:lnTo>
                <a:lnTo>
                  <a:pt x="303" y="68"/>
                </a:lnTo>
                <a:lnTo>
                  <a:pt x="305" y="68"/>
                </a:lnTo>
                <a:lnTo>
                  <a:pt x="305" y="67"/>
                </a:lnTo>
                <a:lnTo>
                  <a:pt x="310" y="67"/>
                </a:lnTo>
                <a:lnTo>
                  <a:pt x="310" y="65"/>
                </a:lnTo>
                <a:lnTo>
                  <a:pt x="311" y="64"/>
                </a:lnTo>
                <a:lnTo>
                  <a:pt x="311" y="63"/>
                </a:lnTo>
                <a:lnTo>
                  <a:pt x="313" y="63"/>
                </a:lnTo>
                <a:lnTo>
                  <a:pt x="314" y="62"/>
                </a:lnTo>
                <a:lnTo>
                  <a:pt x="314" y="61"/>
                </a:lnTo>
                <a:lnTo>
                  <a:pt x="316" y="61"/>
                </a:lnTo>
                <a:lnTo>
                  <a:pt x="317" y="59"/>
                </a:lnTo>
                <a:lnTo>
                  <a:pt x="318" y="59"/>
                </a:lnTo>
                <a:lnTo>
                  <a:pt x="319" y="61"/>
                </a:lnTo>
                <a:lnTo>
                  <a:pt x="319" y="62"/>
                </a:lnTo>
                <a:lnTo>
                  <a:pt x="320" y="63"/>
                </a:lnTo>
                <a:lnTo>
                  <a:pt x="324" y="64"/>
                </a:lnTo>
                <a:lnTo>
                  <a:pt x="325" y="64"/>
                </a:lnTo>
                <a:lnTo>
                  <a:pt x="325" y="63"/>
                </a:lnTo>
                <a:lnTo>
                  <a:pt x="326" y="62"/>
                </a:lnTo>
                <a:lnTo>
                  <a:pt x="329" y="62"/>
                </a:lnTo>
                <a:lnTo>
                  <a:pt x="331" y="61"/>
                </a:lnTo>
                <a:lnTo>
                  <a:pt x="339" y="61"/>
                </a:lnTo>
                <a:lnTo>
                  <a:pt x="341" y="62"/>
                </a:lnTo>
                <a:lnTo>
                  <a:pt x="342" y="64"/>
                </a:lnTo>
                <a:lnTo>
                  <a:pt x="343" y="64"/>
                </a:lnTo>
                <a:lnTo>
                  <a:pt x="344" y="65"/>
                </a:lnTo>
                <a:lnTo>
                  <a:pt x="345" y="65"/>
                </a:lnTo>
                <a:lnTo>
                  <a:pt x="345" y="70"/>
                </a:lnTo>
                <a:lnTo>
                  <a:pt x="347" y="72"/>
                </a:lnTo>
                <a:lnTo>
                  <a:pt x="348" y="74"/>
                </a:lnTo>
                <a:lnTo>
                  <a:pt x="350" y="74"/>
                </a:lnTo>
                <a:lnTo>
                  <a:pt x="351" y="75"/>
                </a:lnTo>
                <a:lnTo>
                  <a:pt x="353" y="75"/>
                </a:lnTo>
                <a:lnTo>
                  <a:pt x="353" y="76"/>
                </a:lnTo>
                <a:lnTo>
                  <a:pt x="354" y="76"/>
                </a:lnTo>
                <a:lnTo>
                  <a:pt x="355" y="77"/>
                </a:lnTo>
                <a:lnTo>
                  <a:pt x="355" y="75"/>
                </a:lnTo>
                <a:lnTo>
                  <a:pt x="356" y="74"/>
                </a:lnTo>
                <a:lnTo>
                  <a:pt x="356" y="72"/>
                </a:lnTo>
                <a:lnTo>
                  <a:pt x="359" y="70"/>
                </a:lnTo>
                <a:lnTo>
                  <a:pt x="359" y="67"/>
                </a:lnTo>
                <a:lnTo>
                  <a:pt x="357" y="65"/>
                </a:lnTo>
                <a:lnTo>
                  <a:pt x="357" y="64"/>
                </a:lnTo>
                <a:lnTo>
                  <a:pt x="356" y="64"/>
                </a:lnTo>
                <a:lnTo>
                  <a:pt x="356" y="62"/>
                </a:lnTo>
                <a:lnTo>
                  <a:pt x="357" y="62"/>
                </a:lnTo>
                <a:lnTo>
                  <a:pt x="357" y="61"/>
                </a:lnTo>
                <a:lnTo>
                  <a:pt x="356" y="61"/>
                </a:lnTo>
                <a:lnTo>
                  <a:pt x="356" y="58"/>
                </a:lnTo>
                <a:lnTo>
                  <a:pt x="355" y="58"/>
                </a:lnTo>
                <a:lnTo>
                  <a:pt x="356" y="57"/>
                </a:lnTo>
                <a:lnTo>
                  <a:pt x="356" y="56"/>
                </a:lnTo>
                <a:lnTo>
                  <a:pt x="354" y="56"/>
                </a:lnTo>
                <a:lnTo>
                  <a:pt x="354" y="55"/>
                </a:lnTo>
                <a:lnTo>
                  <a:pt x="355" y="55"/>
                </a:lnTo>
                <a:lnTo>
                  <a:pt x="355" y="53"/>
                </a:lnTo>
                <a:lnTo>
                  <a:pt x="354" y="53"/>
                </a:lnTo>
                <a:lnTo>
                  <a:pt x="354" y="52"/>
                </a:lnTo>
                <a:lnTo>
                  <a:pt x="355" y="51"/>
                </a:lnTo>
                <a:lnTo>
                  <a:pt x="355" y="49"/>
                </a:lnTo>
                <a:lnTo>
                  <a:pt x="356" y="49"/>
                </a:lnTo>
                <a:lnTo>
                  <a:pt x="355" y="47"/>
                </a:lnTo>
                <a:lnTo>
                  <a:pt x="356" y="46"/>
                </a:lnTo>
                <a:lnTo>
                  <a:pt x="356" y="45"/>
                </a:lnTo>
                <a:lnTo>
                  <a:pt x="359" y="45"/>
                </a:lnTo>
                <a:lnTo>
                  <a:pt x="359" y="41"/>
                </a:lnTo>
                <a:lnTo>
                  <a:pt x="357" y="41"/>
                </a:lnTo>
                <a:lnTo>
                  <a:pt x="359" y="40"/>
                </a:lnTo>
                <a:lnTo>
                  <a:pt x="360" y="40"/>
                </a:lnTo>
                <a:lnTo>
                  <a:pt x="360" y="37"/>
                </a:lnTo>
                <a:lnTo>
                  <a:pt x="361" y="35"/>
                </a:lnTo>
                <a:lnTo>
                  <a:pt x="361" y="34"/>
                </a:lnTo>
                <a:lnTo>
                  <a:pt x="362" y="34"/>
                </a:lnTo>
                <a:lnTo>
                  <a:pt x="363" y="33"/>
                </a:lnTo>
                <a:lnTo>
                  <a:pt x="363" y="32"/>
                </a:lnTo>
                <a:lnTo>
                  <a:pt x="366" y="32"/>
                </a:lnTo>
                <a:lnTo>
                  <a:pt x="366" y="29"/>
                </a:lnTo>
                <a:lnTo>
                  <a:pt x="367" y="28"/>
                </a:lnTo>
                <a:lnTo>
                  <a:pt x="368" y="28"/>
                </a:lnTo>
                <a:lnTo>
                  <a:pt x="368" y="27"/>
                </a:lnTo>
                <a:lnTo>
                  <a:pt x="369" y="27"/>
                </a:lnTo>
                <a:lnTo>
                  <a:pt x="369" y="25"/>
                </a:lnTo>
                <a:lnTo>
                  <a:pt x="370" y="25"/>
                </a:lnTo>
                <a:lnTo>
                  <a:pt x="370" y="26"/>
                </a:lnTo>
                <a:lnTo>
                  <a:pt x="372" y="26"/>
                </a:lnTo>
                <a:lnTo>
                  <a:pt x="372" y="24"/>
                </a:lnTo>
                <a:lnTo>
                  <a:pt x="370" y="24"/>
                </a:lnTo>
                <a:lnTo>
                  <a:pt x="370" y="21"/>
                </a:lnTo>
                <a:lnTo>
                  <a:pt x="372" y="20"/>
                </a:lnTo>
                <a:lnTo>
                  <a:pt x="380" y="20"/>
                </a:lnTo>
                <a:lnTo>
                  <a:pt x="382" y="22"/>
                </a:lnTo>
                <a:lnTo>
                  <a:pt x="385" y="22"/>
                </a:lnTo>
                <a:lnTo>
                  <a:pt x="385" y="21"/>
                </a:lnTo>
                <a:lnTo>
                  <a:pt x="387" y="19"/>
                </a:lnTo>
                <a:lnTo>
                  <a:pt x="390" y="18"/>
                </a:lnTo>
                <a:lnTo>
                  <a:pt x="394" y="18"/>
                </a:lnTo>
                <a:lnTo>
                  <a:pt x="401" y="19"/>
                </a:lnTo>
                <a:lnTo>
                  <a:pt x="406" y="19"/>
                </a:lnTo>
                <a:lnTo>
                  <a:pt x="409" y="18"/>
                </a:lnTo>
                <a:lnTo>
                  <a:pt x="410" y="19"/>
                </a:lnTo>
                <a:lnTo>
                  <a:pt x="411" y="19"/>
                </a:lnTo>
                <a:lnTo>
                  <a:pt x="411" y="22"/>
                </a:lnTo>
                <a:lnTo>
                  <a:pt x="412" y="24"/>
                </a:lnTo>
                <a:lnTo>
                  <a:pt x="413" y="24"/>
                </a:lnTo>
                <a:lnTo>
                  <a:pt x="416" y="22"/>
                </a:lnTo>
                <a:lnTo>
                  <a:pt x="417" y="21"/>
                </a:lnTo>
                <a:lnTo>
                  <a:pt x="419" y="22"/>
                </a:lnTo>
                <a:lnTo>
                  <a:pt x="421" y="22"/>
                </a:lnTo>
                <a:lnTo>
                  <a:pt x="425" y="20"/>
                </a:lnTo>
                <a:lnTo>
                  <a:pt x="428" y="18"/>
                </a:lnTo>
                <a:lnTo>
                  <a:pt x="429" y="15"/>
                </a:lnTo>
                <a:lnTo>
                  <a:pt x="430" y="12"/>
                </a:lnTo>
                <a:lnTo>
                  <a:pt x="430" y="9"/>
                </a:lnTo>
                <a:lnTo>
                  <a:pt x="431" y="9"/>
                </a:lnTo>
                <a:lnTo>
                  <a:pt x="431" y="8"/>
                </a:lnTo>
                <a:lnTo>
                  <a:pt x="430" y="6"/>
                </a:lnTo>
                <a:lnTo>
                  <a:pt x="431" y="3"/>
                </a:lnTo>
                <a:lnTo>
                  <a:pt x="432" y="3"/>
                </a:lnTo>
                <a:lnTo>
                  <a:pt x="436" y="4"/>
                </a:lnTo>
                <a:lnTo>
                  <a:pt x="438" y="3"/>
                </a:lnTo>
                <a:lnTo>
                  <a:pt x="447" y="8"/>
                </a:lnTo>
                <a:lnTo>
                  <a:pt x="448" y="8"/>
                </a:lnTo>
                <a:lnTo>
                  <a:pt x="450" y="7"/>
                </a:lnTo>
                <a:lnTo>
                  <a:pt x="452" y="7"/>
                </a:lnTo>
                <a:lnTo>
                  <a:pt x="453" y="8"/>
                </a:lnTo>
                <a:lnTo>
                  <a:pt x="455" y="8"/>
                </a:lnTo>
                <a:lnTo>
                  <a:pt x="460" y="4"/>
                </a:lnTo>
                <a:lnTo>
                  <a:pt x="461" y="4"/>
                </a:lnTo>
                <a:lnTo>
                  <a:pt x="462" y="3"/>
                </a:lnTo>
                <a:lnTo>
                  <a:pt x="462" y="2"/>
                </a:lnTo>
                <a:lnTo>
                  <a:pt x="465" y="2"/>
                </a:lnTo>
                <a:lnTo>
                  <a:pt x="466" y="1"/>
                </a:lnTo>
                <a:lnTo>
                  <a:pt x="466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" name="Freeform 7">
            <a:extLst>
              <a:ext uri="{FF2B5EF4-FFF2-40B4-BE49-F238E27FC236}">
                <a16:creationId xmlns:a16="http://schemas.microsoft.com/office/drawing/2014/main" id="{09E9ECC1-C385-4C10-AB8C-4CE3FF07B5C1}"/>
              </a:ext>
            </a:extLst>
          </p:cNvPr>
          <p:cNvSpPr>
            <a:spLocks noEditPoints="1"/>
          </p:cNvSpPr>
          <p:nvPr/>
        </p:nvSpPr>
        <p:spPr bwMode="auto">
          <a:xfrm>
            <a:off x="2800898" y="5413094"/>
            <a:ext cx="1170744" cy="492640"/>
          </a:xfrm>
          <a:custGeom>
            <a:avLst/>
            <a:gdLst/>
            <a:ahLst/>
            <a:cxnLst>
              <a:cxn ang="0">
                <a:pos x="72" y="295"/>
              </a:cxn>
              <a:cxn ang="0">
                <a:pos x="12" y="104"/>
              </a:cxn>
              <a:cxn ang="0">
                <a:pos x="82" y="86"/>
              </a:cxn>
              <a:cxn ang="0">
                <a:pos x="86" y="7"/>
              </a:cxn>
              <a:cxn ang="0">
                <a:pos x="105" y="30"/>
              </a:cxn>
              <a:cxn ang="0">
                <a:pos x="195" y="50"/>
              </a:cxn>
              <a:cxn ang="0">
                <a:pos x="275" y="26"/>
              </a:cxn>
              <a:cxn ang="0">
                <a:pos x="373" y="7"/>
              </a:cxn>
              <a:cxn ang="0">
                <a:pos x="415" y="26"/>
              </a:cxn>
              <a:cxn ang="0">
                <a:pos x="452" y="46"/>
              </a:cxn>
              <a:cxn ang="0">
                <a:pos x="508" y="55"/>
              </a:cxn>
              <a:cxn ang="0">
                <a:pos x="553" y="62"/>
              </a:cxn>
              <a:cxn ang="0">
                <a:pos x="615" y="66"/>
              </a:cxn>
              <a:cxn ang="0">
                <a:pos x="668" y="33"/>
              </a:cxn>
              <a:cxn ang="0">
                <a:pos x="722" y="33"/>
              </a:cxn>
              <a:cxn ang="0">
                <a:pos x="752" y="62"/>
              </a:cxn>
              <a:cxn ang="0">
                <a:pos x="770" y="116"/>
              </a:cxn>
              <a:cxn ang="0">
                <a:pos x="797" y="130"/>
              </a:cxn>
              <a:cxn ang="0">
                <a:pos x="780" y="177"/>
              </a:cxn>
              <a:cxn ang="0">
                <a:pos x="785" y="222"/>
              </a:cxn>
              <a:cxn ang="0">
                <a:pos x="798" y="253"/>
              </a:cxn>
              <a:cxn ang="0">
                <a:pos x="782" y="271"/>
              </a:cxn>
              <a:cxn ang="0">
                <a:pos x="744" y="261"/>
              </a:cxn>
              <a:cxn ang="0">
                <a:pos x="690" y="270"/>
              </a:cxn>
              <a:cxn ang="0">
                <a:pos x="528" y="284"/>
              </a:cxn>
              <a:cxn ang="0">
                <a:pos x="459" y="310"/>
              </a:cxn>
              <a:cxn ang="0">
                <a:pos x="440" y="339"/>
              </a:cxn>
              <a:cxn ang="0">
                <a:pos x="432" y="308"/>
              </a:cxn>
              <a:cxn ang="0">
                <a:pos x="419" y="300"/>
              </a:cxn>
              <a:cxn ang="0">
                <a:pos x="369" y="296"/>
              </a:cxn>
              <a:cxn ang="0">
                <a:pos x="337" y="322"/>
              </a:cxn>
              <a:cxn ang="0">
                <a:pos x="282" y="322"/>
              </a:cxn>
              <a:cxn ang="0">
                <a:pos x="223" y="286"/>
              </a:cxn>
              <a:cxn ang="0">
                <a:pos x="200" y="319"/>
              </a:cxn>
              <a:cxn ang="0">
                <a:pos x="168" y="321"/>
              </a:cxn>
              <a:cxn ang="0">
                <a:pos x="145" y="302"/>
              </a:cxn>
              <a:cxn ang="0">
                <a:pos x="121" y="288"/>
              </a:cxn>
              <a:cxn ang="0">
                <a:pos x="111" y="294"/>
              </a:cxn>
              <a:cxn ang="0">
                <a:pos x="96" y="292"/>
              </a:cxn>
              <a:cxn ang="0">
                <a:pos x="86" y="290"/>
              </a:cxn>
              <a:cxn ang="0">
                <a:pos x="108" y="278"/>
              </a:cxn>
              <a:cxn ang="0">
                <a:pos x="70" y="278"/>
              </a:cxn>
              <a:cxn ang="0">
                <a:pos x="80" y="265"/>
              </a:cxn>
              <a:cxn ang="0">
                <a:pos x="65" y="247"/>
              </a:cxn>
              <a:cxn ang="0">
                <a:pos x="50" y="223"/>
              </a:cxn>
              <a:cxn ang="0">
                <a:pos x="27" y="209"/>
              </a:cxn>
              <a:cxn ang="0">
                <a:pos x="38" y="194"/>
              </a:cxn>
              <a:cxn ang="0">
                <a:pos x="55" y="202"/>
              </a:cxn>
              <a:cxn ang="0">
                <a:pos x="53" y="181"/>
              </a:cxn>
              <a:cxn ang="0">
                <a:pos x="45" y="159"/>
              </a:cxn>
              <a:cxn ang="0">
                <a:pos x="16" y="146"/>
              </a:cxn>
              <a:cxn ang="0">
                <a:pos x="68" y="92"/>
              </a:cxn>
              <a:cxn ang="0">
                <a:pos x="100" y="92"/>
              </a:cxn>
              <a:cxn ang="0">
                <a:pos x="137" y="92"/>
              </a:cxn>
              <a:cxn ang="0">
                <a:pos x="158" y="75"/>
              </a:cxn>
              <a:cxn ang="0">
                <a:pos x="124" y="61"/>
              </a:cxn>
              <a:cxn ang="0">
                <a:pos x="68" y="79"/>
              </a:cxn>
              <a:cxn ang="0">
                <a:pos x="30" y="109"/>
              </a:cxn>
              <a:cxn ang="0">
                <a:pos x="36" y="85"/>
              </a:cxn>
              <a:cxn ang="0">
                <a:pos x="28" y="54"/>
              </a:cxn>
              <a:cxn ang="0">
                <a:pos x="34" y="17"/>
              </a:cxn>
            </a:cxnLst>
            <a:rect l="0" t="0" r="r" b="b"/>
            <a:pathLst>
              <a:path w="808" h="340">
                <a:moveTo>
                  <a:pt x="96" y="300"/>
                </a:moveTo>
                <a:lnTo>
                  <a:pt x="101" y="300"/>
                </a:lnTo>
                <a:lnTo>
                  <a:pt x="101" y="301"/>
                </a:lnTo>
                <a:lnTo>
                  <a:pt x="100" y="301"/>
                </a:lnTo>
                <a:lnTo>
                  <a:pt x="100" y="302"/>
                </a:lnTo>
                <a:lnTo>
                  <a:pt x="98" y="302"/>
                </a:lnTo>
                <a:lnTo>
                  <a:pt x="96" y="301"/>
                </a:lnTo>
                <a:lnTo>
                  <a:pt x="96" y="300"/>
                </a:lnTo>
                <a:close/>
                <a:moveTo>
                  <a:pt x="100" y="297"/>
                </a:moveTo>
                <a:lnTo>
                  <a:pt x="101" y="297"/>
                </a:lnTo>
                <a:lnTo>
                  <a:pt x="100" y="298"/>
                </a:lnTo>
                <a:lnTo>
                  <a:pt x="100" y="297"/>
                </a:lnTo>
                <a:close/>
                <a:moveTo>
                  <a:pt x="136" y="296"/>
                </a:moveTo>
                <a:lnTo>
                  <a:pt x="137" y="297"/>
                </a:lnTo>
                <a:lnTo>
                  <a:pt x="136" y="297"/>
                </a:lnTo>
                <a:lnTo>
                  <a:pt x="136" y="296"/>
                </a:lnTo>
                <a:close/>
                <a:moveTo>
                  <a:pt x="96" y="295"/>
                </a:moveTo>
                <a:lnTo>
                  <a:pt x="100" y="295"/>
                </a:lnTo>
                <a:lnTo>
                  <a:pt x="100" y="296"/>
                </a:lnTo>
                <a:lnTo>
                  <a:pt x="98" y="296"/>
                </a:lnTo>
                <a:lnTo>
                  <a:pt x="96" y="295"/>
                </a:lnTo>
                <a:close/>
                <a:moveTo>
                  <a:pt x="418" y="294"/>
                </a:moveTo>
                <a:lnTo>
                  <a:pt x="418" y="295"/>
                </a:lnTo>
                <a:lnTo>
                  <a:pt x="419" y="295"/>
                </a:lnTo>
                <a:lnTo>
                  <a:pt x="419" y="294"/>
                </a:lnTo>
                <a:lnTo>
                  <a:pt x="418" y="294"/>
                </a:lnTo>
                <a:close/>
                <a:moveTo>
                  <a:pt x="71" y="294"/>
                </a:moveTo>
                <a:lnTo>
                  <a:pt x="72" y="295"/>
                </a:lnTo>
                <a:lnTo>
                  <a:pt x="71" y="296"/>
                </a:lnTo>
                <a:lnTo>
                  <a:pt x="71" y="294"/>
                </a:lnTo>
                <a:close/>
                <a:moveTo>
                  <a:pt x="74" y="277"/>
                </a:moveTo>
                <a:lnTo>
                  <a:pt x="74" y="278"/>
                </a:lnTo>
                <a:lnTo>
                  <a:pt x="72" y="278"/>
                </a:lnTo>
                <a:lnTo>
                  <a:pt x="74" y="277"/>
                </a:lnTo>
                <a:close/>
                <a:moveTo>
                  <a:pt x="67" y="272"/>
                </a:moveTo>
                <a:lnTo>
                  <a:pt x="68" y="272"/>
                </a:lnTo>
                <a:lnTo>
                  <a:pt x="67" y="273"/>
                </a:lnTo>
                <a:lnTo>
                  <a:pt x="67" y="272"/>
                </a:lnTo>
                <a:close/>
                <a:moveTo>
                  <a:pt x="26" y="206"/>
                </a:moveTo>
                <a:lnTo>
                  <a:pt x="27" y="206"/>
                </a:lnTo>
                <a:lnTo>
                  <a:pt x="27" y="208"/>
                </a:lnTo>
                <a:lnTo>
                  <a:pt x="26" y="208"/>
                </a:lnTo>
                <a:lnTo>
                  <a:pt x="26" y="206"/>
                </a:lnTo>
                <a:close/>
                <a:moveTo>
                  <a:pt x="49" y="197"/>
                </a:moveTo>
                <a:lnTo>
                  <a:pt x="50" y="198"/>
                </a:lnTo>
                <a:lnTo>
                  <a:pt x="49" y="198"/>
                </a:lnTo>
                <a:lnTo>
                  <a:pt x="49" y="197"/>
                </a:lnTo>
                <a:close/>
                <a:moveTo>
                  <a:pt x="13" y="126"/>
                </a:moveTo>
                <a:lnTo>
                  <a:pt x="18" y="126"/>
                </a:lnTo>
                <a:lnTo>
                  <a:pt x="18" y="129"/>
                </a:lnTo>
                <a:lnTo>
                  <a:pt x="16" y="129"/>
                </a:lnTo>
                <a:lnTo>
                  <a:pt x="15" y="128"/>
                </a:lnTo>
                <a:lnTo>
                  <a:pt x="13" y="128"/>
                </a:lnTo>
                <a:lnTo>
                  <a:pt x="13" y="126"/>
                </a:lnTo>
                <a:close/>
                <a:moveTo>
                  <a:pt x="11" y="104"/>
                </a:moveTo>
                <a:lnTo>
                  <a:pt x="12" y="104"/>
                </a:lnTo>
                <a:lnTo>
                  <a:pt x="12" y="105"/>
                </a:lnTo>
                <a:lnTo>
                  <a:pt x="13" y="105"/>
                </a:lnTo>
                <a:lnTo>
                  <a:pt x="13" y="109"/>
                </a:lnTo>
                <a:lnTo>
                  <a:pt x="14" y="109"/>
                </a:lnTo>
                <a:lnTo>
                  <a:pt x="14" y="110"/>
                </a:lnTo>
                <a:lnTo>
                  <a:pt x="13" y="110"/>
                </a:lnTo>
                <a:lnTo>
                  <a:pt x="9" y="111"/>
                </a:lnTo>
                <a:lnTo>
                  <a:pt x="8" y="111"/>
                </a:lnTo>
                <a:lnTo>
                  <a:pt x="5" y="112"/>
                </a:lnTo>
                <a:lnTo>
                  <a:pt x="2" y="112"/>
                </a:lnTo>
                <a:lnTo>
                  <a:pt x="2" y="111"/>
                </a:lnTo>
                <a:lnTo>
                  <a:pt x="0" y="111"/>
                </a:lnTo>
                <a:lnTo>
                  <a:pt x="0" y="110"/>
                </a:lnTo>
                <a:lnTo>
                  <a:pt x="3" y="106"/>
                </a:lnTo>
                <a:lnTo>
                  <a:pt x="11" y="104"/>
                </a:lnTo>
                <a:close/>
                <a:moveTo>
                  <a:pt x="81" y="89"/>
                </a:moveTo>
                <a:lnTo>
                  <a:pt x="82" y="89"/>
                </a:lnTo>
                <a:lnTo>
                  <a:pt x="83" y="91"/>
                </a:lnTo>
                <a:lnTo>
                  <a:pt x="83" y="92"/>
                </a:lnTo>
                <a:lnTo>
                  <a:pt x="81" y="92"/>
                </a:lnTo>
                <a:lnTo>
                  <a:pt x="81" y="89"/>
                </a:lnTo>
                <a:close/>
                <a:moveTo>
                  <a:pt x="78" y="81"/>
                </a:moveTo>
                <a:lnTo>
                  <a:pt x="86" y="81"/>
                </a:lnTo>
                <a:lnTo>
                  <a:pt x="87" y="82"/>
                </a:lnTo>
                <a:lnTo>
                  <a:pt x="87" y="83"/>
                </a:lnTo>
                <a:lnTo>
                  <a:pt x="84" y="83"/>
                </a:lnTo>
                <a:lnTo>
                  <a:pt x="82" y="85"/>
                </a:lnTo>
                <a:lnTo>
                  <a:pt x="82" y="86"/>
                </a:lnTo>
                <a:lnTo>
                  <a:pt x="81" y="85"/>
                </a:lnTo>
                <a:lnTo>
                  <a:pt x="78" y="85"/>
                </a:lnTo>
                <a:lnTo>
                  <a:pt x="78" y="81"/>
                </a:lnTo>
                <a:close/>
                <a:moveTo>
                  <a:pt x="120" y="57"/>
                </a:moveTo>
                <a:lnTo>
                  <a:pt x="121" y="58"/>
                </a:lnTo>
                <a:lnTo>
                  <a:pt x="121" y="60"/>
                </a:lnTo>
                <a:lnTo>
                  <a:pt x="123" y="60"/>
                </a:lnTo>
                <a:lnTo>
                  <a:pt x="123" y="58"/>
                </a:lnTo>
                <a:lnTo>
                  <a:pt x="121" y="57"/>
                </a:lnTo>
                <a:lnTo>
                  <a:pt x="120" y="57"/>
                </a:lnTo>
                <a:close/>
                <a:moveTo>
                  <a:pt x="400" y="3"/>
                </a:moveTo>
                <a:lnTo>
                  <a:pt x="401" y="3"/>
                </a:lnTo>
                <a:lnTo>
                  <a:pt x="403" y="5"/>
                </a:lnTo>
                <a:lnTo>
                  <a:pt x="400" y="5"/>
                </a:lnTo>
                <a:lnTo>
                  <a:pt x="400" y="3"/>
                </a:lnTo>
                <a:close/>
                <a:moveTo>
                  <a:pt x="65" y="0"/>
                </a:moveTo>
                <a:lnTo>
                  <a:pt x="67" y="0"/>
                </a:lnTo>
                <a:lnTo>
                  <a:pt x="68" y="1"/>
                </a:lnTo>
                <a:lnTo>
                  <a:pt x="69" y="1"/>
                </a:lnTo>
                <a:lnTo>
                  <a:pt x="70" y="2"/>
                </a:lnTo>
                <a:lnTo>
                  <a:pt x="72" y="6"/>
                </a:lnTo>
                <a:lnTo>
                  <a:pt x="74" y="7"/>
                </a:lnTo>
                <a:lnTo>
                  <a:pt x="77" y="9"/>
                </a:lnTo>
                <a:lnTo>
                  <a:pt x="80" y="12"/>
                </a:lnTo>
                <a:lnTo>
                  <a:pt x="80" y="9"/>
                </a:lnTo>
                <a:lnTo>
                  <a:pt x="82" y="9"/>
                </a:lnTo>
                <a:lnTo>
                  <a:pt x="82" y="8"/>
                </a:lnTo>
                <a:lnTo>
                  <a:pt x="86" y="7"/>
                </a:lnTo>
                <a:lnTo>
                  <a:pt x="87" y="7"/>
                </a:lnTo>
                <a:lnTo>
                  <a:pt x="89" y="9"/>
                </a:lnTo>
                <a:lnTo>
                  <a:pt x="90" y="9"/>
                </a:lnTo>
                <a:lnTo>
                  <a:pt x="90" y="6"/>
                </a:lnTo>
                <a:lnTo>
                  <a:pt x="93" y="6"/>
                </a:lnTo>
                <a:lnTo>
                  <a:pt x="94" y="7"/>
                </a:lnTo>
                <a:lnTo>
                  <a:pt x="99" y="7"/>
                </a:lnTo>
                <a:lnTo>
                  <a:pt x="100" y="11"/>
                </a:lnTo>
                <a:lnTo>
                  <a:pt x="100" y="12"/>
                </a:lnTo>
                <a:lnTo>
                  <a:pt x="98" y="12"/>
                </a:lnTo>
                <a:lnTo>
                  <a:pt x="98" y="13"/>
                </a:lnTo>
                <a:lnTo>
                  <a:pt x="96" y="14"/>
                </a:lnTo>
                <a:lnTo>
                  <a:pt x="98" y="15"/>
                </a:lnTo>
                <a:lnTo>
                  <a:pt x="98" y="17"/>
                </a:lnTo>
                <a:lnTo>
                  <a:pt x="99" y="18"/>
                </a:lnTo>
                <a:lnTo>
                  <a:pt x="99" y="19"/>
                </a:lnTo>
                <a:lnTo>
                  <a:pt x="100" y="21"/>
                </a:lnTo>
                <a:lnTo>
                  <a:pt x="100" y="23"/>
                </a:lnTo>
                <a:lnTo>
                  <a:pt x="101" y="23"/>
                </a:lnTo>
                <a:lnTo>
                  <a:pt x="101" y="24"/>
                </a:lnTo>
                <a:lnTo>
                  <a:pt x="102" y="24"/>
                </a:lnTo>
                <a:lnTo>
                  <a:pt x="102" y="25"/>
                </a:lnTo>
                <a:lnTo>
                  <a:pt x="101" y="25"/>
                </a:lnTo>
                <a:lnTo>
                  <a:pt x="102" y="26"/>
                </a:lnTo>
                <a:lnTo>
                  <a:pt x="102" y="27"/>
                </a:lnTo>
                <a:lnTo>
                  <a:pt x="103" y="27"/>
                </a:lnTo>
                <a:lnTo>
                  <a:pt x="105" y="28"/>
                </a:lnTo>
                <a:lnTo>
                  <a:pt x="105" y="30"/>
                </a:lnTo>
                <a:lnTo>
                  <a:pt x="108" y="33"/>
                </a:lnTo>
                <a:lnTo>
                  <a:pt x="114" y="37"/>
                </a:lnTo>
                <a:lnTo>
                  <a:pt x="124" y="40"/>
                </a:lnTo>
                <a:lnTo>
                  <a:pt x="137" y="48"/>
                </a:lnTo>
                <a:lnTo>
                  <a:pt x="140" y="48"/>
                </a:lnTo>
                <a:lnTo>
                  <a:pt x="142" y="49"/>
                </a:lnTo>
                <a:lnTo>
                  <a:pt x="142" y="48"/>
                </a:lnTo>
                <a:lnTo>
                  <a:pt x="143" y="48"/>
                </a:lnTo>
                <a:lnTo>
                  <a:pt x="144" y="49"/>
                </a:lnTo>
                <a:lnTo>
                  <a:pt x="145" y="49"/>
                </a:lnTo>
                <a:lnTo>
                  <a:pt x="145" y="50"/>
                </a:lnTo>
                <a:lnTo>
                  <a:pt x="143" y="52"/>
                </a:lnTo>
                <a:lnTo>
                  <a:pt x="142" y="52"/>
                </a:lnTo>
                <a:lnTo>
                  <a:pt x="143" y="54"/>
                </a:lnTo>
                <a:lnTo>
                  <a:pt x="143" y="57"/>
                </a:lnTo>
                <a:lnTo>
                  <a:pt x="144" y="56"/>
                </a:lnTo>
                <a:lnTo>
                  <a:pt x="144" y="54"/>
                </a:lnTo>
                <a:lnTo>
                  <a:pt x="143" y="54"/>
                </a:lnTo>
                <a:lnTo>
                  <a:pt x="148" y="49"/>
                </a:lnTo>
                <a:lnTo>
                  <a:pt x="150" y="49"/>
                </a:lnTo>
                <a:lnTo>
                  <a:pt x="158" y="50"/>
                </a:lnTo>
                <a:lnTo>
                  <a:pt x="167" y="52"/>
                </a:lnTo>
                <a:lnTo>
                  <a:pt x="177" y="54"/>
                </a:lnTo>
                <a:lnTo>
                  <a:pt x="190" y="54"/>
                </a:lnTo>
                <a:lnTo>
                  <a:pt x="193" y="51"/>
                </a:lnTo>
                <a:lnTo>
                  <a:pt x="194" y="51"/>
                </a:lnTo>
                <a:lnTo>
                  <a:pt x="194" y="50"/>
                </a:lnTo>
                <a:lnTo>
                  <a:pt x="195" y="50"/>
                </a:lnTo>
                <a:lnTo>
                  <a:pt x="196" y="51"/>
                </a:lnTo>
                <a:lnTo>
                  <a:pt x="199" y="52"/>
                </a:lnTo>
                <a:lnTo>
                  <a:pt x="212" y="55"/>
                </a:lnTo>
                <a:lnTo>
                  <a:pt x="214" y="57"/>
                </a:lnTo>
                <a:lnTo>
                  <a:pt x="230" y="57"/>
                </a:lnTo>
                <a:lnTo>
                  <a:pt x="230" y="56"/>
                </a:lnTo>
                <a:lnTo>
                  <a:pt x="231" y="56"/>
                </a:lnTo>
                <a:lnTo>
                  <a:pt x="231" y="57"/>
                </a:lnTo>
                <a:lnTo>
                  <a:pt x="232" y="57"/>
                </a:lnTo>
                <a:lnTo>
                  <a:pt x="233" y="56"/>
                </a:lnTo>
                <a:lnTo>
                  <a:pt x="235" y="57"/>
                </a:lnTo>
                <a:lnTo>
                  <a:pt x="235" y="56"/>
                </a:lnTo>
                <a:lnTo>
                  <a:pt x="237" y="56"/>
                </a:lnTo>
                <a:lnTo>
                  <a:pt x="242" y="51"/>
                </a:lnTo>
                <a:lnTo>
                  <a:pt x="242" y="48"/>
                </a:lnTo>
                <a:lnTo>
                  <a:pt x="243" y="46"/>
                </a:lnTo>
                <a:lnTo>
                  <a:pt x="242" y="45"/>
                </a:lnTo>
                <a:lnTo>
                  <a:pt x="242" y="44"/>
                </a:lnTo>
                <a:lnTo>
                  <a:pt x="245" y="44"/>
                </a:lnTo>
                <a:lnTo>
                  <a:pt x="245" y="43"/>
                </a:lnTo>
                <a:lnTo>
                  <a:pt x="247" y="42"/>
                </a:lnTo>
                <a:lnTo>
                  <a:pt x="252" y="39"/>
                </a:lnTo>
                <a:lnTo>
                  <a:pt x="262" y="33"/>
                </a:lnTo>
                <a:lnTo>
                  <a:pt x="267" y="31"/>
                </a:lnTo>
                <a:lnTo>
                  <a:pt x="268" y="30"/>
                </a:lnTo>
                <a:lnTo>
                  <a:pt x="269" y="30"/>
                </a:lnTo>
                <a:lnTo>
                  <a:pt x="273" y="28"/>
                </a:lnTo>
                <a:lnTo>
                  <a:pt x="275" y="26"/>
                </a:lnTo>
                <a:lnTo>
                  <a:pt x="277" y="23"/>
                </a:lnTo>
                <a:lnTo>
                  <a:pt x="279" y="21"/>
                </a:lnTo>
                <a:lnTo>
                  <a:pt x="282" y="21"/>
                </a:lnTo>
                <a:lnTo>
                  <a:pt x="282" y="20"/>
                </a:lnTo>
                <a:lnTo>
                  <a:pt x="285" y="20"/>
                </a:lnTo>
                <a:lnTo>
                  <a:pt x="286" y="19"/>
                </a:lnTo>
                <a:lnTo>
                  <a:pt x="289" y="17"/>
                </a:lnTo>
                <a:lnTo>
                  <a:pt x="292" y="17"/>
                </a:lnTo>
                <a:lnTo>
                  <a:pt x="292" y="15"/>
                </a:lnTo>
                <a:lnTo>
                  <a:pt x="293" y="15"/>
                </a:lnTo>
                <a:lnTo>
                  <a:pt x="294" y="14"/>
                </a:lnTo>
                <a:lnTo>
                  <a:pt x="295" y="15"/>
                </a:lnTo>
                <a:lnTo>
                  <a:pt x="298" y="14"/>
                </a:lnTo>
                <a:lnTo>
                  <a:pt x="301" y="14"/>
                </a:lnTo>
                <a:lnTo>
                  <a:pt x="303" y="13"/>
                </a:lnTo>
                <a:lnTo>
                  <a:pt x="306" y="13"/>
                </a:lnTo>
                <a:lnTo>
                  <a:pt x="307" y="12"/>
                </a:lnTo>
                <a:lnTo>
                  <a:pt x="310" y="11"/>
                </a:lnTo>
                <a:lnTo>
                  <a:pt x="316" y="8"/>
                </a:lnTo>
                <a:lnTo>
                  <a:pt x="323" y="5"/>
                </a:lnTo>
                <a:lnTo>
                  <a:pt x="332" y="5"/>
                </a:lnTo>
                <a:lnTo>
                  <a:pt x="334" y="6"/>
                </a:lnTo>
                <a:lnTo>
                  <a:pt x="335" y="6"/>
                </a:lnTo>
                <a:lnTo>
                  <a:pt x="344" y="7"/>
                </a:lnTo>
                <a:lnTo>
                  <a:pt x="351" y="7"/>
                </a:lnTo>
                <a:lnTo>
                  <a:pt x="366" y="8"/>
                </a:lnTo>
                <a:lnTo>
                  <a:pt x="370" y="7"/>
                </a:lnTo>
                <a:lnTo>
                  <a:pt x="373" y="7"/>
                </a:lnTo>
                <a:lnTo>
                  <a:pt x="374" y="8"/>
                </a:lnTo>
                <a:lnTo>
                  <a:pt x="375" y="8"/>
                </a:lnTo>
                <a:lnTo>
                  <a:pt x="381" y="9"/>
                </a:lnTo>
                <a:lnTo>
                  <a:pt x="382" y="8"/>
                </a:lnTo>
                <a:lnTo>
                  <a:pt x="385" y="8"/>
                </a:lnTo>
                <a:lnTo>
                  <a:pt x="387" y="6"/>
                </a:lnTo>
                <a:lnTo>
                  <a:pt x="390" y="6"/>
                </a:lnTo>
                <a:lnTo>
                  <a:pt x="391" y="3"/>
                </a:lnTo>
                <a:lnTo>
                  <a:pt x="391" y="2"/>
                </a:lnTo>
                <a:lnTo>
                  <a:pt x="392" y="0"/>
                </a:lnTo>
                <a:lnTo>
                  <a:pt x="393" y="1"/>
                </a:lnTo>
                <a:lnTo>
                  <a:pt x="395" y="1"/>
                </a:lnTo>
                <a:lnTo>
                  <a:pt x="395" y="3"/>
                </a:lnTo>
                <a:lnTo>
                  <a:pt x="397" y="5"/>
                </a:lnTo>
                <a:lnTo>
                  <a:pt x="399" y="5"/>
                </a:lnTo>
                <a:lnTo>
                  <a:pt x="399" y="6"/>
                </a:lnTo>
                <a:lnTo>
                  <a:pt x="398" y="6"/>
                </a:lnTo>
                <a:lnTo>
                  <a:pt x="398" y="11"/>
                </a:lnTo>
                <a:lnTo>
                  <a:pt x="399" y="13"/>
                </a:lnTo>
                <a:lnTo>
                  <a:pt x="403" y="17"/>
                </a:lnTo>
                <a:lnTo>
                  <a:pt x="401" y="17"/>
                </a:lnTo>
                <a:lnTo>
                  <a:pt x="403" y="18"/>
                </a:lnTo>
                <a:lnTo>
                  <a:pt x="403" y="19"/>
                </a:lnTo>
                <a:lnTo>
                  <a:pt x="405" y="21"/>
                </a:lnTo>
                <a:lnTo>
                  <a:pt x="406" y="21"/>
                </a:lnTo>
                <a:lnTo>
                  <a:pt x="411" y="24"/>
                </a:lnTo>
                <a:lnTo>
                  <a:pt x="412" y="25"/>
                </a:lnTo>
                <a:lnTo>
                  <a:pt x="415" y="26"/>
                </a:lnTo>
                <a:lnTo>
                  <a:pt x="421" y="26"/>
                </a:lnTo>
                <a:lnTo>
                  <a:pt x="422" y="25"/>
                </a:lnTo>
                <a:lnTo>
                  <a:pt x="425" y="25"/>
                </a:lnTo>
                <a:lnTo>
                  <a:pt x="429" y="23"/>
                </a:lnTo>
                <a:lnTo>
                  <a:pt x="431" y="23"/>
                </a:lnTo>
                <a:lnTo>
                  <a:pt x="434" y="21"/>
                </a:lnTo>
                <a:lnTo>
                  <a:pt x="434" y="23"/>
                </a:lnTo>
                <a:lnTo>
                  <a:pt x="432" y="23"/>
                </a:lnTo>
                <a:lnTo>
                  <a:pt x="432" y="25"/>
                </a:lnTo>
                <a:lnTo>
                  <a:pt x="434" y="24"/>
                </a:lnTo>
                <a:lnTo>
                  <a:pt x="434" y="23"/>
                </a:lnTo>
                <a:lnTo>
                  <a:pt x="435" y="21"/>
                </a:lnTo>
                <a:lnTo>
                  <a:pt x="437" y="24"/>
                </a:lnTo>
                <a:lnTo>
                  <a:pt x="437" y="23"/>
                </a:lnTo>
                <a:lnTo>
                  <a:pt x="441" y="27"/>
                </a:lnTo>
                <a:lnTo>
                  <a:pt x="442" y="28"/>
                </a:lnTo>
                <a:lnTo>
                  <a:pt x="442" y="31"/>
                </a:lnTo>
                <a:lnTo>
                  <a:pt x="441" y="31"/>
                </a:lnTo>
                <a:lnTo>
                  <a:pt x="441" y="36"/>
                </a:lnTo>
                <a:lnTo>
                  <a:pt x="442" y="36"/>
                </a:lnTo>
                <a:lnTo>
                  <a:pt x="443" y="38"/>
                </a:lnTo>
                <a:lnTo>
                  <a:pt x="444" y="39"/>
                </a:lnTo>
                <a:lnTo>
                  <a:pt x="446" y="42"/>
                </a:lnTo>
                <a:lnTo>
                  <a:pt x="447" y="43"/>
                </a:lnTo>
                <a:lnTo>
                  <a:pt x="449" y="44"/>
                </a:lnTo>
                <a:lnTo>
                  <a:pt x="450" y="44"/>
                </a:lnTo>
                <a:lnTo>
                  <a:pt x="450" y="46"/>
                </a:lnTo>
                <a:lnTo>
                  <a:pt x="452" y="46"/>
                </a:lnTo>
                <a:lnTo>
                  <a:pt x="453" y="48"/>
                </a:lnTo>
                <a:lnTo>
                  <a:pt x="454" y="48"/>
                </a:lnTo>
                <a:lnTo>
                  <a:pt x="454" y="49"/>
                </a:lnTo>
                <a:lnTo>
                  <a:pt x="456" y="49"/>
                </a:lnTo>
                <a:lnTo>
                  <a:pt x="460" y="45"/>
                </a:lnTo>
                <a:lnTo>
                  <a:pt x="460" y="44"/>
                </a:lnTo>
                <a:lnTo>
                  <a:pt x="461" y="43"/>
                </a:lnTo>
                <a:lnTo>
                  <a:pt x="461" y="42"/>
                </a:lnTo>
                <a:lnTo>
                  <a:pt x="462" y="40"/>
                </a:lnTo>
                <a:lnTo>
                  <a:pt x="462" y="42"/>
                </a:lnTo>
                <a:lnTo>
                  <a:pt x="468" y="42"/>
                </a:lnTo>
                <a:lnTo>
                  <a:pt x="471" y="43"/>
                </a:lnTo>
                <a:lnTo>
                  <a:pt x="478" y="45"/>
                </a:lnTo>
                <a:lnTo>
                  <a:pt x="479" y="46"/>
                </a:lnTo>
                <a:lnTo>
                  <a:pt x="479" y="51"/>
                </a:lnTo>
                <a:lnTo>
                  <a:pt x="480" y="52"/>
                </a:lnTo>
                <a:lnTo>
                  <a:pt x="481" y="52"/>
                </a:lnTo>
                <a:lnTo>
                  <a:pt x="482" y="54"/>
                </a:lnTo>
                <a:lnTo>
                  <a:pt x="491" y="54"/>
                </a:lnTo>
                <a:lnTo>
                  <a:pt x="493" y="56"/>
                </a:lnTo>
                <a:lnTo>
                  <a:pt x="494" y="56"/>
                </a:lnTo>
                <a:lnTo>
                  <a:pt x="496" y="57"/>
                </a:lnTo>
                <a:lnTo>
                  <a:pt x="497" y="57"/>
                </a:lnTo>
                <a:lnTo>
                  <a:pt x="499" y="60"/>
                </a:lnTo>
                <a:lnTo>
                  <a:pt x="504" y="60"/>
                </a:lnTo>
                <a:lnTo>
                  <a:pt x="504" y="57"/>
                </a:lnTo>
                <a:lnTo>
                  <a:pt x="508" y="54"/>
                </a:lnTo>
                <a:lnTo>
                  <a:pt x="508" y="55"/>
                </a:lnTo>
                <a:lnTo>
                  <a:pt x="509" y="56"/>
                </a:lnTo>
                <a:lnTo>
                  <a:pt x="510" y="55"/>
                </a:lnTo>
                <a:lnTo>
                  <a:pt x="511" y="55"/>
                </a:lnTo>
                <a:lnTo>
                  <a:pt x="511" y="58"/>
                </a:lnTo>
                <a:lnTo>
                  <a:pt x="513" y="61"/>
                </a:lnTo>
                <a:lnTo>
                  <a:pt x="515" y="61"/>
                </a:lnTo>
                <a:lnTo>
                  <a:pt x="515" y="62"/>
                </a:lnTo>
                <a:lnTo>
                  <a:pt x="516" y="63"/>
                </a:lnTo>
                <a:lnTo>
                  <a:pt x="517" y="62"/>
                </a:lnTo>
                <a:lnTo>
                  <a:pt x="519" y="63"/>
                </a:lnTo>
                <a:lnTo>
                  <a:pt x="524" y="64"/>
                </a:lnTo>
                <a:lnTo>
                  <a:pt x="527" y="64"/>
                </a:lnTo>
                <a:lnTo>
                  <a:pt x="529" y="66"/>
                </a:lnTo>
                <a:lnTo>
                  <a:pt x="530" y="66"/>
                </a:lnTo>
                <a:lnTo>
                  <a:pt x="531" y="64"/>
                </a:lnTo>
                <a:lnTo>
                  <a:pt x="534" y="67"/>
                </a:lnTo>
                <a:lnTo>
                  <a:pt x="535" y="67"/>
                </a:lnTo>
                <a:lnTo>
                  <a:pt x="536" y="66"/>
                </a:lnTo>
                <a:lnTo>
                  <a:pt x="539" y="67"/>
                </a:lnTo>
                <a:lnTo>
                  <a:pt x="540" y="67"/>
                </a:lnTo>
                <a:lnTo>
                  <a:pt x="543" y="66"/>
                </a:lnTo>
                <a:lnTo>
                  <a:pt x="546" y="64"/>
                </a:lnTo>
                <a:lnTo>
                  <a:pt x="547" y="63"/>
                </a:lnTo>
                <a:lnTo>
                  <a:pt x="548" y="63"/>
                </a:lnTo>
                <a:lnTo>
                  <a:pt x="548" y="64"/>
                </a:lnTo>
                <a:lnTo>
                  <a:pt x="552" y="64"/>
                </a:lnTo>
                <a:lnTo>
                  <a:pt x="552" y="63"/>
                </a:lnTo>
                <a:lnTo>
                  <a:pt x="553" y="62"/>
                </a:lnTo>
                <a:lnTo>
                  <a:pt x="554" y="62"/>
                </a:lnTo>
                <a:lnTo>
                  <a:pt x="558" y="61"/>
                </a:lnTo>
                <a:lnTo>
                  <a:pt x="559" y="60"/>
                </a:lnTo>
                <a:lnTo>
                  <a:pt x="565" y="60"/>
                </a:lnTo>
                <a:lnTo>
                  <a:pt x="567" y="58"/>
                </a:lnTo>
                <a:lnTo>
                  <a:pt x="568" y="58"/>
                </a:lnTo>
                <a:lnTo>
                  <a:pt x="569" y="57"/>
                </a:lnTo>
                <a:lnTo>
                  <a:pt x="571" y="57"/>
                </a:lnTo>
                <a:lnTo>
                  <a:pt x="573" y="60"/>
                </a:lnTo>
                <a:lnTo>
                  <a:pt x="574" y="60"/>
                </a:lnTo>
                <a:lnTo>
                  <a:pt x="574" y="58"/>
                </a:lnTo>
                <a:lnTo>
                  <a:pt x="577" y="58"/>
                </a:lnTo>
                <a:lnTo>
                  <a:pt x="579" y="56"/>
                </a:lnTo>
                <a:lnTo>
                  <a:pt x="583" y="56"/>
                </a:lnTo>
                <a:lnTo>
                  <a:pt x="589" y="62"/>
                </a:lnTo>
                <a:lnTo>
                  <a:pt x="591" y="62"/>
                </a:lnTo>
                <a:lnTo>
                  <a:pt x="592" y="61"/>
                </a:lnTo>
                <a:lnTo>
                  <a:pt x="593" y="61"/>
                </a:lnTo>
                <a:lnTo>
                  <a:pt x="595" y="62"/>
                </a:lnTo>
                <a:lnTo>
                  <a:pt x="596" y="62"/>
                </a:lnTo>
                <a:lnTo>
                  <a:pt x="598" y="64"/>
                </a:lnTo>
                <a:lnTo>
                  <a:pt x="600" y="64"/>
                </a:lnTo>
                <a:lnTo>
                  <a:pt x="604" y="63"/>
                </a:lnTo>
                <a:lnTo>
                  <a:pt x="606" y="66"/>
                </a:lnTo>
                <a:lnTo>
                  <a:pt x="608" y="66"/>
                </a:lnTo>
                <a:lnTo>
                  <a:pt x="610" y="67"/>
                </a:lnTo>
                <a:lnTo>
                  <a:pt x="612" y="66"/>
                </a:lnTo>
                <a:lnTo>
                  <a:pt x="615" y="66"/>
                </a:lnTo>
                <a:lnTo>
                  <a:pt x="615" y="64"/>
                </a:lnTo>
                <a:lnTo>
                  <a:pt x="617" y="64"/>
                </a:lnTo>
                <a:lnTo>
                  <a:pt x="624" y="60"/>
                </a:lnTo>
                <a:lnTo>
                  <a:pt x="628" y="60"/>
                </a:lnTo>
                <a:lnTo>
                  <a:pt x="629" y="58"/>
                </a:lnTo>
                <a:lnTo>
                  <a:pt x="631" y="57"/>
                </a:lnTo>
                <a:lnTo>
                  <a:pt x="634" y="57"/>
                </a:lnTo>
                <a:lnTo>
                  <a:pt x="634" y="56"/>
                </a:lnTo>
                <a:lnTo>
                  <a:pt x="636" y="54"/>
                </a:lnTo>
                <a:lnTo>
                  <a:pt x="640" y="51"/>
                </a:lnTo>
                <a:lnTo>
                  <a:pt x="643" y="51"/>
                </a:lnTo>
                <a:lnTo>
                  <a:pt x="645" y="50"/>
                </a:lnTo>
                <a:lnTo>
                  <a:pt x="648" y="50"/>
                </a:lnTo>
                <a:lnTo>
                  <a:pt x="648" y="49"/>
                </a:lnTo>
                <a:lnTo>
                  <a:pt x="649" y="49"/>
                </a:lnTo>
                <a:lnTo>
                  <a:pt x="651" y="46"/>
                </a:lnTo>
                <a:lnTo>
                  <a:pt x="652" y="46"/>
                </a:lnTo>
                <a:lnTo>
                  <a:pt x="653" y="45"/>
                </a:lnTo>
                <a:lnTo>
                  <a:pt x="655" y="45"/>
                </a:lnTo>
                <a:lnTo>
                  <a:pt x="659" y="42"/>
                </a:lnTo>
                <a:lnTo>
                  <a:pt x="661" y="42"/>
                </a:lnTo>
                <a:lnTo>
                  <a:pt x="662" y="40"/>
                </a:lnTo>
                <a:lnTo>
                  <a:pt x="664" y="40"/>
                </a:lnTo>
                <a:lnTo>
                  <a:pt x="665" y="39"/>
                </a:lnTo>
                <a:lnTo>
                  <a:pt x="665" y="37"/>
                </a:lnTo>
                <a:lnTo>
                  <a:pt x="666" y="37"/>
                </a:lnTo>
                <a:lnTo>
                  <a:pt x="668" y="34"/>
                </a:lnTo>
                <a:lnTo>
                  <a:pt x="668" y="33"/>
                </a:lnTo>
                <a:lnTo>
                  <a:pt x="673" y="36"/>
                </a:lnTo>
                <a:lnTo>
                  <a:pt x="676" y="36"/>
                </a:lnTo>
                <a:lnTo>
                  <a:pt x="676" y="34"/>
                </a:lnTo>
                <a:lnTo>
                  <a:pt x="677" y="34"/>
                </a:lnTo>
                <a:lnTo>
                  <a:pt x="677" y="36"/>
                </a:lnTo>
                <a:lnTo>
                  <a:pt x="678" y="37"/>
                </a:lnTo>
                <a:lnTo>
                  <a:pt x="679" y="37"/>
                </a:lnTo>
                <a:lnTo>
                  <a:pt x="680" y="38"/>
                </a:lnTo>
                <a:lnTo>
                  <a:pt x="682" y="38"/>
                </a:lnTo>
                <a:lnTo>
                  <a:pt x="683" y="37"/>
                </a:lnTo>
                <a:lnTo>
                  <a:pt x="684" y="34"/>
                </a:lnTo>
                <a:lnTo>
                  <a:pt x="685" y="34"/>
                </a:lnTo>
                <a:lnTo>
                  <a:pt x="686" y="33"/>
                </a:lnTo>
                <a:lnTo>
                  <a:pt x="690" y="34"/>
                </a:lnTo>
                <a:lnTo>
                  <a:pt x="697" y="34"/>
                </a:lnTo>
                <a:lnTo>
                  <a:pt x="698" y="36"/>
                </a:lnTo>
                <a:lnTo>
                  <a:pt x="701" y="34"/>
                </a:lnTo>
                <a:lnTo>
                  <a:pt x="708" y="38"/>
                </a:lnTo>
                <a:lnTo>
                  <a:pt x="709" y="38"/>
                </a:lnTo>
                <a:lnTo>
                  <a:pt x="709" y="37"/>
                </a:lnTo>
                <a:lnTo>
                  <a:pt x="713" y="33"/>
                </a:lnTo>
                <a:lnTo>
                  <a:pt x="713" y="30"/>
                </a:lnTo>
                <a:lnTo>
                  <a:pt x="715" y="30"/>
                </a:lnTo>
                <a:lnTo>
                  <a:pt x="717" y="28"/>
                </a:lnTo>
                <a:lnTo>
                  <a:pt x="723" y="30"/>
                </a:lnTo>
                <a:lnTo>
                  <a:pt x="723" y="32"/>
                </a:lnTo>
                <a:lnTo>
                  <a:pt x="722" y="32"/>
                </a:lnTo>
                <a:lnTo>
                  <a:pt x="722" y="33"/>
                </a:lnTo>
                <a:lnTo>
                  <a:pt x="721" y="33"/>
                </a:lnTo>
                <a:lnTo>
                  <a:pt x="723" y="36"/>
                </a:lnTo>
                <a:lnTo>
                  <a:pt x="724" y="36"/>
                </a:lnTo>
                <a:lnTo>
                  <a:pt x="724" y="34"/>
                </a:lnTo>
                <a:lnTo>
                  <a:pt x="726" y="34"/>
                </a:lnTo>
                <a:lnTo>
                  <a:pt x="728" y="37"/>
                </a:lnTo>
                <a:lnTo>
                  <a:pt x="729" y="37"/>
                </a:lnTo>
                <a:lnTo>
                  <a:pt x="729" y="38"/>
                </a:lnTo>
                <a:lnTo>
                  <a:pt x="730" y="40"/>
                </a:lnTo>
                <a:lnTo>
                  <a:pt x="732" y="40"/>
                </a:lnTo>
                <a:lnTo>
                  <a:pt x="734" y="43"/>
                </a:lnTo>
                <a:lnTo>
                  <a:pt x="736" y="44"/>
                </a:lnTo>
                <a:lnTo>
                  <a:pt x="738" y="45"/>
                </a:lnTo>
                <a:lnTo>
                  <a:pt x="739" y="45"/>
                </a:lnTo>
                <a:lnTo>
                  <a:pt x="739" y="46"/>
                </a:lnTo>
                <a:lnTo>
                  <a:pt x="738" y="46"/>
                </a:lnTo>
                <a:lnTo>
                  <a:pt x="735" y="48"/>
                </a:lnTo>
                <a:lnTo>
                  <a:pt x="736" y="49"/>
                </a:lnTo>
                <a:lnTo>
                  <a:pt x="739" y="49"/>
                </a:lnTo>
                <a:lnTo>
                  <a:pt x="739" y="50"/>
                </a:lnTo>
                <a:lnTo>
                  <a:pt x="740" y="52"/>
                </a:lnTo>
                <a:lnTo>
                  <a:pt x="741" y="52"/>
                </a:lnTo>
                <a:lnTo>
                  <a:pt x="745" y="51"/>
                </a:lnTo>
                <a:lnTo>
                  <a:pt x="747" y="51"/>
                </a:lnTo>
                <a:lnTo>
                  <a:pt x="751" y="55"/>
                </a:lnTo>
                <a:lnTo>
                  <a:pt x="749" y="56"/>
                </a:lnTo>
                <a:lnTo>
                  <a:pt x="749" y="60"/>
                </a:lnTo>
                <a:lnTo>
                  <a:pt x="752" y="62"/>
                </a:lnTo>
                <a:lnTo>
                  <a:pt x="753" y="62"/>
                </a:lnTo>
                <a:lnTo>
                  <a:pt x="755" y="63"/>
                </a:lnTo>
                <a:lnTo>
                  <a:pt x="759" y="67"/>
                </a:lnTo>
                <a:lnTo>
                  <a:pt x="759" y="71"/>
                </a:lnTo>
                <a:lnTo>
                  <a:pt x="761" y="74"/>
                </a:lnTo>
                <a:lnTo>
                  <a:pt x="761" y="82"/>
                </a:lnTo>
                <a:lnTo>
                  <a:pt x="760" y="82"/>
                </a:lnTo>
                <a:lnTo>
                  <a:pt x="761" y="83"/>
                </a:lnTo>
                <a:lnTo>
                  <a:pt x="759" y="86"/>
                </a:lnTo>
                <a:lnTo>
                  <a:pt x="759" y="88"/>
                </a:lnTo>
                <a:lnTo>
                  <a:pt x="757" y="88"/>
                </a:lnTo>
                <a:lnTo>
                  <a:pt x="757" y="89"/>
                </a:lnTo>
                <a:lnTo>
                  <a:pt x="754" y="91"/>
                </a:lnTo>
                <a:lnTo>
                  <a:pt x="755" y="92"/>
                </a:lnTo>
                <a:lnTo>
                  <a:pt x="755" y="93"/>
                </a:lnTo>
                <a:lnTo>
                  <a:pt x="758" y="94"/>
                </a:lnTo>
                <a:lnTo>
                  <a:pt x="757" y="97"/>
                </a:lnTo>
                <a:lnTo>
                  <a:pt x="757" y="99"/>
                </a:lnTo>
                <a:lnTo>
                  <a:pt x="760" y="103"/>
                </a:lnTo>
                <a:lnTo>
                  <a:pt x="760" y="104"/>
                </a:lnTo>
                <a:lnTo>
                  <a:pt x="759" y="105"/>
                </a:lnTo>
                <a:lnTo>
                  <a:pt x="761" y="107"/>
                </a:lnTo>
                <a:lnTo>
                  <a:pt x="761" y="109"/>
                </a:lnTo>
                <a:lnTo>
                  <a:pt x="759" y="110"/>
                </a:lnTo>
                <a:lnTo>
                  <a:pt x="759" y="111"/>
                </a:lnTo>
                <a:lnTo>
                  <a:pt x="761" y="112"/>
                </a:lnTo>
                <a:lnTo>
                  <a:pt x="765" y="113"/>
                </a:lnTo>
                <a:lnTo>
                  <a:pt x="770" y="116"/>
                </a:lnTo>
                <a:lnTo>
                  <a:pt x="774" y="117"/>
                </a:lnTo>
                <a:lnTo>
                  <a:pt x="776" y="117"/>
                </a:lnTo>
                <a:lnTo>
                  <a:pt x="777" y="116"/>
                </a:lnTo>
                <a:lnTo>
                  <a:pt x="782" y="116"/>
                </a:lnTo>
                <a:lnTo>
                  <a:pt x="784" y="114"/>
                </a:lnTo>
                <a:lnTo>
                  <a:pt x="785" y="114"/>
                </a:lnTo>
                <a:lnTo>
                  <a:pt x="790" y="117"/>
                </a:lnTo>
                <a:lnTo>
                  <a:pt x="792" y="119"/>
                </a:lnTo>
                <a:lnTo>
                  <a:pt x="796" y="120"/>
                </a:lnTo>
                <a:lnTo>
                  <a:pt x="796" y="122"/>
                </a:lnTo>
                <a:lnTo>
                  <a:pt x="797" y="123"/>
                </a:lnTo>
                <a:lnTo>
                  <a:pt x="797" y="125"/>
                </a:lnTo>
                <a:lnTo>
                  <a:pt x="798" y="125"/>
                </a:lnTo>
                <a:lnTo>
                  <a:pt x="798" y="126"/>
                </a:lnTo>
                <a:lnTo>
                  <a:pt x="800" y="126"/>
                </a:lnTo>
                <a:lnTo>
                  <a:pt x="802" y="129"/>
                </a:lnTo>
                <a:lnTo>
                  <a:pt x="803" y="129"/>
                </a:lnTo>
                <a:lnTo>
                  <a:pt x="805" y="132"/>
                </a:lnTo>
                <a:lnTo>
                  <a:pt x="805" y="134"/>
                </a:lnTo>
                <a:lnTo>
                  <a:pt x="807" y="135"/>
                </a:lnTo>
                <a:lnTo>
                  <a:pt x="807" y="136"/>
                </a:lnTo>
                <a:lnTo>
                  <a:pt x="808" y="137"/>
                </a:lnTo>
                <a:lnTo>
                  <a:pt x="804" y="135"/>
                </a:lnTo>
                <a:lnTo>
                  <a:pt x="803" y="134"/>
                </a:lnTo>
                <a:lnTo>
                  <a:pt x="801" y="132"/>
                </a:lnTo>
                <a:lnTo>
                  <a:pt x="800" y="132"/>
                </a:lnTo>
                <a:lnTo>
                  <a:pt x="798" y="130"/>
                </a:lnTo>
                <a:lnTo>
                  <a:pt x="797" y="130"/>
                </a:lnTo>
                <a:lnTo>
                  <a:pt x="792" y="134"/>
                </a:lnTo>
                <a:lnTo>
                  <a:pt x="792" y="138"/>
                </a:lnTo>
                <a:lnTo>
                  <a:pt x="791" y="141"/>
                </a:lnTo>
                <a:lnTo>
                  <a:pt x="791" y="144"/>
                </a:lnTo>
                <a:lnTo>
                  <a:pt x="790" y="146"/>
                </a:lnTo>
                <a:lnTo>
                  <a:pt x="790" y="149"/>
                </a:lnTo>
                <a:lnTo>
                  <a:pt x="789" y="150"/>
                </a:lnTo>
                <a:lnTo>
                  <a:pt x="786" y="152"/>
                </a:lnTo>
                <a:lnTo>
                  <a:pt x="785" y="152"/>
                </a:lnTo>
                <a:lnTo>
                  <a:pt x="782" y="149"/>
                </a:lnTo>
                <a:lnTo>
                  <a:pt x="780" y="149"/>
                </a:lnTo>
                <a:lnTo>
                  <a:pt x="778" y="150"/>
                </a:lnTo>
                <a:lnTo>
                  <a:pt x="776" y="150"/>
                </a:lnTo>
                <a:lnTo>
                  <a:pt x="774" y="152"/>
                </a:lnTo>
                <a:lnTo>
                  <a:pt x="774" y="153"/>
                </a:lnTo>
                <a:lnTo>
                  <a:pt x="776" y="154"/>
                </a:lnTo>
                <a:lnTo>
                  <a:pt x="776" y="157"/>
                </a:lnTo>
                <a:lnTo>
                  <a:pt x="777" y="159"/>
                </a:lnTo>
                <a:lnTo>
                  <a:pt x="777" y="161"/>
                </a:lnTo>
                <a:lnTo>
                  <a:pt x="779" y="163"/>
                </a:lnTo>
                <a:lnTo>
                  <a:pt x="782" y="165"/>
                </a:lnTo>
                <a:lnTo>
                  <a:pt x="782" y="166"/>
                </a:lnTo>
                <a:lnTo>
                  <a:pt x="780" y="167"/>
                </a:lnTo>
                <a:lnTo>
                  <a:pt x="780" y="171"/>
                </a:lnTo>
                <a:lnTo>
                  <a:pt x="779" y="172"/>
                </a:lnTo>
                <a:lnTo>
                  <a:pt x="779" y="174"/>
                </a:lnTo>
                <a:lnTo>
                  <a:pt x="780" y="174"/>
                </a:lnTo>
                <a:lnTo>
                  <a:pt x="780" y="177"/>
                </a:lnTo>
                <a:lnTo>
                  <a:pt x="782" y="178"/>
                </a:lnTo>
                <a:lnTo>
                  <a:pt x="782" y="179"/>
                </a:lnTo>
                <a:lnTo>
                  <a:pt x="783" y="179"/>
                </a:lnTo>
                <a:lnTo>
                  <a:pt x="785" y="180"/>
                </a:lnTo>
                <a:lnTo>
                  <a:pt x="785" y="183"/>
                </a:lnTo>
                <a:lnTo>
                  <a:pt x="784" y="186"/>
                </a:lnTo>
                <a:lnTo>
                  <a:pt x="784" y="191"/>
                </a:lnTo>
                <a:lnTo>
                  <a:pt x="785" y="191"/>
                </a:lnTo>
                <a:lnTo>
                  <a:pt x="786" y="192"/>
                </a:lnTo>
                <a:lnTo>
                  <a:pt x="786" y="193"/>
                </a:lnTo>
                <a:lnTo>
                  <a:pt x="785" y="196"/>
                </a:lnTo>
                <a:lnTo>
                  <a:pt x="786" y="198"/>
                </a:lnTo>
                <a:lnTo>
                  <a:pt x="786" y="199"/>
                </a:lnTo>
                <a:lnTo>
                  <a:pt x="785" y="202"/>
                </a:lnTo>
                <a:lnTo>
                  <a:pt x="785" y="205"/>
                </a:lnTo>
                <a:lnTo>
                  <a:pt x="786" y="205"/>
                </a:lnTo>
                <a:lnTo>
                  <a:pt x="789" y="206"/>
                </a:lnTo>
                <a:lnTo>
                  <a:pt x="790" y="205"/>
                </a:lnTo>
                <a:lnTo>
                  <a:pt x="791" y="205"/>
                </a:lnTo>
                <a:lnTo>
                  <a:pt x="792" y="206"/>
                </a:lnTo>
                <a:lnTo>
                  <a:pt x="792" y="209"/>
                </a:lnTo>
                <a:lnTo>
                  <a:pt x="789" y="212"/>
                </a:lnTo>
                <a:lnTo>
                  <a:pt x="789" y="218"/>
                </a:lnTo>
                <a:lnTo>
                  <a:pt x="788" y="218"/>
                </a:lnTo>
                <a:lnTo>
                  <a:pt x="788" y="221"/>
                </a:lnTo>
                <a:lnTo>
                  <a:pt x="786" y="221"/>
                </a:lnTo>
                <a:lnTo>
                  <a:pt x="786" y="222"/>
                </a:lnTo>
                <a:lnTo>
                  <a:pt x="785" y="222"/>
                </a:lnTo>
                <a:lnTo>
                  <a:pt x="785" y="224"/>
                </a:lnTo>
                <a:lnTo>
                  <a:pt x="784" y="226"/>
                </a:lnTo>
                <a:lnTo>
                  <a:pt x="783" y="226"/>
                </a:lnTo>
                <a:lnTo>
                  <a:pt x="783" y="230"/>
                </a:lnTo>
                <a:lnTo>
                  <a:pt x="782" y="230"/>
                </a:lnTo>
                <a:lnTo>
                  <a:pt x="782" y="232"/>
                </a:lnTo>
                <a:lnTo>
                  <a:pt x="783" y="233"/>
                </a:lnTo>
                <a:lnTo>
                  <a:pt x="789" y="233"/>
                </a:lnTo>
                <a:lnTo>
                  <a:pt x="789" y="234"/>
                </a:lnTo>
                <a:lnTo>
                  <a:pt x="790" y="234"/>
                </a:lnTo>
                <a:lnTo>
                  <a:pt x="790" y="236"/>
                </a:lnTo>
                <a:lnTo>
                  <a:pt x="791" y="236"/>
                </a:lnTo>
                <a:lnTo>
                  <a:pt x="791" y="239"/>
                </a:lnTo>
                <a:lnTo>
                  <a:pt x="792" y="239"/>
                </a:lnTo>
                <a:lnTo>
                  <a:pt x="794" y="237"/>
                </a:lnTo>
                <a:lnTo>
                  <a:pt x="796" y="237"/>
                </a:lnTo>
                <a:lnTo>
                  <a:pt x="797" y="239"/>
                </a:lnTo>
                <a:lnTo>
                  <a:pt x="798" y="241"/>
                </a:lnTo>
                <a:lnTo>
                  <a:pt x="798" y="242"/>
                </a:lnTo>
                <a:lnTo>
                  <a:pt x="797" y="243"/>
                </a:lnTo>
                <a:lnTo>
                  <a:pt x="796" y="243"/>
                </a:lnTo>
                <a:lnTo>
                  <a:pt x="796" y="246"/>
                </a:lnTo>
                <a:lnTo>
                  <a:pt x="797" y="246"/>
                </a:lnTo>
                <a:lnTo>
                  <a:pt x="798" y="247"/>
                </a:lnTo>
                <a:lnTo>
                  <a:pt x="798" y="249"/>
                </a:lnTo>
                <a:lnTo>
                  <a:pt x="797" y="251"/>
                </a:lnTo>
                <a:lnTo>
                  <a:pt x="797" y="253"/>
                </a:lnTo>
                <a:lnTo>
                  <a:pt x="798" y="253"/>
                </a:lnTo>
                <a:lnTo>
                  <a:pt x="797" y="255"/>
                </a:lnTo>
                <a:lnTo>
                  <a:pt x="797" y="257"/>
                </a:lnTo>
                <a:lnTo>
                  <a:pt x="801" y="257"/>
                </a:lnTo>
                <a:lnTo>
                  <a:pt x="801" y="259"/>
                </a:lnTo>
                <a:lnTo>
                  <a:pt x="803" y="259"/>
                </a:lnTo>
                <a:lnTo>
                  <a:pt x="803" y="260"/>
                </a:lnTo>
                <a:lnTo>
                  <a:pt x="804" y="260"/>
                </a:lnTo>
                <a:lnTo>
                  <a:pt x="807" y="263"/>
                </a:lnTo>
                <a:lnTo>
                  <a:pt x="807" y="266"/>
                </a:lnTo>
                <a:lnTo>
                  <a:pt x="805" y="266"/>
                </a:lnTo>
                <a:lnTo>
                  <a:pt x="805" y="271"/>
                </a:lnTo>
                <a:lnTo>
                  <a:pt x="804" y="270"/>
                </a:lnTo>
                <a:lnTo>
                  <a:pt x="797" y="270"/>
                </a:lnTo>
                <a:lnTo>
                  <a:pt x="795" y="272"/>
                </a:lnTo>
                <a:lnTo>
                  <a:pt x="794" y="275"/>
                </a:lnTo>
                <a:lnTo>
                  <a:pt x="792" y="275"/>
                </a:lnTo>
                <a:lnTo>
                  <a:pt x="791" y="276"/>
                </a:lnTo>
                <a:lnTo>
                  <a:pt x="788" y="277"/>
                </a:lnTo>
                <a:lnTo>
                  <a:pt x="788" y="278"/>
                </a:lnTo>
                <a:lnTo>
                  <a:pt x="786" y="279"/>
                </a:lnTo>
                <a:lnTo>
                  <a:pt x="786" y="280"/>
                </a:lnTo>
                <a:lnTo>
                  <a:pt x="784" y="280"/>
                </a:lnTo>
                <a:lnTo>
                  <a:pt x="783" y="279"/>
                </a:lnTo>
                <a:lnTo>
                  <a:pt x="782" y="276"/>
                </a:lnTo>
                <a:lnTo>
                  <a:pt x="780" y="275"/>
                </a:lnTo>
                <a:lnTo>
                  <a:pt x="780" y="273"/>
                </a:lnTo>
                <a:lnTo>
                  <a:pt x="782" y="272"/>
                </a:lnTo>
                <a:lnTo>
                  <a:pt x="782" y="271"/>
                </a:lnTo>
                <a:lnTo>
                  <a:pt x="784" y="271"/>
                </a:lnTo>
                <a:lnTo>
                  <a:pt x="784" y="267"/>
                </a:lnTo>
                <a:lnTo>
                  <a:pt x="783" y="266"/>
                </a:lnTo>
                <a:lnTo>
                  <a:pt x="783" y="265"/>
                </a:lnTo>
                <a:lnTo>
                  <a:pt x="782" y="265"/>
                </a:lnTo>
                <a:lnTo>
                  <a:pt x="782" y="264"/>
                </a:lnTo>
                <a:lnTo>
                  <a:pt x="777" y="263"/>
                </a:lnTo>
                <a:lnTo>
                  <a:pt x="773" y="263"/>
                </a:lnTo>
                <a:lnTo>
                  <a:pt x="771" y="264"/>
                </a:lnTo>
                <a:lnTo>
                  <a:pt x="770" y="265"/>
                </a:lnTo>
                <a:lnTo>
                  <a:pt x="769" y="267"/>
                </a:lnTo>
                <a:lnTo>
                  <a:pt x="766" y="267"/>
                </a:lnTo>
                <a:lnTo>
                  <a:pt x="766" y="269"/>
                </a:lnTo>
                <a:lnTo>
                  <a:pt x="765" y="269"/>
                </a:lnTo>
                <a:lnTo>
                  <a:pt x="763" y="266"/>
                </a:lnTo>
                <a:lnTo>
                  <a:pt x="761" y="266"/>
                </a:lnTo>
                <a:lnTo>
                  <a:pt x="758" y="267"/>
                </a:lnTo>
                <a:lnTo>
                  <a:pt x="757" y="266"/>
                </a:lnTo>
                <a:lnTo>
                  <a:pt x="754" y="266"/>
                </a:lnTo>
                <a:lnTo>
                  <a:pt x="754" y="265"/>
                </a:lnTo>
                <a:lnTo>
                  <a:pt x="753" y="265"/>
                </a:lnTo>
                <a:lnTo>
                  <a:pt x="752" y="266"/>
                </a:lnTo>
                <a:lnTo>
                  <a:pt x="751" y="266"/>
                </a:lnTo>
                <a:lnTo>
                  <a:pt x="748" y="264"/>
                </a:lnTo>
                <a:lnTo>
                  <a:pt x="747" y="264"/>
                </a:lnTo>
                <a:lnTo>
                  <a:pt x="746" y="263"/>
                </a:lnTo>
                <a:lnTo>
                  <a:pt x="746" y="261"/>
                </a:lnTo>
                <a:lnTo>
                  <a:pt x="744" y="261"/>
                </a:lnTo>
                <a:lnTo>
                  <a:pt x="744" y="263"/>
                </a:lnTo>
                <a:lnTo>
                  <a:pt x="742" y="263"/>
                </a:lnTo>
                <a:lnTo>
                  <a:pt x="736" y="259"/>
                </a:lnTo>
                <a:lnTo>
                  <a:pt x="735" y="259"/>
                </a:lnTo>
                <a:lnTo>
                  <a:pt x="733" y="260"/>
                </a:lnTo>
                <a:lnTo>
                  <a:pt x="732" y="260"/>
                </a:lnTo>
                <a:lnTo>
                  <a:pt x="730" y="261"/>
                </a:lnTo>
                <a:lnTo>
                  <a:pt x="727" y="261"/>
                </a:lnTo>
                <a:lnTo>
                  <a:pt x="723" y="260"/>
                </a:lnTo>
                <a:lnTo>
                  <a:pt x="723" y="259"/>
                </a:lnTo>
                <a:lnTo>
                  <a:pt x="722" y="259"/>
                </a:lnTo>
                <a:lnTo>
                  <a:pt x="720" y="260"/>
                </a:lnTo>
                <a:lnTo>
                  <a:pt x="718" y="260"/>
                </a:lnTo>
                <a:lnTo>
                  <a:pt x="718" y="261"/>
                </a:lnTo>
                <a:lnTo>
                  <a:pt x="714" y="270"/>
                </a:lnTo>
                <a:lnTo>
                  <a:pt x="713" y="271"/>
                </a:lnTo>
                <a:lnTo>
                  <a:pt x="708" y="272"/>
                </a:lnTo>
                <a:lnTo>
                  <a:pt x="705" y="273"/>
                </a:lnTo>
                <a:lnTo>
                  <a:pt x="704" y="273"/>
                </a:lnTo>
                <a:lnTo>
                  <a:pt x="704" y="271"/>
                </a:lnTo>
                <a:lnTo>
                  <a:pt x="703" y="271"/>
                </a:lnTo>
                <a:lnTo>
                  <a:pt x="703" y="270"/>
                </a:lnTo>
                <a:lnTo>
                  <a:pt x="704" y="267"/>
                </a:lnTo>
                <a:lnTo>
                  <a:pt x="702" y="265"/>
                </a:lnTo>
                <a:lnTo>
                  <a:pt x="702" y="264"/>
                </a:lnTo>
                <a:lnTo>
                  <a:pt x="698" y="264"/>
                </a:lnTo>
                <a:lnTo>
                  <a:pt x="698" y="261"/>
                </a:lnTo>
                <a:lnTo>
                  <a:pt x="690" y="270"/>
                </a:lnTo>
                <a:lnTo>
                  <a:pt x="685" y="271"/>
                </a:lnTo>
                <a:lnTo>
                  <a:pt x="667" y="275"/>
                </a:lnTo>
                <a:lnTo>
                  <a:pt x="655" y="276"/>
                </a:lnTo>
                <a:lnTo>
                  <a:pt x="654" y="276"/>
                </a:lnTo>
                <a:lnTo>
                  <a:pt x="653" y="275"/>
                </a:lnTo>
                <a:lnTo>
                  <a:pt x="642" y="272"/>
                </a:lnTo>
                <a:lnTo>
                  <a:pt x="635" y="273"/>
                </a:lnTo>
                <a:lnTo>
                  <a:pt x="633" y="275"/>
                </a:lnTo>
                <a:lnTo>
                  <a:pt x="627" y="277"/>
                </a:lnTo>
                <a:lnTo>
                  <a:pt x="624" y="278"/>
                </a:lnTo>
                <a:lnTo>
                  <a:pt x="622" y="278"/>
                </a:lnTo>
                <a:lnTo>
                  <a:pt x="621" y="279"/>
                </a:lnTo>
                <a:lnTo>
                  <a:pt x="616" y="283"/>
                </a:lnTo>
                <a:lnTo>
                  <a:pt x="612" y="285"/>
                </a:lnTo>
                <a:lnTo>
                  <a:pt x="611" y="285"/>
                </a:lnTo>
                <a:lnTo>
                  <a:pt x="610" y="286"/>
                </a:lnTo>
                <a:lnTo>
                  <a:pt x="608" y="286"/>
                </a:lnTo>
                <a:lnTo>
                  <a:pt x="604" y="289"/>
                </a:lnTo>
                <a:lnTo>
                  <a:pt x="595" y="292"/>
                </a:lnTo>
                <a:lnTo>
                  <a:pt x="581" y="295"/>
                </a:lnTo>
                <a:lnTo>
                  <a:pt x="573" y="297"/>
                </a:lnTo>
                <a:lnTo>
                  <a:pt x="571" y="297"/>
                </a:lnTo>
                <a:lnTo>
                  <a:pt x="564" y="295"/>
                </a:lnTo>
                <a:lnTo>
                  <a:pt x="550" y="295"/>
                </a:lnTo>
                <a:lnTo>
                  <a:pt x="548" y="294"/>
                </a:lnTo>
                <a:lnTo>
                  <a:pt x="541" y="286"/>
                </a:lnTo>
                <a:lnTo>
                  <a:pt x="533" y="284"/>
                </a:lnTo>
                <a:lnTo>
                  <a:pt x="528" y="284"/>
                </a:lnTo>
                <a:lnTo>
                  <a:pt x="525" y="285"/>
                </a:lnTo>
                <a:lnTo>
                  <a:pt x="522" y="288"/>
                </a:lnTo>
                <a:lnTo>
                  <a:pt x="521" y="288"/>
                </a:lnTo>
                <a:lnTo>
                  <a:pt x="519" y="289"/>
                </a:lnTo>
                <a:lnTo>
                  <a:pt x="512" y="291"/>
                </a:lnTo>
                <a:lnTo>
                  <a:pt x="505" y="292"/>
                </a:lnTo>
                <a:lnTo>
                  <a:pt x="503" y="294"/>
                </a:lnTo>
                <a:lnTo>
                  <a:pt x="497" y="298"/>
                </a:lnTo>
                <a:lnTo>
                  <a:pt x="496" y="298"/>
                </a:lnTo>
                <a:lnTo>
                  <a:pt x="488" y="297"/>
                </a:lnTo>
                <a:lnTo>
                  <a:pt x="481" y="297"/>
                </a:lnTo>
                <a:lnTo>
                  <a:pt x="481" y="298"/>
                </a:lnTo>
                <a:lnTo>
                  <a:pt x="479" y="298"/>
                </a:lnTo>
                <a:lnTo>
                  <a:pt x="479" y="294"/>
                </a:lnTo>
                <a:lnTo>
                  <a:pt x="477" y="291"/>
                </a:lnTo>
                <a:lnTo>
                  <a:pt x="474" y="291"/>
                </a:lnTo>
                <a:lnTo>
                  <a:pt x="472" y="290"/>
                </a:lnTo>
                <a:lnTo>
                  <a:pt x="463" y="288"/>
                </a:lnTo>
                <a:lnTo>
                  <a:pt x="462" y="288"/>
                </a:lnTo>
                <a:lnTo>
                  <a:pt x="463" y="289"/>
                </a:lnTo>
                <a:lnTo>
                  <a:pt x="462" y="290"/>
                </a:lnTo>
                <a:lnTo>
                  <a:pt x="462" y="291"/>
                </a:lnTo>
                <a:lnTo>
                  <a:pt x="461" y="292"/>
                </a:lnTo>
                <a:lnTo>
                  <a:pt x="461" y="295"/>
                </a:lnTo>
                <a:lnTo>
                  <a:pt x="460" y="296"/>
                </a:lnTo>
                <a:lnTo>
                  <a:pt x="460" y="303"/>
                </a:lnTo>
                <a:lnTo>
                  <a:pt x="459" y="306"/>
                </a:lnTo>
                <a:lnTo>
                  <a:pt x="459" y="310"/>
                </a:lnTo>
                <a:lnTo>
                  <a:pt x="460" y="310"/>
                </a:lnTo>
                <a:lnTo>
                  <a:pt x="461" y="312"/>
                </a:lnTo>
                <a:lnTo>
                  <a:pt x="461" y="314"/>
                </a:lnTo>
                <a:lnTo>
                  <a:pt x="462" y="314"/>
                </a:lnTo>
                <a:lnTo>
                  <a:pt x="462" y="315"/>
                </a:lnTo>
                <a:lnTo>
                  <a:pt x="463" y="315"/>
                </a:lnTo>
                <a:lnTo>
                  <a:pt x="463" y="316"/>
                </a:lnTo>
                <a:lnTo>
                  <a:pt x="465" y="318"/>
                </a:lnTo>
                <a:lnTo>
                  <a:pt x="465" y="319"/>
                </a:lnTo>
                <a:lnTo>
                  <a:pt x="463" y="319"/>
                </a:lnTo>
                <a:lnTo>
                  <a:pt x="461" y="320"/>
                </a:lnTo>
                <a:lnTo>
                  <a:pt x="455" y="320"/>
                </a:lnTo>
                <a:lnTo>
                  <a:pt x="455" y="321"/>
                </a:lnTo>
                <a:lnTo>
                  <a:pt x="453" y="321"/>
                </a:lnTo>
                <a:lnTo>
                  <a:pt x="453" y="320"/>
                </a:lnTo>
                <a:lnTo>
                  <a:pt x="452" y="320"/>
                </a:lnTo>
                <a:lnTo>
                  <a:pt x="452" y="322"/>
                </a:lnTo>
                <a:lnTo>
                  <a:pt x="450" y="329"/>
                </a:lnTo>
                <a:lnTo>
                  <a:pt x="452" y="332"/>
                </a:lnTo>
                <a:lnTo>
                  <a:pt x="450" y="332"/>
                </a:lnTo>
                <a:lnTo>
                  <a:pt x="448" y="331"/>
                </a:lnTo>
                <a:lnTo>
                  <a:pt x="448" y="332"/>
                </a:lnTo>
                <a:lnTo>
                  <a:pt x="447" y="333"/>
                </a:lnTo>
                <a:lnTo>
                  <a:pt x="446" y="333"/>
                </a:lnTo>
                <a:lnTo>
                  <a:pt x="443" y="335"/>
                </a:lnTo>
                <a:lnTo>
                  <a:pt x="443" y="339"/>
                </a:lnTo>
                <a:lnTo>
                  <a:pt x="442" y="340"/>
                </a:lnTo>
                <a:lnTo>
                  <a:pt x="440" y="339"/>
                </a:lnTo>
                <a:lnTo>
                  <a:pt x="438" y="338"/>
                </a:lnTo>
                <a:lnTo>
                  <a:pt x="436" y="338"/>
                </a:lnTo>
                <a:lnTo>
                  <a:pt x="435" y="337"/>
                </a:lnTo>
                <a:lnTo>
                  <a:pt x="436" y="337"/>
                </a:lnTo>
                <a:lnTo>
                  <a:pt x="436" y="335"/>
                </a:lnTo>
                <a:lnTo>
                  <a:pt x="432" y="335"/>
                </a:lnTo>
                <a:lnTo>
                  <a:pt x="432" y="334"/>
                </a:lnTo>
                <a:lnTo>
                  <a:pt x="435" y="332"/>
                </a:lnTo>
                <a:lnTo>
                  <a:pt x="435" y="331"/>
                </a:lnTo>
                <a:lnTo>
                  <a:pt x="434" y="327"/>
                </a:lnTo>
                <a:lnTo>
                  <a:pt x="431" y="322"/>
                </a:lnTo>
                <a:lnTo>
                  <a:pt x="430" y="321"/>
                </a:lnTo>
                <a:lnTo>
                  <a:pt x="430" y="320"/>
                </a:lnTo>
                <a:lnTo>
                  <a:pt x="429" y="319"/>
                </a:lnTo>
                <a:lnTo>
                  <a:pt x="429" y="318"/>
                </a:lnTo>
                <a:lnTo>
                  <a:pt x="428" y="318"/>
                </a:lnTo>
                <a:lnTo>
                  <a:pt x="428" y="316"/>
                </a:lnTo>
                <a:lnTo>
                  <a:pt x="426" y="315"/>
                </a:lnTo>
                <a:lnTo>
                  <a:pt x="426" y="314"/>
                </a:lnTo>
                <a:lnTo>
                  <a:pt x="428" y="313"/>
                </a:lnTo>
                <a:lnTo>
                  <a:pt x="429" y="313"/>
                </a:lnTo>
                <a:lnTo>
                  <a:pt x="429" y="312"/>
                </a:lnTo>
                <a:lnTo>
                  <a:pt x="430" y="312"/>
                </a:lnTo>
                <a:lnTo>
                  <a:pt x="430" y="310"/>
                </a:lnTo>
                <a:lnTo>
                  <a:pt x="431" y="310"/>
                </a:lnTo>
                <a:lnTo>
                  <a:pt x="431" y="309"/>
                </a:lnTo>
                <a:lnTo>
                  <a:pt x="432" y="309"/>
                </a:lnTo>
                <a:lnTo>
                  <a:pt x="432" y="308"/>
                </a:lnTo>
                <a:lnTo>
                  <a:pt x="434" y="307"/>
                </a:lnTo>
                <a:lnTo>
                  <a:pt x="435" y="307"/>
                </a:lnTo>
                <a:lnTo>
                  <a:pt x="435" y="306"/>
                </a:lnTo>
                <a:lnTo>
                  <a:pt x="437" y="303"/>
                </a:lnTo>
                <a:lnTo>
                  <a:pt x="438" y="303"/>
                </a:lnTo>
                <a:lnTo>
                  <a:pt x="443" y="300"/>
                </a:lnTo>
                <a:lnTo>
                  <a:pt x="444" y="300"/>
                </a:lnTo>
                <a:lnTo>
                  <a:pt x="444" y="289"/>
                </a:lnTo>
                <a:lnTo>
                  <a:pt x="438" y="283"/>
                </a:lnTo>
                <a:lnTo>
                  <a:pt x="435" y="283"/>
                </a:lnTo>
                <a:lnTo>
                  <a:pt x="434" y="284"/>
                </a:lnTo>
                <a:lnTo>
                  <a:pt x="431" y="288"/>
                </a:lnTo>
                <a:lnTo>
                  <a:pt x="430" y="288"/>
                </a:lnTo>
                <a:lnTo>
                  <a:pt x="430" y="289"/>
                </a:lnTo>
                <a:lnTo>
                  <a:pt x="428" y="290"/>
                </a:lnTo>
                <a:lnTo>
                  <a:pt x="428" y="291"/>
                </a:lnTo>
                <a:lnTo>
                  <a:pt x="421" y="291"/>
                </a:lnTo>
                <a:lnTo>
                  <a:pt x="421" y="292"/>
                </a:lnTo>
                <a:lnTo>
                  <a:pt x="422" y="294"/>
                </a:lnTo>
                <a:lnTo>
                  <a:pt x="424" y="294"/>
                </a:lnTo>
                <a:lnTo>
                  <a:pt x="421" y="295"/>
                </a:lnTo>
                <a:lnTo>
                  <a:pt x="419" y="296"/>
                </a:lnTo>
                <a:lnTo>
                  <a:pt x="419" y="297"/>
                </a:lnTo>
                <a:lnTo>
                  <a:pt x="422" y="295"/>
                </a:lnTo>
                <a:lnTo>
                  <a:pt x="423" y="295"/>
                </a:lnTo>
                <a:lnTo>
                  <a:pt x="421" y="297"/>
                </a:lnTo>
                <a:lnTo>
                  <a:pt x="421" y="300"/>
                </a:lnTo>
                <a:lnTo>
                  <a:pt x="419" y="300"/>
                </a:lnTo>
                <a:lnTo>
                  <a:pt x="419" y="301"/>
                </a:lnTo>
                <a:lnTo>
                  <a:pt x="417" y="301"/>
                </a:lnTo>
                <a:lnTo>
                  <a:pt x="415" y="298"/>
                </a:lnTo>
                <a:lnTo>
                  <a:pt x="415" y="300"/>
                </a:lnTo>
                <a:lnTo>
                  <a:pt x="416" y="301"/>
                </a:lnTo>
                <a:lnTo>
                  <a:pt x="415" y="301"/>
                </a:lnTo>
                <a:lnTo>
                  <a:pt x="412" y="300"/>
                </a:lnTo>
                <a:lnTo>
                  <a:pt x="409" y="303"/>
                </a:lnTo>
                <a:lnTo>
                  <a:pt x="407" y="303"/>
                </a:lnTo>
                <a:lnTo>
                  <a:pt x="407" y="302"/>
                </a:lnTo>
                <a:lnTo>
                  <a:pt x="406" y="302"/>
                </a:lnTo>
                <a:lnTo>
                  <a:pt x="406" y="301"/>
                </a:lnTo>
                <a:lnTo>
                  <a:pt x="395" y="295"/>
                </a:lnTo>
                <a:lnTo>
                  <a:pt x="394" y="295"/>
                </a:lnTo>
                <a:lnTo>
                  <a:pt x="393" y="294"/>
                </a:lnTo>
                <a:lnTo>
                  <a:pt x="390" y="294"/>
                </a:lnTo>
                <a:lnTo>
                  <a:pt x="390" y="292"/>
                </a:lnTo>
                <a:lnTo>
                  <a:pt x="387" y="290"/>
                </a:lnTo>
                <a:lnTo>
                  <a:pt x="384" y="289"/>
                </a:lnTo>
                <a:lnTo>
                  <a:pt x="382" y="288"/>
                </a:lnTo>
                <a:lnTo>
                  <a:pt x="381" y="289"/>
                </a:lnTo>
                <a:lnTo>
                  <a:pt x="378" y="290"/>
                </a:lnTo>
                <a:lnTo>
                  <a:pt x="376" y="290"/>
                </a:lnTo>
                <a:lnTo>
                  <a:pt x="375" y="291"/>
                </a:lnTo>
                <a:lnTo>
                  <a:pt x="374" y="291"/>
                </a:lnTo>
                <a:lnTo>
                  <a:pt x="374" y="292"/>
                </a:lnTo>
                <a:lnTo>
                  <a:pt x="373" y="294"/>
                </a:lnTo>
                <a:lnTo>
                  <a:pt x="369" y="296"/>
                </a:lnTo>
                <a:lnTo>
                  <a:pt x="364" y="300"/>
                </a:lnTo>
                <a:lnTo>
                  <a:pt x="363" y="301"/>
                </a:lnTo>
                <a:lnTo>
                  <a:pt x="360" y="306"/>
                </a:lnTo>
                <a:lnTo>
                  <a:pt x="359" y="306"/>
                </a:lnTo>
                <a:lnTo>
                  <a:pt x="359" y="307"/>
                </a:lnTo>
                <a:lnTo>
                  <a:pt x="357" y="307"/>
                </a:lnTo>
                <a:lnTo>
                  <a:pt x="356" y="309"/>
                </a:lnTo>
                <a:lnTo>
                  <a:pt x="355" y="309"/>
                </a:lnTo>
                <a:lnTo>
                  <a:pt x="355" y="314"/>
                </a:lnTo>
                <a:lnTo>
                  <a:pt x="354" y="315"/>
                </a:lnTo>
                <a:lnTo>
                  <a:pt x="351" y="315"/>
                </a:lnTo>
                <a:lnTo>
                  <a:pt x="351" y="316"/>
                </a:lnTo>
                <a:lnTo>
                  <a:pt x="350" y="318"/>
                </a:lnTo>
                <a:lnTo>
                  <a:pt x="350" y="320"/>
                </a:lnTo>
                <a:lnTo>
                  <a:pt x="349" y="320"/>
                </a:lnTo>
                <a:lnTo>
                  <a:pt x="349" y="316"/>
                </a:lnTo>
                <a:lnTo>
                  <a:pt x="348" y="315"/>
                </a:lnTo>
                <a:lnTo>
                  <a:pt x="345" y="315"/>
                </a:lnTo>
                <a:lnTo>
                  <a:pt x="344" y="316"/>
                </a:lnTo>
                <a:lnTo>
                  <a:pt x="344" y="318"/>
                </a:lnTo>
                <a:lnTo>
                  <a:pt x="343" y="318"/>
                </a:lnTo>
                <a:lnTo>
                  <a:pt x="343" y="319"/>
                </a:lnTo>
                <a:lnTo>
                  <a:pt x="342" y="320"/>
                </a:lnTo>
                <a:lnTo>
                  <a:pt x="341" y="320"/>
                </a:lnTo>
                <a:lnTo>
                  <a:pt x="339" y="322"/>
                </a:lnTo>
                <a:lnTo>
                  <a:pt x="338" y="322"/>
                </a:lnTo>
                <a:lnTo>
                  <a:pt x="338" y="323"/>
                </a:lnTo>
                <a:lnTo>
                  <a:pt x="337" y="322"/>
                </a:lnTo>
                <a:lnTo>
                  <a:pt x="337" y="321"/>
                </a:lnTo>
                <a:lnTo>
                  <a:pt x="336" y="321"/>
                </a:lnTo>
                <a:lnTo>
                  <a:pt x="332" y="325"/>
                </a:lnTo>
                <a:lnTo>
                  <a:pt x="331" y="325"/>
                </a:lnTo>
                <a:lnTo>
                  <a:pt x="332" y="323"/>
                </a:lnTo>
                <a:lnTo>
                  <a:pt x="323" y="323"/>
                </a:lnTo>
                <a:lnTo>
                  <a:pt x="323" y="325"/>
                </a:lnTo>
                <a:lnTo>
                  <a:pt x="317" y="325"/>
                </a:lnTo>
                <a:lnTo>
                  <a:pt x="316" y="323"/>
                </a:lnTo>
                <a:lnTo>
                  <a:pt x="314" y="325"/>
                </a:lnTo>
                <a:lnTo>
                  <a:pt x="314" y="326"/>
                </a:lnTo>
                <a:lnTo>
                  <a:pt x="313" y="327"/>
                </a:lnTo>
                <a:lnTo>
                  <a:pt x="312" y="327"/>
                </a:lnTo>
                <a:lnTo>
                  <a:pt x="312" y="326"/>
                </a:lnTo>
                <a:lnTo>
                  <a:pt x="311" y="327"/>
                </a:lnTo>
                <a:lnTo>
                  <a:pt x="307" y="326"/>
                </a:lnTo>
                <a:lnTo>
                  <a:pt x="304" y="327"/>
                </a:lnTo>
                <a:lnTo>
                  <a:pt x="304" y="328"/>
                </a:lnTo>
                <a:lnTo>
                  <a:pt x="301" y="329"/>
                </a:lnTo>
                <a:lnTo>
                  <a:pt x="299" y="329"/>
                </a:lnTo>
                <a:lnTo>
                  <a:pt x="295" y="328"/>
                </a:lnTo>
                <a:lnTo>
                  <a:pt x="294" y="328"/>
                </a:lnTo>
                <a:lnTo>
                  <a:pt x="291" y="326"/>
                </a:lnTo>
                <a:lnTo>
                  <a:pt x="288" y="326"/>
                </a:lnTo>
                <a:lnTo>
                  <a:pt x="286" y="323"/>
                </a:lnTo>
                <a:lnTo>
                  <a:pt x="285" y="323"/>
                </a:lnTo>
                <a:lnTo>
                  <a:pt x="285" y="322"/>
                </a:lnTo>
                <a:lnTo>
                  <a:pt x="282" y="322"/>
                </a:lnTo>
                <a:lnTo>
                  <a:pt x="281" y="319"/>
                </a:lnTo>
                <a:lnTo>
                  <a:pt x="279" y="319"/>
                </a:lnTo>
                <a:lnTo>
                  <a:pt x="279" y="316"/>
                </a:lnTo>
                <a:lnTo>
                  <a:pt x="275" y="313"/>
                </a:lnTo>
                <a:lnTo>
                  <a:pt x="275" y="310"/>
                </a:lnTo>
                <a:lnTo>
                  <a:pt x="274" y="310"/>
                </a:lnTo>
                <a:lnTo>
                  <a:pt x="274" y="309"/>
                </a:lnTo>
                <a:lnTo>
                  <a:pt x="272" y="307"/>
                </a:lnTo>
                <a:lnTo>
                  <a:pt x="272" y="306"/>
                </a:lnTo>
                <a:lnTo>
                  <a:pt x="270" y="306"/>
                </a:lnTo>
                <a:lnTo>
                  <a:pt x="268" y="303"/>
                </a:lnTo>
                <a:lnTo>
                  <a:pt x="268" y="302"/>
                </a:lnTo>
                <a:lnTo>
                  <a:pt x="263" y="302"/>
                </a:lnTo>
                <a:lnTo>
                  <a:pt x="263" y="301"/>
                </a:lnTo>
                <a:lnTo>
                  <a:pt x="260" y="301"/>
                </a:lnTo>
                <a:lnTo>
                  <a:pt x="258" y="300"/>
                </a:lnTo>
                <a:lnTo>
                  <a:pt x="257" y="300"/>
                </a:lnTo>
                <a:lnTo>
                  <a:pt x="256" y="298"/>
                </a:lnTo>
                <a:lnTo>
                  <a:pt x="256" y="297"/>
                </a:lnTo>
                <a:lnTo>
                  <a:pt x="255" y="297"/>
                </a:lnTo>
                <a:lnTo>
                  <a:pt x="251" y="296"/>
                </a:lnTo>
                <a:lnTo>
                  <a:pt x="250" y="296"/>
                </a:lnTo>
                <a:lnTo>
                  <a:pt x="250" y="295"/>
                </a:lnTo>
                <a:lnTo>
                  <a:pt x="242" y="291"/>
                </a:lnTo>
                <a:lnTo>
                  <a:pt x="241" y="291"/>
                </a:lnTo>
                <a:lnTo>
                  <a:pt x="241" y="290"/>
                </a:lnTo>
                <a:lnTo>
                  <a:pt x="239" y="289"/>
                </a:lnTo>
                <a:lnTo>
                  <a:pt x="223" y="286"/>
                </a:lnTo>
                <a:lnTo>
                  <a:pt x="213" y="286"/>
                </a:lnTo>
                <a:lnTo>
                  <a:pt x="212" y="284"/>
                </a:lnTo>
                <a:lnTo>
                  <a:pt x="207" y="289"/>
                </a:lnTo>
                <a:lnTo>
                  <a:pt x="207" y="292"/>
                </a:lnTo>
                <a:lnTo>
                  <a:pt x="206" y="294"/>
                </a:lnTo>
                <a:lnTo>
                  <a:pt x="206" y="295"/>
                </a:lnTo>
                <a:lnTo>
                  <a:pt x="207" y="295"/>
                </a:lnTo>
                <a:lnTo>
                  <a:pt x="207" y="296"/>
                </a:lnTo>
                <a:lnTo>
                  <a:pt x="206" y="296"/>
                </a:lnTo>
                <a:lnTo>
                  <a:pt x="206" y="300"/>
                </a:lnTo>
                <a:lnTo>
                  <a:pt x="207" y="300"/>
                </a:lnTo>
                <a:lnTo>
                  <a:pt x="207" y="303"/>
                </a:lnTo>
                <a:lnTo>
                  <a:pt x="205" y="304"/>
                </a:lnTo>
                <a:lnTo>
                  <a:pt x="205" y="306"/>
                </a:lnTo>
                <a:lnTo>
                  <a:pt x="204" y="308"/>
                </a:lnTo>
                <a:lnTo>
                  <a:pt x="204" y="309"/>
                </a:lnTo>
                <a:lnTo>
                  <a:pt x="202" y="310"/>
                </a:lnTo>
                <a:lnTo>
                  <a:pt x="202" y="312"/>
                </a:lnTo>
                <a:lnTo>
                  <a:pt x="204" y="312"/>
                </a:lnTo>
                <a:lnTo>
                  <a:pt x="204" y="313"/>
                </a:lnTo>
                <a:lnTo>
                  <a:pt x="205" y="314"/>
                </a:lnTo>
                <a:lnTo>
                  <a:pt x="204" y="314"/>
                </a:lnTo>
                <a:lnTo>
                  <a:pt x="202" y="315"/>
                </a:lnTo>
                <a:lnTo>
                  <a:pt x="202" y="318"/>
                </a:lnTo>
                <a:lnTo>
                  <a:pt x="201" y="318"/>
                </a:lnTo>
                <a:lnTo>
                  <a:pt x="201" y="320"/>
                </a:lnTo>
                <a:lnTo>
                  <a:pt x="200" y="320"/>
                </a:lnTo>
                <a:lnTo>
                  <a:pt x="200" y="319"/>
                </a:lnTo>
                <a:lnTo>
                  <a:pt x="199" y="318"/>
                </a:lnTo>
                <a:lnTo>
                  <a:pt x="199" y="316"/>
                </a:lnTo>
                <a:lnTo>
                  <a:pt x="198" y="318"/>
                </a:lnTo>
                <a:lnTo>
                  <a:pt x="193" y="315"/>
                </a:lnTo>
                <a:lnTo>
                  <a:pt x="189" y="315"/>
                </a:lnTo>
                <a:lnTo>
                  <a:pt x="189" y="318"/>
                </a:lnTo>
                <a:lnTo>
                  <a:pt x="188" y="318"/>
                </a:lnTo>
                <a:lnTo>
                  <a:pt x="188" y="319"/>
                </a:lnTo>
                <a:lnTo>
                  <a:pt x="187" y="318"/>
                </a:lnTo>
                <a:lnTo>
                  <a:pt x="187" y="319"/>
                </a:lnTo>
                <a:lnTo>
                  <a:pt x="186" y="319"/>
                </a:lnTo>
                <a:lnTo>
                  <a:pt x="185" y="318"/>
                </a:lnTo>
                <a:lnTo>
                  <a:pt x="185" y="319"/>
                </a:lnTo>
                <a:lnTo>
                  <a:pt x="182" y="320"/>
                </a:lnTo>
                <a:lnTo>
                  <a:pt x="179" y="320"/>
                </a:lnTo>
                <a:lnTo>
                  <a:pt x="177" y="321"/>
                </a:lnTo>
                <a:lnTo>
                  <a:pt x="176" y="321"/>
                </a:lnTo>
                <a:lnTo>
                  <a:pt x="176" y="322"/>
                </a:lnTo>
                <a:lnTo>
                  <a:pt x="175" y="322"/>
                </a:lnTo>
                <a:lnTo>
                  <a:pt x="175" y="323"/>
                </a:lnTo>
                <a:lnTo>
                  <a:pt x="173" y="323"/>
                </a:lnTo>
                <a:lnTo>
                  <a:pt x="171" y="322"/>
                </a:lnTo>
                <a:lnTo>
                  <a:pt x="170" y="322"/>
                </a:lnTo>
                <a:lnTo>
                  <a:pt x="170" y="323"/>
                </a:lnTo>
                <a:lnTo>
                  <a:pt x="167" y="323"/>
                </a:lnTo>
                <a:lnTo>
                  <a:pt x="167" y="322"/>
                </a:lnTo>
                <a:lnTo>
                  <a:pt x="168" y="322"/>
                </a:lnTo>
                <a:lnTo>
                  <a:pt x="168" y="321"/>
                </a:lnTo>
                <a:lnTo>
                  <a:pt x="167" y="321"/>
                </a:lnTo>
                <a:lnTo>
                  <a:pt x="165" y="320"/>
                </a:lnTo>
                <a:lnTo>
                  <a:pt x="162" y="320"/>
                </a:lnTo>
                <a:lnTo>
                  <a:pt x="158" y="319"/>
                </a:lnTo>
                <a:lnTo>
                  <a:pt x="158" y="318"/>
                </a:lnTo>
                <a:lnTo>
                  <a:pt x="156" y="318"/>
                </a:lnTo>
                <a:lnTo>
                  <a:pt x="156" y="319"/>
                </a:lnTo>
                <a:lnTo>
                  <a:pt x="155" y="319"/>
                </a:lnTo>
                <a:lnTo>
                  <a:pt x="155" y="318"/>
                </a:lnTo>
                <a:lnTo>
                  <a:pt x="154" y="319"/>
                </a:lnTo>
                <a:lnTo>
                  <a:pt x="151" y="316"/>
                </a:lnTo>
                <a:lnTo>
                  <a:pt x="151" y="315"/>
                </a:lnTo>
                <a:lnTo>
                  <a:pt x="150" y="314"/>
                </a:lnTo>
                <a:lnTo>
                  <a:pt x="148" y="314"/>
                </a:lnTo>
                <a:lnTo>
                  <a:pt x="148" y="313"/>
                </a:lnTo>
                <a:lnTo>
                  <a:pt x="146" y="313"/>
                </a:lnTo>
                <a:lnTo>
                  <a:pt x="146" y="312"/>
                </a:lnTo>
                <a:lnTo>
                  <a:pt x="145" y="312"/>
                </a:lnTo>
                <a:lnTo>
                  <a:pt x="145" y="310"/>
                </a:lnTo>
                <a:lnTo>
                  <a:pt x="146" y="309"/>
                </a:lnTo>
                <a:lnTo>
                  <a:pt x="145" y="309"/>
                </a:lnTo>
                <a:lnTo>
                  <a:pt x="146" y="308"/>
                </a:lnTo>
                <a:lnTo>
                  <a:pt x="145" y="308"/>
                </a:lnTo>
                <a:lnTo>
                  <a:pt x="145" y="307"/>
                </a:lnTo>
                <a:lnTo>
                  <a:pt x="144" y="307"/>
                </a:lnTo>
                <a:lnTo>
                  <a:pt x="144" y="306"/>
                </a:lnTo>
                <a:lnTo>
                  <a:pt x="145" y="306"/>
                </a:lnTo>
                <a:lnTo>
                  <a:pt x="145" y="302"/>
                </a:lnTo>
                <a:lnTo>
                  <a:pt x="144" y="302"/>
                </a:lnTo>
                <a:lnTo>
                  <a:pt x="142" y="303"/>
                </a:lnTo>
                <a:lnTo>
                  <a:pt x="142" y="300"/>
                </a:lnTo>
                <a:lnTo>
                  <a:pt x="143" y="298"/>
                </a:lnTo>
                <a:lnTo>
                  <a:pt x="145" y="298"/>
                </a:lnTo>
                <a:lnTo>
                  <a:pt x="145" y="297"/>
                </a:lnTo>
                <a:lnTo>
                  <a:pt x="144" y="296"/>
                </a:lnTo>
                <a:lnTo>
                  <a:pt x="142" y="295"/>
                </a:lnTo>
                <a:lnTo>
                  <a:pt x="138" y="294"/>
                </a:lnTo>
                <a:lnTo>
                  <a:pt x="138" y="292"/>
                </a:lnTo>
                <a:lnTo>
                  <a:pt x="137" y="292"/>
                </a:lnTo>
                <a:lnTo>
                  <a:pt x="137" y="294"/>
                </a:lnTo>
                <a:lnTo>
                  <a:pt x="136" y="294"/>
                </a:lnTo>
                <a:lnTo>
                  <a:pt x="136" y="295"/>
                </a:lnTo>
                <a:lnTo>
                  <a:pt x="134" y="295"/>
                </a:lnTo>
                <a:lnTo>
                  <a:pt x="134" y="300"/>
                </a:lnTo>
                <a:lnTo>
                  <a:pt x="133" y="300"/>
                </a:lnTo>
                <a:lnTo>
                  <a:pt x="133" y="297"/>
                </a:lnTo>
                <a:lnTo>
                  <a:pt x="132" y="297"/>
                </a:lnTo>
                <a:lnTo>
                  <a:pt x="130" y="295"/>
                </a:lnTo>
                <a:lnTo>
                  <a:pt x="126" y="295"/>
                </a:lnTo>
                <a:lnTo>
                  <a:pt x="126" y="294"/>
                </a:lnTo>
                <a:lnTo>
                  <a:pt x="125" y="294"/>
                </a:lnTo>
                <a:lnTo>
                  <a:pt x="125" y="295"/>
                </a:lnTo>
                <a:lnTo>
                  <a:pt x="124" y="295"/>
                </a:lnTo>
                <a:lnTo>
                  <a:pt x="124" y="289"/>
                </a:lnTo>
                <a:lnTo>
                  <a:pt x="123" y="289"/>
                </a:lnTo>
                <a:lnTo>
                  <a:pt x="121" y="288"/>
                </a:lnTo>
                <a:lnTo>
                  <a:pt x="120" y="289"/>
                </a:lnTo>
                <a:lnTo>
                  <a:pt x="120" y="290"/>
                </a:lnTo>
                <a:lnTo>
                  <a:pt x="119" y="289"/>
                </a:lnTo>
                <a:lnTo>
                  <a:pt x="118" y="289"/>
                </a:lnTo>
                <a:lnTo>
                  <a:pt x="118" y="285"/>
                </a:lnTo>
                <a:lnTo>
                  <a:pt x="117" y="285"/>
                </a:lnTo>
                <a:lnTo>
                  <a:pt x="117" y="286"/>
                </a:lnTo>
                <a:lnTo>
                  <a:pt x="114" y="286"/>
                </a:lnTo>
                <a:lnTo>
                  <a:pt x="114" y="288"/>
                </a:lnTo>
                <a:lnTo>
                  <a:pt x="117" y="288"/>
                </a:lnTo>
                <a:lnTo>
                  <a:pt x="115" y="289"/>
                </a:lnTo>
                <a:lnTo>
                  <a:pt x="115" y="290"/>
                </a:lnTo>
                <a:lnTo>
                  <a:pt x="114" y="290"/>
                </a:lnTo>
                <a:lnTo>
                  <a:pt x="112" y="289"/>
                </a:lnTo>
                <a:lnTo>
                  <a:pt x="112" y="290"/>
                </a:lnTo>
                <a:lnTo>
                  <a:pt x="109" y="290"/>
                </a:lnTo>
                <a:lnTo>
                  <a:pt x="109" y="289"/>
                </a:lnTo>
                <a:lnTo>
                  <a:pt x="111" y="289"/>
                </a:lnTo>
                <a:lnTo>
                  <a:pt x="112" y="288"/>
                </a:lnTo>
                <a:lnTo>
                  <a:pt x="111" y="288"/>
                </a:lnTo>
                <a:lnTo>
                  <a:pt x="111" y="286"/>
                </a:lnTo>
                <a:lnTo>
                  <a:pt x="109" y="286"/>
                </a:lnTo>
                <a:lnTo>
                  <a:pt x="108" y="288"/>
                </a:lnTo>
                <a:lnTo>
                  <a:pt x="108" y="289"/>
                </a:lnTo>
                <a:lnTo>
                  <a:pt x="109" y="290"/>
                </a:lnTo>
                <a:lnTo>
                  <a:pt x="108" y="291"/>
                </a:lnTo>
                <a:lnTo>
                  <a:pt x="111" y="292"/>
                </a:lnTo>
                <a:lnTo>
                  <a:pt x="111" y="294"/>
                </a:lnTo>
                <a:lnTo>
                  <a:pt x="109" y="292"/>
                </a:lnTo>
                <a:lnTo>
                  <a:pt x="109" y="294"/>
                </a:lnTo>
                <a:lnTo>
                  <a:pt x="108" y="294"/>
                </a:lnTo>
                <a:lnTo>
                  <a:pt x="108" y="295"/>
                </a:lnTo>
                <a:lnTo>
                  <a:pt x="106" y="295"/>
                </a:lnTo>
                <a:lnTo>
                  <a:pt x="105" y="296"/>
                </a:lnTo>
                <a:lnTo>
                  <a:pt x="105" y="297"/>
                </a:lnTo>
                <a:lnTo>
                  <a:pt x="103" y="298"/>
                </a:lnTo>
                <a:lnTo>
                  <a:pt x="103" y="300"/>
                </a:lnTo>
                <a:lnTo>
                  <a:pt x="102" y="301"/>
                </a:lnTo>
                <a:lnTo>
                  <a:pt x="101" y="300"/>
                </a:lnTo>
                <a:lnTo>
                  <a:pt x="101" y="298"/>
                </a:lnTo>
                <a:lnTo>
                  <a:pt x="102" y="297"/>
                </a:lnTo>
                <a:lnTo>
                  <a:pt x="101" y="297"/>
                </a:lnTo>
                <a:lnTo>
                  <a:pt x="101" y="296"/>
                </a:lnTo>
                <a:lnTo>
                  <a:pt x="100" y="295"/>
                </a:lnTo>
                <a:lnTo>
                  <a:pt x="100" y="294"/>
                </a:lnTo>
                <a:lnTo>
                  <a:pt x="103" y="294"/>
                </a:lnTo>
                <a:lnTo>
                  <a:pt x="103" y="292"/>
                </a:lnTo>
                <a:lnTo>
                  <a:pt x="102" y="292"/>
                </a:lnTo>
                <a:lnTo>
                  <a:pt x="102" y="291"/>
                </a:lnTo>
                <a:lnTo>
                  <a:pt x="103" y="291"/>
                </a:lnTo>
                <a:lnTo>
                  <a:pt x="103" y="289"/>
                </a:lnTo>
                <a:lnTo>
                  <a:pt x="102" y="289"/>
                </a:lnTo>
                <a:lnTo>
                  <a:pt x="102" y="290"/>
                </a:lnTo>
                <a:lnTo>
                  <a:pt x="101" y="291"/>
                </a:lnTo>
                <a:lnTo>
                  <a:pt x="98" y="291"/>
                </a:lnTo>
                <a:lnTo>
                  <a:pt x="96" y="292"/>
                </a:lnTo>
                <a:lnTo>
                  <a:pt x="96" y="291"/>
                </a:lnTo>
                <a:lnTo>
                  <a:pt x="95" y="292"/>
                </a:lnTo>
                <a:lnTo>
                  <a:pt x="95" y="291"/>
                </a:lnTo>
                <a:lnTo>
                  <a:pt x="94" y="291"/>
                </a:lnTo>
                <a:lnTo>
                  <a:pt x="94" y="292"/>
                </a:lnTo>
                <a:lnTo>
                  <a:pt x="92" y="292"/>
                </a:lnTo>
                <a:lnTo>
                  <a:pt x="90" y="291"/>
                </a:lnTo>
                <a:lnTo>
                  <a:pt x="87" y="291"/>
                </a:lnTo>
                <a:lnTo>
                  <a:pt x="84" y="294"/>
                </a:lnTo>
                <a:lnTo>
                  <a:pt x="86" y="294"/>
                </a:lnTo>
                <a:lnTo>
                  <a:pt x="84" y="296"/>
                </a:lnTo>
                <a:lnTo>
                  <a:pt x="84" y="297"/>
                </a:lnTo>
                <a:lnTo>
                  <a:pt x="83" y="296"/>
                </a:lnTo>
                <a:lnTo>
                  <a:pt x="80" y="296"/>
                </a:lnTo>
                <a:lnTo>
                  <a:pt x="80" y="295"/>
                </a:lnTo>
                <a:lnTo>
                  <a:pt x="76" y="296"/>
                </a:lnTo>
                <a:lnTo>
                  <a:pt x="76" y="297"/>
                </a:lnTo>
                <a:lnTo>
                  <a:pt x="75" y="296"/>
                </a:lnTo>
                <a:lnTo>
                  <a:pt x="72" y="296"/>
                </a:lnTo>
                <a:lnTo>
                  <a:pt x="72" y="295"/>
                </a:lnTo>
                <a:lnTo>
                  <a:pt x="74" y="294"/>
                </a:lnTo>
                <a:lnTo>
                  <a:pt x="74" y="292"/>
                </a:lnTo>
                <a:lnTo>
                  <a:pt x="75" y="292"/>
                </a:lnTo>
                <a:lnTo>
                  <a:pt x="75" y="291"/>
                </a:lnTo>
                <a:lnTo>
                  <a:pt x="82" y="291"/>
                </a:lnTo>
                <a:lnTo>
                  <a:pt x="82" y="289"/>
                </a:lnTo>
                <a:lnTo>
                  <a:pt x="83" y="289"/>
                </a:lnTo>
                <a:lnTo>
                  <a:pt x="86" y="290"/>
                </a:lnTo>
                <a:lnTo>
                  <a:pt x="88" y="290"/>
                </a:lnTo>
                <a:lnTo>
                  <a:pt x="89" y="289"/>
                </a:lnTo>
                <a:lnTo>
                  <a:pt x="95" y="289"/>
                </a:lnTo>
                <a:lnTo>
                  <a:pt x="96" y="290"/>
                </a:lnTo>
                <a:lnTo>
                  <a:pt x="98" y="289"/>
                </a:lnTo>
                <a:lnTo>
                  <a:pt x="99" y="290"/>
                </a:lnTo>
                <a:lnTo>
                  <a:pt x="100" y="290"/>
                </a:lnTo>
                <a:lnTo>
                  <a:pt x="101" y="289"/>
                </a:lnTo>
                <a:lnTo>
                  <a:pt x="100" y="289"/>
                </a:lnTo>
                <a:lnTo>
                  <a:pt x="100" y="288"/>
                </a:lnTo>
                <a:lnTo>
                  <a:pt x="99" y="286"/>
                </a:lnTo>
                <a:lnTo>
                  <a:pt x="100" y="286"/>
                </a:lnTo>
                <a:lnTo>
                  <a:pt x="100" y="285"/>
                </a:lnTo>
                <a:lnTo>
                  <a:pt x="101" y="285"/>
                </a:lnTo>
                <a:lnTo>
                  <a:pt x="100" y="284"/>
                </a:lnTo>
                <a:lnTo>
                  <a:pt x="100" y="282"/>
                </a:lnTo>
                <a:lnTo>
                  <a:pt x="101" y="282"/>
                </a:lnTo>
                <a:lnTo>
                  <a:pt x="102" y="283"/>
                </a:lnTo>
                <a:lnTo>
                  <a:pt x="103" y="283"/>
                </a:lnTo>
                <a:lnTo>
                  <a:pt x="103" y="282"/>
                </a:lnTo>
                <a:lnTo>
                  <a:pt x="105" y="283"/>
                </a:lnTo>
                <a:lnTo>
                  <a:pt x="106" y="283"/>
                </a:lnTo>
                <a:lnTo>
                  <a:pt x="105" y="282"/>
                </a:lnTo>
                <a:lnTo>
                  <a:pt x="106" y="282"/>
                </a:lnTo>
                <a:lnTo>
                  <a:pt x="107" y="280"/>
                </a:lnTo>
                <a:lnTo>
                  <a:pt x="107" y="279"/>
                </a:lnTo>
                <a:lnTo>
                  <a:pt x="109" y="279"/>
                </a:lnTo>
                <a:lnTo>
                  <a:pt x="108" y="278"/>
                </a:lnTo>
                <a:lnTo>
                  <a:pt x="111" y="277"/>
                </a:lnTo>
                <a:lnTo>
                  <a:pt x="112" y="277"/>
                </a:lnTo>
                <a:lnTo>
                  <a:pt x="112" y="276"/>
                </a:lnTo>
                <a:lnTo>
                  <a:pt x="111" y="276"/>
                </a:lnTo>
                <a:lnTo>
                  <a:pt x="106" y="277"/>
                </a:lnTo>
                <a:lnTo>
                  <a:pt x="102" y="277"/>
                </a:lnTo>
                <a:lnTo>
                  <a:pt x="103" y="278"/>
                </a:lnTo>
                <a:lnTo>
                  <a:pt x="102" y="278"/>
                </a:lnTo>
                <a:lnTo>
                  <a:pt x="98" y="277"/>
                </a:lnTo>
                <a:lnTo>
                  <a:pt x="96" y="278"/>
                </a:lnTo>
                <a:lnTo>
                  <a:pt x="95" y="277"/>
                </a:lnTo>
                <a:lnTo>
                  <a:pt x="94" y="277"/>
                </a:lnTo>
                <a:lnTo>
                  <a:pt x="90" y="278"/>
                </a:lnTo>
                <a:lnTo>
                  <a:pt x="89" y="278"/>
                </a:lnTo>
                <a:lnTo>
                  <a:pt x="89" y="279"/>
                </a:lnTo>
                <a:lnTo>
                  <a:pt x="87" y="279"/>
                </a:lnTo>
                <a:lnTo>
                  <a:pt x="87" y="278"/>
                </a:lnTo>
                <a:lnTo>
                  <a:pt x="86" y="278"/>
                </a:lnTo>
                <a:lnTo>
                  <a:pt x="83" y="279"/>
                </a:lnTo>
                <a:lnTo>
                  <a:pt x="80" y="279"/>
                </a:lnTo>
                <a:lnTo>
                  <a:pt x="80" y="280"/>
                </a:lnTo>
                <a:lnTo>
                  <a:pt x="78" y="279"/>
                </a:lnTo>
                <a:lnTo>
                  <a:pt x="76" y="279"/>
                </a:lnTo>
                <a:lnTo>
                  <a:pt x="75" y="278"/>
                </a:lnTo>
                <a:lnTo>
                  <a:pt x="75" y="277"/>
                </a:lnTo>
                <a:lnTo>
                  <a:pt x="72" y="277"/>
                </a:lnTo>
                <a:lnTo>
                  <a:pt x="71" y="278"/>
                </a:lnTo>
                <a:lnTo>
                  <a:pt x="70" y="278"/>
                </a:lnTo>
                <a:lnTo>
                  <a:pt x="70" y="279"/>
                </a:lnTo>
                <a:lnTo>
                  <a:pt x="69" y="280"/>
                </a:lnTo>
                <a:lnTo>
                  <a:pt x="67" y="280"/>
                </a:lnTo>
                <a:lnTo>
                  <a:pt x="67" y="277"/>
                </a:lnTo>
                <a:lnTo>
                  <a:pt x="65" y="277"/>
                </a:lnTo>
                <a:lnTo>
                  <a:pt x="65" y="276"/>
                </a:lnTo>
                <a:lnTo>
                  <a:pt x="67" y="275"/>
                </a:lnTo>
                <a:lnTo>
                  <a:pt x="68" y="275"/>
                </a:lnTo>
                <a:lnTo>
                  <a:pt x="68" y="272"/>
                </a:lnTo>
                <a:lnTo>
                  <a:pt x="71" y="272"/>
                </a:lnTo>
                <a:lnTo>
                  <a:pt x="71" y="271"/>
                </a:lnTo>
                <a:lnTo>
                  <a:pt x="72" y="271"/>
                </a:lnTo>
                <a:lnTo>
                  <a:pt x="72" y="272"/>
                </a:lnTo>
                <a:lnTo>
                  <a:pt x="74" y="272"/>
                </a:lnTo>
                <a:lnTo>
                  <a:pt x="76" y="275"/>
                </a:lnTo>
                <a:lnTo>
                  <a:pt x="77" y="273"/>
                </a:lnTo>
                <a:lnTo>
                  <a:pt x="78" y="273"/>
                </a:lnTo>
                <a:lnTo>
                  <a:pt x="78" y="272"/>
                </a:lnTo>
                <a:lnTo>
                  <a:pt x="80" y="272"/>
                </a:lnTo>
                <a:lnTo>
                  <a:pt x="80" y="270"/>
                </a:lnTo>
                <a:lnTo>
                  <a:pt x="78" y="270"/>
                </a:lnTo>
                <a:lnTo>
                  <a:pt x="78" y="269"/>
                </a:lnTo>
                <a:lnTo>
                  <a:pt x="81" y="269"/>
                </a:lnTo>
                <a:lnTo>
                  <a:pt x="81" y="266"/>
                </a:lnTo>
                <a:lnTo>
                  <a:pt x="82" y="266"/>
                </a:lnTo>
                <a:lnTo>
                  <a:pt x="82" y="264"/>
                </a:lnTo>
                <a:lnTo>
                  <a:pt x="80" y="264"/>
                </a:lnTo>
                <a:lnTo>
                  <a:pt x="80" y="265"/>
                </a:lnTo>
                <a:lnTo>
                  <a:pt x="78" y="266"/>
                </a:lnTo>
                <a:lnTo>
                  <a:pt x="78" y="265"/>
                </a:lnTo>
                <a:lnTo>
                  <a:pt x="76" y="265"/>
                </a:lnTo>
                <a:lnTo>
                  <a:pt x="76" y="263"/>
                </a:lnTo>
                <a:lnTo>
                  <a:pt x="77" y="263"/>
                </a:lnTo>
                <a:lnTo>
                  <a:pt x="77" y="261"/>
                </a:lnTo>
                <a:lnTo>
                  <a:pt x="76" y="260"/>
                </a:lnTo>
                <a:lnTo>
                  <a:pt x="76" y="263"/>
                </a:lnTo>
                <a:lnTo>
                  <a:pt x="74" y="263"/>
                </a:lnTo>
                <a:lnTo>
                  <a:pt x="72" y="261"/>
                </a:lnTo>
                <a:lnTo>
                  <a:pt x="72" y="259"/>
                </a:lnTo>
                <a:lnTo>
                  <a:pt x="74" y="259"/>
                </a:lnTo>
                <a:lnTo>
                  <a:pt x="75" y="258"/>
                </a:lnTo>
                <a:lnTo>
                  <a:pt x="74" y="258"/>
                </a:lnTo>
                <a:lnTo>
                  <a:pt x="74" y="257"/>
                </a:lnTo>
                <a:lnTo>
                  <a:pt x="72" y="257"/>
                </a:lnTo>
                <a:lnTo>
                  <a:pt x="71" y="258"/>
                </a:lnTo>
                <a:lnTo>
                  <a:pt x="71" y="259"/>
                </a:lnTo>
                <a:lnTo>
                  <a:pt x="70" y="259"/>
                </a:lnTo>
                <a:lnTo>
                  <a:pt x="70" y="260"/>
                </a:lnTo>
                <a:lnTo>
                  <a:pt x="64" y="260"/>
                </a:lnTo>
                <a:lnTo>
                  <a:pt x="64" y="259"/>
                </a:lnTo>
                <a:lnTo>
                  <a:pt x="65" y="259"/>
                </a:lnTo>
                <a:lnTo>
                  <a:pt x="65" y="253"/>
                </a:lnTo>
                <a:lnTo>
                  <a:pt x="64" y="254"/>
                </a:lnTo>
                <a:lnTo>
                  <a:pt x="64" y="249"/>
                </a:lnTo>
                <a:lnTo>
                  <a:pt x="65" y="249"/>
                </a:lnTo>
                <a:lnTo>
                  <a:pt x="65" y="247"/>
                </a:lnTo>
                <a:lnTo>
                  <a:pt x="64" y="247"/>
                </a:lnTo>
                <a:lnTo>
                  <a:pt x="62" y="246"/>
                </a:lnTo>
                <a:lnTo>
                  <a:pt x="58" y="245"/>
                </a:lnTo>
                <a:lnTo>
                  <a:pt x="57" y="243"/>
                </a:lnTo>
                <a:lnTo>
                  <a:pt x="57" y="242"/>
                </a:lnTo>
                <a:lnTo>
                  <a:pt x="62" y="242"/>
                </a:lnTo>
                <a:lnTo>
                  <a:pt x="65" y="241"/>
                </a:lnTo>
                <a:lnTo>
                  <a:pt x="67" y="240"/>
                </a:lnTo>
                <a:lnTo>
                  <a:pt x="67" y="237"/>
                </a:lnTo>
                <a:lnTo>
                  <a:pt x="68" y="236"/>
                </a:lnTo>
                <a:lnTo>
                  <a:pt x="67" y="235"/>
                </a:lnTo>
                <a:lnTo>
                  <a:pt x="67" y="232"/>
                </a:lnTo>
                <a:lnTo>
                  <a:pt x="68" y="232"/>
                </a:lnTo>
                <a:lnTo>
                  <a:pt x="68" y="230"/>
                </a:lnTo>
                <a:lnTo>
                  <a:pt x="67" y="230"/>
                </a:lnTo>
                <a:lnTo>
                  <a:pt x="68" y="229"/>
                </a:lnTo>
                <a:lnTo>
                  <a:pt x="68" y="228"/>
                </a:lnTo>
                <a:lnTo>
                  <a:pt x="67" y="227"/>
                </a:lnTo>
                <a:lnTo>
                  <a:pt x="62" y="227"/>
                </a:lnTo>
                <a:lnTo>
                  <a:pt x="59" y="224"/>
                </a:lnTo>
                <a:lnTo>
                  <a:pt x="59" y="223"/>
                </a:lnTo>
                <a:lnTo>
                  <a:pt x="57" y="223"/>
                </a:lnTo>
                <a:lnTo>
                  <a:pt x="55" y="222"/>
                </a:lnTo>
                <a:lnTo>
                  <a:pt x="52" y="222"/>
                </a:lnTo>
                <a:lnTo>
                  <a:pt x="52" y="223"/>
                </a:lnTo>
                <a:lnTo>
                  <a:pt x="51" y="223"/>
                </a:lnTo>
                <a:lnTo>
                  <a:pt x="51" y="224"/>
                </a:lnTo>
                <a:lnTo>
                  <a:pt x="50" y="223"/>
                </a:lnTo>
                <a:lnTo>
                  <a:pt x="50" y="220"/>
                </a:lnTo>
                <a:lnTo>
                  <a:pt x="47" y="217"/>
                </a:lnTo>
                <a:lnTo>
                  <a:pt x="47" y="216"/>
                </a:lnTo>
                <a:lnTo>
                  <a:pt x="46" y="217"/>
                </a:lnTo>
                <a:lnTo>
                  <a:pt x="46" y="214"/>
                </a:lnTo>
                <a:lnTo>
                  <a:pt x="45" y="215"/>
                </a:lnTo>
                <a:lnTo>
                  <a:pt x="40" y="215"/>
                </a:lnTo>
                <a:lnTo>
                  <a:pt x="40" y="220"/>
                </a:lnTo>
                <a:lnTo>
                  <a:pt x="39" y="220"/>
                </a:lnTo>
                <a:lnTo>
                  <a:pt x="38" y="218"/>
                </a:lnTo>
                <a:lnTo>
                  <a:pt x="38" y="220"/>
                </a:lnTo>
                <a:lnTo>
                  <a:pt x="37" y="218"/>
                </a:lnTo>
                <a:lnTo>
                  <a:pt x="36" y="218"/>
                </a:lnTo>
                <a:lnTo>
                  <a:pt x="36" y="216"/>
                </a:lnTo>
                <a:lnTo>
                  <a:pt x="33" y="216"/>
                </a:lnTo>
                <a:lnTo>
                  <a:pt x="32" y="215"/>
                </a:lnTo>
                <a:lnTo>
                  <a:pt x="31" y="215"/>
                </a:lnTo>
                <a:lnTo>
                  <a:pt x="31" y="211"/>
                </a:lnTo>
                <a:lnTo>
                  <a:pt x="30" y="211"/>
                </a:lnTo>
                <a:lnTo>
                  <a:pt x="30" y="214"/>
                </a:lnTo>
                <a:lnTo>
                  <a:pt x="27" y="214"/>
                </a:lnTo>
                <a:lnTo>
                  <a:pt x="26" y="212"/>
                </a:lnTo>
                <a:lnTo>
                  <a:pt x="26" y="211"/>
                </a:lnTo>
                <a:lnTo>
                  <a:pt x="24" y="211"/>
                </a:lnTo>
                <a:lnTo>
                  <a:pt x="24" y="210"/>
                </a:lnTo>
                <a:lnTo>
                  <a:pt x="26" y="210"/>
                </a:lnTo>
                <a:lnTo>
                  <a:pt x="26" y="209"/>
                </a:lnTo>
                <a:lnTo>
                  <a:pt x="27" y="209"/>
                </a:lnTo>
                <a:lnTo>
                  <a:pt x="27" y="208"/>
                </a:lnTo>
                <a:lnTo>
                  <a:pt x="28" y="208"/>
                </a:lnTo>
                <a:lnTo>
                  <a:pt x="28" y="209"/>
                </a:lnTo>
                <a:lnTo>
                  <a:pt x="31" y="209"/>
                </a:lnTo>
                <a:lnTo>
                  <a:pt x="30" y="208"/>
                </a:lnTo>
                <a:lnTo>
                  <a:pt x="32" y="208"/>
                </a:lnTo>
                <a:lnTo>
                  <a:pt x="33" y="206"/>
                </a:lnTo>
                <a:lnTo>
                  <a:pt x="34" y="206"/>
                </a:lnTo>
                <a:lnTo>
                  <a:pt x="34" y="205"/>
                </a:lnTo>
                <a:lnTo>
                  <a:pt x="33" y="204"/>
                </a:lnTo>
                <a:lnTo>
                  <a:pt x="33" y="203"/>
                </a:lnTo>
                <a:lnTo>
                  <a:pt x="34" y="203"/>
                </a:lnTo>
                <a:lnTo>
                  <a:pt x="34" y="204"/>
                </a:lnTo>
                <a:lnTo>
                  <a:pt x="36" y="203"/>
                </a:lnTo>
                <a:lnTo>
                  <a:pt x="36" y="202"/>
                </a:lnTo>
                <a:lnTo>
                  <a:pt x="34" y="202"/>
                </a:lnTo>
                <a:lnTo>
                  <a:pt x="33" y="200"/>
                </a:lnTo>
                <a:lnTo>
                  <a:pt x="32" y="200"/>
                </a:lnTo>
                <a:lnTo>
                  <a:pt x="32" y="202"/>
                </a:lnTo>
                <a:lnTo>
                  <a:pt x="31" y="202"/>
                </a:lnTo>
                <a:lnTo>
                  <a:pt x="31" y="199"/>
                </a:lnTo>
                <a:lnTo>
                  <a:pt x="30" y="197"/>
                </a:lnTo>
                <a:lnTo>
                  <a:pt x="30" y="194"/>
                </a:lnTo>
                <a:lnTo>
                  <a:pt x="28" y="192"/>
                </a:lnTo>
                <a:lnTo>
                  <a:pt x="28" y="190"/>
                </a:lnTo>
                <a:lnTo>
                  <a:pt x="34" y="190"/>
                </a:lnTo>
                <a:lnTo>
                  <a:pt x="38" y="193"/>
                </a:lnTo>
                <a:lnTo>
                  <a:pt x="38" y="194"/>
                </a:lnTo>
                <a:lnTo>
                  <a:pt x="39" y="196"/>
                </a:lnTo>
                <a:lnTo>
                  <a:pt x="39" y="197"/>
                </a:lnTo>
                <a:lnTo>
                  <a:pt x="40" y="197"/>
                </a:lnTo>
                <a:lnTo>
                  <a:pt x="40" y="200"/>
                </a:lnTo>
                <a:lnTo>
                  <a:pt x="39" y="200"/>
                </a:lnTo>
                <a:lnTo>
                  <a:pt x="39" y="203"/>
                </a:lnTo>
                <a:lnTo>
                  <a:pt x="40" y="204"/>
                </a:lnTo>
                <a:lnTo>
                  <a:pt x="40" y="205"/>
                </a:lnTo>
                <a:lnTo>
                  <a:pt x="41" y="208"/>
                </a:lnTo>
                <a:lnTo>
                  <a:pt x="43" y="209"/>
                </a:lnTo>
                <a:lnTo>
                  <a:pt x="44" y="209"/>
                </a:lnTo>
                <a:lnTo>
                  <a:pt x="43" y="208"/>
                </a:lnTo>
                <a:lnTo>
                  <a:pt x="43" y="203"/>
                </a:lnTo>
                <a:lnTo>
                  <a:pt x="45" y="203"/>
                </a:lnTo>
                <a:lnTo>
                  <a:pt x="45" y="204"/>
                </a:lnTo>
                <a:lnTo>
                  <a:pt x="46" y="206"/>
                </a:lnTo>
                <a:lnTo>
                  <a:pt x="50" y="206"/>
                </a:lnTo>
                <a:lnTo>
                  <a:pt x="53" y="205"/>
                </a:lnTo>
                <a:lnTo>
                  <a:pt x="55" y="204"/>
                </a:lnTo>
                <a:lnTo>
                  <a:pt x="61" y="204"/>
                </a:lnTo>
                <a:lnTo>
                  <a:pt x="63" y="202"/>
                </a:lnTo>
                <a:lnTo>
                  <a:pt x="62" y="202"/>
                </a:lnTo>
                <a:lnTo>
                  <a:pt x="62" y="200"/>
                </a:lnTo>
                <a:lnTo>
                  <a:pt x="61" y="202"/>
                </a:lnTo>
                <a:lnTo>
                  <a:pt x="59" y="202"/>
                </a:lnTo>
                <a:lnTo>
                  <a:pt x="58" y="200"/>
                </a:lnTo>
                <a:lnTo>
                  <a:pt x="57" y="200"/>
                </a:lnTo>
                <a:lnTo>
                  <a:pt x="55" y="202"/>
                </a:lnTo>
                <a:lnTo>
                  <a:pt x="53" y="203"/>
                </a:lnTo>
                <a:lnTo>
                  <a:pt x="53" y="202"/>
                </a:lnTo>
                <a:lnTo>
                  <a:pt x="52" y="199"/>
                </a:lnTo>
                <a:lnTo>
                  <a:pt x="51" y="199"/>
                </a:lnTo>
                <a:lnTo>
                  <a:pt x="50" y="198"/>
                </a:lnTo>
                <a:lnTo>
                  <a:pt x="51" y="198"/>
                </a:lnTo>
                <a:lnTo>
                  <a:pt x="50" y="197"/>
                </a:lnTo>
                <a:lnTo>
                  <a:pt x="49" y="197"/>
                </a:lnTo>
                <a:lnTo>
                  <a:pt x="50" y="196"/>
                </a:lnTo>
                <a:lnTo>
                  <a:pt x="50" y="193"/>
                </a:lnTo>
                <a:lnTo>
                  <a:pt x="47" y="193"/>
                </a:lnTo>
                <a:lnTo>
                  <a:pt x="46" y="192"/>
                </a:lnTo>
                <a:lnTo>
                  <a:pt x="46" y="191"/>
                </a:lnTo>
                <a:lnTo>
                  <a:pt x="45" y="191"/>
                </a:lnTo>
                <a:lnTo>
                  <a:pt x="45" y="190"/>
                </a:lnTo>
                <a:lnTo>
                  <a:pt x="46" y="190"/>
                </a:lnTo>
                <a:lnTo>
                  <a:pt x="44" y="187"/>
                </a:lnTo>
                <a:lnTo>
                  <a:pt x="45" y="186"/>
                </a:lnTo>
                <a:lnTo>
                  <a:pt x="47" y="186"/>
                </a:lnTo>
                <a:lnTo>
                  <a:pt x="49" y="185"/>
                </a:lnTo>
                <a:lnTo>
                  <a:pt x="49" y="186"/>
                </a:lnTo>
                <a:lnTo>
                  <a:pt x="52" y="186"/>
                </a:lnTo>
                <a:lnTo>
                  <a:pt x="52" y="185"/>
                </a:lnTo>
                <a:lnTo>
                  <a:pt x="53" y="185"/>
                </a:lnTo>
                <a:lnTo>
                  <a:pt x="53" y="184"/>
                </a:lnTo>
                <a:lnTo>
                  <a:pt x="52" y="183"/>
                </a:lnTo>
                <a:lnTo>
                  <a:pt x="52" y="181"/>
                </a:lnTo>
                <a:lnTo>
                  <a:pt x="53" y="181"/>
                </a:lnTo>
                <a:lnTo>
                  <a:pt x="53" y="183"/>
                </a:lnTo>
                <a:lnTo>
                  <a:pt x="55" y="183"/>
                </a:lnTo>
                <a:lnTo>
                  <a:pt x="55" y="180"/>
                </a:lnTo>
                <a:lnTo>
                  <a:pt x="56" y="180"/>
                </a:lnTo>
                <a:lnTo>
                  <a:pt x="56" y="179"/>
                </a:lnTo>
                <a:lnTo>
                  <a:pt x="58" y="179"/>
                </a:lnTo>
                <a:lnTo>
                  <a:pt x="58" y="175"/>
                </a:lnTo>
                <a:lnTo>
                  <a:pt x="57" y="175"/>
                </a:lnTo>
                <a:lnTo>
                  <a:pt x="57" y="177"/>
                </a:lnTo>
                <a:lnTo>
                  <a:pt x="55" y="177"/>
                </a:lnTo>
                <a:lnTo>
                  <a:pt x="55" y="175"/>
                </a:lnTo>
                <a:lnTo>
                  <a:pt x="52" y="175"/>
                </a:lnTo>
                <a:lnTo>
                  <a:pt x="51" y="177"/>
                </a:lnTo>
                <a:lnTo>
                  <a:pt x="50" y="177"/>
                </a:lnTo>
                <a:lnTo>
                  <a:pt x="50" y="175"/>
                </a:lnTo>
                <a:lnTo>
                  <a:pt x="49" y="175"/>
                </a:lnTo>
                <a:lnTo>
                  <a:pt x="47" y="174"/>
                </a:lnTo>
                <a:lnTo>
                  <a:pt x="47" y="172"/>
                </a:lnTo>
                <a:lnTo>
                  <a:pt x="49" y="171"/>
                </a:lnTo>
                <a:lnTo>
                  <a:pt x="47" y="171"/>
                </a:lnTo>
                <a:lnTo>
                  <a:pt x="50" y="168"/>
                </a:lnTo>
                <a:lnTo>
                  <a:pt x="51" y="168"/>
                </a:lnTo>
                <a:lnTo>
                  <a:pt x="51" y="167"/>
                </a:lnTo>
                <a:lnTo>
                  <a:pt x="50" y="166"/>
                </a:lnTo>
                <a:lnTo>
                  <a:pt x="49" y="163"/>
                </a:lnTo>
                <a:lnTo>
                  <a:pt x="46" y="162"/>
                </a:lnTo>
                <a:lnTo>
                  <a:pt x="45" y="162"/>
                </a:lnTo>
                <a:lnTo>
                  <a:pt x="45" y="159"/>
                </a:lnTo>
                <a:lnTo>
                  <a:pt x="44" y="157"/>
                </a:lnTo>
                <a:lnTo>
                  <a:pt x="39" y="157"/>
                </a:lnTo>
                <a:lnTo>
                  <a:pt x="40" y="156"/>
                </a:lnTo>
                <a:lnTo>
                  <a:pt x="41" y="156"/>
                </a:lnTo>
                <a:lnTo>
                  <a:pt x="44" y="154"/>
                </a:lnTo>
                <a:lnTo>
                  <a:pt x="49" y="150"/>
                </a:lnTo>
                <a:lnTo>
                  <a:pt x="47" y="150"/>
                </a:lnTo>
                <a:lnTo>
                  <a:pt x="47" y="148"/>
                </a:lnTo>
                <a:lnTo>
                  <a:pt x="50" y="148"/>
                </a:lnTo>
                <a:lnTo>
                  <a:pt x="50" y="147"/>
                </a:lnTo>
                <a:lnTo>
                  <a:pt x="51" y="147"/>
                </a:lnTo>
                <a:lnTo>
                  <a:pt x="53" y="146"/>
                </a:lnTo>
                <a:lnTo>
                  <a:pt x="53" y="141"/>
                </a:lnTo>
                <a:lnTo>
                  <a:pt x="52" y="141"/>
                </a:lnTo>
                <a:lnTo>
                  <a:pt x="51" y="140"/>
                </a:lnTo>
                <a:lnTo>
                  <a:pt x="51" y="141"/>
                </a:lnTo>
                <a:lnTo>
                  <a:pt x="50" y="141"/>
                </a:lnTo>
                <a:lnTo>
                  <a:pt x="49" y="142"/>
                </a:lnTo>
                <a:lnTo>
                  <a:pt x="47" y="141"/>
                </a:lnTo>
                <a:lnTo>
                  <a:pt x="41" y="142"/>
                </a:lnTo>
                <a:lnTo>
                  <a:pt x="33" y="143"/>
                </a:lnTo>
                <a:lnTo>
                  <a:pt x="32" y="144"/>
                </a:lnTo>
                <a:lnTo>
                  <a:pt x="31" y="144"/>
                </a:lnTo>
                <a:lnTo>
                  <a:pt x="30" y="146"/>
                </a:lnTo>
                <a:lnTo>
                  <a:pt x="25" y="146"/>
                </a:lnTo>
                <a:lnTo>
                  <a:pt x="25" y="147"/>
                </a:lnTo>
                <a:lnTo>
                  <a:pt x="16" y="147"/>
                </a:lnTo>
                <a:lnTo>
                  <a:pt x="16" y="146"/>
                </a:lnTo>
                <a:lnTo>
                  <a:pt x="18" y="142"/>
                </a:lnTo>
                <a:lnTo>
                  <a:pt x="19" y="140"/>
                </a:lnTo>
                <a:lnTo>
                  <a:pt x="20" y="138"/>
                </a:lnTo>
                <a:lnTo>
                  <a:pt x="20" y="137"/>
                </a:lnTo>
                <a:lnTo>
                  <a:pt x="21" y="134"/>
                </a:lnTo>
                <a:lnTo>
                  <a:pt x="20" y="134"/>
                </a:lnTo>
                <a:lnTo>
                  <a:pt x="20" y="120"/>
                </a:lnTo>
                <a:lnTo>
                  <a:pt x="21" y="119"/>
                </a:lnTo>
                <a:lnTo>
                  <a:pt x="22" y="117"/>
                </a:lnTo>
                <a:lnTo>
                  <a:pt x="25" y="118"/>
                </a:lnTo>
                <a:lnTo>
                  <a:pt x="25" y="117"/>
                </a:lnTo>
                <a:lnTo>
                  <a:pt x="27" y="117"/>
                </a:lnTo>
                <a:lnTo>
                  <a:pt x="28" y="114"/>
                </a:lnTo>
                <a:lnTo>
                  <a:pt x="30" y="113"/>
                </a:lnTo>
                <a:lnTo>
                  <a:pt x="30" y="112"/>
                </a:lnTo>
                <a:lnTo>
                  <a:pt x="31" y="112"/>
                </a:lnTo>
                <a:lnTo>
                  <a:pt x="31" y="106"/>
                </a:lnTo>
                <a:lnTo>
                  <a:pt x="36" y="106"/>
                </a:lnTo>
                <a:lnTo>
                  <a:pt x="36" y="105"/>
                </a:lnTo>
                <a:lnTo>
                  <a:pt x="39" y="101"/>
                </a:lnTo>
                <a:lnTo>
                  <a:pt x="44" y="95"/>
                </a:lnTo>
                <a:lnTo>
                  <a:pt x="58" y="95"/>
                </a:lnTo>
                <a:lnTo>
                  <a:pt x="59" y="93"/>
                </a:lnTo>
                <a:lnTo>
                  <a:pt x="61" y="93"/>
                </a:lnTo>
                <a:lnTo>
                  <a:pt x="62" y="92"/>
                </a:lnTo>
                <a:lnTo>
                  <a:pt x="64" y="93"/>
                </a:lnTo>
                <a:lnTo>
                  <a:pt x="67" y="93"/>
                </a:lnTo>
                <a:lnTo>
                  <a:pt x="68" y="92"/>
                </a:lnTo>
                <a:lnTo>
                  <a:pt x="69" y="92"/>
                </a:lnTo>
                <a:lnTo>
                  <a:pt x="69" y="93"/>
                </a:lnTo>
                <a:lnTo>
                  <a:pt x="70" y="94"/>
                </a:lnTo>
                <a:lnTo>
                  <a:pt x="69" y="95"/>
                </a:lnTo>
                <a:lnTo>
                  <a:pt x="72" y="99"/>
                </a:lnTo>
                <a:lnTo>
                  <a:pt x="75" y="100"/>
                </a:lnTo>
                <a:lnTo>
                  <a:pt x="80" y="100"/>
                </a:lnTo>
                <a:lnTo>
                  <a:pt x="81" y="99"/>
                </a:lnTo>
                <a:lnTo>
                  <a:pt x="83" y="99"/>
                </a:lnTo>
                <a:lnTo>
                  <a:pt x="84" y="100"/>
                </a:lnTo>
                <a:lnTo>
                  <a:pt x="86" y="100"/>
                </a:lnTo>
                <a:lnTo>
                  <a:pt x="86" y="99"/>
                </a:lnTo>
                <a:lnTo>
                  <a:pt x="87" y="100"/>
                </a:lnTo>
                <a:lnTo>
                  <a:pt x="89" y="100"/>
                </a:lnTo>
                <a:lnTo>
                  <a:pt x="90" y="98"/>
                </a:lnTo>
                <a:lnTo>
                  <a:pt x="93" y="97"/>
                </a:lnTo>
                <a:lnTo>
                  <a:pt x="90" y="95"/>
                </a:lnTo>
                <a:lnTo>
                  <a:pt x="89" y="95"/>
                </a:lnTo>
                <a:lnTo>
                  <a:pt x="89" y="94"/>
                </a:lnTo>
                <a:lnTo>
                  <a:pt x="88" y="94"/>
                </a:lnTo>
                <a:lnTo>
                  <a:pt x="88" y="92"/>
                </a:lnTo>
                <a:lnTo>
                  <a:pt x="87" y="92"/>
                </a:lnTo>
                <a:lnTo>
                  <a:pt x="84" y="89"/>
                </a:lnTo>
                <a:lnTo>
                  <a:pt x="86" y="89"/>
                </a:lnTo>
                <a:lnTo>
                  <a:pt x="87" y="88"/>
                </a:lnTo>
                <a:lnTo>
                  <a:pt x="90" y="88"/>
                </a:lnTo>
                <a:lnTo>
                  <a:pt x="98" y="89"/>
                </a:lnTo>
                <a:lnTo>
                  <a:pt x="100" y="92"/>
                </a:lnTo>
                <a:lnTo>
                  <a:pt x="99" y="93"/>
                </a:lnTo>
                <a:lnTo>
                  <a:pt x="95" y="94"/>
                </a:lnTo>
                <a:lnTo>
                  <a:pt x="94" y="95"/>
                </a:lnTo>
                <a:lnTo>
                  <a:pt x="94" y="97"/>
                </a:lnTo>
                <a:lnTo>
                  <a:pt x="96" y="98"/>
                </a:lnTo>
                <a:lnTo>
                  <a:pt x="103" y="95"/>
                </a:lnTo>
                <a:lnTo>
                  <a:pt x="118" y="95"/>
                </a:lnTo>
                <a:lnTo>
                  <a:pt x="118" y="97"/>
                </a:lnTo>
                <a:lnTo>
                  <a:pt x="119" y="95"/>
                </a:lnTo>
                <a:lnTo>
                  <a:pt x="121" y="95"/>
                </a:lnTo>
                <a:lnTo>
                  <a:pt x="124" y="97"/>
                </a:lnTo>
                <a:lnTo>
                  <a:pt x="125" y="98"/>
                </a:lnTo>
                <a:lnTo>
                  <a:pt x="125" y="97"/>
                </a:lnTo>
                <a:lnTo>
                  <a:pt x="130" y="97"/>
                </a:lnTo>
                <a:lnTo>
                  <a:pt x="130" y="95"/>
                </a:lnTo>
                <a:lnTo>
                  <a:pt x="134" y="95"/>
                </a:lnTo>
                <a:lnTo>
                  <a:pt x="136" y="97"/>
                </a:lnTo>
                <a:lnTo>
                  <a:pt x="137" y="97"/>
                </a:lnTo>
                <a:lnTo>
                  <a:pt x="138" y="98"/>
                </a:lnTo>
                <a:lnTo>
                  <a:pt x="142" y="98"/>
                </a:lnTo>
                <a:lnTo>
                  <a:pt x="144" y="95"/>
                </a:lnTo>
                <a:lnTo>
                  <a:pt x="144" y="94"/>
                </a:lnTo>
                <a:lnTo>
                  <a:pt x="146" y="94"/>
                </a:lnTo>
                <a:lnTo>
                  <a:pt x="146" y="93"/>
                </a:lnTo>
                <a:lnTo>
                  <a:pt x="144" y="91"/>
                </a:lnTo>
                <a:lnTo>
                  <a:pt x="140" y="91"/>
                </a:lnTo>
                <a:lnTo>
                  <a:pt x="139" y="92"/>
                </a:lnTo>
                <a:lnTo>
                  <a:pt x="137" y="92"/>
                </a:lnTo>
                <a:lnTo>
                  <a:pt x="133" y="89"/>
                </a:lnTo>
                <a:lnTo>
                  <a:pt x="131" y="88"/>
                </a:lnTo>
                <a:lnTo>
                  <a:pt x="133" y="86"/>
                </a:lnTo>
                <a:lnTo>
                  <a:pt x="136" y="85"/>
                </a:lnTo>
                <a:lnTo>
                  <a:pt x="137" y="83"/>
                </a:lnTo>
                <a:lnTo>
                  <a:pt x="139" y="82"/>
                </a:lnTo>
                <a:lnTo>
                  <a:pt x="140" y="82"/>
                </a:lnTo>
                <a:lnTo>
                  <a:pt x="152" y="81"/>
                </a:lnTo>
                <a:lnTo>
                  <a:pt x="154" y="80"/>
                </a:lnTo>
                <a:lnTo>
                  <a:pt x="156" y="79"/>
                </a:lnTo>
                <a:lnTo>
                  <a:pt x="157" y="79"/>
                </a:lnTo>
                <a:lnTo>
                  <a:pt x="158" y="80"/>
                </a:lnTo>
                <a:lnTo>
                  <a:pt x="158" y="79"/>
                </a:lnTo>
                <a:lnTo>
                  <a:pt x="159" y="79"/>
                </a:lnTo>
                <a:lnTo>
                  <a:pt x="161" y="77"/>
                </a:lnTo>
                <a:lnTo>
                  <a:pt x="163" y="77"/>
                </a:lnTo>
                <a:lnTo>
                  <a:pt x="163" y="79"/>
                </a:lnTo>
                <a:lnTo>
                  <a:pt x="164" y="79"/>
                </a:lnTo>
                <a:lnTo>
                  <a:pt x="173" y="77"/>
                </a:lnTo>
                <a:lnTo>
                  <a:pt x="180" y="77"/>
                </a:lnTo>
                <a:lnTo>
                  <a:pt x="180" y="75"/>
                </a:lnTo>
                <a:lnTo>
                  <a:pt x="175" y="75"/>
                </a:lnTo>
                <a:lnTo>
                  <a:pt x="174" y="76"/>
                </a:lnTo>
                <a:lnTo>
                  <a:pt x="173" y="76"/>
                </a:lnTo>
                <a:lnTo>
                  <a:pt x="171" y="75"/>
                </a:lnTo>
                <a:lnTo>
                  <a:pt x="169" y="74"/>
                </a:lnTo>
                <a:lnTo>
                  <a:pt x="158" y="74"/>
                </a:lnTo>
                <a:lnTo>
                  <a:pt x="158" y="75"/>
                </a:lnTo>
                <a:lnTo>
                  <a:pt x="155" y="75"/>
                </a:lnTo>
                <a:lnTo>
                  <a:pt x="155" y="71"/>
                </a:lnTo>
                <a:lnTo>
                  <a:pt x="154" y="71"/>
                </a:lnTo>
                <a:lnTo>
                  <a:pt x="152" y="73"/>
                </a:lnTo>
                <a:lnTo>
                  <a:pt x="151" y="73"/>
                </a:lnTo>
                <a:lnTo>
                  <a:pt x="152" y="71"/>
                </a:lnTo>
                <a:lnTo>
                  <a:pt x="152" y="70"/>
                </a:lnTo>
                <a:lnTo>
                  <a:pt x="151" y="69"/>
                </a:lnTo>
                <a:lnTo>
                  <a:pt x="150" y="69"/>
                </a:lnTo>
                <a:lnTo>
                  <a:pt x="149" y="68"/>
                </a:lnTo>
                <a:lnTo>
                  <a:pt x="146" y="67"/>
                </a:lnTo>
                <a:lnTo>
                  <a:pt x="144" y="64"/>
                </a:lnTo>
                <a:lnTo>
                  <a:pt x="142" y="63"/>
                </a:lnTo>
                <a:lnTo>
                  <a:pt x="142" y="61"/>
                </a:lnTo>
                <a:lnTo>
                  <a:pt x="140" y="61"/>
                </a:lnTo>
                <a:lnTo>
                  <a:pt x="142" y="60"/>
                </a:lnTo>
                <a:lnTo>
                  <a:pt x="140" y="60"/>
                </a:lnTo>
                <a:lnTo>
                  <a:pt x="140" y="62"/>
                </a:lnTo>
                <a:lnTo>
                  <a:pt x="137" y="62"/>
                </a:lnTo>
                <a:lnTo>
                  <a:pt x="136" y="63"/>
                </a:lnTo>
                <a:lnTo>
                  <a:pt x="134" y="63"/>
                </a:lnTo>
                <a:lnTo>
                  <a:pt x="133" y="64"/>
                </a:lnTo>
                <a:lnTo>
                  <a:pt x="131" y="64"/>
                </a:lnTo>
                <a:lnTo>
                  <a:pt x="131" y="63"/>
                </a:lnTo>
                <a:lnTo>
                  <a:pt x="130" y="63"/>
                </a:lnTo>
                <a:lnTo>
                  <a:pt x="125" y="64"/>
                </a:lnTo>
                <a:lnTo>
                  <a:pt x="124" y="63"/>
                </a:lnTo>
                <a:lnTo>
                  <a:pt x="124" y="61"/>
                </a:lnTo>
                <a:lnTo>
                  <a:pt x="121" y="61"/>
                </a:lnTo>
                <a:lnTo>
                  <a:pt x="121" y="63"/>
                </a:lnTo>
                <a:lnTo>
                  <a:pt x="120" y="62"/>
                </a:lnTo>
                <a:lnTo>
                  <a:pt x="118" y="61"/>
                </a:lnTo>
                <a:lnTo>
                  <a:pt x="117" y="60"/>
                </a:lnTo>
                <a:lnTo>
                  <a:pt x="115" y="60"/>
                </a:lnTo>
                <a:lnTo>
                  <a:pt x="112" y="58"/>
                </a:lnTo>
                <a:lnTo>
                  <a:pt x="109" y="58"/>
                </a:lnTo>
                <a:lnTo>
                  <a:pt x="108" y="57"/>
                </a:lnTo>
                <a:lnTo>
                  <a:pt x="105" y="57"/>
                </a:lnTo>
                <a:lnTo>
                  <a:pt x="103" y="58"/>
                </a:lnTo>
                <a:lnTo>
                  <a:pt x="102" y="58"/>
                </a:lnTo>
                <a:lnTo>
                  <a:pt x="100" y="60"/>
                </a:lnTo>
                <a:lnTo>
                  <a:pt x="99" y="60"/>
                </a:lnTo>
                <a:lnTo>
                  <a:pt x="99" y="61"/>
                </a:lnTo>
                <a:lnTo>
                  <a:pt x="98" y="61"/>
                </a:lnTo>
                <a:lnTo>
                  <a:pt x="96" y="62"/>
                </a:lnTo>
                <a:lnTo>
                  <a:pt x="96" y="63"/>
                </a:lnTo>
                <a:lnTo>
                  <a:pt x="92" y="63"/>
                </a:lnTo>
                <a:lnTo>
                  <a:pt x="92" y="62"/>
                </a:lnTo>
                <a:lnTo>
                  <a:pt x="89" y="62"/>
                </a:lnTo>
                <a:lnTo>
                  <a:pt x="87" y="61"/>
                </a:lnTo>
                <a:lnTo>
                  <a:pt x="78" y="63"/>
                </a:lnTo>
                <a:lnTo>
                  <a:pt x="77" y="63"/>
                </a:lnTo>
                <a:lnTo>
                  <a:pt x="76" y="66"/>
                </a:lnTo>
                <a:lnTo>
                  <a:pt x="75" y="70"/>
                </a:lnTo>
                <a:lnTo>
                  <a:pt x="70" y="75"/>
                </a:lnTo>
                <a:lnTo>
                  <a:pt x="68" y="79"/>
                </a:lnTo>
                <a:lnTo>
                  <a:pt x="64" y="81"/>
                </a:lnTo>
                <a:lnTo>
                  <a:pt x="64" y="82"/>
                </a:lnTo>
                <a:lnTo>
                  <a:pt x="62" y="82"/>
                </a:lnTo>
                <a:lnTo>
                  <a:pt x="61" y="83"/>
                </a:lnTo>
                <a:lnTo>
                  <a:pt x="58" y="83"/>
                </a:lnTo>
                <a:lnTo>
                  <a:pt x="56" y="86"/>
                </a:lnTo>
                <a:lnTo>
                  <a:pt x="55" y="86"/>
                </a:lnTo>
                <a:lnTo>
                  <a:pt x="53" y="87"/>
                </a:lnTo>
                <a:lnTo>
                  <a:pt x="52" y="87"/>
                </a:lnTo>
                <a:lnTo>
                  <a:pt x="50" y="88"/>
                </a:lnTo>
                <a:lnTo>
                  <a:pt x="50" y="89"/>
                </a:lnTo>
                <a:lnTo>
                  <a:pt x="46" y="89"/>
                </a:lnTo>
                <a:lnTo>
                  <a:pt x="44" y="92"/>
                </a:lnTo>
                <a:lnTo>
                  <a:pt x="43" y="92"/>
                </a:lnTo>
                <a:lnTo>
                  <a:pt x="43" y="94"/>
                </a:lnTo>
                <a:lnTo>
                  <a:pt x="41" y="94"/>
                </a:lnTo>
                <a:lnTo>
                  <a:pt x="40" y="95"/>
                </a:lnTo>
                <a:lnTo>
                  <a:pt x="40" y="98"/>
                </a:lnTo>
                <a:lnTo>
                  <a:pt x="39" y="98"/>
                </a:lnTo>
                <a:lnTo>
                  <a:pt x="36" y="101"/>
                </a:lnTo>
                <a:lnTo>
                  <a:pt x="34" y="101"/>
                </a:lnTo>
                <a:lnTo>
                  <a:pt x="34" y="103"/>
                </a:lnTo>
                <a:lnTo>
                  <a:pt x="32" y="105"/>
                </a:lnTo>
                <a:lnTo>
                  <a:pt x="31" y="105"/>
                </a:lnTo>
                <a:lnTo>
                  <a:pt x="30" y="106"/>
                </a:lnTo>
                <a:lnTo>
                  <a:pt x="28" y="106"/>
                </a:lnTo>
                <a:lnTo>
                  <a:pt x="28" y="107"/>
                </a:lnTo>
                <a:lnTo>
                  <a:pt x="30" y="109"/>
                </a:lnTo>
                <a:lnTo>
                  <a:pt x="26" y="112"/>
                </a:lnTo>
                <a:lnTo>
                  <a:pt x="21" y="114"/>
                </a:lnTo>
                <a:lnTo>
                  <a:pt x="20" y="114"/>
                </a:lnTo>
                <a:lnTo>
                  <a:pt x="22" y="112"/>
                </a:lnTo>
                <a:lnTo>
                  <a:pt x="22" y="110"/>
                </a:lnTo>
                <a:lnTo>
                  <a:pt x="25" y="106"/>
                </a:lnTo>
                <a:lnTo>
                  <a:pt x="25" y="103"/>
                </a:lnTo>
                <a:lnTo>
                  <a:pt x="24" y="101"/>
                </a:lnTo>
                <a:lnTo>
                  <a:pt x="24" y="100"/>
                </a:lnTo>
                <a:lnTo>
                  <a:pt x="22" y="100"/>
                </a:lnTo>
                <a:lnTo>
                  <a:pt x="25" y="98"/>
                </a:lnTo>
                <a:lnTo>
                  <a:pt x="27" y="98"/>
                </a:lnTo>
                <a:lnTo>
                  <a:pt x="32" y="93"/>
                </a:lnTo>
                <a:lnTo>
                  <a:pt x="37" y="91"/>
                </a:lnTo>
                <a:lnTo>
                  <a:pt x="38" y="89"/>
                </a:lnTo>
                <a:lnTo>
                  <a:pt x="43" y="89"/>
                </a:lnTo>
                <a:lnTo>
                  <a:pt x="44" y="88"/>
                </a:lnTo>
                <a:lnTo>
                  <a:pt x="44" y="87"/>
                </a:lnTo>
                <a:lnTo>
                  <a:pt x="45" y="86"/>
                </a:lnTo>
                <a:lnTo>
                  <a:pt x="46" y="87"/>
                </a:lnTo>
                <a:lnTo>
                  <a:pt x="47" y="86"/>
                </a:lnTo>
                <a:lnTo>
                  <a:pt x="49" y="86"/>
                </a:lnTo>
                <a:lnTo>
                  <a:pt x="49" y="85"/>
                </a:lnTo>
                <a:lnTo>
                  <a:pt x="47" y="81"/>
                </a:lnTo>
                <a:lnTo>
                  <a:pt x="44" y="81"/>
                </a:lnTo>
                <a:lnTo>
                  <a:pt x="43" y="82"/>
                </a:lnTo>
                <a:lnTo>
                  <a:pt x="38" y="82"/>
                </a:lnTo>
                <a:lnTo>
                  <a:pt x="36" y="85"/>
                </a:lnTo>
                <a:lnTo>
                  <a:pt x="34" y="83"/>
                </a:lnTo>
                <a:lnTo>
                  <a:pt x="28" y="83"/>
                </a:lnTo>
                <a:lnTo>
                  <a:pt x="27" y="85"/>
                </a:lnTo>
                <a:lnTo>
                  <a:pt x="19" y="85"/>
                </a:lnTo>
                <a:lnTo>
                  <a:pt x="16" y="82"/>
                </a:lnTo>
                <a:lnTo>
                  <a:pt x="16" y="77"/>
                </a:lnTo>
                <a:lnTo>
                  <a:pt x="15" y="76"/>
                </a:lnTo>
                <a:lnTo>
                  <a:pt x="19" y="76"/>
                </a:lnTo>
                <a:lnTo>
                  <a:pt x="20" y="75"/>
                </a:lnTo>
                <a:lnTo>
                  <a:pt x="20" y="73"/>
                </a:lnTo>
                <a:lnTo>
                  <a:pt x="22" y="70"/>
                </a:lnTo>
                <a:lnTo>
                  <a:pt x="22" y="69"/>
                </a:lnTo>
                <a:lnTo>
                  <a:pt x="24" y="69"/>
                </a:lnTo>
                <a:lnTo>
                  <a:pt x="24" y="68"/>
                </a:lnTo>
                <a:lnTo>
                  <a:pt x="25" y="68"/>
                </a:lnTo>
                <a:lnTo>
                  <a:pt x="25" y="67"/>
                </a:lnTo>
                <a:lnTo>
                  <a:pt x="26" y="67"/>
                </a:lnTo>
                <a:lnTo>
                  <a:pt x="26" y="66"/>
                </a:lnTo>
                <a:lnTo>
                  <a:pt x="28" y="66"/>
                </a:lnTo>
                <a:lnTo>
                  <a:pt x="28" y="62"/>
                </a:lnTo>
                <a:lnTo>
                  <a:pt x="30" y="62"/>
                </a:lnTo>
                <a:lnTo>
                  <a:pt x="30" y="61"/>
                </a:lnTo>
                <a:lnTo>
                  <a:pt x="27" y="58"/>
                </a:lnTo>
                <a:lnTo>
                  <a:pt x="27" y="57"/>
                </a:lnTo>
                <a:lnTo>
                  <a:pt x="28" y="56"/>
                </a:lnTo>
                <a:lnTo>
                  <a:pt x="28" y="55"/>
                </a:lnTo>
                <a:lnTo>
                  <a:pt x="27" y="55"/>
                </a:lnTo>
                <a:lnTo>
                  <a:pt x="28" y="54"/>
                </a:lnTo>
                <a:lnTo>
                  <a:pt x="27" y="52"/>
                </a:lnTo>
                <a:lnTo>
                  <a:pt x="27" y="50"/>
                </a:lnTo>
                <a:lnTo>
                  <a:pt x="28" y="49"/>
                </a:lnTo>
                <a:lnTo>
                  <a:pt x="27" y="49"/>
                </a:lnTo>
                <a:lnTo>
                  <a:pt x="28" y="48"/>
                </a:lnTo>
                <a:lnTo>
                  <a:pt x="31" y="48"/>
                </a:lnTo>
                <a:lnTo>
                  <a:pt x="33" y="45"/>
                </a:lnTo>
                <a:lnTo>
                  <a:pt x="34" y="45"/>
                </a:lnTo>
                <a:lnTo>
                  <a:pt x="34" y="44"/>
                </a:lnTo>
                <a:lnTo>
                  <a:pt x="37" y="43"/>
                </a:lnTo>
                <a:lnTo>
                  <a:pt x="38" y="43"/>
                </a:lnTo>
                <a:lnTo>
                  <a:pt x="39" y="44"/>
                </a:lnTo>
                <a:lnTo>
                  <a:pt x="40" y="43"/>
                </a:lnTo>
                <a:lnTo>
                  <a:pt x="40" y="36"/>
                </a:lnTo>
                <a:lnTo>
                  <a:pt x="39" y="33"/>
                </a:lnTo>
                <a:lnTo>
                  <a:pt x="39" y="27"/>
                </a:lnTo>
                <a:lnTo>
                  <a:pt x="38" y="28"/>
                </a:lnTo>
                <a:lnTo>
                  <a:pt x="33" y="26"/>
                </a:lnTo>
                <a:lnTo>
                  <a:pt x="34" y="25"/>
                </a:lnTo>
                <a:lnTo>
                  <a:pt x="34" y="24"/>
                </a:lnTo>
                <a:lnTo>
                  <a:pt x="31" y="24"/>
                </a:lnTo>
                <a:lnTo>
                  <a:pt x="30" y="23"/>
                </a:lnTo>
                <a:lnTo>
                  <a:pt x="30" y="21"/>
                </a:lnTo>
                <a:lnTo>
                  <a:pt x="28" y="23"/>
                </a:lnTo>
                <a:lnTo>
                  <a:pt x="27" y="21"/>
                </a:lnTo>
                <a:lnTo>
                  <a:pt x="27" y="19"/>
                </a:lnTo>
                <a:lnTo>
                  <a:pt x="30" y="17"/>
                </a:lnTo>
                <a:lnTo>
                  <a:pt x="34" y="17"/>
                </a:lnTo>
                <a:lnTo>
                  <a:pt x="36" y="15"/>
                </a:lnTo>
                <a:lnTo>
                  <a:pt x="37" y="15"/>
                </a:lnTo>
                <a:lnTo>
                  <a:pt x="37" y="12"/>
                </a:lnTo>
                <a:lnTo>
                  <a:pt x="38" y="12"/>
                </a:lnTo>
                <a:lnTo>
                  <a:pt x="38" y="11"/>
                </a:lnTo>
                <a:lnTo>
                  <a:pt x="37" y="11"/>
                </a:lnTo>
                <a:lnTo>
                  <a:pt x="37" y="9"/>
                </a:lnTo>
                <a:lnTo>
                  <a:pt x="38" y="9"/>
                </a:lnTo>
                <a:lnTo>
                  <a:pt x="40" y="7"/>
                </a:lnTo>
                <a:lnTo>
                  <a:pt x="44" y="8"/>
                </a:lnTo>
                <a:lnTo>
                  <a:pt x="45" y="8"/>
                </a:lnTo>
                <a:lnTo>
                  <a:pt x="46" y="7"/>
                </a:lnTo>
                <a:lnTo>
                  <a:pt x="47" y="7"/>
                </a:lnTo>
                <a:lnTo>
                  <a:pt x="49" y="8"/>
                </a:lnTo>
                <a:lnTo>
                  <a:pt x="49" y="7"/>
                </a:lnTo>
                <a:lnTo>
                  <a:pt x="51" y="7"/>
                </a:lnTo>
                <a:lnTo>
                  <a:pt x="52" y="6"/>
                </a:lnTo>
                <a:lnTo>
                  <a:pt x="53" y="6"/>
                </a:lnTo>
                <a:lnTo>
                  <a:pt x="56" y="3"/>
                </a:lnTo>
                <a:lnTo>
                  <a:pt x="57" y="1"/>
                </a:lnTo>
                <a:lnTo>
                  <a:pt x="59" y="1"/>
                </a:lnTo>
                <a:lnTo>
                  <a:pt x="61" y="2"/>
                </a:lnTo>
                <a:lnTo>
                  <a:pt x="64" y="2"/>
                </a:lnTo>
                <a:lnTo>
                  <a:pt x="64" y="1"/>
                </a:lnTo>
                <a:lnTo>
                  <a:pt x="65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" name="Freeform 8">
            <a:extLst>
              <a:ext uri="{FF2B5EF4-FFF2-40B4-BE49-F238E27FC236}">
                <a16:creationId xmlns:a16="http://schemas.microsoft.com/office/drawing/2014/main" id="{D7506962-311D-45BE-8EA7-A8D632B3773B}"/>
              </a:ext>
            </a:extLst>
          </p:cNvPr>
          <p:cNvSpPr>
            <a:spLocks noEditPoints="1"/>
          </p:cNvSpPr>
          <p:nvPr/>
        </p:nvSpPr>
        <p:spPr bwMode="auto">
          <a:xfrm>
            <a:off x="1515688" y="2247158"/>
            <a:ext cx="821549" cy="1514143"/>
          </a:xfrm>
          <a:custGeom>
            <a:avLst/>
            <a:gdLst/>
            <a:ahLst/>
            <a:cxnLst>
              <a:cxn ang="0">
                <a:pos x="35" y="1032"/>
              </a:cxn>
              <a:cxn ang="0">
                <a:pos x="23" y="1033"/>
              </a:cxn>
              <a:cxn ang="0">
                <a:pos x="25" y="986"/>
              </a:cxn>
              <a:cxn ang="0">
                <a:pos x="30" y="967"/>
              </a:cxn>
              <a:cxn ang="0">
                <a:pos x="35" y="967"/>
              </a:cxn>
              <a:cxn ang="0">
                <a:pos x="24" y="953"/>
              </a:cxn>
              <a:cxn ang="0">
                <a:pos x="16" y="919"/>
              </a:cxn>
              <a:cxn ang="0">
                <a:pos x="33" y="924"/>
              </a:cxn>
              <a:cxn ang="0">
                <a:pos x="4" y="878"/>
              </a:cxn>
              <a:cxn ang="0">
                <a:pos x="10" y="860"/>
              </a:cxn>
              <a:cxn ang="0">
                <a:pos x="45" y="764"/>
              </a:cxn>
              <a:cxn ang="0">
                <a:pos x="38" y="758"/>
              </a:cxn>
              <a:cxn ang="0">
                <a:pos x="66" y="749"/>
              </a:cxn>
              <a:cxn ang="0">
                <a:pos x="89" y="713"/>
              </a:cxn>
              <a:cxn ang="0">
                <a:pos x="116" y="699"/>
              </a:cxn>
              <a:cxn ang="0">
                <a:pos x="150" y="683"/>
              </a:cxn>
              <a:cxn ang="0">
                <a:pos x="147" y="658"/>
              </a:cxn>
              <a:cxn ang="0">
                <a:pos x="191" y="645"/>
              </a:cxn>
              <a:cxn ang="0">
                <a:pos x="188" y="636"/>
              </a:cxn>
              <a:cxn ang="0">
                <a:pos x="173" y="625"/>
              </a:cxn>
              <a:cxn ang="0">
                <a:pos x="286" y="551"/>
              </a:cxn>
              <a:cxn ang="0">
                <a:pos x="275" y="512"/>
              </a:cxn>
              <a:cxn ang="0">
                <a:pos x="259" y="513"/>
              </a:cxn>
              <a:cxn ang="0">
                <a:pos x="319" y="494"/>
              </a:cxn>
              <a:cxn ang="0">
                <a:pos x="327" y="454"/>
              </a:cxn>
              <a:cxn ang="0">
                <a:pos x="318" y="470"/>
              </a:cxn>
              <a:cxn ang="0">
                <a:pos x="304" y="443"/>
              </a:cxn>
              <a:cxn ang="0">
                <a:pos x="347" y="400"/>
              </a:cxn>
              <a:cxn ang="0">
                <a:pos x="330" y="392"/>
              </a:cxn>
              <a:cxn ang="0">
                <a:pos x="348" y="362"/>
              </a:cxn>
              <a:cxn ang="0">
                <a:pos x="397" y="285"/>
              </a:cxn>
              <a:cxn ang="0">
                <a:pos x="431" y="245"/>
              </a:cxn>
              <a:cxn ang="0">
                <a:pos x="435" y="193"/>
              </a:cxn>
              <a:cxn ang="0">
                <a:pos x="448" y="191"/>
              </a:cxn>
              <a:cxn ang="0">
                <a:pos x="353" y="200"/>
              </a:cxn>
              <a:cxn ang="0">
                <a:pos x="362" y="189"/>
              </a:cxn>
              <a:cxn ang="0">
                <a:pos x="397" y="153"/>
              </a:cxn>
              <a:cxn ang="0">
                <a:pos x="381" y="176"/>
              </a:cxn>
              <a:cxn ang="0">
                <a:pos x="381" y="154"/>
              </a:cxn>
              <a:cxn ang="0">
                <a:pos x="423" y="159"/>
              </a:cxn>
              <a:cxn ang="0">
                <a:pos x="415" y="150"/>
              </a:cxn>
              <a:cxn ang="0">
                <a:pos x="497" y="129"/>
              </a:cxn>
              <a:cxn ang="0">
                <a:pos x="424" y="132"/>
              </a:cxn>
              <a:cxn ang="0">
                <a:pos x="530" y="96"/>
              </a:cxn>
              <a:cxn ang="0">
                <a:pos x="474" y="99"/>
              </a:cxn>
              <a:cxn ang="0">
                <a:pos x="484" y="91"/>
              </a:cxn>
              <a:cxn ang="0">
                <a:pos x="501" y="122"/>
              </a:cxn>
              <a:cxn ang="0">
                <a:pos x="467" y="141"/>
              </a:cxn>
              <a:cxn ang="0">
                <a:pos x="445" y="147"/>
              </a:cxn>
              <a:cxn ang="0">
                <a:pos x="455" y="119"/>
              </a:cxn>
              <a:cxn ang="0">
                <a:pos x="462" y="92"/>
              </a:cxn>
              <a:cxn ang="0">
                <a:pos x="446" y="80"/>
              </a:cxn>
              <a:cxn ang="0">
                <a:pos x="429" y="117"/>
              </a:cxn>
              <a:cxn ang="0">
                <a:pos x="421" y="116"/>
              </a:cxn>
              <a:cxn ang="0">
                <a:pos x="423" y="93"/>
              </a:cxn>
              <a:cxn ang="0">
                <a:pos x="545" y="65"/>
              </a:cxn>
              <a:cxn ang="0">
                <a:pos x="460" y="73"/>
              </a:cxn>
              <a:cxn ang="0">
                <a:pos x="551" y="9"/>
              </a:cxn>
              <a:cxn ang="0">
                <a:pos x="564" y="23"/>
              </a:cxn>
              <a:cxn ang="0">
                <a:pos x="529" y="66"/>
              </a:cxn>
              <a:cxn ang="0">
                <a:pos x="517" y="46"/>
              </a:cxn>
              <a:cxn ang="0">
                <a:pos x="536" y="29"/>
              </a:cxn>
              <a:cxn ang="0">
                <a:pos x="546" y="13"/>
              </a:cxn>
            </a:cxnLst>
            <a:rect l="0" t="0" r="r" b="b"/>
            <a:pathLst>
              <a:path w="567" h="1045">
                <a:moveTo>
                  <a:pt x="268" y="1039"/>
                </a:moveTo>
                <a:lnTo>
                  <a:pt x="269" y="1039"/>
                </a:lnTo>
                <a:lnTo>
                  <a:pt x="269" y="1041"/>
                </a:lnTo>
                <a:lnTo>
                  <a:pt x="272" y="1041"/>
                </a:lnTo>
                <a:lnTo>
                  <a:pt x="272" y="1042"/>
                </a:lnTo>
                <a:lnTo>
                  <a:pt x="271" y="1043"/>
                </a:lnTo>
                <a:lnTo>
                  <a:pt x="271" y="1044"/>
                </a:lnTo>
                <a:lnTo>
                  <a:pt x="269" y="1045"/>
                </a:lnTo>
                <a:lnTo>
                  <a:pt x="268" y="1045"/>
                </a:lnTo>
                <a:lnTo>
                  <a:pt x="268" y="1039"/>
                </a:lnTo>
                <a:close/>
                <a:moveTo>
                  <a:pt x="262" y="1037"/>
                </a:moveTo>
                <a:lnTo>
                  <a:pt x="262" y="1038"/>
                </a:lnTo>
                <a:lnTo>
                  <a:pt x="263" y="1037"/>
                </a:lnTo>
                <a:lnTo>
                  <a:pt x="265" y="1037"/>
                </a:lnTo>
                <a:lnTo>
                  <a:pt x="265" y="1039"/>
                </a:lnTo>
                <a:lnTo>
                  <a:pt x="263" y="1041"/>
                </a:lnTo>
                <a:lnTo>
                  <a:pt x="261" y="1041"/>
                </a:lnTo>
                <a:lnTo>
                  <a:pt x="261" y="1038"/>
                </a:lnTo>
                <a:lnTo>
                  <a:pt x="262" y="1037"/>
                </a:lnTo>
                <a:close/>
                <a:moveTo>
                  <a:pt x="39" y="1036"/>
                </a:moveTo>
                <a:lnTo>
                  <a:pt x="42" y="1036"/>
                </a:lnTo>
                <a:lnTo>
                  <a:pt x="43" y="1037"/>
                </a:lnTo>
                <a:lnTo>
                  <a:pt x="48" y="1037"/>
                </a:lnTo>
                <a:lnTo>
                  <a:pt x="48" y="1041"/>
                </a:lnTo>
                <a:lnTo>
                  <a:pt x="47" y="1041"/>
                </a:lnTo>
                <a:lnTo>
                  <a:pt x="43" y="1038"/>
                </a:lnTo>
                <a:lnTo>
                  <a:pt x="41" y="1037"/>
                </a:lnTo>
                <a:lnTo>
                  <a:pt x="39" y="1037"/>
                </a:lnTo>
                <a:lnTo>
                  <a:pt x="39" y="1036"/>
                </a:lnTo>
                <a:close/>
                <a:moveTo>
                  <a:pt x="31" y="1027"/>
                </a:moveTo>
                <a:lnTo>
                  <a:pt x="33" y="1027"/>
                </a:lnTo>
                <a:lnTo>
                  <a:pt x="33" y="1029"/>
                </a:lnTo>
                <a:lnTo>
                  <a:pt x="35" y="1030"/>
                </a:lnTo>
                <a:lnTo>
                  <a:pt x="35" y="1032"/>
                </a:lnTo>
                <a:lnTo>
                  <a:pt x="33" y="1033"/>
                </a:lnTo>
                <a:lnTo>
                  <a:pt x="33" y="1032"/>
                </a:lnTo>
                <a:lnTo>
                  <a:pt x="32" y="1032"/>
                </a:lnTo>
                <a:lnTo>
                  <a:pt x="31" y="1031"/>
                </a:lnTo>
                <a:lnTo>
                  <a:pt x="31" y="1027"/>
                </a:lnTo>
                <a:close/>
                <a:moveTo>
                  <a:pt x="56" y="1023"/>
                </a:moveTo>
                <a:lnTo>
                  <a:pt x="57" y="1023"/>
                </a:lnTo>
                <a:lnTo>
                  <a:pt x="60" y="1024"/>
                </a:lnTo>
                <a:lnTo>
                  <a:pt x="61" y="1024"/>
                </a:lnTo>
                <a:lnTo>
                  <a:pt x="61" y="1025"/>
                </a:lnTo>
                <a:lnTo>
                  <a:pt x="60" y="1027"/>
                </a:lnTo>
                <a:lnTo>
                  <a:pt x="57" y="1027"/>
                </a:lnTo>
                <a:lnTo>
                  <a:pt x="55" y="1029"/>
                </a:lnTo>
                <a:lnTo>
                  <a:pt x="54" y="1027"/>
                </a:lnTo>
                <a:lnTo>
                  <a:pt x="54" y="1025"/>
                </a:lnTo>
                <a:lnTo>
                  <a:pt x="56" y="1023"/>
                </a:lnTo>
                <a:close/>
                <a:moveTo>
                  <a:pt x="23" y="1013"/>
                </a:moveTo>
                <a:lnTo>
                  <a:pt x="24" y="1013"/>
                </a:lnTo>
                <a:lnTo>
                  <a:pt x="25" y="1017"/>
                </a:lnTo>
                <a:lnTo>
                  <a:pt x="25" y="1018"/>
                </a:lnTo>
                <a:lnTo>
                  <a:pt x="26" y="1019"/>
                </a:lnTo>
                <a:lnTo>
                  <a:pt x="26" y="1020"/>
                </a:lnTo>
                <a:lnTo>
                  <a:pt x="27" y="1020"/>
                </a:lnTo>
                <a:lnTo>
                  <a:pt x="27" y="1021"/>
                </a:lnTo>
                <a:lnTo>
                  <a:pt x="26" y="1021"/>
                </a:lnTo>
                <a:lnTo>
                  <a:pt x="26" y="1023"/>
                </a:lnTo>
                <a:lnTo>
                  <a:pt x="29" y="1025"/>
                </a:lnTo>
                <a:lnTo>
                  <a:pt x="29" y="1029"/>
                </a:lnTo>
                <a:lnTo>
                  <a:pt x="27" y="1030"/>
                </a:lnTo>
                <a:lnTo>
                  <a:pt x="27" y="1033"/>
                </a:lnTo>
                <a:lnTo>
                  <a:pt x="25" y="1036"/>
                </a:lnTo>
                <a:lnTo>
                  <a:pt x="24" y="1036"/>
                </a:lnTo>
                <a:lnTo>
                  <a:pt x="23" y="1035"/>
                </a:lnTo>
                <a:lnTo>
                  <a:pt x="23" y="1033"/>
                </a:lnTo>
                <a:lnTo>
                  <a:pt x="21" y="1031"/>
                </a:lnTo>
                <a:lnTo>
                  <a:pt x="21" y="1029"/>
                </a:lnTo>
                <a:lnTo>
                  <a:pt x="23" y="1027"/>
                </a:lnTo>
                <a:lnTo>
                  <a:pt x="23" y="1025"/>
                </a:lnTo>
                <a:lnTo>
                  <a:pt x="21" y="1025"/>
                </a:lnTo>
                <a:lnTo>
                  <a:pt x="23" y="1023"/>
                </a:lnTo>
                <a:lnTo>
                  <a:pt x="25" y="1024"/>
                </a:lnTo>
                <a:lnTo>
                  <a:pt x="23" y="1020"/>
                </a:lnTo>
                <a:lnTo>
                  <a:pt x="23" y="1017"/>
                </a:lnTo>
                <a:lnTo>
                  <a:pt x="24" y="1016"/>
                </a:lnTo>
                <a:lnTo>
                  <a:pt x="23" y="1016"/>
                </a:lnTo>
                <a:lnTo>
                  <a:pt x="23" y="1013"/>
                </a:lnTo>
                <a:close/>
                <a:moveTo>
                  <a:pt x="27" y="984"/>
                </a:moveTo>
                <a:lnTo>
                  <a:pt x="29" y="984"/>
                </a:lnTo>
                <a:lnTo>
                  <a:pt x="29" y="987"/>
                </a:lnTo>
                <a:lnTo>
                  <a:pt x="30" y="988"/>
                </a:lnTo>
                <a:lnTo>
                  <a:pt x="27" y="990"/>
                </a:lnTo>
                <a:lnTo>
                  <a:pt x="26" y="990"/>
                </a:lnTo>
                <a:lnTo>
                  <a:pt x="26" y="989"/>
                </a:lnTo>
                <a:lnTo>
                  <a:pt x="27" y="989"/>
                </a:lnTo>
                <a:lnTo>
                  <a:pt x="27" y="984"/>
                </a:lnTo>
                <a:close/>
                <a:moveTo>
                  <a:pt x="19" y="975"/>
                </a:moveTo>
                <a:lnTo>
                  <a:pt x="21" y="975"/>
                </a:lnTo>
                <a:lnTo>
                  <a:pt x="21" y="976"/>
                </a:lnTo>
                <a:lnTo>
                  <a:pt x="24" y="978"/>
                </a:lnTo>
                <a:lnTo>
                  <a:pt x="24" y="980"/>
                </a:lnTo>
                <a:lnTo>
                  <a:pt x="25" y="980"/>
                </a:lnTo>
                <a:lnTo>
                  <a:pt x="26" y="981"/>
                </a:lnTo>
                <a:lnTo>
                  <a:pt x="26" y="982"/>
                </a:lnTo>
                <a:lnTo>
                  <a:pt x="27" y="983"/>
                </a:lnTo>
                <a:lnTo>
                  <a:pt x="27" y="984"/>
                </a:lnTo>
                <a:lnTo>
                  <a:pt x="26" y="984"/>
                </a:lnTo>
                <a:lnTo>
                  <a:pt x="26" y="986"/>
                </a:lnTo>
                <a:lnTo>
                  <a:pt x="25" y="986"/>
                </a:lnTo>
                <a:lnTo>
                  <a:pt x="24" y="984"/>
                </a:lnTo>
                <a:lnTo>
                  <a:pt x="23" y="986"/>
                </a:lnTo>
                <a:lnTo>
                  <a:pt x="23" y="989"/>
                </a:lnTo>
                <a:lnTo>
                  <a:pt x="21" y="990"/>
                </a:lnTo>
                <a:lnTo>
                  <a:pt x="21" y="993"/>
                </a:lnTo>
                <a:lnTo>
                  <a:pt x="23" y="993"/>
                </a:lnTo>
                <a:lnTo>
                  <a:pt x="23" y="994"/>
                </a:lnTo>
                <a:lnTo>
                  <a:pt x="24" y="995"/>
                </a:lnTo>
                <a:lnTo>
                  <a:pt x="23" y="995"/>
                </a:lnTo>
                <a:lnTo>
                  <a:pt x="24" y="996"/>
                </a:lnTo>
                <a:lnTo>
                  <a:pt x="23" y="996"/>
                </a:lnTo>
                <a:lnTo>
                  <a:pt x="23" y="998"/>
                </a:lnTo>
                <a:lnTo>
                  <a:pt x="21" y="998"/>
                </a:lnTo>
                <a:lnTo>
                  <a:pt x="20" y="996"/>
                </a:lnTo>
                <a:lnTo>
                  <a:pt x="20" y="994"/>
                </a:lnTo>
                <a:lnTo>
                  <a:pt x="19" y="993"/>
                </a:lnTo>
                <a:lnTo>
                  <a:pt x="20" y="990"/>
                </a:lnTo>
                <a:lnTo>
                  <a:pt x="20" y="988"/>
                </a:lnTo>
                <a:lnTo>
                  <a:pt x="21" y="986"/>
                </a:lnTo>
                <a:lnTo>
                  <a:pt x="23" y="984"/>
                </a:lnTo>
                <a:lnTo>
                  <a:pt x="20" y="984"/>
                </a:lnTo>
                <a:lnTo>
                  <a:pt x="20" y="982"/>
                </a:lnTo>
                <a:lnTo>
                  <a:pt x="19" y="983"/>
                </a:lnTo>
                <a:lnTo>
                  <a:pt x="18" y="983"/>
                </a:lnTo>
                <a:lnTo>
                  <a:pt x="18" y="981"/>
                </a:lnTo>
                <a:lnTo>
                  <a:pt x="19" y="981"/>
                </a:lnTo>
                <a:lnTo>
                  <a:pt x="19" y="978"/>
                </a:lnTo>
                <a:lnTo>
                  <a:pt x="21" y="978"/>
                </a:lnTo>
                <a:lnTo>
                  <a:pt x="20" y="977"/>
                </a:lnTo>
                <a:lnTo>
                  <a:pt x="19" y="975"/>
                </a:lnTo>
                <a:close/>
                <a:moveTo>
                  <a:pt x="27" y="965"/>
                </a:moveTo>
                <a:lnTo>
                  <a:pt x="29" y="965"/>
                </a:lnTo>
                <a:lnTo>
                  <a:pt x="29" y="967"/>
                </a:lnTo>
                <a:lnTo>
                  <a:pt x="30" y="967"/>
                </a:lnTo>
                <a:lnTo>
                  <a:pt x="32" y="969"/>
                </a:lnTo>
                <a:lnTo>
                  <a:pt x="36" y="976"/>
                </a:lnTo>
                <a:lnTo>
                  <a:pt x="36" y="982"/>
                </a:lnTo>
                <a:lnTo>
                  <a:pt x="32" y="984"/>
                </a:lnTo>
                <a:lnTo>
                  <a:pt x="31" y="984"/>
                </a:lnTo>
                <a:lnTo>
                  <a:pt x="30" y="983"/>
                </a:lnTo>
                <a:lnTo>
                  <a:pt x="32" y="983"/>
                </a:lnTo>
                <a:lnTo>
                  <a:pt x="32" y="982"/>
                </a:lnTo>
                <a:lnTo>
                  <a:pt x="31" y="981"/>
                </a:lnTo>
                <a:lnTo>
                  <a:pt x="31" y="982"/>
                </a:lnTo>
                <a:lnTo>
                  <a:pt x="29" y="982"/>
                </a:lnTo>
                <a:lnTo>
                  <a:pt x="27" y="981"/>
                </a:lnTo>
                <a:lnTo>
                  <a:pt x="27" y="976"/>
                </a:lnTo>
                <a:lnTo>
                  <a:pt x="26" y="975"/>
                </a:lnTo>
                <a:lnTo>
                  <a:pt x="26" y="973"/>
                </a:lnTo>
                <a:lnTo>
                  <a:pt x="25" y="971"/>
                </a:lnTo>
                <a:lnTo>
                  <a:pt x="27" y="969"/>
                </a:lnTo>
                <a:lnTo>
                  <a:pt x="27" y="968"/>
                </a:lnTo>
                <a:lnTo>
                  <a:pt x="26" y="968"/>
                </a:lnTo>
                <a:lnTo>
                  <a:pt x="26" y="967"/>
                </a:lnTo>
                <a:lnTo>
                  <a:pt x="27" y="967"/>
                </a:lnTo>
                <a:lnTo>
                  <a:pt x="27" y="965"/>
                </a:lnTo>
                <a:close/>
                <a:moveTo>
                  <a:pt x="41" y="957"/>
                </a:moveTo>
                <a:lnTo>
                  <a:pt x="43" y="957"/>
                </a:lnTo>
                <a:lnTo>
                  <a:pt x="43" y="964"/>
                </a:lnTo>
                <a:lnTo>
                  <a:pt x="41" y="967"/>
                </a:lnTo>
                <a:lnTo>
                  <a:pt x="41" y="969"/>
                </a:lnTo>
                <a:lnTo>
                  <a:pt x="42" y="971"/>
                </a:lnTo>
                <a:lnTo>
                  <a:pt x="41" y="971"/>
                </a:lnTo>
                <a:lnTo>
                  <a:pt x="39" y="970"/>
                </a:lnTo>
                <a:lnTo>
                  <a:pt x="37" y="973"/>
                </a:lnTo>
                <a:lnTo>
                  <a:pt x="36" y="973"/>
                </a:lnTo>
                <a:lnTo>
                  <a:pt x="36" y="968"/>
                </a:lnTo>
                <a:lnTo>
                  <a:pt x="35" y="967"/>
                </a:lnTo>
                <a:lnTo>
                  <a:pt x="35" y="968"/>
                </a:lnTo>
                <a:lnTo>
                  <a:pt x="32" y="968"/>
                </a:lnTo>
                <a:lnTo>
                  <a:pt x="31" y="967"/>
                </a:lnTo>
                <a:lnTo>
                  <a:pt x="31" y="965"/>
                </a:lnTo>
                <a:lnTo>
                  <a:pt x="30" y="964"/>
                </a:lnTo>
                <a:lnTo>
                  <a:pt x="31" y="964"/>
                </a:lnTo>
                <a:lnTo>
                  <a:pt x="33" y="963"/>
                </a:lnTo>
                <a:lnTo>
                  <a:pt x="35" y="963"/>
                </a:lnTo>
                <a:lnTo>
                  <a:pt x="33" y="962"/>
                </a:lnTo>
                <a:lnTo>
                  <a:pt x="33" y="959"/>
                </a:lnTo>
                <a:lnTo>
                  <a:pt x="36" y="959"/>
                </a:lnTo>
                <a:lnTo>
                  <a:pt x="37" y="958"/>
                </a:lnTo>
                <a:lnTo>
                  <a:pt x="41" y="958"/>
                </a:lnTo>
                <a:lnTo>
                  <a:pt x="41" y="957"/>
                </a:lnTo>
                <a:close/>
                <a:moveTo>
                  <a:pt x="24" y="957"/>
                </a:moveTo>
                <a:lnTo>
                  <a:pt x="24" y="961"/>
                </a:lnTo>
                <a:lnTo>
                  <a:pt x="25" y="961"/>
                </a:lnTo>
                <a:lnTo>
                  <a:pt x="25" y="958"/>
                </a:lnTo>
                <a:lnTo>
                  <a:pt x="24" y="957"/>
                </a:lnTo>
                <a:close/>
                <a:moveTo>
                  <a:pt x="24" y="953"/>
                </a:moveTo>
                <a:lnTo>
                  <a:pt x="25" y="955"/>
                </a:lnTo>
                <a:lnTo>
                  <a:pt x="25" y="957"/>
                </a:lnTo>
                <a:lnTo>
                  <a:pt x="27" y="957"/>
                </a:lnTo>
                <a:lnTo>
                  <a:pt x="27" y="962"/>
                </a:lnTo>
                <a:lnTo>
                  <a:pt x="26" y="963"/>
                </a:lnTo>
                <a:lnTo>
                  <a:pt x="26" y="964"/>
                </a:lnTo>
                <a:lnTo>
                  <a:pt x="25" y="964"/>
                </a:lnTo>
                <a:lnTo>
                  <a:pt x="25" y="963"/>
                </a:lnTo>
                <a:lnTo>
                  <a:pt x="24" y="963"/>
                </a:lnTo>
                <a:lnTo>
                  <a:pt x="24" y="962"/>
                </a:lnTo>
                <a:lnTo>
                  <a:pt x="23" y="961"/>
                </a:lnTo>
                <a:lnTo>
                  <a:pt x="23" y="957"/>
                </a:lnTo>
                <a:lnTo>
                  <a:pt x="24" y="956"/>
                </a:lnTo>
                <a:lnTo>
                  <a:pt x="24" y="953"/>
                </a:lnTo>
                <a:close/>
                <a:moveTo>
                  <a:pt x="39" y="941"/>
                </a:moveTo>
                <a:lnTo>
                  <a:pt x="41" y="941"/>
                </a:lnTo>
                <a:lnTo>
                  <a:pt x="39" y="943"/>
                </a:lnTo>
                <a:lnTo>
                  <a:pt x="39" y="941"/>
                </a:lnTo>
                <a:close/>
                <a:moveTo>
                  <a:pt x="13" y="926"/>
                </a:moveTo>
                <a:lnTo>
                  <a:pt x="14" y="926"/>
                </a:lnTo>
                <a:lnTo>
                  <a:pt x="14" y="927"/>
                </a:lnTo>
                <a:lnTo>
                  <a:pt x="19" y="937"/>
                </a:lnTo>
                <a:lnTo>
                  <a:pt x="19" y="939"/>
                </a:lnTo>
                <a:lnTo>
                  <a:pt x="17" y="939"/>
                </a:lnTo>
                <a:lnTo>
                  <a:pt x="19" y="941"/>
                </a:lnTo>
                <a:lnTo>
                  <a:pt x="19" y="947"/>
                </a:lnTo>
                <a:lnTo>
                  <a:pt x="17" y="947"/>
                </a:lnTo>
                <a:lnTo>
                  <a:pt x="17" y="944"/>
                </a:lnTo>
                <a:lnTo>
                  <a:pt x="16" y="943"/>
                </a:lnTo>
                <a:lnTo>
                  <a:pt x="16" y="945"/>
                </a:lnTo>
                <a:lnTo>
                  <a:pt x="14" y="945"/>
                </a:lnTo>
                <a:lnTo>
                  <a:pt x="13" y="943"/>
                </a:lnTo>
                <a:lnTo>
                  <a:pt x="13" y="941"/>
                </a:lnTo>
                <a:lnTo>
                  <a:pt x="12" y="940"/>
                </a:lnTo>
                <a:lnTo>
                  <a:pt x="12" y="939"/>
                </a:lnTo>
                <a:lnTo>
                  <a:pt x="16" y="939"/>
                </a:lnTo>
                <a:lnTo>
                  <a:pt x="17" y="937"/>
                </a:lnTo>
                <a:lnTo>
                  <a:pt x="16" y="938"/>
                </a:lnTo>
                <a:lnTo>
                  <a:pt x="16" y="937"/>
                </a:lnTo>
                <a:lnTo>
                  <a:pt x="14" y="937"/>
                </a:lnTo>
                <a:lnTo>
                  <a:pt x="14" y="936"/>
                </a:lnTo>
                <a:lnTo>
                  <a:pt x="13" y="936"/>
                </a:lnTo>
                <a:lnTo>
                  <a:pt x="13" y="930"/>
                </a:lnTo>
                <a:lnTo>
                  <a:pt x="12" y="927"/>
                </a:lnTo>
                <a:lnTo>
                  <a:pt x="13" y="926"/>
                </a:lnTo>
                <a:close/>
                <a:moveTo>
                  <a:pt x="13" y="916"/>
                </a:moveTo>
                <a:lnTo>
                  <a:pt x="14" y="916"/>
                </a:lnTo>
                <a:lnTo>
                  <a:pt x="16" y="919"/>
                </a:lnTo>
                <a:lnTo>
                  <a:pt x="21" y="921"/>
                </a:lnTo>
                <a:lnTo>
                  <a:pt x="24" y="926"/>
                </a:lnTo>
                <a:lnTo>
                  <a:pt x="24" y="927"/>
                </a:lnTo>
                <a:lnTo>
                  <a:pt x="23" y="928"/>
                </a:lnTo>
                <a:lnTo>
                  <a:pt x="20" y="930"/>
                </a:lnTo>
                <a:lnTo>
                  <a:pt x="20" y="926"/>
                </a:lnTo>
                <a:lnTo>
                  <a:pt x="18" y="925"/>
                </a:lnTo>
                <a:lnTo>
                  <a:pt x="18" y="922"/>
                </a:lnTo>
                <a:lnTo>
                  <a:pt x="17" y="921"/>
                </a:lnTo>
                <a:lnTo>
                  <a:pt x="14" y="921"/>
                </a:lnTo>
                <a:lnTo>
                  <a:pt x="14" y="919"/>
                </a:lnTo>
                <a:lnTo>
                  <a:pt x="13" y="916"/>
                </a:lnTo>
                <a:close/>
                <a:moveTo>
                  <a:pt x="6" y="907"/>
                </a:moveTo>
                <a:lnTo>
                  <a:pt x="7" y="908"/>
                </a:lnTo>
                <a:lnTo>
                  <a:pt x="7" y="910"/>
                </a:lnTo>
                <a:lnTo>
                  <a:pt x="8" y="910"/>
                </a:lnTo>
                <a:lnTo>
                  <a:pt x="8" y="914"/>
                </a:lnTo>
                <a:lnTo>
                  <a:pt x="6" y="914"/>
                </a:lnTo>
                <a:lnTo>
                  <a:pt x="6" y="907"/>
                </a:lnTo>
                <a:close/>
                <a:moveTo>
                  <a:pt x="42" y="904"/>
                </a:moveTo>
                <a:lnTo>
                  <a:pt x="43" y="906"/>
                </a:lnTo>
                <a:lnTo>
                  <a:pt x="44" y="906"/>
                </a:lnTo>
                <a:lnTo>
                  <a:pt x="44" y="913"/>
                </a:lnTo>
                <a:lnTo>
                  <a:pt x="43" y="918"/>
                </a:lnTo>
                <a:lnTo>
                  <a:pt x="43" y="919"/>
                </a:lnTo>
                <a:lnTo>
                  <a:pt x="44" y="922"/>
                </a:lnTo>
                <a:lnTo>
                  <a:pt x="43" y="924"/>
                </a:lnTo>
                <a:lnTo>
                  <a:pt x="42" y="924"/>
                </a:lnTo>
                <a:lnTo>
                  <a:pt x="41" y="925"/>
                </a:lnTo>
                <a:lnTo>
                  <a:pt x="41" y="926"/>
                </a:lnTo>
                <a:lnTo>
                  <a:pt x="37" y="927"/>
                </a:lnTo>
                <a:lnTo>
                  <a:pt x="36" y="927"/>
                </a:lnTo>
                <a:lnTo>
                  <a:pt x="36" y="926"/>
                </a:lnTo>
                <a:lnTo>
                  <a:pt x="33" y="924"/>
                </a:lnTo>
                <a:lnTo>
                  <a:pt x="31" y="920"/>
                </a:lnTo>
                <a:lnTo>
                  <a:pt x="29" y="918"/>
                </a:lnTo>
                <a:lnTo>
                  <a:pt x="29" y="916"/>
                </a:lnTo>
                <a:lnTo>
                  <a:pt x="32" y="916"/>
                </a:lnTo>
                <a:lnTo>
                  <a:pt x="32" y="915"/>
                </a:lnTo>
                <a:lnTo>
                  <a:pt x="33" y="915"/>
                </a:lnTo>
                <a:lnTo>
                  <a:pt x="35" y="913"/>
                </a:lnTo>
                <a:lnTo>
                  <a:pt x="37" y="912"/>
                </a:lnTo>
                <a:lnTo>
                  <a:pt x="38" y="912"/>
                </a:lnTo>
                <a:lnTo>
                  <a:pt x="39" y="910"/>
                </a:lnTo>
                <a:lnTo>
                  <a:pt x="39" y="906"/>
                </a:lnTo>
                <a:lnTo>
                  <a:pt x="41" y="906"/>
                </a:lnTo>
                <a:lnTo>
                  <a:pt x="42" y="904"/>
                </a:lnTo>
                <a:close/>
                <a:moveTo>
                  <a:pt x="6" y="883"/>
                </a:moveTo>
                <a:lnTo>
                  <a:pt x="8" y="883"/>
                </a:lnTo>
                <a:lnTo>
                  <a:pt x="8" y="884"/>
                </a:lnTo>
                <a:lnTo>
                  <a:pt x="10" y="884"/>
                </a:lnTo>
                <a:lnTo>
                  <a:pt x="10" y="885"/>
                </a:lnTo>
                <a:lnTo>
                  <a:pt x="11" y="887"/>
                </a:lnTo>
                <a:lnTo>
                  <a:pt x="12" y="889"/>
                </a:lnTo>
                <a:lnTo>
                  <a:pt x="12" y="890"/>
                </a:lnTo>
                <a:lnTo>
                  <a:pt x="10" y="890"/>
                </a:lnTo>
                <a:lnTo>
                  <a:pt x="10" y="888"/>
                </a:lnTo>
                <a:lnTo>
                  <a:pt x="8" y="888"/>
                </a:lnTo>
                <a:lnTo>
                  <a:pt x="7" y="887"/>
                </a:lnTo>
                <a:lnTo>
                  <a:pt x="8" y="887"/>
                </a:lnTo>
                <a:lnTo>
                  <a:pt x="7" y="885"/>
                </a:lnTo>
                <a:lnTo>
                  <a:pt x="6" y="885"/>
                </a:lnTo>
                <a:lnTo>
                  <a:pt x="6" y="883"/>
                </a:lnTo>
                <a:close/>
                <a:moveTo>
                  <a:pt x="1" y="871"/>
                </a:moveTo>
                <a:lnTo>
                  <a:pt x="2" y="871"/>
                </a:lnTo>
                <a:lnTo>
                  <a:pt x="2" y="873"/>
                </a:lnTo>
                <a:lnTo>
                  <a:pt x="4" y="875"/>
                </a:lnTo>
                <a:lnTo>
                  <a:pt x="4" y="878"/>
                </a:lnTo>
                <a:lnTo>
                  <a:pt x="2" y="879"/>
                </a:lnTo>
                <a:lnTo>
                  <a:pt x="2" y="878"/>
                </a:lnTo>
                <a:lnTo>
                  <a:pt x="1" y="878"/>
                </a:lnTo>
                <a:lnTo>
                  <a:pt x="1" y="877"/>
                </a:lnTo>
                <a:lnTo>
                  <a:pt x="0" y="877"/>
                </a:lnTo>
                <a:lnTo>
                  <a:pt x="0" y="872"/>
                </a:lnTo>
                <a:lnTo>
                  <a:pt x="1" y="872"/>
                </a:lnTo>
                <a:lnTo>
                  <a:pt x="1" y="871"/>
                </a:lnTo>
                <a:close/>
                <a:moveTo>
                  <a:pt x="10" y="860"/>
                </a:moveTo>
                <a:lnTo>
                  <a:pt x="10" y="864"/>
                </a:lnTo>
                <a:lnTo>
                  <a:pt x="11" y="865"/>
                </a:lnTo>
                <a:lnTo>
                  <a:pt x="11" y="864"/>
                </a:lnTo>
                <a:lnTo>
                  <a:pt x="12" y="863"/>
                </a:lnTo>
                <a:lnTo>
                  <a:pt x="12" y="861"/>
                </a:lnTo>
                <a:lnTo>
                  <a:pt x="13" y="861"/>
                </a:lnTo>
                <a:lnTo>
                  <a:pt x="13" y="863"/>
                </a:lnTo>
                <a:lnTo>
                  <a:pt x="14" y="867"/>
                </a:lnTo>
                <a:lnTo>
                  <a:pt x="14" y="869"/>
                </a:lnTo>
                <a:lnTo>
                  <a:pt x="11" y="872"/>
                </a:lnTo>
                <a:lnTo>
                  <a:pt x="11" y="873"/>
                </a:lnTo>
                <a:lnTo>
                  <a:pt x="10" y="872"/>
                </a:lnTo>
                <a:lnTo>
                  <a:pt x="10" y="870"/>
                </a:lnTo>
                <a:lnTo>
                  <a:pt x="8" y="870"/>
                </a:lnTo>
                <a:lnTo>
                  <a:pt x="7" y="871"/>
                </a:lnTo>
                <a:lnTo>
                  <a:pt x="7" y="873"/>
                </a:lnTo>
                <a:lnTo>
                  <a:pt x="6" y="875"/>
                </a:lnTo>
                <a:lnTo>
                  <a:pt x="6" y="865"/>
                </a:lnTo>
                <a:lnTo>
                  <a:pt x="7" y="865"/>
                </a:lnTo>
                <a:lnTo>
                  <a:pt x="7" y="864"/>
                </a:lnTo>
                <a:lnTo>
                  <a:pt x="8" y="867"/>
                </a:lnTo>
                <a:lnTo>
                  <a:pt x="10" y="867"/>
                </a:lnTo>
                <a:lnTo>
                  <a:pt x="10" y="865"/>
                </a:lnTo>
                <a:lnTo>
                  <a:pt x="8" y="861"/>
                </a:lnTo>
                <a:lnTo>
                  <a:pt x="10" y="860"/>
                </a:lnTo>
                <a:close/>
                <a:moveTo>
                  <a:pt x="8" y="816"/>
                </a:moveTo>
                <a:lnTo>
                  <a:pt x="10" y="816"/>
                </a:lnTo>
                <a:lnTo>
                  <a:pt x="10" y="817"/>
                </a:lnTo>
                <a:lnTo>
                  <a:pt x="11" y="817"/>
                </a:lnTo>
                <a:lnTo>
                  <a:pt x="11" y="820"/>
                </a:lnTo>
                <a:lnTo>
                  <a:pt x="8" y="820"/>
                </a:lnTo>
                <a:lnTo>
                  <a:pt x="8" y="818"/>
                </a:lnTo>
                <a:lnTo>
                  <a:pt x="7" y="817"/>
                </a:lnTo>
                <a:lnTo>
                  <a:pt x="8" y="817"/>
                </a:lnTo>
                <a:lnTo>
                  <a:pt x="8" y="816"/>
                </a:lnTo>
                <a:close/>
                <a:moveTo>
                  <a:pt x="10" y="799"/>
                </a:moveTo>
                <a:lnTo>
                  <a:pt x="13" y="799"/>
                </a:lnTo>
                <a:lnTo>
                  <a:pt x="24" y="803"/>
                </a:lnTo>
                <a:lnTo>
                  <a:pt x="24" y="804"/>
                </a:lnTo>
                <a:lnTo>
                  <a:pt x="23" y="805"/>
                </a:lnTo>
                <a:lnTo>
                  <a:pt x="20" y="805"/>
                </a:lnTo>
                <a:lnTo>
                  <a:pt x="20" y="803"/>
                </a:lnTo>
                <a:lnTo>
                  <a:pt x="19" y="805"/>
                </a:lnTo>
                <a:lnTo>
                  <a:pt x="17" y="807"/>
                </a:lnTo>
                <a:lnTo>
                  <a:pt x="16" y="808"/>
                </a:lnTo>
                <a:lnTo>
                  <a:pt x="11" y="809"/>
                </a:lnTo>
                <a:lnTo>
                  <a:pt x="10" y="808"/>
                </a:lnTo>
                <a:lnTo>
                  <a:pt x="10" y="807"/>
                </a:lnTo>
                <a:lnTo>
                  <a:pt x="11" y="807"/>
                </a:lnTo>
                <a:lnTo>
                  <a:pt x="12" y="805"/>
                </a:lnTo>
                <a:lnTo>
                  <a:pt x="11" y="805"/>
                </a:lnTo>
                <a:lnTo>
                  <a:pt x="7" y="804"/>
                </a:lnTo>
                <a:lnTo>
                  <a:pt x="6" y="804"/>
                </a:lnTo>
                <a:lnTo>
                  <a:pt x="10" y="801"/>
                </a:lnTo>
                <a:lnTo>
                  <a:pt x="10" y="799"/>
                </a:lnTo>
                <a:close/>
                <a:moveTo>
                  <a:pt x="41" y="762"/>
                </a:moveTo>
                <a:lnTo>
                  <a:pt x="43" y="764"/>
                </a:lnTo>
                <a:lnTo>
                  <a:pt x="44" y="762"/>
                </a:lnTo>
                <a:lnTo>
                  <a:pt x="45" y="764"/>
                </a:lnTo>
                <a:lnTo>
                  <a:pt x="45" y="765"/>
                </a:lnTo>
                <a:lnTo>
                  <a:pt x="49" y="765"/>
                </a:lnTo>
                <a:lnTo>
                  <a:pt x="49" y="766"/>
                </a:lnTo>
                <a:lnTo>
                  <a:pt x="48" y="766"/>
                </a:lnTo>
                <a:lnTo>
                  <a:pt x="48" y="768"/>
                </a:lnTo>
                <a:lnTo>
                  <a:pt x="49" y="768"/>
                </a:lnTo>
                <a:lnTo>
                  <a:pt x="48" y="769"/>
                </a:lnTo>
                <a:lnTo>
                  <a:pt x="48" y="771"/>
                </a:lnTo>
                <a:lnTo>
                  <a:pt x="44" y="772"/>
                </a:lnTo>
                <a:lnTo>
                  <a:pt x="37" y="772"/>
                </a:lnTo>
                <a:lnTo>
                  <a:pt x="37" y="769"/>
                </a:lnTo>
                <a:lnTo>
                  <a:pt x="41" y="769"/>
                </a:lnTo>
                <a:lnTo>
                  <a:pt x="39" y="768"/>
                </a:lnTo>
                <a:lnTo>
                  <a:pt x="37" y="768"/>
                </a:lnTo>
                <a:lnTo>
                  <a:pt x="37" y="767"/>
                </a:lnTo>
                <a:lnTo>
                  <a:pt x="38" y="766"/>
                </a:lnTo>
                <a:lnTo>
                  <a:pt x="38" y="764"/>
                </a:lnTo>
                <a:lnTo>
                  <a:pt x="41" y="762"/>
                </a:lnTo>
                <a:close/>
                <a:moveTo>
                  <a:pt x="44" y="756"/>
                </a:moveTo>
                <a:lnTo>
                  <a:pt x="45" y="756"/>
                </a:lnTo>
                <a:lnTo>
                  <a:pt x="47" y="758"/>
                </a:lnTo>
                <a:lnTo>
                  <a:pt x="45" y="759"/>
                </a:lnTo>
                <a:lnTo>
                  <a:pt x="45" y="760"/>
                </a:lnTo>
                <a:lnTo>
                  <a:pt x="44" y="761"/>
                </a:lnTo>
                <a:lnTo>
                  <a:pt x="43" y="760"/>
                </a:lnTo>
                <a:lnTo>
                  <a:pt x="42" y="761"/>
                </a:lnTo>
                <a:lnTo>
                  <a:pt x="41" y="760"/>
                </a:lnTo>
                <a:lnTo>
                  <a:pt x="42" y="759"/>
                </a:lnTo>
                <a:lnTo>
                  <a:pt x="44" y="759"/>
                </a:lnTo>
                <a:lnTo>
                  <a:pt x="43" y="758"/>
                </a:lnTo>
                <a:lnTo>
                  <a:pt x="44" y="756"/>
                </a:lnTo>
                <a:close/>
                <a:moveTo>
                  <a:pt x="37" y="756"/>
                </a:moveTo>
                <a:lnTo>
                  <a:pt x="38" y="756"/>
                </a:lnTo>
                <a:lnTo>
                  <a:pt x="38" y="758"/>
                </a:lnTo>
                <a:lnTo>
                  <a:pt x="41" y="758"/>
                </a:lnTo>
                <a:lnTo>
                  <a:pt x="41" y="759"/>
                </a:lnTo>
                <a:lnTo>
                  <a:pt x="39" y="759"/>
                </a:lnTo>
                <a:lnTo>
                  <a:pt x="38" y="760"/>
                </a:lnTo>
                <a:lnTo>
                  <a:pt x="37" y="760"/>
                </a:lnTo>
                <a:lnTo>
                  <a:pt x="37" y="756"/>
                </a:lnTo>
                <a:close/>
                <a:moveTo>
                  <a:pt x="54" y="750"/>
                </a:moveTo>
                <a:lnTo>
                  <a:pt x="55" y="750"/>
                </a:lnTo>
                <a:lnTo>
                  <a:pt x="56" y="752"/>
                </a:lnTo>
                <a:lnTo>
                  <a:pt x="56" y="754"/>
                </a:lnTo>
                <a:lnTo>
                  <a:pt x="57" y="755"/>
                </a:lnTo>
                <a:lnTo>
                  <a:pt x="57" y="756"/>
                </a:lnTo>
                <a:lnTo>
                  <a:pt x="60" y="759"/>
                </a:lnTo>
                <a:lnTo>
                  <a:pt x="51" y="767"/>
                </a:lnTo>
                <a:lnTo>
                  <a:pt x="49" y="767"/>
                </a:lnTo>
                <a:lnTo>
                  <a:pt x="49" y="766"/>
                </a:lnTo>
                <a:lnTo>
                  <a:pt x="50" y="765"/>
                </a:lnTo>
                <a:lnTo>
                  <a:pt x="50" y="760"/>
                </a:lnTo>
                <a:lnTo>
                  <a:pt x="49" y="759"/>
                </a:lnTo>
                <a:lnTo>
                  <a:pt x="49" y="755"/>
                </a:lnTo>
                <a:lnTo>
                  <a:pt x="50" y="753"/>
                </a:lnTo>
                <a:lnTo>
                  <a:pt x="51" y="752"/>
                </a:lnTo>
                <a:lnTo>
                  <a:pt x="52" y="752"/>
                </a:lnTo>
                <a:lnTo>
                  <a:pt x="54" y="750"/>
                </a:lnTo>
                <a:close/>
                <a:moveTo>
                  <a:pt x="66" y="749"/>
                </a:moveTo>
                <a:lnTo>
                  <a:pt x="67" y="749"/>
                </a:lnTo>
                <a:lnTo>
                  <a:pt x="68" y="752"/>
                </a:lnTo>
                <a:lnTo>
                  <a:pt x="70" y="752"/>
                </a:lnTo>
                <a:lnTo>
                  <a:pt x="72" y="753"/>
                </a:lnTo>
                <a:lnTo>
                  <a:pt x="70" y="753"/>
                </a:lnTo>
                <a:lnTo>
                  <a:pt x="64" y="754"/>
                </a:lnTo>
                <a:lnTo>
                  <a:pt x="61" y="753"/>
                </a:lnTo>
                <a:lnTo>
                  <a:pt x="58" y="750"/>
                </a:lnTo>
                <a:lnTo>
                  <a:pt x="66" y="749"/>
                </a:lnTo>
                <a:close/>
                <a:moveTo>
                  <a:pt x="93" y="722"/>
                </a:moveTo>
                <a:lnTo>
                  <a:pt x="94" y="722"/>
                </a:lnTo>
                <a:lnTo>
                  <a:pt x="95" y="723"/>
                </a:lnTo>
                <a:lnTo>
                  <a:pt x="95" y="726"/>
                </a:lnTo>
                <a:lnTo>
                  <a:pt x="88" y="728"/>
                </a:lnTo>
                <a:lnTo>
                  <a:pt x="86" y="730"/>
                </a:lnTo>
                <a:lnTo>
                  <a:pt x="85" y="730"/>
                </a:lnTo>
                <a:lnTo>
                  <a:pt x="85" y="726"/>
                </a:lnTo>
                <a:lnTo>
                  <a:pt x="86" y="726"/>
                </a:lnTo>
                <a:lnTo>
                  <a:pt x="86" y="723"/>
                </a:lnTo>
                <a:lnTo>
                  <a:pt x="87" y="723"/>
                </a:lnTo>
                <a:lnTo>
                  <a:pt x="87" y="724"/>
                </a:lnTo>
                <a:lnTo>
                  <a:pt x="88" y="724"/>
                </a:lnTo>
                <a:lnTo>
                  <a:pt x="93" y="722"/>
                </a:lnTo>
                <a:close/>
                <a:moveTo>
                  <a:pt x="91" y="711"/>
                </a:moveTo>
                <a:lnTo>
                  <a:pt x="91" y="712"/>
                </a:lnTo>
                <a:lnTo>
                  <a:pt x="92" y="713"/>
                </a:lnTo>
                <a:lnTo>
                  <a:pt x="93" y="712"/>
                </a:lnTo>
                <a:lnTo>
                  <a:pt x="94" y="712"/>
                </a:lnTo>
                <a:lnTo>
                  <a:pt x="97" y="711"/>
                </a:lnTo>
                <a:lnTo>
                  <a:pt x="97" y="715"/>
                </a:lnTo>
                <a:lnTo>
                  <a:pt x="95" y="715"/>
                </a:lnTo>
                <a:lnTo>
                  <a:pt x="94" y="716"/>
                </a:lnTo>
                <a:lnTo>
                  <a:pt x="95" y="717"/>
                </a:lnTo>
                <a:lnTo>
                  <a:pt x="95" y="718"/>
                </a:lnTo>
                <a:lnTo>
                  <a:pt x="94" y="719"/>
                </a:lnTo>
                <a:lnTo>
                  <a:pt x="94" y="718"/>
                </a:lnTo>
                <a:lnTo>
                  <a:pt x="93" y="717"/>
                </a:lnTo>
                <a:lnTo>
                  <a:pt x="91" y="716"/>
                </a:lnTo>
                <a:lnTo>
                  <a:pt x="89" y="716"/>
                </a:lnTo>
                <a:lnTo>
                  <a:pt x="89" y="715"/>
                </a:lnTo>
                <a:lnTo>
                  <a:pt x="91" y="715"/>
                </a:lnTo>
                <a:lnTo>
                  <a:pt x="91" y="713"/>
                </a:lnTo>
                <a:lnTo>
                  <a:pt x="89" y="713"/>
                </a:lnTo>
                <a:lnTo>
                  <a:pt x="89" y="712"/>
                </a:lnTo>
                <a:lnTo>
                  <a:pt x="91" y="711"/>
                </a:lnTo>
                <a:close/>
                <a:moveTo>
                  <a:pt x="129" y="689"/>
                </a:moveTo>
                <a:lnTo>
                  <a:pt x="130" y="689"/>
                </a:lnTo>
                <a:lnTo>
                  <a:pt x="132" y="691"/>
                </a:lnTo>
                <a:lnTo>
                  <a:pt x="135" y="689"/>
                </a:lnTo>
                <a:lnTo>
                  <a:pt x="137" y="689"/>
                </a:lnTo>
                <a:lnTo>
                  <a:pt x="138" y="691"/>
                </a:lnTo>
                <a:lnTo>
                  <a:pt x="137" y="692"/>
                </a:lnTo>
                <a:lnTo>
                  <a:pt x="136" y="694"/>
                </a:lnTo>
                <a:lnTo>
                  <a:pt x="135" y="695"/>
                </a:lnTo>
                <a:lnTo>
                  <a:pt x="134" y="695"/>
                </a:lnTo>
                <a:lnTo>
                  <a:pt x="132" y="697"/>
                </a:lnTo>
                <a:lnTo>
                  <a:pt x="131" y="695"/>
                </a:lnTo>
                <a:lnTo>
                  <a:pt x="130" y="695"/>
                </a:lnTo>
                <a:lnTo>
                  <a:pt x="128" y="693"/>
                </a:lnTo>
                <a:lnTo>
                  <a:pt x="129" y="692"/>
                </a:lnTo>
                <a:lnTo>
                  <a:pt x="129" y="689"/>
                </a:lnTo>
                <a:close/>
                <a:moveTo>
                  <a:pt x="124" y="687"/>
                </a:moveTo>
                <a:lnTo>
                  <a:pt x="126" y="687"/>
                </a:lnTo>
                <a:lnTo>
                  <a:pt x="126" y="693"/>
                </a:lnTo>
                <a:lnTo>
                  <a:pt x="128" y="694"/>
                </a:lnTo>
                <a:lnTo>
                  <a:pt x="128" y="697"/>
                </a:lnTo>
                <a:lnTo>
                  <a:pt x="129" y="698"/>
                </a:lnTo>
                <a:lnTo>
                  <a:pt x="128" y="699"/>
                </a:lnTo>
                <a:lnTo>
                  <a:pt x="125" y="699"/>
                </a:lnTo>
                <a:lnTo>
                  <a:pt x="125" y="700"/>
                </a:lnTo>
                <a:lnTo>
                  <a:pt x="124" y="700"/>
                </a:lnTo>
                <a:lnTo>
                  <a:pt x="122" y="704"/>
                </a:lnTo>
                <a:lnTo>
                  <a:pt x="120" y="704"/>
                </a:lnTo>
                <a:lnTo>
                  <a:pt x="120" y="703"/>
                </a:lnTo>
                <a:lnTo>
                  <a:pt x="119" y="701"/>
                </a:lnTo>
                <a:lnTo>
                  <a:pt x="116" y="700"/>
                </a:lnTo>
                <a:lnTo>
                  <a:pt x="116" y="699"/>
                </a:lnTo>
                <a:lnTo>
                  <a:pt x="114" y="699"/>
                </a:lnTo>
                <a:lnTo>
                  <a:pt x="116" y="698"/>
                </a:lnTo>
                <a:lnTo>
                  <a:pt x="116" y="697"/>
                </a:lnTo>
                <a:lnTo>
                  <a:pt x="118" y="697"/>
                </a:lnTo>
                <a:lnTo>
                  <a:pt x="117" y="695"/>
                </a:lnTo>
                <a:lnTo>
                  <a:pt x="117" y="694"/>
                </a:lnTo>
                <a:lnTo>
                  <a:pt x="118" y="694"/>
                </a:lnTo>
                <a:lnTo>
                  <a:pt x="117" y="693"/>
                </a:lnTo>
                <a:lnTo>
                  <a:pt x="120" y="692"/>
                </a:lnTo>
                <a:lnTo>
                  <a:pt x="119" y="693"/>
                </a:lnTo>
                <a:lnTo>
                  <a:pt x="120" y="693"/>
                </a:lnTo>
                <a:lnTo>
                  <a:pt x="122" y="694"/>
                </a:lnTo>
                <a:lnTo>
                  <a:pt x="123" y="697"/>
                </a:lnTo>
                <a:lnTo>
                  <a:pt x="123" y="695"/>
                </a:lnTo>
                <a:lnTo>
                  <a:pt x="124" y="694"/>
                </a:lnTo>
                <a:lnTo>
                  <a:pt x="123" y="693"/>
                </a:lnTo>
                <a:lnTo>
                  <a:pt x="124" y="693"/>
                </a:lnTo>
                <a:lnTo>
                  <a:pt x="124" y="692"/>
                </a:lnTo>
                <a:lnTo>
                  <a:pt x="125" y="691"/>
                </a:lnTo>
                <a:lnTo>
                  <a:pt x="125" y="689"/>
                </a:lnTo>
                <a:lnTo>
                  <a:pt x="124" y="687"/>
                </a:lnTo>
                <a:close/>
                <a:moveTo>
                  <a:pt x="144" y="675"/>
                </a:moveTo>
                <a:lnTo>
                  <a:pt x="147" y="676"/>
                </a:lnTo>
                <a:lnTo>
                  <a:pt x="148" y="679"/>
                </a:lnTo>
                <a:lnTo>
                  <a:pt x="149" y="680"/>
                </a:lnTo>
                <a:lnTo>
                  <a:pt x="149" y="678"/>
                </a:lnTo>
                <a:lnTo>
                  <a:pt x="151" y="678"/>
                </a:lnTo>
                <a:lnTo>
                  <a:pt x="153" y="680"/>
                </a:lnTo>
                <a:lnTo>
                  <a:pt x="154" y="680"/>
                </a:lnTo>
                <a:lnTo>
                  <a:pt x="154" y="681"/>
                </a:lnTo>
                <a:lnTo>
                  <a:pt x="155" y="681"/>
                </a:lnTo>
                <a:lnTo>
                  <a:pt x="155" y="682"/>
                </a:lnTo>
                <a:lnTo>
                  <a:pt x="151" y="683"/>
                </a:lnTo>
                <a:lnTo>
                  <a:pt x="150" y="683"/>
                </a:lnTo>
                <a:lnTo>
                  <a:pt x="150" y="682"/>
                </a:lnTo>
                <a:lnTo>
                  <a:pt x="149" y="682"/>
                </a:lnTo>
                <a:lnTo>
                  <a:pt x="149" y="683"/>
                </a:lnTo>
                <a:lnTo>
                  <a:pt x="142" y="686"/>
                </a:lnTo>
                <a:lnTo>
                  <a:pt x="141" y="685"/>
                </a:lnTo>
                <a:lnTo>
                  <a:pt x="138" y="681"/>
                </a:lnTo>
                <a:lnTo>
                  <a:pt x="141" y="680"/>
                </a:lnTo>
                <a:lnTo>
                  <a:pt x="143" y="676"/>
                </a:lnTo>
                <a:lnTo>
                  <a:pt x="144" y="675"/>
                </a:lnTo>
                <a:close/>
                <a:moveTo>
                  <a:pt x="159" y="672"/>
                </a:moveTo>
                <a:lnTo>
                  <a:pt x="160" y="672"/>
                </a:lnTo>
                <a:lnTo>
                  <a:pt x="161" y="673"/>
                </a:lnTo>
                <a:lnTo>
                  <a:pt x="162" y="675"/>
                </a:lnTo>
                <a:lnTo>
                  <a:pt x="165" y="678"/>
                </a:lnTo>
                <a:lnTo>
                  <a:pt x="166" y="680"/>
                </a:lnTo>
                <a:lnTo>
                  <a:pt x="166" y="681"/>
                </a:lnTo>
                <a:lnTo>
                  <a:pt x="160" y="683"/>
                </a:lnTo>
                <a:lnTo>
                  <a:pt x="157" y="682"/>
                </a:lnTo>
                <a:lnTo>
                  <a:pt x="156" y="682"/>
                </a:lnTo>
                <a:lnTo>
                  <a:pt x="154" y="678"/>
                </a:lnTo>
                <a:lnTo>
                  <a:pt x="153" y="676"/>
                </a:lnTo>
                <a:lnTo>
                  <a:pt x="153" y="673"/>
                </a:lnTo>
                <a:lnTo>
                  <a:pt x="155" y="673"/>
                </a:lnTo>
                <a:lnTo>
                  <a:pt x="155" y="674"/>
                </a:lnTo>
                <a:lnTo>
                  <a:pt x="156" y="674"/>
                </a:lnTo>
                <a:lnTo>
                  <a:pt x="156" y="673"/>
                </a:lnTo>
                <a:lnTo>
                  <a:pt x="157" y="674"/>
                </a:lnTo>
                <a:lnTo>
                  <a:pt x="157" y="676"/>
                </a:lnTo>
                <a:lnTo>
                  <a:pt x="159" y="678"/>
                </a:lnTo>
                <a:lnTo>
                  <a:pt x="159" y="672"/>
                </a:lnTo>
                <a:close/>
                <a:moveTo>
                  <a:pt x="142" y="654"/>
                </a:moveTo>
                <a:lnTo>
                  <a:pt x="144" y="654"/>
                </a:lnTo>
                <a:lnTo>
                  <a:pt x="145" y="655"/>
                </a:lnTo>
                <a:lnTo>
                  <a:pt x="147" y="658"/>
                </a:lnTo>
                <a:lnTo>
                  <a:pt x="149" y="660"/>
                </a:lnTo>
                <a:lnTo>
                  <a:pt x="149" y="662"/>
                </a:lnTo>
                <a:lnTo>
                  <a:pt x="148" y="664"/>
                </a:lnTo>
                <a:lnTo>
                  <a:pt x="148" y="666"/>
                </a:lnTo>
                <a:lnTo>
                  <a:pt x="145" y="666"/>
                </a:lnTo>
                <a:lnTo>
                  <a:pt x="145" y="668"/>
                </a:lnTo>
                <a:lnTo>
                  <a:pt x="142" y="668"/>
                </a:lnTo>
                <a:lnTo>
                  <a:pt x="141" y="669"/>
                </a:lnTo>
                <a:lnTo>
                  <a:pt x="141" y="668"/>
                </a:lnTo>
                <a:lnTo>
                  <a:pt x="138" y="667"/>
                </a:lnTo>
                <a:lnTo>
                  <a:pt x="138" y="666"/>
                </a:lnTo>
                <a:lnTo>
                  <a:pt x="139" y="666"/>
                </a:lnTo>
                <a:lnTo>
                  <a:pt x="134" y="663"/>
                </a:lnTo>
                <a:lnTo>
                  <a:pt x="132" y="662"/>
                </a:lnTo>
                <a:lnTo>
                  <a:pt x="132" y="660"/>
                </a:lnTo>
                <a:lnTo>
                  <a:pt x="134" y="658"/>
                </a:lnTo>
                <a:lnTo>
                  <a:pt x="135" y="658"/>
                </a:lnTo>
                <a:lnTo>
                  <a:pt x="137" y="657"/>
                </a:lnTo>
                <a:lnTo>
                  <a:pt x="138" y="657"/>
                </a:lnTo>
                <a:lnTo>
                  <a:pt x="142" y="654"/>
                </a:lnTo>
                <a:close/>
                <a:moveTo>
                  <a:pt x="254" y="645"/>
                </a:moveTo>
                <a:lnTo>
                  <a:pt x="255" y="645"/>
                </a:lnTo>
                <a:lnTo>
                  <a:pt x="255" y="646"/>
                </a:lnTo>
                <a:lnTo>
                  <a:pt x="254" y="646"/>
                </a:lnTo>
                <a:lnTo>
                  <a:pt x="254" y="645"/>
                </a:lnTo>
                <a:close/>
                <a:moveTo>
                  <a:pt x="178" y="637"/>
                </a:moveTo>
                <a:lnTo>
                  <a:pt x="182" y="637"/>
                </a:lnTo>
                <a:lnTo>
                  <a:pt x="182" y="639"/>
                </a:lnTo>
                <a:lnTo>
                  <a:pt x="184" y="643"/>
                </a:lnTo>
                <a:lnTo>
                  <a:pt x="186" y="640"/>
                </a:lnTo>
                <a:lnTo>
                  <a:pt x="187" y="642"/>
                </a:lnTo>
                <a:lnTo>
                  <a:pt x="188" y="644"/>
                </a:lnTo>
                <a:lnTo>
                  <a:pt x="190" y="645"/>
                </a:lnTo>
                <a:lnTo>
                  <a:pt x="191" y="645"/>
                </a:lnTo>
                <a:lnTo>
                  <a:pt x="188" y="648"/>
                </a:lnTo>
                <a:lnTo>
                  <a:pt x="178" y="652"/>
                </a:lnTo>
                <a:lnTo>
                  <a:pt x="172" y="652"/>
                </a:lnTo>
                <a:lnTo>
                  <a:pt x="169" y="655"/>
                </a:lnTo>
                <a:lnTo>
                  <a:pt x="166" y="655"/>
                </a:lnTo>
                <a:lnTo>
                  <a:pt x="162" y="657"/>
                </a:lnTo>
                <a:lnTo>
                  <a:pt x="157" y="657"/>
                </a:lnTo>
                <a:lnTo>
                  <a:pt x="156" y="656"/>
                </a:lnTo>
                <a:lnTo>
                  <a:pt x="156" y="655"/>
                </a:lnTo>
                <a:lnTo>
                  <a:pt x="155" y="655"/>
                </a:lnTo>
                <a:lnTo>
                  <a:pt x="155" y="656"/>
                </a:lnTo>
                <a:lnTo>
                  <a:pt x="154" y="656"/>
                </a:lnTo>
                <a:lnTo>
                  <a:pt x="154" y="655"/>
                </a:lnTo>
                <a:lnTo>
                  <a:pt x="153" y="655"/>
                </a:lnTo>
                <a:lnTo>
                  <a:pt x="154" y="652"/>
                </a:lnTo>
                <a:lnTo>
                  <a:pt x="154" y="651"/>
                </a:lnTo>
                <a:lnTo>
                  <a:pt x="155" y="650"/>
                </a:lnTo>
                <a:lnTo>
                  <a:pt x="159" y="645"/>
                </a:lnTo>
                <a:lnTo>
                  <a:pt x="160" y="645"/>
                </a:lnTo>
                <a:lnTo>
                  <a:pt x="168" y="644"/>
                </a:lnTo>
                <a:lnTo>
                  <a:pt x="170" y="645"/>
                </a:lnTo>
                <a:lnTo>
                  <a:pt x="172" y="645"/>
                </a:lnTo>
                <a:lnTo>
                  <a:pt x="170" y="644"/>
                </a:lnTo>
                <a:lnTo>
                  <a:pt x="166" y="643"/>
                </a:lnTo>
                <a:lnTo>
                  <a:pt x="165" y="642"/>
                </a:lnTo>
                <a:lnTo>
                  <a:pt x="166" y="640"/>
                </a:lnTo>
                <a:lnTo>
                  <a:pt x="168" y="640"/>
                </a:lnTo>
                <a:lnTo>
                  <a:pt x="175" y="638"/>
                </a:lnTo>
                <a:lnTo>
                  <a:pt x="176" y="638"/>
                </a:lnTo>
                <a:lnTo>
                  <a:pt x="176" y="640"/>
                </a:lnTo>
                <a:lnTo>
                  <a:pt x="178" y="640"/>
                </a:lnTo>
                <a:lnTo>
                  <a:pt x="178" y="637"/>
                </a:lnTo>
                <a:close/>
                <a:moveTo>
                  <a:pt x="186" y="636"/>
                </a:moveTo>
                <a:lnTo>
                  <a:pt x="188" y="636"/>
                </a:lnTo>
                <a:lnTo>
                  <a:pt x="188" y="637"/>
                </a:lnTo>
                <a:lnTo>
                  <a:pt x="191" y="637"/>
                </a:lnTo>
                <a:lnTo>
                  <a:pt x="191" y="638"/>
                </a:lnTo>
                <a:lnTo>
                  <a:pt x="190" y="639"/>
                </a:lnTo>
                <a:lnTo>
                  <a:pt x="188" y="639"/>
                </a:lnTo>
                <a:lnTo>
                  <a:pt x="187" y="640"/>
                </a:lnTo>
                <a:lnTo>
                  <a:pt x="185" y="640"/>
                </a:lnTo>
                <a:lnTo>
                  <a:pt x="185" y="637"/>
                </a:lnTo>
                <a:lnTo>
                  <a:pt x="186" y="637"/>
                </a:lnTo>
                <a:lnTo>
                  <a:pt x="186" y="636"/>
                </a:lnTo>
                <a:close/>
                <a:moveTo>
                  <a:pt x="173" y="621"/>
                </a:moveTo>
                <a:lnTo>
                  <a:pt x="173" y="623"/>
                </a:lnTo>
                <a:lnTo>
                  <a:pt x="174" y="623"/>
                </a:lnTo>
                <a:lnTo>
                  <a:pt x="175" y="621"/>
                </a:lnTo>
                <a:lnTo>
                  <a:pt x="175" y="626"/>
                </a:lnTo>
                <a:lnTo>
                  <a:pt x="176" y="627"/>
                </a:lnTo>
                <a:lnTo>
                  <a:pt x="176" y="631"/>
                </a:lnTo>
                <a:lnTo>
                  <a:pt x="175" y="632"/>
                </a:lnTo>
                <a:lnTo>
                  <a:pt x="173" y="633"/>
                </a:lnTo>
                <a:lnTo>
                  <a:pt x="165" y="635"/>
                </a:lnTo>
                <a:lnTo>
                  <a:pt x="162" y="636"/>
                </a:lnTo>
                <a:lnTo>
                  <a:pt x="161" y="635"/>
                </a:lnTo>
                <a:lnTo>
                  <a:pt x="163" y="633"/>
                </a:lnTo>
                <a:lnTo>
                  <a:pt x="161" y="633"/>
                </a:lnTo>
                <a:lnTo>
                  <a:pt x="161" y="635"/>
                </a:lnTo>
                <a:lnTo>
                  <a:pt x="160" y="633"/>
                </a:lnTo>
                <a:lnTo>
                  <a:pt x="159" y="635"/>
                </a:lnTo>
                <a:lnTo>
                  <a:pt x="156" y="635"/>
                </a:lnTo>
                <a:lnTo>
                  <a:pt x="156" y="636"/>
                </a:lnTo>
                <a:lnTo>
                  <a:pt x="155" y="636"/>
                </a:lnTo>
                <a:lnTo>
                  <a:pt x="153" y="633"/>
                </a:lnTo>
                <a:lnTo>
                  <a:pt x="155" y="632"/>
                </a:lnTo>
                <a:lnTo>
                  <a:pt x="163" y="631"/>
                </a:lnTo>
                <a:lnTo>
                  <a:pt x="173" y="625"/>
                </a:lnTo>
                <a:lnTo>
                  <a:pt x="170" y="625"/>
                </a:lnTo>
                <a:lnTo>
                  <a:pt x="173" y="621"/>
                </a:lnTo>
                <a:close/>
                <a:moveTo>
                  <a:pt x="222" y="599"/>
                </a:moveTo>
                <a:lnTo>
                  <a:pt x="223" y="600"/>
                </a:lnTo>
                <a:lnTo>
                  <a:pt x="223" y="603"/>
                </a:lnTo>
                <a:lnTo>
                  <a:pt x="221" y="603"/>
                </a:lnTo>
                <a:lnTo>
                  <a:pt x="219" y="602"/>
                </a:lnTo>
                <a:lnTo>
                  <a:pt x="221" y="602"/>
                </a:lnTo>
                <a:lnTo>
                  <a:pt x="221" y="601"/>
                </a:lnTo>
                <a:lnTo>
                  <a:pt x="219" y="601"/>
                </a:lnTo>
                <a:lnTo>
                  <a:pt x="219" y="600"/>
                </a:lnTo>
                <a:lnTo>
                  <a:pt x="221" y="600"/>
                </a:lnTo>
                <a:lnTo>
                  <a:pt x="222" y="599"/>
                </a:lnTo>
                <a:close/>
                <a:moveTo>
                  <a:pt x="284" y="541"/>
                </a:moveTo>
                <a:lnTo>
                  <a:pt x="285" y="544"/>
                </a:lnTo>
                <a:lnTo>
                  <a:pt x="285" y="543"/>
                </a:lnTo>
                <a:lnTo>
                  <a:pt x="287" y="546"/>
                </a:lnTo>
                <a:lnTo>
                  <a:pt x="288" y="549"/>
                </a:lnTo>
                <a:lnTo>
                  <a:pt x="288" y="550"/>
                </a:lnTo>
                <a:lnTo>
                  <a:pt x="286" y="550"/>
                </a:lnTo>
                <a:lnTo>
                  <a:pt x="286" y="551"/>
                </a:lnTo>
                <a:lnTo>
                  <a:pt x="285" y="550"/>
                </a:lnTo>
                <a:lnTo>
                  <a:pt x="283" y="549"/>
                </a:lnTo>
                <a:lnTo>
                  <a:pt x="283" y="546"/>
                </a:lnTo>
                <a:lnTo>
                  <a:pt x="284" y="546"/>
                </a:lnTo>
                <a:lnTo>
                  <a:pt x="284" y="541"/>
                </a:lnTo>
                <a:close/>
                <a:moveTo>
                  <a:pt x="271" y="540"/>
                </a:moveTo>
                <a:lnTo>
                  <a:pt x="273" y="540"/>
                </a:lnTo>
                <a:lnTo>
                  <a:pt x="274" y="543"/>
                </a:lnTo>
                <a:lnTo>
                  <a:pt x="278" y="544"/>
                </a:lnTo>
                <a:lnTo>
                  <a:pt x="279" y="546"/>
                </a:lnTo>
                <a:lnTo>
                  <a:pt x="280" y="550"/>
                </a:lnTo>
                <a:lnTo>
                  <a:pt x="281" y="551"/>
                </a:lnTo>
                <a:lnTo>
                  <a:pt x="286" y="551"/>
                </a:lnTo>
                <a:lnTo>
                  <a:pt x="287" y="553"/>
                </a:lnTo>
                <a:lnTo>
                  <a:pt x="286" y="554"/>
                </a:lnTo>
                <a:lnTo>
                  <a:pt x="286" y="558"/>
                </a:lnTo>
                <a:lnTo>
                  <a:pt x="285" y="557"/>
                </a:lnTo>
                <a:lnTo>
                  <a:pt x="281" y="556"/>
                </a:lnTo>
                <a:lnTo>
                  <a:pt x="280" y="556"/>
                </a:lnTo>
                <a:lnTo>
                  <a:pt x="280" y="553"/>
                </a:lnTo>
                <a:lnTo>
                  <a:pt x="279" y="553"/>
                </a:lnTo>
                <a:lnTo>
                  <a:pt x="275" y="554"/>
                </a:lnTo>
                <a:lnTo>
                  <a:pt x="273" y="550"/>
                </a:lnTo>
                <a:lnTo>
                  <a:pt x="275" y="547"/>
                </a:lnTo>
                <a:lnTo>
                  <a:pt x="278" y="549"/>
                </a:lnTo>
                <a:lnTo>
                  <a:pt x="277" y="546"/>
                </a:lnTo>
                <a:lnTo>
                  <a:pt x="272" y="546"/>
                </a:lnTo>
                <a:lnTo>
                  <a:pt x="269" y="545"/>
                </a:lnTo>
                <a:lnTo>
                  <a:pt x="269" y="543"/>
                </a:lnTo>
                <a:lnTo>
                  <a:pt x="271" y="541"/>
                </a:lnTo>
                <a:lnTo>
                  <a:pt x="271" y="540"/>
                </a:lnTo>
                <a:close/>
                <a:moveTo>
                  <a:pt x="281" y="537"/>
                </a:moveTo>
                <a:lnTo>
                  <a:pt x="283" y="538"/>
                </a:lnTo>
                <a:lnTo>
                  <a:pt x="283" y="544"/>
                </a:lnTo>
                <a:lnTo>
                  <a:pt x="281" y="544"/>
                </a:lnTo>
                <a:lnTo>
                  <a:pt x="281" y="545"/>
                </a:lnTo>
                <a:lnTo>
                  <a:pt x="280" y="545"/>
                </a:lnTo>
                <a:lnTo>
                  <a:pt x="280" y="544"/>
                </a:lnTo>
                <a:lnTo>
                  <a:pt x="279" y="543"/>
                </a:lnTo>
                <a:lnTo>
                  <a:pt x="279" y="541"/>
                </a:lnTo>
                <a:lnTo>
                  <a:pt x="275" y="541"/>
                </a:lnTo>
                <a:lnTo>
                  <a:pt x="275" y="538"/>
                </a:lnTo>
                <a:lnTo>
                  <a:pt x="281" y="537"/>
                </a:lnTo>
                <a:close/>
                <a:moveTo>
                  <a:pt x="272" y="510"/>
                </a:moveTo>
                <a:lnTo>
                  <a:pt x="273" y="510"/>
                </a:lnTo>
                <a:lnTo>
                  <a:pt x="274" y="512"/>
                </a:lnTo>
                <a:lnTo>
                  <a:pt x="275" y="512"/>
                </a:lnTo>
                <a:lnTo>
                  <a:pt x="275" y="513"/>
                </a:lnTo>
                <a:lnTo>
                  <a:pt x="277" y="513"/>
                </a:lnTo>
                <a:lnTo>
                  <a:pt x="277" y="515"/>
                </a:lnTo>
                <a:lnTo>
                  <a:pt x="279" y="515"/>
                </a:lnTo>
                <a:lnTo>
                  <a:pt x="279" y="516"/>
                </a:lnTo>
                <a:lnTo>
                  <a:pt x="278" y="519"/>
                </a:lnTo>
                <a:lnTo>
                  <a:pt x="275" y="521"/>
                </a:lnTo>
                <a:lnTo>
                  <a:pt x="274" y="521"/>
                </a:lnTo>
                <a:lnTo>
                  <a:pt x="272" y="522"/>
                </a:lnTo>
                <a:lnTo>
                  <a:pt x="272" y="520"/>
                </a:lnTo>
                <a:lnTo>
                  <a:pt x="269" y="520"/>
                </a:lnTo>
                <a:lnTo>
                  <a:pt x="272" y="517"/>
                </a:lnTo>
                <a:lnTo>
                  <a:pt x="272" y="515"/>
                </a:lnTo>
                <a:lnTo>
                  <a:pt x="268" y="515"/>
                </a:lnTo>
                <a:lnTo>
                  <a:pt x="266" y="517"/>
                </a:lnTo>
                <a:lnTo>
                  <a:pt x="265" y="520"/>
                </a:lnTo>
                <a:lnTo>
                  <a:pt x="263" y="520"/>
                </a:lnTo>
                <a:lnTo>
                  <a:pt x="262" y="521"/>
                </a:lnTo>
                <a:lnTo>
                  <a:pt x="261" y="520"/>
                </a:lnTo>
                <a:lnTo>
                  <a:pt x="272" y="510"/>
                </a:lnTo>
                <a:close/>
                <a:moveTo>
                  <a:pt x="269" y="507"/>
                </a:moveTo>
                <a:lnTo>
                  <a:pt x="272" y="507"/>
                </a:lnTo>
                <a:lnTo>
                  <a:pt x="273" y="508"/>
                </a:lnTo>
                <a:lnTo>
                  <a:pt x="273" y="509"/>
                </a:lnTo>
                <a:lnTo>
                  <a:pt x="267" y="514"/>
                </a:lnTo>
                <a:lnTo>
                  <a:pt x="263" y="515"/>
                </a:lnTo>
                <a:lnTo>
                  <a:pt x="260" y="519"/>
                </a:lnTo>
                <a:lnTo>
                  <a:pt x="257" y="520"/>
                </a:lnTo>
                <a:lnTo>
                  <a:pt x="257" y="519"/>
                </a:lnTo>
                <a:lnTo>
                  <a:pt x="256" y="519"/>
                </a:lnTo>
                <a:lnTo>
                  <a:pt x="257" y="516"/>
                </a:lnTo>
                <a:lnTo>
                  <a:pt x="257" y="515"/>
                </a:lnTo>
                <a:lnTo>
                  <a:pt x="259" y="514"/>
                </a:lnTo>
                <a:lnTo>
                  <a:pt x="259" y="513"/>
                </a:lnTo>
                <a:lnTo>
                  <a:pt x="262" y="513"/>
                </a:lnTo>
                <a:lnTo>
                  <a:pt x="265" y="512"/>
                </a:lnTo>
                <a:lnTo>
                  <a:pt x="267" y="509"/>
                </a:lnTo>
                <a:lnTo>
                  <a:pt x="269" y="508"/>
                </a:lnTo>
                <a:lnTo>
                  <a:pt x="269" y="507"/>
                </a:lnTo>
                <a:close/>
                <a:moveTo>
                  <a:pt x="296" y="494"/>
                </a:moveTo>
                <a:lnTo>
                  <a:pt x="298" y="494"/>
                </a:lnTo>
                <a:lnTo>
                  <a:pt x="298" y="495"/>
                </a:lnTo>
                <a:lnTo>
                  <a:pt x="299" y="495"/>
                </a:lnTo>
                <a:lnTo>
                  <a:pt x="299" y="494"/>
                </a:lnTo>
                <a:lnTo>
                  <a:pt x="300" y="494"/>
                </a:lnTo>
                <a:lnTo>
                  <a:pt x="300" y="495"/>
                </a:lnTo>
                <a:lnTo>
                  <a:pt x="298" y="497"/>
                </a:lnTo>
                <a:lnTo>
                  <a:pt x="297" y="497"/>
                </a:lnTo>
                <a:lnTo>
                  <a:pt x="297" y="498"/>
                </a:lnTo>
                <a:lnTo>
                  <a:pt x="298" y="500"/>
                </a:lnTo>
                <a:lnTo>
                  <a:pt x="297" y="501"/>
                </a:lnTo>
                <a:lnTo>
                  <a:pt x="296" y="501"/>
                </a:lnTo>
                <a:lnTo>
                  <a:pt x="296" y="498"/>
                </a:lnTo>
                <a:lnTo>
                  <a:pt x="293" y="501"/>
                </a:lnTo>
                <a:lnTo>
                  <a:pt x="292" y="501"/>
                </a:lnTo>
                <a:lnTo>
                  <a:pt x="290" y="500"/>
                </a:lnTo>
                <a:lnTo>
                  <a:pt x="291" y="500"/>
                </a:lnTo>
                <a:lnTo>
                  <a:pt x="290" y="498"/>
                </a:lnTo>
                <a:lnTo>
                  <a:pt x="291" y="498"/>
                </a:lnTo>
                <a:lnTo>
                  <a:pt x="291" y="496"/>
                </a:lnTo>
                <a:lnTo>
                  <a:pt x="292" y="495"/>
                </a:lnTo>
                <a:lnTo>
                  <a:pt x="296" y="494"/>
                </a:lnTo>
                <a:close/>
                <a:moveTo>
                  <a:pt x="317" y="484"/>
                </a:moveTo>
                <a:lnTo>
                  <a:pt x="318" y="484"/>
                </a:lnTo>
                <a:lnTo>
                  <a:pt x="319" y="485"/>
                </a:lnTo>
                <a:lnTo>
                  <a:pt x="321" y="488"/>
                </a:lnTo>
                <a:lnTo>
                  <a:pt x="322" y="489"/>
                </a:lnTo>
                <a:lnTo>
                  <a:pt x="319" y="494"/>
                </a:lnTo>
                <a:lnTo>
                  <a:pt x="322" y="494"/>
                </a:lnTo>
                <a:lnTo>
                  <a:pt x="323" y="495"/>
                </a:lnTo>
                <a:lnTo>
                  <a:pt x="323" y="496"/>
                </a:lnTo>
                <a:lnTo>
                  <a:pt x="322" y="497"/>
                </a:lnTo>
                <a:lnTo>
                  <a:pt x="317" y="500"/>
                </a:lnTo>
                <a:lnTo>
                  <a:pt x="316" y="500"/>
                </a:lnTo>
                <a:lnTo>
                  <a:pt x="313" y="498"/>
                </a:lnTo>
                <a:lnTo>
                  <a:pt x="310" y="498"/>
                </a:lnTo>
                <a:lnTo>
                  <a:pt x="310" y="497"/>
                </a:lnTo>
                <a:lnTo>
                  <a:pt x="312" y="497"/>
                </a:lnTo>
                <a:lnTo>
                  <a:pt x="312" y="494"/>
                </a:lnTo>
                <a:lnTo>
                  <a:pt x="315" y="494"/>
                </a:lnTo>
                <a:lnTo>
                  <a:pt x="316" y="492"/>
                </a:lnTo>
                <a:lnTo>
                  <a:pt x="315" y="492"/>
                </a:lnTo>
                <a:lnTo>
                  <a:pt x="313" y="491"/>
                </a:lnTo>
                <a:lnTo>
                  <a:pt x="313" y="490"/>
                </a:lnTo>
                <a:lnTo>
                  <a:pt x="315" y="489"/>
                </a:lnTo>
                <a:lnTo>
                  <a:pt x="315" y="486"/>
                </a:lnTo>
                <a:lnTo>
                  <a:pt x="317" y="484"/>
                </a:lnTo>
                <a:close/>
                <a:moveTo>
                  <a:pt x="336" y="470"/>
                </a:moveTo>
                <a:lnTo>
                  <a:pt x="336" y="471"/>
                </a:lnTo>
                <a:lnTo>
                  <a:pt x="337" y="472"/>
                </a:lnTo>
                <a:lnTo>
                  <a:pt x="337" y="473"/>
                </a:lnTo>
                <a:lnTo>
                  <a:pt x="339" y="473"/>
                </a:lnTo>
                <a:lnTo>
                  <a:pt x="340" y="472"/>
                </a:lnTo>
                <a:lnTo>
                  <a:pt x="339" y="470"/>
                </a:lnTo>
                <a:lnTo>
                  <a:pt x="336" y="470"/>
                </a:lnTo>
                <a:close/>
                <a:moveTo>
                  <a:pt x="321" y="447"/>
                </a:moveTo>
                <a:lnTo>
                  <a:pt x="322" y="447"/>
                </a:lnTo>
                <a:lnTo>
                  <a:pt x="323" y="448"/>
                </a:lnTo>
                <a:lnTo>
                  <a:pt x="323" y="451"/>
                </a:lnTo>
                <a:lnTo>
                  <a:pt x="324" y="452"/>
                </a:lnTo>
                <a:lnTo>
                  <a:pt x="327" y="453"/>
                </a:lnTo>
                <a:lnTo>
                  <a:pt x="327" y="454"/>
                </a:lnTo>
                <a:lnTo>
                  <a:pt x="329" y="459"/>
                </a:lnTo>
                <a:lnTo>
                  <a:pt x="329" y="463"/>
                </a:lnTo>
                <a:lnTo>
                  <a:pt x="330" y="464"/>
                </a:lnTo>
                <a:lnTo>
                  <a:pt x="330" y="465"/>
                </a:lnTo>
                <a:lnTo>
                  <a:pt x="331" y="465"/>
                </a:lnTo>
                <a:lnTo>
                  <a:pt x="331" y="466"/>
                </a:lnTo>
                <a:lnTo>
                  <a:pt x="329" y="467"/>
                </a:lnTo>
                <a:lnTo>
                  <a:pt x="329" y="469"/>
                </a:lnTo>
                <a:lnTo>
                  <a:pt x="327" y="470"/>
                </a:lnTo>
                <a:lnTo>
                  <a:pt x="325" y="471"/>
                </a:lnTo>
                <a:lnTo>
                  <a:pt x="325" y="472"/>
                </a:lnTo>
                <a:lnTo>
                  <a:pt x="324" y="472"/>
                </a:lnTo>
                <a:lnTo>
                  <a:pt x="321" y="473"/>
                </a:lnTo>
                <a:lnTo>
                  <a:pt x="318" y="473"/>
                </a:lnTo>
                <a:lnTo>
                  <a:pt x="319" y="474"/>
                </a:lnTo>
                <a:lnTo>
                  <a:pt x="319" y="476"/>
                </a:lnTo>
                <a:lnTo>
                  <a:pt x="321" y="476"/>
                </a:lnTo>
                <a:lnTo>
                  <a:pt x="321" y="478"/>
                </a:lnTo>
                <a:lnTo>
                  <a:pt x="319" y="478"/>
                </a:lnTo>
                <a:lnTo>
                  <a:pt x="318" y="480"/>
                </a:lnTo>
                <a:lnTo>
                  <a:pt x="313" y="484"/>
                </a:lnTo>
                <a:lnTo>
                  <a:pt x="312" y="483"/>
                </a:lnTo>
                <a:lnTo>
                  <a:pt x="313" y="482"/>
                </a:lnTo>
                <a:lnTo>
                  <a:pt x="315" y="479"/>
                </a:lnTo>
                <a:lnTo>
                  <a:pt x="316" y="474"/>
                </a:lnTo>
                <a:lnTo>
                  <a:pt x="315" y="476"/>
                </a:lnTo>
                <a:lnTo>
                  <a:pt x="313" y="474"/>
                </a:lnTo>
                <a:lnTo>
                  <a:pt x="315" y="473"/>
                </a:lnTo>
                <a:lnTo>
                  <a:pt x="315" y="471"/>
                </a:lnTo>
                <a:lnTo>
                  <a:pt x="316" y="470"/>
                </a:lnTo>
                <a:lnTo>
                  <a:pt x="316" y="469"/>
                </a:lnTo>
                <a:lnTo>
                  <a:pt x="317" y="469"/>
                </a:lnTo>
                <a:lnTo>
                  <a:pt x="317" y="470"/>
                </a:lnTo>
                <a:lnTo>
                  <a:pt x="318" y="470"/>
                </a:lnTo>
                <a:lnTo>
                  <a:pt x="318" y="469"/>
                </a:lnTo>
                <a:lnTo>
                  <a:pt x="319" y="467"/>
                </a:lnTo>
                <a:lnTo>
                  <a:pt x="319" y="466"/>
                </a:lnTo>
                <a:lnTo>
                  <a:pt x="318" y="467"/>
                </a:lnTo>
                <a:lnTo>
                  <a:pt x="318" y="466"/>
                </a:lnTo>
                <a:lnTo>
                  <a:pt x="317" y="466"/>
                </a:lnTo>
                <a:lnTo>
                  <a:pt x="317" y="465"/>
                </a:lnTo>
                <a:lnTo>
                  <a:pt x="322" y="460"/>
                </a:lnTo>
                <a:lnTo>
                  <a:pt x="324" y="459"/>
                </a:lnTo>
                <a:lnTo>
                  <a:pt x="324" y="458"/>
                </a:lnTo>
                <a:lnTo>
                  <a:pt x="323" y="457"/>
                </a:lnTo>
                <a:lnTo>
                  <a:pt x="323" y="455"/>
                </a:lnTo>
                <a:lnTo>
                  <a:pt x="321" y="458"/>
                </a:lnTo>
                <a:lnTo>
                  <a:pt x="318" y="458"/>
                </a:lnTo>
                <a:lnTo>
                  <a:pt x="319" y="457"/>
                </a:lnTo>
                <a:lnTo>
                  <a:pt x="318" y="457"/>
                </a:lnTo>
                <a:lnTo>
                  <a:pt x="321" y="452"/>
                </a:lnTo>
                <a:lnTo>
                  <a:pt x="321" y="451"/>
                </a:lnTo>
                <a:lnTo>
                  <a:pt x="319" y="451"/>
                </a:lnTo>
                <a:lnTo>
                  <a:pt x="321" y="449"/>
                </a:lnTo>
                <a:lnTo>
                  <a:pt x="321" y="447"/>
                </a:lnTo>
                <a:close/>
                <a:moveTo>
                  <a:pt x="305" y="434"/>
                </a:moveTo>
                <a:lnTo>
                  <a:pt x="308" y="434"/>
                </a:lnTo>
                <a:lnTo>
                  <a:pt x="309" y="435"/>
                </a:lnTo>
                <a:lnTo>
                  <a:pt x="310" y="435"/>
                </a:lnTo>
                <a:lnTo>
                  <a:pt x="310" y="437"/>
                </a:lnTo>
                <a:lnTo>
                  <a:pt x="309" y="439"/>
                </a:lnTo>
                <a:lnTo>
                  <a:pt x="309" y="442"/>
                </a:lnTo>
                <a:lnTo>
                  <a:pt x="308" y="445"/>
                </a:lnTo>
                <a:lnTo>
                  <a:pt x="306" y="446"/>
                </a:lnTo>
                <a:lnTo>
                  <a:pt x="306" y="445"/>
                </a:lnTo>
                <a:lnTo>
                  <a:pt x="304" y="445"/>
                </a:lnTo>
                <a:lnTo>
                  <a:pt x="305" y="443"/>
                </a:lnTo>
                <a:lnTo>
                  <a:pt x="304" y="443"/>
                </a:lnTo>
                <a:lnTo>
                  <a:pt x="300" y="445"/>
                </a:lnTo>
                <a:lnTo>
                  <a:pt x="300" y="441"/>
                </a:lnTo>
                <a:lnTo>
                  <a:pt x="302" y="439"/>
                </a:lnTo>
                <a:lnTo>
                  <a:pt x="302" y="436"/>
                </a:lnTo>
                <a:lnTo>
                  <a:pt x="303" y="435"/>
                </a:lnTo>
                <a:lnTo>
                  <a:pt x="305" y="434"/>
                </a:lnTo>
                <a:close/>
                <a:moveTo>
                  <a:pt x="347" y="400"/>
                </a:moveTo>
                <a:lnTo>
                  <a:pt x="348" y="402"/>
                </a:lnTo>
                <a:lnTo>
                  <a:pt x="348" y="404"/>
                </a:lnTo>
                <a:lnTo>
                  <a:pt x="347" y="404"/>
                </a:lnTo>
                <a:lnTo>
                  <a:pt x="341" y="406"/>
                </a:lnTo>
                <a:lnTo>
                  <a:pt x="339" y="409"/>
                </a:lnTo>
                <a:lnTo>
                  <a:pt x="336" y="410"/>
                </a:lnTo>
                <a:lnTo>
                  <a:pt x="331" y="416"/>
                </a:lnTo>
                <a:lnTo>
                  <a:pt x="330" y="417"/>
                </a:lnTo>
                <a:lnTo>
                  <a:pt x="329" y="417"/>
                </a:lnTo>
                <a:lnTo>
                  <a:pt x="329" y="416"/>
                </a:lnTo>
                <a:lnTo>
                  <a:pt x="330" y="415"/>
                </a:lnTo>
                <a:lnTo>
                  <a:pt x="330" y="414"/>
                </a:lnTo>
                <a:lnTo>
                  <a:pt x="325" y="415"/>
                </a:lnTo>
                <a:lnTo>
                  <a:pt x="329" y="411"/>
                </a:lnTo>
                <a:lnTo>
                  <a:pt x="329" y="410"/>
                </a:lnTo>
                <a:lnTo>
                  <a:pt x="330" y="406"/>
                </a:lnTo>
                <a:lnTo>
                  <a:pt x="330" y="405"/>
                </a:lnTo>
                <a:lnTo>
                  <a:pt x="331" y="404"/>
                </a:lnTo>
                <a:lnTo>
                  <a:pt x="336" y="402"/>
                </a:lnTo>
                <a:lnTo>
                  <a:pt x="337" y="402"/>
                </a:lnTo>
                <a:lnTo>
                  <a:pt x="336" y="404"/>
                </a:lnTo>
                <a:lnTo>
                  <a:pt x="336" y="406"/>
                </a:lnTo>
                <a:lnTo>
                  <a:pt x="337" y="406"/>
                </a:lnTo>
                <a:lnTo>
                  <a:pt x="340" y="404"/>
                </a:lnTo>
                <a:lnTo>
                  <a:pt x="341" y="402"/>
                </a:lnTo>
                <a:lnTo>
                  <a:pt x="344" y="402"/>
                </a:lnTo>
                <a:lnTo>
                  <a:pt x="347" y="400"/>
                </a:lnTo>
                <a:close/>
                <a:moveTo>
                  <a:pt x="341" y="399"/>
                </a:moveTo>
                <a:lnTo>
                  <a:pt x="340" y="399"/>
                </a:lnTo>
                <a:lnTo>
                  <a:pt x="341" y="399"/>
                </a:lnTo>
                <a:close/>
                <a:moveTo>
                  <a:pt x="334" y="380"/>
                </a:moveTo>
                <a:lnTo>
                  <a:pt x="335" y="381"/>
                </a:lnTo>
                <a:lnTo>
                  <a:pt x="335" y="383"/>
                </a:lnTo>
                <a:lnTo>
                  <a:pt x="336" y="384"/>
                </a:lnTo>
                <a:lnTo>
                  <a:pt x="336" y="387"/>
                </a:lnTo>
                <a:lnTo>
                  <a:pt x="334" y="390"/>
                </a:lnTo>
                <a:lnTo>
                  <a:pt x="336" y="390"/>
                </a:lnTo>
                <a:lnTo>
                  <a:pt x="336" y="391"/>
                </a:lnTo>
                <a:lnTo>
                  <a:pt x="335" y="391"/>
                </a:lnTo>
                <a:lnTo>
                  <a:pt x="335" y="392"/>
                </a:lnTo>
                <a:lnTo>
                  <a:pt x="337" y="392"/>
                </a:lnTo>
                <a:lnTo>
                  <a:pt x="339" y="393"/>
                </a:lnTo>
                <a:lnTo>
                  <a:pt x="337" y="393"/>
                </a:lnTo>
                <a:lnTo>
                  <a:pt x="337" y="394"/>
                </a:lnTo>
                <a:lnTo>
                  <a:pt x="335" y="394"/>
                </a:lnTo>
                <a:lnTo>
                  <a:pt x="335" y="396"/>
                </a:lnTo>
                <a:lnTo>
                  <a:pt x="323" y="402"/>
                </a:lnTo>
                <a:lnTo>
                  <a:pt x="324" y="399"/>
                </a:lnTo>
                <a:lnTo>
                  <a:pt x="325" y="398"/>
                </a:lnTo>
                <a:lnTo>
                  <a:pt x="327" y="398"/>
                </a:lnTo>
                <a:lnTo>
                  <a:pt x="327" y="397"/>
                </a:lnTo>
                <a:lnTo>
                  <a:pt x="328" y="396"/>
                </a:lnTo>
                <a:lnTo>
                  <a:pt x="328" y="394"/>
                </a:lnTo>
                <a:lnTo>
                  <a:pt x="327" y="394"/>
                </a:lnTo>
                <a:lnTo>
                  <a:pt x="325" y="396"/>
                </a:lnTo>
                <a:lnTo>
                  <a:pt x="324" y="396"/>
                </a:lnTo>
                <a:lnTo>
                  <a:pt x="324" y="394"/>
                </a:lnTo>
                <a:lnTo>
                  <a:pt x="325" y="394"/>
                </a:lnTo>
                <a:lnTo>
                  <a:pt x="327" y="393"/>
                </a:lnTo>
                <a:lnTo>
                  <a:pt x="329" y="392"/>
                </a:lnTo>
                <a:lnTo>
                  <a:pt x="330" y="392"/>
                </a:lnTo>
                <a:lnTo>
                  <a:pt x="330" y="391"/>
                </a:lnTo>
                <a:lnTo>
                  <a:pt x="333" y="388"/>
                </a:lnTo>
                <a:lnTo>
                  <a:pt x="335" y="387"/>
                </a:lnTo>
                <a:lnTo>
                  <a:pt x="333" y="386"/>
                </a:lnTo>
                <a:lnTo>
                  <a:pt x="331" y="385"/>
                </a:lnTo>
                <a:lnTo>
                  <a:pt x="330" y="385"/>
                </a:lnTo>
                <a:lnTo>
                  <a:pt x="329" y="386"/>
                </a:lnTo>
                <a:lnTo>
                  <a:pt x="333" y="383"/>
                </a:lnTo>
                <a:lnTo>
                  <a:pt x="334" y="380"/>
                </a:lnTo>
                <a:close/>
                <a:moveTo>
                  <a:pt x="343" y="371"/>
                </a:moveTo>
                <a:lnTo>
                  <a:pt x="344" y="371"/>
                </a:lnTo>
                <a:lnTo>
                  <a:pt x="344" y="373"/>
                </a:lnTo>
                <a:lnTo>
                  <a:pt x="347" y="373"/>
                </a:lnTo>
                <a:lnTo>
                  <a:pt x="347" y="374"/>
                </a:lnTo>
                <a:lnTo>
                  <a:pt x="348" y="377"/>
                </a:lnTo>
                <a:lnTo>
                  <a:pt x="347" y="378"/>
                </a:lnTo>
                <a:lnTo>
                  <a:pt x="347" y="379"/>
                </a:lnTo>
                <a:lnTo>
                  <a:pt x="344" y="381"/>
                </a:lnTo>
                <a:lnTo>
                  <a:pt x="344" y="380"/>
                </a:lnTo>
                <a:lnTo>
                  <a:pt x="343" y="381"/>
                </a:lnTo>
                <a:lnTo>
                  <a:pt x="342" y="380"/>
                </a:lnTo>
                <a:lnTo>
                  <a:pt x="342" y="379"/>
                </a:lnTo>
                <a:lnTo>
                  <a:pt x="341" y="379"/>
                </a:lnTo>
                <a:lnTo>
                  <a:pt x="341" y="378"/>
                </a:lnTo>
                <a:lnTo>
                  <a:pt x="340" y="379"/>
                </a:lnTo>
                <a:lnTo>
                  <a:pt x="340" y="378"/>
                </a:lnTo>
                <a:lnTo>
                  <a:pt x="341" y="377"/>
                </a:lnTo>
                <a:lnTo>
                  <a:pt x="341" y="375"/>
                </a:lnTo>
                <a:lnTo>
                  <a:pt x="343" y="373"/>
                </a:lnTo>
                <a:lnTo>
                  <a:pt x="343" y="371"/>
                </a:lnTo>
                <a:close/>
                <a:moveTo>
                  <a:pt x="350" y="355"/>
                </a:moveTo>
                <a:lnTo>
                  <a:pt x="350" y="361"/>
                </a:lnTo>
                <a:lnTo>
                  <a:pt x="349" y="362"/>
                </a:lnTo>
                <a:lnTo>
                  <a:pt x="348" y="362"/>
                </a:lnTo>
                <a:lnTo>
                  <a:pt x="348" y="361"/>
                </a:lnTo>
                <a:lnTo>
                  <a:pt x="347" y="362"/>
                </a:lnTo>
                <a:lnTo>
                  <a:pt x="348" y="365"/>
                </a:lnTo>
                <a:lnTo>
                  <a:pt x="348" y="367"/>
                </a:lnTo>
                <a:lnTo>
                  <a:pt x="344" y="363"/>
                </a:lnTo>
                <a:lnTo>
                  <a:pt x="346" y="362"/>
                </a:lnTo>
                <a:lnTo>
                  <a:pt x="346" y="357"/>
                </a:lnTo>
                <a:lnTo>
                  <a:pt x="344" y="357"/>
                </a:lnTo>
                <a:lnTo>
                  <a:pt x="346" y="356"/>
                </a:lnTo>
                <a:lnTo>
                  <a:pt x="348" y="356"/>
                </a:lnTo>
                <a:lnTo>
                  <a:pt x="348" y="357"/>
                </a:lnTo>
                <a:lnTo>
                  <a:pt x="349" y="359"/>
                </a:lnTo>
                <a:lnTo>
                  <a:pt x="349" y="356"/>
                </a:lnTo>
                <a:lnTo>
                  <a:pt x="350" y="355"/>
                </a:lnTo>
                <a:close/>
                <a:moveTo>
                  <a:pt x="405" y="279"/>
                </a:moveTo>
                <a:lnTo>
                  <a:pt x="406" y="280"/>
                </a:lnTo>
                <a:lnTo>
                  <a:pt x="405" y="282"/>
                </a:lnTo>
                <a:lnTo>
                  <a:pt x="405" y="285"/>
                </a:lnTo>
                <a:lnTo>
                  <a:pt x="404" y="287"/>
                </a:lnTo>
                <a:lnTo>
                  <a:pt x="403" y="288"/>
                </a:lnTo>
                <a:lnTo>
                  <a:pt x="404" y="293"/>
                </a:lnTo>
                <a:lnTo>
                  <a:pt x="404" y="294"/>
                </a:lnTo>
                <a:lnTo>
                  <a:pt x="403" y="295"/>
                </a:lnTo>
                <a:lnTo>
                  <a:pt x="403" y="298"/>
                </a:lnTo>
                <a:lnTo>
                  <a:pt x="402" y="298"/>
                </a:lnTo>
                <a:lnTo>
                  <a:pt x="401" y="297"/>
                </a:lnTo>
                <a:lnTo>
                  <a:pt x="401" y="294"/>
                </a:lnTo>
                <a:lnTo>
                  <a:pt x="399" y="291"/>
                </a:lnTo>
                <a:lnTo>
                  <a:pt x="397" y="291"/>
                </a:lnTo>
                <a:lnTo>
                  <a:pt x="395" y="289"/>
                </a:lnTo>
                <a:lnTo>
                  <a:pt x="395" y="288"/>
                </a:lnTo>
                <a:lnTo>
                  <a:pt x="396" y="288"/>
                </a:lnTo>
                <a:lnTo>
                  <a:pt x="396" y="287"/>
                </a:lnTo>
                <a:lnTo>
                  <a:pt x="397" y="285"/>
                </a:lnTo>
                <a:lnTo>
                  <a:pt x="397" y="283"/>
                </a:lnTo>
                <a:lnTo>
                  <a:pt x="401" y="286"/>
                </a:lnTo>
                <a:lnTo>
                  <a:pt x="402" y="286"/>
                </a:lnTo>
                <a:lnTo>
                  <a:pt x="405" y="279"/>
                </a:lnTo>
                <a:close/>
                <a:moveTo>
                  <a:pt x="410" y="250"/>
                </a:moveTo>
                <a:lnTo>
                  <a:pt x="411" y="250"/>
                </a:lnTo>
                <a:lnTo>
                  <a:pt x="411" y="251"/>
                </a:lnTo>
                <a:lnTo>
                  <a:pt x="412" y="251"/>
                </a:lnTo>
                <a:lnTo>
                  <a:pt x="412" y="252"/>
                </a:lnTo>
                <a:lnTo>
                  <a:pt x="411" y="255"/>
                </a:lnTo>
                <a:lnTo>
                  <a:pt x="410" y="255"/>
                </a:lnTo>
                <a:lnTo>
                  <a:pt x="406" y="256"/>
                </a:lnTo>
                <a:lnTo>
                  <a:pt x="406" y="257"/>
                </a:lnTo>
                <a:lnTo>
                  <a:pt x="404" y="257"/>
                </a:lnTo>
                <a:lnTo>
                  <a:pt x="404" y="256"/>
                </a:lnTo>
                <a:lnTo>
                  <a:pt x="406" y="254"/>
                </a:lnTo>
                <a:lnTo>
                  <a:pt x="408" y="251"/>
                </a:lnTo>
                <a:lnTo>
                  <a:pt x="410" y="250"/>
                </a:lnTo>
                <a:close/>
                <a:moveTo>
                  <a:pt x="440" y="234"/>
                </a:moveTo>
                <a:lnTo>
                  <a:pt x="442" y="236"/>
                </a:lnTo>
                <a:lnTo>
                  <a:pt x="443" y="238"/>
                </a:lnTo>
                <a:lnTo>
                  <a:pt x="443" y="239"/>
                </a:lnTo>
                <a:lnTo>
                  <a:pt x="442" y="239"/>
                </a:lnTo>
                <a:lnTo>
                  <a:pt x="441" y="240"/>
                </a:lnTo>
                <a:lnTo>
                  <a:pt x="441" y="239"/>
                </a:lnTo>
                <a:lnTo>
                  <a:pt x="440" y="238"/>
                </a:lnTo>
                <a:lnTo>
                  <a:pt x="439" y="238"/>
                </a:lnTo>
                <a:lnTo>
                  <a:pt x="439" y="237"/>
                </a:lnTo>
                <a:lnTo>
                  <a:pt x="437" y="236"/>
                </a:lnTo>
                <a:lnTo>
                  <a:pt x="436" y="238"/>
                </a:lnTo>
                <a:lnTo>
                  <a:pt x="437" y="238"/>
                </a:lnTo>
                <a:lnTo>
                  <a:pt x="439" y="242"/>
                </a:lnTo>
                <a:lnTo>
                  <a:pt x="437" y="244"/>
                </a:lnTo>
                <a:lnTo>
                  <a:pt x="431" y="245"/>
                </a:lnTo>
                <a:lnTo>
                  <a:pt x="429" y="246"/>
                </a:lnTo>
                <a:lnTo>
                  <a:pt x="428" y="248"/>
                </a:lnTo>
                <a:lnTo>
                  <a:pt x="427" y="246"/>
                </a:lnTo>
                <a:lnTo>
                  <a:pt x="428" y="246"/>
                </a:lnTo>
                <a:lnTo>
                  <a:pt x="426" y="244"/>
                </a:lnTo>
                <a:lnTo>
                  <a:pt x="426" y="243"/>
                </a:lnTo>
                <a:lnTo>
                  <a:pt x="428" y="240"/>
                </a:lnTo>
                <a:lnTo>
                  <a:pt x="436" y="236"/>
                </a:lnTo>
                <a:lnTo>
                  <a:pt x="440" y="234"/>
                </a:lnTo>
                <a:close/>
                <a:moveTo>
                  <a:pt x="430" y="213"/>
                </a:moveTo>
                <a:lnTo>
                  <a:pt x="430" y="214"/>
                </a:lnTo>
                <a:lnTo>
                  <a:pt x="429" y="214"/>
                </a:lnTo>
                <a:lnTo>
                  <a:pt x="430" y="213"/>
                </a:lnTo>
                <a:close/>
                <a:moveTo>
                  <a:pt x="458" y="201"/>
                </a:moveTo>
                <a:lnTo>
                  <a:pt x="458" y="202"/>
                </a:lnTo>
                <a:lnTo>
                  <a:pt x="459" y="203"/>
                </a:lnTo>
                <a:lnTo>
                  <a:pt x="460" y="203"/>
                </a:lnTo>
                <a:lnTo>
                  <a:pt x="459" y="202"/>
                </a:lnTo>
                <a:lnTo>
                  <a:pt x="459" y="201"/>
                </a:lnTo>
                <a:lnTo>
                  <a:pt x="458" y="201"/>
                </a:lnTo>
                <a:close/>
                <a:moveTo>
                  <a:pt x="441" y="188"/>
                </a:moveTo>
                <a:lnTo>
                  <a:pt x="441" y="190"/>
                </a:lnTo>
                <a:lnTo>
                  <a:pt x="443" y="193"/>
                </a:lnTo>
                <a:lnTo>
                  <a:pt x="447" y="193"/>
                </a:lnTo>
                <a:lnTo>
                  <a:pt x="447" y="194"/>
                </a:lnTo>
                <a:lnTo>
                  <a:pt x="449" y="194"/>
                </a:lnTo>
                <a:lnTo>
                  <a:pt x="449" y="196"/>
                </a:lnTo>
                <a:lnTo>
                  <a:pt x="447" y="196"/>
                </a:lnTo>
                <a:lnTo>
                  <a:pt x="443" y="197"/>
                </a:lnTo>
                <a:lnTo>
                  <a:pt x="442" y="196"/>
                </a:lnTo>
                <a:lnTo>
                  <a:pt x="437" y="196"/>
                </a:lnTo>
                <a:lnTo>
                  <a:pt x="436" y="197"/>
                </a:lnTo>
                <a:lnTo>
                  <a:pt x="435" y="196"/>
                </a:lnTo>
                <a:lnTo>
                  <a:pt x="435" y="193"/>
                </a:lnTo>
                <a:lnTo>
                  <a:pt x="436" y="191"/>
                </a:lnTo>
                <a:lnTo>
                  <a:pt x="435" y="190"/>
                </a:lnTo>
                <a:lnTo>
                  <a:pt x="437" y="190"/>
                </a:lnTo>
                <a:lnTo>
                  <a:pt x="439" y="191"/>
                </a:lnTo>
                <a:lnTo>
                  <a:pt x="440" y="190"/>
                </a:lnTo>
                <a:lnTo>
                  <a:pt x="440" y="189"/>
                </a:lnTo>
                <a:lnTo>
                  <a:pt x="441" y="188"/>
                </a:lnTo>
                <a:close/>
                <a:moveTo>
                  <a:pt x="461" y="184"/>
                </a:moveTo>
                <a:lnTo>
                  <a:pt x="473" y="184"/>
                </a:lnTo>
                <a:lnTo>
                  <a:pt x="474" y="185"/>
                </a:lnTo>
                <a:lnTo>
                  <a:pt x="476" y="185"/>
                </a:lnTo>
                <a:lnTo>
                  <a:pt x="476" y="187"/>
                </a:lnTo>
                <a:lnTo>
                  <a:pt x="477" y="188"/>
                </a:lnTo>
                <a:lnTo>
                  <a:pt x="476" y="188"/>
                </a:lnTo>
                <a:lnTo>
                  <a:pt x="474" y="189"/>
                </a:lnTo>
                <a:lnTo>
                  <a:pt x="472" y="189"/>
                </a:lnTo>
                <a:lnTo>
                  <a:pt x="470" y="188"/>
                </a:lnTo>
                <a:lnTo>
                  <a:pt x="467" y="185"/>
                </a:lnTo>
                <a:lnTo>
                  <a:pt x="466" y="185"/>
                </a:lnTo>
                <a:lnTo>
                  <a:pt x="466" y="188"/>
                </a:lnTo>
                <a:lnTo>
                  <a:pt x="465" y="189"/>
                </a:lnTo>
                <a:lnTo>
                  <a:pt x="462" y="189"/>
                </a:lnTo>
                <a:lnTo>
                  <a:pt x="459" y="188"/>
                </a:lnTo>
                <a:lnTo>
                  <a:pt x="458" y="188"/>
                </a:lnTo>
                <a:lnTo>
                  <a:pt x="458" y="187"/>
                </a:lnTo>
                <a:lnTo>
                  <a:pt x="459" y="185"/>
                </a:lnTo>
                <a:lnTo>
                  <a:pt x="461" y="184"/>
                </a:lnTo>
                <a:close/>
                <a:moveTo>
                  <a:pt x="446" y="183"/>
                </a:moveTo>
                <a:lnTo>
                  <a:pt x="447" y="183"/>
                </a:lnTo>
                <a:lnTo>
                  <a:pt x="447" y="184"/>
                </a:lnTo>
                <a:lnTo>
                  <a:pt x="448" y="187"/>
                </a:lnTo>
                <a:lnTo>
                  <a:pt x="448" y="188"/>
                </a:lnTo>
                <a:lnTo>
                  <a:pt x="449" y="190"/>
                </a:lnTo>
                <a:lnTo>
                  <a:pt x="448" y="191"/>
                </a:lnTo>
                <a:lnTo>
                  <a:pt x="445" y="191"/>
                </a:lnTo>
                <a:lnTo>
                  <a:pt x="445" y="190"/>
                </a:lnTo>
                <a:lnTo>
                  <a:pt x="443" y="189"/>
                </a:lnTo>
                <a:lnTo>
                  <a:pt x="443" y="187"/>
                </a:lnTo>
                <a:lnTo>
                  <a:pt x="445" y="187"/>
                </a:lnTo>
                <a:lnTo>
                  <a:pt x="445" y="185"/>
                </a:lnTo>
                <a:lnTo>
                  <a:pt x="446" y="184"/>
                </a:lnTo>
                <a:lnTo>
                  <a:pt x="446" y="183"/>
                </a:lnTo>
                <a:close/>
                <a:moveTo>
                  <a:pt x="355" y="176"/>
                </a:moveTo>
                <a:lnTo>
                  <a:pt x="359" y="177"/>
                </a:lnTo>
                <a:lnTo>
                  <a:pt x="359" y="178"/>
                </a:lnTo>
                <a:lnTo>
                  <a:pt x="358" y="179"/>
                </a:lnTo>
                <a:lnTo>
                  <a:pt x="358" y="181"/>
                </a:lnTo>
                <a:lnTo>
                  <a:pt x="356" y="181"/>
                </a:lnTo>
                <a:lnTo>
                  <a:pt x="356" y="182"/>
                </a:lnTo>
                <a:lnTo>
                  <a:pt x="358" y="182"/>
                </a:lnTo>
                <a:lnTo>
                  <a:pt x="358" y="183"/>
                </a:lnTo>
                <a:lnTo>
                  <a:pt x="355" y="183"/>
                </a:lnTo>
                <a:lnTo>
                  <a:pt x="354" y="184"/>
                </a:lnTo>
                <a:lnTo>
                  <a:pt x="354" y="185"/>
                </a:lnTo>
                <a:lnTo>
                  <a:pt x="355" y="185"/>
                </a:lnTo>
                <a:lnTo>
                  <a:pt x="355" y="187"/>
                </a:lnTo>
                <a:lnTo>
                  <a:pt x="356" y="185"/>
                </a:lnTo>
                <a:lnTo>
                  <a:pt x="356" y="184"/>
                </a:lnTo>
                <a:lnTo>
                  <a:pt x="358" y="184"/>
                </a:lnTo>
                <a:lnTo>
                  <a:pt x="358" y="194"/>
                </a:lnTo>
                <a:lnTo>
                  <a:pt x="354" y="194"/>
                </a:lnTo>
                <a:lnTo>
                  <a:pt x="352" y="191"/>
                </a:lnTo>
                <a:lnTo>
                  <a:pt x="352" y="193"/>
                </a:lnTo>
                <a:lnTo>
                  <a:pt x="350" y="194"/>
                </a:lnTo>
                <a:lnTo>
                  <a:pt x="352" y="195"/>
                </a:lnTo>
                <a:lnTo>
                  <a:pt x="354" y="195"/>
                </a:lnTo>
                <a:lnTo>
                  <a:pt x="354" y="199"/>
                </a:lnTo>
                <a:lnTo>
                  <a:pt x="353" y="200"/>
                </a:lnTo>
                <a:lnTo>
                  <a:pt x="353" y="201"/>
                </a:lnTo>
                <a:lnTo>
                  <a:pt x="352" y="202"/>
                </a:lnTo>
                <a:lnTo>
                  <a:pt x="348" y="203"/>
                </a:lnTo>
                <a:lnTo>
                  <a:pt x="348" y="205"/>
                </a:lnTo>
                <a:lnTo>
                  <a:pt x="347" y="207"/>
                </a:lnTo>
                <a:lnTo>
                  <a:pt x="346" y="208"/>
                </a:lnTo>
                <a:lnTo>
                  <a:pt x="343" y="208"/>
                </a:lnTo>
                <a:lnTo>
                  <a:pt x="343" y="207"/>
                </a:lnTo>
                <a:lnTo>
                  <a:pt x="346" y="205"/>
                </a:lnTo>
                <a:lnTo>
                  <a:pt x="346" y="200"/>
                </a:lnTo>
                <a:lnTo>
                  <a:pt x="347" y="199"/>
                </a:lnTo>
                <a:lnTo>
                  <a:pt x="347" y="196"/>
                </a:lnTo>
                <a:lnTo>
                  <a:pt x="348" y="195"/>
                </a:lnTo>
                <a:lnTo>
                  <a:pt x="348" y="191"/>
                </a:lnTo>
                <a:lnTo>
                  <a:pt x="349" y="191"/>
                </a:lnTo>
                <a:lnTo>
                  <a:pt x="349" y="189"/>
                </a:lnTo>
                <a:lnTo>
                  <a:pt x="352" y="183"/>
                </a:lnTo>
                <a:lnTo>
                  <a:pt x="352" y="182"/>
                </a:lnTo>
                <a:lnTo>
                  <a:pt x="354" y="179"/>
                </a:lnTo>
                <a:lnTo>
                  <a:pt x="355" y="179"/>
                </a:lnTo>
                <a:lnTo>
                  <a:pt x="355" y="176"/>
                </a:lnTo>
                <a:close/>
                <a:moveTo>
                  <a:pt x="365" y="170"/>
                </a:moveTo>
                <a:lnTo>
                  <a:pt x="366" y="170"/>
                </a:lnTo>
                <a:lnTo>
                  <a:pt x="370" y="171"/>
                </a:lnTo>
                <a:lnTo>
                  <a:pt x="371" y="172"/>
                </a:lnTo>
                <a:lnTo>
                  <a:pt x="371" y="173"/>
                </a:lnTo>
                <a:lnTo>
                  <a:pt x="370" y="178"/>
                </a:lnTo>
                <a:lnTo>
                  <a:pt x="370" y="181"/>
                </a:lnTo>
                <a:lnTo>
                  <a:pt x="368" y="182"/>
                </a:lnTo>
                <a:lnTo>
                  <a:pt x="368" y="185"/>
                </a:lnTo>
                <a:lnTo>
                  <a:pt x="367" y="187"/>
                </a:lnTo>
                <a:lnTo>
                  <a:pt x="366" y="184"/>
                </a:lnTo>
                <a:lnTo>
                  <a:pt x="364" y="188"/>
                </a:lnTo>
                <a:lnTo>
                  <a:pt x="362" y="189"/>
                </a:lnTo>
                <a:lnTo>
                  <a:pt x="362" y="185"/>
                </a:lnTo>
                <a:lnTo>
                  <a:pt x="361" y="184"/>
                </a:lnTo>
                <a:lnTo>
                  <a:pt x="360" y="185"/>
                </a:lnTo>
                <a:lnTo>
                  <a:pt x="359" y="184"/>
                </a:lnTo>
                <a:lnTo>
                  <a:pt x="359" y="183"/>
                </a:lnTo>
                <a:lnTo>
                  <a:pt x="360" y="182"/>
                </a:lnTo>
                <a:lnTo>
                  <a:pt x="360" y="181"/>
                </a:lnTo>
                <a:lnTo>
                  <a:pt x="362" y="177"/>
                </a:lnTo>
                <a:lnTo>
                  <a:pt x="364" y="176"/>
                </a:lnTo>
                <a:lnTo>
                  <a:pt x="364" y="177"/>
                </a:lnTo>
                <a:lnTo>
                  <a:pt x="365" y="179"/>
                </a:lnTo>
                <a:lnTo>
                  <a:pt x="366" y="181"/>
                </a:lnTo>
                <a:lnTo>
                  <a:pt x="367" y="177"/>
                </a:lnTo>
                <a:lnTo>
                  <a:pt x="366" y="176"/>
                </a:lnTo>
                <a:lnTo>
                  <a:pt x="365" y="173"/>
                </a:lnTo>
                <a:lnTo>
                  <a:pt x="365" y="170"/>
                </a:lnTo>
                <a:close/>
                <a:moveTo>
                  <a:pt x="431" y="153"/>
                </a:moveTo>
                <a:lnTo>
                  <a:pt x="434" y="153"/>
                </a:lnTo>
                <a:lnTo>
                  <a:pt x="435" y="156"/>
                </a:lnTo>
                <a:lnTo>
                  <a:pt x="433" y="159"/>
                </a:lnTo>
                <a:lnTo>
                  <a:pt x="431" y="162"/>
                </a:lnTo>
                <a:lnTo>
                  <a:pt x="429" y="162"/>
                </a:lnTo>
                <a:lnTo>
                  <a:pt x="428" y="159"/>
                </a:lnTo>
                <a:lnTo>
                  <a:pt x="429" y="157"/>
                </a:lnTo>
                <a:lnTo>
                  <a:pt x="431" y="153"/>
                </a:lnTo>
                <a:close/>
                <a:moveTo>
                  <a:pt x="399" y="148"/>
                </a:moveTo>
                <a:lnTo>
                  <a:pt x="403" y="152"/>
                </a:lnTo>
                <a:lnTo>
                  <a:pt x="405" y="152"/>
                </a:lnTo>
                <a:lnTo>
                  <a:pt x="406" y="156"/>
                </a:lnTo>
                <a:lnTo>
                  <a:pt x="405" y="158"/>
                </a:lnTo>
                <a:lnTo>
                  <a:pt x="403" y="159"/>
                </a:lnTo>
                <a:lnTo>
                  <a:pt x="401" y="157"/>
                </a:lnTo>
                <a:lnTo>
                  <a:pt x="401" y="153"/>
                </a:lnTo>
                <a:lnTo>
                  <a:pt x="397" y="153"/>
                </a:lnTo>
                <a:lnTo>
                  <a:pt x="396" y="152"/>
                </a:lnTo>
                <a:lnTo>
                  <a:pt x="398" y="152"/>
                </a:lnTo>
                <a:lnTo>
                  <a:pt x="397" y="150"/>
                </a:lnTo>
                <a:lnTo>
                  <a:pt x="399" y="148"/>
                </a:lnTo>
                <a:close/>
                <a:moveTo>
                  <a:pt x="391" y="148"/>
                </a:moveTo>
                <a:lnTo>
                  <a:pt x="393" y="148"/>
                </a:lnTo>
                <a:lnTo>
                  <a:pt x="395" y="154"/>
                </a:lnTo>
                <a:lnTo>
                  <a:pt x="393" y="157"/>
                </a:lnTo>
                <a:lnTo>
                  <a:pt x="395" y="158"/>
                </a:lnTo>
                <a:lnTo>
                  <a:pt x="396" y="158"/>
                </a:lnTo>
                <a:lnTo>
                  <a:pt x="398" y="156"/>
                </a:lnTo>
                <a:lnTo>
                  <a:pt x="399" y="156"/>
                </a:lnTo>
                <a:lnTo>
                  <a:pt x="402" y="158"/>
                </a:lnTo>
                <a:lnTo>
                  <a:pt x="399" y="164"/>
                </a:lnTo>
                <a:lnTo>
                  <a:pt x="397" y="164"/>
                </a:lnTo>
                <a:lnTo>
                  <a:pt x="397" y="166"/>
                </a:lnTo>
                <a:lnTo>
                  <a:pt x="396" y="166"/>
                </a:lnTo>
                <a:lnTo>
                  <a:pt x="392" y="168"/>
                </a:lnTo>
                <a:lnTo>
                  <a:pt x="390" y="168"/>
                </a:lnTo>
                <a:lnTo>
                  <a:pt x="390" y="166"/>
                </a:lnTo>
                <a:lnTo>
                  <a:pt x="389" y="168"/>
                </a:lnTo>
                <a:lnTo>
                  <a:pt x="389" y="169"/>
                </a:lnTo>
                <a:lnTo>
                  <a:pt x="385" y="169"/>
                </a:lnTo>
                <a:lnTo>
                  <a:pt x="385" y="171"/>
                </a:lnTo>
                <a:lnTo>
                  <a:pt x="387" y="171"/>
                </a:lnTo>
                <a:lnTo>
                  <a:pt x="387" y="172"/>
                </a:lnTo>
                <a:lnTo>
                  <a:pt x="389" y="173"/>
                </a:lnTo>
                <a:lnTo>
                  <a:pt x="387" y="175"/>
                </a:lnTo>
                <a:lnTo>
                  <a:pt x="385" y="176"/>
                </a:lnTo>
                <a:lnTo>
                  <a:pt x="384" y="175"/>
                </a:lnTo>
                <a:lnTo>
                  <a:pt x="384" y="173"/>
                </a:lnTo>
                <a:lnTo>
                  <a:pt x="383" y="173"/>
                </a:lnTo>
                <a:lnTo>
                  <a:pt x="383" y="175"/>
                </a:lnTo>
                <a:lnTo>
                  <a:pt x="381" y="176"/>
                </a:lnTo>
                <a:lnTo>
                  <a:pt x="383" y="177"/>
                </a:lnTo>
                <a:lnTo>
                  <a:pt x="383" y="178"/>
                </a:lnTo>
                <a:lnTo>
                  <a:pt x="381" y="179"/>
                </a:lnTo>
                <a:lnTo>
                  <a:pt x="379" y="179"/>
                </a:lnTo>
                <a:lnTo>
                  <a:pt x="380" y="178"/>
                </a:lnTo>
                <a:lnTo>
                  <a:pt x="379" y="178"/>
                </a:lnTo>
                <a:lnTo>
                  <a:pt x="379" y="175"/>
                </a:lnTo>
                <a:lnTo>
                  <a:pt x="378" y="173"/>
                </a:lnTo>
                <a:lnTo>
                  <a:pt x="375" y="173"/>
                </a:lnTo>
                <a:lnTo>
                  <a:pt x="375" y="177"/>
                </a:lnTo>
                <a:lnTo>
                  <a:pt x="377" y="178"/>
                </a:lnTo>
                <a:lnTo>
                  <a:pt x="375" y="178"/>
                </a:lnTo>
                <a:lnTo>
                  <a:pt x="375" y="181"/>
                </a:lnTo>
                <a:lnTo>
                  <a:pt x="374" y="182"/>
                </a:lnTo>
                <a:lnTo>
                  <a:pt x="374" y="183"/>
                </a:lnTo>
                <a:lnTo>
                  <a:pt x="372" y="179"/>
                </a:lnTo>
                <a:lnTo>
                  <a:pt x="373" y="175"/>
                </a:lnTo>
                <a:lnTo>
                  <a:pt x="378" y="169"/>
                </a:lnTo>
                <a:lnTo>
                  <a:pt x="377" y="169"/>
                </a:lnTo>
                <a:lnTo>
                  <a:pt x="374" y="172"/>
                </a:lnTo>
                <a:lnTo>
                  <a:pt x="373" y="172"/>
                </a:lnTo>
                <a:lnTo>
                  <a:pt x="373" y="171"/>
                </a:lnTo>
                <a:lnTo>
                  <a:pt x="374" y="170"/>
                </a:lnTo>
                <a:lnTo>
                  <a:pt x="374" y="169"/>
                </a:lnTo>
                <a:lnTo>
                  <a:pt x="373" y="169"/>
                </a:lnTo>
                <a:lnTo>
                  <a:pt x="374" y="168"/>
                </a:lnTo>
                <a:lnTo>
                  <a:pt x="373" y="166"/>
                </a:lnTo>
                <a:lnTo>
                  <a:pt x="374" y="164"/>
                </a:lnTo>
                <a:lnTo>
                  <a:pt x="377" y="163"/>
                </a:lnTo>
                <a:lnTo>
                  <a:pt x="378" y="162"/>
                </a:lnTo>
                <a:lnTo>
                  <a:pt x="377" y="160"/>
                </a:lnTo>
                <a:lnTo>
                  <a:pt x="373" y="160"/>
                </a:lnTo>
                <a:lnTo>
                  <a:pt x="379" y="154"/>
                </a:lnTo>
                <a:lnTo>
                  <a:pt x="381" y="154"/>
                </a:lnTo>
                <a:lnTo>
                  <a:pt x="381" y="156"/>
                </a:lnTo>
                <a:lnTo>
                  <a:pt x="385" y="156"/>
                </a:lnTo>
                <a:lnTo>
                  <a:pt x="386" y="157"/>
                </a:lnTo>
                <a:lnTo>
                  <a:pt x="387" y="154"/>
                </a:lnTo>
                <a:lnTo>
                  <a:pt x="389" y="153"/>
                </a:lnTo>
                <a:lnTo>
                  <a:pt x="391" y="148"/>
                </a:lnTo>
                <a:close/>
                <a:moveTo>
                  <a:pt x="470" y="140"/>
                </a:moveTo>
                <a:lnTo>
                  <a:pt x="471" y="141"/>
                </a:lnTo>
                <a:lnTo>
                  <a:pt x="471" y="142"/>
                </a:lnTo>
                <a:lnTo>
                  <a:pt x="470" y="141"/>
                </a:lnTo>
                <a:lnTo>
                  <a:pt x="470" y="140"/>
                </a:lnTo>
                <a:close/>
                <a:moveTo>
                  <a:pt x="441" y="135"/>
                </a:moveTo>
                <a:lnTo>
                  <a:pt x="445" y="135"/>
                </a:lnTo>
                <a:lnTo>
                  <a:pt x="443" y="138"/>
                </a:lnTo>
                <a:lnTo>
                  <a:pt x="439" y="146"/>
                </a:lnTo>
                <a:lnTo>
                  <a:pt x="436" y="146"/>
                </a:lnTo>
                <a:lnTo>
                  <a:pt x="435" y="147"/>
                </a:lnTo>
                <a:lnTo>
                  <a:pt x="435" y="148"/>
                </a:lnTo>
                <a:lnTo>
                  <a:pt x="436" y="148"/>
                </a:lnTo>
                <a:lnTo>
                  <a:pt x="434" y="150"/>
                </a:lnTo>
                <a:lnTo>
                  <a:pt x="427" y="158"/>
                </a:lnTo>
                <a:lnTo>
                  <a:pt x="426" y="158"/>
                </a:lnTo>
                <a:lnTo>
                  <a:pt x="426" y="153"/>
                </a:lnTo>
                <a:lnTo>
                  <a:pt x="427" y="151"/>
                </a:lnTo>
                <a:lnTo>
                  <a:pt x="426" y="150"/>
                </a:lnTo>
                <a:lnTo>
                  <a:pt x="426" y="148"/>
                </a:lnTo>
                <a:lnTo>
                  <a:pt x="424" y="148"/>
                </a:lnTo>
                <a:lnTo>
                  <a:pt x="424" y="154"/>
                </a:lnTo>
                <a:lnTo>
                  <a:pt x="423" y="156"/>
                </a:lnTo>
                <a:lnTo>
                  <a:pt x="422" y="156"/>
                </a:lnTo>
                <a:lnTo>
                  <a:pt x="422" y="157"/>
                </a:lnTo>
                <a:lnTo>
                  <a:pt x="421" y="157"/>
                </a:lnTo>
                <a:lnTo>
                  <a:pt x="421" y="158"/>
                </a:lnTo>
                <a:lnTo>
                  <a:pt x="423" y="159"/>
                </a:lnTo>
                <a:lnTo>
                  <a:pt x="421" y="162"/>
                </a:lnTo>
                <a:lnTo>
                  <a:pt x="418" y="163"/>
                </a:lnTo>
                <a:lnTo>
                  <a:pt x="416" y="165"/>
                </a:lnTo>
                <a:lnTo>
                  <a:pt x="411" y="165"/>
                </a:lnTo>
                <a:lnTo>
                  <a:pt x="411" y="166"/>
                </a:lnTo>
                <a:lnTo>
                  <a:pt x="408" y="166"/>
                </a:lnTo>
                <a:lnTo>
                  <a:pt x="409" y="168"/>
                </a:lnTo>
                <a:lnTo>
                  <a:pt x="408" y="169"/>
                </a:lnTo>
                <a:lnTo>
                  <a:pt x="406" y="169"/>
                </a:lnTo>
                <a:lnTo>
                  <a:pt x="405" y="170"/>
                </a:lnTo>
                <a:lnTo>
                  <a:pt x="403" y="170"/>
                </a:lnTo>
                <a:lnTo>
                  <a:pt x="403" y="169"/>
                </a:lnTo>
                <a:lnTo>
                  <a:pt x="404" y="168"/>
                </a:lnTo>
                <a:lnTo>
                  <a:pt x="404" y="166"/>
                </a:lnTo>
                <a:lnTo>
                  <a:pt x="403" y="166"/>
                </a:lnTo>
                <a:lnTo>
                  <a:pt x="403" y="164"/>
                </a:lnTo>
                <a:lnTo>
                  <a:pt x="404" y="163"/>
                </a:lnTo>
                <a:lnTo>
                  <a:pt x="408" y="160"/>
                </a:lnTo>
                <a:lnTo>
                  <a:pt x="406" y="160"/>
                </a:lnTo>
                <a:lnTo>
                  <a:pt x="405" y="159"/>
                </a:lnTo>
                <a:lnTo>
                  <a:pt x="406" y="158"/>
                </a:lnTo>
                <a:lnTo>
                  <a:pt x="409" y="158"/>
                </a:lnTo>
                <a:lnTo>
                  <a:pt x="408" y="156"/>
                </a:lnTo>
                <a:lnTo>
                  <a:pt x="408" y="152"/>
                </a:lnTo>
                <a:lnTo>
                  <a:pt x="409" y="151"/>
                </a:lnTo>
                <a:lnTo>
                  <a:pt x="410" y="151"/>
                </a:lnTo>
                <a:lnTo>
                  <a:pt x="411" y="154"/>
                </a:lnTo>
                <a:lnTo>
                  <a:pt x="412" y="156"/>
                </a:lnTo>
                <a:lnTo>
                  <a:pt x="412" y="153"/>
                </a:lnTo>
                <a:lnTo>
                  <a:pt x="414" y="152"/>
                </a:lnTo>
                <a:lnTo>
                  <a:pt x="415" y="153"/>
                </a:lnTo>
                <a:lnTo>
                  <a:pt x="416" y="152"/>
                </a:lnTo>
                <a:lnTo>
                  <a:pt x="416" y="151"/>
                </a:lnTo>
                <a:lnTo>
                  <a:pt x="415" y="150"/>
                </a:lnTo>
                <a:lnTo>
                  <a:pt x="415" y="148"/>
                </a:lnTo>
                <a:lnTo>
                  <a:pt x="412" y="148"/>
                </a:lnTo>
                <a:lnTo>
                  <a:pt x="414" y="146"/>
                </a:lnTo>
                <a:lnTo>
                  <a:pt x="411" y="146"/>
                </a:lnTo>
                <a:lnTo>
                  <a:pt x="411" y="145"/>
                </a:lnTo>
                <a:lnTo>
                  <a:pt x="416" y="144"/>
                </a:lnTo>
                <a:lnTo>
                  <a:pt x="418" y="145"/>
                </a:lnTo>
                <a:lnTo>
                  <a:pt x="420" y="146"/>
                </a:lnTo>
                <a:lnTo>
                  <a:pt x="420" y="144"/>
                </a:lnTo>
                <a:lnTo>
                  <a:pt x="417" y="141"/>
                </a:lnTo>
                <a:lnTo>
                  <a:pt x="422" y="139"/>
                </a:lnTo>
                <a:lnTo>
                  <a:pt x="423" y="140"/>
                </a:lnTo>
                <a:lnTo>
                  <a:pt x="423" y="142"/>
                </a:lnTo>
                <a:lnTo>
                  <a:pt x="424" y="144"/>
                </a:lnTo>
                <a:lnTo>
                  <a:pt x="424" y="139"/>
                </a:lnTo>
                <a:lnTo>
                  <a:pt x="426" y="139"/>
                </a:lnTo>
                <a:lnTo>
                  <a:pt x="426" y="138"/>
                </a:lnTo>
                <a:lnTo>
                  <a:pt x="427" y="138"/>
                </a:lnTo>
                <a:lnTo>
                  <a:pt x="429" y="140"/>
                </a:lnTo>
                <a:lnTo>
                  <a:pt x="429" y="142"/>
                </a:lnTo>
                <a:lnTo>
                  <a:pt x="427" y="146"/>
                </a:lnTo>
                <a:lnTo>
                  <a:pt x="427" y="147"/>
                </a:lnTo>
                <a:lnTo>
                  <a:pt x="428" y="147"/>
                </a:lnTo>
                <a:lnTo>
                  <a:pt x="431" y="144"/>
                </a:lnTo>
                <a:lnTo>
                  <a:pt x="431" y="140"/>
                </a:lnTo>
                <a:lnTo>
                  <a:pt x="433" y="138"/>
                </a:lnTo>
                <a:lnTo>
                  <a:pt x="434" y="138"/>
                </a:lnTo>
                <a:lnTo>
                  <a:pt x="437" y="139"/>
                </a:lnTo>
                <a:lnTo>
                  <a:pt x="441" y="135"/>
                </a:lnTo>
                <a:close/>
                <a:moveTo>
                  <a:pt x="493" y="126"/>
                </a:moveTo>
                <a:lnTo>
                  <a:pt x="495" y="126"/>
                </a:lnTo>
                <a:lnTo>
                  <a:pt x="496" y="127"/>
                </a:lnTo>
                <a:lnTo>
                  <a:pt x="496" y="128"/>
                </a:lnTo>
                <a:lnTo>
                  <a:pt x="497" y="129"/>
                </a:lnTo>
                <a:lnTo>
                  <a:pt x="497" y="132"/>
                </a:lnTo>
                <a:lnTo>
                  <a:pt x="498" y="133"/>
                </a:lnTo>
                <a:lnTo>
                  <a:pt x="498" y="134"/>
                </a:lnTo>
                <a:lnTo>
                  <a:pt x="496" y="135"/>
                </a:lnTo>
                <a:lnTo>
                  <a:pt x="495" y="136"/>
                </a:lnTo>
                <a:lnTo>
                  <a:pt x="496" y="136"/>
                </a:lnTo>
                <a:lnTo>
                  <a:pt x="496" y="139"/>
                </a:lnTo>
                <a:lnTo>
                  <a:pt x="497" y="140"/>
                </a:lnTo>
                <a:lnTo>
                  <a:pt x="496" y="140"/>
                </a:lnTo>
                <a:lnTo>
                  <a:pt x="489" y="141"/>
                </a:lnTo>
                <a:lnTo>
                  <a:pt x="486" y="141"/>
                </a:lnTo>
                <a:lnTo>
                  <a:pt x="485" y="144"/>
                </a:lnTo>
                <a:lnTo>
                  <a:pt x="484" y="144"/>
                </a:lnTo>
                <a:lnTo>
                  <a:pt x="483" y="142"/>
                </a:lnTo>
                <a:lnTo>
                  <a:pt x="484" y="140"/>
                </a:lnTo>
                <a:lnTo>
                  <a:pt x="486" y="139"/>
                </a:lnTo>
                <a:lnTo>
                  <a:pt x="485" y="139"/>
                </a:lnTo>
                <a:lnTo>
                  <a:pt x="484" y="138"/>
                </a:lnTo>
                <a:lnTo>
                  <a:pt x="486" y="130"/>
                </a:lnTo>
                <a:lnTo>
                  <a:pt x="488" y="128"/>
                </a:lnTo>
                <a:lnTo>
                  <a:pt x="489" y="128"/>
                </a:lnTo>
                <a:lnTo>
                  <a:pt x="493" y="126"/>
                </a:lnTo>
                <a:close/>
                <a:moveTo>
                  <a:pt x="423" y="120"/>
                </a:moveTo>
                <a:lnTo>
                  <a:pt x="424" y="121"/>
                </a:lnTo>
                <a:lnTo>
                  <a:pt x="428" y="122"/>
                </a:lnTo>
                <a:lnTo>
                  <a:pt x="431" y="122"/>
                </a:lnTo>
                <a:lnTo>
                  <a:pt x="436" y="125"/>
                </a:lnTo>
                <a:lnTo>
                  <a:pt x="436" y="127"/>
                </a:lnTo>
                <a:lnTo>
                  <a:pt x="435" y="128"/>
                </a:lnTo>
                <a:lnTo>
                  <a:pt x="435" y="129"/>
                </a:lnTo>
                <a:lnTo>
                  <a:pt x="434" y="129"/>
                </a:lnTo>
                <a:lnTo>
                  <a:pt x="433" y="130"/>
                </a:lnTo>
                <a:lnTo>
                  <a:pt x="427" y="130"/>
                </a:lnTo>
                <a:lnTo>
                  <a:pt x="424" y="132"/>
                </a:lnTo>
                <a:lnTo>
                  <a:pt x="424" y="129"/>
                </a:lnTo>
                <a:lnTo>
                  <a:pt x="421" y="126"/>
                </a:lnTo>
                <a:lnTo>
                  <a:pt x="420" y="123"/>
                </a:lnTo>
                <a:lnTo>
                  <a:pt x="423" y="120"/>
                </a:lnTo>
                <a:close/>
                <a:moveTo>
                  <a:pt x="521" y="89"/>
                </a:moveTo>
                <a:lnTo>
                  <a:pt x="522" y="89"/>
                </a:lnTo>
                <a:lnTo>
                  <a:pt x="522" y="90"/>
                </a:lnTo>
                <a:lnTo>
                  <a:pt x="523" y="93"/>
                </a:lnTo>
                <a:lnTo>
                  <a:pt x="524" y="93"/>
                </a:lnTo>
                <a:lnTo>
                  <a:pt x="527" y="97"/>
                </a:lnTo>
                <a:lnTo>
                  <a:pt x="527" y="99"/>
                </a:lnTo>
                <a:lnTo>
                  <a:pt x="526" y="101"/>
                </a:lnTo>
                <a:lnTo>
                  <a:pt x="515" y="104"/>
                </a:lnTo>
                <a:lnTo>
                  <a:pt x="514" y="103"/>
                </a:lnTo>
                <a:lnTo>
                  <a:pt x="514" y="99"/>
                </a:lnTo>
                <a:lnTo>
                  <a:pt x="517" y="96"/>
                </a:lnTo>
                <a:lnTo>
                  <a:pt x="520" y="90"/>
                </a:lnTo>
                <a:lnTo>
                  <a:pt x="521" y="89"/>
                </a:lnTo>
                <a:close/>
                <a:moveTo>
                  <a:pt x="526" y="80"/>
                </a:moveTo>
                <a:lnTo>
                  <a:pt x="527" y="82"/>
                </a:lnTo>
                <a:lnTo>
                  <a:pt x="528" y="85"/>
                </a:lnTo>
                <a:lnTo>
                  <a:pt x="529" y="87"/>
                </a:lnTo>
                <a:lnTo>
                  <a:pt x="530" y="89"/>
                </a:lnTo>
                <a:lnTo>
                  <a:pt x="533" y="89"/>
                </a:lnTo>
                <a:lnTo>
                  <a:pt x="533" y="87"/>
                </a:lnTo>
                <a:lnTo>
                  <a:pt x="530" y="86"/>
                </a:lnTo>
                <a:lnTo>
                  <a:pt x="530" y="82"/>
                </a:lnTo>
                <a:lnTo>
                  <a:pt x="535" y="82"/>
                </a:lnTo>
                <a:lnTo>
                  <a:pt x="539" y="85"/>
                </a:lnTo>
                <a:lnTo>
                  <a:pt x="540" y="87"/>
                </a:lnTo>
                <a:lnTo>
                  <a:pt x="536" y="91"/>
                </a:lnTo>
                <a:lnTo>
                  <a:pt x="534" y="95"/>
                </a:lnTo>
                <a:lnTo>
                  <a:pt x="533" y="96"/>
                </a:lnTo>
                <a:lnTo>
                  <a:pt x="530" y="96"/>
                </a:lnTo>
                <a:lnTo>
                  <a:pt x="529" y="95"/>
                </a:lnTo>
                <a:lnTo>
                  <a:pt x="529" y="93"/>
                </a:lnTo>
                <a:lnTo>
                  <a:pt x="528" y="90"/>
                </a:lnTo>
                <a:lnTo>
                  <a:pt x="528" y="87"/>
                </a:lnTo>
                <a:lnTo>
                  <a:pt x="524" y="84"/>
                </a:lnTo>
                <a:lnTo>
                  <a:pt x="524" y="83"/>
                </a:lnTo>
                <a:lnTo>
                  <a:pt x="526" y="80"/>
                </a:lnTo>
                <a:close/>
                <a:moveTo>
                  <a:pt x="431" y="80"/>
                </a:moveTo>
                <a:lnTo>
                  <a:pt x="435" y="80"/>
                </a:lnTo>
                <a:lnTo>
                  <a:pt x="436" y="82"/>
                </a:lnTo>
                <a:lnTo>
                  <a:pt x="436" y="85"/>
                </a:lnTo>
                <a:lnTo>
                  <a:pt x="435" y="86"/>
                </a:lnTo>
                <a:lnTo>
                  <a:pt x="433" y="87"/>
                </a:lnTo>
                <a:lnTo>
                  <a:pt x="433" y="86"/>
                </a:lnTo>
                <a:lnTo>
                  <a:pt x="430" y="86"/>
                </a:lnTo>
                <a:lnTo>
                  <a:pt x="430" y="82"/>
                </a:lnTo>
                <a:lnTo>
                  <a:pt x="431" y="80"/>
                </a:lnTo>
                <a:close/>
                <a:moveTo>
                  <a:pt x="473" y="76"/>
                </a:moveTo>
                <a:lnTo>
                  <a:pt x="474" y="76"/>
                </a:lnTo>
                <a:lnTo>
                  <a:pt x="476" y="77"/>
                </a:lnTo>
                <a:lnTo>
                  <a:pt x="476" y="78"/>
                </a:lnTo>
                <a:lnTo>
                  <a:pt x="474" y="79"/>
                </a:lnTo>
                <a:lnTo>
                  <a:pt x="474" y="83"/>
                </a:lnTo>
                <a:lnTo>
                  <a:pt x="476" y="84"/>
                </a:lnTo>
                <a:lnTo>
                  <a:pt x="476" y="87"/>
                </a:lnTo>
                <a:lnTo>
                  <a:pt x="474" y="93"/>
                </a:lnTo>
                <a:lnTo>
                  <a:pt x="473" y="95"/>
                </a:lnTo>
                <a:lnTo>
                  <a:pt x="473" y="97"/>
                </a:lnTo>
                <a:lnTo>
                  <a:pt x="472" y="98"/>
                </a:lnTo>
                <a:lnTo>
                  <a:pt x="472" y="101"/>
                </a:lnTo>
                <a:lnTo>
                  <a:pt x="468" y="103"/>
                </a:lnTo>
                <a:lnTo>
                  <a:pt x="471" y="103"/>
                </a:lnTo>
                <a:lnTo>
                  <a:pt x="473" y="102"/>
                </a:lnTo>
                <a:lnTo>
                  <a:pt x="474" y="99"/>
                </a:lnTo>
                <a:lnTo>
                  <a:pt x="477" y="97"/>
                </a:lnTo>
                <a:lnTo>
                  <a:pt x="477" y="96"/>
                </a:lnTo>
                <a:lnTo>
                  <a:pt x="478" y="98"/>
                </a:lnTo>
                <a:lnTo>
                  <a:pt x="478" y="103"/>
                </a:lnTo>
                <a:lnTo>
                  <a:pt x="477" y="107"/>
                </a:lnTo>
                <a:lnTo>
                  <a:pt x="477" y="108"/>
                </a:lnTo>
                <a:lnTo>
                  <a:pt x="474" y="110"/>
                </a:lnTo>
                <a:lnTo>
                  <a:pt x="474" y="113"/>
                </a:lnTo>
                <a:lnTo>
                  <a:pt x="472" y="113"/>
                </a:lnTo>
                <a:lnTo>
                  <a:pt x="470" y="115"/>
                </a:lnTo>
                <a:lnTo>
                  <a:pt x="470" y="125"/>
                </a:lnTo>
                <a:lnTo>
                  <a:pt x="468" y="125"/>
                </a:lnTo>
                <a:lnTo>
                  <a:pt x="468" y="127"/>
                </a:lnTo>
                <a:lnTo>
                  <a:pt x="471" y="125"/>
                </a:lnTo>
                <a:lnTo>
                  <a:pt x="471" y="117"/>
                </a:lnTo>
                <a:lnTo>
                  <a:pt x="478" y="110"/>
                </a:lnTo>
                <a:lnTo>
                  <a:pt x="480" y="110"/>
                </a:lnTo>
                <a:lnTo>
                  <a:pt x="480" y="114"/>
                </a:lnTo>
                <a:lnTo>
                  <a:pt x="482" y="115"/>
                </a:lnTo>
                <a:lnTo>
                  <a:pt x="483" y="114"/>
                </a:lnTo>
                <a:lnTo>
                  <a:pt x="483" y="110"/>
                </a:lnTo>
                <a:lnTo>
                  <a:pt x="482" y="108"/>
                </a:lnTo>
                <a:lnTo>
                  <a:pt x="480" y="107"/>
                </a:lnTo>
                <a:lnTo>
                  <a:pt x="480" y="105"/>
                </a:lnTo>
                <a:lnTo>
                  <a:pt x="482" y="103"/>
                </a:lnTo>
                <a:lnTo>
                  <a:pt x="483" y="103"/>
                </a:lnTo>
                <a:lnTo>
                  <a:pt x="484" y="102"/>
                </a:lnTo>
                <a:lnTo>
                  <a:pt x="488" y="103"/>
                </a:lnTo>
                <a:lnTo>
                  <a:pt x="488" y="101"/>
                </a:lnTo>
                <a:lnTo>
                  <a:pt x="486" y="98"/>
                </a:lnTo>
                <a:lnTo>
                  <a:pt x="484" y="97"/>
                </a:lnTo>
                <a:lnTo>
                  <a:pt x="483" y="96"/>
                </a:lnTo>
                <a:lnTo>
                  <a:pt x="483" y="92"/>
                </a:lnTo>
                <a:lnTo>
                  <a:pt x="484" y="91"/>
                </a:lnTo>
                <a:lnTo>
                  <a:pt x="488" y="89"/>
                </a:lnTo>
                <a:lnTo>
                  <a:pt x="489" y="89"/>
                </a:lnTo>
                <a:lnTo>
                  <a:pt x="490" y="90"/>
                </a:lnTo>
                <a:lnTo>
                  <a:pt x="490" y="91"/>
                </a:lnTo>
                <a:lnTo>
                  <a:pt x="491" y="91"/>
                </a:lnTo>
                <a:lnTo>
                  <a:pt x="491" y="89"/>
                </a:lnTo>
                <a:lnTo>
                  <a:pt x="490" y="87"/>
                </a:lnTo>
                <a:lnTo>
                  <a:pt x="490" y="84"/>
                </a:lnTo>
                <a:lnTo>
                  <a:pt x="492" y="87"/>
                </a:lnTo>
                <a:lnTo>
                  <a:pt x="496" y="89"/>
                </a:lnTo>
                <a:lnTo>
                  <a:pt x="497" y="90"/>
                </a:lnTo>
                <a:lnTo>
                  <a:pt x="497" y="92"/>
                </a:lnTo>
                <a:lnTo>
                  <a:pt x="498" y="93"/>
                </a:lnTo>
                <a:lnTo>
                  <a:pt x="502" y="92"/>
                </a:lnTo>
                <a:lnTo>
                  <a:pt x="503" y="92"/>
                </a:lnTo>
                <a:lnTo>
                  <a:pt x="501" y="95"/>
                </a:lnTo>
                <a:lnTo>
                  <a:pt x="499" y="97"/>
                </a:lnTo>
                <a:lnTo>
                  <a:pt x="502" y="97"/>
                </a:lnTo>
                <a:lnTo>
                  <a:pt x="503" y="99"/>
                </a:lnTo>
                <a:lnTo>
                  <a:pt x="501" y="99"/>
                </a:lnTo>
                <a:lnTo>
                  <a:pt x="501" y="101"/>
                </a:lnTo>
                <a:lnTo>
                  <a:pt x="502" y="102"/>
                </a:lnTo>
                <a:lnTo>
                  <a:pt x="502" y="104"/>
                </a:lnTo>
                <a:lnTo>
                  <a:pt x="503" y="107"/>
                </a:lnTo>
                <a:lnTo>
                  <a:pt x="503" y="108"/>
                </a:lnTo>
                <a:lnTo>
                  <a:pt x="502" y="109"/>
                </a:lnTo>
                <a:lnTo>
                  <a:pt x="503" y="110"/>
                </a:lnTo>
                <a:lnTo>
                  <a:pt x="503" y="113"/>
                </a:lnTo>
                <a:lnTo>
                  <a:pt x="502" y="115"/>
                </a:lnTo>
                <a:lnTo>
                  <a:pt x="501" y="116"/>
                </a:lnTo>
                <a:lnTo>
                  <a:pt x="501" y="117"/>
                </a:lnTo>
                <a:lnTo>
                  <a:pt x="499" y="119"/>
                </a:lnTo>
                <a:lnTo>
                  <a:pt x="499" y="121"/>
                </a:lnTo>
                <a:lnTo>
                  <a:pt x="501" y="122"/>
                </a:lnTo>
                <a:lnTo>
                  <a:pt x="499" y="125"/>
                </a:lnTo>
                <a:lnTo>
                  <a:pt x="498" y="125"/>
                </a:lnTo>
                <a:lnTo>
                  <a:pt x="497" y="123"/>
                </a:lnTo>
                <a:lnTo>
                  <a:pt x="493" y="123"/>
                </a:lnTo>
                <a:lnTo>
                  <a:pt x="489" y="125"/>
                </a:lnTo>
                <a:lnTo>
                  <a:pt x="485" y="127"/>
                </a:lnTo>
                <a:lnTo>
                  <a:pt x="485" y="128"/>
                </a:lnTo>
                <a:lnTo>
                  <a:pt x="484" y="127"/>
                </a:lnTo>
                <a:lnTo>
                  <a:pt x="484" y="126"/>
                </a:lnTo>
                <a:lnTo>
                  <a:pt x="483" y="127"/>
                </a:lnTo>
                <a:lnTo>
                  <a:pt x="483" y="128"/>
                </a:lnTo>
                <a:lnTo>
                  <a:pt x="482" y="132"/>
                </a:lnTo>
                <a:lnTo>
                  <a:pt x="482" y="134"/>
                </a:lnTo>
                <a:lnTo>
                  <a:pt x="479" y="136"/>
                </a:lnTo>
                <a:lnTo>
                  <a:pt x="479" y="139"/>
                </a:lnTo>
                <a:lnTo>
                  <a:pt x="478" y="142"/>
                </a:lnTo>
                <a:lnTo>
                  <a:pt x="477" y="144"/>
                </a:lnTo>
                <a:lnTo>
                  <a:pt x="474" y="145"/>
                </a:lnTo>
                <a:lnTo>
                  <a:pt x="473" y="145"/>
                </a:lnTo>
                <a:lnTo>
                  <a:pt x="474" y="144"/>
                </a:lnTo>
                <a:lnTo>
                  <a:pt x="473" y="141"/>
                </a:lnTo>
                <a:lnTo>
                  <a:pt x="473" y="140"/>
                </a:lnTo>
                <a:lnTo>
                  <a:pt x="474" y="139"/>
                </a:lnTo>
                <a:lnTo>
                  <a:pt x="474" y="135"/>
                </a:lnTo>
                <a:lnTo>
                  <a:pt x="473" y="134"/>
                </a:lnTo>
                <a:lnTo>
                  <a:pt x="473" y="138"/>
                </a:lnTo>
                <a:lnTo>
                  <a:pt x="472" y="139"/>
                </a:lnTo>
                <a:lnTo>
                  <a:pt x="471" y="139"/>
                </a:lnTo>
                <a:lnTo>
                  <a:pt x="471" y="138"/>
                </a:lnTo>
                <a:lnTo>
                  <a:pt x="470" y="138"/>
                </a:lnTo>
                <a:lnTo>
                  <a:pt x="470" y="140"/>
                </a:lnTo>
                <a:lnTo>
                  <a:pt x="468" y="139"/>
                </a:lnTo>
                <a:lnTo>
                  <a:pt x="468" y="140"/>
                </a:lnTo>
                <a:lnTo>
                  <a:pt x="467" y="141"/>
                </a:lnTo>
                <a:lnTo>
                  <a:pt x="467" y="145"/>
                </a:lnTo>
                <a:lnTo>
                  <a:pt x="465" y="145"/>
                </a:lnTo>
                <a:lnTo>
                  <a:pt x="465" y="146"/>
                </a:lnTo>
                <a:lnTo>
                  <a:pt x="466" y="146"/>
                </a:lnTo>
                <a:lnTo>
                  <a:pt x="466" y="148"/>
                </a:lnTo>
                <a:lnTo>
                  <a:pt x="464" y="151"/>
                </a:lnTo>
                <a:lnTo>
                  <a:pt x="464" y="153"/>
                </a:lnTo>
                <a:lnTo>
                  <a:pt x="461" y="153"/>
                </a:lnTo>
                <a:lnTo>
                  <a:pt x="461" y="152"/>
                </a:lnTo>
                <a:lnTo>
                  <a:pt x="462" y="152"/>
                </a:lnTo>
                <a:lnTo>
                  <a:pt x="462" y="151"/>
                </a:lnTo>
                <a:lnTo>
                  <a:pt x="461" y="151"/>
                </a:lnTo>
                <a:lnTo>
                  <a:pt x="459" y="148"/>
                </a:lnTo>
                <a:lnTo>
                  <a:pt x="453" y="150"/>
                </a:lnTo>
                <a:lnTo>
                  <a:pt x="449" y="150"/>
                </a:lnTo>
                <a:lnTo>
                  <a:pt x="449" y="147"/>
                </a:lnTo>
                <a:lnTo>
                  <a:pt x="452" y="147"/>
                </a:lnTo>
                <a:lnTo>
                  <a:pt x="453" y="144"/>
                </a:lnTo>
                <a:lnTo>
                  <a:pt x="454" y="142"/>
                </a:lnTo>
                <a:lnTo>
                  <a:pt x="457" y="141"/>
                </a:lnTo>
                <a:lnTo>
                  <a:pt x="458" y="139"/>
                </a:lnTo>
                <a:lnTo>
                  <a:pt x="461" y="134"/>
                </a:lnTo>
                <a:lnTo>
                  <a:pt x="462" y="133"/>
                </a:lnTo>
                <a:lnTo>
                  <a:pt x="461" y="132"/>
                </a:lnTo>
                <a:lnTo>
                  <a:pt x="461" y="130"/>
                </a:lnTo>
                <a:lnTo>
                  <a:pt x="460" y="129"/>
                </a:lnTo>
                <a:lnTo>
                  <a:pt x="460" y="134"/>
                </a:lnTo>
                <a:lnTo>
                  <a:pt x="455" y="140"/>
                </a:lnTo>
                <a:lnTo>
                  <a:pt x="453" y="140"/>
                </a:lnTo>
                <a:lnTo>
                  <a:pt x="452" y="141"/>
                </a:lnTo>
                <a:lnTo>
                  <a:pt x="449" y="142"/>
                </a:lnTo>
                <a:lnTo>
                  <a:pt x="448" y="145"/>
                </a:lnTo>
                <a:lnTo>
                  <a:pt x="446" y="146"/>
                </a:lnTo>
                <a:lnTo>
                  <a:pt x="445" y="147"/>
                </a:lnTo>
                <a:lnTo>
                  <a:pt x="446" y="147"/>
                </a:lnTo>
                <a:lnTo>
                  <a:pt x="447" y="148"/>
                </a:lnTo>
                <a:lnTo>
                  <a:pt x="443" y="152"/>
                </a:lnTo>
                <a:lnTo>
                  <a:pt x="442" y="152"/>
                </a:lnTo>
                <a:lnTo>
                  <a:pt x="440" y="157"/>
                </a:lnTo>
                <a:lnTo>
                  <a:pt x="439" y="158"/>
                </a:lnTo>
                <a:lnTo>
                  <a:pt x="436" y="158"/>
                </a:lnTo>
                <a:lnTo>
                  <a:pt x="436" y="157"/>
                </a:lnTo>
                <a:lnTo>
                  <a:pt x="437" y="156"/>
                </a:lnTo>
                <a:lnTo>
                  <a:pt x="436" y="153"/>
                </a:lnTo>
                <a:lnTo>
                  <a:pt x="439" y="151"/>
                </a:lnTo>
                <a:lnTo>
                  <a:pt x="439" y="150"/>
                </a:lnTo>
                <a:lnTo>
                  <a:pt x="440" y="148"/>
                </a:lnTo>
                <a:lnTo>
                  <a:pt x="441" y="145"/>
                </a:lnTo>
                <a:lnTo>
                  <a:pt x="445" y="138"/>
                </a:lnTo>
                <a:lnTo>
                  <a:pt x="447" y="135"/>
                </a:lnTo>
                <a:lnTo>
                  <a:pt x="452" y="135"/>
                </a:lnTo>
                <a:lnTo>
                  <a:pt x="449" y="134"/>
                </a:lnTo>
                <a:lnTo>
                  <a:pt x="448" y="134"/>
                </a:lnTo>
                <a:lnTo>
                  <a:pt x="447" y="133"/>
                </a:lnTo>
                <a:lnTo>
                  <a:pt x="447" y="132"/>
                </a:lnTo>
                <a:lnTo>
                  <a:pt x="449" y="132"/>
                </a:lnTo>
                <a:lnTo>
                  <a:pt x="448" y="130"/>
                </a:lnTo>
                <a:lnTo>
                  <a:pt x="448" y="128"/>
                </a:lnTo>
                <a:lnTo>
                  <a:pt x="445" y="128"/>
                </a:lnTo>
                <a:lnTo>
                  <a:pt x="445" y="126"/>
                </a:lnTo>
                <a:lnTo>
                  <a:pt x="446" y="123"/>
                </a:lnTo>
                <a:lnTo>
                  <a:pt x="449" y="123"/>
                </a:lnTo>
                <a:lnTo>
                  <a:pt x="449" y="121"/>
                </a:lnTo>
                <a:lnTo>
                  <a:pt x="454" y="121"/>
                </a:lnTo>
                <a:lnTo>
                  <a:pt x="455" y="123"/>
                </a:lnTo>
                <a:lnTo>
                  <a:pt x="455" y="122"/>
                </a:lnTo>
                <a:lnTo>
                  <a:pt x="453" y="119"/>
                </a:lnTo>
                <a:lnTo>
                  <a:pt x="455" y="119"/>
                </a:lnTo>
                <a:lnTo>
                  <a:pt x="455" y="116"/>
                </a:lnTo>
                <a:lnTo>
                  <a:pt x="460" y="116"/>
                </a:lnTo>
                <a:lnTo>
                  <a:pt x="461" y="117"/>
                </a:lnTo>
                <a:lnTo>
                  <a:pt x="461" y="119"/>
                </a:lnTo>
                <a:lnTo>
                  <a:pt x="462" y="119"/>
                </a:lnTo>
                <a:lnTo>
                  <a:pt x="464" y="117"/>
                </a:lnTo>
                <a:lnTo>
                  <a:pt x="462" y="117"/>
                </a:lnTo>
                <a:lnTo>
                  <a:pt x="462" y="116"/>
                </a:lnTo>
                <a:lnTo>
                  <a:pt x="461" y="116"/>
                </a:lnTo>
                <a:lnTo>
                  <a:pt x="461" y="115"/>
                </a:lnTo>
                <a:lnTo>
                  <a:pt x="459" y="115"/>
                </a:lnTo>
                <a:lnTo>
                  <a:pt x="457" y="113"/>
                </a:lnTo>
                <a:lnTo>
                  <a:pt x="457" y="111"/>
                </a:lnTo>
                <a:lnTo>
                  <a:pt x="455" y="109"/>
                </a:lnTo>
                <a:lnTo>
                  <a:pt x="455" y="104"/>
                </a:lnTo>
                <a:lnTo>
                  <a:pt x="461" y="104"/>
                </a:lnTo>
                <a:lnTo>
                  <a:pt x="461" y="103"/>
                </a:lnTo>
                <a:lnTo>
                  <a:pt x="462" y="103"/>
                </a:lnTo>
                <a:lnTo>
                  <a:pt x="465" y="105"/>
                </a:lnTo>
                <a:lnTo>
                  <a:pt x="467" y="107"/>
                </a:lnTo>
                <a:lnTo>
                  <a:pt x="466" y="105"/>
                </a:lnTo>
                <a:lnTo>
                  <a:pt x="465" y="105"/>
                </a:lnTo>
                <a:lnTo>
                  <a:pt x="465" y="103"/>
                </a:lnTo>
                <a:lnTo>
                  <a:pt x="464" y="102"/>
                </a:lnTo>
                <a:lnTo>
                  <a:pt x="457" y="102"/>
                </a:lnTo>
                <a:lnTo>
                  <a:pt x="457" y="96"/>
                </a:lnTo>
                <a:lnTo>
                  <a:pt x="455" y="95"/>
                </a:lnTo>
                <a:lnTo>
                  <a:pt x="458" y="95"/>
                </a:lnTo>
                <a:lnTo>
                  <a:pt x="459" y="93"/>
                </a:lnTo>
                <a:lnTo>
                  <a:pt x="459" y="92"/>
                </a:lnTo>
                <a:lnTo>
                  <a:pt x="460" y="92"/>
                </a:lnTo>
                <a:lnTo>
                  <a:pt x="462" y="93"/>
                </a:lnTo>
                <a:lnTo>
                  <a:pt x="464" y="92"/>
                </a:lnTo>
                <a:lnTo>
                  <a:pt x="462" y="92"/>
                </a:lnTo>
                <a:lnTo>
                  <a:pt x="461" y="91"/>
                </a:lnTo>
                <a:lnTo>
                  <a:pt x="460" y="91"/>
                </a:lnTo>
                <a:lnTo>
                  <a:pt x="460" y="87"/>
                </a:lnTo>
                <a:lnTo>
                  <a:pt x="461" y="86"/>
                </a:lnTo>
                <a:lnTo>
                  <a:pt x="464" y="85"/>
                </a:lnTo>
                <a:lnTo>
                  <a:pt x="462" y="84"/>
                </a:lnTo>
                <a:lnTo>
                  <a:pt x="462" y="82"/>
                </a:lnTo>
                <a:lnTo>
                  <a:pt x="464" y="78"/>
                </a:lnTo>
                <a:lnTo>
                  <a:pt x="464" y="77"/>
                </a:lnTo>
                <a:lnTo>
                  <a:pt x="470" y="77"/>
                </a:lnTo>
                <a:lnTo>
                  <a:pt x="473" y="76"/>
                </a:lnTo>
                <a:close/>
                <a:moveTo>
                  <a:pt x="492" y="72"/>
                </a:moveTo>
                <a:lnTo>
                  <a:pt x="495" y="73"/>
                </a:lnTo>
                <a:lnTo>
                  <a:pt x="498" y="77"/>
                </a:lnTo>
                <a:lnTo>
                  <a:pt x="501" y="77"/>
                </a:lnTo>
                <a:lnTo>
                  <a:pt x="503" y="76"/>
                </a:lnTo>
                <a:lnTo>
                  <a:pt x="504" y="77"/>
                </a:lnTo>
                <a:lnTo>
                  <a:pt x="504" y="80"/>
                </a:lnTo>
                <a:lnTo>
                  <a:pt x="503" y="82"/>
                </a:lnTo>
                <a:lnTo>
                  <a:pt x="504" y="84"/>
                </a:lnTo>
                <a:lnTo>
                  <a:pt x="503" y="85"/>
                </a:lnTo>
                <a:lnTo>
                  <a:pt x="497" y="85"/>
                </a:lnTo>
                <a:lnTo>
                  <a:pt x="496" y="84"/>
                </a:lnTo>
                <a:lnTo>
                  <a:pt x="493" y="80"/>
                </a:lnTo>
                <a:lnTo>
                  <a:pt x="491" y="78"/>
                </a:lnTo>
                <a:lnTo>
                  <a:pt x="490" y="76"/>
                </a:lnTo>
                <a:lnTo>
                  <a:pt x="492" y="72"/>
                </a:lnTo>
                <a:close/>
                <a:moveTo>
                  <a:pt x="440" y="71"/>
                </a:moveTo>
                <a:lnTo>
                  <a:pt x="442" y="71"/>
                </a:lnTo>
                <a:lnTo>
                  <a:pt x="443" y="72"/>
                </a:lnTo>
                <a:lnTo>
                  <a:pt x="443" y="77"/>
                </a:lnTo>
                <a:lnTo>
                  <a:pt x="445" y="79"/>
                </a:lnTo>
                <a:lnTo>
                  <a:pt x="445" y="80"/>
                </a:lnTo>
                <a:lnTo>
                  <a:pt x="446" y="80"/>
                </a:lnTo>
                <a:lnTo>
                  <a:pt x="447" y="83"/>
                </a:lnTo>
                <a:lnTo>
                  <a:pt x="446" y="84"/>
                </a:lnTo>
                <a:lnTo>
                  <a:pt x="445" y="84"/>
                </a:lnTo>
                <a:lnTo>
                  <a:pt x="445" y="85"/>
                </a:lnTo>
                <a:lnTo>
                  <a:pt x="446" y="86"/>
                </a:lnTo>
                <a:lnTo>
                  <a:pt x="448" y="82"/>
                </a:lnTo>
                <a:lnTo>
                  <a:pt x="449" y="83"/>
                </a:lnTo>
                <a:lnTo>
                  <a:pt x="448" y="87"/>
                </a:lnTo>
                <a:lnTo>
                  <a:pt x="448" y="89"/>
                </a:lnTo>
                <a:lnTo>
                  <a:pt x="447" y="92"/>
                </a:lnTo>
                <a:lnTo>
                  <a:pt x="449" y="90"/>
                </a:lnTo>
                <a:lnTo>
                  <a:pt x="449" y="89"/>
                </a:lnTo>
                <a:lnTo>
                  <a:pt x="452" y="90"/>
                </a:lnTo>
                <a:lnTo>
                  <a:pt x="453" y="90"/>
                </a:lnTo>
                <a:lnTo>
                  <a:pt x="453" y="91"/>
                </a:lnTo>
                <a:lnTo>
                  <a:pt x="452" y="93"/>
                </a:lnTo>
                <a:lnTo>
                  <a:pt x="452" y="95"/>
                </a:lnTo>
                <a:lnTo>
                  <a:pt x="449" y="96"/>
                </a:lnTo>
                <a:lnTo>
                  <a:pt x="449" y="95"/>
                </a:lnTo>
                <a:lnTo>
                  <a:pt x="448" y="96"/>
                </a:lnTo>
                <a:lnTo>
                  <a:pt x="449" y="98"/>
                </a:lnTo>
                <a:lnTo>
                  <a:pt x="448" y="99"/>
                </a:lnTo>
                <a:lnTo>
                  <a:pt x="449" y="101"/>
                </a:lnTo>
                <a:lnTo>
                  <a:pt x="452" y="102"/>
                </a:lnTo>
                <a:lnTo>
                  <a:pt x="453" y="103"/>
                </a:lnTo>
                <a:lnTo>
                  <a:pt x="454" y="108"/>
                </a:lnTo>
                <a:lnTo>
                  <a:pt x="453" y="110"/>
                </a:lnTo>
                <a:lnTo>
                  <a:pt x="449" y="113"/>
                </a:lnTo>
                <a:lnTo>
                  <a:pt x="440" y="121"/>
                </a:lnTo>
                <a:lnTo>
                  <a:pt x="431" y="121"/>
                </a:lnTo>
                <a:lnTo>
                  <a:pt x="430" y="120"/>
                </a:lnTo>
                <a:lnTo>
                  <a:pt x="430" y="119"/>
                </a:lnTo>
                <a:lnTo>
                  <a:pt x="431" y="119"/>
                </a:lnTo>
                <a:lnTo>
                  <a:pt x="429" y="117"/>
                </a:lnTo>
                <a:lnTo>
                  <a:pt x="429" y="114"/>
                </a:lnTo>
                <a:lnTo>
                  <a:pt x="431" y="114"/>
                </a:lnTo>
                <a:lnTo>
                  <a:pt x="435" y="111"/>
                </a:lnTo>
                <a:lnTo>
                  <a:pt x="439" y="111"/>
                </a:lnTo>
                <a:lnTo>
                  <a:pt x="439" y="109"/>
                </a:lnTo>
                <a:lnTo>
                  <a:pt x="440" y="109"/>
                </a:lnTo>
                <a:lnTo>
                  <a:pt x="441" y="108"/>
                </a:lnTo>
                <a:lnTo>
                  <a:pt x="442" y="108"/>
                </a:lnTo>
                <a:lnTo>
                  <a:pt x="443" y="107"/>
                </a:lnTo>
                <a:lnTo>
                  <a:pt x="443" y="101"/>
                </a:lnTo>
                <a:lnTo>
                  <a:pt x="437" y="98"/>
                </a:lnTo>
                <a:lnTo>
                  <a:pt x="436" y="99"/>
                </a:lnTo>
                <a:lnTo>
                  <a:pt x="437" y="99"/>
                </a:lnTo>
                <a:lnTo>
                  <a:pt x="440" y="102"/>
                </a:lnTo>
                <a:lnTo>
                  <a:pt x="439" y="104"/>
                </a:lnTo>
                <a:lnTo>
                  <a:pt x="436" y="107"/>
                </a:lnTo>
                <a:lnTo>
                  <a:pt x="435" y="107"/>
                </a:lnTo>
                <a:lnTo>
                  <a:pt x="435" y="105"/>
                </a:lnTo>
                <a:lnTo>
                  <a:pt x="434" y="108"/>
                </a:lnTo>
                <a:lnTo>
                  <a:pt x="433" y="109"/>
                </a:lnTo>
                <a:lnTo>
                  <a:pt x="431" y="109"/>
                </a:lnTo>
                <a:lnTo>
                  <a:pt x="431" y="108"/>
                </a:lnTo>
                <a:lnTo>
                  <a:pt x="429" y="110"/>
                </a:lnTo>
                <a:lnTo>
                  <a:pt x="429" y="105"/>
                </a:lnTo>
                <a:lnTo>
                  <a:pt x="428" y="107"/>
                </a:lnTo>
                <a:lnTo>
                  <a:pt x="428" y="109"/>
                </a:lnTo>
                <a:lnTo>
                  <a:pt x="427" y="110"/>
                </a:lnTo>
                <a:lnTo>
                  <a:pt x="427" y="111"/>
                </a:lnTo>
                <a:lnTo>
                  <a:pt x="424" y="109"/>
                </a:lnTo>
                <a:lnTo>
                  <a:pt x="423" y="107"/>
                </a:lnTo>
                <a:lnTo>
                  <a:pt x="423" y="109"/>
                </a:lnTo>
                <a:lnTo>
                  <a:pt x="422" y="110"/>
                </a:lnTo>
                <a:lnTo>
                  <a:pt x="421" y="113"/>
                </a:lnTo>
                <a:lnTo>
                  <a:pt x="421" y="116"/>
                </a:lnTo>
                <a:lnTo>
                  <a:pt x="417" y="116"/>
                </a:lnTo>
                <a:lnTo>
                  <a:pt x="415" y="119"/>
                </a:lnTo>
                <a:lnTo>
                  <a:pt x="412" y="117"/>
                </a:lnTo>
                <a:lnTo>
                  <a:pt x="412" y="110"/>
                </a:lnTo>
                <a:lnTo>
                  <a:pt x="411" y="111"/>
                </a:lnTo>
                <a:lnTo>
                  <a:pt x="411" y="110"/>
                </a:lnTo>
                <a:lnTo>
                  <a:pt x="410" y="109"/>
                </a:lnTo>
                <a:lnTo>
                  <a:pt x="411" y="108"/>
                </a:lnTo>
                <a:lnTo>
                  <a:pt x="411" y="107"/>
                </a:lnTo>
                <a:lnTo>
                  <a:pt x="412" y="107"/>
                </a:lnTo>
                <a:lnTo>
                  <a:pt x="412" y="105"/>
                </a:lnTo>
                <a:lnTo>
                  <a:pt x="414" y="104"/>
                </a:lnTo>
                <a:lnTo>
                  <a:pt x="417" y="103"/>
                </a:lnTo>
                <a:lnTo>
                  <a:pt x="417" y="102"/>
                </a:lnTo>
                <a:lnTo>
                  <a:pt x="416" y="102"/>
                </a:lnTo>
                <a:lnTo>
                  <a:pt x="414" y="101"/>
                </a:lnTo>
                <a:lnTo>
                  <a:pt x="414" y="98"/>
                </a:lnTo>
                <a:lnTo>
                  <a:pt x="415" y="96"/>
                </a:lnTo>
                <a:lnTo>
                  <a:pt x="417" y="95"/>
                </a:lnTo>
                <a:lnTo>
                  <a:pt x="418" y="96"/>
                </a:lnTo>
                <a:lnTo>
                  <a:pt x="418" y="102"/>
                </a:lnTo>
                <a:lnTo>
                  <a:pt x="420" y="103"/>
                </a:lnTo>
                <a:lnTo>
                  <a:pt x="421" y="103"/>
                </a:lnTo>
                <a:lnTo>
                  <a:pt x="421" y="102"/>
                </a:lnTo>
                <a:lnTo>
                  <a:pt x="420" y="102"/>
                </a:lnTo>
                <a:lnTo>
                  <a:pt x="420" y="99"/>
                </a:lnTo>
                <a:lnTo>
                  <a:pt x="421" y="98"/>
                </a:lnTo>
                <a:lnTo>
                  <a:pt x="421" y="97"/>
                </a:lnTo>
                <a:lnTo>
                  <a:pt x="422" y="97"/>
                </a:lnTo>
                <a:lnTo>
                  <a:pt x="421" y="96"/>
                </a:lnTo>
                <a:lnTo>
                  <a:pt x="421" y="92"/>
                </a:lnTo>
                <a:lnTo>
                  <a:pt x="422" y="91"/>
                </a:lnTo>
                <a:lnTo>
                  <a:pt x="423" y="92"/>
                </a:lnTo>
                <a:lnTo>
                  <a:pt x="423" y="93"/>
                </a:lnTo>
                <a:lnTo>
                  <a:pt x="424" y="95"/>
                </a:lnTo>
                <a:lnTo>
                  <a:pt x="423" y="99"/>
                </a:lnTo>
                <a:lnTo>
                  <a:pt x="423" y="101"/>
                </a:lnTo>
                <a:lnTo>
                  <a:pt x="426" y="99"/>
                </a:lnTo>
                <a:lnTo>
                  <a:pt x="428" y="97"/>
                </a:lnTo>
                <a:lnTo>
                  <a:pt x="430" y="96"/>
                </a:lnTo>
                <a:lnTo>
                  <a:pt x="431" y="97"/>
                </a:lnTo>
                <a:lnTo>
                  <a:pt x="431" y="101"/>
                </a:lnTo>
                <a:lnTo>
                  <a:pt x="433" y="101"/>
                </a:lnTo>
                <a:lnTo>
                  <a:pt x="434" y="98"/>
                </a:lnTo>
                <a:lnTo>
                  <a:pt x="435" y="97"/>
                </a:lnTo>
                <a:lnTo>
                  <a:pt x="434" y="96"/>
                </a:lnTo>
                <a:lnTo>
                  <a:pt x="435" y="95"/>
                </a:lnTo>
                <a:lnTo>
                  <a:pt x="435" y="93"/>
                </a:lnTo>
                <a:lnTo>
                  <a:pt x="433" y="90"/>
                </a:lnTo>
                <a:lnTo>
                  <a:pt x="435" y="87"/>
                </a:lnTo>
                <a:lnTo>
                  <a:pt x="436" y="90"/>
                </a:lnTo>
                <a:lnTo>
                  <a:pt x="436" y="96"/>
                </a:lnTo>
                <a:lnTo>
                  <a:pt x="437" y="96"/>
                </a:lnTo>
                <a:lnTo>
                  <a:pt x="437" y="92"/>
                </a:lnTo>
                <a:lnTo>
                  <a:pt x="439" y="90"/>
                </a:lnTo>
                <a:lnTo>
                  <a:pt x="440" y="90"/>
                </a:lnTo>
                <a:lnTo>
                  <a:pt x="443" y="93"/>
                </a:lnTo>
                <a:lnTo>
                  <a:pt x="443" y="91"/>
                </a:lnTo>
                <a:lnTo>
                  <a:pt x="442" y="89"/>
                </a:lnTo>
                <a:lnTo>
                  <a:pt x="440" y="86"/>
                </a:lnTo>
                <a:lnTo>
                  <a:pt x="440" y="83"/>
                </a:lnTo>
                <a:lnTo>
                  <a:pt x="437" y="80"/>
                </a:lnTo>
                <a:lnTo>
                  <a:pt x="437" y="74"/>
                </a:lnTo>
                <a:lnTo>
                  <a:pt x="440" y="71"/>
                </a:lnTo>
                <a:close/>
                <a:moveTo>
                  <a:pt x="545" y="61"/>
                </a:moveTo>
                <a:lnTo>
                  <a:pt x="546" y="61"/>
                </a:lnTo>
                <a:lnTo>
                  <a:pt x="545" y="62"/>
                </a:lnTo>
                <a:lnTo>
                  <a:pt x="545" y="65"/>
                </a:lnTo>
                <a:lnTo>
                  <a:pt x="541" y="68"/>
                </a:lnTo>
                <a:lnTo>
                  <a:pt x="540" y="68"/>
                </a:lnTo>
                <a:lnTo>
                  <a:pt x="540" y="70"/>
                </a:lnTo>
                <a:lnTo>
                  <a:pt x="539" y="72"/>
                </a:lnTo>
                <a:lnTo>
                  <a:pt x="538" y="73"/>
                </a:lnTo>
                <a:lnTo>
                  <a:pt x="536" y="72"/>
                </a:lnTo>
                <a:lnTo>
                  <a:pt x="535" y="72"/>
                </a:lnTo>
                <a:lnTo>
                  <a:pt x="536" y="71"/>
                </a:lnTo>
                <a:lnTo>
                  <a:pt x="536" y="66"/>
                </a:lnTo>
                <a:lnTo>
                  <a:pt x="538" y="65"/>
                </a:lnTo>
                <a:lnTo>
                  <a:pt x="539" y="62"/>
                </a:lnTo>
                <a:lnTo>
                  <a:pt x="540" y="62"/>
                </a:lnTo>
                <a:lnTo>
                  <a:pt x="545" y="61"/>
                </a:lnTo>
                <a:close/>
                <a:moveTo>
                  <a:pt x="483" y="35"/>
                </a:moveTo>
                <a:lnTo>
                  <a:pt x="485" y="35"/>
                </a:lnTo>
                <a:lnTo>
                  <a:pt x="485" y="42"/>
                </a:lnTo>
                <a:lnTo>
                  <a:pt x="483" y="47"/>
                </a:lnTo>
                <a:lnTo>
                  <a:pt x="483" y="54"/>
                </a:lnTo>
                <a:lnTo>
                  <a:pt x="482" y="55"/>
                </a:lnTo>
                <a:lnTo>
                  <a:pt x="479" y="56"/>
                </a:lnTo>
                <a:lnTo>
                  <a:pt x="478" y="59"/>
                </a:lnTo>
                <a:lnTo>
                  <a:pt x="477" y="60"/>
                </a:lnTo>
                <a:lnTo>
                  <a:pt x="477" y="61"/>
                </a:lnTo>
                <a:lnTo>
                  <a:pt x="476" y="64"/>
                </a:lnTo>
                <a:lnTo>
                  <a:pt x="474" y="65"/>
                </a:lnTo>
                <a:lnTo>
                  <a:pt x="473" y="65"/>
                </a:lnTo>
                <a:lnTo>
                  <a:pt x="473" y="68"/>
                </a:lnTo>
                <a:lnTo>
                  <a:pt x="472" y="68"/>
                </a:lnTo>
                <a:lnTo>
                  <a:pt x="471" y="70"/>
                </a:lnTo>
                <a:lnTo>
                  <a:pt x="464" y="73"/>
                </a:lnTo>
                <a:lnTo>
                  <a:pt x="460" y="70"/>
                </a:lnTo>
                <a:lnTo>
                  <a:pt x="459" y="71"/>
                </a:lnTo>
                <a:lnTo>
                  <a:pt x="460" y="72"/>
                </a:lnTo>
                <a:lnTo>
                  <a:pt x="460" y="73"/>
                </a:lnTo>
                <a:lnTo>
                  <a:pt x="461" y="74"/>
                </a:lnTo>
                <a:lnTo>
                  <a:pt x="461" y="77"/>
                </a:lnTo>
                <a:lnTo>
                  <a:pt x="460" y="78"/>
                </a:lnTo>
                <a:lnTo>
                  <a:pt x="459" y="83"/>
                </a:lnTo>
                <a:lnTo>
                  <a:pt x="458" y="84"/>
                </a:lnTo>
                <a:lnTo>
                  <a:pt x="457" y="86"/>
                </a:lnTo>
                <a:lnTo>
                  <a:pt x="455" y="85"/>
                </a:lnTo>
                <a:lnTo>
                  <a:pt x="454" y="83"/>
                </a:lnTo>
                <a:lnTo>
                  <a:pt x="455" y="80"/>
                </a:lnTo>
                <a:lnTo>
                  <a:pt x="455" y="78"/>
                </a:lnTo>
                <a:lnTo>
                  <a:pt x="454" y="77"/>
                </a:lnTo>
                <a:lnTo>
                  <a:pt x="457" y="72"/>
                </a:lnTo>
                <a:lnTo>
                  <a:pt x="457" y="71"/>
                </a:lnTo>
                <a:lnTo>
                  <a:pt x="459" y="66"/>
                </a:lnTo>
                <a:lnTo>
                  <a:pt x="460" y="62"/>
                </a:lnTo>
                <a:lnTo>
                  <a:pt x="462" y="58"/>
                </a:lnTo>
                <a:lnTo>
                  <a:pt x="465" y="55"/>
                </a:lnTo>
                <a:lnTo>
                  <a:pt x="468" y="54"/>
                </a:lnTo>
                <a:lnTo>
                  <a:pt x="470" y="53"/>
                </a:lnTo>
                <a:lnTo>
                  <a:pt x="472" y="46"/>
                </a:lnTo>
                <a:lnTo>
                  <a:pt x="473" y="45"/>
                </a:lnTo>
                <a:lnTo>
                  <a:pt x="473" y="42"/>
                </a:lnTo>
                <a:lnTo>
                  <a:pt x="474" y="42"/>
                </a:lnTo>
                <a:lnTo>
                  <a:pt x="476" y="41"/>
                </a:lnTo>
                <a:lnTo>
                  <a:pt x="478" y="37"/>
                </a:lnTo>
                <a:lnTo>
                  <a:pt x="483" y="35"/>
                </a:lnTo>
                <a:close/>
                <a:moveTo>
                  <a:pt x="541" y="0"/>
                </a:moveTo>
                <a:lnTo>
                  <a:pt x="544" y="0"/>
                </a:lnTo>
                <a:lnTo>
                  <a:pt x="545" y="4"/>
                </a:lnTo>
                <a:lnTo>
                  <a:pt x="547" y="10"/>
                </a:lnTo>
                <a:lnTo>
                  <a:pt x="548" y="11"/>
                </a:lnTo>
                <a:lnTo>
                  <a:pt x="549" y="11"/>
                </a:lnTo>
                <a:lnTo>
                  <a:pt x="551" y="10"/>
                </a:lnTo>
                <a:lnTo>
                  <a:pt x="551" y="9"/>
                </a:lnTo>
                <a:lnTo>
                  <a:pt x="549" y="9"/>
                </a:lnTo>
                <a:lnTo>
                  <a:pt x="549" y="3"/>
                </a:lnTo>
                <a:lnTo>
                  <a:pt x="548" y="2"/>
                </a:lnTo>
                <a:lnTo>
                  <a:pt x="549" y="0"/>
                </a:lnTo>
                <a:lnTo>
                  <a:pt x="551" y="0"/>
                </a:lnTo>
                <a:lnTo>
                  <a:pt x="551" y="2"/>
                </a:lnTo>
                <a:lnTo>
                  <a:pt x="552" y="6"/>
                </a:lnTo>
                <a:lnTo>
                  <a:pt x="553" y="7"/>
                </a:lnTo>
                <a:lnTo>
                  <a:pt x="554" y="6"/>
                </a:lnTo>
                <a:lnTo>
                  <a:pt x="555" y="4"/>
                </a:lnTo>
                <a:lnTo>
                  <a:pt x="555" y="2"/>
                </a:lnTo>
                <a:lnTo>
                  <a:pt x="558" y="2"/>
                </a:lnTo>
                <a:lnTo>
                  <a:pt x="558" y="4"/>
                </a:lnTo>
                <a:lnTo>
                  <a:pt x="559" y="7"/>
                </a:lnTo>
                <a:lnTo>
                  <a:pt x="559" y="9"/>
                </a:lnTo>
                <a:lnTo>
                  <a:pt x="557" y="11"/>
                </a:lnTo>
                <a:lnTo>
                  <a:pt x="557" y="15"/>
                </a:lnTo>
                <a:lnTo>
                  <a:pt x="555" y="17"/>
                </a:lnTo>
                <a:lnTo>
                  <a:pt x="557" y="18"/>
                </a:lnTo>
                <a:lnTo>
                  <a:pt x="557" y="19"/>
                </a:lnTo>
                <a:lnTo>
                  <a:pt x="558" y="18"/>
                </a:lnTo>
                <a:lnTo>
                  <a:pt x="558" y="16"/>
                </a:lnTo>
                <a:lnTo>
                  <a:pt x="559" y="13"/>
                </a:lnTo>
                <a:lnTo>
                  <a:pt x="559" y="12"/>
                </a:lnTo>
                <a:lnTo>
                  <a:pt x="560" y="12"/>
                </a:lnTo>
                <a:lnTo>
                  <a:pt x="560" y="10"/>
                </a:lnTo>
                <a:lnTo>
                  <a:pt x="563" y="10"/>
                </a:lnTo>
                <a:lnTo>
                  <a:pt x="565" y="13"/>
                </a:lnTo>
                <a:lnTo>
                  <a:pt x="565" y="15"/>
                </a:lnTo>
                <a:lnTo>
                  <a:pt x="563" y="15"/>
                </a:lnTo>
                <a:lnTo>
                  <a:pt x="563" y="18"/>
                </a:lnTo>
                <a:lnTo>
                  <a:pt x="561" y="21"/>
                </a:lnTo>
                <a:lnTo>
                  <a:pt x="563" y="23"/>
                </a:lnTo>
                <a:lnTo>
                  <a:pt x="564" y="23"/>
                </a:lnTo>
                <a:lnTo>
                  <a:pt x="564" y="21"/>
                </a:lnTo>
                <a:lnTo>
                  <a:pt x="565" y="19"/>
                </a:lnTo>
                <a:lnTo>
                  <a:pt x="566" y="19"/>
                </a:lnTo>
                <a:lnTo>
                  <a:pt x="566" y="22"/>
                </a:lnTo>
                <a:lnTo>
                  <a:pt x="567" y="25"/>
                </a:lnTo>
                <a:lnTo>
                  <a:pt x="567" y="30"/>
                </a:lnTo>
                <a:lnTo>
                  <a:pt x="564" y="30"/>
                </a:lnTo>
                <a:lnTo>
                  <a:pt x="561" y="31"/>
                </a:lnTo>
                <a:lnTo>
                  <a:pt x="559" y="34"/>
                </a:lnTo>
                <a:lnTo>
                  <a:pt x="560" y="35"/>
                </a:lnTo>
                <a:lnTo>
                  <a:pt x="560" y="39"/>
                </a:lnTo>
                <a:lnTo>
                  <a:pt x="561" y="40"/>
                </a:lnTo>
                <a:lnTo>
                  <a:pt x="561" y="42"/>
                </a:lnTo>
                <a:lnTo>
                  <a:pt x="558" y="42"/>
                </a:lnTo>
                <a:lnTo>
                  <a:pt x="558" y="43"/>
                </a:lnTo>
                <a:lnTo>
                  <a:pt x="560" y="45"/>
                </a:lnTo>
                <a:lnTo>
                  <a:pt x="561" y="46"/>
                </a:lnTo>
                <a:lnTo>
                  <a:pt x="561" y="48"/>
                </a:lnTo>
                <a:lnTo>
                  <a:pt x="564" y="48"/>
                </a:lnTo>
                <a:lnTo>
                  <a:pt x="561" y="50"/>
                </a:lnTo>
                <a:lnTo>
                  <a:pt x="555" y="52"/>
                </a:lnTo>
                <a:lnTo>
                  <a:pt x="551" y="52"/>
                </a:lnTo>
                <a:lnTo>
                  <a:pt x="547" y="54"/>
                </a:lnTo>
                <a:lnTo>
                  <a:pt x="544" y="53"/>
                </a:lnTo>
                <a:lnTo>
                  <a:pt x="542" y="54"/>
                </a:lnTo>
                <a:lnTo>
                  <a:pt x="542" y="50"/>
                </a:lnTo>
                <a:lnTo>
                  <a:pt x="544" y="48"/>
                </a:lnTo>
                <a:lnTo>
                  <a:pt x="541" y="48"/>
                </a:lnTo>
                <a:lnTo>
                  <a:pt x="539" y="50"/>
                </a:lnTo>
                <a:lnTo>
                  <a:pt x="538" y="54"/>
                </a:lnTo>
                <a:lnTo>
                  <a:pt x="529" y="62"/>
                </a:lnTo>
                <a:lnTo>
                  <a:pt x="528" y="66"/>
                </a:lnTo>
                <a:lnTo>
                  <a:pt x="528" y="67"/>
                </a:lnTo>
                <a:lnTo>
                  <a:pt x="529" y="66"/>
                </a:lnTo>
                <a:lnTo>
                  <a:pt x="530" y="67"/>
                </a:lnTo>
                <a:lnTo>
                  <a:pt x="529" y="70"/>
                </a:lnTo>
                <a:lnTo>
                  <a:pt x="527" y="71"/>
                </a:lnTo>
                <a:lnTo>
                  <a:pt x="524" y="71"/>
                </a:lnTo>
                <a:lnTo>
                  <a:pt x="523" y="70"/>
                </a:lnTo>
                <a:lnTo>
                  <a:pt x="523" y="67"/>
                </a:lnTo>
                <a:lnTo>
                  <a:pt x="526" y="67"/>
                </a:lnTo>
                <a:lnTo>
                  <a:pt x="524" y="66"/>
                </a:lnTo>
                <a:lnTo>
                  <a:pt x="524" y="65"/>
                </a:lnTo>
                <a:lnTo>
                  <a:pt x="526" y="64"/>
                </a:lnTo>
                <a:lnTo>
                  <a:pt x="527" y="64"/>
                </a:lnTo>
                <a:lnTo>
                  <a:pt x="526" y="62"/>
                </a:lnTo>
                <a:lnTo>
                  <a:pt x="514" y="66"/>
                </a:lnTo>
                <a:lnTo>
                  <a:pt x="514" y="65"/>
                </a:lnTo>
                <a:lnTo>
                  <a:pt x="511" y="64"/>
                </a:lnTo>
                <a:lnTo>
                  <a:pt x="511" y="61"/>
                </a:lnTo>
                <a:lnTo>
                  <a:pt x="513" y="59"/>
                </a:lnTo>
                <a:lnTo>
                  <a:pt x="514" y="58"/>
                </a:lnTo>
                <a:lnTo>
                  <a:pt x="516" y="60"/>
                </a:lnTo>
                <a:lnTo>
                  <a:pt x="517" y="60"/>
                </a:lnTo>
                <a:lnTo>
                  <a:pt x="516" y="56"/>
                </a:lnTo>
                <a:lnTo>
                  <a:pt x="521" y="55"/>
                </a:lnTo>
                <a:lnTo>
                  <a:pt x="522" y="56"/>
                </a:lnTo>
                <a:lnTo>
                  <a:pt x="523" y="56"/>
                </a:lnTo>
                <a:lnTo>
                  <a:pt x="524" y="54"/>
                </a:lnTo>
                <a:lnTo>
                  <a:pt x="523" y="54"/>
                </a:lnTo>
                <a:lnTo>
                  <a:pt x="523" y="53"/>
                </a:lnTo>
                <a:lnTo>
                  <a:pt x="527" y="50"/>
                </a:lnTo>
                <a:lnTo>
                  <a:pt x="528" y="48"/>
                </a:lnTo>
                <a:lnTo>
                  <a:pt x="524" y="50"/>
                </a:lnTo>
                <a:lnTo>
                  <a:pt x="523" y="50"/>
                </a:lnTo>
                <a:lnTo>
                  <a:pt x="520" y="49"/>
                </a:lnTo>
                <a:lnTo>
                  <a:pt x="517" y="49"/>
                </a:lnTo>
                <a:lnTo>
                  <a:pt x="517" y="46"/>
                </a:lnTo>
                <a:lnTo>
                  <a:pt x="516" y="46"/>
                </a:lnTo>
                <a:lnTo>
                  <a:pt x="518" y="45"/>
                </a:lnTo>
                <a:lnTo>
                  <a:pt x="524" y="45"/>
                </a:lnTo>
                <a:lnTo>
                  <a:pt x="527" y="42"/>
                </a:lnTo>
                <a:lnTo>
                  <a:pt x="526" y="42"/>
                </a:lnTo>
                <a:lnTo>
                  <a:pt x="526" y="39"/>
                </a:lnTo>
                <a:lnTo>
                  <a:pt x="524" y="37"/>
                </a:lnTo>
                <a:lnTo>
                  <a:pt x="524" y="40"/>
                </a:lnTo>
                <a:lnTo>
                  <a:pt x="521" y="40"/>
                </a:lnTo>
                <a:lnTo>
                  <a:pt x="521" y="37"/>
                </a:lnTo>
                <a:lnTo>
                  <a:pt x="522" y="36"/>
                </a:lnTo>
                <a:lnTo>
                  <a:pt x="518" y="37"/>
                </a:lnTo>
                <a:lnTo>
                  <a:pt x="517" y="36"/>
                </a:lnTo>
                <a:lnTo>
                  <a:pt x="517" y="34"/>
                </a:lnTo>
                <a:lnTo>
                  <a:pt x="527" y="35"/>
                </a:lnTo>
                <a:lnTo>
                  <a:pt x="526" y="34"/>
                </a:lnTo>
                <a:lnTo>
                  <a:pt x="526" y="33"/>
                </a:lnTo>
                <a:lnTo>
                  <a:pt x="523" y="33"/>
                </a:lnTo>
                <a:lnTo>
                  <a:pt x="523" y="30"/>
                </a:lnTo>
                <a:lnTo>
                  <a:pt x="526" y="30"/>
                </a:lnTo>
                <a:lnTo>
                  <a:pt x="524" y="29"/>
                </a:lnTo>
                <a:lnTo>
                  <a:pt x="523" y="29"/>
                </a:lnTo>
                <a:lnTo>
                  <a:pt x="520" y="30"/>
                </a:lnTo>
                <a:lnTo>
                  <a:pt x="516" y="29"/>
                </a:lnTo>
                <a:lnTo>
                  <a:pt x="518" y="27"/>
                </a:lnTo>
                <a:lnTo>
                  <a:pt x="518" y="24"/>
                </a:lnTo>
                <a:lnTo>
                  <a:pt x="521" y="25"/>
                </a:lnTo>
                <a:lnTo>
                  <a:pt x="522" y="24"/>
                </a:lnTo>
                <a:lnTo>
                  <a:pt x="523" y="24"/>
                </a:lnTo>
                <a:lnTo>
                  <a:pt x="523" y="25"/>
                </a:lnTo>
                <a:lnTo>
                  <a:pt x="524" y="27"/>
                </a:lnTo>
                <a:lnTo>
                  <a:pt x="527" y="24"/>
                </a:lnTo>
                <a:lnTo>
                  <a:pt x="533" y="25"/>
                </a:lnTo>
                <a:lnTo>
                  <a:pt x="536" y="29"/>
                </a:lnTo>
                <a:lnTo>
                  <a:pt x="538" y="29"/>
                </a:lnTo>
                <a:lnTo>
                  <a:pt x="538" y="27"/>
                </a:lnTo>
                <a:lnTo>
                  <a:pt x="536" y="25"/>
                </a:lnTo>
                <a:lnTo>
                  <a:pt x="535" y="25"/>
                </a:lnTo>
                <a:lnTo>
                  <a:pt x="534" y="23"/>
                </a:lnTo>
                <a:lnTo>
                  <a:pt x="540" y="23"/>
                </a:lnTo>
                <a:lnTo>
                  <a:pt x="542" y="21"/>
                </a:lnTo>
                <a:lnTo>
                  <a:pt x="535" y="19"/>
                </a:lnTo>
                <a:lnTo>
                  <a:pt x="532" y="18"/>
                </a:lnTo>
                <a:lnTo>
                  <a:pt x="529" y="12"/>
                </a:lnTo>
                <a:lnTo>
                  <a:pt x="530" y="12"/>
                </a:lnTo>
                <a:lnTo>
                  <a:pt x="533" y="15"/>
                </a:lnTo>
                <a:lnTo>
                  <a:pt x="533" y="16"/>
                </a:lnTo>
                <a:lnTo>
                  <a:pt x="534" y="17"/>
                </a:lnTo>
                <a:lnTo>
                  <a:pt x="534" y="15"/>
                </a:lnTo>
                <a:lnTo>
                  <a:pt x="538" y="15"/>
                </a:lnTo>
                <a:lnTo>
                  <a:pt x="536" y="13"/>
                </a:lnTo>
                <a:lnTo>
                  <a:pt x="535" y="10"/>
                </a:lnTo>
                <a:lnTo>
                  <a:pt x="534" y="10"/>
                </a:lnTo>
                <a:lnTo>
                  <a:pt x="534" y="9"/>
                </a:lnTo>
                <a:lnTo>
                  <a:pt x="535" y="7"/>
                </a:lnTo>
                <a:lnTo>
                  <a:pt x="536" y="9"/>
                </a:lnTo>
                <a:lnTo>
                  <a:pt x="539" y="10"/>
                </a:lnTo>
                <a:lnTo>
                  <a:pt x="540" y="10"/>
                </a:lnTo>
                <a:lnTo>
                  <a:pt x="541" y="11"/>
                </a:lnTo>
                <a:lnTo>
                  <a:pt x="541" y="12"/>
                </a:lnTo>
                <a:lnTo>
                  <a:pt x="542" y="13"/>
                </a:lnTo>
                <a:lnTo>
                  <a:pt x="544" y="13"/>
                </a:lnTo>
                <a:lnTo>
                  <a:pt x="547" y="17"/>
                </a:lnTo>
                <a:lnTo>
                  <a:pt x="548" y="17"/>
                </a:lnTo>
                <a:lnTo>
                  <a:pt x="548" y="16"/>
                </a:lnTo>
                <a:lnTo>
                  <a:pt x="547" y="16"/>
                </a:lnTo>
                <a:lnTo>
                  <a:pt x="547" y="15"/>
                </a:lnTo>
                <a:lnTo>
                  <a:pt x="546" y="13"/>
                </a:lnTo>
                <a:lnTo>
                  <a:pt x="546" y="12"/>
                </a:lnTo>
                <a:lnTo>
                  <a:pt x="545" y="10"/>
                </a:lnTo>
                <a:lnTo>
                  <a:pt x="541" y="6"/>
                </a:lnTo>
                <a:lnTo>
                  <a:pt x="541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8" name="Freeform 9">
            <a:extLst>
              <a:ext uri="{FF2B5EF4-FFF2-40B4-BE49-F238E27FC236}">
                <a16:creationId xmlns:a16="http://schemas.microsoft.com/office/drawing/2014/main" id="{0C2A368A-6067-4897-B69F-5A208C8783E0}"/>
              </a:ext>
            </a:extLst>
          </p:cNvPr>
          <p:cNvSpPr>
            <a:spLocks noEditPoints="1"/>
          </p:cNvSpPr>
          <p:nvPr/>
        </p:nvSpPr>
        <p:spPr bwMode="auto">
          <a:xfrm>
            <a:off x="1533075" y="1968962"/>
            <a:ext cx="1599630" cy="1912601"/>
          </a:xfrm>
          <a:custGeom>
            <a:avLst/>
            <a:gdLst/>
            <a:ahLst/>
            <a:cxnLst>
              <a:cxn ang="0">
                <a:pos x="1057" y="156"/>
              </a:cxn>
              <a:cxn ang="0">
                <a:pos x="605" y="137"/>
              </a:cxn>
              <a:cxn ang="0">
                <a:pos x="675" y="131"/>
              </a:cxn>
              <a:cxn ang="0">
                <a:pos x="635" y="136"/>
              </a:cxn>
              <a:cxn ang="0">
                <a:pos x="775" y="102"/>
              </a:cxn>
              <a:cxn ang="0">
                <a:pos x="791" y="50"/>
              </a:cxn>
              <a:cxn ang="0">
                <a:pos x="734" y="67"/>
              </a:cxn>
              <a:cxn ang="0">
                <a:pos x="772" y="44"/>
              </a:cxn>
              <a:cxn ang="0">
                <a:pos x="983" y="20"/>
              </a:cxn>
              <a:cxn ang="0">
                <a:pos x="980" y="112"/>
              </a:cxn>
              <a:cxn ang="0">
                <a:pos x="1068" y="63"/>
              </a:cxn>
              <a:cxn ang="0">
                <a:pos x="1045" y="154"/>
              </a:cxn>
              <a:cxn ang="0">
                <a:pos x="1067" y="199"/>
              </a:cxn>
              <a:cxn ang="0">
                <a:pos x="880" y="228"/>
              </a:cxn>
              <a:cxn ang="0">
                <a:pos x="578" y="322"/>
              </a:cxn>
              <a:cxn ang="0">
                <a:pos x="312" y="1014"/>
              </a:cxn>
              <a:cxn ang="0">
                <a:pos x="251" y="1223"/>
              </a:cxn>
              <a:cxn ang="0">
                <a:pos x="230" y="1202"/>
              </a:cxn>
              <a:cxn ang="0">
                <a:pos x="186" y="1259"/>
              </a:cxn>
              <a:cxn ang="0">
                <a:pos x="89" y="1315"/>
              </a:cxn>
              <a:cxn ang="0">
                <a:pos x="23" y="1259"/>
              </a:cxn>
              <a:cxn ang="0">
                <a:pos x="48" y="1206"/>
              </a:cxn>
              <a:cxn ang="0">
                <a:pos x="12" y="1204"/>
              </a:cxn>
              <a:cxn ang="0">
                <a:pos x="56" y="1145"/>
              </a:cxn>
              <a:cxn ang="0">
                <a:pos x="38" y="1155"/>
              </a:cxn>
              <a:cxn ang="0">
                <a:pos x="31" y="1117"/>
              </a:cxn>
              <a:cxn ang="0">
                <a:pos x="6" y="1085"/>
              </a:cxn>
              <a:cxn ang="0">
                <a:pos x="94" y="1074"/>
              </a:cxn>
              <a:cxn ang="0">
                <a:pos x="63" y="1061"/>
              </a:cxn>
              <a:cxn ang="0">
                <a:pos x="25" y="1031"/>
              </a:cxn>
              <a:cxn ang="0">
                <a:pos x="44" y="997"/>
              </a:cxn>
              <a:cxn ang="0">
                <a:pos x="12" y="972"/>
              </a:cxn>
              <a:cxn ang="0">
                <a:pos x="63" y="946"/>
              </a:cxn>
              <a:cxn ang="0">
                <a:pos x="83" y="924"/>
              </a:cxn>
              <a:cxn ang="0">
                <a:pos x="99" y="889"/>
              </a:cxn>
              <a:cxn ang="0">
                <a:pos x="156" y="893"/>
              </a:cxn>
              <a:cxn ang="0">
                <a:pos x="182" y="843"/>
              </a:cxn>
              <a:cxn ang="0">
                <a:pos x="250" y="829"/>
              </a:cxn>
              <a:cxn ang="0">
                <a:pos x="205" y="828"/>
              </a:cxn>
              <a:cxn ang="0">
                <a:pos x="232" y="768"/>
              </a:cxn>
              <a:cxn ang="0">
                <a:pos x="274" y="752"/>
              </a:cxn>
              <a:cxn ang="0">
                <a:pos x="267" y="713"/>
              </a:cxn>
              <a:cxn ang="0">
                <a:pos x="311" y="670"/>
              </a:cxn>
              <a:cxn ang="0">
                <a:pos x="332" y="598"/>
              </a:cxn>
              <a:cxn ang="0">
                <a:pos x="365" y="565"/>
              </a:cxn>
              <a:cxn ang="0">
                <a:pos x="348" y="527"/>
              </a:cxn>
              <a:cxn ang="0">
                <a:pos x="406" y="487"/>
              </a:cxn>
              <a:cxn ang="0">
                <a:pos x="425" y="457"/>
              </a:cxn>
              <a:cxn ang="0">
                <a:pos x="436" y="432"/>
              </a:cxn>
              <a:cxn ang="0">
                <a:pos x="423" y="398"/>
              </a:cxn>
              <a:cxn ang="0">
                <a:pos x="460" y="368"/>
              </a:cxn>
              <a:cxn ang="0">
                <a:pos x="479" y="365"/>
              </a:cxn>
              <a:cxn ang="0">
                <a:pos x="524" y="332"/>
              </a:cxn>
              <a:cxn ang="0">
                <a:pos x="529" y="284"/>
              </a:cxn>
              <a:cxn ang="0">
                <a:pos x="576" y="213"/>
              </a:cxn>
              <a:cxn ang="0">
                <a:pos x="616" y="216"/>
              </a:cxn>
              <a:cxn ang="0">
                <a:pos x="659" y="191"/>
              </a:cxn>
              <a:cxn ang="0">
                <a:pos x="714" y="142"/>
              </a:cxn>
              <a:cxn ang="0">
                <a:pos x="744" y="113"/>
              </a:cxn>
              <a:cxn ang="0">
                <a:pos x="819" y="86"/>
              </a:cxn>
              <a:cxn ang="0">
                <a:pos x="858" y="39"/>
              </a:cxn>
              <a:cxn ang="0">
                <a:pos x="851" y="128"/>
              </a:cxn>
              <a:cxn ang="0">
                <a:pos x="930" y="76"/>
              </a:cxn>
            </a:cxnLst>
            <a:rect l="0" t="0" r="r" b="b"/>
            <a:pathLst>
              <a:path w="1104" h="1320">
                <a:moveTo>
                  <a:pt x="580" y="158"/>
                </a:moveTo>
                <a:lnTo>
                  <a:pt x="582" y="158"/>
                </a:lnTo>
                <a:lnTo>
                  <a:pt x="584" y="159"/>
                </a:lnTo>
                <a:lnTo>
                  <a:pt x="585" y="159"/>
                </a:lnTo>
                <a:lnTo>
                  <a:pt x="584" y="158"/>
                </a:lnTo>
                <a:lnTo>
                  <a:pt x="586" y="158"/>
                </a:lnTo>
                <a:lnTo>
                  <a:pt x="586" y="159"/>
                </a:lnTo>
                <a:lnTo>
                  <a:pt x="588" y="160"/>
                </a:lnTo>
                <a:lnTo>
                  <a:pt x="588" y="161"/>
                </a:lnTo>
                <a:lnTo>
                  <a:pt x="586" y="162"/>
                </a:lnTo>
                <a:lnTo>
                  <a:pt x="589" y="162"/>
                </a:lnTo>
                <a:lnTo>
                  <a:pt x="594" y="164"/>
                </a:lnTo>
                <a:lnTo>
                  <a:pt x="594" y="165"/>
                </a:lnTo>
                <a:lnTo>
                  <a:pt x="596" y="167"/>
                </a:lnTo>
                <a:lnTo>
                  <a:pt x="596" y="172"/>
                </a:lnTo>
                <a:lnTo>
                  <a:pt x="595" y="174"/>
                </a:lnTo>
                <a:lnTo>
                  <a:pt x="592" y="176"/>
                </a:lnTo>
                <a:lnTo>
                  <a:pt x="590" y="180"/>
                </a:lnTo>
                <a:lnTo>
                  <a:pt x="589" y="182"/>
                </a:lnTo>
                <a:lnTo>
                  <a:pt x="586" y="182"/>
                </a:lnTo>
                <a:lnTo>
                  <a:pt x="584" y="184"/>
                </a:lnTo>
                <a:lnTo>
                  <a:pt x="584" y="188"/>
                </a:lnTo>
                <a:lnTo>
                  <a:pt x="586" y="190"/>
                </a:lnTo>
                <a:lnTo>
                  <a:pt x="586" y="194"/>
                </a:lnTo>
                <a:lnTo>
                  <a:pt x="584" y="196"/>
                </a:lnTo>
                <a:lnTo>
                  <a:pt x="583" y="196"/>
                </a:lnTo>
                <a:lnTo>
                  <a:pt x="578" y="195"/>
                </a:lnTo>
                <a:lnTo>
                  <a:pt x="576" y="197"/>
                </a:lnTo>
                <a:lnTo>
                  <a:pt x="572" y="197"/>
                </a:lnTo>
                <a:lnTo>
                  <a:pt x="563" y="201"/>
                </a:lnTo>
                <a:lnTo>
                  <a:pt x="560" y="201"/>
                </a:lnTo>
                <a:lnTo>
                  <a:pt x="555" y="196"/>
                </a:lnTo>
                <a:lnTo>
                  <a:pt x="553" y="196"/>
                </a:lnTo>
                <a:lnTo>
                  <a:pt x="551" y="194"/>
                </a:lnTo>
                <a:lnTo>
                  <a:pt x="553" y="191"/>
                </a:lnTo>
                <a:lnTo>
                  <a:pt x="553" y="189"/>
                </a:lnTo>
                <a:lnTo>
                  <a:pt x="554" y="190"/>
                </a:lnTo>
                <a:lnTo>
                  <a:pt x="555" y="190"/>
                </a:lnTo>
                <a:lnTo>
                  <a:pt x="555" y="189"/>
                </a:lnTo>
                <a:lnTo>
                  <a:pt x="557" y="189"/>
                </a:lnTo>
                <a:lnTo>
                  <a:pt x="557" y="188"/>
                </a:lnTo>
                <a:lnTo>
                  <a:pt x="561" y="189"/>
                </a:lnTo>
                <a:lnTo>
                  <a:pt x="564" y="191"/>
                </a:lnTo>
                <a:lnTo>
                  <a:pt x="564" y="192"/>
                </a:lnTo>
                <a:lnTo>
                  <a:pt x="563" y="192"/>
                </a:lnTo>
                <a:lnTo>
                  <a:pt x="563" y="194"/>
                </a:lnTo>
                <a:lnTo>
                  <a:pt x="564" y="194"/>
                </a:lnTo>
                <a:lnTo>
                  <a:pt x="564" y="192"/>
                </a:lnTo>
                <a:lnTo>
                  <a:pt x="565" y="191"/>
                </a:lnTo>
                <a:lnTo>
                  <a:pt x="565" y="190"/>
                </a:lnTo>
                <a:lnTo>
                  <a:pt x="566" y="190"/>
                </a:lnTo>
                <a:lnTo>
                  <a:pt x="567" y="189"/>
                </a:lnTo>
                <a:lnTo>
                  <a:pt x="567" y="188"/>
                </a:lnTo>
                <a:lnTo>
                  <a:pt x="568" y="188"/>
                </a:lnTo>
                <a:lnTo>
                  <a:pt x="567" y="188"/>
                </a:lnTo>
                <a:lnTo>
                  <a:pt x="565" y="189"/>
                </a:lnTo>
                <a:lnTo>
                  <a:pt x="564" y="189"/>
                </a:lnTo>
                <a:lnTo>
                  <a:pt x="564" y="188"/>
                </a:lnTo>
                <a:lnTo>
                  <a:pt x="559" y="179"/>
                </a:lnTo>
                <a:lnTo>
                  <a:pt x="560" y="178"/>
                </a:lnTo>
                <a:lnTo>
                  <a:pt x="565" y="179"/>
                </a:lnTo>
                <a:lnTo>
                  <a:pt x="572" y="179"/>
                </a:lnTo>
                <a:lnTo>
                  <a:pt x="577" y="182"/>
                </a:lnTo>
                <a:lnTo>
                  <a:pt x="578" y="180"/>
                </a:lnTo>
                <a:lnTo>
                  <a:pt x="577" y="179"/>
                </a:lnTo>
                <a:lnTo>
                  <a:pt x="567" y="178"/>
                </a:lnTo>
                <a:lnTo>
                  <a:pt x="566" y="177"/>
                </a:lnTo>
                <a:lnTo>
                  <a:pt x="566" y="174"/>
                </a:lnTo>
                <a:lnTo>
                  <a:pt x="565" y="172"/>
                </a:lnTo>
                <a:lnTo>
                  <a:pt x="565" y="171"/>
                </a:lnTo>
                <a:lnTo>
                  <a:pt x="566" y="168"/>
                </a:lnTo>
                <a:lnTo>
                  <a:pt x="568" y="168"/>
                </a:lnTo>
                <a:lnTo>
                  <a:pt x="570" y="171"/>
                </a:lnTo>
                <a:lnTo>
                  <a:pt x="572" y="171"/>
                </a:lnTo>
                <a:lnTo>
                  <a:pt x="572" y="174"/>
                </a:lnTo>
                <a:lnTo>
                  <a:pt x="573" y="173"/>
                </a:lnTo>
                <a:lnTo>
                  <a:pt x="573" y="172"/>
                </a:lnTo>
                <a:lnTo>
                  <a:pt x="574" y="171"/>
                </a:lnTo>
                <a:lnTo>
                  <a:pt x="574" y="168"/>
                </a:lnTo>
                <a:lnTo>
                  <a:pt x="576" y="167"/>
                </a:lnTo>
                <a:lnTo>
                  <a:pt x="579" y="167"/>
                </a:lnTo>
                <a:lnTo>
                  <a:pt x="578" y="173"/>
                </a:lnTo>
                <a:lnTo>
                  <a:pt x="579" y="178"/>
                </a:lnTo>
                <a:lnTo>
                  <a:pt x="582" y="182"/>
                </a:lnTo>
                <a:lnTo>
                  <a:pt x="584" y="182"/>
                </a:lnTo>
                <a:lnTo>
                  <a:pt x="583" y="180"/>
                </a:lnTo>
                <a:lnTo>
                  <a:pt x="583" y="174"/>
                </a:lnTo>
                <a:lnTo>
                  <a:pt x="585" y="170"/>
                </a:lnTo>
                <a:lnTo>
                  <a:pt x="584" y="168"/>
                </a:lnTo>
                <a:lnTo>
                  <a:pt x="580" y="164"/>
                </a:lnTo>
                <a:lnTo>
                  <a:pt x="580" y="162"/>
                </a:lnTo>
                <a:lnTo>
                  <a:pt x="579" y="160"/>
                </a:lnTo>
                <a:lnTo>
                  <a:pt x="580" y="158"/>
                </a:lnTo>
                <a:close/>
                <a:moveTo>
                  <a:pt x="1051" y="154"/>
                </a:moveTo>
                <a:lnTo>
                  <a:pt x="1052" y="154"/>
                </a:lnTo>
                <a:lnTo>
                  <a:pt x="1056" y="155"/>
                </a:lnTo>
                <a:lnTo>
                  <a:pt x="1057" y="156"/>
                </a:lnTo>
                <a:lnTo>
                  <a:pt x="1057" y="160"/>
                </a:lnTo>
                <a:lnTo>
                  <a:pt x="1058" y="160"/>
                </a:lnTo>
                <a:lnTo>
                  <a:pt x="1058" y="164"/>
                </a:lnTo>
                <a:lnTo>
                  <a:pt x="1062" y="164"/>
                </a:lnTo>
                <a:lnTo>
                  <a:pt x="1062" y="166"/>
                </a:lnTo>
                <a:lnTo>
                  <a:pt x="1055" y="170"/>
                </a:lnTo>
                <a:lnTo>
                  <a:pt x="1054" y="171"/>
                </a:lnTo>
                <a:lnTo>
                  <a:pt x="1051" y="168"/>
                </a:lnTo>
                <a:lnTo>
                  <a:pt x="1050" y="170"/>
                </a:lnTo>
                <a:lnTo>
                  <a:pt x="1051" y="171"/>
                </a:lnTo>
                <a:lnTo>
                  <a:pt x="1051" y="172"/>
                </a:lnTo>
                <a:lnTo>
                  <a:pt x="1049" y="173"/>
                </a:lnTo>
                <a:lnTo>
                  <a:pt x="1045" y="172"/>
                </a:lnTo>
                <a:lnTo>
                  <a:pt x="1049" y="165"/>
                </a:lnTo>
                <a:lnTo>
                  <a:pt x="1050" y="164"/>
                </a:lnTo>
                <a:lnTo>
                  <a:pt x="1050" y="156"/>
                </a:lnTo>
                <a:lnTo>
                  <a:pt x="1051" y="154"/>
                </a:lnTo>
                <a:close/>
                <a:moveTo>
                  <a:pt x="666" y="154"/>
                </a:moveTo>
                <a:lnTo>
                  <a:pt x="666" y="156"/>
                </a:lnTo>
                <a:lnTo>
                  <a:pt x="665" y="156"/>
                </a:lnTo>
                <a:lnTo>
                  <a:pt x="665" y="160"/>
                </a:lnTo>
                <a:lnTo>
                  <a:pt x="666" y="164"/>
                </a:lnTo>
                <a:lnTo>
                  <a:pt x="665" y="166"/>
                </a:lnTo>
                <a:lnTo>
                  <a:pt x="664" y="167"/>
                </a:lnTo>
                <a:lnTo>
                  <a:pt x="661" y="168"/>
                </a:lnTo>
                <a:lnTo>
                  <a:pt x="659" y="168"/>
                </a:lnTo>
                <a:lnTo>
                  <a:pt x="658" y="166"/>
                </a:lnTo>
                <a:lnTo>
                  <a:pt x="658" y="161"/>
                </a:lnTo>
                <a:lnTo>
                  <a:pt x="659" y="159"/>
                </a:lnTo>
                <a:lnTo>
                  <a:pt x="659" y="156"/>
                </a:lnTo>
                <a:lnTo>
                  <a:pt x="660" y="155"/>
                </a:lnTo>
                <a:lnTo>
                  <a:pt x="661" y="155"/>
                </a:lnTo>
                <a:lnTo>
                  <a:pt x="666" y="154"/>
                </a:lnTo>
                <a:close/>
                <a:moveTo>
                  <a:pt x="706" y="149"/>
                </a:moveTo>
                <a:lnTo>
                  <a:pt x="709" y="149"/>
                </a:lnTo>
                <a:lnTo>
                  <a:pt x="709" y="151"/>
                </a:lnTo>
                <a:lnTo>
                  <a:pt x="708" y="152"/>
                </a:lnTo>
                <a:lnTo>
                  <a:pt x="707" y="152"/>
                </a:lnTo>
                <a:lnTo>
                  <a:pt x="707" y="151"/>
                </a:lnTo>
                <a:lnTo>
                  <a:pt x="706" y="149"/>
                </a:lnTo>
                <a:close/>
                <a:moveTo>
                  <a:pt x="626" y="143"/>
                </a:moveTo>
                <a:lnTo>
                  <a:pt x="628" y="143"/>
                </a:lnTo>
                <a:lnTo>
                  <a:pt x="629" y="145"/>
                </a:lnTo>
                <a:lnTo>
                  <a:pt x="629" y="149"/>
                </a:lnTo>
                <a:lnTo>
                  <a:pt x="627" y="153"/>
                </a:lnTo>
                <a:lnTo>
                  <a:pt x="624" y="160"/>
                </a:lnTo>
                <a:lnTo>
                  <a:pt x="622" y="161"/>
                </a:lnTo>
                <a:lnTo>
                  <a:pt x="614" y="164"/>
                </a:lnTo>
                <a:lnTo>
                  <a:pt x="611" y="162"/>
                </a:lnTo>
                <a:lnTo>
                  <a:pt x="613" y="161"/>
                </a:lnTo>
                <a:lnTo>
                  <a:pt x="615" y="156"/>
                </a:lnTo>
                <a:lnTo>
                  <a:pt x="616" y="153"/>
                </a:lnTo>
                <a:lnTo>
                  <a:pt x="619" y="152"/>
                </a:lnTo>
                <a:lnTo>
                  <a:pt x="623" y="148"/>
                </a:lnTo>
                <a:lnTo>
                  <a:pt x="624" y="146"/>
                </a:lnTo>
                <a:lnTo>
                  <a:pt x="626" y="145"/>
                </a:lnTo>
                <a:lnTo>
                  <a:pt x="626" y="143"/>
                </a:lnTo>
                <a:close/>
                <a:moveTo>
                  <a:pt x="634" y="140"/>
                </a:moveTo>
                <a:lnTo>
                  <a:pt x="635" y="140"/>
                </a:lnTo>
                <a:lnTo>
                  <a:pt x="635" y="141"/>
                </a:lnTo>
                <a:lnTo>
                  <a:pt x="634" y="142"/>
                </a:lnTo>
                <a:lnTo>
                  <a:pt x="632" y="142"/>
                </a:lnTo>
                <a:lnTo>
                  <a:pt x="632" y="141"/>
                </a:lnTo>
                <a:lnTo>
                  <a:pt x="633" y="141"/>
                </a:lnTo>
                <a:lnTo>
                  <a:pt x="634" y="140"/>
                </a:lnTo>
                <a:close/>
                <a:moveTo>
                  <a:pt x="672" y="137"/>
                </a:moveTo>
                <a:lnTo>
                  <a:pt x="673" y="139"/>
                </a:lnTo>
                <a:lnTo>
                  <a:pt x="676" y="142"/>
                </a:lnTo>
                <a:lnTo>
                  <a:pt x="676" y="143"/>
                </a:lnTo>
                <a:lnTo>
                  <a:pt x="682" y="142"/>
                </a:lnTo>
                <a:lnTo>
                  <a:pt x="677" y="146"/>
                </a:lnTo>
                <a:lnTo>
                  <a:pt x="677" y="148"/>
                </a:lnTo>
                <a:lnTo>
                  <a:pt x="676" y="149"/>
                </a:lnTo>
                <a:lnTo>
                  <a:pt x="673" y="151"/>
                </a:lnTo>
                <a:lnTo>
                  <a:pt x="671" y="151"/>
                </a:lnTo>
                <a:lnTo>
                  <a:pt x="670" y="149"/>
                </a:lnTo>
                <a:lnTo>
                  <a:pt x="667" y="145"/>
                </a:lnTo>
                <a:lnTo>
                  <a:pt x="667" y="143"/>
                </a:lnTo>
                <a:lnTo>
                  <a:pt x="670" y="139"/>
                </a:lnTo>
                <a:lnTo>
                  <a:pt x="671" y="139"/>
                </a:lnTo>
                <a:lnTo>
                  <a:pt x="672" y="137"/>
                </a:lnTo>
                <a:close/>
                <a:moveTo>
                  <a:pt x="679" y="135"/>
                </a:moveTo>
                <a:lnTo>
                  <a:pt x="679" y="136"/>
                </a:lnTo>
                <a:lnTo>
                  <a:pt x="681" y="139"/>
                </a:lnTo>
                <a:lnTo>
                  <a:pt x="679" y="140"/>
                </a:lnTo>
                <a:lnTo>
                  <a:pt x="676" y="141"/>
                </a:lnTo>
                <a:lnTo>
                  <a:pt x="677" y="139"/>
                </a:lnTo>
                <a:lnTo>
                  <a:pt x="678" y="137"/>
                </a:lnTo>
                <a:lnTo>
                  <a:pt x="679" y="135"/>
                </a:lnTo>
                <a:close/>
                <a:moveTo>
                  <a:pt x="602" y="131"/>
                </a:moveTo>
                <a:lnTo>
                  <a:pt x="603" y="131"/>
                </a:lnTo>
                <a:lnTo>
                  <a:pt x="603" y="135"/>
                </a:lnTo>
                <a:lnTo>
                  <a:pt x="604" y="135"/>
                </a:lnTo>
                <a:lnTo>
                  <a:pt x="607" y="133"/>
                </a:lnTo>
                <a:lnTo>
                  <a:pt x="608" y="134"/>
                </a:lnTo>
                <a:lnTo>
                  <a:pt x="607" y="135"/>
                </a:lnTo>
                <a:lnTo>
                  <a:pt x="605" y="137"/>
                </a:lnTo>
                <a:lnTo>
                  <a:pt x="605" y="140"/>
                </a:lnTo>
                <a:lnTo>
                  <a:pt x="608" y="141"/>
                </a:lnTo>
                <a:lnTo>
                  <a:pt x="610" y="145"/>
                </a:lnTo>
                <a:lnTo>
                  <a:pt x="611" y="145"/>
                </a:lnTo>
                <a:lnTo>
                  <a:pt x="611" y="142"/>
                </a:lnTo>
                <a:lnTo>
                  <a:pt x="614" y="137"/>
                </a:lnTo>
                <a:lnTo>
                  <a:pt x="616" y="136"/>
                </a:lnTo>
                <a:lnTo>
                  <a:pt x="617" y="136"/>
                </a:lnTo>
                <a:lnTo>
                  <a:pt x="617" y="137"/>
                </a:lnTo>
                <a:lnTo>
                  <a:pt x="619" y="140"/>
                </a:lnTo>
                <a:lnTo>
                  <a:pt x="619" y="141"/>
                </a:lnTo>
                <a:lnTo>
                  <a:pt x="617" y="142"/>
                </a:lnTo>
                <a:lnTo>
                  <a:pt x="617" y="143"/>
                </a:lnTo>
                <a:lnTo>
                  <a:pt x="619" y="145"/>
                </a:lnTo>
                <a:lnTo>
                  <a:pt x="619" y="143"/>
                </a:lnTo>
                <a:lnTo>
                  <a:pt x="620" y="142"/>
                </a:lnTo>
                <a:lnTo>
                  <a:pt x="620" y="141"/>
                </a:lnTo>
                <a:lnTo>
                  <a:pt x="622" y="141"/>
                </a:lnTo>
                <a:lnTo>
                  <a:pt x="622" y="145"/>
                </a:lnTo>
                <a:lnTo>
                  <a:pt x="621" y="147"/>
                </a:lnTo>
                <a:lnTo>
                  <a:pt x="616" y="149"/>
                </a:lnTo>
                <a:lnTo>
                  <a:pt x="616" y="152"/>
                </a:lnTo>
                <a:lnTo>
                  <a:pt x="615" y="153"/>
                </a:lnTo>
                <a:lnTo>
                  <a:pt x="615" y="155"/>
                </a:lnTo>
                <a:lnTo>
                  <a:pt x="614" y="155"/>
                </a:lnTo>
                <a:lnTo>
                  <a:pt x="614" y="158"/>
                </a:lnTo>
                <a:lnTo>
                  <a:pt x="611" y="159"/>
                </a:lnTo>
                <a:lnTo>
                  <a:pt x="611" y="162"/>
                </a:lnTo>
                <a:lnTo>
                  <a:pt x="608" y="166"/>
                </a:lnTo>
                <a:lnTo>
                  <a:pt x="598" y="170"/>
                </a:lnTo>
                <a:lnTo>
                  <a:pt x="597" y="167"/>
                </a:lnTo>
                <a:lnTo>
                  <a:pt x="596" y="164"/>
                </a:lnTo>
                <a:lnTo>
                  <a:pt x="586" y="155"/>
                </a:lnTo>
                <a:lnTo>
                  <a:pt x="584" y="154"/>
                </a:lnTo>
                <a:lnTo>
                  <a:pt x="582" y="149"/>
                </a:lnTo>
                <a:lnTo>
                  <a:pt x="584" y="149"/>
                </a:lnTo>
                <a:lnTo>
                  <a:pt x="588" y="151"/>
                </a:lnTo>
                <a:lnTo>
                  <a:pt x="589" y="151"/>
                </a:lnTo>
                <a:lnTo>
                  <a:pt x="590" y="148"/>
                </a:lnTo>
                <a:lnTo>
                  <a:pt x="591" y="147"/>
                </a:lnTo>
                <a:lnTo>
                  <a:pt x="589" y="147"/>
                </a:lnTo>
                <a:lnTo>
                  <a:pt x="588" y="146"/>
                </a:lnTo>
                <a:lnTo>
                  <a:pt x="586" y="143"/>
                </a:lnTo>
                <a:lnTo>
                  <a:pt x="588" y="141"/>
                </a:lnTo>
                <a:lnTo>
                  <a:pt x="589" y="141"/>
                </a:lnTo>
                <a:lnTo>
                  <a:pt x="591" y="140"/>
                </a:lnTo>
                <a:lnTo>
                  <a:pt x="594" y="141"/>
                </a:lnTo>
                <a:lnTo>
                  <a:pt x="594" y="140"/>
                </a:lnTo>
                <a:lnTo>
                  <a:pt x="595" y="139"/>
                </a:lnTo>
                <a:lnTo>
                  <a:pt x="596" y="139"/>
                </a:lnTo>
                <a:lnTo>
                  <a:pt x="596" y="141"/>
                </a:lnTo>
                <a:lnTo>
                  <a:pt x="597" y="141"/>
                </a:lnTo>
                <a:lnTo>
                  <a:pt x="598" y="140"/>
                </a:lnTo>
                <a:lnTo>
                  <a:pt x="598" y="139"/>
                </a:lnTo>
                <a:lnTo>
                  <a:pt x="596" y="136"/>
                </a:lnTo>
                <a:lnTo>
                  <a:pt x="596" y="134"/>
                </a:lnTo>
                <a:lnTo>
                  <a:pt x="597" y="135"/>
                </a:lnTo>
                <a:lnTo>
                  <a:pt x="598" y="135"/>
                </a:lnTo>
                <a:lnTo>
                  <a:pt x="598" y="134"/>
                </a:lnTo>
                <a:lnTo>
                  <a:pt x="602" y="131"/>
                </a:lnTo>
                <a:close/>
                <a:moveTo>
                  <a:pt x="582" y="129"/>
                </a:moveTo>
                <a:lnTo>
                  <a:pt x="583" y="129"/>
                </a:lnTo>
                <a:lnTo>
                  <a:pt x="584" y="130"/>
                </a:lnTo>
                <a:lnTo>
                  <a:pt x="585" y="133"/>
                </a:lnTo>
                <a:lnTo>
                  <a:pt x="585" y="136"/>
                </a:lnTo>
                <a:lnTo>
                  <a:pt x="586" y="135"/>
                </a:lnTo>
                <a:lnTo>
                  <a:pt x="586" y="134"/>
                </a:lnTo>
                <a:lnTo>
                  <a:pt x="589" y="130"/>
                </a:lnTo>
                <a:lnTo>
                  <a:pt x="590" y="130"/>
                </a:lnTo>
                <a:lnTo>
                  <a:pt x="590" y="131"/>
                </a:lnTo>
                <a:lnTo>
                  <a:pt x="592" y="133"/>
                </a:lnTo>
                <a:lnTo>
                  <a:pt x="592" y="135"/>
                </a:lnTo>
                <a:lnTo>
                  <a:pt x="590" y="137"/>
                </a:lnTo>
                <a:lnTo>
                  <a:pt x="586" y="139"/>
                </a:lnTo>
                <a:lnTo>
                  <a:pt x="584" y="141"/>
                </a:lnTo>
                <a:lnTo>
                  <a:pt x="583" y="143"/>
                </a:lnTo>
                <a:lnTo>
                  <a:pt x="580" y="146"/>
                </a:lnTo>
                <a:lnTo>
                  <a:pt x="580" y="145"/>
                </a:lnTo>
                <a:lnTo>
                  <a:pt x="579" y="143"/>
                </a:lnTo>
                <a:lnTo>
                  <a:pt x="579" y="142"/>
                </a:lnTo>
                <a:lnTo>
                  <a:pt x="580" y="141"/>
                </a:lnTo>
                <a:lnTo>
                  <a:pt x="580" y="140"/>
                </a:lnTo>
                <a:lnTo>
                  <a:pt x="579" y="140"/>
                </a:lnTo>
                <a:lnTo>
                  <a:pt x="579" y="137"/>
                </a:lnTo>
                <a:lnTo>
                  <a:pt x="580" y="135"/>
                </a:lnTo>
                <a:lnTo>
                  <a:pt x="580" y="134"/>
                </a:lnTo>
                <a:lnTo>
                  <a:pt x="582" y="133"/>
                </a:lnTo>
                <a:lnTo>
                  <a:pt x="582" y="129"/>
                </a:lnTo>
                <a:close/>
                <a:moveTo>
                  <a:pt x="851" y="127"/>
                </a:moveTo>
                <a:lnTo>
                  <a:pt x="852" y="127"/>
                </a:lnTo>
                <a:lnTo>
                  <a:pt x="852" y="128"/>
                </a:lnTo>
                <a:lnTo>
                  <a:pt x="851" y="128"/>
                </a:lnTo>
                <a:lnTo>
                  <a:pt x="851" y="127"/>
                </a:lnTo>
                <a:close/>
                <a:moveTo>
                  <a:pt x="671" y="124"/>
                </a:moveTo>
                <a:lnTo>
                  <a:pt x="672" y="125"/>
                </a:lnTo>
                <a:lnTo>
                  <a:pt x="675" y="130"/>
                </a:lnTo>
                <a:lnTo>
                  <a:pt x="675" y="131"/>
                </a:lnTo>
                <a:lnTo>
                  <a:pt x="673" y="134"/>
                </a:lnTo>
                <a:lnTo>
                  <a:pt x="672" y="135"/>
                </a:lnTo>
                <a:lnTo>
                  <a:pt x="671" y="134"/>
                </a:lnTo>
                <a:lnTo>
                  <a:pt x="670" y="134"/>
                </a:lnTo>
                <a:lnTo>
                  <a:pt x="670" y="125"/>
                </a:lnTo>
                <a:lnTo>
                  <a:pt x="671" y="124"/>
                </a:lnTo>
                <a:close/>
                <a:moveTo>
                  <a:pt x="610" y="123"/>
                </a:moveTo>
                <a:lnTo>
                  <a:pt x="613" y="124"/>
                </a:lnTo>
                <a:lnTo>
                  <a:pt x="617" y="128"/>
                </a:lnTo>
                <a:lnTo>
                  <a:pt x="617" y="131"/>
                </a:lnTo>
                <a:lnTo>
                  <a:pt x="614" y="131"/>
                </a:lnTo>
                <a:lnTo>
                  <a:pt x="609" y="129"/>
                </a:lnTo>
                <a:lnTo>
                  <a:pt x="608" y="129"/>
                </a:lnTo>
                <a:lnTo>
                  <a:pt x="608" y="125"/>
                </a:lnTo>
                <a:lnTo>
                  <a:pt x="610" y="123"/>
                </a:lnTo>
                <a:close/>
                <a:moveTo>
                  <a:pt x="660" y="113"/>
                </a:moveTo>
                <a:lnTo>
                  <a:pt x="666" y="113"/>
                </a:lnTo>
                <a:lnTo>
                  <a:pt x="669" y="115"/>
                </a:lnTo>
                <a:lnTo>
                  <a:pt x="671" y="117"/>
                </a:lnTo>
                <a:lnTo>
                  <a:pt x="671" y="119"/>
                </a:lnTo>
                <a:lnTo>
                  <a:pt x="669" y="124"/>
                </a:lnTo>
                <a:lnTo>
                  <a:pt x="669" y="131"/>
                </a:lnTo>
                <a:lnTo>
                  <a:pt x="670" y="134"/>
                </a:lnTo>
                <a:lnTo>
                  <a:pt x="670" y="135"/>
                </a:lnTo>
                <a:lnTo>
                  <a:pt x="669" y="136"/>
                </a:lnTo>
                <a:lnTo>
                  <a:pt x="666" y="136"/>
                </a:lnTo>
                <a:lnTo>
                  <a:pt x="665" y="135"/>
                </a:lnTo>
                <a:lnTo>
                  <a:pt x="664" y="135"/>
                </a:lnTo>
                <a:lnTo>
                  <a:pt x="664" y="136"/>
                </a:lnTo>
                <a:lnTo>
                  <a:pt x="663" y="137"/>
                </a:lnTo>
                <a:lnTo>
                  <a:pt x="660" y="137"/>
                </a:lnTo>
                <a:lnTo>
                  <a:pt x="661" y="136"/>
                </a:lnTo>
                <a:lnTo>
                  <a:pt x="661" y="131"/>
                </a:lnTo>
                <a:lnTo>
                  <a:pt x="660" y="130"/>
                </a:lnTo>
                <a:lnTo>
                  <a:pt x="659" y="130"/>
                </a:lnTo>
                <a:lnTo>
                  <a:pt x="659" y="134"/>
                </a:lnTo>
                <a:lnTo>
                  <a:pt x="658" y="134"/>
                </a:lnTo>
                <a:lnTo>
                  <a:pt x="658" y="136"/>
                </a:lnTo>
                <a:lnTo>
                  <a:pt x="657" y="136"/>
                </a:lnTo>
                <a:lnTo>
                  <a:pt x="655" y="135"/>
                </a:lnTo>
                <a:lnTo>
                  <a:pt x="654" y="135"/>
                </a:lnTo>
                <a:lnTo>
                  <a:pt x="653" y="134"/>
                </a:lnTo>
                <a:lnTo>
                  <a:pt x="653" y="133"/>
                </a:lnTo>
                <a:lnTo>
                  <a:pt x="652" y="131"/>
                </a:lnTo>
                <a:lnTo>
                  <a:pt x="652" y="128"/>
                </a:lnTo>
                <a:lnTo>
                  <a:pt x="653" y="124"/>
                </a:lnTo>
                <a:lnTo>
                  <a:pt x="653" y="122"/>
                </a:lnTo>
                <a:lnTo>
                  <a:pt x="655" y="119"/>
                </a:lnTo>
                <a:lnTo>
                  <a:pt x="658" y="118"/>
                </a:lnTo>
                <a:lnTo>
                  <a:pt x="659" y="117"/>
                </a:lnTo>
                <a:lnTo>
                  <a:pt x="659" y="115"/>
                </a:lnTo>
                <a:lnTo>
                  <a:pt x="660" y="113"/>
                </a:lnTo>
                <a:close/>
                <a:moveTo>
                  <a:pt x="601" y="111"/>
                </a:moveTo>
                <a:lnTo>
                  <a:pt x="602" y="112"/>
                </a:lnTo>
                <a:lnTo>
                  <a:pt x="603" y="112"/>
                </a:lnTo>
                <a:lnTo>
                  <a:pt x="603" y="117"/>
                </a:lnTo>
                <a:lnTo>
                  <a:pt x="604" y="118"/>
                </a:lnTo>
                <a:lnTo>
                  <a:pt x="604" y="122"/>
                </a:lnTo>
                <a:lnTo>
                  <a:pt x="603" y="123"/>
                </a:lnTo>
                <a:lnTo>
                  <a:pt x="603" y="127"/>
                </a:lnTo>
                <a:lnTo>
                  <a:pt x="599" y="130"/>
                </a:lnTo>
                <a:lnTo>
                  <a:pt x="595" y="125"/>
                </a:lnTo>
                <a:lnTo>
                  <a:pt x="594" y="125"/>
                </a:lnTo>
                <a:lnTo>
                  <a:pt x="594" y="124"/>
                </a:lnTo>
                <a:lnTo>
                  <a:pt x="596" y="122"/>
                </a:lnTo>
                <a:lnTo>
                  <a:pt x="597" y="123"/>
                </a:lnTo>
                <a:lnTo>
                  <a:pt x="597" y="124"/>
                </a:lnTo>
                <a:lnTo>
                  <a:pt x="598" y="124"/>
                </a:lnTo>
                <a:lnTo>
                  <a:pt x="598" y="119"/>
                </a:lnTo>
                <a:lnTo>
                  <a:pt x="599" y="119"/>
                </a:lnTo>
                <a:lnTo>
                  <a:pt x="599" y="118"/>
                </a:lnTo>
                <a:lnTo>
                  <a:pt x="598" y="117"/>
                </a:lnTo>
                <a:lnTo>
                  <a:pt x="598" y="116"/>
                </a:lnTo>
                <a:lnTo>
                  <a:pt x="597" y="115"/>
                </a:lnTo>
                <a:lnTo>
                  <a:pt x="597" y="113"/>
                </a:lnTo>
                <a:lnTo>
                  <a:pt x="601" y="113"/>
                </a:lnTo>
                <a:lnTo>
                  <a:pt x="601" y="111"/>
                </a:lnTo>
                <a:close/>
                <a:moveTo>
                  <a:pt x="622" y="108"/>
                </a:moveTo>
                <a:lnTo>
                  <a:pt x="623" y="110"/>
                </a:lnTo>
                <a:lnTo>
                  <a:pt x="623" y="113"/>
                </a:lnTo>
                <a:lnTo>
                  <a:pt x="627" y="117"/>
                </a:lnTo>
                <a:lnTo>
                  <a:pt x="627" y="121"/>
                </a:lnTo>
                <a:lnTo>
                  <a:pt x="628" y="122"/>
                </a:lnTo>
                <a:lnTo>
                  <a:pt x="629" y="122"/>
                </a:lnTo>
                <a:lnTo>
                  <a:pt x="629" y="121"/>
                </a:lnTo>
                <a:lnTo>
                  <a:pt x="630" y="117"/>
                </a:lnTo>
                <a:lnTo>
                  <a:pt x="632" y="117"/>
                </a:lnTo>
                <a:lnTo>
                  <a:pt x="633" y="119"/>
                </a:lnTo>
                <a:lnTo>
                  <a:pt x="633" y="123"/>
                </a:lnTo>
                <a:lnTo>
                  <a:pt x="635" y="125"/>
                </a:lnTo>
                <a:lnTo>
                  <a:pt x="640" y="129"/>
                </a:lnTo>
                <a:lnTo>
                  <a:pt x="642" y="129"/>
                </a:lnTo>
                <a:lnTo>
                  <a:pt x="638" y="130"/>
                </a:lnTo>
                <a:lnTo>
                  <a:pt x="636" y="131"/>
                </a:lnTo>
                <a:lnTo>
                  <a:pt x="638" y="133"/>
                </a:lnTo>
                <a:lnTo>
                  <a:pt x="638" y="134"/>
                </a:lnTo>
                <a:lnTo>
                  <a:pt x="635" y="136"/>
                </a:lnTo>
                <a:lnTo>
                  <a:pt x="628" y="136"/>
                </a:lnTo>
                <a:lnTo>
                  <a:pt x="627" y="135"/>
                </a:lnTo>
                <a:lnTo>
                  <a:pt x="626" y="133"/>
                </a:lnTo>
                <a:lnTo>
                  <a:pt x="626" y="127"/>
                </a:lnTo>
                <a:lnTo>
                  <a:pt x="624" y="125"/>
                </a:lnTo>
                <a:lnTo>
                  <a:pt x="624" y="124"/>
                </a:lnTo>
                <a:lnTo>
                  <a:pt x="623" y="121"/>
                </a:lnTo>
                <a:lnTo>
                  <a:pt x="623" y="119"/>
                </a:lnTo>
                <a:lnTo>
                  <a:pt x="620" y="116"/>
                </a:lnTo>
                <a:lnTo>
                  <a:pt x="617" y="115"/>
                </a:lnTo>
                <a:lnTo>
                  <a:pt x="616" y="112"/>
                </a:lnTo>
                <a:lnTo>
                  <a:pt x="616" y="111"/>
                </a:lnTo>
                <a:lnTo>
                  <a:pt x="617" y="111"/>
                </a:lnTo>
                <a:lnTo>
                  <a:pt x="619" y="112"/>
                </a:lnTo>
                <a:lnTo>
                  <a:pt x="619" y="110"/>
                </a:lnTo>
                <a:lnTo>
                  <a:pt x="620" y="109"/>
                </a:lnTo>
                <a:lnTo>
                  <a:pt x="622" y="108"/>
                </a:lnTo>
                <a:close/>
                <a:moveTo>
                  <a:pt x="708" y="94"/>
                </a:moveTo>
                <a:lnTo>
                  <a:pt x="709" y="96"/>
                </a:lnTo>
                <a:lnTo>
                  <a:pt x="709" y="97"/>
                </a:lnTo>
                <a:lnTo>
                  <a:pt x="711" y="99"/>
                </a:lnTo>
                <a:lnTo>
                  <a:pt x="711" y="103"/>
                </a:lnTo>
                <a:lnTo>
                  <a:pt x="710" y="108"/>
                </a:lnTo>
                <a:lnTo>
                  <a:pt x="709" y="109"/>
                </a:lnTo>
                <a:lnTo>
                  <a:pt x="709" y="110"/>
                </a:lnTo>
                <a:lnTo>
                  <a:pt x="708" y="111"/>
                </a:lnTo>
                <a:lnTo>
                  <a:pt x="707" y="110"/>
                </a:lnTo>
                <a:lnTo>
                  <a:pt x="707" y="97"/>
                </a:lnTo>
                <a:lnTo>
                  <a:pt x="708" y="97"/>
                </a:lnTo>
                <a:lnTo>
                  <a:pt x="708" y="94"/>
                </a:lnTo>
                <a:close/>
                <a:moveTo>
                  <a:pt x="748" y="93"/>
                </a:moveTo>
                <a:lnTo>
                  <a:pt x="750" y="94"/>
                </a:lnTo>
                <a:lnTo>
                  <a:pt x="750" y="99"/>
                </a:lnTo>
                <a:lnTo>
                  <a:pt x="751" y="102"/>
                </a:lnTo>
                <a:lnTo>
                  <a:pt x="751" y="96"/>
                </a:lnTo>
                <a:lnTo>
                  <a:pt x="752" y="94"/>
                </a:lnTo>
                <a:lnTo>
                  <a:pt x="753" y="96"/>
                </a:lnTo>
                <a:lnTo>
                  <a:pt x="754" y="98"/>
                </a:lnTo>
                <a:lnTo>
                  <a:pt x="754" y="100"/>
                </a:lnTo>
                <a:lnTo>
                  <a:pt x="756" y="102"/>
                </a:lnTo>
                <a:lnTo>
                  <a:pt x="760" y="103"/>
                </a:lnTo>
                <a:lnTo>
                  <a:pt x="759" y="104"/>
                </a:lnTo>
                <a:lnTo>
                  <a:pt x="759" y="105"/>
                </a:lnTo>
                <a:lnTo>
                  <a:pt x="760" y="106"/>
                </a:lnTo>
                <a:lnTo>
                  <a:pt x="762" y="106"/>
                </a:lnTo>
                <a:lnTo>
                  <a:pt x="763" y="109"/>
                </a:lnTo>
                <a:lnTo>
                  <a:pt x="763" y="112"/>
                </a:lnTo>
                <a:lnTo>
                  <a:pt x="751" y="111"/>
                </a:lnTo>
                <a:lnTo>
                  <a:pt x="739" y="108"/>
                </a:lnTo>
                <a:lnTo>
                  <a:pt x="737" y="103"/>
                </a:lnTo>
                <a:lnTo>
                  <a:pt x="735" y="102"/>
                </a:lnTo>
                <a:lnTo>
                  <a:pt x="737" y="100"/>
                </a:lnTo>
                <a:lnTo>
                  <a:pt x="737" y="99"/>
                </a:lnTo>
                <a:lnTo>
                  <a:pt x="738" y="98"/>
                </a:lnTo>
                <a:lnTo>
                  <a:pt x="739" y="99"/>
                </a:lnTo>
                <a:lnTo>
                  <a:pt x="739" y="100"/>
                </a:lnTo>
                <a:lnTo>
                  <a:pt x="741" y="103"/>
                </a:lnTo>
                <a:lnTo>
                  <a:pt x="740" y="100"/>
                </a:lnTo>
                <a:lnTo>
                  <a:pt x="740" y="96"/>
                </a:lnTo>
                <a:lnTo>
                  <a:pt x="742" y="98"/>
                </a:lnTo>
                <a:lnTo>
                  <a:pt x="745" y="96"/>
                </a:lnTo>
                <a:lnTo>
                  <a:pt x="745" y="98"/>
                </a:lnTo>
                <a:lnTo>
                  <a:pt x="746" y="96"/>
                </a:lnTo>
                <a:lnTo>
                  <a:pt x="747" y="96"/>
                </a:lnTo>
                <a:lnTo>
                  <a:pt x="748" y="94"/>
                </a:lnTo>
                <a:lnTo>
                  <a:pt x="748" y="93"/>
                </a:lnTo>
                <a:close/>
                <a:moveTo>
                  <a:pt x="978" y="85"/>
                </a:moveTo>
                <a:lnTo>
                  <a:pt x="978" y="86"/>
                </a:lnTo>
                <a:lnTo>
                  <a:pt x="977" y="87"/>
                </a:lnTo>
                <a:lnTo>
                  <a:pt x="978" y="85"/>
                </a:lnTo>
                <a:close/>
                <a:moveTo>
                  <a:pt x="970" y="82"/>
                </a:moveTo>
                <a:lnTo>
                  <a:pt x="971" y="82"/>
                </a:lnTo>
                <a:lnTo>
                  <a:pt x="970" y="85"/>
                </a:lnTo>
                <a:lnTo>
                  <a:pt x="970" y="82"/>
                </a:lnTo>
                <a:close/>
                <a:moveTo>
                  <a:pt x="782" y="65"/>
                </a:moveTo>
                <a:lnTo>
                  <a:pt x="783" y="65"/>
                </a:lnTo>
                <a:lnTo>
                  <a:pt x="783" y="66"/>
                </a:lnTo>
                <a:lnTo>
                  <a:pt x="784" y="67"/>
                </a:lnTo>
                <a:lnTo>
                  <a:pt x="785" y="66"/>
                </a:lnTo>
                <a:lnTo>
                  <a:pt x="787" y="67"/>
                </a:lnTo>
                <a:lnTo>
                  <a:pt x="785" y="67"/>
                </a:lnTo>
                <a:lnTo>
                  <a:pt x="787" y="68"/>
                </a:lnTo>
                <a:lnTo>
                  <a:pt x="788" y="70"/>
                </a:lnTo>
                <a:lnTo>
                  <a:pt x="788" y="73"/>
                </a:lnTo>
                <a:lnTo>
                  <a:pt x="787" y="74"/>
                </a:lnTo>
                <a:lnTo>
                  <a:pt x="787" y="76"/>
                </a:lnTo>
                <a:lnTo>
                  <a:pt x="788" y="79"/>
                </a:lnTo>
                <a:lnTo>
                  <a:pt x="789" y="80"/>
                </a:lnTo>
                <a:lnTo>
                  <a:pt x="790" y="80"/>
                </a:lnTo>
                <a:lnTo>
                  <a:pt x="790" y="81"/>
                </a:lnTo>
                <a:lnTo>
                  <a:pt x="789" y="81"/>
                </a:lnTo>
                <a:lnTo>
                  <a:pt x="789" y="82"/>
                </a:lnTo>
                <a:lnTo>
                  <a:pt x="790" y="85"/>
                </a:lnTo>
                <a:lnTo>
                  <a:pt x="788" y="92"/>
                </a:lnTo>
                <a:lnTo>
                  <a:pt x="779" y="99"/>
                </a:lnTo>
                <a:lnTo>
                  <a:pt x="776" y="100"/>
                </a:lnTo>
                <a:lnTo>
                  <a:pt x="775" y="102"/>
                </a:lnTo>
                <a:lnTo>
                  <a:pt x="776" y="102"/>
                </a:lnTo>
                <a:lnTo>
                  <a:pt x="778" y="104"/>
                </a:lnTo>
                <a:lnTo>
                  <a:pt x="771" y="109"/>
                </a:lnTo>
                <a:lnTo>
                  <a:pt x="766" y="109"/>
                </a:lnTo>
                <a:lnTo>
                  <a:pt x="766" y="103"/>
                </a:lnTo>
                <a:lnTo>
                  <a:pt x="768" y="99"/>
                </a:lnTo>
                <a:lnTo>
                  <a:pt x="768" y="96"/>
                </a:lnTo>
                <a:lnTo>
                  <a:pt x="769" y="93"/>
                </a:lnTo>
                <a:lnTo>
                  <a:pt x="768" y="92"/>
                </a:lnTo>
                <a:lnTo>
                  <a:pt x="765" y="98"/>
                </a:lnTo>
                <a:lnTo>
                  <a:pt x="764" y="100"/>
                </a:lnTo>
                <a:lnTo>
                  <a:pt x="763" y="100"/>
                </a:lnTo>
                <a:lnTo>
                  <a:pt x="762" y="99"/>
                </a:lnTo>
                <a:lnTo>
                  <a:pt x="760" y="99"/>
                </a:lnTo>
                <a:lnTo>
                  <a:pt x="759" y="98"/>
                </a:lnTo>
                <a:lnTo>
                  <a:pt x="757" y="93"/>
                </a:lnTo>
                <a:lnTo>
                  <a:pt x="756" y="92"/>
                </a:lnTo>
                <a:lnTo>
                  <a:pt x="760" y="92"/>
                </a:lnTo>
                <a:lnTo>
                  <a:pt x="760" y="91"/>
                </a:lnTo>
                <a:lnTo>
                  <a:pt x="759" y="90"/>
                </a:lnTo>
                <a:lnTo>
                  <a:pt x="758" y="90"/>
                </a:lnTo>
                <a:lnTo>
                  <a:pt x="758" y="87"/>
                </a:lnTo>
                <a:lnTo>
                  <a:pt x="759" y="86"/>
                </a:lnTo>
                <a:lnTo>
                  <a:pt x="760" y="86"/>
                </a:lnTo>
                <a:lnTo>
                  <a:pt x="760" y="84"/>
                </a:lnTo>
                <a:lnTo>
                  <a:pt x="763" y="84"/>
                </a:lnTo>
                <a:lnTo>
                  <a:pt x="763" y="81"/>
                </a:lnTo>
                <a:lnTo>
                  <a:pt x="768" y="78"/>
                </a:lnTo>
                <a:lnTo>
                  <a:pt x="769" y="79"/>
                </a:lnTo>
                <a:lnTo>
                  <a:pt x="769" y="81"/>
                </a:lnTo>
                <a:lnTo>
                  <a:pt x="771" y="79"/>
                </a:lnTo>
                <a:lnTo>
                  <a:pt x="772" y="79"/>
                </a:lnTo>
                <a:lnTo>
                  <a:pt x="772" y="78"/>
                </a:lnTo>
                <a:lnTo>
                  <a:pt x="771" y="78"/>
                </a:lnTo>
                <a:lnTo>
                  <a:pt x="770" y="76"/>
                </a:lnTo>
                <a:lnTo>
                  <a:pt x="770" y="75"/>
                </a:lnTo>
                <a:lnTo>
                  <a:pt x="771" y="74"/>
                </a:lnTo>
                <a:lnTo>
                  <a:pt x="773" y="76"/>
                </a:lnTo>
                <a:lnTo>
                  <a:pt x="773" y="84"/>
                </a:lnTo>
                <a:lnTo>
                  <a:pt x="775" y="84"/>
                </a:lnTo>
                <a:lnTo>
                  <a:pt x="775" y="82"/>
                </a:lnTo>
                <a:lnTo>
                  <a:pt x="776" y="79"/>
                </a:lnTo>
                <a:lnTo>
                  <a:pt x="776" y="76"/>
                </a:lnTo>
                <a:lnTo>
                  <a:pt x="775" y="76"/>
                </a:lnTo>
                <a:lnTo>
                  <a:pt x="775" y="75"/>
                </a:lnTo>
                <a:lnTo>
                  <a:pt x="776" y="74"/>
                </a:lnTo>
                <a:lnTo>
                  <a:pt x="778" y="76"/>
                </a:lnTo>
                <a:lnTo>
                  <a:pt x="779" y="76"/>
                </a:lnTo>
                <a:lnTo>
                  <a:pt x="779" y="75"/>
                </a:lnTo>
                <a:lnTo>
                  <a:pt x="778" y="75"/>
                </a:lnTo>
                <a:lnTo>
                  <a:pt x="779" y="73"/>
                </a:lnTo>
                <a:lnTo>
                  <a:pt x="783" y="75"/>
                </a:lnTo>
                <a:lnTo>
                  <a:pt x="785" y="75"/>
                </a:lnTo>
                <a:lnTo>
                  <a:pt x="784" y="73"/>
                </a:lnTo>
                <a:lnTo>
                  <a:pt x="783" y="72"/>
                </a:lnTo>
                <a:lnTo>
                  <a:pt x="781" y="70"/>
                </a:lnTo>
                <a:lnTo>
                  <a:pt x="781" y="69"/>
                </a:lnTo>
                <a:lnTo>
                  <a:pt x="782" y="68"/>
                </a:lnTo>
                <a:lnTo>
                  <a:pt x="782" y="67"/>
                </a:lnTo>
                <a:lnTo>
                  <a:pt x="779" y="67"/>
                </a:lnTo>
                <a:lnTo>
                  <a:pt x="778" y="66"/>
                </a:lnTo>
                <a:lnTo>
                  <a:pt x="782" y="65"/>
                </a:lnTo>
                <a:close/>
                <a:moveTo>
                  <a:pt x="793" y="49"/>
                </a:moveTo>
                <a:lnTo>
                  <a:pt x="797" y="49"/>
                </a:lnTo>
                <a:lnTo>
                  <a:pt x="797" y="53"/>
                </a:lnTo>
                <a:lnTo>
                  <a:pt x="799" y="53"/>
                </a:lnTo>
                <a:lnTo>
                  <a:pt x="797" y="54"/>
                </a:lnTo>
                <a:lnTo>
                  <a:pt x="797" y="55"/>
                </a:lnTo>
                <a:lnTo>
                  <a:pt x="799" y="55"/>
                </a:lnTo>
                <a:lnTo>
                  <a:pt x="799" y="54"/>
                </a:lnTo>
                <a:lnTo>
                  <a:pt x="803" y="54"/>
                </a:lnTo>
                <a:lnTo>
                  <a:pt x="803" y="55"/>
                </a:lnTo>
                <a:lnTo>
                  <a:pt x="806" y="57"/>
                </a:lnTo>
                <a:lnTo>
                  <a:pt x="807" y="57"/>
                </a:lnTo>
                <a:lnTo>
                  <a:pt x="807" y="62"/>
                </a:lnTo>
                <a:lnTo>
                  <a:pt x="810" y="66"/>
                </a:lnTo>
                <a:lnTo>
                  <a:pt x="809" y="69"/>
                </a:lnTo>
                <a:lnTo>
                  <a:pt x="804" y="72"/>
                </a:lnTo>
                <a:lnTo>
                  <a:pt x="802" y="78"/>
                </a:lnTo>
                <a:lnTo>
                  <a:pt x="799" y="79"/>
                </a:lnTo>
                <a:lnTo>
                  <a:pt x="796" y="79"/>
                </a:lnTo>
                <a:lnTo>
                  <a:pt x="794" y="78"/>
                </a:lnTo>
                <a:lnTo>
                  <a:pt x="794" y="76"/>
                </a:lnTo>
                <a:lnTo>
                  <a:pt x="793" y="73"/>
                </a:lnTo>
                <a:lnTo>
                  <a:pt x="791" y="72"/>
                </a:lnTo>
                <a:lnTo>
                  <a:pt x="791" y="68"/>
                </a:lnTo>
                <a:lnTo>
                  <a:pt x="789" y="68"/>
                </a:lnTo>
                <a:lnTo>
                  <a:pt x="790" y="67"/>
                </a:lnTo>
                <a:lnTo>
                  <a:pt x="791" y="65"/>
                </a:lnTo>
                <a:lnTo>
                  <a:pt x="791" y="63"/>
                </a:lnTo>
                <a:lnTo>
                  <a:pt x="790" y="62"/>
                </a:lnTo>
                <a:lnTo>
                  <a:pt x="791" y="61"/>
                </a:lnTo>
                <a:lnTo>
                  <a:pt x="791" y="60"/>
                </a:lnTo>
                <a:lnTo>
                  <a:pt x="789" y="57"/>
                </a:lnTo>
                <a:lnTo>
                  <a:pt x="789" y="55"/>
                </a:lnTo>
                <a:lnTo>
                  <a:pt x="791" y="53"/>
                </a:lnTo>
                <a:lnTo>
                  <a:pt x="791" y="50"/>
                </a:lnTo>
                <a:lnTo>
                  <a:pt x="793" y="49"/>
                </a:lnTo>
                <a:close/>
                <a:moveTo>
                  <a:pt x="769" y="39"/>
                </a:moveTo>
                <a:lnTo>
                  <a:pt x="770" y="41"/>
                </a:lnTo>
                <a:lnTo>
                  <a:pt x="769" y="41"/>
                </a:lnTo>
                <a:lnTo>
                  <a:pt x="769" y="39"/>
                </a:lnTo>
                <a:close/>
                <a:moveTo>
                  <a:pt x="776" y="33"/>
                </a:moveTo>
                <a:lnTo>
                  <a:pt x="777" y="35"/>
                </a:lnTo>
                <a:lnTo>
                  <a:pt x="778" y="35"/>
                </a:lnTo>
                <a:lnTo>
                  <a:pt x="778" y="36"/>
                </a:lnTo>
                <a:lnTo>
                  <a:pt x="779" y="37"/>
                </a:lnTo>
                <a:lnTo>
                  <a:pt x="781" y="39"/>
                </a:lnTo>
                <a:lnTo>
                  <a:pt x="781" y="41"/>
                </a:lnTo>
                <a:lnTo>
                  <a:pt x="782" y="42"/>
                </a:lnTo>
                <a:lnTo>
                  <a:pt x="782" y="43"/>
                </a:lnTo>
                <a:lnTo>
                  <a:pt x="783" y="43"/>
                </a:lnTo>
                <a:lnTo>
                  <a:pt x="782" y="44"/>
                </a:lnTo>
                <a:lnTo>
                  <a:pt x="778" y="44"/>
                </a:lnTo>
                <a:lnTo>
                  <a:pt x="779" y="45"/>
                </a:lnTo>
                <a:lnTo>
                  <a:pt x="781" y="45"/>
                </a:lnTo>
                <a:lnTo>
                  <a:pt x="782" y="47"/>
                </a:lnTo>
                <a:lnTo>
                  <a:pt x="781" y="47"/>
                </a:lnTo>
                <a:lnTo>
                  <a:pt x="779" y="48"/>
                </a:lnTo>
                <a:lnTo>
                  <a:pt x="779" y="50"/>
                </a:lnTo>
                <a:lnTo>
                  <a:pt x="778" y="50"/>
                </a:lnTo>
                <a:lnTo>
                  <a:pt x="777" y="49"/>
                </a:lnTo>
                <a:lnTo>
                  <a:pt x="776" y="49"/>
                </a:lnTo>
                <a:lnTo>
                  <a:pt x="776" y="54"/>
                </a:lnTo>
                <a:lnTo>
                  <a:pt x="775" y="54"/>
                </a:lnTo>
                <a:lnTo>
                  <a:pt x="775" y="55"/>
                </a:lnTo>
                <a:lnTo>
                  <a:pt x="773" y="56"/>
                </a:lnTo>
                <a:lnTo>
                  <a:pt x="773" y="57"/>
                </a:lnTo>
                <a:lnTo>
                  <a:pt x="770" y="57"/>
                </a:lnTo>
                <a:lnTo>
                  <a:pt x="770" y="56"/>
                </a:lnTo>
                <a:lnTo>
                  <a:pt x="769" y="56"/>
                </a:lnTo>
                <a:lnTo>
                  <a:pt x="769" y="60"/>
                </a:lnTo>
                <a:lnTo>
                  <a:pt x="768" y="60"/>
                </a:lnTo>
                <a:lnTo>
                  <a:pt x="769" y="61"/>
                </a:lnTo>
                <a:lnTo>
                  <a:pt x="770" y="61"/>
                </a:lnTo>
                <a:lnTo>
                  <a:pt x="770" y="62"/>
                </a:lnTo>
                <a:lnTo>
                  <a:pt x="769" y="65"/>
                </a:lnTo>
                <a:lnTo>
                  <a:pt x="765" y="65"/>
                </a:lnTo>
                <a:lnTo>
                  <a:pt x="768" y="67"/>
                </a:lnTo>
                <a:lnTo>
                  <a:pt x="766" y="70"/>
                </a:lnTo>
                <a:lnTo>
                  <a:pt x="765" y="69"/>
                </a:lnTo>
                <a:lnTo>
                  <a:pt x="763" y="68"/>
                </a:lnTo>
                <a:lnTo>
                  <a:pt x="763" y="72"/>
                </a:lnTo>
                <a:lnTo>
                  <a:pt x="762" y="73"/>
                </a:lnTo>
                <a:lnTo>
                  <a:pt x="760" y="73"/>
                </a:lnTo>
                <a:lnTo>
                  <a:pt x="758" y="70"/>
                </a:lnTo>
                <a:lnTo>
                  <a:pt x="757" y="70"/>
                </a:lnTo>
                <a:lnTo>
                  <a:pt x="757" y="72"/>
                </a:lnTo>
                <a:lnTo>
                  <a:pt x="759" y="73"/>
                </a:lnTo>
                <a:lnTo>
                  <a:pt x="759" y="75"/>
                </a:lnTo>
                <a:lnTo>
                  <a:pt x="758" y="75"/>
                </a:lnTo>
                <a:lnTo>
                  <a:pt x="758" y="76"/>
                </a:lnTo>
                <a:lnTo>
                  <a:pt x="756" y="74"/>
                </a:lnTo>
                <a:lnTo>
                  <a:pt x="754" y="75"/>
                </a:lnTo>
                <a:lnTo>
                  <a:pt x="754" y="78"/>
                </a:lnTo>
                <a:lnTo>
                  <a:pt x="753" y="78"/>
                </a:lnTo>
                <a:lnTo>
                  <a:pt x="752" y="76"/>
                </a:lnTo>
                <a:lnTo>
                  <a:pt x="752" y="75"/>
                </a:lnTo>
                <a:lnTo>
                  <a:pt x="753" y="74"/>
                </a:lnTo>
                <a:lnTo>
                  <a:pt x="750" y="73"/>
                </a:lnTo>
                <a:lnTo>
                  <a:pt x="747" y="73"/>
                </a:lnTo>
                <a:lnTo>
                  <a:pt x="747" y="74"/>
                </a:lnTo>
                <a:lnTo>
                  <a:pt x="746" y="75"/>
                </a:lnTo>
                <a:lnTo>
                  <a:pt x="747" y="76"/>
                </a:lnTo>
                <a:lnTo>
                  <a:pt x="747" y="78"/>
                </a:lnTo>
                <a:lnTo>
                  <a:pt x="745" y="78"/>
                </a:lnTo>
                <a:lnTo>
                  <a:pt x="745" y="80"/>
                </a:lnTo>
                <a:lnTo>
                  <a:pt x="744" y="80"/>
                </a:lnTo>
                <a:lnTo>
                  <a:pt x="742" y="78"/>
                </a:lnTo>
                <a:lnTo>
                  <a:pt x="741" y="76"/>
                </a:lnTo>
                <a:lnTo>
                  <a:pt x="740" y="80"/>
                </a:lnTo>
                <a:lnTo>
                  <a:pt x="740" y="81"/>
                </a:lnTo>
                <a:lnTo>
                  <a:pt x="739" y="81"/>
                </a:lnTo>
                <a:lnTo>
                  <a:pt x="738" y="80"/>
                </a:lnTo>
                <a:lnTo>
                  <a:pt x="738" y="79"/>
                </a:lnTo>
                <a:lnTo>
                  <a:pt x="737" y="79"/>
                </a:lnTo>
                <a:lnTo>
                  <a:pt x="734" y="81"/>
                </a:lnTo>
                <a:lnTo>
                  <a:pt x="733" y="80"/>
                </a:lnTo>
                <a:lnTo>
                  <a:pt x="733" y="76"/>
                </a:lnTo>
                <a:lnTo>
                  <a:pt x="732" y="75"/>
                </a:lnTo>
                <a:lnTo>
                  <a:pt x="732" y="78"/>
                </a:lnTo>
                <a:lnTo>
                  <a:pt x="731" y="82"/>
                </a:lnTo>
                <a:lnTo>
                  <a:pt x="728" y="85"/>
                </a:lnTo>
                <a:lnTo>
                  <a:pt x="727" y="85"/>
                </a:lnTo>
                <a:lnTo>
                  <a:pt x="726" y="82"/>
                </a:lnTo>
                <a:lnTo>
                  <a:pt x="727" y="81"/>
                </a:lnTo>
                <a:lnTo>
                  <a:pt x="727" y="79"/>
                </a:lnTo>
                <a:lnTo>
                  <a:pt x="728" y="76"/>
                </a:lnTo>
                <a:lnTo>
                  <a:pt x="728" y="75"/>
                </a:lnTo>
                <a:lnTo>
                  <a:pt x="731" y="74"/>
                </a:lnTo>
                <a:lnTo>
                  <a:pt x="732" y="72"/>
                </a:lnTo>
                <a:lnTo>
                  <a:pt x="731" y="72"/>
                </a:lnTo>
                <a:lnTo>
                  <a:pt x="731" y="70"/>
                </a:lnTo>
                <a:lnTo>
                  <a:pt x="734" y="67"/>
                </a:lnTo>
                <a:lnTo>
                  <a:pt x="725" y="67"/>
                </a:lnTo>
                <a:lnTo>
                  <a:pt x="723" y="68"/>
                </a:lnTo>
                <a:lnTo>
                  <a:pt x="723" y="69"/>
                </a:lnTo>
                <a:lnTo>
                  <a:pt x="722" y="69"/>
                </a:lnTo>
                <a:lnTo>
                  <a:pt x="721" y="68"/>
                </a:lnTo>
                <a:lnTo>
                  <a:pt x="721" y="67"/>
                </a:lnTo>
                <a:lnTo>
                  <a:pt x="722" y="65"/>
                </a:lnTo>
                <a:lnTo>
                  <a:pt x="723" y="63"/>
                </a:lnTo>
                <a:lnTo>
                  <a:pt x="719" y="63"/>
                </a:lnTo>
                <a:lnTo>
                  <a:pt x="717" y="62"/>
                </a:lnTo>
                <a:lnTo>
                  <a:pt x="720" y="60"/>
                </a:lnTo>
                <a:lnTo>
                  <a:pt x="722" y="61"/>
                </a:lnTo>
                <a:lnTo>
                  <a:pt x="728" y="65"/>
                </a:lnTo>
                <a:lnTo>
                  <a:pt x="729" y="65"/>
                </a:lnTo>
                <a:lnTo>
                  <a:pt x="731" y="63"/>
                </a:lnTo>
                <a:lnTo>
                  <a:pt x="731" y="60"/>
                </a:lnTo>
                <a:lnTo>
                  <a:pt x="729" y="59"/>
                </a:lnTo>
                <a:lnTo>
                  <a:pt x="732" y="59"/>
                </a:lnTo>
                <a:lnTo>
                  <a:pt x="738" y="65"/>
                </a:lnTo>
                <a:lnTo>
                  <a:pt x="738" y="63"/>
                </a:lnTo>
                <a:lnTo>
                  <a:pt x="737" y="62"/>
                </a:lnTo>
                <a:lnTo>
                  <a:pt x="737" y="59"/>
                </a:lnTo>
                <a:lnTo>
                  <a:pt x="735" y="56"/>
                </a:lnTo>
                <a:lnTo>
                  <a:pt x="737" y="54"/>
                </a:lnTo>
                <a:lnTo>
                  <a:pt x="738" y="54"/>
                </a:lnTo>
                <a:lnTo>
                  <a:pt x="738" y="55"/>
                </a:lnTo>
                <a:lnTo>
                  <a:pt x="739" y="56"/>
                </a:lnTo>
                <a:lnTo>
                  <a:pt x="739" y="57"/>
                </a:lnTo>
                <a:lnTo>
                  <a:pt x="740" y="59"/>
                </a:lnTo>
                <a:lnTo>
                  <a:pt x="741" y="59"/>
                </a:lnTo>
                <a:lnTo>
                  <a:pt x="741" y="55"/>
                </a:lnTo>
                <a:lnTo>
                  <a:pt x="742" y="54"/>
                </a:lnTo>
                <a:lnTo>
                  <a:pt x="742" y="53"/>
                </a:lnTo>
                <a:lnTo>
                  <a:pt x="747" y="57"/>
                </a:lnTo>
                <a:lnTo>
                  <a:pt x="747" y="59"/>
                </a:lnTo>
                <a:lnTo>
                  <a:pt x="746" y="61"/>
                </a:lnTo>
                <a:lnTo>
                  <a:pt x="745" y="61"/>
                </a:lnTo>
                <a:lnTo>
                  <a:pt x="746" y="63"/>
                </a:lnTo>
                <a:lnTo>
                  <a:pt x="747" y="63"/>
                </a:lnTo>
                <a:lnTo>
                  <a:pt x="747" y="62"/>
                </a:lnTo>
                <a:lnTo>
                  <a:pt x="748" y="61"/>
                </a:lnTo>
                <a:lnTo>
                  <a:pt x="750" y="61"/>
                </a:lnTo>
                <a:lnTo>
                  <a:pt x="750" y="67"/>
                </a:lnTo>
                <a:lnTo>
                  <a:pt x="751" y="68"/>
                </a:lnTo>
                <a:lnTo>
                  <a:pt x="751" y="63"/>
                </a:lnTo>
                <a:lnTo>
                  <a:pt x="752" y="62"/>
                </a:lnTo>
                <a:lnTo>
                  <a:pt x="754" y="62"/>
                </a:lnTo>
                <a:lnTo>
                  <a:pt x="754" y="60"/>
                </a:lnTo>
                <a:lnTo>
                  <a:pt x="753" y="59"/>
                </a:lnTo>
                <a:lnTo>
                  <a:pt x="753" y="55"/>
                </a:lnTo>
                <a:lnTo>
                  <a:pt x="752" y="54"/>
                </a:lnTo>
                <a:lnTo>
                  <a:pt x="751" y="51"/>
                </a:lnTo>
                <a:lnTo>
                  <a:pt x="751" y="49"/>
                </a:lnTo>
                <a:lnTo>
                  <a:pt x="752" y="49"/>
                </a:lnTo>
                <a:lnTo>
                  <a:pt x="754" y="48"/>
                </a:lnTo>
                <a:lnTo>
                  <a:pt x="753" y="49"/>
                </a:lnTo>
                <a:lnTo>
                  <a:pt x="754" y="50"/>
                </a:lnTo>
                <a:lnTo>
                  <a:pt x="756" y="50"/>
                </a:lnTo>
                <a:lnTo>
                  <a:pt x="757" y="51"/>
                </a:lnTo>
                <a:lnTo>
                  <a:pt x="756" y="51"/>
                </a:lnTo>
                <a:lnTo>
                  <a:pt x="756" y="53"/>
                </a:lnTo>
                <a:lnTo>
                  <a:pt x="757" y="53"/>
                </a:lnTo>
                <a:lnTo>
                  <a:pt x="758" y="51"/>
                </a:lnTo>
                <a:lnTo>
                  <a:pt x="759" y="53"/>
                </a:lnTo>
                <a:lnTo>
                  <a:pt x="759" y="55"/>
                </a:lnTo>
                <a:lnTo>
                  <a:pt x="758" y="56"/>
                </a:lnTo>
                <a:lnTo>
                  <a:pt x="759" y="57"/>
                </a:lnTo>
                <a:lnTo>
                  <a:pt x="760" y="60"/>
                </a:lnTo>
                <a:lnTo>
                  <a:pt x="762" y="61"/>
                </a:lnTo>
                <a:lnTo>
                  <a:pt x="762" y="57"/>
                </a:lnTo>
                <a:lnTo>
                  <a:pt x="763" y="57"/>
                </a:lnTo>
                <a:lnTo>
                  <a:pt x="763" y="56"/>
                </a:lnTo>
                <a:lnTo>
                  <a:pt x="764" y="55"/>
                </a:lnTo>
                <a:lnTo>
                  <a:pt x="764" y="53"/>
                </a:lnTo>
                <a:lnTo>
                  <a:pt x="766" y="54"/>
                </a:lnTo>
                <a:lnTo>
                  <a:pt x="768" y="54"/>
                </a:lnTo>
                <a:lnTo>
                  <a:pt x="766" y="53"/>
                </a:lnTo>
                <a:lnTo>
                  <a:pt x="766" y="51"/>
                </a:lnTo>
                <a:lnTo>
                  <a:pt x="770" y="51"/>
                </a:lnTo>
                <a:lnTo>
                  <a:pt x="770" y="50"/>
                </a:lnTo>
                <a:lnTo>
                  <a:pt x="769" y="50"/>
                </a:lnTo>
                <a:lnTo>
                  <a:pt x="768" y="49"/>
                </a:lnTo>
                <a:lnTo>
                  <a:pt x="768" y="48"/>
                </a:lnTo>
                <a:lnTo>
                  <a:pt x="765" y="47"/>
                </a:lnTo>
                <a:lnTo>
                  <a:pt x="765" y="45"/>
                </a:lnTo>
                <a:lnTo>
                  <a:pt x="764" y="44"/>
                </a:lnTo>
                <a:lnTo>
                  <a:pt x="764" y="43"/>
                </a:lnTo>
                <a:lnTo>
                  <a:pt x="766" y="43"/>
                </a:lnTo>
                <a:lnTo>
                  <a:pt x="766" y="42"/>
                </a:lnTo>
                <a:lnTo>
                  <a:pt x="765" y="42"/>
                </a:lnTo>
                <a:lnTo>
                  <a:pt x="765" y="41"/>
                </a:lnTo>
                <a:lnTo>
                  <a:pt x="766" y="41"/>
                </a:lnTo>
                <a:lnTo>
                  <a:pt x="769" y="43"/>
                </a:lnTo>
                <a:lnTo>
                  <a:pt x="769" y="44"/>
                </a:lnTo>
                <a:lnTo>
                  <a:pt x="770" y="43"/>
                </a:lnTo>
                <a:lnTo>
                  <a:pt x="770" y="41"/>
                </a:lnTo>
                <a:lnTo>
                  <a:pt x="772" y="44"/>
                </a:lnTo>
                <a:lnTo>
                  <a:pt x="773" y="45"/>
                </a:lnTo>
                <a:lnTo>
                  <a:pt x="776" y="45"/>
                </a:lnTo>
                <a:lnTo>
                  <a:pt x="777" y="44"/>
                </a:lnTo>
                <a:lnTo>
                  <a:pt x="777" y="43"/>
                </a:lnTo>
                <a:lnTo>
                  <a:pt x="776" y="41"/>
                </a:lnTo>
                <a:lnTo>
                  <a:pt x="776" y="33"/>
                </a:lnTo>
                <a:close/>
                <a:moveTo>
                  <a:pt x="803" y="13"/>
                </a:moveTo>
                <a:lnTo>
                  <a:pt x="808" y="13"/>
                </a:lnTo>
                <a:lnTo>
                  <a:pt x="808" y="16"/>
                </a:lnTo>
                <a:lnTo>
                  <a:pt x="809" y="17"/>
                </a:lnTo>
                <a:lnTo>
                  <a:pt x="813" y="16"/>
                </a:lnTo>
                <a:lnTo>
                  <a:pt x="814" y="17"/>
                </a:lnTo>
                <a:lnTo>
                  <a:pt x="813" y="18"/>
                </a:lnTo>
                <a:lnTo>
                  <a:pt x="809" y="18"/>
                </a:lnTo>
                <a:lnTo>
                  <a:pt x="808" y="19"/>
                </a:lnTo>
                <a:lnTo>
                  <a:pt x="808" y="22"/>
                </a:lnTo>
                <a:lnTo>
                  <a:pt x="813" y="22"/>
                </a:lnTo>
                <a:lnTo>
                  <a:pt x="815" y="23"/>
                </a:lnTo>
                <a:lnTo>
                  <a:pt x="814" y="23"/>
                </a:lnTo>
                <a:lnTo>
                  <a:pt x="814" y="24"/>
                </a:lnTo>
                <a:lnTo>
                  <a:pt x="812" y="24"/>
                </a:lnTo>
                <a:lnTo>
                  <a:pt x="812" y="26"/>
                </a:lnTo>
                <a:lnTo>
                  <a:pt x="810" y="26"/>
                </a:lnTo>
                <a:lnTo>
                  <a:pt x="810" y="25"/>
                </a:lnTo>
                <a:lnTo>
                  <a:pt x="809" y="25"/>
                </a:lnTo>
                <a:lnTo>
                  <a:pt x="808" y="26"/>
                </a:lnTo>
                <a:lnTo>
                  <a:pt x="808" y="27"/>
                </a:lnTo>
                <a:lnTo>
                  <a:pt x="806" y="27"/>
                </a:lnTo>
                <a:lnTo>
                  <a:pt x="804" y="26"/>
                </a:lnTo>
                <a:lnTo>
                  <a:pt x="804" y="24"/>
                </a:lnTo>
                <a:lnTo>
                  <a:pt x="801" y="23"/>
                </a:lnTo>
                <a:lnTo>
                  <a:pt x="802" y="22"/>
                </a:lnTo>
                <a:lnTo>
                  <a:pt x="804" y="22"/>
                </a:lnTo>
                <a:lnTo>
                  <a:pt x="806" y="20"/>
                </a:lnTo>
                <a:lnTo>
                  <a:pt x="804" y="19"/>
                </a:lnTo>
                <a:lnTo>
                  <a:pt x="801" y="19"/>
                </a:lnTo>
                <a:lnTo>
                  <a:pt x="800" y="17"/>
                </a:lnTo>
                <a:lnTo>
                  <a:pt x="802" y="17"/>
                </a:lnTo>
                <a:lnTo>
                  <a:pt x="802" y="14"/>
                </a:lnTo>
                <a:lnTo>
                  <a:pt x="801" y="14"/>
                </a:lnTo>
                <a:lnTo>
                  <a:pt x="803" y="13"/>
                </a:lnTo>
                <a:close/>
                <a:moveTo>
                  <a:pt x="834" y="2"/>
                </a:moveTo>
                <a:lnTo>
                  <a:pt x="835" y="2"/>
                </a:lnTo>
                <a:lnTo>
                  <a:pt x="837" y="4"/>
                </a:lnTo>
                <a:lnTo>
                  <a:pt x="837" y="5"/>
                </a:lnTo>
                <a:lnTo>
                  <a:pt x="838" y="5"/>
                </a:lnTo>
                <a:lnTo>
                  <a:pt x="839" y="4"/>
                </a:lnTo>
                <a:lnTo>
                  <a:pt x="840" y="4"/>
                </a:lnTo>
                <a:lnTo>
                  <a:pt x="840" y="5"/>
                </a:lnTo>
                <a:lnTo>
                  <a:pt x="839" y="6"/>
                </a:lnTo>
                <a:lnTo>
                  <a:pt x="839" y="7"/>
                </a:lnTo>
                <a:lnTo>
                  <a:pt x="838" y="8"/>
                </a:lnTo>
                <a:lnTo>
                  <a:pt x="838" y="11"/>
                </a:lnTo>
                <a:lnTo>
                  <a:pt x="837" y="13"/>
                </a:lnTo>
                <a:lnTo>
                  <a:pt x="834" y="13"/>
                </a:lnTo>
                <a:lnTo>
                  <a:pt x="833" y="12"/>
                </a:lnTo>
                <a:lnTo>
                  <a:pt x="833" y="11"/>
                </a:lnTo>
                <a:lnTo>
                  <a:pt x="831" y="11"/>
                </a:lnTo>
                <a:lnTo>
                  <a:pt x="831" y="7"/>
                </a:lnTo>
                <a:lnTo>
                  <a:pt x="833" y="5"/>
                </a:lnTo>
                <a:lnTo>
                  <a:pt x="834" y="6"/>
                </a:lnTo>
                <a:lnTo>
                  <a:pt x="834" y="8"/>
                </a:lnTo>
                <a:lnTo>
                  <a:pt x="835" y="8"/>
                </a:lnTo>
                <a:lnTo>
                  <a:pt x="835" y="6"/>
                </a:lnTo>
                <a:lnTo>
                  <a:pt x="834" y="4"/>
                </a:lnTo>
                <a:lnTo>
                  <a:pt x="834" y="2"/>
                </a:lnTo>
                <a:close/>
                <a:moveTo>
                  <a:pt x="958" y="0"/>
                </a:moveTo>
                <a:lnTo>
                  <a:pt x="962" y="4"/>
                </a:lnTo>
                <a:lnTo>
                  <a:pt x="962" y="5"/>
                </a:lnTo>
                <a:lnTo>
                  <a:pt x="961" y="8"/>
                </a:lnTo>
                <a:lnTo>
                  <a:pt x="962" y="10"/>
                </a:lnTo>
                <a:lnTo>
                  <a:pt x="965" y="10"/>
                </a:lnTo>
                <a:lnTo>
                  <a:pt x="968" y="12"/>
                </a:lnTo>
                <a:lnTo>
                  <a:pt x="971" y="11"/>
                </a:lnTo>
                <a:lnTo>
                  <a:pt x="974" y="8"/>
                </a:lnTo>
                <a:lnTo>
                  <a:pt x="974" y="7"/>
                </a:lnTo>
                <a:lnTo>
                  <a:pt x="975" y="7"/>
                </a:lnTo>
                <a:lnTo>
                  <a:pt x="976" y="8"/>
                </a:lnTo>
                <a:lnTo>
                  <a:pt x="976" y="11"/>
                </a:lnTo>
                <a:lnTo>
                  <a:pt x="977" y="12"/>
                </a:lnTo>
                <a:lnTo>
                  <a:pt x="977" y="11"/>
                </a:lnTo>
                <a:lnTo>
                  <a:pt x="980" y="7"/>
                </a:lnTo>
                <a:lnTo>
                  <a:pt x="981" y="6"/>
                </a:lnTo>
                <a:lnTo>
                  <a:pt x="982" y="6"/>
                </a:lnTo>
                <a:lnTo>
                  <a:pt x="984" y="8"/>
                </a:lnTo>
                <a:lnTo>
                  <a:pt x="984" y="12"/>
                </a:lnTo>
                <a:lnTo>
                  <a:pt x="983" y="12"/>
                </a:lnTo>
                <a:lnTo>
                  <a:pt x="982" y="13"/>
                </a:lnTo>
                <a:lnTo>
                  <a:pt x="982" y="16"/>
                </a:lnTo>
                <a:lnTo>
                  <a:pt x="981" y="16"/>
                </a:lnTo>
                <a:lnTo>
                  <a:pt x="981" y="17"/>
                </a:lnTo>
                <a:lnTo>
                  <a:pt x="982" y="17"/>
                </a:lnTo>
                <a:lnTo>
                  <a:pt x="983" y="16"/>
                </a:lnTo>
                <a:lnTo>
                  <a:pt x="983" y="18"/>
                </a:lnTo>
                <a:lnTo>
                  <a:pt x="982" y="18"/>
                </a:lnTo>
                <a:lnTo>
                  <a:pt x="982" y="19"/>
                </a:lnTo>
                <a:lnTo>
                  <a:pt x="983" y="20"/>
                </a:lnTo>
                <a:lnTo>
                  <a:pt x="988" y="17"/>
                </a:lnTo>
                <a:lnTo>
                  <a:pt x="994" y="17"/>
                </a:lnTo>
                <a:lnTo>
                  <a:pt x="995" y="19"/>
                </a:lnTo>
                <a:lnTo>
                  <a:pt x="996" y="19"/>
                </a:lnTo>
                <a:lnTo>
                  <a:pt x="996" y="23"/>
                </a:lnTo>
                <a:lnTo>
                  <a:pt x="995" y="25"/>
                </a:lnTo>
                <a:lnTo>
                  <a:pt x="995" y="27"/>
                </a:lnTo>
                <a:lnTo>
                  <a:pt x="994" y="29"/>
                </a:lnTo>
                <a:lnTo>
                  <a:pt x="994" y="31"/>
                </a:lnTo>
                <a:lnTo>
                  <a:pt x="992" y="32"/>
                </a:lnTo>
                <a:lnTo>
                  <a:pt x="989" y="31"/>
                </a:lnTo>
                <a:lnTo>
                  <a:pt x="989" y="33"/>
                </a:lnTo>
                <a:lnTo>
                  <a:pt x="992" y="33"/>
                </a:lnTo>
                <a:lnTo>
                  <a:pt x="992" y="36"/>
                </a:lnTo>
                <a:lnTo>
                  <a:pt x="990" y="37"/>
                </a:lnTo>
                <a:lnTo>
                  <a:pt x="988" y="37"/>
                </a:lnTo>
                <a:lnTo>
                  <a:pt x="988" y="39"/>
                </a:lnTo>
                <a:lnTo>
                  <a:pt x="983" y="38"/>
                </a:lnTo>
                <a:lnTo>
                  <a:pt x="983" y="39"/>
                </a:lnTo>
                <a:lnTo>
                  <a:pt x="984" y="41"/>
                </a:lnTo>
                <a:lnTo>
                  <a:pt x="986" y="41"/>
                </a:lnTo>
                <a:lnTo>
                  <a:pt x="984" y="43"/>
                </a:lnTo>
                <a:lnTo>
                  <a:pt x="983" y="44"/>
                </a:lnTo>
                <a:lnTo>
                  <a:pt x="978" y="44"/>
                </a:lnTo>
                <a:lnTo>
                  <a:pt x="977" y="43"/>
                </a:lnTo>
                <a:lnTo>
                  <a:pt x="974" y="43"/>
                </a:lnTo>
                <a:lnTo>
                  <a:pt x="974" y="41"/>
                </a:lnTo>
                <a:lnTo>
                  <a:pt x="973" y="41"/>
                </a:lnTo>
                <a:lnTo>
                  <a:pt x="973" y="42"/>
                </a:lnTo>
                <a:lnTo>
                  <a:pt x="971" y="42"/>
                </a:lnTo>
                <a:lnTo>
                  <a:pt x="971" y="43"/>
                </a:lnTo>
                <a:lnTo>
                  <a:pt x="965" y="44"/>
                </a:lnTo>
                <a:lnTo>
                  <a:pt x="965" y="43"/>
                </a:lnTo>
                <a:lnTo>
                  <a:pt x="964" y="44"/>
                </a:lnTo>
                <a:lnTo>
                  <a:pt x="963" y="44"/>
                </a:lnTo>
                <a:lnTo>
                  <a:pt x="964" y="45"/>
                </a:lnTo>
                <a:lnTo>
                  <a:pt x="965" y="45"/>
                </a:lnTo>
                <a:lnTo>
                  <a:pt x="967" y="47"/>
                </a:lnTo>
                <a:lnTo>
                  <a:pt x="965" y="47"/>
                </a:lnTo>
                <a:lnTo>
                  <a:pt x="964" y="48"/>
                </a:lnTo>
                <a:lnTo>
                  <a:pt x="964" y="50"/>
                </a:lnTo>
                <a:lnTo>
                  <a:pt x="968" y="48"/>
                </a:lnTo>
                <a:lnTo>
                  <a:pt x="969" y="47"/>
                </a:lnTo>
                <a:lnTo>
                  <a:pt x="973" y="48"/>
                </a:lnTo>
                <a:lnTo>
                  <a:pt x="973" y="49"/>
                </a:lnTo>
                <a:lnTo>
                  <a:pt x="974" y="49"/>
                </a:lnTo>
                <a:lnTo>
                  <a:pt x="974" y="50"/>
                </a:lnTo>
                <a:lnTo>
                  <a:pt x="977" y="49"/>
                </a:lnTo>
                <a:lnTo>
                  <a:pt x="977" y="50"/>
                </a:lnTo>
                <a:lnTo>
                  <a:pt x="978" y="51"/>
                </a:lnTo>
                <a:lnTo>
                  <a:pt x="976" y="55"/>
                </a:lnTo>
                <a:lnTo>
                  <a:pt x="970" y="57"/>
                </a:lnTo>
                <a:lnTo>
                  <a:pt x="968" y="60"/>
                </a:lnTo>
                <a:lnTo>
                  <a:pt x="968" y="61"/>
                </a:lnTo>
                <a:lnTo>
                  <a:pt x="964" y="63"/>
                </a:lnTo>
                <a:lnTo>
                  <a:pt x="962" y="66"/>
                </a:lnTo>
                <a:lnTo>
                  <a:pt x="959" y="66"/>
                </a:lnTo>
                <a:lnTo>
                  <a:pt x="958" y="67"/>
                </a:lnTo>
                <a:lnTo>
                  <a:pt x="964" y="67"/>
                </a:lnTo>
                <a:lnTo>
                  <a:pt x="980" y="59"/>
                </a:lnTo>
                <a:lnTo>
                  <a:pt x="986" y="53"/>
                </a:lnTo>
                <a:lnTo>
                  <a:pt x="986" y="61"/>
                </a:lnTo>
                <a:lnTo>
                  <a:pt x="983" y="66"/>
                </a:lnTo>
                <a:lnTo>
                  <a:pt x="981" y="69"/>
                </a:lnTo>
                <a:lnTo>
                  <a:pt x="973" y="78"/>
                </a:lnTo>
                <a:lnTo>
                  <a:pt x="970" y="79"/>
                </a:lnTo>
                <a:lnTo>
                  <a:pt x="967" y="82"/>
                </a:lnTo>
                <a:lnTo>
                  <a:pt x="968" y="85"/>
                </a:lnTo>
                <a:lnTo>
                  <a:pt x="968" y="86"/>
                </a:lnTo>
                <a:lnTo>
                  <a:pt x="969" y="90"/>
                </a:lnTo>
                <a:lnTo>
                  <a:pt x="969" y="88"/>
                </a:lnTo>
                <a:lnTo>
                  <a:pt x="970" y="85"/>
                </a:lnTo>
                <a:lnTo>
                  <a:pt x="976" y="81"/>
                </a:lnTo>
                <a:lnTo>
                  <a:pt x="981" y="80"/>
                </a:lnTo>
                <a:lnTo>
                  <a:pt x="976" y="84"/>
                </a:lnTo>
                <a:lnTo>
                  <a:pt x="975" y="86"/>
                </a:lnTo>
                <a:lnTo>
                  <a:pt x="975" y="88"/>
                </a:lnTo>
                <a:lnTo>
                  <a:pt x="977" y="87"/>
                </a:lnTo>
                <a:lnTo>
                  <a:pt x="978" y="88"/>
                </a:lnTo>
                <a:lnTo>
                  <a:pt x="978" y="87"/>
                </a:lnTo>
                <a:lnTo>
                  <a:pt x="981" y="84"/>
                </a:lnTo>
                <a:lnTo>
                  <a:pt x="982" y="81"/>
                </a:lnTo>
                <a:lnTo>
                  <a:pt x="984" y="80"/>
                </a:lnTo>
                <a:lnTo>
                  <a:pt x="986" y="79"/>
                </a:lnTo>
                <a:lnTo>
                  <a:pt x="988" y="79"/>
                </a:lnTo>
                <a:lnTo>
                  <a:pt x="987" y="81"/>
                </a:lnTo>
                <a:lnTo>
                  <a:pt x="986" y="82"/>
                </a:lnTo>
                <a:lnTo>
                  <a:pt x="986" y="84"/>
                </a:lnTo>
                <a:lnTo>
                  <a:pt x="984" y="85"/>
                </a:lnTo>
                <a:lnTo>
                  <a:pt x="983" y="87"/>
                </a:lnTo>
                <a:lnTo>
                  <a:pt x="981" y="94"/>
                </a:lnTo>
                <a:lnTo>
                  <a:pt x="980" y="96"/>
                </a:lnTo>
                <a:lnTo>
                  <a:pt x="980" y="98"/>
                </a:lnTo>
                <a:lnTo>
                  <a:pt x="981" y="100"/>
                </a:lnTo>
                <a:lnTo>
                  <a:pt x="981" y="104"/>
                </a:lnTo>
                <a:lnTo>
                  <a:pt x="980" y="108"/>
                </a:lnTo>
                <a:lnTo>
                  <a:pt x="980" y="112"/>
                </a:lnTo>
                <a:lnTo>
                  <a:pt x="981" y="121"/>
                </a:lnTo>
                <a:lnTo>
                  <a:pt x="981" y="127"/>
                </a:lnTo>
                <a:lnTo>
                  <a:pt x="978" y="129"/>
                </a:lnTo>
                <a:lnTo>
                  <a:pt x="977" y="133"/>
                </a:lnTo>
                <a:lnTo>
                  <a:pt x="975" y="135"/>
                </a:lnTo>
                <a:lnTo>
                  <a:pt x="976" y="135"/>
                </a:lnTo>
                <a:lnTo>
                  <a:pt x="978" y="134"/>
                </a:lnTo>
                <a:lnTo>
                  <a:pt x="981" y="129"/>
                </a:lnTo>
                <a:lnTo>
                  <a:pt x="982" y="124"/>
                </a:lnTo>
                <a:lnTo>
                  <a:pt x="983" y="122"/>
                </a:lnTo>
                <a:lnTo>
                  <a:pt x="982" y="121"/>
                </a:lnTo>
                <a:lnTo>
                  <a:pt x="982" y="111"/>
                </a:lnTo>
                <a:lnTo>
                  <a:pt x="981" y="108"/>
                </a:lnTo>
                <a:lnTo>
                  <a:pt x="982" y="106"/>
                </a:lnTo>
                <a:lnTo>
                  <a:pt x="982" y="103"/>
                </a:lnTo>
                <a:lnTo>
                  <a:pt x="983" y="100"/>
                </a:lnTo>
                <a:lnTo>
                  <a:pt x="983" y="92"/>
                </a:lnTo>
                <a:lnTo>
                  <a:pt x="987" y="88"/>
                </a:lnTo>
                <a:lnTo>
                  <a:pt x="987" y="85"/>
                </a:lnTo>
                <a:lnTo>
                  <a:pt x="988" y="82"/>
                </a:lnTo>
                <a:lnTo>
                  <a:pt x="989" y="81"/>
                </a:lnTo>
                <a:lnTo>
                  <a:pt x="992" y="81"/>
                </a:lnTo>
                <a:lnTo>
                  <a:pt x="993" y="82"/>
                </a:lnTo>
                <a:lnTo>
                  <a:pt x="993" y="86"/>
                </a:lnTo>
                <a:lnTo>
                  <a:pt x="994" y="87"/>
                </a:lnTo>
                <a:lnTo>
                  <a:pt x="995" y="87"/>
                </a:lnTo>
                <a:lnTo>
                  <a:pt x="995" y="85"/>
                </a:lnTo>
                <a:lnTo>
                  <a:pt x="994" y="84"/>
                </a:lnTo>
                <a:lnTo>
                  <a:pt x="994" y="82"/>
                </a:lnTo>
                <a:lnTo>
                  <a:pt x="995" y="82"/>
                </a:lnTo>
                <a:lnTo>
                  <a:pt x="995" y="81"/>
                </a:lnTo>
                <a:lnTo>
                  <a:pt x="996" y="80"/>
                </a:lnTo>
                <a:lnTo>
                  <a:pt x="994" y="79"/>
                </a:lnTo>
                <a:lnTo>
                  <a:pt x="993" y="79"/>
                </a:lnTo>
                <a:lnTo>
                  <a:pt x="990" y="75"/>
                </a:lnTo>
                <a:lnTo>
                  <a:pt x="990" y="73"/>
                </a:lnTo>
                <a:lnTo>
                  <a:pt x="994" y="65"/>
                </a:lnTo>
                <a:lnTo>
                  <a:pt x="994" y="60"/>
                </a:lnTo>
                <a:lnTo>
                  <a:pt x="996" y="57"/>
                </a:lnTo>
                <a:lnTo>
                  <a:pt x="998" y="59"/>
                </a:lnTo>
                <a:lnTo>
                  <a:pt x="1000" y="59"/>
                </a:lnTo>
                <a:lnTo>
                  <a:pt x="999" y="57"/>
                </a:lnTo>
                <a:lnTo>
                  <a:pt x="998" y="55"/>
                </a:lnTo>
                <a:lnTo>
                  <a:pt x="995" y="53"/>
                </a:lnTo>
                <a:lnTo>
                  <a:pt x="996" y="49"/>
                </a:lnTo>
                <a:lnTo>
                  <a:pt x="1000" y="44"/>
                </a:lnTo>
                <a:lnTo>
                  <a:pt x="1002" y="38"/>
                </a:lnTo>
                <a:lnTo>
                  <a:pt x="1004" y="36"/>
                </a:lnTo>
                <a:lnTo>
                  <a:pt x="1006" y="35"/>
                </a:lnTo>
                <a:lnTo>
                  <a:pt x="1007" y="33"/>
                </a:lnTo>
                <a:lnTo>
                  <a:pt x="1018" y="32"/>
                </a:lnTo>
                <a:lnTo>
                  <a:pt x="1019" y="32"/>
                </a:lnTo>
                <a:lnTo>
                  <a:pt x="1020" y="33"/>
                </a:lnTo>
                <a:lnTo>
                  <a:pt x="1018" y="33"/>
                </a:lnTo>
                <a:lnTo>
                  <a:pt x="1018" y="35"/>
                </a:lnTo>
                <a:lnTo>
                  <a:pt x="1025" y="36"/>
                </a:lnTo>
                <a:lnTo>
                  <a:pt x="1026" y="37"/>
                </a:lnTo>
                <a:lnTo>
                  <a:pt x="1026" y="41"/>
                </a:lnTo>
                <a:lnTo>
                  <a:pt x="1029" y="43"/>
                </a:lnTo>
                <a:lnTo>
                  <a:pt x="1032" y="43"/>
                </a:lnTo>
                <a:lnTo>
                  <a:pt x="1032" y="47"/>
                </a:lnTo>
                <a:lnTo>
                  <a:pt x="1027" y="50"/>
                </a:lnTo>
                <a:lnTo>
                  <a:pt x="1029" y="51"/>
                </a:lnTo>
                <a:lnTo>
                  <a:pt x="1032" y="51"/>
                </a:lnTo>
                <a:lnTo>
                  <a:pt x="1031" y="53"/>
                </a:lnTo>
                <a:lnTo>
                  <a:pt x="1029" y="53"/>
                </a:lnTo>
                <a:lnTo>
                  <a:pt x="1030" y="54"/>
                </a:lnTo>
                <a:lnTo>
                  <a:pt x="1030" y="55"/>
                </a:lnTo>
                <a:lnTo>
                  <a:pt x="1031" y="54"/>
                </a:lnTo>
                <a:lnTo>
                  <a:pt x="1030" y="56"/>
                </a:lnTo>
                <a:lnTo>
                  <a:pt x="1029" y="57"/>
                </a:lnTo>
                <a:lnTo>
                  <a:pt x="1027" y="57"/>
                </a:lnTo>
                <a:lnTo>
                  <a:pt x="1027" y="61"/>
                </a:lnTo>
                <a:lnTo>
                  <a:pt x="1030" y="61"/>
                </a:lnTo>
                <a:lnTo>
                  <a:pt x="1031" y="57"/>
                </a:lnTo>
                <a:lnTo>
                  <a:pt x="1032" y="56"/>
                </a:lnTo>
                <a:lnTo>
                  <a:pt x="1037" y="55"/>
                </a:lnTo>
                <a:lnTo>
                  <a:pt x="1045" y="50"/>
                </a:lnTo>
                <a:lnTo>
                  <a:pt x="1046" y="50"/>
                </a:lnTo>
                <a:lnTo>
                  <a:pt x="1049" y="53"/>
                </a:lnTo>
                <a:lnTo>
                  <a:pt x="1049" y="57"/>
                </a:lnTo>
                <a:lnTo>
                  <a:pt x="1048" y="60"/>
                </a:lnTo>
                <a:lnTo>
                  <a:pt x="1045" y="63"/>
                </a:lnTo>
                <a:lnTo>
                  <a:pt x="1044" y="66"/>
                </a:lnTo>
                <a:lnTo>
                  <a:pt x="1050" y="63"/>
                </a:lnTo>
                <a:lnTo>
                  <a:pt x="1051" y="63"/>
                </a:lnTo>
                <a:lnTo>
                  <a:pt x="1051" y="61"/>
                </a:lnTo>
                <a:lnTo>
                  <a:pt x="1052" y="60"/>
                </a:lnTo>
                <a:lnTo>
                  <a:pt x="1056" y="55"/>
                </a:lnTo>
                <a:lnTo>
                  <a:pt x="1057" y="54"/>
                </a:lnTo>
                <a:lnTo>
                  <a:pt x="1062" y="54"/>
                </a:lnTo>
                <a:lnTo>
                  <a:pt x="1067" y="57"/>
                </a:lnTo>
                <a:lnTo>
                  <a:pt x="1065" y="60"/>
                </a:lnTo>
                <a:lnTo>
                  <a:pt x="1064" y="61"/>
                </a:lnTo>
                <a:lnTo>
                  <a:pt x="1062" y="62"/>
                </a:lnTo>
                <a:lnTo>
                  <a:pt x="1063" y="63"/>
                </a:lnTo>
                <a:lnTo>
                  <a:pt x="1068" y="63"/>
                </a:lnTo>
                <a:lnTo>
                  <a:pt x="1073" y="68"/>
                </a:lnTo>
                <a:lnTo>
                  <a:pt x="1071" y="70"/>
                </a:lnTo>
                <a:lnTo>
                  <a:pt x="1069" y="72"/>
                </a:lnTo>
                <a:lnTo>
                  <a:pt x="1064" y="73"/>
                </a:lnTo>
                <a:lnTo>
                  <a:pt x="1063" y="74"/>
                </a:lnTo>
                <a:lnTo>
                  <a:pt x="1063" y="75"/>
                </a:lnTo>
                <a:lnTo>
                  <a:pt x="1064" y="75"/>
                </a:lnTo>
                <a:lnTo>
                  <a:pt x="1064" y="76"/>
                </a:lnTo>
                <a:lnTo>
                  <a:pt x="1063" y="76"/>
                </a:lnTo>
                <a:lnTo>
                  <a:pt x="1060" y="75"/>
                </a:lnTo>
                <a:lnTo>
                  <a:pt x="1057" y="75"/>
                </a:lnTo>
                <a:lnTo>
                  <a:pt x="1057" y="76"/>
                </a:lnTo>
                <a:lnTo>
                  <a:pt x="1064" y="78"/>
                </a:lnTo>
                <a:lnTo>
                  <a:pt x="1077" y="73"/>
                </a:lnTo>
                <a:lnTo>
                  <a:pt x="1079" y="73"/>
                </a:lnTo>
                <a:lnTo>
                  <a:pt x="1082" y="75"/>
                </a:lnTo>
                <a:lnTo>
                  <a:pt x="1083" y="78"/>
                </a:lnTo>
                <a:lnTo>
                  <a:pt x="1081" y="79"/>
                </a:lnTo>
                <a:lnTo>
                  <a:pt x="1088" y="85"/>
                </a:lnTo>
                <a:lnTo>
                  <a:pt x="1089" y="88"/>
                </a:lnTo>
                <a:lnTo>
                  <a:pt x="1091" y="91"/>
                </a:lnTo>
                <a:lnTo>
                  <a:pt x="1092" y="92"/>
                </a:lnTo>
                <a:lnTo>
                  <a:pt x="1093" y="91"/>
                </a:lnTo>
                <a:lnTo>
                  <a:pt x="1093" y="90"/>
                </a:lnTo>
                <a:lnTo>
                  <a:pt x="1096" y="86"/>
                </a:lnTo>
                <a:lnTo>
                  <a:pt x="1098" y="87"/>
                </a:lnTo>
                <a:lnTo>
                  <a:pt x="1099" y="91"/>
                </a:lnTo>
                <a:lnTo>
                  <a:pt x="1099" y="92"/>
                </a:lnTo>
                <a:lnTo>
                  <a:pt x="1100" y="92"/>
                </a:lnTo>
                <a:lnTo>
                  <a:pt x="1102" y="98"/>
                </a:lnTo>
                <a:lnTo>
                  <a:pt x="1102" y="99"/>
                </a:lnTo>
                <a:lnTo>
                  <a:pt x="1101" y="100"/>
                </a:lnTo>
                <a:lnTo>
                  <a:pt x="1101" y="104"/>
                </a:lnTo>
                <a:lnTo>
                  <a:pt x="1102" y="105"/>
                </a:lnTo>
                <a:lnTo>
                  <a:pt x="1102" y="106"/>
                </a:lnTo>
                <a:lnTo>
                  <a:pt x="1104" y="108"/>
                </a:lnTo>
                <a:lnTo>
                  <a:pt x="1101" y="108"/>
                </a:lnTo>
                <a:lnTo>
                  <a:pt x="1096" y="111"/>
                </a:lnTo>
                <a:lnTo>
                  <a:pt x="1081" y="112"/>
                </a:lnTo>
                <a:lnTo>
                  <a:pt x="1080" y="113"/>
                </a:lnTo>
                <a:lnTo>
                  <a:pt x="1080" y="117"/>
                </a:lnTo>
                <a:lnTo>
                  <a:pt x="1079" y="118"/>
                </a:lnTo>
                <a:lnTo>
                  <a:pt x="1075" y="119"/>
                </a:lnTo>
                <a:lnTo>
                  <a:pt x="1073" y="122"/>
                </a:lnTo>
                <a:lnTo>
                  <a:pt x="1073" y="123"/>
                </a:lnTo>
                <a:lnTo>
                  <a:pt x="1074" y="124"/>
                </a:lnTo>
                <a:lnTo>
                  <a:pt x="1073" y="128"/>
                </a:lnTo>
                <a:lnTo>
                  <a:pt x="1071" y="129"/>
                </a:lnTo>
                <a:lnTo>
                  <a:pt x="1064" y="131"/>
                </a:lnTo>
                <a:lnTo>
                  <a:pt x="1063" y="133"/>
                </a:lnTo>
                <a:lnTo>
                  <a:pt x="1063" y="134"/>
                </a:lnTo>
                <a:lnTo>
                  <a:pt x="1064" y="135"/>
                </a:lnTo>
                <a:lnTo>
                  <a:pt x="1044" y="131"/>
                </a:lnTo>
                <a:lnTo>
                  <a:pt x="1025" y="129"/>
                </a:lnTo>
                <a:lnTo>
                  <a:pt x="1013" y="124"/>
                </a:lnTo>
                <a:lnTo>
                  <a:pt x="1001" y="121"/>
                </a:lnTo>
                <a:lnTo>
                  <a:pt x="999" y="122"/>
                </a:lnTo>
                <a:lnTo>
                  <a:pt x="999" y="123"/>
                </a:lnTo>
                <a:lnTo>
                  <a:pt x="1005" y="123"/>
                </a:lnTo>
                <a:lnTo>
                  <a:pt x="1005" y="125"/>
                </a:lnTo>
                <a:lnTo>
                  <a:pt x="1000" y="128"/>
                </a:lnTo>
                <a:lnTo>
                  <a:pt x="999" y="129"/>
                </a:lnTo>
                <a:lnTo>
                  <a:pt x="1001" y="131"/>
                </a:lnTo>
                <a:lnTo>
                  <a:pt x="1005" y="131"/>
                </a:lnTo>
                <a:lnTo>
                  <a:pt x="1006" y="129"/>
                </a:lnTo>
                <a:lnTo>
                  <a:pt x="1008" y="131"/>
                </a:lnTo>
                <a:lnTo>
                  <a:pt x="1006" y="131"/>
                </a:lnTo>
                <a:lnTo>
                  <a:pt x="1005" y="133"/>
                </a:lnTo>
                <a:lnTo>
                  <a:pt x="1012" y="134"/>
                </a:lnTo>
                <a:lnTo>
                  <a:pt x="1015" y="136"/>
                </a:lnTo>
                <a:lnTo>
                  <a:pt x="1021" y="136"/>
                </a:lnTo>
                <a:lnTo>
                  <a:pt x="1021" y="137"/>
                </a:lnTo>
                <a:lnTo>
                  <a:pt x="1023" y="137"/>
                </a:lnTo>
                <a:lnTo>
                  <a:pt x="1024" y="139"/>
                </a:lnTo>
                <a:lnTo>
                  <a:pt x="1024" y="140"/>
                </a:lnTo>
                <a:lnTo>
                  <a:pt x="1021" y="141"/>
                </a:lnTo>
                <a:lnTo>
                  <a:pt x="1023" y="142"/>
                </a:lnTo>
                <a:lnTo>
                  <a:pt x="1030" y="141"/>
                </a:lnTo>
                <a:lnTo>
                  <a:pt x="1032" y="143"/>
                </a:lnTo>
                <a:lnTo>
                  <a:pt x="1044" y="147"/>
                </a:lnTo>
                <a:lnTo>
                  <a:pt x="1044" y="148"/>
                </a:lnTo>
                <a:lnTo>
                  <a:pt x="1039" y="152"/>
                </a:lnTo>
                <a:lnTo>
                  <a:pt x="1038" y="153"/>
                </a:lnTo>
                <a:lnTo>
                  <a:pt x="1036" y="154"/>
                </a:lnTo>
                <a:lnTo>
                  <a:pt x="1033" y="156"/>
                </a:lnTo>
                <a:lnTo>
                  <a:pt x="1033" y="158"/>
                </a:lnTo>
                <a:lnTo>
                  <a:pt x="1032" y="159"/>
                </a:lnTo>
                <a:lnTo>
                  <a:pt x="1032" y="160"/>
                </a:lnTo>
                <a:lnTo>
                  <a:pt x="1031" y="160"/>
                </a:lnTo>
                <a:lnTo>
                  <a:pt x="1033" y="161"/>
                </a:lnTo>
                <a:lnTo>
                  <a:pt x="1033" y="160"/>
                </a:lnTo>
                <a:lnTo>
                  <a:pt x="1036" y="158"/>
                </a:lnTo>
                <a:lnTo>
                  <a:pt x="1037" y="154"/>
                </a:lnTo>
                <a:lnTo>
                  <a:pt x="1039" y="154"/>
                </a:lnTo>
                <a:lnTo>
                  <a:pt x="1040" y="155"/>
                </a:lnTo>
                <a:lnTo>
                  <a:pt x="1044" y="155"/>
                </a:lnTo>
                <a:lnTo>
                  <a:pt x="1045" y="154"/>
                </a:lnTo>
                <a:lnTo>
                  <a:pt x="1046" y="155"/>
                </a:lnTo>
                <a:lnTo>
                  <a:pt x="1046" y="160"/>
                </a:lnTo>
                <a:lnTo>
                  <a:pt x="1048" y="164"/>
                </a:lnTo>
                <a:lnTo>
                  <a:pt x="1048" y="165"/>
                </a:lnTo>
                <a:lnTo>
                  <a:pt x="1046" y="167"/>
                </a:lnTo>
                <a:lnTo>
                  <a:pt x="1043" y="171"/>
                </a:lnTo>
                <a:lnTo>
                  <a:pt x="1043" y="173"/>
                </a:lnTo>
                <a:lnTo>
                  <a:pt x="1042" y="173"/>
                </a:lnTo>
                <a:lnTo>
                  <a:pt x="1042" y="174"/>
                </a:lnTo>
                <a:lnTo>
                  <a:pt x="1040" y="176"/>
                </a:lnTo>
                <a:lnTo>
                  <a:pt x="1040" y="178"/>
                </a:lnTo>
                <a:lnTo>
                  <a:pt x="1038" y="178"/>
                </a:lnTo>
                <a:lnTo>
                  <a:pt x="1037" y="179"/>
                </a:lnTo>
                <a:lnTo>
                  <a:pt x="1038" y="179"/>
                </a:lnTo>
                <a:lnTo>
                  <a:pt x="1038" y="180"/>
                </a:lnTo>
                <a:lnTo>
                  <a:pt x="1036" y="185"/>
                </a:lnTo>
                <a:lnTo>
                  <a:pt x="1038" y="183"/>
                </a:lnTo>
                <a:lnTo>
                  <a:pt x="1039" y="180"/>
                </a:lnTo>
                <a:lnTo>
                  <a:pt x="1044" y="176"/>
                </a:lnTo>
                <a:lnTo>
                  <a:pt x="1045" y="176"/>
                </a:lnTo>
                <a:lnTo>
                  <a:pt x="1050" y="174"/>
                </a:lnTo>
                <a:lnTo>
                  <a:pt x="1054" y="176"/>
                </a:lnTo>
                <a:lnTo>
                  <a:pt x="1057" y="172"/>
                </a:lnTo>
                <a:lnTo>
                  <a:pt x="1060" y="171"/>
                </a:lnTo>
                <a:lnTo>
                  <a:pt x="1061" y="172"/>
                </a:lnTo>
                <a:lnTo>
                  <a:pt x="1060" y="173"/>
                </a:lnTo>
                <a:lnTo>
                  <a:pt x="1058" y="176"/>
                </a:lnTo>
                <a:lnTo>
                  <a:pt x="1055" y="179"/>
                </a:lnTo>
                <a:lnTo>
                  <a:pt x="1055" y="182"/>
                </a:lnTo>
                <a:lnTo>
                  <a:pt x="1056" y="179"/>
                </a:lnTo>
                <a:lnTo>
                  <a:pt x="1057" y="178"/>
                </a:lnTo>
                <a:lnTo>
                  <a:pt x="1058" y="178"/>
                </a:lnTo>
                <a:lnTo>
                  <a:pt x="1061" y="176"/>
                </a:lnTo>
                <a:lnTo>
                  <a:pt x="1062" y="178"/>
                </a:lnTo>
                <a:lnTo>
                  <a:pt x="1062" y="179"/>
                </a:lnTo>
                <a:lnTo>
                  <a:pt x="1065" y="182"/>
                </a:lnTo>
                <a:lnTo>
                  <a:pt x="1065" y="180"/>
                </a:lnTo>
                <a:lnTo>
                  <a:pt x="1064" y="179"/>
                </a:lnTo>
                <a:lnTo>
                  <a:pt x="1063" y="174"/>
                </a:lnTo>
                <a:lnTo>
                  <a:pt x="1062" y="173"/>
                </a:lnTo>
                <a:lnTo>
                  <a:pt x="1063" y="173"/>
                </a:lnTo>
                <a:lnTo>
                  <a:pt x="1065" y="172"/>
                </a:lnTo>
                <a:lnTo>
                  <a:pt x="1067" y="172"/>
                </a:lnTo>
                <a:lnTo>
                  <a:pt x="1067" y="170"/>
                </a:lnTo>
                <a:lnTo>
                  <a:pt x="1065" y="168"/>
                </a:lnTo>
                <a:lnTo>
                  <a:pt x="1065" y="167"/>
                </a:lnTo>
                <a:lnTo>
                  <a:pt x="1064" y="166"/>
                </a:lnTo>
                <a:lnTo>
                  <a:pt x="1064" y="158"/>
                </a:lnTo>
                <a:lnTo>
                  <a:pt x="1070" y="158"/>
                </a:lnTo>
                <a:lnTo>
                  <a:pt x="1071" y="160"/>
                </a:lnTo>
                <a:lnTo>
                  <a:pt x="1071" y="161"/>
                </a:lnTo>
                <a:lnTo>
                  <a:pt x="1069" y="162"/>
                </a:lnTo>
                <a:lnTo>
                  <a:pt x="1070" y="164"/>
                </a:lnTo>
                <a:lnTo>
                  <a:pt x="1074" y="162"/>
                </a:lnTo>
                <a:lnTo>
                  <a:pt x="1075" y="164"/>
                </a:lnTo>
                <a:lnTo>
                  <a:pt x="1075" y="180"/>
                </a:lnTo>
                <a:lnTo>
                  <a:pt x="1074" y="183"/>
                </a:lnTo>
                <a:lnTo>
                  <a:pt x="1071" y="183"/>
                </a:lnTo>
                <a:lnTo>
                  <a:pt x="1073" y="184"/>
                </a:lnTo>
                <a:lnTo>
                  <a:pt x="1076" y="183"/>
                </a:lnTo>
                <a:lnTo>
                  <a:pt x="1076" y="176"/>
                </a:lnTo>
                <a:lnTo>
                  <a:pt x="1077" y="176"/>
                </a:lnTo>
                <a:lnTo>
                  <a:pt x="1077" y="171"/>
                </a:lnTo>
                <a:lnTo>
                  <a:pt x="1076" y="170"/>
                </a:lnTo>
                <a:lnTo>
                  <a:pt x="1077" y="170"/>
                </a:lnTo>
                <a:lnTo>
                  <a:pt x="1076" y="167"/>
                </a:lnTo>
                <a:lnTo>
                  <a:pt x="1079" y="166"/>
                </a:lnTo>
                <a:lnTo>
                  <a:pt x="1087" y="167"/>
                </a:lnTo>
                <a:lnTo>
                  <a:pt x="1088" y="168"/>
                </a:lnTo>
                <a:lnTo>
                  <a:pt x="1087" y="168"/>
                </a:lnTo>
                <a:lnTo>
                  <a:pt x="1087" y="171"/>
                </a:lnTo>
                <a:lnTo>
                  <a:pt x="1088" y="172"/>
                </a:lnTo>
                <a:lnTo>
                  <a:pt x="1088" y="171"/>
                </a:lnTo>
                <a:lnTo>
                  <a:pt x="1089" y="171"/>
                </a:lnTo>
                <a:lnTo>
                  <a:pt x="1093" y="167"/>
                </a:lnTo>
                <a:lnTo>
                  <a:pt x="1093" y="172"/>
                </a:lnTo>
                <a:lnTo>
                  <a:pt x="1094" y="174"/>
                </a:lnTo>
                <a:lnTo>
                  <a:pt x="1094" y="176"/>
                </a:lnTo>
                <a:lnTo>
                  <a:pt x="1095" y="178"/>
                </a:lnTo>
                <a:lnTo>
                  <a:pt x="1095" y="182"/>
                </a:lnTo>
                <a:lnTo>
                  <a:pt x="1096" y="184"/>
                </a:lnTo>
                <a:lnTo>
                  <a:pt x="1096" y="195"/>
                </a:lnTo>
                <a:lnTo>
                  <a:pt x="1095" y="199"/>
                </a:lnTo>
                <a:lnTo>
                  <a:pt x="1094" y="201"/>
                </a:lnTo>
                <a:lnTo>
                  <a:pt x="1089" y="202"/>
                </a:lnTo>
                <a:lnTo>
                  <a:pt x="1080" y="199"/>
                </a:lnTo>
                <a:lnTo>
                  <a:pt x="1077" y="199"/>
                </a:lnTo>
                <a:lnTo>
                  <a:pt x="1070" y="190"/>
                </a:lnTo>
                <a:lnTo>
                  <a:pt x="1068" y="188"/>
                </a:lnTo>
                <a:lnTo>
                  <a:pt x="1063" y="188"/>
                </a:lnTo>
                <a:lnTo>
                  <a:pt x="1063" y="189"/>
                </a:lnTo>
                <a:lnTo>
                  <a:pt x="1064" y="190"/>
                </a:lnTo>
                <a:lnTo>
                  <a:pt x="1067" y="191"/>
                </a:lnTo>
                <a:lnTo>
                  <a:pt x="1067" y="192"/>
                </a:lnTo>
                <a:lnTo>
                  <a:pt x="1068" y="195"/>
                </a:lnTo>
                <a:lnTo>
                  <a:pt x="1068" y="197"/>
                </a:lnTo>
                <a:lnTo>
                  <a:pt x="1067" y="199"/>
                </a:lnTo>
                <a:lnTo>
                  <a:pt x="1067" y="201"/>
                </a:lnTo>
                <a:lnTo>
                  <a:pt x="1064" y="203"/>
                </a:lnTo>
                <a:lnTo>
                  <a:pt x="1064" y="205"/>
                </a:lnTo>
                <a:lnTo>
                  <a:pt x="1063" y="207"/>
                </a:lnTo>
                <a:lnTo>
                  <a:pt x="1063" y="211"/>
                </a:lnTo>
                <a:lnTo>
                  <a:pt x="1057" y="217"/>
                </a:lnTo>
                <a:lnTo>
                  <a:pt x="1056" y="220"/>
                </a:lnTo>
                <a:lnTo>
                  <a:pt x="1056" y="221"/>
                </a:lnTo>
                <a:lnTo>
                  <a:pt x="1048" y="221"/>
                </a:lnTo>
                <a:lnTo>
                  <a:pt x="1043" y="226"/>
                </a:lnTo>
                <a:lnTo>
                  <a:pt x="1040" y="227"/>
                </a:lnTo>
                <a:lnTo>
                  <a:pt x="1033" y="227"/>
                </a:lnTo>
                <a:lnTo>
                  <a:pt x="1031" y="228"/>
                </a:lnTo>
                <a:lnTo>
                  <a:pt x="1030" y="231"/>
                </a:lnTo>
                <a:lnTo>
                  <a:pt x="1030" y="233"/>
                </a:lnTo>
                <a:lnTo>
                  <a:pt x="1029" y="237"/>
                </a:lnTo>
                <a:lnTo>
                  <a:pt x="1029" y="240"/>
                </a:lnTo>
                <a:lnTo>
                  <a:pt x="1027" y="241"/>
                </a:lnTo>
                <a:lnTo>
                  <a:pt x="1027" y="245"/>
                </a:lnTo>
                <a:lnTo>
                  <a:pt x="1026" y="248"/>
                </a:lnTo>
                <a:lnTo>
                  <a:pt x="1026" y="251"/>
                </a:lnTo>
                <a:lnTo>
                  <a:pt x="1025" y="252"/>
                </a:lnTo>
                <a:lnTo>
                  <a:pt x="1023" y="256"/>
                </a:lnTo>
                <a:lnTo>
                  <a:pt x="1018" y="260"/>
                </a:lnTo>
                <a:lnTo>
                  <a:pt x="1015" y="259"/>
                </a:lnTo>
                <a:lnTo>
                  <a:pt x="1014" y="260"/>
                </a:lnTo>
                <a:lnTo>
                  <a:pt x="1013" y="260"/>
                </a:lnTo>
                <a:lnTo>
                  <a:pt x="1008" y="254"/>
                </a:lnTo>
                <a:lnTo>
                  <a:pt x="1008" y="251"/>
                </a:lnTo>
                <a:lnTo>
                  <a:pt x="1009" y="242"/>
                </a:lnTo>
                <a:lnTo>
                  <a:pt x="1009" y="239"/>
                </a:lnTo>
                <a:lnTo>
                  <a:pt x="1025" y="220"/>
                </a:lnTo>
                <a:lnTo>
                  <a:pt x="1030" y="209"/>
                </a:lnTo>
                <a:lnTo>
                  <a:pt x="1024" y="194"/>
                </a:lnTo>
                <a:lnTo>
                  <a:pt x="1021" y="184"/>
                </a:lnTo>
                <a:lnTo>
                  <a:pt x="1021" y="183"/>
                </a:lnTo>
                <a:lnTo>
                  <a:pt x="1007" y="177"/>
                </a:lnTo>
                <a:lnTo>
                  <a:pt x="994" y="170"/>
                </a:lnTo>
                <a:lnTo>
                  <a:pt x="992" y="168"/>
                </a:lnTo>
                <a:lnTo>
                  <a:pt x="990" y="167"/>
                </a:lnTo>
                <a:lnTo>
                  <a:pt x="989" y="165"/>
                </a:lnTo>
                <a:lnTo>
                  <a:pt x="989" y="161"/>
                </a:lnTo>
                <a:lnTo>
                  <a:pt x="981" y="158"/>
                </a:lnTo>
                <a:lnTo>
                  <a:pt x="981" y="156"/>
                </a:lnTo>
                <a:lnTo>
                  <a:pt x="973" y="142"/>
                </a:lnTo>
                <a:lnTo>
                  <a:pt x="970" y="136"/>
                </a:lnTo>
                <a:lnTo>
                  <a:pt x="968" y="134"/>
                </a:lnTo>
                <a:lnTo>
                  <a:pt x="964" y="136"/>
                </a:lnTo>
                <a:lnTo>
                  <a:pt x="959" y="135"/>
                </a:lnTo>
                <a:lnTo>
                  <a:pt x="957" y="136"/>
                </a:lnTo>
                <a:lnTo>
                  <a:pt x="955" y="139"/>
                </a:lnTo>
                <a:lnTo>
                  <a:pt x="955" y="141"/>
                </a:lnTo>
                <a:lnTo>
                  <a:pt x="950" y="143"/>
                </a:lnTo>
                <a:lnTo>
                  <a:pt x="947" y="147"/>
                </a:lnTo>
                <a:lnTo>
                  <a:pt x="945" y="147"/>
                </a:lnTo>
                <a:lnTo>
                  <a:pt x="945" y="149"/>
                </a:lnTo>
                <a:lnTo>
                  <a:pt x="946" y="149"/>
                </a:lnTo>
                <a:lnTo>
                  <a:pt x="944" y="152"/>
                </a:lnTo>
                <a:lnTo>
                  <a:pt x="936" y="155"/>
                </a:lnTo>
                <a:lnTo>
                  <a:pt x="934" y="155"/>
                </a:lnTo>
                <a:lnTo>
                  <a:pt x="932" y="153"/>
                </a:lnTo>
                <a:lnTo>
                  <a:pt x="930" y="153"/>
                </a:lnTo>
                <a:lnTo>
                  <a:pt x="925" y="151"/>
                </a:lnTo>
                <a:lnTo>
                  <a:pt x="921" y="152"/>
                </a:lnTo>
                <a:lnTo>
                  <a:pt x="919" y="152"/>
                </a:lnTo>
                <a:lnTo>
                  <a:pt x="912" y="153"/>
                </a:lnTo>
                <a:lnTo>
                  <a:pt x="911" y="153"/>
                </a:lnTo>
                <a:lnTo>
                  <a:pt x="908" y="158"/>
                </a:lnTo>
                <a:lnTo>
                  <a:pt x="907" y="159"/>
                </a:lnTo>
                <a:lnTo>
                  <a:pt x="908" y="161"/>
                </a:lnTo>
                <a:lnTo>
                  <a:pt x="907" y="164"/>
                </a:lnTo>
                <a:lnTo>
                  <a:pt x="902" y="168"/>
                </a:lnTo>
                <a:lnTo>
                  <a:pt x="900" y="173"/>
                </a:lnTo>
                <a:lnTo>
                  <a:pt x="899" y="177"/>
                </a:lnTo>
                <a:lnTo>
                  <a:pt x="897" y="177"/>
                </a:lnTo>
                <a:lnTo>
                  <a:pt x="897" y="178"/>
                </a:lnTo>
                <a:lnTo>
                  <a:pt x="896" y="179"/>
                </a:lnTo>
                <a:lnTo>
                  <a:pt x="890" y="180"/>
                </a:lnTo>
                <a:lnTo>
                  <a:pt x="888" y="183"/>
                </a:lnTo>
                <a:lnTo>
                  <a:pt x="888" y="185"/>
                </a:lnTo>
                <a:lnTo>
                  <a:pt x="887" y="186"/>
                </a:lnTo>
                <a:lnTo>
                  <a:pt x="888" y="188"/>
                </a:lnTo>
                <a:lnTo>
                  <a:pt x="888" y="189"/>
                </a:lnTo>
                <a:lnTo>
                  <a:pt x="889" y="191"/>
                </a:lnTo>
                <a:lnTo>
                  <a:pt x="889" y="194"/>
                </a:lnTo>
                <a:lnTo>
                  <a:pt x="887" y="198"/>
                </a:lnTo>
                <a:lnTo>
                  <a:pt x="884" y="201"/>
                </a:lnTo>
                <a:lnTo>
                  <a:pt x="884" y="203"/>
                </a:lnTo>
                <a:lnTo>
                  <a:pt x="886" y="204"/>
                </a:lnTo>
                <a:lnTo>
                  <a:pt x="884" y="205"/>
                </a:lnTo>
                <a:lnTo>
                  <a:pt x="884" y="210"/>
                </a:lnTo>
                <a:lnTo>
                  <a:pt x="883" y="211"/>
                </a:lnTo>
                <a:lnTo>
                  <a:pt x="882" y="214"/>
                </a:lnTo>
                <a:lnTo>
                  <a:pt x="883" y="219"/>
                </a:lnTo>
                <a:lnTo>
                  <a:pt x="883" y="220"/>
                </a:lnTo>
                <a:lnTo>
                  <a:pt x="880" y="227"/>
                </a:lnTo>
                <a:lnTo>
                  <a:pt x="880" y="228"/>
                </a:lnTo>
                <a:lnTo>
                  <a:pt x="878" y="238"/>
                </a:lnTo>
                <a:lnTo>
                  <a:pt x="877" y="241"/>
                </a:lnTo>
                <a:lnTo>
                  <a:pt x="878" y="245"/>
                </a:lnTo>
                <a:lnTo>
                  <a:pt x="880" y="247"/>
                </a:lnTo>
                <a:lnTo>
                  <a:pt x="880" y="250"/>
                </a:lnTo>
                <a:lnTo>
                  <a:pt x="878" y="250"/>
                </a:lnTo>
                <a:lnTo>
                  <a:pt x="878" y="257"/>
                </a:lnTo>
                <a:lnTo>
                  <a:pt x="880" y="259"/>
                </a:lnTo>
                <a:lnTo>
                  <a:pt x="880" y="262"/>
                </a:lnTo>
                <a:lnTo>
                  <a:pt x="881" y="262"/>
                </a:lnTo>
                <a:lnTo>
                  <a:pt x="881" y="265"/>
                </a:lnTo>
                <a:lnTo>
                  <a:pt x="878" y="266"/>
                </a:lnTo>
                <a:lnTo>
                  <a:pt x="878" y="270"/>
                </a:lnTo>
                <a:lnTo>
                  <a:pt x="876" y="272"/>
                </a:lnTo>
                <a:lnTo>
                  <a:pt x="875" y="275"/>
                </a:lnTo>
                <a:lnTo>
                  <a:pt x="875" y="277"/>
                </a:lnTo>
                <a:lnTo>
                  <a:pt x="872" y="279"/>
                </a:lnTo>
                <a:lnTo>
                  <a:pt x="866" y="277"/>
                </a:lnTo>
                <a:lnTo>
                  <a:pt x="865" y="277"/>
                </a:lnTo>
                <a:lnTo>
                  <a:pt x="863" y="278"/>
                </a:lnTo>
                <a:lnTo>
                  <a:pt x="856" y="285"/>
                </a:lnTo>
                <a:lnTo>
                  <a:pt x="853" y="289"/>
                </a:lnTo>
                <a:lnTo>
                  <a:pt x="853" y="300"/>
                </a:lnTo>
                <a:lnTo>
                  <a:pt x="852" y="301"/>
                </a:lnTo>
                <a:lnTo>
                  <a:pt x="852" y="302"/>
                </a:lnTo>
                <a:lnTo>
                  <a:pt x="853" y="303"/>
                </a:lnTo>
                <a:lnTo>
                  <a:pt x="852" y="306"/>
                </a:lnTo>
                <a:lnTo>
                  <a:pt x="851" y="307"/>
                </a:lnTo>
                <a:lnTo>
                  <a:pt x="850" y="307"/>
                </a:lnTo>
                <a:lnTo>
                  <a:pt x="847" y="309"/>
                </a:lnTo>
                <a:lnTo>
                  <a:pt x="846" y="309"/>
                </a:lnTo>
                <a:lnTo>
                  <a:pt x="844" y="312"/>
                </a:lnTo>
                <a:lnTo>
                  <a:pt x="844" y="314"/>
                </a:lnTo>
                <a:lnTo>
                  <a:pt x="841" y="317"/>
                </a:lnTo>
                <a:lnTo>
                  <a:pt x="841" y="315"/>
                </a:lnTo>
                <a:lnTo>
                  <a:pt x="839" y="312"/>
                </a:lnTo>
                <a:lnTo>
                  <a:pt x="837" y="306"/>
                </a:lnTo>
                <a:lnTo>
                  <a:pt x="833" y="303"/>
                </a:lnTo>
                <a:lnTo>
                  <a:pt x="825" y="300"/>
                </a:lnTo>
                <a:lnTo>
                  <a:pt x="819" y="299"/>
                </a:lnTo>
                <a:lnTo>
                  <a:pt x="813" y="294"/>
                </a:lnTo>
                <a:lnTo>
                  <a:pt x="812" y="293"/>
                </a:lnTo>
                <a:lnTo>
                  <a:pt x="810" y="290"/>
                </a:lnTo>
                <a:lnTo>
                  <a:pt x="802" y="285"/>
                </a:lnTo>
                <a:lnTo>
                  <a:pt x="799" y="285"/>
                </a:lnTo>
                <a:lnTo>
                  <a:pt x="796" y="288"/>
                </a:lnTo>
                <a:lnTo>
                  <a:pt x="794" y="297"/>
                </a:lnTo>
                <a:lnTo>
                  <a:pt x="789" y="300"/>
                </a:lnTo>
                <a:lnTo>
                  <a:pt x="783" y="301"/>
                </a:lnTo>
                <a:lnTo>
                  <a:pt x="771" y="308"/>
                </a:lnTo>
                <a:lnTo>
                  <a:pt x="770" y="308"/>
                </a:lnTo>
                <a:lnTo>
                  <a:pt x="766" y="302"/>
                </a:lnTo>
                <a:lnTo>
                  <a:pt x="765" y="301"/>
                </a:lnTo>
                <a:lnTo>
                  <a:pt x="763" y="301"/>
                </a:lnTo>
                <a:lnTo>
                  <a:pt x="756" y="302"/>
                </a:lnTo>
                <a:lnTo>
                  <a:pt x="745" y="296"/>
                </a:lnTo>
                <a:lnTo>
                  <a:pt x="742" y="296"/>
                </a:lnTo>
                <a:lnTo>
                  <a:pt x="738" y="297"/>
                </a:lnTo>
                <a:lnTo>
                  <a:pt x="737" y="295"/>
                </a:lnTo>
                <a:lnTo>
                  <a:pt x="735" y="284"/>
                </a:lnTo>
                <a:lnTo>
                  <a:pt x="735" y="283"/>
                </a:lnTo>
                <a:lnTo>
                  <a:pt x="732" y="281"/>
                </a:lnTo>
                <a:lnTo>
                  <a:pt x="728" y="275"/>
                </a:lnTo>
                <a:lnTo>
                  <a:pt x="728" y="274"/>
                </a:lnTo>
                <a:lnTo>
                  <a:pt x="727" y="271"/>
                </a:lnTo>
                <a:lnTo>
                  <a:pt x="727" y="269"/>
                </a:lnTo>
                <a:lnTo>
                  <a:pt x="721" y="263"/>
                </a:lnTo>
                <a:lnTo>
                  <a:pt x="717" y="257"/>
                </a:lnTo>
                <a:lnTo>
                  <a:pt x="706" y="233"/>
                </a:lnTo>
                <a:lnTo>
                  <a:pt x="704" y="232"/>
                </a:lnTo>
                <a:lnTo>
                  <a:pt x="691" y="229"/>
                </a:lnTo>
                <a:lnTo>
                  <a:pt x="682" y="235"/>
                </a:lnTo>
                <a:lnTo>
                  <a:pt x="682" y="237"/>
                </a:lnTo>
                <a:lnTo>
                  <a:pt x="681" y="239"/>
                </a:lnTo>
                <a:lnTo>
                  <a:pt x="679" y="242"/>
                </a:lnTo>
                <a:lnTo>
                  <a:pt x="684" y="253"/>
                </a:lnTo>
                <a:lnTo>
                  <a:pt x="682" y="259"/>
                </a:lnTo>
                <a:lnTo>
                  <a:pt x="679" y="259"/>
                </a:lnTo>
                <a:lnTo>
                  <a:pt x="667" y="252"/>
                </a:lnTo>
                <a:lnTo>
                  <a:pt x="666" y="252"/>
                </a:lnTo>
                <a:lnTo>
                  <a:pt x="663" y="259"/>
                </a:lnTo>
                <a:lnTo>
                  <a:pt x="651" y="260"/>
                </a:lnTo>
                <a:lnTo>
                  <a:pt x="640" y="262"/>
                </a:lnTo>
                <a:lnTo>
                  <a:pt x="651" y="275"/>
                </a:lnTo>
                <a:lnTo>
                  <a:pt x="651" y="289"/>
                </a:lnTo>
                <a:lnTo>
                  <a:pt x="650" y="291"/>
                </a:lnTo>
                <a:lnTo>
                  <a:pt x="646" y="303"/>
                </a:lnTo>
                <a:lnTo>
                  <a:pt x="642" y="309"/>
                </a:lnTo>
                <a:lnTo>
                  <a:pt x="634" y="318"/>
                </a:lnTo>
                <a:lnTo>
                  <a:pt x="646" y="325"/>
                </a:lnTo>
                <a:lnTo>
                  <a:pt x="636" y="338"/>
                </a:lnTo>
                <a:lnTo>
                  <a:pt x="634" y="339"/>
                </a:lnTo>
                <a:lnTo>
                  <a:pt x="633" y="339"/>
                </a:lnTo>
                <a:lnTo>
                  <a:pt x="614" y="331"/>
                </a:lnTo>
                <a:lnTo>
                  <a:pt x="595" y="321"/>
                </a:lnTo>
                <a:lnTo>
                  <a:pt x="580" y="322"/>
                </a:lnTo>
                <a:lnTo>
                  <a:pt x="578" y="322"/>
                </a:lnTo>
                <a:lnTo>
                  <a:pt x="572" y="315"/>
                </a:lnTo>
                <a:lnTo>
                  <a:pt x="570" y="314"/>
                </a:lnTo>
                <a:lnTo>
                  <a:pt x="559" y="318"/>
                </a:lnTo>
                <a:lnTo>
                  <a:pt x="558" y="319"/>
                </a:lnTo>
                <a:lnTo>
                  <a:pt x="558" y="320"/>
                </a:lnTo>
                <a:lnTo>
                  <a:pt x="557" y="331"/>
                </a:lnTo>
                <a:lnTo>
                  <a:pt x="557" y="334"/>
                </a:lnTo>
                <a:lnTo>
                  <a:pt x="559" y="357"/>
                </a:lnTo>
                <a:lnTo>
                  <a:pt x="559" y="362"/>
                </a:lnTo>
                <a:lnTo>
                  <a:pt x="551" y="377"/>
                </a:lnTo>
                <a:lnTo>
                  <a:pt x="548" y="382"/>
                </a:lnTo>
                <a:lnTo>
                  <a:pt x="547" y="382"/>
                </a:lnTo>
                <a:lnTo>
                  <a:pt x="523" y="368"/>
                </a:lnTo>
                <a:lnTo>
                  <a:pt x="522" y="368"/>
                </a:lnTo>
                <a:lnTo>
                  <a:pt x="518" y="375"/>
                </a:lnTo>
                <a:lnTo>
                  <a:pt x="501" y="389"/>
                </a:lnTo>
                <a:lnTo>
                  <a:pt x="501" y="391"/>
                </a:lnTo>
                <a:lnTo>
                  <a:pt x="499" y="393"/>
                </a:lnTo>
                <a:lnTo>
                  <a:pt x="492" y="419"/>
                </a:lnTo>
                <a:lnTo>
                  <a:pt x="492" y="422"/>
                </a:lnTo>
                <a:lnTo>
                  <a:pt x="487" y="429"/>
                </a:lnTo>
                <a:lnTo>
                  <a:pt x="485" y="431"/>
                </a:lnTo>
                <a:lnTo>
                  <a:pt x="483" y="432"/>
                </a:lnTo>
                <a:lnTo>
                  <a:pt x="476" y="434"/>
                </a:lnTo>
                <a:lnTo>
                  <a:pt x="474" y="436"/>
                </a:lnTo>
                <a:lnTo>
                  <a:pt x="472" y="443"/>
                </a:lnTo>
                <a:lnTo>
                  <a:pt x="485" y="468"/>
                </a:lnTo>
                <a:lnTo>
                  <a:pt x="486" y="469"/>
                </a:lnTo>
                <a:lnTo>
                  <a:pt x="485" y="484"/>
                </a:lnTo>
                <a:lnTo>
                  <a:pt x="484" y="486"/>
                </a:lnTo>
                <a:lnTo>
                  <a:pt x="483" y="487"/>
                </a:lnTo>
                <a:lnTo>
                  <a:pt x="480" y="489"/>
                </a:lnTo>
                <a:lnTo>
                  <a:pt x="472" y="497"/>
                </a:lnTo>
                <a:lnTo>
                  <a:pt x="468" y="502"/>
                </a:lnTo>
                <a:lnTo>
                  <a:pt x="453" y="533"/>
                </a:lnTo>
                <a:lnTo>
                  <a:pt x="443" y="545"/>
                </a:lnTo>
                <a:lnTo>
                  <a:pt x="443" y="547"/>
                </a:lnTo>
                <a:lnTo>
                  <a:pt x="445" y="559"/>
                </a:lnTo>
                <a:lnTo>
                  <a:pt x="446" y="560"/>
                </a:lnTo>
                <a:lnTo>
                  <a:pt x="446" y="567"/>
                </a:lnTo>
                <a:lnTo>
                  <a:pt x="427" y="579"/>
                </a:lnTo>
                <a:lnTo>
                  <a:pt x="416" y="582"/>
                </a:lnTo>
                <a:lnTo>
                  <a:pt x="405" y="583"/>
                </a:lnTo>
                <a:lnTo>
                  <a:pt x="410" y="612"/>
                </a:lnTo>
                <a:lnTo>
                  <a:pt x="410" y="619"/>
                </a:lnTo>
                <a:lnTo>
                  <a:pt x="406" y="625"/>
                </a:lnTo>
                <a:lnTo>
                  <a:pt x="406" y="627"/>
                </a:lnTo>
                <a:lnTo>
                  <a:pt x="404" y="651"/>
                </a:lnTo>
                <a:lnTo>
                  <a:pt x="404" y="665"/>
                </a:lnTo>
                <a:lnTo>
                  <a:pt x="403" y="669"/>
                </a:lnTo>
                <a:lnTo>
                  <a:pt x="399" y="671"/>
                </a:lnTo>
                <a:lnTo>
                  <a:pt x="399" y="674"/>
                </a:lnTo>
                <a:lnTo>
                  <a:pt x="398" y="676"/>
                </a:lnTo>
                <a:lnTo>
                  <a:pt x="397" y="686"/>
                </a:lnTo>
                <a:lnTo>
                  <a:pt x="396" y="689"/>
                </a:lnTo>
                <a:lnTo>
                  <a:pt x="390" y="699"/>
                </a:lnTo>
                <a:lnTo>
                  <a:pt x="379" y="719"/>
                </a:lnTo>
                <a:lnTo>
                  <a:pt x="367" y="738"/>
                </a:lnTo>
                <a:lnTo>
                  <a:pt x="380" y="748"/>
                </a:lnTo>
                <a:lnTo>
                  <a:pt x="381" y="749"/>
                </a:lnTo>
                <a:lnTo>
                  <a:pt x="385" y="749"/>
                </a:lnTo>
                <a:lnTo>
                  <a:pt x="386" y="750"/>
                </a:lnTo>
                <a:lnTo>
                  <a:pt x="387" y="752"/>
                </a:lnTo>
                <a:lnTo>
                  <a:pt x="390" y="775"/>
                </a:lnTo>
                <a:lnTo>
                  <a:pt x="390" y="778"/>
                </a:lnTo>
                <a:lnTo>
                  <a:pt x="389" y="779"/>
                </a:lnTo>
                <a:lnTo>
                  <a:pt x="381" y="793"/>
                </a:lnTo>
                <a:lnTo>
                  <a:pt x="381" y="794"/>
                </a:lnTo>
                <a:lnTo>
                  <a:pt x="380" y="794"/>
                </a:lnTo>
                <a:lnTo>
                  <a:pt x="365" y="791"/>
                </a:lnTo>
                <a:lnTo>
                  <a:pt x="350" y="787"/>
                </a:lnTo>
                <a:lnTo>
                  <a:pt x="340" y="789"/>
                </a:lnTo>
                <a:lnTo>
                  <a:pt x="330" y="797"/>
                </a:lnTo>
                <a:lnTo>
                  <a:pt x="327" y="800"/>
                </a:lnTo>
                <a:lnTo>
                  <a:pt x="318" y="813"/>
                </a:lnTo>
                <a:lnTo>
                  <a:pt x="311" y="829"/>
                </a:lnTo>
                <a:lnTo>
                  <a:pt x="305" y="834"/>
                </a:lnTo>
                <a:lnTo>
                  <a:pt x="307" y="843"/>
                </a:lnTo>
                <a:lnTo>
                  <a:pt x="307" y="848"/>
                </a:lnTo>
                <a:lnTo>
                  <a:pt x="298" y="864"/>
                </a:lnTo>
                <a:lnTo>
                  <a:pt x="300" y="871"/>
                </a:lnTo>
                <a:lnTo>
                  <a:pt x="307" y="890"/>
                </a:lnTo>
                <a:lnTo>
                  <a:pt x="303" y="897"/>
                </a:lnTo>
                <a:lnTo>
                  <a:pt x="303" y="901"/>
                </a:lnTo>
                <a:lnTo>
                  <a:pt x="305" y="915"/>
                </a:lnTo>
                <a:lnTo>
                  <a:pt x="305" y="917"/>
                </a:lnTo>
                <a:lnTo>
                  <a:pt x="304" y="920"/>
                </a:lnTo>
                <a:lnTo>
                  <a:pt x="303" y="924"/>
                </a:lnTo>
                <a:lnTo>
                  <a:pt x="301" y="927"/>
                </a:lnTo>
                <a:lnTo>
                  <a:pt x="301" y="928"/>
                </a:lnTo>
                <a:lnTo>
                  <a:pt x="310" y="951"/>
                </a:lnTo>
                <a:lnTo>
                  <a:pt x="311" y="956"/>
                </a:lnTo>
                <a:lnTo>
                  <a:pt x="311" y="960"/>
                </a:lnTo>
                <a:lnTo>
                  <a:pt x="309" y="983"/>
                </a:lnTo>
                <a:lnTo>
                  <a:pt x="305" y="1006"/>
                </a:lnTo>
                <a:lnTo>
                  <a:pt x="305" y="1007"/>
                </a:lnTo>
                <a:lnTo>
                  <a:pt x="312" y="1014"/>
                </a:lnTo>
                <a:lnTo>
                  <a:pt x="316" y="1019"/>
                </a:lnTo>
                <a:lnTo>
                  <a:pt x="317" y="1020"/>
                </a:lnTo>
                <a:lnTo>
                  <a:pt x="322" y="1020"/>
                </a:lnTo>
                <a:lnTo>
                  <a:pt x="324" y="1022"/>
                </a:lnTo>
                <a:lnTo>
                  <a:pt x="335" y="1038"/>
                </a:lnTo>
                <a:lnTo>
                  <a:pt x="336" y="1038"/>
                </a:lnTo>
                <a:lnTo>
                  <a:pt x="336" y="1039"/>
                </a:lnTo>
                <a:lnTo>
                  <a:pt x="335" y="1047"/>
                </a:lnTo>
                <a:lnTo>
                  <a:pt x="330" y="1057"/>
                </a:lnTo>
                <a:lnTo>
                  <a:pt x="329" y="1058"/>
                </a:lnTo>
                <a:lnTo>
                  <a:pt x="329" y="1064"/>
                </a:lnTo>
                <a:lnTo>
                  <a:pt x="328" y="1065"/>
                </a:lnTo>
                <a:lnTo>
                  <a:pt x="328" y="1067"/>
                </a:lnTo>
                <a:lnTo>
                  <a:pt x="327" y="1067"/>
                </a:lnTo>
                <a:lnTo>
                  <a:pt x="322" y="1065"/>
                </a:lnTo>
                <a:lnTo>
                  <a:pt x="319" y="1065"/>
                </a:lnTo>
                <a:lnTo>
                  <a:pt x="310" y="1069"/>
                </a:lnTo>
                <a:lnTo>
                  <a:pt x="309" y="1070"/>
                </a:lnTo>
                <a:lnTo>
                  <a:pt x="309" y="1071"/>
                </a:lnTo>
                <a:lnTo>
                  <a:pt x="311" y="1076"/>
                </a:lnTo>
                <a:lnTo>
                  <a:pt x="311" y="1079"/>
                </a:lnTo>
                <a:lnTo>
                  <a:pt x="312" y="1085"/>
                </a:lnTo>
                <a:lnTo>
                  <a:pt x="315" y="1092"/>
                </a:lnTo>
                <a:lnTo>
                  <a:pt x="318" y="1100"/>
                </a:lnTo>
                <a:lnTo>
                  <a:pt x="323" y="1112"/>
                </a:lnTo>
                <a:lnTo>
                  <a:pt x="324" y="1114"/>
                </a:lnTo>
                <a:lnTo>
                  <a:pt x="324" y="1120"/>
                </a:lnTo>
                <a:lnTo>
                  <a:pt x="323" y="1123"/>
                </a:lnTo>
                <a:lnTo>
                  <a:pt x="323" y="1124"/>
                </a:lnTo>
                <a:lnTo>
                  <a:pt x="322" y="1125"/>
                </a:lnTo>
                <a:lnTo>
                  <a:pt x="319" y="1129"/>
                </a:lnTo>
                <a:lnTo>
                  <a:pt x="319" y="1133"/>
                </a:lnTo>
                <a:lnTo>
                  <a:pt x="321" y="1139"/>
                </a:lnTo>
                <a:lnTo>
                  <a:pt x="321" y="1142"/>
                </a:lnTo>
                <a:lnTo>
                  <a:pt x="318" y="1149"/>
                </a:lnTo>
                <a:lnTo>
                  <a:pt x="317" y="1151"/>
                </a:lnTo>
                <a:lnTo>
                  <a:pt x="311" y="1160"/>
                </a:lnTo>
                <a:lnTo>
                  <a:pt x="304" y="1165"/>
                </a:lnTo>
                <a:lnTo>
                  <a:pt x="293" y="1165"/>
                </a:lnTo>
                <a:lnTo>
                  <a:pt x="293" y="1166"/>
                </a:lnTo>
                <a:lnTo>
                  <a:pt x="292" y="1167"/>
                </a:lnTo>
                <a:lnTo>
                  <a:pt x="292" y="1170"/>
                </a:lnTo>
                <a:lnTo>
                  <a:pt x="293" y="1172"/>
                </a:lnTo>
                <a:lnTo>
                  <a:pt x="293" y="1173"/>
                </a:lnTo>
                <a:lnTo>
                  <a:pt x="294" y="1174"/>
                </a:lnTo>
                <a:lnTo>
                  <a:pt x="294" y="1180"/>
                </a:lnTo>
                <a:lnTo>
                  <a:pt x="293" y="1180"/>
                </a:lnTo>
                <a:lnTo>
                  <a:pt x="292" y="1184"/>
                </a:lnTo>
                <a:lnTo>
                  <a:pt x="291" y="1185"/>
                </a:lnTo>
                <a:lnTo>
                  <a:pt x="285" y="1187"/>
                </a:lnTo>
                <a:lnTo>
                  <a:pt x="285" y="1193"/>
                </a:lnTo>
                <a:lnTo>
                  <a:pt x="290" y="1209"/>
                </a:lnTo>
                <a:lnTo>
                  <a:pt x="290" y="1215"/>
                </a:lnTo>
                <a:lnTo>
                  <a:pt x="291" y="1217"/>
                </a:lnTo>
                <a:lnTo>
                  <a:pt x="291" y="1218"/>
                </a:lnTo>
                <a:lnTo>
                  <a:pt x="290" y="1219"/>
                </a:lnTo>
                <a:lnTo>
                  <a:pt x="290" y="1221"/>
                </a:lnTo>
                <a:lnTo>
                  <a:pt x="288" y="1222"/>
                </a:lnTo>
                <a:lnTo>
                  <a:pt x="287" y="1228"/>
                </a:lnTo>
                <a:lnTo>
                  <a:pt x="287" y="1234"/>
                </a:lnTo>
                <a:lnTo>
                  <a:pt x="286" y="1237"/>
                </a:lnTo>
                <a:lnTo>
                  <a:pt x="286" y="1239"/>
                </a:lnTo>
                <a:lnTo>
                  <a:pt x="285" y="1241"/>
                </a:lnTo>
                <a:lnTo>
                  <a:pt x="284" y="1246"/>
                </a:lnTo>
                <a:lnTo>
                  <a:pt x="282" y="1248"/>
                </a:lnTo>
                <a:lnTo>
                  <a:pt x="276" y="1248"/>
                </a:lnTo>
                <a:lnTo>
                  <a:pt x="275" y="1247"/>
                </a:lnTo>
                <a:lnTo>
                  <a:pt x="275" y="1242"/>
                </a:lnTo>
                <a:lnTo>
                  <a:pt x="274" y="1240"/>
                </a:lnTo>
                <a:lnTo>
                  <a:pt x="274" y="1239"/>
                </a:lnTo>
                <a:lnTo>
                  <a:pt x="273" y="1236"/>
                </a:lnTo>
                <a:lnTo>
                  <a:pt x="273" y="1233"/>
                </a:lnTo>
                <a:lnTo>
                  <a:pt x="272" y="1230"/>
                </a:lnTo>
                <a:lnTo>
                  <a:pt x="271" y="1230"/>
                </a:lnTo>
                <a:lnTo>
                  <a:pt x="269" y="1229"/>
                </a:lnTo>
                <a:lnTo>
                  <a:pt x="266" y="1230"/>
                </a:lnTo>
                <a:lnTo>
                  <a:pt x="263" y="1229"/>
                </a:lnTo>
                <a:lnTo>
                  <a:pt x="263" y="1228"/>
                </a:lnTo>
                <a:lnTo>
                  <a:pt x="265" y="1228"/>
                </a:lnTo>
                <a:lnTo>
                  <a:pt x="265" y="1227"/>
                </a:lnTo>
                <a:lnTo>
                  <a:pt x="263" y="1225"/>
                </a:lnTo>
                <a:lnTo>
                  <a:pt x="263" y="1223"/>
                </a:lnTo>
                <a:lnTo>
                  <a:pt x="262" y="1224"/>
                </a:lnTo>
                <a:lnTo>
                  <a:pt x="262" y="1228"/>
                </a:lnTo>
                <a:lnTo>
                  <a:pt x="261" y="1228"/>
                </a:lnTo>
                <a:lnTo>
                  <a:pt x="261" y="1227"/>
                </a:lnTo>
                <a:lnTo>
                  <a:pt x="260" y="1224"/>
                </a:lnTo>
                <a:lnTo>
                  <a:pt x="260" y="1229"/>
                </a:lnTo>
                <a:lnTo>
                  <a:pt x="257" y="1229"/>
                </a:lnTo>
                <a:lnTo>
                  <a:pt x="257" y="1227"/>
                </a:lnTo>
                <a:lnTo>
                  <a:pt x="255" y="1224"/>
                </a:lnTo>
                <a:lnTo>
                  <a:pt x="254" y="1224"/>
                </a:lnTo>
                <a:lnTo>
                  <a:pt x="254" y="1228"/>
                </a:lnTo>
                <a:lnTo>
                  <a:pt x="253" y="1228"/>
                </a:lnTo>
                <a:lnTo>
                  <a:pt x="253" y="1227"/>
                </a:lnTo>
                <a:lnTo>
                  <a:pt x="251" y="1225"/>
                </a:lnTo>
                <a:lnTo>
                  <a:pt x="251" y="1223"/>
                </a:lnTo>
                <a:lnTo>
                  <a:pt x="250" y="1224"/>
                </a:lnTo>
                <a:lnTo>
                  <a:pt x="249" y="1224"/>
                </a:lnTo>
                <a:lnTo>
                  <a:pt x="249" y="1225"/>
                </a:lnTo>
                <a:lnTo>
                  <a:pt x="248" y="1223"/>
                </a:lnTo>
                <a:lnTo>
                  <a:pt x="247" y="1223"/>
                </a:lnTo>
                <a:lnTo>
                  <a:pt x="247" y="1218"/>
                </a:lnTo>
                <a:lnTo>
                  <a:pt x="245" y="1218"/>
                </a:lnTo>
                <a:lnTo>
                  <a:pt x="245" y="1221"/>
                </a:lnTo>
                <a:lnTo>
                  <a:pt x="244" y="1219"/>
                </a:lnTo>
                <a:lnTo>
                  <a:pt x="245" y="1217"/>
                </a:lnTo>
                <a:lnTo>
                  <a:pt x="245" y="1215"/>
                </a:lnTo>
                <a:lnTo>
                  <a:pt x="247" y="1213"/>
                </a:lnTo>
                <a:lnTo>
                  <a:pt x="245" y="1213"/>
                </a:lnTo>
                <a:lnTo>
                  <a:pt x="245" y="1212"/>
                </a:lnTo>
                <a:lnTo>
                  <a:pt x="244" y="1211"/>
                </a:lnTo>
                <a:lnTo>
                  <a:pt x="244" y="1213"/>
                </a:lnTo>
                <a:lnTo>
                  <a:pt x="242" y="1213"/>
                </a:lnTo>
                <a:lnTo>
                  <a:pt x="242" y="1210"/>
                </a:lnTo>
                <a:lnTo>
                  <a:pt x="241" y="1208"/>
                </a:lnTo>
                <a:lnTo>
                  <a:pt x="242" y="1206"/>
                </a:lnTo>
                <a:lnTo>
                  <a:pt x="242" y="1205"/>
                </a:lnTo>
                <a:lnTo>
                  <a:pt x="241" y="1205"/>
                </a:lnTo>
                <a:lnTo>
                  <a:pt x="240" y="1204"/>
                </a:lnTo>
                <a:lnTo>
                  <a:pt x="238" y="1204"/>
                </a:lnTo>
                <a:lnTo>
                  <a:pt x="241" y="1199"/>
                </a:lnTo>
                <a:lnTo>
                  <a:pt x="241" y="1198"/>
                </a:lnTo>
                <a:lnTo>
                  <a:pt x="242" y="1198"/>
                </a:lnTo>
                <a:lnTo>
                  <a:pt x="242" y="1200"/>
                </a:lnTo>
                <a:lnTo>
                  <a:pt x="241" y="1203"/>
                </a:lnTo>
                <a:lnTo>
                  <a:pt x="242" y="1203"/>
                </a:lnTo>
                <a:lnTo>
                  <a:pt x="243" y="1202"/>
                </a:lnTo>
                <a:lnTo>
                  <a:pt x="243" y="1199"/>
                </a:lnTo>
                <a:lnTo>
                  <a:pt x="242" y="1198"/>
                </a:lnTo>
                <a:lnTo>
                  <a:pt x="242" y="1196"/>
                </a:lnTo>
                <a:lnTo>
                  <a:pt x="241" y="1193"/>
                </a:lnTo>
                <a:lnTo>
                  <a:pt x="241" y="1192"/>
                </a:lnTo>
                <a:lnTo>
                  <a:pt x="242" y="1190"/>
                </a:lnTo>
                <a:lnTo>
                  <a:pt x="241" y="1188"/>
                </a:lnTo>
                <a:lnTo>
                  <a:pt x="241" y="1186"/>
                </a:lnTo>
                <a:lnTo>
                  <a:pt x="240" y="1184"/>
                </a:lnTo>
                <a:lnTo>
                  <a:pt x="240" y="1182"/>
                </a:lnTo>
                <a:lnTo>
                  <a:pt x="238" y="1181"/>
                </a:lnTo>
                <a:lnTo>
                  <a:pt x="237" y="1179"/>
                </a:lnTo>
                <a:lnTo>
                  <a:pt x="237" y="1176"/>
                </a:lnTo>
                <a:lnTo>
                  <a:pt x="238" y="1175"/>
                </a:lnTo>
                <a:lnTo>
                  <a:pt x="240" y="1172"/>
                </a:lnTo>
                <a:lnTo>
                  <a:pt x="240" y="1169"/>
                </a:lnTo>
                <a:lnTo>
                  <a:pt x="242" y="1168"/>
                </a:lnTo>
                <a:lnTo>
                  <a:pt x="243" y="1170"/>
                </a:lnTo>
                <a:lnTo>
                  <a:pt x="243" y="1174"/>
                </a:lnTo>
                <a:lnTo>
                  <a:pt x="244" y="1178"/>
                </a:lnTo>
                <a:lnTo>
                  <a:pt x="244" y="1174"/>
                </a:lnTo>
                <a:lnTo>
                  <a:pt x="245" y="1172"/>
                </a:lnTo>
                <a:lnTo>
                  <a:pt x="245" y="1165"/>
                </a:lnTo>
                <a:lnTo>
                  <a:pt x="244" y="1165"/>
                </a:lnTo>
                <a:lnTo>
                  <a:pt x="243" y="1163"/>
                </a:lnTo>
                <a:lnTo>
                  <a:pt x="242" y="1165"/>
                </a:lnTo>
                <a:lnTo>
                  <a:pt x="242" y="1166"/>
                </a:lnTo>
                <a:lnTo>
                  <a:pt x="240" y="1165"/>
                </a:lnTo>
                <a:lnTo>
                  <a:pt x="240" y="1166"/>
                </a:lnTo>
                <a:lnTo>
                  <a:pt x="236" y="1166"/>
                </a:lnTo>
                <a:lnTo>
                  <a:pt x="234" y="1168"/>
                </a:lnTo>
                <a:lnTo>
                  <a:pt x="234" y="1169"/>
                </a:lnTo>
                <a:lnTo>
                  <a:pt x="235" y="1169"/>
                </a:lnTo>
                <a:lnTo>
                  <a:pt x="235" y="1180"/>
                </a:lnTo>
                <a:lnTo>
                  <a:pt x="236" y="1182"/>
                </a:lnTo>
                <a:lnTo>
                  <a:pt x="237" y="1184"/>
                </a:lnTo>
                <a:lnTo>
                  <a:pt x="238" y="1184"/>
                </a:lnTo>
                <a:lnTo>
                  <a:pt x="240" y="1186"/>
                </a:lnTo>
                <a:lnTo>
                  <a:pt x="240" y="1188"/>
                </a:lnTo>
                <a:lnTo>
                  <a:pt x="238" y="1192"/>
                </a:lnTo>
                <a:lnTo>
                  <a:pt x="237" y="1194"/>
                </a:lnTo>
                <a:lnTo>
                  <a:pt x="235" y="1197"/>
                </a:lnTo>
                <a:lnTo>
                  <a:pt x="232" y="1197"/>
                </a:lnTo>
                <a:lnTo>
                  <a:pt x="231" y="1194"/>
                </a:lnTo>
                <a:lnTo>
                  <a:pt x="231" y="1193"/>
                </a:lnTo>
                <a:lnTo>
                  <a:pt x="232" y="1190"/>
                </a:lnTo>
                <a:lnTo>
                  <a:pt x="232" y="1188"/>
                </a:lnTo>
                <a:lnTo>
                  <a:pt x="231" y="1186"/>
                </a:lnTo>
                <a:lnTo>
                  <a:pt x="231" y="1182"/>
                </a:lnTo>
                <a:lnTo>
                  <a:pt x="230" y="1181"/>
                </a:lnTo>
                <a:lnTo>
                  <a:pt x="230" y="1180"/>
                </a:lnTo>
                <a:lnTo>
                  <a:pt x="228" y="1180"/>
                </a:lnTo>
                <a:lnTo>
                  <a:pt x="225" y="1178"/>
                </a:lnTo>
                <a:lnTo>
                  <a:pt x="224" y="1178"/>
                </a:lnTo>
                <a:lnTo>
                  <a:pt x="223" y="1179"/>
                </a:lnTo>
                <a:lnTo>
                  <a:pt x="225" y="1181"/>
                </a:lnTo>
                <a:lnTo>
                  <a:pt x="226" y="1181"/>
                </a:lnTo>
                <a:lnTo>
                  <a:pt x="230" y="1185"/>
                </a:lnTo>
                <a:lnTo>
                  <a:pt x="230" y="1194"/>
                </a:lnTo>
                <a:lnTo>
                  <a:pt x="229" y="1196"/>
                </a:lnTo>
                <a:lnTo>
                  <a:pt x="228" y="1196"/>
                </a:lnTo>
                <a:lnTo>
                  <a:pt x="225" y="1193"/>
                </a:lnTo>
                <a:lnTo>
                  <a:pt x="224" y="1193"/>
                </a:lnTo>
                <a:lnTo>
                  <a:pt x="224" y="1194"/>
                </a:lnTo>
                <a:lnTo>
                  <a:pt x="228" y="1198"/>
                </a:lnTo>
                <a:lnTo>
                  <a:pt x="230" y="1202"/>
                </a:lnTo>
                <a:lnTo>
                  <a:pt x="234" y="1203"/>
                </a:lnTo>
                <a:lnTo>
                  <a:pt x="234" y="1206"/>
                </a:lnTo>
                <a:lnTo>
                  <a:pt x="232" y="1209"/>
                </a:lnTo>
                <a:lnTo>
                  <a:pt x="232" y="1210"/>
                </a:lnTo>
                <a:lnTo>
                  <a:pt x="236" y="1213"/>
                </a:lnTo>
                <a:lnTo>
                  <a:pt x="235" y="1215"/>
                </a:lnTo>
                <a:lnTo>
                  <a:pt x="235" y="1216"/>
                </a:lnTo>
                <a:lnTo>
                  <a:pt x="234" y="1217"/>
                </a:lnTo>
                <a:lnTo>
                  <a:pt x="234" y="1218"/>
                </a:lnTo>
                <a:lnTo>
                  <a:pt x="232" y="1218"/>
                </a:lnTo>
                <a:lnTo>
                  <a:pt x="231" y="1217"/>
                </a:lnTo>
                <a:lnTo>
                  <a:pt x="229" y="1217"/>
                </a:lnTo>
                <a:lnTo>
                  <a:pt x="229" y="1221"/>
                </a:lnTo>
                <a:lnTo>
                  <a:pt x="228" y="1222"/>
                </a:lnTo>
                <a:lnTo>
                  <a:pt x="228" y="1225"/>
                </a:lnTo>
                <a:lnTo>
                  <a:pt x="226" y="1228"/>
                </a:lnTo>
                <a:lnTo>
                  <a:pt x="226" y="1233"/>
                </a:lnTo>
                <a:lnTo>
                  <a:pt x="225" y="1231"/>
                </a:lnTo>
                <a:lnTo>
                  <a:pt x="225" y="1235"/>
                </a:lnTo>
                <a:lnTo>
                  <a:pt x="224" y="1230"/>
                </a:lnTo>
                <a:lnTo>
                  <a:pt x="223" y="1230"/>
                </a:lnTo>
                <a:lnTo>
                  <a:pt x="223" y="1235"/>
                </a:lnTo>
                <a:lnTo>
                  <a:pt x="224" y="1236"/>
                </a:lnTo>
                <a:lnTo>
                  <a:pt x="222" y="1239"/>
                </a:lnTo>
                <a:lnTo>
                  <a:pt x="219" y="1239"/>
                </a:lnTo>
                <a:lnTo>
                  <a:pt x="219" y="1237"/>
                </a:lnTo>
                <a:lnTo>
                  <a:pt x="220" y="1236"/>
                </a:lnTo>
                <a:lnTo>
                  <a:pt x="220" y="1235"/>
                </a:lnTo>
                <a:lnTo>
                  <a:pt x="219" y="1236"/>
                </a:lnTo>
                <a:lnTo>
                  <a:pt x="218" y="1236"/>
                </a:lnTo>
                <a:lnTo>
                  <a:pt x="217" y="1237"/>
                </a:lnTo>
                <a:lnTo>
                  <a:pt x="216" y="1237"/>
                </a:lnTo>
                <a:lnTo>
                  <a:pt x="216" y="1236"/>
                </a:lnTo>
                <a:lnTo>
                  <a:pt x="214" y="1236"/>
                </a:lnTo>
                <a:lnTo>
                  <a:pt x="216" y="1240"/>
                </a:lnTo>
                <a:lnTo>
                  <a:pt x="213" y="1242"/>
                </a:lnTo>
                <a:lnTo>
                  <a:pt x="206" y="1242"/>
                </a:lnTo>
                <a:lnTo>
                  <a:pt x="207" y="1241"/>
                </a:lnTo>
                <a:lnTo>
                  <a:pt x="207" y="1239"/>
                </a:lnTo>
                <a:lnTo>
                  <a:pt x="206" y="1237"/>
                </a:lnTo>
                <a:lnTo>
                  <a:pt x="205" y="1235"/>
                </a:lnTo>
                <a:lnTo>
                  <a:pt x="204" y="1235"/>
                </a:lnTo>
                <a:lnTo>
                  <a:pt x="204" y="1236"/>
                </a:lnTo>
                <a:lnTo>
                  <a:pt x="203" y="1234"/>
                </a:lnTo>
                <a:lnTo>
                  <a:pt x="201" y="1234"/>
                </a:lnTo>
                <a:lnTo>
                  <a:pt x="201" y="1231"/>
                </a:lnTo>
                <a:lnTo>
                  <a:pt x="200" y="1231"/>
                </a:lnTo>
                <a:lnTo>
                  <a:pt x="200" y="1235"/>
                </a:lnTo>
                <a:lnTo>
                  <a:pt x="199" y="1234"/>
                </a:lnTo>
                <a:lnTo>
                  <a:pt x="199" y="1230"/>
                </a:lnTo>
                <a:lnTo>
                  <a:pt x="198" y="1230"/>
                </a:lnTo>
                <a:lnTo>
                  <a:pt x="199" y="1229"/>
                </a:lnTo>
                <a:lnTo>
                  <a:pt x="198" y="1228"/>
                </a:lnTo>
                <a:lnTo>
                  <a:pt x="197" y="1229"/>
                </a:lnTo>
                <a:lnTo>
                  <a:pt x="194" y="1229"/>
                </a:lnTo>
                <a:lnTo>
                  <a:pt x="198" y="1233"/>
                </a:lnTo>
                <a:lnTo>
                  <a:pt x="199" y="1235"/>
                </a:lnTo>
                <a:lnTo>
                  <a:pt x="199" y="1236"/>
                </a:lnTo>
                <a:lnTo>
                  <a:pt x="201" y="1236"/>
                </a:lnTo>
                <a:lnTo>
                  <a:pt x="203" y="1237"/>
                </a:lnTo>
                <a:lnTo>
                  <a:pt x="203" y="1240"/>
                </a:lnTo>
                <a:lnTo>
                  <a:pt x="199" y="1240"/>
                </a:lnTo>
                <a:lnTo>
                  <a:pt x="199" y="1241"/>
                </a:lnTo>
                <a:lnTo>
                  <a:pt x="200" y="1241"/>
                </a:lnTo>
                <a:lnTo>
                  <a:pt x="200" y="1242"/>
                </a:lnTo>
                <a:lnTo>
                  <a:pt x="197" y="1243"/>
                </a:lnTo>
                <a:lnTo>
                  <a:pt x="197" y="1245"/>
                </a:lnTo>
                <a:lnTo>
                  <a:pt x="198" y="1245"/>
                </a:lnTo>
                <a:lnTo>
                  <a:pt x="195" y="1246"/>
                </a:lnTo>
                <a:lnTo>
                  <a:pt x="192" y="1245"/>
                </a:lnTo>
                <a:lnTo>
                  <a:pt x="194" y="1247"/>
                </a:lnTo>
                <a:lnTo>
                  <a:pt x="193" y="1248"/>
                </a:lnTo>
                <a:lnTo>
                  <a:pt x="192" y="1247"/>
                </a:lnTo>
                <a:lnTo>
                  <a:pt x="191" y="1247"/>
                </a:lnTo>
                <a:lnTo>
                  <a:pt x="191" y="1248"/>
                </a:lnTo>
                <a:lnTo>
                  <a:pt x="189" y="1248"/>
                </a:lnTo>
                <a:lnTo>
                  <a:pt x="188" y="1247"/>
                </a:lnTo>
                <a:lnTo>
                  <a:pt x="187" y="1248"/>
                </a:lnTo>
                <a:lnTo>
                  <a:pt x="188" y="1248"/>
                </a:lnTo>
                <a:lnTo>
                  <a:pt x="188" y="1249"/>
                </a:lnTo>
                <a:lnTo>
                  <a:pt x="186" y="1251"/>
                </a:lnTo>
                <a:lnTo>
                  <a:pt x="185" y="1251"/>
                </a:lnTo>
                <a:lnTo>
                  <a:pt x="185" y="1248"/>
                </a:lnTo>
                <a:lnTo>
                  <a:pt x="184" y="1249"/>
                </a:lnTo>
                <a:lnTo>
                  <a:pt x="184" y="1253"/>
                </a:lnTo>
                <a:lnTo>
                  <a:pt x="185" y="1253"/>
                </a:lnTo>
                <a:lnTo>
                  <a:pt x="187" y="1252"/>
                </a:lnTo>
                <a:lnTo>
                  <a:pt x="189" y="1252"/>
                </a:lnTo>
                <a:lnTo>
                  <a:pt x="191" y="1253"/>
                </a:lnTo>
                <a:lnTo>
                  <a:pt x="187" y="1256"/>
                </a:lnTo>
                <a:lnTo>
                  <a:pt x="188" y="1255"/>
                </a:lnTo>
                <a:lnTo>
                  <a:pt x="189" y="1255"/>
                </a:lnTo>
                <a:lnTo>
                  <a:pt x="189" y="1256"/>
                </a:lnTo>
                <a:lnTo>
                  <a:pt x="188" y="1256"/>
                </a:lnTo>
                <a:lnTo>
                  <a:pt x="187" y="1258"/>
                </a:lnTo>
                <a:lnTo>
                  <a:pt x="186" y="1258"/>
                </a:lnTo>
                <a:lnTo>
                  <a:pt x="186" y="1259"/>
                </a:lnTo>
                <a:lnTo>
                  <a:pt x="185" y="1260"/>
                </a:lnTo>
                <a:lnTo>
                  <a:pt x="182" y="1261"/>
                </a:lnTo>
                <a:lnTo>
                  <a:pt x="179" y="1260"/>
                </a:lnTo>
                <a:lnTo>
                  <a:pt x="175" y="1260"/>
                </a:lnTo>
                <a:lnTo>
                  <a:pt x="174" y="1261"/>
                </a:lnTo>
                <a:lnTo>
                  <a:pt x="178" y="1262"/>
                </a:lnTo>
                <a:lnTo>
                  <a:pt x="179" y="1262"/>
                </a:lnTo>
                <a:lnTo>
                  <a:pt x="176" y="1261"/>
                </a:lnTo>
                <a:lnTo>
                  <a:pt x="176" y="1260"/>
                </a:lnTo>
                <a:lnTo>
                  <a:pt x="179" y="1260"/>
                </a:lnTo>
                <a:lnTo>
                  <a:pt x="181" y="1261"/>
                </a:lnTo>
                <a:lnTo>
                  <a:pt x="181" y="1264"/>
                </a:lnTo>
                <a:lnTo>
                  <a:pt x="180" y="1264"/>
                </a:lnTo>
                <a:lnTo>
                  <a:pt x="175" y="1265"/>
                </a:lnTo>
                <a:lnTo>
                  <a:pt x="180" y="1265"/>
                </a:lnTo>
                <a:lnTo>
                  <a:pt x="180" y="1266"/>
                </a:lnTo>
                <a:lnTo>
                  <a:pt x="175" y="1271"/>
                </a:lnTo>
                <a:lnTo>
                  <a:pt x="173" y="1272"/>
                </a:lnTo>
                <a:lnTo>
                  <a:pt x="169" y="1272"/>
                </a:lnTo>
                <a:lnTo>
                  <a:pt x="168" y="1271"/>
                </a:lnTo>
                <a:lnTo>
                  <a:pt x="168" y="1272"/>
                </a:lnTo>
                <a:lnTo>
                  <a:pt x="169" y="1273"/>
                </a:lnTo>
                <a:lnTo>
                  <a:pt x="169" y="1279"/>
                </a:lnTo>
                <a:lnTo>
                  <a:pt x="168" y="1279"/>
                </a:lnTo>
                <a:lnTo>
                  <a:pt x="166" y="1283"/>
                </a:lnTo>
                <a:lnTo>
                  <a:pt x="164" y="1284"/>
                </a:lnTo>
                <a:lnTo>
                  <a:pt x="163" y="1284"/>
                </a:lnTo>
                <a:lnTo>
                  <a:pt x="162" y="1285"/>
                </a:lnTo>
                <a:lnTo>
                  <a:pt x="161" y="1285"/>
                </a:lnTo>
                <a:lnTo>
                  <a:pt x="161" y="1288"/>
                </a:lnTo>
                <a:lnTo>
                  <a:pt x="160" y="1289"/>
                </a:lnTo>
                <a:lnTo>
                  <a:pt x="160" y="1290"/>
                </a:lnTo>
                <a:lnTo>
                  <a:pt x="157" y="1290"/>
                </a:lnTo>
                <a:lnTo>
                  <a:pt x="156" y="1291"/>
                </a:lnTo>
                <a:lnTo>
                  <a:pt x="156" y="1292"/>
                </a:lnTo>
                <a:lnTo>
                  <a:pt x="155" y="1294"/>
                </a:lnTo>
                <a:lnTo>
                  <a:pt x="154" y="1294"/>
                </a:lnTo>
                <a:lnTo>
                  <a:pt x="154" y="1292"/>
                </a:lnTo>
                <a:lnTo>
                  <a:pt x="153" y="1295"/>
                </a:lnTo>
                <a:lnTo>
                  <a:pt x="151" y="1296"/>
                </a:lnTo>
                <a:lnTo>
                  <a:pt x="151" y="1298"/>
                </a:lnTo>
                <a:lnTo>
                  <a:pt x="150" y="1299"/>
                </a:lnTo>
                <a:lnTo>
                  <a:pt x="149" y="1298"/>
                </a:lnTo>
                <a:lnTo>
                  <a:pt x="148" y="1299"/>
                </a:lnTo>
                <a:lnTo>
                  <a:pt x="148" y="1298"/>
                </a:lnTo>
                <a:lnTo>
                  <a:pt x="147" y="1298"/>
                </a:lnTo>
                <a:lnTo>
                  <a:pt x="147" y="1301"/>
                </a:lnTo>
                <a:lnTo>
                  <a:pt x="144" y="1301"/>
                </a:lnTo>
                <a:lnTo>
                  <a:pt x="142" y="1303"/>
                </a:lnTo>
                <a:lnTo>
                  <a:pt x="141" y="1303"/>
                </a:lnTo>
                <a:lnTo>
                  <a:pt x="141" y="1305"/>
                </a:lnTo>
                <a:lnTo>
                  <a:pt x="139" y="1307"/>
                </a:lnTo>
                <a:lnTo>
                  <a:pt x="139" y="1309"/>
                </a:lnTo>
                <a:lnTo>
                  <a:pt x="138" y="1310"/>
                </a:lnTo>
                <a:lnTo>
                  <a:pt x="137" y="1309"/>
                </a:lnTo>
                <a:lnTo>
                  <a:pt x="137" y="1308"/>
                </a:lnTo>
                <a:lnTo>
                  <a:pt x="136" y="1308"/>
                </a:lnTo>
                <a:lnTo>
                  <a:pt x="135" y="1310"/>
                </a:lnTo>
                <a:lnTo>
                  <a:pt x="135" y="1311"/>
                </a:lnTo>
                <a:lnTo>
                  <a:pt x="132" y="1311"/>
                </a:lnTo>
                <a:lnTo>
                  <a:pt x="132" y="1310"/>
                </a:lnTo>
                <a:lnTo>
                  <a:pt x="131" y="1310"/>
                </a:lnTo>
                <a:lnTo>
                  <a:pt x="131" y="1309"/>
                </a:lnTo>
                <a:lnTo>
                  <a:pt x="132" y="1308"/>
                </a:lnTo>
                <a:lnTo>
                  <a:pt x="132" y="1305"/>
                </a:lnTo>
                <a:lnTo>
                  <a:pt x="131" y="1303"/>
                </a:lnTo>
                <a:lnTo>
                  <a:pt x="131" y="1302"/>
                </a:lnTo>
                <a:lnTo>
                  <a:pt x="130" y="1302"/>
                </a:lnTo>
                <a:lnTo>
                  <a:pt x="130" y="1303"/>
                </a:lnTo>
                <a:lnTo>
                  <a:pt x="131" y="1305"/>
                </a:lnTo>
                <a:lnTo>
                  <a:pt x="130" y="1307"/>
                </a:lnTo>
                <a:lnTo>
                  <a:pt x="130" y="1308"/>
                </a:lnTo>
                <a:lnTo>
                  <a:pt x="126" y="1311"/>
                </a:lnTo>
                <a:lnTo>
                  <a:pt x="127" y="1313"/>
                </a:lnTo>
                <a:lnTo>
                  <a:pt x="126" y="1314"/>
                </a:lnTo>
                <a:lnTo>
                  <a:pt x="119" y="1314"/>
                </a:lnTo>
                <a:lnTo>
                  <a:pt x="118" y="1315"/>
                </a:lnTo>
                <a:lnTo>
                  <a:pt x="114" y="1315"/>
                </a:lnTo>
                <a:lnTo>
                  <a:pt x="116" y="1316"/>
                </a:lnTo>
                <a:lnTo>
                  <a:pt x="114" y="1316"/>
                </a:lnTo>
                <a:lnTo>
                  <a:pt x="113" y="1315"/>
                </a:lnTo>
                <a:lnTo>
                  <a:pt x="114" y="1317"/>
                </a:lnTo>
                <a:lnTo>
                  <a:pt x="113" y="1319"/>
                </a:lnTo>
                <a:lnTo>
                  <a:pt x="112" y="1317"/>
                </a:lnTo>
                <a:lnTo>
                  <a:pt x="112" y="1319"/>
                </a:lnTo>
                <a:lnTo>
                  <a:pt x="104" y="1319"/>
                </a:lnTo>
                <a:lnTo>
                  <a:pt x="99" y="1317"/>
                </a:lnTo>
                <a:lnTo>
                  <a:pt x="98" y="1316"/>
                </a:lnTo>
                <a:lnTo>
                  <a:pt x="98" y="1315"/>
                </a:lnTo>
                <a:lnTo>
                  <a:pt x="95" y="1316"/>
                </a:lnTo>
                <a:lnTo>
                  <a:pt x="94" y="1317"/>
                </a:lnTo>
                <a:lnTo>
                  <a:pt x="94" y="1316"/>
                </a:lnTo>
                <a:lnTo>
                  <a:pt x="91" y="1317"/>
                </a:lnTo>
                <a:lnTo>
                  <a:pt x="91" y="1320"/>
                </a:lnTo>
                <a:lnTo>
                  <a:pt x="87" y="1320"/>
                </a:lnTo>
                <a:lnTo>
                  <a:pt x="87" y="1317"/>
                </a:lnTo>
                <a:lnTo>
                  <a:pt x="89" y="1315"/>
                </a:lnTo>
                <a:lnTo>
                  <a:pt x="91" y="1315"/>
                </a:lnTo>
                <a:lnTo>
                  <a:pt x="91" y="1314"/>
                </a:lnTo>
                <a:lnTo>
                  <a:pt x="92" y="1314"/>
                </a:lnTo>
                <a:lnTo>
                  <a:pt x="92" y="1315"/>
                </a:lnTo>
                <a:lnTo>
                  <a:pt x="93" y="1315"/>
                </a:lnTo>
                <a:lnTo>
                  <a:pt x="93" y="1311"/>
                </a:lnTo>
                <a:lnTo>
                  <a:pt x="91" y="1314"/>
                </a:lnTo>
                <a:lnTo>
                  <a:pt x="89" y="1314"/>
                </a:lnTo>
                <a:lnTo>
                  <a:pt x="88" y="1315"/>
                </a:lnTo>
                <a:lnTo>
                  <a:pt x="86" y="1316"/>
                </a:lnTo>
                <a:lnTo>
                  <a:pt x="85" y="1316"/>
                </a:lnTo>
                <a:lnTo>
                  <a:pt x="86" y="1315"/>
                </a:lnTo>
                <a:lnTo>
                  <a:pt x="87" y="1313"/>
                </a:lnTo>
                <a:lnTo>
                  <a:pt x="87" y="1311"/>
                </a:lnTo>
                <a:lnTo>
                  <a:pt x="85" y="1315"/>
                </a:lnTo>
                <a:lnTo>
                  <a:pt x="83" y="1315"/>
                </a:lnTo>
                <a:lnTo>
                  <a:pt x="83" y="1313"/>
                </a:lnTo>
                <a:lnTo>
                  <a:pt x="82" y="1313"/>
                </a:lnTo>
                <a:lnTo>
                  <a:pt x="82" y="1314"/>
                </a:lnTo>
                <a:lnTo>
                  <a:pt x="81" y="1314"/>
                </a:lnTo>
                <a:lnTo>
                  <a:pt x="79" y="1311"/>
                </a:lnTo>
                <a:lnTo>
                  <a:pt x="81" y="1310"/>
                </a:lnTo>
                <a:lnTo>
                  <a:pt x="86" y="1310"/>
                </a:lnTo>
                <a:lnTo>
                  <a:pt x="87" y="1309"/>
                </a:lnTo>
                <a:lnTo>
                  <a:pt x="82" y="1309"/>
                </a:lnTo>
                <a:lnTo>
                  <a:pt x="79" y="1305"/>
                </a:lnTo>
                <a:lnTo>
                  <a:pt x="77" y="1305"/>
                </a:lnTo>
                <a:lnTo>
                  <a:pt x="80" y="1309"/>
                </a:lnTo>
                <a:lnTo>
                  <a:pt x="79" y="1310"/>
                </a:lnTo>
                <a:lnTo>
                  <a:pt x="76" y="1310"/>
                </a:lnTo>
                <a:lnTo>
                  <a:pt x="75" y="1309"/>
                </a:lnTo>
                <a:lnTo>
                  <a:pt x="76" y="1308"/>
                </a:lnTo>
                <a:lnTo>
                  <a:pt x="76" y="1307"/>
                </a:lnTo>
                <a:lnTo>
                  <a:pt x="75" y="1305"/>
                </a:lnTo>
                <a:lnTo>
                  <a:pt x="75" y="1309"/>
                </a:lnTo>
                <a:lnTo>
                  <a:pt x="74" y="1310"/>
                </a:lnTo>
                <a:lnTo>
                  <a:pt x="75" y="1310"/>
                </a:lnTo>
                <a:lnTo>
                  <a:pt x="75" y="1311"/>
                </a:lnTo>
                <a:lnTo>
                  <a:pt x="76" y="1313"/>
                </a:lnTo>
                <a:lnTo>
                  <a:pt x="77" y="1313"/>
                </a:lnTo>
                <a:lnTo>
                  <a:pt x="77" y="1314"/>
                </a:lnTo>
                <a:lnTo>
                  <a:pt x="79" y="1314"/>
                </a:lnTo>
                <a:lnTo>
                  <a:pt x="79" y="1315"/>
                </a:lnTo>
                <a:lnTo>
                  <a:pt x="75" y="1315"/>
                </a:lnTo>
                <a:lnTo>
                  <a:pt x="71" y="1314"/>
                </a:lnTo>
                <a:lnTo>
                  <a:pt x="70" y="1314"/>
                </a:lnTo>
                <a:lnTo>
                  <a:pt x="68" y="1311"/>
                </a:lnTo>
                <a:lnTo>
                  <a:pt x="68" y="1310"/>
                </a:lnTo>
                <a:lnTo>
                  <a:pt x="69" y="1309"/>
                </a:lnTo>
                <a:lnTo>
                  <a:pt x="69" y="1308"/>
                </a:lnTo>
                <a:lnTo>
                  <a:pt x="70" y="1307"/>
                </a:lnTo>
                <a:lnTo>
                  <a:pt x="70" y="1305"/>
                </a:lnTo>
                <a:lnTo>
                  <a:pt x="74" y="1305"/>
                </a:lnTo>
                <a:lnTo>
                  <a:pt x="73" y="1304"/>
                </a:lnTo>
                <a:lnTo>
                  <a:pt x="74" y="1303"/>
                </a:lnTo>
                <a:lnTo>
                  <a:pt x="76" y="1302"/>
                </a:lnTo>
                <a:lnTo>
                  <a:pt x="77" y="1301"/>
                </a:lnTo>
                <a:lnTo>
                  <a:pt x="81" y="1298"/>
                </a:lnTo>
                <a:lnTo>
                  <a:pt x="79" y="1298"/>
                </a:lnTo>
                <a:lnTo>
                  <a:pt x="75" y="1302"/>
                </a:lnTo>
                <a:lnTo>
                  <a:pt x="74" y="1302"/>
                </a:lnTo>
                <a:lnTo>
                  <a:pt x="71" y="1298"/>
                </a:lnTo>
                <a:lnTo>
                  <a:pt x="73" y="1296"/>
                </a:lnTo>
                <a:lnTo>
                  <a:pt x="74" y="1296"/>
                </a:lnTo>
                <a:lnTo>
                  <a:pt x="75" y="1295"/>
                </a:lnTo>
                <a:lnTo>
                  <a:pt x="74" y="1294"/>
                </a:lnTo>
                <a:lnTo>
                  <a:pt x="73" y="1294"/>
                </a:lnTo>
                <a:lnTo>
                  <a:pt x="73" y="1295"/>
                </a:lnTo>
                <a:lnTo>
                  <a:pt x="71" y="1295"/>
                </a:lnTo>
                <a:lnTo>
                  <a:pt x="71" y="1301"/>
                </a:lnTo>
                <a:lnTo>
                  <a:pt x="69" y="1301"/>
                </a:lnTo>
                <a:lnTo>
                  <a:pt x="67" y="1298"/>
                </a:lnTo>
                <a:lnTo>
                  <a:pt x="62" y="1298"/>
                </a:lnTo>
                <a:lnTo>
                  <a:pt x="60" y="1297"/>
                </a:lnTo>
                <a:lnTo>
                  <a:pt x="57" y="1295"/>
                </a:lnTo>
                <a:lnTo>
                  <a:pt x="56" y="1295"/>
                </a:lnTo>
                <a:lnTo>
                  <a:pt x="55" y="1294"/>
                </a:lnTo>
                <a:lnTo>
                  <a:pt x="54" y="1294"/>
                </a:lnTo>
                <a:lnTo>
                  <a:pt x="49" y="1291"/>
                </a:lnTo>
                <a:lnTo>
                  <a:pt x="46" y="1289"/>
                </a:lnTo>
                <a:lnTo>
                  <a:pt x="45" y="1289"/>
                </a:lnTo>
                <a:lnTo>
                  <a:pt x="44" y="1288"/>
                </a:lnTo>
                <a:lnTo>
                  <a:pt x="44" y="1283"/>
                </a:lnTo>
                <a:lnTo>
                  <a:pt x="43" y="1282"/>
                </a:lnTo>
                <a:lnTo>
                  <a:pt x="38" y="1282"/>
                </a:lnTo>
                <a:lnTo>
                  <a:pt x="37" y="1280"/>
                </a:lnTo>
                <a:lnTo>
                  <a:pt x="36" y="1278"/>
                </a:lnTo>
                <a:lnTo>
                  <a:pt x="32" y="1278"/>
                </a:lnTo>
                <a:lnTo>
                  <a:pt x="30" y="1276"/>
                </a:lnTo>
                <a:lnTo>
                  <a:pt x="31" y="1274"/>
                </a:lnTo>
                <a:lnTo>
                  <a:pt x="29" y="1272"/>
                </a:lnTo>
                <a:lnTo>
                  <a:pt x="27" y="1270"/>
                </a:lnTo>
                <a:lnTo>
                  <a:pt x="26" y="1266"/>
                </a:lnTo>
                <a:lnTo>
                  <a:pt x="25" y="1264"/>
                </a:lnTo>
                <a:lnTo>
                  <a:pt x="25" y="1262"/>
                </a:lnTo>
                <a:lnTo>
                  <a:pt x="24" y="1261"/>
                </a:lnTo>
                <a:lnTo>
                  <a:pt x="23" y="1259"/>
                </a:lnTo>
                <a:lnTo>
                  <a:pt x="25" y="1256"/>
                </a:lnTo>
                <a:lnTo>
                  <a:pt x="25" y="1255"/>
                </a:lnTo>
                <a:lnTo>
                  <a:pt x="26" y="1254"/>
                </a:lnTo>
                <a:lnTo>
                  <a:pt x="26" y="1253"/>
                </a:lnTo>
                <a:lnTo>
                  <a:pt x="25" y="1251"/>
                </a:lnTo>
                <a:lnTo>
                  <a:pt x="25" y="1249"/>
                </a:lnTo>
                <a:lnTo>
                  <a:pt x="26" y="1249"/>
                </a:lnTo>
                <a:lnTo>
                  <a:pt x="26" y="1248"/>
                </a:lnTo>
                <a:lnTo>
                  <a:pt x="27" y="1248"/>
                </a:lnTo>
                <a:lnTo>
                  <a:pt x="27" y="1247"/>
                </a:lnTo>
                <a:lnTo>
                  <a:pt x="26" y="1247"/>
                </a:lnTo>
                <a:lnTo>
                  <a:pt x="26" y="1245"/>
                </a:lnTo>
                <a:lnTo>
                  <a:pt x="25" y="1243"/>
                </a:lnTo>
                <a:lnTo>
                  <a:pt x="25" y="1242"/>
                </a:lnTo>
                <a:lnTo>
                  <a:pt x="26" y="1242"/>
                </a:lnTo>
                <a:lnTo>
                  <a:pt x="26" y="1243"/>
                </a:lnTo>
                <a:lnTo>
                  <a:pt x="27" y="1243"/>
                </a:lnTo>
                <a:lnTo>
                  <a:pt x="29" y="1246"/>
                </a:lnTo>
                <a:lnTo>
                  <a:pt x="29" y="1247"/>
                </a:lnTo>
                <a:lnTo>
                  <a:pt x="30" y="1245"/>
                </a:lnTo>
                <a:lnTo>
                  <a:pt x="29" y="1245"/>
                </a:lnTo>
                <a:lnTo>
                  <a:pt x="27" y="1243"/>
                </a:lnTo>
                <a:lnTo>
                  <a:pt x="26" y="1241"/>
                </a:lnTo>
                <a:lnTo>
                  <a:pt x="27" y="1241"/>
                </a:lnTo>
                <a:lnTo>
                  <a:pt x="27" y="1240"/>
                </a:lnTo>
                <a:lnTo>
                  <a:pt x="25" y="1240"/>
                </a:lnTo>
                <a:lnTo>
                  <a:pt x="25" y="1239"/>
                </a:lnTo>
                <a:lnTo>
                  <a:pt x="26" y="1239"/>
                </a:lnTo>
                <a:lnTo>
                  <a:pt x="26" y="1236"/>
                </a:lnTo>
                <a:lnTo>
                  <a:pt x="33" y="1241"/>
                </a:lnTo>
                <a:lnTo>
                  <a:pt x="32" y="1243"/>
                </a:lnTo>
                <a:lnTo>
                  <a:pt x="32" y="1248"/>
                </a:lnTo>
                <a:lnTo>
                  <a:pt x="33" y="1249"/>
                </a:lnTo>
                <a:lnTo>
                  <a:pt x="33" y="1245"/>
                </a:lnTo>
                <a:lnTo>
                  <a:pt x="37" y="1245"/>
                </a:lnTo>
                <a:lnTo>
                  <a:pt x="37" y="1242"/>
                </a:lnTo>
                <a:lnTo>
                  <a:pt x="40" y="1242"/>
                </a:lnTo>
                <a:lnTo>
                  <a:pt x="43" y="1245"/>
                </a:lnTo>
                <a:lnTo>
                  <a:pt x="43" y="1246"/>
                </a:lnTo>
                <a:lnTo>
                  <a:pt x="49" y="1252"/>
                </a:lnTo>
                <a:lnTo>
                  <a:pt x="54" y="1252"/>
                </a:lnTo>
                <a:lnTo>
                  <a:pt x="50" y="1251"/>
                </a:lnTo>
                <a:lnTo>
                  <a:pt x="49" y="1251"/>
                </a:lnTo>
                <a:lnTo>
                  <a:pt x="49" y="1249"/>
                </a:lnTo>
                <a:lnTo>
                  <a:pt x="48" y="1248"/>
                </a:lnTo>
                <a:lnTo>
                  <a:pt x="48" y="1246"/>
                </a:lnTo>
                <a:lnTo>
                  <a:pt x="50" y="1243"/>
                </a:lnTo>
                <a:lnTo>
                  <a:pt x="50" y="1242"/>
                </a:lnTo>
                <a:lnTo>
                  <a:pt x="54" y="1240"/>
                </a:lnTo>
                <a:lnTo>
                  <a:pt x="71" y="1235"/>
                </a:lnTo>
                <a:lnTo>
                  <a:pt x="71" y="1234"/>
                </a:lnTo>
                <a:lnTo>
                  <a:pt x="60" y="1236"/>
                </a:lnTo>
                <a:lnTo>
                  <a:pt x="57" y="1237"/>
                </a:lnTo>
                <a:lnTo>
                  <a:pt x="52" y="1239"/>
                </a:lnTo>
                <a:lnTo>
                  <a:pt x="50" y="1240"/>
                </a:lnTo>
                <a:lnTo>
                  <a:pt x="46" y="1247"/>
                </a:lnTo>
                <a:lnTo>
                  <a:pt x="44" y="1243"/>
                </a:lnTo>
                <a:lnTo>
                  <a:pt x="44" y="1240"/>
                </a:lnTo>
                <a:lnTo>
                  <a:pt x="46" y="1240"/>
                </a:lnTo>
                <a:lnTo>
                  <a:pt x="48" y="1239"/>
                </a:lnTo>
                <a:lnTo>
                  <a:pt x="46" y="1239"/>
                </a:lnTo>
                <a:lnTo>
                  <a:pt x="46" y="1237"/>
                </a:lnTo>
                <a:lnTo>
                  <a:pt x="43" y="1237"/>
                </a:lnTo>
                <a:lnTo>
                  <a:pt x="39" y="1234"/>
                </a:lnTo>
                <a:lnTo>
                  <a:pt x="39" y="1231"/>
                </a:lnTo>
                <a:lnTo>
                  <a:pt x="40" y="1230"/>
                </a:lnTo>
                <a:lnTo>
                  <a:pt x="42" y="1230"/>
                </a:lnTo>
                <a:lnTo>
                  <a:pt x="46" y="1229"/>
                </a:lnTo>
                <a:lnTo>
                  <a:pt x="48" y="1228"/>
                </a:lnTo>
                <a:lnTo>
                  <a:pt x="50" y="1228"/>
                </a:lnTo>
                <a:lnTo>
                  <a:pt x="50" y="1227"/>
                </a:lnTo>
                <a:lnTo>
                  <a:pt x="45" y="1227"/>
                </a:lnTo>
                <a:lnTo>
                  <a:pt x="48" y="1222"/>
                </a:lnTo>
                <a:lnTo>
                  <a:pt x="52" y="1217"/>
                </a:lnTo>
                <a:lnTo>
                  <a:pt x="56" y="1216"/>
                </a:lnTo>
                <a:lnTo>
                  <a:pt x="58" y="1213"/>
                </a:lnTo>
                <a:lnTo>
                  <a:pt x="61" y="1212"/>
                </a:lnTo>
                <a:lnTo>
                  <a:pt x="58" y="1212"/>
                </a:lnTo>
                <a:lnTo>
                  <a:pt x="54" y="1216"/>
                </a:lnTo>
                <a:lnTo>
                  <a:pt x="51" y="1217"/>
                </a:lnTo>
                <a:lnTo>
                  <a:pt x="50" y="1216"/>
                </a:lnTo>
                <a:lnTo>
                  <a:pt x="49" y="1213"/>
                </a:lnTo>
                <a:lnTo>
                  <a:pt x="55" y="1213"/>
                </a:lnTo>
                <a:lnTo>
                  <a:pt x="55" y="1212"/>
                </a:lnTo>
                <a:lnTo>
                  <a:pt x="54" y="1211"/>
                </a:lnTo>
                <a:lnTo>
                  <a:pt x="54" y="1212"/>
                </a:lnTo>
                <a:lnTo>
                  <a:pt x="52" y="1212"/>
                </a:lnTo>
                <a:lnTo>
                  <a:pt x="51" y="1211"/>
                </a:lnTo>
                <a:lnTo>
                  <a:pt x="50" y="1212"/>
                </a:lnTo>
                <a:lnTo>
                  <a:pt x="49" y="1212"/>
                </a:lnTo>
                <a:lnTo>
                  <a:pt x="48" y="1211"/>
                </a:lnTo>
                <a:lnTo>
                  <a:pt x="46" y="1212"/>
                </a:lnTo>
                <a:lnTo>
                  <a:pt x="45" y="1212"/>
                </a:lnTo>
                <a:lnTo>
                  <a:pt x="45" y="1210"/>
                </a:lnTo>
                <a:lnTo>
                  <a:pt x="46" y="1209"/>
                </a:lnTo>
                <a:lnTo>
                  <a:pt x="46" y="1208"/>
                </a:lnTo>
                <a:lnTo>
                  <a:pt x="48" y="1206"/>
                </a:lnTo>
                <a:lnTo>
                  <a:pt x="49" y="1206"/>
                </a:lnTo>
                <a:lnTo>
                  <a:pt x="52" y="1203"/>
                </a:lnTo>
                <a:lnTo>
                  <a:pt x="54" y="1204"/>
                </a:lnTo>
                <a:lnTo>
                  <a:pt x="54" y="1202"/>
                </a:lnTo>
                <a:lnTo>
                  <a:pt x="55" y="1200"/>
                </a:lnTo>
                <a:lnTo>
                  <a:pt x="55" y="1197"/>
                </a:lnTo>
                <a:lnTo>
                  <a:pt x="63" y="1193"/>
                </a:lnTo>
                <a:lnTo>
                  <a:pt x="68" y="1193"/>
                </a:lnTo>
                <a:lnTo>
                  <a:pt x="67" y="1192"/>
                </a:lnTo>
                <a:lnTo>
                  <a:pt x="60" y="1193"/>
                </a:lnTo>
                <a:lnTo>
                  <a:pt x="56" y="1196"/>
                </a:lnTo>
                <a:lnTo>
                  <a:pt x="55" y="1196"/>
                </a:lnTo>
                <a:lnTo>
                  <a:pt x="56" y="1194"/>
                </a:lnTo>
                <a:lnTo>
                  <a:pt x="56" y="1193"/>
                </a:lnTo>
                <a:lnTo>
                  <a:pt x="57" y="1192"/>
                </a:lnTo>
                <a:lnTo>
                  <a:pt x="57" y="1186"/>
                </a:lnTo>
                <a:lnTo>
                  <a:pt x="58" y="1185"/>
                </a:lnTo>
                <a:lnTo>
                  <a:pt x="57" y="1185"/>
                </a:lnTo>
                <a:lnTo>
                  <a:pt x="56" y="1187"/>
                </a:lnTo>
                <a:lnTo>
                  <a:pt x="56" y="1192"/>
                </a:lnTo>
                <a:lnTo>
                  <a:pt x="55" y="1193"/>
                </a:lnTo>
                <a:lnTo>
                  <a:pt x="55" y="1196"/>
                </a:lnTo>
                <a:lnTo>
                  <a:pt x="54" y="1197"/>
                </a:lnTo>
                <a:lnTo>
                  <a:pt x="52" y="1200"/>
                </a:lnTo>
                <a:lnTo>
                  <a:pt x="51" y="1202"/>
                </a:lnTo>
                <a:lnTo>
                  <a:pt x="49" y="1203"/>
                </a:lnTo>
                <a:lnTo>
                  <a:pt x="49" y="1204"/>
                </a:lnTo>
                <a:lnTo>
                  <a:pt x="46" y="1205"/>
                </a:lnTo>
                <a:lnTo>
                  <a:pt x="46" y="1206"/>
                </a:lnTo>
                <a:lnTo>
                  <a:pt x="45" y="1205"/>
                </a:lnTo>
                <a:lnTo>
                  <a:pt x="45" y="1204"/>
                </a:lnTo>
                <a:lnTo>
                  <a:pt x="44" y="1204"/>
                </a:lnTo>
                <a:lnTo>
                  <a:pt x="44" y="1206"/>
                </a:lnTo>
                <a:lnTo>
                  <a:pt x="45" y="1206"/>
                </a:lnTo>
                <a:lnTo>
                  <a:pt x="45" y="1208"/>
                </a:lnTo>
                <a:lnTo>
                  <a:pt x="43" y="1210"/>
                </a:lnTo>
                <a:lnTo>
                  <a:pt x="42" y="1210"/>
                </a:lnTo>
                <a:lnTo>
                  <a:pt x="42" y="1208"/>
                </a:lnTo>
                <a:lnTo>
                  <a:pt x="40" y="1208"/>
                </a:lnTo>
                <a:lnTo>
                  <a:pt x="40" y="1202"/>
                </a:lnTo>
                <a:lnTo>
                  <a:pt x="42" y="1203"/>
                </a:lnTo>
                <a:lnTo>
                  <a:pt x="51" y="1199"/>
                </a:lnTo>
                <a:lnTo>
                  <a:pt x="51" y="1198"/>
                </a:lnTo>
                <a:lnTo>
                  <a:pt x="50" y="1198"/>
                </a:lnTo>
                <a:lnTo>
                  <a:pt x="48" y="1199"/>
                </a:lnTo>
                <a:lnTo>
                  <a:pt x="46" y="1200"/>
                </a:lnTo>
                <a:lnTo>
                  <a:pt x="40" y="1199"/>
                </a:lnTo>
                <a:lnTo>
                  <a:pt x="39" y="1199"/>
                </a:lnTo>
                <a:lnTo>
                  <a:pt x="39" y="1197"/>
                </a:lnTo>
                <a:lnTo>
                  <a:pt x="38" y="1197"/>
                </a:lnTo>
                <a:lnTo>
                  <a:pt x="38" y="1194"/>
                </a:lnTo>
                <a:lnTo>
                  <a:pt x="37" y="1194"/>
                </a:lnTo>
                <a:lnTo>
                  <a:pt x="36" y="1196"/>
                </a:lnTo>
                <a:lnTo>
                  <a:pt x="37" y="1198"/>
                </a:lnTo>
                <a:lnTo>
                  <a:pt x="37" y="1200"/>
                </a:lnTo>
                <a:lnTo>
                  <a:pt x="35" y="1203"/>
                </a:lnTo>
                <a:lnTo>
                  <a:pt x="33" y="1202"/>
                </a:lnTo>
                <a:lnTo>
                  <a:pt x="33" y="1203"/>
                </a:lnTo>
                <a:lnTo>
                  <a:pt x="32" y="1204"/>
                </a:lnTo>
                <a:lnTo>
                  <a:pt x="30" y="1205"/>
                </a:lnTo>
                <a:lnTo>
                  <a:pt x="31" y="1205"/>
                </a:lnTo>
                <a:lnTo>
                  <a:pt x="33" y="1204"/>
                </a:lnTo>
                <a:lnTo>
                  <a:pt x="37" y="1204"/>
                </a:lnTo>
                <a:lnTo>
                  <a:pt x="39" y="1208"/>
                </a:lnTo>
                <a:lnTo>
                  <a:pt x="39" y="1210"/>
                </a:lnTo>
                <a:lnTo>
                  <a:pt x="38" y="1210"/>
                </a:lnTo>
                <a:lnTo>
                  <a:pt x="36" y="1211"/>
                </a:lnTo>
                <a:lnTo>
                  <a:pt x="35" y="1210"/>
                </a:lnTo>
                <a:lnTo>
                  <a:pt x="35" y="1211"/>
                </a:lnTo>
                <a:lnTo>
                  <a:pt x="32" y="1211"/>
                </a:lnTo>
                <a:lnTo>
                  <a:pt x="32" y="1213"/>
                </a:lnTo>
                <a:lnTo>
                  <a:pt x="31" y="1213"/>
                </a:lnTo>
                <a:lnTo>
                  <a:pt x="30" y="1215"/>
                </a:lnTo>
                <a:lnTo>
                  <a:pt x="29" y="1215"/>
                </a:lnTo>
                <a:lnTo>
                  <a:pt x="29" y="1213"/>
                </a:lnTo>
                <a:lnTo>
                  <a:pt x="30" y="1212"/>
                </a:lnTo>
                <a:lnTo>
                  <a:pt x="30" y="1210"/>
                </a:lnTo>
                <a:lnTo>
                  <a:pt x="29" y="1206"/>
                </a:lnTo>
                <a:lnTo>
                  <a:pt x="27" y="1205"/>
                </a:lnTo>
                <a:lnTo>
                  <a:pt x="27" y="1213"/>
                </a:lnTo>
                <a:lnTo>
                  <a:pt x="25" y="1216"/>
                </a:lnTo>
                <a:lnTo>
                  <a:pt x="23" y="1216"/>
                </a:lnTo>
                <a:lnTo>
                  <a:pt x="23" y="1215"/>
                </a:lnTo>
                <a:lnTo>
                  <a:pt x="20" y="1212"/>
                </a:lnTo>
                <a:lnTo>
                  <a:pt x="21" y="1210"/>
                </a:lnTo>
                <a:lnTo>
                  <a:pt x="21" y="1205"/>
                </a:lnTo>
                <a:lnTo>
                  <a:pt x="20" y="1206"/>
                </a:lnTo>
                <a:lnTo>
                  <a:pt x="20" y="1215"/>
                </a:lnTo>
                <a:lnTo>
                  <a:pt x="19" y="1215"/>
                </a:lnTo>
                <a:lnTo>
                  <a:pt x="19" y="1212"/>
                </a:lnTo>
                <a:lnTo>
                  <a:pt x="18" y="1211"/>
                </a:lnTo>
                <a:lnTo>
                  <a:pt x="18" y="1205"/>
                </a:lnTo>
                <a:lnTo>
                  <a:pt x="17" y="1205"/>
                </a:lnTo>
                <a:lnTo>
                  <a:pt x="17" y="1210"/>
                </a:lnTo>
                <a:lnTo>
                  <a:pt x="15" y="1211"/>
                </a:lnTo>
                <a:lnTo>
                  <a:pt x="13" y="1204"/>
                </a:lnTo>
                <a:lnTo>
                  <a:pt x="12" y="1204"/>
                </a:lnTo>
                <a:lnTo>
                  <a:pt x="11" y="1203"/>
                </a:lnTo>
                <a:lnTo>
                  <a:pt x="11" y="1197"/>
                </a:lnTo>
                <a:lnTo>
                  <a:pt x="12" y="1196"/>
                </a:lnTo>
                <a:lnTo>
                  <a:pt x="13" y="1196"/>
                </a:lnTo>
                <a:lnTo>
                  <a:pt x="12" y="1194"/>
                </a:lnTo>
                <a:lnTo>
                  <a:pt x="12" y="1193"/>
                </a:lnTo>
                <a:lnTo>
                  <a:pt x="13" y="1193"/>
                </a:lnTo>
                <a:lnTo>
                  <a:pt x="15" y="1190"/>
                </a:lnTo>
                <a:lnTo>
                  <a:pt x="15" y="1187"/>
                </a:lnTo>
                <a:lnTo>
                  <a:pt x="17" y="1186"/>
                </a:lnTo>
                <a:lnTo>
                  <a:pt x="18" y="1186"/>
                </a:lnTo>
                <a:lnTo>
                  <a:pt x="18" y="1185"/>
                </a:lnTo>
                <a:lnTo>
                  <a:pt x="19" y="1185"/>
                </a:lnTo>
                <a:lnTo>
                  <a:pt x="19" y="1186"/>
                </a:lnTo>
                <a:lnTo>
                  <a:pt x="20" y="1188"/>
                </a:lnTo>
                <a:lnTo>
                  <a:pt x="21" y="1187"/>
                </a:lnTo>
                <a:lnTo>
                  <a:pt x="21" y="1186"/>
                </a:lnTo>
                <a:lnTo>
                  <a:pt x="20" y="1185"/>
                </a:lnTo>
                <a:lnTo>
                  <a:pt x="20" y="1182"/>
                </a:lnTo>
                <a:lnTo>
                  <a:pt x="21" y="1180"/>
                </a:lnTo>
                <a:lnTo>
                  <a:pt x="24" y="1178"/>
                </a:lnTo>
                <a:lnTo>
                  <a:pt x="24" y="1187"/>
                </a:lnTo>
                <a:lnTo>
                  <a:pt x="23" y="1187"/>
                </a:lnTo>
                <a:lnTo>
                  <a:pt x="24" y="1188"/>
                </a:lnTo>
                <a:lnTo>
                  <a:pt x="24" y="1192"/>
                </a:lnTo>
                <a:lnTo>
                  <a:pt x="21" y="1194"/>
                </a:lnTo>
                <a:lnTo>
                  <a:pt x="20" y="1194"/>
                </a:lnTo>
                <a:lnTo>
                  <a:pt x="20" y="1197"/>
                </a:lnTo>
                <a:lnTo>
                  <a:pt x="21" y="1197"/>
                </a:lnTo>
                <a:lnTo>
                  <a:pt x="24" y="1194"/>
                </a:lnTo>
                <a:lnTo>
                  <a:pt x="25" y="1194"/>
                </a:lnTo>
                <a:lnTo>
                  <a:pt x="25" y="1191"/>
                </a:lnTo>
                <a:lnTo>
                  <a:pt x="26" y="1190"/>
                </a:lnTo>
                <a:lnTo>
                  <a:pt x="25" y="1188"/>
                </a:lnTo>
                <a:lnTo>
                  <a:pt x="25" y="1186"/>
                </a:lnTo>
                <a:lnTo>
                  <a:pt x="26" y="1184"/>
                </a:lnTo>
                <a:lnTo>
                  <a:pt x="26" y="1182"/>
                </a:lnTo>
                <a:lnTo>
                  <a:pt x="27" y="1182"/>
                </a:lnTo>
                <a:lnTo>
                  <a:pt x="29" y="1184"/>
                </a:lnTo>
                <a:lnTo>
                  <a:pt x="33" y="1184"/>
                </a:lnTo>
                <a:lnTo>
                  <a:pt x="33" y="1188"/>
                </a:lnTo>
                <a:lnTo>
                  <a:pt x="35" y="1188"/>
                </a:lnTo>
                <a:lnTo>
                  <a:pt x="36" y="1187"/>
                </a:lnTo>
                <a:lnTo>
                  <a:pt x="36" y="1185"/>
                </a:lnTo>
                <a:lnTo>
                  <a:pt x="40" y="1185"/>
                </a:lnTo>
                <a:lnTo>
                  <a:pt x="40" y="1182"/>
                </a:lnTo>
                <a:lnTo>
                  <a:pt x="36" y="1185"/>
                </a:lnTo>
                <a:lnTo>
                  <a:pt x="35" y="1184"/>
                </a:lnTo>
                <a:lnTo>
                  <a:pt x="35" y="1182"/>
                </a:lnTo>
                <a:lnTo>
                  <a:pt x="37" y="1180"/>
                </a:lnTo>
                <a:lnTo>
                  <a:pt x="37" y="1179"/>
                </a:lnTo>
                <a:lnTo>
                  <a:pt x="39" y="1178"/>
                </a:lnTo>
                <a:lnTo>
                  <a:pt x="40" y="1178"/>
                </a:lnTo>
                <a:lnTo>
                  <a:pt x="40" y="1175"/>
                </a:lnTo>
                <a:lnTo>
                  <a:pt x="42" y="1175"/>
                </a:lnTo>
                <a:lnTo>
                  <a:pt x="42" y="1176"/>
                </a:lnTo>
                <a:lnTo>
                  <a:pt x="43" y="1178"/>
                </a:lnTo>
                <a:lnTo>
                  <a:pt x="46" y="1178"/>
                </a:lnTo>
                <a:lnTo>
                  <a:pt x="52" y="1173"/>
                </a:lnTo>
                <a:lnTo>
                  <a:pt x="52" y="1172"/>
                </a:lnTo>
                <a:lnTo>
                  <a:pt x="54" y="1172"/>
                </a:lnTo>
                <a:lnTo>
                  <a:pt x="54" y="1170"/>
                </a:lnTo>
                <a:lnTo>
                  <a:pt x="57" y="1169"/>
                </a:lnTo>
                <a:lnTo>
                  <a:pt x="58" y="1168"/>
                </a:lnTo>
                <a:lnTo>
                  <a:pt x="56" y="1169"/>
                </a:lnTo>
                <a:lnTo>
                  <a:pt x="50" y="1172"/>
                </a:lnTo>
                <a:lnTo>
                  <a:pt x="46" y="1175"/>
                </a:lnTo>
                <a:lnTo>
                  <a:pt x="46" y="1176"/>
                </a:lnTo>
                <a:lnTo>
                  <a:pt x="44" y="1176"/>
                </a:lnTo>
                <a:lnTo>
                  <a:pt x="43" y="1175"/>
                </a:lnTo>
                <a:lnTo>
                  <a:pt x="43" y="1169"/>
                </a:lnTo>
                <a:lnTo>
                  <a:pt x="42" y="1170"/>
                </a:lnTo>
                <a:lnTo>
                  <a:pt x="42" y="1173"/>
                </a:lnTo>
                <a:lnTo>
                  <a:pt x="39" y="1175"/>
                </a:lnTo>
                <a:lnTo>
                  <a:pt x="38" y="1175"/>
                </a:lnTo>
                <a:lnTo>
                  <a:pt x="37" y="1174"/>
                </a:lnTo>
                <a:lnTo>
                  <a:pt x="36" y="1174"/>
                </a:lnTo>
                <a:lnTo>
                  <a:pt x="35" y="1172"/>
                </a:lnTo>
                <a:lnTo>
                  <a:pt x="33" y="1170"/>
                </a:lnTo>
                <a:lnTo>
                  <a:pt x="33" y="1168"/>
                </a:lnTo>
                <a:lnTo>
                  <a:pt x="32" y="1168"/>
                </a:lnTo>
                <a:lnTo>
                  <a:pt x="32" y="1169"/>
                </a:lnTo>
                <a:lnTo>
                  <a:pt x="31" y="1169"/>
                </a:lnTo>
                <a:lnTo>
                  <a:pt x="30" y="1168"/>
                </a:lnTo>
                <a:lnTo>
                  <a:pt x="31" y="1168"/>
                </a:lnTo>
                <a:lnTo>
                  <a:pt x="32" y="1167"/>
                </a:lnTo>
                <a:lnTo>
                  <a:pt x="35" y="1166"/>
                </a:lnTo>
                <a:lnTo>
                  <a:pt x="35" y="1163"/>
                </a:lnTo>
                <a:lnTo>
                  <a:pt x="37" y="1161"/>
                </a:lnTo>
                <a:lnTo>
                  <a:pt x="39" y="1160"/>
                </a:lnTo>
                <a:lnTo>
                  <a:pt x="44" y="1160"/>
                </a:lnTo>
                <a:lnTo>
                  <a:pt x="44" y="1157"/>
                </a:lnTo>
                <a:lnTo>
                  <a:pt x="43" y="1156"/>
                </a:lnTo>
                <a:lnTo>
                  <a:pt x="45" y="1151"/>
                </a:lnTo>
                <a:lnTo>
                  <a:pt x="49" y="1148"/>
                </a:lnTo>
                <a:lnTo>
                  <a:pt x="57" y="1145"/>
                </a:lnTo>
                <a:lnTo>
                  <a:pt x="56" y="1145"/>
                </a:lnTo>
                <a:lnTo>
                  <a:pt x="56" y="1142"/>
                </a:lnTo>
                <a:lnTo>
                  <a:pt x="54" y="1144"/>
                </a:lnTo>
                <a:lnTo>
                  <a:pt x="54" y="1145"/>
                </a:lnTo>
                <a:lnTo>
                  <a:pt x="52" y="1147"/>
                </a:lnTo>
                <a:lnTo>
                  <a:pt x="50" y="1147"/>
                </a:lnTo>
                <a:lnTo>
                  <a:pt x="50" y="1144"/>
                </a:lnTo>
                <a:lnTo>
                  <a:pt x="49" y="1142"/>
                </a:lnTo>
                <a:lnTo>
                  <a:pt x="49" y="1139"/>
                </a:lnTo>
                <a:lnTo>
                  <a:pt x="52" y="1136"/>
                </a:lnTo>
                <a:lnTo>
                  <a:pt x="52" y="1133"/>
                </a:lnTo>
                <a:lnTo>
                  <a:pt x="54" y="1132"/>
                </a:lnTo>
                <a:lnTo>
                  <a:pt x="54" y="1130"/>
                </a:lnTo>
                <a:lnTo>
                  <a:pt x="56" y="1130"/>
                </a:lnTo>
                <a:lnTo>
                  <a:pt x="58" y="1128"/>
                </a:lnTo>
                <a:lnTo>
                  <a:pt x="58" y="1126"/>
                </a:lnTo>
                <a:lnTo>
                  <a:pt x="60" y="1126"/>
                </a:lnTo>
                <a:lnTo>
                  <a:pt x="60" y="1125"/>
                </a:lnTo>
                <a:lnTo>
                  <a:pt x="61" y="1124"/>
                </a:lnTo>
                <a:lnTo>
                  <a:pt x="63" y="1124"/>
                </a:lnTo>
                <a:lnTo>
                  <a:pt x="63" y="1123"/>
                </a:lnTo>
                <a:lnTo>
                  <a:pt x="67" y="1119"/>
                </a:lnTo>
                <a:lnTo>
                  <a:pt x="69" y="1119"/>
                </a:lnTo>
                <a:lnTo>
                  <a:pt x="73" y="1120"/>
                </a:lnTo>
                <a:lnTo>
                  <a:pt x="69" y="1128"/>
                </a:lnTo>
                <a:lnTo>
                  <a:pt x="69" y="1131"/>
                </a:lnTo>
                <a:lnTo>
                  <a:pt x="68" y="1132"/>
                </a:lnTo>
                <a:lnTo>
                  <a:pt x="68" y="1133"/>
                </a:lnTo>
                <a:lnTo>
                  <a:pt x="67" y="1141"/>
                </a:lnTo>
                <a:lnTo>
                  <a:pt x="67" y="1144"/>
                </a:lnTo>
                <a:lnTo>
                  <a:pt x="68" y="1142"/>
                </a:lnTo>
                <a:lnTo>
                  <a:pt x="68" y="1141"/>
                </a:lnTo>
                <a:lnTo>
                  <a:pt x="69" y="1137"/>
                </a:lnTo>
                <a:lnTo>
                  <a:pt x="69" y="1132"/>
                </a:lnTo>
                <a:lnTo>
                  <a:pt x="70" y="1131"/>
                </a:lnTo>
                <a:lnTo>
                  <a:pt x="71" y="1125"/>
                </a:lnTo>
                <a:lnTo>
                  <a:pt x="75" y="1122"/>
                </a:lnTo>
                <a:lnTo>
                  <a:pt x="76" y="1118"/>
                </a:lnTo>
                <a:lnTo>
                  <a:pt x="79" y="1116"/>
                </a:lnTo>
                <a:lnTo>
                  <a:pt x="85" y="1114"/>
                </a:lnTo>
                <a:lnTo>
                  <a:pt x="88" y="1116"/>
                </a:lnTo>
                <a:lnTo>
                  <a:pt x="91" y="1116"/>
                </a:lnTo>
                <a:lnTo>
                  <a:pt x="92" y="1113"/>
                </a:lnTo>
                <a:lnTo>
                  <a:pt x="83" y="1113"/>
                </a:lnTo>
                <a:lnTo>
                  <a:pt x="83" y="1112"/>
                </a:lnTo>
                <a:lnTo>
                  <a:pt x="85" y="1112"/>
                </a:lnTo>
                <a:lnTo>
                  <a:pt x="85" y="1110"/>
                </a:lnTo>
                <a:lnTo>
                  <a:pt x="86" y="1110"/>
                </a:lnTo>
                <a:lnTo>
                  <a:pt x="88" y="1106"/>
                </a:lnTo>
                <a:lnTo>
                  <a:pt x="87" y="1106"/>
                </a:lnTo>
                <a:lnTo>
                  <a:pt x="85" y="1107"/>
                </a:lnTo>
                <a:lnTo>
                  <a:pt x="83" y="1108"/>
                </a:lnTo>
                <a:lnTo>
                  <a:pt x="81" y="1113"/>
                </a:lnTo>
                <a:lnTo>
                  <a:pt x="77" y="1114"/>
                </a:lnTo>
                <a:lnTo>
                  <a:pt x="76" y="1116"/>
                </a:lnTo>
                <a:lnTo>
                  <a:pt x="74" y="1119"/>
                </a:lnTo>
                <a:lnTo>
                  <a:pt x="70" y="1119"/>
                </a:lnTo>
                <a:lnTo>
                  <a:pt x="70" y="1117"/>
                </a:lnTo>
                <a:lnTo>
                  <a:pt x="74" y="1113"/>
                </a:lnTo>
                <a:lnTo>
                  <a:pt x="74" y="1112"/>
                </a:lnTo>
                <a:lnTo>
                  <a:pt x="73" y="1112"/>
                </a:lnTo>
                <a:lnTo>
                  <a:pt x="69" y="1117"/>
                </a:lnTo>
                <a:lnTo>
                  <a:pt x="67" y="1118"/>
                </a:lnTo>
                <a:lnTo>
                  <a:pt x="66" y="1118"/>
                </a:lnTo>
                <a:lnTo>
                  <a:pt x="63" y="1119"/>
                </a:lnTo>
                <a:lnTo>
                  <a:pt x="62" y="1119"/>
                </a:lnTo>
                <a:lnTo>
                  <a:pt x="58" y="1123"/>
                </a:lnTo>
                <a:lnTo>
                  <a:pt x="56" y="1123"/>
                </a:lnTo>
                <a:lnTo>
                  <a:pt x="56" y="1122"/>
                </a:lnTo>
                <a:lnTo>
                  <a:pt x="54" y="1119"/>
                </a:lnTo>
                <a:lnTo>
                  <a:pt x="54" y="1116"/>
                </a:lnTo>
                <a:lnTo>
                  <a:pt x="52" y="1116"/>
                </a:lnTo>
                <a:lnTo>
                  <a:pt x="52" y="1118"/>
                </a:lnTo>
                <a:lnTo>
                  <a:pt x="54" y="1119"/>
                </a:lnTo>
                <a:lnTo>
                  <a:pt x="54" y="1122"/>
                </a:lnTo>
                <a:lnTo>
                  <a:pt x="55" y="1123"/>
                </a:lnTo>
                <a:lnTo>
                  <a:pt x="55" y="1124"/>
                </a:lnTo>
                <a:lnTo>
                  <a:pt x="54" y="1123"/>
                </a:lnTo>
                <a:lnTo>
                  <a:pt x="52" y="1124"/>
                </a:lnTo>
                <a:lnTo>
                  <a:pt x="51" y="1124"/>
                </a:lnTo>
                <a:lnTo>
                  <a:pt x="50" y="1125"/>
                </a:lnTo>
                <a:lnTo>
                  <a:pt x="54" y="1125"/>
                </a:lnTo>
                <a:lnTo>
                  <a:pt x="52" y="1128"/>
                </a:lnTo>
                <a:lnTo>
                  <a:pt x="51" y="1129"/>
                </a:lnTo>
                <a:lnTo>
                  <a:pt x="51" y="1131"/>
                </a:lnTo>
                <a:lnTo>
                  <a:pt x="52" y="1131"/>
                </a:lnTo>
                <a:lnTo>
                  <a:pt x="51" y="1133"/>
                </a:lnTo>
                <a:lnTo>
                  <a:pt x="51" y="1135"/>
                </a:lnTo>
                <a:lnTo>
                  <a:pt x="49" y="1135"/>
                </a:lnTo>
                <a:lnTo>
                  <a:pt x="46" y="1133"/>
                </a:lnTo>
                <a:lnTo>
                  <a:pt x="45" y="1132"/>
                </a:lnTo>
                <a:lnTo>
                  <a:pt x="45" y="1133"/>
                </a:lnTo>
                <a:lnTo>
                  <a:pt x="44" y="1135"/>
                </a:lnTo>
                <a:lnTo>
                  <a:pt x="44" y="1137"/>
                </a:lnTo>
                <a:lnTo>
                  <a:pt x="42" y="1142"/>
                </a:lnTo>
                <a:lnTo>
                  <a:pt x="39" y="1142"/>
                </a:lnTo>
                <a:lnTo>
                  <a:pt x="39" y="1154"/>
                </a:lnTo>
                <a:lnTo>
                  <a:pt x="38" y="1155"/>
                </a:lnTo>
                <a:lnTo>
                  <a:pt x="36" y="1155"/>
                </a:lnTo>
                <a:lnTo>
                  <a:pt x="36" y="1154"/>
                </a:lnTo>
                <a:lnTo>
                  <a:pt x="35" y="1156"/>
                </a:lnTo>
                <a:lnTo>
                  <a:pt x="32" y="1155"/>
                </a:lnTo>
                <a:lnTo>
                  <a:pt x="32" y="1150"/>
                </a:lnTo>
                <a:lnTo>
                  <a:pt x="36" y="1150"/>
                </a:lnTo>
                <a:lnTo>
                  <a:pt x="36" y="1149"/>
                </a:lnTo>
                <a:lnTo>
                  <a:pt x="37" y="1148"/>
                </a:lnTo>
                <a:lnTo>
                  <a:pt x="35" y="1148"/>
                </a:lnTo>
                <a:lnTo>
                  <a:pt x="35" y="1149"/>
                </a:lnTo>
                <a:lnTo>
                  <a:pt x="33" y="1149"/>
                </a:lnTo>
                <a:lnTo>
                  <a:pt x="33" y="1148"/>
                </a:lnTo>
                <a:lnTo>
                  <a:pt x="32" y="1147"/>
                </a:lnTo>
                <a:lnTo>
                  <a:pt x="33" y="1147"/>
                </a:lnTo>
                <a:lnTo>
                  <a:pt x="33" y="1144"/>
                </a:lnTo>
                <a:lnTo>
                  <a:pt x="32" y="1142"/>
                </a:lnTo>
                <a:lnTo>
                  <a:pt x="36" y="1138"/>
                </a:lnTo>
                <a:lnTo>
                  <a:pt x="33" y="1138"/>
                </a:lnTo>
                <a:lnTo>
                  <a:pt x="31" y="1141"/>
                </a:lnTo>
                <a:lnTo>
                  <a:pt x="31" y="1142"/>
                </a:lnTo>
                <a:lnTo>
                  <a:pt x="30" y="1143"/>
                </a:lnTo>
                <a:lnTo>
                  <a:pt x="29" y="1143"/>
                </a:lnTo>
                <a:lnTo>
                  <a:pt x="27" y="1144"/>
                </a:lnTo>
                <a:lnTo>
                  <a:pt x="26" y="1143"/>
                </a:lnTo>
                <a:lnTo>
                  <a:pt x="26" y="1142"/>
                </a:lnTo>
                <a:lnTo>
                  <a:pt x="27" y="1141"/>
                </a:lnTo>
                <a:lnTo>
                  <a:pt x="27" y="1139"/>
                </a:lnTo>
                <a:lnTo>
                  <a:pt x="26" y="1139"/>
                </a:lnTo>
                <a:lnTo>
                  <a:pt x="26" y="1138"/>
                </a:lnTo>
                <a:lnTo>
                  <a:pt x="29" y="1138"/>
                </a:lnTo>
                <a:lnTo>
                  <a:pt x="33" y="1136"/>
                </a:lnTo>
                <a:lnTo>
                  <a:pt x="29" y="1136"/>
                </a:lnTo>
                <a:lnTo>
                  <a:pt x="30" y="1135"/>
                </a:lnTo>
                <a:lnTo>
                  <a:pt x="30" y="1132"/>
                </a:lnTo>
                <a:lnTo>
                  <a:pt x="29" y="1132"/>
                </a:lnTo>
                <a:lnTo>
                  <a:pt x="30" y="1129"/>
                </a:lnTo>
                <a:lnTo>
                  <a:pt x="31" y="1128"/>
                </a:lnTo>
                <a:lnTo>
                  <a:pt x="31" y="1125"/>
                </a:lnTo>
                <a:lnTo>
                  <a:pt x="32" y="1125"/>
                </a:lnTo>
                <a:lnTo>
                  <a:pt x="35" y="1123"/>
                </a:lnTo>
                <a:lnTo>
                  <a:pt x="33" y="1123"/>
                </a:lnTo>
                <a:lnTo>
                  <a:pt x="32" y="1124"/>
                </a:lnTo>
                <a:lnTo>
                  <a:pt x="31" y="1124"/>
                </a:lnTo>
                <a:lnTo>
                  <a:pt x="31" y="1125"/>
                </a:lnTo>
                <a:lnTo>
                  <a:pt x="30" y="1125"/>
                </a:lnTo>
                <a:lnTo>
                  <a:pt x="29" y="1126"/>
                </a:lnTo>
                <a:lnTo>
                  <a:pt x="29" y="1128"/>
                </a:lnTo>
                <a:lnTo>
                  <a:pt x="27" y="1130"/>
                </a:lnTo>
                <a:lnTo>
                  <a:pt x="27" y="1132"/>
                </a:lnTo>
                <a:lnTo>
                  <a:pt x="25" y="1136"/>
                </a:lnTo>
                <a:lnTo>
                  <a:pt x="25" y="1138"/>
                </a:lnTo>
                <a:lnTo>
                  <a:pt x="23" y="1139"/>
                </a:lnTo>
                <a:lnTo>
                  <a:pt x="21" y="1142"/>
                </a:lnTo>
                <a:lnTo>
                  <a:pt x="20" y="1143"/>
                </a:lnTo>
                <a:lnTo>
                  <a:pt x="20" y="1144"/>
                </a:lnTo>
                <a:lnTo>
                  <a:pt x="19" y="1143"/>
                </a:lnTo>
                <a:lnTo>
                  <a:pt x="18" y="1143"/>
                </a:lnTo>
                <a:lnTo>
                  <a:pt x="18" y="1142"/>
                </a:lnTo>
                <a:lnTo>
                  <a:pt x="19" y="1142"/>
                </a:lnTo>
                <a:lnTo>
                  <a:pt x="17" y="1141"/>
                </a:lnTo>
                <a:lnTo>
                  <a:pt x="15" y="1139"/>
                </a:lnTo>
                <a:lnTo>
                  <a:pt x="17" y="1139"/>
                </a:lnTo>
                <a:lnTo>
                  <a:pt x="17" y="1138"/>
                </a:lnTo>
                <a:lnTo>
                  <a:pt x="18" y="1138"/>
                </a:lnTo>
                <a:lnTo>
                  <a:pt x="18" y="1137"/>
                </a:lnTo>
                <a:lnTo>
                  <a:pt x="17" y="1137"/>
                </a:lnTo>
                <a:lnTo>
                  <a:pt x="13" y="1138"/>
                </a:lnTo>
                <a:lnTo>
                  <a:pt x="12" y="1138"/>
                </a:lnTo>
                <a:lnTo>
                  <a:pt x="15" y="1135"/>
                </a:lnTo>
                <a:lnTo>
                  <a:pt x="15" y="1133"/>
                </a:lnTo>
                <a:lnTo>
                  <a:pt x="14" y="1133"/>
                </a:lnTo>
                <a:lnTo>
                  <a:pt x="9" y="1132"/>
                </a:lnTo>
                <a:lnTo>
                  <a:pt x="9" y="1129"/>
                </a:lnTo>
                <a:lnTo>
                  <a:pt x="13" y="1129"/>
                </a:lnTo>
                <a:lnTo>
                  <a:pt x="12" y="1128"/>
                </a:lnTo>
                <a:lnTo>
                  <a:pt x="11" y="1128"/>
                </a:lnTo>
                <a:lnTo>
                  <a:pt x="9" y="1126"/>
                </a:lnTo>
                <a:lnTo>
                  <a:pt x="8" y="1126"/>
                </a:lnTo>
                <a:lnTo>
                  <a:pt x="9" y="1125"/>
                </a:lnTo>
                <a:lnTo>
                  <a:pt x="11" y="1123"/>
                </a:lnTo>
                <a:lnTo>
                  <a:pt x="15" y="1123"/>
                </a:lnTo>
                <a:lnTo>
                  <a:pt x="14" y="1122"/>
                </a:lnTo>
                <a:lnTo>
                  <a:pt x="13" y="1119"/>
                </a:lnTo>
                <a:lnTo>
                  <a:pt x="14" y="1118"/>
                </a:lnTo>
                <a:lnTo>
                  <a:pt x="13" y="1116"/>
                </a:lnTo>
                <a:lnTo>
                  <a:pt x="13" y="1114"/>
                </a:lnTo>
                <a:lnTo>
                  <a:pt x="14" y="1112"/>
                </a:lnTo>
                <a:lnTo>
                  <a:pt x="15" y="1111"/>
                </a:lnTo>
                <a:lnTo>
                  <a:pt x="19" y="1114"/>
                </a:lnTo>
                <a:lnTo>
                  <a:pt x="20" y="1114"/>
                </a:lnTo>
                <a:lnTo>
                  <a:pt x="21" y="1118"/>
                </a:lnTo>
                <a:lnTo>
                  <a:pt x="23" y="1119"/>
                </a:lnTo>
                <a:lnTo>
                  <a:pt x="25" y="1120"/>
                </a:lnTo>
                <a:lnTo>
                  <a:pt x="29" y="1120"/>
                </a:lnTo>
                <a:lnTo>
                  <a:pt x="31" y="1119"/>
                </a:lnTo>
                <a:lnTo>
                  <a:pt x="30" y="1118"/>
                </a:lnTo>
                <a:lnTo>
                  <a:pt x="31" y="1117"/>
                </a:lnTo>
                <a:lnTo>
                  <a:pt x="32" y="1117"/>
                </a:lnTo>
                <a:lnTo>
                  <a:pt x="33" y="1116"/>
                </a:lnTo>
                <a:lnTo>
                  <a:pt x="33" y="1111"/>
                </a:lnTo>
                <a:lnTo>
                  <a:pt x="32" y="1108"/>
                </a:lnTo>
                <a:lnTo>
                  <a:pt x="33" y="1105"/>
                </a:lnTo>
                <a:lnTo>
                  <a:pt x="33" y="1101"/>
                </a:lnTo>
                <a:lnTo>
                  <a:pt x="35" y="1100"/>
                </a:lnTo>
                <a:lnTo>
                  <a:pt x="33" y="1099"/>
                </a:lnTo>
                <a:lnTo>
                  <a:pt x="33" y="1098"/>
                </a:lnTo>
                <a:lnTo>
                  <a:pt x="35" y="1095"/>
                </a:lnTo>
                <a:lnTo>
                  <a:pt x="35" y="1094"/>
                </a:lnTo>
                <a:lnTo>
                  <a:pt x="33" y="1095"/>
                </a:lnTo>
                <a:lnTo>
                  <a:pt x="33" y="1096"/>
                </a:lnTo>
                <a:lnTo>
                  <a:pt x="31" y="1095"/>
                </a:lnTo>
                <a:lnTo>
                  <a:pt x="31" y="1094"/>
                </a:lnTo>
                <a:lnTo>
                  <a:pt x="32" y="1093"/>
                </a:lnTo>
                <a:lnTo>
                  <a:pt x="32" y="1092"/>
                </a:lnTo>
                <a:lnTo>
                  <a:pt x="31" y="1092"/>
                </a:lnTo>
                <a:lnTo>
                  <a:pt x="30" y="1094"/>
                </a:lnTo>
                <a:lnTo>
                  <a:pt x="29" y="1095"/>
                </a:lnTo>
                <a:lnTo>
                  <a:pt x="29" y="1096"/>
                </a:lnTo>
                <a:lnTo>
                  <a:pt x="25" y="1096"/>
                </a:lnTo>
                <a:lnTo>
                  <a:pt x="25" y="1102"/>
                </a:lnTo>
                <a:lnTo>
                  <a:pt x="24" y="1102"/>
                </a:lnTo>
                <a:lnTo>
                  <a:pt x="21" y="1104"/>
                </a:lnTo>
                <a:lnTo>
                  <a:pt x="19" y="1106"/>
                </a:lnTo>
                <a:lnTo>
                  <a:pt x="15" y="1108"/>
                </a:lnTo>
                <a:lnTo>
                  <a:pt x="13" y="1108"/>
                </a:lnTo>
                <a:lnTo>
                  <a:pt x="12" y="1107"/>
                </a:lnTo>
                <a:lnTo>
                  <a:pt x="11" y="1105"/>
                </a:lnTo>
                <a:lnTo>
                  <a:pt x="9" y="1104"/>
                </a:lnTo>
                <a:lnTo>
                  <a:pt x="7" y="1100"/>
                </a:lnTo>
                <a:lnTo>
                  <a:pt x="6" y="1099"/>
                </a:lnTo>
                <a:lnTo>
                  <a:pt x="8" y="1100"/>
                </a:lnTo>
                <a:lnTo>
                  <a:pt x="9" y="1100"/>
                </a:lnTo>
                <a:lnTo>
                  <a:pt x="12" y="1104"/>
                </a:lnTo>
                <a:lnTo>
                  <a:pt x="13" y="1102"/>
                </a:lnTo>
                <a:lnTo>
                  <a:pt x="6" y="1095"/>
                </a:lnTo>
                <a:lnTo>
                  <a:pt x="9" y="1095"/>
                </a:lnTo>
                <a:lnTo>
                  <a:pt x="8" y="1094"/>
                </a:lnTo>
                <a:lnTo>
                  <a:pt x="7" y="1094"/>
                </a:lnTo>
                <a:lnTo>
                  <a:pt x="6" y="1093"/>
                </a:lnTo>
                <a:lnTo>
                  <a:pt x="5" y="1093"/>
                </a:lnTo>
                <a:lnTo>
                  <a:pt x="2" y="1089"/>
                </a:lnTo>
                <a:lnTo>
                  <a:pt x="0" y="1087"/>
                </a:lnTo>
                <a:lnTo>
                  <a:pt x="4" y="1087"/>
                </a:lnTo>
                <a:lnTo>
                  <a:pt x="5" y="1089"/>
                </a:lnTo>
                <a:lnTo>
                  <a:pt x="7" y="1089"/>
                </a:lnTo>
                <a:lnTo>
                  <a:pt x="11" y="1093"/>
                </a:lnTo>
                <a:lnTo>
                  <a:pt x="14" y="1094"/>
                </a:lnTo>
                <a:lnTo>
                  <a:pt x="15" y="1095"/>
                </a:lnTo>
                <a:lnTo>
                  <a:pt x="15" y="1098"/>
                </a:lnTo>
                <a:lnTo>
                  <a:pt x="17" y="1100"/>
                </a:lnTo>
                <a:lnTo>
                  <a:pt x="18" y="1101"/>
                </a:lnTo>
                <a:lnTo>
                  <a:pt x="18" y="1099"/>
                </a:lnTo>
                <a:lnTo>
                  <a:pt x="19" y="1100"/>
                </a:lnTo>
                <a:lnTo>
                  <a:pt x="20" y="1102"/>
                </a:lnTo>
                <a:lnTo>
                  <a:pt x="21" y="1102"/>
                </a:lnTo>
                <a:lnTo>
                  <a:pt x="19" y="1100"/>
                </a:lnTo>
                <a:lnTo>
                  <a:pt x="19" y="1098"/>
                </a:lnTo>
                <a:lnTo>
                  <a:pt x="21" y="1099"/>
                </a:lnTo>
                <a:lnTo>
                  <a:pt x="20" y="1098"/>
                </a:lnTo>
                <a:lnTo>
                  <a:pt x="20" y="1095"/>
                </a:lnTo>
                <a:lnTo>
                  <a:pt x="19" y="1095"/>
                </a:lnTo>
                <a:lnTo>
                  <a:pt x="19" y="1094"/>
                </a:lnTo>
                <a:lnTo>
                  <a:pt x="18" y="1094"/>
                </a:lnTo>
                <a:lnTo>
                  <a:pt x="18" y="1092"/>
                </a:lnTo>
                <a:lnTo>
                  <a:pt x="15" y="1092"/>
                </a:lnTo>
                <a:lnTo>
                  <a:pt x="14" y="1090"/>
                </a:lnTo>
                <a:lnTo>
                  <a:pt x="13" y="1090"/>
                </a:lnTo>
                <a:lnTo>
                  <a:pt x="13" y="1089"/>
                </a:lnTo>
                <a:lnTo>
                  <a:pt x="14" y="1088"/>
                </a:lnTo>
                <a:lnTo>
                  <a:pt x="15" y="1088"/>
                </a:lnTo>
                <a:lnTo>
                  <a:pt x="17" y="1087"/>
                </a:lnTo>
                <a:lnTo>
                  <a:pt x="18" y="1087"/>
                </a:lnTo>
                <a:lnTo>
                  <a:pt x="17" y="1085"/>
                </a:lnTo>
                <a:lnTo>
                  <a:pt x="18" y="1083"/>
                </a:lnTo>
                <a:lnTo>
                  <a:pt x="21" y="1081"/>
                </a:lnTo>
                <a:lnTo>
                  <a:pt x="21" y="1082"/>
                </a:lnTo>
                <a:lnTo>
                  <a:pt x="25" y="1082"/>
                </a:lnTo>
                <a:lnTo>
                  <a:pt x="25" y="1081"/>
                </a:lnTo>
                <a:lnTo>
                  <a:pt x="24" y="1081"/>
                </a:lnTo>
                <a:lnTo>
                  <a:pt x="23" y="1080"/>
                </a:lnTo>
                <a:lnTo>
                  <a:pt x="24" y="1079"/>
                </a:lnTo>
                <a:lnTo>
                  <a:pt x="23" y="1079"/>
                </a:lnTo>
                <a:lnTo>
                  <a:pt x="20" y="1081"/>
                </a:lnTo>
                <a:lnTo>
                  <a:pt x="18" y="1081"/>
                </a:lnTo>
                <a:lnTo>
                  <a:pt x="17" y="1082"/>
                </a:lnTo>
                <a:lnTo>
                  <a:pt x="17" y="1083"/>
                </a:lnTo>
                <a:lnTo>
                  <a:pt x="15" y="1086"/>
                </a:lnTo>
                <a:lnTo>
                  <a:pt x="13" y="1086"/>
                </a:lnTo>
                <a:lnTo>
                  <a:pt x="11" y="1085"/>
                </a:lnTo>
                <a:lnTo>
                  <a:pt x="9" y="1083"/>
                </a:lnTo>
                <a:lnTo>
                  <a:pt x="9" y="1086"/>
                </a:lnTo>
                <a:lnTo>
                  <a:pt x="8" y="1087"/>
                </a:lnTo>
                <a:lnTo>
                  <a:pt x="8" y="1085"/>
                </a:lnTo>
                <a:lnTo>
                  <a:pt x="6" y="1085"/>
                </a:lnTo>
                <a:lnTo>
                  <a:pt x="5" y="1083"/>
                </a:lnTo>
                <a:lnTo>
                  <a:pt x="5" y="1082"/>
                </a:lnTo>
                <a:lnTo>
                  <a:pt x="4" y="1080"/>
                </a:lnTo>
                <a:lnTo>
                  <a:pt x="4" y="1076"/>
                </a:lnTo>
                <a:lnTo>
                  <a:pt x="2" y="1075"/>
                </a:lnTo>
                <a:lnTo>
                  <a:pt x="2" y="1074"/>
                </a:lnTo>
                <a:lnTo>
                  <a:pt x="4" y="1073"/>
                </a:lnTo>
                <a:lnTo>
                  <a:pt x="6" y="1075"/>
                </a:lnTo>
                <a:lnTo>
                  <a:pt x="6" y="1080"/>
                </a:lnTo>
                <a:lnTo>
                  <a:pt x="7" y="1081"/>
                </a:lnTo>
                <a:lnTo>
                  <a:pt x="7" y="1074"/>
                </a:lnTo>
                <a:lnTo>
                  <a:pt x="8" y="1073"/>
                </a:lnTo>
                <a:lnTo>
                  <a:pt x="9" y="1073"/>
                </a:lnTo>
                <a:lnTo>
                  <a:pt x="8" y="1071"/>
                </a:lnTo>
                <a:lnTo>
                  <a:pt x="7" y="1073"/>
                </a:lnTo>
                <a:lnTo>
                  <a:pt x="4" y="1073"/>
                </a:lnTo>
                <a:lnTo>
                  <a:pt x="4" y="1067"/>
                </a:lnTo>
                <a:lnTo>
                  <a:pt x="6" y="1064"/>
                </a:lnTo>
                <a:lnTo>
                  <a:pt x="8" y="1063"/>
                </a:lnTo>
                <a:lnTo>
                  <a:pt x="12" y="1064"/>
                </a:lnTo>
                <a:lnTo>
                  <a:pt x="14" y="1067"/>
                </a:lnTo>
                <a:lnTo>
                  <a:pt x="17" y="1068"/>
                </a:lnTo>
                <a:lnTo>
                  <a:pt x="21" y="1068"/>
                </a:lnTo>
                <a:lnTo>
                  <a:pt x="21" y="1070"/>
                </a:lnTo>
                <a:lnTo>
                  <a:pt x="23" y="1070"/>
                </a:lnTo>
                <a:lnTo>
                  <a:pt x="23" y="1065"/>
                </a:lnTo>
                <a:lnTo>
                  <a:pt x="24" y="1065"/>
                </a:lnTo>
                <a:lnTo>
                  <a:pt x="25" y="1063"/>
                </a:lnTo>
                <a:lnTo>
                  <a:pt x="27" y="1064"/>
                </a:lnTo>
                <a:lnTo>
                  <a:pt x="29" y="1064"/>
                </a:lnTo>
                <a:lnTo>
                  <a:pt x="30" y="1065"/>
                </a:lnTo>
                <a:lnTo>
                  <a:pt x="30" y="1064"/>
                </a:lnTo>
                <a:lnTo>
                  <a:pt x="29" y="1063"/>
                </a:lnTo>
                <a:lnTo>
                  <a:pt x="30" y="1062"/>
                </a:lnTo>
                <a:lnTo>
                  <a:pt x="31" y="1062"/>
                </a:lnTo>
                <a:lnTo>
                  <a:pt x="31" y="1063"/>
                </a:lnTo>
                <a:lnTo>
                  <a:pt x="32" y="1062"/>
                </a:lnTo>
                <a:lnTo>
                  <a:pt x="35" y="1061"/>
                </a:lnTo>
                <a:lnTo>
                  <a:pt x="36" y="1061"/>
                </a:lnTo>
                <a:lnTo>
                  <a:pt x="36" y="1064"/>
                </a:lnTo>
                <a:lnTo>
                  <a:pt x="37" y="1064"/>
                </a:lnTo>
                <a:lnTo>
                  <a:pt x="37" y="1063"/>
                </a:lnTo>
                <a:lnTo>
                  <a:pt x="38" y="1062"/>
                </a:lnTo>
                <a:lnTo>
                  <a:pt x="38" y="1061"/>
                </a:lnTo>
                <a:lnTo>
                  <a:pt x="39" y="1059"/>
                </a:lnTo>
                <a:lnTo>
                  <a:pt x="44" y="1059"/>
                </a:lnTo>
                <a:lnTo>
                  <a:pt x="45" y="1061"/>
                </a:lnTo>
                <a:lnTo>
                  <a:pt x="46" y="1061"/>
                </a:lnTo>
                <a:lnTo>
                  <a:pt x="49" y="1059"/>
                </a:lnTo>
                <a:lnTo>
                  <a:pt x="51" y="1059"/>
                </a:lnTo>
                <a:lnTo>
                  <a:pt x="54" y="1061"/>
                </a:lnTo>
                <a:lnTo>
                  <a:pt x="55" y="1062"/>
                </a:lnTo>
                <a:lnTo>
                  <a:pt x="56" y="1062"/>
                </a:lnTo>
                <a:lnTo>
                  <a:pt x="56" y="1065"/>
                </a:lnTo>
                <a:lnTo>
                  <a:pt x="55" y="1067"/>
                </a:lnTo>
                <a:lnTo>
                  <a:pt x="57" y="1065"/>
                </a:lnTo>
                <a:lnTo>
                  <a:pt x="58" y="1064"/>
                </a:lnTo>
                <a:lnTo>
                  <a:pt x="61" y="1064"/>
                </a:lnTo>
                <a:lnTo>
                  <a:pt x="61" y="1067"/>
                </a:lnTo>
                <a:lnTo>
                  <a:pt x="60" y="1068"/>
                </a:lnTo>
                <a:lnTo>
                  <a:pt x="60" y="1069"/>
                </a:lnTo>
                <a:lnTo>
                  <a:pt x="61" y="1069"/>
                </a:lnTo>
                <a:lnTo>
                  <a:pt x="61" y="1067"/>
                </a:lnTo>
                <a:lnTo>
                  <a:pt x="62" y="1064"/>
                </a:lnTo>
                <a:lnTo>
                  <a:pt x="64" y="1062"/>
                </a:lnTo>
                <a:lnTo>
                  <a:pt x="67" y="1062"/>
                </a:lnTo>
                <a:lnTo>
                  <a:pt x="70" y="1058"/>
                </a:lnTo>
                <a:lnTo>
                  <a:pt x="70" y="1055"/>
                </a:lnTo>
                <a:lnTo>
                  <a:pt x="71" y="1055"/>
                </a:lnTo>
                <a:lnTo>
                  <a:pt x="71" y="1056"/>
                </a:lnTo>
                <a:lnTo>
                  <a:pt x="73" y="1056"/>
                </a:lnTo>
                <a:lnTo>
                  <a:pt x="79" y="1057"/>
                </a:lnTo>
                <a:lnTo>
                  <a:pt x="80" y="1058"/>
                </a:lnTo>
                <a:lnTo>
                  <a:pt x="81" y="1058"/>
                </a:lnTo>
                <a:lnTo>
                  <a:pt x="81" y="1062"/>
                </a:lnTo>
                <a:lnTo>
                  <a:pt x="82" y="1062"/>
                </a:lnTo>
                <a:lnTo>
                  <a:pt x="82" y="1063"/>
                </a:lnTo>
                <a:lnTo>
                  <a:pt x="85" y="1062"/>
                </a:lnTo>
                <a:lnTo>
                  <a:pt x="86" y="1063"/>
                </a:lnTo>
                <a:lnTo>
                  <a:pt x="87" y="1067"/>
                </a:lnTo>
                <a:lnTo>
                  <a:pt x="87" y="1069"/>
                </a:lnTo>
                <a:lnTo>
                  <a:pt x="88" y="1069"/>
                </a:lnTo>
                <a:lnTo>
                  <a:pt x="87" y="1070"/>
                </a:lnTo>
                <a:lnTo>
                  <a:pt x="87" y="1071"/>
                </a:lnTo>
                <a:lnTo>
                  <a:pt x="86" y="1071"/>
                </a:lnTo>
                <a:lnTo>
                  <a:pt x="85" y="1073"/>
                </a:lnTo>
                <a:lnTo>
                  <a:pt x="82" y="1076"/>
                </a:lnTo>
                <a:lnTo>
                  <a:pt x="86" y="1073"/>
                </a:lnTo>
                <a:lnTo>
                  <a:pt x="88" y="1073"/>
                </a:lnTo>
                <a:lnTo>
                  <a:pt x="89" y="1074"/>
                </a:lnTo>
                <a:lnTo>
                  <a:pt x="92" y="1075"/>
                </a:lnTo>
                <a:lnTo>
                  <a:pt x="93" y="1076"/>
                </a:lnTo>
                <a:lnTo>
                  <a:pt x="93" y="1077"/>
                </a:lnTo>
                <a:lnTo>
                  <a:pt x="92" y="1082"/>
                </a:lnTo>
                <a:lnTo>
                  <a:pt x="93" y="1081"/>
                </a:lnTo>
                <a:lnTo>
                  <a:pt x="94" y="1079"/>
                </a:lnTo>
                <a:lnTo>
                  <a:pt x="94" y="1074"/>
                </a:lnTo>
                <a:lnTo>
                  <a:pt x="92" y="1074"/>
                </a:lnTo>
                <a:lnTo>
                  <a:pt x="91" y="1073"/>
                </a:lnTo>
                <a:lnTo>
                  <a:pt x="89" y="1068"/>
                </a:lnTo>
                <a:lnTo>
                  <a:pt x="88" y="1067"/>
                </a:lnTo>
                <a:lnTo>
                  <a:pt x="88" y="1065"/>
                </a:lnTo>
                <a:lnTo>
                  <a:pt x="87" y="1063"/>
                </a:lnTo>
                <a:lnTo>
                  <a:pt x="87" y="1062"/>
                </a:lnTo>
                <a:lnTo>
                  <a:pt x="88" y="1062"/>
                </a:lnTo>
                <a:lnTo>
                  <a:pt x="89" y="1061"/>
                </a:lnTo>
                <a:lnTo>
                  <a:pt x="94" y="1061"/>
                </a:lnTo>
                <a:lnTo>
                  <a:pt x="96" y="1058"/>
                </a:lnTo>
                <a:lnTo>
                  <a:pt x="100" y="1058"/>
                </a:lnTo>
                <a:lnTo>
                  <a:pt x="100" y="1059"/>
                </a:lnTo>
                <a:lnTo>
                  <a:pt x="101" y="1061"/>
                </a:lnTo>
                <a:lnTo>
                  <a:pt x="102" y="1061"/>
                </a:lnTo>
                <a:lnTo>
                  <a:pt x="106" y="1062"/>
                </a:lnTo>
                <a:lnTo>
                  <a:pt x="106" y="1061"/>
                </a:lnTo>
                <a:lnTo>
                  <a:pt x="105" y="1061"/>
                </a:lnTo>
                <a:lnTo>
                  <a:pt x="102" y="1058"/>
                </a:lnTo>
                <a:lnTo>
                  <a:pt x="102" y="1057"/>
                </a:lnTo>
                <a:lnTo>
                  <a:pt x="105" y="1056"/>
                </a:lnTo>
                <a:lnTo>
                  <a:pt x="105" y="1053"/>
                </a:lnTo>
                <a:lnTo>
                  <a:pt x="106" y="1053"/>
                </a:lnTo>
                <a:lnTo>
                  <a:pt x="113" y="1052"/>
                </a:lnTo>
                <a:lnTo>
                  <a:pt x="114" y="1052"/>
                </a:lnTo>
                <a:lnTo>
                  <a:pt x="117" y="1050"/>
                </a:lnTo>
                <a:lnTo>
                  <a:pt x="116" y="1050"/>
                </a:lnTo>
                <a:lnTo>
                  <a:pt x="114" y="1051"/>
                </a:lnTo>
                <a:lnTo>
                  <a:pt x="113" y="1051"/>
                </a:lnTo>
                <a:lnTo>
                  <a:pt x="106" y="1053"/>
                </a:lnTo>
                <a:lnTo>
                  <a:pt x="104" y="1052"/>
                </a:lnTo>
                <a:lnTo>
                  <a:pt x="102" y="1052"/>
                </a:lnTo>
                <a:lnTo>
                  <a:pt x="102" y="1051"/>
                </a:lnTo>
                <a:lnTo>
                  <a:pt x="101" y="1050"/>
                </a:lnTo>
                <a:lnTo>
                  <a:pt x="101" y="1045"/>
                </a:lnTo>
                <a:lnTo>
                  <a:pt x="100" y="1045"/>
                </a:lnTo>
                <a:lnTo>
                  <a:pt x="100" y="1043"/>
                </a:lnTo>
                <a:lnTo>
                  <a:pt x="102" y="1042"/>
                </a:lnTo>
                <a:lnTo>
                  <a:pt x="102" y="1038"/>
                </a:lnTo>
                <a:lnTo>
                  <a:pt x="106" y="1034"/>
                </a:lnTo>
                <a:lnTo>
                  <a:pt x="106" y="1033"/>
                </a:lnTo>
                <a:lnTo>
                  <a:pt x="107" y="1032"/>
                </a:lnTo>
                <a:lnTo>
                  <a:pt x="107" y="1031"/>
                </a:lnTo>
                <a:lnTo>
                  <a:pt x="108" y="1031"/>
                </a:lnTo>
                <a:lnTo>
                  <a:pt x="112" y="1027"/>
                </a:lnTo>
                <a:lnTo>
                  <a:pt x="108" y="1030"/>
                </a:lnTo>
                <a:lnTo>
                  <a:pt x="101" y="1037"/>
                </a:lnTo>
                <a:lnTo>
                  <a:pt x="99" y="1036"/>
                </a:lnTo>
                <a:lnTo>
                  <a:pt x="99" y="1037"/>
                </a:lnTo>
                <a:lnTo>
                  <a:pt x="100" y="1038"/>
                </a:lnTo>
                <a:lnTo>
                  <a:pt x="100" y="1039"/>
                </a:lnTo>
                <a:lnTo>
                  <a:pt x="98" y="1043"/>
                </a:lnTo>
                <a:lnTo>
                  <a:pt x="98" y="1045"/>
                </a:lnTo>
                <a:lnTo>
                  <a:pt x="100" y="1047"/>
                </a:lnTo>
                <a:lnTo>
                  <a:pt x="100" y="1051"/>
                </a:lnTo>
                <a:lnTo>
                  <a:pt x="101" y="1052"/>
                </a:lnTo>
                <a:lnTo>
                  <a:pt x="101" y="1053"/>
                </a:lnTo>
                <a:lnTo>
                  <a:pt x="102" y="1053"/>
                </a:lnTo>
                <a:lnTo>
                  <a:pt x="101" y="1056"/>
                </a:lnTo>
                <a:lnTo>
                  <a:pt x="98" y="1056"/>
                </a:lnTo>
                <a:lnTo>
                  <a:pt x="98" y="1055"/>
                </a:lnTo>
                <a:lnTo>
                  <a:pt x="94" y="1055"/>
                </a:lnTo>
                <a:lnTo>
                  <a:pt x="94" y="1057"/>
                </a:lnTo>
                <a:lnTo>
                  <a:pt x="93" y="1057"/>
                </a:lnTo>
                <a:lnTo>
                  <a:pt x="88" y="1059"/>
                </a:lnTo>
                <a:lnTo>
                  <a:pt x="86" y="1059"/>
                </a:lnTo>
                <a:lnTo>
                  <a:pt x="86" y="1061"/>
                </a:lnTo>
                <a:lnTo>
                  <a:pt x="85" y="1061"/>
                </a:lnTo>
                <a:lnTo>
                  <a:pt x="83" y="1058"/>
                </a:lnTo>
                <a:lnTo>
                  <a:pt x="85" y="1057"/>
                </a:lnTo>
                <a:lnTo>
                  <a:pt x="87" y="1056"/>
                </a:lnTo>
                <a:lnTo>
                  <a:pt x="87" y="1055"/>
                </a:lnTo>
                <a:lnTo>
                  <a:pt x="86" y="1056"/>
                </a:lnTo>
                <a:lnTo>
                  <a:pt x="83" y="1056"/>
                </a:lnTo>
                <a:lnTo>
                  <a:pt x="80" y="1055"/>
                </a:lnTo>
                <a:lnTo>
                  <a:pt x="73" y="1053"/>
                </a:lnTo>
                <a:lnTo>
                  <a:pt x="69" y="1051"/>
                </a:lnTo>
                <a:lnTo>
                  <a:pt x="69" y="1049"/>
                </a:lnTo>
                <a:lnTo>
                  <a:pt x="71" y="1046"/>
                </a:lnTo>
                <a:lnTo>
                  <a:pt x="73" y="1042"/>
                </a:lnTo>
                <a:lnTo>
                  <a:pt x="74" y="1042"/>
                </a:lnTo>
                <a:lnTo>
                  <a:pt x="74" y="1040"/>
                </a:lnTo>
                <a:lnTo>
                  <a:pt x="75" y="1039"/>
                </a:lnTo>
                <a:lnTo>
                  <a:pt x="75" y="1036"/>
                </a:lnTo>
                <a:lnTo>
                  <a:pt x="71" y="1043"/>
                </a:lnTo>
                <a:lnTo>
                  <a:pt x="70" y="1046"/>
                </a:lnTo>
                <a:lnTo>
                  <a:pt x="69" y="1047"/>
                </a:lnTo>
                <a:lnTo>
                  <a:pt x="68" y="1046"/>
                </a:lnTo>
                <a:lnTo>
                  <a:pt x="68" y="1045"/>
                </a:lnTo>
                <a:lnTo>
                  <a:pt x="67" y="1045"/>
                </a:lnTo>
                <a:lnTo>
                  <a:pt x="67" y="1051"/>
                </a:lnTo>
                <a:lnTo>
                  <a:pt x="68" y="1052"/>
                </a:lnTo>
                <a:lnTo>
                  <a:pt x="66" y="1052"/>
                </a:lnTo>
                <a:lnTo>
                  <a:pt x="66" y="1053"/>
                </a:lnTo>
                <a:lnTo>
                  <a:pt x="67" y="1055"/>
                </a:lnTo>
                <a:lnTo>
                  <a:pt x="67" y="1057"/>
                </a:lnTo>
                <a:lnTo>
                  <a:pt x="63" y="1061"/>
                </a:lnTo>
                <a:lnTo>
                  <a:pt x="61" y="1061"/>
                </a:lnTo>
                <a:lnTo>
                  <a:pt x="57" y="1059"/>
                </a:lnTo>
                <a:lnTo>
                  <a:pt x="54" y="1057"/>
                </a:lnTo>
                <a:lnTo>
                  <a:pt x="52" y="1055"/>
                </a:lnTo>
                <a:lnTo>
                  <a:pt x="48" y="1057"/>
                </a:lnTo>
                <a:lnTo>
                  <a:pt x="45" y="1057"/>
                </a:lnTo>
                <a:lnTo>
                  <a:pt x="43" y="1056"/>
                </a:lnTo>
                <a:lnTo>
                  <a:pt x="45" y="1055"/>
                </a:lnTo>
                <a:lnTo>
                  <a:pt x="46" y="1053"/>
                </a:lnTo>
                <a:lnTo>
                  <a:pt x="46" y="1052"/>
                </a:lnTo>
                <a:lnTo>
                  <a:pt x="43" y="1056"/>
                </a:lnTo>
                <a:lnTo>
                  <a:pt x="39" y="1056"/>
                </a:lnTo>
                <a:lnTo>
                  <a:pt x="37" y="1057"/>
                </a:lnTo>
                <a:lnTo>
                  <a:pt x="36" y="1056"/>
                </a:lnTo>
                <a:lnTo>
                  <a:pt x="36" y="1053"/>
                </a:lnTo>
                <a:lnTo>
                  <a:pt x="35" y="1055"/>
                </a:lnTo>
                <a:lnTo>
                  <a:pt x="35" y="1057"/>
                </a:lnTo>
                <a:lnTo>
                  <a:pt x="32" y="1057"/>
                </a:lnTo>
                <a:lnTo>
                  <a:pt x="31" y="1058"/>
                </a:lnTo>
                <a:lnTo>
                  <a:pt x="25" y="1058"/>
                </a:lnTo>
                <a:lnTo>
                  <a:pt x="23" y="1062"/>
                </a:lnTo>
                <a:lnTo>
                  <a:pt x="20" y="1063"/>
                </a:lnTo>
                <a:lnTo>
                  <a:pt x="19" y="1063"/>
                </a:lnTo>
                <a:lnTo>
                  <a:pt x="17" y="1062"/>
                </a:lnTo>
                <a:lnTo>
                  <a:pt x="15" y="1059"/>
                </a:lnTo>
                <a:lnTo>
                  <a:pt x="14" y="1059"/>
                </a:lnTo>
                <a:lnTo>
                  <a:pt x="14" y="1061"/>
                </a:lnTo>
                <a:lnTo>
                  <a:pt x="11" y="1061"/>
                </a:lnTo>
                <a:lnTo>
                  <a:pt x="11" y="1059"/>
                </a:lnTo>
                <a:lnTo>
                  <a:pt x="9" y="1059"/>
                </a:lnTo>
                <a:lnTo>
                  <a:pt x="9" y="1058"/>
                </a:lnTo>
                <a:lnTo>
                  <a:pt x="13" y="1058"/>
                </a:lnTo>
                <a:lnTo>
                  <a:pt x="12" y="1057"/>
                </a:lnTo>
                <a:lnTo>
                  <a:pt x="8" y="1057"/>
                </a:lnTo>
                <a:lnTo>
                  <a:pt x="6" y="1056"/>
                </a:lnTo>
                <a:lnTo>
                  <a:pt x="5" y="1056"/>
                </a:lnTo>
                <a:lnTo>
                  <a:pt x="6" y="1053"/>
                </a:lnTo>
                <a:lnTo>
                  <a:pt x="8" y="1053"/>
                </a:lnTo>
                <a:lnTo>
                  <a:pt x="12" y="1056"/>
                </a:lnTo>
                <a:lnTo>
                  <a:pt x="12" y="1055"/>
                </a:lnTo>
                <a:lnTo>
                  <a:pt x="13" y="1055"/>
                </a:lnTo>
                <a:lnTo>
                  <a:pt x="9" y="1051"/>
                </a:lnTo>
                <a:lnTo>
                  <a:pt x="2" y="1051"/>
                </a:lnTo>
                <a:lnTo>
                  <a:pt x="4" y="1050"/>
                </a:lnTo>
                <a:lnTo>
                  <a:pt x="2" y="1049"/>
                </a:lnTo>
                <a:lnTo>
                  <a:pt x="2" y="1047"/>
                </a:lnTo>
                <a:lnTo>
                  <a:pt x="1" y="1047"/>
                </a:lnTo>
                <a:lnTo>
                  <a:pt x="4" y="1045"/>
                </a:lnTo>
                <a:lnTo>
                  <a:pt x="5" y="1045"/>
                </a:lnTo>
                <a:lnTo>
                  <a:pt x="6" y="1044"/>
                </a:lnTo>
                <a:lnTo>
                  <a:pt x="7" y="1044"/>
                </a:lnTo>
                <a:lnTo>
                  <a:pt x="7" y="1043"/>
                </a:lnTo>
                <a:lnTo>
                  <a:pt x="8" y="1044"/>
                </a:lnTo>
                <a:lnTo>
                  <a:pt x="9" y="1043"/>
                </a:lnTo>
                <a:lnTo>
                  <a:pt x="11" y="1040"/>
                </a:lnTo>
                <a:lnTo>
                  <a:pt x="13" y="1040"/>
                </a:lnTo>
                <a:lnTo>
                  <a:pt x="15" y="1043"/>
                </a:lnTo>
                <a:lnTo>
                  <a:pt x="15" y="1046"/>
                </a:lnTo>
                <a:lnTo>
                  <a:pt x="17" y="1047"/>
                </a:lnTo>
                <a:lnTo>
                  <a:pt x="17" y="1043"/>
                </a:lnTo>
                <a:lnTo>
                  <a:pt x="14" y="1040"/>
                </a:lnTo>
                <a:lnTo>
                  <a:pt x="14" y="1039"/>
                </a:lnTo>
                <a:lnTo>
                  <a:pt x="21" y="1038"/>
                </a:lnTo>
                <a:lnTo>
                  <a:pt x="30" y="1038"/>
                </a:lnTo>
                <a:lnTo>
                  <a:pt x="29" y="1037"/>
                </a:lnTo>
                <a:lnTo>
                  <a:pt x="26" y="1037"/>
                </a:lnTo>
                <a:lnTo>
                  <a:pt x="9" y="1039"/>
                </a:lnTo>
                <a:lnTo>
                  <a:pt x="7" y="1042"/>
                </a:lnTo>
                <a:lnTo>
                  <a:pt x="5" y="1042"/>
                </a:lnTo>
                <a:lnTo>
                  <a:pt x="4" y="1040"/>
                </a:lnTo>
                <a:lnTo>
                  <a:pt x="4" y="1039"/>
                </a:lnTo>
                <a:lnTo>
                  <a:pt x="2" y="1038"/>
                </a:lnTo>
                <a:lnTo>
                  <a:pt x="2" y="1037"/>
                </a:lnTo>
                <a:lnTo>
                  <a:pt x="4" y="1036"/>
                </a:lnTo>
                <a:lnTo>
                  <a:pt x="4" y="1034"/>
                </a:lnTo>
                <a:lnTo>
                  <a:pt x="5" y="1034"/>
                </a:lnTo>
                <a:lnTo>
                  <a:pt x="5" y="1036"/>
                </a:lnTo>
                <a:lnTo>
                  <a:pt x="6" y="1037"/>
                </a:lnTo>
                <a:lnTo>
                  <a:pt x="6" y="1034"/>
                </a:lnTo>
                <a:lnTo>
                  <a:pt x="8" y="1033"/>
                </a:lnTo>
                <a:lnTo>
                  <a:pt x="7" y="1032"/>
                </a:lnTo>
                <a:lnTo>
                  <a:pt x="7" y="1033"/>
                </a:lnTo>
                <a:lnTo>
                  <a:pt x="4" y="1033"/>
                </a:lnTo>
                <a:lnTo>
                  <a:pt x="2" y="1034"/>
                </a:lnTo>
                <a:lnTo>
                  <a:pt x="1" y="1034"/>
                </a:lnTo>
                <a:lnTo>
                  <a:pt x="1" y="1033"/>
                </a:lnTo>
                <a:lnTo>
                  <a:pt x="5" y="1031"/>
                </a:lnTo>
                <a:lnTo>
                  <a:pt x="9" y="1031"/>
                </a:lnTo>
                <a:lnTo>
                  <a:pt x="11" y="1030"/>
                </a:lnTo>
                <a:lnTo>
                  <a:pt x="11" y="1028"/>
                </a:lnTo>
                <a:lnTo>
                  <a:pt x="12" y="1030"/>
                </a:lnTo>
                <a:lnTo>
                  <a:pt x="14" y="1031"/>
                </a:lnTo>
                <a:lnTo>
                  <a:pt x="15" y="1031"/>
                </a:lnTo>
                <a:lnTo>
                  <a:pt x="17" y="1030"/>
                </a:lnTo>
                <a:lnTo>
                  <a:pt x="24" y="1032"/>
                </a:lnTo>
                <a:lnTo>
                  <a:pt x="26" y="1032"/>
                </a:lnTo>
                <a:lnTo>
                  <a:pt x="25" y="1031"/>
                </a:lnTo>
                <a:lnTo>
                  <a:pt x="29" y="1031"/>
                </a:lnTo>
                <a:lnTo>
                  <a:pt x="29" y="1030"/>
                </a:lnTo>
                <a:lnTo>
                  <a:pt x="30" y="1030"/>
                </a:lnTo>
                <a:lnTo>
                  <a:pt x="30" y="1028"/>
                </a:lnTo>
                <a:lnTo>
                  <a:pt x="31" y="1027"/>
                </a:lnTo>
                <a:lnTo>
                  <a:pt x="35" y="1027"/>
                </a:lnTo>
                <a:lnTo>
                  <a:pt x="35" y="1028"/>
                </a:lnTo>
                <a:lnTo>
                  <a:pt x="36" y="1031"/>
                </a:lnTo>
                <a:lnTo>
                  <a:pt x="37" y="1031"/>
                </a:lnTo>
                <a:lnTo>
                  <a:pt x="37" y="1030"/>
                </a:lnTo>
                <a:lnTo>
                  <a:pt x="36" y="1030"/>
                </a:lnTo>
                <a:lnTo>
                  <a:pt x="35" y="1027"/>
                </a:lnTo>
                <a:lnTo>
                  <a:pt x="33" y="1026"/>
                </a:lnTo>
                <a:lnTo>
                  <a:pt x="31" y="1026"/>
                </a:lnTo>
                <a:lnTo>
                  <a:pt x="30" y="1027"/>
                </a:lnTo>
                <a:lnTo>
                  <a:pt x="29" y="1027"/>
                </a:lnTo>
                <a:lnTo>
                  <a:pt x="27" y="1030"/>
                </a:lnTo>
                <a:lnTo>
                  <a:pt x="25" y="1030"/>
                </a:lnTo>
                <a:lnTo>
                  <a:pt x="24" y="1031"/>
                </a:lnTo>
                <a:lnTo>
                  <a:pt x="23" y="1031"/>
                </a:lnTo>
                <a:lnTo>
                  <a:pt x="21" y="1030"/>
                </a:lnTo>
                <a:lnTo>
                  <a:pt x="21" y="1028"/>
                </a:lnTo>
                <a:lnTo>
                  <a:pt x="20" y="1027"/>
                </a:lnTo>
                <a:lnTo>
                  <a:pt x="15" y="1028"/>
                </a:lnTo>
                <a:lnTo>
                  <a:pt x="13" y="1027"/>
                </a:lnTo>
                <a:lnTo>
                  <a:pt x="11" y="1025"/>
                </a:lnTo>
                <a:lnTo>
                  <a:pt x="8" y="1024"/>
                </a:lnTo>
                <a:lnTo>
                  <a:pt x="9" y="1022"/>
                </a:lnTo>
                <a:lnTo>
                  <a:pt x="8" y="1022"/>
                </a:lnTo>
                <a:lnTo>
                  <a:pt x="8" y="1021"/>
                </a:lnTo>
                <a:lnTo>
                  <a:pt x="9" y="1021"/>
                </a:lnTo>
                <a:lnTo>
                  <a:pt x="12" y="1022"/>
                </a:lnTo>
                <a:lnTo>
                  <a:pt x="13" y="1021"/>
                </a:lnTo>
                <a:lnTo>
                  <a:pt x="17" y="1021"/>
                </a:lnTo>
                <a:lnTo>
                  <a:pt x="11" y="1019"/>
                </a:lnTo>
                <a:lnTo>
                  <a:pt x="9" y="1018"/>
                </a:lnTo>
                <a:lnTo>
                  <a:pt x="17" y="1018"/>
                </a:lnTo>
                <a:lnTo>
                  <a:pt x="17" y="1019"/>
                </a:lnTo>
                <a:lnTo>
                  <a:pt x="21" y="1019"/>
                </a:lnTo>
                <a:lnTo>
                  <a:pt x="18" y="1016"/>
                </a:lnTo>
                <a:lnTo>
                  <a:pt x="14" y="1016"/>
                </a:lnTo>
                <a:lnTo>
                  <a:pt x="17" y="1015"/>
                </a:lnTo>
                <a:lnTo>
                  <a:pt x="18" y="1014"/>
                </a:lnTo>
                <a:lnTo>
                  <a:pt x="14" y="1014"/>
                </a:lnTo>
                <a:lnTo>
                  <a:pt x="13" y="1015"/>
                </a:lnTo>
                <a:lnTo>
                  <a:pt x="2" y="1015"/>
                </a:lnTo>
                <a:lnTo>
                  <a:pt x="1" y="1014"/>
                </a:lnTo>
                <a:lnTo>
                  <a:pt x="0" y="1012"/>
                </a:lnTo>
                <a:lnTo>
                  <a:pt x="0" y="1010"/>
                </a:lnTo>
                <a:lnTo>
                  <a:pt x="1" y="1009"/>
                </a:lnTo>
                <a:lnTo>
                  <a:pt x="1" y="1007"/>
                </a:lnTo>
                <a:lnTo>
                  <a:pt x="2" y="1006"/>
                </a:lnTo>
                <a:lnTo>
                  <a:pt x="2" y="1004"/>
                </a:lnTo>
                <a:lnTo>
                  <a:pt x="4" y="1004"/>
                </a:lnTo>
                <a:lnTo>
                  <a:pt x="5" y="1003"/>
                </a:lnTo>
                <a:lnTo>
                  <a:pt x="5" y="1004"/>
                </a:lnTo>
                <a:lnTo>
                  <a:pt x="6" y="1004"/>
                </a:lnTo>
                <a:lnTo>
                  <a:pt x="6" y="1006"/>
                </a:lnTo>
                <a:lnTo>
                  <a:pt x="7" y="1006"/>
                </a:lnTo>
                <a:lnTo>
                  <a:pt x="8" y="1007"/>
                </a:lnTo>
                <a:lnTo>
                  <a:pt x="9" y="1007"/>
                </a:lnTo>
                <a:lnTo>
                  <a:pt x="9" y="1006"/>
                </a:lnTo>
                <a:lnTo>
                  <a:pt x="8" y="1004"/>
                </a:lnTo>
                <a:lnTo>
                  <a:pt x="8" y="1003"/>
                </a:lnTo>
                <a:lnTo>
                  <a:pt x="9" y="1003"/>
                </a:lnTo>
                <a:lnTo>
                  <a:pt x="11" y="1002"/>
                </a:lnTo>
                <a:lnTo>
                  <a:pt x="6" y="1003"/>
                </a:lnTo>
                <a:lnTo>
                  <a:pt x="6" y="1002"/>
                </a:lnTo>
                <a:lnTo>
                  <a:pt x="8" y="1000"/>
                </a:lnTo>
                <a:lnTo>
                  <a:pt x="13" y="999"/>
                </a:lnTo>
                <a:lnTo>
                  <a:pt x="14" y="997"/>
                </a:lnTo>
                <a:lnTo>
                  <a:pt x="14" y="996"/>
                </a:lnTo>
                <a:lnTo>
                  <a:pt x="17" y="996"/>
                </a:lnTo>
                <a:lnTo>
                  <a:pt x="17" y="995"/>
                </a:lnTo>
                <a:lnTo>
                  <a:pt x="15" y="995"/>
                </a:lnTo>
                <a:lnTo>
                  <a:pt x="15" y="994"/>
                </a:lnTo>
                <a:lnTo>
                  <a:pt x="18" y="990"/>
                </a:lnTo>
                <a:lnTo>
                  <a:pt x="25" y="990"/>
                </a:lnTo>
                <a:lnTo>
                  <a:pt x="26" y="991"/>
                </a:lnTo>
                <a:lnTo>
                  <a:pt x="27" y="990"/>
                </a:lnTo>
                <a:lnTo>
                  <a:pt x="29" y="990"/>
                </a:lnTo>
                <a:lnTo>
                  <a:pt x="30" y="991"/>
                </a:lnTo>
                <a:lnTo>
                  <a:pt x="31" y="991"/>
                </a:lnTo>
                <a:lnTo>
                  <a:pt x="35" y="995"/>
                </a:lnTo>
                <a:lnTo>
                  <a:pt x="33" y="996"/>
                </a:lnTo>
                <a:lnTo>
                  <a:pt x="30" y="996"/>
                </a:lnTo>
                <a:lnTo>
                  <a:pt x="29" y="999"/>
                </a:lnTo>
                <a:lnTo>
                  <a:pt x="30" y="999"/>
                </a:lnTo>
                <a:lnTo>
                  <a:pt x="33" y="996"/>
                </a:lnTo>
                <a:lnTo>
                  <a:pt x="42" y="995"/>
                </a:lnTo>
                <a:lnTo>
                  <a:pt x="43" y="996"/>
                </a:lnTo>
                <a:lnTo>
                  <a:pt x="43" y="999"/>
                </a:lnTo>
                <a:lnTo>
                  <a:pt x="42" y="1001"/>
                </a:lnTo>
                <a:lnTo>
                  <a:pt x="40" y="1004"/>
                </a:lnTo>
                <a:lnTo>
                  <a:pt x="43" y="1002"/>
                </a:lnTo>
                <a:lnTo>
                  <a:pt x="43" y="1001"/>
                </a:lnTo>
                <a:lnTo>
                  <a:pt x="44" y="997"/>
                </a:lnTo>
                <a:lnTo>
                  <a:pt x="45" y="996"/>
                </a:lnTo>
                <a:lnTo>
                  <a:pt x="45" y="997"/>
                </a:lnTo>
                <a:lnTo>
                  <a:pt x="48" y="999"/>
                </a:lnTo>
                <a:lnTo>
                  <a:pt x="49" y="1001"/>
                </a:lnTo>
                <a:lnTo>
                  <a:pt x="50" y="1002"/>
                </a:lnTo>
                <a:lnTo>
                  <a:pt x="52" y="1002"/>
                </a:lnTo>
                <a:lnTo>
                  <a:pt x="52" y="1001"/>
                </a:lnTo>
                <a:lnTo>
                  <a:pt x="51" y="1001"/>
                </a:lnTo>
                <a:lnTo>
                  <a:pt x="50" y="1000"/>
                </a:lnTo>
                <a:lnTo>
                  <a:pt x="50" y="999"/>
                </a:lnTo>
                <a:lnTo>
                  <a:pt x="49" y="999"/>
                </a:lnTo>
                <a:lnTo>
                  <a:pt x="49" y="997"/>
                </a:lnTo>
                <a:lnTo>
                  <a:pt x="48" y="997"/>
                </a:lnTo>
                <a:lnTo>
                  <a:pt x="48" y="996"/>
                </a:lnTo>
                <a:lnTo>
                  <a:pt x="57" y="996"/>
                </a:lnTo>
                <a:lnTo>
                  <a:pt x="58" y="997"/>
                </a:lnTo>
                <a:lnTo>
                  <a:pt x="61" y="999"/>
                </a:lnTo>
                <a:lnTo>
                  <a:pt x="66" y="1000"/>
                </a:lnTo>
                <a:lnTo>
                  <a:pt x="68" y="997"/>
                </a:lnTo>
                <a:lnTo>
                  <a:pt x="68" y="995"/>
                </a:lnTo>
                <a:lnTo>
                  <a:pt x="69" y="994"/>
                </a:lnTo>
                <a:lnTo>
                  <a:pt x="70" y="994"/>
                </a:lnTo>
                <a:lnTo>
                  <a:pt x="71" y="993"/>
                </a:lnTo>
                <a:lnTo>
                  <a:pt x="73" y="993"/>
                </a:lnTo>
                <a:lnTo>
                  <a:pt x="75" y="994"/>
                </a:lnTo>
                <a:lnTo>
                  <a:pt x="76" y="995"/>
                </a:lnTo>
                <a:lnTo>
                  <a:pt x="77" y="995"/>
                </a:lnTo>
                <a:lnTo>
                  <a:pt x="77" y="996"/>
                </a:lnTo>
                <a:lnTo>
                  <a:pt x="79" y="996"/>
                </a:lnTo>
                <a:lnTo>
                  <a:pt x="79" y="994"/>
                </a:lnTo>
                <a:lnTo>
                  <a:pt x="80" y="994"/>
                </a:lnTo>
                <a:lnTo>
                  <a:pt x="80" y="993"/>
                </a:lnTo>
                <a:lnTo>
                  <a:pt x="79" y="993"/>
                </a:lnTo>
                <a:lnTo>
                  <a:pt x="77" y="994"/>
                </a:lnTo>
                <a:lnTo>
                  <a:pt x="77" y="993"/>
                </a:lnTo>
                <a:lnTo>
                  <a:pt x="74" y="993"/>
                </a:lnTo>
                <a:lnTo>
                  <a:pt x="74" y="991"/>
                </a:lnTo>
                <a:lnTo>
                  <a:pt x="73" y="991"/>
                </a:lnTo>
                <a:lnTo>
                  <a:pt x="69" y="993"/>
                </a:lnTo>
                <a:lnTo>
                  <a:pt x="67" y="995"/>
                </a:lnTo>
                <a:lnTo>
                  <a:pt x="67" y="996"/>
                </a:lnTo>
                <a:lnTo>
                  <a:pt x="66" y="997"/>
                </a:lnTo>
                <a:lnTo>
                  <a:pt x="56" y="995"/>
                </a:lnTo>
                <a:lnTo>
                  <a:pt x="49" y="995"/>
                </a:lnTo>
                <a:lnTo>
                  <a:pt x="46" y="994"/>
                </a:lnTo>
                <a:lnTo>
                  <a:pt x="43" y="994"/>
                </a:lnTo>
                <a:lnTo>
                  <a:pt x="42" y="993"/>
                </a:lnTo>
                <a:lnTo>
                  <a:pt x="39" y="993"/>
                </a:lnTo>
                <a:lnTo>
                  <a:pt x="37" y="995"/>
                </a:lnTo>
                <a:lnTo>
                  <a:pt x="33" y="991"/>
                </a:lnTo>
                <a:lnTo>
                  <a:pt x="42" y="990"/>
                </a:lnTo>
                <a:lnTo>
                  <a:pt x="43" y="990"/>
                </a:lnTo>
                <a:lnTo>
                  <a:pt x="43" y="989"/>
                </a:lnTo>
                <a:lnTo>
                  <a:pt x="30" y="989"/>
                </a:lnTo>
                <a:lnTo>
                  <a:pt x="25" y="988"/>
                </a:lnTo>
                <a:lnTo>
                  <a:pt x="18" y="988"/>
                </a:lnTo>
                <a:lnTo>
                  <a:pt x="15" y="989"/>
                </a:lnTo>
                <a:lnTo>
                  <a:pt x="14" y="990"/>
                </a:lnTo>
                <a:lnTo>
                  <a:pt x="12" y="989"/>
                </a:lnTo>
                <a:lnTo>
                  <a:pt x="11" y="989"/>
                </a:lnTo>
                <a:lnTo>
                  <a:pt x="9" y="990"/>
                </a:lnTo>
                <a:lnTo>
                  <a:pt x="9" y="991"/>
                </a:lnTo>
                <a:lnTo>
                  <a:pt x="7" y="989"/>
                </a:lnTo>
                <a:lnTo>
                  <a:pt x="7" y="988"/>
                </a:lnTo>
                <a:lnTo>
                  <a:pt x="5" y="988"/>
                </a:lnTo>
                <a:lnTo>
                  <a:pt x="4" y="987"/>
                </a:lnTo>
                <a:lnTo>
                  <a:pt x="4" y="985"/>
                </a:lnTo>
                <a:lnTo>
                  <a:pt x="5" y="985"/>
                </a:lnTo>
                <a:lnTo>
                  <a:pt x="5" y="984"/>
                </a:lnTo>
                <a:lnTo>
                  <a:pt x="2" y="982"/>
                </a:lnTo>
                <a:lnTo>
                  <a:pt x="2" y="978"/>
                </a:lnTo>
                <a:lnTo>
                  <a:pt x="4" y="979"/>
                </a:lnTo>
                <a:lnTo>
                  <a:pt x="6" y="981"/>
                </a:lnTo>
                <a:lnTo>
                  <a:pt x="7" y="981"/>
                </a:lnTo>
                <a:lnTo>
                  <a:pt x="7" y="979"/>
                </a:lnTo>
                <a:lnTo>
                  <a:pt x="8" y="979"/>
                </a:lnTo>
                <a:lnTo>
                  <a:pt x="9" y="982"/>
                </a:lnTo>
                <a:lnTo>
                  <a:pt x="9" y="983"/>
                </a:lnTo>
                <a:lnTo>
                  <a:pt x="8" y="983"/>
                </a:lnTo>
                <a:lnTo>
                  <a:pt x="8" y="984"/>
                </a:lnTo>
                <a:lnTo>
                  <a:pt x="9" y="984"/>
                </a:lnTo>
                <a:lnTo>
                  <a:pt x="9" y="985"/>
                </a:lnTo>
                <a:lnTo>
                  <a:pt x="11" y="985"/>
                </a:lnTo>
                <a:lnTo>
                  <a:pt x="11" y="984"/>
                </a:lnTo>
                <a:lnTo>
                  <a:pt x="12" y="984"/>
                </a:lnTo>
                <a:lnTo>
                  <a:pt x="12" y="985"/>
                </a:lnTo>
                <a:lnTo>
                  <a:pt x="13" y="985"/>
                </a:lnTo>
                <a:lnTo>
                  <a:pt x="13" y="983"/>
                </a:lnTo>
                <a:lnTo>
                  <a:pt x="15" y="982"/>
                </a:lnTo>
                <a:lnTo>
                  <a:pt x="15" y="979"/>
                </a:lnTo>
                <a:lnTo>
                  <a:pt x="17" y="979"/>
                </a:lnTo>
                <a:lnTo>
                  <a:pt x="19" y="981"/>
                </a:lnTo>
                <a:lnTo>
                  <a:pt x="20" y="979"/>
                </a:lnTo>
                <a:lnTo>
                  <a:pt x="19" y="978"/>
                </a:lnTo>
                <a:lnTo>
                  <a:pt x="17" y="978"/>
                </a:lnTo>
                <a:lnTo>
                  <a:pt x="17" y="977"/>
                </a:lnTo>
                <a:lnTo>
                  <a:pt x="12" y="972"/>
                </a:lnTo>
                <a:lnTo>
                  <a:pt x="7" y="972"/>
                </a:lnTo>
                <a:lnTo>
                  <a:pt x="7" y="970"/>
                </a:lnTo>
                <a:lnTo>
                  <a:pt x="8" y="970"/>
                </a:lnTo>
                <a:lnTo>
                  <a:pt x="6" y="967"/>
                </a:lnTo>
                <a:lnTo>
                  <a:pt x="6" y="966"/>
                </a:lnTo>
                <a:lnTo>
                  <a:pt x="7" y="966"/>
                </a:lnTo>
                <a:lnTo>
                  <a:pt x="6" y="965"/>
                </a:lnTo>
                <a:lnTo>
                  <a:pt x="6" y="964"/>
                </a:lnTo>
                <a:lnTo>
                  <a:pt x="9" y="964"/>
                </a:lnTo>
                <a:lnTo>
                  <a:pt x="9" y="963"/>
                </a:lnTo>
                <a:lnTo>
                  <a:pt x="11" y="963"/>
                </a:lnTo>
                <a:lnTo>
                  <a:pt x="13" y="965"/>
                </a:lnTo>
                <a:lnTo>
                  <a:pt x="13" y="966"/>
                </a:lnTo>
                <a:lnTo>
                  <a:pt x="14" y="966"/>
                </a:lnTo>
                <a:lnTo>
                  <a:pt x="14" y="970"/>
                </a:lnTo>
                <a:lnTo>
                  <a:pt x="17" y="972"/>
                </a:lnTo>
                <a:lnTo>
                  <a:pt x="19" y="973"/>
                </a:lnTo>
                <a:lnTo>
                  <a:pt x="21" y="976"/>
                </a:lnTo>
                <a:lnTo>
                  <a:pt x="23" y="981"/>
                </a:lnTo>
                <a:lnTo>
                  <a:pt x="24" y="979"/>
                </a:lnTo>
                <a:lnTo>
                  <a:pt x="25" y="976"/>
                </a:lnTo>
                <a:lnTo>
                  <a:pt x="25" y="975"/>
                </a:lnTo>
                <a:lnTo>
                  <a:pt x="26" y="975"/>
                </a:lnTo>
                <a:lnTo>
                  <a:pt x="27" y="976"/>
                </a:lnTo>
                <a:lnTo>
                  <a:pt x="26" y="973"/>
                </a:lnTo>
                <a:lnTo>
                  <a:pt x="20" y="972"/>
                </a:lnTo>
                <a:lnTo>
                  <a:pt x="20" y="971"/>
                </a:lnTo>
                <a:lnTo>
                  <a:pt x="19" y="971"/>
                </a:lnTo>
                <a:lnTo>
                  <a:pt x="19" y="970"/>
                </a:lnTo>
                <a:lnTo>
                  <a:pt x="20" y="967"/>
                </a:lnTo>
                <a:lnTo>
                  <a:pt x="20" y="966"/>
                </a:lnTo>
                <a:lnTo>
                  <a:pt x="23" y="964"/>
                </a:lnTo>
                <a:lnTo>
                  <a:pt x="23" y="965"/>
                </a:lnTo>
                <a:lnTo>
                  <a:pt x="25" y="966"/>
                </a:lnTo>
                <a:lnTo>
                  <a:pt x="29" y="966"/>
                </a:lnTo>
                <a:lnTo>
                  <a:pt x="30" y="967"/>
                </a:lnTo>
                <a:lnTo>
                  <a:pt x="30" y="969"/>
                </a:lnTo>
                <a:lnTo>
                  <a:pt x="31" y="970"/>
                </a:lnTo>
                <a:lnTo>
                  <a:pt x="31" y="971"/>
                </a:lnTo>
                <a:lnTo>
                  <a:pt x="32" y="971"/>
                </a:lnTo>
                <a:lnTo>
                  <a:pt x="31" y="969"/>
                </a:lnTo>
                <a:lnTo>
                  <a:pt x="31" y="966"/>
                </a:lnTo>
                <a:lnTo>
                  <a:pt x="32" y="965"/>
                </a:lnTo>
                <a:lnTo>
                  <a:pt x="36" y="965"/>
                </a:lnTo>
                <a:lnTo>
                  <a:pt x="38" y="964"/>
                </a:lnTo>
                <a:lnTo>
                  <a:pt x="39" y="963"/>
                </a:lnTo>
                <a:lnTo>
                  <a:pt x="40" y="964"/>
                </a:lnTo>
                <a:lnTo>
                  <a:pt x="42" y="964"/>
                </a:lnTo>
                <a:lnTo>
                  <a:pt x="42" y="973"/>
                </a:lnTo>
                <a:lnTo>
                  <a:pt x="39" y="977"/>
                </a:lnTo>
                <a:lnTo>
                  <a:pt x="38" y="979"/>
                </a:lnTo>
                <a:lnTo>
                  <a:pt x="42" y="976"/>
                </a:lnTo>
                <a:lnTo>
                  <a:pt x="43" y="973"/>
                </a:lnTo>
                <a:lnTo>
                  <a:pt x="43" y="969"/>
                </a:lnTo>
                <a:lnTo>
                  <a:pt x="44" y="969"/>
                </a:lnTo>
                <a:lnTo>
                  <a:pt x="46" y="972"/>
                </a:lnTo>
                <a:lnTo>
                  <a:pt x="48" y="973"/>
                </a:lnTo>
                <a:lnTo>
                  <a:pt x="48" y="976"/>
                </a:lnTo>
                <a:lnTo>
                  <a:pt x="49" y="975"/>
                </a:lnTo>
                <a:lnTo>
                  <a:pt x="54" y="975"/>
                </a:lnTo>
                <a:lnTo>
                  <a:pt x="61" y="976"/>
                </a:lnTo>
                <a:lnTo>
                  <a:pt x="49" y="972"/>
                </a:lnTo>
                <a:lnTo>
                  <a:pt x="49" y="971"/>
                </a:lnTo>
                <a:lnTo>
                  <a:pt x="48" y="969"/>
                </a:lnTo>
                <a:lnTo>
                  <a:pt x="46" y="969"/>
                </a:lnTo>
                <a:lnTo>
                  <a:pt x="44" y="965"/>
                </a:lnTo>
                <a:lnTo>
                  <a:pt x="42" y="964"/>
                </a:lnTo>
                <a:lnTo>
                  <a:pt x="42" y="961"/>
                </a:lnTo>
                <a:lnTo>
                  <a:pt x="43" y="961"/>
                </a:lnTo>
                <a:lnTo>
                  <a:pt x="45" y="963"/>
                </a:lnTo>
                <a:lnTo>
                  <a:pt x="46" y="963"/>
                </a:lnTo>
                <a:lnTo>
                  <a:pt x="45" y="961"/>
                </a:lnTo>
                <a:lnTo>
                  <a:pt x="44" y="961"/>
                </a:lnTo>
                <a:lnTo>
                  <a:pt x="44" y="959"/>
                </a:lnTo>
                <a:lnTo>
                  <a:pt x="43" y="959"/>
                </a:lnTo>
                <a:lnTo>
                  <a:pt x="44" y="957"/>
                </a:lnTo>
                <a:lnTo>
                  <a:pt x="49" y="952"/>
                </a:lnTo>
                <a:lnTo>
                  <a:pt x="51" y="952"/>
                </a:lnTo>
                <a:lnTo>
                  <a:pt x="58" y="948"/>
                </a:lnTo>
                <a:lnTo>
                  <a:pt x="60" y="950"/>
                </a:lnTo>
                <a:lnTo>
                  <a:pt x="60" y="951"/>
                </a:lnTo>
                <a:lnTo>
                  <a:pt x="61" y="953"/>
                </a:lnTo>
                <a:lnTo>
                  <a:pt x="62" y="957"/>
                </a:lnTo>
                <a:lnTo>
                  <a:pt x="62" y="958"/>
                </a:lnTo>
                <a:lnTo>
                  <a:pt x="64" y="959"/>
                </a:lnTo>
                <a:lnTo>
                  <a:pt x="66" y="960"/>
                </a:lnTo>
                <a:lnTo>
                  <a:pt x="68" y="966"/>
                </a:lnTo>
                <a:lnTo>
                  <a:pt x="69" y="967"/>
                </a:lnTo>
                <a:lnTo>
                  <a:pt x="69" y="969"/>
                </a:lnTo>
                <a:lnTo>
                  <a:pt x="68" y="972"/>
                </a:lnTo>
                <a:lnTo>
                  <a:pt x="70" y="970"/>
                </a:lnTo>
                <a:lnTo>
                  <a:pt x="69" y="967"/>
                </a:lnTo>
                <a:lnTo>
                  <a:pt x="66" y="959"/>
                </a:lnTo>
                <a:lnTo>
                  <a:pt x="63" y="953"/>
                </a:lnTo>
                <a:lnTo>
                  <a:pt x="62" y="951"/>
                </a:lnTo>
                <a:lnTo>
                  <a:pt x="62" y="947"/>
                </a:lnTo>
                <a:lnTo>
                  <a:pt x="63" y="946"/>
                </a:lnTo>
                <a:lnTo>
                  <a:pt x="67" y="946"/>
                </a:lnTo>
                <a:lnTo>
                  <a:pt x="68" y="947"/>
                </a:lnTo>
                <a:lnTo>
                  <a:pt x="69" y="950"/>
                </a:lnTo>
                <a:lnTo>
                  <a:pt x="69" y="946"/>
                </a:lnTo>
                <a:lnTo>
                  <a:pt x="68" y="945"/>
                </a:lnTo>
                <a:lnTo>
                  <a:pt x="69" y="944"/>
                </a:lnTo>
                <a:lnTo>
                  <a:pt x="73" y="942"/>
                </a:lnTo>
                <a:lnTo>
                  <a:pt x="74" y="941"/>
                </a:lnTo>
                <a:lnTo>
                  <a:pt x="75" y="941"/>
                </a:lnTo>
                <a:lnTo>
                  <a:pt x="76" y="942"/>
                </a:lnTo>
                <a:lnTo>
                  <a:pt x="82" y="944"/>
                </a:lnTo>
                <a:lnTo>
                  <a:pt x="82" y="951"/>
                </a:lnTo>
                <a:lnTo>
                  <a:pt x="87" y="956"/>
                </a:lnTo>
                <a:lnTo>
                  <a:pt x="87" y="959"/>
                </a:lnTo>
                <a:lnTo>
                  <a:pt x="88" y="963"/>
                </a:lnTo>
                <a:lnTo>
                  <a:pt x="87" y="964"/>
                </a:lnTo>
                <a:lnTo>
                  <a:pt x="87" y="965"/>
                </a:lnTo>
                <a:lnTo>
                  <a:pt x="85" y="970"/>
                </a:lnTo>
                <a:lnTo>
                  <a:pt x="85" y="971"/>
                </a:lnTo>
                <a:lnTo>
                  <a:pt x="87" y="973"/>
                </a:lnTo>
                <a:lnTo>
                  <a:pt x="88" y="973"/>
                </a:lnTo>
                <a:lnTo>
                  <a:pt x="92" y="972"/>
                </a:lnTo>
                <a:lnTo>
                  <a:pt x="93" y="971"/>
                </a:lnTo>
                <a:lnTo>
                  <a:pt x="94" y="971"/>
                </a:lnTo>
                <a:lnTo>
                  <a:pt x="95" y="972"/>
                </a:lnTo>
                <a:lnTo>
                  <a:pt x="94" y="970"/>
                </a:lnTo>
                <a:lnTo>
                  <a:pt x="88" y="972"/>
                </a:lnTo>
                <a:lnTo>
                  <a:pt x="86" y="970"/>
                </a:lnTo>
                <a:lnTo>
                  <a:pt x="87" y="969"/>
                </a:lnTo>
                <a:lnTo>
                  <a:pt x="88" y="966"/>
                </a:lnTo>
                <a:lnTo>
                  <a:pt x="89" y="965"/>
                </a:lnTo>
                <a:lnTo>
                  <a:pt x="89" y="964"/>
                </a:lnTo>
                <a:lnTo>
                  <a:pt x="88" y="958"/>
                </a:lnTo>
                <a:lnTo>
                  <a:pt x="89" y="957"/>
                </a:lnTo>
                <a:lnTo>
                  <a:pt x="92" y="957"/>
                </a:lnTo>
                <a:lnTo>
                  <a:pt x="96" y="959"/>
                </a:lnTo>
                <a:lnTo>
                  <a:pt x="98" y="958"/>
                </a:lnTo>
                <a:lnTo>
                  <a:pt x="98" y="957"/>
                </a:lnTo>
                <a:lnTo>
                  <a:pt x="101" y="957"/>
                </a:lnTo>
                <a:lnTo>
                  <a:pt x="102" y="958"/>
                </a:lnTo>
                <a:lnTo>
                  <a:pt x="102" y="959"/>
                </a:lnTo>
                <a:lnTo>
                  <a:pt x="104" y="960"/>
                </a:lnTo>
                <a:lnTo>
                  <a:pt x="105" y="960"/>
                </a:lnTo>
                <a:lnTo>
                  <a:pt x="102" y="957"/>
                </a:lnTo>
                <a:lnTo>
                  <a:pt x="100" y="954"/>
                </a:lnTo>
                <a:lnTo>
                  <a:pt x="94" y="956"/>
                </a:lnTo>
                <a:lnTo>
                  <a:pt x="88" y="954"/>
                </a:lnTo>
                <a:lnTo>
                  <a:pt x="86" y="952"/>
                </a:lnTo>
                <a:lnTo>
                  <a:pt x="83" y="948"/>
                </a:lnTo>
                <a:lnTo>
                  <a:pt x="86" y="948"/>
                </a:lnTo>
                <a:lnTo>
                  <a:pt x="86" y="947"/>
                </a:lnTo>
                <a:lnTo>
                  <a:pt x="81" y="940"/>
                </a:lnTo>
                <a:lnTo>
                  <a:pt x="77" y="940"/>
                </a:lnTo>
                <a:lnTo>
                  <a:pt x="77" y="939"/>
                </a:lnTo>
                <a:lnTo>
                  <a:pt x="74" y="939"/>
                </a:lnTo>
                <a:lnTo>
                  <a:pt x="66" y="942"/>
                </a:lnTo>
                <a:lnTo>
                  <a:pt x="62" y="944"/>
                </a:lnTo>
                <a:lnTo>
                  <a:pt x="61" y="942"/>
                </a:lnTo>
                <a:lnTo>
                  <a:pt x="60" y="942"/>
                </a:lnTo>
                <a:lnTo>
                  <a:pt x="58" y="940"/>
                </a:lnTo>
                <a:lnTo>
                  <a:pt x="57" y="940"/>
                </a:lnTo>
                <a:lnTo>
                  <a:pt x="56" y="941"/>
                </a:lnTo>
                <a:lnTo>
                  <a:pt x="55" y="941"/>
                </a:lnTo>
                <a:lnTo>
                  <a:pt x="55" y="940"/>
                </a:lnTo>
                <a:lnTo>
                  <a:pt x="56" y="939"/>
                </a:lnTo>
                <a:lnTo>
                  <a:pt x="60" y="939"/>
                </a:lnTo>
                <a:lnTo>
                  <a:pt x="63" y="938"/>
                </a:lnTo>
                <a:lnTo>
                  <a:pt x="63" y="936"/>
                </a:lnTo>
                <a:lnTo>
                  <a:pt x="73" y="936"/>
                </a:lnTo>
                <a:lnTo>
                  <a:pt x="71" y="934"/>
                </a:lnTo>
                <a:lnTo>
                  <a:pt x="69" y="935"/>
                </a:lnTo>
                <a:lnTo>
                  <a:pt x="66" y="935"/>
                </a:lnTo>
                <a:lnTo>
                  <a:pt x="66" y="934"/>
                </a:lnTo>
                <a:lnTo>
                  <a:pt x="69" y="934"/>
                </a:lnTo>
                <a:lnTo>
                  <a:pt x="68" y="933"/>
                </a:lnTo>
                <a:lnTo>
                  <a:pt x="56" y="934"/>
                </a:lnTo>
                <a:lnTo>
                  <a:pt x="56" y="928"/>
                </a:lnTo>
                <a:lnTo>
                  <a:pt x="57" y="927"/>
                </a:lnTo>
                <a:lnTo>
                  <a:pt x="58" y="927"/>
                </a:lnTo>
                <a:lnTo>
                  <a:pt x="68" y="926"/>
                </a:lnTo>
                <a:lnTo>
                  <a:pt x="69" y="926"/>
                </a:lnTo>
                <a:lnTo>
                  <a:pt x="70" y="927"/>
                </a:lnTo>
                <a:lnTo>
                  <a:pt x="70" y="930"/>
                </a:lnTo>
                <a:lnTo>
                  <a:pt x="71" y="930"/>
                </a:lnTo>
                <a:lnTo>
                  <a:pt x="71" y="924"/>
                </a:lnTo>
                <a:lnTo>
                  <a:pt x="73" y="926"/>
                </a:lnTo>
                <a:lnTo>
                  <a:pt x="73" y="927"/>
                </a:lnTo>
                <a:lnTo>
                  <a:pt x="74" y="924"/>
                </a:lnTo>
                <a:lnTo>
                  <a:pt x="76" y="922"/>
                </a:lnTo>
                <a:lnTo>
                  <a:pt x="77" y="922"/>
                </a:lnTo>
                <a:lnTo>
                  <a:pt x="83" y="928"/>
                </a:lnTo>
                <a:lnTo>
                  <a:pt x="83" y="929"/>
                </a:lnTo>
                <a:lnTo>
                  <a:pt x="85" y="929"/>
                </a:lnTo>
                <a:lnTo>
                  <a:pt x="83" y="928"/>
                </a:lnTo>
                <a:lnTo>
                  <a:pt x="83" y="927"/>
                </a:lnTo>
                <a:lnTo>
                  <a:pt x="85" y="924"/>
                </a:lnTo>
                <a:lnTo>
                  <a:pt x="83" y="924"/>
                </a:lnTo>
                <a:lnTo>
                  <a:pt x="82" y="923"/>
                </a:lnTo>
                <a:lnTo>
                  <a:pt x="85" y="922"/>
                </a:lnTo>
                <a:lnTo>
                  <a:pt x="92" y="922"/>
                </a:lnTo>
                <a:lnTo>
                  <a:pt x="91" y="923"/>
                </a:lnTo>
                <a:lnTo>
                  <a:pt x="91" y="924"/>
                </a:lnTo>
                <a:lnTo>
                  <a:pt x="89" y="924"/>
                </a:lnTo>
                <a:lnTo>
                  <a:pt x="89" y="927"/>
                </a:lnTo>
                <a:lnTo>
                  <a:pt x="92" y="926"/>
                </a:lnTo>
                <a:lnTo>
                  <a:pt x="92" y="929"/>
                </a:lnTo>
                <a:lnTo>
                  <a:pt x="93" y="932"/>
                </a:lnTo>
                <a:lnTo>
                  <a:pt x="93" y="933"/>
                </a:lnTo>
                <a:lnTo>
                  <a:pt x="94" y="930"/>
                </a:lnTo>
                <a:lnTo>
                  <a:pt x="94" y="929"/>
                </a:lnTo>
                <a:lnTo>
                  <a:pt x="93" y="928"/>
                </a:lnTo>
                <a:lnTo>
                  <a:pt x="93" y="927"/>
                </a:lnTo>
                <a:lnTo>
                  <a:pt x="94" y="924"/>
                </a:lnTo>
                <a:lnTo>
                  <a:pt x="96" y="926"/>
                </a:lnTo>
                <a:lnTo>
                  <a:pt x="100" y="927"/>
                </a:lnTo>
                <a:lnTo>
                  <a:pt x="102" y="928"/>
                </a:lnTo>
                <a:lnTo>
                  <a:pt x="105" y="932"/>
                </a:lnTo>
                <a:lnTo>
                  <a:pt x="108" y="932"/>
                </a:lnTo>
                <a:lnTo>
                  <a:pt x="110" y="933"/>
                </a:lnTo>
                <a:lnTo>
                  <a:pt x="110" y="936"/>
                </a:lnTo>
                <a:lnTo>
                  <a:pt x="111" y="935"/>
                </a:lnTo>
                <a:lnTo>
                  <a:pt x="111" y="933"/>
                </a:lnTo>
                <a:lnTo>
                  <a:pt x="112" y="932"/>
                </a:lnTo>
                <a:lnTo>
                  <a:pt x="120" y="929"/>
                </a:lnTo>
                <a:lnTo>
                  <a:pt x="119" y="928"/>
                </a:lnTo>
                <a:lnTo>
                  <a:pt x="108" y="930"/>
                </a:lnTo>
                <a:lnTo>
                  <a:pt x="105" y="927"/>
                </a:lnTo>
                <a:lnTo>
                  <a:pt x="105" y="924"/>
                </a:lnTo>
                <a:lnTo>
                  <a:pt x="106" y="923"/>
                </a:lnTo>
                <a:lnTo>
                  <a:pt x="107" y="923"/>
                </a:lnTo>
                <a:lnTo>
                  <a:pt x="108" y="926"/>
                </a:lnTo>
                <a:lnTo>
                  <a:pt x="108" y="928"/>
                </a:lnTo>
                <a:lnTo>
                  <a:pt x="110" y="928"/>
                </a:lnTo>
                <a:lnTo>
                  <a:pt x="110" y="926"/>
                </a:lnTo>
                <a:lnTo>
                  <a:pt x="108" y="922"/>
                </a:lnTo>
                <a:lnTo>
                  <a:pt x="108" y="921"/>
                </a:lnTo>
                <a:lnTo>
                  <a:pt x="110" y="921"/>
                </a:lnTo>
                <a:lnTo>
                  <a:pt x="111" y="920"/>
                </a:lnTo>
                <a:lnTo>
                  <a:pt x="113" y="918"/>
                </a:lnTo>
                <a:lnTo>
                  <a:pt x="123" y="915"/>
                </a:lnTo>
                <a:lnTo>
                  <a:pt x="131" y="915"/>
                </a:lnTo>
                <a:lnTo>
                  <a:pt x="135" y="918"/>
                </a:lnTo>
                <a:lnTo>
                  <a:pt x="136" y="918"/>
                </a:lnTo>
                <a:lnTo>
                  <a:pt x="135" y="916"/>
                </a:lnTo>
                <a:lnTo>
                  <a:pt x="132" y="915"/>
                </a:lnTo>
                <a:lnTo>
                  <a:pt x="131" y="913"/>
                </a:lnTo>
                <a:lnTo>
                  <a:pt x="132" y="913"/>
                </a:lnTo>
                <a:lnTo>
                  <a:pt x="132" y="910"/>
                </a:lnTo>
                <a:lnTo>
                  <a:pt x="131" y="910"/>
                </a:lnTo>
                <a:lnTo>
                  <a:pt x="130" y="911"/>
                </a:lnTo>
                <a:lnTo>
                  <a:pt x="125" y="913"/>
                </a:lnTo>
                <a:lnTo>
                  <a:pt x="124" y="914"/>
                </a:lnTo>
                <a:lnTo>
                  <a:pt x="114" y="915"/>
                </a:lnTo>
                <a:lnTo>
                  <a:pt x="110" y="918"/>
                </a:lnTo>
                <a:lnTo>
                  <a:pt x="108" y="920"/>
                </a:lnTo>
                <a:lnTo>
                  <a:pt x="104" y="920"/>
                </a:lnTo>
                <a:lnTo>
                  <a:pt x="102" y="918"/>
                </a:lnTo>
                <a:lnTo>
                  <a:pt x="104" y="917"/>
                </a:lnTo>
                <a:lnTo>
                  <a:pt x="105" y="917"/>
                </a:lnTo>
                <a:lnTo>
                  <a:pt x="102" y="915"/>
                </a:lnTo>
                <a:lnTo>
                  <a:pt x="105" y="915"/>
                </a:lnTo>
                <a:lnTo>
                  <a:pt x="107" y="911"/>
                </a:lnTo>
                <a:lnTo>
                  <a:pt x="116" y="909"/>
                </a:lnTo>
                <a:lnTo>
                  <a:pt x="113" y="909"/>
                </a:lnTo>
                <a:lnTo>
                  <a:pt x="106" y="911"/>
                </a:lnTo>
                <a:lnTo>
                  <a:pt x="105" y="913"/>
                </a:lnTo>
                <a:lnTo>
                  <a:pt x="102" y="913"/>
                </a:lnTo>
                <a:lnTo>
                  <a:pt x="100" y="914"/>
                </a:lnTo>
                <a:lnTo>
                  <a:pt x="86" y="916"/>
                </a:lnTo>
                <a:lnTo>
                  <a:pt x="85" y="915"/>
                </a:lnTo>
                <a:lnTo>
                  <a:pt x="86" y="915"/>
                </a:lnTo>
                <a:lnTo>
                  <a:pt x="87" y="914"/>
                </a:lnTo>
                <a:lnTo>
                  <a:pt x="87" y="913"/>
                </a:lnTo>
                <a:lnTo>
                  <a:pt x="86" y="913"/>
                </a:lnTo>
                <a:lnTo>
                  <a:pt x="86" y="909"/>
                </a:lnTo>
                <a:lnTo>
                  <a:pt x="88" y="908"/>
                </a:lnTo>
                <a:lnTo>
                  <a:pt x="89" y="907"/>
                </a:lnTo>
                <a:lnTo>
                  <a:pt x="96" y="908"/>
                </a:lnTo>
                <a:lnTo>
                  <a:pt x="95" y="907"/>
                </a:lnTo>
                <a:lnTo>
                  <a:pt x="94" y="904"/>
                </a:lnTo>
                <a:lnTo>
                  <a:pt x="93" y="904"/>
                </a:lnTo>
                <a:lnTo>
                  <a:pt x="88" y="905"/>
                </a:lnTo>
                <a:lnTo>
                  <a:pt x="87" y="904"/>
                </a:lnTo>
                <a:lnTo>
                  <a:pt x="86" y="901"/>
                </a:lnTo>
                <a:lnTo>
                  <a:pt x="85" y="899"/>
                </a:lnTo>
                <a:lnTo>
                  <a:pt x="85" y="898"/>
                </a:lnTo>
                <a:lnTo>
                  <a:pt x="82" y="898"/>
                </a:lnTo>
                <a:lnTo>
                  <a:pt x="82" y="897"/>
                </a:lnTo>
                <a:lnTo>
                  <a:pt x="83" y="897"/>
                </a:lnTo>
                <a:lnTo>
                  <a:pt x="91" y="892"/>
                </a:lnTo>
                <a:lnTo>
                  <a:pt x="92" y="891"/>
                </a:lnTo>
                <a:lnTo>
                  <a:pt x="94" y="890"/>
                </a:lnTo>
                <a:lnTo>
                  <a:pt x="98" y="889"/>
                </a:lnTo>
                <a:lnTo>
                  <a:pt x="99" y="889"/>
                </a:lnTo>
                <a:lnTo>
                  <a:pt x="100" y="890"/>
                </a:lnTo>
                <a:lnTo>
                  <a:pt x="101" y="892"/>
                </a:lnTo>
                <a:lnTo>
                  <a:pt x="102" y="892"/>
                </a:lnTo>
                <a:lnTo>
                  <a:pt x="105" y="895"/>
                </a:lnTo>
                <a:lnTo>
                  <a:pt x="105" y="896"/>
                </a:lnTo>
                <a:lnTo>
                  <a:pt x="106" y="898"/>
                </a:lnTo>
                <a:lnTo>
                  <a:pt x="108" y="898"/>
                </a:lnTo>
                <a:lnTo>
                  <a:pt x="111" y="897"/>
                </a:lnTo>
                <a:lnTo>
                  <a:pt x="113" y="893"/>
                </a:lnTo>
                <a:lnTo>
                  <a:pt x="116" y="892"/>
                </a:lnTo>
                <a:lnTo>
                  <a:pt x="120" y="892"/>
                </a:lnTo>
                <a:lnTo>
                  <a:pt x="120" y="893"/>
                </a:lnTo>
                <a:lnTo>
                  <a:pt x="119" y="895"/>
                </a:lnTo>
                <a:lnTo>
                  <a:pt x="119" y="896"/>
                </a:lnTo>
                <a:lnTo>
                  <a:pt x="116" y="898"/>
                </a:lnTo>
                <a:lnTo>
                  <a:pt x="117" y="898"/>
                </a:lnTo>
                <a:lnTo>
                  <a:pt x="123" y="895"/>
                </a:lnTo>
                <a:lnTo>
                  <a:pt x="125" y="895"/>
                </a:lnTo>
                <a:lnTo>
                  <a:pt x="127" y="892"/>
                </a:lnTo>
                <a:lnTo>
                  <a:pt x="129" y="892"/>
                </a:lnTo>
                <a:lnTo>
                  <a:pt x="132" y="895"/>
                </a:lnTo>
                <a:lnTo>
                  <a:pt x="133" y="896"/>
                </a:lnTo>
                <a:lnTo>
                  <a:pt x="133" y="897"/>
                </a:lnTo>
                <a:lnTo>
                  <a:pt x="135" y="898"/>
                </a:lnTo>
                <a:lnTo>
                  <a:pt x="135" y="903"/>
                </a:lnTo>
                <a:lnTo>
                  <a:pt x="136" y="905"/>
                </a:lnTo>
                <a:lnTo>
                  <a:pt x="136" y="908"/>
                </a:lnTo>
                <a:lnTo>
                  <a:pt x="137" y="909"/>
                </a:lnTo>
                <a:lnTo>
                  <a:pt x="142" y="910"/>
                </a:lnTo>
                <a:lnTo>
                  <a:pt x="143" y="911"/>
                </a:lnTo>
                <a:lnTo>
                  <a:pt x="147" y="916"/>
                </a:lnTo>
                <a:lnTo>
                  <a:pt x="150" y="916"/>
                </a:lnTo>
                <a:lnTo>
                  <a:pt x="153" y="918"/>
                </a:lnTo>
                <a:lnTo>
                  <a:pt x="153" y="922"/>
                </a:lnTo>
                <a:lnTo>
                  <a:pt x="154" y="920"/>
                </a:lnTo>
                <a:lnTo>
                  <a:pt x="154" y="917"/>
                </a:lnTo>
                <a:lnTo>
                  <a:pt x="149" y="913"/>
                </a:lnTo>
                <a:lnTo>
                  <a:pt x="145" y="911"/>
                </a:lnTo>
                <a:lnTo>
                  <a:pt x="143" y="909"/>
                </a:lnTo>
                <a:lnTo>
                  <a:pt x="139" y="908"/>
                </a:lnTo>
                <a:lnTo>
                  <a:pt x="137" y="904"/>
                </a:lnTo>
                <a:lnTo>
                  <a:pt x="137" y="897"/>
                </a:lnTo>
                <a:lnTo>
                  <a:pt x="136" y="897"/>
                </a:lnTo>
                <a:lnTo>
                  <a:pt x="136" y="895"/>
                </a:lnTo>
                <a:lnTo>
                  <a:pt x="135" y="893"/>
                </a:lnTo>
                <a:lnTo>
                  <a:pt x="133" y="893"/>
                </a:lnTo>
                <a:lnTo>
                  <a:pt x="129" y="889"/>
                </a:lnTo>
                <a:lnTo>
                  <a:pt x="129" y="887"/>
                </a:lnTo>
                <a:lnTo>
                  <a:pt x="127" y="887"/>
                </a:lnTo>
                <a:lnTo>
                  <a:pt x="127" y="889"/>
                </a:lnTo>
                <a:lnTo>
                  <a:pt x="129" y="890"/>
                </a:lnTo>
                <a:lnTo>
                  <a:pt x="124" y="890"/>
                </a:lnTo>
                <a:lnTo>
                  <a:pt x="125" y="889"/>
                </a:lnTo>
                <a:lnTo>
                  <a:pt x="126" y="886"/>
                </a:lnTo>
                <a:lnTo>
                  <a:pt x="127" y="886"/>
                </a:lnTo>
                <a:lnTo>
                  <a:pt x="129" y="883"/>
                </a:lnTo>
                <a:lnTo>
                  <a:pt x="130" y="881"/>
                </a:lnTo>
                <a:lnTo>
                  <a:pt x="130" y="880"/>
                </a:lnTo>
                <a:lnTo>
                  <a:pt x="133" y="880"/>
                </a:lnTo>
                <a:lnTo>
                  <a:pt x="135" y="881"/>
                </a:lnTo>
                <a:lnTo>
                  <a:pt x="135" y="885"/>
                </a:lnTo>
                <a:lnTo>
                  <a:pt x="136" y="886"/>
                </a:lnTo>
                <a:lnTo>
                  <a:pt x="136" y="887"/>
                </a:lnTo>
                <a:lnTo>
                  <a:pt x="137" y="889"/>
                </a:lnTo>
                <a:lnTo>
                  <a:pt x="139" y="890"/>
                </a:lnTo>
                <a:lnTo>
                  <a:pt x="142" y="892"/>
                </a:lnTo>
                <a:lnTo>
                  <a:pt x="143" y="892"/>
                </a:lnTo>
                <a:lnTo>
                  <a:pt x="144" y="893"/>
                </a:lnTo>
                <a:lnTo>
                  <a:pt x="144" y="895"/>
                </a:lnTo>
                <a:lnTo>
                  <a:pt x="143" y="896"/>
                </a:lnTo>
                <a:lnTo>
                  <a:pt x="143" y="897"/>
                </a:lnTo>
                <a:lnTo>
                  <a:pt x="144" y="898"/>
                </a:lnTo>
                <a:lnTo>
                  <a:pt x="143" y="901"/>
                </a:lnTo>
                <a:lnTo>
                  <a:pt x="143" y="902"/>
                </a:lnTo>
                <a:lnTo>
                  <a:pt x="144" y="901"/>
                </a:lnTo>
                <a:lnTo>
                  <a:pt x="147" y="901"/>
                </a:lnTo>
                <a:lnTo>
                  <a:pt x="150" y="904"/>
                </a:lnTo>
                <a:lnTo>
                  <a:pt x="153" y="904"/>
                </a:lnTo>
                <a:lnTo>
                  <a:pt x="151" y="902"/>
                </a:lnTo>
                <a:lnTo>
                  <a:pt x="149" y="901"/>
                </a:lnTo>
                <a:lnTo>
                  <a:pt x="148" y="899"/>
                </a:lnTo>
                <a:lnTo>
                  <a:pt x="149" y="899"/>
                </a:lnTo>
                <a:lnTo>
                  <a:pt x="154" y="902"/>
                </a:lnTo>
                <a:lnTo>
                  <a:pt x="155" y="902"/>
                </a:lnTo>
                <a:lnTo>
                  <a:pt x="155" y="903"/>
                </a:lnTo>
                <a:lnTo>
                  <a:pt x="156" y="904"/>
                </a:lnTo>
                <a:lnTo>
                  <a:pt x="156" y="905"/>
                </a:lnTo>
                <a:lnTo>
                  <a:pt x="157" y="905"/>
                </a:lnTo>
                <a:lnTo>
                  <a:pt x="158" y="907"/>
                </a:lnTo>
                <a:lnTo>
                  <a:pt x="160" y="907"/>
                </a:lnTo>
                <a:lnTo>
                  <a:pt x="156" y="902"/>
                </a:lnTo>
                <a:lnTo>
                  <a:pt x="155" y="901"/>
                </a:lnTo>
                <a:lnTo>
                  <a:pt x="151" y="901"/>
                </a:lnTo>
                <a:lnTo>
                  <a:pt x="150" y="899"/>
                </a:lnTo>
                <a:lnTo>
                  <a:pt x="148" y="895"/>
                </a:lnTo>
                <a:lnTo>
                  <a:pt x="147" y="895"/>
                </a:lnTo>
                <a:lnTo>
                  <a:pt x="156" y="893"/>
                </a:lnTo>
                <a:lnTo>
                  <a:pt x="157" y="892"/>
                </a:lnTo>
                <a:lnTo>
                  <a:pt x="156" y="891"/>
                </a:lnTo>
                <a:lnTo>
                  <a:pt x="154" y="892"/>
                </a:lnTo>
                <a:lnTo>
                  <a:pt x="153" y="892"/>
                </a:lnTo>
                <a:lnTo>
                  <a:pt x="151" y="891"/>
                </a:lnTo>
                <a:lnTo>
                  <a:pt x="154" y="889"/>
                </a:lnTo>
                <a:lnTo>
                  <a:pt x="153" y="889"/>
                </a:lnTo>
                <a:lnTo>
                  <a:pt x="150" y="891"/>
                </a:lnTo>
                <a:lnTo>
                  <a:pt x="147" y="892"/>
                </a:lnTo>
                <a:lnTo>
                  <a:pt x="145" y="892"/>
                </a:lnTo>
                <a:lnTo>
                  <a:pt x="143" y="890"/>
                </a:lnTo>
                <a:lnTo>
                  <a:pt x="148" y="890"/>
                </a:lnTo>
                <a:lnTo>
                  <a:pt x="149" y="889"/>
                </a:lnTo>
                <a:lnTo>
                  <a:pt x="148" y="887"/>
                </a:lnTo>
                <a:lnTo>
                  <a:pt x="142" y="889"/>
                </a:lnTo>
                <a:lnTo>
                  <a:pt x="141" y="889"/>
                </a:lnTo>
                <a:lnTo>
                  <a:pt x="139" y="887"/>
                </a:lnTo>
                <a:lnTo>
                  <a:pt x="139" y="884"/>
                </a:lnTo>
                <a:lnTo>
                  <a:pt x="138" y="884"/>
                </a:lnTo>
                <a:lnTo>
                  <a:pt x="138" y="881"/>
                </a:lnTo>
                <a:lnTo>
                  <a:pt x="137" y="880"/>
                </a:lnTo>
                <a:lnTo>
                  <a:pt x="137" y="878"/>
                </a:lnTo>
                <a:lnTo>
                  <a:pt x="138" y="878"/>
                </a:lnTo>
                <a:lnTo>
                  <a:pt x="142" y="881"/>
                </a:lnTo>
                <a:lnTo>
                  <a:pt x="142" y="883"/>
                </a:lnTo>
                <a:lnTo>
                  <a:pt x="143" y="883"/>
                </a:lnTo>
                <a:lnTo>
                  <a:pt x="143" y="880"/>
                </a:lnTo>
                <a:lnTo>
                  <a:pt x="142" y="879"/>
                </a:lnTo>
                <a:lnTo>
                  <a:pt x="142" y="878"/>
                </a:lnTo>
                <a:lnTo>
                  <a:pt x="139" y="877"/>
                </a:lnTo>
                <a:lnTo>
                  <a:pt x="153" y="878"/>
                </a:lnTo>
                <a:lnTo>
                  <a:pt x="156" y="880"/>
                </a:lnTo>
                <a:lnTo>
                  <a:pt x="156" y="878"/>
                </a:lnTo>
                <a:lnTo>
                  <a:pt x="154" y="877"/>
                </a:lnTo>
                <a:lnTo>
                  <a:pt x="154" y="874"/>
                </a:lnTo>
                <a:lnTo>
                  <a:pt x="155" y="873"/>
                </a:lnTo>
                <a:lnTo>
                  <a:pt x="166" y="871"/>
                </a:lnTo>
                <a:lnTo>
                  <a:pt x="157" y="871"/>
                </a:lnTo>
                <a:lnTo>
                  <a:pt x="156" y="872"/>
                </a:lnTo>
                <a:lnTo>
                  <a:pt x="155" y="871"/>
                </a:lnTo>
                <a:lnTo>
                  <a:pt x="155" y="868"/>
                </a:lnTo>
                <a:lnTo>
                  <a:pt x="154" y="867"/>
                </a:lnTo>
                <a:lnTo>
                  <a:pt x="151" y="864"/>
                </a:lnTo>
                <a:lnTo>
                  <a:pt x="150" y="864"/>
                </a:lnTo>
                <a:lnTo>
                  <a:pt x="150" y="862"/>
                </a:lnTo>
                <a:lnTo>
                  <a:pt x="151" y="861"/>
                </a:lnTo>
                <a:lnTo>
                  <a:pt x="160" y="860"/>
                </a:lnTo>
                <a:lnTo>
                  <a:pt x="162" y="858"/>
                </a:lnTo>
                <a:lnTo>
                  <a:pt x="160" y="858"/>
                </a:lnTo>
                <a:lnTo>
                  <a:pt x="158" y="856"/>
                </a:lnTo>
                <a:lnTo>
                  <a:pt x="158" y="855"/>
                </a:lnTo>
                <a:lnTo>
                  <a:pt x="156" y="854"/>
                </a:lnTo>
                <a:lnTo>
                  <a:pt x="157" y="852"/>
                </a:lnTo>
                <a:lnTo>
                  <a:pt x="157" y="850"/>
                </a:lnTo>
                <a:lnTo>
                  <a:pt x="160" y="852"/>
                </a:lnTo>
                <a:lnTo>
                  <a:pt x="161" y="852"/>
                </a:lnTo>
                <a:lnTo>
                  <a:pt x="163" y="849"/>
                </a:lnTo>
                <a:lnTo>
                  <a:pt x="167" y="853"/>
                </a:lnTo>
                <a:lnTo>
                  <a:pt x="167" y="850"/>
                </a:lnTo>
                <a:lnTo>
                  <a:pt x="170" y="850"/>
                </a:lnTo>
                <a:lnTo>
                  <a:pt x="172" y="852"/>
                </a:lnTo>
                <a:lnTo>
                  <a:pt x="172" y="850"/>
                </a:lnTo>
                <a:lnTo>
                  <a:pt x="170" y="850"/>
                </a:lnTo>
                <a:lnTo>
                  <a:pt x="170" y="848"/>
                </a:lnTo>
                <a:lnTo>
                  <a:pt x="172" y="847"/>
                </a:lnTo>
                <a:lnTo>
                  <a:pt x="173" y="847"/>
                </a:lnTo>
                <a:lnTo>
                  <a:pt x="174" y="848"/>
                </a:lnTo>
                <a:lnTo>
                  <a:pt x="176" y="852"/>
                </a:lnTo>
                <a:lnTo>
                  <a:pt x="178" y="853"/>
                </a:lnTo>
                <a:lnTo>
                  <a:pt x="178" y="856"/>
                </a:lnTo>
                <a:lnTo>
                  <a:pt x="176" y="858"/>
                </a:lnTo>
                <a:lnTo>
                  <a:pt x="175" y="860"/>
                </a:lnTo>
                <a:lnTo>
                  <a:pt x="175" y="862"/>
                </a:lnTo>
                <a:lnTo>
                  <a:pt x="176" y="860"/>
                </a:lnTo>
                <a:lnTo>
                  <a:pt x="178" y="859"/>
                </a:lnTo>
                <a:lnTo>
                  <a:pt x="180" y="859"/>
                </a:lnTo>
                <a:lnTo>
                  <a:pt x="182" y="856"/>
                </a:lnTo>
                <a:lnTo>
                  <a:pt x="189" y="854"/>
                </a:lnTo>
                <a:lnTo>
                  <a:pt x="192" y="853"/>
                </a:lnTo>
                <a:lnTo>
                  <a:pt x="191" y="853"/>
                </a:lnTo>
                <a:lnTo>
                  <a:pt x="188" y="854"/>
                </a:lnTo>
                <a:lnTo>
                  <a:pt x="182" y="854"/>
                </a:lnTo>
                <a:lnTo>
                  <a:pt x="181" y="855"/>
                </a:lnTo>
                <a:lnTo>
                  <a:pt x="180" y="855"/>
                </a:lnTo>
                <a:lnTo>
                  <a:pt x="180" y="854"/>
                </a:lnTo>
                <a:lnTo>
                  <a:pt x="179" y="853"/>
                </a:lnTo>
                <a:lnTo>
                  <a:pt x="179" y="850"/>
                </a:lnTo>
                <a:lnTo>
                  <a:pt x="180" y="849"/>
                </a:lnTo>
                <a:lnTo>
                  <a:pt x="192" y="846"/>
                </a:lnTo>
                <a:lnTo>
                  <a:pt x="192" y="844"/>
                </a:lnTo>
                <a:lnTo>
                  <a:pt x="191" y="846"/>
                </a:lnTo>
                <a:lnTo>
                  <a:pt x="187" y="847"/>
                </a:lnTo>
                <a:lnTo>
                  <a:pt x="186" y="847"/>
                </a:lnTo>
                <a:lnTo>
                  <a:pt x="185" y="846"/>
                </a:lnTo>
                <a:lnTo>
                  <a:pt x="184" y="846"/>
                </a:lnTo>
                <a:lnTo>
                  <a:pt x="184" y="843"/>
                </a:lnTo>
                <a:lnTo>
                  <a:pt x="182" y="843"/>
                </a:lnTo>
                <a:lnTo>
                  <a:pt x="182" y="844"/>
                </a:lnTo>
                <a:lnTo>
                  <a:pt x="184" y="846"/>
                </a:lnTo>
                <a:lnTo>
                  <a:pt x="184" y="847"/>
                </a:lnTo>
                <a:lnTo>
                  <a:pt x="179" y="847"/>
                </a:lnTo>
                <a:lnTo>
                  <a:pt x="178" y="844"/>
                </a:lnTo>
                <a:lnTo>
                  <a:pt x="179" y="842"/>
                </a:lnTo>
                <a:lnTo>
                  <a:pt x="182" y="842"/>
                </a:lnTo>
                <a:lnTo>
                  <a:pt x="181" y="840"/>
                </a:lnTo>
                <a:lnTo>
                  <a:pt x="182" y="840"/>
                </a:lnTo>
                <a:lnTo>
                  <a:pt x="184" y="841"/>
                </a:lnTo>
                <a:lnTo>
                  <a:pt x="185" y="841"/>
                </a:lnTo>
                <a:lnTo>
                  <a:pt x="185" y="840"/>
                </a:lnTo>
                <a:lnTo>
                  <a:pt x="187" y="837"/>
                </a:lnTo>
                <a:lnTo>
                  <a:pt x="188" y="837"/>
                </a:lnTo>
                <a:lnTo>
                  <a:pt x="187" y="838"/>
                </a:lnTo>
                <a:lnTo>
                  <a:pt x="187" y="841"/>
                </a:lnTo>
                <a:lnTo>
                  <a:pt x="188" y="841"/>
                </a:lnTo>
                <a:lnTo>
                  <a:pt x="188" y="842"/>
                </a:lnTo>
                <a:lnTo>
                  <a:pt x="189" y="841"/>
                </a:lnTo>
                <a:lnTo>
                  <a:pt x="191" y="837"/>
                </a:lnTo>
                <a:lnTo>
                  <a:pt x="192" y="836"/>
                </a:lnTo>
                <a:lnTo>
                  <a:pt x="193" y="836"/>
                </a:lnTo>
                <a:lnTo>
                  <a:pt x="195" y="838"/>
                </a:lnTo>
                <a:lnTo>
                  <a:pt x="195" y="837"/>
                </a:lnTo>
                <a:lnTo>
                  <a:pt x="194" y="836"/>
                </a:lnTo>
                <a:lnTo>
                  <a:pt x="194" y="835"/>
                </a:lnTo>
                <a:lnTo>
                  <a:pt x="192" y="835"/>
                </a:lnTo>
                <a:lnTo>
                  <a:pt x="194" y="832"/>
                </a:lnTo>
                <a:lnTo>
                  <a:pt x="198" y="832"/>
                </a:lnTo>
                <a:lnTo>
                  <a:pt x="200" y="830"/>
                </a:lnTo>
                <a:lnTo>
                  <a:pt x="203" y="830"/>
                </a:lnTo>
                <a:lnTo>
                  <a:pt x="203" y="834"/>
                </a:lnTo>
                <a:lnTo>
                  <a:pt x="205" y="836"/>
                </a:lnTo>
                <a:lnTo>
                  <a:pt x="205" y="837"/>
                </a:lnTo>
                <a:lnTo>
                  <a:pt x="206" y="838"/>
                </a:lnTo>
                <a:lnTo>
                  <a:pt x="206" y="842"/>
                </a:lnTo>
                <a:lnTo>
                  <a:pt x="212" y="848"/>
                </a:lnTo>
                <a:lnTo>
                  <a:pt x="212" y="850"/>
                </a:lnTo>
                <a:lnTo>
                  <a:pt x="211" y="853"/>
                </a:lnTo>
                <a:lnTo>
                  <a:pt x="211" y="855"/>
                </a:lnTo>
                <a:lnTo>
                  <a:pt x="207" y="860"/>
                </a:lnTo>
                <a:lnTo>
                  <a:pt x="210" y="859"/>
                </a:lnTo>
                <a:lnTo>
                  <a:pt x="211" y="859"/>
                </a:lnTo>
                <a:lnTo>
                  <a:pt x="213" y="856"/>
                </a:lnTo>
                <a:lnTo>
                  <a:pt x="214" y="856"/>
                </a:lnTo>
                <a:lnTo>
                  <a:pt x="218" y="860"/>
                </a:lnTo>
                <a:lnTo>
                  <a:pt x="224" y="860"/>
                </a:lnTo>
                <a:lnTo>
                  <a:pt x="224" y="861"/>
                </a:lnTo>
                <a:lnTo>
                  <a:pt x="225" y="865"/>
                </a:lnTo>
                <a:lnTo>
                  <a:pt x="225" y="859"/>
                </a:lnTo>
                <a:lnTo>
                  <a:pt x="224" y="858"/>
                </a:lnTo>
                <a:lnTo>
                  <a:pt x="217" y="856"/>
                </a:lnTo>
                <a:lnTo>
                  <a:pt x="216" y="855"/>
                </a:lnTo>
                <a:lnTo>
                  <a:pt x="216" y="852"/>
                </a:lnTo>
                <a:lnTo>
                  <a:pt x="217" y="852"/>
                </a:lnTo>
                <a:lnTo>
                  <a:pt x="217" y="849"/>
                </a:lnTo>
                <a:lnTo>
                  <a:pt x="218" y="849"/>
                </a:lnTo>
                <a:lnTo>
                  <a:pt x="220" y="848"/>
                </a:lnTo>
                <a:lnTo>
                  <a:pt x="226" y="847"/>
                </a:lnTo>
                <a:lnTo>
                  <a:pt x="228" y="847"/>
                </a:lnTo>
                <a:lnTo>
                  <a:pt x="230" y="849"/>
                </a:lnTo>
                <a:lnTo>
                  <a:pt x="232" y="847"/>
                </a:lnTo>
                <a:lnTo>
                  <a:pt x="235" y="848"/>
                </a:lnTo>
                <a:lnTo>
                  <a:pt x="236" y="848"/>
                </a:lnTo>
                <a:lnTo>
                  <a:pt x="238" y="850"/>
                </a:lnTo>
                <a:lnTo>
                  <a:pt x="243" y="848"/>
                </a:lnTo>
                <a:lnTo>
                  <a:pt x="245" y="849"/>
                </a:lnTo>
                <a:lnTo>
                  <a:pt x="248" y="852"/>
                </a:lnTo>
                <a:lnTo>
                  <a:pt x="248" y="850"/>
                </a:lnTo>
                <a:lnTo>
                  <a:pt x="249" y="849"/>
                </a:lnTo>
                <a:lnTo>
                  <a:pt x="249" y="848"/>
                </a:lnTo>
                <a:lnTo>
                  <a:pt x="253" y="848"/>
                </a:lnTo>
                <a:lnTo>
                  <a:pt x="253" y="847"/>
                </a:lnTo>
                <a:lnTo>
                  <a:pt x="249" y="846"/>
                </a:lnTo>
                <a:lnTo>
                  <a:pt x="247" y="844"/>
                </a:lnTo>
                <a:lnTo>
                  <a:pt x="245" y="842"/>
                </a:lnTo>
                <a:lnTo>
                  <a:pt x="247" y="840"/>
                </a:lnTo>
                <a:lnTo>
                  <a:pt x="249" y="838"/>
                </a:lnTo>
                <a:lnTo>
                  <a:pt x="253" y="838"/>
                </a:lnTo>
                <a:lnTo>
                  <a:pt x="253" y="837"/>
                </a:lnTo>
                <a:lnTo>
                  <a:pt x="250" y="837"/>
                </a:lnTo>
                <a:lnTo>
                  <a:pt x="250" y="836"/>
                </a:lnTo>
                <a:lnTo>
                  <a:pt x="251" y="835"/>
                </a:lnTo>
                <a:lnTo>
                  <a:pt x="253" y="835"/>
                </a:lnTo>
                <a:lnTo>
                  <a:pt x="253" y="834"/>
                </a:lnTo>
                <a:lnTo>
                  <a:pt x="250" y="834"/>
                </a:lnTo>
                <a:lnTo>
                  <a:pt x="248" y="835"/>
                </a:lnTo>
                <a:lnTo>
                  <a:pt x="247" y="836"/>
                </a:lnTo>
                <a:lnTo>
                  <a:pt x="244" y="836"/>
                </a:lnTo>
                <a:lnTo>
                  <a:pt x="244" y="837"/>
                </a:lnTo>
                <a:lnTo>
                  <a:pt x="243" y="837"/>
                </a:lnTo>
                <a:lnTo>
                  <a:pt x="243" y="835"/>
                </a:lnTo>
                <a:lnTo>
                  <a:pt x="244" y="835"/>
                </a:lnTo>
                <a:lnTo>
                  <a:pt x="244" y="832"/>
                </a:lnTo>
                <a:lnTo>
                  <a:pt x="247" y="830"/>
                </a:lnTo>
                <a:lnTo>
                  <a:pt x="249" y="830"/>
                </a:lnTo>
                <a:lnTo>
                  <a:pt x="250" y="829"/>
                </a:lnTo>
                <a:lnTo>
                  <a:pt x="253" y="825"/>
                </a:lnTo>
                <a:lnTo>
                  <a:pt x="257" y="823"/>
                </a:lnTo>
                <a:lnTo>
                  <a:pt x="259" y="823"/>
                </a:lnTo>
                <a:lnTo>
                  <a:pt x="260" y="824"/>
                </a:lnTo>
                <a:lnTo>
                  <a:pt x="261" y="824"/>
                </a:lnTo>
                <a:lnTo>
                  <a:pt x="262" y="823"/>
                </a:lnTo>
                <a:lnTo>
                  <a:pt x="263" y="823"/>
                </a:lnTo>
                <a:lnTo>
                  <a:pt x="266" y="818"/>
                </a:lnTo>
                <a:lnTo>
                  <a:pt x="267" y="817"/>
                </a:lnTo>
                <a:lnTo>
                  <a:pt x="271" y="816"/>
                </a:lnTo>
                <a:lnTo>
                  <a:pt x="275" y="816"/>
                </a:lnTo>
                <a:lnTo>
                  <a:pt x="275" y="813"/>
                </a:lnTo>
                <a:lnTo>
                  <a:pt x="274" y="812"/>
                </a:lnTo>
                <a:lnTo>
                  <a:pt x="274" y="810"/>
                </a:lnTo>
                <a:lnTo>
                  <a:pt x="269" y="810"/>
                </a:lnTo>
                <a:lnTo>
                  <a:pt x="269" y="809"/>
                </a:lnTo>
                <a:lnTo>
                  <a:pt x="267" y="809"/>
                </a:lnTo>
                <a:lnTo>
                  <a:pt x="261" y="810"/>
                </a:lnTo>
                <a:lnTo>
                  <a:pt x="260" y="810"/>
                </a:lnTo>
                <a:lnTo>
                  <a:pt x="260" y="806"/>
                </a:lnTo>
                <a:lnTo>
                  <a:pt x="261" y="806"/>
                </a:lnTo>
                <a:lnTo>
                  <a:pt x="263" y="804"/>
                </a:lnTo>
                <a:lnTo>
                  <a:pt x="265" y="804"/>
                </a:lnTo>
                <a:lnTo>
                  <a:pt x="265" y="801"/>
                </a:lnTo>
                <a:lnTo>
                  <a:pt x="266" y="800"/>
                </a:lnTo>
                <a:lnTo>
                  <a:pt x="268" y="799"/>
                </a:lnTo>
                <a:lnTo>
                  <a:pt x="274" y="797"/>
                </a:lnTo>
                <a:lnTo>
                  <a:pt x="275" y="797"/>
                </a:lnTo>
                <a:lnTo>
                  <a:pt x="276" y="795"/>
                </a:lnTo>
                <a:lnTo>
                  <a:pt x="276" y="793"/>
                </a:lnTo>
                <a:lnTo>
                  <a:pt x="275" y="794"/>
                </a:lnTo>
                <a:lnTo>
                  <a:pt x="274" y="793"/>
                </a:lnTo>
                <a:lnTo>
                  <a:pt x="272" y="793"/>
                </a:lnTo>
                <a:lnTo>
                  <a:pt x="267" y="792"/>
                </a:lnTo>
                <a:lnTo>
                  <a:pt x="266" y="791"/>
                </a:lnTo>
                <a:lnTo>
                  <a:pt x="266" y="789"/>
                </a:lnTo>
                <a:lnTo>
                  <a:pt x="267" y="789"/>
                </a:lnTo>
                <a:lnTo>
                  <a:pt x="272" y="785"/>
                </a:lnTo>
                <a:lnTo>
                  <a:pt x="268" y="785"/>
                </a:lnTo>
                <a:lnTo>
                  <a:pt x="266" y="788"/>
                </a:lnTo>
                <a:lnTo>
                  <a:pt x="265" y="793"/>
                </a:lnTo>
                <a:lnTo>
                  <a:pt x="263" y="795"/>
                </a:lnTo>
                <a:lnTo>
                  <a:pt x="255" y="800"/>
                </a:lnTo>
                <a:lnTo>
                  <a:pt x="253" y="803"/>
                </a:lnTo>
                <a:lnTo>
                  <a:pt x="251" y="805"/>
                </a:lnTo>
                <a:lnTo>
                  <a:pt x="250" y="805"/>
                </a:lnTo>
                <a:lnTo>
                  <a:pt x="249" y="806"/>
                </a:lnTo>
                <a:lnTo>
                  <a:pt x="244" y="809"/>
                </a:lnTo>
                <a:lnTo>
                  <a:pt x="243" y="809"/>
                </a:lnTo>
                <a:lnTo>
                  <a:pt x="241" y="811"/>
                </a:lnTo>
                <a:lnTo>
                  <a:pt x="240" y="813"/>
                </a:lnTo>
                <a:lnTo>
                  <a:pt x="241" y="813"/>
                </a:lnTo>
                <a:lnTo>
                  <a:pt x="243" y="811"/>
                </a:lnTo>
                <a:lnTo>
                  <a:pt x="247" y="810"/>
                </a:lnTo>
                <a:lnTo>
                  <a:pt x="251" y="806"/>
                </a:lnTo>
                <a:lnTo>
                  <a:pt x="254" y="805"/>
                </a:lnTo>
                <a:lnTo>
                  <a:pt x="256" y="807"/>
                </a:lnTo>
                <a:lnTo>
                  <a:pt x="257" y="807"/>
                </a:lnTo>
                <a:lnTo>
                  <a:pt x="259" y="809"/>
                </a:lnTo>
                <a:lnTo>
                  <a:pt x="259" y="812"/>
                </a:lnTo>
                <a:lnTo>
                  <a:pt x="257" y="812"/>
                </a:lnTo>
                <a:lnTo>
                  <a:pt x="256" y="813"/>
                </a:lnTo>
                <a:lnTo>
                  <a:pt x="256" y="815"/>
                </a:lnTo>
                <a:lnTo>
                  <a:pt x="255" y="816"/>
                </a:lnTo>
                <a:lnTo>
                  <a:pt x="255" y="818"/>
                </a:lnTo>
                <a:lnTo>
                  <a:pt x="254" y="819"/>
                </a:lnTo>
                <a:lnTo>
                  <a:pt x="253" y="822"/>
                </a:lnTo>
                <a:lnTo>
                  <a:pt x="248" y="823"/>
                </a:lnTo>
                <a:lnTo>
                  <a:pt x="245" y="825"/>
                </a:lnTo>
                <a:lnTo>
                  <a:pt x="242" y="825"/>
                </a:lnTo>
                <a:lnTo>
                  <a:pt x="241" y="827"/>
                </a:lnTo>
                <a:lnTo>
                  <a:pt x="241" y="828"/>
                </a:lnTo>
                <a:lnTo>
                  <a:pt x="240" y="830"/>
                </a:lnTo>
                <a:lnTo>
                  <a:pt x="238" y="831"/>
                </a:lnTo>
                <a:lnTo>
                  <a:pt x="236" y="832"/>
                </a:lnTo>
                <a:lnTo>
                  <a:pt x="231" y="836"/>
                </a:lnTo>
                <a:lnTo>
                  <a:pt x="229" y="836"/>
                </a:lnTo>
                <a:lnTo>
                  <a:pt x="228" y="837"/>
                </a:lnTo>
                <a:lnTo>
                  <a:pt x="224" y="837"/>
                </a:lnTo>
                <a:lnTo>
                  <a:pt x="223" y="840"/>
                </a:lnTo>
                <a:lnTo>
                  <a:pt x="220" y="840"/>
                </a:lnTo>
                <a:lnTo>
                  <a:pt x="217" y="842"/>
                </a:lnTo>
                <a:lnTo>
                  <a:pt x="216" y="843"/>
                </a:lnTo>
                <a:lnTo>
                  <a:pt x="212" y="843"/>
                </a:lnTo>
                <a:lnTo>
                  <a:pt x="211" y="842"/>
                </a:lnTo>
                <a:lnTo>
                  <a:pt x="210" y="840"/>
                </a:lnTo>
                <a:lnTo>
                  <a:pt x="210" y="838"/>
                </a:lnTo>
                <a:lnTo>
                  <a:pt x="209" y="836"/>
                </a:lnTo>
                <a:lnTo>
                  <a:pt x="210" y="835"/>
                </a:lnTo>
                <a:lnTo>
                  <a:pt x="209" y="834"/>
                </a:lnTo>
                <a:lnTo>
                  <a:pt x="207" y="834"/>
                </a:lnTo>
                <a:lnTo>
                  <a:pt x="206" y="832"/>
                </a:lnTo>
                <a:lnTo>
                  <a:pt x="206" y="830"/>
                </a:lnTo>
                <a:lnTo>
                  <a:pt x="207" y="830"/>
                </a:lnTo>
                <a:lnTo>
                  <a:pt x="206" y="829"/>
                </a:lnTo>
                <a:lnTo>
                  <a:pt x="206" y="828"/>
                </a:lnTo>
                <a:lnTo>
                  <a:pt x="205" y="828"/>
                </a:lnTo>
                <a:lnTo>
                  <a:pt x="205" y="825"/>
                </a:lnTo>
                <a:lnTo>
                  <a:pt x="207" y="824"/>
                </a:lnTo>
                <a:lnTo>
                  <a:pt x="211" y="823"/>
                </a:lnTo>
                <a:lnTo>
                  <a:pt x="216" y="821"/>
                </a:lnTo>
                <a:lnTo>
                  <a:pt x="218" y="818"/>
                </a:lnTo>
                <a:lnTo>
                  <a:pt x="217" y="818"/>
                </a:lnTo>
                <a:lnTo>
                  <a:pt x="216" y="819"/>
                </a:lnTo>
                <a:lnTo>
                  <a:pt x="214" y="819"/>
                </a:lnTo>
                <a:lnTo>
                  <a:pt x="214" y="817"/>
                </a:lnTo>
                <a:lnTo>
                  <a:pt x="216" y="817"/>
                </a:lnTo>
                <a:lnTo>
                  <a:pt x="214" y="816"/>
                </a:lnTo>
                <a:lnTo>
                  <a:pt x="214" y="817"/>
                </a:lnTo>
                <a:lnTo>
                  <a:pt x="213" y="817"/>
                </a:lnTo>
                <a:lnTo>
                  <a:pt x="213" y="818"/>
                </a:lnTo>
                <a:lnTo>
                  <a:pt x="212" y="818"/>
                </a:lnTo>
                <a:lnTo>
                  <a:pt x="210" y="819"/>
                </a:lnTo>
                <a:lnTo>
                  <a:pt x="207" y="822"/>
                </a:lnTo>
                <a:lnTo>
                  <a:pt x="205" y="822"/>
                </a:lnTo>
                <a:lnTo>
                  <a:pt x="203" y="824"/>
                </a:lnTo>
                <a:lnTo>
                  <a:pt x="199" y="824"/>
                </a:lnTo>
                <a:lnTo>
                  <a:pt x="199" y="825"/>
                </a:lnTo>
                <a:lnTo>
                  <a:pt x="198" y="825"/>
                </a:lnTo>
                <a:lnTo>
                  <a:pt x="197" y="827"/>
                </a:lnTo>
                <a:lnTo>
                  <a:pt x="194" y="828"/>
                </a:lnTo>
                <a:lnTo>
                  <a:pt x="195" y="825"/>
                </a:lnTo>
                <a:lnTo>
                  <a:pt x="195" y="822"/>
                </a:lnTo>
                <a:lnTo>
                  <a:pt x="203" y="818"/>
                </a:lnTo>
                <a:lnTo>
                  <a:pt x="205" y="818"/>
                </a:lnTo>
                <a:lnTo>
                  <a:pt x="205" y="817"/>
                </a:lnTo>
                <a:lnTo>
                  <a:pt x="197" y="818"/>
                </a:lnTo>
                <a:lnTo>
                  <a:pt x="194" y="817"/>
                </a:lnTo>
                <a:lnTo>
                  <a:pt x="200" y="813"/>
                </a:lnTo>
                <a:lnTo>
                  <a:pt x="206" y="809"/>
                </a:lnTo>
                <a:lnTo>
                  <a:pt x="209" y="809"/>
                </a:lnTo>
                <a:lnTo>
                  <a:pt x="206" y="807"/>
                </a:lnTo>
                <a:lnTo>
                  <a:pt x="205" y="806"/>
                </a:lnTo>
                <a:lnTo>
                  <a:pt x="210" y="805"/>
                </a:lnTo>
                <a:lnTo>
                  <a:pt x="210" y="806"/>
                </a:lnTo>
                <a:lnTo>
                  <a:pt x="211" y="806"/>
                </a:lnTo>
                <a:lnTo>
                  <a:pt x="212" y="805"/>
                </a:lnTo>
                <a:lnTo>
                  <a:pt x="217" y="804"/>
                </a:lnTo>
                <a:lnTo>
                  <a:pt x="219" y="801"/>
                </a:lnTo>
                <a:lnTo>
                  <a:pt x="222" y="801"/>
                </a:lnTo>
                <a:lnTo>
                  <a:pt x="222" y="800"/>
                </a:lnTo>
                <a:lnTo>
                  <a:pt x="220" y="799"/>
                </a:lnTo>
                <a:lnTo>
                  <a:pt x="219" y="799"/>
                </a:lnTo>
                <a:lnTo>
                  <a:pt x="217" y="801"/>
                </a:lnTo>
                <a:lnTo>
                  <a:pt x="216" y="801"/>
                </a:lnTo>
                <a:lnTo>
                  <a:pt x="213" y="803"/>
                </a:lnTo>
                <a:lnTo>
                  <a:pt x="212" y="804"/>
                </a:lnTo>
                <a:lnTo>
                  <a:pt x="211" y="804"/>
                </a:lnTo>
                <a:lnTo>
                  <a:pt x="212" y="801"/>
                </a:lnTo>
                <a:lnTo>
                  <a:pt x="218" y="799"/>
                </a:lnTo>
                <a:lnTo>
                  <a:pt x="219" y="797"/>
                </a:lnTo>
                <a:lnTo>
                  <a:pt x="218" y="797"/>
                </a:lnTo>
                <a:lnTo>
                  <a:pt x="218" y="798"/>
                </a:lnTo>
                <a:lnTo>
                  <a:pt x="217" y="798"/>
                </a:lnTo>
                <a:lnTo>
                  <a:pt x="217" y="797"/>
                </a:lnTo>
                <a:lnTo>
                  <a:pt x="213" y="799"/>
                </a:lnTo>
                <a:lnTo>
                  <a:pt x="211" y="799"/>
                </a:lnTo>
                <a:lnTo>
                  <a:pt x="211" y="798"/>
                </a:lnTo>
                <a:lnTo>
                  <a:pt x="212" y="797"/>
                </a:lnTo>
                <a:lnTo>
                  <a:pt x="213" y="797"/>
                </a:lnTo>
                <a:lnTo>
                  <a:pt x="213" y="792"/>
                </a:lnTo>
                <a:lnTo>
                  <a:pt x="214" y="792"/>
                </a:lnTo>
                <a:lnTo>
                  <a:pt x="214" y="787"/>
                </a:lnTo>
                <a:lnTo>
                  <a:pt x="213" y="786"/>
                </a:lnTo>
                <a:lnTo>
                  <a:pt x="213" y="785"/>
                </a:lnTo>
                <a:lnTo>
                  <a:pt x="214" y="784"/>
                </a:lnTo>
                <a:lnTo>
                  <a:pt x="218" y="787"/>
                </a:lnTo>
                <a:lnTo>
                  <a:pt x="222" y="786"/>
                </a:lnTo>
                <a:lnTo>
                  <a:pt x="223" y="785"/>
                </a:lnTo>
                <a:lnTo>
                  <a:pt x="223" y="784"/>
                </a:lnTo>
                <a:lnTo>
                  <a:pt x="222" y="785"/>
                </a:lnTo>
                <a:lnTo>
                  <a:pt x="218" y="785"/>
                </a:lnTo>
                <a:lnTo>
                  <a:pt x="219" y="784"/>
                </a:lnTo>
                <a:lnTo>
                  <a:pt x="219" y="782"/>
                </a:lnTo>
                <a:lnTo>
                  <a:pt x="220" y="782"/>
                </a:lnTo>
                <a:lnTo>
                  <a:pt x="220" y="780"/>
                </a:lnTo>
                <a:lnTo>
                  <a:pt x="222" y="780"/>
                </a:lnTo>
                <a:lnTo>
                  <a:pt x="222" y="776"/>
                </a:lnTo>
                <a:lnTo>
                  <a:pt x="224" y="776"/>
                </a:lnTo>
                <a:lnTo>
                  <a:pt x="224" y="775"/>
                </a:lnTo>
                <a:lnTo>
                  <a:pt x="228" y="775"/>
                </a:lnTo>
                <a:lnTo>
                  <a:pt x="229" y="778"/>
                </a:lnTo>
                <a:lnTo>
                  <a:pt x="230" y="778"/>
                </a:lnTo>
                <a:lnTo>
                  <a:pt x="229" y="775"/>
                </a:lnTo>
                <a:lnTo>
                  <a:pt x="228" y="774"/>
                </a:lnTo>
                <a:lnTo>
                  <a:pt x="224" y="773"/>
                </a:lnTo>
                <a:lnTo>
                  <a:pt x="225" y="772"/>
                </a:lnTo>
                <a:lnTo>
                  <a:pt x="228" y="770"/>
                </a:lnTo>
                <a:lnTo>
                  <a:pt x="228" y="769"/>
                </a:lnTo>
                <a:lnTo>
                  <a:pt x="229" y="769"/>
                </a:lnTo>
                <a:lnTo>
                  <a:pt x="231" y="770"/>
                </a:lnTo>
                <a:lnTo>
                  <a:pt x="230" y="769"/>
                </a:lnTo>
                <a:lnTo>
                  <a:pt x="230" y="768"/>
                </a:lnTo>
                <a:lnTo>
                  <a:pt x="232" y="768"/>
                </a:lnTo>
                <a:lnTo>
                  <a:pt x="234" y="767"/>
                </a:lnTo>
                <a:lnTo>
                  <a:pt x="232" y="766"/>
                </a:lnTo>
                <a:lnTo>
                  <a:pt x="232" y="762"/>
                </a:lnTo>
                <a:lnTo>
                  <a:pt x="234" y="762"/>
                </a:lnTo>
                <a:lnTo>
                  <a:pt x="234" y="761"/>
                </a:lnTo>
                <a:lnTo>
                  <a:pt x="235" y="761"/>
                </a:lnTo>
                <a:lnTo>
                  <a:pt x="237" y="763"/>
                </a:lnTo>
                <a:lnTo>
                  <a:pt x="237" y="761"/>
                </a:lnTo>
                <a:lnTo>
                  <a:pt x="235" y="761"/>
                </a:lnTo>
                <a:lnTo>
                  <a:pt x="235" y="760"/>
                </a:lnTo>
                <a:lnTo>
                  <a:pt x="237" y="760"/>
                </a:lnTo>
                <a:lnTo>
                  <a:pt x="240" y="762"/>
                </a:lnTo>
                <a:lnTo>
                  <a:pt x="241" y="761"/>
                </a:lnTo>
                <a:lnTo>
                  <a:pt x="240" y="761"/>
                </a:lnTo>
                <a:lnTo>
                  <a:pt x="240" y="758"/>
                </a:lnTo>
                <a:lnTo>
                  <a:pt x="238" y="758"/>
                </a:lnTo>
                <a:lnTo>
                  <a:pt x="238" y="757"/>
                </a:lnTo>
                <a:lnTo>
                  <a:pt x="237" y="757"/>
                </a:lnTo>
                <a:lnTo>
                  <a:pt x="237" y="756"/>
                </a:lnTo>
                <a:lnTo>
                  <a:pt x="234" y="756"/>
                </a:lnTo>
                <a:lnTo>
                  <a:pt x="234" y="755"/>
                </a:lnTo>
                <a:lnTo>
                  <a:pt x="235" y="755"/>
                </a:lnTo>
                <a:lnTo>
                  <a:pt x="235" y="754"/>
                </a:lnTo>
                <a:lnTo>
                  <a:pt x="237" y="754"/>
                </a:lnTo>
                <a:lnTo>
                  <a:pt x="241" y="757"/>
                </a:lnTo>
                <a:lnTo>
                  <a:pt x="241" y="756"/>
                </a:lnTo>
                <a:lnTo>
                  <a:pt x="240" y="755"/>
                </a:lnTo>
                <a:lnTo>
                  <a:pt x="240" y="754"/>
                </a:lnTo>
                <a:lnTo>
                  <a:pt x="238" y="755"/>
                </a:lnTo>
                <a:lnTo>
                  <a:pt x="238" y="752"/>
                </a:lnTo>
                <a:lnTo>
                  <a:pt x="240" y="752"/>
                </a:lnTo>
                <a:lnTo>
                  <a:pt x="240" y="751"/>
                </a:lnTo>
                <a:lnTo>
                  <a:pt x="241" y="752"/>
                </a:lnTo>
                <a:lnTo>
                  <a:pt x="241" y="754"/>
                </a:lnTo>
                <a:lnTo>
                  <a:pt x="242" y="755"/>
                </a:lnTo>
                <a:lnTo>
                  <a:pt x="244" y="755"/>
                </a:lnTo>
                <a:lnTo>
                  <a:pt x="245" y="756"/>
                </a:lnTo>
                <a:lnTo>
                  <a:pt x="245" y="757"/>
                </a:lnTo>
                <a:lnTo>
                  <a:pt x="248" y="760"/>
                </a:lnTo>
                <a:lnTo>
                  <a:pt x="249" y="760"/>
                </a:lnTo>
                <a:lnTo>
                  <a:pt x="250" y="758"/>
                </a:lnTo>
                <a:lnTo>
                  <a:pt x="248" y="757"/>
                </a:lnTo>
                <a:lnTo>
                  <a:pt x="247" y="756"/>
                </a:lnTo>
                <a:lnTo>
                  <a:pt x="248" y="755"/>
                </a:lnTo>
                <a:lnTo>
                  <a:pt x="248" y="754"/>
                </a:lnTo>
                <a:lnTo>
                  <a:pt x="247" y="752"/>
                </a:lnTo>
                <a:lnTo>
                  <a:pt x="242" y="752"/>
                </a:lnTo>
                <a:lnTo>
                  <a:pt x="242" y="751"/>
                </a:lnTo>
                <a:lnTo>
                  <a:pt x="243" y="750"/>
                </a:lnTo>
                <a:lnTo>
                  <a:pt x="245" y="750"/>
                </a:lnTo>
                <a:lnTo>
                  <a:pt x="245" y="749"/>
                </a:lnTo>
                <a:lnTo>
                  <a:pt x="248" y="749"/>
                </a:lnTo>
                <a:lnTo>
                  <a:pt x="249" y="750"/>
                </a:lnTo>
                <a:lnTo>
                  <a:pt x="249" y="748"/>
                </a:lnTo>
                <a:lnTo>
                  <a:pt x="248" y="748"/>
                </a:lnTo>
                <a:lnTo>
                  <a:pt x="248" y="746"/>
                </a:lnTo>
                <a:lnTo>
                  <a:pt x="249" y="745"/>
                </a:lnTo>
                <a:lnTo>
                  <a:pt x="249" y="746"/>
                </a:lnTo>
                <a:lnTo>
                  <a:pt x="251" y="749"/>
                </a:lnTo>
                <a:lnTo>
                  <a:pt x="253" y="748"/>
                </a:lnTo>
                <a:lnTo>
                  <a:pt x="254" y="748"/>
                </a:lnTo>
                <a:lnTo>
                  <a:pt x="253" y="746"/>
                </a:lnTo>
                <a:lnTo>
                  <a:pt x="253" y="745"/>
                </a:lnTo>
                <a:lnTo>
                  <a:pt x="254" y="745"/>
                </a:lnTo>
                <a:lnTo>
                  <a:pt x="255" y="746"/>
                </a:lnTo>
                <a:lnTo>
                  <a:pt x="255" y="745"/>
                </a:lnTo>
                <a:lnTo>
                  <a:pt x="254" y="745"/>
                </a:lnTo>
                <a:lnTo>
                  <a:pt x="254" y="741"/>
                </a:lnTo>
                <a:lnTo>
                  <a:pt x="253" y="739"/>
                </a:lnTo>
                <a:lnTo>
                  <a:pt x="254" y="739"/>
                </a:lnTo>
                <a:lnTo>
                  <a:pt x="254" y="737"/>
                </a:lnTo>
                <a:lnTo>
                  <a:pt x="255" y="737"/>
                </a:lnTo>
                <a:lnTo>
                  <a:pt x="256" y="738"/>
                </a:lnTo>
                <a:lnTo>
                  <a:pt x="259" y="739"/>
                </a:lnTo>
                <a:lnTo>
                  <a:pt x="259" y="743"/>
                </a:lnTo>
                <a:lnTo>
                  <a:pt x="260" y="744"/>
                </a:lnTo>
                <a:lnTo>
                  <a:pt x="260" y="745"/>
                </a:lnTo>
                <a:lnTo>
                  <a:pt x="263" y="748"/>
                </a:lnTo>
                <a:lnTo>
                  <a:pt x="263" y="752"/>
                </a:lnTo>
                <a:lnTo>
                  <a:pt x="267" y="751"/>
                </a:lnTo>
                <a:lnTo>
                  <a:pt x="268" y="752"/>
                </a:lnTo>
                <a:lnTo>
                  <a:pt x="269" y="752"/>
                </a:lnTo>
                <a:lnTo>
                  <a:pt x="271" y="754"/>
                </a:lnTo>
                <a:lnTo>
                  <a:pt x="271" y="756"/>
                </a:lnTo>
                <a:lnTo>
                  <a:pt x="267" y="760"/>
                </a:lnTo>
                <a:lnTo>
                  <a:pt x="266" y="764"/>
                </a:lnTo>
                <a:lnTo>
                  <a:pt x="267" y="764"/>
                </a:lnTo>
                <a:lnTo>
                  <a:pt x="267" y="763"/>
                </a:lnTo>
                <a:lnTo>
                  <a:pt x="268" y="760"/>
                </a:lnTo>
                <a:lnTo>
                  <a:pt x="272" y="757"/>
                </a:lnTo>
                <a:lnTo>
                  <a:pt x="273" y="756"/>
                </a:lnTo>
                <a:lnTo>
                  <a:pt x="272" y="756"/>
                </a:lnTo>
                <a:lnTo>
                  <a:pt x="272" y="755"/>
                </a:lnTo>
                <a:lnTo>
                  <a:pt x="273" y="752"/>
                </a:lnTo>
                <a:lnTo>
                  <a:pt x="273" y="751"/>
                </a:lnTo>
                <a:lnTo>
                  <a:pt x="274" y="751"/>
                </a:lnTo>
                <a:lnTo>
                  <a:pt x="274" y="752"/>
                </a:lnTo>
                <a:lnTo>
                  <a:pt x="275" y="752"/>
                </a:lnTo>
                <a:lnTo>
                  <a:pt x="278" y="750"/>
                </a:lnTo>
                <a:lnTo>
                  <a:pt x="282" y="750"/>
                </a:lnTo>
                <a:lnTo>
                  <a:pt x="284" y="749"/>
                </a:lnTo>
                <a:lnTo>
                  <a:pt x="274" y="750"/>
                </a:lnTo>
                <a:lnTo>
                  <a:pt x="275" y="749"/>
                </a:lnTo>
                <a:lnTo>
                  <a:pt x="275" y="745"/>
                </a:lnTo>
                <a:lnTo>
                  <a:pt x="279" y="745"/>
                </a:lnTo>
                <a:lnTo>
                  <a:pt x="279" y="744"/>
                </a:lnTo>
                <a:lnTo>
                  <a:pt x="278" y="744"/>
                </a:lnTo>
                <a:lnTo>
                  <a:pt x="278" y="742"/>
                </a:lnTo>
                <a:lnTo>
                  <a:pt x="280" y="742"/>
                </a:lnTo>
                <a:lnTo>
                  <a:pt x="279" y="743"/>
                </a:lnTo>
                <a:lnTo>
                  <a:pt x="280" y="743"/>
                </a:lnTo>
                <a:lnTo>
                  <a:pt x="287" y="738"/>
                </a:lnTo>
                <a:lnTo>
                  <a:pt x="288" y="737"/>
                </a:lnTo>
                <a:lnTo>
                  <a:pt x="284" y="738"/>
                </a:lnTo>
                <a:lnTo>
                  <a:pt x="282" y="739"/>
                </a:lnTo>
                <a:lnTo>
                  <a:pt x="282" y="735"/>
                </a:lnTo>
                <a:lnTo>
                  <a:pt x="281" y="735"/>
                </a:lnTo>
                <a:lnTo>
                  <a:pt x="279" y="737"/>
                </a:lnTo>
                <a:lnTo>
                  <a:pt x="281" y="737"/>
                </a:lnTo>
                <a:lnTo>
                  <a:pt x="280" y="739"/>
                </a:lnTo>
                <a:lnTo>
                  <a:pt x="279" y="741"/>
                </a:lnTo>
                <a:lnTo>
                  <a:pt x="276" y="738"/>
                </a:lnTo>
                <a:lnTo>
                  <a:pt x="275" y="736"/>
                </a:lnTo>
                <a:lnTo>
                  <a:pt x="275" y="735"/>
                </a:lnTo>
                <a:lnTo>
                  <a:pt x="274" y="735"/>
                </a:lnTo>
                <a:lnTo>
                  <a:pt x="274" y="732"/>
                </a:lnTo>
                <a:lnTo>
                  <a:pt x="273" y="732"/>
                </a:lnTo>
                <a:lnTo>
                  <a:pt x="273" y="729"/>
                </a:lnTo>
                <a:lnTo>
                  <a:pt x="274" y="729"/>
                </a:lnTo>
                <a:lnTo>
                  <a:pt x="274" y="727"/>
                </a:lnTo>
                <a:lnTo>
                  <a:pt x="273" y="727"/>
                </a:lnTo>
                <a:lnTo>
                  <a:pt x="273" y="726"/>
                </a:lnTo>
                <a:lnTo>
                  <a:pt x="274" y="726"/>
                </a:lnTo>
                <a:lnTo>
                  <a:pt x="276" y="725"/>
                </a:lnTo>
                <a:lnTo>
                  <a:pt x="279" y="723"/>
                </a:lnTo>
                <a:lnTo>
                  <a:pt x="280" y="723"/>
                </a:lnTo>
                <a:lnTo>
                  <a:pt x="281" y="724"/>
                </a:lnTo>
                <a:lnTo>
                  <a:pt x="282" y="724"/>
                </a:lnTo>
                <a:lnTo>
                  <a:pt x="281" y="723"/>
                </a:lnTo>
                <a:lnTo>
                  <a:pt x="281" y="721"/>
                </a:lnTo>
                <a:lnTo>
                  <a:pt x="280" y="721"/>
                </a:lnTo>
                <a:lnTo>
                  <a:pt x="279" y="720"/>
                </a:lnTo>
                <a:lnTo>
                  <a:pt x="290" y="719"/>
                </a:lnTo>
                <a:lnTo>
                  <a:pt x="291" y="718"/>
                </a:lnTo>
                <a:lnTo>
                  <a:pt x="292" y="718"/>
                </a:lnTo>
                <a:lnTo>
                  <a:pt x="292" y="717"/>
                </a:lnTo>
                <a:lnTo>
                  <a:pt x="286" y="717"/>
                </a:lnTo>
                <a:lnTo>
                  <a:pt x="285" y="715"/>
                </a:lnTo>
                <a:lnTo>
                  <a:pt x="284" y="715"/>
                </a:lnTo>
                <a:lnTo>
                  <a:pt x="285" y="714"/>
                </a:lnTo>
                <a:lnTo>
                  <a:pt x="290" y="714"/>
                </a:lnTo>
                <a:lnTo>
                  <a:pt x="290" y="713"/>
                </a:lnTo>
                <a:lnTo>
                  <a:pt x="288" y="712"/>
                </a:lnTo>
                <a:lnTo>
                  <a:pt x="290" y="712"/>
                </a:lnTo>
                <a:lnTo>
                  <a:pt x="288" y="712"/>
                </a:lnTo>
                <a:lnTo>
                  <a:pt x="286" y="713"/>
                </a:lnTo>
                <a:lnTo>
                  <a:pt x="285" y="714"/>
                </a:lnTo>
                <a:lnTo>
                  <a:pt x="284" y="713"/>
                </a:lnTo>
                <a:lnTo>
                  <a:pt x="286" y="712"/>
                </a:lnTo>
                <a:lnTo>
                  <a:pt x="287" y="709"/>
                </a:lnTo>
                <a:lnTo>
                  <a:pt x="288" y="708"/>
                </a:lnTo>
                <a:lnTo>
                  <a:pt x="291" y="708"/>
                </a:lnTo>
                <a:lnTo>
                  <a:pt x="294" y="705"/>
                </a:lnTo>
                <a:lnTo>
                  <a:pt x="298" y="705"/>
                </a:lnTo>
                <a:lnTo>
                  <a:pt x="301" y="701"/>
                </a:lnTo>
                <a:lnTo>
                  <a:pt x="307" y="704"/>
                </a:lnTo>
                <a:lnTo>
                  <a:pt x="306" y="701"/>
                </a:lnTo>
                <a:lnTo>
                  <a:pt x="304" y="700"/>
                </a:lnTo>
                <a:lnTo>
                  <a:pt x="299" y="700"/>
                </a:lnTo>
                <a:lnTo>
                  <a:pt x="298" y="702"/>
                </a:lnTo>
                <a:lnTo>
                  <a:pt x="294" y="702"/>
                </a:lnTo>
                <a:lnTo>
                  <a:pt x="287" y="708"/>
                </a:lnTo>
                <a:lnTo>
                  <a:pt x="282" y="711"/>
                </a:lnTo>
                <a:lnTo>
                  <a:pt x="281" y="711"/>
                </a:lnTo>
                <a:lnTo>
                  <a:pt x="282" y="712"/>
                </a:lnTo>
                <a:lnTo>
                  <a:pt x="282" y="713"/>
                </a:lnTo>
                <a:lnTo>
                  <a:pt x="279" y="715"/>
                </a:lnTo>
                <a:lnTo>
                  <a:pt x="276" y="715"/>
                </a:lnTo>
                <a:lnTo>
                  <a:pt x="276" y="717"/>
                </a:lnTo>
                <a:lnTo>
                  <a:pt x="275" y="718"/>
                </a:lnTo>
                <a:lnTo>
                  <a:pt x="275" y="719"/>
                </a:lnTo>
                <a:lnTo>
                  <a:pt x="272" y="723"/>
                </a:lnTo>
                <a:lnTo>
                  <a:pt x="267" y="724"/>
                </a:lnTo>
                <a:lnTo>
                  <a:pt x="266" y="724"/>
                </a:lnTo>
                <a:lnTo>
                  <a:pt x="267" y="723"/>
                </a:lnTo>
                <a:lnTo>
                  <a:pt x="269" y="721"/>
                </a:lnTo>
                <a:lnTo>
                  <a:pt x="271" y="720"/>
                </a:lnTo>
                <a:lnTo>
                  <a:pt x="272" y="720"/>
                </a:lnTo>
                <a:lnTo>
                  <a:pt x="274" y="717"/>
                </a:lnTo>
                <a:lnTo>
                  <a:pt x="274" y="715"/>
                </a:lnTo>
                <a:lnTo>
                  <a:pt x="271" y="717"/>
                </a:lnTo>
                <a:lnTo>
                  <a:pt x="269" y="715"/>
                </a:lnTo>
                <a:lnTo>
                  <a:pt x="266" y="715"/>
                </a:lnTo>
                <a:lnTo>
                  <a:pt x="267" y="713"/>
                </a:lnTo>
                <a:lnTo>
                  <a:pt x="268" y="713"/>
                </a:lnTo>
                <a:lnTo>
                  <a:pt x="278" y="711"/>
                </a:lnTo>
                <a:lnTo>
                  <a:pt x="284" y="708"/>
                </a:lnTo>
                <a:lnTo>
                  <a:pt x="286" y="706"/>
                </a:lnTo>
                <a:lnTo>
                  <a:pt x="285" y="706"/>
                </a:lnTo>
                <a:lnTo>
                  <a:pt x="281" y="708"/>
                </a:lnTo>
                <a:lnTo>
                  <a:pt x="267" y="712"/>
                </a:lnTo>
                <a:lnTo>
                  <a:pt x="267" y="711"/>
                </a:lnTo>
                <a:lnTo>
                  <a:pt x="273" y="705"/>
                </a:lnTo>
                <a:lnTo>
                  <a:pt x="275" y="705"/>
                </a:lnTo>
                <a:lnTo>
                  <a:pt x="279" y="708"/>
                </a:lnTo>
                <a:lnTo>
                  <a:pt x="279" y="707"/>
                </a:lnTo>
                <a:lnTo>
                  <a:pt x="280" y="707"/>
                </a:lnTo>
                <a:lnTo>
                  <a:pt x="281" y="706"/>
                </a:lnTo>
                <a:lnTo>
                  <a:pt x="281" y="705"/>
                </a:lnTo>
                <a:lnTo>
                  <a:pt x="280" y="705"/>
                </a:lnTo>
                <a:lnTo>
                  <a:pt x="279" y="707"/>
                </a:lnTo>
                <a:lnTo>
                  <a:pt x="278" y="707"/>
                </a:lnTo>
                <a:lnTo>
                  <a:pt x="276" y="705"/>
                </a:lnTo>
                <a:lnTo>
                  <a:pt x="276" y="704"/>
                </a:lnTo>
                <a:lnTo>
                  <a:pt x="280" y="702"/>
                </a:lnTo>
                <a:lnTo>
                  <a:pt x="282" y="704"/>
                </a:lnTo>
                <a:lnTo>
                  <a:pt x="282" y="701"/>
                </a:lnTo>
                <a:lnTo>
                  <a:pt x="284" y="701"/>
                </a:lnTo>
                <a:lnTo>
                  <a:pt x="284" y="702"/>
                </a:lnTo>
                <a:lnTo>
                  <a:pt x="286" y="702"/>
                </a:lnTo>
                <a:lnTo>
                  <a:pt x="288" y="700"/>
                </a:lnTo>
                <a:lnTo>
                  <a:pt x="291" y="700"/>
                </a:lnTo>
                <a:lnTo>
                  <a:pt x="291" y="699"/>
                </a:lnTo>
                <a:lnTo>
                  <a:pt x="290" y="698"/>
                </a:lnTo>
                <a:lnTo>
                  <a:pt x="290" y="696"/>
                </a:lnTo>
                <a:lnTo>
                  <a:pt x="293" y="693"/>
                </a:lnTo>
                <a:lnTo>
                  <a:pt x="294" y="693"/>
                </a:lnTo>
                <a:lnTo>
                  <a:pt x="297" y="690"/>
                </a:lnTo>
                <a:lnTo>
                  <a:pt x="299" y="692"/>
                </a:lnTo>
                <a:lnTo>
                  <a:pt x="299" y="694"/>
                </a:lnTo>
                <a:lnTo>
                  <a:pt x="300" y="693"/>
                </a:lnTo>
                <a:lnTo>
                  <a:pt x="304" y="693"/>
                </a:lnTo>
                <a:lnTo>
                  <a:pt x="305" y="694"/>
                </a:lnTo>
                <a:lnTo>
                  <a:pt x="305" y="695"/>
                </a:lnTo>
                <a:lnTo>
                  <a:pt x="306" y="696"/>
                </a:lnTo>
                <a:lnTo>
                  <a:pt x="305" y="696"/>
                </a:lnTo>
                <a:lnTo>
                  <a:pt x="305" y="698"/>
                </a:lnTo>
                <a:lnTo>
                  <a:pt x="306" y="698"/>
                </a:lnTo>
                <a:lnTo>
                  <a:pt x="307" y="696"/>
                </a:lnTo>
                <a:lnTo>
                  <a:pt x="306" y="695"/>
                </a:lnTo>
                <a:lnTo>
                  <a:pt x="306" y="693"/>
                </a:lnTo>
                <a:lnTo>
                  <a:pt x="310" y="692"/>
                </a:lnTo>
                <a:lnTo>
                  <a:pt x="313" y="688"/>
                </a:lnTo>
                <a:lnTo>
                  <a:pt x="317" y="689"/>
                </a:lnTo>
                <a:lnTo>
                  <a:pt x="318" y="688"/>
                </a:lnTo>
                <a:lnTo>
                  <a:pt x="318" y="686"/>
                </a:lnTo>
                <a:lnTo>
                  <a:pt x="319" y="686"/>
                </a:lnTo>
                <a:lnTo>
                  <a:pt x="324" y="684"/>
                </a:lnTo>
                <a:lnTo>
                  <a:pt x="325" y="684"/>
                </a:lnTo>
                <a:lnTo>
                  <a:pt x="324" y="683"/>
                </a:lnTo>
                <a:lnTo>
                  <a:pt x="324" y="682"/>
                </a:lnTo>
                <a:lnTo>
                  <a:pt x="327" y="682"/>
                </a:lnTo>
                <a:lnTo>
                  <a:pt x="329" y="678"/>
                </a:lnTo>
                <a:lnTo>
                  <a:pt x="332" y="675"/>
                </a:lnTo>
                <a:lnTo>
                  <a:pt x="332" y="672"/>
                </a:lnTo>
                <a:lnTo>
                  <a:pt x="334" y="672"/>
                </a:lnTo>
                <a:lnTo>
                  <a:pt x="337" y="666"/>
                </a:lnTo>
                <a:lnTo>
                  <a:pt x="338" y="664"/>
                </a:lnTo>
                <a:lnTo>
                  <a:pt x="337" y="664"/>
                </a:lnTo>
                <a:lnTo>
                  <a:pt x="336" y="666"/>
                </a:lnTo>
                <a:lnTo>
                  <a:pt x="332" y="670"/>
                </a:lnTo>
                <a:lnTo>
                  <a:pt x="327" y="677"/>
                </a:lnTo>
                <a:lnTo>
                  <a:pt x="322" y="681"/>
                </a:lnTo>
                <a:lnTo>
                  <a:pt x="321" y="681"/>
                </a:lnTo>
                <a:lnTo>
                  <a:pt x="319" y="683"/>
                </a:lnTo>
                <a:lnTo>
                  <a:pt x="315" y="683"/>
                </a:lnTo>
                <a:lnTo>
                  <a:pt x="313" y="682"/>
                </a:lnTo>
                <a:lnTo>
                  <a:pt x="315" y="680"/>
                </a:lnTo>
                <a:lnTo>
                  <a:pt x="318" y="680"/>
                </a:lnTo>
                <a:lnTo>
                  <a:pt x="319" y="677"/>
                </a:lnTo>
                <a:lnTo>
                  <a:pt x="317" y="677"/>
                </a:lnTo>
                <a:lnTo>
                  <a:pt x="317" y="675"/>
                </a:lnTo>
                <a:lnTo>
                  <a:pt x="313" y="675"/>
                </a:lnTo>
                <a:lnTo>
                  <a:pt x="316" y="672"/>
                </a:lnTo>
                <a:lnTo>
                  <a:pt x="317" y="672"/>
                </a:lnTo>
                <a:lnTo>
                  <a:pt x="318" y="674"/>
                </a:lnTo>
                <a:lnTo>
                  <a:pt x="319" y="674"/>
                </a:lnTo>
                <a:lnTo>
                  <a:pt x="321" y="672"/>
                </a:lnTo>
                <a:lnTo>
                  <a:pt x="328" y="672"/>
                </a:lnTo>
                <a:lnTo>
                  <a:pt x="327" y="671"/>
                </a:lnTo>
                <a:lnTo>
                  <a:pt x="323" y="671"/>
                </a:lnTo>
                <a:lnTo>
                  <a:pt x="321" y="670"/>
                </a:lnTo>
                <a:lnTo>
                  <a:pt x="319" y="671"/>
                </a:lnTo>
                <a:lnTo>
                  <a:pt x="318" y="671"/>
                </a:lnTo>
                <a:lnTo>
                  <a:pt x="318" y="670"/>
                </a:lnTo>
                <a:lnTo>
                  <a:pt x="312" y="670"/>
                </a:lnTo>
                <a:lnTo>
                  <a:pt x="312" y="671"/>
                </a:lnTo>
                <a:lnTo>
                  <a:pt x="310" y="674"/>
                </a:lnTo>
                <a:lnTo>
                  <a:pt x="309" y="674"/>
                </a:lnTo>
                <a:lnTo>
                  <a:pt x="309" y="672"/>
                </a:lnTo>
                <a:lnTo>
                  <a:pt x="311" y="670"/>
                </a:lnTo>
                <a:lnTo>
                  <a:pt x="312" y="668"/>
                </a:lnTo>
                <a:lnTo>
                  <a:pt x="312" y="666"/>
                </a:lnTo>
                <a:lnTo>
                  <a:pt x="317" y="666"/>
                </a:lnTo>
                <a:lnTo>
                  <a:pt x="318" y="664"/>
                </a:lnTo>
                <a:lnTo>
                  <a:pt x="316" y="665"/>
                </a:lnTo>
                <a:lnTo>
                  <a:pt x="316" y="664"/>
                </a:lnTo>
                <a:lnTo>
                  <a:pt x="319" y="661"/>
                </a:lnTo>
                <a:lnTo>
                  <a:pt x="319" y="662"/>
                </a:lnTo>
                <a:lnTo>
                  <a:pt x="323" y="662"/>
                </a:lnTo>
                <a:lnTo>
                  <a:pt x="322" y="661"/>
                </a:lnTo>
                <a:lnTo>
                  <a:pt x="321" y="661"/>
                </a:lnTo>
                <a:lnTo>
                  <a:pt x="321" y="657"/>
                </a:lnTo>
                <a:lnTo>
                  <a:pt x="319" y="656"/>
                </a:lnTo>
                <a:lnTo>
                  <a:pt x="319" y="653"/>
                </a:lnTo>
                <a:lnTo>
                  <a:pt x="318" y="652"/>
                </a:lnTo>
                <a:lnTo>
                  <a:pt x="322" y="652"/>
                </a:lnTo>
                <a:lnTo>
                  <a:pt x="322" y="655"/>
                </a:lnTo>
                <a:lnTo>
                  <a:pt x="323" y="656"/>
                </a:lnTo>
                <a:lnTo>
                  <a:pt x="323" y="655"/>
                </a:lnTo>
                <a:lnTo>
                  <a:pt x="324" y="653"/>
                </a:lnTo>
                <a:lnTo>
                  <a:pt x="325" y="655"/>
                </a:lnTo>
                <a:lnTo>
                  <a:pt x="325" y="656"/>
                </a:lnTo>
                <a:lnTo>
                  <a:pt x="327" y="657"/>
                </a:lnTo>
                <a:lnTo>
                  <a:pt x="327" y="659"/>
                </a:lnTo>
                <a:lnTo>
                  <a:pt x="328" y="661"/>
                </a:lnTo>
                <a:lnTo>
                  <a:pt x="327" y="657"/>
                </a:lnTo>
                <a:lnTo>
                  <a:pt x="325" y="655"/>
                </a:lnTo>
                <a:lnTo>
                  <a:pt x="325" y="652"/>
                </a:lnTo>
                <a:lnTo>
                  <a:pt x="331" y="651"/>
                </a:lnTo>
                <a:lnTo>
                  <a:pt x="329" y="650"/>
                </a:lnTo>
                <a:lnTo>
                  <a:pt x="324" y="651"/>
                </a:lnTo>
                <a:lnTo>
                  <a:pt x="324" y="650"/>
                </a:lnTo>
                <a:lnTo>
                  <a:pt x="325" y="650"/>
                </a:lnTo>
                <a:lnTo>
                  <a:pt x="327" y="649"/>
                </a:lnTo>
                <a:lnTo>
                  <a:pt x="323" y="649"/>
                </a:lnTo>
                <a:lnTo>
                  <a:pt x="323" y="647"/>
                </a:lnTo>
                <a:lnTo>
                  <a:pt x="322" y="646"/>
                </a:lnTo>
                <a:lnTo>
                  <a:pt x="324" y="644"/>
                </a:lnTo>
                <a:lnTo>
                  <a:pt x="323" y="644"/>
                </a:lnTo>
                <a:lnTo>
                  <a:pt x="323" y="638"/>
                </a:lnTo>
                <a:lnTo>
                  <a:pt x="322" y="640"/>
                </a:lnTo>
                <a:lnTo>
                  <a:pt x="321" y="644"/>
                </a:lnTo>
                <a:lnTo>
                  <a:pt x="319" y="646"/>
                </a:lnTo>
                <a:lnTo>
                  <a:pt x="318" y="645"/>
                </a:lnTo>
                <a:lnTo>
                  <a:pt x="318" y="643"/>
                </a:lnTo>
                <a:lnTo>
                  <a:pt x="319" y="643"/>
                </a:lnTo>
                <a:lnTo>
                  <a:pt x="321" y="640"/>
                </a:lnTo>
                <a:lnTo>
                  <a:pt x="321" y="639"/>
                </a:lnTo>
                <a:lnTo>
                  <a:pt x="319" y="639"/>
                </a:lnTo>
                <a:lnTo>
                  <a:pt x="318" y="643"/>
                </a:lnTo>
                <a:lnTo>
                  <a:pt x="318" y="644"/>
                </a:lnTo>
                <a:lnTo>
                  <a:pt x="316" y="644"/>
                </a:lnTo>
                <a:lnTo>
                  <a:pt x="315" y="641"/>
                </a:lnTo>
                <a:lnTo>
                  <a:pt x="316" y="639"/>
                </a:lnTo>
                <a:lnTo>
                  <a:pt x="316" y="637"/>
                </a:lnTo>
                <a:lnTo>
                  <a:pt x="315" y="637"/>
                </a:lnTo>
                <a:lnTo>
                  <a:pt x="315" y="638"/>
                </a:lnTo>
                <a:lnTo>
                  <a:pt x="313" y="638"/>
                </a:lnTo>
                <a:lnTo>
                  <a:pt x="313" y="632"/>
                </a:lnTo>
                <a:lnTo>
                  <a:pt x="315" y="629"/>
                </a:lnTo>
                <a:lnTo>
                  <a:pt x="316" y="628"/>
                </a:lnTo>
                <a:lnTo>
                  <a:pt x="316" y="627"/>
                </a:lnTo>
                <a:lnTo>
                  <a:pt x="319" y="623"/>
                </a:lnTo>
                <a:lnTo>
                  <a:pt x="322" y="623"/>
                </a:lnTo>
                <a:lnTo>
                  <a:pt x="323" y="625"/>
                </a:lnTo>
                <a:lnTo>
                  <a:pt x="323" y="628"/>
                </a:lnTo>
                <a:lnTo>
                  <a:pt x="324" y="628"/>
                </a:lnTo>
                <a:lnTo>
                  <a:pt x="324" y="632"/>
                </a:lnTo>
                <a:lnTo>
                  <a:pt x="327" y="633"/>
                </a:lnTo>
                <a:lnTo>
                  <a:pt x="328" y="632"/>
                </a:lnTo>
                <a:lnTo>
                  <a:pt x="329" y="634"/>
                </a:lnTo>
                <a:lnTo>
                  <a:pt x="330" y="634"/>
                </a:lnTo>
                <a:lnTo>
                  <a:pt x="331" y="633"/>
                </a:lnTo>
                <a:lnTo>
                  <a:pt x="331" y="632"/>
                </a:lnTo>
                <a:lnTo>
                  <a:pt x="330" y="631"/>
                </a:lnTo>
                <a:lnTo>
                  <a:pt x="327" y="631"/>
                </a:lnTo>
                <a:lnTo>
                  <a:pt x="327" y="627"/>
                </a:lnTo>
                <a:lnTo>
                  <a:pt x="323" y="623"/>
                </a:lnTo>
                <a:lnTo>
                  <a:pt x="322" y="621"/>
                </a:lnTo>
                <a:lnTo>
                  <a:pt x="322" y="620"/>
                </a:lnTo>
                <a:lnTo>
                  <a:pt x="325" y="616"/>
                </a:lnTo>
                <a:lnTo>
                  <a:pt x="325" y="615"/>
                </a:lnTo>
                <a:lnTo>
                  <a:pt x="327" y="615"/>
                </a:lnTo>
                <a:lnTo>
                  <a:pt x="328" y="616"/>
                </a:lnTo>
                <a:lnTo>
                  <a:pt x="328" y="618"/>
                </a:lnTo>
                <a:lnTo>
                  <a:pt x="329" y="618"/>
                </a:lnTo>
                <a:lnTo>
                  <a:pt x="328" y="616"/>
                </a:lnTo>
                <a:lnTo>
                  <a:pt x="328" y="613"/>
                </a:lnTo>
                <a:lnTo>
                  <a:pt x="327" y="613"/>
                </a:lnTo>
                <a:lnTo>
                  <a:pt x="324" y="614"/>
                </a:lnTo>
                <a:lnTo>
                  <a:pt x="324" y="610"/>
                </a:lnTo>
                <a:lnTo>
                  <a:pt x="325" y="610"/>
                </a:lnTo>
                <a:lnTo>
                  <a:pt x="325" y="607"/>
                </a:lnTo>
                <a:lnTo>
                  <a:pt x="327" y="604"/>
                </a:lnTo>
                <a:lnTo>
                  <a:pt x="327" y="603"/>
                </a:lnTo>
                <a:lnTo>
                  <a:pt x="331" y="600"/>
                </a:lnTo>
                <a:lnTo>
                  <a:pt x="332" y="598"/>
                </a:lnTo>
                <a:lnTo>
                  <a:pt x="334" y="600"/>
                </a:lnTo>
                <a:lnTo>
                  <a:pt x="337" y="601"/>
                </a:lnTo>
                <a:lnTo>
                  <a:pt x="338" y="603"/>
                </a:lnTo>
                <a:lnTo>
                  <a:pt x="342" y="603"/>
                </a:lnTo>
                <a:lnTo>
                  <a:pt x="342" y="604"/>
                </a:lnTo>
                <a:lnTo>
                  <a:pt x="343" y="606"/>
                </a:lnTo>
                <a:lnTo>
                  <a:pt x="343" y="607"/>
                </a:lnTo>
                <a:lnTo>
                  <a:pt x="346" y="607"/>
                </a:lnTo>
                <a:lnTo>
                  <a:pt x="346" y="608"/>
                </a:lnTo>
                <a:lnTo>
                  <a:pt x="347" y="612"/>
                </a:lnTo>
                <a:lnTo>
                  <a:pt x="348" y="610"/>
                </a:lnTo>
                <a:lnTo>
                  <a:pt x="348" y="609"/>
                </a:lnTo>
                <a:lnTo>
                  <a:pt x="347" y="607"/>
                </a:lnTo>
                <a:lnTo>
                  <a:pt x="347" y="604"/>
                </a:lnTo>
                <a:lnTo>
                  <a:pt x="346" y="603"/>
                </a:lnTo>
                <a:lnTo>
                  <a:pt x="346" y="601"/>
                </a:lnTo>
                <a:lnTo>
                  <a:pt x="342" y="601"/>
                </a:lnTo>
                <a:lnTo>
                  <a:pt x="340" y="600"/>
                </a:lnTo>
                <a:lnTo>
                  <a:pt x="338" y="598"/>
                </a:lnTo>
                <a:lnTo>
                  <a:pt x="337" y="596"/>
                </a:lnTo>
                <a:lnTo>
                  <a:pt x="338" y="596"/>
                </a:lnTo>
                <a:lnTo>
                  <a:pt x="338" y="595"/>
                </a:lnTo>
                <a:lnTo>
                  <a:pt x="340" y="594"/>
                </a:lnTo>
                <a:lnTo>
                  <a:pt x="338" y="592"/>
                </a:lnTo>
                <a:lnTo>
                  <a:pt x="340" y="590"/>
                </a:lnTo>
                <a:lnTo>
                  <a:pt x="341" y="589"/>
                </a:lnTo>
                <a:lnTo>
                  <a:pt x="342" y="586"/>
                </a:lnTo>
                <a:lnTo>
                  <a:pt x="341" y="586"/>
                </a:lnTo>
                <a:lnTo>
                  <a:pt x="337" y="589"/>
                </a:lnTo>
                <a:lnTo>
                  <a:pt x="329" y="591"/>
                </a:lnTo>
                <a:lnTo>
                  <a:pt x="329" y="590"/>
                </a:lnTo>
                <a:lnTo>
                  <a:pt x="328" y="589"/>
                </a:lnTo>
                <a:lnTo>
                  <a:pt x="327" y="589"/>
                </a:lnTo>
                <a:lnTo>
                  <a:pt x="331" y="584"/>
                </a:lnTo>
                <a:lnTo>
                  <a:pt x="332" y="584"/>
                </a:lnTo>
                <a:lnTo>
                  <a:pt x="335" y="582"/>
                </a:lnTo>
                <a:lnTo>
                  <a:pt x="342" y="579"/>
                </a:lnTo>
                <a:lnTo>
                  <a:pt x="343" y="580"/>
                </a:lnTo>
                <a:lnTo>
                  <a:pt x="344" y="580"/>
                </a:lnTo>
                <a:lnTo>
                  <a:pt x="344" y="579"/>
                </a:lnTo>
                <a:lnTo>
                  <a:pt x="347" y="578"/>
                </a:lnTo>
                <a:lnTo>
                  <a:pt x="348" y="577"/>
                </a:lnTo>
                <a:lnTo>
                  <a:pt x="350" y="576"/>
                </a:lnTo>
                <a:lnTo>
                  <a:pt x="353" y="573"/>
                </a:lnTo>
                <a:lnTo>
                  <a:pt x="362" y="571"/>
                </a:lnTo>
                <a:lnTo>
                  <a:pt x="365" y="571"/>
                </a:lnTo>
                <a:lnTo>
                  <a:pt x="365" y="573"/>
                </a:lnTo>
                <a:lnTo>
                  <a:pt x="362" y="576"/>
                </a:lnTo>
                <a:lnTo>
                  <a:pt x="365" y="576"/>
                </a:lnTo>
                <a:lnTo>
                  <a:pt x="365" y="578"/>
                </a:lnTo>
                <a:lnTo>
                  <a:pt x="363" y="579"/>
                </a:lnTo>
                <a:lnTo>
                  <a:pt x="363" y="582"/>
                </a:lnTo>
                <a:lnTo>
                  <a:pt x="362" y="583"/>
                </a:lnTo>
                <a:lnTo>
                  <a:pt x="363" y="584"/>
                </a:lnTo>
                <a:lnTo>
                  <a:pt x="365" y="584"/>
                </a:lnTo>
                <a:lnTo>
                  <a:pt x="365" y="583"/>
                </a:lnTo>
                <a:lnTo>
                  <a:pt x="366" y="580"/>
                </a:lnTo>
                <a:lnTo>
                  <a:pt x="366" y="579"/>
                </a:lnTo>
                <a:lnTo>
                  <a:pt x="371" y="579"/>
                </a:lnTo>
                <a:lnTo>
                  <a:pt x="372" y="578"/>
                </a:lnTo>
                <a:lnTo>
                  <a:pt x="373" y="578"/>
                </a:lnTo>
                <a:lnTo>
                  <a:pt x="375" y="580"/>
                </a:lnTo>
                <a:lnTo>
                  <a:pt x="375" y="578"/>
                </a:lnTo>
                <a:lnTo>
                  <a:pt x="373" y="577"/>
                </a:lnTo>
                <a:lnTo>
                  <a:pt x="371" y="578"/>
                </a:lnTo>
                <a:lnTo>
                  <a:pt x="366" y="576"/>
                </a:lnTo>
                <a:lnTo>
                  <a:pt x="367" y="572"/>
                </a:lnTo>
                <a:lnTo>
                  <a:pt x="372" y="570"/>
                </a:lnTo>
                <a:lnTo>
                  <a:pt x="374" y="571"/>
                </a:lnTo>
                <a:lnTo>
                  <a:pt x="374" y="572"/>
                </a:lnTo>
                <a:lnTo>
                  <a:pt x="373" y="573"/>
                </a:lnTo>
                <a:lnTo>
                  <a:pt x="373" y="575"/>
                </a:lnTo>
                <a:lnTo>
                  <a:pt x="374" y="575"/>
                </a:lnTo>
                <a:lnTo>
                  <a:pt x="375" y="572"/>
                </a:lnTo>
                <a:lnTo>
                  <a:pt x="381" y="571"/>
                </a:lnTo>
                <a:lnTo>
                  <a:pt x="383" y="571"/>
                </a:lnTo>
                <a:lnTo>
                  <a:pt x="383" y="567"/>
                </a:lnTo>
                <a:lnTo>
                  <a:pt x="384" y="566"/>
                </a:lnTo>
                <a:lnTo>
                  <a:pt x="385" y="566"/>
                </a:lnTo>
                <a:lnTo>
                  <a:pt x="389" y="563"/>
                </a:lnTo>
                <a:lnTo>
                  <a:pt x="389" y="560"/>
                </a:lnTo>
                <a:lnTo>
                  <a:pt x="387" y="560"/>
                </a:lnTo>
                <a:lnTo>
                  <a:pt x="385" y="563"/>
                </a:lnTo>
                <a:lnTo>
                  <a:pt x="381" y="564"/>
                </a:lnTo>
                <a:lnTo>
                  <a:pt x="380" y="565"/>
                </a:lnTo>
                <a:lnTo>
                  <a:pt x="379" y="567"/>
                </a:lnTo>
                <a:lnTo>
                  <a:pt x="374" y="566"/>
                </a:lnTo>
                <a:lnTo>
                  <a:pt x="373" y="566"/>
                </a:lnTo>
                <a:lnTo>
                  <a:pt x="373" y="565"/>
                </a:lnTo>
                <a:lnTo>
                  <a:pt x="372" y="565"/>
                </a:lnTo>
                <a:lnTo>
                  <a:pt x="372" y="566"/>
                </a:lnTo>
                <a:lnTo>
                  <a:pt x="371" y="569"/>
                </a:lnTo>
                <a:lnTo>
                  <a:pt x="369" y="570"/>
                </a:lnTo>
                <a:lnTo>
                  <a:pt x="367" y="571"/>
                </a:lnTo>
                <a:lnTo>
                  <a:pt x="365" y="569"/>
                </a:lnTo>
                <a:lnTo>
                  <a:pt x="367" y="567"/>
                </a:lnTo>
                <a:lnTo>
                  <a:pt x="365" y="565"/>
                </a:lnTo>
                <a:lnTo>
                  <a:pt x="365" y="566"/>
                </a:lnTo>
                <a:lnTo>
                  <a:pt x="361" y="569"/>
                </a:lnTo>
                <a:lnTo>
                  <a:pt x="360" y="569"/>
                </a:lnTo>
                <a:lnTo>
                  <a:pt x="358" y="570"/>
                </a:lnTo>
                <a:lnTo>
                  <a:pt x="354" y="570"/>
                </a:lnTo>
                <a:lnTo>
                  <a:pt x="349" y="575"/>
                </a:lnTo>
                <a:lnTo>
                  <a:pt x="343" y="577"/>
                </a:lnTo>
                <a:lnTo>
                  <a:pt x="342" y="577"/>
                </a:lnTo>
                <a:lnTo>
                  <a:pt x="342" y="575"/>
                </a:lnTo>
                <a:lnTo>
                  <a:pt x="344" y="572"/>
                </a:lnTo>
                <a:lnTo>
                  <a:pt x="346" y="572"/>
                </a:lnTo>
                <a:lnTo>
                  <a:pt x="346" y="570"/>
                </a:lnTo>
                <a:lnTo>
                  <a:pt x="347" y="569"/>
                </a:lnTo>
                <a:lnTo>
                  <a:pt x="354" y="564"/>
                </a:lnTo>
                <a:lnTo>
                  <a:pt x="363" y="564"/>
                </a:lnTo>
                <a:lnTo>
                  <a:pt x="362" y="563"/>
                </a:lnTo>
                <a:lnTo>
                  <a:pt x="358" y="563"/>
                </a:lnTo>
                <a:lnTo>
                  <a:pt x="358" y="561"/>
                </a:lnTo>
                <a:lnTo>
                  <a:pt x="359" y="561"/>
                </a:lnTo>
                <a:lnTo>
                  <a:pt x="360" y="560"/>
                </a:lnTo>
                <a:lnTo>
                  <a:pt x="355" y="560"/>
                </a:lnTo>
                <a:lnTo>
                  <a:pt x="355" y="558"/>
                </a:lnTo>
                <a:lnTo>
                  <a:pt x="354" y="557"/>
                </a:lnTo>
                <a:lnTo>
                  <a:pt x="354" y="560"/>
                </a:lnTo>
                <a:lnTo>
                  <a:pt x="355" y="561"/>
                </a:lnTo>
                <a:lnTo>
                  <a:pt x="354" y="561"/>
                </a:lnTo>
                <a:lnTo>
                  <a:pt x="354" y="563"/>
                </a:lnTo>
                <a:lnTo>
                  <a:pt x="350" y="565"/>
                </a:lnTo>
                <a:lnTo>
                  <a:pt x="349" y="565"/>
                </a:lnTo>
                <a:lnTo>
                  <a:pt x="347" y="564"/>
                </a:lnTo>
                <a:lnTo>
                  <a:pt x="347" y="561"/>
                </a:lnTo>
                <a:lnTo>
                  <a:pt x="346" y="561"/>
                </a:lnTo>
                <a:lnTo>
                  <a:pt x="344" y="563"/>
                </a:lnTo>
                <a:lnTo>
                  <a:pt x="342" y="563"/>
                </a:lnTo>
                <a:lnTo>
                  <a:pt x="341" y="560"/>
                </a:lnTo>
                <a:lnTo>
                  <a:pt x="341" y="558"/>
                </a:lnTo>
                <a:lnTo>
                  <a:pt x="347" y="555"/>
                </a:lnTo>
                <a:lnTo>
                  <a:pt x="348" y="553"/>
                </a:lnTo>
                <a:lnTo>
                  <a:pt x="348" y="552"/>
                </a:lnTo>
                <a:lnTo>
                  <a:pt x="347" y="552"/>
                </a:lnTo>
                <a:lnTo>
                  <a:pt x="347" y="549"/>
                </a:lnTo>
                <a:lnTo>
                  <a:pt x="344" y="548"/>
                </a:lnTo>
                <a:lnTo>
                  <a:pt x="346" y="547"/>
                </a:lnTo>
                <a:lnTo>
                  <a:pt x="347" y="547"/>
                </a:lnTo>
                <a:lnTo>
                  <a:pt x="347" y="546"/>
                </a:lnTo>
                <a:lnTo>
                  <a:pt x="344" y="546"/>
                </a:lnTo>
                <a:lnTo>
                  <a:pt x="344" y="543"/>
                </a:lnTo>
                <a:lnTo>
                  <a:pt x="342" y="543"/>
                </a:lnTo>
                <a:lnTo>
                  <a:pt x="341" y="542"/>
                </a:lnTo>
                <a:lnTo>
                  <a:pt x="340" y="542"/>
                </a:lnTo>
                <a:lnTo>
                  <a:pt x="340" y="541"/>
                </a:lnTo>
                <a:lnTo>
                  <a:pt x="344" y="539"/>
                </a:lnTo>
                <a:lnTo>
                  <a:pt x="346" y="539"/>
                </a:lnTo>
                <a:lnTo>
                  <a:pt x="346" y="540"/>
                </a:lnTo>
                <a:lnTo>
                  <a:pt x="348" y="541"/>
                </a:lnTo>
                <a:lnTo>
                  <a:pt x="349" y="542"/>
                </a:lnTo>
                <a:lnTo>
                  <a:pt x="350" y="545"/>
                </a:lnTo>
                <a:lnTo>
                  <a:pt x="350" y="548"/>
                </a:lnTo>
                <a:lnTo>
                  <a:pt x="355" y="548"/>
                </a:lnTo>
                <a:lnTo>
                  <a:pt x="358" y="547"/>
                </a:lnTo>
                <a:lnTo>
                  <a:pt x="352" y="547"/>
                </a:lnTo>
                <a:lnTo>
                  <a:pt x="352" y="545"/>
                </a:lnTo>
                <a:lnTo>
                  <a:pt x="353" y="543"/>
                </a:lnTo>
                <a:lnTo>
                  <a:pt x="353" y="542"/>
                </a:lnTo>
                <a:lnTo>
                  <a:pt x="352" y="541"/>
                </a:lnTo>
                <a:lnTo>
                  <a:pt x="353" y="541"/>
                </a:lnTo>
                <a:lnTo>
                  <a:pt x="354" y="539"/>
                </a:lnTo>
                <a:lnTo>
                  <a:pt x="360" y="539"/>
                </a:lnTo>
                <a:lnTo>
                  <a:pt x="361" y="537"/>
                </a:lnTo>
                <a:lnTo>
                  <a:pt x="362" y="539"/>
                </a:lnTo>
                <a:lnTo>
                  <a:pt x="367" y="541"/>
                </a:lnTo>
                <a:lnTo>
                  <a:pt x="368" y="541"/>
                </a:lnTo>
                <a:lnTo>
                  <a:pt x="368" y="540"/>
                </a:lnTo>
                <a:lnTo>
                  <a:pt x="367" y="539"/>
                </a:lnTo>
                <a:lnTo>
                  <a:pt x="361" y="537"/>
                </a:lnTo>
                <a:lnTo>
                  <a:pt x="360" y="536"/>
                </a:lnTo>
                <a:lnTo>
                  <a:pt x="362" y="534"/>
                </a:lnTo>
                <a:lnTo>
                  <a:pt x="366" y="532"/>
                </a:lnTo>
                <a:lnTo>
                  <a:pt x="371" y="532"/>
                </a:lnTo>
                <a:lnTo>
                  <a:pt x="369" y="530"/>
                </a:lnTo>
                <a:lnTo>
                  <a:pt x="361" y="532"/>
                </a:lnTo>
                <a:lnTo>
                  <a:pt x="360" y="533"/>
                </a:lnTo>
                <a:lnTo>
                  <a:pt x="359" y="536"/>
                </a:lnTo>
                <a:lnTo>
                  <a:pt x="358" y="537"/>
                </a:lnTo>
                <a:lnTo>
                  <a:pt x="355" y="537"/>
                </a:lnTo>
                <a:lnTo>
                  <a:pt x="352" y="539"/>
                </a:lnTo>
                <a:lnTo>
                  <a:pt x="350" y="537"/>
                </a:lnTo>
                <a:lnTo>
                  <a:pt x="349" y="537"/>
                </a:lnTo>
                <a:lnTo>
                  <a:pt x="349" y="534"/>
                </a:lnTo>
                <a:lnTo>
                  <a:pt x="350" y="533"/>
                </a:lnTo>
                <a:lnTo>
                  <a:pt x="350" y="532"/>
                </a:lnTo>
                <a:lnTo>
                  <a:pt x="352" y="532"/>
                </a:lnTo>
                <a:lnTo>
                  <a:pt x="353" y="530"/>
                </a:lnTo>
                <a:lnTo>
                  <a:pt x="358" y="530"/>
                </a:lnTo>
                <a:lnTo>
                  <a:pt x="356" y="529"/>
                </a:lnTo>
                <a:lnTo>
                  <a:pt x="352" y="529"/>
                </a:lnTo>
                <a:lnTo>
                  <a:pt x="348" y="527"/>
                </a:lnTo>
                <a:lnTo>
                  <a:pt x="348" y="526"/>
                </a:lnTo>
                <a:lnTo>
                  <a:pt x="349" y="526"/>
                </a:lnTo>
                <a:lnTo>
                  <a:pt x="350" y="527"/>
                </a:lnTo>
                <a:lnTo>
                  <a:pt x="352" y="527"/>
                </a:lnTo>
                <a:lnTo>
                  <a:pt x="353" y="526"/>
                </a:lnTo>
                <a:lnTo>
                  <a:pt x="355" y="528"/>
                </a:lnTo>
                <a:lnTo>
                  <a:pt x="356" y="528"/>
                </a:lnTo>
                <a:lnTo>
                  <a:pt x="359" y="527"/>
                </a:lnTo>
                <a:lnTo>
                  <a:pt x="360" y="527"/>
                </a:lnTo>
                <a:lnTo>
                  <a:pt x="362" y="528"/>
                </a:lnTo>
                <a:lnTo>
                  <a:pt x="363" y="528"/>
                </a:lnTo>
                <a:lnTo>
                  <a:pt x="362" y="526"/>
                </a:lnTo>
                <a:lnTo>
                  <a:pt x="361" y="524"/>
                </a:lnTo>
                <a:lnTo>
                  <a:pt x="352" y="522"/>
                </a:lnTo>
                <a:lnTo>
                  <a:pt x="350" y="521"/>
                </a:lnTo>
                <a:lnTo>
                  <a:pt x="352" y="520"/>
                </a:lnTo>
                <a:lnTo>
                  <a:pt x="361" y="521"/>
                </a:lnTo>
                <a:lnTo>
                  <a:pt x="362" y="522"/>
                </a:lnTo>
                <a:lnTo>
                  <a:pt x="362" y="523"/>
                </a:lnTo>
                <a:lnTo>
                  <a:pt x="369" y="523"/>
                </a:lnTo>
                <a:lnTo>
                  <a:pt x="371" y="522"/>
                </a:lnTo>
                <a:lnTo>
                  <a:pt x="369" y="521"/>
                </a:lnTo>
                <a:lnTo>
                  <a:pt x="374" y="521"/>
                </a:lnTo>
                <a:lnTo>
                  <a:pt x="377" y="520"/>
                </a:lnTo>
                <a:lnTo>
                  <a:pt x="378" y="518"/>
                </a:lnTo>
                <a:lnTo>
                  <a:pt x="369" y="518"/>
                </a:lnTo>
                <a:lnTo>
                  <a:pt x="366" y="521"/>
                </a:lnTo>
                <a:lnTo>
                  <a:pt x="365" y="521"/>
                </a:lnTo>
                <a:lnTo>
                  <a:pt x="363" y="520"/>
                </a:lnTo>
                <a:lnTo>
                  <a:pt x="363" y="516"/>
                </a:lnTo>
                <a:lnTo>
                  <a:pt x="366" y="515"/>
                </a:lnTo>
                <a:lnTo>
                  <a:pt x="371" y="516"/>
                </a:lnTo>
                <a:lnTo>
                  <a:pt x="372" y="515"/>
                </a:lnTo>
                <a:lnTo>
                  <a:pt x="371" y="515"/>
                </a:lnTo>
                <a:lnTo>
                  <a:pt x="365" y="514"/>
                </a:lnTo>
                <a:lnTo>
                  <a:pt x="363" y="514"/>
                </a:lnTo>
                <a:lnTo>
                  <a:pt x="363" y="515"/>
                </a:lnTo>
                <a:lnTo>
                  <a:pt x="362" y="514"/>
                </a:lnTo>
                <a:lnTo>
                  <a:pt x="363" y="511"/>
                </a:lnTo>
                <a:lnTo>
                  <a:pt x="366" y="510"/>
                </a:lnTo>
                <a:lnTo>
                  <a:pt x="369" y="510"/>
                </a:lnTo>
                <a:lnTo>
                  <a:pt x="373" y="512"/>
                </a:lnTo>
                <a:lnTo>
                  <a:pt x="383" y="512"/>
                </a:lnTo>
                <a:lnTo>
                  <a:pt x="380" y="511"/>
                </a:lnTo>
                <a:lnTo>
                  <a:pt x="374" y="510"/>
                </a:lnTo>
                <a:lnTo>
                  <a:pt x="373" y="510"/>
                </a:lnTo>
                <a:lnTo>
                  <a:pt x="373" y="508"/>
                </a:lnTo>
                <a:lnTo>
                  <a:pt x="369" y="508"/>
                </a:lnTo>
                <a:lnTo>
                  <a:pt x="369" y="504"/>
                </a:lnTo>
                <a:lnTo>
                  <a:pt x="367" y="504"/>
                </a:lnTo>
                <a:lnTo>
                  <a:pt x="367" y="500"/>
                </a:lnTo>
                <a:lnTo>
                  <a:pt x="366" y="499"/>
                </a:lnTo>
                <a:lnTo>
                  <a:pt x="363" y="500"/>
                </a:lnTo>
                <a:lnTo>
                  <a:pt x="362" y="499"/>
                </a:lnTo>
                <a:lnTo>
                  <a:pt x="365" y="497"/>
                </a:lnTo>
                <a:lnTo>
                  <a:pt x="372" y="497"/>
                </a:lnTo>
                <a:lnTo>
                  <a:pt x="373" y="496"/>
                </a:lnTo>
                <a:lnTo>
                  <a:pt x="373" y="493"/>
                </a:lnTo>
                <a:lnTo>
                  <a:pt x="377" y="493"/>
                </a:lnTo>
                <a:lnTo>
                  <a:pt x="378" y="491"/>
                </a:lnTo>
                <a:lnTo>
                  <a:pt x="379" y="491"/>
                </a:lnTo>
                <a:lnTo>
                  <a:pt x="380" y="490"/>
                </a:lnTo>
                <a:lnTo>
                  <a:pt x="381" y="490"/>
                </a:lnTo>
                <a:lnTo>
                  <a:pt x="381" y="492"/>
                </a:lnTo>
                <a:lnTo>
                  <a:pt x="380" y="493"/>
                </a:lnTo>
                <a:lnTo>
                  <a:pt x="379" y="493"/>
                </a:lnTo>
                <a:lnTo>
                  <a:pt x="378" y="494"/>
                </a:lnTo>
                <a:lnTo>
                  <a:pt x="379" y="497"/>
                </a:lnTo>
                <a:lnTo>
                  <a:pt x="380" y="498"/>
                </a:lnTo>
                <a:lnTo>
                  <a:pt x="381" y="498"/>
                </a:lnTo>
                <a:lnTo>
                  <a:pt x="380" y="497"/>
                </a:lnTo>
                <a:lnTo>
                  <a:pt x="381" y="494"/>
                </a:lnTo>
                <a:lnTo>
                  <a:pt x="381" y="493"/>
                </a:lnTo>
                <a:lnTo>
                  <a:pt x="384" y="493"/>
                </a:lnTo>
                <a:lnTo>
                  <a:pt x="385" y="492"/>
                </a:lnTo>
                <a:lnTo>
                  <a:pt x="385" y="490"/>
                </a:lnTo>
                <a:lnTo>
                  <a:pt x="384" y="489"/>
                </a:lnTo>
                <a:lnTo>
                  <a:pt x="384" y="484"/>
                </a:lnTo>
                <a:lnTo>
                  <a:pt x="385" y="483"/>
                </a:lnTo>
                <a:lnTo>
                  <a:pt x="386" y="484"/>
                </a:lnTo>
                <a:lnTo>
                  <a:pt x="386" y="486"/>
                </a:lnTo>
                <a:lnTo>
                  <a:pt x="387" y="490"/>
                </a:lnTo>
                <a:lnTo>
                  <a:pt x="387" y="491"/>
                </a:lnTo>
                <a:lnTo>
                  <a:pt x="389" y="493"/>
                </a:lnTo>
                <a:lnTo>
                  <a:pt x="390" y="492"/>
                </a:lnTo>
                <a:lnTo>
                  <a:pt x="392" y="492"/>
                </a:lnTo>
                <a:lnTo>
                  <a:pt x="392" y="490"/>
                </a:lnTo>
                <a:lnTo>
                  <a:pt x="393" y="490"/>
                </a:lnTo>
                <a:lnTo>
                  <a:pt x="394" y="487"/>
                </a:lnTo>
                <a:lnTo>
                  <a:pt x="394" y="485"/>
                </a:lnTo>
                <a:lnTo>
                  <a:pt x="393" y="484"/>
                </a:lnTo>
                <a:lnTo>
                  <a:pt x="394" y="484"/>
                </a:lnTo>
                <a:lnTo>
                  <a:pt x="400" y="483"/>
                </a:lnTo>
                <a:lnTo>
                  <a:pt x="403" y="485"/>
                </a:lnTo>
                <a:lnTo>
                  <a:pt x="405" y="485"/>
                </a:lnTo>
                <a:lnTo>
                  <a:pt x="406" y="486"/>
                </a:lnTo>
                <a:lnTo>
                  <a:pt x="406" y="487"/>
                </a:lnTo>
                <a:lnTo>
                  <a:pt x="408" y="487"/>
                </a:lnTo>
                <a:lnTo>
                  <a:pt x="408" y="484"/>
                </a:lnTo>
                <a:lnTo>
                  <a:pt x="406" y="483"/>
                </a:lnTo>
                <a:lnTo>
                  <a:pt x="404" y="483"/>
                </a:lnTo>
                <a:lnTo>
                  <a:pt x="398" y="481"/>
                </a:lnTo>
                <a:lnTo>
                  <a:pt x="394" y="481"/>
                </a:lnTo>
                <a:lnTo>
                  <a:pt x="394" y="480"/>
                </a:lnTo>
                <a:lnTo>
                  <a:pt x="396" y="479"/>
                </a:lnTo>
                <a:lnTo>
                  <a:pt x="396" y="478"/>
                </a:lnTo>
                <a:lnTo>
                  <a:pt x="397" y="477"/>
                </a:lnTo>
                <a:lnTo>
                  <a:pt x="396" y="475"/>
                </a:lnTo>
                <a:lnTo>
                  <a:pt x="397" y="474"/>
                </a:lnTo>
                <a:lnTo>
                  <a:pt x="397" y="473"/>
                </a:lnTo>
                <a:lnTo>
                  <a:pt x="398" y="472"/>
                </a:lnTo>
                <a:lnTo>
                  <a:pt x="402" y="472"/>
                </a:lnTo>
                <a:lnTo>
                  <a:pt x="402" y="473"/>
                </a:lnTo>
                <a:lnTo>
                  <a:pt x="400" y="474"/>
                </a:lnTo>
                <a:lnTo>
                  <a:pt x="400" y="478"/>
                </a:lnTo>
                <a:lnTo>
                  <a:pt x="402" y="478"/>
                </a:lnTo>
                <a:lnTo>
                  <a:pt x="402" y="475"/>
                </a:lnTo>
                <a:lnTo>
                  <a:pt x="403" y="474"/>
                </a:lnTo>
                <a:lnTo>
                  <a:pt x="402" y="474"/>
                </a:lnTo>
                <a:lnTo>
                  <a:pt x="402" y="473"/>
                </a:lnTo>
                <a:lnTo>
                  <a:pt x="411" y="472"/>
                </a:lnTo>
                <a:lnTo>
                  <a:pt x="412" y="473"/>
                </a:lnTo>
                <a:lnTo>
                  <a:pt x="414" y="477"/>
                </a:lnTo>
                <a:lnTo>
                  <a:pt x="415" y="477"/>
                </a:lnTo>
                <a:lnTo>
                  <a:pt x="415" y="474"/>
                </a:lnTo>
                <a:lnTo>
                  <a:pt x="414" y="473"/>
                </a:lnTo>
                <a:lnTo>
                  <a:pt x="414" y="472"/>
                </a:lnTo>
                <a:lnTo>
                  <a:pt x="410" y="471"/>
                </a:lnTo>
                <a:lnTo>
                  <a:pt x="404" y="471"/>
                </a:lnTo>
                <a:lnTo>
                  <a:pt x="408" y="467"/>
                </a:lnTo>
                <a:lnTo>
                  <a:pt x="410" y="469"/>
                </a:lnTo>
                <a:lnTo>
                  <a:pt x="411" y="469"/>
                </a:lnTo>
                <a:lnTo>
                  <a:pt x="412" y="468"/>
                </a:lnTo>
                <a:lnTo>
                  <a:pt x="414" y="468"/>
                </a:lnTo>
                <a:lnTo>
                  <a:pt x="416" y="466"/>
                </a:lnTo>
                <a:lnTo>
                  <a:pt x="419" y="467"/>
                </a:lnTo>
                <a:lnTo>
                  <a:pt x="424" y="466"/>
                </a:lnTo>
                <a:lnTo>
                  <a:pt x="424" y="467"/>
                </a:lnTo>
                <a:lnTo>
                  <a:pt x="422" y="467"/>
                </a:lnTo>
                <a:lnTo>
                  <a:pt x="422" y="471"/>
                </a:lnTo>
                <a:lnTo>
                  <a:pt x="421" y="472"/>
                </a:lnTo>
                <a:lnTo>
                  <a:pt x="421" y="474"/>
                </a:lnTo>
                <a:lnTo>
                  <a:pt x="423" y="479"/>
                </a:lnTo>
                <a:lnTo>
                  <a:pt x="425" y="479"/>
                </a:lnTo>
                <a:lnTo>
                  <a:pt x="425" y="478"/>
                </a:lnTo>
                <a:lnTo>
                  <a:pt x="424" y="475"/>
                </a:lnTo>
                <a:lnTo>
                  <a:pt x="422" y="473"/>
                </a:lnTo>
                <a:lnTo>
                  <a:pt x="425" y="468"/>
                </a:lnTo>
                <a:lnTo>
                  <a:pt x="425" y="467"/>
                </a:lnTo>
                <a:lnTo>
                  <a:pt x="429" y="467"/>
                </a:lnTo>
                <a:lnTo>
                  <a:pt x="430" y="468"/>
                </a:lnTo>
                <a:lnTo>
                  <a:pt x="434" y="468"/>
                </a:lnTo>
                <a:lnTo>
                  <a:pt x="437" y="472"/>
                </a:lnTo>
                <a:lnTo>
                  <a:pt x="440" y="472"/>
                </a:lnTo>
                <a:lnTo>
                  <a:pt x="441" y="473"/>
                </a:lnTo>
                <a:lnTo>
                  <a:pt x="441" y="479"/>
                </a:lnTo>
                <a:lnTo>
                  <a:pt x="445" y="483"/>
                </a:lnTo>
                <a:lnTo>
                  <a:pt x="446" y="483"/>
                </a:lnTo>
                <a:lnTo>
                  <a:pt x="446" y="481"/>
                </a:lnTo>
                <a:lnTo>
                  <a:pt x="443" y="479"/>
                </a:lnTo>
                <a:lnTo>
                  <a:pt x="443" y="477"/>
                </a:lnTo>
                <a:lnTo>
                  <a:pt x="445" y="474"/>
                </a:lnTo>
                <a:lnTo>
                  <a:pt x="445" y="471"/>
                </a:lnTo>
                <a:lnTo>
                  <a:pt x="442" y="469"/>
                </a:lnTo>
                <a:lnTo>
                  <a:pt x="441" y="468"/>
                </a:lnTo>
                <a:lnTo>
                  <a:pt x="442" y="467"/>
                </a:lnTo>
                <a:lnTo>
                  <a:pt x="445" y="467"/>
                </a:lnTo>
                <a:lnTo>
                  <a:pt x="455" y="471"/>
                </a:lnTo>
                <a:lnTo>
                  <a:pt x="456" y="471"/>
                </a:lnTo>
                <a:lnTo>
                  <a:pt x="455" y="469"/>
                </a:lnTo>
                <a:lnTo>
                  <a:pt x="455" y="468"/>
                </a:lnTo>
                <a:lnTo>
                  <a:pt x="454" y="468"/>
                </a:lnTo>
                <a:lnTo>
                  <a:pt x="454" y="466"/>
                </a:lnTo>
                <a:lnTo>
                  <a:pt x="450" y="468"/>
                </a:lnTo>
                <a:lnTo>
                  <a:pt x="448" y="466"/>
                </a:lnTo>
                <a:lnTo>
                  <a:pt x="442" y="465"/>
                </a:lnTo>
                <a:lnTo>
                  <a:pt x="440" y="465"/>
                </a:lnTo>
                <a:lnTo>
                  <a:pt x="437" y="467"/>
                </a:lnTo>
                <a:lnTo>
                  <a:pt x="436" y="466"/>
                </a:lnTo>
                <a:lnTo>
                  <a:pt x="437" y="466"/>
                </a:lnTo>
                <a:lnTo>
                  <a:pt x="440" y="463"/>
                </a:lnTo>
                <a:lnTo>
                  <a:pt x="436" y="462"/>
                </a:lnTo>
                <a:lnTo>
                  <a:pt x="436" y="463"/>
                </a:lnTo>
                <a:lnTo>
                  <a:pt x="435" y="463"/>
                </a:lnTo>
                <a:lnTo>
                  <a:pt x="434" y="465"/>
                </a:lnTo>
                <a:lnTo>
                  <a:pt x="428" y="462"/>
                </a:lnTo>
                <a:lnTo>
                  <a:pt x="428" y="461"/>
                </a:lnTo>
                <a:lnTo>
                  <a:pt x="430" y="461"/>
                </a:lnTo>
                <a:lnTo>
                  <a:pt x="430" y="460"/>
                </a:lnTo>
                <a:lnTo>
                  <a:pt x="431" y="460"/>
                </a:lnTo>
                <a:lnTo>
                  <a:pt x="431" y="456"/>
                </a:lnTo>
                <a:lnTo>
                  <a:pt x="430" y="456"/>
                </a:lnTo>
                <a:lnTo>
                  <a:pt x="427" y="457"/>
                </a:lnTo>
                <a:lnTo>
                  <a:pt x="425" y="457"/>
                </a:lnTo>
                <a:lnTo>
                  <a:pt x="425" y="460"/>
                </a:lnTo>
                <a:lnTo>
                  <a:pt x="415" y="460"/>
                </a:lnTo>
                <a:lnTo>
                  <a:pt x="416" y="461"/>
                </a:lnTo>
                <a:lnTo>
                  <a:pt x="417" y="461"/>
                </a:lnTo>
                <a:lnTo>
                  <a:pt x="418" y="462"/>
                </a:lnTo>
                <a:lnTo>
                  <a:pt x="417" y="463"/>
                </a:lnTo>
                <a:lnTo>
                  <a:pt x="411" y="466"/>
                </a:lnTo>
                <a:lnTo>
                  <a:pt x="409" y="466"/>
                </a:lnTo>
                <a:lnTo>
                  <a:pt x="411" y="465"/>
                </a:lnTo>
                <a:lnTo>
                  <a:pt x="412" y="462"/>
                </a:lnTo>
                <a:lnTo>
                  <a:pt x="412" y="460"/>
                </a:lnTo>
                <a:lnTo>
                  <a:pt x="411" y="460"/>
                </a:lnTo>
                <a:lnTo>
                  <a:pt x="406" y="462"/>
                </a:lnTo>
                <a:lnTo>
                  <a:pt x="400" y="462"/>
                </a:lnTo>
                <a:lnTo>
                  <a:pt x="399" y="463"/>
                </a:lnTo>
                <a:lnTo>
                  <a:pt x="398" y="463"/>
                </a:lnTo>
                <a:lnTo>
                  <a:pt x="397" y="465"/>
                </a:lnTo>
                <a:lnTo>
                  <a:pt x="397" y="463"/>
                </a:lnTo>
                <a:lnTo>
                  <a:pt x="400" y="460"/>
                </a:lnTo>
                <a:lnTo>
                  <a:pt x="399" y="460"/>
                </a:lnTo>
                <a:lnTo>
                  <a:pt x="402" y="457"/>
                </a:lnTo>
                <a:lnTo>
                  <a:pt x="403" y="455"/>
                </a:lnTo>
                <a:lnTo>
                  <a:pt x="408" y="449"/>
                </a:lnTo>
                <a:lnTo>
                  <a:pt x="409" y="448"/>
                </a:lnTo>
                <a:lnTo>
                  <a:pt x="408" y="447"/>
                </a:lnTo>
                <a:lnTo>
                  <a:pt x="408" y="446"/>
                </a:lnTo>
                <a:lnTo>
                  <a:pt x="409" y="446"/>
                </a:lnTo>
                <a:lnTo>
                  <a:pt x="409" y="444"/>
                </a:lnTo>
                <a:lnTo>
                  <a:pt x="410" y="443"/>
                </a:lnTo>
                <a:lnTo>
                  <a:pt x="414" y="444"/>
                </a:lnTo>
                <a:lnTo>
                  <a:pt x="415" y="443"/>
                </a:lnTo>
                <a:lnTo>
                  <a:pt x="416" y="443"/>
                </a:lnTo>
                <a:lnTo>
                  <a:pt x="417" y="446"/>
                </a:lnTo>
                <a:lnTo>
                  <a:pt x="417" y="447"/>
                </a:lnTo>
                <a:lnTo>
                  <a:pt x="416" y="448"/>
                </a:lnTo>
                <a:lnTo>
                  <a:pt x="417" y="448"/>
                </a:lnTo>
                <a:lnTo>
                  <a:pt x="421" y="444"/>
                </a:lnTo>
                <a:lnTo>
                  <a:pt x="422" y="444"/>
                </a:lnTo>
                <a:lnTo>
                  <a:pt x="424" y="443"/>
                </a:lnTo>
                <a:lnTo>
                  <a:pt x="427" y="441"/>
                </a:lnTo>
                <a:lnTo>
                  <a:pt x="422" y="442"/>
                </a:lnTo>
                <a:lnTo>
                  <a:pt x="417" y="441"/>
                </a:lnTo>
                <a:lnTo>
                  <a:pt x="418" y="440"/>
                </a:lnTo>
                <a:lnTo>
                  <a:pt x="417" y="438"/>
                </a:lnTo>
                <a:lnTo>
                  <a:pt x="425" y="438"/>
                </a:lnTo>
                <a:lnTo>
                  <a:pt x="427" y="437"/>
                </a:lnTo>
                <a:lnTo>
                  <a:pt x="427" y="436"/>
                </a:lnTo>
                <a:lnTo>
                  <a:pt x="428" y="436"/>
                </a:lnTo>
                <a:lnTo>
                  <a:pt x="429" y="435"/>
                </a:lnTo>
                <a:lnTo>
                  <a:pt x="430" y="435"/>
                </a:lnTo>
                <a:lnTo>
                  <a:pt x="433" y="432"/>
                </a:lnTo>
                <a:lnTo>
                  <a:pt x="433" y="435"/>
                </a:lnTo>
                <a:lnTo>
                  <a:pt x="434" y="436"/>
                </a:lnTo>
                <a:lnTo>
                  <a:pt x="433" y="437"/>
                </a:lnTo>
                <a:lnTo>
                  <a:pt x="431" y="437"/>
                </a:lnTo>
                <a:lnTo>
                  <a:pt x="431" y="438"/>
                </a:lnTo>
                <a:lnTo>
                  <a:pt x="433" y="438"/>
                </a:lnTo>
                <a:lnTo>
                  <a:pt x="431" y="440"/>
                </a:lnTo>
                <a:lnTo>
                  <a:pt x="431" y="442"/>
                </a:lnTo>
                <a:lnTo>
                  <a:pt x="430" y="444"/>
                </a:lnTo>
                <a:lnTo>
                  <a:pt x="434" y="441"/>
                </a:lnTo>
                <a:lnTo>
                  <a:pt x="434" y="438"/>
                </a:lnTo>
                <a:lnTo>
                  <a:pt x="435" y="437"/>
                </a:lnTo>
                <a:lnTo>
                  <a:pt x="441" y="436"/>
                </a:lnTo>
                <a:lnTo>
                  <a:pt x="443" y="437"/>
                </a:lnTo>
                <a:lnTo>
                  <a:pt x="445" y="440"/>
                </a:lnTo>
                <a:lnTo>
                  <a:pt x="445" y="441"/>
                </a:lnTo>
                <a:lnTo>
                  <a:pt x="448" y="448"/>
                </a:lnTo>
                <a:lnTo>
                  <a:pt x="448" y="451"/>
                </a:lnTo>
                <a:lnTo>
                  <a:pt x="449" y="454"/>
                </a:lnTo>
                <a:lnTo>
                  <a:pt x="452" y="456"/>
                </a:lnTo>
                <a:lnTo>
                  <a:pt x="452" y="457"/>
                </a:lnTo>
                <a:lnTo>
                  <a:pt x="450" y="457"/>
                </a:lnTo>
                <a:lnTo>
                  <a:pt x="450" y="459"/>
                </a:lnTo>
                <a:lnTo>
                  <a:pt x="452" y="460"/>
                </a:lnTo>
                <a:lnTo>
                  <a:pt x="453" y="460"/>
                </a:lnTo>
                <a:lnTo>
                  <a:pt x="454" y="456"/>
                </a:lnTo>
                <a:lnTo>
                  <a:pt x="454" y="455"/>
                </a:lnTo>
                <a:lnTo>
                  <a:pt x="452" y="454"/>
                </a:lnTo>
                <a:lnTo>
                  <a:pt x="450" y="454"/>
                </a:lnTo>
                <a:lnTo>
                  <a:pt x="450" y="448"/>
                </a:lnTo>
                <a:lnTo>
                  <a:pt x="448" y="446"/>
                </a:lnTo>
                <a:lnTo>
                  <a:pt x="447" y="443"/>
                </a:lnTo>
                <a:lnTo>
                  <a:pt x="447" y="442"/>
                </a:lnTo>
                <a:lnTo>
                  <a:pt x="449" y="441"/>
                </a:lnTo>
                <a:lnTo>
                  <a:pt x="449" y="440"/>
                </a:lnTo>
                <a:lnTo>
                  <a:pt x="448" y="440"/>
                </a:lnTo>
                <a:lnTo>
                  <a:pt x="447" y="438"/>
                </a:lnTo>
                <a:lnTo>
                  <a:pt x="448" y="436"/>
                </a:lnTo>
                <a:lnTo>
                  <a:pt x="450" y="434"/>
                </a:lnTo>
                <a:lnTo>
                  <a:pt x="458" y="430"/>
                </a:lnTo>
                <a:lnTo>
                  <a:pt x="462" y="429"/>
                </a:lnTo>
                <a:lnTo>
                  <a:pt x="461" y="426"/>
                </a:lnTo>
                <a:lnTo>
                  <a:pt x="453" y="429"/>
                </a:lnTo>
                <a:lnTo>
                  <a:pt x="448" y="434"/>
                </a:lnTo>
                <a:lnTo>
                  <a:pt x="446" y="434"/>
                </a:lnTo>
                <a:lnTo>
                  <a:pt x="436" y="432"/>
                </a:lnTo>
                <a:lnTo>
                  <a:pt x="435" y="432"/>
                </a:lnTo>
                <a:lnTo>
                  <a:pt x="434" y="431"/>
                </a:lnTo>
                <a:lnTo>
                  <a:pt x="435" y="429"/>
                </a:lnTo>
                <a:lnTo>
                  <a:pt x="435" y="428"/>
                </a:lnTo>
                <a:lnTo>
                  <a:pt x="436" y="426"/>
                </a:lnTo>
                <a:lnTo>
                  <a:pt x="435" y="425"/>
                </a:lnTo>
                <a:lnTo>
                  <a:pt x="441" y="425"/>
                </a:lnTo>
                <a:lnTo>
                  <a:pt x="442" y="426"/>
                </a:lnTo>
                <a:lnTo>
                  <a:pt x="443" y="426"/>
                </a:lnTo>
                <a:lnTo>
                  <a:pt x="443" y="429"/>
                </a:lnTo>
                <a:lnTo>
                  <a:pt x="445" y="428"/>
                </a:lnTo>
                <a:lnTo>
                  <a:pt x="445" y="426"/>
                </a:lnTo>
                <a:lnTo>
                  <a:pt x="442" y="424"/>
                </a:lnTo>
                <a:lnTo>
                  <a:pt x="442" y="423"/>
                </a:lnTo>
                <a:lnTo>
                  <a:pt x="443" y="423"/>
                </a:lnTo>
                <a:lnTo>
                  <a:pt x="442" y="422"/>
                </a:lnTo>
                <a:lnTo>
                  <a:pt x="442" y="420"/>
                </a:lnTo>
                <a:lnTo>
                  <a:pt x="441" y="420"/>
                </a:lnTo>
                <a:lnTo>
                  <a:pt x="441" y="423"/>
                </a:lnTo>
                <a:lnTo>
                  <a:pt x="437" y="423"/>
                </a:lnTo>
                <a:lnTo>
                  <a:pt x="437" y="422"/>
                </a:lnTo>
                <a:lnTo>
                  <a:pt x="436" y="422"/>
                </a:lnTo>
                <a:lnTo>
                  <a:pt x="434" y="423"/>
                </a:lnTo>
                <a:lnTo>
                  <a:pt x="433" y="423"/>
                </a:lnTo>
                <a:lnTo>
                  <a:pt x="433" y="419"/>
                </a:lnTo>
                <a:lnTo>
                  <a:pt x="437" y="414"/>
                </a:lnTo>
                <a:lnTo>
                  <a:pt x="436" y="413"/>
                </a:lnTo>
                <a:lnTo>
                  <a:pt x="437" y="411"/>
                </a:lnTo>
                <a:lnTo>
                  <a:pt x="441" y="412"/>
                </a:lnTo>
                <a:lnTo>
                  <a:pt x="442" y="414"/>
                </a:lnTo>
                <a:lnTo>
                  <a:pt x="448" y="416"/>
                </a:lnTo>
                <a:lnTo>
                  <a:pt x="447" y="414"/>
                </a:lnTo>
                <a:lnTo>
                  <a:pt x="447" y="413"/>
                </a:lnTo>
                <a:lnTo>
                  <a:pt x="453" y="416"/>
                </a:lnTo>
                <a:lnTo>
                  <a:pt x="449" y="412"/>
                </a:lnTo>
                <a:lnTo>
                  <a:pt x="448" y="412"/>
                </a:lnTo>
                <a:lnTo>
                  <a:pt x="446" y="413"/>
                </a:lnTo>
                <a:lnTo>
                  <a:pt x="445" y="412"/>
                </a:lnTo>
                <a:lnTo>
                  <a:pt x="442" y="408"/>
                </a:lnTo>
                <a:lnTo>
                  <a:pt x="450" y="407"/>
                </a:lnTo>
                <a:lnTo>
                  <a:pt x="453" y="408"/>
                </a:lnTo>
                <a:lnTo>
                  <a:pt x="459" y="416"/>
                </a:lnTo>
                <a:lnTo>
                  <a:pt x="460" y="416"/>
                </a:lnTo>
                <a:lnTo>
                  <a:pt x="460" y="413"/>
                </a:lnTo>
                <a:lnTo>
                  <a:pt x="459" y="413"/>
                </a:lnTo>
                <a:lnTo>
                  <a:pt x="458" y="412"/>
                </a:lnTo>
                <a:lnTo>
                  <a:pt x="458" y="410"/>
                </a:lnTo>
                <a:lnTo>
                  <a:pt x="453" y="406"/>
                </a:lnTo>
                <a:lnTo>
                  <a:pt x="452" y="406"/>
                </a:lnTo>
                <a:lnTo>
                  <a:pt x="452" y="405"/>
                </a:lnTo>
                <a:lnTo>
                  <a:pt x="453" y="404"/>
                </a:lnTo>
                <a:lnTo>
                  <a:pt x="453" y="403"/>
                </a:lnTo>
                <a:lnTo>
                  <a:pt x="450" y="405"/>
                </a:lnTo>
                <a:lnTo>
                  <a:pt x="442" y="403"/>
                </a:lnTo>
                <a:lnTo>
                  <a:pt x="442" y="400"/>
                </a:lnTo>
                <a:lnTo>
                  <a:pt x="443" y="398"/>
                </a:lnTo>
                <a:lnTo>
                  <a:pt x="443" y="395"/>
                </a:lnTo>
                <a:lnTo>
                  <a:pt x="442" y="395"/>
                </a:lnTo>
                <a:lnTo>
                  <a:pt x="442" y="399"/>
                </a:lnTo>
                <a:lnTo>
                  <a:pt x="441" y="395"/>
                </a:lnTo>
                <a:lnTo>
                  <a:pt x="441" y="394"/>
                </a:lnTo>
                <a:lnTo>
                  <a:pt x="440" y="397"/>
                </a:lnTo>
                <a:lnTo>
                  <a:pt x="441" y="400"/>
                </a:lnTo>
                <a:lnTo>
                  <a:pt x="441" y="401"/>
                </a:lnTo>
                <a:lnTo>
                  <a:pt x="437" y="405"/>
                </a:lnTo>
                <a:lnTo>
                  <a:pt x="436" y="407"/>
                </a:lnTo>
                <a:lnTo>
                  <a:pt x="434" y="408"/>
                </a:lnTo>
                <a:lnTo>
                  <a:pt x="433" y="411"/>
                </a:lnTo>
                <a:lnTo>
                  <a:pt x="431" y="412"/>
                </a:lnTo>
                <a:lnTo>
                  <a:pt x="427" y="416"/>
                </a:lnTo>
                <a:lnTo>
                  <a:pt x="423" y="417"/>
                </a:lnTo>
                <a:lnTo>
                  <a:pt x="422" y="418"/>
                </a:lnTo>
                <a:lnTo>
                  <a:pt x="418" y="419"/>
                </a:lnTo>
                <a:lnTo>
                  <a:pt x="417" y="418"/>
                </a:lnTo>
                <a:lnTo>
                  <a:pt x="415" y="419"/>
                </a:lnTo>
                <a:lnTo>
                  <a:pt x="414" y="417"/>
                </a:lnTo>
                <a:lnTo>
                  <a:pt x="419" y="413"/>
                </a:lnTo>
                <a:lnTo>
                  <a:pt x="419" y="412"/>
                </a:lnTo>
                <a:lnTo>
                  <a:pt x="416" y="411"/>
                </a:lnTo>
                <a:lnTo>
                  <a:pt x="416" y="410"/>
                </a:lnTo>
                <a:lnTo>
                  <a:pt x="419" y="410"/>
                </a:lnTo>
                <a:lnTo>
                  <a:pt x="430" y="408"/>
                </a:lnTo>
                <a:lnTo>
                  <a:pt x="429" y="407"/>
                </a:lnTo>
                <a:lnTo>
                  <a:pt x="425" y="407"/>
                </a:lnTo>
                <a:lnTo>
                  <a:pt x="424" y="405"/>
                </a:lnTo>
                <a:lnTo>
                  <a:pt x="425" y="405"/>
                </a:lnTo>
                <a:lnTo>
                  <a:pt x="427" y="404"/>
                </a:lnTo>
                <a:lnTo>
                  <a:pt x="419" y="405"/>
                </a:lnTo>
                <a:lnTo>
                  <a:pt x="417" y="405"/>
                </a:lnTo>
                <a:lnTo>
                  <a:pt x="417" y="403"/>
                </a:lnTo>
                <a:lnTo>
                  <a:pt x="416" y="403"/>
                </a:lnTo>
                <a:lnTo>
                  <a:pt x="416" y="404"/>
                </a:lnTo>
                <a:lnTo>
                  <a:pt x="415" y="403"/>
                </a:lnTo>
                <a:lnTo>
                  <a:pt x="415" y="400"/>
                </a:lnTo>
                <a:lnTo>
                  <a:pt x="416" y="399"/>
                </a:lnTo>
                <a:lnTo>
                  <a:pt x="419" y="399"/>
                </a:lnTo>
                <a:lnTo>
                  <a:pt x="423" y="398"/>
                </a:lnTo>
                <a:lnTo>
                  <a:pt x="428" y="398"/>
                </a:lnTo>
                <a:lnTo>
                  <a:pt x="429" y="397"/>
                </a:lnTo>
                <a:lnTo>
                  <a:pt x="428" y="395"/>
                </a:lnTo>
                <a:lnTo>
                  <a:pt x="418" y="397"/>
                </a:lnTo>
                <a:lnTo>
                  <a:pt x="424" y="391"/>
                </a:lnTo>
                <a:lnTo>
                  <a:pt x="427" y="391"/>
                </a:lnTo>
                <a:lnTo>
                  <a:pt x="428" y="392"/>
                </a:lnTo>
                <a:lnTo>
                  <a:pt x="433" y="392"/>
                </a:lnTo>
                <a:lnTo>
                  <a:pt x="435" y="394"/>
                </a:lnTo>
                <a:lnTo>
                  <a:pt x="434" y="394"/>
                </a:lnTo>
                <a:lnTo>
                  <a:pt x="434" y="395"/>
                </a:lnTo>
                <a:lnTo>
                  <a:pt x="433" y="397"/>
                </a:lnTo>
                <a:lnTo>
                  <a:pt x="433" y="398"/>
                </a:lnTo>
                <a:lnTo>
                  <a:pt x="437" y="392"/>
                </a:lnTo>
                <a:lnTo>
                  <a:pt x="437" y="391"/>
                </a:lnTo>
                <a:lnTo>
                  <a:pt x="437" y="392"/>
                </a:lnTo>
                <a:lnTo>
                  <a:pt x="440" y="392"/>
                </a:lnTo>
                <a:lnTo>
                  <a:pt x="446" y="388"/>
                </a:lnTo>
                <a:lnTo>
                  <a:pt x="448" y="388"/>
                </a:lnTo>
                <a:lnTo>
                  <a:pt x="447" y="392"/>
                </a:lnTo>
                <a:lnTo>
                  <a:pt x="448" y="391"/>
                </a:lnTo>
                <a:lnTo>
                  <a:pt x="448" y="389"/>
                </a:lnTo>
                <a:lnTo>
                  <a:pt x="449" y="389"/>
                </a:lnTo>
                <a:lnTo>
                  <a:pt x="450" y="388"/>
                </a:lnTo>
                <a:lnTo>
                  <a:pt x="450" y="387"/>
                </a:lnTo>
                <a:lnTo>
                  <a:pt x="456" y="385"/>
                </a:lnTo>
                <a:lnTo>
                  <a:pt x="458" y="385"/>
                </a:lnTo>
                <a:lnTo>
                  <a:pt x="460" y="386"/>
                </a:lnTo>
                <a:lnTo>
                  <a:pt x="460" y="391"/>
                </a:lnTo>
                <a:lnTo>
                  <a:pt x="461" y="391"/>
                </a:lnTo>
                <a:lnTo>
                  <a:pt x="461" y="387"/>
                </a:lnTo>
                <a:lnTo>
                  <a:pt x="465" y="383"/>
                </a:lnTo>
                <a:lnTo>
                  <a:pt x="465" y="382"/>
                </a:lnTo>
                <a:lnTo>
                  <a:pt x="466" y="380"/>
                </a:lnTo>
                <a:lnTo>
                  <a:pt x="465" y="380"/>
                </a:lnTo>
                <a:lnTo>
                  <a:pt x="467" y="377"/>
                </a:lnTo>
                <a:lnTo>
                  <a:pt x="470" y="379"/>
                </a:lnTo>
                <a:lnTo>
                  <a:pt x="470" y="377"/>
                </a:lnTo>
                <a:lnTo>
                  <a:pt x="462" y="376"/>
                </a:lnTo>
                <a:lnTo>
                  <a:pt x="461" y="375"/>
                </a:lnTo>
                <a:lnTo>
                  <a:pt x="461" y="374"/>
                </a:lnTo>
                <a:lnTo>
                  <a:pt x="462" y="373"/>
                </a:lnTo>
                <a:lnTo>
                  <a:pt x="462" y="371"/>
                </a:lnTo>
                <a:lnTo>
                  <a:pt x="461" y="371"/>
                </a:lnTo>
                <a:lnTo>
                  <a:pt x="460" y="374"/>
                </a:lnTo>
                <a:lnTo>
                  <a:pt x="459" y="374"/>
                </a:lnTo>
                <a:lnTo>
                  <a:pt x="458" y="375"/>
                </a:lnTo>
                <a:lnTo>
                  <a:pt x="450" y="375"/>
                </a:lnTo>
                <a:lnTo>
                  <a:pt x="449" y="374"/>
                </a:lnTo>
                <a:lnTo>
                  <a:pt x="449" y="373"/>
                </a:lnTo>
                <a:lnTo>
                  <a:pt x="448" y="371"/>
                </a:lnTo>
                <a:lnTo>
                  <a:pt x="448" y="370"/>
                </a:lnTo>
                <a:lnTo>
                  <a:pt x="447" y="371"/>
                </a:lnTo>
                <a:lnTo>
                  <a:pt x="447" y="373"/>
                </a:lnTo>
                <a:lnTo>
                  <a:pt x="441" y="376"/>
                </a:lnTo>
                <a:lnTo>
                  <a:pt x="441" y="377"/>
                </a:lnTo>
                <a:lnTo>
                  <a:pt x="442" y="379"/>
                </a:lnTo>
                <a:lnTo>
                  <a:pt x="442" y="377"/>
                </a:lnTo>
                <a:lnTo>
                  <a:pt x="443" y="379"/>
                </a:lnTo>
                <a:lnTo>
                  <a:pt x="442" y="380"/>
                </a:lnTo>
                <a:lnTo>
                  <a:pt x="440" y="380"/>
                </a:lnTo>
                <a:lnTo>
                  <a:pt x="437" y="379"/>
                </a:lnTo>
                <a:lnTo>
                  <a:pt x="436" y="375"/>
                </a:lnTo>
                <a:lnTo>
                  <a:pt x="437" y="374"/>
                </a:lnTo>
                <a:lnTo>
                  <a:pt x="437" y="373"/>
                </a:lnTo>
                <a:lnTo>
                  <a:pt x="440" y="373"/>
                </a:lnTo>
                <a:lnTo>
                  <a:pt x="440" y="370"/>
                </a:lnTo>
                <a:lnTo>
                  <a:pt x="446" y="364"/>
                </a:lnTo>
                <a:lnTo>
                  <a:pt x="446" y="368"/>
                </a:lnTo>
                <a:lnTo>
                  <a:pt x="447" y="368"/>
                </a:lnTo>
                <a:lnTo>
                  <a:pt x="447" y="367"/>
                </a:lnTo>
                <a:lnTo>
                  <a:pt x="449" y="367"/>
                </a:lnTo>
                <a:lnTo>
                  <a:pt x="452" y="364"/>
                </a:lnTo>
                <a:lnTo>
                  <a:pt x="452" y="361"/>
                </a:lnTo>
                <a:lnTo>
                  <a:pt x="453" y="361"/>
                </a:lnTo>
                <a:lnTo>
                  <a:pt x="453" y="362"/>
                </a:lnTo>
                <a:lnTo>
                  <a:pt x="455" y="363"/>
                </a:lnTo>
                <a:lnTo>
                  <a:pt x="455" y="364"/>
                </a:lnTo>
                <a:lnTo>
                  <a:pt x="454" y="365"/>
                </a:lnTo>
                <a:lnTo>
                  <a:pt x="455" y="365"/>
                </a:lnTo>
                <a:lnTo>
                  <a:pt x="455" y="367"/>
                </a:lnTo>
                <a:lnTo>
                  <a:pt x="456" y="368"/>
                </a:lnTo>
                <a:lnTo>
                  <a:pt x="455" y="369"/>
                </a:lnTo>
                <a:lnTo>
                  <a:pt x="455" y="370"/>
                </a:lnTo>
                <a:lnTo>
                  <a:pt x="452" y="368"/>
                </a:lnTo>
                <a:lnTo>
                  <a:pt x="450" y="369"/>
                </a:lnTo>
                <a:lnTo>
                  <a:pt x="452" y="370"/>
                </a:lnTo>
                <a:lnTo>
                  <a:pt x="452" y="371"/>
                </a:lnTo>
                <a:lnTo>
                  <a:pt x="450" y="373"/>
                </a:lnTo>
                <a:lnTo>
                  <a:pt x="452" y="374"/>
                </a:lnTo>
                <a:lnTo>
                  <a:pt x="453" y="374"/>
                </a:lnTo>
                <a:lnTo>
                  <a:pt x="453" y="371"/>
                </a:lnTo>
                <a:lnTo>
                  <a:pt x="455" y="371"/>
                </a:lnTo>
                <a:lnTo>
                  <a:pt x="456" y="370"/>
                </a:lnTo>
                <a:lnTo>
                  <a:pt x="456" y="369"/>
                </a:lnTo>
                <a:lnTo>
                  <a:pt x="460" y="369"/>
                </a:lnTo>
                <a:lnTo>
                  <a:pt x="460" y="368"/>
                </a:lnTo>
                <a:lnTo>
                  <a:pt x="461" y="368"/>
                </a:lnTo>
                <a:lnTo>
                  <a:pt x="462" y="365"/>
                </a:lnTo>
                <a:lnTo>
                  <a:pt x="464" y="364"/>
                </a:lnTo>
                <a:lnTo>
                  <a:pt x="461" y="360"/>
                </a:lnTo>
                <a:lnTo>
                  <a:pt x="461" y="358"/>
                </a:lnTo>
                <a:lnTo>
                  <a:pt x="462" y="357"/>
                </a:lnTo>
                <a:lnTo>
                  <a:pt x="464" y="358"/>
                </a:lnTo>
                <a:lnTo>
                  <a:pt x="465" y="358"/>
                </a:lnTo>
                <a:lnTo>
                  <a:pt x="465" y="352"/>
                </a:lnTo>
                <a:lnTo>
                  <a:pt x="466" y="351"/>
                </a:lnTo>
                <a:lnTo>
                  <a:pt x="468" y="351"/>
                </a:lnTo>
                <a:lnTo>
                  <a:pt x="468" y="354"/>
                </a:lnTo>
                <a:lnTo>
                  <a:pt x="470" y="355"/>
                </a:lnTo>
                <a:lnTo>
                  <a:pt x="470" y="358"/>
                </a:lnTo>
                <a:lnTo>
                  <a:pt x="468" y="358"/>
                </a:lnTo>
                <a:lnTo>
                  <a:pt x="468" y="361"/>
                </a:lnTo>
                <a:lnTo>
                  <a:pt x="470" y="361"/>
                </a:lnTo>
                <a:lnTo>
                  <a:pt x="471" y="360"/>
                </a:lnTo>
                <a:lnTo>
                  <a:pt x="472" y="361"/>
                </a:lnTo>
                <a:lnTo>
                  <a:pt x="471" y="363"/>
                </a:lnTo>
                <a:lnTo>
                  <a:pt x="471" y="365"/>
                </a:lnTo>
                <a:lnTo>
                  <a:pt x="470" y="367"/>
                </a:lnTo>
                <a:lnTo>
                  <a:pt x="470" y="368"/>
                </a:lnTo>
                <a:lnTo>
                  <a:pt x="471" y="371"/>
                </a:lnTo>
                <a:lnTo>
                  <a:pt x="471" y="373"/>
                </a:lnTo>
                <a:lnTo>
                  <a:pt x="470" y="374"/>
                </a:lnTo>
                <a:lnTo>
                  <a:pt x="470" y="375"/>
                </a:lnTo>
                <a:lnTo>
                  <a:pt x="468" y="376"/>
                </a:lnTo>
                <a:lnTo>
                  <a:pt x="473" y="380"/>
                </a:lnTo>
                <a:lnTo>
                  <a:pt x="476" y="381"/>
                </a:lnTo>
                <a:lnTo>
                  <a:pt x="476" y="389"/>
                </a:lnTo>
                <a:lnTo>
                  <a:pt x="477" y="392"/>
                </a:lnTo>
                <a:lnTo>
                  <a:pt x="477" y="393"/>
                </a:lnTo>
                <a:lnTo>
                  <a:pt x="479" y="393"/>
                </a:lnTo>
                <a:lnTo>
                  <a:pt x="479" y="394"/>
                </a:lnTo>
                <a:lnTo>
                  <a:pt x="480" y="395"/>
                </a:lnTo>
                <a:lnTo>
                  <a:pt x="485" y="401"/>
                </a:lnTo>
                <a:lnTo>
                  <a:pt x="487" y="403"/>
                </a:lnTo>
                <a:lnTo>
                  <a:pt x="489" y="401"/>
                </a:lnTo>
                <a:lnTo>
                  <a:pt x="487" y="401"/>
                </a:lnTo>
                <a:lnTo>
                  <a:pt x="486" y="400"/>
                </a:lnTo>
                <a:lnTo>
                  <a:pt x="486" y="397"/>
                </a:lnTo>
                <a:lnTo>
                  <a:pt x="480" y="393"/>
                </a:lnTo>
                <a:lnTo>
                  <a:pt x="478" y="392"/>
                </a:lnTo>
                <a:lnTo>
                  <a:pt x="478" y="388"/>
                </a:lnTo>
                <a:lnTo>
                  <a:pt x="479" y="387"/>
                </a:lnTo>
                <a:lnTo>
                  <a:pt x="479" y="386"/>
                </a:lnTo>
                <a:lnTo>
                  <a:pt x="478" y="383"/>
                </a:lnTo>
                <a:lnTo>
                  <a:pt x="479" y="382"/>
                </a:lnTo>
                <a:lnTo>
                  <a:pt x="476" y="379"/>
                </a:lnTo>
                <a:lnTo>
                  <a:pt x="479" y="379"/>
                </a:lnTo>
                <a:lnTo>
                  <a:pt x="480" y="380"/>
                </a:lnTo>
                <a:lnTo>
                  <a:pt x="484" y="388"/>
                </a:lnTo>
                <a:lnTo>
                  <a:pt x="484" y="389"/>
                </a:lnTo>
                <a:lnTo>
                  <a:pt x="486" y="391"/>
                </a:lnTo>
                <a:lnTo>
                  <a:pt x="486" y="386"/>
                </a:lnTo>
                <a:lnTo>
                  <a:pt x="484" y="385"/>
                </a:lnTo>
                <a:lnTo>
                  <a:pt x="484" y="383"/>
                </a:lnTo>
                <a:lnTo>
                  <a:pt x="483" y="382"/>
                </a:lnTo>
                <a:lnTo>
                  <a:pt x="481" y="380"/>
                </a:lnTo>
                <a:lnTo>
                  <a:pt x="481" y="379"/>
                </a:lnTo>
                <a:lnTo>
                  <a:pt x="484" y="379"/>
                </a:lnTo>
                <a:lnTo>
                  <a:pt x="485" y="382"/>
                </a:lnTo>
                <a:lnTo>
                  <a:pt x="487" y="385"/>
                </a:lnTo>
                <a:lnTo>
                  <a:pt x="489" y="385"/>
                </a:lnTo>
                <a:lnTo>
                  <a:pt x="490" y="383"/>
                </a:lnTo>
                <a:lnTo>
                  <a:pt x="489" y="383"/>
                </a:lnTo>
                <a:lnTo>
                  <a:pt x="487" y="382"/>
                </a:lnTo>
                <a:lnTo>
                  <a:pt x="486" y="382"/>
                </a:lnTo>
                <a:lnTo>
                  <a:pt x="486" y="381"/>
                </a:lnTo>
                <a:lnTo>
                  <a:pt x="487" y="380"/>
                </a:lnTo>
                <a:lnTo>
                  <a:pt x="489" y="377"/>
                </a:lnTo>
                <a:lnTo>
                  <a:pt x="483" y="376"/>
                </a:lnTo>
                <a:lnTo>
                  <a:pt x="483" y="374"/>
                </a:lnTo>
                <a:lnTo>
                  <a:pt x="484" y="373"/>
                </a:lnTo>
                <a:lnTo>
                  <a:pt x="484" y="371"/>
                </a:lnTo>
                <a:lnTo>
                  <a:pt x="485" y="371"/>
                </a:lnTo>
                <a:lnTo>
                  <a:pt x="486" y="370"/>
                </a:lnTo>
                <a:lnTo>
                  <a:pt x="486" y="369"/>
                </a:lnTo>
                <a:lnTo>
                  <a:pt x="487" y="369"/>
                </a:lnTo>
                <a:lnTo>
                  <a:pt x="490" y="371"/>
                </a:lnTo>
                <a:lnTo>
                  <a:pt x="495" y="374"/>
                </a:lnTo>
                <a:lnTo>
                  <a:pt x="496" y="373"/>
                </a:lnTo>
                <a:lnTo>
                  <a:pt x="495" y="373"/>
                </a:lnTo>
                <a:lnTo>
                  <a:pt x="496" y="371"/>
                </a:lnTo>
                <a:lnTo>
                  <a:pt x="491" y="369"/>
                </a:lnTo>
                <a:lnTo>
                  <a:pt x="490" y="369"/>
                </a:lnTo>
                <a:lnTo>
                  <a:pt x="489" y="367"/>
                </a:lnTo>
                <a:lnTo>
                  <a:pt x="489" y="365"/>
                </a:lnTo>
                <a:lnTo>
                  <a:pt x="486" y="367"/>
                </a:lnTo>
                <a:lnTo>
                  <a:pt x="481" y="370"/>
                </a:lnTo>
                <a:lnTo>
                  <a:pt x="479" y="369"/>
                </a:lnTo>
                <a:lnTo>
                  <a:pt x="479" y="368"/>
                </a:lnTo>
                <a:lnTo>
                  <a:pt x="480" y="367"/>
                </a:lnTo>
                <a:lnTo>
                  <a:pt x="478" y="365"/>
                </a:lnTo>
                <a:lnTo>
                  <a:pt x="477" y="364"/>
                </a:lnTo>
                <a:lnTo>
                  <a:pt x="479" y="365"/>
                </a:lnTo>
                <a:lnTo>
                  <a:pt x="480" y="365"/>
                </a:lnTo>
                <a:lnTo>
                  <a:pt x="483" y="363"/>
                </a:lnTo>
                <a:lnTo>
                  <a:pt x="484" y="364"/>
                </a:lnTo>
                <a:lnTo>
                  <a:pt x="484" y="362"/>
                </a:lnTo>
                <a:lnTo>
                  <a:pt x="487" y="362"/>
                </a:lnTo>
                <a:lnTo>
                  <a:pt x="486" y="361"/>
                </a:lnTo>
                <a:lnTo>
                  <a:pt x="486" y="360"/>
                </a:lnTo>
                <a:lnTo>
                  <a:pt x="484" y="358"/>
                </a:lnTo>
                <a:lnTo>
                  <a:pt x="490" y="361"/>
                </a:lnTo>
                <a:lnTo>
                  <a:pt x="492" y="361"/>
                </a:lnTo>
                <a:lnTo>
                  <a:pt x="491" y="360"/>
                </a:lnTo>
                <a:lnTo>
                  <a:pt x="490" y="360"/>
                </a:lnTo>
                <a:lnTo>
                  <a:pt x="486" y="356"/>
                </a:lnTo>
                <a:lnTo>
                  <a:pt x="486" y="354"/>
                </a:lnTo>
                <a:lnTo>
                  <a:pt x="485" y="354"/>
                </a:lnTo>
                <a:lnTo>
                  <a:pt x="485" y="356"/>
                </a:lnTo>
                <a:lnTo>
                  <a:pt x="474" y="356"/>
                </a:lnTo>
                <a:lnTo>
                  <a:pt x="474" y="355"/>
                </a:lnTo>
                <a:lnTo>
                  <a:pt x="476" y="354"/>
                </a:lnTo>
                <a:lnTo>
                  <a:pt x="481" y="354"/>
                </a:lnTo>
                <a:lnTo>
                  <a:pt x="481" y="351"/>
                </a:lnTo>
                <a:lnTo>
                  <a:pt x="476" y="350"/>
                </a:lnTo>
                <a:lnTo>
                  <a:pt x="472" y="349"/>
                </a:lnTo>
                <a:lnTo>
                  <a:pt x="472" y="346"/>
                </a:lnTo>
                <a:lnTo>
                  <a:pt x="473" y="344"/>
                </a:lnTo>
                <a:lnTo>
                  <a:pt x="474" y="343"/>
                </a:lnTo>
                <a:lnTo>
                  <a:pt x="476" y="344"/>
                </a:lnTo>
                <a:lnTo>
                  <a:pt x="477" y="344"/>
                </a:lnTo>
                <a:lnTo>
                  <a:pt x="478" y="345"/>
                </a:lnTo>
                <a:lnTo>
                  <a:pt x="478" y="344"/>
                </a:lnTo>
                <a:lnTo>
                  <a:pt x="479" y="344"/>
                </a:lnTo>
                <a:lnTo>
                  <a:pt x="479" y="345"/>
                </a:lnTo>
                <a:lnTo>
                  <a:pt x="480" y="345"/>
                </a:lnTo>
                <a:lnTo>
                  <a:pt x="480" y="348"/>
                </a:lnTo>
                <a:lnTo>
                  <a:pt x="484" y="348"/>
                </a:lnTo>
                <a:lnTo>
                  <a:pt x="489" y="350"/>
                </a:lnTo>
                <a:lnTo>
                  <a:pt x="491" y="352"/>
                </a:lnTo>
                <a:lnTo>
                  <a:pt x="491" y="357"/>
                </a:lnTo>
                <a:lnTo>
                  <a:pt x="498" y="363"/>
                </a:lnTo>
                <a:lnTo>
                  <a:pt x="499" y="364"/>
                </a:lnTo>
                <a:lnTo>
                  <a:pt x="501" y="364"/>
                </a:lnTo>
                <a:lnTo>
                  <a:pt x="498" y="362"/>
                </a:lnTo>
                <a:lnTo>
                  <a:pt x="498" y="360"/>
                </a:lnTo>
                <a:lnTo>
                  <a:pt x="493" y="355"/>
                </a:lnTo>
                <a:lnTo>
                  <a:pt x="492" y="352"/>
                </a:lnTo>
                <a:lnTo>
                  <a:pt x="492" y="350"/>
                </a:lnTo>
                <a:lnTo>
                  <a:pt x="491" y="348"/>
                </a:lnTo>
                <a:lnTo>
                  <a:pt x="489" y="346"/>
                </a:lnTo>
                <a:lnTo>
                  <a:pt x="484" y="345"/>
                </a:lnTo>
                <a:lnTo>
                  <a:pt x="480" y="342"/>
                </a:lnTo>
                <a:lnTo>
                  <a:pt x="478" y="343"/>
                </a:lnTo>
                <a:lnTo>
                  <a:pt x="477" y="342"/>
                </a:lnTo>
                <a:lnTo>
                  <a:pt x="479" y="340"/>
                </a:lnTo>
                <a:lnTo>
                  <a:pt x="477" y="340"/>
                </a:lnTo>
                <a:lnTo>
                  <a:pt x="477" y="339"/>
                </a:lnTo>
                <a:lnTo>
                  <a:pt x="478" y="338"/>
                </a:lnTo>
                <a:lnTo>
                  <a:pt x="481" y="337"/>
                </a:lnTo>
                <a:lnTo>
                  <a:pt x="485" y="334"/>
                </a:lnTo>
                <a:lnTo>
                  <a:pt x="496" y="333"/>
                </a:lnTo>
                <a:lnTo>
                  <a:pt x="497" y="333"/>
                </a:lnTo>
                <a:lnTo>
                  <a:pt x="501" y="336"/>
                </a:lnTo>
                <a:lnTo>
                  <a:pt x="503" y="337"/>
                </a:lnTo>
                <a:lnTo>
                  <a:pt x="504" y="337"/>
                </a:lnTo>
                <a:lnTo>
                  <a:pt x="504" y="339"/>
                </a:lnTo>
                <a:lnTo>
                  <a:pt x="502" y="342"/>
                </a:lnTo>
                <a:lnTo>
                  <a:pt x="502" y="343"/>
                </a:lnTo>
                <a:lnTo>
                  <a:pt x="503" y="343"/>
                </a:lnTo>
                <a:lnTo>
                  <a:pt x="509" y="340"/>
                </a:lnTo>
                <a:lnTo>
                  <a:pt x="510" y="338"/>
                </a:lnTo>
                <a:lnTo>
                  <a:pt x="511" y="338"/>
                </a:lnTo>
                <a:lnTo>
                  <a:pt x="515" y="337"/>
                </a:lnTo>
                <a:lnTo>
                  <a:pt x="516" y="340"/>
                </a:lnTo>
                <a:lnTo>
                  <a:pt x="517" y="340"/>
                </a:lnTo>
                <a:lnTo>
                  <a:pt x="517" y="345"/>
                </a:lnTo>
                <a:lnTo>
                  <a:pt x="518" y="348"/>
                </a:lnTo>
                <a:lnTo>
                  <a:pt x="523" y="350"/>
                </a:lnTo>
                <a:lnTo>
                  <a:pt x="522" y="352"/>
                </a:lnTo>
                <a:lnTo>
                  <a:pt x="522" y="354"/>
                </a:lnTo>
                <a:lnTo>
                  <a:pt x="523" y="355"/>
                </a:lnTo>
                <a:lnTo>
                  <a:pt x="523" y="361"/>
                </a:lnTo>
                <a:lnTo>
                  <a:pt x="524" y="360"/>
                </a:lnTo>
                <a:lnTo>
                  <a:pt x="524" y="352"/>
                </a:lnTo>
                <a:lnTo>
                  <a:pt x="527" y="352"/>
                </a:lnTo>
                <a:lnTo>
                  <a:pt x="526" y="349"/>
                </a:lnTo>
                <a:lnTo>
                  <a:pt x="524" y="346"/>
                </a:lnTo>
                <a:lnTo>
                  <a:pt x="521" y="344"/>
                </a:lnTo>
                <a:lnTo>
                  <a:pt x="520" y="343"/>
                </a:lnTo>
                <a:lnTo>
                  <a:pt x="520" y="342"/>
                </a:lnTo>
                <a:lnTo>
                  <a:pt x="518" y="340"/>
                </a:lnTo>
                <a:lnTo>
                  <a:pt x="518" y="337"/>
                </a:lnTo>
                <a:lnTo>
                  <a:pt x="520" y="336"/>
                </a:lnTo>
                <a:lnTo>
                  <a:pt x="520" y="333"/>
                </a:lnTo>
                <a:lnTo>
                  <a:pt x="523" y="333"/>
                </a:lnTo>
                <a:lnTo>
                  <a:pt x="530" y="338"/>
                </a:lnTo>
                <a:lnTo>
                  <a:pt x="534" y="338"/>
                </a:lnTo>
                <a:lnTo>
                  <a:pt x="533" y="337"/>
                </a:lnTo>
                <a:lnTo>
                  <a:pt x="524" y="332"/>
                </a:lnTo>
                <a:lnTo>
                  <a:pt x="526" y="331"/>
                </a:lnTo>
                <a:lnTo>
                  <a:pt x="532" y="331"/>
                </a:lnTo>
                <a:lnTo>
                  <a:pt x="539" y="332"/>
                </a:lnTo>
                <a:lnTo>
                  <a:pt x="543" y="336"/>
                </a:lnTo>
                <a:lnTo>
                  <a:pt x="546" y="334"/>
                </a:lnTo>
                <a:lnTo>
                  <a:pt x="543" y="334"/>
                </a:lnTo>
                <a:lnTo>
                  <a:pt x="535" y="328"/>
                </a:lnTo>
                <a:lnTo>
                  <a:pt x="529" y="328"/>
                </a:lnTo>
                <a:lnTo>
                  <a:pt x="533" y="320"/>
                </a:lnTo>
                <a:lnTo>
                  <a:pt x="533" y="319"/>
                </a:lnTo>
                <a:lnTo>
                  <a:pt x="532" y="319"/>
                </a:lnTo>
                <a:lnTo>
                  <a:pt x="529" y="320"/>
                </a:lnTo>
                <a:lnTo>
                  <a:pt x="528" y="321"/>
                </a:lnTo>
                <a:lnTo>
                  <a:pt x="524" y="322"/>
                </a:lnTo>
                <a:lnTo>
                  <a:pt x="520" y="327"/>
                </a:lnTo>
                <a:lnTo>
                  <a:pt x="511" y="330"/>
                </a:lnTo>
                <a:lnTo>
                  <a:pt x="509" y="328"/>
                </a:lnTo>
                <a:lnTo>
                  <a:pt x="510" y="327"/>
                </a:lnTo>
                <a:lnTo>
                  <a:pt x="512" y="327"/>
                </a:lnTo>
                <a:lnTo>
                  <a:pt x="514" y="326"/>
                </a:lnTo>
                <a:lnTo>
                  <a:pt x="514" y="325"/>
                </a:lnTo>
                <a:lnTo>
                  <a:pt x="511" y="322"/>
                </a:lnTo>
                <a:lnTo>
                  <a:pt x="510" y="322"/>
                </a:lnTo>
                <a:lnTo>
                  <a:pt x="509" y="321"/>
                </a:lnTo>
                <a:lnTo>
                  <a:pt x="508" y="321"/>
                </a:lnTo>
                <a:lnTo>
                  <a:pt x="505" y="325"/>
                </a:lnTo>
                <a:lnTo>
                  <a:pt x="504" y="326"/>
                </a:lnTo>
                <a:lnTo>
                  <a:pt x="503" y="328"/>
                </a:lnTo>
                <a:lnTo>
                  <a:pt x="498" y="327"/>
                </a:lnTo>
                <a:lnTo>
                  <a:pt x="496" y="330"/>
                </a:lnTo>
                <a:lnTo>
                  <a:pt x="490" y="330"/>
                </a:lnTo>
                <a:lnTo>
                  <a:pt x="489" y="328"/>
                </a:lnTo>
                <a:lnTo>
                  <a:pt x="489" y="326"/>
                </a:lnTo>
                <a:lnTo>
                  <a:pt x="487" y="325"/>
                </a:lnTo>
                <a:lnTo>
                  <a:pt x="487" y="322"/>
                </a:lnTo>
                <a:lnTo>
                  <a:pt x="486" y="321"/>
                </a:lnTo>
                <a:lnTo>
                  <a:pt x="487" y="320"/>
                </a:lnTo>
                <a:lnTo>
                  <a:pt x="487" y="319"/>
                </a:lnTo>
                <a:lnTo>
                  <a:pt x="490" y="318"/>
                </a:lnTo>
                <a:lnTo>
                  <a:pt x="491" y="318"/>
                </a:lnTo>
                <a:lnTo>
                  <a:pt x="492" y="319"/>
                </a:lnTo>
                <a:lnTo>
                  <a:pt x="493" y="319"/>
                </a:lnTo>
                <a:lnTo>
                  <a:pt x="493" y="317"/>
                </a:lnTo>
                <a:lnTo>
                  <a:pt x="492" y="315"/>
                </a:lnTo>
                <a:lnTo>
                  <a:pt x="491" y="315"/>
                </a:lnTo>
                <a:lnTo>
                  <a:pt x="491" y="309"/>
                </a:lnTo>
                <a:lnTo>
                  <a:pt x="492" y="307"/>
                </a:lnTo>
                <a:lnTo>
                  <a:pt x="493" y="306"/>
                </a:lnTo>
                <a:lnTo>
                  <a:pt x="497" y="305"/>
                </a:lnTo>
                <a:lnTo>
                  <a:pt x="502" y="301"/>
                </a:lnTo>
                <a:lnTo>
                  <a:pt x="506" y="300"/>
                </a:lnTo>
                <a:lnTo>
                  <a:pt x="508" y="299"/>
                </a:lnTo>
                <a:lnTo>
                  <a:pt x="509" y="299"/>
                </a:lnTo>
                <a:lnTo>
                  <a:pt x="510" y="300"/>
                </a:lnTo>
                <a:lnTo>
                  <a:pt x="511" y="302"/>
                </a:lnTo>
                <a:lnTo>
                  <a:pt x="512" y="303"/>
                </a:lnTo>
                <a:lnTo>
                  <a:pt x="512" y="306"/>
                </a:lnTo>
                <a:lnTo>
                  <a:pt x="515" y="307"/>
                </a:lnTo>
                <a:lnTo>
                  <a:pt x="516" y="307"/>
                </a:lnTo>
                <a:lnTo>
                  <a:pt x="517" y="306"/>
                </a:lnTo>
                <a:lnTo>
                  <a:pt x="516" y="305"/>
                </a:lnTo>
                <a:lnTo>
                  <a:pt x="515" y="305"/>
                </a:lnTo>
                <a:lnTo>
                  <a:pt x="514" y="303"/>
                </a:lnTo>
                <a:lnTo>
                  <a:pt x="514" y="300"/>
                </a:lnTo>
                <a:lnTo>
                  <a:pt x="518" y="297"/>
                </a:lnTo>
                <a:lnTo>
                  <a:pt x="520" y="296"/>
                </a:lnTo>
                <a:lnTo>
                  <a:pt x="521" y="296"/>
                </a:lnTo>
                <a:lnTo>
                  <a:pt x="522" y="299"/>
                </a:lnTo>
                <a:lnTo>
                  <a:pt x="523" y="299"/>
                </a:lnTo>
                <a:lnTo>
                  <a:pt x="524" y="297"/>
                </a:lnTo>
                <a:lnTo>
                  <a:pt x="527" y="301"/>
                </a:lnTo>
                <a:lnTo>
                  <a:pt x="527" y="302"/>
                </a:lnTo>
                <a:lnTo>
                  <a:pt x="528" y="302"/>
                </a:lnTo>
                <a:lnTo>
                  <a:pt x="529" y="303"/>
                </a:lnTo>
                <a:lnTo>
                  <a:pt x="530" y="303"/>
                </a:lnTo>
                <a:lnTo>
                  <a:pt x="534" y="302"/>
                </a:lnTo>
                <a:lnTo>
                  <a:pt x="536" y="305"/>
                </a:lnTo>
                <a:lnTo>
                  <a:pt x="537" y="303"/>
                </a:lnTo>
                <a:lnTo>
                  <a:pt x="535" y="301"/>
                </a:lnTo>
                <a:lnTo>
                  <a:pt x="530" y="300"/>
                </a:lnTo>
                <a:lnTo>
                  <a:pt x="527" y="296"/>
                </a:lnTo>
                <a:lnTo>
                  <a:pt x="527" y="294"/>
                </a:lnTo>
                <a:lnTo>
                  <a:pt x="524" y="294"/>
                </a:lnTo>
                <a:lnTo>
                  <a:pt x="524" y="295"/>
                </a:lnTo>
                <a:lnTo>
                  <a:pt x="522" y="295"/>
                </a:lnTo>
                <a:lnTo>
                  <a:pt x="520" y="293"/>
                </a:lnTo>
                <a:lnTo>
                  <a:pt x="523" y="289"/>
                </a:lnTo>
                <a:lnTo>
                  <a:pt x="526" y="288"/>
                </a:lnTo>
                <a:lnTo>
                  <a:pt x="527" y="287"/>
                </a:lnTo>
                <a:lnTo>
                  <a:pt x="529" y="285"/>
                </a:lnTo>
                <a:lnTo>
                  <a:pt x="533" y="289"/>
                </a:lnTo>
                <a:lnTo>
                  <a:pt x="540" y="290"/>
                </a:lnTo>
                <a:lnTo>
                  <a:pt x="542" y="294"/>
                </a:lnTo>
                <a:lnTo>
                  <a:pt x="542" y="290"/>
                </a:lnTo>
                <a:lnTo>
                  <a:pt x="540" y="289"/>
                </a:lnTo>
                <a:lnTo>
                  <a:pt x="536" y="288"/>
                </a:lnTo>
                <a:lnTo>
                  <a:pt x="529" y="284"/>
                </a:lnTo>
                <a:lnTo>
                  <a:pt x="533" y="282"/>
                </a:lnTo>
                <a:lnTo>
                  <a:pt x="536" y="278"/>
                </a:lnTo>
                <a:lnTo>
                  <a:pt x="537" y="278"/>
                </a:lnTo>
                <a:lnTo>
                  <a:pt x="539" y="277"/>
                </a:lnTo>
                <a:lnTo>
                  <a:pt x="540" y="277"/>
                </a:lnTo>
                <a:lnTo>
                  <a:pt x="540" y="278"/>
                </a:lnTo>
                <a:lnTo>
                  <a:pt x="541" y="279"/>
                </a:lnTo>
                <a:lnTo>
                  <a:pt x="545" y="279"/>
                </a:lnTo>
                <a:lnTo>
                  <a:pt x="543" y="276"/>
                </a:lnTo>
                <a:lnTo>
                  <a:pt x="539" y="275"/>
                </a:lnTo>
                <a:lnTo>
                  <a:pt x="539" y="274"/>
                </a:lnTo>
                <a:lnTo>
                  <a:pt x="540" y="272"/>
                </a:lnTo>
                <a:lnTo>
                  <a:pt x="532" y="274"/>
                </a:lnTo>
                <a:lnTo>
                  <a:pt x="528" y="276"/>
                </a:lnTo>
                <a:lnTo>
                  <a:pt x="527" y="276"/>
                </a:lnTo>
                <a:lnTo>
                  <a:pt x="528" y="275"/>
                </a:lnTo>
                <a:lnTo>
                  <a:pt x="529" y="270"/>
                </a:lnTo>
                <a:lnTo>
                  <a:pt x="530" y="269"/>
                </a:lnTo>
                <a:lnTo>
                  <a:pt x="532" y="269"/>
                </a:lnTo>
                <a:lnTo>
                  <a:pt x="532" y="265"/>
                </a:lnTo>
                <a:lnTo>
                  <a:pt x="530" y="265"/>
                </a:lnTo>
                <a:lnTo>
                  <a:pt x="530" y="264"/>
                </a:lnTo>
                <a:lnTo>
                  <a:pt x="535" y="257"/>
                </a:lnTo>
                <a:lnTo>
                  <a:pt x="537" y="254"/>
                </a:lnTo>
                <a:lnTo>
                  <a:pt x="537" y="253"/>
                </a:lnTo>
                <a:lnTo>
                  <a:pt x="536" y="252"/>
                </a:lnTo>
                <a:lnTo>
                  <a:pt x="537" y="250"/>
                </a:lnTo>
                <a:lnTo>
                  <a:pt x="546" y="250"/>
                </a:lnTo>
                <a:lnTo>
                  <a:pt x="549" y="246"/>
                </a:lnTo>
                <a:lnTo>
                  <a:pt x="558" y="246"/>
                </a:lnTo>
                <a:lnTo>
                  <a:pt x="554" y="242"/>
                </a:lnTo>
                <a:lnTo>
                  <a:pt x="554" y="239"/>
                </a:lnTo>
                <a:lnTo>
                  <a:pt x="555" y="239"/>
                </a:lnTo>
                <a:lnTo>
                  <a:pt x="555" y="237"/>
                </a:lnTo>
                <a:lnTo>
                  <a:pt x="554" y="235"/>
                </a:lnTo>
                <a:lnTo>
                  <a:pt x="552" y="237"/>
                </a:lnTo>
                <a:lnTo>
                  <a:pt x="551" y="237"/>
                </a:lnTo>
                <a:lnTo>
                  <a:pt x="552" y="234"/>
                </a:lnTo>
                <a:lnTo>
                  <a:pt x="552" y="228"/>
                </a:lnTo>
                <a:lnTo>
                  <a:pt x="553" y="226"/>
                </a:lnTo>
                <a:lnTo>
                  <a:pt x="557" y="225"/>
                </a:lnTo>
                <a:lnTo>
                  <a:pt x="558" y="222"/>
                </a:lnTo>
                <a:lnTo>
                  <a:pt x="557" y="220"/>
                </a:lnTo>
                <a:lnTo>
                  <a:pt x="559" y="217"/>
                </a:lnTo>
                <a:lnTo>
                  <a:pt x="559" y="213"/>
                </a:lnTo>
                <a:lnTo>
                  <a:pt x="558" y="211"/>
                </a:lnTo>
                <a:lnTo>
                  <a:pt x="558" y="209"/>
                </a:lnTo>
                <a:lnTo>
                  <a:pt x="559" y="209"/>
                </a:lnTo>
                <a:lnTo>
                  <a:pt x="559" y="208"/>
                </a:lnTo>
                <a:lnTo>
                  <a:pt x="561" y="208"/>
                </a:lnTo>
                <a:lnTo>
                  <a:pt x="561" y="207"/>
                </a:lnTo>
                <a:lnTo>
                  <a:pt x="563" y="207"/>
                </a:lnTo>
                <a:lnTo>
                  <a:pt x="563" y="205"/>
                </a:lnTo>
                <a:lnTo>
                  <a:pt x="564" y="205"/>
                </a:lnTo>
                <a:lnTo>
                  <a:pt x="566" y="208"/>
                </a:lnTo>
                <a:lnTo>
                  <a:pt x="567" y="213"/>
                </a:lnTo>
                <a:lnTo>
                  <a:pt x="567" y="217"/>
                </a:lnTo>
                <a:lnTo>
                  <a:pt x="571" y="217"/>
                </a:lnTo>
                <a:lnTo>
                  <a:pt x="572" y="219"/>
                </a:lnTo>
                <a:lnTo>
                  <a:pt x="572" y="220"/>
                </a:lnTo>
                <a:lnTo>
                  <a:pt x="573" y="222"/>
                </a:lnTo>
                <a:lnTo>
                  <a:pt x="573" y="223"/>
                </a:lnTo>
                <a:lnTo>
                  <a:pt x="572" y="228"/>
                </a:lnTo>
                <a:lnTo>
                  <a:pt x="572" y="229"/>
                </a:lnTo>
                <a:lnTo>
                  <a:pt x="573" y="231"/>
                </a:lnTo>
                <a:lnTo>
                  <a:pt x="573" y="233"/>
                </a:lnTo>
                <a:lnTo>
                  <a:pt x="572" y="233"/>
                </a:lnTo>
                <a:lnTo>
                  <a:pt x="572" y="237"/>
                </a:lnTo>
                <a:lnTo>
                  <a:pt x="573" y="233"/>
                </a:lnTo>
                <a:lnTo>
                  <a:pt x="574" y="231"/>
                </a:lnTo>
                <a:lnTo>
                  <a:pt x="574" y="221"/>
                </a:lnTo>
                <a:lnTo>
                  <a:pt x="576" y="221"/>
                </a:lnTo>
                <a:lnTo>
                  <a:pt x="576" y="225"/>
                </a:lnTo>
                <a:lnTo>
                  <a:pt x="577" y="227"/>
                </a:lnTo>
                <a:lnTo>
                  <a:pt x="577" y="228"/>
                </a:lnTo>
                <a:lnTo>
                  <a:pt x="578" y="229"/>
                </a:lnTo>
                <a:lnTo>
                  <a:pt x="579" y="229"/>
                </a:lnTo>
                <a:lnTo>
                  <a:pt x="579" y="231"/>
                </a:lnTo>
                <a:lnTo>
                  <a:pt x="580" y="232"/>
                </a:lnTo>
                <a:lnTo>
                  <a:pt x="580" y="233"/>
                </a:lnTo>
                <a:lnTo>
                  <a:pt x="582" y="233"/>
                </a:lnTo>
                <a:lnTo>
                  <a:pt x="582" y="229"/>
                </a:lnTo>
                <a:lnTo>
                  <a:pt x="580" y="229"/>
                </a:lnTo>
                <a:lnTo>
                  <a:pt x="579" y="228"/>
                </a:lnTo>
                <a:lnTo>
                  <a:pt x="580" y="226"/>
                </a:lnTo>
                <a:lnTo>
                  <a:pt x="588" y="226"/>
                </a:lnTo>
                <a:lnTo>
                  <a:pt x="591" y="229"/>
                </a:lnTo>
                <a:lnTo>
                  <a:pt x="594" y="231"/>
                </a:lnTo>
                <a:lnTo>
                  <a:pt x="595" y="231"/>
                </a:lnTo>
                <a:lnTo>
                  <a:pt x="595" y="228"/>
                </a:lnTo>
                <a:lnTo>
                  <a:pt x="594" y="228"/>
                </a:lnTo>
                <a:lnTo>
                  <a:pt x="591" y="225"/>
                </a:lnTo>
                <a:lnTo>
                  <a:pt x="579" y="220"/>
                </a:lnTo>
                <a:lnTo>
                  <a:pt x="578" y="219"/>
                </a:lnTo>
                <a:lnTo>
                  <a:pt x="577" y="219"/>
                </a:lnTo>
                <a:lnTo>
                  <a:pt x="577" y="214"/>
                </a:lnTo>
                <a:lnTo>
                  <a:pt x="576" y="213"/>
                </a:lnTo>
                <a:lnTo>
                  <a:pt x="576" y="211"/>
                </a:lnTo>
                <a:lnTo>
                  <a:pt x="571" y="211"/>
                </a:lnTo>
                <a:lnTo>
                  <a:pt x="571" y="208"/>
                </a:lnTo>
                <a:lnTo>
                  <a:pt x="572" y="207"/>
                </a:lnTo>
                <a:lnTo>
                  <a:pt x="571" y="204"/>
                </a:lnTo>
                <a:lnTo>
                  <a:pt x="571" y="202"/>
                </a:lnTo>
                <a:lnTo>
                  <a:pt x="572" y="202"/>
                </a:lnTo>
                <a:lnTo>
                  <a:pt x="576" y="201"/>
                </a:lnTo>
                <a:lnTo>
                  <a:pt x="578" y="199"/>
                </a:lnTo>
                <a:lnTo>
                  <a:pt x="588" y="198"/>
                </a:lnTo>
                <a:lnTo>
                  <a:pt x="588" y="204"/>
                </a:lnTo>
                <a:lnTo>
                  <a:pt x="589" y="204"/>
                </a:lnTo>
                <a:lnTo>
                  <a:pt x="590" y="205"/>
                </a:lnTo>
                <a:lnTo>
                  <a:pt x="590" y="209"/>
                </a:lnTo>
                <a:lnTo>
                  <a:pt x="591" y="211"/>
                </a:lnTo>
                <a:lnTo>
                  <a:pt x="594" y="213"/>
                </a:lnTo>
                <a:lnTo>
                  <a:pt x="594" y="215"/>
                </a:lnTo>
                <a:lnTo>
                  <a:pt x="595" y="216"/>
                </a:lnTo>
                <a:lnTo>
                  <a:pt x="596" y="219"/>
                </a:lnTo>
                <a:lnTo>
                  <a:pt x="599" y="222"/>
                </a:lnTo>
                <a:lnTo>
                  <a:pt x="608" y="223"/>
                </a:lnTo>
                <a:lnTo>
                  <a:pt x="609" y="226"/>
                </a:lnTo>
                <a:lnTo>
                  <a:pt x="609" y="228"/>
                </a:lnTo>
                <a:lnTo>
                  <a:pt x="605" y="232"/>
                </a:lnTo>
                <a:lnTo>
                  <a:pt x="603" y="231"/>
                </a:lnTo>
                <a:lnTo>
                  <a:pt x="601" y="233"/>
                </a:lnTo>
                <a:lnTo>
                  <a:pt x="601" y="234"/>
                </a:lnTo>
                <a:lnTo>
                  <a:pt x="602" y="234"/>
                </a:lnTo>
                <a:lnTo>
                  <a:pt x="604" y="232"/>
                </a:lnTo>
                <a:lnTo>
                  <a:pt x="605" y="233"/>
                </a:lnTo>
                <a:lnTo>
                  <a:pt x="605" y="234"/>
                </a:lnTo>
                <a:lnTo>
                  <a:pt x="604" y="235"/>
                </a:lnTo>
                <a:lnTo>
                  <a:pt x="604" y="237"/>
                </a:lnTo>
                <a:lnTo>
                  <a:pt x="607" y="238"/>
                </a:lnTo>
                <a:lnTo>
                  <a:pt x="608" y="238"/>
                </a:lnTo>
                <a:lnTo>
                  <a:pt x="609" y="235"/>
                </a:lnTo>
                <a:lnTo>
                  <a:pt x="611" y="235"/>
                </a:lnTo>
                <a:lnTo>
                  <a:pt x="614" y="238"/>
                </a:lnTo>
                <a:lnTo>
                  <a:pt x="615" y="237"/>
                </a:lnTo>
                <a:lnTo>
                  <a:pt x="614" y="235"/>
                </a:lnTo>
                <a:lnTo>
                  <a:pt x="614" y="234"/>
                </a:lnTo>
                <a:lnTo>
                  <a:pt x="613" y="233"/>
                </a:lnTo>
                <a:lnTo>
                  <a:pt x="613" y="226"/>
                </a:lnTo>
                <a:lnTo>
                  <a:pt x="611" y="223"/>
                </a:lnTo>
                <a:lnTo>
                  <a:pt x="608" y="219"/>
                </a:lnTo>
                <a:lnTo>
                  <a:pt x="598" y="219"/>
                </a:lnTo>
                <a:lnTo>
                  <a:pt x="598" y="217"/>
                </a:lnTo>
                <a:lnTo>
                  <a:pt x="597" y="215"/>
                </a:lnTo>
                <a:lnTo>
                  <a:pt x="597" y="211"/>
                </a:lnTo>
                <a:lnTo>
                  <a:pt x="596" y="211"/>
                </a:lnTo>
                <a:lnTo>
                  <a:pt x="594" y="209"/>
                </a:lnTo>
                <a:lnTo>
                  <a:pt x="594" y="203"/>
                </a:lnTo>
                <a:lnTo>
                  <a:pt x="596" y="201"/>
                </a:lnTo>
                <a:lnTo>
                  <a:pt x="601" y="198"/>
                </a:lnTo>
                <a:lnTo>
                  <a:pt x="602" y="198"/>
                </a:lnTo>
                <a:lnTo>
                  <a:pt x="603" y="201"/>
                </a:lnTo>
                <a:lnTo>
                  <a:pt x="604" y="202"/>
                </a:lnTo>
                <a:lnTo>
                  <a:pt x="604" y="199"/>
                </a:lnTo>
                <a:lnTo>
                  <a:pt x="603" y="198"/>
                </a:lnTo>
                <a:lnTo>
                  <a:pt x="603" y="196"/>
                </a:lnTo>
                <a:lnTo>
                  <a:pt x="599" y="197"/>
                </a:lnTo>
                <a:lnTo>
                  <a:pt x="598" y="197"/>
                </a:lnTo>
                <a:lnTo>
                  <a:pt x="596" y="198"/>
                </a:lnTo>
                <a:lnTo>
                  <a:pt x="595" y="199"/>
                </a:lnTo>
                <a:lnTo>
                  <a:pt x="595" y="201"/>
                </a:lnTo>
                <a:lnTo>
                  <a:pt x="592" y="198"/>
                </a:lnTo>
                <a:lnTo>
                  <a:pt x="592" y="197"/>
                </a:lnTo>
                <a:lnTo>
                  <a:pt x="591" y="190"/>
                </a:lnTo>
                <a:lnTo>
                  <a:pt x="597" y="180"/>
                </a:lnTo>
                <a:lnTo>
                  <a:pt x="598" y="176"/>
                </a:lnTo>
                <a:lnTo>
                  <a:pt x="598" y="174"/>
                </a:lnTo>
                <a:lnTo>
                  <a:pt x="602" y="174"/>
                </a:lnTo>
                <a:lnTo>
                  <a:pt x="602" y="173"/>
                </a:lnTo>
                <a:lnTo>
                  <a:pt x="604" y="171"/>
                </a:lnTo>
                <a:lnTo>
                  <a:pt x="607" y="170"/>
                </a:lnTo>
                <a:lnTo>
                  <a:pt x="613" y="171"/>
                </a:lnTo>
                <a:lnTo>
                  <a:pt x="614" y="170"/>
                </a:lnTo>
                <a:lnTo>
                  <a:pt x="624" y="166"/>
                </a:lnTo>
                <a:lnTo>
                  <a:pt x="627" y="167"/>
                </a:lnTo>
                <a:lnTo>
                  <a:pt x="627" y="168"/>
                </a:lnTo>
                <a:lnTo>
                  <a:pt x="626" y="170"/>
                </a:lnTo>
                <a:lnTo>
                  <a:pt x="624" y="173"/>
                </a:lnTo>
                <a:lnTo>
                  <a:pt x="624" y="177"/>
                </a:lnTo>
                <a:lnTo>
                  <a:pt x="622" y="182"/>
                </a:lnTo>
                <a:lnTo>
                  <a:pt x="622" y="183"/>
                </a:lnTo>
                <a:lnTo>
                  <a:pt x="624" y="188"/>
                </a:lnTo>
                <a:lnTo>
                  <a:pt x="623" y="191"/>
                </a:lnTo>
                <a:lnTo>
                  <a:pt x="623" y="194"/>
                </a:lnTo>
                <a:lnTo>
                  <a:pt x="621" y="199"/>
                </a:lnTo>
                <a:lnTo>
                  <a:pt x="621" y="201"/>
                </a:lnTo>
                <a:lnTo>
                  <a:pt x="620" y="202"/>
                </a:lnTo>
                <a:lnTo>
                  <a:pt x="620" y="207"/>
                </a:lnTo>
                <a:lnTo>
                  <a:pt x="621" y="208"/>
                </a:lnTo>
                <a:lnTo>
                  <a:pt x="621" y="210"/>
                </a:lnTo>
                <a:lnTo>
                  <a:pt x="620" y="210"/>
                </a:lnTo>
                <a:lnTo>
                  <a:pt x="619" y="211"/>
                </a:lnTo>
                <a:lnTo>
                  <a:pt x="616" y="216"/>
                </a:lnTo>
                <a:lnTo>
                  <a:pt x="622" y="211"/>
                </a:lnTo>
                <a:lnTo>
                  <a:pt x="623" y="209"/>
                </a:lnTo>
                <a:lnTo>
                  <a:pt x="623" y="205"/>
                </a:lnTo>
                <a:lnTo>
                  <a:pt x="624" y="202"/>
                </a:lnTo>
                <a:lnTo>
                  <a:pt x="623" y="201"/>
                </a:lnTo>
                <a:lnTo>
                  <a:pt x="626" y="192"/>
                </a:lnTo>
                <a:lnTo>
                  <a:pt x="626" y="191"/>
                </a:lnTo>
                <a:lnTo>
                  <a:pt x="633" y="191"/>
                </a:lnTo>
                <a:lnTo>
                  <a:pt x="635" y="194"/>
                </a:lnTo>
                <a:lnTo>
                  <a:pt x="639" y="195"/>
                </a:lnTo>
                <a:lnTo>
                  <a:pt x="638" y="194"/>
                </a:lnTo>
                <a:lnTo>
                  <a:pt x="635" y="192"/>
                </a:lnTo>
                <a:lnTo>
                  <a:pt x="633" y="190"/>
                </a:lnTo>
                <a:lnTo>
                  <a:pt x="632" y="190"/>
                </a:lnTo>
                <a:lnTo>
                  <a:pt x="629" y="189"/>
                </a:lnTo>
                <a:lnTo>
                  <a:pt x="629" y="185"/>
                </a:lnTo>
                <a:lnTo>
                  <a:pt x="628" y="184"/>
                </a:lnTo>
                <a:lnTo>
                  <a:pt x="628" y="179"/>
                </a:lnTo>
                <a:lnTo>
                  <a:pt x="629" y="177"/>
                </a:lnTo>
                <a:lnTo>
                  <a:pt x="629" y="176"/>
                </a:lnTo>
                <a:lnTo>
                  <a:pt x="630" y="174"/>
                </a:lnTo>
                <a:lnTo>
                  <a:pt x="630" y="172"/>
                </a:lnTo>
                <a:lnTo>
                  <a:pt x="633" y="170"/>
                </a:lnTo>
                <a:lnTo>
                  <a:pt x="633" y="168"/>
                </a:lnTo>
                <a:lnTo>
                  <a:pt x="635" y="164"/>
                </a:lnTo>
                <a:lnTo>
                  <a:pt x="636" y="162"/>
                </a:lnTo>
                <a:lnTo>
                  <a:pt x="636" y="165"/>
                </a:lnTo>
                <a:lnTo>
                  <a:pt x="634" y="172"/>
                </a:lnTo>
                <a:lnTo>
                  <a:pt x="636" y="172"/>
                </a:lnTo>
                <a:lnTo>
                  <a:pt x="638" y="170"/>
                </a:lnTo>
                <a:lnTo>
                  <a:pt x="639" y="162"/>
                </a:lnTo>
                <a:lnTo>
                  <a:pt x="641" y="159"/>
                </a:lnTo>
                <a:lnTo>
                  <a:pt x="642" y="153"/>
                </a:lnTo>
                <a:lnTo>
                  <a:pt x="642" y="158"/>
                </a:lnTo>
                <a:lnTo>
                  <a:pt x="644" y="159"/>
                </a:lnTo>
                <a:lnTo>
                  <a:pt x="644" y="160"/>
                </a:lnTo>
                <a:lnTo>
                  <a:pt x="645" y="161"/>
                </a:lnTo>
                <a:lnTo>
                  <a:pt x="645" y="152"/>
                </a:lnTo>
                <a:lnTo>
                  <a:pt x="646" y="151"/>
                </a:lnTo>
                <a:lnTo>
                  <a:pt x="647" y="147"/>
                </a:lnTo>
                <a:lnTo>
                  <a:pt x="648" y="147"/>
                </a:lnTo>
                <a:lnTo>
                  <a:pt x="650" y="148"/>
                </a:lnTo>
                <a:lnTo>
                  <a:pt x="653" y="156"/>
                </a:lnTo>
                <a:lnTo>
                  <a:pt x="654" y="159"/>
                </a:lnTo>
                <a:lnTo>
                  <a:pt x="653" y="160"/>
                </a:lnTo>
                <a:lnTo>
                  <a:pt x="653" y="162"/>
                </a:lnTo>
                <a:lnTo>
                  <a:pt x="652" y="164"/>
                </a:lnTo>
                <a:lnTo>
                  <a:pt x="652" y="170"/>
                </a:lnTo>
                <a:lnTo>
                  <a:pt x="651" y="171"/>
                </a:lnTo>
                <a:lnTo>
                  <a:pt x="651" y="176"/>
                </a:lnTo>
                <a:lnTo>
                  <a:pt x="650" y="177"/>
                </a:lnTo>
                <a:lnTo>
                  <a:pt x="650" y="185"/>
                </a:lnTo>
                <a:lnTo>
                  <a:pt x="652" y="188"/>
                </a:lnTo>
                <a:lnTo>
                  <a:pt x="652" y="194"/>
                </a:lnTo>
                <a:lnTo>
                  <a:pt x="651" y="194"/>
                </a:lnTo>
                <a:lnTo>
                  <a:pt x="647" y="197"/>
                </a:lnTo>
                <a:lnTo>
                  <a:pt x="648" y="199"/>
                </a:lnTo>
                <a:lnTo>
                  <a:pt x="647" y="201"/>
                </a:lnTo>
                <a:lnTo>
                  <a:pt x="647" y="208"/>
                </a:lnTo>
                <a:lnTo>
                  <a:pt x="646" y="209"/>
                </a:lnTo>
                <a:lnTo>
                  <a:pt x="645" y="208"/>
                </a:lnTo>
                <a:lnTo>
                  <a:pt x="645" y="211"/>
                </a:lnTo>
                <a:lnTo>
                  <a:pt x="644" y="215"/>
                </a:lnTo>
                <a:lnTo>
                  <a:pt x="642" y="217"/>
                </a:lnTo>
                <a:lnTo>
                  <a:pt x="641" y="219"/>
                </a:lnTo>
                <a:lnTo>
                  <a:pt x="638" y="221"/>
                </a:lnTo>
                <a:lnTo>
                  <a:pt x="635" y="222"/>
                </a:lnTo>
                <a:lnTo>
                  <a:pt x="635" y="225"/>
                </a:lnTo>
                <a:lnTo>
                  <a:pt x="636" y="226"/>
                </a:lnTo>
                <a:lnTo>
                  <a:pt x="633" y="229"/>
                </a:lnTo>
                <a:lnTo>
                  <a:pt x="633" y="232"/>
                </a:lnTo>
                <a:lnTo>
                  <a:pt x="634" y="233"/>
                </a:lnTo>
                <a:lnTo>
                  <a:pt x="634" y="232"/>
                </a:lnTo>
                <a:lnTo>
                  <a:pt x="635" y="231"/>
                </a:lnTo>
                <a:lnTo>
                  <a:pt x="638" y="226"/>
                </a:lnTo>
                <a:lnTo>
                  <a:pt x="645" y="219"/>
                </a:lnTo>
                <a:lnTo>
                  <a:pt x="647" y="217"/>
                </a:lnTo>
                <a:lnTo>
                  <a:pt x="651" y="208"/>
                </a:lnTo>
                <a:lnTo>
                  <a:pt x="652" y="207"/>
                </a:lnTo>
                <a:lnTo>
                  <a:pt x="653" y="203"/>
                </a:lnTo>
                <a:lnTo>
                  <a:pt x="654" y="202"/>
                </a:lnTo>
                <a:lnTo>
                  <a:pt x="654" y="197"/>
                </a:lnTo>
                <a:lnTo>
                  <a:pt x="655" y="197"/>
                </a:lnTo>
                <a:lnTo>
                  <a:pt x="655" y="196"/>
                </a:lnTo>
                <a:lnTo>
                  <a:pt x="657" y="195"/>
                </a:lnTo>
                <a:lnTo>
                  <a:pt x="658" y="196"/>
                </a:lnTo>
                <a:lnTo>
                  <a:pt x="658" y="197"/>
                </a:lnTo>
                <a:lnTo>
                  <a:pt x="663" y="202"/>
                </a:lnTo>
                <a:lnTo>
                  <a:pt x="669" y="203"/>
                </a:lnTo>
                <a:lnTo>
                  <a:pt x="671" y="205"/>
                </a:lnTo>
                <a:lnTo>
                  <a:pt x="672" y="205"/>
                </a:lnTo>
                <a:lnTo>
                  <a:pt x="670" y="203"/>
                </a:lnTo>
                <a:lnTo>
                  <a:pt x="666" y="201"/>
                </a:lnTo>
                <a:lnTo>
                  <a:pt x="665" y="198"/>
                </a:lnTo>
                <a:lnTo>
                  <a:pt x="664" y="195"/>
                </a:lnTo>
                <a:lnTo>
                  <a:pt x="663" y="194"/>
                </a:lnTo>
                <a:lnTo>
                  <a:pt x="659" y="191"/>
                </a:lnTo>
                <a:lnTo>
                  <a:pt x="657" y="189"/>
                </a:lnTo>
                <a:lnTo>
                  <a:pt x="657" y="186"/>
                </a:lnTo>
                <a:lnTo>
                  <a:pt x="659" y="179"/>
                </a:lnTo>
                <a:lnTo>
                  <a:pt x="658" y="177"/>
                </a:lnTo>
                <a:lnTo>
                  <a:pt x="658" y="174"/>
                </a:lnTo>
                <a:lnTo>
                  <a:pt x="657" y="173"/>
                </a:lnTo>
                <a:lnTo>
                  <a:pt x="657" y="172"/>
                </a:lnTo>
                <a:lnTo>
                  <a:pt x="658" y="172"/>
                </a:lnTo>
                <a:lnTo>
                  <a:pt x="663" y="171"/>
                </a:lnTo>
                <a:lnTo>
                  <a:pt x="669" y="167"/>
                </a:lnTo>
                <a:lnTo>
                  <a:pt x="671" y="165"/>
                </a:lnTo>
                <a:lnTo>
                  <a:pt x="671" y="162"/>
                </a:lnTo>
                <a:lnTo>
                  <a:pt x="670" y="161"/>
                </a:lnTo>
                <a:lnTo>
                  <a:pt x="670" y="160"/>
                </a:lnTo>
                <a:lnTo>
                  <a:pt x="669" y="158"/>
                </a:lnTo>
                <a:lnTo>
                  <a:pt x="671" y="158"/>
                </a:lnTo>
                <a:lnTo>
                  <a:pt x="681" y="151"/>
                </a:lnTo>
                <a:lnTo>
                  <a:pt x="682" y="149"/>
                </a:lnTo>
                <a:lnTo>
                  <a:pt x="682" y="151"/>
                </a:lnTo>
                <a:lnTo>
                  <a:pt x="677" y="155"/>
                </a:lnTo>
                <a:lnTo>
                  <a:pt x="675" y="160"/>
                </a:lnTo>
                <a:lnTo>
                  <a:pt x="673" y="160"/>
                </a:lnTo>
                <a:lnTo>
                  <a:pt x="673" y="161"/>
                </a:lnTo>
                <a:lnTo>
                  <a:pt x="675" y="162"/>
                </a:lnTo>
                <a:lnTo>
                  <a:pt x="676" y="162"/>
                </a:lnTo>
                <a:lnTo>
                  <a:pt x="677" y="164"/>
                </a:lnTo>
                <a:lnTo>
                  <a:pt x="676" y="164"/>
                </a:lnTo>
                <a:lnTo>
                  <a:pt x="676" y="166"/>
                </a:lnTo>
                <a:lnTo>
                  <a:pt x="679" y="170"/>
                </a:lnTo>
                <a:lnTo>
                  <a:pt x="681" y="168"/>
                </a:lnTo>
                <a:lnTo>
                  <a:pt x="678" y="166"/>
                </a:lnTo>
                <a:lnTo>
                  <a:pt x="678" y="165"/>
                </a:lnTo>
                <a:lnTo>
                  <a:pt x="681" y="164"/>
                </a:lnTo>
                <a:lnTo>
                  <a:pt x="681" y="160"/>
                </a:lnTo>
                <a:lnTo>
                  <a:pt x="682" y="160"/>
                </a:lnTo>
                <a:lnTo>
                  <a:pt x="685" y="159"/>
                </a:lnTo>
                <a:lnTo>
                  <a:pt x="686" y="159"/>
                </a:lnTo>
                <a:lnTo>
                  <a:pt x="685" y="161"/>
                </a:lnTo>
                <a:lnTo>
                  <a:pt x="684" y="165"/>
                </a:lnTo>
                <a:lnTo>
                  <a:pt x="683" y="166"/>
                </a:lnTo>
                <a:lnTo>
                  <a:pt x="685" y="166"/>
                </a:lnTo>
                <a:lnTo>
                  <a:pt x="686" y="164"/>
                </a:lnTo>
                <a:lnTo>
                  <a:pt x="688" y="162"/>
                </a:lnTo>
                <a:lnTo>
                  <a:pt x="688" y="161"/>
                </a:lnTo>
                <a:lnTo>
                  <a:pt x="686" y="155"/>
                </a:lnTo>
                <a:lnTo>
                  <a:pt x="691" y="155"/>
                </a:lnTo>
                <a:lnTo>
                  <a:pt x="691" y="153"/>
                </a:lnTo>
                <a:lnTo>
                  <a:pt x="689" y="152"/>
                </a:lnTo>
                <a:lnTo>
                  <a:pt x="686" y="152"/>
                </a:lnTo>
                <a:lnTo>
                  <a:pt x="688" y="147"/>
                </a:lnTo>
                <a:lnTo>
                  <a:pt x="689" y="143"/>
                </a:lnTo>
                <a:lnTo>
                  <a:pt x="690" y="141"/>
                </a:lnTo>
                <a:lnTo>
                  <a:pt x="692" y="140"/>
                </a:lnTo>
                <a:lnTo>
                  <a:pt x="695" y="140"/>
                </a:lnTo>
                <a:lnTo>
                  <a:pt x="702" y="145"/>
                </a:lnTo>
                <a:lnTo>
                  <a:pt x="702" y="148"/>
                </a:lnTo>
                <a:lnTo>
                  <a:pt x="703" y="149"/>
                </a:lnTo>
                <a:lnTo>
                  <a:pt x="702" y="152"/>
                </a:lnTo>
                <a:lnTo>
                  <a:pt x="703" y="154"/>
                </a:lnTo>
                <a:lnTo>
                  <a:pt x="706" y="155"/>
                </a:lnTo>
                <a:lnTo>
                  <a:pt x="707" y="156"/>
                </a:lnTo>
                <a:lnTo>
                  <a:pt x="710" y="158"/>
                </a:lnTo>
                <a:lnTo>
                  <a:pt x="716" y="165"/>
                </a:lnTo>
                <a:lnTo>
                  <a:pt x="717" y="167"/>
                </a:lnTo>
                <a:lnTo>
                  <a:pt x="717" y="170"/>
                </a:lnTo>
                <a:lnTo>
                  <a:pt x="722" y="174"/>
                </a:lnTo>
                <a:lnTo>
                  <a:pt x="719" y="174"/>
                </a:lnTo>
                <a:lnTo>
                  <a:pt x="720" y="176"/>
                </a:lnTo>
                <a:lnTo>
                  <a:pt x="723" y="176"/>
                </a:lnTo>
                <a:lnTo>
                  <a:pt x="725" y="174"/>
                </a:lnTo>
                <a:lnTo>
                  <a:pt x="725" y="173"/>
                </a:lnTo>
                <a:lnTo>
                  <a:pt x="722" y="172"/>
                </a:lnTo>
                <a:lnTo>
                  <a:pt x="722" y="168"/>
                </a:lnTo>
                <a:lnTo>
                  <a:pt x="721" y="166"/>
                </a:lnTo>
                <a:lnTo>
                  <a:pt x="716" y="164"/>
                </a:lnTo>
                <a:lnTo>
                  <a:pt x="717" y="162"/>
                </a:lnTo>
                <a:lnTo>
                  <a:pt x="720" y="164"/>
                </a:lnTo>
                <a:lnTo>
                  <a:pt x="721" y="162"/>
                </a:lnTo>
                <a:lnTo>
                  <a:pt x="721" y="160"/>
                </a:lnTo>
                <a:lnTo>
                  <a:pt x="720" y="160"/>
                </a:lnTo>
                <a:lnTo>
                  <a:pt x="717" y="159"/>
                </a:lnTo>
                <a:lnTo>
                  <a:pt x="717" y="153"/>
                </a:lnTo>
                <a:lnTo>
                  <a:pt x="716" y="151"/>
                </a:lnTo>
                <a:lnTo>
                  <a:pt x="717" y="148"/>
                </a:lnTo>
                <a:lnTo>
                  <a:pt x="717" y="147"/>
                </a:lnTo>
                <a:lnTo>
                  <a:pt x="716" y="146"/>
                </a:lnTo>
                <a:lnTo>
                  <a:pt x="717" y="146"/>
                </a:lnTo>
                <a:lnTo>
                  <a:pt x="717" y="145"/>
                </a:lnTo>
                <a:lnTo>
                  <a:pt x="720" y="146"/>
                </a:lnTo>
                <a:lnTo>
                  <a:pt x="721" y="145"/>
                </a:lnTo>
                <a:lnTo>
                  <a:pt x="721" y="149"/>
                </a:lnTo>
                <a:lnTo>
                  <a:pt x="722" y="151"/>
                </a:lnTo>
                <a:lnTo>
                  <a:pt x="722" y="141"/>
                </a:lnTo>
                <a:lnTo>
                  <a:pt x="723" y="141"/>
                </a:lnTo>
                <a:lnTo>
                  <a:pt x="725" y="140"/>
                </a:lnTo>
                <a:lnTo>
                  <a:pt x="719" y="142"/>
                </a:lnTo>
                <a:lnTo>
                  <a:pt x="714" y="142"/>
                </a:lnTo>
                <a:lnTo>
                  <a:pt x="711" y="139"/>
                </a:lnTo>
                <a:lnTo>
                  <a:pt x="714" y="136"/>
                </a:lnTo>
                <a:lnTo>
                  <a:pt x="720" y="136"/>
                </a:lnTo>
                <a:lnTo>
                  <a:pt x="721" y="135"/>
                </a:lnTo>
                <a:lnTo>
                  <a:pt x="722" y="133"/>
                </a:lnTo>
                <a:lnTo>
                  <a:pt x="725" y="130"/>
                </a:lnTo>
                <a:lnTo>
                  <a:pt x="725" y="129"/>
                </a:lnTo>
                <a:lnTo>
                  <a:pt x="721" y="130"/>
                </a:lnTo>
                <a:lnTo>
                  <a:pt x="720" y="133"/>
                </a:lnTo>
                <a:lnTo>
                  <a:pt x="719" y="133"/>
                </a:lnTo>
                <a:lnTo>
                  <a:pt x="714" y="131"/>
                </a:lnTo>
                <a:lnTo>
                  <a:pt x="713" y="133"/>
                </a:lnTo>
                <a:lnTo>
                  <a:pt x="713" y="134"/>
                </a:lnTo>
                <a:lnTo>
                  <a:pt x="711" y="135"/>
                </a:lnTo>
                <a:lnTo>
                  <a:pt x="708" y="136"/>
                </a:lnTo>
                <a:lnTo>
                  <a:pt x="707" y="135"/>
                </a:lnTo>
                <a:lnTo>
                  <a:pt x="704" y="131"/>
                </a:lnTo>
                <a:lnTo>
                  <a:pt x="700" y="133"/>
                </a:lnTo>
                <a:lnTo>
                  <a:pt x="697" y="130"/>
                </a:lnTo>
                <a:lnTo>
                  <a:pt x="696" y="127"/>
                </a:lnTo>
                <a:lnTo>
                  <a:pt x="696" y="124"/>
                </a:lnTo>
                <a:lnTo>
                  <a:pt x="697" y="124"/>
                </a:lnTo>
                <a:lnTo>
                  <a:pt x="698" y="123"/>
                </a:lnTo>
                <a:lnTo>
                  <a:pt x="698" y="122"/>
                </a:lnTo>
                <a:lnTo>
                  <a:pt x="694" y="123"/>
                </a:lnTo>
                <a:lnTo>
                  <a:pt x="691" y="123"/>
                </a:lnTo>
                <a:lnTo>
                  <a:pt x="689" y="121"/>
                </a:lnTo>
                <a:lnTo>
                  <a:pt x="689" y="118"/>
                </a:lnTo>
                <a:lnTo>
                  <a:pt x="686" y="118"/>
                </a:lnTo>
                <a:lnTo>
                  <a:pt x="686" y="117"/>
                </a:lnTo>
                <a:lnTo>
                  <a:pt x="688" y="116"/>
                </a:lnTo>
                <a:lnTo>
                  <a:pt x="689" y="113"/>
                </a:lnTo>
                <a:lnTo>
                  <a:pt x="691" y="112"/>
                </a:lnTo>
                <a:lnTo>
                  <a:pt x="692" y="112"/>
                </a:lnTo>
                <a:lnTo>
                  <a:pt x="695" y="110"/>
                </a:lnTo>
                <a:lnTo>
                  <a:pt x="696" y="110"/>
                </a:lnTo>
                <a:lnTo>
                  <a:pt x="696" y="112"/>
                </a:lnTo>
                <a:lnTo>
                  <a:pt x="697" y="113"/>
                </a:lnTo>
                <a:lnTo>
                  <a:pt x="698" y="117"/>
                </a:lnTo>
                <a:lnTo>
                  <a:pt x="698" y="113"/>
                </a:lnTo>
                <a:lnTo>
                  <a:pt x="700" y="112"/>
                </a:lnTo>
                <a:lnTo>
                  <a:pt x="700" y="105"/>
                </a:lnTo>
                <a:lnTo>
                  <a:pt x="701" y="104"/>
                </a:lnTo>
                <a:lnTo>
                  <a:pt x="703" y="104"/>
                </a:lnTo>
                <a:lnTo>
                  <a:pt x="703" y="108"/>
                </a:lnTo>
                <a:lnTo>
                  <a:pt x="704" y="110"/>
                </a:lnTo>
                <a:lnTo>
                  <a:pt x="704" y="111"/>
                </a:lnTo>
                <a:lnTo>
                  <a:pt x="707" y="111"/>
                </a:lnTo>
                <a:lnTo>
                  <a:pt x="708" y="112"/>
                </a:lnTo>
                <a:lnTo>
                  <a:pt x="711" y="118"/>
                </a:lnTo>
                <a:lnTo>
                  <a:pt x="711" y="119"/>
                </a:lnTo>
                <a:lnTo>
                  <a:pt x="713" y="122"/>
                </a:lnTo>
                <a:lnTo>
                  <a:pt x="713" y="123"/>
                </a:lnTo>
                <a:lnTo>
                  <a:pt x="715" y="125"/>
                </a:lnTo>
                <a:lnTo>
                  <a:pt x="715" y="119"/>
                </a:lnTo>
                <a:lnTo>
                  <a:pt x="714" y="119"/>
                </a:lnTo>
                <a:lnTo>
                  <a:pt x="714" y="118"/>
                </a:lnTo>
                <a:lnTo>
                  <a:pt x="715" y="117"/>
                </a:lnTo>
                <a:lnTo>
                  <a:pt x="711" y="113"/>
                </a:lnTo>
                <a:lnTo>
                  <a:pt x="711" y="111"/>
                </a:lnTo>
                <a:lnTo>
                  <a:pt x="720" y="103"/>
                </a:lnTo>
                <a:lnTo>
                  <a:pt x="721" y="103"/>
                </a:lnTo>
                <a:lnTo>
                  <a:pt x="721" y="105"/>
                </a:lnTo>
                <a:lnTo>
                  <a:pt x="720" y="106"/>
                </a:lnTo>
                <a:lnTo>
                  <a:pt x="720" y="108"/>
                </a:lnTo>
                <a:lnTo>
                  <a:pt x="721" y="108"/>
                </a:lnTo>
                <a:lnTo>
                  <a:pt x="723" y="105"/>
                </a:lnTo>
                <a:lnTo>
                  <a:pt x="725" y="105"/>
                </a:lnTo>
                <a:lnTo>
                  <a:pt x="725" y="115"/>
                </a:lnTo>
                <a:lnTo>
                  <a:pt x="727" y="112"/>
                </a:lnTo>
                <a:lnTo>
                  <a:pt x="727" y="111"/>
                </a:lnTo>
                <a:lnTo>
                  <a:pt x="726" y="108"/>
                </a:lnTo>
                <a:lnTo>
                  <a:pt x="732" y="106"/>
                </a:lnTo>
                <a:lnTo>
                  <a:pt x="733" y="108"/>
                </a:lnTo>
                <a:lnTo>
                  <a:pt x="733" y="111"/>
                </a:lnTo>
                <a:lnTo>
                  <a:pt x="732" y="113"/>
                </a:lnTo>
                <a:lnTo>
                  <a:pt x="731" y="115"/>
                </a:lnTo>
                <a:lnTo>
                  <a:pt x="732" y="116"/>
                </a:lnTo>
                <a:lnTo>
                  <a:pt x="732" y="121"/>
                </a:lnTo>
                <a:lnTo>
                  <a:pt x="733" y="123"/>
                </a:lnTo>
                <a:lnTo>
                  <a:pt x="732" y="124"/>
                </a:lnTo>
                <a:lnTo>
                  <a:pt x="731" y="124"/>
                </a:lnTo>
                <a:lnTo>
                  <a:pt x="731" y="125"/>
                </a:lnTo>
                <a:lnTo>
                  <a:pt x="732" y="127"/>
                </a:lnTo>
                <a:lnTo>
                  <a:pt x="738" y="125"/>
                </a:lnTo>
                <a:lnTo>
                  <a:pt x="742" y="128"/>
                </a:lnTo>
                <a:lnTo>
                  <a:pt x="744" y="128"/>
                </a:lnTo>
                <a:lnTo>
                  <a:pt x="741" y="125"/>
                </a:lnTo>
                <a:lnTo>
                  <a:pt x="734" y="123"/>
                </a:lnTo>
                <a:lnTo>
                  <a:pt x="734" y="121"/>
                </a:lnTo>
                <a:lnTo>
                  <a:pt x="735" y="117"/>
                </a:lnTo>
                <a:lnTo>
                  <a:pt x="737" y="112"/>
                </a:lnTo>
                <a:lnTo>
                  <a:pt x="735" y="112"/>
                </a:lnTo>
                <a:lnTo>
                  <a:pt x="737" y="111"/>
                </a:lnTo>
                <a:lnTo>
                  <a:pt x="740" y="111"/>
                </a:lnTo>
                <a:lnTo>
                  <a:pt x="741" y="112"/>
                </a:lnTo>
                <a:lnTo>
                  <a:pt x="744" y="113"/>
                </a:lnTo>
                <a:lnTo>
                  <a:pt x="745" y="113"/>
                </a:lnTo>
                <a:lnTo>
                  <a:pt x="745" y="116"/>
                </a:lnTo>
                <a:lnTo>
                  <a:pt x="748" y="116"/>
                </a:lnTo>
                <a:lnTo>
                  <a:pt x="760" y="117"/>
                </a:lnTo>
                <a:lnTo>
                  <a:pt x="762" y="118"/>
                </a:lnTo>
                <a:lnTo>
                  <a:pt x="762" y="119"/>
                </a:lnTo>
                <a:lnTo>
                  <a:pt x="757" y="128"/>
                </a:lnTo>
                <a:lnTo>
                  <a:pt x="756" y="129"/>
                </a:lnTo>
                <a:lnTo>
                  <a:pt x="754" y="129"/>
                </a:lnTo>
                <a:lnTo>
                  <a:pt x="744" y="133"/>
                </a:lnTo>
                <a:lnTo>
                  <a:pt x="739" y="133"/>
                </a:lnTo>
                <a:lnTo>
                  <a:pt x="737" y="135"/>
                </a:lnTo>
                <a:lnTo>
                  <a:pt x="732" y="137"/>
                </a:lnTo>
                <a:lnTo>
                  <a:pt x="733" y="139"/>
                </a:lnTo>
                <a:lnTo>
                  <a:pt x="734" y="139"/>
                </a:lnTo>
                <a:lnTo>
                  <a:pt x="737" y="136"/>
                </a:lnTo>
                <a:lnTo>
                  <a:pt x="747" y="134"/>
                </a:lnTo>
                <a:lnTo>
                  <a:pt x="751" y="131"/>
                </a:lnTo>
                <a:lnTo>
                  <a:pt x="757" y="130"/>
                </a:lnTo>
                <a:lnTo>
                  <a:pt x="762" y="125"/>
                </a:lnTo>
                <a:lnTo>
                  <a:pt x="763" y="125"/>
                </a:lnTo>
                <a:lnTo>
                  <a:pt x="763" y="139"/>
                </a:lnTo>
                <a:lnTo>
                  <a:pt x="764" y="140"/>
                </a:lnTo>
                <a:lnTo>
                  <a:pt x="765" y="140"/>
                </a:lnTo>
                <a:lnTo>
                  <a:pt x="766" y="139"/>
                </a:lnTo>
                <a:lnTo>
                  <a:pt x="768" y="139"/>
                </a:lnTo>
                <a:lnTo>
                  <a:pt x="768" y="145"/>
                </a:lnTo>
                <a:lnTo>
                  <a:pt x="769" y="147"/>
                </a:lnTo>
                <a:lnTo>
                  <a:pt x="768" y="147"/>
                </a:lnTo>
                <a:lnTo>
                  <a:pt x="768" y="148"/>
                </a:lnTo>
                <a:lnTo>
                  <a:pt x="766" y="149"/>
                </a:lnTo>
                <a:lnTo>
                  <a:pt x="768" y="151"/>
                </a:lnTo>
                <a:lnTo>
                  <a:pt x="769" y="149"/>
                </a:lnTo>
                <a:lnTo>
                  <a:pt x="775" y="145"/>
                </a:lnTo>
                <a:lnTo>
                  <a:pt x="775" y="143"/>
                </a:lnTo>
                <a:lnTo>
                  <a:pt x="776" y="143"/>
                </a:lnTo>
                <a:lnTo>
                  <a:pt x="776" y="146"/>
                </a:lnTo>
                <a:lnTo>
                  <a:pt x="777" y="146"/>
                </a:lnTo>
                <a:lnTo>
                  <a:pt x="777" y="147"/>
                </a:lnTo>
                <a:lnTo>
                  <a:pt x="776" y="149"/>
                </a:lnTo>
                <a:lnTo>
                  <a:pt x="781" y="146"/>
                </a:lnTo>
                <a:lnTo>
                  <a:pt x="782" y="145"/>
                </a:lnTo>
                <a:lnTo>
                  <a:pt x="783" y="145"/>
                </a:lnTo>
                <a:lnTo>
                  <a:pt x="783" y="142"/>
                </a:lnTo>
                <a:lnTo>
                  <a:pt x="784" y="141"/>
                </a:lnTo>
                <a:lnTo>
                  <a:pt x="785" y="141"/>
                </a:lnTo>
                <a:lnTo>
                  <a:pt x="783" y="139"/>
                </a:lnTo>
                <a:lnTo>
                  <a:pt x="775" y="139"/>
                </a:lnTo>
                <a:lnTo>
                  <a:pt x="773" y="137"/>
                </a:lnTo>
                <a:lnTo>
                  <a:pt x="770" y="131"/>
                </a:lnTo>
                <a:lnTo>
                  <a:pt x="772" y="131"/>
                </a:lnTo>
                <a:lnTo>
                  <a:pt x="772" y="130"/>
                </a:lnTo>
                <a:lnTo>
                  <a:pt x="773" y="130"/>
                </a:lnTo>
                <a:lnTo>
                  <a:pt x="773" y="129"/>
                </a:lnTo>
                <a:lnTo>
                  <a:pt x="777" y="129"/>
                </a:lnTo>
                <a:lnTo>
                  <a:pt x="778" y="128"/>
                </a:lnTo>
                <a:lnTo>
                  <a:pt x="779" y="125"/>
                </a:lnTo>
                <a:lnTo>
                  <a:pt x="778" y="124"/>
                </a:lnTo>
                <a:lnTo>
                  <a:pt x="776" y="123"/>
                </a:lnTo>
                <a:lnTo>
                  <a:pt x="775" y="123"/>
                </a:lnTo>
                <a:lnTo>
                  <a:pt x="776" y="122"/>
                </a:lnTo>
                <a:lnTo>
                  <a:pt x="779" y="121"/>
                </a:lnTo>
                <a:lnTo>
                  <a:pt x="781" y="119"/>
                </a:lnTo>
                <a:lnTo>
                  <a:pt x="776" y="119"/>
                </a:lnTo>
                <a:lnTo>
                  <a:pt x="775" y="118"/>
                </a:lnTo>
                <a:lnTo>
                  <a:pt x="772" y="117"/>
                </a:lnTo>
                <a:lnTo>
                  <a:pt x="773" y="116"/>
                </a:lnTo>
                <a:lnTo>
                  <a:pt x="778" y="115"/>
                </a:lnTo>
                <a:lnTo>
                  <a:pt x="783" y="115"/>
                </a:lnTo>
                <a:lnTo>
                  <a:pt x="783" y="113"/>
                </a:lnTo>
                <a:lnTo>
                  <a:pt x="784" y="113"/>
                </a:lnTo>
                <a:lnTo>
                  <a:pt x="782" y="111"/>
                </a:lnTo>
                <a:lnTo>
                  <a:pt x="775" y="113"/>
                </a:lnTo>
                <a:lnTo>
                  <a:pt x="776" y="111"/>
                </a:lnTo>
                <a:lnTo>
                  <a:pt x="779" y="109"/>
                </a:lnTo>
                <a:lnTo>
                  <a:pt x="787" y="108"/>
                </a:lnTo>
                <a:lnTo>
                  <a:pt x="788" y="105"/>
                </a:lnTo>
                <a:lnTo>
                  <a:pt x="784" y="106"/>
                </a:lnTo>
                <a:lnTo>
                  <a:pt x="784" y="105"/>
                </a:lnTo>
                <a:lnTo>
                  <a:pt x="785" y="103"/>
                </a:lnTo>
                <a:lnTo>
                  <a:pt x="784" y="103"/>
                </a:lnTo>
                <a:lnTo>
                  <a:pt x="783" y="104"/>
                </a:lnTo>
                <a:lnTo>
                  <a:pt x="782" y="104"/>
                </a:lnTo>
                <a:lnTo>
                  <a:pt x="783" y="103"/>
                </a:lnTo>
                <a:lnTo>
                  <a:pt x="784" y="98"/>
                </a:lnTo>
                <a:lnTo>
                  <a:pt x="785" y="97"/>
                </a:lnTo>
                <a:lnTo>
                  <a:pt x="787" y="97"/>
                </a:lnTo>
                <a:lnTo>
                  <a:pt x="788" y="96"/>
                </a:lnTo>
                <a:lnTo>
                  <a:pt x="789" y="92"/>
                </a:lnTo>
                <a:lnTo>
                  <a:pt x="794" y="87"/>
                </a:lnTo>
                <a:lnTo>
                  <a:pt x="797" y="82"/>
                </a:lnTo>
                <a:lnTo>
                  <a:pt x="797" y="81"/>
                </a:lnTo>
                <a:lnTo>
                  <a:pt x="801" y="80"/>
                </a:lnTo>
                <a:lnTo>
                  <a:pt x="813" y="81"/>
                </a:lnTo>
                <a:lnTo>
                  <a:pt x="818" y="84"/>
                </a:lnTo>
                <a:lnTo>
                  <a:pt x="818" y="85"/>
                </a:lnTo>
                <a:lnTo>
                  <a:pt x="819" y="86"/>
                </a:lnTo>
                <a:lnTo>
                  <a:pt x="820" y="86"/>
                </a:lnTo>
                <a:lnTo>
                  <a:pt x="820" y="85"/>
                </a:lnTo>
                <a:lnTo>
                  <a:pt x="818" y="82"/>
                </a:lnTo>
                <a:lnTo>
                  <a:pt x="815" y="79"/>
                </a:lnTo>
                <a:lnTo>
                  <a:pt x="814" y="78"/>
                </a:lnTo>
                <a:lnTo>
                  <a:pt x="809" y="76"/>
                </a:lnTo>
                <a:lnTo>
                  <a:pt x="809" y="74"/>
                </a:lnTo>
                <a:lnTo>
                  <a:pt x="814" y="70"/>
                </a:lnTo>
                <a:lnTo>
                  <a:pt x="814" y="68"/>
                </a:lnTo>
                <a:lnTo>
                  <a:pt x="815" y="68"/>
                </a:lnTo>
                <a:lnTo>
                  <a:pt x="815" y="67"/>
                </a:lnTo>
                <a:lnTo>
                  <a:pt x="816" y="67"/>
                </a:lnTo>
                <a:lnTo>
                  <a:pt x="816" y="60"/>
                </a:lnTo>
                <a:lnTo>
                  <a:pt x="820" y="56"/>
                </a:lnTo>
                <a:lnTo>
                  <a:pt x="822" y="57"/>
                </a:lnTo>
                <a:lnTo>
                  <a:pt x="825" y="57"/>
                </a:lnTo>
                <a:lnTo>
                  <a:pt x="826" y="59"/>
                </a:lnTo>
                <a:lnTo>
                  <a:pt x="831" y="65"/>
                </a:lnTo>
                <a:lnTo>
                  <a:pt x="833" y="67"/>
                </a:lnTo>
                <a:lnTo>
                  <a:pt x="835" y="66"/>
                </a:lnTo>
                <a:lnTo>
                  <a:pt x="835" y="60"/>
                </a:lnTo>
                <a:lnTo>
                  <a:pt x="832" y="57"/>
                </a:lnTo>
                <a:lnTo>
                  <a:pt x="832" y="54"/>
                </a:lnTo>
                <a:lnTo>
                  <a:pt x="829" y="53"/>
                </a:lnTo>
                <a:lnTo>
                  <a:pt x="828" y="51"/>
                </a:lnTo>
                <a:lnTo>
                  <a:pt x="827" y="49"/>
                </a:lnTo>
                <a:lnTo>
                  <a:pt x="824" y="49"/>
                </a:lnTo>
                <a:lnTo>
                  <a:pt x="819" y="48"/>
                </a:lnTo>
                <a:lnTo>
                  <a:pt x="816" y="47"/>
                </a:lnTo>
                <a:lnTo>
                  <a:pt x="815" y="47"/>
                </a:lnTo>
                <a:lnTo>
                  <a:pt x="815" y="44"/>
                </a:lnTo>
                <a:lnTo>
                  <a:pt x="816" y="43"/>
                </a:lnTo>
                <a:lnTo>
                  <a:pt x="816" y="37"/>
                </a:lnTo>
                <a:lnTo>
                  <a:pt x="820" y="35"/>
                </a:lnTo>
                <a:lnTo>
                  <a:pt x="821" y="33"/>
                </a:lnTo>
                <a:lnTo>
                  <a:pt x="822" y="36"/>
                </a:lnTo>
                <a:lnTo>
                  <a:pt x="822" y="37"/>
                </a:lnTo>
                <a:lnTo>
                  <a:pt x="824" y="37"/>
                </a:lnTo>
                <a:lnTo>
                  <a:pt x="825" y="38"/>
                </a:lnTo>
                <a:lnTo>
                  <a:pt x="824" y="41"/>
                </a:lnTo>
                <a:lnTo>
                  <a:pt x="826" y="41"/>
                </a:lnTo>
                <a:lnTo>
                  <a:pt x="831" y="45"/>
                </a:lnTo>
                <a:lnTo>
                  <a:pt x="832" y="45"/>
                </a:lnTo>
                <a:lnTo>
                  <a:pt x="832" y="42"/>
                </a:lnTo>
                <a:lnTo>
                  <a:pt x="829" y="39"/>
                </a:lnTo>
                <a:lnTo>
                  <a:pt x="831" y="37"/>
                </a:lnTo>
                <a:lnTo>
                  <a:pt x="831" y="33"/>
                </a:lnTo>
                <a:lnTo>
                  <a:pt x="832" y="35"/>
                </a:lnTo>
                <a:lnTo>
                  <a:pt x="834" y="35"/>
                </a:lnTo>
                <a:lnTo>
                  <a:pt x="835" y="33"/>
                </a:lnTo>
                <a:lnTo>
                  <a:pt x="832" y="31"/>
                </a:lnTo>
                <a:lnTo>
                  <a:pt x="831" y="30"/>
                </a:lnTo>
                <a:lnTo>
                  <a:pt x="831" y="29"/>
                </a:lnTo>
                <a:lnTo>
                  <a:pt x="829" y="27"/>
                </a:lnTo>
                <a:lnTo>
                  <a:pt x="829" y="26"/>
                </a:lnTo>
                <a:lnTo>
                  <a:pt x="828" y="25"/>
                </a:lnTo>
                <a:lnTo>
                  <a:pt x="829" y="24"/>
                </a:lnTo>
                <a:lnTo>
                  <a:pt x="831" y="24"/>
                </a:lnTo>
                <a:lnTo>
                  <a:pt x="832" y="23"/>
                </a:lnTo>
                <a:lnTo>
                  <a:pt x="829" y="23"/>
                </a:lnTo>
                <a:lnTo>
                  <a:pt x="829" y="22"/>
                </a:lnTo>
                <a:lnTo>
                  <a:pt x="831" y="20"/>
                </a:lnTo>
                <a:lnTo>
                  <a:pt x="832" y="20"/>
                </a:lnTo>
                <a:lnTo>
                  <a:pt x="833" y="19"/>
                </a:lnTo>
                <a:lnTo>
                  <a:pt x="837" y="20"/>
                </a:lnTo>
                <a:lnTo>
                  <a:pt x="838" y="22"/>
                </a:lnTo>
                <a:lnTo>
                  <a:pt x="838" y="23"/>
                </a:lnTo>
                <a:lnTo>
                  <a:pt x="839" y="24"/>
                </a:lnTo>
                <a:lnTo>
                  <a:pt x="840" y="24"/>
                </a:lnTo>
                <a:lnTo>
                  <a:pt x="840" y="27"/>
                </a:lnTo>
                <a:lnTo>
                  <a:pt x="839" y="29"/>
                </a:lnTo>
                <a:lnTo>
                  <a:pt x="846" y="27"/>
                </a:lnTo>
                <a:lnTo>
                  <a:pt x="845" y="26"/>
                </a:lnTo>
                <a:lnTo>
                  <a:pt x="846" y="24"/>
                </a:lnTo>
                <a:lnTo>
                  <a:pt x="846" y="23"/>
                </a:lnTo>
                <a:lnTo>
                  <a:pt x="845" y="22"/>
                </a:lnTo>
                <a:lnTo>
                  <a:pt x="846" y="20"/>
                </a:lnTo>
                <a:lnTo>
                  <a:pt x="849" y="20"/>
                </a:lnTo>
                <a:lnTo>
                  <a:pt x="850" y="23"/>
                </a:lnTo>
                <a:lnTo>
                  <a:pt x="849" y="26"/>
                </a:lnTo>
                <a:lnTo>
                  <a:pt x="846" y="31"/>
                </a:lnTo>
                <a:lnTo>
                  <a:pt x="845" y="32"/>
                </a:lnTo>
                <a:lnTo>
                  <a:pt x="843" y="33"/>
                </a:lnTo>
                <a:lnTo>
                  <a:pt x="844" y="33"/>
                </a:lnTo>
                <a:lnTo>
                  <a:pt x="845" y="32"/>
                </a:lnTo>
                <a:lnTo>
                  <a:pt x="847" y="35"/>
                </a:lnTo>
                <a:lnTo>
                  <a:pt x="849" y="35"/>
                </a:lnTo>
                <a:lnTo>
                  <a:pt x="850" y="36"/>
                </a:lnTo>
                <a:lnTo>
                  <a:pt x="850" y="32"/>
                </a:lnTo>
                <a:lnTo>
                  <a:pt x="851" y="29"/>
                </a:lnTo>
                <a:lnTo>
                  <a:pt x="852" y="27"/>
                </a:lnTo>
                <a:lnTo>
                  <a:pt x="853" y="27"/>
                </a:lnTo>
                <a:lnTo>
                  <a:pt x="853" y="29"/>
                </a:lnTo>
                <a:lnTo>
                  <a:pt x="855" y="29"/>
                </a:lnTo>
                <a:lnTo>
                  <a:pt x="857" y="33"/>
                </a:lnTo>
                <a:lnTo>
                  <a:pt x="857" y="35"/>
                </a:lnTo>
                <a:lnTo>
                  <a:pt x="858" y="39"/>
                </a:lnTo>
                <a:lnTo>
                  <a:pt x="857" y="44"/>
                </a:lnTo>
                <a:lnTo>
                  <a:pt x="858" y="44"/>
                </a:lnTo>
                <a:lnTo>
                  <a:pt x="858" y="42"/>
                </a:lnTo>
                <a:lnTo>
                  <a:pt x="859" y="41"/>
                </a:lnTo>
                <a:lnTo>
                  <a:pt x="862" y="41"/>
                </a:lnTo>
                <a:lnTo>
                  <a:pt x="863" y="32"/>
                </a:lnTo>
                <a:lnTo>
                  <a:pt x="863" y="27"/>
                </a:lnTo>
                <a:lnTo>
                  <a:pt x="862" y="26"/>
                </a:lnTo>
                <a:lnTo>
                  <a:pt x="862" y="20"/>
                </a:lnTo>
                <a:lnTo>
                  <a:pt x="864" y="22"/>
                </a:lnTo>
                <a:lnTo>
                  <a:pt x="869" y="26"/>
                </a:lnTo>
                <a:lnTo>
                  <a:pt x="869" y="31"/>
                </a:lnTo>
                <a:lnTo>
                  <a:pt x="865" y="35"/>
                </a:lnTo>
                <a:lnTo>
                  <a:pt x="864" y="35"/>
                </a:lnTo>
                <a:lnTo>
                  <a:pt x="865" y="37"/>
                </a:lnTo>
                <a:lnTo>
                  <a:pt x="866" y="37"/>
                </a:lnTo>
                <a:lnTo>
                  <a:pt x="869" y="33"/>
                </a:lnTo>
                <a:lnTo>
                  <a:pt x="870" y="36"/>
                </a:lnTo>
                <a:lnTo>
                  <a:pt x="870" y="35"/>
                </a:lnTo>
                <a:lnTo>
                  <a:pt x="871" y="32"/>
                </a:lnTo>
                <a:lnTo>
                  <a:pt x="872" y="31"/>
                </a:lnTo>
                <a:lnTo>
                  <a:pt x="875" y="30"/>
                </a:lnTo>
                <a:lnTo>
                  <a:pt x="876" y="30"/>
                </a:lnTo>
                <a:lnTo>
                  <a:pt x="877" y="32"/>
                </a:lnTo>
                <a:lnTo>
                  <a:pt x="878" y="33"/>
                </a:lnTo>
                <a:lnTo>
                  <a:pt x="878" y="35"/>
                </a:lnTo>
                <a:lnTo>
                  <a:pt x="880" y="35"/>
                </a:lnTo>
                <a:lnTo>
                  <a:pt x="880" y="32"/>
                </a:lnTo>
                <a:lnTo>
                  <a:pt x="882" y="31"/>
                </a:lnTo>
                <a:lnTo>
                  <a:pt x="883" y="31"/>
                </a:lnTo>
                <a:lnTo>
                  <a:pt x="884" y="30"/>
                </a:lnTo>
                <a:lnTo>
                  <a:pt x="886" y="32"/>
                </a:lnTo>
                <a:lnTo>
                  <a:pt x="886" y="36"/>
                </a:lnTo>
                <a:lnTo>
                  <a:pt x="884" y="36"/>
                </a:lnTo>
                <a:lnTo>
                  <a:pt x="883" y="38"/>
                </a:lnTo>
                <a:lnTo>
                  <a:pt x="881" y="41"/>
                </a:lnTo>
                <a:lnTo>
                  <a:pt x="878" y="44"/>
                </a:lnTo>
                <a:lnTo>
                  <a:pt x="877" y="45"/>
                </a:lnTo>
                <a:lnTo>
                  <a:pt x="874" y="48"/>
                </a:lnTo>
                <a:lnTo>
                  <a:pt x="874" y="49"/>
                </a:lnTo>
                <a:lnTo>
                  <a:pt x="875" y="51"/>
                </a:lnTo>
                <a:lnTo>
                  <a:pt x="872" y="54"/>
                </a:lnTo>
                <a:lnTo>
                  <a:pt x="872" y="55"/>
                </a:lnTo>
                <a:lnTo>
                  <a:pt x="870" y="55"/>
                </a:lnTo>
                <a:lnTo>
                  <a:pt x="869" y="59"/>
                </a:lnTo>
                <a:lnTo>
                  <a:pt x="865" y="60"/>
                </a:lnTo>
                <a:lnTo>
                  <a:pt x="865" y="63"/>
                </a:lnTo>
                <a:lnTo>
                  <a:pt x="862" y="67"/>
                </a:lnTo>
                <a:lnTo>
                  <a:pt x="859" y="68"/>
                </a:lnTo>
                <a:lnTo>
                  <a:pt x="859" y="69"/>
                </a:lnTo>
                <a:lnTo>
                  <a:pt x="857" y="72"/>
                </a:lnTo>
                <a:lnTo>
                  <a:pt x="857" y="73"/>
                </a:lnTo>
                <a:lnTo>
                  <a:pt x="851" y="78"/>
                </a:lnTo>
                <a:lnTo>
                  <a:pt x="850" y="80"/>
                </a:lnTo>
                <a:lnTo>
                  <a:pt x="857" y="78"/>
                </a:lnTo>
                <a:lnTo>
                  <a:pt x="859" y="80"/>
                </a:lnTo>
                <a:lnTo>
                  <a:pt x="857" y="82"/>
                </a:lnTo>
                <a:lnTo>
                  <a:pt x="850" y="82"/>
                </a:lnTo>
                <a:lnTo>
                  <a:pt x="851" y="85"/>
                </a:lnTo>
                <a:lnTo>
                  <a:pt x="857" y="84"/>
                </a:lnTo>
                <a:lnTo>
                  <a:pt x="859" y="86"/>
                </a:lnTo>
                <a:lnTo>
                  <a:pt x="858" y="86"/>
                </a:lnTo>
                <a:lnTo>
                  <a:pt x="857" y="87"/>
                </a:lnTo>
                <a:lnTo>
                  <a:pt x="857" y="90"/>
                </a:lnTo>
                <a:lnTo>
                  <a:pt x="858" y="93"/>
                </a:lnTo>
                <a:lnTo>
                  <a:pt x="858" y="96"/>
                </a:lnTo>
                <a:lnTo>
                  <a:pt x="855" y="93"/>
                </a:lnTo>
                <a:lnTo>
                  <a:pt x="853" y="94"/>
                </a:lnTo>
                <a:lnTo>
                  <a:pt x="850" y="99"/>
                </a:lnTo>
                <a:lnTo>
                  <a:pt x="852" y="99"/>
                </a:lnTo>
                <a:lnTo>
                  <a:pt x="852" y="100"/>
                </a:lnTo>
                <a:lnTo>
                  <a:pt x="851" y="102"/>
                </a:lnTo>
                <a:lnTo>
                  <a:pt x="851" y="103"/>
                </a:lnTo>
                <a:lnTo>
                  <a:pt x="852" y="104"/>
                </a:lnTo>
                <a:lnTo>
                  <a:pt x="852" y="103"/>
                </a:lnTo>
                <a:lnTo>
                  <a:pt x="853" y="102"/>
                </a:lnTo>
                <a:lnTo>
                  <a:pt x="856" y="102"/>
                </a:lnTo>
                <a:lnTo>
                  <a:pt x="856" y="105"/>
                </a:lnTo>
                <a:lnTo>
                  <a:pt x="849" y="112"/>
                </a:lnTo>
                <a:lnTo>
                  <a:pt x="847" y="112"/>
                </a:lnTo>
                <a:lnTo>
                  <a:pt x="847" y="113"/>
                </a:lnTo>
                <a:lnTo>
                  <a:pt x="846" y="115"/>
                </a:lnTo>
                <a:lnTo>
                  <a:pt x="846" y="117"/>
                </a:lnTo>
                <a:lnTo>
                  <a:pt x="845" y="118"/>
                </a:lnTo>
                <a:lnTo>
                  <a:pt x="845" y="124"/>
                </a:lnTo>
                <a:lnTo>
                  <a:pt x="844" y="125"/>
                </a:lnTo>
                <a:lnTo>
                  <a:pt x="844" y="130"/>
                </a:lnTo>
                <a:lnTo>
                  <a:pt x="845" y="134"/>
                </a:lnTo>
                <a:lnTo>
                  <a:pt x="847" y="135"/>
                </a:lnTo>
                <a:lnTo>
                  <a:pt x="849" y="135"/>
                </a:lnTo>
                <a:lnTo>
                  <a:pt x="849" y="131"/>
                </a:lnTo>
                <a:lnTo>
                  <a:pt x="847" y="131"/>
                </a:lnTo>
                <a:lnTo>
                  <a:pt x="847" y="125"/>
                </a:lnTo>
                <a:lnTo>
                  <a:pt x="851" y="124"/>
                </a:lnTo>
                <a:lnTo>
                  <a:pt x="851" y="125"/>
                </a:lnTo>
                <a:lnTo>
                  <a:pt x="850" y="128"/>
                </a:lnTo>
                <a:lnTo>
                  <a:pt x="851" y="128"/>
                </a:lnTo>
                <a:lnTo>
                  <a:pt x="851" y="129"/>
                </a:lnTo>
                <a:lnTo>
                  <a:pt x="850" y="130"/>
                </a:lnTo>
                <a:lnTo>
                  <a:pt x="851" y="131"/>
                </a:lnTo>
                <a:lnTo>
                  <a:pt x="851" y="133"/>
                </a:lnTo>
                <a:lnTo>
                  <a:pt x="852" y="134"/>
                </a:lnTo>
                <a:lnTo>
                  <a:pt x="853" y="134"/>
                </a:lnTo>
                <a:lnTo>
                  <a:pt x="856" y="133"/>
                </a:lnTo>
                <a:lnTo>
                  <a:pt x="857" y="131"/>
                </a:lnTo>
                <a:lnTo>
                  <a:pt x="858" y="128"/>
                </a:lnTo>
                <a:lnTo>
                  <a:pt x="859" y="122"/>
                </a:lnTo>
                <a:lnTo>
                  <a:pt x="862" y="119"/>
                </a:lnTo>
                <a:lnTo>
                  <a:pt x="863" y="119"/>
                </a:lnTo>
                <a:lnTo>
                  <a:pt x="863" y="118"/>
                </a:lnTo>
                <a:lnTo>
                  <a:pt x="865" y="116"/>
                </a:lnTo>
                <a:lnTo>
                  <a:pt x="865" y="112"/>
                </a:lnTo>
                <a:lnTo>
                  <a:pt x="869" y="109"/>
                </a:lnTo>
                <a:lnTo>
                  <a:pt x="870" y="106"/>
                </a:lnTo>
                <a:lnTo>
                  <a:pt x="869" y="105"/>
                </a:lnTo>
                <a:lnTo>
                  <a:pt x="864" y="103"/>
                </a:lnTo>
                <a:lnTo>
                  <a:pt x="865" y="100"/>
                </a:lnTo>
                <a:lnTo>
                  <a:pt x="875" y="88"/>
                </a:lnTo>
                <a:lnTo>
                  <a:pt x="883" y="73"/>
                </a:lnTo>
                <a:lnTo>
                  <a:pt x="884" y="72"/>
                </a:lnTo>
                <a:lnTo>
                  <a:pt x="886" y="72"/>
                </a:lnTo>
                <a:lnTo>
                  <a:pt x="887" y="69"/>
                </a:lnTo>
                <a:lnTo>
                  <a:pt x="889" y="67"/>
                </a:lnTo>
                <a:lnTo>
                  <a:pt x="889" y="65"/>
                </a:lnTo>
                <a:lnTo>
                  <a:pt x="891" y="56"/>
                </a:lnTo>
                <a:lnTo>
                  <a:pt x="891" y="54"/>
                </a:lnTo>
                <a:lnTo>
                  <a:pt x="894" y="54"/>
                </a:lnTo>
                <a:lnTo>
                  <a:pt x="895" y="53"/>
                </a:lnTo>
                <a:lnTo>
                  <a:pt x="895" y="49"/>
                </a:lnTo>
                <a:lnTo>
                  <a:pt x="896" y="48"/>
                </a:lnTo>
                <a:lnTo>
                  <a:pt x="897" y="45"/>
                </a:lnTo>
                <a:lnTo>
                  <a:pt x="900" y="43"/>
                </a:lnTo>
                <a:lnTo>
                  <a:pt x="905" y="33"/>
                </a:lnTo>
                <a:lnTo>
                  <a:pt x="915" y="24"/>
                </a:lnTo>
                <a:lnTo>
                  <a:pt x="918" y="23"/>
                </a:lnTo>
                <a:lnTo>
                  <a:pt x="918" y="24"/>
                </a:lnTo>
                <a:lnTo>
                  <a:pt x="920" y="26"/>
                </a:lnTo>
                <a:lnTo>
                  <a:pt x="919" y="27"/>
                </a:lnTo>
                <a:lnTo>
                  <a:pt x="919" y="29"/>
                </a:lnTo>
                <a:lnTo>
                  <a:pt x="920" y="29"/>
                </a:lnTo>
                <a:lnTo>
                  <a:pt x="920" y="31"/>
                </a:lnTo>
                <a:lnTo>
                  <a:pt x="919" y="32"/>
                </a:lnTo>
                <a:lnTo>
                  <a:pt x="919" y="33"/>
                </a:lnTo>
                <a:lnTo>
                  <a:pt x="916" y="36"/>
                </a:lnTo>
                <a:lnTo>
                  <a:pt x="916" y="38"/>
                </a:lnTo>
                <a:lnTo>
                  <a:pt x="918" y="38"/>
                </a:lnTo>
                <a:lnTo>
                  <a:pt x="918" y="39"/>
                </a:lnTo>
                <a:lnTo>
                  <a:pt x="919" y="39"/>
                </a:lnTo>
                <a:lnTo>
                  <a:pt x="919" y="38"/>
                </a:lnTo>
                <a:lnTo>
                  <a:pt x="920" y="37"/>
                </a:lnTo>
                <a:lnTo>
                  <a:pt x="920" y="41"/>
                </a:lnTo>
                <a:lnTo>
                  <a:pt x="919" y="42"/>
                </a:lnTo>
                <a:lnTo>
                  <a:pt x="919" y="44"/>
                </a:lnTo>
                <a:lnTo>
                  <a:pt x="918" y="47"/>
                </a:lnTo>
                <a:lnTo>
                  <a:pt x="918" y="51"/>
                </a:lnTo>
                <a:lnTo>
                  <a:pt x="916" y="55"/>
                </a:lnTo>
                <a:lnTo>
                  <a:pt x="903" y="62"/>
                </a:lnTo>
                <a:lnTo>
                  <a:pt x="905" y="63"/>
                </a:lnTo>
                <a:lnTo>
                  <a:pt x="911" y="61"/>
                </a:lnTo>
                <a:lnTo>
                  <a:pt x="912" y="60"/>
                </a:lnTo>
                <a:lnTo>
                  <a:pt x="915" y="62"/>
                </a:lnTo>
                <a:lnTo>
                  <a:pt x="916" y="63"/>
                </a:lnTo>
                <a:lnTo>
                  <a:pt x="914" y="73"/>
                </a:lnTo>
                <a:lnTo>
                  <a:pt x="914" y="76"/>
                </a:lnTo>
                <a:lnTo>
                  <a:pt x="913" y="78"/>
                </a:lnTo>
                <a:lnTo>
                  <a:pt x="913" y="84"/>
                </a:lnTo>
                <a:lnTo>
                  <a:pt x="912" y="86"/>
                </a:lnTo>
                <a:lnTo>
                  <a:pt x="911" y="87"/>
                </a:lnTo>
                <a:lnTo>
                  <a:pt x="911" y="99"/>
                </a:lnTo>
                <a:lnTo>
                  <a:pt x="913" y="99"/>
                </a:lnTo>
                <a:lnTo>
                  <a:pt x="913" y="97"/>
                </a:lnTo>
                <a:lnTo>
                  <a:pt x="914" y="96"/>
                </a:lnTo>
                <a:lnTo>
                  <a:pt x="915" y="97"/>
                </a:lnTo>
                <a:lnTo>
                  <a:pt x="916" y="96"/>
                </a:lnTo>
                <a:lnTo>
                  <a:pt x="915" y="93"/>
                </a:lnTo>
                <a:lnTo>
                  <a:pt x="915" y="92"/>
                </a:lnTo>
                <a:lnTo>
                  <a:pt x="916" y="91"/>
                </a:lnTo>
                <a:lnTo>
                  <a:pt x="916" y="90"/>
                </a:lnTo>
                <a:lnTo>
                  <a:pt x="918" y="91"/>
                </a:lnTo>
                <a:lnTo>
                  <a:pt x="919" y="91"/>
                </a:lnTo>
                <a:lnTo>
                  <a:pt x="921" y="90"/>
                </a:lnTo>
                <a:lnTo>
                  <a:pt x="921" y="88"/>
                </a:lnTo>
                <a:lnTo>
                  <a:pt x="922" y="86"/>
                </a:lnTo>
                <a:lnTo>
                  <a:pt x="922" y="85"/>
                </a:lnTo>
                <a:lnTo>
                  <a:pt x="924" y="84"/>
                </a:lnTo>
                <a:lnTo>
                  <a:pt x="928" y="82"/>
                </a:lnTo>
                <a:lnTo>
                  <a:pt x="928" y="86"/>
                </a:lnTo>
                <a:lnTo>
                  <a:pt x="933" y="84"/>
                </a:lnTo>
                <a:lnTo>
                  <a:pt x="934" y="84"/>
                </a:lnTo>
                <a:lnTo>
                  <a:pt x="936" y="85"/>
                </a:lnTo>
                <a:lnTo>
                  <a:pt x="933" y="82"/>
                </a:lnTo>
                <a:lnTo>
                  <a:pt x="932" y="80"/>
                </a:lnTo>
                <a:lnTo>
                  <a:pt x="930" y="78"/>
                </a:lnTo>
                <a:lnTo>
                  <a:pt x="930" y="76"/>
                </a:lnTo>
                <a:lnTo>
                  <a:pt x="931" y="75"/>
                </a:lnTo>
                <a:lnTo>
                  <a:pt x="931" y="73"/>
                </a:lnTo>
                <a:lnTo>
                  <a:pt x="930" y="73"/>
                </a:lnTo>
                <a:lnTo>
                  <a:pt x="932" y="68"/>
                </a:lnTo>
                <a:lnTo>
                  <a:pt x="933" y="67"/>
                </a:lnTo>
                <a:lnTo>
                  <a:pt x="934" y="67"/>
                </a:lnTo>
                <a:lnTo>
                  <a:pt x="936" y="68"/>
                </a:lnTo>
                <a:lnTo>
                  <a:pt x="938" y="68"/>
                </a:lnTo>
                <a:lnTo>
                  <a:pt x="942" y="70"/>
                </a:lnTo>
                <a:lnTo>
                  <a:pt x="943" y="70"/>
                </a:lnTo>
                <a:lnTo>
                  <a:pt x="942" y="68"/>
                </a:lnTo>
                <a:lnTo>
                  <a:pt x="937" y="65"/>
                </a:lnTo>
                <a:lnTo>
                  <a:pt x="936" y="63"/>
                </a:lnTo>
                <a:lnTo>
                  <a:pt x="936" y="61"/>
                </a:lnTo>
                <a:lnTo>
                  <a:pt x="938" y="57"/>
                </a:lnTo>
                <a:lnTo>
                  <a:pt x="937" y="57"/>
                </a:lnTo>
                <a:lnTo>
                  <a:pt x="934" y="55"/>
                </a:lnTo>
                <a:lnTo>
                  <a:pt x="936" y="51"/>
                </a:lnTo>
                <a:lnTo>
                  <a:pt x="937" y="50"/>
                </a:lnTo>
                <a:lnTo>
                  <a:pt x="945" y="50"/>
                </a:lnTo>
                <a:lnTo>
                  <a:pt x="945" y="48"/>
                </a:lnTo>
                <a:lnTo>
                  <a:pt x="944" y="48"/>
                </a:lnTo>
                <a:lnTo>
                  <a:pt x="943" y="45"/>
                </a:lnTo>
                <a:lnTo>
                  <a:pt x="944" y="43"/>
                </a:lnTo>
                <a:lnTo>
                  <a:pt x="944" y="41"/>
                </a:lnTo>
                <a:lnTo>
                  <a:pt x="945" y="39"/>
                </a:lnTo>
                <a:lnTo>
                  <a:pt x="946" y="39"/>
                </a:lnTo>
                <a:lnTo>
                  <a:pt x="958" y="42"/>
                </a:lnTo>
                <a:lnTo>
                  <a:pt x="951" y="39"/>
                </a:lnTo>
                <a:lnTo>
                  <a:pt x="951" y="38"/>
                </a:lnTo>
                <a:lnTo>
                  <a:pt x="952" y="38"/>
                </a:lnTo>
                <a:lnTo>
                  <a:pt x="953" y="37"/>
                </a:lnTo>
                <a:lnTo>
                  <a:pt x="953" y="36"/>
                </a:lnTo>
                <a:lnTo>
                  <a:pt x="952" y="35"/>
                </a:lnTo>
                <a:lnTo>
                  <a:pt x="952" y="33"/>
                </a:lnTo>
                <a:lnTo>
                  <a:pt x="951" y="35"/>
                </a:lnTo>
                <a:lnTo>
                  <a:pt x="951" y="33"/>
                </a:lnTo>
                <a:lnTo>
                  <a:pt x="950" y="33"/>
                </a:lnTo>
                <a:lnTo>
                  <a:pt x="950" y="32"/>
                </a:lnTo>
                <a:lnTo>
                  <a:pt x="947" y="32"/>
                </a:lnTo>
                <a:lnTo>
                  <a:pt x="947" y="31"/>
                </a:lnTo>
                <a:lnTo>
                  <a:pt x="949" y="29"/>
                </a:lnTo>
                <a:lnTo>
                  <a:pt x="949" y="27"/>
                </a:lnTo>
                <a:lnTo>
                  <a:pt x="947" y="29"/>
                </a:lnTo>
                <a:lnTo>
                  <a:pt x="946" y="31"/>
                </a:lnTo>
                <a:lnTo>
                  <a:pt x="945" y="32"/>
                </a:lnTo>
                <a:lnTo>
                  <a:pt x="939" y="30"/>
                </a:lnTo>
                <a:lnTo>
                  <a:pt x="937" y="27"/>
                </a:lnTo>
                <a:lnTo>
                  <a:pt x="937" y="23"/>
                </a:lnTo>
                <a:lnTo>
                  <a:pt x="938" y="22"/>
                </a:lnTo>
                <a:lnTo>
                  <a:pt x="946" y="24"/>
                </a:lnTo>
                <a:lnTo>
                  <a:pt x="945" y="23"/>
                </a:lnTo>
                <a:lnTo>
                  <a:pt x="945" y="22"/>
                </a:lnTo>
                <a:lnTo>
                  <a:pt x="940" y="17"/>
                </a:lnTo>
                <a:lnTo>
                  <a:pt x="940" y="14"/>
                </a:lnTo>
                <a:lnTo>
                  <a:pt x="942" y="13"/>
                </a:lnTo>
                <a:lnTo>
                  <a:pt x="951" y="16"/>
                </a:lnTo>
                <a:lnTo>
                  <a:pt x="952" y="18"/>
                </a:lnTo>
                <a:lnTo>
                  <a:pt x="952" y="20"/>
                </a:lnTo>
                <a:lnTo>
                  <a:pt x="953" y="23"/>
                </a:lnTo>
                <a:lnTo>
                  <a:pt x="955" y="23"/>
                </a:lnTo>
                <a:lnTo>
                  <a:pt x="956" y="20"/>
                </a:lnTo>
                <a:lnTo>
                  <a:pt x="955" y="19"/>
                </a:lnTo>
                <a:lnTo>
                  <a:pt x="955" y="16"/>
                </a:lnTo>
                <a:lnTo>
                  <a:pt x="956" y="14"/>
                </a:lnTo>
                <a:lnTo>
                  <a:pt x="955" y="14"/>
                </a:lnTo>
                <a:lnTo>
                  <a:pt x="953" y="13"/>
                </a:lnTo>
                <a:lnTo>
                  <a:pt x="953" y="6"/>
                </a:lnTo>
                <a:lnTo>
                  <a:pt x="955" y="4"/>
                </a:lnTo>
                <a:lnTo>
                  <a:pt x="957" y="5"/>
                </a:lnTo>
                <a:lnTo>
                  <a:pt x="958" y="5"/>
                </a:lnTo>
                <a:lnTo>
                  <a:pt x="958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9" name="Freeform 11">
            <a:extLst>
              <a:ext uri="{FF2B5EF4-FFF2-40B4-BE49-F238E27FC236}">
                <a16:creationId xmlns:a16="http://schemas.microsoft.com/office/drawing/2014/main" id="{5B444179-87C9-41D3-B9CD-C06342A53827}"/>
              </a:ext>
            </a:extLst>
          </p:cNvPr>
          <p:cNvSpPr>
            <a:spLocks/>
          </p:cNvSpPr>
          <p:nvPr/>
        </p:nvSpPr>
        <p:spPr bwMode="auto">
          <a:xfrm>
            <a:off x="1595380" y="4921902"/>
            <a:ext cx="276748" cy="175322"/>
          </a:xfrm>
          <a:custGeom>
            <a:avLst/>
            <a:gdLst/>
            <a:ahLst/>
            <a:cxnLst>
              <a:cxn ang="0">
                <a:pos x="114" y="0"/>
              </a:cxn>
              <a:cxn ang="0">
                <a:pos x="115" y="4"/>
              </a:cxn>
              <a:cxn ang="0">
                <a:pos x="121" y="6"/>
              </a:cxn>
              <a:cxn ang="0">
                <a:pos x="129" y="7"/>
              </a:cxn>
              <a:cxn ang="0">
                <a:pos x="156" y="21"/>
              </a:cxn>
              <a:cxn ang="0">
                <a:pos x="149" y="37"/>
              </a:cxn>
              <a:cxn ang="0">
                <a:pos x="150" y="45"/>
              </a:cxn>
              <a:cxn ang="0">
                <a:pos x="164" y="49"/>
              </a:cxn>
              <a:cxn ang="0">
                <a:pos x="177" y="58"/>
              </a:cxn>
              <a:cxn ang="0">
                <a:pos x="185" y="51"/>
              </a:cxn>
              <a:cxn ang="0">
                <a:pos x="191" y="57"/>
              </a:cxn>
              <a:cxn ang="0">
                <a:pos x="189" y="64"/>
              </a:cxn>
              <a:cxn ang="0">
                <a:pos x="189" y="77"/>
              </a:cxn>
              <a:cxn ang="0">
                <a:pos x="179" y="72"/>
              </a:cxn>
              <a:cxn ang="0">
                <a:pos x="171" y="81"/>
              </a:cxn>
              <a:cxn ang="0">
                <a:pos x="176" y="88"/>
              </a:cxn>
              <a:cxn ang="0">
                <a:pos x="173" y="96"/>
              </a:cxn>
              <a:cxn ang="0">
                <a:pos x="164" y="88"/>
              </a:cxn>
              <a:cxn ang="0">
                <a:pos x="150" y="92"/>
              </a:cxn>
              <a:cxn ang="0">
                <a:pos x="146" y="80"/>
              </a:cxn>
              <a:cxn ang="0">
                <a:pos x="143" y="80"/>
              </a:cxn>
              <a:cxn ang="0">
                <a:pos x="139" y="87"/>
              </a:cxn>
              <a:cxn ang="0">
                <a:pos x="136" y="100"/>
              </a:cxn>
              <a:cxn ang="0">
                <a:pos x="131" y="107"/>
              </a:cxn>
              <a:cxn ang="0">
                <a:pos x="129" y="113"/>
              </a:cxn>
              <a:cxn ang="0">
                <a:pos x="129" y="121"/>
              </a:cxn>
              <a:cxn ang="0">
                <a:pos x="124" y="114"/>
              </a:cxn>
              <a:cxn ang="0">
                <a:pos x="121" y="106"/>
              </a:cxn>
              <a:cxn ang="0">
                <a:pos x="115" y="105"/>
              </a:cxn>
              <a:cxn ang="0">
                <a:pos x="107" y="98"/>
              </a:cxn>
              <a:cxn ang="0">
                <a:pos x="99" y="84"/>
              </a:cxn>
              <a:cxn ang="0">
                <a:pos x="90" y="94"/>
              </a:cxn>
              <a:cxn ang="0">
                <a:pos x="89" y="105"/>
              </a:cxn>
              <a:cxn ang="0">
                <a:pos x="81" y="112"/>
              </a:cxn>
              <a:cxn ang="0">
                <a:pos x="71" y="112"/>
              </a:cxn>
              <a:cxn ang="0">
                <a:pos x="61" y="115"/>
              </a:cxn>
              <a:cxn ang="0">
                <a:pos x="44" y="113"/>
              </a:cxn>
              <a:cxn ang="0">
                <a:pos x="38" y="102"/>
              </a:cxn>
              <a:cxn ang="0">
                <a:pos x="33" y="89"/>
              </a:cxn>
              <a:cxn ang="0">
                <a:pos x="23" y="83"/>
              </a:cxn>
              <a:cxn ang="0">
                <a:pos x="12" y="90"/>
              </a:cxn>
              <a:cxn ang="0">
                <a:pos x="7" y="102"/>
              </a:cxn>
              <a:cxn ang="0">
                <a:pos x="1" y="99"/>
              </a:cxn>
              <a:cxn ang="0">
                <a:pos x="6" y="92"/>
              </a:cxn>
              <a:cxn ang="0">
                <a:pos x="5" y="84"/>
              </a:cxn>
              <a:cxn ang="0">
                <a:pos x="7" y="75"/>
              </a:cxn>
              <a:cxn ang="0">
                <a:pos x="20" y="64"/>
              </a:cxn>
              <a:cxn ang="0">
                <a:pos x="21" y="52"/>
              </a:cxn>
              <a:cxn ang="0">
                <a:pos x="33" y="43"/>
              </a:cxn>
              <a:cxn ang="0">
                <a:pos x="43" y="34"/>
              </a:cxn>
              <a:cxn ang="0">
                <a:pos x="44" y="26"/>
              </a:cxn>
              <a:cxn ang="0">
                <a:pos x="43" y="22"/>
              </a:cxn>
              <a:cxn ang="0">
                <a:pos x="45" y="18"/>
              </a:cxn>
              <a:cxn ang="0">
                <a:pos x="53" y="24"/>
              </a:cxn>
              <a:cxn ang="0">
                <a:pos x="64" y="18"/>
              </a:cxn>
              <a:cxn ang="0">
                <a:pos x="69" y="13"/>
              </a:cxn>
              <a:cxn ang="0">
                <a:pos x="76" y="15"/>
              </a:cxn>
              <a:cxn ang="0">
                <a:pos x="90" y="14"/>
              </a:cxn>
              <a:cxn ang="0">
                <a:pos x="99" y="10"/>
              </a:cxn>
              <a:cxn ang="0">
                <a:pos x="111" y="13"/>
              </a:cxn>
              <a:cxn ang="0">
                <a:pos x="105" y="9"/>
              </a:cxn>
              <a:cxn ang="0">
                <a:pos x="105" y="3"/>
              </a:cxn>
            </a:cxnLst>
            <a:rect l="0" t="0" r="r" b="b"/>
            <a:pathLst>
              <a:path w="191" h="121">
                <a:moveTo>
                  <a:pt x="110" y="0"/>
                </a:moveTo>
                <a:lnTo>
                  <a:pt x="112" y="0"/>
                </a:lnTo>
                <a:lnTo>
                  <a:pt x="112" y="2"/>
                </a:lnTo>
                <a:lnTo>
                  <a:pt x="113" y="2"/>
                </a:lnTo>
                <a:lnTo>
                  <a:pt x="113" y="0"/>
                </a:lnTo>
                <a:lnTo>
                  <a:pt x="114" y="0"/>
                </a:lnTo>
                <a:lnTo>
                  <a:pt x="114" y="1"/>
                </a:lnTo>
                <a:lnTo>
                  <a:pt x="115" y="1"/>
                </a:lnTo>
                <a:lnTo>
                  <a:pt x="115" y="2"/>
                </a:lnTo>
                <a:lnTo>
                  <a:pt x="117" y="2"/>
                </a:lnTo>
                <a:lnTo>
                  <a:pt x="117" y="3"/>
                </a:lnTo>
                <a:lnTo>
                  <a:pt x="115" y="4"/>
                </a:lnTo>
                <a:lnTo>
                  <a:pt x="117" y="4"/>
                </a:lnTo>
                <a:lnTo>
                  <a:pt x="117" y="6"/>
                </a:lnTo>
                <a:lnTo>
                  <a:pt x="119" y="6"/>
                </a:lnTo>
                <a:lnTo>
                  <a:pt x="119" y="4"/>
                </a:lnTo>
                <a:lnTo>
                  <a:pt x="120" y="4"/>
                </a:lnTo>
                <a:lnTo>
                  <a:pt x="121" y="6"/>
                </a:lnTo>
                <a:lnTo>
                  <a:pt x="123" y="6"/>
                </a:lnTo>
                <a:lnTo>
                  <a:pt x="121" y="7"/>
                </a:lnTo>
                <a:lnTo>
                  <a:pt x="123" y="7"/>
                </a:lnTo>
                <a:lnTo>
                  <a:pt x="124" y="8"/>
                </a:lnTo>
                <a:lnTo>
                  <a:pt x="127" y="8"/>
                </a:lnTo>
                <a:lnTo>
                  <a:pt x="129" y="7"/>
                </a:lnTo>
                <a:lnTo>
                  <a:pt x="130" y="7"/>
                </a:lnTo>
                <a:lnTo>
                  <a:pt x="135" y="8"/>
                </a:lnTo>
                <a:lnTo>
                  <a:pt x="138" y="8"/>
                </a:lnTo>
                <a:lnTo>
                  <a:pt x="141" y="9"/>
                </a:lnTo>
                <a:lnTo>
                  <a:pt x="151" y="16"/>
                </a:lnTo>
                <a:lnTo>
                  <a:pt x="156" y="21"/>
                </a:lnTo>
                <a:lnTo>
                  <a:pt x="156" y="25"/>
                </a:lnTo>
                <a:lnTo>
                  <a:pt x="154" y="27"/>
                </a:lnTo>
                <a:lnTo>
                  <a:pt x="154" y="28"/>
                </a:lnTo>
                <a:lnTo>
                  <a:pt x="151" y="33"/>
                </a:lnTo>
                <a:lnTo>
                  <a:pt x="150" y="34"/>
                </a:lnTo>
                <a:lnTo>
                  <a:pt x="149" y="37"/>
                </a:lnTo>
                <a:lnTo>
                  <a:pt x="149" y="39"/>
                </a:lnTo>
                <a:lnTo>
                  <a:pt x="150" y="40"/>
                </a:lnTo>
                <a:lnTo>
                  <a:pt x="150" y="44"/>
                </a:lnTo>
                <a:lnTo>
                  <a:pt x="149" y="44"/>
                </a:lnTo>
                <a:lnTo>
                  <a:pt x="149" y="45"/>
                </a:lnTo>
                <a:lnTo>
                  <a:pt x="150" y="45"/>
                </a:lnTo>
                <a:lnTo>
                  <a:pt x="152" y="46"/>
                </a:lnTo>
                <a:lnTo>
                  <a:pt x="154" y="45"/>
                </a:lnTo>
                <a:lnTo>
                  <a:pt x="154" y="46"/>
                </a:lnTo>
                <a:lnTo>
                  <a:pt x="156" y="45"/>
                </a:lnTo>
                <a:lnTo>
                  <a:pt x="157" y="46"/>
                </a:lnTo>
                <a:lnTo>
                  <a:pt x="164" y="49"/>
                </a:lnTo>
                <a:lnTo>
                  <a:pt x="166" y="49"/>
                </a:lnTo>
                <a:lnTo>
                  <a:pt x="166" y="53"/>
                </a:lnTo>
                <a:lnTo>
                  <a:pt x="167" y="55"/>
                </a:lnTo>
                <a:lnTo>
                  <a:pt x="171" y="56"/>
                </a:lnTo>
                <a:lnTo>
                  <a:pt x="174" y="58"/>
                </a:lnTo>
                <a:lnTo>
                  <a:pt x="177" y="58"/>
                </a:lnTo>
                <a:lnTo>
                  <a:pt x="180" y="57"/>
                </a:lnTo>
                <a:lnTo>
                  <a:pt x="180" y="55"/>
                </a:lnTo>
                <a:lnTo>
                  <a:pt x="181" y="53"/>
                </a:lnTo>
                <a:lnTo>
                  <a:pt x="183" y="53"/>
                </a:lnTo>
                <a:lnTo>
                  <a:pt x="183" y="52"/>
                </a:lnTo>
                <a:lnTo>
                  <a:pt x="185" y="51"/>
                </a:lnTo>
                <a:lnTo>
                  <a:pt x="185" y="50"/>
                </a:lnTo>
                <a:lnTo>
                  <a:pt x="187" y="50"/>
                </a:lnTo>
                <a:lnTo>
                  <a:pt x="191" y="53"/>
                </a:lnTo>
                <a:lnTo>
                  <a:pt x="191" y="55"/>
                </a:lnTo>
                <a:lnTo>
                  <a:pt x="189" y="56"/>
                </a:lnTo>
                <a:lnTo>
                  <a:pt x="191" y="57"/>
                </a:lnTo>
                <a:lnTo>
                  <a:pt x="189" y="59"/>
                </a:lnTo>
                <a:lnTo>
                  <a:pt x="189" y="61"/>
                </a:lnTo>
                <a:lnTo>
                  <a:pt x="188" y="62"/>
                </a:lnTo>
                <a:lnTo>
                  <a:pt x="188" y="63"/>
                </a:lnTo>
                <a:lnTo>
                  <a:pt x="189" y="63"/>
                </a:lnTo>
                <a:lnTo>
                  <a:pt x="189" y="64"/>
                </a:lnTo>
                <a:lnTo>
                  <a:pt x="187" y="66"/>
                </a:lnTo>
                <a:lnTo>
                  <a:pt x="187" y="71"/>
                </a:lnTo>
                <a:lnTo>
                  <a:pt x="189" y="71"/>
                </a:lnTo>
                <a:lnTo>
                  <a:pt x="191" y="72"/>
                </a:lnTo>
                <a:lnTo>
                  <a:pt x="191" y="76"/>
                </a:lnTo>
                <a:lnTo>
                  <a:pt x="189" y="77"/>
                </a:lnTo>
                <a:lnTo>
                  <a:pt x="183" y="77"/>
                </a:lnTo>
                <a:lnTo>
                  <a:pt x="183" y="76"/>
                </a:lnTo>
                <a:lnTo>
                  <a:pt x="182" y="76"/>
                </a:lnTo>
                <a:lnTo>
                  <a:pt x="181" y="75"/>
                </a:lnTo>
                <a:lnTo>
                  <a:pt x="181" y="72"/>
                </a:lnTo>
                <a:lnTo>
                  <a:pt x="179" y="72"/>
                </a:lnTo>
                <a:lnTo>
                  <a:pt x="175" y="74"/>
                </a:lnTo>
                <a:lnTo>
                  <a:pt x="174" y="74"/>
                </a:lnTo>
                <a:lnTo>
                  <a:pt x="174" y="76"/>
                </a:lnTo>
                <a:lnTo>
                  <a:pt x="173" y="77"/>
                </a:lnTo>
                <a:lnTo>
                  <a:pt x="173" y="80"/>
                </a:lnTo>
                <a:lnTo>
                  <a:pt x="171" y="81"/>
                </a:lnTo>
                <a:lnTo>
                  <a:pt x="173" y="81"/>
                </a:lnTo>
                <a:lnTo>
                  <a:pt x="173" y="82"/>
                </a:lnTo>
                <a:lnTo>
                  <a:pt x="171" y="83"/>
                </a:lnTo>
                <a:lnTo>
                  <a:pt x="173" y="84"/>
                </a:lnTo>
                <a:lnTo>
                  <a:pt x="176" y="84"/>
                </a:lnTo>
                <a:lnTo>
                  <a:pt x="176" y="88"/>
                </a:lnTo>
                <a:lnTo>
                  <a:pt x="175" y="88"/>
                </a:lnTo>
                <a:lnTo>
                  <a:pt x="175" y="92"/>
                </a:lnTo>
                <a:lnTo>
                  <a:pt x="177" y="93"/>
                </a:lnTo>
                <a:lnTo>
                  <a:pt x="177" y="95"/>
                </a:lnTo>
                <a:lnTo>
                  <a:pt x="176" y="96"/>
                </a:lnTo>
                <a:lnTo>
                  <a:pt x="173" y="96"/>
                </a:lnTo>
                <a:lnTo>
                  <a:pt x="173" y="94"/>
                </a:lnTo>
                <a:lnTo>
                  <a:pt x="170" y="93"/>
                </a:lnTo>
                <a:lnTo>
                  <a:pt x="169" y="90"/>
                </a:lnTo>
                <a:lnTo>
                  <a:pt x="169" y="89"/>
                </a:lnTo>
                <a:lnTo>
                  <a:pt x="168" y="88"/>
                </a:lnTo>
                <a:lnTo>
                  <a:pt x="164" y="88"/>
                </a:lnTo>
                <a:lnTo>
                  <a:pt x="162" y="89"/>
                </a:lnTo>
                <a:lnTo>
                  <a:pt x="158" y="89"/>
                </a:lnTo>
                <a:lnTo>
                  <a:pt x="158" y="93"/>
                </a:lnTo>
                <a:lnTo>
                  <a:pt x="152" y="93"/>
                </a:lnTo>
                <a:lnTo>
                  <a:pt x="151" y="92"/>
                </a:lnTo>
                <a:lnTo>
                  <a:pt x="150" y="92"/>
                </a:lnTo>
                <a:lnTo>
                  <a:pt x="150" y="90"/>
                </a:lnTo>
                <a:lnTo>
                  <a:pt x="149" y="89"/>
                </a:lnTo>
                <a:lnTo>
                  <a:pt x="149" y="88"/>
                </a:lnTo>
                <a:lnTo>
                  <a:pt x="148" y="88"/>
                </a:lnTo>
                <a:lnTo>
                  <a:pt x="148" y="81"/>
                </a:lnTo>
                <a:lnTo>
                  <a:pt x="146" y="80"/>
                </a:lnTo>
                <a:lnTo>
                  <a:pt x="146" y="81"/>
                </a:lnTo>
                <a:lnTo>
                  <a:pt x="145" y="81"/>
                </a:lnTo>
                <a:lnTo>
                  <a:pt x="145" y="82"/>
                </a:lnTo>
                <a:lnTo>
                  <a:pt x="144" y="82"/>
                </a:lnTo>
                <a:lnTo>
                  <a:pt x="143" y="81"/>
                </a:lnTo>
                <a:lnTo>
                  <a:pt x="143" y="80"/>
                </a:lnTo>
                <a:lnTo>
                  <a:pt x="141" y="80"/>
                </a:lnTo>
                <a:lnTo>
                  <a:pt x="139" y="81"/>
                </a:lnTo>
                <a:lnTo>
                  <a:pt x="139" y="82"/>
                </a:lnTo>
                <a:lnTo>
                  <a:pt x="138" y="83"/>
                </a:lnTo>
                <a:lnTo>
                  <a:pt x="139" y="84"/>
                </a:lnTo>
                <a:lnTo>
                  <a:pt x="139" y="87"/>
                </a:lnTo>
                <a:lnTo>
                  <a:pt x="141" y="89"/>
                </a:lnTo>
                <a:lnTo>
                  <a:pt x="141" y="92"/>
                </a:lnTo>
                <a:lnTo>
                  <a:pt x="138" y="96"/>
                </a:lnTo>
                <a:lnTo>
                  <a:pt x="137" y="98"/>
                </a:lnTo>
                <a:lnTo>
                  <a:pt x="136" y="98"/>
                </a:lnTo>
                <a:lnTo>
                  <a:pt x="136" y="100"/>
                </a:lnTo>
                <a:lnTo>
                  <a:pt x="132" y="102"/>
                </a:lnTo>
                <a:lnTo>
                  <a:pt x="132" y="104"/>
                </a:lnTo>
                <a:lnTo>
                  <a:pt x="131" y="104"/>
                </a:lnTo>
                <a:lnTo>
                  <a:pt x="132" y="105"/>
                </a:lnTo>
                <a:lnTo>
                  <a:pt x="131" y="106"/>
                </a:lnTo>
                <a:lnTo>
                  <a:pt x="131" y="107"/>
                </a:lnTo>
                <a:lnTo>
                  <a:pt x="130" y="107"/>
                </a:lnTo>
                <a:lnTo>
                  <a:pt x="129" y="108"/>
                </a:lnTo>
                <a:lnTo>
                  <a:pt x="130" y="111"/>
                </a:lnTo>
                <a:lnTo>
                  <a:pt x="127" y="112"/>
                </a:lnTo>
                <a:lnTo>
                  <a:pt x="127" y="113"/>
                </a:lnTo>
                <a:lnTo>
                  <a:pt x="129" y="113"/>
                </a:lnTo>
                <a:lnTo>
                  <a:pt x="129" y="114"/>
                </a:lnTo>
                <a:lnTo>
                  <a:pt x="130" y="115"/>
                </a:lnTo>
                <a:lnTo>
                  <a:pt x="131" y="115"/>
                </a:lnTo>
                <a:lnTo>
                  <a:pt x="131" y="118"/>
                </a:lnTo>
                <a:lnTo>
                  <a:pt x="130" y="119"/>
                </a:lnTo>
                <a:lnTo>
                  <a:pt x="129" y="121"/>
                </a:lnTo>
                <a:lnTo>
                  <a:pt x="127" y="121"/>
                </a:lnTo>
                <a:lnTo>
                  <a:pt x="126" y="120"/>
                </a:lnTo>
                <a:lnTo>
                  <a:pt x="125" y="120"/>
                </a:lnTo>
                <a:lnTo>
                  <a:pt x="125" y="117"/>
                </a:lnTo>
                <a:lnTo>
                  <a:pt x="124" y="115"/>
                </a:lnTo>
                <a:lnTo>
                  <a:pt x="124" y="114"/>
                </a:lnTo>
                <a:lnTo>
                  <a:pt x="123" y="113"/>
                </a:lnTo>
                <a:lnTo>
                  <a:pt x="120" y="112"/>
                </a:lnTo>
                <a:lnTo>
                  <a:pt x="119" y="112"/>
                </a:lnTo>
                <a:lnTo>
                  <a:pt x="119" y="111"/>
                </a:lnTo>
                <a:lnTo>
                  <a:pt x="121" y="108"/>
                </a:lnTo>
                <a:lnTo>
                  <a:pt x="121" y="106"/>
                </a:lnTo>
                <a:lnTo>
                  <a:pt x="120" y="105"/>
                </a:lnTo>
                <a:lnTo>
                  <a:pt x="118" y="105"/>
                </a:lnTo>
                <a:lnTo>
                  <a:pt x="118" y="104"/>
                </a:lnTo>
                <a:lnTo>
                  <a:pt x="117" y="104"/>
                </a:lnTo>
                <a:lnTo>
                  <a:pt x="117" y="105"/>
                </a:lnTo>
                <a:lnTo>
                  <a:pt x="115" y="105"/>
                </a:lnTo>
                <a:lnTo>
                  <a:pt x="113" y="104"/>
                </a:lnTo>
                <a:lnTo>
                  <a:pt x="112" y="104"/>
                </a:lnTo>
                <a:lnTo>
                  <a:pt x="112" y="102"/>
                </a:lnTo>
                <a:lnTo>
                  <a:pt x="110" y="99"/>
                </a:lnTo>
                <a:lnTo>
                  <a:pt x="108" y="98"/>
                </a:lnTo>
                <a:lnTo>
                  <a:pt x="107" y="98"/>
                </a:lnTo>
                <a:lnTo>
                  <a:pt x="106" y="96"/>
                </a:lnTo>
                <a:lnTo>
                  <a:pt x="105" y="96"/>
                </a:lnTo>
                <a:lnTo>
                  <a:pt x="105" y="83"/>
                </a:lnTo>
                <a:lnTo>
                  <a:pt x="101" y="83"/>
                </a:lnTo>
                <a:lnTo>
                  <a:pt x="100" y="84"/>
                </a:lnTo>
                <a:lnTo>
                  <a:pt x="99" y="84"/>
                </a:lnTo>
                <a:lnTo>
                  <a:pt x="99" y="88"/>
                </a:lnTo>
                <a:lnTo>
                  <a:pt x="98" y="88"/>
                </a:lnTo>
                <a:lnTo>
                  <a:pt x="94" y="92"/>
                </a:lnTo>
                <a:lnTo>
                  <a:pt x="92" y="93"/>
                </a:lnTo>
                <a:lnTo>
                  <a:pt x="90" y="93"/>
                </a:lnTo>
                <a:lnTo>
                  <a:pt x="90" y="94"/>
                </a:lnTo>
                <a:lnTo>
                  <a:pt x="89" y="94"/>
                </a:lnTo>
                <a:lnTo>
                  <a:pt x="89" y="95"/>
                </a:lnTo>
                <a:lnTo>
                  <a:pt x="90" y="96"/>
                </a:lnTo>
                <a:lnTo>
                  <a:pt x="92" y="99"/>
                </a:lnTo>
                <a:lnTo>
                  <a:pt x="92" y="102"/>
                </a:lnTo>
                <a:lnTo>
                  <a:pt x="89" y="105"/>
                </a:lnTo>
                <a:lnTo>
                  <a:pt x="88" y="105"/>
                </a:lnTo>
                <a:lnTo>
                  <a:pt x="87" y="106"/>
                </a:lnTo>
                <a:lnTo>
                  <a:pt x="87" y="109"/>
                </a:lnTo>
                <a:lnTo>
                  <a:pt x="86" y="111"/>
                </a:lnTo>
                <a:lnTo>
                  <a:pt x="82" y="112"/>
                </a:lnTo>
                <a:lnTo>
                  <a:pt x="81" y="112"/>
                </a:lnTo>
                <a:lnTo>
                  <a:pt x="80" y="114"/>
                </a:lnTo>
                <a:lnTo>
                  <a:pt x="80" y="115"/>
                </a:lnTo>
                <a:lnTo>
                  <a:pt x="77" y="115"/>
                </a:lnTo>
                <a:lnTo>
                  <a:pt x="75" y="114"/>
                </a:lnTo>
                <a:lnTo>
                  <a:pt x="74" y="114"/>
                </a:lnTo>
                <a:lnTo>
                  <a:pt x="71" y="112"/>
                </a:lnTo>
                <a:lnTo>
                  <a:pt x="67" y="111"/>
                </a:lnTo>
                <a:lnTo>
                  <a:pt x="67" y="112"/>
                </a:lnTo>
                <a:lnTo>
                  <a:pt x="65" y="112"/>
                </a:lnTo>
                <a:lnTo>
                  <a:pt x="65" y="113"/>
                </a:lnTo>
                <a:lnTo>
                  <a:pt x="63" y="113"/>
                </a:lnTo>
                <a:lnTo>
                  <a:pt x="61" y="115"/>
                </a:lnTo>
                <a:lnTo>
                  <a:pt x="56" y="115"/>
                </a:lnTo>
                <a:lnTo>
                  <a:pt x="55" y="117"/>
                </a:lnTo>
                <a:lnTo>
                  <a:pt x="52" y="118"/>
                </a:lnTo>
                <a:lnTo>
                  <a:pt x="48" y="118"/>
                </a:lnTo>
                <a:lnTo>
                  <a:pt x="48" y="117"/>
                </a:lnTo>
                <a:lnTo>
                  <a:pt x="44" y="113"/>
                </a:lnTo>
                <a:lnTo>
                  <a:pt x="44" y="111"/>
                </a:lnTo>
                <a:lnTo>
                  <a:pt x="40" y="107"/>
                </a:lnTo>
                <a:lnTo>
                  <a:pt x="38" y="107"/>
                </a:lnTo>
                <a:lnTo>
                  <a:pt x="38" y="105"/>
                </a:lnTo>
                <a:lnTo>
                  <a:pt x="39" y="104"/>
                </a:lnTo>
                <a:lnTo>
                  <a:pt x="38" y="102"/>
                </a:lnTo>
                <a:lnTo>
                  <a:pt x="34" y="102"/>
                </a:lnTo>
                <a:lnTo>
                  <a:pt x="34" y="99"/>
                </a:lnTo>
                <a:lnTo>
                  <a:pt x="37" y="94"/>
                </a:lnTo>
                <a:lnTo>
                  <a:pt x="36" y="93"/>
                </a:lnTo>
                <a:lnTo>
                  <a:pt x="34" y="90"/>
                </a:lnTo>
                <a:lnTo>
                  <a:pt x="33" y="89"/>
                </a:lnTo>
                <a:lnTo>
                  <a:pt x="36" y="87"/>
                </a:lnTo>
                <a:lnTo>
                  <a:pt x="36" y="86"/>
                </a:lnTo>
                <a:lnTo>
                  <a:pt x="34" y="84"/>
                </a:lnTo>
                <a:lnTo>
                  <a:pt x="28" y="82"/>
                </a:lnTo>
                <a:lnTo>
                  <a:pt x="25" y="82"/>
                </a:lnTo>
                <a:lnTo>
                  <a:pt x="23" y="83"/>
                </a:lnTo>
                <a:lnTo>
                  <a:pt x="19" y="86"/>
                </a:lnTo>
                <a:lnTo>
                  <a:pt x="17" y="86"/>
                </a:lnTo>
                <a:lnTo>
                  <a:pt x="15" y="87"/>
                </a:lnTo>
                <a:lnTo>
                  <a:pt x="13" y="88"/>
                </a:lnTo>
                <a:lnTo>
                  <a:pt x="12" y="89"/>
                </a:lnTo>
                <a:lnTo>
                  <a:pt x="12" y="90"/>
                </a:lnTo>
                <a:lnTo>
                  <a:pt x="11" y="92"/>
                </a:lnTo>
                <a:lnTo>
                  <a:pt x="12" y="92"/>
                </a:lnTo>
                <a:lnTo>
                  <a:pt x="12" y="94"/>
                </a:lnTo>
                <a:lnTo>
                  <a:pt x="14" y="94"/>
                </a:lnTo>
                <a:lnTo>
                  <a:pt x="14" y="95"/>
                </a:lnTo>
                <a:lnTo>
                  <a:pt x="7" y="102"/>
                </a:lnTo>
                <a:lnTo>
                  <a:pt x="5" y="101"/>
                </a:lnTo>
                <a:lnTo>
                  <a:pt x="3" y="101"/>
                </a:lnTo>
                <a:lnTo>
                  <a:pt x="1" y="102"/>
                </a:lnTo>
                <a:lnTo>
                  <a:pt x="0" y="102"/>
                </a:lnTo>
                <a:lnTo>
                  <a:pt x="1" y="101"/>
                </a:lnTo>
                <a:lnTo>
                  <a:pt x="1" y="99"/>
                </a:lnTo>
                <a:lnTo>
                  <a:pt x="0" y="99"/>
                </a:lnTo>
                <a:lnTo>
                  <a:pt x="0" y="98"/>
                </a:lnTo>
                <a:lnTo>
                  <a:pt x="1" y="96"/>
                </a:lnTo>
                <a:lnTo>
                  <a:pt x="3" y="95"/>
                </a:lnTo>
                <a:lnTo>
                  <a:pt x="6" y="95"/>
                </a:lnTo>
                <a:lnTo>
                  <a:pt x="6" y="92"/>
                </a:lnTo>
                <a:lnTo>
                  <a:pt x="7" y="92"/>
                </a:lnTo>
                <a:lnTo>
                  <a:pt x="7" y="90"/>
                </a:lnTo>
                <a:lnTo>
                  <a:pt x="8" y="88"/>
                </a:lnTo>
                <a:lnTo>
                  <a:pt x="7" y="87"/>
                </a:lnTo>
                <a:lnTo>
                  <a:pt x="7" y="86"/>
                </a:lnTo>
                <a:lnTo>
                  <a:pt x="5" y="84"/>
                </a:lnTo>
                <a:lnTo>
                  <a:pt x="5" y="82"/>
                </a:lnTo>
                <a:lnTo>
                  <a:pt x="6" y="81"/>
                </a:lnTo>
                <a:lnTo>
                  <a:pt x="7" y="78"/>
                </a:lnTo>
                <a:lnTo>
                  <a:pt x="8" y="77"/>
                </a:lnTo>
                <a:lnTo>
                  <a:pt x="7" y="76"/>
                </a:lnTo>
                <a:lnTo>
                  <a:pt x="7" y="75"/>
                </a:lnTo>
                <a:lnTo>
                  <a:pt x="13" y="69"/>
                </a:lnTo>
                <a:lnTo>
                  <a:pt x="17" y="68"/>
                </a:lnTo>
                <a:lnTo>
                  <a:pt x="17" y="66"/>
                </a:lnTo>
                <a:lnTo>
                  <a:pt x="18" y="65"/>
                </a:lnTo>
                <a:lnTo>
                  <a:pt x="19" y="65"/>
                </a:lnTo>
                <a:lnTo>
                  <a:pt x="20" y="64"/>
                </a:lnTo>
                <a:lnTo>
                  <a:pt x="20" y="58"/>
                </a:lnTo>
                <a:lnTo>
                  <a:pt x="21" y="58"/>
                </a:lnTo>
                <a:lnTo>
                  <a:pt x="21" y="56"/>
                </a:lnTo>
                <a:lnTo>
                  <a:pt x="20" y="56"/>
                </a:lnTo>
                <a:lnTo>
                  <a:pt x="20" y="55"/>
                </a:lnTo>
                <a:lnTo>
                  <a:pt x="21" y="52"/>
                </a:lnTo>
                <a:lnTo>
                  <a:pt x="23" y="51"/>
                </a:lnTo>
                <a:lnTo>
                  <a:pt x="27" y="50"/>
                </a:lnTo>
                <a:lnTo>
                  <a:pt x="31" y="46"/>
                </a:lnTo>
                <a:lnTo>
                  <a:pt x="31" y="44"/>
                </a:lnTo>
                <a:lnTo>
                  <a:pt x="32" y="44"/>
                </a:lnTo>
                <a:lnTo>
                  <a:pt x="33" y="43"/>
                </a:lnTo>
                <a:lnTo>
                  <a:pt x="33" y="41"/>
                </a:lnTo>
                <a:lnTo>
                  <a:pt x="34" y="41"/>
                </a:lnTo>
                <a:lnTo>
                  <a:pt x="38" y="39"/>
                </a:lnTo>
                <a:lnTo>
                  <a:pt x="38" y="38"/>
                </a:lnTo>
                <a:lnTo>
                  <a:pt x="39" y="35"/>
                </a:lnTo>
                <a:lnTo>
                  <a:pt x="43" y="34"/>
                </a:lnTo>
                <a:lnTo>
                  <a:pt x="43" y="31"/>
                </a:lnTo>
                <a:lnTo>
                  <a:pt x="44" y="31"/>
                </a:lnTo>
                <a:lnTo>
                  <a:pt x="44" y="29"/>
                </a:lnTo>
                <a:lnTo>
                  <a:pt x="45" y="29"/>
                </a:lnTo>
                <a:lnTo>
                  <a:pt x="46" y="28"/>
                </a:lnTo>
                <a:lnTo>
                  <a:pt x="44" y="26"/>
                </a:lnTo>
                <a:lnTo>
                  <a:pt x="44" y="27"/>
                </a:lnTo>
                <a:lnTo>
                  <a:pt x="39" y="27"/>
                </a:lnTo>
                <a:lnTo>
                  <a:pt x="39" y="26"/>
                </a:lnTo>
                <a:lnTo>
                  <a:pt x="42" y="24"/>
                </a:lnTo>
                <a:lnTo>
                  <a:pt x="42" y="22"/>
                </a:lnTo>
                <a:lnTo>
                  <a:pt x="43" y="22"/>
                </a:lnTo>
                <a:lnTo>
                  <a:pt x="44" y="21"/>
                </a:lnTo>
                <a:lnTo>
                  <a:pt x="44" y="20"/>
                </a:lnTo>
                <a:lnTo>
                  <a:pt x="43" y="20"/>
                </a:lnTo>
                <a:lnTo>
                  <a:pt x="43" y="19"/>
                </a:lnTo>
                <a:lnTo>
                  <a:pt x="44" y="19"/>
                </a:lnTo>
                <a:lnTo>
                  <a:pt x="45" y="18"/>
                </a:lnTo>
                <a:lnTo>
                  <a:pt x="45" y="19"/>
                </a:lnTo>
                <a:lnTo>
                  <a:pt x="52" y="19"/>
                </a:lnTo>
                <a:lnTo>
                  <a:pt x="51" y="21"/>
                </a:lnTo>
                <a:lnTo>
                  <a:pt x="52" y="22"/>
                </a:lnTo>
                <a:lnTo>
                  <a:pt x="53" y="22"/>
                </a:lnTo>
                <a:lnTo>
                  <a:pt x="53" y="24"/>
                </a:lnTo>
                <a:lnTo>
                  <a:pt x="55" y="24"/>
                </a:lnTo>
                <a:lnTo>
                  <a:pt x="56" y="22"/>
                </a:lnTo>
                <a:lnTo>
                  <a:pt x="62" y="22"/>
                </a:lnTo>
                <a:lnTo>
                  <a:pt x="62" y="19"/>
                </a:lnTo>
                <a:lnTo>
                  <a:pt x="64" y="19"/>
                </a:lnTo>
                <a:lnTo>
                  <a:pt x="64" y="18"/>
                </a:lnTo>
                <a:lnTo>
                  <a:pt x="65" y="18"/>
                </a:lnTo>
                <a:lnTo>
                  <a:pt x="65" y="16"/>
                </a:lnTo>
                <a:lnTo>
                  <a:pt x="64" y="15"/>
                </a:lnTo>
                <a:lnTo>
                  <a:pt x="67" y="14"/>
                </a:lnTo>
                <a:lnTo>
                  <a:pt x="68" y="13"/>
                </a:lnTo>
                <a:lnTo>
                  <a:pt x="69" y="13"/>
                </a:lnTo>
                <a:lnTo>
                  <a:pt x="71" y="12"/>
                </a:lnTo>
                <a:lnTo>
                  <a:pt x="73" y="12"/>
                </a:lnTo>
                <a:lnTo>
                  <a:pt x="71" y="14"/>
                </a:lnTo>
                <a:lnTo>
                  <a:pt x="70" y="14"/>
                </a:lnTo>
                <a:lnTo>
                  <a:pt x="71" y="15"/>
                </a:lnTo>
                <a:lnTo>
                  <a:pt x="76" y="15"/>
                </a:lnTo>
                <a:lnTo>
                  <a:pt x="79" y="13"/>
                </a:lnTo>
                <a:lnTo>
                  <a:pt x="79" y="12"/>
                </a:lnTo>
                <a:lnTo>
                  <a:pt x="80" y="13"/>
                </a:lnTo>
                <a:lnTo>
                  <a:pt x="82" y="13"/>
                </a:lnTo>
                <a:lnTo>
                  <a:pt x="82" y="14"/>
                </a:lnTo>
                <a:lnTo>
                  <a:pt x="90" y="14"/>
                </a:lnTo>
                <a:lnTo>
                  <a:pt x="90" y="13"/>
                </a:lnTo>
                <a:lnTo>
                  <a:pt x="92" y="13"/>
                </a:lnTo>
                <a:lnTo>
                  <a:pt x="93" y="12"/>
                </a:lnTo>
                <a:lnTo>
                  <a:pt x="94" y="12"/>
                </a:lnTo>
                <a:lnTo>
                  <a:pt x="94" y="10"/>
                </a:lnTo>
                <a:lnTo>
                  <a:pt x="99" y="10"/>
                </a:lnTo>
                <a:lnTo>
                  <a:pt x="99" y="13"/>
                </a:lnTo>
                <a:lnTo>
                  <a:pt x="106" y="13"/>
                </a:lnTo>
                <a:lnTo>
                  <a:pt x="106" y="12"/>
                </a:lnTo>
                <a:lnTo>
                  <a:pt x="107" y="10"/>
                </a:lnTo>
                <a:lnTo>
                  <a:pt x="108" y="10"/>
                </a:lnTo>
                <a:lnTo>
                  <a:pt x="111" y="13"/>
                </a:lnTo>
                <a:lnTo>
                  <a:pt x="111" y="9"/>
                </a:lnTo>
                <a:lnTo>
                  <a:pt x="112" y="9"/>
                </a:lnTo>
                <a:lnTo>
                  <a:pt x="112" y="8"/>
                </a:lnTo>
                <a:lnTo>
                  <a:pt x="108" y="8"/>
                </a:lnTo>
                <a:lnTo>
                  <a:pt x="107" y="9"/>
                </a:lnTo>
                <a:lnTo>
                  <a:pt x="105" y="9"/>
                </a:lnTo>
                <a:lnTo>
                  <a:pt x="104" y="8"/>
                </a:lnTo>
                <a:lnTo>
                  <a:pt x="104" y="7"/>
                </a:lnTo>
                <a:lnTo>
                  <a:pt x="102" y="6"/>
                </a:lnTo>
                <a:lnTo>
                  <a:pt x="104" y="6"/>
                </a:lnTo>
                <a:lnTo>
                  <a:pt x="105" y="4"/>
                </a:lnTo>
                <a:lnTo>
                  <a:pt x="105" y="3"/>
                </a:lnTo>
                <a:lnTo>
                  <a:pt x="106" y="2"/>
                </a:lnTo>
                <a:lnTo>
                  <a:pt x="106" y="1"/>
                </a:lnTo>
                <a:lnTo>
                  <a:pt x="110" y="1"/>
                </a:lnTo>
                <a:lnTo>
                  <a:pt x="11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0" name="Freeform 12">
            <a:extLst>
              <a:ext uri="{FF2B5EF4-FFF2-40B4-BE49-F238E27FC236}">
                <a16:creationId xmlns:a16="http://schemas.microsoft.com/office/drawing/2014/main" id="{962BD012-8788-4375-B040-238930284699}"/>
              </a:ext>
            </a:extLst>
          </p:cNvPr>
          <p:cNvSpPr>
            <a:spLocks noEditPoints="1"/>
          </p:cNvSpPr>
          <p:nvPr/>
        </p:nvSpPr>
        <p:spPr bwMode="auto">
          <a:xfrm>
            <a:off x="1911249" y="2344238"/>
            <a:ext cx="798366" cy="1832910"/>
          </a:xfrm>
          <a:custGeom>
            <a:avLst/>
            <a:gdLst/>
            <a:ahLst/>
            <a:cxnLst>
              <a:cxn ang="0">
                <a:pos x="240" y="1154"/>
              </a:cxn>
              <a:cxn ang="0">
                <a:pos x="319" y="1067"/>
              </a:cxn>
              <a:cxn ang="0">
                <a:pos x="329" y="1106"/>
              </a:cxn>
              <a:cxn ang="0">
                <a:pos x="298" y="1128"/>
              </a:cxn>
              <a:cxn ang="0">
                <a:pos x="336" y="1063"/>
              </a:cxn>
              <a:cxn ang="0">
                <a:pos x="346" y="1031"/>
              </a:cxn>
              <a:cxn ang="0">
                <a:pos x="299" y="980"/>
              </a:cxn>
              <a:cxn ang="0">
                <a:pos x="323" y="958"/>
              </a:cxn>
              <a:cxn ang="0">
                <a:pos x="330" y="947"/>
              </a:cxn>
              <a:cxn ang="0">
                <a:pos x="329" y="932"/>
              </a:cxn>
              <a:cxn ang="0">
                <a:pos x="256" y="772"/>
              </a:cxn>
              <a:cxn ang="0">
                <a:pos x="412" y="559"/>
              </a:cxn>
              <a:cxn ang="0">
                <a:pos x="474" y="387"/>
              </a:cxn>
              <a:cxn ang="0">
                <a:pos x="534" y="367"/>
              </a:cxn>
              <a:cxn ang="0">
                <a:pos x="458" y="59"/>
              </a:cxn>
              <a:cxn ang="0">
                <a:pos x="523" y="133"/>
              </a:cxn>
              <a:cxn ang="0">
                <a:pos x="541" y="253"/>
              </a:cxn>
              <a:cxn ang="0">
                <a:pos x="546" y="357"/>
              </a:cxn>
              <a:cxn ang="0">
                <a:pos x="503" y="361"/>
              </a:cxn>
              <a:cxn ang="0">
                <a:pos x="468" y="363"/>
              </a:cxn>
              <a:cxn ang="0">
                <a:pos x="456" y="372"/>
              </a:cxn>
              <a:cxn ang="0">
                <a:pos x="437" y="400"/>
              </a:cxn>
              <a:cxn ang="0">
                <a:pos x="439" y="436"/>
              </a:cxn>
              <a:cxn ang="0">
                <a:pos x="424" y="467"/>
              </a:cxn>
              <a:cxn ang="0">
                <a:pos x="442" y="490"/>
              </a:cxn>
              <a:cxn ang="0">
                <a:pos x="402" y="554"/>
              </a:cxn>
              <a:cxn ang="0">
                <a:pos x="358" y="584"/>
              </a:cxn>
              <a:cxn ang="0">
                <a:pos x="337" y="611"/>
              </a:cxn>
              <a:cxn ang="0">
                <a:pos x="317" y="620"/>
              </a:cxn>
              <a:cxn ang="0">
                <a:pos x="299" y="643"/>
              </a:cxn>
              <a:cxn ang="0">
                <a:pos x="288" y="650"/>
              </a:cxn>
              <a:cxn ang="0">
                <a:pos x="262" y="680"/>
              </a:cxn>
              <a:cxn ang="0">
                <a:pos x="262" y="736"/>
              </a:cxn>
              <a:cxn ang="0">
                <a:pos x="257" y="757"/>
              </a:cxn>
              <a:cxn ang="0">
                <a:pos x="256" y="791"/>
              </a:cxn>
              <a:cxn ang="0">
                <a:pos x="263" y="841"/>
              </a:cxn>
              <a:cxn ang="0">
                <a:pos x="307" y="874"/>
              </a:cxn>
              <a:cxn ang="0">
                <a:pos x="329" y="903"/>
              </a:cxn>
              <a:cxn ang="0">
                <a:pos x="302" y="941"/>
              </a:cxn>
              <a:cxn ang="0">
                <a:pos x="316" y="950"/>
              </a:cxn>
              <a:cxn ang="0">
                <a:pos x="302" y="970"/>
              </a:cxn>
              <a:cxn ang="0">
                <a:pos x="274" y="977"/>
              </a:cxn>
              <a:cxn ang="0">
                <a:pos x="251" y="1001"/>
              </a:cxn>
              <a:cxn ang="0">
                <a:pos x="241" y="1017"/>
              </a:cxn>
              <a:cxn ang="0">
                <a:pos x="241" y="1043"/>
              </a:cxn>
              <a:cxn ang="0">
                <a:pos x="236" y="1069"/>
              </a:cxn>
              <a:cxn ang="0">
                <a:pos x="230" y="1093"/>
              </a:cxn>
              <a:cxn ang="0">
                <a:pos x="226" y="1136"/>
              </a:cxn>
              <a:cxn ang="0">
                <a:pos x="198" y="1203"/>
              </a:cxn>
              <a:cxn ang="0">
                <a:pos x="154" y="1203"/>
              </a:cxn>
              <a:cxn ang="0">
                <a:pos x="123" y="1261"/>
              </a:cxn>
              <a:cxn ang="0">
                <a:pos x="75" y="1227"/>
              </a:cxn>
              <a:cxn ang="0">
                <a:pos x="66" y="1164"/>
              </a:cxn>
              <a:cxn ang="0">
                <a:pos x="40" y="1113"/>
              </a:cxn>
              <a:cxn ang="0">
                <a:pos x="24" y="1073"/>
              </a:cxn>
              <a:cxn ang="0">
                <a:pos x="29" y="1037"/>
              </a:cxn>
              <a:cxn ang="0">
                <a:pos x="12" y="1030"/>
              </a:cxn>
              <a:cxn ang="0">
                <a:pos x="0" y="984"/>
              </a:cxn>
              <a:cxn ang="0">
                <a:pos x="43" y="906"/>
              </a:cxn>
              <a:cxn ang="0">
                <a:pos x="50" y="697"/>
              </a:cxn>
              <a:cxn ang="0">
                <a:pos x="143" y="406"/>
              </a:cxn>
              <a:cxn ang="0">
                <a:pos x="296" y="72"/>
              </a:cxn>
            </a:cxnLst>
            <a:rect l="0" t="0" r="r" b="b"/>
            <a:pathLst>
              <a:path w="551" h="1265">
                <a:moveTo>
                  <a:pt x="192" y="1207"/>
                </a:moveTo>
                <a:lnTo>
                  <a:pt x="194" y="1207"/>
                </a:lnTo>
                <a:lnTo>
                  <a:pt x="194" y="1208"/>
                </a:lnTo>
                <a:lnTo>
                  <a:pt x="193" y="1208"/>
                </a:lnTo>
                <a:lnTo>
                  <a:pt x="193" y="1210"/>
                </a:lnTo>
                <a:lnTo>
                  <a:pt x="191" y="1209"/>
                </a:lnTo>
                <a:lnTo>
                  <a:pt x="191" y="1208"/>
                </a:lnTo>
                <a:lnTo>
                  <a:pt x="192" y="1207"/>
                </a:lnTo>
                <a:close/>
                <a:moveTo>
                  <a:pt x="225" y="1155"/>
                </a:moveTo>
                <a:lnTo>
                  <a:pt x="226" y="1155"/>
                </a:lnTo>
                <a:lnTo>
                  <a:pt x="226" y="1156"/>
                </a:lnTo>
                <a:lnTo>
                  <a:pt x="225" y="1158"/>
                </a:lnTo>
                <a:lnTo>
                  <a:pt x="224" y="1156"/>
                </a:lnTo>
                <a:lnTo>
                  <a:pt x="225" y="1155"/>
                </a:lnTo>
                <a:close/>
                <a:moveTo>
                  <a:pt x="250" y="1111"/>
                </a:moveTo>
                <a:lnTo>
                  <a:pt x="251" y="1111"/>
                </a:lnTo>
                <a:lnTo>
                  <a:pt x="251" y="1112"/>
                </a:lnTo>
                <a:lnTo>
                  <a:pt x="253" y="1112"/>
                </a:lnTo>
                <a:lnTo>
                  <a:pt x="253" y="1113"/>
                </a:lnTo>
                <a:lnTo>
                  <a:pt x="254" y="1115"/>
                </a:lnTo>
                <a:lnTo>
                  <a:pt x="253" y="1115"/>
                </a:lnTo>
                <a:lnTo>
                  <a:pt x="251" y="1116"/>
                </a:lnTo>
                <a:lnTo>
                  <a:pt x="250" y="1118"/>
                </a:lnTo>
                <a:lnTo>
                  <a:pt x="251" y="1121"/>
                </a:lnTo>
                <a:lnTo>
                  <a:pt x="251" y="1122"/>
                </a:lnTo>
                <a:lnTo>
                  <a:pt x="250" y="1124"/>
                </a:lnTo>
                <a:lnTo>
                  <a:pt x="250" y="1125"/>
                </a:lnTo>
                <a:lnTo>
                  <a:pt x="249" y="1125"/>
                </a:lnTo>
                <a:lnTo>
                  <a:pt x="249" y="1128"/>
                </a:lnTo>
                <a:lnTo>
                  <a:pt x="247" y="1131"/>
                </a:lnTo>
                <a:lnTo>
                  <a:pt x="247" y="1135"/>
                </a:lnTo>
                <a:lnTo>
                  <a:pt x="245" y="1135"/>
                </a:lnTo>
                <a:lnTo>
                  <a:pt x="244" y="1136"/>
                </a:lnTo>
                <a:lnTo>
                  <a:pt x="244" y="1137"/>
                </a:lnTo>
                <a:lnTo>
                  <a:pt x="245" y="1137"/>
                </a:lnTo>
                <a:lnTo>
                  <a:pt x="245" y="1138"/>
                </a:lnTo>
                <a:lnTo>
                  <a:pt x="244" y="1138"/>
                </a:lnTo>
                <a:lnTo>
                  <a:pt x="244" y="1140"/>
                </a:lnTo>
                <a:lnTo>
                  <a:pt x="243" y="1142"/>
                </a:lnTo>
                <a:lnTo>
                  <a:pt x="243" y="1147"/>
                </a:lnTo>
                <a:lnTo>
                  <a:pt x="242" y="1147"/>
                </a:lnTo>
                <a:lnTo>
                  <a:pt x="242" y="1152"/>
                </a:lnTo>
                <a:lnTo>
                  <a:pt x="240" y="1154"/>
                </a:lnTo>
                <a:lnTo>
                  <a:pt x="238" y="1154"/>
                </a:lnTo>
                <a:lnTo>
                  <a:pt x="238" y="1159"/>
                </a:lnTo>
                <a:lnTo>
                  <a:pt x="236" y="1167"/>
                </a:lnTo>
                <a:lnTo>
                  <a:pt x="235" y="1168"/>
                </a:lnTo>
                <a:lnTo>
                  <a:pt x="235" y="1172"/>
                </a:lnTo>
                <a:lnTo>
                  <a:pt x="234" y="1172"/>
                </a:lnTo>
                <a:lnTo>
                  <a:pt x="234" y="1173"/>
                </a:lnTo>
                <a:lnTo>
                  <a:pt x="232" y="1173"/>
                </a:lnTo>
                <a:lnTo>
                  <a:pt x="232" y="1180"/>
                </a:lnTo>
                <a:lnTo>
                  <a:pt x="231" y="1181"/>
                </a:lnTo>
                <a:lnTo>
                  <a:pt x="231" y="1184"/>
                </a:lnTo>
                <a:lnTo>
                  <a:pt x="230" y="1185"/>
                </a:lnTo>
                <a:lnTo>
                  <a:pt x="230" y="1190"/>
                </a:lnTo>
                <a:lnTo>
                  <a:pt x="229" y="1191"/>
                </a:lnTo>
                <a:lnTo>
                  <a:pt x="229" y="1192"/>
                </a:lnTo>
                <a:lnTo>
                  <a:pt x="226" y="1198"/>
                </a:lnTo>
                <a:lnTo>
                  <a:pt x="225" y="1199"/>
                </a:lnTo>
                <a:lnTo>
                  <a:pt x="224" y="1199"/>
                </a:lnTo>
                <a:lnTo>
                  <a:pt x="223" y="1198"/>
                </a:lnTo>
                <a:lnTo>
                  <a:pt x="223" y="1186"/>
                </a:lnTo>
                <a:lnTo>
                  <a:pt x="224" y="1185"/>
                </a:lnTo>
                <a:lnTo>
                  <a:pt x="223" y="1184"/>
                </a:lnTo>
                <a:lnTo>
                  <a:pt x="223" y="1173"/>
                </a:lnTo>
                <a:lnTo>
                  <a:pt x="224" y="1171"/>
                </a:lnTo>
                <a:lnTo>
                  <a:pt x="225" y="1169"/>
                </a:lnTo>
                <a:lnTo>
                  <a:pt x="225" y="1167"/>
                </a:lnTo>
                <a:lnTo>
                  <a:pt x="232" y="1149"/>
                </a:lnTo>
                <a:lnTo>
                  <a:pt x="232" y="1148"/>
                </a:lnTo>
                <a:lnTo>
                  <a:pt x="236" y="1148"/>
                </a:lnTo>
                <a:lnTo>
                  <a:pt x="237" y="1147"/>
                </a:lnTo>
                <a:lnTo>
                  <a:pt x="237" y="1144"/>
                </a:lnTo>
                <a:lnTo>
                  <a:pt x="242" y="1135"/>
                </a:lnTo>
                <a:lnTo>
                  <a:pt x="243" y="1130"/>
                </a:lnTo>
                <a:lnTo>
                  <a:pt x="244" y="1124"/>
                </a:lnTo>
                <a:lnTo>
                  <a:pt x="244" y="1123"/>
                </a:lnTo>
                <a:lnTo>
                  <a:pt x="245" y="1123"/>
                </a:lnTo>
                <a:lnTo>
                  <a:pt x="247" y="1122"/>
                </a:lnTo>
                <a:lnTo>
                  <a:pt x="247" y="1116"/>
                </a:lnTo>
                <a:lnTo>
                  <a:pt x="248" y="1115"/>
                </a:lnTo>
                <a:lnTo>
                  <a:pt x="249" y="1112"/>
                </a:lnTo>
                <a:lnTo>
                  <a:pt x="250" y="1112"/>
                </a:lnTo>
                <a:lnTo>
                  <a:pt x="250" y="1111"/>
                </a:lnTo>
                <a:close/>
                <a:moveTo>
                  <a:pt x="319" y="1067"/>
                </a:moveTo>
                <a:lnTo>
                  <a:pt x="322" y="1067"/>
                </a:lnTo>
                <a:lnTo>
                  <a:pt x="322" y="1068"/>
                </a:lnTo>
                <a:lnTo>
                  <a:pt x="323" y="1069"/>
                </a:lnTo>
                <a:lnTo>
                  <a:pt x="323" y="1074"/>
                </a:lnTo>
                <a:lnTo>
                  <a:pt x="324" y="1075"/>
                </a:lnTo>
                <a:lnTo>
                  <a:pt x="324" y="1073"/>
                </a:lnTo>
                <a:lnTo>
                  <a:pt x="327" y="1070"/>
                </a:lnTo>
                <a:lnTo>
                  <a:pt x="327" y="1069"/>
                </a:lnTo>
                <a:lnTo>
                  <a:pt x="325" y="1068"/>
                </a:lnTo>
                <a:lnTo>
                  <a:pt x="327" y="1068"/>
                </a:lnTo>
                <a:lnTo>
                  <a:pt x="329" y="1067"/>
                </a:lnTo>
                <a:lnTo>
                  <a:pt x="329" y="1068"/>
                </a:lnTo>
                <a:lnTo>
                  <a:pt x="328" y="1069"/>
                </a:lnTo>
                <a:lnTo>
                  <a:pt x="330" y="1069"/>
                </a:lnTo>
                <a:lnTo>
                  <a:pt x="331" y="1068"/>
                </a:lnTo>
                <a:lnTo>
                  <a:pt x="333" y="1068"/>
                </a:lnTo>
                <a:lnTo>
                  <a:pt x="333" y="1069"/>
                </a:lnTo>
                <a:lnTo>
                  <a:pt x="334" y="1070"/>
                </a:lnTo>
                <a:lnTo>
                  <a:pt x="334" y="1072"/>
                </a:lnTo>
                <a:lnTo>
                  <a:pt x="335" y="1072"/>
                </a:lnTo>
                <a:lnTo>
                  <a:pt x="336" y="1074"/>
                </a:lnTo>
                <a:lnTo>
                  <a:pt x="336" y="1075"/>
                </a:lnTo>
                <a:lnTo>
                  <a:pt x="334" y="1075"/>
                </a:lnTo>
                <a:lnTo>
                  <a:pt x="333" y="1076"/>
                </a:lnTo>
                <a:lnTo>
                  <a:pt x="331" y="1079"/>
                </a:lnTo>
                <a:lnTo>
                  <a:pt x="331" y="1078"/>
                </a:lnTo>
                <a:lnTo>
                  <a:pt x="330" y="1078"/>
                </a:lnTo>
                <a:lnTo>
                  <a:pt x="330" y="1082"/>
                </a:lnTo>
                <a:lnTo>
                  <a:pt x="325" y="1082"/>
                </a:lnTo>
                <a:lnTo>
                  <a:pt x="325" y="1081"/>
                </a:lnTo>
                <a:lnTo>
                  <a:pt x="324" y="1082"/>
                </a:lnTo>
                <a:lnTo>
                  <a:pt x="324" y="1087"/>
                </a:lnTo>
                <a:lnTo>
                  <a:pt x="323" y="1088"/>
                </a:lnTo>
                <a:lnTo>
                  <a:pt x="323" y="1092"/>
                </a:lnTo>
                <a:lnTo>
                  <a:pt x="324" y="1092"/>
                </a:lnTo>
                <a:lnTo>
                  <a:pt x="324" y="1097"/>
                </a:lnTo>
                <a:lnTo>
                  <a:pt x="323" y="1098"/>
                </a:lnTo>
                <a:lnTo>
                  <a:pt x="323" y="1103"/>
                </a:lnTo>
                <a:lnTo>
                  <a:pt x="324" y="1103"/>
                </a:lnTo>
                <a:lnTo>
                  <a:pt x="324" y="1104"/>
                </a:lnTo>
                <a:lnTo>
                  <a:pt x="325" y="1105"/>
                </a:lnTo>
                <a:lnTo>
                  <a:pt x="329" y="1105"/>
                </a:lnTo>
                <a:lnTo>
                  <a:pt x="329" y="1106"/>
                </a:lnTo>
                <a:lnTo>
                  <a:pt x="330" y="1107"/>
                </a:lnTo>
                <a:lnTo>
                  <a:pt x="329" y="1109"/>
                </a:lnTo>
                <a:lnTo>
                  <a:pt x="327" y="1109"/>
                </a:lnTo>
                <a:lnTo>
                  <a:pt x="325" y="1110"/>
                </a:lnTo>
                <a:lnTo>
                  <a:pt x="324" y="1110"/>
                </a:lnTo>
                <a:lnTo>
                  <a:pt x="321" y="1113"/>
                </a:lnTo>
                <a:lnTo>
                  <a:pt x="319" y="1116"/>
                </a:lnTo>
                <a:lnTo>
                  <a:pt x="318" y="1116"/>
                </a:lnTo>
                <a:lnTo>
                  <a:pt x="318" y="1118"/>
                </a:lnTo>
                <a:lnTo>
                  <a:pt x="321" y="1118"/>
                </a:lnTo>
                <a:lnTo>
                  <a:pt x="321" y="1121"/>
                </a:lnTo>
                <a:lnTo>
                  <a:pt x="319" y="1122"/>
                </a:lnTo>
                <a:lnTo>
                  <a:pt x="316" y="1123"/>
                </a:lnTo>
                <a:lnTo>
                  <a:pt x="315" y="1123"/>
                </a:lnTo>
                <a:lnTo>
                  <a:pt x="315" y="1124"/>
                </a:lnTo>
                <a:lnTo>
                  <a:pt x="313" y="1124"/>
                </a:lnTo>
                <a:lnTo>
                  <a:pt x="309" y="1128"/>
                </a:lnTo>
                <a:lnTo>
                  <a:pt x="307" y="1128"/>
                </a:lnTo>
                <a:lnTo>
                  <a:pt x="306" y="1129"/>
                </a:lnTo>
                <a:lnTo>
                  <a:pt x="310" y="1129"/>
                </a:lnTo>
                <a:lnTo>
                  <a:pt x="309" y="1130"/>
                </a:lnTo>
                <a:lnTo>
                  <a:pt x="305" y="1132"/>
                </a:lnTo>
                <a:lnTo>
                  <a:pt x="305" y="1140"/>
                </a:lnTo>
                <a:lnTo>
                  <a:pt x="304" y="1141"/>
                </a:lnTo>
                <a:lnTo>
                  <a:pt x="304" y="1143"/>
                </a:lnTo>
                <a:lnTo>
                  <a:pt x="303" y="1144"/>
                </a:lnTo>
                <a:lnTo>
                  <a:pt x="299" y="1146"/>
                </a:lnTo>
                <a:lnTo>
                  <a:pt x="297" y="1146"/>
                </a:lnTo>
                <a:lnTo>
                  <a:pt x="299" y="1141"/>
                </a:lnTo>
                <a:lnTo>
                  <a:pt x="299" y="1137"/>
                </a:lnTo>
                <a:lnTo>
                  <a:pt x="302" y="1137"/>
                </a:lnTo>
                <a:lnTo>
                  <a:pt x="302" y="1135"/>
                </a:lnTo>
                <a:lnTo>
                  <a:pt x="303" y="1132"/>
                </a:lnTo>
                <a:lnTo>
                  <a:pt x="302" y="1132"/>
                </a:lnTo>
                <a:lnTo>
                  <a:pt x="300" y="1134"/>
                </a:lnTo>
                <a:lnTo>
                  <a:pt x="300" y="1135"/>
                </a:lnTo>
                <a:lnTo>
                  <a:pt x="299" y="1135"/>
                </a:lnTo>
                <a:lnTo>
                  <a:pt x="299" y="1132"/>
                </a:lnTo>
                <a:lnTo>
                  <a:pt x="300" y="1132"/>
                </a:lnTo>
                <a:lnTo>
                  <a:pt x="300" y="1131"/>
                </a:lnTo>
                <a:lnTo>
                  <a:pt x="299" y="1130"/>
                </a:lnTo>
                <a:lnTo>
                  <a:pt x="300" y="1129"/>
                </a:lnTo>
                <a:lnTo>
                  <a:pt x="298" y="1128"/>
                </a:lnTo>
                <a:lnTo>
                  <a:pt x="297" y="1122"/>
                </a:lnTo>
                <a:lnTo>
                  <a:pt x="294" y="1119"/>
                </a:lnTo>
                <a:lnTo>
                  <a:pt x="294" y="1118"/>
                </a:lnTo>
                <a:lnTo>
                  <a:pt x="296" y="1116"/>
                </a:lnTo>
                <a:lnTo>
                  <a:pt x="298" y="1113"/>
                </a:lnTo>
                <a:lnTo>
                  <a:pt x="298" y="1109"/>
                </a:lnTo>
                <a:lnTo>
                  <a:pt x="297" y="1109"/>
                </a:lnTo>
                <a:lnTo>
                  <a:pt x="297" y="1106"/>
                </a:lnTo>
                <a:lnTo>
                  <a:pt x="296" y="1105"/>
                </a:lnTo>
                <a:lnTo>
                  <a:pt x="296" y="1097"/>
                </a:lnTo>
                <a:lnTo>
                  <a:pt x="297" y="1094"/>
                </a:lnTo>
                <a:lnTo>
                  <a:pt x="304" y="1087"/>
                </a:lnTo>
                <a:lnTo>
                  <a:pt x="310" y="1076"/>
                </a:lnTo>
                <a:lnTo>
                  <a:pt x="311" y="1075"/>
                </a:lnTo>
                <a:lnTo>
                  <a:pt x="313" y="1074"/>
                </a:lnTo>
                <a:lnTo>
                  <a:pt x="316" y="1074"/>
                </a:lnTo>
                <a:lnTo>
                  <a:pt x="316" y="1073"/>
                </a:lnTo>
                <a:lnTo>
                  <a:pt x="317" y="1072"/>
                </a:lnTo>
                <a:lnTo>
                  <a:pt x="317" y="1070"/>
                </a:lnTo>
                <a:lnTo>
                  <a:pt x="319" y="1068"/>
                </a:lnTo>
                <a:lnTo>
                  <a:pt x="319" y="1067"/>
                </a:lnTo>
                <a:close/>
                <a:moveTo>
                  <a:pt x="337" y="1062"/>
                </a:moveTo>
                <a:lnTo>
                  <a:pt x="342" y="1062"/>
                </a:lnTo>
                <a:lnTo>
                  <a:pt x="342" y="1063"/>
                </a:lnTo>
                <a:lnTo>
                  <a:pt x="347" y="1063"/>
                </a:lnTo>
                <a:lnTo>
                  <a:pt x="347" y="1064"/>
                </a:lnTo>
                <a:lnTo>
                  <a:pt x="346" y="1064"/>
                </a:lnTo>
                <a:lnTo>
                  <a:pt x="346" y="1066"/>
                </a:lnTo>
                <a:lnTo>
                  <a:pt x="343" y="1064"/>
                </a:lnTo>
                <a:lnTo>
                  <a:pt x="342" y="1066"/>
                </a:lnTo>
                <a:lnTo>
                  <a:pt x="341" y="1066"/>
                </a:lnTo>
                <a:lnTo>
                  <a:pt x="338" y="1068"/>
                </a:lnTo>
                <a:lnTo>
                  <a:pt x="338" y="1069"/>
                </a:lnTo>
                <a:lnTo>
                  <a:pt x="340" y="1069"/>
                </a:lnTo>
                <a:lnTo>
                  <a:pt x="340" y="1070"/>
                </a:lnTo>
                <a:lnTo>
                  <a:pt x="338" y="1073"/>
                </a:lnTo>
                <a:lnTo>
                  <a:pt x="337" y="1073"/>
                </a:lnTo>
                <a:lnTo>
                  <a:pt x="336" y="1072"/>
                </a:lnTo>
                <a:lnTo>
                  <a:pt x="334" y="1068"/>
                </a:lnTo>
                <a:lnTo>
                  <a:pt x="335" y="1067"/>
                </a:lnTo>
                <a:lnTo>
                  <a:pt x="335" y="1066"/>
                </a:lnTo>
                <a:lnTo>
                  <a:pt x="336" y="1064"/>
                </a:lnTo>
                <a:lnTo>
                  <a:pt x="336" y="1063"/>
                </a:lnTo>
                <a:lnTo>
                  <a:pt x="337" y="1063"/>
                </a:lnTo>
                <a:lnTo>
                  <a:pt x="337" y="1062"/>
                </a:lnTo>
                <a:close/>
                <a:moveTo>
                  <a:pt x="25" y="1056"/>
                </a:moveTo>
                <a:lnTo>
                  <a:pt x="26" y="1056"/>
                </a:lnTo>
                <a:lnTo>
                  <a:pt x="26" y="1061"/>
                </a:lnTo>
                <a:lnTo>
                  <a:pt x="25" y="1062"/>
                </a:lnTo>
                <a:lnTo>
                  <a:pt x="25" y="1060"/>
                </a:lnTo>
                <a:lnTo>
                  <a:pt x="24" y="1060"/>
                </a:lnTo>
                <a:lnTo>
                  <a:pt x="24" y="1061"/>
                </a:lnTo>
                <a:lnTo>
                  <a:pt x="23" y="1062"/>
                </a:lnTo>
                <a:lnTo>
                  <a:pt x="23" y="1064"/>
                </a:lnTo>
                <a:lnTo>
                  <a:pt x="20" y="1064"/>
                </a:lnTo>
                <a:lnTo>
                  <a:pt x="20" y="1066"/>
                </a:lnTo>
                <a:lnTo>
                  <a:pt x="19" y="1066"/>
                </a:lnTo>
                <a:lnTo>
                  <a:pt x="19" y="1064"/>
                </a:lnTo>
                <a:lnTo>
                  <a:pt x="18" y="1064"/>
                </a:lnTo>
                <a:lnTo>
                  <a:pt x="17" y="1063"/>
                </a:lnTo>
                <a:lnTo>
                  <a:pt x="17" y="1061"/>
                </a:lnTo>
                <a:lnTo>
                  <a:pt x="19" y="1061"/>
                </a:lnTo>
                <a:lnTo>
                  <a:pt x="18" y="1060"/>
                </a:lnTo>
                <a:lnTo>
                  <a:pt x="17" y="1060"/>
                </a:lnTo>
                <a:lnTo>
                  <a:pt x="15" y="1058"/>
                </a:lnTo>
                <a:lnTo>
                  <a:pt x="17" y="1057"/>
                </a:lnTo>
                <a:lnTo>
                  <a:pt x="24" y="1057"/>
                </a:lnTo>
                <a:lnTo>
                  <a:pt x="25" y="1056"/>
                </a:lnTo>
                <a:close/>
                <a:moveTo>
                  <a:pt x="12" y="1038"/>
                </a:moveTo>
                <a:lnTo>
                  <a:pt x="13" y="1038"/>
                </a:lnTo>
                <a:lnTo>
                  <a:pt x="12" y="1039"/>
                </a:lnTo>
                <a:lnTo>
                  <a:pt x="12" y="1038"/>
                </a:lnTo>
                <a:close/>
                <a:moveTo>
                  <a:pt x="13" y="1037"/>
                </a:moveTo>
                <a:lnTo>
                  <a:pt x="14" y="1037"/>
                </a:lnTo>
                <a:lnTo>
                  <a:pt x="13" y="1038"/>
                </a:lnTo>
                <a:lnTo>
                  <a:pt x="13" y="1037"/>
                </a:lnTo>
                <a:close/>
                <a:moveTo>
                  <a:pt x="242" y="1036"/>
                </a:moveTo>
                <a:lnTo>
                  <a:pt x="243" y="1037"/>
                </a:lnTo>
                <a:lnTo>
                  <a:pt x="243" y="1039"/>
                </a:lnTo>
                <a:lnTo>
                  <a:pt x="242" y="1039"/>
                </a:lnTo>
                <a:lnTo>
                  <a:pt x="241" y="1038"/>
                </a:lnTo>
                <a:lnTo>
                  <a:pt x="241" y="1037"/>
                </a:lnTo>
                <a:lnTo>
                  <a:pt x="242" y="1036"/>
                </a:lnTo>
                <a:close/>
                <a:moveTo>
                  <a:pt x="341" y="1030"/>
                </a:moveTo>
                <a:lnTo>
                  <a:pt x="343" y="1030"/>
                </a:lnTo>
                <a:lnTo>
                  <a:pt x="346" y="1031"/>
                </a:lnTo>
                <a:lnTo>
                  <a:pt x="347" y="1031"/>
                </a:lnTo>
                <a:lnTo>
                  <a:pt x="344" y="1033"/>
                </a:lnTo>
                <a:lnTo>
                  <a:pt x="343" y="1033"/>
                </a:lnTo>
                <a:lnTo>
                  <a:pt x="342" y="1032"/>
                </a:lnTo>
                <a:lnTo>
                  <a:pt x="341" y="1030"/>
                </a:lnTo>
                <a:close/>
                <a:moveTo>
                  <a:pt x="241" y="1029"/>
                </a:moveTo>
                <a:lnTo>
                  <a:pt x="242" y="1029"/>
                </a:lnTo>
                <a:lnTo>
                  <a:pt x="242" y="1030"/>
                </a:lnTo>
                <a:lnTo>
                  <a:pt x="241" y="1030"/>
                </a:lnTo>
                <a:lnTo>
                  <a:pt x="242" y="1031"/>
                </a:lnTo>
                <a:lnTo>
                  <a:pt x="241" y="1031"/>
                </a:lnTo>
                <a:lnTo>
                  <a:pt x="241" y="1032"/>
                </a:lnTo>
                <a:lnTo>
                  <a:pt x="243" y="1035"/>
                </a:lnTo>
                <a:lnTo>
                  <a:pt x="244" y="1033"/>
                </a:lnTo>
                <a:lnTo>
                  <a:pt x="244" y="1036"/>
                </a:lnTo>
                <a:lnTo>
                  <a:pt x="242" y="1036"/>
                </a:lnTo>
                <a:lnTo>
                  <a:pt x="241" y="1035"/>
                </a:lnTo>
                <a:lnTo>
                  <a:pt x="241" y="1033"/>
                </a:lnTo>
                <a:lnTo>
                  <a:pt x="240" y="1033"/>
                </a:lnTo>
                <a:lnTo>
                  <a:pt x="240" y="1030"/>
                </a:lnTo>
                <a:lnTo>
                  <a:pt x="241" y="1029"/>
                </a:lnTo>
                <a:close/>
                <a:moveTo>
                  <a:pt x="276" y="987"/>
                </a:moveTo>
                <a:lnTo>
                  <a:pt x="278" y="988"/>
                </a:lnTo>
                <a:lnTo>
                  <a:pt x="276" y="988"/>
                </a:lnTo>
                <a:lnTo>
                  <a:pt x="276" y="987"/>
                </a:lnTo>
                <a:close/>
                <a:moveTo>
                  <a:pt x="304" y="982"/>
                </a:moveTo>
                <a:lnTo>
                  <a:pt x="305" y="982"/>
                </a:lnTo>
                <a:lnTo>
                  <a:pt x="305" y="983"/>
                </a:lnTo>
                <a:lnTo>
                  <a:pt x="304" y="984"/>
                </a:lnTo>
                <a:lnTo>
                  <a:pt x="303" y="984"/>
                </a:lnTo>
                <a:lnTo>
                  <a:pt x="303" y="986"/>
                </a:lnTo>
                <a:lnTo>
                  <a:pt x="304" y="986"/>
                </a:lnTo>
                <a:lnTo>
                  <a:pt x="303" y="987"/>
                </a:lnTo>
                <a:lnTo>
                  <a:pt x="300" y="987"/>
                </a:lnTo>
                <a:lnTo>
                  <a:pt x="299" y="988"/>
                </a:lnTo>
                <a:lnTo>
                  <a:pt x="299" y="986"/>
                </a:lnTo>
                <a:lnTo>
                  <a:pt x="302" y="983"/>
                </a:lnTo>
                <a:lnTo>
                  <a:pt x="303" y="983"/>
                </a:lnTo>
                <a:lnTo>
                  <a:pt x="304" y="982"/>
                </a:lnTo>
                <a:close/>
                <a:moveTo>
                  <a:pt x="298" y="977"/>
                </a:moveTo>
                <a:lnTo>
                  <a:pt x="299" y="978"/>
                </a:lnTo>
                <a:lnTo>
                  <a:pt x="298" y="980"/>
                </a:lnTo>
                <a:lnTo>
                  <a:pt x="299" y="980"/>
                </a:lnTo>
                <a:lnTo>
                  <a:pt x="299" y="981"/>
                </a:lnTo>
                <a:lnTo>
                  <a:pt x="297" y="981"/>
                </a:lnTo>
                <a:lnTo>
                  <a:pt x="297" y="982"/>
                </a:lnTo>
                <a:lnTo>
                  <a:pt x="296" y="983"/>
                </a:lnTo>
                <a:lnTo>
                  <a:pt x="294" y="982"/>
                </a:lnTo>
                <a:lnTo>
                  <a:pt x="293" y="983"/>
                </a:lnTo>
                <a:lnTo>
                  <a:pt x="292" y="983"/>
                </a:lnTo>
                <a:lnTo>
                  <a:pt x="293" y="982"/>
                </a:lnTo>
                <a:lnTo>
                  <a:pt x="293" y="981"/>
                </a:lnTo>
                <a:lnTo>
                  <a:pt x="294" y="981"/>
                </a:lnTo>
                <a:lnTo>
                  <a:pt x="293" y="980"/>
                </a:lnTo>
                <a:lnTo>
                  <a:pt x="294" y="980"/>
                </a:lnTo>
                <a:lnTo>
                  <a:pt x="294" y="978"/>
                </a:lnTo>
                <a:lnTo>
                  <a:pt x="297" y="978"/>
                </a:lnTo>
                <a:lnTo>
                  <a:pt x="298" y="977"/>
                </a:lnTo>
                <a:close/>
                <a:moveTo>
                  <a:pt x="310" y="970"/>
                </a:moveTo>
                <a:lnTo>
                  <a:pt x="311" y="970"/>
                </a:lnTo>
                <a:lnTo>
                  <a:pt x="311" y="974"/>
                </a:lnTo>
                <a:lnTo>
                  <a:pt x="309" y="976"/>
                </a:lnTo>
                <a:lnTo>
                  <a:pt x="309" y="978"/>
                </a:lnTo>
                <a:lnTo>
                  <a:pt x="307" y="980"/>
                </a:lnTo>
                <a:lnTo>
                  <a:pt x="306" y="980"/>
                </a:lnTo>
                <a:lnTo>
                  <a:pt x="305" y="978"/>
                </a:lnTo>
                <a:lnTo>
                  <a:pt x="305" y="976"/>
                </a:lnTo>
                <a:lnTo>
                  <a:pt x="306" y="975"/>
                </a:lnTo>
                <a:lnTo>
                  <a:pt x="306" y="974"/>
                </a:lnTo>
                <a:lnTo>
                  <a:pt x="309" y="971"/>
                </a:lnTo>
                <a:lnTo>
                  <a:pt x="310" y="971"/>
                </a:lnTo>
                <a:lnTo>
                  <a:pt x="310" y="970"/>
                </a:lnTo>
                <a:close/>
                <a:moveTo>
                  <a:pt x="319" y="963"/>
                </a:moveTo>
                <a:lnTo>
                  <a:pt x="322" y="963"/>
                </a:lnTo>
                <a:lnTo>
                  <a:pt x="322" y="964"/>
                </a:lnTo>
                <a:lnTo>
                  <a:pt x="318" y="965"/>
                </a:lnTo>
                <a:lnTo>
                  <a:pt x="318" y="964"/>
                </a:lnTo>
                <a:lnTo>
                  <a:pt x="319" y="964"/>
                </a:lnTo>
                <a:lnTo>
                  <a:pt x="319" y="963"/>
                </a:lnTo>
                <a:close/>
                <a:moveTo>
                  <a:pt x="305" y="960"/>
                </a:moveTo>
                <a:lnTo>
                  <a:pt x="309" y="964"/>
                </a:lnTo>
                <a:lnTo>
                  <a:pt x="305" y="960"/>
                </a:lnTo>
                <a:close/>
                <a:moveTo>
                  <a:pt x="322" y="956"/>
                </a:moveTo>
                <a:lnTo>
                  <a:pt x="324" y="956"/>
                </a:lnTo>
                <a:lnTo>
                  <a:pt x="324" y="958"/>
                </a:lnTo>
                <a:lnTo>
                  <a:pt x="323" y="958"/>
                </a:lnTo>
                <a:lnTo>
                  <a:pt x="323" y="959"/>
                </a:lnTo>
                <a:lnTo>
                  <a:pt x="322" y="959"/>
                </a:lnTo>
                <a:lnTo>
                  <a:pt x="321" y="958"/>
                </a:lnTo>
                <a:lnTo>
                  <a:pt x="322" y="957"/>
                </a:lnTo>
                <a:lnTo>
                  <a:pt x="322" y="956"/>
                </a:lnTo>
                <a:close/>
                <a:moveTo>
                  <a:pt x="305" y="956"/>
                </a:moveTo>
                <a:lnTo>
                  <a:pt x="312" y="956"/>
                </a:lnTo>
                <a:lnTo>
                  <a:pt x="316" y="959"/>
                </a:lnTo>
                <a:lnTo>
                  <a:pt x="313" y="959"/>
                </a:lnTo>
                <a:lnTo>
                  <a:pt x="313" y="958"/>
                </a:lnTo>
                <a:lnTo>
                  <a:pt x="312" y="958"/>
                </a:lnTo>
                <a:lnTo>
                  <a:pt x="312" y="960"/>
                </a:lnTo>
                <a:lnTo>
                  <a:pt x="315" y="960"/>
                </a:lnTo>
                <a:lnTo>
                  <a:pt x="313" y="962"/>
                </a:lnTo>
                <a:lnTo>
                  <a:pt x="312" y="962"/>
                </a:lnTo>
                <a:lnTo>
                  <a:pt x="310" y="959"/>
                </a:lnTo>
                <a:lnTo>
                  <a:pt x="309" y="959"/>
                </a:lnTo>
                <a:lnTo>
                  <a:pt x="309" y="958"/>
                </a:lnTo>
                <a:lnTo>
                  <a:pt x="307" y="958"/>
                </a:lnTo>
                <a:lnTo>
                  <a:pt x="307" y="957"/>
                </a:lnTo>
                <a:lnTo>
                  <a:pt x="305" y="956"/>
                </a:lnTo>
                <a:close/>
                <a:moveTo>
                  <a:pt x="317" y="950"/>
                </a:moveTo>
                <a:lnTo>
                  <a:pt x="321" y="950"/>
                </a:lnTo>
                <a:lnTo>
                  <a:pt x="322" y="951"/>
                </a:lnTo>
                <a:lnTo>
                  <a:pt x="322" y="953"/>
                </a:lnTo>
                <a:lnTo>
                  <a:pt x="319" y="956"/>
                </a:lnTo>
                <a:lnTo>
                  <a:pt x="318" y="954"/>
                </a:lnTo>
                <a:lnTo>
                  <a:pt x="319" y="954"/>
                </a:lnTo>
                <a:lnTo>
                  <a:pt x="319" y="952"/>
                </a:lnTo>
                <a:lnTo>
                  <a:pt x="317" y="950"/>
                </a:lnTo>
                <a:close/>
                <a:moveTo>
                  <a:pt x="294" y="949"/>
                </a:moveTo>
                <a:lnTo>
                  <a:pt x="296" y="949"/>
                </a:lnTo>
                <a:lnTo>
                  <a:pt x="300" y="950"/>
                </a:lnTo>
                <a:lnTo>
                  <a:pt x="299" y="950"/>
                </a:lnTo>
                <a:lnTo>
                  <a:pt x="300" y="951"/>
                </a:lnTo>
                <a:lnTo>
                  <a:pt x="299" y="952"/>
                </a:lnTo>
                <a:lnTo>
                  <a:pt x="298" y="952"/>
                </a:lnTo>
                <a:lnTo>
                  <a:pt x="297" y="951"/>
                </a:lnTo>
                <a:lnTo>
                  <a:pt x="296" y="951"/>
                </a:lnTo>
                <a:lnTo>
                  <a:pt x="296" y="950"/>
                </a:lnTo>
                <a:lnTo>
                  <a:pt x="294" y="949"/>
                </a:lnTo>
                <a:close/>
                <a:moveTo>
                  <a:pt x="329" y="946"/>
                </a:moveTo>
                <a:lnTo>
                  <a:pt x="330" y="947"/>
                </a:lnTo>
                <a:lnTo>
                  <a:pt x="330" y="950"/>
                </a:lnTo>
                <a:lnTo>
                  <a:pt x="329" y="949"/>
                </a:lnTo>
                <a:lnTo>
                  <a:pt x="329" y="947"/>
                </a:lnTo>
                <a:lnTo>
                  <a:pt x="328" y="947"/>
                </a:lnTo>
                <a:lnTo>
                  <a:pt x="329" y="946"/>
                </a:lnTo>
                <a:close/>
                <a:moveTo>
                  <a:pt x="329" y="943"/>
                </a:moveTo>
                <a:lnTo>
                  <a:pt x="329" y="946"/>
                </a:lnTo>
                <a:lnTo>
                  <a:pt x="328" y="946"/>
                </a:lnTo>
                <a:lnTo>
                  <a:pt x="327" y="945"/>
                </a:lnTo>
                <a:lnTo>
                  <a:pt x="329" y="943"/>
                </a:lnTo>
                <a:close/>
                <a:moveTo>
                  <a:pt x="317" y="934"/>
                </a:moveTo>
                <a:lnTo>
                  <a:pt x="318" y="934"/>
                </a:lnTo>
                <a:lnTo>
                  <a:pt x="319" y="935"/>
                </a:lnTo>
                <a:lnTo>
                  <a:pt x="322" y="935"/>
                </a:lnTo>
                <a:lnTo>
                  <a:pt x="319" y="937"/>
                </a:lnTo>
                <a:lnTo>
                  <a:pt x="317" y="939"/>
                </a:lnTo>
                <a:lnTo>
                  <a:pt x="317" y="940"/>
                </a:lnTo>
                <a:lnTo>
                  <a:pt x="316" y="939"/>
                </a:lnTo>
                <a:lnTo>
                  <a:pt x="316" y="943"/>
                </a:lnTo>
                <a:lnTo>
                  <a:pt x="315" y="943"/>
                </a:lnTo>
                <a:lnTo>
                  <a:pt x="315" y="945"/>
                </a:lnTo>
                <a:lnTo>
                  <a:pt x="313" y="945"/>
                </a:lnTo>
                <a:lnTo>
                  <a:pt x="313" y="944"/>
                </a:lnTo>
                <a:lnTo>
                  <a:pt x="312" y="943"/>
                </a:lnTo>
                <a:lnTo>
                  <a:pt x="312" y="939"/>
                </a:lnTo>
                <a:lnTo>
                  <a:pt x="313" y="939"/>
                </a:lnTo>
                <a:lnTo>
                  <a:pt x="313" y="938"/>
                </a:lnTo>
                <a:lnTo>
                  <a:pt x="317" y="934"/>
                </a:lnTo>
                <a:close/>
                <a:moveTo>
                  <a:pt x="323" y="932"/>
                </a:moveTo>
                <a:lnTo>
                  <a:pt x="324" y="932"/>
                </a:lnTo>
                <a:lnTo>
                  <a:pt x="323" y="933"/>
                </a:lnTo>
                <a:lnTo>
                  <a:pt x="322" y="933"/>
                </a:lnTo>
                <a:lnTo>
                  <a:pt x="323" y="932"/>
                </a:lnTo>
                <a:close/>
                <a:moveTo>
                  <a:pt x="325" y="931"/>
                </a:moveTo>
                <a:lnTo>
                  <a:pt x="325" y="932"/>
                </a:lnTo>
                <a:lnTo>
                  <a:pt x="324" y="932"/>
                </a:lnTo>
                <a:lnTo>
                  <a:pt x="325" y="931"/>
                </a:lnTo>
                <a:close/>
                <a:moveTo>
                  <a:pt x="330" y="926"/>
                </a:moveTo>
                <a:lnTo>
                  <a:pt x="331" y="927"/>
                </a:lnTo>
                <a:lnTo>
                  <a:pt x="331" y="928"/>
                </a:lnTo>
                <a:lnTo>
                  <a:pt x="330" y="929"/>
                </a:lnTo>
                <a:lnTo>
                  <a:pt x="329" y="928"/>
                </a:lnTo>
                <a:lnTo>
                  <a:pt x="329" y="932"/>
                </a:lnTo>
                <a:lnTo>
                  <a:pt x="327" y="932"/>
                </a:lnTo>
                <a:lnTo>
                  <a:pt x="327" y="931"/>
                </a:lnTo>
                <a:lnTo>
                  <a:pt x="329" y="927"/>
                </a:lnTo>
                <a:lnTo>
                  <a:pt x="330" y="926"/>
                </a:lnTo>
                <a:close/>
                <a:moveTo>
                  <a:pt x="329" y="926"/>
                </a:moveTo>
                <a:lnTo>
                  <a:pt x="329" y="927"/>
                </a:lnTo>
                <a:lnTo>
                  <a:pt x="327" y="929"/>
                </a:lnTo>
                <a:lnTo>
                  <a:pt x="327" y="931"/>
                </a:lnTo>
                <a:lnTo>
                  <a:pt x="325" y="931"/>
                </a:lnTo>
                <a:lnTo>
                  <a:pt x="325" y="929"/>
                </a:lnTo>
                <a:lnTo>
                  <a:pt x="329" y="926"/>
                </a:lnTo>
                <a:close/>
                <a:moveTo>
                  <a:pt x="334" y="906"/>
                </a:moveTo>
                <a:lnTo>
                  <a:pt x="336" y="906"/>
                </a:lnTo>
                <a:lnTo>
                  <a:pt x="335" y="907"/>
                </a:lnTo>
                <a:lnTo>
                  <a:pt x="334" y="906"/>
                </a:lnTo>
                <a:close/>
                <a:moveTo>
                  <a:pt x="321" y="878"/>
                </a:moveTo>
                <a:lnTo>
                  <a:pt x="322" y="879"/>
                </a:lnTo>
                <a:lnTo>
                  <a:pt x="323" y="879"/>
                </a:lnTo>
                <a:lnTo>
                  <a:pt x="323" y="880"/>
                </a:lnTo>
                <a:lnTo>
                  <a:pt x="324" y="882"/>
                </a:lnTo>
                <a:lnTo>
                  <a:pt x="324" y="883"/>
                </a:lnTo>
                <a:lnTo>
                  <a:pt x="323" y="884"/>
                </a:lnTo>
                <a:lnTo>
                  <a:pt x="321" y="884"/>
                </a:lnTo>
                <a:lnTo>
                  <a:pt x="321" y="878"/>
                </a:lnTo>
                <a:close/>
                <a:moveTo>
                  <a:pt x="306" y="853"/>
                </a:moveTo>
                <a:lnTo>
                  <a:pt x="309" y="855"/>
                </a:lnTo>
                <a:lnTo>
                  <a:pt x="309" y="858"/>
                </a:lnTo>
                <a:lnTo>
                  <a:pt x="310" y="859"/>
                </a:lnTo>
                <a:lnTo>
                  <a:pt x="310" y="860"/>
                </a:lnTo>
                <a:lnTo>
                  <a:pt x="309" y="859"/>
                </a:lnTo>
                <a:lnTo>
                  <a:pt x="309" y="860"/>
                </a:lnTo>
                <a:lnTo>
                  <a:pt x="310" y="865"/>
                </a:lnTo>
                <a:lnTo>
                  <a:pt x="311" y="866"/>
                </a:lnTo>
                <a:lnTo>
                  <a:pt x="312" y="866"/>
                </a:lnTo>
                <a:lnTo>
                  <a:pt x="312" y="867"/>
                </a:lnTo>
                <a:lnTo>
                  <a:pt x="313" y="867"/>
                </a:lnTo>
                <a:lnTo>
                  <a:pt x="313" y="870"/>
                </a:lnTo>
                <a:lnTo>
                  <a:pt x="315" y="870"/>
                </a:lnTo>
                <a:lnTo>
                  <a:pt x="315" y="871"/>
                </a:lnTo>
                <a:lnTo>
                  <a:pt x="313" y="871"/>
                </a:lnTo>
                <a:lnTo>
                  <a:pt x="306" y="864"/>
                </a:lnTo>
                <a:lnTo>
                  <a:pt x="306" y="853"/>
                </a:lnTo>
                <a:close/>
                <a:moveTo>
                  <a:pt x="256" y="772"/>
                </a:moveTo>
                <a:lnTo>
                  <a:pt x="257" y="772"/>
                </a:lnTo>
                <a:lnTo>
                  <a:pt x="257" y="773"/>
                </a:lnTo>
                <a:lnTo>
                  <a:pt x="256" y="773"/>
                </a:lnTo>
                <a:lnTo>
                  <a:pt x="256" y="772"/>
                </a:lnTo>
                <a:close/>
                <a:moveTo>
                  <a:pt x="292" y="654"/>
                </a:moveTo>
                <a:lnTo>
                  <a:pt x="294" y="654"/>
                </a:lnTo>
                <a:lnTo>
                  <a:pt x="294" y="655"/>
                </a:lnTo>
                <a:lnTo>
                  <a:pt x="297" y="655"/>
                </a:lnTo>
                <a:lnTo>
                  <a:pt x="297" y="658"/>
                </a:lnTo>
                <a:lnTo>
                  <a:pt x="296" y="658"/>
                </a:lnTo>
                <a:lnTo>
                  <a:pt x="296" y="659"/>
                </a:lnTo>
                <a:lnTo>
                  <a:pt x="293" y="661"/>
                </a:lnTo>
                <a:lnTo>
                  <a:pt x="292" y="661"/>
                </a:lnTo>
                <a:lnTo>
                  <a:pt x="291" y="658"/>
                </a:lnTo>
                <a:lnTo>
                  <a:pt x="291" y="657"/>
                </a:lnTo>
                <a:lnTo>
                  <a:pt x="292" y="656"/>
                </a:lnTo>
                <a:lnTo>
                  <a:pt x="292" y="654"/>
                </a:lnTo>
                <a:close/>
                <a:moveTo>
                  <a:pt x="411" y="568"/>
                </a:moveTo>
                <a:lnTo>
                  <a:pt x="411" y="570"/>
                </a:lnTo>
                <a:lnTo>
                  <a:pt x="410" y="571"/>
                </a:lnTo>
                <a:lnTo>
                  <a:pt x="410" y="570"/>
                </a:lnTo>
                <a:lnTo>
                  <a:pt x="411" y="568"/>
                </a:lnTo>
                <a:close/>
                <a:moveTo>
                  <a:pt x="415" y="558"/>
                </a:moveTo>
                <a:lnTo>
                  <a:pt x="415" y="560"/>
                </a:lnTo>
                <a:lnTo>
                  <a:pt x="414" y="562"/>
                </a:lnTo>
                <a:lnTo>
                  <a:pt x="415" y="562"/>
                </a:lnTo>
                <a:lnTo>
                  <a:pt x="415" y="563"/>
                </a:lnTo>
                <a:lnTo>
                  <a:pt x="414" y="564"/>
                </a:lnTo>
                <a:lnTo>
                  <a:pt x="414" y="566"/>
                </a:lnTo>
                <a:lnTo>
                  <a:pt x="411" y="566"/>
                </a:lnTo>
                <a:lnTo>
                  <a:pt x="412" y="562"/>
                </a:lnTo>
                <a:lnTo>
                  <a:pt x="412" y="560"/>
                </a:lnTo>
                <a:lnTo>
                  <a:pt x="414" y="560"/>
                </a:lnTo>
                <a:lnTo>
                  <a:pt x="414" y="559"/>
                </a:lnTo>
                <a:lnTo>
                  <a:pt x="415" y="558"/>
                </a:lnTo>
                <a:close/>
                <a:moveTo>
                  <a:pt x="398" y="557"/>
                </a:moveTo>
                <a:lnTo>
                  <a:pt x="398" y="558"/>
                </a:lnTo>
                <a:lnTo>
                  <a:pt x="397" y="558"/>
                </a:lnTo>
                <a:lnTo>
                  <a:pt x="398" y="557"/>
                </a:lnTo>
                <a:close/>
                <a:moveTo>
                  <a:pt x="411" y="556"/>
                </a:moveTo>
                <a:lnTo>
                  <a:pt x="414" y="558"/>
                </a:lnTo>
                <a:lnTo>
                  <a:pt x="411" y="560"/>
                </a:lnTo>
                <a:lnTo>
                  <a:pt x="412" y="559"/>
                </a:lnTo>
                <a:lnTo>
                  <a:pt x="411" y="558"/>
                </a:lnTo>
                <a:lnTo>
                  <a:pt x="410" y="559"/>
                </a:lnTo>
                <a:lnTo>
                  <a:pt x="411" y="556"/>
                </a:lnTo>
                <a:close/>
                <a:moveTo>
                  <a:pt x="429" y="471"/>
                </a:moveTo>
                <a:lnTo>
                  <a:pt x="430" y="471"/>
                </a:lnTo>
                <a:lnTo>
                  <a:pt x="430" y="472"/>
                </a:lnTo>
                <a:lnTo>
                  <a:pt x="429" y="471"/>
                </a:lnTo>
                <a:close/>
                <a:moveTo>
                  <a:pt x="440" y="398"/>
                </a:moveTo>
                <a:lnTo>
                  <a:pt x="442" y="398"/>
                </a:lnTo>
                <a:lnTo>
                  <a:pt x="442" y="399"/>
                </a:lnTo>
                <a:lnTo>
                  <a:pt x="440" y="398"/>
                </a:lnTo>
                <a:close/>
                <a:moveTo>
                  <a:pt x="474" y="392"/>
                </a:moveTo>
                <a:lnTo>
                  <a:pt x="476" y="392"/>
                </a:lnTo>
                <a:lnTo>
                  <a:pt x="477" y="393"/>
                </a:lnTo>
                <a:lnTo>
                  <a:pt x="477" y="394"/>
                </a:lnTo>
                <a:lnTo>
                  <a:pt x="476" y="394"/>
                </a:lnTo>
                <a:lnTo>
                  <a:pt x="476" y="396"/>
                </a:lnTo>
                <a:lnTo>
                  <a:pt x="471" y="396"/>
                </a:lnTo>
                <a:lnTo>
                  <a:pt x="471" y="394"/>
                </a:lnTo>
                <a:lnTo>
                  <a:pt x="472" y="393"/>
                </a:lnTo>
                <a:lnTo>
                  <a:pt x="473" y="393"/>
                </a:lnTo>
                <a:lnTo>
                  <a:pt x="473" y="394"/>
                </a:lnTo>
                <a:lnTo>
                  <a:pt x="474" y="393"/>
                </a:lnTo>
                <a:lnTo>
                  <a:pt x="474" y="392"/>
                </a:lnTo>
                <a:close/>
                <a:moveTo>
                  <a:pt x="465" y="391"/>
                </a:moveTo>
                <a:lnTo>
                  <a:pt x="466" y="391"/>
                </a:lnTo>
                <a:lnTo>
                  <a:pt x="468" y="392"/>
                </a:lnTo>
                <a:lnTo>
                  <a:pt x="468" y="396"/>
                </a:lnTo>
                <a:lnTo>
                  <a:pt x="466" y="396"/>
                </a:lnTo>
                <a:lnTo>
                  <a:pt x="465" y="394"/>
                </a:lnTo>
                <a:lnTo>
                  <a:pt x="465" y="391"/>
                </a:lnTo>
                <a:close/>
                <a:moveTo>
                  <a:pt x="483" y="384"/>
                </a:moveTo>
                <a:lnTo>
                  <a:pt x="485" y="386"/>
                </a:lnTo>
                <a:lnTo>
                  <a:pt x="485" y="387"/>
                </a:lnTo>
                <a:lnTo>
                  <a:pt x="484" y="387"/>
                </a:lnTo>
                <a:lnTo>
                  <a:pt x="483" y="386"/>
                </a:lnTo>
                <a:lnTo>
                  <a:pt x="483" y="384"/>
                </a:lnTo>
                <a:close/>
                <a:moveTo>
                  <a:pt x="467" y="384"/>
                </a:moveTo>
                <a:lnTo>
                  <a:pt x="468" y="384"/>
                </a:lnTo>
                <a:lnTo>
                  <a:pt x="472" y="386"/>
                </a:lnTo>
                <a:lnTo>
                  <a:pt x="473" y="386"/>
                </a:lnTo>
                <a:lnTo>
                  <a:pt x="473" y="387"/>
                </a:lnTo>
                <a:lnTo>
                  <a:pt x="474" y="387"/>
                </a:lnTo>
                <a:lnTo>
                  <a:pt x="474" y="388"/>
                </a:lnTo>
                <a:lnTo>
                  <a:pt x="473" y="390"/>
                </a:lnTo>
                <a:lnTo>
                  <a:pt x="473" y="388"/>
                </a:lnTo>
                <a:lnTo>
                  <a:pt x="472" y="387"/>
                </a:lnTo>
                <a:lnTo>
                  <a:pt x="471" y="387"/>
                </a:lnTo>
                <a:lnTo>
                  <a:pt x="471" y="390"/>
                </a:lnTo>
                <a:lnTo>
                  <a:pt x="467" y="386"/>
                </a:lnTo>
                <a:lnTo>
                  <a:pt x="467" y="384"/>
                </a:lnTo>
                <a:close/>
                <a:moveTo>
                  <a:pt x="485" y="379"/>
                </a:moveTo>
                <a:lnTo>
                  <a:pt x="486" y="379"/>
                </a:lnTo>
                <a:lnTo>
                  <a:pt x="486" y="380"/>
                </a:lnTo>
                <a:lnTo>
                  <a:pt x="485" y="380"/>
                </a:lnTo>
                <a:lnTo>
                  <a:pt x="485" y="382"/>
                </a:lnTo>
                <a:lnTo>
                  <a:pt x="483" y="382"/>
                </a:lnTo>
                <a:lnTo>
                  <a:pt x="481" y="381"/>
                </a:lnTo>
                <a:lnTo>
                  <a:pt x="481" y="380"/>
                </a:lnTo>
                <a:lnTo>
                  <a:pt x="484" y="380"/>
                </a:lnTo>
                <a:lnTo>
                  <a:pt x="485" y="379"/>
                </a:lnTo>
                <a:close/>
                <a:moveTo>
                  <a:pt x="483" y="376"/>
                </a:moveTo>
                <a:lnTo>
                  <a:pt x="484" y="376"/>
                </a:lnTo>
                <a:lnTo>
                  <a:pt x="485" y="378"/>
                </a:lnTo>
                <a:lnTo>
                  <a:pt x="484" y="379"/>
                </a:lnTo>
                <a:lnTo>
                  <a:pt x="483" y="379"/>
                </a:lnTo>
                <a:lnTo>
                  <a:pt x="483" y="376"/>
                </a:lnTo>
                <a:close/>
                <a:moveTo>
                  <a:pt x="497" y="363"/>
                </a:moveTo>
                <a:lnTo>
                  <a:pt x="498" y="363"/>
                </a:lnTo>
                <a:lnTo>
                  <a:pt x="499" y="364"/>
                </a:lnTo>
                <a:lnTo>
                  <a:pt x="499" y="366"/>
                </a:lnTo>
                <a:lnTo>
                  <a:pt x="501" y="367"/>
                </a:lnTo>
                <a:lnTo>
                  <a:pt x="501" y="368"/>
                </a:lnTo>
                <a:lnTo>
                  <a:pt x="499" y="368"/>
                </a:lnTo>
                <a:lnTo>
                  <a:pt x="499" y="369"/>
                </a:lnTo>
                <a:lnTo>
                  <a:pt x="501" y="370"/>
                </a:lnTo>
                <a:lnTo>
                  <a:pt x="499" y="370"/>
                </a:lnTo>
                <a:lnTo>
                  <a:pt x="498" y="369"/>
                </a:lnTo>
                <a:lnTo>
                  <a:pt x="497" y="367"/>
                </a:lnTo>
                <a:lnTo>
                  <a:pt x="496" y="366"/>
                </a:lnTo>
                <a:lnTo>
                  <a:pt x="497" y="363"/>
                </a:lnTo>
                <a:close/>
                <a:moveTo>
                  <a:pt x="534" y="362"/>
                </a:moveTo>
                <a:lnTo>
                  <a:pt x="535" y="363"/>
                </a:lnTo>
                <a:lnTo>
                  <a:pt x="535" y="364"/>
                </a:lnTo>
                <a:lnTo>
                  <a:pt x="534" y="364"/>
                </a:lnTo>
                <a:lnTo>
                  <a:pt x="534" y="367"/>
                </a:lnTo>
                <a:lnTo>
                  <a:pt x="533" y="368"/>
                </a:lnTo>
                <a:lnTo>
                  <a:pt x="530" y="367"/>
                </a:lnTo>
                <a:lnTo>
                  <a:pt x="530" y="363"/>
                </a:lnTo>
                <a:lnTo>
                  <a:pt x="534" y="363"/>
                </a:lnTo>
                <a:lnTo>
                  <a:pt x="534" y="362"/>
                </a:lnTo>
                <a:close/>
                <a:moveTo>
                  <a:pt x="490" y="361"/>
                </a:moveTo>
                <a:lnTo>
                  <a:pt x="491" y="361"/>
                </a:lnTo>
                <a:lnTo>
                  <a:pt x="492" y="362"/>
                </a:lnTo>
                <a:lnTo>
                  <a:pt x="493" y="364"/>
                </a:lnTo>
                <a:lnTo>
                  <a:pt x="493" y="367"/>
                </a:lnTo>
                <a:lnTo>
                  <a:pt x="491" y="367"/>
                </a:lnTo>
                <a:lnTo>
                  <a:pt x="490" y="366"/>
                </a:lnTo>
                <a:lnTo>
                  <a:pt x="490" y="361"/>
                </a:lnTo>
                <a:close/>
                <a:moveTo>
                  <a:pt x="402" y="0"/>
                </a:moveTo>
                <a:lnTo>
                  <a:pt x="403" y="3"/>
                </a:lnTo>
                <a:lnTo>
                  <a:pt x="409" y="4"/>
                </a:lnTo>
                <a:lnTo>
                  <a:pt x="411" y="6"/>
                </a:lnTo>
                <a:lnTo>
                  <a:pt x="414" y="7"/>
                </a:lnTo>
                <a:lnTo>
                  <a:pt x="415" y="9"/>
                </a:lnTo>
                <a:lnTo>
                  <a:pt x="415" y="11"/>
                </a:lnTo>
                <a:lnTo>
                  <a:pt x="414" y="13"/>
                </a:lnTo>
                <a:lnTo>
                  <a:pt x="412" y="13"/>
                </a:lnTo>
                <a:lnTo>
                  <a:pt x="412" y="16"/>
                </a:lnTo>
                <a:lnTo>
                  <a:pt x="414" y="17"/>
                </a:lnTo>
                <a:lnTo>
                  <a:pt x="420" y="20"/>
                </a:lnTo>
                <a:lnTo>
                  <a:pt x="423" y="24"/>
                </a:lnTo>
                <a:lnTo>
                  <a:pt x="427" y="26"/>
                </a:lnTo>
                <a:lnTo>
                  <a:pt x="429" y="31"/>
                </a:lnTo>
                <a:lnTo>
                  <a:pt x="429" y="34"/>
                </a:lnTo>
                <a:lnTo>
                  <a:pt x="434" y="34"/>
                </a:lnTo>
                <a:lnTo>
                  <a:pt x="434" y="35"/>
                </a:lnTo>
                <a:lnTo>
                  <a:pt x="435" y="36"/>
                </a:lnTo>
                <a:lnTo>
                  <a:pt x="435" y="37"/>
                </a:lnTo>
                <a:lnTo>
                  <a:pt x="436" y="41"/>
                </a:lnTo>
                <a:lnTo>
                  <a:pt x="436" y="42"/>
                </a:lnTo>
                <a:lnTo>
                  <a:pt x="437" y="43"/>
                </a:lnTo>
                <a:lnTo>
                  <a:pt x="441" y="44"/>
                </a:lnTo>
                <a:lnTo>
                  <a:pt x="445" y="48"/>
                </a:lnTo>
                <a:lnTo>
                  <a:pt x="447" y="49"/>
                </a:lnTo>
                <a:lnTo>
                  <a:pt x="448" y="53"/>
                </a:lnTo>
                <a:lnTo>
                  <a:pt x="455" y="55"/>
                </a:lnTo>
                <a:lnTo>
                  <a:pt x="458" y="58"/>
                </a:lnTo>
                <a:lnTo>
                  <a:pt x="458" y="59"/>
                </a:lnTo>
                <a:lnTo>
                  <a:pt x="460" y="61"/>
                </a:lnTo>
                <a:lnTo>
                  <a:pt x="460" y="62"/>
                </a:lnTo>
                <a:lnTo>
                  <a:pt x="461" y="62"/>
                </a:lnTo>
                <a:lnTo>
                  <a:pt x="461" y="65"/>
                </a:lnTo>
                <a:lnTo>
                  <a:pt x="462" y="66"/>
                </a:lnTo>
                <a:lnTo>
                  <a:pt x="472" y="66"/>
                </a:lnTo>
                <a:lnTo>
                  <a:pt x="474" y="67"/>
                </a:lnTo>
                <a:lnTo>
                  <a:pt x="476" y="67"/>
                </a:lnTo>
                <a:lnTo>
                  <a:pt x="474" y="68"/>
                </a:lnTo>
                <a:lnTo>
                  <a:pt x="478" y="68"/>
                </a:lnTo>
                <a:lnTo>
                  <a:pt x="481" y="71"/>
                </a:lnTo>
                <a:lnTo>
                  <a:pt x="483" y="71"/>
                </a:lnTo>
                <a:lnTo>
                  <a:pt x="485" y="72"/>
                </a:lnTo>
                <a:lnTo>
                  <a:pt x="487" y="72"/>
                </a:lnTo>
                <a:lnTo>
                  <a:pt x="489" y="73"/>
                </a:lnTo>
                <a:lnTo>
                  <a:pt x="490" y="75"/>
                </a:lnTo>
                <a:lnTo>
                  <a:pt x="491" y="77"/>
                </a:lnTo>
                <a:lnTo>
                  <a:pt x="493" y="75"/>
                </a:lnTo>
                <a:lnTo>
                  <a:pt x="495" y="77"/>
                </a:lnTo>
                <a:lnTo>
                  <a:pt x="496" y="80"/>
                </a:lnTo>
                <a:lnTo>
                  <a:pt x="497" y="83"/>
                </a:lnTo>
                <a:lnTo>
                  <a:pt x="503" y="86"/>
                </a:lnTo>
                <a:lnTo>
                  <a:pt x="504" y="87"/>
                </a:lnTo>
                <a:lnTo>
                  <a:pt x="504" y="90"/>
                </a:lnTo>
                <a:lnTo>
                  <a:pt x="505" y="90"/>
                </a:lnTo>
                <a:lnTo>
                  <a:pt x="505" y="91"/>
                </a:lnTo>
                <a:lnTo>
                  <a:pt x="508" y="93"/>
                </a:lnTo>
                <a:lnTo>
                  <a:pt x="508" y="105"/>
                </a:lnTo>
                <a:lnTo>
                  <a:pt x="509" y="106"/>
                </a:lnTo>
                <a:lnTo>
                  <a:pt x="512" y="104"/>
                </a:lnTo>
                <a:lnTo>
                  <a:pt x="515" y="104"/>
                </a:lnTo>
                <a:lnTo>
                  <a:pt x="515" y="105"/>
                </a:lnTo>
                <a:lnTo>
                  <a:pt x="517" y="112"/>
                </a:lnTo>
                <a:lnTo>
                  <a:pt x="517" y="115"/>
                </a:lnTo>
                <a:lnTo>
                  <a:pt x="521" y="117"/>
                </a:lnTo>
                <a:lnTo>
                  <a:pt x="522" y="118"/>
                </a:lnTo>
                <a:lnTo>
                  <a:pt x="526" y="123"/>
                </a:lnTo>
                <a:lnTo>
                  <a:pt x="528" y="124"/>
                </a:lnTo>
                <a:lnTo>
                  <a:pt x="529" y="126"/>
                </a:lnTo>
                <a:lnTo>
                  <a:pt x="529" y="128"/>
                </a:lnTo>
                <a:lnTo>
                  <a:pt x="528" y="130"/>
                </a:lnTo>
                <a:lnTo>
                  <a:pt x="527" y="132"/>
                </a:lnTo>
                <a:lnTo>
                  <a:pt x="523" y="133"/>
                </a:lnTo>
                <a:lnTo>
                  <a:pt x="522" y="134"/>
                </a:lnTo>
                <a:lnTo>
                  <a:pt x="522" y="153"/>
                </a:lnTo>
                <a:lnTo>
                  <a:pt x="523" y="158"/>
                </a:lnTo>
                <a:lnTo>
                  <a:pt x="523" y="159"/>
                </a:lnTo>
                <a:lnTo>
                  <a:pt x="524" y="163"/>
                </a:lnTo>
                <a:lnTo>
                  <a:pt x="524" y="167"/>
                </a:lnTo>
                <a:lnTo>
                  <a:pt x="522" y="169"/>
                </a:lnTo>
                <a:lnTo>
                  <a:pt x="521" y="170"/>
                </a:lnTo>
                <a:lnTo>
                  <a:pt x="522" y="171"/>
                </a:lnTo>
                <a:lnTo>
                  <a:pt x="520" y="176"/>
                </a:lnTo>
                <a:lnTo>
                  <a:pt x="520" y="181"/>
                </a:lnTo>
                <a:lnTo>
                  <a:pt x="522" y="182"/>
                </a:lnTo>
                <a:lnTo>
                  <a:pt x="527" y="182"/>
                </a:lnTo>
                <a:lnTo>
                  <a:pt x="529" y="183"/>
                </a:lnTo>
                <a:lnTo>
                  <a:pt x="533" y="184"/>
                </a:lnTo>
                <a:lnTo>
                  <a:pt x="534" y="185"/>
                </a:lnTo>
                <a:lnTo>
                  <a:pt x="534" y="188"/>
                </a:lnTo>
                <a:lnTo>
                  <a:pt x="533" y="190"/>
                </a:lnTo>
                <a:lnTo>
                  <a:pt x="533" y="192"/>
                </a:lnTo>
                <a:lnTo>
                  <a:pt x="534" y="194"/>
                </a:lnTo>
                <a:lnTo>
                  <a:pt x="534" y="197"/>
                </a:lnTo>
                <a:lnTo>
                  <a:pt x="533" y="200"/>
                </a:lnTo>
                <a:lnTo>
                  <a:pt x="528" y="201"/>
                </a:lnTo>
                <a:lnTo>
                  <a:pt x="527" y="202"/>
                </a:lnTo>
                <a:lnTo>
                  <a:pt x="527" y="210"/>
                </a:lnTo>
                <a:lnTo>
                  <a:pt x="526" y="212"/>
                </a:lnTo>
                <a:lnTo>
                  <a:pt x="526" y="214"/>
                </a:lnTo>
                <a:lnTo>
                  <a:pt x="528" y="216"/>
                </a:lnTo>
                <a:lnTo>
                  <a:pt x="529" y="219"/>
                </a:lnTo>
                <a:lnTo>
                  <a:pt x="529" y="224"/>
                </a:lnTo>
                <a:lnTo>
                  <a:pt x="530" y="225"/>
                </a:lnTo>
                <a:lnTo>
                  <a:pt x="532" y="228"/>
                </a:lnTo>
                <a:lnTo>
                  <a:pt x="533" y="231"/>
                </a:lnTo>
                <a:lnTo>
                  <a:pt x="534" y="231"/>
                </a:lnTo>
                <a:lnTo>
                  <a:pt x="536" y="233"/>
                </a:lnTo>
                <a:lnTo>
                  <a:pt x="539" y="239"/>
                </a:lnTo>
                <a:lnTo>
                  <a:pt x="540" y="241"/>
                </a:lnTo>
                <a:lnTo>
                  <a:pt x="541" y="243"/>
                </a:lnTo>
                <a:lnTo>
                  <a:pt x="542" y="245"/>
                </a:lnTo>
                <a:lnTo>
                  <a:pt x="543" y="251"/>
                </a:lnTo>
                <a:lnTo>
                  <a:pt x="543" y="252"/>
                </a:lnTo>
                <a:lnTo>
                  <a:pt x="542" y="253"/>
                </a:lnTo>
                <a:lnTo>
                  <a:pt x="541" y="253"/>
                </a:lnTo>
                <a:lnTo>
                  <a:pt x="540" y="255"/>
                </a:lnTo>
                <a:lnTo>
                  <a:pt x="539" y="257"/>
                </a:lnTo>
                <a:lnTo>
                  <a:pt x="539" y="258"/>
                </a:lnTo>
                <a:lnTo>
                  <a:pt x="540" y="262"/>
                </a:lnTo>
                <a:lnTo>
                  <a:pt x="540" y="264"/>
                </a:lnTo>
                <a:lnTo>
                  <a:pt x="539" y="267"/>
                </a:lnTo>
                <a:lnTo>
                  <a:pt x="539" y="277"/>
                </a:lnTo>
                <a:lnTo>
                  <a:pt x="538" y="278"/>
                </a:lnTo>
                <a:lnTo>
                  <a:pt x="535" y="280"/>
                </a:lnTo>
                <a:lnTo>
                  <a:pt x="535" y="281"/>
                </a:lnTo>
                <a:lnTo>
                  <a:pt x="533" y="283"/>
                </a:lnTo>
                <a:lnTo>
                  <a:pt x="533" y="286"/>
                </a:lnTo>
                <a:lnTo>
                  <a:pt x="532" y="286"/>
                </a:lnTo>
                <a:lnTo>
                  <a:pt x="529" y="288"/>
                </a:lnTo>
                <a:lnTo>
                  <a:pt x="528" y="290"/>
                </a:lnTo>
                <a:lnTo>
                  <a:pt x="529" y="292"/>
                </a:lnTo>
                <a:lnTo>
                  <a:pt x="529" y="296"/>
                </a:lnTo>
                <a:lnTo>
                  <a:pt x="530" y="299"/>
                </a:lnTo>
                <a:lnTo>
                  <a:pt x="530" y="300"/>
                </a:lnTo>
                <a:lnTo>
                  <a:pt x="529" y="301"/>
                </a:lnTo>
                <a:lnTo>
                  <a:pt x="529" y="305"/>
                </a:lnTo>
                <a:lnTo>
                  <a:pt x="530" y="307"/>
                </a:lnTo>
                <a:lnTo>
                  <a:pt x="530" y="310"/>
                </a:lnTo>
                <a:lnTo>
                  <a:pt x="532" y="316"/>
                </a:lnTo>
                <a:lnTo>
                  <a:pt x="534" y="318"/>
                </a:lnTo>
                <a:lnTo>
                  <a:pt x="539" y="320"/>
                </a:lnTo>
                <a:lnTo>
                  <a:pt x="540" y="321"/>
                </a:lnTo>
                <a:lnTo>
                  <a:pt x="542" y="329"/>
                </a:lnTo>
                <a:lnTo>
                  <a:pt x="543" y="330"/>
                </a:lnTo>
                <a:lnTo>
                  <a:pt x="543" y="331"/>
                </a:lnTo>
                <a:lnTo>
                  <a:pt x="545" y="331"/>
                </a:lnTo>
                <a:lnTo>
                  <a:pt x="545" y="333"/>
                </a:lnTo>
                <a:lnTo>
                  <a:pt x="546" y="338"/>
                </a:lnTo>
                <a:lnTo>
                  <a:pt x="546" y="342"/>
                </a:lnTo>
                <a:lnTo>
                  <a:pt x="548" y="347"/>
                </a:lnTo>
                <a:lnTo>
                  <a:pt x="548" y="350"/>
                </a:lnTo>
                <a:lnTo>
                  <a:pt x="551" y="353"/>
                </a:lnTo>
                <a:lnTo>
                  <a:pt x="551" y="355"/>
                </a:lnTo>
                <a:lnTo>
                  <a:pt x="549" y="357"/>
                </a:lnTo>
                <a:lnTo>
                  <a:pt x="548" y="357"/>
                </a:lnTo>
                <a:lnTo>
                  <a:pt x="545" y="356"/>
                </a:lnTo>
                <a:lnTo>
                  <a:pt x="545" y="357"/>
                </a:lnTo>
                <a:lnTo>
                  <a:pt x="546" y="357"/>
                </a:lnTo>
                <a:lnTo>
                  <a:pt x="545" y="359"/>
                </a:lnTo>
                <a:lnTo>
                  <a:pt x="542" y="357"/>
                </a:lnTo>
                <a:lnTo>
                  <a:pt x="542" y="359"/>
                </a:lnTo>
                <a:lnTo>
                  <a:pt x="541" y="359"/>
                </a:lnTo>
                <a:lnTo>
                  <a:pt x="541" y="361"/>
                </a:lnTo>
                <a:lnTo>
                  <a:pt x="539" y="361"/>
                </a:lnTo>
                <a:lnTo>
                  <a:pt x="539" y="357"/>
                </a:lnTo>
                <a:lnTo>
                  <a:pt x="538" y="357"/>
                </a:lnTo>
                <a:lnTo>
                  <a:pt x="538" y="359"/>
                </a:lnTo>
                <a:lnTo>
                  <a:pt x="534" y="359"/>
                </a:lnTo>
                <a:lnTo>
                  <a:pt x="534" y="355"/>
                </a:lnTo>
                <a:lnTo>
                  <a:pt x="533" y="354"/>
                </a:lnTo>
                <a:lnTo>
                  <a:pt x="530" y="354"/>
                </a:lnTo>
                <a:lnTo>
                  <a:pt x="530" y="355"/>
                </a:lnTo>
                <a:lnTo>
                  <a:pt x="529" y="357"/>
                </a:lnTo>
                <a:lnTo>
                  <a:pt x="527" y="357"/>
                </a:lnTo>
                <a:lnTo>
                  <a:pt x="527" y="356"/>
                </a:lnTo>
                <a:lnTo>
                  <a:pt x="522" y="356"/>
                </a:lnTo>
                <a:lnTo>
                  <a:pt x="522" y="354"/>
                </a:lnTo>
                <a:lnTo>
                  <a:pt x="521" y="354"/>
                </a:lnTo>
                <a:lnTo>
                  <a:pt x="521" y="356"/>
                </a:lnTo>
                <a:lnTo>
                  <a:pt x="520" y="356"/>
                </a:lnTo>
                <a:lnTo>
                  <a:pt x="520" y="361"/>
                </a:lnTo>
                <a:lnTo>
                  <a:pt x="518" y="361"/>
                </a:lnTo>
                <a:lnTo>
                  <a:pt x="517" y="360"/>
                </a:lnTo>
                <a:lnTo>
                  <a:pt x="517" y="355"/>
                </a:lnTo>
                <a:lnTo>
                  <a:pt x="516" y="355"/>
                </a:lnTo>
                <a:lnTo>
                  <a:pt x="516" y="356"/>
                </a:lnTo>
                <a:lnTo>
                  <a:pt x="515" y="357"/>
                </a:lnTo>
                <a:lnTo>
                  <a:pt x="512" y="357"/>
                </a:lnTo>
                <a:lnTo>
                  <a:pt x="511" y="355"/>
                </a:lnTo>
                <a:lnTo>
                  <a:pt x="509" y="355"/>
                </a:lnTo>
                <a:lnTo>
                  <a:pt x="509" y="359"/>
                </a:lnTo>
                <a:lnTo>
                  <a:pt x="511" y="361"/>
                </a:lnTo>
                <a:lnTo>
                  <a:pt x="508" y="362"/>
                </a:lnTo>
                <a:lnTo>
                  <a:pt x="508" y="363"/>
                </a:lnTo>
                <a:lnTo>
                  <a:pt x="507" y="364"/>
                </a:lnTo>
                <a:lnTo>
                  <a:pt x="507" y="366"/>
                </a:lnTo>
                <a:lnTo>
                  <a:pt x="505" y="367"/>
                </a:lnTo>
                <a:lnTo>
                  <a:pt x="504" y="367"/>
                </a:lnTo>
                <a:lnTo>
                  <a:pt x="505" y="364"/>
                </a:lnTo>
                <a:lnTo>
                  <a:pt x="504" y="362"/>
                </a:lnTo>
                <a:lnTo>
                  <a:pt x="503" y="361"/>
                </a:lnTo>
                <a:lnTo>
                  <a:pt x="501" y="361"/>
                </a:lnTo>
                <a:lnTo>
                  <a:pt x="499" y="360"/>
                </a:lnTo>
                <a:lnTo>
                  <a:pt x="498" y="360"/>
                </a:lnTo>
                <a:lnTo>
                  <a:pt x="498" y="357"/>
                </a:lnTo>
                <a:lnTo>
                  <a:pt x="496" y="357"/>
                </a:lnTo>
                <a:lnTo>
                  <a:pt x="495" y="356"/>
                </a:lnTo>
                <a:lnTo>
                  <a:pt x="493" y="353"/>
                </a:lnTo>
                <a:lnTo>
                  <a:pt x="492" y="350"/>
                </a:lnTo>
                <a:lnTo>
                  <a:pt x="487" y="347"/>
                </a:lnTo>
                <a:lnTo>
                  <a:pt x="486" y="347"/>
                </a:lnTo>
                <a:lnTo>
                  <a:pt x="486" y="348"/>
                </a:lnTo>
                <a:lnTo>
                  <a:pt x="487" y="349"/>
                </a:lnTo>
                <a:lnTo>
                  <a:pt x="487" y="350"/>
                </a:lnTo>
                <a:lnTo>
                  <a:pt x="489" y="351"/>
                </a:lnTo>
                <a:lnTo>
                  <a:pt x="489" y="360"/>
                </a:lnTo>
                <a:lnTo>
                  <a:pt x="487" y="361"/>
                </a:lnTo>
                <a:lnTo>
                  <a:pt x="487" y="362"/>
                </a:lnTo>
                <a:lnTo>
                  <a:pt x="486" y="362"/>
                </a:lnTo>
                <a:lnTo>
                  <a:pt x="486" y="360"/>
                </a:lnTo>
                <a:lnTo>
                  <a:pt x="485" y="359"/>
                </a:lnTo>
                <a:lnTo>
                  <a:pt x="483" y="357"/>
                </a:lnTo>
                <a:lnTo>
                  <a:pt x="483" y="359"/>
                </a:lnTo>
                <a:lnTo>
                  <a:pt x="481" y="360"/>
                </a:lnTo>
                <a:lnTo>
                  <a:pt x="480" y="360"/>
                </a:lnTo>
                <a:lnTo>
                  <a:pt x="480" y="357"/>
                </a:lnTo>
                <a:lnTo>
                  <a:pt x="481" y="357"/>
                </a:lnTo>
                <a:lnTo>
                  <a:pt x="481" y="355"/>
                </a:lnTo>
                <a:lnTo>
                  <a:pt x="479" y="353"/>
                </a:lnTo>
                <a:lnTo>
                  <a:pt x="479" y="351"/>
                </a:lnTo>
                <a:lnTo>
                  <a:pt x="477" y="350"/>
                </a:lnTo>
                <a:lnTo>
                  <a:pt x="474" y="351"/>
                </a:lnTo>
                <a:lnTo>
                  <a:pt x="474" y="353"/>
                </a:lnTo>
                <a:lnTo>
                  <a:pt x="473" y="354"/>
                </a:lnTo>
                <a:lnTo>
                  <a:pt x="474" y="356"/>
                </a:lnTo>
                <a:lnTo>
                  <a:pt x="474" y="357"/>
                </a:lnTo>
                <a:lnTo>
                  <a:pt x="473" y="357"/>
                </a:lnTo>
                <a:lnTo>
                  <a:pt x="473" y="360"/>
                </a:lnTo>
                <a:lnTo>
                  <a:pt x="474" y="361"/>
                </a:lnTo>
                <a:lnTo>
                  <a:pt x="473" y="364"/>
                </a:lnTo>
                <a:lnTo>
                  <a:pt x="471" y="363"/>
                </a:lnTo>
                <a:lnTo>
                  <a:pt x="470" y="361"/>
                </a:lnTo>
                <a:lnTo>
                  <a:pt x="468" y="361"/>
                </a:lnTo>
                <a:lnTo>
                  <a:pt x="468" y="363"/>
                </a:lnTo>
                <a:lnTo>
                  <a:pt x="470" y="364"/>
                </a:lnTo>
                <a:lnTo>
                  <a:pt x="471" y="364"/>
                </a:lnTo>
                <a:lnTo>
                  <a:pt x="473" y="366"/>
                </a:lnTo>
                <a:lnTo>
                  <a:pt x="474" y="366"/>
                </a:lnTo>
                <a:lnTo>
                  <a:pt x="476" y="368"/>
                </a:lnTo>
                <a:lnTo>
                  <a:pt x="476" y="370"/>
                </a:lnTo>
                <a:lnTo>
                  <a:pt x="474" y="370"/>
                </a:lnTo>
                <a:lnTo>
                  <a:pt x="473" y="372"/>
                </a:lnTo>
                <a:lnTo>
                  <a:pt x="473" y="369"/>
                </a:lnTo>
                <a:lnTo>
                  <a:pt x="471" y="367"/>
                </a:lnTo>
                <a:lnTo>
                  <a:pt x="470" y="368"/>
                </a:lnTo>
                <a:lnTo>
                  <a:pt x="471" y="369"/>
                </a:lnTo>
                <a:lnTo>
                  <a:pt x="471" y="370"/>
                </a:lnTo>
                <a:lnTo>
                  <a:pt x="470" y="372"/>
                </a:lnTo>
                <a:lnTo>
                  <a:pt x="471" y="372"/>
                </a:lnTo>
                <a:lnTo>
                  <a:pt x="471" y="375"/>
                </a:lnTo>
                <a:lnTo>
                  <a:pt x="467" y="375"/>
                </a:lnTo>
                <a:lnTo>
                  <a:pt x="471" y="376"/>
                </a:lnTo>
                <a:lnTo>
                  <a:pt x="472" y="376"/>
                </a:lnTo>
                <a:lnTo>
                  <a:pt x="473" y="374"/>
                </a:lnTo>
                <a:lnTo>
                  <a:pt x="472" y="374"/>
                </a:lnTo>
                <a:lnTo>
                  <a:pt x="471" y="372"/>
                </a:lnTo>
                <a:lnTo>
                  <a:pt x="472" y="370"/>
                </a:lnTo>
                <a:lnTo>
                  <a:pt x="473" y="372"/>
                </a:lnTo>
                <a:lnTo>
                  <a:pt x="473" y="373"/>
                </a:lnTo>
                <a:lnTo>
                  <a:pt x="476" y="374"/>
                </a:lnTo>
                <a:lnTo>
                  <a:pt x="476" y="375"/>
                </a:lnTo>
                <a:lnTo>
                  <a:pt x="473" y="376"/>
                </a:lnTo>
                <a:lnTo>
                  <a:pt x="473" y="379"/>
                </a:lnTo>
                <a:lnTo>
                  <a:pt x="474" y="379"/>
                </a:lnTo>
                <a:lnTo>
                  <a:pt x="477" y="380"/>
                </a:lnTo>
                <a:lnTo>
                  <a:pt x="477" y="384"/>
                </a:lnTo>
                <a:lnTo>
                  <a:pt x="474" y="381"/>
                </a:lnTo>
                <a:lnTo>
                  <a:pt x="473" y="381"/>
                </a:lnTo>
                <a:lnTo>
                  <a:pt x="471" y="379"/>
                </a:lnTo>
                <a:lnTo>
                  <a:pt x="470" y="380"/>
                </a:lnTo>
                <a:lnTo>
                  <a:pt x="470" y="381"/>
                </a:lnTo>
                <a:lnTo>
                  <a:pt x="468" y="381"/>
                </a:lnTo>
                <a:lnTo>
                  <a:pt x="465" y="378"/>
                </a:lnTo>
                <a:lnTo>
                  <a:pt x="461" y="376"/>
                </a:lnTo>
                <a:lnTo>
                  <a:pt x="460" y="374"/>
                </a:lnTo>
                <a:lnTo>
                  <a:pt x="459" y="374"/>
                </a:lnTo>
                <a:lnTo>
                  <a:pt x="456" y="372"/>
                </a:lnTo>
                <a:lnTo>
                  <a:pt x="454" y="370"/>
                </a:lnTo>
                <a:lnTo>
                  <a:pt x="453" y="369"/>
                </a:lnTo>
                <a:lnTo>
                  <a:pt x="452" y="367"/>
                </a:lnTo>
                <a:lnTo>
                  <a:pt x="449" y="366"/>
                </a:lnTo>
                <a:lnTo>
                  <a:pt x="449" y="364"/>
                </a:lnTo>
                <a:lnTo>
                  <a:pt x="449" y="366"/>
                </a:lnTo>
                <a:lnTo>
                  <a:pt x="450" y="369"/>
                </a:lnTo>
                <a:lnTo>
                  <a:pt x="453" y="372"/>
                </a:lnTo>
                <a:lnTo>
                  <a:pt x="458" y="374"/>
                </a:lnTo>
                <a:lnTo>
                  <a:pt x="464" y="380"/>
                </a:lnTo>
                <a:lnTo>
                  <a:pt x="465" y="380"/>
                </a:lnTo>
                <a:lnTo>
                  <a:pt x="465" y="381"/>
                </a:lnTo>
                <a:lnTo>
                  <a:pt x="467" y="384"/>
                </a:lnTo>
                <a:lnTo>
                  <a:pt x="465" y="384"/>
                </a:lnTo>
                <a:lnTo>
                  <a:pt x="464" y="385"/>
                </a:lnTo>
                <a:lnTo>
                  <a:pt x="462" y="385"/>
                </a:lnTo>
                <a:lnTo>
                  <a:pt x="462" y="386"/>
                </a:lnTo>
                <a:lnTo>
                  <a:pt x="460" y="386"/>
                </a:lnTo>
                <a:lnTo>
                  <a:pt x="454" y="385"/>
                </a:lnTo>
                <a:lnTo>
                  <a:pt x="453" y="385"/>
                </a:lnTo>
                <a:lnTo>
                  <a:pt x="455" y="388"/>
                </a:lnTo>
                <a:lnTo>
                  <a:pt x="456" y="390"/>
                </a:lnTo>
                <a:lnTo>
                  <a:pt x="456" y="387"/>
                </a:lnTo>
                <a:lnTo>
                  <a:pt x="459" y="391"/>
                </a:lnTo>
                <a:lnTo>
                  <a:pt x="460" y="392"/>
                </a:lnTo>
                <a:lnTo>
                  <a:pt x="460" y="394"/>
                </a:lnTo>
                <a:lnTo>
                  <a:pt x="459" y="396"/>
                </a:lnTo>
                <a:lnTo>
                  <a:pt x="456" y="393"/>
                </a:lnTo>
                <a:lnTo>
                  <a:pt x="456" y="398"/>
                </a:lnTo>
                <a:lnTo>
                  <a:pt x="454" y="398"/>
                </a:lnTo>
                <a:lnTo>
                  <a:pt x="454" y="397"/>
                </a:lnTo>
                <a:lnTo>
                  <a:pt x="453" y="398"/>
                </a:lnTo>
                <a:lnTo>
                  <a:pt x="450" y="398"/>
                </a:lnTo>
                <a:lnTo>
                  <a:pt x="447" y="397"/>
                </a:lnTo>
                <a:lnTo>
                  <a:pt x="446" y="397"/>
                </a:lnTo>
                <a:lnTo>
                  <a:pt x="447" y="398"/>
                </a:lnTo>
                <a:lnTo>
                  <a:pt x="443" y="398"/>
                </a:lnTo>
                <a:lnTo>
                  <a:pt x="442" y="397"/>
                </a:lnTo>
                <a:lnTo>
                  <a:pt x="440" y="397"/>
                </a:lnTo>
                <a:lnTo>
                  <a:pt x="440" y="398"/>
                </a:lnTo>
                <a:lnTo>
                  <a:pt x="437" y="399"/>
                </a:lnTo>
                <a:lnTo>
                  <a:pt x="436" y="400"/>
                </a:lnTo>
                <a:lnTo>
                  <a:pt x="437" y="400"/>
                </a:lnTo>
                <a:lnTo>
                  <a:pt x="437" y="402"/>
                </a:lnTo>
                <a:lnTo>
                  <a:pt x="436" y="403"/>
                </a:lnTo>
                <a:lnTo>
                  <a:pt x="437" y="404"/>
                </a:lnTo>
                <a:lnTo>
                  <a:pt x="439" y="404"/>
                </a:lnTo>
                <a:lnTo>
                  <a:pt x="440" y="405"/>
                </a:lnTo>
                <a:lnTo>
                  <a:pt x="440" y="406"/>
                </a:lnTo>
                <a:lnTo>
                  <a:pt x="442" y="406"/>
                </a:lnTo>
                <a:lnTo>
                  <a:pt x="442" y="405"/>
                </a:lnTo>
                <a:lnTo>
                  <a:pt x="443" y="405"/>
                </a:lnTo>
                <a:lnTo>
                  <a:pt x="445" y="407"/>
                </a:lnTo>
                <a:lnTo>
                  <a:pt x="447" y="410"/>
                </a:lnTo>
                <a:lnTo>
                  <a:pt x="447" y="411"/>
                </a:lnTo>
                <a:lnTo>
                  <a:pt x="443" y="415"/>
                </a:lnTo>
                <a:lnTo>
                  <a:pt x="441" y="415"/>
                </a:lnTo>
                <a:lnTo>
                  <a:pt x="440" y="413"/>
                </a:lnTo>
                <a:lnTo>
                  <a:pt x="440" y="412"/>
                </a:lnTo>
                <a:lnTo>
                  <a:pt x="439" y="410"/>
                </a:lnTo>
                <a:lnTo>
                  <a:pt x="439" y="409"/>
                </a:lnTo>
                <a:lnTo>
                  <a:pt x="436" y="406"/>
                </a:lnTo>
                <a:lnTo>
                  <a:pt x="435" y="406"/>
                </a:lnTo>
                <a:lnTo>
                  <a:pt x="434" y="405"/>
                </a:lnTo>
                <a:lnTo>
                  <a:pt x="433" y="403"/>
                </a:lnTo>
                <a:lnTo>
                  <a:pt x="431" y="402"/>
                </a:lnTo>
                <a:lnTo>
                  <a:pt x="430" y="403"/>
                </a:lnTo>
                <a:lnTo>
                  <a:pt x="429" y="403"/>
                </a:lnTo>
                <a:lnTo>
                  <a:pt x="428" y="405"/>
                </a:lnTo>
                <a:lnTo>
                  <a:pt x="434" y="406"/>
                </a:lnTo>
                <a:lnTo>
                  <a:pt x="435" y="407"/>
                </a:lnTo>
                <a:lnTo>
                  <a:pt x="437" y="412"/>
                </a:lnTo>
                <a:lnTo>
                  <a:pt x="440" y="416"/>
                </a:lnTo>
                <a:lnTo>
                  <a:pt x="442" y="422"/>
                </a:lnTo>
                <a:lnTo>
                  <a:pt x="443" y="424"/>
                </a:lnTo>
                <a:lnTo>
                  <a:pt x="440" y="424"/>
                </a:lnTo>
                <a:lnTo>
                  <a:pt x="441" y="425"/>
                </a:lnTo>
                <a:lnTo>
                  <a:pt x="441" y="428"/>
                </a:lnTo>
                <a:lnTo>
                  <a:pt x="440" y="430"/>
                </a:lnTo>
                <a:lnTo>
                  <a:pt x="441" y="431"/>
                </a:lnTo>
                <a:lnTo>
                  <a:pt x="442" y="431"/>
                </a:lnTo>
                <a:lnTo>
                  <a:pt x="441" y="433"/>
                </a:lnTo>
                <a:lnTo>
                  <a:pt x="436" y="433"/>
                </a:lnTo>
                <a:lnTo>
                  <a:pt x="437" y="435"/>
                </a:lnTo>
                <a:lnTo>
                  <a:pt x="437" y="436"/>
                </a:lnTo>
                <a:lnTo>
                  <a:pt x="439" y="436"/>
                </a:lnTo>
                <a:lnTo>
                  <a:pt x="437" y="437"/>
                </a:lnTo>
                <a:lnTo>
                  <a:pt x="435" y="437"/>
                </a:lnTo>
                <a:lnTo>
                  <a:pt x="435" y="439"/>
                </a:lnTo>
                <a:lnTo>
                  <a:pt x="434" y="439"/>
                </a:lnTo>
                <a:lnTo>
                  <a:pt x="433" y="440"/>
                </a:lnTo>
                <a:lnTo>
                  <a:pt x="433" y="441"/>
                </a:lnTo>
                <a:lnTo>
                  <a:pt x="434" y="442"/>
                </a:lnTo>
                <a:lnTo>
                  <a:pt x="433" y="442"/>
                </a:lnTo>
                <a:lnTo>
                  <a:pt x="428" y="443"/>
                </a:lnTo>
                <a:lnTo>
                  <a:pt x="427" y="443"/>
                </a:lnTo>
                <a:lnTo>
                  <a:pt x="427" y="445"/>
                </a:lnTo>
                <a:lnTo>
                  <a:pt x="428" y="445"/>
                </a:lnTo>
                <a:lnTo>
                  <a:pt x="428" y="446"/>
                </a:lnTo>
                <a:lnTo>
                  <a:pt x="427" y="447"/>
                </a:lnTo>
                <a:lnTo>
                  <a:pt x="427" y="448"/>
                </a:lnTo>
                <a:lnTo>
                  <a:pt x="425" y="448"/>
                </a:lnTo>
                <a:lnTo>
                  <a:pt x="425" y="453"/>
                </a:lnTo>
                <a:lnTo>
                  <a:pt x="424" y="453"/>
                </a:lnTo>
                <a:lnTo>
                  <a:pt x="424" y="455"/>
                </a:lnTo>
                <a:lnTo>
                  <a:pt x="422" y="456"/>
                </a:lnTo>
                <a:lnTo>
                  <a:pt x="421" y="455"/>
                </a:lnTo>
                <a:lnTo>
                  <a:pt x="421" y="453"/>
                </a:lnTo>
                <a:lnTo>
                  <a:pt x="420" y="453"/>
                </a:lnTo>
                <a:lnTo>
                  <a:pt x="418" y="454"/>
                </a:lnTo>
                <a:lnTo>
                  <a:pt x="418" y="456"/>
                </a:lnTo>
                <a:lnTo>
                  <a:pt x="420" y="456"/>
                </a:lnTo>
                <a:lnTo>
                  <a:pt x="421" y="458"/>
                </a:lnTo>
                <a:lnTo>
                  <a:pt x="421" y="460"/>
                </a:lnTo>
                <a:lnTo>
                  <a:pt x="427" y="460"/>
                </a:lnTo>
                <a:lnTo>
                  <a:pt x="429" y="461"/>
                </a:lnTo>
                <a:lnTo>
                  <a:pt x="430" y="461"/>
                </a:lnTo>
                <a:lnTo>
                  <a:pt x="430" y="462"/>
                </a:lnTo>
                <a:lnTo>
                  <a:pt x="429" y="464"/>
                </a:lnTo>
                <a:lnTo>
                  <a:pt x="427" y="464"/>
                </a:lnTo>
                <a:lnTo>
                  <a:pt x="428" y="465"/>
                </a:lnTo>
                <a:lnTo>
                  <a:pt x="428" y="466"/>
                </a:lnTo>
                <a:lnTo>
                  <a:pt x="430" y="468"/>
                </a:lnTo>
                <a:lnTo>
                  <a:pt x="430" y="470"/>
                </a:lnTo>
                <a:lnTo>
                  <a:pt x="429" y="470"/>
                </a:lnTo>
                <a:lnTo>
                  <a:pt x="429" y="471"/>
                </a:lnTo>
                <a:lnTo>
                  <a:pt x="427" y="468"/>
                </a:lnTo>
                <a:lnTo>
                  <a:pt x="425" y="468"/>
                </a:lnTo>
                <a:lnTo>
                  <a:pt x="424" y="467"/>
                </a:lnTo>
                <a:lnTo>
                  <a:pt x="424" y="466"/>
                </a:lnTo>
                <a:lnTo>
                  <a:pt x="423" y="465"/>
                </a:lnTo>
                <a:lnTo>
                  <a:pt x="422" y="465"/>
                </a:lnTo>
                <a:lnTo>
                  <a:pt x="422" y="470"/>
                </a:lnTo>
                <a:lnTo>
                  <a:pt x="424" y="472"/>
                </a:lnTo>
                <a:lnTo>
                  <a:pt x="427" y="472"/>
                </a:lnTo>
                <a:lnTo>
                  <a:pt x="428" y="474"/>
                </a:lnTo>
                <a:lnTo>
                  <a:pt x="427" y="474"/>
                </a:lnTo>
                <a:lnTo>
                  <a:pt x="428" y="476"/>
                </a:lnTo>
                <a:lnTo>
                  <a:pt x="428" y="477"/>
                </a:lnTo>
                <a:lnTo>
                  <a:pt x="430" y="477"/>
                </a:lnTo>
                <a:lnTo>
                  <a:pt x="430" y="479"/>
                </a:lnTo>
                <a:lnTo>
                  <a:pt x="431" y="479"/>
                </a:lnTo>
                <a:lnTo>
                  <a:pt x="431" y="482"/>
                </a:lnTo>
                <a:lnTo>
                  <a:pt x="433" y="480"/>
                </a:lnTo>
                <a:lnTo>
                  <a:pt x="433" y="477"/>
                </a:lnTo>
                <a:lnTo>
                  <a:pt x="435" y="479"/>
                </a:lnTo>
                <a:lnTo>
                  <a:pt x="435" y="482"/>
                </a:lnTo>
                <a:lnTo>
                  <a:pt x="436" y="482"/>
                </a:lnTo>
                <a:lnTo>
                  <a:pt x="436" y="479"/>
                </a:lnTo>
                <a:lnTo>
                  <a:pt x="437" y="479"/>
                </a:lnTo>
                <a:lnTo>
                  <a:pt x="437" y="483"/>
                </a:lnTo>
                <a:lnTo>
                  <a:pt x="440" y="485"/>
                </a:lnTo>
                <a:lnTo>
                  <a:pt x="439" y="486"/>
                </a:lnTo>
                <a:lnTo>
                  <a:pt x="437" y="485"/>
                </a:lnTo>
                <a:lnTo>
                  <a:pt x="437" y="484"/>
                </a:lnTo>
                <a:lnTo>
                  <a:pt x="436" y="483"/>
                </a:lnTo>
                <a:lnTo>
                  <a:pt x="435" y="485"/>
                </a:lnTo>
                <a:lnTo>
                  <a:pt x="434" y="486"/>
                </a:lnTo>
                <a:lnTo>
                  <a:pt x="433" y="485"/>
                </a:lnTo>
                <a:lnTo>
                  <a:pt x="433" y="484"/>
                </a:lnTo>
                <a:lnTo>
                  <a:pt x="431" y="484"/>
                </a:lnTo>
                <a:lnTo>
                  <a:pt x="431" y="485"/>
                </a:lnTo>
                <a:lnTo>
                  <a:pt x="433" y="485"/>
                </a:lnTo>
                <a:lnTo>
                  <a:pt x="434" y="487"/>
                </a:lnTo>
                <a:lnTo>
                  <a:pt x="434" y="486"/>
                </a:lnTo>
                <a:lnTo>
                  <a:pt x="437" y="486"/>
                </a:lnTo>
                <a:lnTo>
                  <a:pt x="437" y="492"/>
                </a:lnTo>
                <a:lnTo>
                  <a:pt x="439" y="492"/>
                </a:lnTo>
                <a:lnTo>
                  <a:pt x="440" y="491"/>
                </a:lnTo>
                <a:lnTo>
                  <a:pt x="441" y="491"/>
                </a:lnTo>
                <a:lnTo>
                  <a:pt x="441" y="490"/>
                </a:lnTo>
                <a:lnTo>
                  <a:pt x="442" y="490"/>
                </a:lnTo>
                <a:lnTo>
                  <a:pt x="442" y="493"/>
                </a:lnTo>
                <a:lnTo>
                  <a:pt x="441" y="493"/>
                </a:lnTo>
                <a:lnTo>
                  <a:pt x="441" y="495"/>
                </a:lnTo>
                <a:lnTo>
                  <a:pt x="440" y="495"/>
                </a:lnTo>
                <a:lnTo>
                  <a:pt x="439" y="496"/>
                </a:lnTo>
                <a:lnTo>
                  <a:pt x="436" y="501"/>
                </a:lnTo>
                <a:lnTo>
                  <a:pt x="433" y="504"/>
                </a:lnTo>
                <a:lnTo>
                  <a:pt x="431" y="503"/>
                </a:lnTo>
                <a:lnTo>
                  <a:pt x="431" y="502"/>
                </a:lnTo>
                <a:lnTo>
                  <a:pt x="430" y="502"/>
                </a:lnTo>
                <a:lnTo>
                  <a:pt x="430" y="505"/>
                </a:lnTo>
                <a:lnTo>
                  <a:pt x="431" y="505"/>
                </a:lnTo>
                <a:lnTo>
                  <a:pt x="431" y="507"/>
                </a:lnTo>
                <a:lnTo>
                  <a:pt x="430" y="507"/>
                </a:lnTo>
                <a:lnTo>
                  <a:pt x="429" y="508"/>
                </a:lnTo>
                <a:lnTo>
                  <a:pt x="428" y="508"/>
                </a:lnTo>
                <a:lnTo>
                  <a:pt x="428" y="507"/>
                </a:lnTo>
                <a:lnTo>
                  <a:pt x="427" y="507"/>
                </a:lnTo>
                <a:lnTo>
                  <a:pt x="422" y="515"/>
                </a:lnTo>
                <a:lnTo>
                  <a:pt x="420" y="515"/>
                </a:lnTo>
                <a:lnTo>
                  <a:pt x="418" y="519"/>
                </a:lnTo>
                <a:lnTo>
                  <a:pt x="416" y="522"/>
                </a:lnTo>
                <a:lnTo>
                  <a:pt x="415" y="525"/>
                </a:lnTo>
                <a:lnTo>
                  <a:pt x="415" y="527"/>
                </a:lnTo>
                <a:lnTo>
                  <a:pt x="414" y="530"/>
                </a:lnTo>
                <a:lnTo>
                  <a:pt x="414" y="534"/>
                </a:lnTo>
                <a:lnTo>
                  <a:pt x="412" y="535"/>
                </a:lnTo>
                <a:lnTo>
                  <a:pt x="412" y="539"/>
                </a:lnTo>
                <a:lnTo>
                  <a:pt x="411" y="539"/>
                </a:lnTo>
                <a:lnTo>
                  <a:pt x="411" y="540"/>
                </a:lnTo>
                <a:lnTo>
                  <a:pt x="410" y="540"/>
                </a:lnTo>
                <a:lnTo>
                  <a:pt x="410" y="542"/>
                </a:lnTo>
                <a:lnTo>
                  <a:pt x="409" y="545"/>
                </a:lnTo>
                <a:lnTo>
                  <a:pt x="408" y="548"/>
                </a:lnTo>
                <a:lnTo>
                  <a:pt x="408" y="550"/>
                </a:lnTo>
                <a:lnTo>
                  <a:pt x="405" y="551"/>
                </a:lnTo>
                <a:lnTo>
                  <a:pt x="404" y="551"/>
                </a:lnTo>
                <a:lnTo>
                  <a:pt x="403" y="552"/>
                </a:lnTo>
                <a:lnTo>
                  <a:pt x="403" y="553"/>
                </a:lnTo>
                <a:lnTo>
                  <a:pt x="405" y="553"/>
                </a:lnTo>
                <a:lnTo>
                  <a:pt x="404" y="556"/>
                </a:lnTo>
                <a:lnTo>
                  <a:pt x="403" y="557"/>
                </a:lnTo>
                <a:lnTo>
                  <a:pt x="402" y="554"/>
                </a:lnTo>
                <a:lnTo>
                  <a:pt x="402" y="553"/>
                </a:lnTo>
                <a:lnTo>
                  <a:pt x="400" y="553"/>
                </a:lnTo>
                <a:lnTo>
                  <a:pt x="398" y="556"/>
                </a:lnTo>
                <a:lnTo>
                  <a:pt x="396" y="553"/>
                </a:lnTo>
                <a:lnTo>
                  <a:pt x="394" y="558"/>
                </a:lnTo>
                <a:lnTo>
                  <a:pt x="393" y="559"/>
                </a:lnTo>
                <a:lnTo>
                  <a:pt x="392" y="559"/>
                </a:lnTo>
                <a:lnTo>
                  <a:pt x="392" y="566"/>
                </a:lnTo>
                <a:lnTo>
                  <a:pt x="391" y="568"/>
                </a:lnTo>
                <a:lnTo>
                  <a:pt x="390" y="568"/>
                </a:lnTo>
                <a:lnTo>
                  <a:pt x="390" y="562"/>
                </a:lnTo>
                <a:lnTo>
                  <a:pt x="389" y="560"/>
                </a:lnTo>
                <a:lnTo>
                  <a:pt x="389" y="568"/>
                </a:lnTo>
                <a:lnTo>
                  <a:pt x="387" y="570"/>
                </a:lnTo>
                <a:lnTo>
                  <a:pt x="386" y="569"/>
                </a:lnTo>
                <a:lnTo>
                  <a:pt x="386" y="565"/>
                </a:lnTo>
                <a:lnTo>
                  <a:pt x="387" y="563"/>
                </a:lnTo>
                <a:lnTo>
                  <a:pt x="385" y="565"/>
                </a:lnTo>
                <a:lnTo>
                  <a:pt x="385" y="570"/>
                </a:lnTo>
                <a:lnTo>
                  <a:pt x="381" y="570"/>
                </a:lnTo>
                <a:lnTo>
                  <a:pt x="380" y="571"/>
                </a:lnTo>
                <a:lnTo>
                  <a:pt x="379" y="570"/>
                </a:lnTo>
                <a:lnTo>
                  <a:pt x="379" y="569"/>
                </a:lnTo>
                <a:lnTo>
                  <a:pt x="377" y="569"/>
                </a:lnTo>
                <a:lnTo>
                  <a:pt x="377" y="570"/>
                </a:lnTo>
                <a:lnTo>
                  <a:pt x="375" y="570"/>
                </a:lnTo>
                <a:lnTo>
                  <a:pt x="375" y="572"/>
                </a:lnTo>
                <a:lnTo>
                  <a:pt x="377" y="575"/>
                </a:lnTo>
                <a:lnTo>
                  <a:pt x="373" y="573"/>
                </a:lnTo>
                <a:lnTo>
                  <a:pt x="372" y="573"/>
                </a:lnTo>
                <a:lnTo>
                  <a:pt x="369" y="575"/>
                </a:lnTo>
                <a:lnTo>
                  <a:pt x="369" y="577"/>
                </a:lnTo>
                <a:lnTo>
                  <a:pt x="365" y="582"/>
                </a:lnTo>
                <a:lnTo>
                  <a:pt x="365" y="588"/>
                </a:lnTo>
                <a:lnTo>
                  <a:pt x="363" y="588"/>
                </a:lnTo>
                <a:lnTo>
                  <a:pt x="363" y="589"/>
                </a:lnTo>
                <a:lnTo>
                  <a:pt x="362" y="590"/>
                </a:lnTo>
                <a:lnTo>
                  <a:pt x="361" y="590"/>
                </a:lnTo>
                <a:lnTo>
                  <a:pt x="360" y="589"/>
                </a:lnTo>
                <a:lnTo>
                  <a:pt x="360" y="587"/>
                </a:lnTo>
                <a:lnTo>
                  <a:pt x="359" y="585"/>
                </a:lnTo>
                <a:lnTo>
                  <a:pt x="359" y="584"/>
                </a:lnTo>
                <a:lnTo>
                  <a:pt x="358" y="584"/>
                </a:lnTo>
                <a:lnTo>
                  <a:pt x="358" y="582"/>
                </a:lnTo>
                <a:lnTo>
                  <a:pt x="355" y="582"/>
                </a:lnTo>
                <a:lnTo>
                  <a:pt x="353" y="579"/>
                </a:lnTo>
                <a:lnTo>
                  <a:pt x="353" y="578"/>
                </a:lnTo>
                <a:lnTo>
                  <a:pt x="352" y="578"/>
                </a:lnTo>
                <a:lnTo>
                  <a:pt x="350" y="579"/>
                </a:lnTo>
                <a:lnTo>
                  <a:pt x="350" y="581"/>
                </a:lnTo>
                <a:lnTo>
                  <a:pt x="353" y="581"/>
                </a:lnTo>
                <a:lnTo>
                  <a:pt x="352" y="583"/>
                </a:lnTo>
                <a:lnTo>
                  <a:pt x="353" y="584"/>
                </a:lnTo>
                <a:lnTo>
                  <a:pt x="354" y="584"/>
                </a:lnTo>
                <a:lnTo>
                  <a:pt x="355" y="585"/>
                </a:lnTo>
                <a:lnTo>
                  <a:pt x="354" y="587"/>
                </a:lnTo>
                <a:lnTo>
                  <a:pt x="352" y="587"/>
                </a:lnTo>
                <a:lnTo>
                  <a:pt x="353" y="588"/>
                </a:lnTo>
                <a:lnTo>
                  <a:pt x="354" y="590"/>
                </a:lnTo>
                <a:lnTo>
                  <a:pt x="354" y="593"/>
                </a:lnTo>
                <a:lnTo>
                  <a:pt x="353" y="593"/>
                </a:lnTo>
                <a:lnTo>
                  <a:pt x="352" y="590"/>
                </a:lnTo>
                <a:lnTo>
                  <a:pt x="347" y="585"/>
                </a:lnTo>
                <a:lnTo>
                  <a:pt x="347" y="587"/>
                </a:lnTo>
                <a:lnTo>
                  <a:pt x="348" y="589"/>
                </a:lnTo>
                <a:lnTo>
                  <a:pt x="347" y="590"/>
                </a:lnTo>
                <a:lnTo>
                  <a:pt x="347" y="589"/>
                </a:lnTo>
                <a:lnTo>
                  <a:pt x="346" y="588"/>
                </a:lnTo>
                <a:lnTo>
                  <a:pt x="344" y="588"/>
                </a:lnTo>
                <a:lnTo>
                  <a:pt x="344" y="599"/>
                </a:lnTo>
                <a:lnTo>
                  <a:pt x="343" y="601"/>
                </a:lnTo>
                <a:lnTo>
                  <a:pt x="342" y="601"/>
                </a:lnTo>
                <a:lnTo>
                  <a:pt x="342" y="599"/>
                </a:lnTo>
                <a:lnTo>
                  <a:pt x="341" y="601"/>
                </a:lnTo>
                <a:lnTo>
                  <a:pt x="340" y="601"/>
                </a:lnTo>
                <a:lnTo>
                  <a:pt x="338" y="602"/>
                </a:lnTo>
                <a:lnTo>
                  <a:pt x="338" y="605"/>
                </a:lnTo>
                <a:lnTo>
                  <a:pt x="337" y="607"/>
                </a:lnTo>
                <a:lnTo>
                  <a:pt x="337" y="608"/>
                </a:lnTo>
                <a:lnTo>
                  <a:pt x="338" y="608"/>
                </a:lnTo>
                <a:lnTo>
                  <a:pt x="337" y="609"/>
                </a:lnTo>
                <a:lnTo>
                  <a:pt x="336" y="609"/>
                </a:lnTo>
                <a:lnTo>
                  <a:pt x="335" y="607"/>
                </a:lnTo>
                <a:lnTo>
                  <a:pt x="334" y="609"/>
                </a:lnTo>
                <a:lnTo>
                  <a:pt x="335" y="611"/>
                </a:lnTo>
                <a:lnTo>
                  <a:pt x="337" y="611"/>
                </a:lnTo>
                <a:lnTo>
                  <a:pt x="337" y="612"/>
                </a:lnTo>
                <a:lnTo>
                  <a:pt x="336" y="612"/>
                </a:lnTo>
                <a:lnTo>
                  <a:pt x="335" y="613"/>
                </a:lnTo>
                <a:lnTo>
                  <a:pt x="335" y="614"/>
                </a:lnTo>
                <a:lnTo>
                  <a:pt x="334" y="614"/>
                </a:lnTo>
                <a:lnTo>
                  <a:pt x="333" y="613"/>
                </a:lnTo>
                <a:lnTo>
                  <a:pt x="333" y="612"/>
                </a:lnTo>
                <a:lnTo>
                  <a:pt x="331" y="611"/>
                </a:lnTo>
                <a:lnTo>
                  <a:pt x="331" y="609"/>
                </a:lnTo>
                <a:lnTo>
                  <a:pt x="329" y="607"/>
                </a:lnTo>
                <a:lnTo>
                  <a:pt x="329" y="606"/>
                </a:lnTo>
                <a:lnTo>
                  <a:pt x="328" y="606"/>
                </a:lnTo>
                <a:lnTo>
                  <a:pt x="328" y="608"/>
                </a:lnTo>
                <a:lnTo>
                  <a:pt x="327" y="608"/>
                </a:lnTo>
                <a:lnTo>
                  <a:pt x="324" y="607"/>
                </a:lnTo>
                <a:lnTo>
                  <a:pt x="322" y="607"/>
                </a:lnTo>
                <a:lnTo>
                  <a:pt x="322" y="608"/>
                </a:lnTo>
                <a:lnTo>
                  <a:pt x="329" y="612"/>
                </a:lnTo>
                <a:lnTo>
                  <a:pt x="328" y="613"/>
                </a:lnTo>
                <a:lnTo>
                  <a:pt x="324" y="613"/>
                </a:lnTo>
                <a:lnTo>
                  <a:pt x="324" y="615"/>
                </a:lnTo>
                <a:lnTo>
                  <a:pt x="323" y="615"/>
                </a:lnTo>
                <a:lnTo>
                  <a:pt x="323" y="614"/>
                </a:lnTo>
                <a:lnTo>
                  <a:pt x="322" y="613"/>
                </a:lnTo>
                <a:lnTo>
                  <a:pt x="322" y="612"/>
                </a:lnTo>
                <a:lnTo>
                  <a:pt x="325" y="612"/>
                </a:lnTo>
                <a:lnTo>
                  <a:pt x="325" y="611"/>
                </a:lnTo>
                <a:lnTo>
                  <a:pt x="321" y="609"/>
                </a:lnTo>
                <a:lnTo>
                  <a:pt x="319" y="611"/>
                </a:lnTo>
                <a:lnTo>
                  <a:pt x="321" y="611"/>
                </a:lnTo>
                <a:lnTo>
                  <a:pt x="321" y="613"/>
                </a:lnTo>
                <a:lnTo>
                  <a:pt x="322" y="615"/>
                </a:lnTo>
                <a:lnTo>
                  <a:pt x="322" y="616"/>
                </a:lnTo>
                <a:lnTo>
                  <a:pt x="316" y="614"/>
                </a:lnTo>
                <a:lnTo>
                  <a:pt x="315" y="614"/>
                </a:lnTo>
                <a:lnTo>
                  <a:pt x="315" y="615"/>
                </a:lnTo>
                <a:lnTo>
                  <a:pt x="316" y="615"/>
                </a:lnTo>
                <a:lnTo>
                  <a:pt x="317" y="616"/>
                </a:lnTo>
                <a:lnTo>
                  <a:pt x="317" y="618"/>
                </a:lnTo>
                <a:lnTo>
                  <a:pt x="318" y="619"/>
                </a:lnTo>
                <a:lnTo>
                  <a:pt x="318" y="620"/>
                </a:lnTo>
                <a:lnTo>
                  <a:pt x="317" y="621"/>
                </a:lnTo>
                <a:lnTo>
                  <a:pt x="317" y="620"/>
                </a:lnTo>
                <a:lnTo>
                  <a:pt x="313" y="620"/>
                </a:lnTo>
                <a:lnTo>
                  <a:pt x="313" y="624"/>
                </a:lnTo>
                <a:lnTo>
                  <a:pt x="312" y="626"/>
                </a:lnTo>
                <a:lnTo>
                  <a:pt x="311" y="626"/>
                </a:lnTo>
                <a:lnTo>
                  <a:pt x="311" y="630"/>
                </a:lnTo>
                <a:lnTo>
                  <a:pt x="307" y="626"/>
                </a:lnTo>
                <a:lnTo>
                  <a:pt x="306" y="626"/>
                </a:lnTo>
                <a:lnTo>
                  <a:pt x="306" y="627"/>
                </a:lnTo>
                <a:lnTo>
                  <a:pt x="307" y="628"/>
                </a:lnTo>
                <a:lnTo>
                  <a:pt x="309" y="628"/>
                </a:lnTo>
                <a:lnTo>
                  <a:pt x="309" y="630"/>
                </a:lnTo>
                <a:lnTo>
                  <a:pt x="306" y="630"/>
                </a:lnTo>
                <a:lnTo>
                  <a:pt x="305" y="628"/>
                </a:lnTo>
                <a:lnTo>
                  <a:pt x="303" y="631"/>
                </a:lnTo>
                <a:lnTo>
                  <a:pt x="300" y="631"/>
                </a:lnTo>
                <a:lnTo>
                  <a:pt x="302" y="632"/>
                </a:lnTo>
                <a:lnTo>
                  <a:pt x="313" y="632"/>
                </a:lnTo>
                <a:lnTo>
                  <a:pt x="315" y="633"/>
                </a:lnTo>
                <a:lnTo>
                  <a:pt x="315" y="636"/>
                </a:lnTo>
                <a:lnTo>
                  <a:pt x="313" y="636"/>
                </a:lnTo>
                <a:lnTo>
                  <a:pt x="313" y="633"/>
                </a:lnTo>
                <a:lnTo>
                  <a:pt x="312" y="636"/>
                </a:lnTo>
                <a:lnTo>
                  <a:pt x="311" y="636"/>
                </a:lnTo>
                <a:lnTo>
                  <a:pt x="307" y="634"/>
                </a:lnTo>
                <a:lnTo>
                  <a:pt x="307" y="637"/>
                </a:lnTo>
                <a:lnTo>
                  <a:pt x="309" y="638"/>
                </a:lnTo>
                <a:lnTo>
                  <a:pt x="312" y="638"/>
                </a:lnTo>
                <a:lnTo>
                  <a:pt x="312" y="640"/>
                </a:lnTo>
                <a:lnTo>
                  <a:pt x="310" y="640"/>
                </a:lnTo>
                <a:lnTo>
                  <a:pt x="307" y="639"/>
                </a:lnTo>
                <a:lnTo>
                  <a:pt x="307" y="640"/>
                </a:lnTo>
                <a:lnTo>
                  <a:pt x="310" y="642"/>
                </a:lnTo>
                <a:lnTo>
                  <a:pt x="310" y="644"/>
                </a:lnTo>
                <a:lnTo>
                  <a:pt x="309" y="645"/>
                </a:lnTo>
                <a:lnTo>
                  <a:pt x="307" y="645"/>
                </a:lnTo>
                <a:lnTo>
                  <a:pt x="307" y="646"/>
                </a:lnTo>
                <a:lnTo>
                  <a:pt x="304" y="646"/>
                </a:lnTo>
                <a:lnTo>
                  <a:pt x="304" y="645"/>
                </a:lnTo>
                <a:lnTo>
                  <a:pt x="303" y="643"/>
                </a:lnTo>
                <a:lnTo>
                  <a:pt x="302" y="642"/>
                </a:lnTo>
                <a:lnTo>
                  <a:pt x="300" y="642"/>
                </a:lnTo>
                <a:lnTo>
                  <a:pt x="302" y="643"/>
                </a:lnTo>
                <a:lnTo>
                  <a:pt x="299" y="643"/>
                </a:lnTo>
                <a:lnTo>
                  <a:pt x="299" y="646"/>
                </a:lnTo>
                <a:lnTo>
                  <a:pt x="300" y="648"/>
                </a:lnTo>
                <a:lnTo>
                  <a:pt x="302" y="645"/>
                </a:lnTo>
                <a:lnTo>
                  <a:pt x="303" y="646"/>
                </a:lnTo>
                <a:lnTo>
                  <a:pt x="302" y="649"/>
                </a:lnTo>
                <a:lnTo>
                  <a:pt x="299" y="651"/>
                </a:lnTo>
                <a:lnTo>
                  <a:pt x="299" y="652"/>
                </a:lnTo>
                <a:lnTo>
                  <a:pt x="298" y="651"/>
                </a:lnTo>
                <a:lnTo>
                  <a:pt x="298" y="650"/>
                </a:lnTo>
                <a:lnTo>
                  <a:pt x="299" y="649"/>
                </a:lnTo>
                <a:lnTo>
                  <a:pt x="298" y="649"/>
                </a:lnTo>
                <a:lnTo>
                  <a:pt x="298" y="650"/>
                </a:lnTo>
                <a:lnTo>
                  <a:pt x="297" y="651"/>
                </a:lnTo>
                <a:lnTo>
                  <a:pt x="297" y="652"/>
                </a:lnTo>
                <a:lnTo>
                  <a:pt x="293" y="652"/>
                </a:lnTo>
                <a:lnTo>
                  <a:pt x="294" y="651"/>
                </a:lnTo>
                <a:lnTo>
                  <a:pt x="293" y="650"/>
                </a:lnTo>
                <a:lnTo>
                  <a:pt x="291" y="650"/>
                </a:lnTo>
                <a:lnTo>
                  <a:pt x="292" y="649"/>
                </a:lnTo>
                <a:lnTo>
                  <a:pt x="296" y="649"/>
                </a:lnTo>
                <a:lnTo>
                  <a:pt x="297" y="648"/>
                </a:lnTo>
                <a:lnTo>
                  <a:pt x="294" y="646"/>
                </a:lnTo>
                <a:lnTo>
                  <a:pt x="293" y="645"/>
                </a:lnTo>
                <a:lnTo>
                  <a:pt x="291" y="646"/>
                </a:lnTo>
                <a:lnTo>
                  <a:pt x="290" y="648"/>
                </a:lnTo>
                <a:lnTo>
                  <a:pt x="290" y="649"/>
                </a:lnTo>
                <a:lnTo>
                  <a:pt x="287" y="649"/>
                </a:lnTo>
                <a:lnTo>
                  <a:pt x="287" y="639"/>
                </a:lnTo>
                <a:lnTo>
                  <a:pt x="285" y="639"/>
                </a:lnTo>
                <a:lnTo>
                  <a:pt x="284" y="636"/>
                </a:lnTo>
                <a:lnTo>
                  <a:pt x="284" y="634"/>
                </a:lnTo>
                <a:lnTo>
                  <a:pt x="282" y="633"/>
                </a:lnTo>
                <a:lnTo>
                  <a:pt x="284" y="631"/>
                </a:lnTo>
                <a:lnTo>
                  <a:pt x="282" y="631"/>
                </a:lnTo>
                <a:lnTo>
                  <a:pt x="281" y="633"/>
                </a:lnTo>
                <a:lnTo>
                  <a:pt x="280" y="633"/>
                </a:lnTo>
                <a:lnTo>
                  <a:pt x="278" y="631"/>
                </a:lnTo>
                <a:lnTo>
                  <a:pt x="278" y="632"/>
                </a:lnTo>
                <a:lnTo>
                  <a:pt x="284" y="638"/>
                </a:lnTo>
                <a:lnTo>
                  <a:pt x="286" y="643"/>
                </a:lnTo>
                <a:lnTo>
                  <a:pt x="286" y="649"/>
                </a:lnTo>
                <a:lnTo>
                  <a:pt x="287" y="650"/>
                </a:lnTo>
                <a:lnTo>
                  <a:pt x="288" y="650"/>
                </a:lnTo>
                <a:lnTo>
                  <a:pt x="288" y="655"/>
                </a:lnTo>
                <a:lnTo>
                  <a:pt x="290" y="656"/>
                </a:lnTo>
                <a:lnTo>
                  <a:pt x="291" y="658"/>
                </a:lnTo>
                <a:lnTo>
                  <a:pt x="291" y="659"/>
                </a:lnTo>
                <a:lnTo>
                  <a:pt x="290" y="661"/>
                </a:lnTo>
                <a:lnTo>
                  <a:pt x="290" y="662"/>
                </a:lnTo>
                <a:lnTo>
                  <a:pt x="291" y="662"/>
                </a:lnTo>
                <a:lnTo>
                  <a:pt x="290" y="663"/>
                </a:lnTo>
                <a:lnTo>
                  <a:pt x="288" y="662"/>
                </a:lnTo>
                <a:lnTo>
                  <a:pt x="285" y="662"/>
                </a:lnTo>
                <a:lnTo>
                  <a:pt x="286" y="663"/>
                </a:lnTo>
                <a:lnTo>
                  <a:pt x="292" y="665"/>
                </a:lnTo>
                <a:lnTo>
                  <a:pt x="292" y="668"/>
                </a:lnTo>
                <a:lnTo>
                  <a:pt x="293" y="668"/>
                </a:lnTo>
                <a:lnTo>
                  <a:pt x="293" y="669"/>
                </a:lnTo>
                <a:lnTo>
                  <a:pt x="292" y="669"/>
                </a:lnTo>
                <a:lnTo>
                  <a:pt x="290" y="671"/>
                </a:lnTo>
                <a:lnTo>
                  <a:pt x="288" y="671"/>
                </a:lnTo>
                <a:lnTo>
                  <a:pt x="288" y="667"/>
                </a:lnTo>
                <a:lnTo>
                  <a:pt x="287" y="667"/>
                </a:lnTo>
                <a:lnTo>
                  <a:pt x="287" y="673"/>
                </a:lnTo>
                <a:lnTo>
                  <a:pt x="286" y="673"/>
                </a:lnTo>
                <a:lnTo>
                  <a:pt x="285" y="674"/>
                </a:lnTo>
                <a:lnTo>
                  <a:pt x="286" y="675"/>
                </a:lnTo>
                <a:lnTo>
                  <a:pt x="285" y="677"/>
                </a:lnTo>
                <a:lnTo>
                  <a:pt x="284" y="679"/>
                </a:lnTo>
                <a:lnTo>
                  <a:pt x="282" y="679"/>
                </a:lnTo>
                <a:lnTo>
                  <a:pt x="281" y="677"/>
                </a:lnTo>
                <a:lnTo>
                  <a:pt x="281" y="676"/>
                </a:lnTo>
                <a:lnTo>
                  <a:pt x="279" y="676"/>
                </a:lnTo>
                <a:lnTo>
                  <a:pt x="276" y="679"/>
                </a:lnTo>
                <a:lnTo>
                  <a:pt x="276" y="681"/>
                </a:lnTo>
                <a:lnTo>
                  <a:pt x="278" y="682"/>
                </a:lnTo>
                <a:lnTo>
                  <a:pt x="278" y="683"/>
                </a:lnTo>
                <a:lnTo>
                  <a:pt x="273" y="682"/>
                </a:lnTo>
                <a:lnTo>
                  <a:pt x="272" y="682"/>
                </a:lnTo>
                <a:lnTo>
                  <a:pt x="271" y="681"/>
                </a:lnTo>
                <a:lnTo>
                  <a:pt x="267" y="674"/>
                </a:lnTo>
                <a:lnTo>
                  <a:pt x="266" y="674"/>
                </a:lnTo>
                <a:lnTo>
                  <a:pt x="265" y="676"/>
                </a:lnTo>
                <a:lnTo>
                  <a:pt x="263" y="677"/>
                </a:lnTo>
                <a:lnTo>
                  <a:pt x="262" y="677"/>
                </a:lnTo>
                <a:lnTo>
                  <a:pt x="262" y="680"/>
                </a:lnTo>
                <a:lnTo>
                  <a:pt x="265" y="683"/>
                </a:lnTo>
                <a:lnTo>
                  <a:pt x="265" y="686"/>
                </a:lnTo>
                <a:lnTo>
                  <a:pt x="262" y="686"/>
                </a:lnTo>
                <a:lnTo>
                  <a:pt x="263" y="687"/>
                </a:lnTo>
                <a:lnTo>
                  <a:pt x="263" y="692"/>
                </a:lnTo>
                <a:lnTo>
                  <a:pt x="265" y="693"/>
                </a:lnTo>
                <a:lnTo>
                  <a:pt x="267" y="693"/>
                </a:lnTo>
                <a:lnTo>
                  <a:pt x="267" y="694"/>
                </a:lnTo>
                <a:lnTo>
                  <a:pt x="268" y="694"/>
                </a:lnTo>
                <a:lnTo>
                  <a:pt x="268" y="697"/>
                </a:lnTo>
                <a:lnTo>
                  <a:pt x="269" y="697"/>
                </a:lnTo>
                <a:lnTo>
                  <a:pt x="269" y="698"/>
                </a:lnTo>
                <a:lnTo>
                  <a:pt x="268" y="698"/>
                </a:lnTo>
                <a:lnTo>
                  <a:pt x="272" y="700"/>
                </a:lnTo>
                <a:lnTo>
                  <a:pt x="273" y="700"/>
                </a:lnTo>
                <a:lnTo>
                  <a:pt x="275" y="701"/>
                </a:lnTo>
                <a:lnTo>
                  <a:pt x="272" y="704"/>
                </a:lnTo>
                <a:lnTo>
                  <a:pt x="272" y="705"/>
                </a:lnTo>
                <a:lnTo>
                  <a:pt x="271" y="704"/>
                </a:lnTo>
                <a:lnTo>
                  <a:pt x="272" y="701"/>
                </a:lnTo>
                <a:lnTo>
                  <a:pt x="271" y="701"/>
                </a:lnTo>
                <a:lnTo>
                  <a:pt x="271" y="702"/>
                </a:lnTo>
                <a:lnTo>
                  <a:pt x="269" y="702"/>
                </a:lnTo>
                <a:lnTo>
                  <a:pt x="269" y="710"/>
                </a:lnTo>
                <a:lnTo>
                  <a:pt x="268" y="711"/>
                </a:lnTo>
                <a:lnTo>
                  <a:pt x="268" y="716"/>
                </a:lnTo>
                <a:lnTo>
                  <a:pt x="267" y="717"/>
                </a:lnTo>
                <a:lnTo>
                  <a:pt x="268" y="717"/>
                </a:lnTo>
                <a:lnTo>
                  <a:pt x="268" y="718"/>
                </a:lnTo>
                <a:lnTo>
                  <a:pt x="266" y="720"/>
                </a:lnTo>
                <a:lnTo>
                  <a:pt x="267" y="720"/>
                </a:lnTo>
                <a:lnTo>
                  <a:pt x="267" y="722"/>
                </a:lnTo>
                <a:lnTo>
                  <a:pt x="268" y="723"/>
                </a:lnTo>
                <a:lnTo>
                  <a:pt x="265" y="723"/>
                </a:lnTo>
                <a:lnTo>
                  <a:pt x="265" y="726"/>
                </a:lnTo>
                <a:lnTo>
                  <a:pt x="263" y="726"/>
                </a:lnTo>
                <a:lnTo>
                  <a:pt x="263" y="728"/>
                </a:lnTo>
                <a:lnTo>
                  <a:pt x="262" y="729"/>
                </a:lnTo>
                <a:lnTo>
                  <a:pt x="262" y="730"/>
                </a:lnTo>
                <a:lnTo>
                  <a:pt x="263" y="731"/>
                </a:lnTo>
                <a:lnTo>
                  <a:pt x="263" y="734"/>
                </a:lnTo>
                <a:lnTo>
                  <a:pt x="262" y="735"/>
                </a:lnTo>
                <a:lnTo>
                  <a:pt x="262" y="736"/>
                </a:lnTo>
                <a:lnTo>
                  <a:pt x="263" y="736"/>
                </a:lnTo>
                <a:lnTo>
                  <a:pt x="263" y="737"/>
                </a:lnTo>
                <a:lnTo>
                  <a:pt x="262" y="737"/>
                </a:lnTo>
                <a:lnTo>
                  <a:pt x="262" y="740"/>
                </a:lnTo>
                <a:lnTo>
                  <a:pt x="263" y="740"/>
                </a:lnTo>
                <a:lnTo>
                  <a:pt x="266" y="738"/>
                </a:lnTo>
                <a:lnTo>
                  <a:pt x="265" y="740"/>
                </a:lnTo>
                <a:lnTo>
                  <a:pt x="265" y="741"/>
                </a:lnTo>
                <a:lnTo>
                  <a:pt x="263" y="741"/>
                </a:lnTo>
                <a:lnTo>
                  <a:pt x="265" y="742"/>
                </a:lnTo>
                <a:lnTo>
                  <a:pt x="265" y="748"/>
                </a:lnTo>
                <a:lnTo>
                  <a:pt x="267" y="747"/>
                </a:lnTo>
                <a:lnTo>
                  <a:pt x="269" y="747"/>
                </a:lnTo>
                <a:lnTo>
                  <a:pt x="269" y="748"/>
                </a:lnTo>
                <a:lnTo>
                  <a:pt x="271" y="749"/>
                </a:lnTo>
                <a:lnTo>
                  <a:pt x="271" y="750"/>
                </a:lnTo>
                <a:lnTo>
                  <a:pt x="269" y="751"/>
                </a:lnTo>
                <a:lnTo>
                  <a:pt x="269" y="755"/>
                </a:lnTo>
                <a:lnTo>
                  <a:pt x="268" y="756"/>
                </a:lnTo>
                <a:lnTo>
                  <a:pt x="266" y="754"/>
                </a:lnTo>
                <a:lnTo>
                  <a:pt x="265" y="750"/>
                </a:lnTo>
                <a:lnTo>
                  <a:pt x="262" y="748"/>
                </a:lnTo>
                <a:lnTo>
                  <a:pt x="262" y="750"/>
                </a:lnTo>
                <a:lnTo>
                  <a:pt x="263" y="751"/>
                </a:lnTo>
                <a:lnTo>
                  <a:pt x="261" y="751"/>
                </a:lnTo>
                <a:lnTo>
                  <a:pt x="261" y="749"/>
                </a:lnTo>
                <a:lnTo>
                  <a:pt x="260" y="748"/>
                </a:lnTo>
                <a:lnTo>
                  <a:pt x="257" y="747"/>
                </a:lnTo>
                <a:lnTo>
                  <a:pt x="254" y="747"/>
                </a:lnTo>
                <a:lnTo>
                  <a:pt x="255" y="748"/>
                </a:lnTo>
                <a:lnTo>
                  <a:pt x="255" y="749"/>
                </a:lnTo>
                <a:lnTo>
                  <a:pt x="256" y="749"/>
                </a:lnTo>
                <a:lnTo>
                  <a:pt x="260" y="750"/>
                </a:lnTo>
                <a:lnTo>
                  <a:pt x="256" y="754"/>
                </a:lnTo>
                <a:lnTo>
                  <a:pt x="255" y="754"/>
                </a:lnTo>
                <a:lnTo>
                  <a:pt x="256" y="755"/>
                </a:lnTo>
                <a:lnTo>
                  <a:pt x="255" y="755"/>
                </a:lnTo>
                <a:lnTo>
                  <a:pt x="253" y="754"/>
                </a:lnTo>
                <a:lnTo>
                  <a:pt x="253" y="755"/>
                </a:lnTo>
                <a:lnTo>
                  <a:pt x="257" y="756"/>
                </a:lnTo>
                <a:lnTo>
                  <a:pt x="259" y="757"/>
                </a:lnTo>
                <a:lnTo>
                  <a:pt x="257" y="759"/>
                </a:lnTo>
                <a:lnTo>
                  <a:pt x="257" y="757"/>
                </a:lnTo>
                <a:lnTo>
                  <a:pt x="255" y="757"/>
                </a:lnTo>
                <a:lnTo>
                  <a:pt x="255" y="756"/>
                </a:lnTo>
                <a:lnTo>
                  <a:pt x="251" y="757"/>
                </a:lnTo>
                <a:lnTo>
                  <a:pt x="254" y="757"/>
                </a:lnTo>
                <a:lnTo>
                  <a:pt x="254" y="759"/>
                </a:lnTo>
                <a:lnTo>
                  <a:pt x="253" y="760"/>
                </a:lnTo>
                <a:lnTo>
                  <a:pt x="250" y="760"/>
                </a:lnTo>
                <a:lnTo>
                  <a:pt x="251" y="761"/>
                </a:lnTo>
                <a:lnTo>
                  <a:pt x="256" y="762"/>
                </a:lnTo>
                <a:lnTo>
                  <a:pt x="251" y="762"/>
                </a:lnTo>
                <a:lnTo>
                  <a:pt x="251" y="763"/>
                </a:lnTo>
                <a:lnTo>
                  <a:pt x="253" y="763"/>
                </a:lnTo>
                <a:lnTo>
                  <a:pt x="254" y="765"/>
                </a:lnTo>
                <a:lnTo>
                  <a:pt x="255" y="765"/>
                </a:lnTo>
                <a:lnTo>
                  <a:pt x="255" y="766"/>
                </a:lnTo>
                <a:lnTo>
                  <a:pt x="254" y="766"/>
                </a:lnTo>
                <a:lnTo>
                  <a:pt x="256" y="768"/>
                </a:lnTo>
                <a:lnTo>
                  <a:pt x="255" y="769"/>
                </a:lnTo>
                <a:lnTo>
                  <a:pt x="255" y="773"/>
                </a:lnTo>
                <a:lnTo>
                  <a:pt x="256" y="773"/>
                </a:lnTo>
                <a:lnTo>
                  <a:pt x="256" y="774"/>
                </a:lnTo>
                <a:lnTo>
                  <a:pt x="255" y="774"/>
                </a:lnTo>
                <a:lnTo>
                  <a:pt x="254" y="773"/>
                </a:lnTo>
                <a:lnTo>
                  <a:pt x="254" y="774"/>
                </a:lnTo>
                <a:lnTo>
                  <a:pt x="253" y="775"/>
                </a:lnTo>
                <a:lnTo>
                  <a:pt x="253" y="777"/>
                </a:lnTo>
                <a:lnTo>
                  <a:pt x="254" y="779"/>
                </a:lnTo>
                <a:lnTo>
                  <a:pt x="255" y="780"/>
                </a:lnTo>
                <a:lnTo>
                  <a:pt x="256" y="780"/>
                </a:lnTo>
                <a:lnTo>
                  <a:pt x="256" y="781"/>
                </a:lnTo>
                <a:lnTo>
                  <a:pt x="260" y="784"/>
                </a:lnTo>
                <a:lnTo>
                  <a:pt x="257" y="784"/>
                </a:lnTo>
                <a:lnTo>
                  <a:pt x="255" y="783"/>
                </a:lnTo>
                <a:lnTo>
                  <a:pt x="255" y="784"/>
                </a:lnTo>
                <a:lnTo>
                  <a:pt x="256" y="785"/>
                </a:lnTo>
                <a:lnTo>
                  <a:pt x="257" y="785"/>
                </a:lnTo>
                <a:lnTo>
                  <a:pt x="259" y="786"/>
                </a:lnTo>
                <a:lnTo>
                  <a:pt x="256" y="786"/>
                </a:lnTo>
                <a:lnTo>
                  <a:pt x="255" y="785"/>
                </a:lnTo>
                <a:lnTo>
                  <a:pt x="256" y="787"/>
                </a:lnTo>
                <a:lnTo>
                  <a:pt x="256" y="788"/>
                </a:lnTo>
                <a:lnTo>
                  <a:pt x="257" y="791"/>
                </a:lnTo>
                <a:lnTo>
                  <a:pt x="256" y="791"/>
                </a:lnTo>
                <a:lnTo>
                  <a:pt x="255" y="792"/>
                </a:lnTo>
                <a:lnTo>
                  <a:pt x="255" y="793"/>
                </a:lnTo>
                <a:lnTo>
                  <a:pt x="256" y="794"/>
                </a:lnTo>
                <a:lnTo>
                  <a:pt x="256" y="797"/>
                </a:lnTo>
                <a:lnTo>
                  <a:pt x="255" y="797"/>
                </a:lnTo>
                <a:lnTo>
                  <a:pt x="255" y="798"/>
                </a:lnTo>
                <a:lnTo>
                  <a:pt x="256" y="799"/>
                </a:lnTo>
                <a:lnTo>
                  <a:pt x="256" y="800"/>
                </a:lnTo>
                <a:lnTo>
                  <a:pt x="255" y="802"/>
                </a:lnTo>
                <a:lnTo>
                  <a:pt x="256" y="802"/>
                </a:lnTo>
                <a:lnTo>
                  <a:pt x="256" y="804"/>
                </a:lnTo>
                <a:lnTo>
                  <a:pt x="255" y="805"/>
                </a:lnTo>
                <a:lnTo>
                  <a:pt x="255" y="808"/>
                </a:lnTo>
                <a:lnTo>
                  <a:pt x="256" y="808"/>
                </a:lnTo>
                <a:lnTo>
                  <a:pt x="256" y="809"/>
                </a:lnTo>
                <a:lnTo>
                  <a:pt x="255" y="809"/>
                </a:lnTo>
                <a:lnTo>
                  <a:pt x="255" y="810"/>
                </a:lnTo>
                <a:lnTo>
                  <a:pt x="257" y="809"/>
                </a:lnTo>
                <a:lnTo>
                  <a:pt x="259" y="809"/>
                </a:lnTo>
                <a:lnTo>
                  <a:pt x="259" y="810"/>
                </a:lnTo>
                <a:lnTo>
                  <a:pt x="256" y="811"/>
                </a:lnTo>
                <a:lnTo>
                  <a:pt x="255" y="812"/>
                </a:lnTo>
                <a:lnTo>
                  <a:pt x="255" y="816"/>
                </a:lnTo>
                <a:lnTo>
                  <a:pt x="256" y="817"/>
                </a:lnTo>
                <a:lnTo>
                  <a:pt x="257" y="817"/>
                </a:lnTo>
                <a:lnTo>
                  <a:pt x="256" y="818"/>
                </a:lnTo>
                <a:lnTo>
                  <a:pt x="257" y="818"/>
                </a:lnTo>
                <a:lnTo>
                  <a:pt x="257" y="820"/>
                </a:lnTo>
                <a:lnTo>
                  <a:pt x="259" y="820"/>
                </a:lnTo>
                <a:lnTo>
                  <a:pt x="260" y="826"/>
                </a:lnTo>
                <a:lnTo>
                  <a:pt x="259" y="826"/>
                </a:lnTo>
                <a:lnTo>
                  <a:pt x="259" y="827"/>
                </a:lnTo>
                <a:lnTo>
                  <a:pt x="260" y="827"/>
                </a:lnTo>
                <a:lnTo>
                  <a:pt x="260" y="830"/>
                </a:lnTo>
                <a:lnTo>
                  <a:pt x="261" y="830"/>
                </a:lnTo>
                <a:lnTo>
                  <a:pt x="261" y="831"/>
                </a:lnTo>
                <a:lnTo>
                  <a:pt x="262" y="831"/>
                </a:lnTo>
                <a:lnTo>
                  <a:pt x="262" y="833"/>
                </a:lnTo>
                <a:lnTo>
                  <a:pt x="261" y="833"/>
                </a:lnTo>
                <a:lnTo>
                  <a:pt x="256" y="837"/>
                </a:lnTo>
                <a:lnTo>
                  <a:pt x="259" y="837"/>
                </a:lnTo>
                <a:lnTo>
                  <a:pt x="261" y="840"/>
                </a:lnTo>
                <a:lnTo>
                  <a:pt x="263" y="841"/>
                </a:lnTo>
                <a:lnTo>
                  <a:pt x="262" y="842"/>
                </a:lnTo>
                <a:lnTo>
                  <a:pt x="262" y="843"/>
                </a:lnTo>
                <a:lnTo>
                  <a:pt x="265" y="843"/>
                </a:lnTo>
                <a:lnTo>
                  <a:pt x="266" y="842"/>
                </a:lnTo>
                <a:lnTo>
                  <a:pt x="272" y="841"/>
                </a:lnTo>
                <a:lnTo>
                  <a:pt x="273" y="841"/>
                </a:lnTo>
                <a:lnTo>
                  <a:pt x="273" y="842"/>
                </a:lnTo>
                <a:lnTo>
                  <a:pt x="275" y="845"/>
                </a:lnTo>
                <a:lnTo>
                  <a:pt x="276" y="845"/>
                </a:lnTo>
                <a:lnTo>
                  <a:pt x="274" y="847"/>
                </a:lnTo>
                <a:lnTo>
                  <a:pt x="274" y="852"/>
                </a:lnTo>
                <a:lnTo>
                  <a:pt x="276" y="854"/>
                </a:lnTo>
                <a:lnTo>
                  <a:pt x="279" y="854"/>
                </a:lnTo>
                <a:lnTo>
                  <a:pt x="279" y="852"/>
                </a:lnTo>
                <a:lnTo>
                  <a:pt x="280" y="849"/>
                </a:lnTo>
                <a:lnTo>
                  <a:pt x="282" y="847"/>
                </a:lnTo>
                <a:lnTo>
                  <a:pt x="287" y="846"/>
                </a:lnTo>
                <a:lnTo>
                  <a:pt x="288" y="846"/>
                </a:lnTo>
                <a:lnTo>
                  <a:pt x="290" y="847"/>
                </a:lnTo>
                <a:lnTo>
                  <a:pt x="290" y="852"/>
                </a:lnTo>
                <a:lnTo>
                  <a:pt x="288" y="853"/>
                </a:lnTo>
                <a:lnTo>
                  <a:pt x="290" y="853"/>
                </a:lnTo>
                <a:lnTo>
                  <a:pt x="294" y="858"/>
                </a:lnTo>
                <a:lnTo>
                  <a:pt x="294" y="859"/>
                </a:lnTo>
                <a:lnTo>
                  <a:pt x="298" y="863"/>
                </a:lnTo>
                <a:lnTo>
                  <a:pt x="302" y="865"/>
                </a:lnTo>
                <a:lnTo>
                  <a:pt x="300" y="865"/>
                </a:lnTo>
                <a:lnTo>
                  <a:pt x="299" y="866"/>
                </a:lnTo>
                <a:lnTo>
                  <a:pt x="299" y="869"/>
                </a:lnTo>
                <a:lnTo>
                  <a:pt x="302" y="869"/>
                </a:lnTo>
                <a:lnTo>
                  <a:pt x="302" y="867"/>
                </a:lnTo>
                <a:lnTo>
                  <a:pt x="303" y="866"/>
                </a:lnTo>
                <a:lnTo>
                  <a:pt x="304" y="866"/>
                </a:lnTo>
                <a:lnTo>
                  <a:pt x="305" y="867"/>
                </a:lnTo>
                <a:lnTo>
                  <a:pt x="309" y="867"/>
                </a:lnTo>
                <a:lnTo>
                  <a:pt x="309" y="870"/>
                </a:lnTo>
                <a:lnTo>
                  <a:pt x="310" y="871"/>
                </a:lnTo>
                <a:lnTo>
                  <a:pt x="310" y="872"/>
                </a:lnTo>
                <a:lnTo>
                  <a:pt x="309" y="872"/>
                </a:lnTo>
                <a:lnTo>
                  <a:pt x="315" y="874"/>
                </a:lnTo>
                <a:lnTo>
                  <a:pt x="316" y="877"/>
                </a:lnTo>
                <a:lnTo>
                  <a:pt x="315" y="878"/>
                </a:lnTo>
                <a:lnTo>
                  <a:pt x="307" y="874"/>
                </a:lnTo>
                <a:lnTo>
                  <a:pt x="306" y="873"/>
                </a:lnTo>
                <a:lnTo>
                  <a:pt x="304" y="870"/>
                </a:lnTo>
                <a:lnTo>
                  <a:pt x="304" y="872"/>
                </a:lnTo>
                <a:lnTo>
                  <a:pt x="306" y="874"/>
                </a:lnTo>
                <a:lnTo>
                  <a:pt x="309" y="879"/>
                </a:lnTo>
                <a:lnTo>
                  <a:pt x="307" y="878"/>
                </a:lnTo>
                <a:lnTo>
                  <a:pt x="307" y="879"/>
                </a:lnTo>
                <a:lnTo>
                  <a:pt x="312" y="884"/>
                </a:lnTo>
                <a:lnTo>
                  <a:pt x="313" y="883"/>
                </a:lnTo>
                <a:lnTo>
                  <a:pt x="313" y="886"/>
                </a:lnTo>
                <a:lnTo>
                  <a:pt x="315" y="889"/>
                </a:lnTo>
                <a:lnTo>
                  <a:pt x="315" y="890"/>
                </a:lnTo>
                <a:lnTo>
                  <a:pt x="316" y="889"/>
                </a:lnTo>
                <a:lnTo>
                  <a:pt x="316" y="888"/>
                </a:lnTo>
                <a:lnTo>
                  <a:pt x="315" y="886"/>
                </a:lnTo>
                <a:lnTo>
                  <a:pt x="315" y="885"/>
                </a:lnTo>
                <a:lnTo>
                  <a:pt x="316" y="884"/>
                </a:lnTo>
                <a:lnTo>
                  <a:pt x="318" y="884"/>
                </a:lnTo>
                <a:lnTo>
                  <a:pt x="322" y="888"/>
                </a:lnTo>
                <a:lnTo>
                  <a:pt x="322" y="892"/>
                </a:lnTo>
                <a:lnTo>
                  <a:pt x="323" y="894"/>
                </a:lnTo>
                <a:lnTo>
                  <a:pt x="323" y="895"/>
                </a:lnTo>
                <a:lnTo>
                  <a:pt x="324" y="896"/>
                </a:lnTo>
                <a:lnTo>
                  <a:pt x="324" y="895"/>
                </a:lnTo>
                <a:lnTo>
                  <a:pt x="323" y="894"/>
                </a:lnTo>
                <a:lnTo>
                  <a:pt x="323" y="892"/>
                </a:lnTo>
                <a:lnTo>
                  <a:pt x="322" y="890"/>
                </a:lnTo>
                <a:lnTo>
                  <a:pt x="323" y="888"/>
                </a:lnTo>
                <a:lnTo>
                  <a:pt x="324" y="886"/>
                </a:lnTo>
                <a:lnTo>
                  <a:pt x="325" y="886"/>
                </a:lnTo>
                <a:lnTo>
                  <a:pt x="325" y="891"/>
                </a:lnTo>
                <a:lnTo>
                  <a:pt x="327" y="897"/>
                </a:lnTo>
                <a:lnTo>
                  <a:pt x="329" y="901"/>
                </a:lnTo>
                <a:lnTo>
                  <a:pt x="329" y="902"/>
                </a:lnTo>
                <a:lnTo>
                  <a:pt x="331" y="903"/>
                </a:lnTo>
                <a:lnTo>
                  <a:pt x="333" y="903"/>
                </a:lnTo>
                <a:lnTo>
                  <a:pt x="333" y="906"/>
                </a:lnTo>
                <a:lnTo>
                  <a:pt x="334" y="907"/>
                </a:lnTo>
                <a:lnTo>
                  <a:pt x="335" y="907"/>
                </a:lnTo>
                <a:lnTo>
                  <a:pt x="335" y="910"/>
                </a:lnTo>
                <a:lnTo>
                  <a:pt x="334" y="910"/>
                </a:lnTo>
                <a:lnTo>
                  <a:pt x="330" y="906"/>
                </a:lnTo>
                <a:lnTo>
                  <a:pt x="329" y="903"/>
                </a:lnTo>
                <a:lnTo>
                  <a:pt x="328" y="903"/>
                </a:lnTo>
                <a:lnTo>
                  <a:pt x="328" y="904"/>
                </a:lnTo>
                <a:lnTo>
                  <a:pt x="330" y="907"/>
                </a:lnTo>
                <a:lnTo>
                  <a:pt x="330" y="908"/>
                </a:lnTo>
                <a:lnTo>
                  <a:pt x="329" y="909"/>
                </a:lnTo>
                <a:lnTo>
                  <a:pt x="327" y="914"/>
                </a:lnTo>
                <a:lnTo>
                  <a:pt x="322" y="914"/>
                </a:lnTo>
                <a:lnTo>
                  <a:pt x="322" y="916"/>
                </a:lnTo>
                <a:lnTo>
                  <a:pt x="324" y="915"/>
                </a:lnTo>
                <a:lnTo>
                  <a:pt x="328" y="915"/>
                </a:lnTo>
                <a:lnTo>
                  <a:pt x="328" y="913"/>
                </a:lnTo>
                <a:lnTo>
                  <a:pt x="330" y="909"/>
                </a:lnTo>
                <a:lnTo>
                  <a:pt x="331" y="908"/>
                </a:lnTo>
                <a:lnTo>
                  <a:pt x="331" y="909"/>
                </a:lnTo>
                <a:lnTo>
                  <a:pt x="333" y="909"/>
                </a:lnTo>
                <a:lnTo>
                  <a:pt x="333" y="915"/>
                </a:lnTo>
                <a:lnTo>
                  <a:pt x="335" y="915"/>
                </a:lnTo>
                <a:lnTo>
                  <a:pt x="336" y="916"/>
                </a:lnTo>
                <a:lnTo>
                  <a:pt x="336" y="917"/>
                </a:lnTo>
                <a:lnTo>
                  <a:pt x="334" y="920"/>
                </a:lnTo>
                <a:lnTo>
                  <a:pt x="331" y="921"/>
                </a:lnTo>
                <a:lnTo>
                  <a:pt x="331" y="920"/>
                </a:lnTo>
                <a:lnTo>
                  <a:pt x="330" y="920"/>
                </a:lnTo>
                <a:lnTo>
                  <a:pt x="329" y="919"/>
                </a:lnTo>
                <a:lnTo>
                  <a:pt x="327" y="921"/>
                </a:lnTo>
                <a:lnTo>
                  <a:pt x="323" y="922"/>
                </a:lnTo>
                <a:lnTo>
                  <a:pt x="322" y="922"/>
                </a:lnTo>
                <a:lnTo>
                  <a:pt x="322" y="923"/>
                </a:lnTo>
                <a:lnTo>
                  <a:pt x="321" y="925"/>
                </a:lnTo>
                <a:lnTo>
                  <a:pt x="321" y="926"/>
                </a:lnTo>
                <a:lnTo>
                  <a:pt x="322" y="926"/>
                </a:lnTo>
                <a:lnTo>
                  <a:pt x="322" y="927"/>
                </a:lnTo>
                <a:lnTo>
                  <a:pt x="321" y="928"/>
                </a:lnTo>
                <a:lnTo>
                  <a:pt x="319" y="928"/>
                </a:lnTo>
                <a:lnTo>
                  <a:pt x="318" y="927"/>
                </a:lnTo>
                <a:lnTo>
                  <a:pt x="319" y="929"/>
                </a:lnTo>
                <a:lnTo>
                  <a:pt x="319" y="931"/>
                </a:lnTo>
                <a:lnTo>
                  <a:pt x="318" y="931"/>
                </a:lnTo>
                <a:lnTo>
                  <a:pt x="313" y="935"/>
                </a:lnTo>
                <a:lnTo>
                  <a:pt x="311" y="935"/>
                </a:lnTo>
                <a:lnTo>
                  <a:pt x="305" y="941"/>
                </a:lnTo>
                <a:lnTo>
                  <a:pt x="302" y="940"/>
                </a:lnTo>
                <a:lnTo>
                  <a:pt x="302" y="941"/>
                </a:lnTo>
                <a:lnTo>
                  <a:pt x="303" y="943"/>
                </a:lnTo>
                <a:lnTo>
                  <a:pt x="300" y="943"/>
                </a:lnTo>
                <a:lnTo>
                  <a:pt x="302" y="944"/>
                </a:lnTo>
                <a:lnTo>
                  <a:pt x="303" y="944"/>
                </a:lnTo>
                <a:lnTo>
                  <a:pt x="302" y="945"/>
                </a:lnTo>
                <a:lnTo>
                  <a:pt x="303" y="946"/>
                </a:lnTo>
                <a:lnTo>
                  <a:pt x="305" y="946"/>
                </a:lnTo>
                <a:lnTo>
                  <a:pt x="304" y="947"/>
                </a:lnTo>
                <a:lnTo>
                  <a:pt x="300" y="947"/>
                </a:lnTo>
                <a:lnTo>
                  <a:pt x="298" y="946"/>
                </a:lnTo>
                <a:lnTo>
                  <a:pt x="297" y="945"/>
                </a:lnTo>
                <a:lnTo>
                  <a:pt x="299" y="945"/>
                </a:lnTo>
                <a:lnTo>
                  <a:pt x="299" y="943"/>
                </a:lnTo>
                <a:lnTo>
                  <a:pt x="297" y="943"/>
                </a:lnTo>
                <a:lnTo>
                  <a:pt x="297" y="944"/>
                </a:lnTo>
                <a:lnTo>
                  <a:pt x="296" y="943"/>
                </a:lnTo>
                <a:lnTo>
                  <a:pt x="294" y="944"/>
                </a:lnTo>
                <a:lnTo>
                  <a:pt x="294" y="946"/>
                </a:lnTo>
                <a:lnTo>
                  <a:pt x="293" y="947"/>
                </a:lnTo>
                <a:lnTo>
                  <a:pt x="292" y="947"/>
                </a:lnTo>
                <a:lnTo>
                  <a:pt x="291" y="946"/>
                </a:lnTo>
                <a:lnTo>
                  <a:pt x="297" y="952"/>
                </a:lnTo>
                <a:lnTo>
                  <a:pt x="294" y="952"/>
                </a:lnTo>
                <a:lnTo>
                  <a:pt x="294" y="953"/>
                </a:lnTo>
                <a:lnTo>
                  <a:pt x="298" y="953"/>
                </a:lnTo>
                <a:lnTo>
                  <a:pt x="299" y="952"/>
                </a:lnTo>
                <a:lnTo>
                  <a:pt x="299" y="953"/>
                </a:lnTo>
                <a:lnTo>
                  <a:pt x="302" y="950"/>
                </a:lnTo>
                <a:lnTo>
                  <a:pt x="304" y="949"/>
                </a:lnTo>
                <a:lnTo>
                  <a:pt x="309" y="951"/>
                </a:lnTo>
                <a:lnTo>
                  <a:pt x="309" y="952"/>
                </a:lnTo>
                <a:lnTo>
                  <a:pt x="310" y="952"/>
                </a:lnTo>
                <a:lnTo>
                  <a:pt x="311" y="951"/>
                </a:lnTo>
                <a:lnTo>
                  <a:pt x="310" y="949"/>
                </a:lnTo>
                <a:lnTo>
                  <a:pt x="309" y="947"/>
                </a:lnTo>
                <a:lnTo>
                  <a:pt x="311" y="947"/>
                </a:lnTo>
                <a:lnTo>
                  <a:pt x="309" y="945"/>
                </a:lnTo>
                <a:lnTo>
                  <a:pt x="309" y="944"/>
                </a:lnTo>
                <a:lnTo>
                  <a:pt x="311" y="944"/>
                </a:lnTo>
                <a:lnTo>
                  <a:pt x="313" y="946"/>
                </a:lnTo>
                <a:lnTo>
                  <a:pt x="313" y="947"/>
                </a:lnTo>
                <a:lnTo>
                  <a:pt x="316" y="949"/>
                </a:lnTo>
                <a:lnTo>
                  <a:pt x="316" y="950"/>
                </a:lnTo>
                <a:lnTo>
                  <a:pt x="315" y="950"/>
                </a:lnTo>
                <a:lnTo>
                  <a:pt x="316" y="951"/>
                </a:lnTo>
                <a:lnTo>
                  <a:pt x="317" y="951"/>
                </a:lnTo>
                <a:lnTo>
                  <a:pt x="318" y="953"/>
                </a:lnTo>
                <a:lnTo>
                  <a:pt x="317" y="954"/>
                </a:lnTo>
                <a:lnTo>
                  <a:pt x="313" y="954"/>
                </a:lnTo>
                <a:lnTo>
                  <a:pt x="313" y="956"/>
                </a:lnTo>
                <a:lnTo>
                  <a:pt x="312" y="956"/>
                </a:lnTo>
                <a:lnTo>
                  <a:pt x="311" y="954"/>
                </a:lnTo>
                <a:lnTo>
                  <a:pt x="305" y="954"/>
                </a:lnTo>
                <a:lnTo>
                  <a:pt x="305" y="952"/>
                </a:lnTo>
                <a:lnTo>
                  <a:pt x="304" y="952"/>
                </a:lnTo>
                <a:lnTo>
                  <a:pt x="304" y="953"/>
                </a:lnTo>
                <a:lnTo>
                  <a:pt x="303" y="953"/>
                </a:lnTo>
                <a:lnTo>
                  <a:pt x="302" y="954"/>
                </a:lnTo>
                <a:lnTo>
                  <a:pt x="303" y="954"/>
                </a:lnTo>
                <a:lnTo>
                  <a:pt x="303" y="956"/>
                </a:lnTo>
                <a:lnTo>
                  <a:pt x="304" y="956"/>
                </a:lnTo>
                <a:lnTo>
                  <a:pt x="304" y="957"/>
                </a:lnTo>
                <a:lnTo>
                  <a:pt x="302" y="957"/>
                </a:lnTo>
                <a:lnTo>
                  <a:pt x="305" y="960"/>
                </a:lnTo>
                <a:lnTo>
                  <a:pt x="304" y="960"/>
                </a:lnTo>
                <a:lnTo>
                  <a:pt x="304" y="963"/>
                </a:lnTo>
                <a:lnTo>
                  <a:pt x="306" y="963"/>
                </a:lnTo>
                <a:lnTo>
                  <a:pt x="306" y="965"/>
                </a:lnTo>
                <a:lnTo>
                  <a:pt x="307" y="964"/>
                </a:lnTo>
                <a:lnTo>
                  <a:pt x="307" y="965"/>
                </a:lnTo>
                <a:lnTo>
                  <a:pt x="309" y="965"/>
                </a:lnTo>
                <a:lnTo>
                  <a:pt x="309" y="968"/>
                </a:lnTo>
                <a:lnTo>
                  <a:pt x="307" y="969"/>
                </a:lnTo>
                <a:lnTo>
                  <a:pt x="307" y="968"/>
                </a:lnTo>
                <a:lnTo>
                  <a:pt x="306" y="968"/>
                </a:lnTo>
                <a:lnTo>
                  <a:pt x="305" y="969"/>
                </a:lnTo>
                <a:lnTo>
                  <a:pt x="304" y="969"/>
                </a:lnTo>
                <a:lnTo>
                  <a:pt x="303" y="970"/>
                </a:lnTo>
                <a:lnTo>
                  <a:pt x="304" y="970"/>
                </a:lnTo>
                <a:lnTo>
                  <a:pt x="304" y="971"/>
                </a:lnTo>
                <a:lnTo>
                  <a:pt x="300" y="974"/>
                </a:lnTo>
                <a:lnTo>
                  <a:pt x="299" y="974"/>
                </a:lnTo>
                <a:lnTo>
                  <a:pt x="299" y="972"/>
                </a:lnTo>
                <a:lnTo>
                  <a:pt x="300" y="972"/>
                </a:lnTo>
                <a:lnTo>
                  <a:pt x="302" y="971"/>
                </a:lnTo>
                <a:lnTo>
                  <a:pt x="302" y="970"/>
                </a:lnTo>
                <a:lnTo>
                  <a:pt x="300" y="970"/>
                </a:lnTo>
                <a:lnTo>
                  <a:pt x="298" y="972"/>
                </a:lnTo>
                <a:lnTo>
                  <a:pt x="296" y="972"/>
                </a:lnTo>
                <a:lnTo>
                  <a:pt x="294" y="975"/>
                </a:lnTo>
                <a:lnTo>
                  <a:pt x="292" y="975"/>
                </a:lnTo>
                <a:lnTo>
                  <a:pt x="292" y="976"/>
                </a:lnTo>
                <a:lnTo>
                  <a:pt x="291" y="976"/>
                </a:lnTo>
                <a:lnTo>
                  <a:pt x="291" y="980"/>
                </a:lnTo>
                <a:lnTo>
                  <a:pt x="290" y="981"/>
                </a:lnTo>
                <a:lnTo>
                  <a:pt x="288" y="983"/>
                </a:lnTo>
                <a:lnTo>
                  <a:pt x="288" y="984"/>
                </a:lnTo>
                <a:lnTo>
                  <a:pt x="290" y="984"/>
                </a:lnTo>
                <a:lnTo>
                  <a:pt x="290" y="986"/>
                </a:lnTo>
                <a:lnTo>
                  <a:pt x="287" y="988"/>
                </a:lnTo>
                <a:lnTo>
                  <a:pt x="286" y="987"/>
                </a:lnTo>
                <a:lnTo>
                  <a:pt x="286" y="992"/>
                </a:lnTo>
                <a:lnTo>
                  <a:pt x="285" y="990"/>
                </a:lnTo>
                <a:lnTo>
                  <a:pt x="285" y="987"/>
                </a:lnTo>
                <a:lnTo>
                  <a:pt x="284" y="987"/>
                </a:lnTo>
                <a:lnTo>
                  <a:pt x="281" y="984"/>
                </a:lnTo>
                <a:lnTo>
                  <a:pt x="281" y="986"/>
                </a:lnTo>
                <a:lnTo>
                  <a:pt x="282" y="988"/>
                </a:lnTo>
                <a:lnTo>
                  <a:pt x="281" y="989"/>
                </a:lnTo>
                <a:lnTo>
                  <a:pt x="281" y="987"/>
                </a:lnTo>
                <a:lnTo>
                  <a:pt x="280" y="987"/>
                </a:lnTo>
                <a:lnTo>
                  <a:pt x="280" y="983"/>
                </a:lnTo>
                <a:lnTo>
                  <a:pt x="279" y="981"/>
                </a:lnTo>
                <a:lnTo>
                  <a:pt x="280" y="980"/>
                </a:lnTo>
                <a:lnTo>
                  <a:pt x="280" y="970"/>
                </a:lnTo>
                <a:lnTo>
                  <a:pt x="279" y="970"/>
                </a:lnTo>
                <a:lnTo>
                  <a:pt x="279" y="975"/>
                </a:lnTo>
                <a:lnTo>
                  <a:pt x="278" y="976"/>
                </a:lnTo>
                <a:lnTo>
                  <a:pt x="278" y="975"/>
                </a:lnTo>
                <a:lnTo>
                  <a:pt x="276" y="974"/>
                </a:lnTo>
                <a:lnTo>
                  <a:pt x="276" y="972"/>
                </a:lnTo>
                <a:lnTo>
                  <a:pt x="278" y="970"/>
                </a:lnTo>
                <a:lnTo>
                  <a:pt x="278" y="969"/>
                </a:lnTo>
                <a:lnTo>
                  <a:pt x="276" y="968"/>
                </a:lnTo>
                <a:lnTo>
                  <a:pt x="276" y="970"/>
                </a:lnTo>
                <a:lnTo>
                  <a:pt x="275" y="971"/>
                </a:lnTo>
                <a:lnTo>
                  <a:pt x="275" y="972"/>
                </a:lnTo>
                <a:lnTo>
                  <a:pt x="274" y="972"/>
                </a:lnTo>
                <a:lnTo>
                  <a:pt x="274" y="977"/>
                </a:lnTo>
                <a:lnTo>
                  <a:pt x="275" y="978"/>
                </a:lnTo>
                <a:lnTo>
                  <a:pt x="274" y="980"/>
                </a:lnTo>
                <a:lnTo>
                  <a:pt x="274" y="982"/>
                </a:lnTo>
                <a:lnTo>
                  <a:pt x="275" y="981"/>
                </a:lnTo>
                <a:lnTo>
                  <a:pt x="275" y="974"/>
                </a:lnTo>
                <a:lnTo>
                  <a:pt x="276" y="974"/>
                </a:lnTo>
                <a:lnTo>
                  <a:pt x="276" y="975"/>
                </a:lnTo>
                <a:lnTo>
                  <a:pt x="278" y="976"/>
                </a:lnTo>
                <a:lnTo>
                  <a:pt x="278" y="987"/>
                </a:lnTo>
                <a:lnTo>
                  <a:pt x="275" y="987"/>
                </a:lnTo>
                <a:lnTo>
                  <a:pt x="275" y="983"/>
                </a:lnTo>
                <a:lnTo>
                  <a:pt x="274" y="983"/>
                </a:lnTo>
                <a:lnTo>
                  <a:pt x="273" y="982"/>
                </a:lnTo>
                <a:lnTo>
                  <a:pt x="273" y="984"/>
                </a:lnTo>
                <a:lnTo>
                  <a:pt x="274" y="984"/>
                </a:lnTo>
                <a:lnTo>
                  <a:pt x="274" y="988"/>
                </a:lnTo>
                <a:lnTo>
                  <a:pt x="273" y="989"/>
                </a:lnTo>
                <a:lnTo>
                  <a:pt x="272" y="988"/>
                </a:lnTo>
                <a:lnTo>
                  <a:pt x="271" y="988"/>
                </a:lnTo>
                <a:lnTo>
                  <a:pt x="272" y="989"/>
                </a:lnTo>
                <a:lnTo>
                  <a:pt x="272" y="990"/>
                </a:lnTo>
                <a:lnTo>
                  <a:pt x="273" y="990"/>
                </a:lnTo>
                <a:lnTo>
                  <a:pt x="273" y="992"/>
                </a:lnTo>
                <a:lnTo>
                  <a:pt x="272" y="992"/>
                </a:lnTo>
                <a:lnTo>
                  <a:pt x="268" y="989"/>
                </a:lnTo>
                <a:lnTo>
                  <a:pt x="268" y="993"/>
                </a:lnTo>
                <a:lnTo>
                  <a:pt x="267" y="994"/>
                </a:lnTo>
                <a:lnTo>
                  <a:pt x="267" y="995"/>
                </a:lnTo>
                <a:lnTo>
                  <a:pt x="268" y="995"/>
                </a:lnTo>
                <a:lnTo>
                  <a:pt x="269" y="996"/>
                </a:lnTo>
                <a:lnTo>
                  <a:pt x="268" y="997"/>
                </a:lnTo>
                <a:lnTo>
                  <a:pt x="262" y="996"/>
                </a:lnTo>
                <a:lnTo>
                  <a:pt x="265" y="999"/>
                </a:lnTo>
                <a:lnTo>
                  <a:pt x="263" y="1000"/>
                </a:lnTo>
                <a:lnTo>
                  <a:pt x="261" y="1000"/>
                </a:lnTo>
                <a:lnTo>
                  <a:pt x="260" y="1001"/>
                </a:lnTo>
                <a:lnTo>
                  <a:pt x="260" y="1002"/>
                </a:lnTo>
                <a:lnTo>
                  <a:pt x="255" y="1002"/>
                </a:lnTo>
                <a:lnTo>
                  <a:pt x="251" y="999"/>
                </a:lnTo>
                <a:lnTo>
                  <a:pt x="251" y="1000"/>
                </a:lnTo>
                <a:lnTo>
                  <a:pt x="249" y="1000"/>
                </a:lnTo>
                <a:lnTo>
                  <a:pt x="250" y="1001"/>
                </a:lnTo>
                <a:lnTo>
                  <a:pt x="251" y="1001"/>
                </a:lnTo>
                <a:lnTo>
                  <a:pt x="251" y="1003"/>
                </a:lnTo>
                <a:lnTo>
                  <a:pt x="250" y="1003"/>
                </a:lnTo>
                <a:lnTo>
                  <a:pt x="251" y="1005"/>
                </a:lnTo>
                <a:lnTo>
                  <a:pt x="254" y="1003"/>
                </a:lnTo>
                <a:lnTo>
                  <a:pt x="254" y="1006"/>
                </a:lnTo>
                <a:lnTo>
                  <a:pt x="253" y="1007"/>
                </a:lnTo>
                <a:lnTo>
                  <a:pt x="253" y="1008"/>
                </a:lnTo>
                <a:lnTo>
                  <a:pt x="251" y="1007"/>
                </a:lnTo>
                <a:lnTo>
                  <a:pt x="249" y="1006"/>
                </a:lnTo>
                <a:lnTo>
                  <a:pt x="247" y="1006"/>
                </a:lnTo>
                <a:lnTo>
                  <a:pt x="247" y="1007"/>
                </a:lnTo>
                <a:lnTo>
                  <a:pt x="248" y="1007"/>
                </a:lnTo>
                <a:lnTo>
                  <a:pt x="250" y="1009"/>
                </a:lnTo>
                <a:lnTo>
                  <a:pt x="249" y="1009"/>
                </a:lnTo>
                <a:lnTo>
                  <a:pt x="245" y="1011"/>
                </a:lnTo>
                <a:lnTo>
                  <a:pt x="230" y="1008"/>
                </a:lnTo>
                <a:lnTo>
                  <a:pt x="216" y="1007"/>
                </a:lnTo>
                <a:lnTo>
                  <a:pt x="217" y="1008"/>
                </a:lnTo>
                <a:lnTo>
                  <a:pt x="217" y="1009"/>
                </a:lnTo>
                <a:lnTo>
                  <a:pt x="213" y="1009"/>
                </a:lnTo>
                <a:lnTo>
                  <a:pt x="213" y="1011"/>
                </a:lnTo>
                <a:lnTo>
                  <a:pt x="215" y="1009"/>
                </a:lnTo>
                <a:lnTo>
                  <a:pt x="215" y="1011"/>
                </a:lnTo>
                <a:lnTo>
                  <a:pt x="216" y="1011"/>
                </a:lnTo>
                <a:lnTo>
                  <a:pt x="218" y="1012"/>
                </a:lnTo>
                <a:lnTo>
                  <a:pt x="219" y="1011"/>
                </a:lnTo>
                <a:lnTo>
                  <a:pt x="219" y="1009"/>
                </a:lnTo>
                <a:lnTo>
                  <a:pt x="220" y="1009"/>
                </a:lnTo>
                <a:lnTo>
                  <a:pt x="222" y="1011"/>
                </a:lnTo>
                <a:lnTo>
                  <a:pt x="222" y="1013"/>
                </a:lnTo>
                <a:lnTo>
                  <a:pt x="223" y="1013"/>
                </a:lnTo>
                <a:lnTo>
                  <a:pt x="224" y="1012"/>
                </a:lnTo>
                <a:lnTo>
                  <a:pt x="224" y="1008"/>
                </a:lnTo>
                <a:lnTo>
                  <a:pt x="225" y="1009"/>
                </a:lnTo>
                <a:lnTo>
                  <a:pt x="228" y="1011"/>
                </a:lnTo>
                <a:lnTo>
                  <a:pt x="234" y="1011"/>
                </a:lnTo>
                <a:lnTo>
                  <a:pt x="235" y="1012"/>
                </a:lnTo>
                <a:lnTo>
                  <a:pt x="240" y="1012"/>
                </a:lnTo>
                <a:lnTo>
                  <a:pt x="238" y="1013"/>
                </a:lnTo>
                <a:lnTo>
                  <a:pt x="240" y="1014"/>
                </a:lnTo>
                <a:lnTo>
                  <a:pt x="240" y="1015"/>
                </a:lnTo>
                <a:lnTo>
                  <a:pt x="241" y="1015"/>
                </a:lnTo>
                <a:lnTo>
                  <a:pt x="241" y="1017"/>
                </a:lnTo>
                <a:lnTo>
                  <a:pt x="242" y="1017"/>
                </a:lnTo>
                <a:lnTo>
                  <a:pt x="242" y="1018"/>
                </a:lnTo>
                <a:lnTo>
                  <a:pt x="241" y="1018"/>
                </a:lnTo>
                <a:lnTo>
                  <a:pt x="242" y="1019"/>
                </a:lnTo>
                <a:lnTo>
                  <a:pt x="243" y="1019"/>
                </a:lnTo>
                <a:lnTo>
                  <a:pt x="245" y="1021"/>
                </a:lnTo>
                <a:lnTo>
                  <a:pt x="244" y="1023"/>
                </a:lnTo>
                <a:lnTo>
                  <a:pt x="242" y="1023"/>
                </a:lnTo>
                <a:lnTo>
                  <a:pt x="242" y="1024"/>
                </a:lnTo>
                <a:lnTo>
                  <a:pt x="241" y="1025"/>
                </a:lnTo>
                <a:lnTo>
                  <a:pt x="238" y="1025"/>
                </a:lnTo>
                <a:lnTo>
                  <a:pt x="238" y="1026"/>
                </a:lnTo>
                <a:lnTo>
                  <a:pt x="236" y="1026"/>
                </a:lnTo>
                <a:lnTo>
                  <a:pt x="231" y="1025"/>
                </a:lnTo>
                <a:lnTo>
                  <a:pt x="224" y="1021"/>
                </a:lnTo>
                <a:lnTo>
                  <a:pt x="223" y="1023"/>
                </a:lnTo>
                <a:lnTo>
                  <a:pt x="225" y="1023"/>
                </a:lnTo>
                <a:lnTo>
                  <a:pt x="234" y="1027"/>
                </a:lnTo>
                <a:lnTo>
                  <a:pt x="235" y="1027"/>
                </a:lnTo>
                <a:lnTo>
                  <a:pt x="236" y="1029"/>
                </a:lnTo>
                <a:lnTo>
                  <a:pt x="236" y="1032"/>
                </a:lnTo>
                <a:lnTo>
                  <a:pt x="237" y="1032"/>
                </a:lnTo>
                <a:lnTo>
                  <a:pt x="237" y="1031"/>
                </a:lnTo>
                <a:lnTo>
                  <a:pt x="238" y="1031"/>
                </a:lnTo>
                <a:lnTo>
                  <a:pt x="238" y="1033"/>
                </a:lnTo>
                <a:lnTo>
                  <a:pt x="232" y="1032"/>
                </a:lnTo>
                <a:lnTo>
                  <a:pt x="236" y="1036"/>
                </a:lnTo>
                <a:lnTo>
                  <a:pt x="235" y="1036"/>
                </a:lnTo>
                <a:lnTo>
                  <a:pt x="236" y="1037"/>
                </a:lnTo>
                <a:lnTo>
                  <a:pt x="237" y="1037"/>
                </a:lnTo>
                <a:lnTo>
                  <a:pt x="237" y="1036"/>
                </a:lnTo>
                <a:lnTo>
                  <a:pt x="236" y="1036"/>
                </a:lnTo>
                <a:lnTo>
                  <a:pt x="238" y="1035"/>
                </a:lnTo>
                <a:lnTo>
                  <a:pt x="240" y="1035"/>
                </a:lnTo>
                <a:lnTo>
                  <a:pt x="240" y="1037"/>
                </a:lnTo>
                <a:lnTo>
                  <a:pt x="238" y="1037"/>
                </a:lnTo>
                <a:lnTo>
                  <a:pt x="238" y="1038"/>
                </a:lnTo>
                <a:lnTo>
                  <a:pt x="236" y="1038"/>
                </a:lnTo>
                <a:lnTo>
                  <a:pt x="236" y="1039"/>
                </a:lnTo>
                <a:lnTo>
                  <a:pt x="237" y="1039"/>
                </a:lnTo>
                <a:lnTo>
                  <a:pt x="240" y="1042"/>
                </a:lnTo>
                <a:lnTo>
                  <a:pt x="240" y="1043"/>
                </a:lnTo>
                <a:lnTo>
                  <a:pt x="241" y="1043"/>
                </a:lnTo>
                <a:lnTo>
                  <a:pt x="241" y="1046"/>
                </a:lnTo>
                <a:lnTo>
                  <a:pt x="240" y="1046"/>
                </a:lnTo>
                <a:lnTo>
                  <a:pt x="240" y="1048"/>
                </a:lnTo>
                <a:lnTo>
                  <a:pt x="241" y="1048"/>
                </a:lnTo>
                <a:lnTo>
                  <a:pt x="238" y="1050"/>
                </a:lnTo>
                <a:lnTo>
                  <a:pt x="236" y="1049"/>
                </a:lnTo>
                <a:lnTo>
                  <a:pt x="234" y="1046"/>
                </a:lnTo>
                <a:lnTo>
                  <a:pt x="232" y="1044"/>
                </a:lnTo>
                <a:lnTo>
                  <a:pt x="232" y="1046"/>
                </a:lnTo>
                <a:lnTo>
                  <a:pt x="235" y="1048"/>
                </a:lnTo>
                <a:lnTo>
                  <a:pt x="235" y="1049"/>
                </a:lnTo>
                <a:lnTo>
                  <a:pt x="234" y="1049"/>
                </a:lnTo>
                <a:lnTo>
                  <a:pt x="235" y="1050"/>
                </a:lnTo>
                <a:lnTo>
                  <a:pt x="236" y="1052"/>
                </a:lnTo>
                <a:lnTo>
                  <a:pt x="237" y="1054"/>
                </a:lnTo>
                <a:lnTo>
                  <a:pt x="236" y="1055"/>
                </a:lnTo>
                <a:lnTo>
                  <a:pt x="236" y="1056"/>
                </a:lnTo>
                <a:lnTo>
                  <a:pt x="235" y="1056"/>
                </a:lnTo>
                <a:lnTo>
                  <a:pt x="236" y="1057"/>
                </a:lnTo>
                <a:lnTo>
                  <a:pt x="237" y="1057"/>
                </a:lnTo>
                <a:lnTo>
                  <a:pt x="238" y="1058"/>
                </a:lnTo>
                <a:lnTo>
                  <a:pt x="237" y="1060"/>
                </a:lnTo>
                <a:lnTo>
                  <a:pt x="236" y="1058"/>
                </a:lnTo>
                <a:lnTo>
                  <a:pt x="235" y="1060"/>
                </a:lnTo>
                <a:lnTo>
                  <a:pt x="236" y="1061"/>
                </a:lnTo>
                <a:lnTo>
                  <a:pt x="235" y="1061"/>
                </a:lnTo>
                <a:lnTo>
                  <a:pt x="234" y="1058"/>
                </a:lnTo>
                <a:lnTo>
                  <a:pt x="234" y="1057"/>
                </a:lnTo>
                <a:lnTo>
                  <a:pt x="232" y="1058"/>
                </a:lnTo>
                <a:lnTo>
                  <a:pt x="232" y="1060"/>
                </a:lnTo>
                <a:lnTo>
                  <a:pt x="234" y="1062"/>
                </a:lnTo>
                <a:lnTo>
                  <a:pt x="235" y="1062"/>
                </a:lnTo>
                <a:lnTo>
                  <a:pt x="236" y="1063"/>
                </a:lnTo>
                <a:lnTo>
                  <a:pt x="237" y="1063"/>
                </a:lnTo>
                <a:lnTo>
                  <a:pt x="237" y="1066"/>
                </a:lnTo>
                <a:lnTo>
                  <a:pt x="240" y="1068"/>
                </a:lnTo>
                <a:lnTo>
                  <a:pt x="238" y="1068"/>
                </a:lnTo>
                <a:lnTo>
                  <a:pt x="237" y="1067"/>
                </a:lnTo>
                <a:lnTo>
                  <a:pt x="237" y="1068"/>
                </a:lnTo>
                <a:lnTo>
                  <a:pt x="238" y="1069"/>
                </a:lnTo>
                <a:lnTo>
                  <a:pt x="238" y="1070"/>
                </a:lnTo>
                <a:lnTo>
                  <a:pt x="236" y="1070"/>
                </a:lnTo>
                <a:lnTo>
                  <a:pt x="236" y="1069"/>
                </a:lnTo>
                <a:lnTo>
                  <a:pt x="235" y="1068"/>
                </a:lnTo>
                <a:lnTo>
                  <a:pt x="235" y="1069"/>
                </a:lnTo>
                <a:lnTo>
                  <a:pt x="231" y="1069"/>
                </a:lnTo>
                <a:lnTo>
                  <a:pt x="232" y="1068"/>
                </a:lnTo>
                <a:lnTo>
                  <a:pt x="231" y="1067"/>
                </a:lnTo>
                <a:lnTo>
                  <a:pt x="234" y="1067"/>
                </a:lnTo>
                <a:lnTo>
                  <a:pt x="228" y="1061"/>
                </a:lnTo>
                <a:lnTo>
                  <a:pt x="226" y="1061"/>
                </a:lnTo>
                <a:lnTo>
                  <a:pt x="226" y="1063"/>
                </a:lnTo>
                <a:lnTo>
                  <a:pt x="228" y="1063"/>
                </a:lnTo>
                <a:lnTo>
                  <a:pt x="229" y="1064"/>
                </a:lnTo>
                <a:lnTo>
                  <a:pt x="231" y="1066"/>
                </a:lnTo>
                <a:lnTo>
                  <a:pt x="230" y="1067"/>
                </a:lnTo>
                <a:lnTo>
                  <a:pt x="230" y="1069"/>
                </a:lnTo>
                <a:lnTo>
                  <a:pt x="229" y="1069"/>
                </a:lnTo>
                <a:lnTo>
                  <a:pt x="228" y="1068"/>
                </a:lnTo>
                <a:lnTo>
                  <a:pt x="226" y="1068"/>
                </a:lnTo>
                <a:lnTo>
                  <a:pt x="226" y="1069"/>
                </a:lnTo>
                <a:lnTo>
                  <a:pt x="225" y="1069"/>
                </a:lnTo>
                <a:lnTo>
                  <a:pt x="235" y="1080"/>
                </a:lnTo>
                <a:lnTo>
                  <a:pt x="236" y="1081"/>
                </a:lnTo>
                <a:lnTo>
                  <a:pt x="235" y="1081"/>
                </a:lnTo>
                <a:lnTo>
                  <a:pt x="232" y="1080"/>
                </a:lnTo>
                <a:lnTo>
                  <a:pt x="232" y="1079"/>
                </a:lnTo>
                <a:lnTo>
                  <a:pt x="229" y="1074"/>
                </a:lnTo>
                <a:lnTo>
                  <a:pt x="224" y="1069"/>
                </a:lnTo>
                <a:lnTo>
                  <a:pt x="224" y="1072"/>
                </a:lnTo>
                <a:lnTo>
                  <a:pt x="226" y="1073"/>
                </a:lnTo>
                <a:lnTo>
                  <a:pt x="229" y="1075"/>
                </a:lnTo>
                <a:lnTo>
                  <a:pt x="230" y="1078"/>
                </a:lnTo>
                <a:lnTo>
                  <a:pt x="234" y="1081"/>
                </a:lnTo>
                <a:lnTo>
                  <a:pt x="234" y="1082"/>
                </a:lnTo>
                <a:lnTo>
                  <a:pt x="235" y="1082"/>
                </a:lnTo>
                <a:lnTo>
                  <a:pt x="236" y="1083"/>
                </a:lnTo>
                <a:lnTo>
                  <a:pt x="236" y="1086"/>
                </a:lnTo>
                <a:lnTo>
                  <a:pt x="232" y="1085"/>
                </a:lnTo>
                <a:lnTo>
                  <a:pt x="231" y="1085"/>
                </a:lnTo>
                <a:lnTo>
                  <a:pt x="231" y="1086"/>
                </a:lnTo>
                <a:lnTo>
                  <a:pt x="232" y="1087"/>
                </a:lnTo>
                <a:lnTo>
                  <a:pt x="232" y="1091"/>
                </a:lnTo>
                <a:lnTo>
                  <a:pt x="231" y="1091"/>
                </a:lnTo>
                <a:lnTo>
                  <a:pt x="231" y="1092"/>
                </a:lnTo>
                <a:lnTo>
                  <a:pt x="230" y="1093"/>
                </a:lnTo>
                <a:lnTo>
                  <a:pt x="229" y="1092"/>
                </a:lnTo>
                <a:lnTo>
                  <a:pt x="229" y="1093"/>
                </a:lnTo>
                <a:lnTo>
                  <a:pt x="228" y="1093"/>
                </a:lnTo>
                <a:lnTo>
                  <a:pt x="229" y="1094"/>
                </a:lnTo>
                <a:lnTo>
                  <a:pt x="228" y="1094"/>
                </a:lnTo>
                <a:lnTo>
                  <a:pt x="228" y="1095"/>
                </a:lnTo>
                <a:lnTo>
                  <a:pt x="232" y="1095"/>
                </a:lnTo>
                <a:lnTo>
                  <a:pt x="234" y="1099"/>
                </a:lnTo>
                <a:lnTo>
                  <a:pt x="235" y="1101"/>
                </a:lnTo>
                <a:lnTo>
                  <a:pt x="235" y="1103"/>
                </a:lnTo>
                <a:lnTo>
                  <a:pt x="234" y="1103"/>
                </a:lnTo>
                <a:lnTo>
                  <a:pt x="235" y="1104"/>
                </a:lnTo>
                <a:lnTo>
                  <a:pt x="232" y="1104"/>
                </a:lnTo>
                <a:lnTo>
                  <a:pt x="232" y="1106"/>
                </a:lnTo>
                <a:lnTo>
                  <a:pt x="234" y="1106"/>
                </a:lnTo>
                <a:lnTo>
                  <a:pt x="235" y="1107"/>
                </a:lnTo>
                <a:lnTo>
                  <a:pt x="232" y="1107"/>
                </a:lnTo>
                <a:lnTo>
                  <a:pt x="232" y="1110"/>
                </a:lnTo>
                <a:lnTo>
                  <a:pt x="230" y="1109"/>
                </a:lnTo>
                <a:lnTo>
                  <a:pt x="229" y="1110"/>
                </a:lnTo>
                <a:lnTo>
                  <a:pt x="229" y="1111"/>
                </a:lnTo>
                <a:lnTo>
                  <a:pt x="230" y="1112"/>
                </a:lnTo>
                <a:lnTo>
                  <a:pt x="230" y="1113"/>
                </a:lnTo>
                <a:lnTo>
                  <a:pt x="229" y="1113"/>
                </a:lnTo>
                <a:lnTo>
                  <a:pt x="230" y="1115"/>
                </a:lnTo>
                <a:lnTo>
                  <a:pt x="226" y="1117"/>
                </a:lnTo>
                <a:lnTo>
                  <a:pt x="225" y="1118"/>
                </a:lnTo>
                <a:lnTo>
                  <a:pt x="226" y="1121"/>
                </a:lnTo>
                <a:lnTo>
                  <a:pt x="225" y="1122"/>
                </a:lnTo>
                <a:lnTo>
                  <a:pt x="225" y="1125"/>
                </a:lnTo>
                <a:lnTo>
                  <a:pt x="226" y="1128"/>
                </a:lnTo>
                <a:lnTo>
                  <a:pt x="228" y="1129"/>
                </a:lnTo>
                <a:lnTo>
                  <a:pt x="228" y="1130"/>
                </a:lnTo>
                <a:lnTo>
                  <a:pt x="229" y="1130"/>
                </a:lnTo>
                <a:lnTo>
                  <a:pt x="229" y="1131"/>
                </a:lnTo>
                <a:lnTo>
                  <a:pt x="230" y="1132"/>
                </a:lnTo>
                <a:lnTo>
                  <a:pt x="229" y="1134"/>
                </a:lnTo>
                <a:lnTo>
                  <a:pt x="230" y="1134"/>
                </a:lnTo>
                <a:lnTo>
                  <a:pt x="230" y="1136"/>
                </a:lnTo>
                <a:lnTo>
                  <a:pt x="229" y="1135"/>
                </a:lnTo>
                <a:lnTo>
                  <a:pt x="228" y="1135"/>
                </a:lnTo>
                <a:lnTo>
                  <a:pt x="228" y="1136"/>
                </a:lnTo>
                <a:lnTo>
                  <a:pt x="226" y="1136"/>
                </a:lnTo>
                <a:lnTo>
                  <a:pt x="225" y="1135"/>
                </a:lnTo>
                <a:lnTo>
                  <a:pt x="224" y="1135"/>
                </a:lnTo>
                <a:lnTo>
                  <a:pt x="225" y="1136"/>
                </a:lnTo>
                <a:lnTo>
                  <a:pt x="225" y="1137"/>
                </a:lnTo>
                <a:lnTo>
                  <a:pt x="224" y="1138"/>
                </a:lnTo>
                <a:lnTo>
                  <a:pt x="224" y="1141"/>
                </a:lnTo>
                <a:lnTo>
                  <a:pt x="225" y="1142"/>
                </a:lnTo>
                <a:lnTo>
                  <a:pt x="225" y="1144"/>
                </a:lnTo>
                <a:lnTo>
                  <a:pt x="224" y="1147"/>
                </a:lnTo>
                <a:lnTo>
                  <a:pt x="224" y="1150"/>
                </a:lnTo>
                <a:lnTo>
                  <a:pt x="223" y="1154"/>
                </a:lnTo>
                <a:lnTo>
                  <a:pt x="223" y="1155"/>
                </a:lnTo>
                <a:lnTo>
                  <a:pt x="224" y="1155"/>
                </a:lnTo>
                <a:lnTo>
                  <a:pt x="224" y="1156"/>
                </a:lnTo>
                <a:lnTo>
                  <a:pt x="223" y="1156"/>
                </a:lnTo>
                <a:lnTo>
                  <a:pt x="222" y="1158"/>
                </a:lnTo>
                <a:lnTo>
                  <a:pt x="220" y="1158"/>
                </a:lnTo>
                <a:lnTo>
                  <a:pt x="222" y="1159"/>
                </a:lnTo>
                <a:lnTo>
                  <a:pt x="222" y="1166"/>
                </a:lnTo>
                <a:lnTo>
                  <a:pt x="219" y="1166"/>
                </a:lnTo>
                <a:lnTo>
                  <a:pt x="219" y="1165"/>
                </a:lnTo>
                <a:lnTo>
                  <a:pt x="218" y="1166"/>
                </a:lnTo>
                <a:lnTo>
                  <a:pt x="217" y="1166"/>
                </a:lnTo>
                <a:lnTo>
                  <a:pt x="217" y="1167"/>
                </a:lnTo>
                <a:lnTo>
                  <a:pt x="216" y="1169"/>
                </a:lnTo>
                <a:lnTo>
                  <a:pt x="216" y="1171"/>
                </a:lnTo>
                <a:lnTo>
                  <a:pt x="215" y="1172"/>
                </a:lnTo>
                <a:lnTo>
                  <a:pt x="215" y="1175"/>
                </a:lnTo>
                <a:lnTo>
                  <a:pt x="213" y="1175"/>
                </a:lnTo>
                <a:lnTo>
                  <a:pt x="213" y="1177"/>
                </a:lnTo>
                <a:lnTo>
                  <a:pt x="210" y="1184"/>
                </a:lnTo>
                <a:lnTo>
                  <a:pt x="209" y="1190"/>
                </a:lnTo>
                <a:lnTo>
                  <a:pt x="207" y="1197"/>
                </a:lnTo>
                <a:lnTo>
                  <a:pt x="206" y="1198"/>
                </a:lnTo>
                <a:lnTo>
                  <a:pt x="206" y="1199"/>
                </a:lnTo>
                <a:lnTo>
                  <a:pt x="203" y="1203"/>
                </a:lnTo>
                <a:lnTo>
                  <a:pt x="200" y="1208"/>
                </a:lnTo>
                <a:lnTo>
                  <a:pt x="200" y="1209"/>
                </a:lnTo>
                <a:lnTo>
                  <a:pt x="198" y="1209"/>
                </a:lnTo>
                <a:lnTo>
                  <a:pt x="197" y="1208"/>
                </a:lnTo>
                <a:lnTo>
                  <a:pt x="198" y="1205"/>
                </a:lnTo>
                <a:lnTo>
                  <a:pt x="199" y="1204"/>
                </a:lnTo>
                <a:lnTo>
                  <a:pt x="198" y="1203"/>
                </a:lnTo>
                <a:lnTo>
                  <a:pt x="195" y="1204"/>
                </a:lnTo>
                <a:lnTo>
                  <a:pt x="194" y="1204"/>
                </a:lnTo>
                <a:lnTo>
                  <a:pt x="194" y="1203"/>
                </a:lnTo>
                <a:lnTo>
                  <a:pt x="193" y="1203"/>
                </a:lnTo>
                <a:lnTo>
                  <a:pt x="193" y="1202"/>
                </a:lnTo>
                <a:lnTo>
                  <a:pt x="192" y="1202"/>
                </a:lnTo>
                <a:lnTo>
                  <a:pt x="191" y="1201"/>
                </a:lnTo>
                <a:lnTo>
                  <a:pt x="191" y="1202"/>
                </a:lnTo>
                <a:lnTo>
                  <a:pt x="188" y="1204"/>
                </a:lnTo>
                <a:lnTo>
                  <a:pt x="188" y="1202"/>
                </a:lnTo>
                <a:lnTo>
                  <a:pt x="189" y="1201"/>
                </a:lnTo>
                <a:lnTo>
                  <a:pt x="188" y="1201"/>
                </a:lnTo>
                <a:lnTo>
                  <a:pt x="186" y="1202"/>
                </a:lnTo>
                <a:lnTo>
                  <a:pt x="185" y="1203"/>
                </a:lnTo>
                <a:lnTo>
                  <a:pt x="185" y="1204"/>
                </a:lnTo>
                <a:lnTo>
                  <a:pt x="184" y="1204"/>
                </a:lnTo>
                <a:lnTo>
                  <a:pt x="182" y="1203"/>
                </a:lnTo>
                <a:lnTo>
                  <a:pt x="182" y="1202"/>
                </a:lnTo>
                <a:lnTo>
                  <a:pt x="181" y="1202"/>
                </a:lnTo>
                <a:lnTo>
                  <a:pt x="180" y="1203"/>
                </a:lnTo>
                <a:lnTo>
                  <a:pt x="180" y="1205"/>
                </a:lnTo>
                <a:lnTo>
                  <a:pt x="176" y="1205"/>
                </a:lnTo>
                <a:lnTo>
                  <a:pt x="176" y="1202"/>
                </a:lnTo>
                <a:lnTo>
                  <a:pt x="174" y="1204"/>
                </a:lnTo>
                <a:lnTo>
                  <a:pt x="172" y="1204"/>
                </a:lnTo>
                <a:lnTo>
                  <a:pt x="170" y="1203"/>
                </a:lnTo>
                <a:lnTo>
                  <a:pt x="169" y="1203"/>
                </a:lnTo>
                <a:lnTo>
                  <a:pt x="169" y="1204"/>
                </a:lnTo>
                <a:lnTo>
                  <a:pt x="168" y="1204"/>
                </a:lnTo>
                <a:lnTo>
                  <a:pt x="167" y="1203"/>
                </a:lnTo>
                <a:lnTo>
                  <a:pt x="167" y="1202"/>
                </a:lnTo>
                <a:lnTo>
                  <a:pt x="166" y="1202"/>
                </a:lnTo>
                <a:lnTo>
                  <a:pt x="166" y="1204"/>
                </a:lnTo>
                <a:lnTo>
                  <a:pt x="163" y="1203"/>
                </a:lnTo>
                <a:lnTo>
                  <a:pt x="161" y="1203"/>
                </a:lnTo>
                <a:lnTo>
                  <a:pt x="160" y="1204"/>
                </a:lnTo>
                <a:lnTo>
                  <a:pt x="158" y="1203"/>
                </a:lnTo>
                <a:lnTo>
                  <a:pt x="157" y="1203"/>
                </a:lnTo>
                <a:lnTo>
                  <a:pt x="157" y="1204"/>
                </a:lnTo>
                <a:lnTo>
                  <a:pt x="156" y="1205"/>
                </a:lnTo>
                <a:lnTo>
                  <a:pt x="156" y="1204"/>
                </a:lnTo>
                <a:lnTo>
                  <a:pt x="155" y="1204"/>
                </a:lnTo>
                <a:lnTo>
                  <a:pt x="154" y="1203"/>
                </a:lnTo>
                <a:lnTo>
                  <a:pt x="153" y="1203"/>
                </a:lnTo>
                <a:lnTo>
                  <a:pt x="151" y="1204"/>
                </a:lnTo>
                <a:lnTo>
                  <a:pt x="150" y="1204"/>
                </a:lnTo>
                <a:lnTo>
                  <a:pt x="150" y="1208"/>
                </a:lnTo>
                <a:lnTo>
                  <a:pt x="151" y="1208"/>
                </a:lnTo>
                <a:lnTo>
                  <a:pt x="151" y="1209"/>
                </a:lnTo>
                <a:lnTo>
                  <a:pt x="153" y="1209"/>
                </a:lnTo>
                <a:lnTo>
                  <a:pt x="154" y="1211"/>
                </a:lnTo>
                <a:lnTo>
                  <a:pt x="154" y="1214"/>
                </a:lnTo>
                <a:lnTo>
                  <a:pt x="153" y="1214"/>
                </a:lnTo>
                <a:lnTo>
                  <a:pt x="153" y="1215"/>
                </a:lnTo>
                <a:lnTo>
                  <a:pt x="151" y="1216"/>
                </a:lnTo>
                <a:lnTo>
                  <a:pt x="151" y="1215"/>
                </a:lnTo>
                <a:lnTo>
                  <a:pt x="148" y="1215"/>
                </a:lnTo>
                <a:lnTo>
                  <a:pt x="148" y="1212"/>
                </a:lnTo>
                <a:lnTo>
                  <a:pt x="145" y="1212"/>
                </a:lnTo>
                <a:lnTo>
                  <a:pt x="145" y="1211"/>
                </a:lnTo>
                <a:lnTo>
                  <a:pt x="144" y="1212"/>
                </a:lnTo>
                <a:lnTo>
                  <a:pt x="143" y="1212"/>
                </a:lnTo>
                <a:lnTo>
                  <a:pt x="142" y="1214"/>
                </a:lnTo>
                <a:lnTo>
                  <a:pt x="141" y="1216"/>
                </a:lnTo>
                <a:lnTo>
                  <a:pt x="138" y="1217"/>
                </a:lnTo>
                <a:lnTo>
                  <a:pt x="138" y="1218"/>
                </a:lnTo>
                <a:lnTo>
                  <a:pt x="137" y="1218"/>
                </a:lnTo>
                <a:lnTo>
                  <a:pt x="136" y="1220"/>
                </a:lnTo>
                <a:lnTo>
                  <a:pt x="136" y="1221"/>
                </a:lnTo>
                <a:lnTo>
                  <a:pt x="135" y="1222"/>
                </a:lnTo>
                <a:lnTo>
                  <a:pt x="135" y="1223"/>
                </a:lnTo>
                <a:lnTo>
                  <a:pt x="133" y="1223"/>
                </a:lnTo>
                <a:lnTo>
                  <a:pt x="131" y="1226"/>
                </a:lnTo>
                <a:lnTo>
                  <a:pt x="130" y="1229"/>
                </a:lnTo>
                <a:lnTo>
                  <a:pt x="130" y="1238"/>
                </a:lnTo>
                <a:lnTo>
                  <a:pt x="133" y="1241"/>
                </a:lnTo>
                <a:lnTo>
                  <a:pt x="133" y="1245"/>
                </a:lnTo>
                <a:lnTo>
                  <a:pt x="137" y="1248"/>
                </a:lnTo>
                <a:lnTo>
                  <a:pt x="137" y="1252"/>
                </a:lnTo>
                <a:lnTo>
                  <a:pt x="136" y="1252"/>
                </a:lnTo>
                <a:lnTo>
                  <a:pt x="133" y="1255"/>
                </a:lnTo>
                <a:lnTo>
                  <a:pt x="132" y="1257"/>
                </a:lnTo>
                <a:lnTo>
                  <a:pt x="131" y="1260"/>
                </a:lnTo>
                <a:lnTo>
                  <a:pt x="130" y="1260"/>
                </a:lnTo>
                <a:lnTo>
                  <a:pt x="129" y="1261"/>
                </a:lnTo>
                <a:lnTo>
                  <a:pt x="123" y="1261"/>
                </a:lnTo>
                <a:lnTo>
                  <a:pt x="120" y="1258"/>
                </a:lnTo>
                <a:lnTo>
                  <a:pt x="116" y="1258"/>
                </a:lnTo>
                <a:lnTo>
                  <a:pt x="114" y="1259"/>
                </a:lnTo>
                <a:lnTo>
                  <a:pt x="112" y="1258"/>
                </a:lnTo>
                <a:lnTo>
                  <a:pt x="107" y="1259"/>
                </a:lnTo>
                <a:lnTo>
                  <a:pt x="106" y="1259"/>
                </a:lnTo>
                <a:lnTo>
                  <a:pt x="106" y="1260"/>
                </a:lnTo>
                <a:lnTo>
                  <a:pt x="105" y="1260"/>
                </a:lnTo>
                <a:lnTo>
                  <a:pt x="105" y="1261"/>
                </a:lnTo>
                <a:lnTo>
                  <a:pt x="100" y="1261"/>
                </a:lnTo>
                <a:lnTo>
                  <a:pt x="97" y="1264"/>
                </a:lnTo>
                <a:lnTo>
                  <a:pt x="95" y="1265"/>
                </a:lnTo>
                <a:lnTo>
                  <a:pt x="92" y="1265"/>
                </a:lnTo>
                <a:lnTo>
                  <a:pt x="85" y="1263"/>
                </a:lnTo>
                <a:lnTo>
                  <a:pt x="82" y="1263"/>
                </a:lnTo>
                <a:lnTo>
                  <a:pt x="81" y="1261"/>
                </a:lnTo>
                <a:lnTo>
                  <a:pt x="80" y="1261"/>
                </a:lnTo>
                <a:lnTo>
                  <a:pt x="80" y="1260"/>
                </a:lnTo>
                <a:lnTo>
                  <a:pt x="77" y="1260"/>
                </a:lnTo>
                <a:lnTo>
                  <a:pt x="77" y="1261"/>
                </a:lnTo>
                <a:lnTo>
                  <a:pt x="73" y="1261"/>
                </a:lnTo>
                <a:lnTo>
                  <a:pt x="73" y="1260"/>
                </a:lnTo>
                <a:lnTo>
                  <a:pt x="74" y="1258"/>
                </a:lnTo>
                <a:lnTo>
                  <a:pt x="75" y="1258"/>
                </a:lnTo>
                <a:lnTo>
                  <a:pt x="75" y="1259"/>
                </a:lnTo>
                <a:lnTo>
                  <a:pt x="76" y="1259"/>
                </a:lnTo>
                <a:lnTo>
                  <a:pt x="77" y="1258"/>
                </a:lnTo>
                <a:lnTo>
                  <a:pt x="77" y="1257"/>
                </a:lnTo>
                <a:lnTo>
                  <a:pt x="79" y="1257"/>
                </a:lnTo>
                <a:lnTo>
                  <a:pt x="79" y="1255"/>
                </a:lnTo>
                <a:lnTo>
                  <a:pt x="76" y="1252"/>
                </a:lnTo>
                <a:lnTo>
                  <a:pt x="76" y="1247"/>
                </a:lnTo>
                <a:lnTo>
                  <a:pt x="77" y="1246"/>
                </a:lnTo>
                <a:lnTo>
                  <a:pt x="81" y="1244"/>
                </a:lnTo>
                <a:lnTo>
                  <a:pt x="81" y="1242"/>
                </a:lnTo>
                <a:lnTo>
                  <a:pt x="82" y="1241"/>
                </a:lnTo>
                <a:lnTo>
                  <a:pt x="82" y="1239"/>
                </a:lnTo>
                <a:lnTo>
                  <a:pt x="80" y="1236"/>
                </a:lnTo>
                <a:lnTo>
                  <a:pt x="79" y="1236"/>
                </a:lnTo>
                <a:lnTo>
                  <a:pt x="77" y="1235"/>
                </a:lnTo>
                <a:lnTo>
                  <a:pt x="76" y="1235"/>
                </a:lnTo>
                <a:lnTo>
                  <a:pt x="76" y="1228"/>
                </a:lnTo>
                <a:lnTo>
                  <a:pt x="75" y="1227"/>
                </a:lnTo>
                <a:lnTo>
                  <a:pt x="73" y="1226"/>
                </a:lnTo>
                <a:lnTo>
                  <a:pt x="71" y="1224"/>
                </a:lnTo>
                <a:lnTo>
                  <a:pt x="71" y="1221"/>
                </a:lnTo>
                <a:lnTo>
                  <a:pt x="70" y="1221"/>
                </a:lnTo>
                <a:lnTo>
                  <a:pt x="70" y="1220"/>
                </a:lnTo>
                <a:lnTo>
                  <a:pt x="69" y="1218"/>
                </a:lnTo>
                <a:lnTo>
                  <a:pt x="69" y="1216"/>
                </a:lnTo>
                <a:lnTo>
                  <a:pt x="67" y="1214"/>
                </a:lnTo>
                <a:lnTo>
                  <a:pt x="67" y="1212"/>
                </a:lnTo>
                <a:lnTo>
                  <a:pt x="63" y="1207"/>
                </a:lnTo>
                <a:lnTo>
                  <a:pt x="61" y="1203"/>
                </a:lnTo>
                <a:lnTo>
                  <a:pt x="61" y="1199"/>
                </a:lnTo>
                <a:lnTo>
                  <a:pt x="60" y="1199"/>
                </a:lnTo>
                <a:lnTo>
                  <a:pt x="60" y="1197"/>
                </a:lnTo>
                <a:lnTo>
                  <a:pt x="58" y="1195"/>
                </a:lnTo>
                <a:lnTo>
                  <a:pt x="56" y="1192"/>
                </a:lnTo>
                <a:lnTo>
                  <a:pt x="64" y="1196"/>
                </a:lnTo>
                <a:lnTo>
                  <a:pt x="64" y="1197"/>
                </a:lnTo>
                <a:lnTo>
                  <a:pt x="67" y="1199"/>
                </a:lnTo>
                <a:lnTo>
                  <a:pt x="68" y="1199"/>
                </a:lnTo>
                <a:lnTo>
                  <a:pt x="68" y="1198"/>
                </a:lnTo>
                <a:lnTo>
                  <a:pt x="71" y="1198"/>
                </a:lnTo>
                <a:lnTo>
                  <a:pt x="73" y="1197"/>
                </a:lnTo>
                <a:lnTo>
                  <a:pt x="73" y="1195"/>
                </a:lnTo>
                <a:lnTo>
                  <a:pt x="70" y="1193"/>
                </a:lnTo>
                <a:lnTo>
                  <a:pt x="69" y="1192"/>
                </a:lnTo>
                <a:lnTo>
                  <a:pt x="68" y="1189"/>
                </a:lnTo>
                <a:lnTo>
                  <a:pt x="64" y="1186"/>
                </a:lnTo>
                <a:lnTo>
                  <a:pt x="63" y="1184"/>
                </a:lnTo>
                <a:lnTo>
                  <a:pt x="66" y="1181"/>
                </a:lnTo>
                <a:lnTo>
                  <a:pt x="68" y="1180"/>
                </a:lnTo>
                <a:lnTo>
                  <a:pt x="73" y="1183"/>
                </a:lnTo>
                <a:lnTo>
                  <a:pt x="75" y="1181"/>
                </a:lnTo>
                <a:lnTo>
                  <a:pt x="75" y="1180"/>
                </a:lnTo>
                <a:lnTo>
                  <a:pt x="76" y="1179"/>
                </a:lnTo>
                <a:lnTo>
                  <a:pt x="76" y="1174"/>
                </a:lnTo>
                <a:lnTo>
                  <a:pt x="75" y="1171"/>
                </a:lnTo>
                <a:lnTo>
                  <a:pt x="75" y="1167"/>
                </a:lnTo>
                <a:lnTo>
                  <a:pt x="74" y="1166"/>
                </a:lnTo>
                <a:lnTo>
                  <a:pt x="71" y="1166"/>
                </a:lnTo>
                <a:lnTo>
                  <a:pt x="70" y="1167"/>
                </a:lnTo>
                <a:lnTo>
                  <a:pt x="68" y="1167"/>
                </a:lnTo>
                <a:lnTo>
                  <a:pt x="66" y="1164"/>
                </a:lnTo>
                <a:lnTo>
                  <a:pt x="66" y="1161"/>
                </a:lnTo>
                <a:lnTo>
                  <a:pt x="64" y="1161"/>
                </a:lnTo>
                <a:lnTo>
                  <a:pt x="64" y="1160"/>
                </a:lnTo>
                <a:lnTo>
                  <a:pt x="63" y="1159"/>
                </a:lnTo>
                <a:lnTo>
                  <a:pt x="62" y="1155"/>
                </a:lnTo>
                <a:lnTo>
                  <a:pt x="63" y="1154"/>
                </a:lnTo>
                <a:lnTo>
                  <a:pt x="62" y="1153"/>
                </a:lnTo>
                <a:lnTo>
                  <a:pt x="60" y="1152"/>
                </a:lnTo>
                <a:lnTo>
                  <a:pt x="60" y="1150"/>
                </a:lnTo>
                <a:lnTo>
                  <a:pt x="58" y="1150"/>
                </a:lnTo>
                <a:lnTo>
                  <a:pt x="58" y="1149"/>
                </a:lnTo>
                <a:lnTo>
                  <a:pt x="56" y="1147"/>
                </a:lnTo>
                <a:lnTo>
                  <a:pt x="55" y="1147"/>
                </a:lnTo>
                <a:lnTo>
                  <a:pt x="54" y="1146"/>
                </a:lnTo>
                <a:lnTo>
                  <a:pt x="52" y="1146"/>
                </a:lnTo>
                <a:lnTo>
                  <a:pt x="51" y="1144"/>
                </a:lnTo>
                <a:lnTo>
                  <a:pt x="51" y="1142"/>
                </a:lnTo>
                <a:lnTo>
                  <a:pt x="52" y="1141"/>
                </a:lnTo>
                <a:lnTo>
                  <a:pt x="52" y="1138"/>
                </a:lnTo>
                <a:lnTo>
                  <a:pt x="51" y="1138"/>
                </a:lnTo>
                <a:lnTo>
                  <a:pt x="51" y="1137"/>
                </a:lnTo>
                <a:lnTo>
                  <a:pt x="50" y="1137"/>
                </a:lnTo>
                <a:lnTo>
                  <a:pt x="48" y="1135"/>
                </a:lnTo>
                <a:lnTo>
                  <a:pt x="48" y="1132"/>
                </a:lnTo>
                <a:lnTo>
                  <a:pt x="46" y="1132"/>
                </a:lnTo>
                <a:lnTo>
                  <a:pt x="48" y="1131"/>
                </a:lnTo>
                <a:lnTo>
                  <a:pt x="48" y="1130"/>
                </a:lnTo>
                <a:lnTo>
                  <a:pt x="45" y="1128"/>
                </a:lnTo>
                <a:lnTo>
                  <a:pt x="45" y="1125"/>
                </a:lnTo>
                <a:lnTo>
                  <a:pt x="44" y="1125"/>
                </a:lnTo>
                <a:lnTo>
                  <a:pt x="45" y="1123"/>
                </a:lnTo>
                <a:lnTo>
                  <a:pt x="44" y="1123"/>
                </a:lnTo>
                <a:lnTo>
                  <a:pt x="42" y="1121"/>
                </a:lnTo>
                <a:lnTo>
                  <a:pt x="43" y="1121"/>
                </a:lnTo>
                <a:lnTo>
                  <a:pt x="43" y="1119"/>
                </a:lnTo>
                <a:lnTo>
                  <a:pt x="42" y="1119"/>
                </a:lnTo>
                <a:lnTo>
                  <a:pt x="42" y="1118"/>
                </a:lnTo>
                <a:lnTo>
                  <a:pt x="43" y="1118"/>
                </a:lnTo>
                <a:lnTo>
                  <a:pt x="43" y="1113"/>
                </a:lnTo>
                <a:lnTo>
                  <a:pt x="42" y="1113"/>
                </a:lnTo>
                <a:lnTo>
                  <a:pt x="42" y="1112"/>
                </a:lnTo>
                <a:lnTo>
                  <a:pt x="40" y="1112"/>
                </a:lnTo>
                <a:lnTo>
                  <a:pt x="40" y="1113"/>
                </a:lnTo>
                <a:lnTo>
                  <a:pt x="39" y="1112"/>
                </a:lnTo>
                <a:lnTo>
                  <a:pt x="40" y="1111"/>
                </a:lnTo>
                <a:lnTo>
                  <a:pt x="40" y="1110"/>
                </a:lnTo>
                <a:lnTo>
                  <a:pt x="42" y="1109"/>
                </a:lnTo>
                <a:lnTo>
                  <a:pt x="40" y="1109"/>
                </a:lnTo>
                <a:lnTo>
                  <a:pt x="42" y="1107"/>
                </a:lnTo>
                <a:lnTo>
                  <a:pt x="40" y="1106"/>
                </a:lnTo>
                <a:lnTo>
                  <a:pt x="39" y="1104"/>
                </a:lnTo>
                <a:lnTo>
                  <a:pt x="38" y="1104"/>
                </a:lnTo>
                <a:lnTo>
                  <a:pt x="37" y="1105"/>
                </a:lnTo>
                <a:lnTo>
                  <a:pt x="37" y="1112"/>
                </a:lnTo>
                <a:lnTo>
                  <a:pt x="36" y="1111"/>
                </a:lnTo>
                <a:lnTo>
                  <a:pt x="35" y="1111"/>
                </a:lnTo>
                <a:lnTo>
                  <a:pt x="35" y="1109"/>
                </a:lnTo>
                <a:lnTo>
                  <a:pt x="33" y="1109"/>
                </a:lnTo>
                <a:lnTo>
                  <a:pt x="33" y="1103"/>
                </a:lnTo>
                <a:lnTo>
                  <a:pt x="35" y="1101"/>
                </a:lnTo>
                <a:lnTo>
                  <a:pt x="35" y="1100"/>
                </a:lnTo>
                <a:lnTo>
                  <a:pt x="33" y="1100"/>
                </a:lnTo>
                <a:lnTo>
                  <a:pt x="35" y="1099"/>
                </a:lnTo>
                <a:lnTo>
                  <a:pt x="33" y="1099"/>
                </a:lnTo>
                <a:lnTo>
                  <a:pt x="33" y="1091"/>
                </a:lnTo>
                <a:lnTo>
                  <a:pt x="32" y="1092"/>
                </a:lnTo>
                <a:lnTo>
                  <a:pt x="31" y="1091"/>
                </a:lnTo>
                <a:lnTo>
                  <a:pt x="31" y="1088"/>
                </a:lnTo>
                <a:lnTo>
                  <a:pt x="30" y="1087"/>
                </a:lnTo>
                <a:lnTo>
                  <a:pt x="31" y="1086"/>
                </a:lnTo>
                <a:lnTo>
                  <a:pt x="33" y="1086"/>
                </a:lnTo>
                <a:lnTo>
                  <a:pt x="35" y="1085"/>
                </a:lnTo>
                <a:lnTo>
                  <a:pt x="30" y="1085"/>
                </a:lnTo>
                <a:lnTo>
                  <a:pt x="27" y="1083"/>
                </a:lnTo>
                <a:lnTo>
                  <a:pt x="26" y="1083"/>
                </a:lnTo>
                <a:lnTo>
                  <a:pt x="26" y="1085"/>
                </a:lnTo>
                <a:lnTo>
                  <a:pt x="25" y="1085"/>
                </a:lnTo>
                <a:lnTo>
                  <a:pt x="25" y="1082"/>
                </a:lnTo>
                <a:lnTo>
                  <a:pt x="29" y="1079"/>
                </a:lnTo>
                <a:lnTo>
                  <a:pt x="30" y="1079"/>
                </a:lnTo>
                <a:lnTo>
                  <a:pt x="29" y="1078"/>
                </a:lnTo>
                <a:lnTo>
                  <a:pt x="26" y="1078"/>
                </a:lnTo>
                <a:lnTo>
                  <a:pt x="26" y="1076"/>
                </a:lnTo>
                <a:lnTo>
                  <a:pt x="24" y="1074"/>
                </a:lnTo>
                <a:lnTo>
                  <a:pt x="23" y="1074"/>
                </a:lnTo>
                <a:lnTo>
                  <a:pt x="24" y="1073"/>
                </a:lnTo>
                <a:lnTo>
                  <a:pt x="24" y="1072"/>
                </a:lnTo>
                <a:lnTo>
                  <a:pt x="25" y="1072"/>
                </a:lnTo>
                <a:lnTo>
                  <a:pt x="24" y="1070"/>
                </a:lnTo>
                <a:lnTo>
                  <a:pt x="25" y="1069"/>
                </a:lnTo>
                <a:lnTo>
                  <a:pt x="27" y="1069"/>
                </a:lnTo>
                <a:lnTo>
                  <a:pt x="27" y="1067"/>
                </a:lnTo>
                <a:lnTo>
                  <a:pt x="26" y="1066"/>
                </a:lnTo>
                <a:lnTo>
                  <a:pt x="26" y="1064"/>
                </a:lnTo>
                <a:lnTo>
                  <a:pt x="29" y="1061"/>
                </a:lnTo>
                <a:lnTo>
                  <a:pt x="29" y="1052"/>
                </a:lnTo>
                <a:lnTo>
                  <a:pt x="30" y="1052"/>
                </a:lnTo>
                <a:lnTo>
                  <a:pt x="30" y="1049"/>
                </a:lnTo>
                <a:lnTo>
                  <a:pt x="29" y="1051"/>
                </a:lnTo>
                <a:lnTo>
                  <a:pt x="27" y="1051"/>
                </a:lnTo>
                <a:lnTo>
                  <a:pt x="25" y="1052"/>
                </a:lnTo>
                <a:lnTo>
                  <a:pt x="21" y="1052"/>
                </a:lnTo>
                <a:lnTo>
                  <a:pt x="21" y="1051"/>
                </a:lnTo>
                <a:lnTo>
                  <a:pt x="19" y="1051"/>
                </a:lnTo>
                <a:lnTo>
                  <a:pt x="17" y="1054"/>
                </a:lnTo>
                <a:lnTo>
                  <a:pt x="15" y="1054"/>
                </a:lnTo>
                <a:lnTo>
                  <a:pt x="12" y="1050"/>
                </a:lnTo>
                <a:lnTo>
                  <a:pt x="12" y="1049"/>
                </a:lnTo>
                <a:lnTo>
                  <a:pt x="13" y="1048"/>
                </a:lnTo>
                <a:lnTo>
                  <a:pt x="18" y="1044"/>
                </a:lnTo>
                <a:lnTo>
                  <a:pt x="20" y="1042"/>
                </a:lnTo>
                <a:lnTo>
                  <a:pt x="23" y="1042"/>
                </a:lnTo>
                <a:lnTo>
                  <a:pt x="23" y="1039"/>
                </a:lnTo>
                <a:lnTo>
                  <a:pt x="24" y="1039"/>
                </a:lnTo>
                <a:lnTo>
                  <a:pt x="24" y="1038"/>
                </a:lnTo>
                <a:lnTo>
                  <a:pt x="25" y="1037"/>
                </a:lnTo>
                <a:lnTo>
                  <a:pt x="26" y="1038"/>
                </a:lnTo>
                <a:lnTo>
                  <a:pt x="26" y="1039"/>
                </a:lnTo>
                <a:lnTo>
                  <a:pt x="29" y="1042"/>
                </a:lnTo>
                <a:lnTo>
                  <a:pt x="29" y="1043"/>
                </a:lnTo>
                <a:lnTo>
                  <a:pt x="30" y="1044"/>
                </a:lnTo>
                <a:lnTo>
                  <a:pt x="30" y="1045"/>
                </a:lnTo>
                <a:lnTo>
                  <a:pt x="32" y="1045"/>
                </a:lnTo>
                <a:lnTo>
                  <a:pt x="32" y="1044"/>
                </a:lnTo>
                <a:lnTo>
                  <a:pt x="31" y="1043"/>
                </a:lnTo>
                <a:lnTo>
                  <a:pt x="31" y="1040"/>
                </a:lnTo>
                <a:lnTo>
                  <a:pt x="30" y="1039"/>
                </a:lnTo>
                <a:lnTo>
                  <a:pt x="30" y="1038"/>
                </a:lnTo>
                <a:lnTo>
                  <a:pt x="29" y="1037"/>
                </a:lnTo>
                <a:lnTo>
                  <a:pt x="30" y="1036"/>
                </a:lnTo>
                <a:lnTo>
                  <a:pt x="32" y="1035"/>
                </a:lnTo>
                <a:lnTo>
                  <a:pt x="32" y="1033"/>
                </a:lnTo>
                <a:lnTo>
                  <a:pt x="31" y="1033"/>
                </a:lnTo>
                <a:lnTo>
                  <a:pt x="29" y="1035"/>
                </a:lnTo>
                <a:lnTo>
                  <a:pt x="26" y="1035"/>
                </a:lnTo>
                <a:lnTo>
                  <a:pt x="26" y="1036"/>
                </a:lnTo>
                <a:lnTo>
                  <a:pt x="24" y="1036"/>
                </a:lnTo>
                <a:lnTo>
                  <a:pt x="21" y="1038"/>
                </a:lnTo>
                <a:lnTo>
                  <a:pt x="21" y="1039"/>
                </a:lnTo>
                <a:lnTo>
                  <a:pt x="20" y="1040"/>
                </a:lnTo>
                <a:lnTo>
                  <a:pt x="18" y="1040"/>
                </a:lnTo>
                <a:lnTo>
                  <a:pt x="18" y="1042"/>
                </a:lnTo>
                <a:lnTo>
                  <a:pt x="17" y="1042"/>
                </a:lnTo>
                <a:lnTo>
                  <a:pt x="15" y="1040"/>
                </a:lnTo>
                <a:lnTo>
                  <a:pt x="17" y="1038"/>
                </a:lnTo>
                <a:lnTo>
                  <a:pt x="17" y="1037"/>
                </a:lnTo>
                <a:lnTo>
                  <a:pt x="19" y="1032"/>
                </a:lnTo>
                <a:lnTo>
                  <a:pt x="21" y="1030"/>
                </a:lnTo>
                <a:lnTo>
                  <a:pt x="20" y="1030"/>
                </a:lnTo>
                <a:lnTo>
                  <a:pt x="21" y="1029"/>
                </a:lnTo>
                <a:lnTo>
                  <a:pt x="21" y="1027"/>
                </a:lnTo>
                <a:lnTo>
                  <a:pt x="24" y="1027"/>
                </a:lnTo>
                <a:lnTo>
                  <a:pt x="23" y="1026"/>
                </a:lnTo>
                <a:lnTo>
                  <a:pt x="21" y="1026"/>
                </a:lnTo>
                <a:lnTo>
                  <a:pt x="20" y="1027"/>
                </a:lnTo>
                <a:lnTo>
                  <a:pt x="20" y="1029"/>
                </a:lnTo>
                <a:lnTo>
                  <a:pt x="19" y="1027"/>
                </a:lnTo>
                <a:lnTo>
                  <a:pt x="19" y="1025"/>
                </a:lnTo>
                <a:lnTo>
                  <a:pt x="18" y="1024"/>
                </a:lnTo>
                <a:lnTo>
                  <a:pt x="18" y="1032"/>
                </a:lnTo>
                <a:lnTo>
                  <a:pt x="17" y="1033"/>
                </a:lnTo>
                <a:lnTo>
                  <a:pt x="15" y="1036"/>
                </a:lnTo>
                <a:lnTo>
                  <a:pt x="14" y="1037"/>
                </a:lnTo>
                <a:lnTo>
                  <a:pt x="14" y="1036"/>
                </a:lnTo>
                <a:lnTo>
                  <a:pt x="13" y="1036"/>
                </a:lnTo>
                <a:lnTo>
                  <a:pt x="12" y="1037"/>
                </a:lnTo>
                <a:lnTo>
                  <a:pt x="11" y="1036"/>
                </a:lnTo>
                <a:lnTo>
                  <a:pt x="12" y="1035"/>
                </a:lnTo>
                <a:lnTo>
                  <a:pt x="12" y="1033"/>
                </a:lnTo>
                <a:lnTo>
                  <a:pt x="13" y="1033"/>
                </a:lnTo>
                <a:lnTo>
                  <a:pt x="13" y="1030"/>
                </a:lnTo>
                <a:lnTo>
                  <a:pt x="12" y="1030"/>
                </a:lnTo>
                <a:lnTo>
                  <a:pt x="12" y="1031"/>
                </a:lnTo>
                <a:lnTo>
                  <a:pt x="11" y="1032"/>
                </a:lnTo>
                <a:lnTo>
                  <a:pt x="11" y="1033"/>
                </a:lnTo>
                <a:lnTo>
                  <a:pt x="10" y="1033"/>
                </a:lnTo>
                <a:lnTo>
                  <a:pt x="10" y="1032"/>
                </a:lnTo>
                <a:lnTo>
                  <a:pt x="12" y="1029"/>
                </a:lnTo>
                <a:lnTo>
                  <a:pt x="12" y="1027"/>
                </a:lnTo>
                <a:lnTo>
                  <a:pt x="10" y="1030"/>
                </a:lnTo>
                <a:lnTo>
                  <a:pt x="10" y="1031"/>
                </a:lnTo>
                <a:lnTo>
                  <a:pt x="8" y="1032"/>
                </a:lnTo>
                <a:lnTo>
                  <a:pt x="7" y="1031"/>
                </a:lnTo>
                <a:lnTo>
                  <a:pt x="6" y="1031"/>
                </a:lnTo>
                <a:lnTo>
                  <a:pt x="5" y="1033"/>
                </a:lnTo>
                <a:lnTo>
                  <a:pt x="5" y="1031"/>
                </a:lnTo>
                <a:lnTo>
                  <a:pt x="4" y="1029"/>
                </a:lnTo>
                <a:lnTo>
                  <a:pt x="4" y="1027"/>
                </a:lnTo>
                <a:lnTo>
                  <a:pt x="5" y="1026"/>
                </a:lnTo>
                <a:lnTo>
                  <a:pt x="6" y="1027"/>
                </a:lnTo>
                <a:lnTo>
                  <a:pt x="6" y="1025"/>
                </a:lnTo>
                <a:lnTo>
                  <a:pt x="7" y="1024"/>
                </a:lnTo>
                <a:lnTo>
                  <a:pt x="7" y="1023"/>
                </a:lnTo>
                <a:lnTo>
                  <a:pt x="6" y="1023"/>
                </a:lnTo>
                <a:lnTo>
                  <a:pt x="6" y="1021"/>
                </a:lnTo>
                <a:lnTo>
                  <a:pt x="5" y="1020"/>
                </a:lnTo>
                <a:lnTo>
                  <a:pt x="6" y="1019"/>
                </a:lnTo>
                <a:lnTo>
                  <a:pt x="6" y="1015"/>
                </a:lnTo>
                <a:lnTo>
                  <a:pt x="7" y="1015"/>
                </a:lnTo>
                <a:lnTo>
                  <a:pt x="7" y="1014"/>
                </a:lnTo>
                <a:lnTo>
                  <a:pt x="6" y="1014"/>
                </a:lnTo>
                <a:lnTo>
                  <a:pt x="6" y="1008"/>
                </a:lnTo>
                <a:lnTo>
                  <a:pt x="4" y="1006"/>
                </a:lnTo>
                <a:lnTo>
                  <a:pt x="4" y="1005"/>
                </a:lnTo>
                <a:lnTo>
                  <a:pt x="5" y="1003"/>
                </a:lnTo>
                <a:lnTo>
                  <a:pt x="2" y="1003"/>
                </a:lnTo>
                <a:lnTo>
                  <a:pt x="2" y="1001"/>
                </a:lnTo>
                <a:lnTo>
                  <a:pt x="4" y="1000"/>
                </a:lnTo>
                <a:lnTo>
                  <a:pt x="4" y="997"/>
                </a:lnTo>
                <a:lnTo>
                  <a:pt x="5" y="997"/>
                </a:lnTo>
                <a:lnTo>
                  <a:pt x="5" y="993"/>
                </a:lnTo>
                <a:lnTo>
                  <a:pt x="4" y="993"/>
                </a:lnTo>
                <a:lnTo>
                  <a:pt x="4" y="987"/>
                </a:lnTo>
                <a:lnTo>
                  <a:pt x="1" y="986"/>
                </a:lnTo>
                <a:lnTo>
                  <a:pt x="0" y="984"/>
                </a:lnTo>
                <a:lnTo>
                  <a:pt x="0" y="982"/>
                </a:lnTo>
                <a:lnTo>
                  <a:pt x="1" y="982"/>
                </a:lnTo>
                <a:lnTo>
                  <a:pt x="2" y="981"/>
                </a:lnTo>
                <a:lnTo>
                  <a:pt x="0" y="981"/>
                </a:lnTo>
                <a:lnTo>
                  <a:pt x="0" y="977"/>
                </a:lnTo>
                <a:lnTo>
                  <a:pt x="5" y="972"/>
                </a:lnTo>
                <a:lnTo>
                  <a:pt x="10" y="972"/>
                </a:lnTo>
                <a:lnTo>
                  <a:pt x="11" y="975"/>
                </a:lnTo>
                <a:lnTo>
                  <a:pt x="11" y="976"/>
                </a:lnTo>
                <a:lnTo>
                  <a:pt x="12" y="978"/>
                </a:lnTo>
                <a:lnTo>
                  <a:pt x="13" y="980"/>
                </a:lnTo>
                <a:lnTo>
                  <a:pt x="13" y="981"/>
                </a:lnTo>
                <a:lnTo>
                  <a:pt x="14" y="983"/>
                </a:lnTo>
                <a:lnTo>
                  <a:pt x="14" y="988"/>
                </a:lnTo>
                <a:lnTo>
                  <a:pt x="15" y="989"/>
                </a:lnTo>
                <a:lnTo>
                  <a:pt x="21" y="989"/>
                </a:lnTo>
                <a:lnTo>
                  <a:pt x="23" y="987"/>
                </a:lnTo>
                <a:lnTo>
                  <a:pt x="24" y="982"/>
                </a:lnTo>
                <a:lnTo>
                  <a:pt x="25" y="980"/>
                </a:lnTo>
                <a:lnTo>
                  <a:pt x="25" y="978"/>
                </a:lnTo>
                <a:lnTo>
                  <a:pt x="26" y="975"/>
                </a:lnTo>
                <a:lnTo>
                  <a:pt x="26" y="969"/>
                </a:lnTo>
                <a:lnTo>
                  <a:pt x="27" y="963"/>
                </a:lnTo>
                <a:lnTo>
                  <a:pt x="29" y="962"/>
                </a:lnTo>
                <a:lnTo>
                  <a:pt x="29" y="960"/>
                </a:lnTo>
                <a:lnTo>
                  <a:pt x="30" y="959"/>
                </a:lnTo>
                <a:lnTo>
                  <a:pt x="30" y="958"/>
                </a:lnTo>
                <a:lnTo>
                  <a:pt x="29" y="956"/>
                </a:lnTo>
                <a:lnTo>
                  <a:pt x="29" y="950"/>
                </a:lnTo>
                <a:lnTo>
                  <a:pt x="24" y="934"/>
                </a:lnTo>
                <a:lnTo>
                  <a:pt x="24" y="928"/>
                </a:lnTo>
                <a:lnTo>
                  <a:pt x="30" y="926"/>
                </a:lnTo>
                <a:lnTo>
                  <a:pt x="31" y="925"/>
                </a:lnTo>
                <a:lnTo>
                  <a:pt x="32" y="921"/>
                </a:lnTo>
                <a:lnTo>
                  <a:pt x="33" y="921"/>
                </a:lnTo>
                <a:lnTo>
                  <a:pt x="33" y="915"/>
                </a:lnTo>
                <a:lnTo>
                  <a:pt x="32" y="914"/>
                </a:lnTo>
                <a:lnTo>
                  <a:pt x="32" y="913"/>
                </a:lnTo>
                <a:lnTo>
                  <a:pt x="31" y="911"/>
                </a:lnTo>
                <a:lnTo>
                  <a:pt x="31" y="908"/>
                </a:lnTo>
                <a:lnTo>
                  <a:pt x="32" y="907"/>
                </a:lnTo>
                <a:lnTo>
                  <a:pt x="32" y="906"/>
                </a:lnTo>
                <a:lnTo>
                  <a:pt x="43" y="906"/>
                </a:lnTo>
                <a:lnTo>
                  <a:pt x="50" y="901"/>
                </a:lnTo>
                <a:lnTo>
                  <a:pt x="56" y="892"/>
                </a:lnTo>
                <a:lnTo>
                  <a:pt x="57" y="890"/>
                </a:lnTo>
                <a:lnTo>
                  <a:pt x="60" y="883"/>
                </a:lnTo>
                <a:lnTo>
                  <a:pt x="60" y="880"/>
                </a:lnTo>
                <a:lnTo>
                  <a:pt x="58" y="874"/>
                </a:lnTo>
                <a:lnTo>
                  <a:pt x="58" y="870"/>
                </a:lnTo>
                <a:lnTo>
                  <a:pt x="61" y="866"/>
                </a:lnTo>
                <a:lnTo>
                  <a:pt x="62" y="865"/>
                </a:lnTo>
                <a:lnTo>
                  <a:pt x="62" y="864"/>
                </a:lnTo>
                <a:lnTo>
                  <a:pt x="63" y="861"/>
                </a:lnTo>
                <a:lnTo>
                  <a:pt x="63" y="855"/>
                </a:lnTo>
                <a:lnTo>
                  <a:pt x="62" y="853"/>
                </a:lnTo>
                <a:lnTo>
                  <a:pt x="57" y="841"/>
                </a:lnTo>
                <a:lnTo>
                  <a:pt x="54" y="833"/>
                </a:lnTo>
                <a:lnTo>
                  <a:pt x="51" y="826"/>
                </a:lnTo>
                <a:lnTo>
                  <a:pt x="50" y="820"/>
                </a:lnTo>
                <a:lnTo>
                  <a:pt x="50" y="817"/>
                </a:lnTo>
                <a:lnTo>
                  <a:pt x="48" y="812"/>
                </a:lnTo>
                <a:lnTo>
                  <a:pt x="48" y="811"/>
                </a:lnTo>
                <a:lnTo>
                  <a:pt x="49" y="810"/>
                </a:lnTo>
                <a:lnTo>
                  <a:pt x="58" y="806"/>
                </a:lnTo>
                <a:lnTo>
                  <a:pt x="61" y="806"/>
                </a:lnTo>
                <a:lnTo>
                  <a:pt x="66" y="808"/>
                </a:lnTo>
                <a:lnTo>
                  <a:pt x="67" y="808"/>
                </a:lnTo>
                <a:lnTo>
                  <a:pt x="67" y="806"/>
                </a:lnTo>
                <a:lnTo>
                  <a:pt x="68" y="805"/>
                </a:lnTo>
                <a:lnTo>
                  <a:pt x="68" y="799"/>
                </a:lnTo>
                <a:lnTo>
                  <a:pt x="69" y="798"/>
                </a:lnTo>
                <a:lnTo>
                  <a:pt x="74" y="788"/>
                </a:lnTo>
                <a:lnTo>
                  <a:pt x="75" y="780"/>
                </a:lnTo>
                <a:lnTo>
                  <a:pt x="75" y="779"/>
                </a:lnTo>
                <a:lnTo>
                  <a:pt x="74" y="779"/>
                </a:lnTo>
                <a:lnTo>
                  <a:pt x="63" y="763"/>
                </a:lnTo>
                <a:lnTo>
                  <a:pt x="61" y="761"/>
                </a:lnTo>
                <a:lnTo>
                  <a:pt x="56" y="761"/>
                </a:lnTo>
                <a:lnTo>
                  <a:pt x="55" y="760"/>
                </a:lnTo>
                <a:lnTo>
                  <a:pt x="51" y="755"/>
                </a:lnTo>
                <a:lnTo>
                  <a:pt x="44" y="748"/>
                </a:lnTo>
                <a:lnTo>
                  <a:pt x="44" y="747"/>
                </a:lnTo>
                <a:lnTo>
                  <a:pt x="48" y="724"/>
                </a:lnTo>
                <a:lnTo>
                  <a:pt x="50" y="701"/>
                </a:lnTo>
                <a:lnTo>
                  <a:pt x="50" y="697"/>
                </a:lnTo>
                <a:lnTo>
                  <a:pt x="49" y="692"/>
                </a:lnTo>
                <a:lnTo>
                  <a:pt x="40" y="669"/>
                </a:lnTo>
                <a:lnTo>
                  <a:pt x="40" y="668"/>
                </a:lnTo>
                <a:lnTo>
                  <a:pt x="42" y="665"/>
                </a:lnTo>
                <a:lnTo>
                  <a:pt x="43" y="661"/>
                </a:lnTo>
                <a:lnTo>
                  <a:pt x="44" y="658"/>
                </a:lnTo>
                <a:lnTo>
                  <a:pt x="44" y="656"/>
                </a:lnTo>
                <a:lnTo>
                  <a:pt x="42" y="642"/>
                </a:lnTo>
                <a:lnTo>
                  <a:pt x="42" y="638"/>
                </a:lnTo>
                <a:lnTo>
                  <a:pt x="46" y="631"/>
                </a:lnTo>
                <a:lnTo>
                  <a:pt x="39" y="612"/>
                </a:lnTo>
                <a:lnTo>
                  <a:pt x="37" y="605"/>
                </a:lnTo>
                <a:lnTo>
                  <a:pt x="46" y="589"/>
                </a:lnTo>
                <a:lnTo>
                  <a:pt x="46" y="584"/>
                </a:lnTo>
                <a:lnTo>
                  <a:pt x="44" y="575"/>
                </a:lnTo>
                <a:lnTo>
                  <a:pt x="50" y="570"/>
                </a:lnTo>
                <a:lnTo>
                  <a:pt x="57" y="554"/>
                </a:lnTo>
                <a:lnTo>
                  <a:pt x="66" y="541"/>
                </a:lnTo>
                <a:lnTo>
                  <a:pt x="69" y="538"/>
                </a:lnTo>
                <a:lnTo>
                  <a:pt x="79" y="530"/>
                </a:lnTo>
                <a:lnTo>
                  <a:pt x="89" y="528"/>
                </a:lnTo>
                <a:lnTo>
                  <a:pt x="104" y="532"/>
                </a:lnTo>
                <a:lnTo>
                  <a:pt x="119" y="535"/>
                </a:lnTo>
                <a:lnTo>
                  <a:pt x="120" y="535"/>
                </a:lnTo>
                <a:lnTo>
                  <a:pt x="120" y="534"/>
                </a:lnTo>
                <a:lnTo>
                  <a:pt x="128" y="520"/>
                </a:lnTo>
                <a:lnTo>
                  <a:pt x="129" y="519"/>
                </a:lnTo>
                <a:lnTo>
                  <a:pt x="129" y="516"/>
                </a:lnTo>
                <a:lnTo>
                  <a:pt x="126" y="493"/>
                </a:lnTo>
                <a:lnTo>
                  <a:pt x="125" y="491"/>
                </a:lnTo>
                <a:lnTo>
                  <a:pt x="124" y="490"/>
                </a:lnTo>
                <a:lnTo>
                  <a:pt x="120" y="490"/>
                </a:lnTo>
                <a:lnTo>
                  <a:pt x="119" y="489"/>
                </a:lnTo>
                <a:lnTo>
                  <a:pt x="106" y="479"/>
                </a:lnTo>
                <a:lnTo>
                  <a:pt x="118" y="460"/>
                </a:lnTo>
                <a:lnTo>
                  <a:pt x="129" y="440"/>
                </a:lnTo>
                <a:lnTo>
                  <a:pt x="135" y="430"/>
                </a:lnTo>
                <a:lnTo>
                  <a:pt x="136" y="427"/>
                </a:lnTo>
                <a:lnTo>
                  <a:pt x="137" y="417"/>
                </a:lnTo>
                <a:lnTo>
                  <a:pt x="138" y="415"/>
                </a:lnTo>
                <a:lnTo>
                  <a:pt x="138" y="412"/>
                </a:lnTo>
                <a:lnTo>
                  <a:pt x="142" y="410"/>
                </a:lnTo>
                <a:lnTo>
                  <a:pt x="143" y="406"/>
                </a:lnTo>
                <a:lnTo>
                  <a:pt x="143" y="392"/>
                </a:lnTo>
                <a:lnTo>
                  <a:pt x="145" y="368"/>
                </a:lnTo>
                <a:lnTo>
                  <a:pt x="145" y="366"/>
                </a:lnTo>
                <a:lnTo>
                  <a:pt x="149" y="360"/>
                </a:lnTo>
                <a:lnTo>
                  <a:pt x="149" y="353"/>
                </a:lnTo>
                <a:lnTo>
                  <a:pt x="144" y="324"/>
                </a:lnTo>
                <a:lnTo>
                  <a:pt x="155" y="323"/>
                </a:lnTo>
                <a:lnTo>
                  <a:pt x="166" y="320"/>
                </a:lnTo>
                <a:lnTo>
                  <a:pt x="185" y="308"/>
                </a:lnTo>
                <a:lnTo>
                  <a:pt x="185" y="301"/>
                </a:lnTo>
                <a:lnTo>
                  <a:pt x="184" y="300"/>
                </a:lnTo>
                <a:lnTo>
                  <a:pt x="182" y="288"/>
                </a:lnTo>
                <a:lnTo>
                  <a:pt x="182" y="286"/>
                </a:lnTo>
                <a:lnTo>
                  <a:pt x="192" y="274"/>
                </a:lnTo>
                <a:lnTo>
                  <a:pt x="207" y="243"/>
                </a:lnTo>
                <a:lnTo>
                  <a:pt x="211" y="238"/>
                </a:lnTo>
                <a:lnTo>
                  <a:pt x="219" y="230"/>
                </a:lnTo>
                <a:lnTo>
                  <a:pt x="222" y="228"/>
                </a:lnTo>
                <a:lnTo>
                  <a:pt x="223" y="227"/>
                </a:lnTo>
                <a:lnTo>
                  <a:pt x="224" y="225"/>
                </a:lnTo>
                <a:lnTo>
                  <a:pt x="225" y="210"/>
                </a:lnTo>
                <a:lnTo>
                  <a:pt x="224" y="209"/>
                </a:lnTo>
                <a:lnTo>
                  <a:pt x="211" y="184"/>
                </a:lnTo>
                <a:lnTo>
                  <a:pt x="213" y="177"/>
                </a:lnTo>
                <a:lnTo>
                  <a:pt x="215" y="175"/>
                </a:lnTo>
                <a:lnTo>
                  <a:pt x="222" y="173"/>
                </a:lnTo>
                <a:lnTo>
                  <a:pt x="224" y="172"/>
                </a:lnTo>
                <a:lnTo>
                  <a:pt x="226" y="170"/>
                </a:lnTo>
                <a:lnTo>
                  <a:pt x="231" y="163"/>
                </a:lnTo>
                <a:lnTo>
                  <a:pt x="231" y="160"/>
                </a:lnTo>
                <a:lnTo>
                  <a:pt x="238" y="134"/>
                </a:lnTo>
                <a:lnTo>
                  <a:pt x="240" y="132"/>
                </a:lnTo>
                <a:lnTo>
                  <a:pt x="240" y="130"/>
                </a:lnTo>
                <a:lnTo>
                  <a:pt x="257" y="116"/>
                </a:lnTo>
                <a:lnTo>
                  <a:pt x="261" y="109"/>
                </a:lnTo>
                <a:lnTo>
                  <a:pt x="262" y="109"/>
                </a:lnTo>
                <a:lnTo>
                  <a:pt x="286" y="123"/>
                </a:lnTo>
                <a:lnTo>
                  <a:pt x="287" y="123"/>
                </a:lnTo>
                <a:lnTo>
                  <a:pt x="290" y="118"/>
                </a:lnTo>
                <a:lnTo>
                  <a:pt x="298" y="103"/>
                </a:lnTo>
                <a:lnTo>
                  <a:pt x="298" y="98"/>
                </a:lnTo>
                <a:lnTo>
                  <a:pt x="296" y="75"/>
                </a:lnTo>
                <a:lnTo>
                  <a:pt x="296" y="72"/>
                </a:lnTo>
                <a:lnTo>
                  <a:pt x="297" y="61"/>
                </a:lnTo>
                <a:lnTo>
                  <a:pt x="297" y="60"/>
                </a:lnTo>
                <a:lnTo>
                  <a:pt x="298" y="59"/>
                </a:lnTo>
                <a:lnTo>
                  <a:pt x="309" y="55"/>
                </a:lnTo>
                <a:lnTo>
                  <a:pt x="311" y="56"/>
                </a:lnTo>
                <a:lnTo>
                  <a:pt x="317" y="63"/>
                </a:lnTo>
                <a:lnTo>
                  <a:pt x="319" y="63"/>
                </a:lnTo>
                <a:lnTo>
                  <a:pt x="334" y="62"/>
                </a:lnTo>
                <a:lnTo>
                  <a:pt x="353" y="72"/>
                </a:lnTo>
                <a:lnTo>
                  <a:pt x="372" y="80"/>
                </a:lnTo>
                <a:lnTo>
                  <a:pt x="373" y="80"/>
                </a:lnTo>
                <a:lnTo>
                  <a:pt x="375" y="79"/>
                </a:lnTo>
                <a:lnTo>
                  <a:pt x="385" y="66"/>
                </a:lnTo>
                <a:lnTo>
                  <a:pt x="373" y="59"/>
                </a:lnTo>
                <a:lnTo>
                  <a:pt x="381" y="50"/>
                </a:lnTo>
                <a:lnTo>
                  <a:pt x="385" y="44"/>
                </a:lnTo>
                <a:lnTo>
                  <a:pt x="389" y="32"/>
                </a:lnTo>
                <a:lnTo>
                  <a:pt x="390" y="30"/>
                </a:lnTo>
                <a:lnTo>
                  <a:pt x="390" y="16"/>
                </a:lnTo>
                <a:lnTo>
                  <a:pt x="379" y="3"/>
                </a:lnTo>
                <a:lnTo>
                  <a:pt x="390" y="1"/>
                </a:lnTo>
                <a:lnTo>
                  <a:pt x="402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1" name="Freeform 14">
            <a:extLst>
              <a:ext uri="{FF2B5EF4-FFF2-40B4-BE49-F238E27FC236}">
                <a16:creationId xmlns:a16="http://schemas.microsoft.com/office/drawing/2014/main" id="{664F9D21-A924-4BBA-AF11-BC803399C4D7}"/>
              </a:ext>
            </a:extLst>
          </p:cNvPr>
          <p:cNvSpPr>
            <a:spLocks/>
          </p:cNvSpPr>
          <p:nvPr/>
        </p:nvSpPr>
        <p:spPr bwMode="auto">
          <a:xfrm>
            <a:off x="1989492" y="5255159"/>
            <a:ext cx="5796" cy="8694"/>
          </a:xfrm>
          <a:custGeom>
            <a:avLst/>
            <a:gdLst/>
            <a:ahLst/>
            <a:cxnLst>
              <a:cxn ang="0">
                <a:pos x="3" y="0"/>
              </a:cxn>
              <a:cxn ang="0">
                <a:pos x="4" y="1"/>
              </a:cxn>
              <a:cxn ang="0">
                <a:pos x="4" y="3"/>
              </a:cxn>
              <a:cxn ang="0">
                <a:pos x="3" y="4"/>
              </a:cxn>
              <a:cxn ang="0">
                <a:pos x="3" y="6"/>
              </a:cxn>
              <a:cxn ang="0">
                <a:pos x="1" y="6"/>
              </a:cxn>
              <a:cxn ang="0">
                <a:pos x="0" y="5"/>
              </a:cxn>
              <a:cxn ang="0">
                <a:pos x="0" y="3"/>
              </a:cxn>
              <a:cxn ang="0">
                <a:pos x="1" y="1"/>
              </a:cxn>
              <a:cxn ang="0">
                <a:pos x="2" y="1"/>
              </a:cxn>
              <a:cxn ang="0">
                <a:pos x="3" y="0"/>
              </a:cxn>
            </a:cxnLst>
            <a:rect l="0" t="0" r="r" b="b"/>
            <a:pathLst>
              <a:path w="4" h="6">
                <a:moveTo>
                  <a:pt x="3" y="0"/>
                </a:moveTo>
                <a:lnTo>
                  <a:pt x="4" y="1"/>
                </a:lnTo>
                <a:lnTo>
                  <a:pt x="4" y="3"/>
                </a:lnTo>
                <a:lnTo>
                  <a:pt x="3" y="4"/>
                </a:lnTo>
                <a:lnTo>
                  <a:pt x="3" y="6"/>
                </a:lnTo>
                <a:lnTo>
                  <a:pt x="1" y="6"/>
                </a:lnTo>
                <a:lnTo>
                  <a:pt x="0" y="5"/>
                </a:lnTo>
                <a:lnTo>
                  <a:pt x="0" y="3"/>
                </a:lnTo>
                <a:lnTo>
                  <a:pt x="1" y="1"/>
                </a:lnTo>
                <a:lnTo>
                  <a:pt x="2" y="1"/>
                </a:lnTo>
                <a:lnTo>
                  <a:pt x="3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2" name="Freeform 15">
            <a:extLst>
              <a:ext uri="{FF2B5EF4-FFF2-40B4-BE49-F238E27FC236}">
                <a16:creationId xmlns:a16="http://schemas.microsoft.com/office/drawing/2014/main" id="{471D9DEE-F2D8-4341-989F-F7B562A753E3}"/>
              </a:ext>
            </a:extLst>
          </p:cNvPr>
          <p:cNvSpPr>
            <a:spLocks/>
          </p:cNvSpPr>
          <p:nvPr/>
        </p:nvSpPr>
        <p:spPr bwMode="auto">
          <a:xfrm>
            <a:off x="2048898" y="5004492"/>
            <a:ext cx="192709" cy="127507"/>
          </a:xfrm>
          <a:custGeom>
            <a:avLst/>
            <a:gdLst/>
            <a:ahLst/>
            <a:cxnLst>
              <a:cxn ang="0">
                <a:pos x="123" y="6"/>
              </a:cxn>
              <a:cxn ang="0">
                <a:pos x="128" y="13"/>
              </a:cxn>
              <a:cxn ang="0">
                <a:pos x="129" y="17"/>
              </a:cxn>
              <a:cxn ang="0">
                <a:pos x="131" y="21"/>
              </a:cxn>
              <a:cxn ang="0">
                <a:pos x="124" y="21"/>
              </a:cxn>
              <a:cxn ang="0">
                <a:pos x="122" y="26"/>
              </a:cxn>
              <a:cxn ang="0">
                <a:pos x="118" y="31"/>
              </a:cxn>
              <a:cxn ang="0">
                <a:pos x="115" y="31"/>
              </a:cxn>
              <a:cxn ang="0">
                <a:pos x="111" y="36"/>
              </a:cxn>
              <a:cxn ang="0">
                <a:pos x="104" y="38"/>
              </a:cxn>
              <a:cxn ang="0">
                <a:pos x="96" y="42"/>
              </a:cxn>
              <a:cxn ang="0">
                <a:pos x="97" y="50"/>
              </a:cxn>
              <a:cxn ang="0">
                <a:pos x="97" y="63"/>
              </a:cxn>
              <a:cxn ang="0">
                <a:pos x="91" y="64"/>
              </a:cxn>
              <a:cxn ang="0">
                <a:pos x="81" y="69"/>
              </a:cxn>
              <a:cxn ang="0">
                <a:pos x="80" y="73"/>
              </a:cxn>
              <a:cxn ang="0">
                <a:pos x="81" y="75"/>
              </a:cxn>
              <a:cxn ang="0">
                <a:pos x="81" y="84"/>
              </a:cxn>
              <a:cxn ang="0">
                <a:pos x="78" y="87"/>
              </a:cxn>
              <a:cxn ang="0">
                <a:pos x="68" y="85"/>
              </a:cxn>
              <a:cxn ang="0">
                <a:pos x="65" y="82"/>
              </a:cxn>
              <a:cxn ang="0">
                <a:pos x="60" y="84"/>
              </a:cxn>
              <a:cxn ang="0">
                <a:pos x="53" y="78"/>
              </a:cxn>
              <a:cxn ang="0">
                <a:pos x="49" y="75"/>
              </a:cxn>
              <a:cxn ang="0">
                <a:pos x="42" y="85"/>
              </a:cxn>
              <a:cxn ang="0">
                <a:pos x="33" y="85"/>
              </a:cxn>
              <a:cxn ang="0">
                <a:pos x="27" y="82"/>
              </a:cxn>
              <a:cxn ang="0">
                <a:pos x="22" y="88"/>
              </a:cxn>
              <a:cxn ang="0">
                <a:pos x="17" y="86"/>
              </a:cxn>
              <a:cxn ang="0">
                <a:pos x="9" y="82"/>
              </a:cxn>
              <a:cxn ang="0">
                <a:pos x="16" y="79"/>
              </a:cxn>
              <a:cxn ang="0">
                <a:pos x="18" y="79"/>
              </a:cxn>
              <a:cxn ang="0">
                <a:pos x="22" y="75"/>
              </a:cxn>
              <a:cxn ang="0">
                <a:pos x="15" y="68"/>
              </a:cxn>
              <a:cxn ang="0">
                <a:pos x="9" y="62"/>
              </a:cxn>
              <a:cxn ang="0">
                <a:pos x="10" y="54"/>
              </a:cxn>
              <a:cxn ang="0">
                <a:pos x="4" y="54"/>
              </a:cxn>
              <a:cxn ang="0">
                <a:pos x="10" y="45"/>
              </a:cxn>
              <a:cxn ang="0">
                <a:pos x="6" y="41"/>
              </a:cxn>
              <a:cxn ang="0">
                <a:pos x="3" y="41"/>
              </a:cxn>
              <a:cxn ang="0">
                <a:pos x="0" y="36"/>
              </a:cxn>
              <a:cxn ang="0">
                <a:pos x="5" y="31"/>
              </a:cxn>
              <a:cxn ang="0">
                <a:pos x="15" y="21"/>
              </a:cxn>
              <a:cxn ang="0">
                <a:pos x="22" y="23"/>
              </a:cxn>
              <a:cxn ang="0">
                <a:pos x="43" y="26"/>
              </a:cxn>
              <a:cxn ang="0">
                <a:pos x="47" y="29"/>
              </a:cxn>
              <a:cxn ang="0">
                <a:pos x="50" y="30"/>
              </a:cxn>
              <a:cxn ang="0">
                <a:pos x="54" y="26"/>
              </a:cxn>
              <a:cxn ang="0">
                <a:pos x="58" y="24"/>
              </a:cxn>
              <a:cxn ang="0">
                <a:pos x="61" y="20"/>
              </a:cxn>
              <a:cxn ang="0">
                <a:pos x="65" y="17"/>
              </a:cxn>
              <a:cxn ang="0">
                <a:pos x="69" y="14"/>
              </a:cxn>
              <a:cxn ang="0">
                <a:pos x="87" y="15"/>
              </a:cxn>
              <a:cxn ang="0">
                <a:pos x="96" y="12"/>
              </a:cxn>
              <a:cxn ang="0">
                <a:pos x="100" y="11"/>
              </a:cxn>
              <a:cxn ang="0">
                <a:pos x="110" y="11"/>
              </a:cxn>
              <a:cxn ang="0">
                <a:pos x="110" y="2"/>
              </a:cxn>
              <a:cxn ang="0">
                <a:pos x="122" y="0"/>
              </a:cxn>
            </a:cxnLst>
            <a:rect l="0" t="0" r="r" b="b"/>
            <a:pathLst>
              <a:path w="133" h="88">
                <a:moveTo>
                  <a:pt x="122" y="0"/>
                </a:moveTo>
                <a:lnTo>
                  <a:pt x="124" y="2"/>
                </a:lnTo>
                <a:lnTo>
                  <a:pt x="124" y="5"/>
                </a:lnTo>
                <a:lnTo>
                  <a:pt x="123" y="6"/>
                </a:lnTo>
                <a:lnTo>
                  <a:pt x="124" y="8"/>
                </a:lnTo>
                <a:lnTo>
                  <a:pt x="127" y="11"/>
                </a:lnTo>
                <a:lnTo>
                  <a:pt x="128" y="11"/>
                </a:lnTo>
                <a:lnTo>
                  <a:pt x="128" y="13"/>
                </a:lnTo>
                <a:lnTo>
                  <a:pt x="127" y="13"/>
                </a:lnTo>
                <a:lnTo>
                  <a:pt x="127" y="15"/>
                </a:lnTo>
                <a:lnTo>
                  <a:pt x="128" y="15"/>
                </a:lnTo>
                <a:lnTo>
                  <a:pt x="129" y="17"/>
                </a:lnTo>
                <a:lnTo>
                  <a:pt x="130" y="19"/>
                </a:lnTo>
                <a:lnTo>
                  <a:pt x="133" y="20"/>
                </a:lnTo>
                <a:lnTo>
                  <a:pt x="133" y="23"/>
                </a:lnTo>
                <a:lnTo>
                  <a:pt x="131" y="21"/>
                </a:lnTo>
                <a:lnTo>
                  <a:pt x="129" y="21"/>
                </a:lnTo>
                <a:lnTo>
                  <a:pt x="129" y="20"/>
                </a:lnTo>
                <a:lnTo>
                  <a:pt x="125" y="20"/>
                </a:lnTo>
                <a:lnTo>
                  <a:pt x="124" y="21"/>
                </a:lnTo>
                <a:lnTo>
                  <a:pt x="122" y="21"/>
                </a:lnTo>
                <a:lnTo>
                  <a:pt x="121" y="24"/>
                </a:lnTo>
                <a:lnTo>
                  <a:pt x="121" y="25"/>
                </a:lnTo>
                <a:lnTo>
                  <a:pt x="122" y="26"/>
                </a:lnTo>
                <a:lnTo>
                  <a:pt x="122" y="29"/>
                </a:lnTo>
                <a:lnTo>
                  <a:pt x="123" y="30"/>
                </a:lnTo>
                <a:lnTo>
                  <a:pt x="123" y="31"/>
                </a:lnTo>
                <a:lnTo>
                  <a:pt x="118" y="31"/>
                </a:lnTo>
                <a:lnTo>
                  <a:pt x="117" y="30"/>
                </a:lnTo>
                <a:lnTo>
                  <a:pt x="116" y="30"/>
                </a:lnTo>
                <a:lnTo>
                  <a:pt x="116" y="31"/>
                </a:lnTo>
                <a:lnTo>
                  <a:pt x="115" y="31"/>
                </a:lnTo>
                <a:lnTo>
                  <a:pt x="114" y="30"/>
                </a:lnTo>
                <a:lnTo>
                  <a:pt x="114" y="35"/>
                </a:lnTo>
                <a:lnTo>
                  <a:pt x="112" y="35"/>
                </a:lnTo>
                <a:lnTo>
                  <a:pt x="111" y="36"/>
                </a:lnTo>
                <a:lnTo>
                  <a:pt x="109" y="36"/>
                </a:lnTo>
                <a:lnTo>
                  <a:pt x="108" y="37"/>
                </a:lnTo>
                <a:lnTo>
                  <a:pt x="106" y="37"/>
                </a:lnTo>
                <a:lnTo>
                  <a:pt x="104" y="38"/>
                </a:lnTo>
                <a:lnTo>
                  <a:pt x="102" y="38"/>
                </a:lnTo>
                <a:lnTo>
                  <a:pt x="102" y="41"/>
                </a:lnTo>
                <a:lnTo>
                  <a:pt x="96" y="41"/>
                </a:lnTo>
                <a:lnTo>
                  <a:pt x="96" y="42"/>
                </a:lnTo>
                <a:lnTo>
                  <a:pt x="94" y="43"/>
                </a:lnTo>
                <a:lnTo>
                  <a:pt x="93" y="45"/>
                </a:lnTo>
                <a:lnTo>
                  <a:pt x="93" y="47"/>
                </a:lnTo>
                <a:lnTo>
                  <a:pt x="97" y="50"/>
                </a:lnTo>
                <a:lnTo>
                  <a:pt x="98" y="50"/>
                </a:lnTo>
                <a:lnTo>
                  <a:pt x="98" y="52"/>
                </a:lnTo>
                <a:lnTo>
                  <a:pt x="97" y="54"/>
                </a:lnTo>
                <a:lnTo>
                  <a:pt x="97" y="63"/>
                </a:lnTo>
                <a:lnTo>
                  <a:pt x="96" y="64"/>
                </a:lnTo>
                <a:lnTo>
                  <a:pt x="92" y="64"/>
                </a:lnTo>
                <a:lnTo>
                  <a:pt x="91" y="63"/>
                </a:lnTo>
                <a:lnTo>
                  <a:pt x="91" y="64"/>
                </a:lnTo>
                <a:lnTo>
                  <a:pt x="87" y="64"/>
                </a:lnTo>
                <a:lnTo>
                  <a:pt x="87" y="67"/>
                </a:lnTo>
                <a:lnTo>
                  <a:pt x="81" y="68"/>
                </a:lnTo>
                <a:lnTo>
                  <a:pt x="81" y="69"/>
                </a:lnTo>
                <a:lnTo>
                  <a:pt x="80" y="69"/>
                </a:lnTo>
                <a:lnTo>
                  <a:pt x="79" y="70"/>
                </a:lnTo>
                <a:lnTo>
                  <a:pt x="80" y="72"/>
                </a:lnTo>
                <a:lnTo>
                  <a:pt x="80" y="73"/>
                </a:lnTo>
                <a:lnTo>
                  <a:pt x="84" y="73"/>
                </a:lnTo>
                <a:lnTo>
                  <a:pt x="84" y="74"/>
                </a:lnTo>
                <a:lnTo>
                  <a:pt x="85" y="75"/>
                </a:lnTo>
                <a:lnTo>
                  <a:pt x="81" y="75"/>
                </a:lnTo>
                <a:lnTo>
                  <a:pt x="80" y="78"/>
                </a:lnTo>
                <a:lnTo>
                  <a:pt x="80" y="79"/>
                </a:lnTo>
                <a:lnTo>
                  <a:pt x="81" y="81"/>
                </a:lnTo>
                <a:lnTo>
                  <a:pt x="81" y="84"/>
                </a:lnTo>
                <a:lnTo>
                  <a:pt x="84" y="85"/>
                </a:lnTo>
                <a:lnTo>
                  <a:pt x="81" y="86"/>
                </a:lnTo>
                <a:lnTo>
                  <a:pt x="80" y="86"/>
                </a:lnTo>
                <a:lnTo>
                  <a:pt x="78" y="87"/>
                </a:lnTo>
                <a:lnTo>
                  <a:pt x="77" y="88"/>
                </a:lnTo>
                <a:lnTo>
                  <a:pt x="74" y="87"/>
                </a:lnTo>
                <a:lnTo>
                  <a:pt x="72" y="85"/>
                </a:lnTo>
                <a:lnTo>
                  <a:pt x="68" y="85"/>
                </a:lnTo>
                <a:lnTo>
                  <a:pt x="68" y="84"/>
                </a:lnTo>
                <a:lnTo>
                  <a:pt x="67" y="84"/>
                </a:lnTo>
                <a:lnTo>
                  <a:pt x="66" y="82"/>
                </a:lnTo>
                <a:lnTo>
                  <a:pt x="65" y="82"/>
                </a:lnTo>
                <a:lnTo>
                  <a:pt x="65" y="84"/>
                </a:lnTo>
                <a:lnTo>
                  <a:pt x="62" y="86"/>
                </a:lnTo>
                <a:lnTo>
                  <a:pt x="60" y="86"/>
                </a:lnTo>
                <a:lnTo>
                  <a:pt x="60" y="84"/>
                </a:lnTo>
                <a:lnTo>
                  <a:pt x="55" y="82"/>
                </a:lnTo>
                <a:lnTo>
                  <a:pt x="55" y="79"/>
                </a:lnTo>
                <a:lnTo>
                  <a:pt x="54" y="79"/>
                </a:lnTo>
                <a:lnTo>
                  <a:pt x="53" y="78"/>
                </a:lnTo>
                <a:lnTo>
                  <a:pt x="52" y="78"/>
                </a:lnTo>
                <a:lnTo>
                  <a:pt x="52" y="74"/>
                </a:lnTo>
                <a:lnTo>
                  <a:pt x="50" y="74"/>
                </a:lnTo>
                <a:lnTo>
                  <a:pt x="49" y="75"/>
                </a:lnTo>
                <a:lnTo>
                  <a:pt x="49" y="76"/>
                </a:lnTo>
                <a:lnTo>
                  <a:pt x="47" y="79"/>
                </a:lnTo>
                <a:lnTo>
                  <a:pt x="47" y="82"/>
                </a:lnTo>
                <a:lnTo>
                  <a:pt x="42" y="85"/>
                </a:lnTo>
                <a:lnTo>
                  <a:pt x="38" y="85"/>
                </a:lnTo>
                <a:lnTo>
                  <a:pt x="37" y="84"/>
                </a:lnTo>
                <a:lnTo>
                  <a:pt x="35" y="84"/>
                </a:lnTo>
                <a:lnTo>
                  <a:pt x="33" y="85"/>
                </a:lnTo>
                <a:lnTo>
                  <a:pt x="29" y="85"/>
                </a:lnTo>
                <a:lnTo>
                  <a:pt x="29" y="84"/>
                </a:lnTo>
                <a:lnTo>
                  <a:pt x="28" y="84"/>
                </a:lnTo>
                <a:lnTo>
                  <a:pt x="27" y="82"/>
                </a:lnTo>
                <a:lnTo>
                  <a:pt x="25" y="82"/>
                </a:lnTo>
                <a:lnTo>
                  <a:pt x="25" y="86"/>
                </a:lnTo>
                <a:lnTo>
                  <a:pt x="23" y="87"/>
                </a:lnTo>
                <a:lnTo>
                  <a:pt x="22" y="88"/>
                </a:lnTo>
                <a:lnTo>
                  <a:pt x="19" y="88"/>
                </a:lnTo>
                <a:lnTo>
                  <a:pt x="19" y="87"/>
                </a:lnTo>
                <a:lnTo>
                  <a:pt x="18" y="87"/>
                </a:lnTo>
                <a:lnTo>
                  <a:pt x="17" y="86"/>
                </a:lnTo>
                <a:lnTo>
                  <a:pt x="11" y="86"/>
                </a:lnTo>
                <a:lnTo>
                  <a:pt x="10" y="85"/>
                </a:lnTo>
                <a:lnTo>
                  <a:pt x="10" y="82"/>
                </a:lnTo>
                <a:lnTo>
                  <a:pt x="9" y="82"/>
                </a:lnTo>
                <a:lnTo>
                  <a:pt x="9" y="81"/>
                </a:lnTo>
                <a:lnTo>
                  <a:pt x="13" y="81"/>
                </a:lnTo>
                <a:lnTo>
                  <a:pt x="16" y="80"/>
                </a:lnTo>
                <a:lnTo>
                  <a:pt x="16" y="79"/>
                </a:lnTo>
                <a:lnTo>
                  <a:pt x="15" y="79"/>
                </a:lnTo>
                <a:lnTo>
                  <a:pt x="15" y="78"/>
                </a:lnTo>
                <a:lnTo>
                  <a:pt x="17" y="78"/>
                </a:lnTo>
                <a:lnTo>
                  <a:pt x="18" y="79"/>
                </a:lnTo>
                <a:lnTo>
                  <a:pt x="21" y="79"/>
                </a:lnTo>
                <a:lnTo>
                  <a:pt x="21" y="78"/>
                </a:lnTo>
                <a:lnTo>
                  <a:pt x="22" y="76"/>
                </a:lnTo>
                <a:lnTo>
                  <a:pt x="22" y="75"/>
                </a:lnTo>
                <a:lnTo>
                  <a:pt x="21" y="75"/>
                </a:lnTo>
                <a:lnTo>
                  <a:pt x="21" y="74"/>
                </a:lnTo>
                <a:lnTo>
                  <a:pt x="17" y="69"/>
                </a:lnTo>
                <a:lnTo>
                  <a:pt x="15" y="68"/>
                </a:lnTo>
                <a:lnTo>
                  <a:pt x="12" y="66"/>
                </a:lnTo>
                <a:lnTo>
                  <a:pt x="10" y="66"/>
                </a:lnTo>
                <a:lnTo>
                  <a:pt x="9" y="64"/>
                </a:lnTo>
                <a:lnTo>
                  <a:pt x="9" y="62"/>
                </a:lnTo>
                <a:lnTo>
                  <a:pt x="10" y="58"/>
                </a:lnTo>
                <a:lnTo>
                  <a:pt x="10" y="56"/>
                </a:lnTo>
                <a:lnTo>
                  <a:pt x="11" y="55"/>
                </a:lnTo>
                <a:lnTo>
                  <a:pt x="10" y="54"/>
                </a:lnTo>
                <a:lnTo>
                  <a:pt x="9" y="55"/>
                </a:lnTo>
                <a:lnTo>
                  <a:pt x="6" y="55"/>
                </a:lnTo>
                <a:lnTo>
                  <a:pt x="5" y="54"/>
                </a:lnTo>
                <a:lnTo>
                  <a:pt x="4" y="54"/>
                </a:lnTo>
                <a:lnTo>
                  <a:pt x="4" y="52"/>
                </a:lnTo>
                <a:lnTo>
                  <a:pt x="5" y="52"/>
                </a:lnTo>
                <a:lnTo>
                  <a:pt x="5" y="50"/>
                </a:lnTo>
                <a:lnTo>
                  <a:pt x="10" y="45"/>
                </a:lnTo>
                <a:lnTo>
                  <a:pt x="11" y="43"/>
                </a:lnTo>
                <a:lnTo>
                  <a:pt x="11" y="42"/>
                </a:lnTo>
                <a:lnTo>
                  <a:pt x="7" y="42"/>
                </a:lnTo>
                <a:lnTo>
                  <a:pt x="6" y="41"/>
                </a:lnTo>
                <a:lnTo>
                  <a:pt x="5" y="41"/>
                </a:lnTo>
                <a:lnTo>
                  <a:pt x="4" y="39"/>
                </a:lnTo>
                <a:lnTo>
                  <a:pt x="3" y="39"/>
                </a:lnTo>
                <a:lnTo>
                  <a:pt x="3" y="41"/>
                </a:lnTo>
                <a:lnTo>
                  <a:pt x="2" y="41"/>
                </a:lnTo>
                <a:lnTo>
                  <a:pt x="2" y="39"/>
                </a:lnTo>
                <a:lnTo>
                  <a:pt x="0" y="38"/>
                </a:lnTo>
                <a:lnTo>
                  <a:pt x="0" y="36"/>
                </a:lnTo>
                <a:lnTo>
                  <a:pt x="2" y="35"/>
                </a:lnTo>
                <a:lnTo>
                  <a:pt x="2" y="33"/>
                </a:lnTo>
                <a:lnTo>
                  <a:pt x="4" y="31"/>
                </a:lnTo>
                <a:lnTo>
                  <a:pt x="5" y="31"/>
                </a:lnTo>
                <a:lnTo>
                  <a:pt x="10" y="26"/>
                </a:lnTo>
                <a:lnTo>
                  <a:pt x="13" y="26"/>
                </a:lnTo>
                <a:lnTo>
                  <a:pt x="13" y="21"/>
                </a:lnTo>
                <a:lnTo>
                  <a:pt x="15" y="21"/>
                </a:lnTo>
                <a:lnTo>
                  <a:pt x="17" y="23"/>
                </a:lnTo>
                <a:lnTo>
                  <a:pt x="18" y="23"/>
                </a:lnTo>
                <a:lnTo>
                  <a:pt x="21" y="21"/>
                </a:lnTo>
                <a:lnTo>
                  <a:pt x="22" y="23"/>
                </a:lnTo>
                <a:lnTo>
                  <a:pt x="25" y="24"/>
                </a:lnTo>
                <a:lnTo>
                  <a:pt x="30" y="24"/>
                </a:lnTo>
                <a:lnTo>
                  <a:pt x="33" y="26"/>
                </a:lnTo>
                <a:lnTo>
                  <a:pt x="43" y="26"/>
                </a:lnTo>
                <a:lnTo>
                  <a:pt x="44" y="27"/>
                </a:lnTo>
                <a:lnTo>
                  <a:pt x="46" y="27"/>
                </a:lnTo>
                <a:lnTo>
                  <a:pt x="46" y="29"/>
                </a:lnTo>
                <a:lnTo>
                  <a:pt x="47" y="29"/>
                </a:lnTo>
                <a:lnTo>
                  <a:pt x="48" y="27"/>
                </a:lnTo>
                <a:lnTo>
                  <a:pt x="48" y="29"/>
                </a:lnTo>
                <a:lnTo>
                  <a:pt x="49" y="30"/>
                </a:lnTo>
                <a:lnTo>
                  <a:pt x="50" y="30"/>
                </a:lnTo>
                <a:lnTo>
                  <a:pt x="50" y="27"/>
                </a:lnTo>
                <a:lnTo>
                  <a:pt x="52" y="27"/>
                </a:lnTo>
                <a:lnTo>
                  <a:pt x="52" y="26"/>
                </a:lnTo>
                <a:lnTo>
                  <a:pt x="54" y="26"/>
                </a:lnTo>
                <a:lnTo>
                  <a:pt x="54" y="25"/>
                </a:lnTo>
                <a:lnTo>
                  <a:pt x="55" y="25"/>
                </a:lnTo>
                <a:lnTo>
                  <a:pt x="58" y="23"/>
                </a:lnTo>
                <a:lnTo>
                  <a:pt x="58" y="24"/>
                </a:lnTo>
                <a:lnTo>
                  <a:pt x="59" y="23"/>
                </a:lnTo>
                <a:lnTo>
                  <a:pt x="60" y="23"/>
                </a:lnTo>
                <a:lnTo>
                  <a:pt x="60" y="21"/>
                </a:lnTo>
                <a:lnTo>
                  <a:pt x="61" y="20"/>
                </a:lnTo>
                <a:lnTo>
                  <a:pt x="61" y="19"/>
                </a:lnTo>
                <a:lnTo>
                  <a:pt x="62" y="18"/>
                </a:lnTo>
                <a:lnTo>
                  <a:pt x="62" y="17"/>
                </a:lnTo>
                <a:lnTo>
                  <a:pt x="65" y="17"/>
                </a:lnTo>
                <a:lnTo>
                  <a:pt x="66" y="15"/>
                </a:lnTo>
                <a:lnTo>
                  <a:pt x="67" y="15"/>
                </a:lnTo>
                <a:lnTo>
                  <a:pt x="67" y="17"/>
                </a:lnTo>
                <a:lnTo>
                  <a:pt x="69" y="14"/>
                </a:lnTo>
                <a:lnTo>
                  <a:pt x="72" y="13"/>
                </a:lnTo>
                <a:lnTo>
                  <a:pt x="72" y="14"/>
                </a:lnTo>
                <a:lnTo>
                  <a:pt x="86" y="14"/>
                </a:lnTo>
                <a:lnTo>
                  <a:pt x="87" y="15"/>
                </a:lnTo>
                <a:lnTo>
                  <a:pt x="91" y="15"/>
                </a:lnTo>
                <a:lnTo>
                  <a:pt x="91" y="13"/>
                </a:lnTo>
                <a:lnTo>
                  <a:pt x="92" y="12"/>
                </a:lnTo>
                <a:lnTo>
                  <a:pt x="96" y="12"/>
                </a:lnTo>
                <a:lnTo>
                  <a:pt x="96" y="9"/>
                </a:lnTo>
                <a:lnTo>
                  <a:pt x="97" y="9"/>
                </a:lnTo>
                <a:lnTo>
                  <a:pt x="99" y="11"/>
                </a:lnTo>
                <a:lnTo>
                  <a:pt x="100" y="11"/>
                </a:lnTo>
                <a:lnTo>
                  <a:pt x="102" y="9"/>
                </a:lnTo>
                <a:lnTo>
                  <a:pt x="106" y="9"/>
                </a:lnTo>
                <a:lnTo>
                  <a:pt x="109" y="11"/>
                </a:lnTo>
                <a:lnTo>
                  <a:pt x="110" y="11"/>
                </a:lnTo>
                <a:lnTo>
                  <a:pt x="111" y="12"/>
                </a:lnTo>
                <a:lnTo>
                  <a:pt x="111" y="9"/>
                </a:lnTo>
                <a:lnTo>
                  <a:pt x="110" y="9"/>
                </a:lnTo>
                <a:lnTo>
                  <a:pt x="110" y="2"/>
                </a:lnTo>
                <a:lnTo>
                  <a:pt x="112" y="2"/>
                </a:lnTo>
                <a:lnTo>
                  <a:pt x="114" y="1"/>
                </a:lnTo>
                <a:lnTo>
                  <a:pt x="118" y="1"/>
                </a:lnTo>
                <a:lnTo>
                  <a:pt x="122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3" name="Freeform 16">
            <a:extLst>
              <a:ext uri="{FF2B5EF4-FFF2-40B4-BE49-F238E27FC236}">
                <a16:creationId xmlns:a16="http://schemas.microsoft.com/office/drawing/2014/main" id="{7C77DF7C-996C-426C-B519-B7F4F2D4D364}"/>
              </a:ext>
            </a:extLst>
          </p:cNvPr>
          <p:cNvSpPr>
            <a:spLocks/>
          </p:cNvSpPr>
          <p:nvPr/>
        </p:nvSpPr>
        <p:spPr bwMode="auto">
          <a:xfrm>
            <a:off x="2261892" y="4753825"/>
            <a:ext cx="346297" cy="170975"/>
          </a:xfrm>
          <a:custGeom>
            <a:avLst/>
            <a:gdLst/>
            <a:ahLst/>
            <a:cxnLst>
              <a:cxn ang="0">
                <a:pos x="112" y="5"/>
              </a:cxn>
              <a:cxn ang="0">
                <a:pos x="119" y="14"/>
              </a:cxn>
              <a:cxn ang="0">
                <a:pos x="124" y="21"/>
              </a:cxn>
              <a:cxn ang="0">
                <a:pos x="123" y="26"/>
              </a:cxn>
              <a:cxn ang="0">
                <a:pos x="131" y="25"/>
              </a:cxn>
              <a:cxn ang="0">
                <a:pos x="137" y="21"/>
              </a:cxn>
              <a:cxn ang="0">
                <a:pos x="145" y="18"/>
              </a:cxn>
              <a:cxn ang="0">
                <a:pos x="155" y="15"/>
              </a:cxn>
              <a:cxn ang="0">
                <a:pos x="162" y="13"/>
              </a:cxn>
              <a:cxn ang="0">
                <a:pos x="170" y="20"/>
              </a:cxn>
              <a:cxn ang="0">
                <a:pos x="179" y="15"/>
              </a:cxn>
              <a:cxn ang="0">
                <a:pos x="178" y="12"/>
              </a:cxn>
              <a:cxn ang="0">
                <a:pos x="187" y="11"/>
              </a:cxn>
              <a:cxn ang="0">
                <a:pos x="195" y="13"/>
              </a:cxn>
              <a:cxn ang="0">
                <a:pos x="205" y="14"/>
              </a:cxn>
              <a:cxn ang="0">
                <a:pos x="212" y="16"/>
              </a:cxn>
              <a:cxn ang="0">
                <a:pos x="218" y="26"/>
              </a:cxn>
              <a:cxn ang="0">
                <a:pos x="226" y="28"/>
              </a:cxn>
              <a:cxn ang="0">
                <a:pos x="238" y="33"/>
              </a:cxn>
              <a:cxn ang="0">
                <a:pos x="235" y="44"/>
              </a:cxn>
              <a:cxn ang="0">
                <a:pos x="232" y="54"/>
              </a:cxn>
              <a:cxn ang="0">
                <a:pos x="228" y="61"/>
              </a:cxn>
              <a:cxn ang="0">
                <a:pos x="214" y="79"/>
              </a:cxn>
              <a:cxn ang="0">
                <a:pos x="204" y="79"/>
              </a:cxn>
              <a:cxn ang="0">
                <a:pos x="197" y="69"/>
              </a:cxn>
              <a:cxn ang="0">
                <a:pos x="191" y="68"/>
              </a:cxn>
              <a:cxn ang="0">
                <a:pos x="186" y="71"/>
              </a:cxn>
              <a:cxn ang="0">
                <a:pos x="178" y="70"/>
              </a:cxn>
              <a:cxn ang="0">
                <a:pos x="166" y="67"/>
              </a:cxn>
              <a:cxn ang="0">
                <a:pos x="154" y="73"/>
              </a:cxn>
              <a:cxn ang="0">
                <a:pos x="148" y="83"/>
              </a:cxn>
              <a:cxn ang="0">
                <a:pos x="138" y="87"/>
              </a:cxn>
              <a:cxn ang="0">
                <a:pos x="135" y="92"/>
              </a:cxn>
              <a:cxn ang="0">
                <a:pos x="126" y="93"/>
              </a:cxn>
              <a:cxn ang="0">
                <a:pos x="118" y="89"/>
              </a:cxn>
              <a:cxn ang="0">
                <a:pos x="112" y="93"/>
              </a:cxn>
              <a:cxn ang="0">
                <a:pos x="100" y="99"/>
              </a:cxn>
              <a:cxn ang="0">
                <a:pos x="83" y="101"/>
              </a:cxn>
              <a:cxn ang="0">
                <a:pos x="83" y="113"/>
              </a:cxn>
              <a:cxn ang="0">
                <a:pos x="75" y="117"/>
              </a:cxn>
              <a:cxn ang="0">
                <a:pos x="38" y="118"/>
              </a:cxn>
              <a:cxn ang="0">
                <a:pos x="32" y="113"/>
              </a:cxn>
              <a:cxn ang="0">
                <a:pos x="21" y="104"/>
              </a:cxn>
              <a:cxn ang="0">
                <a:pos x="12" y="102"/>
              </a:cxn>
              <a:cxn ang="0">
                <a:pos x="8" y="99"/>
              </a:cxn>
              <a:cxn ang="0">
                <a:pos x="7" y="94"/>
              </a:cxn>
              <a:cxn ang="0">
                <a:pos x="2" y="85"/>
              </a:cxn>
              <a:cxn ang="0">
                <a:pos x="0" y="74"/>
              </a:cxn>
              <a:cxn ang="0">
                <a:pos x="5" y="68"/>
              </a:cxn>
              <a:cxn ang="0">
                <a:pos x="8" y="54"/>
              </a:cxn>
              <a:cxn ang="0">
                <a:pos x="17" y="49"/>
              </a:cxn>
              <a:cxn ang="0">
                <a:pos x="27" y="51"/>
              </a:cxn>
              <a:cxn ang="0">
                <a:pos x="39" y="44"/>
              </a:cxn>
              <a:cxn ang="0">
                <a:pos x="45" y="38"/>
              </a:cxn>
              <a:cxn ang="0">
                <a:pos x="54" y="24"/>
              </a:cxn>
              <a:cxn ang="0">
                <a:pos x="67" y="14"/>
              </a:cxn>
              <a:cxn ang="0">
                <a:pos x="74" y="8"/>
              </a:cxn>
              <a:cxn ang="0">
                <a:pos x="83" y="6"/>
              </a:cxn>
              <a:cxn ang="0">
                <a:pos x="89" y="11"/>
              </a:cxn>
              <a:cxn ang="0">
                <a:pos x="94" y="14"/>
              </a:cxn>
              <a:cxn ang="0">
                <a:pos x="99" y="9"/>
              </a:cxn>
              <a:cxn ang="0">
                <a:pos x="110" y="0"/>
              </a:cxn>
            </a:cxnLst>
            <a:rect l="0" t="0" r="r" b="b"/>
            <a:pathLst>
              <a:path w="239" h="118">
                <a:moveTo>
                  <a:pt x="110" y="0"/>
                </a:moveTo>
                <a:lnTo>
                  <a:pt x="110" y="1"/>
                </a:lnTo>
                <a:lnTo>
                  <a:pt x="111" y="2"/>
                </a:lnTo>
                <a:lnTo>
                  <a:pt x="112" y="2"/>
                </a:lnTo>
                <a:lnTo>
                  <a:pt x="112" y="5"/>
                </a:lnTo>
                <a:lnTo>
                  <a:pt x="114" y="9"/>
                </a:lnTo>
                <a:lnTo>
                  <a:pt x="114" y="11"/>
                </a:lnTo>
                <a:lnTo>
                  <a:pt x="117" y="11"/>
                </a:lnTo>
                <a:lnTo>
                  <a:pt x="117" y="13"/>
                </a:lnTo>
                <a:lnTo>
                  <a:pt x="119" y="14"/>
                </a:lnTo>
                <a:lnTo>
                  <a:pt x="121" y="14"/>
                </a:lnTo>
                <a:lnTo>
                  <a:pt x="123" y="13"/>
                </a:lnTo>
                <a:lnTo>
                  <a:pt x="123" y="14"/>
                </a:lnTo>
                <a:lnTo>
                  <a:pt x="124" y="15"/>
                </a:lnTo>
                <a:lnTo>
                  <a:pt x="124" y="21"/>
                </a:lnTo>
                <a:lnTo>
                  <a:pt x="125" y="21"/>
                </a:lnTo>
                <a:lnTo>
                  <a:pt x="125" y="22"/>
                </a:lnTo>
                <a:lnTo>
                  <a:pt x="124" y="22"/>
                </a:lnTo>
                <a:lnTo>
                  <a:pt x="123" y="25"/>
                </a:lnTo>
                <a:lnTo>
                  <a:pt x="123" y="26"/>
                </a:lnTo>
                <a:lnTo>
                  <a:pt x="124" y="27"/>
                </a:lnTo>
                <a:lnTo>
                  <a:pt x="126" y="27"/>
                </a:lnTo>
                <a:lnTo>
                  <a:pt x="127" y="26"/>
                </a:lnTo>
                <a:lnTo>
                  <a:pt x="127" y="25"/>
                </a:lnTo>
                <a:lnTo>
                  <a:pt x="131" y="25"/>
                </a:lnTo>
                <a:lnTo>
                  <a:pt x="135" y="28"/>
                </a:lnTo>
                <a:lnTo>
                  <a:pt x="136" y="27"/>
                </a:lnTo>
                <a:lnTo>
                  <a:pt x="136" y="24"/>
                </a:lnTo>
                <a:lnTo>
                  <a:pt x="137" y="22"/>
                </a:lnTo>
                <a:lnTo>
                  <a:pt x="137" y="21"/>
                </a:lnTo>
                <a:lnTo>
                  <a:pt x="138" y="20"/>
                </a:lnTo>
                <a:lnTo>
                  <a:pt x="138" y="19"/>
                </a:lnTo>
                <a:lnTo>
                  <a:pt x="139" y="19"/>
                </a:lnTo>
                <a:lnTo>
                  <a:pt x="141" y="18"/>
                </a:lnTo>
                <a:lnTo>
                  <a:pt x="145" y="18"/>
                </a:lnTo>
                <a:lnTo>
                  <a:pt x="145" y="14"/>
                </a:lnTo>
                <a:lnTo>
                  <a:pt x="150" y="14"/>
                </a:lnTo>
                <a:lnTo>
                  <a:pt x="150" y="13"/>
                </a:lnTo>
                <a:lnTo>
                  <a:pt x="151" y="13"/>
                </a:lnTo>
                <a:lnTo>
                  <a:pt x="155" y="15"/>
                </a:lnTo>
                <a:lnTo>
                  <a:pt x="157" y="15"/>
                </a:lnTo>
                <a:lnTo>
                  <a:pt x="157" y="14"/>
                </a:lnTo>
                <a:lnTo>
                  <a:pt x="158" y="14"/>
                </a:lnTo>
                <a:lnTo>
                  <a:pt x="158" y="13"/>
                </a:lnTo>
                <a:lnTo>
                  <a:pt x="162" y="13"/>
                </a:lnTo>
                <a:lnTo>
                  <a:pt x="166" y="18"/>
                </a:lnTo>
                <a:lnTo>
                  <a:pt x="167" y="18"/>
                </a:lnTo>
                <a:lnTo>
                  <a:pt x="167" y="19"/>
                </a:lnTo>
                <a:lnTo>
                  <a:pt x="169" y="19"/>
                </a:lnTo>
                <a:lnTo>
                  <a:pt x="170" y="20"/>
                </a:lnTo>
                <a:lnTo>
                  <a:pt x="173" y="20"/>
                </a:lnTo>
                <a:lnTo>
                  <a:pt x="175" y="18"/>
                </a:lnTo>
                <a:lnTo>
                  <a:pt x="175" y="16"/>
                </a:lnTo>
                <a:lnTo>
                  <a:pt x="178" y="16"/>
                </a:lnTo>
                <a:lnTo>
                  <a:pt x="179" y="15"/>
                </a:lnTo>
                <a:lnTo>
                  <a:pt x="178" y="14"/>
                </a:lnTo>
                <a:lnTo>
                  <a:pt x="176" y="14"/>
                </a:lnTo>
                <a:lnTo>
                  <a:pt x="176" y="13"/>
                </a:lnTo>
                <a:lnTo>
                  <a:pt x="178" y="13"/>
                </a:lnTo>
                <a:lnTo>
                  <a:pt x="178" y="12"/>
                </a:lnTo>
                <a:lnTo>
                  <a:pt x="181" y="12"/>
                </a:lnTo>
                <a:lnTo>
                  <a:pt x="181" y="13"/>
                </a:lnTo>
                <a:lnTo>
                  <a:pt x="183" y="13"/>
                </a:lnTo>
                <a:lnTo>
                  <a:pt x="185" y="11"/>
                </a:lnTo>
                <a:lnTo>
                  <a:pt x="187" y="11"/>
                </a:lnTo>
                <a:lnTo>
                  <a:pt x="189" y="12"/>
                </a:lnTo>
                <a:lnTo>
                  <a:pt x="193" y="13"/>
                </a:lnTo>
                <a:lnTo>
                  <a:pt x="194" y="13"/>
                </a:lnTo>
                <a:lnTo>
                  <a:pt x="195" y="12"/>
                </a:lnTo>
                <a:lnTo>
                  <a:pt x="195" y="13"/>
                </a:lnTo>
                <a:lnTo>
                  <a:pt x="197" y="12"/>
                </a:lnTo>
                <a:lnTo>
                  <a:pt x="201" y="12"/>
                </a:lnTo>
                <a:lnTo>
                  <a:pt x="203" y="13"/>
                </a:lnTo>
                <a:lnTo>
                  <a:pt x="204" y="13"/>
                </a:lnTo>
                <a:lnTo>
                  <a:pt x="205" y="14"/>
                </a:lnTo>
                <a:lnTo>
                  <a:pt x="206" y="16"/>
                </a:lnTo>
                <a:lnTo>
                  <a:pt x="207" y="16"/>
                </a:lnTo>
                <a:lnTo>
                  <a:pt x="208" y="15"/>
                </a:lnTo>
                <a:lnTo>
                  <a:pt x="211" y="15"/>
                </a:lnTo>
                <a:lnTo>
                  <a:pt x="212" y="16"/>
                </a:lnTo>
                <a:lnTo>
                  <a:pt x="214" y="18"/>
                </a:lnTo>
                <a:lnTo>
                  <a:pt x="216" y="19"/>
                </a:lnTo>
                <a:lnTo>
                  <a:pt x="217" y="21"/>
                </a:lnTo>
                <a:lnTo>
                  <a:pt x="217" y="24"/>
                </a:lnTo>
                <a:lnTo>
                  <a:pt x="218" y="26"/>
                </a:lnTo>
                <a:lnTo>
                  <a:pt x="219" y="26"/>
                </a:lnTo>
                <a:lnTo>
                  <a:pt x="222" y="27"/>
                </a:lnTo>
                <a:lnTo>
                  <a:pt x="223" y="27"/>
                </a:lnTo>
                <a:lnTo>
                  <a:pt x="224" y="28"/>
                </a:lnTo>
                <a:lnTo>
                  <a:pt x="226" y="28"/>
                </a:lnTo>
                <a:lnTo>
                  <a:pt x="226" y="30"/>
                </a:lnTo>
                <a:lnTo>
                  <a:pt x="229" y="31"/>
                </a:lnTo>
                <a:lnTo>
                  <a:pt x="231" y="31"/>
                </a:lnTo>
                <a:lnTo>
                  <a:pt x="234" y="33"/>
                </a:lnTo>
                <a:lnTo>
                  <a:pt x="238" y="33"/>
                </a:lnTo>
                <a:lnTo>
                  <a:pt x="239" y="34"/>
                </a:lnTo>
                <a:lnTo>
                  <a:pt x="239" y="39"/>
                </a:lnTo>
                <a:lnTo>
                  <a:pt x="238" y="40"/>
                </a:lnTo>
                <a:lnTo>
                  <a:pt x="236" y="40"/>
                </a:lnTo>
                <a:lnTo>
                  <a:pt x="235" y="44"/>
                </a:lnTo>
                <a:lnTo>
                  <a:pt x="235" y="46"/>
                </a:lnTo>
                <a:lnTo>
                  <a:pt x="234" y="46"/>
                </a:lnTo>
                <a:lnTo>
                  <a:pt x="234" y="48"/>
                </a:lnTo>
                <a:lnTo>
                  <a:pt x="232" y="49"/>
                </a:lnTo>
                <a:lnTo>
                  <a:pt x="232" y="54"/>
                </a:lnTo>
                <a:lnTo>
                  <a:pt x="231" y="55"/>
                </a:lnTo>
                <a:lnTo>
                  <a:pt x="231" y="58"/>
                </a:lnTo>
                <a:lnTo>
                  <a:pt x="230" y="59"/>
                </a:lnTo>
                <a:lnTo>
                  <a:pt x="230" y="61"/>
                </a:lnTo>
                <a:lnTo>
                  <a:pt x="228" y="61"/>
                </a:lnTo>
                <a:lnTo>
                  <a:pt x="228" y="62"/>
                </a:lnTo>
                <a:lnTo>
                  <a:pt x="223" y="67"/>
                </a:lnTo>
                <a:lnTo>
                  <a:pt x="223" y="77"/>
                </a:lnTo>
                <a:lnTo>
                  <a:pt x="222" y="79"/>
                </a:lnTo>
                <a:lnTo>
                  <a:pt x="214" y="79"/>
                </a:lnTo>
                <a:lnTo>
                  <a:pt x="213" y="80"/>
                </a:lnTo>
                <a:lnTo>
                  <a:pt x="211" y="80"/>
                </a:lnTo>
                <a:lnTo>
                  <a:pt x="208" y="81"/>
                </a:lnTo>
                <a:lnTo>
                  <a:pt x="207" y="82"/>
                </a:lnTo>
                <a:lnTo>
                  <a:pt x="204" y="79"/>
                </a:lnTo>
                <a:lnTo>
                  <a:pt x="201" y="75"/>
                </a:lnTo>
                <a:lnTo>
                  <a:pt x="200" y="73"/>
                </a:lnTo>
                <a:lnTo>
                  <a:pt x="200" y="71"/>
                </a:lnTo>
                <a:lnTo>
                  <a:pt x="197" y="71"/>
                </a:lnTo>
                <a:lnTo>
                  <a:pt x="197" y="69"/>
                </a:lnTo>
                <a:lnTo>
                  <a:pt x="195" y="69"/>
                </a:lnTo>
                <a:lnTo>
                  <a:pt x="195" y="68"/>
                </a:lnTo>
                <a:lnTo>
                  <a:pt x="193" y="68"/>
                </a:lnTo>
                <a:lnTo>
                  <a:pt x="193" y="67"/>
                </a:lnTo>
                <a:lnTo>
                  <a:pt x="191" y="68"/>
                </a:lnTo>
                <a:lnTo>
                  <a:pt x="188" y="68"/>
                </a:lnTo>
                <a:lnTo>
                  <a:pt x="188" y="69"/>
                </a:lnTo>
                <a:lnTo>
                  <a:pt x="187" y="69"/>
                </a:lnTo>
                <a:lnTo>
                  <a:pt x="187" y="70"/>
                </a:lnTo>
                <a:lnTo>
                  <a:pt x="186" y="71"/>
                </a:lnTo>
                <a:lnTo>
                  <a:pt x="186" y="70"/>
                </a:lnTo>
                <a:lnTo>
                  <a:pt x="182" y="70"/>
                </a:lnTo>
                <a:lnTo>
                  <a:pt x="180" y="71"/>
                </a:lnTo>
                <a:lnTo>
                  <a:pt x="179" y="71"/>
                </a:lnTo>
                <a:lnTo>
                  <a:pt x="178" y="70"/>
                </a:lnTo>
                <a:lnTo>
                  <a:pt x="173" y="70"/>
                </a:lnTo>
                <a:lnTo>
                  <a:pt x="170" y="68"/>
                </a:lnTo>
                <a:lnTo>
                  <a:pt x="168" y="68"/>
                </a:lnTo>
                <a:lnTo>
                  <a:pt x="167" y="67"/>
                </a:lnTo>
                <a:lnTo>
                  <a:pt x="166" y="67"/>
                </a:lnTo>
                <a:lnTo>
                  <a:pt x="157" y="69"/>
                </a:lnTo>
                <a:lnTo>
                  <a:pt x="154" y="69"/>
                </a:lnTo>
                <a:lnTo>
                  <a:pt x="152" y="70"/>
                </a:lnTo>
                <a:lnTo>
                  <a:pt x="154" y="71"/>
                </a:lnTo>
                <a:lnTo>
                  <a:pt x="154" y="73"/>
                </a:lnTo>
                <a:lnTo>
                  <a:pt x="151" y="75"/>
                </a:lnTo>
                <a:lnTo>
                  <a:pt x="150" y="75"/>
                </a:lnTo>
                <a:lnTo>
                  <a:pt x="150" y="76"/>
                </a:lnTo>
                <a:lnTo>
                  <a:pt x="149" y="81"/>
                </a:lnTo>
                <a:lnTo>
                  <a:pt x="148" y="83"/>
                </a:lnTo>
                <a:lnTo>
                  <a:pt x="144" y="87"/>
                </a:lnTo>
                <a:lnTo>
                  <a:pt x="143" y="86"/>
                </a:lnTo>
                <a:lnTo>
                  <a:pt x="142" y="86"/>
                </a:lnTo>
                <a:lnTo>
                  <a:pt x="141" y="87"/>
                </a:lnTo>
                <a:lnTo>
                  <a:pt x="138" y="87"/>
                </a:lnTo>
                <a:lnTo>
                  <a:pt x="138" y="88"/>
                </a:lnTo>
                <a:lnTo>
                  <a:pt x="137" y="89"/>
                </a:lnTo>
                <a:lnTo>
                  <a:pt x="137" y="91"/>
                </a:lnTo>
                <a:lnTo>
                  <a:pt x="136" y="91"/>
                </a:lnTo>
                <a:lnTo>
                  <a:pt x="135" y="92"/>
                </a:lnTo>
                <a:lnTo>
                  <a:pt x="132" y="92"/>
                </a:lnTo>
                <a:lnTo>
                  <a:pt x="132" y="93"/>
                </a:lnTo>
                <a:lnTo>
                  <a:pt x="130" y="94"/>
                </a:lnTo>
                <a:lnTo>
                  <a:pt x="129" y="95"/>
                </a:lnTo>
                <a:lnTo>
                  <a:pt x="126" y="93"/>
                </a:lnTo>
                <a:lnTo>
                  <a:pt x="123" y="93"/>
                </a:lnTo>
                <a:lnTo>
                  <a:pt x="123" y="91"/>
                </a:lnTo>
                <a:lnTo>
                  <a:pt x="121" y="89"/>
                </a:lnTo>
                <a:lnTo>
                  <a:pt x="119" y="91"/>
                </a:lnTo>
                <a:lnTo>
                  <a:pt x="118" y="89"/>
                </a:lnTo>
                <a:lnTo>
                  <a:pt x="118" y="88"/>
                </a:lnTo>
                <a:lnTo>
                  <a:pt x="117" y="88"/>
                </a:lnTo>
                <a:lnTo>
                  <a:pt x="113" y="89"/>
                </a:lnTo>
                <a:lnTo>
                  <a:pt x="112" y="89"/>
                </a:lnTo>
                <a:lnTo>
                  <a:pt x="112" y="93"/>
                </a:lnTo>
                <a:lnTo>
                  <a:pt x="111" y="94"/>
                </a:lnTo>
                <a:lnTo>
                  <a:pt x="111" y="95"/>
                </a:lnTo>
                <a:lnTo>
                  <a:pt x="108" y="98"/>
                </a:lnTo>
                <a:lnTo>
                  <a:pt x="102" y="98"/>
                </a:lnTo>
                <a:lnTo>
                  <a:pt x="100" y="99"/>
                </a:lnTo>
                <a:lnTo>
                  <a:pt x="95" y="98"/>
                </a:lnTo>
                <a:lnTo>
                  <a:pt x="92" y="99"/>
                </a:lnTo>
                <a:lnTo>
                  <a:pt x="88" y="99"/>
                </a:lnTo>
                <a:lnTo>
                  <a:pt x="83" y="100"/>
                </a:lnTo>
                <a:lnTo>
                  <a:pt x="83" y="101"/>
                </a:lnTo>
                <a:lnTo>
                  <a:pt x="82" y="104"/>
                </a:lnTo>
                <a:lnTo>
                  <a:pt x="80" y="104"/>
                </a:lnTo>
                <a:lnTo>
                  <a:pt x="80" y="111"/>
                </a:lnTo>
                <a:lnTo>
                  <a:pt x="81" y="112"/>
                </a:lnTo>
                <a:lnTo>
                  <a:pt x="83" y="113"/>
                </a:lnTo>
                <a:lnTo>
                  <a:pt x="82" y="113"/>
                </a:lnTo>
                <a:lnTo>
                  <a:pt x="81" y="114"/>
                </a:lnTo>
                <a:lnTo>
                  <a:pt x="80" y="114"/>
                </a:lnTo>
                <a:lnTo>
                  <a:pt x="77" y="117"/>
                </a:lnTo>
                <a:lnTo>
                  <a:pt x="75" y="117"/>
                </a:lnTo>
                <a:lnTo>
                  <a:pt x="74" y="116"/>
                </a:lnTo>
                <a:lnTo>
                  <a:pt x="71" y="116"/>
                </a:lnTo>
                <a:lnTo>
                  <a:pt x="63" y="117"/>
                </a:lnTo>
                <a:lnTo>
                  <a:pt x="60" y="118"/>
                </a:lnTo>
                <a:lnTo>
                  <a:pt x="38" y="118"/>
                </a:lnTo>
                <a:lnTo>
                  <a:pt x="37" y="117"/>
                </a:lnTo>
                <a:lnTo>
                  <a:pt x="34" y="116"/>
                </a:lnTo>
                <a:lnTo>
                  <a:pt x="34" y="114"/>
                </a:lnTo>
                <a:lnTo>
                  <a:pt x="33" y="114"/>
                </a:lnTo>
                <a:lnTo>
                  <a:pt x="32" y="113"/>
                </a:lnTo>
                <a:lnTo>
                  <a:pt x="30" y="113"/>
                </a:lnTo>
                <a:lnTo>
                  <a:pt x="29" y="111"/>
                </a:lnTo>
                <a:lnTo>
                  <a:pt x="27" y="111"/>
                </a:lnTo>
                <a:lnTo>
                  <a:pt x="26" y="110"/>
                </a:lnTo>
                <a:lnTo>
                  <a:pt x="21" y="104"/>
                </a:lnTo>
                <a:lnTo>
                  <a:pt x="20" y="102"/>
                </a:lnTo>
                <a:lnTo>
                  <a:pt x="18" y="102"/>
                </a:lnTo>
                <a:lnTo>
                  <a:pt x="15" y="101"/>
                </a:lnTo>
                <a:lnTo>
                  <a:pt x="14" y="101"/>
                </a:lnTo>
                <a:lnTo>
                  <a:pt x="12" y="102"/>
                </a:lnTo>
                <a:lnTo>
                  <a:pt x="12" y="101"/>
                </a:lnTo>
                <a:lnTo>
                  <a:pt x="11" y="101"/>
                </a:lnTo>
                <a:lnTo>
                  <a:pt x="9" y="100"/>
                </a:lnTo>
                <a:lnTo>
                  <a:pt x="9" y="99"/>
                </a:lnTo>
                <a:lnTo>
                  <a:pt x="8" y="99"/>
                </a:lnTo>
                <a:lnTo>
                  <a:pt x="9" y="98"/>
                </a:lnTo>
                <a:lnTo>
                  <a:pt x="9" y="97"/>
                </a:lnTo>
                <a:lnTo>
                  <a:pt x="8" y="95"/>
                </a:lnTo>
                <a:lnTo>
                  <a:pt x="8" y="94"/>
                </a:lnTo>
                <a:lnTo>
                  <a:pt x="7" y="94"/>
                </a:lnTo>
                <a:lnTo>
                  <a:pt x="5" y="92"/>
                </a:lnTo>
                <a:lnTo>
                  <a:pt x="5" y="86"/>
                </a:lnTo>
                <a:lnTo>
                  <a:pt x="3" y="86"/>
                </a:lnTo>
                <a:lnTo>
                  <a:pt x="3" y="85"/>
                </a:lnTo>
                <a:lnTo>
                  <a:pt x="2" y="85"/>
                </a:lnTo>
                <a:lnTo>
                  <a:pt x="2" y="81"/>
                </a:lnTo>
                <a:lnTo>
                  <a:pt x="1" y="81"/>
                </a:lnTo>
                <a:lnTo>
                  <a:pt x="1" y="80"/>
                </a:lnTo>
                <a:lnTo>
                  <a:pt x="0" y="80"/>
                </a:lnTo>
                <a:lnTo>
                  <a:pt x="0" y="74"/>
                </a:lnTo>
                <a:lnTo>
                  <a:pt x="2" y="71"/>
                </a:lnTo>
                <a:lnTo>
                  <a:pt x="2" y="70"/>
                </a:lnTo>
                <a:lnTo>
                  <a:pt x="3" y="69"/>
                </a:lnTo>
                <a:lnTo>
                  <a:pt x="3" y="68"/>
                </a:lnTo>
                <a:lnTo>
                  <a:pt x="5" y="68"/>
                </a:lnTo>
                <a:lnTo>
                  <a:pt x="3" y="64"/>
                </a:lnTo>
                <a:lnTo>
                  <a:pt x="3" y="63"/>
                </a:lnTo>
                <a:lnTo>
                  <a:pt x="5" y="62"/>
                </a:lnTo>
                <a:lnTo>
                  <a:pt x="7" y="56"/>
                </a:lnTo>
                <a:lnTo>
                  <a:pt x="8" y="54"/>
                </a:lnTo>
                <a:lnTo>
                  <a:pt x="11" y="51"/>
                </a:lnTo>
                <a:lnTo>
                  <a:pt x="11" y="50"/>
                </a:lnTo>
                <a:lnTo>
                  <a:pt x="13" y="48"/>
                </a:lnTo>
                <a:lnTo>
                  <a:pt x="15" y="48"/>
                </a:lnTo>
                <a:lnTo>
                  <a:pt x="17" y="49"/>
                </a:lnTo>
                <a:lnTo>
                  <a:pt x="21" y="51"/>
                </a:lnTo>
                <a:lnTo>
                  <a:pt x="23" y="50"/>
                </a:lnTo>
                <a:lnTo>
                  <a:pt x="24" y="50"/>
                </a:lnTo>
                <a:lnTo>
                  <a:pt x="25" y="49"/>
                </a:lnTo>
                <a:lnTo>
                  <a:pt x="27" y="51"/>
                </a:lnTo>
                <a:lnTo>
                  <a:pt x="29" y="51"/>
                </a:lnTo>
                <a:lnTo>
                  <a:pt x="37" y="48"/>
                </a:lnTo>
                <a:lnTo>
                  <a:pt x="38" y="48"/>
                </a:lnTo>
                <a:lnTo>
                  <a:pt x="39" y="45"/>
                </a:lnTo>
                <a:lnTo>
                  <a:pt x="39" y="44"/>
                </a:lnTo>
                <a:lnTo>
                  <a:pt x="43" y="44"/>
                </a:lnTo>
                <a:lnTo>
                  <a:pt x="43" y="43"/>
                </a:lnTo>
                <a:lnTo>
                  <a:pt x="44" y="43"/>
                </a:lnTo>
                <a:lnTo>
                  <a:pt x="44" y="39"/>
                </a:lnTo>
                <a:lnTo>
                  <a:pt x="45" y="38"/>
                </a:lnTo>
                <a:lnTo>
                  <a:pt x="49" y="38"/>
                </a:lnTo>
                <a:lnTo>
                  <a:pt x="52" y="34"/>
                </a:lnTo>
                <a:lnTo>
                  <a:pt x="52" y="28"/>
                </a:lnTo>
                <a:lnTo>
                  <a:pt x="54" y="26"/>
                </a:lnTo>
                <a:lnTo>
                  <a:pt x="54" y="24"/>
                </a:lnTo>
                <a:lnTo>
                  <a:pt x="56" y="21"/>
                </a:lnTo>
                <a:lnTo>
                  <a:pt x="62" y="19"/>
                </a:lnTo>
                <a:lnTo>
                  <a:pt x="64" y="16"/>
                </a:lnTo>
                <a:lnTo>
                  <a:pt x="64" y="14"/>
                </a:lnTo>
                <a:lnTo>
                  <a:pt x="67" y="14"/>
                </a:lnTo>
                <a:lnTo>
                  <a:pt x="70" y="11"/>
                </a:lnTo>
                <a:lnTo>
                  <a:pt x="70" y="8"/>
                </a:lnTo>
                <a:lnTo>
                  <a:pt x="71" y="8"/>
                </a:lnTo>
                <a:lnTo>
                  <a:pt x="71" y="7"/>
                </a:lnTo>
                <a:lnTo>
                  <a:pt x="74" y="8"/>
                </a:lnTo>
                <a:lnTo>
                  <a:pt x="75" y="7"/>
                </a:lnTo>
                <a:lnTo>
                  <a:pt x="77" y="8"/>
                </a:lnTo>
                <a:lnTo>
                  <a:pt x="80" y="8"/>
                </a:lnTo>
                <a:lnTo>
                  <a:pt x="82" y="6"/>
                </a:lnTo>
                <a:lnTo>
                  <a:pt x="83" y="6"/>
                </a:lnTo>
                <a:lnTo>
                  <a:pt x="88" y="7"/>
                </a:lnTo>
                <a:lnTo>
                  <a:pt x="89" y="7"/>
                </a:lnTo>
                <a:lnTo>
                  <a:pt x="88" y="8"/>
                </a:lnTo>
                <a:lnTo>
                  <a:pt x="88" y="9"/>
                </a:lnTo>
                <a:lnTo>
                  <a:pt x="89" y="11"/>
                </a:lnTo>
                <a:lnTo>
                  <a:pt x="89" y="14"/>
                </a:lnTo>
                <a:lnTo>
                  <a:pt x="91" y="14"/>
                </a:lnTo>
                <a:lnTo>
                  <a:pt x="93" y="13"/>
                </a:lnTo>
                <a:lnTo>
                  <a:pt x="94" y="13"/>
                </a:lnTo>
                <a:lnTo>
                  <a:pt x="94" y="14"/>
                </a:lnTo>
                <a:lnTo>
                  <a:pt x="96" y="14"/>
                </a:lnTo>
                <a:lnTo>
                  <a:pt x="99" y="12"/>
                </a:lnTo>
                <a:lnTo>
                  <a:pt x="99" y="11"/>
                </a:lnTo>
                <a:lnTo>
                  <a:pt x="100" y="11"/>
                </a:lnTo>
                <a:lnTo>
                  <a:pt x="99" y="9"/>
                </a:lnTo>
                <a:lnTo>
                  <a:pt x="100" y="7"/>
                </a:lnTo>
                <a:lnTo>
                  <a:pt x="100" y="6"/>
                </a:lnTo>
                <a:lnTo>
                  <a:pt x="105" y="6"/>
                </a:lnTo>
                <a:lnTo>
                  <a:pt x="105" y="5"/>
                </a:lnTo>
                <a:lnTo>
                  <a:pt x="11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4" name="Freeform 17">
            <a:extLst>
              <a:ext uri="{FF2B5EF4-FFF2-40B4-BE49-F238E27FC236}">
                <a16:creationId xmlns:a16="http://schemas.microsoft.com/office/drawing/2014/main" id="{7AF2E41E-6D63-48D0-B715-189C54DE8947}"/>
              </a:ext>
            </a:extLst>
          </p:cNvPr>
          <p:cNvSpPr>
            <a:spLocks/>
          </p:cNvSpPr>
          <p:nvPr/>
        </p:nvSpPr>
        <p:spPr bwMode="auto">
          <a:xfrm>
            <a:off x="2385052" y="5066796"/>
            <a:ext cx="252116" cy="366582"/>
          </a:xfrm>
          <a:custGeom>
            <a:avLst/>
            <a:gdLst/>
            <a:ahLst/>
            <a:cxnLst>
              <a:cxn ang="0">
                <a:pos x="45" y="0"/>
              </a:cxn>
              <a:cxn ang="0">
                <a:pos x="60" y="7"/>
              </a:cxn>
              <a:cxn ang="0">
                <a:pos x="72" y="17"/>
              </a:cxn>
              <a:cxn ang="0">
                <a:pos x="79" y="26"/>
              </a:cxn>
              <a:cxn ang="0">
                <a:pos x="82" y="39"/>
              </a:cxn>
              <a:cxn ang="0">
                <a:pos x="94" y="52"/>
              </a:cxn>
              <a:cxn ang="0">
                <a:pos x="102" y="57"/>
              </a:cxn>
              <a:cxn ang="0">
                <a:pos x="108" y="67"/>
              </a:cxn>
              <a:cxn ang="0">
                <a:pos x="109" y="73"/>
              </a:cxn>
              <a:cxn ang="0">
                <a:pos x="106" y="79"/>
              </a:cxn>
              <a:cxn ang="0">
                <a:pos x="116" y="87"/>
              </a:cxn>
              <a:cxn ang="0">
                <a:pos x="134" y="94"/>
              </a:cxn>
              <a:cxn ang="0">
                <a:pos x="145" y="91"/>
              </a:cxn>
              <a:cxn ang="0">
                <a:pos x="152" y="87"/>
              </a:cxn>
              <a:cxn ang="0">
                <a:pos x="160" y="98"/>
              </a:cxn>
              <a:cxn ang="0">
                <a:pos x="152" y="100"/>
              </a:cxn>
              <a:cxn ang="0">
                <a:pos x="159" y="117"/>
              </a:cxn>
              <a:cxn ang="0">
                <a:pos x="153" y="128"/>
              </a:cxn>
              <a:cxn ang="0">
                <a:pos x="149" y="147"/>
              </a:cxn>
              <a:cxn ang="0">
                <a:pos x="154" y="160"/>
              </a:cxn>
              <a:cxn ang="0">
                <a:pos x="166" y="168"/>
              </a:cxn>
              <a:cxn ang="0">
                <a:pos x="170" y="183"/>
              </a:cxn>
              <a:cxn ang="0">
                <a:pos x="153" y="195"/>
              </a:cxn>
              <a:cxn ang="0">
                <a:pos x="152" y="204"/>
              </a:cxn>
              <a:cxn ang="0">
                <a:pos x="153" y="222"/>
              </a:cxn>
              <a:cxn ang="0">
                <a:pos x="144" y="226"/>
              </a:cxn>
              <a:cxn ang="0">
                <a:pos x="129" y="226"/>
              </a:cxn>
              <a:cxn ang="0">
                <a:pos x="116" y="230"/>
              </a:cxn>
              <a:cxn ang="0">
                <a:pos x="108" y="233"/>
              </a:cxn>
              <a:cxn ang="0">
                <a:pos x="101" y="239"/>
              </a:cxn>
              <a:cxn ang="0">
                <a:pos x="91" y="236"/>
              </a:cxn>
              <a:cxn ang="0">
                <a:pos x="79" y="251"/>
              </a:cxn>
              <a:cxn ang="0">
                <a:pos x="72" y="252"/>
              </a:cxn>
              <a:cxn ang="0">
                <a:pos x="71" y="236"/>
              </a:cxn>
              <a:cxn ang="0">
                <a:pos x="57" y="226"/>
              </a:cxn>
              <a:cxn ang="0">
                <a:pos x="51" y="215"/>
              </a:cxn>
              <a:cxn ang="0">
                <a:pos x="52" y="201"/>
              </a:cxn>
              <a:cxn ang="0">
                <a:pos x="62" y="193"/>
              </a:cxn>
              <a:cxn ang="0">
                <a:pos x="45" y="181"/>
              </a:cxn>
              <a:cxn ang="0">
                <a:pos x="36" y="180"/>
              </a:cxn>
              <a:cxn ang="0">
                <a:pos x="27" y="173"/>
              </a:cxn>
              <a:cxn ang="0">
                <a:pos x="14" y="156"/>
              </a:cxn>
              <a:cxn ang="0">
                <a:pos x="21" y="153"/>
              </a:cxn>
              <a:cxn ang="0">
                <a:pos x="27" y="150"/>
              </a:cxn>
              <a:cxn ang="0">
                <a:pos x="15" y="130"/>
              </a:cxn>
              <a:cxn ang="0">
                <a:pos x="31" y="129"/>
              </a:cxn>
              <a:cxn ang="0">
                <a:pos x="27" y="124"/>
              </a:cxn>
              <a:cxn ang="0">
                <a:pos x="15" y="113"/>
              </a:cxn>
              <a:cxn ang="0">
                <a:pos x="14" y="98"/>
              </a:cxn>
              <a:cxn ang="0">
                <a:pos x="21" y="79"/>
              </a:cxn>
              <a:cxn ang="0">
                <a:pos x="14" y="76"/>
              </a:cxn>
              <a:cxn ang="0">
                <a:pos x="7" y="75"/>
              </a:cxn>
              <a:cxn ang="0">
                <a:pos x="8" y="62"/>
              </a:cxn>
              <a:cxn ang="0">
                <a:pos x="17" y="60"/>
              </a:cxn>
              <a:cxn ang="0">
                <a:pos x="10" y="51"/>
              </a:cxn>
              <a:cxn ang="0">
                <a:pos x="6" y="44"/>
              </a:cxn>
              <a:cxn ang="0">
                <a:pos x="4" y="37"/>
              </a:cxn>
              <a:cxn ang="0">
                <a:pos x="2" y="29"/>
              </a:cxn>
              <a:cxn ang="0">
                <a:pos x="2" y="15"/>
              </a:cxn>
              <a:cxn ang="0">
                <a:pos x="8" y="13"/>
              </a:cxn>
              <a:cxn ang="0">
                <a:pos x="17" y="9"/>
              </a:cxn>
              <a:cxn ang="0">
                <a:pos x="26" y="5"/>
              </a:cxn>
            </a:cxnLst>
            <a:rect l="0" t="0" r="r" b="b"/>
            <a:pathLst>
              <a:path w="174" h="253">
                <a:moveTo>
                  <a:pt x="29" y="0"/>
                </a:moveTo>
                <a:lnTo>
                  <a:pt x="34" y="0"/>
                </a:lnTo>
                <a:lnTo>
                  <a:pt x="35" y="1"/>
                </a:lnTo>
                <a:lnTo>
                  <a:pt x="38" y="2"/>
                </a:lnTo>
                <a:lnTo>
                  <a:pt x="39" y="2"/>
                </a:lnTo>
                <a:lnTo>
                  <a:pt x="42" y="1"/>
                </a:lnTo>
                <a:lnTo>
                  <a:pt x="44" y="1"/>
                </a:lnTo>
                <a:lnTo>
                  <a:pt x="45" y="0"/>
                </a:lnTo>
                <a:lnTo>
                  <a:pt x="47" y="1"/>
                </a:lnTo>
                <a:lnTo>
                  <a:pt x="53" y="1"/>
                </a:lnTo>
                <a:lnTo>
                  <a:pt x="53" y="2"/>
                </a:lnTo>
                <a:lnTo>
                  <a:pt x="54" y="2"/>
                </a:lnTo>
                <a:lnTo>
                  <a:pt x="54" y="1"/>
                </a:lnTo>
                <a:lnTo>
                  <a:pt x="56" y="2"/>
                </a:lnTo>
                <a:lnTo>
                  <a:pt x="58" y="4"/>
                </a:lnTo>
                <a:lnTo>
                  <a:pt x="60" y="7"/>
                </a:lnTo>
                <a:lnTo>
                  <a:pt x="62" y="8"/>
                </a:lnTo>
                <a:lnTo>
                  <a:pt x="62" y="11"/>
                </a:lnTo>
                <a:lnTo>
                  <a:pt x="63" y="12"/>
                </a:lnTo>
                <a:lnTo>
                  <a:pt x="64" y="12"/>
                </a:lnTo>
                <a:lnTo>
                  <a:pt x="65" y="13"/>
                </a:lnTo>
                <a:lnTo>
                  <a:pt x="66" y="13"/>
                </a:lnTo>
                <a:lnTo>
                  <a:pt x="70" y="17"/>
                </a:lnTo>
                <a:lnTo>
                  <a:pt x="72" y="17"/>
                </a:lnTo>
                <a:lnTo>
                  <a:pt x="73" y="19"/>
                </a:lnTo>
                <a:lnTo>
                  <a:pt x="73" y="20"/>
                </a:lnTo>
                <a:lnTo>
                  <a:pt x="75" y="20"/>
                </a:lnTo>
                <a:lnTo>
                  <a:pt x="75" y="23"/>
                </a:lnTo>
                <a:lnTo>
                  <a:pt x="76" y="24"/>
                </a:lnTo>
                <a:lnTo>
                  <a:pt x="76" y="25"/>
                </a:lnTo>
                <a:lnTo>
                  <a:pt x="77" y="26"/>
                </a:lnTo>
                <a:lnTo>
                  <a:pt x="79" y="26"/>
                </a:lnTo>
                <a:lnTo>
                  <a:pt x="79" y="25"/>
                </a:lnTo>
                <a:lnTo>
                  <a:pt x="81" y="25"/>
                </a:lnTo>
                <a:lnTo>
                  <a:pt x="81" y="31"/>
                </a:lnTo>
                <a:lnTo>
                  <a:pt x="79" y="32"/>
                </a:lnTo>
                <a:lnTo>
                  <a:pt x="79" y="35"/>
                </a:lnTo>
                <a:lnTo>
                  <a:pt x="81" y="37"/>
                </a:lnTo>
                <a:lnTo>
                  <a:pt x="82" y="38"/>
                </a:lnTo>
                <a:lnTo>
                  <a:pt x="82" y="39"/>
                </a:lnTo>
                <a:lnTo>
                  <a:pt x="81" y="41"/>
                </a:lnTo>
                <a:lnTo>
                  <a:pt x="79" y="41"/>
                </a:lnTo>
                <a:lnTo>
                  <a:pt x="82" y="43"/>
                </a:lnTo>
                <a:lnTo>
                  <a:pt x="83" y="43"/>
                </a:lnTo>
                <a:lnTo>
                  <a:pt x="84" y="45"/>
                </a:lnTo>
                <a:lnTo>
                  <a:pt x="90" y="51"/>
                </a:lnTo>
                <a:lnTo>
                  <a:pt x="93" y="52"/>
                </a:lnTo>
                <a:lnTo>
                  <a:pt x="94" y="52"/>
                </a:lnTo>
                <a:lnTo>
                  <a:pt x="94" y="54"/>
                </a:lnTo>
                <a:lnTo>
                  <a:pt x="95" y="54"/>
                </a:lnTo>
                <a:lnTo>
                  <a:pt x="95" y="52"/>
                </a:lnTo>
                <a:lnTo>
                  <a:pt x="96" y="52"/>
                </a:lnTo>
                <a:lnTo>
                  <a:pt x="98" y="55"/>
                </a:lnTo>
                <a:lnTo>
                  <a:pt x="98" y="56"/>
                </a:lnTo>
                <a:lnTo>
                  <a:pt x="100" y="57"/>
                </a:lnTo>
                <a:lnTo>
                  <a:pt x="102" y="57"/>
                </a:lnTo>
                <a:lnTo>
                  <a:pt x="107" y="58"/>
                </a:lnTo>
                <a:lnTo>
                  <a:pt x="108" y="60"/>
                </a:lnTo>
                <a:lnTo>
                  <a:pt x="109" y="60"/>
                </a:lnTo>
                <a:lnTo>
                  <a:pt x="110" y="61"/>
                </a:lnTo>
                <a:lnTo>
                  <a:pt x="110" y="63"/>
                </a:lnTo>
                <a:lnTo>
                  <a:pt x="109" y="63"/>
                </a:lnTo>
                <a:lnTo>
                  <a:pt x="109" y="66"/>
                </a:lnTo>
                <a:lnTo>
                  <a:pt x="108" y="67"/>
                </a:lnTo>
                <a:lnTo>
                  <a:pt x="108" y="68"/>
                </a:lnTo>
                <a:lnTo>
                  <a:pt x="107" y="69"/>
                </a:lnTo>
                <a:lnTo>
                  <a:pt x="106" y="69"/>
                </a:lnTo>
                <a:lnTo>
                  <a:pt x="104" y="70"/>
                </a:lnTo>
                <a:lnTo>
                  <a:pt x="104" y="72"/>
                </a:lnTo>
                <a:lnTo>
                  <a:pt x="106" y="72"/>
                </a:lnTo>
                <a:lnTo>
                  <a:pt x="106" y="73"/>
                </a:lnTo>
                <a:lnTo>
                  <a:pt x="109" y="73"/>
                </a:lnTo>
                <a:lnTo>
                  <a:pt x="110" y="74"/>
                </a:lnTo>
                <a:lnTo>
                  <a:pt x="112" y="74"/>
                </a:lnTo>
                <a:lnTo>
                  <a:pt x="113" y="75"/>
                </a:lnTo>
                <a:lnTo>
                  <a:pt x="113" y="78"/>
                </a:lnTo>
                <a:lnTo>
                  <a:pt x="110" y="78"/>
                </a:lnTo>
                <a:lnTo>
                  <a:pt x="109" y="79"/>
                </a:lnTo>
                <a:lnTo>
                  <a:pt x="107" y="78"/>
                </a:lnTo>
                <a:lnTo>
                  <a:pt x="106" y="79"/>
                </a:lnTo>
                <a:lnTo>
                  <a:pt x="104" y="79"/>
                </a:lnTo>
                <a:lnTo>
                  <a:pt x="104" y="80"/>
                </a:lnTo>
                <a:lnTo>
                  <a:pt x="107" y="82"/>
                </a:lnTo>
                <a:lnTo>
                  <a:pt x="107" y="84"/>
                </a:lnTo>
                <a:lnTo>
                  <a:pt x="114" y="84"/>
                </a:lnTo>
                <a:lnTo>
                  <a:pt x="115" y="85"/>
                </a:lnTo>
                <a:lnTo>
                  <a:pt x="115" y="86"/>
                </a:lnTo>
                <a:lnTo>
                  <a:pt x="116" y="87"/>
                </a:lnTo>
                <a:lnTo>
                  <a:pt x="118" y="90"/>
                </a:lnTo>
                <a:lnTo>
                  <a:pt x="123" y="90"/>
                </a:lnTo>
                <a:lnTo>
                  <a:pt x="126" y="88"/>
                </a:lnTo>
                <a:lnTo>
                  <a:pt x="127" y="88"/>
                </a:lnTo>
                <a:lnTo>
                  <a:pt x="131" y="91"/>
                </a:lnTo>
                <a:lnTo>
                  <a:pt x="132" y="91"/>
                </a:lnTo>
                <a:lnTo>
                  <a:pt x="133" y="94"/>
                </a:lnTo>
                <a:lnTo>
                  <a:pt x="134" y="94"/>
                </a:lnTo>
                <a:lnTo>
                  <a:pt x="134" y="97"/>
                </a:lnTo>
                <a:lnTo>
                  <a:pt x="135" y="97"/>
                </a:lnTo>
                <a:lnTo>
                  <a:pt x="135" y="99"/>
                </a:lnTo>
                <a:lnTo>
                  <a:pt x="137" y="99"/>
                </a:lnTo>
                <a:lnTo>
                  <a:pt x="138" y="100"/>
                </a:lnTo>
                <a:lnTo>
                  <a:pt x="139" y="100"/>
                </a:lnTo>
                <a:lnTo>
                  <a:pt x="140" y="99"/>
                </a:lnTo>
                <a:lnTo>
                  <a:pt x="145" y="91"/>
                </a:lnTo>
                <a:lnTo>
                  <a:pt x="145" y="90"/>
                </a:lnTo>
                <a:lnTo>
                  <a:pt x="146" y="90"/>
                </a:lnTo>
                <a:lnTo>
                  <a:pt x="147" y="88"/>
                </a:lnTo>
                <a:lnTo>
                  <a:pt x="149" y="88"/>
                </a:lnTo>
                <a:lnTo>
                  <a:pt x="150" y="87"/>
                </a:lnTo>
                <a:lnTo>
                  <a:pt x="150" y="86"/>
                </a:lnTo>
                <a:lnTo>
                  <a:pt x="152" y="86"/>
                </a:lnTo>
                <a:lnTo>
                  <a:pt x="152" y="87"/>
                </a:lnTo>
                <a:lnTo>
                  <a:pt x="156" y="90"/>
                </a:lnTo>
                <a:lnTo>
                  <a:pt x="158" y="92"/>
                </a:lnTo>
                <a:lnTo>
                  <a:pt x="162" y="92"/>
                </a:lnTo>
                <a:lnTo>
                  <a:pt x="163" y="93"/>
                </a:lnTo>
                <a:lnTo>
                  <a:pt x="164" y="95"/>
                </a:lnTo>
                <a:lnTo>
                  <a:pt x="164" y="97"/>
                </a:lnTo>
                <a:lnTo>
                  <a:pt x="163" y="98"/>
                </a:lnTo>
                <a:lnTo>
                  <a:pt x="160" y="98"/>
                </a:lnTo>
                <a:lnTo>
                  <a:pt x="158" y="95"/>
                </a:lnTo>
                <a:lnTo>
                  <a:pt x="157" y="95"/>
                </a:lnTo>
                <a:lnTo>
                  <a:pt x="157" y="97"/>
                </a:lnTo>
                <a:lnTo>
                  <a:pt x="156" y="97"/>
                </a:lnTo>
                <a:lnTo>
                  <a:pt x="156" y="99"/>
                </a:lnTo>
                <a:lnTo>
                  <a:pt x="154" y="99"/>
                </a:lnTo>
                <a:lnTo>
                  <a:pt x="153" y="100"/>
                </a:lnTo>
                <a:lnTo>
                  <a:pt x="152" y="100"/>
                </a:lnTo>
                <a:lnTo>
                  <a:pt x="152" y="103"/>
                </a:lnTo>
                <a:lnTo>
                  <a:pt x="153" y="104"/>
                </a:lnTo>
                <a:lnTo>
                  <a:pt x="153" y="106"/>
                </a:lnTo>
                <a:lnTo>
                  <a:pt x="158" y="111"/>
                </a:lnTo>
                <a:lnTo>
                  <a:pt x="160" y="111"/>
                </a:lnTo>
                <a:lnTo>
                  <a:pt x="162" y="112"/>
                </a:lnTo>
                <a:lnTo>
                  <a:pt x="162" y="116"/>
                </a:lnTo>
                <a:lnTo>
                  <a:pt x="159" y="117"/>
                </a:lnTo>
                <a:lnTo>
                  <a:pt x="158" y="118"/>
                </a:lnTo>
                <a:lnTo>
                  <a:pt x="158" y="121"/>
                </a:lnTo>
                <a:lnTo>
                  <a:pt x="157" y="122"/>
                </a:lnTo>
                <a:lnTo>
                  <a:pt x="157" y="123"/>
                </a:lnTo>
                <a:lnTo>
                  <a:pt x="158" y="124"/>
                </a:lnTo>
                <a:lnTo>
                  <a:pt x="158" y="125"/>
                </a:lnTo>
                <a:lnTo>
                  <a:pt x="156" y="125"/>
                </a:lnTo>
                <a:lnTo>
                  <a:pt x="153" y="128"/>
                </a:lnTo>
                <a:lnTo>
                  <a:pt x="153" y="129"/>
                </a:lnTo>
                <a:lnTo>
                  <a:pt x="150" y="129"/>
                </a:lnTo>
                <a:lnTo>
                  <a:pt x="149" y="130"/>
                </a:lnTo>
                <a:lnTo>
                  <a:pt x="149" y="136"/>
                </a:lnTo>
                <a:lnTo>
                  <a:pt x="147" y="138"/>
                </a:lnTo>
                <a:lnTo>
                  <a:pt x="147" y="142"/>
                </a:lnTo>
                <a:lnTo>
                  <a:pt x="149" y="143"/>
                </a:lnTo>
                <a:lnTo>
                  <a:pt x="149" y="147"/>
                </a:lnTo>
                <a:lnTo>
                  <a:pt x="150" y="148"/>
                </a:lnTo>
                <a:lnTo>
                  <a:pt x="150" y="149"/>
                </a:lnTo>
                <a:lnTo>
                  <a:pt x="151" y="149"/>
                </a:lnTo>
                <a:lnTo>
                  <a:pt x="152" y="150"/>
                </a:lnTo>
                <a:lnTo>
                  <a:pt x="152" y="155"/>
                </a:lnTo>
                <a:lnTo>
                  <a:pt x="153" y="156"/>
                </a:lnTo>
                <a:lnTo>
                  <a:pt x="153" y="159"/>
                </a:lnTo>
                <a:lnTo>
                  <a:pt x="154" y="160"/>
                </a:lnTo>
                <a:lnTo>
                  <a:pt x="154" y="161"/>
                </a:lnTo>
                <a:lnTo>
                  <a:pt x="157" y="161"/>
                </a:lnTo>
                <a:lnTo>
                  <a:pt x="157" y="162"/>
                </a:lnTo>
                <a:lnTo>
                  <a:pt x="159" y="162"/>
                </a:lnTo>
                <a:lnTo>
                  <a:pt x="159" y="165"/>
                </a:lnTo>
                <a:lnTo>
                  <a:pt x="163" y="165"/>
                </a:lnTo>
                <a:lnTo>
                  <a:pt x="163" y="166"/>
                </a:lnTo>
                <a:lnTo>
                  <a:pt x="166" y="168"/>
                </a:lnTo>
                <a:lnTo>
                  <a:pt x="166" y="171"/>
                </a:lnTo>
                <a:lnTo>
                  <a:pt x="171" y="176"/>
                </a:lnTo>
                <a:lnTo>
                  <a:pt x="172" y="176"/>
                </a:lnTo>
                <a:lnTo>
                  <a:pt x="174" y="177"/>
                </a:lnTo>
                <a:lnTo>
                  <a:pt x="174" y="179"/>
                </a:lnTo>
                <a:lnTo>
                  <a:pt x="172" y="181"/>
                </a:lnTo>
                <a:lnTo>
                  <a:pt x="171" y="183"/>
                </a:lnTo>
                <a:lnTo>
                  <a:pt x="170" y="183"/>
                </a:lnTo>
                <a:lnTo>
                  <a:pt x="170" y="185"/>
                </a:lnTo>
                <a:lnTo>
                  <a:pt x="166" y="189"/>
                </a:lnTo>
                <a:lnTo>
                  <a:pt x="165" y="189"/>
                </a:lnTo>
                <a:lnTo>
                  <a:pt x="164" y="190"/>
                </a:lnTo>
                <a:lnTo>
                  <a:pt x="164" y="192"/>
                </a:lnTo>
                <a:lnTo>
                  <a:pt x="163" y="193"/>
                </a:lnTo>
                <a:lnTo>
                  <a:pt x="163" y="195"/>
                </a:lnTo>
                <a:lnTo>
                  <a:pt x="153" y="195"/>
                </a:lnTo>
                <a:lnTo>
                  <a:pt x="153" y="196"/>
                </a:lnTo>
                <a:lnTo>
                  <a:pt x="152" y="197"/>
                </a:lnTo>
                <a:lnTo>
                  <a:pt x="151" y="197"/>
                </a:lnTo>
                <a:lnTo>
                  <a:pt x="151" y="198"/>
                </a:lnTo>
                <a:lnTo>
                  <a:pt x="150" y="198"/>
                </a:lnTo>
                <a:lnTo>
                  <a:pt x="151" y="201"/>
                </a:lnTo>
                <a:lnTo>
                  <a:pt x="152" y="202"/>
                </a:lnTo>
                <a:lnTo>
                  <a:pt x="152" y="204"/>
                </a:lnTo>
                <a:lnTo>
                  <a:pt x="151" y="205"/>
                </a:lnTo>
                <a:lnTo>
                  <a:pt x="151" y="209"/>
                </a:lnTo>
                <a:lnTo>
                  <a:pt x="150" y="211"/>
                </a:lnTo>
                <a:lnTo>
                  <a:pt x="150" y="213"/>
                </a:lnTo>
                <a:lnTo>
                  <a:pt x="152" y="214"/>
                </a:lnTo>
                <a:lnTo>
                  <a:pt x="154" y="216"/>
                </a:lnTo>
                <a:lnTo>
                  <a:pt x="154" y="221"/>
                </a:lnTo>
                <a:lnTo>
                  <a:pt x="153" y="222"/>
                </a:lnTo>
                <a:lnTo>
                  <a:pt x="152" y="222"/>
                </a:lnTo>
                <a:lnTo>
                  <a:pt x="151" y="223"/>
                </a:lnTo>
                <a:lnTo>
                  <a:pt x="151" y="226"/>
                </a:lnTo>
                <a:lnTo>
                  <a:pt x="150" y="226"/>
                </a:lnTo>
                <a:lnTo>
                  <a:pt x="150" y="227"/>
                </a:lnTo>
                <a:lnTo>
                  <a:pt x="145" y="227"/>
                </a:lnTo>
                <a:lnTo>
                  <a:pt x="145" y="226"/>
                </a:lnTo>
                <a:lnTo>
                  <a:pt x="144" y="226"/>
                </a:lnTo>
                <a:lnTo>
                  <a:pt x="144" y="223"/>
                </a:lnTo>
                <a:lnTo>
                  <a:pt x="143" y="223"/>
                </a:lnTo>
                <a:lnTo>
                  <a:pt x="143" y="224"/>
                </a:lnTo>
                <a:lnTo>
                  <a:pt x="137" y="227"/>
                </a:lnTo>
                <a:lnTo>
                  <a:pt x="134" y="228"/>
                </a:lnTo>
                <a:lnTo>
                  <a:pt x="133" y="228"/>
                </a:lnTo>
                <a:lnTo>
                  <a:pt x="132" y="227"/>
                </a:lnTo>
                <a:lnTo>
                  <a:pt x="129" y="226"/>
                </a:lnTo>
                <a:lnTo>
                  <a:pt x="128" y="226"/>
                </a:lnTo>
                <a:lnTo>
                  <a:pt x="127" y="227"/>
                </a:lnTo>
                <a:lnTo>
                  <a:pt x="125" y="227"/>
                </a:lnTo>
                <a:lnTo>
                  <a:pt x="120" y="230"/>
                </a:lnTo>
                <a:lnTo>
                  <a:pt x="119" y="230"/>
                </a:lnTo>
                <a:lnTo>
                  <a:pt x="119" y="232"/>
                </a:lnTo>
                <a:lnTo>
                  <a:pt x="118" y="232"/>
                </a:lnTo>
                <a:lnTo>
                  <a:pt x="116" y="230"/>
                </a:lnTo>
                <a:lnTo>
                  <a:pt x="114" y="230"/>
                </a:lnTo>
                <a:lnTo>
                  <a:pt x="112" y="232"/>
                </a:lnTo>
                <a:lnTo>
                  <a:pt x="110" y="230"/>
                </a:lnTo>
                <a:lnTo>
                  <a:pt x="110" y="232"/>
                </a:lnTo>
                <a:lnTo>
                  <a:pt x="109" y="232"/>
                </a:lnTo>
                <a:lnTo>
                  <a:pt x="109" y="230"/>
                </a:lnTo>
                <a:lnTo>
                  <a:pt x="108" y="230"/>
                </a:lnTo>
                <a:lnTo>
                  <a:pt x="108" y="233"/>
                </a:lnTo>
                <a:lnTo>
                  <a:pt x="106" y="232"/>
                </a:lnTo>
                <a:lnTo>
                  <a:pt x="104" y="233"/>
                </a:lnTo>
                <a:lnTo>
                  <a:pt x="102" y="236"/>
                </a:lnTo>
                <a:lnTo>
                  <a:pt x="102" y="238"/>
                </a:lnTo>
                <a:lnTo>
                  <a:pt x="103" y="239"/>
                </a:lnTo>
                <a:lnTo>
                  <a:pt x="102" y="239"/>
                </a:lnTo>
                <a:lnTo>
                  <a:pt x="102" y="240"/>
                </a:lnTo>
                <a:lnTo>
                  <a:pt x="101" y="239"/>
                </a:lnTo>
                <a:lnTo>
                  <a:pt x="100" y="239"/>
                </a:lnTo>
                <a:lnTo>
                  <a:pt x="98" y="238"/>
                </a:lnTo>
                <a:lnTo>
                  <a:pt x="98" y="236"/>
                </a:lnTo>
                <a:lnTo>
                  <a:pt x="97" y="235"/>
                </a:lnTo>
                <a:lnTo>
                  <a:pt x="95" y="234"/>
                </a:lnTo>
                <a:lnTo>
                  <a:pt x="93" y="234"/>
                </a:lnTo>
                <a:lnTo>
                  <a:pt x="91" y="235"/>
                </a:lnTo>
                <a:lnTo>
                  <a:pt x="91" y="236"/>
                </a:lnTo>
                <a:lnTo>
                  <a:pt x="90" y="236"/>
                </a:lnTo>
                <a:lnTo>
                  <a:pt x="89" y="238"/>
                </a:lnTo>
                <a:lnTo>
                  <a:pt x="85" y="238"/>
                </a:lnTo>
                <a:lnTo>
                  <a:pt x="82" y="240"/>
                </a:lnTo>
                <a:lnTo>
                  <a:pt x="81" y="240"/>
                </a:lnTo>
                <a:lnTo>
                  <a:pt x="81" y="241"/>
                </a:lnTo>
                <a:lnTo>
                  <a:pt x="79" y="242"/>
                </a:lnTo>
                <a:lnTo>
                  <a:pt x="79" y="251"/>
                </a:lnTo>
                <a:lnTo>
                  <a:pt x="78" y="252"/>
                </a:lnTo>
                <a:lnTo>
                  <a:pt x="78" y="253"/>
                </a:lnTo>
                <a:lnTo>
                  <a:pt x="76" y="253"/>
                </a:lnTo>
                <a:lnTo>
                  <a:pt x="76" y="252"/>
                </a:lnTo>
                <a:lnTo>
                  <a:pt x="75" y="252"/>
                </a:lnTo>
                <a:lnTo>
                  <a:pt x="75" y="253"/>
                </a:lnTo>
                <a:lnTo>
                  <a:pt x="72" y="253"/>
                </a:lnTo>
                <a:lnTo>
                  <a:pt x="72" y="252"/>
                </a:lnTo>
                <a:lnTo>
                  <a:pt x="71" y="251"/>
                </a:lnTo>
                <a:lnTo>
                  <a:pt x="72" y="250"/>
                </a:lnTo>
                <a:lnTo>
                  <a:pt x="72" y="248"/>
                </a:lnTo>
                <a:lnTo>
                  <a:pt x="73" y="247"/>
                </a:lnTo>
                <a:lnTo>
                  <a:pt x="72" y="246"/>
                </a:lnTo>
                <a:lnTo>
                  <a:pt x="72" y="245"/>
                </a:lnTo>
                <a:lnTo>
                  <a:pt x="71" y="241"/>
                </a:lnTo>
                <a:lnTo>
                  <a:pt x="71" y="236"/>
                </a:lnTo>
                <a:lnTo>
                  <a:pt x="69" y="233"/>
                </a:lnTo>
                <a:lnTo>
                  <a:pt x="69" y="232"/>
                </a:lnTo>
                <a:lnTo>
                  <a:pt x="67" y="232"/>
                </a:lnTo>
                <a:lnTo>
                  <a:pt x="67" y="230"/>
                </a:lnTo>
                <a:lnTo>
                  <a:pt x="62" y="227"/>
                </a:lnTo>
                <a:lnTo>
                  <a:pt x="58" y="227"/>
                </a:lnTo>
                <a:lnTo>
                  <a:pt x="58" y="226"/>
                </a:lnTo>
                <a:lnTo>
                  <a:pt x="57" y="226"/>
                </a:lnTo>
                <a:lnTo>
                  <a:pt x="57" y="223"/>
                </a:lnTo>
                <a:lnTo>
                  <a:pt x="56" y="223"/>
                </a:lnTo>
                <a:lnTo>
                  <a:pt x="56" y="222"/>
                </a:lnTo>
                <a:lnTo>
                  <a:pt x="57" y="221"/>
                </a:lnTo>
                <a:lnTo>
                  <a:pt x="56" y="220"/>
                </a:lnTo>
                <a:lnTo>
                  <a:pt x="54" y="216"/>
                </a:lnTo>
                <a:lnTo>
                  <a:pt x="53" y="216"/>
                </a:lnTo>
                <a:lnTo>
                  <a:pt x="51" y="215"/>
                </a:lnTo>
                <a:lnTo>
                  <a:pt x="51" y="210"/>
                </a:lnTo>
                <a:lnTo>
                  <a:pt x="52" y="209"/>
                </a:lnTo>
                <a:lnTo>
                  <a:pt x="52" y="207"/>
                </a:lnTo>
                <a:lnTo>
                  <a:pt x="48" y="203"/>
                </a:lnTo>
                <a:lnTo>
                  <a:pt x="48" y="202"/>
                </a:lnTo>
                <a:lnTo>
                  <a:pt x="50" y="202"/>
                </a:lnTo>
                <a:lnTo>
                  <a:pt x="50" y="201"/>
                </a:lnTo>
                <a:lnTo>
                  <a:pt x="52" y="201"/>
                </a:lnTo>
                <a:lnTo>
                  <a:pt x="54" y="202"/>
                </a:lnTo>
                <a:lnTo>
                  <a:pt x="56" y="203"/>
                </a:lnTo>
                <a:lnTo>
                  <a:pt x="57" y="202"/>
                </a:lnTo>
                <a:lnTo>
                  <a:pt x="57" y="198"/>
                </a:lnTo>
                <a:lnTo>
                  <a:pt x="59" y="198"/>
                </a:lnTo>
                <a:lnTo>
                  <a:pt x="63" y="197"/>
                </a:lnTo>
                <a:lnTo>
                  <a:pt x="63" y="193"/>
                </a:lnTo>
                <a:lnTo>
                  <a:pt x="62" y="193"/>
                </a:lnTo>
                <a:lnTo>
                  <a:pt x="59" y="192"/>
                </a:lnTo>
                <a:lnTo>
                  <a:pt x="57" y="190"/>
                </a:lnTo>
                <a:lnTo>
                  <a:pt x="53" y="190"/>
                </a:lnTo>
                <a:lnTo>
                  <a:pt x="53" y="189"/>
                </a:lnTo>
                <a:lnTo>
                  <a:pt x="50" y="186"/>
                </a:lnTo>
                <a:lnTo>
                  <a:pt x="46" y="183"/>
                </a:lnTo>
                <a:lnTo>
                  <a:pt x="45" y="183"/>
                </a:lnTo>
                <a:lnTo>
                  <a:pt x="45" y="181"/>
                </a:lnTo>
                <a:lnTo>
                  <a:pt x="44" y="180"/>
                </a:lnTo>
                <a:lnTo>
                  <a:pt x="44" y="181"/>
                </a:lnTo>
                <a:lnTo>
                  <a:pt x="42" y="181"/>
                </a:lnTo>
                <a:lnTo>
                  <a:pt x="42" y="183"/>
                </a:lnTo>
                <a:lnTo>
                  <a:pt x="40" y="183"/>
                </a:lnTo>
                <a:lnTo>
                  <a:pt x="39" y="181"/>
                </a:lnTo>
                <a:lnTo>
                  <a:pt x="38" y="181"/>
                </a:lnTo>
                <a:lnTo>
                  <a:pt x="36" y="180"/>
                </a:lnTo>
                <a:lnTo>
                  <a:pt x="35" y="178"/>
                </a:lnTo>
                <a:lnTo>
                  <a:pt x="34" y="179"/>
                </a:lnTo>
                <a:lnTo>
                  <a:pt x="34" y="178"/>
                </a:lnTo>
                <a:lnTo>
                  <a:pt x="31" y="178"/>
                </a:lnTo>
                <a:lnTo>
                  <a:pt x="31" y="177"/>
                </a:lnTo>
                <a:lnTo>
                  <a:pt x="29" y="176"/>
                </a:lnTo>
                <a:lnTo>
                  <a:pt x="28" y="176"/>
                </a:lnTo>
                <a:lnTo>
                  <a:pt x="27" y="173"/>
                </a:lnTo>
                <a:lnTo>
                  <a:pt x="26" y="172"/>
                </a:lnTo>
                <a:lnTo>
                  <a:pt x="26" y="171"/>
                </a:lnTo>
                <a:lnTo>
                  <a:pt x="21" y="166"/>
                </a:lnTo>
                <a:lnTo>
                  <a:pt x="21" y="165"/>
                </a:lnTo>
                <a:lnTo>
                  <a:pt x="15" y="162"/>
                </a:lnTo>
                <a:lnTo>
                  <a:pt x="13" y="160"/>
                </a:lnTo>
                <a:lnTo>
                  <a:pt x="13" y="158"/>
                </a:lnTo>
                <a:lnTo>
                  <a:pt x="14" y="156"/>
                </a:lnTo>
                <a:lnTo>
                  <a:pt x="15" y="156"/>
                </a:lnTo>
                <a:lnTo>
                  <a:pt x="15" y="155"/>
                </a:lnTo>
                <a:lnTo>
                  <a:pt x="16" y="154"/>
                </a:lnTo>
                <a:lnTo>
                  <a:pt x="16" y="153"/>
                </a:lnTo>
                <a:lnTo>
                  <a:pt x="17" y="154"/>
                </a:lnTo>
                <a:lnTo>
                  <a:pt x="19" y="154"/>
                </a:lnTo>
                <a:lnTo>
                  <a:pt x="19" y="153"/>
                </a:lnTo>
                <a:lnTo>
                  <a:pt x="21" y="153"/>
                </a:lnTo>
                <a:lnTo>
                  <a:pt x="22" y="154"/>
                </a:lnTo>
                <a:lnTo>
                  <a:pt x="22" y="155"/>
                </a:lnTo>
                <a:lnTo>
                  <a:pt x="23" y="156"/>
                </a:lnTo>
                <a:lnTo>
                  <a:pt x="23" y="154"/>
                </a:lnTo>
                <a:lnTo>
                  <a:pt x="25" y="154"/>
                </a:lnTo>
                <a:lnTo>
                  <a:pt x="26" y="155"/>
                </a:lnTo>
                <a:lnTo>
                  <a:pt x="26" y="152"/>
                </a:lnTo>
                <a:lnTo>
                  <a:pt x="27" y="150"/>
                </a:lnTo>
                <a:lnTo>
                  <a:pt x="27" y="148"/>
                </a:lnTo>
                <a:lnTo>
                  <a:pt x="25" y="143"/>
                </a:lnTo>
                <a:lnTo>
                  <a:pt x="21" y="138"/>
                </a:lnTo>
                <a:lnTo>
                  <a:pt x="19" y="135"/>
                </a:lnTo>
                <a:lnTo>
                  <a:pt x="16" y="133"/>
                </a:lnTo>
                <a:lnTo>
                  <a:pt x="15" y="133"/>
                </a:lnTo>
                <a:lnTo>
                  <a:pt x="16" y="131"/>
                </a:lnTo>
                <a:lnTo>
                  <a:pt x="15" y="130"/>
                </a:lnTo>
                <a:lnTo>
                  <a:pt x="16" y="129"/>
                </a:lnTo>
                <a:lnTo>
                  <a:pt x="19" y="129"/>
                </a:lnTo>
                <a:lnTo>
                  <a:pt x="21" y="131"/>
                </a:lnTo>
                <a:lnTo>
                  <a:pt x="22" y="131"/>
                </a:lnTo>
                <a:lnTo>
                  <a:pt x="25" y="130"/>
                </a:lnTo>
                <a:lnTo>
                  <a:pt x="27" y="131"/>
                </a:lnTo>
                <a:lnTo>
                  <a:pt x="28" y="131"/>
                </a:lnTo>
                <a:lnTo>
                  <a:pt x="31" y="129"/>
                </a:lnTo>
                <a:lnTo>
                  <a:pt x="32" y="129"/>
                </a:lnTo>
                <a:lnTo>
                  <a:pt x="32" y="127"/>
                </a:lnTo>
                <a:lnTo>
                  <a:pt x="31" y="125"/>
                </a:lnTo>
                <a:lnTo>
                  <a:pt x="31" y="127"/>
                </a:lnTo>
                <a:lnTo>
                  <a:pt x="29" y="127"/>
                </a:lnTo>
                <a:lnTo>
                  <a:pt x="29" y="125"/>
                </a:lnTo>
                <a:lnTo>
                  <a:pt x="28" y="124"/>
                </a:lnTo>
                <a:lnTo>
                  <a:pt x="27" y="124"/>
                </a:lnTo>
                <a:lnTo>
                  <a:pt x="27" y="123"/>
                </a:lnTo>
                <a:lnTo>
                  <a:pt x="26" y="123"/>
                </a:lnTo>
                <a:lnTo>
                  <a:pt x="26" y="121"/>
                </a:lnTo>
                <a:lnTo>
                  <a:pt x="23" y="121"/>
                </a:lnTo>
                <a:lnTo>
                  <a:pt x="21" y="118"/>
                </a:lnTo>
                <a:lnTo>
                  <a:pt x="21" y="116"/>
                </a:lnTo>
                <a:lnTo>
                  <a:pt x="19" y="113"/>
                </a:lnTo>
                <a:lnTo>
                  <a:pt x="15" y="113"/>
                </a:lnTo>
                <a:lnTo>
                  <a:pt x="13" y="112"/>
                </a:lnTo>
                <a:lnTo>
                  <a:pt x="10" y="110"/>
                </a:lnTo>
                <a:lnTo>
                  <a:pt x="10" y="106"/>
                </a:lnTo>
                <a:lnTo>
                  <a:pt x="11" y="105"/>
                </a:lnTo>
                <a:lnTo>
                  <a:pt x="11" y="99"/>
                </a:lnTo>
                <a:lnTo>
                  <a:pt x="13" y="99"/>
                </a:lnTo>
                <a:lnTo>
                  <a:pt x="13" y="98"/>
                </a:lnTo>
                <a:lnTo>
                  <a:pt x="14" y="98"/>
                </a:lnTo>
                <a:lnTo>
                  <a:pt x="14" y="94"/>
                </a:lnTo>
                <a:lnTo>
                  <a:pt x="16" y="92"/>
                </a:lnTo>
                <a:lnTo>
                  <a:pt x="17" y="90"/>
                </a:lnTo>
                <a:lnTo>
                  <a:pt x="17" y="88"/>
                </a:lnTo>
                <a:lnTo>
                  <a:pt x="19" y="88"/>
                </a:lnTo>
                <a:lnTo>
                  <a:pt x="19" y="87"/>
                </a:lnTo>
                <a:lnTo>
                  <a:pt x="20" y="86"/>
                </a:lnTo>
                <a:lnTo>
                  <a:pt x="21" y="79"/>
                </a:lnTo>
                <a:lnTo>
                  <a:pt x="21" y="76"/>
                </a:lnTo>
                <a:lnTo>
                  <a:pt x="20" y="76"/>
                </a:lnTo>
                <a:lnTo>
                  <a:pt x="19" y="75"/>
                </a:lnTo>
                <a:lnTo>
                  <a:pt x="17" y="76"/>
                </a:lnTo>
                <a:lnTo>
                  <a:pt x="16" y="75"/>
                </a:lnTo>
                <a:lnTo>
                  <a:pt x="15" y="75"/>
                </a:lnTo>
                <a:lnTo>
                  <a:pt x="15" y="76"/>
                </a:lnTo>
                <a:lnTo>
                  <a:pt x="14" y="76"/>
                </a:lnTo>
                <a:lnTo>
                  <a:pt x="14" y="75"/>
                </a:lnTo>
                <a:lnTo>
                  <a:pt x="13" y="75"/>
                </a:lnTo>
                <a:lnTo>
                  <a:pt x="9" y="78"/>
                </a:lnTo>
                <a:lnTo>
                  <a:pt x="8" y="78"/>
                </a:lnTo>
                <a:lnTo>
                  <a:pt x="7" y="79"/>
                </a:lnTo>
                <a:lnTo>
                  <a:pt x="6" y="76"/>
                </a:lnTo>
                <a:lnTo>
                  <a:pt x="6" y="75"/>
                </a:lnTo>
                <a:lnTo>
                  <a:pt x="7" y="75"/>
                </a:lnTo>
                <a:lnTo>
                  <a:pt x="8" y="76"/>
                </a:lnTo>
                <a:lnTo>
                  <a:pt x="11" y="73"/>
                </a:lnTo>
                <a:lnTo>
                  <a:pt x="10" y="72"/>
                </a:lnTo>
                <a:lnTo>
                  <a:pt x="10" y="73"/>
                </a:lnTo>
                <a:lnTo>
                  <a:pt x="9" y="72"/>
                </a:lnTo>
                <a:lnTo>
                  <a:pt x="9" y="64"/>
                </a:lnTo>
                <a:lnTo>
                  <a:pt x="8" y="63"/>
                </a:lnTo>
                <a:lnTo>
                  <a:pt x="8" y="62"/>
                </a:lnTo>
                <a:lnTo>
                  <a:pt x="11" y="62"/>
                </a:lnTo>
                <a:lnTo>
                  <a:pt x="11" y="60"/>
                </a:lnTo>
                <a:lnTo>
                  <a:pt x="10" y="58"/>
                </a:lnTo>
                <a:lnTo>
                  <a:pt x="13" y="58"/>
                </a:lnTo>
                <a:lnTo>
                  <a:pt x="13" y="60"/>
                </a:lnTo>
                <a:lnTo>
                  <a:pt x="14" y="61"/>
                </a:lnTo>
                <a:lnTo>
                  <a:pt x="17" y="61"/>
                </a:lnTo>
                <a:lnTo>
                  <a:pt x="17" y="60"/>
                </a:lnTo>
                <a:lnTo>
                  <a:pt x="19" y="61"/>
                </a:lnTo>
                <a:lnTo>
                  <a:pt x="22" y="61"/>
                </a:lnTo>
                <a:lnTo>
                  <a:pt x="22" y="57"/>
                </a:lnTo>
                <a:lnTo>
                  <a:pt x="21" y="57"/>
                </a:lnTo>
                <a:lnTo>
                  <a:pt x="21" y="56"/>
                </a:lnTo>
                <a:lnTo>
                  <a:pt x="13" y="54"/>
                </a:lnTo>
                <a:lnTo>
                  <a:pt x="10" y="52"/>
                </a:lnTo>
                <a:lnTo>
                  <a:pt x="10" y="51"/>
                </a:lnTo>
                <a:lnTo>
                  <a:pt x="9" y="51"/>
                </a:lnTo>
                <a:lnTo>
                  <a:pt x="9" y="49"/>
                </a:lnTo>
                <a:lnTo>
                  <a:pt x="6" y="49"/>
                </a:lnTo>
                <a:lnTo>
                  <a:pt x="6" y="48"/>
                </a:lnTo>
                <a:lnTo>
                  <a:pt x="4" y="47"/>
                </a:lnTo>
                <a:lnTo>
                  <a:pt x="7" y="45"/>
                </a:lnTo>
                <a:lnTo>
                  <a:pt x="7" y="44"/>
                </a:lnTo>
                <a:lnTo>
                  <a:pt x="6" y="44"/>
                </a:lnTo>
                <a:lnTo>
                  <a:pt x="6" y="41"/>
                </a:lnTo>
                <a:lnTo>
                  <a:pt x="9" y="41"/>
                </a:lnTo>
                <a:lnTo>
                  <a:pt x="10" y="39"/>
                </a:lnTo>
                <a:lnTo>
                  <a:pt x="9" y="39"/>
                </a:lnTo>
                <a:lnTo>
                  <a:pt x="9" y="38"/>
                </a:lnTo>
                <a:lnTo>
                  <a:pt x="7" y="38"/>
                </a:lnTo>
                <a:lnTo>
                  <a:pt x="7" y="37"/>
                </a:lnTo>
                <a:lnTo>
                  <a:pt x="4" y="37"/>
                </a:lnTo>
                <a:lnTo>
                  <a:pt x="4" y="38"/>
                </a:lnTo>
                <a:lnTo>
                  <a:pt x="3" y="38"/>
                </a:lnTo>
                <a:lnTo>
                  <a:pt x="2" y="37"/>
                </a:lnTo>
                <a:lnTo>
                  <a:pt x="2" y="33"/>
                </a:lnTo>
                <a:lnTo>
                  <a:pt x="4" y="31"/>
                </a:lnTo>
                <a:lnTo>
                  <a:pt x="4" y="30"/>
                </a:lnTo>
                <a:lnTo>
                  <a:pt x="3" y="29"/>
                </a:lnTo>
                <a:lnTo>
                  <a:pt x="2" y="29"/>
                </a:lnTo>
                <a:lnTo>
                  <a:pt x="2" y="25"/>
                </a:lnTo>
                <a:lnTo>
                  <a:pt x="0" y="23"/>
                </a:lnTo>
                <a:lnTo>
                  <a:pt x="0" y="19"/>
                </a:lnTo>
                <a:lnTo>
                  <a:pt x="1" y="19"/>
                </a:lnTo>
                <a:lnTo>
                  <a:pt x="2" y="18"/>
                </a:lnTo>
                <a:lnTo>
                  <a:pt x="1" y="18"/>
                </a:lnTo>
                <a:lnTo>
                  <a:pt x="1" y="15"/>
                </a:lnTo>
                <a:lnTo>
                  <a:pt x="2" y="15"/>
                </a:lnTo>
                <a:lnTo>
                  <a:pt x="2" y="14"/>
                </a:lnTo>
                <a:lnTo>
                  <a:pt x="4" y="14"/>
                </a:lnTo>
                <a:lnTo>
                  <a:pt x="4" y="15"/>
                </a:lnTo>
                <a:lnTo>
                  <a:pt x="6" y="15"/>
                </a:lnTo>
                <a:lnTo>
                  <a:pt x="6" y="14"/>
                </a:lnTo>
                <a:lnTo>
                  <a:pt x="4" y="14"/>
                </a:lnTo>
                <a:lnTo>
                  <a:pt x="4" y="13"/>
                </a:lnTo>
                <a:lnTo>
                  <a:pt x="8" y="13"/>
                </a:lnTo>
                <a:lnTo>
                  <a:pt x="8" y="9"/>
                </a:lnTo>
                <a:lnTo>
                  <a:pt x="10" y="9"/>
                </a:lnTo>
                <a:lnTo>
                  <a:pt x="10" y="11"/>
                </a:lnTo>
                <a:lnTo>
                  <a:pt x="11" y="11"/>
                </a:lnTo>
                <a:lnTo>
                  <a:pt x="15" y="12"/>
                </a:lnTo>
                <a:lnTo>
                  <a:pt x="16" y="12"/>
                </a:lnTo>
                <a:lnTo>
                  <a:pt x="17" y="11"/>
                </a:lnTo>
                <a:lnTo>
                  <a:pt x="17" y="9"/>
                </a:lnTo>
                <a:lnTo>
                  <a:pt x="19" y="9"/>
                </a:lnTo>
                <a:lnTo>
                  <a:pt x="19" y="8"/>
                </a:lnTo>
                <a:lnTo>
                  <a:pt x="22" y="8"/>
                </a:lnTo>
                <a:lnTo>
                  <a:pt x="22" y="7"/>
                </a:lnTo>
                <a:lnTo>
                  <a:pt x="23" y="6"/>
                </a:lnTo>
                <a:lnTo>
                  <a:pt x="25" y="6"/>
                </a:lnTo>
                <a:lnTo>
                  <a:pt x="25" y="5"/>
                </a:lnTo>
                <a:lnTo>
                  <a:pt x="26" y="5"/>
                </a:lnTo>
                <a:lnTo>
                  <a:pt x="27" y="4"/>
                </a:lnTo>
                <a:lnTo>
                  <a:pt x="26" y="2"/>
                </a:lnTo>
                <a:lnTo>
                  <a:pt x="27" y="1"/>
                </a:lnTo>
                <a:lnTo>
                  <a:pt x="28" y="1"/>
                </a:lnTo>
                <a:lnTo>
                  <a:pt x="29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5" name="Freeform 18">
            <a:extLst>
              <a:ext uri="{FF2B5EF4-FFF2-40B4-BE49-F238E27FC236}">
                <a16:creationId xmlns:a16="http://schemas.microsoft.com/office/drawing/2014/main" id="{7ECB22F2-FCD0-49D6-B23B-7BCAFC4C5383}"/>
              </a:ext>
            </a:extLst>
          </p:cNvPr>
          <p:cNvSpPr>
            <a:spLocks noEditPoints="1"/>
          </p:cNvSpPr>
          <p:nvPr/>
        </p:nvSpPr>
        <p:spPr bwMode="auto">
          <a:xfrm>
            <a:off x="2431418" y="2181957"/>
            <a:ext cx="2584909" cy="3305033"/>
          </a:xfrm>
          <a:custGeom>
            <a:avLst/>
            <a:gdLst/>
            <a:ahLst/>
            <a:cxnLst>
              <a:cxn ang="0">
                <a:pos x="130" y="1431"/>
              </a:cxn>
              <a:cxn ang="0">
                <a:pos x="423" y="1007"/>
              </a:cxn>
              <a:cxn ang="0">
                <a:pos x="861" y="574"/>
              </a:cxn>
              <a:cxn ang="0">
                <a:pos x="1465" y="195"/>
              </a:cxn>
              <a:cxn ang="0">
                <a:pos x="1501" y="128"/>
              </a:cxn>
              <a:cxn ang="0">
                <a:pos x="1264" y="132"/>
              </a:cxn>
              <a:cxn ang="0">
                <a:pos x="566" y="43"/>
              </a:cxn>
              <a:cxn ang="0">
                <a:pos x="578" y="63"/>
              </a:cxn>
              <a:cxn ang="0">
                <a:pos x="655" y="92"/>
              </a:cxn>
              <a:cxn ang="0">
                <a:pos x="797" y="190"/>
              </a:cxn>
              <a:cxn ang="0">
                <a:pos x="914" y="318"/>
              </a:cxn>
              <a:cxn ang="0">
                <a:pos x="643" y="386"/>
              </a:cxn>
              <a:cxn ang="0">
                <a:pos x="555" y="333"/>
              </a:cxn>
              <a:cxn ang="0">
                <a:pos x="584" y="388"/>
              </a:cxn>
              <a:cxn ang="0">
                <a:pos x="635" y="455"/>
              </a:cxn>
              <a:cxn ang="0">
                <a:pos x="637" y="543"/>
              </a:cxn>
              <a:cxn ang="0">
                <a:pos x="690" y="628"/>
              </a:cxn>
              <a:cxn ang="0">
                <a:pos x="722" y="582"/>
              </a:cxn>
              <a:cxn ang="0">
                <a:pos x="796" y="573"/>
              </a:cxn>
              <a:cxn ang="0">
                <a:pos x="877" y="574"/>
              </a:cxn>
              <a:cxn ang="0">
                <a:pos x="1002" y="437"/>
              </a:cxn>
              <a:cxn ang="0">
                <a:pos x="1044" y="331"/>
              </a:cxn>
              <a:cxn ang="0">
                <a:pos x="1038" y="171"/>
              </a:cxn>
              <a:cxn ang="0">
                <a:pos x="1125" y="359"/>
              </a:cxn>
              <a:cxn ang="0">
                <a:pos x="1238" y="266"/>
              </a:cxn>
              <a:cxn ang="0">
                <a:pos x="1373" y="190"/>
              </a:cxn>
              <a:cxn ang="0">
                <a:pos x="1447" y="174"/>
              </a:cxn>
              <a:cxn ang="0">
                <a:pos x="1532" y="158"/>
              </a:cxn>
              <a:cxn ang="0">
                <a:pos x="1666" y="173"/>
              </a:cxn>
              <a:cxn ang="0">
                <a:pos x="1747" y="15"/>
              </a:cxn>
              <a:cxn ang="0">
                <a:pos x="1758" y="1511"/>
              </a:cxn>
              <a:cxn ang="0">
                <a:pos x="1718" y="1637"/>
              </a:cxn>
              <a:cxn ang="0">
                <a:pos x="1652" y="1700"/>
              </a:cxn>
              <a:cxn ang="0">
                <a:pos x="1549" y="1690"/>
              </a:cxn>
              <a:cxn ang="0">
                <a:pos x="1450" y="1672"/>
              </a:cxn>
              <a:cxn ang="0">
                <a:pos x="1333" y="1646"/>
              </a:cxn>
              <a:cxn ang="0">
                <a:pos x="1234" y="1745"/>
              </a:cxn>
              <a:cxn ang="0">
                <a:pos x="1157" y="1877"/>
              </a:cxn>
              <a:cxn ang="0">
                <a:pos x="1233" y="1996"/>
              </a:cxn>
              <a:cxn ang="0">
                <a:pos x="1180" y="2015"/>
              </a:cxn>
              <a:cxn ang="0">
                <a:pos x="1150" y="2077"/>
              </a:cxn>
              <a:cxn ang="0">
                <a:pos x="1178" y="2164"/>
              </a:cxn>
              <a:cxn ang="0">
                <a:pos x="1153" y="2256"/>
              </a:cxn>
              <a:cxn ang="0">
                <a:pos x="1026" y="2205"/>
              </a:cxn>
              <a:cxn ang="0">
                <a:pos x="844" y="2141"/>
              </a:cxn>
              <a:cxn ang="0">
                <a:pos x="724" y="2039"/>
              </a:cxn>
              <a:cxn ang="0">
                <a:pos x="765" y="2018"/>
              </a:cxn>
              <a:cxn ang="0">
                <a:pos x="799" y="1961"/>
              </a:cxn>
              <a:cxn ang="0">
                <a:pos x="784" y="1928"/>
              </a:cxn>
              <a:cxn ang="0">
                <a:pos x="858" y="1823"/>
              </a:cxn>
              <a:cxn ang="0">
                <a:pos x="780" y="1754"/>
              </a:cxn>
              <a:cxn ang="0">
                <a:pos x="664" y="1680"/>
              </a:cxn>
              <a:cxn ang="0">
                <a:pos x="583" y="1592"/>
              </a:cxn>
              <a:cxn ang="0">
                <a:pos x="498" y="1532"/>
              </a:cxn>
              <a:cxn ang="0">
                <a:pos x="493" y="1458"/>
              </a:cxn>
              <a:cxn ang="0">
                <a:pos x="432" y="1340"/>
              </a:cxn>
              <a:cxn ang="0">
                <a:pos x="343" y="1246"/>
              </a:cxn>
              <a:cxn ang="0">
                <a:pos x="358" y="1026"/>
              </a:cxn>
              <a:cxn ang="0">
                <a:pos x="373" y="960"/>
              </a:cxn>
              <a:cxn ang="0">
                <a:pos x="417" y="883"/>
              </a:cxn>
              <a:cxn ang="0">
                <a:pos x="442" y="614"/>
              </a:cxn>
              <a:cxn ang="0">
                <a:pos x="399" y="361"/>
              </a:cxn>
              <a:cxn ang="0">
                <a:pos x="460" y="52"/>
              </a:cxn>
            </a:cxnLst>
            <a:rect l="0" t="0" r="r" b="b"/>
            <a:pathLst>
              <a:path w="1784" h="2281">
                <a:moveTo>
                  <a:pt x="1190" y="2120"/>
                </a:moveTo>
                <a:lnTo>
                  <a:pt x="1190" y="2121"/>
                </a:lnTo>
                <a:lnTo>
                  <a:pt x="1192" y="2121"/>
                </a:lnTo>
                <a:lnTo>
                  <a:pt x="1187" y="2125"/>
                </a:lnTo>
                <a:lnTo>
                  <a:pt x="1184" y="2125"/>
                </a:lnTo>
                <a:lnTo>
                  <a:pt x="1183" y="2124"/>
                </a:lnTo>
                <a:lnTo>
                  <a:pt x="1182" y="2124"/>
                </a:lnTo>
                <a:lnTo>
                  <a:pt x="1181" y="2122"/>
                </a:lnTo>
                <a:lnTo>
                  <a:pt x="1182" y="2121"/>
                </a:lnTo>
                <a:lnTo>
                  <a:pt x="1189" y="2121"/>
                </a:lnTo>
                <a:lnTo>
                  <a:pt x="1190" y="2120"/>
                </a:lnTo>
                <a:close/>
                <a:moveTo>
                  <a:pt x="757" y="2043"/>
                </a:moveTo>
                <a:lnTo>
                  <a:pt x="758" y="2045"/>
                </a:lnTo>
                <a:lnTo>
                  <a:pt x="759" y="2043"/>
                </a:lnTo>
                <a:lnTo>
                  <a:pt x="757" y="2043"/>
                </a:lnTo>
                <a:close/>
                <a:moveTo>
                  <a:pt x="1194" y="2023"/>
                </a:moveTo>
                <a:lnTo>
                  <a:pt x="1195" y="2023"/>
                </a:lnTo>
                <a:lnTo>
                  <a:pt x="1195" y="2026"/>
                </a:lnTo>
                <a:lnTo>
                  <a:pt x="1196" y="2027"/>
                </a:lnTo>
                <a:lnTo>
                  <a:pt x="1196" y="2029"/>
                </a:lnTo>
                <a:lnTo>
                  <a:pt x="1198" y="2030"/>
                </a:lnTo>
                <a:lnTo>
                  <a:pt x="1198" y="2035"/>
                </a:lnTo>
                <a:lnTo>
                  <a:pt x="1196" y="2035"/>
                </a:lnTo>
                <a:lnTo>
                  <a:pt x="1196" y="2034"/>
                </a:lnTo>
                <a:lnTo>
                  <a:pt x="1195" y="2033"/>
                </a:lnTo>
                <a:lnTo>
                  <a:pt x="1195" y="2032"/>
                </a:lnTo>
                <a:lnTo>
                  <a:pt x="1194" y="2029"/>
                </a:lnTo>
                <a:lnTo>
                  <a:pt x="1194" y="2023"/>
                </a:lnTo>
                <a:close/>
                <a:moveTo>
                  <a:pt x="1231" y="1993"/>
                </a:moveTo>
                <a:lnTo>
                  <a:pt x="1232" y="1995"/>
                </a:lnTo>
                <a:lnTo>
                  <a:pt x="1232" y="1993"/>
                </a:lnTo>
                <a:lnTo>
                  <a:pt x="1231" y="1993"/>
                </a:lnTo>
                <a:close/>
                <a:moveTo>
                  <a:pt x="72" y="1381"/>
                </a:moveTo>
                <a:lnTo>
                  <a:pt x="74" y="1381"/>
                </a:lnTo>
                <a:lnTo>
                  <a:pt x="75" y="1382"/>
                </a:lnTo>
                <a:lnTo>
                  <a:pt x="77" y="1387"/>
                </a:lnTo>
                <a:lnTo>
                  <a:pt x="80" y="1388"/>
                </a:lnTo>
                <a:lnTo>
                  <a:pt x="83" y="1388"/>
                </a:lnTo>
                <a:lnTo>
                  <a:pt x="86" y="1389"/>
                </a:lnTo>
                <a:lnTo>
                  <a:pt x="89" y="1393"/>
                </a:lnTo>
                <a:lnTo>
                  <a:pt x="93" y="1394"/>
                </a:lnTo>
                <a:lnTo>
                  <a:pt x="94" y="1395"/>
                </a:lnTo>
                <a:lnTo>
                  <a:pt x="95" y="1395"/>
                </a:lnTo>
                <a:lnTo>
                  <a:pt x="96" y="1396"/>
                </a:lnTo>
                <a:lnTo>
                  <a:pt x="99" y="1396"/>
                </a:lnTo>
                <a:lnTo>
                  <a:pt x="99" y="1395"/>
                </a:lnTo>
                <a:lnTo>
                  <a:pt x="100" y="1395"/>
                </a:lnTo>
                <a:lnTo>
                  <a:pt x="101" y="1396"/>
                </a:lnTo>
                <a:lnTo>
                  <a:pt x="101" y="1399"/>
                </a:lnTo>
                <a:lnTo>
                  <a:pt x="102" y="1400"/>
                </a:lnTo>
                <a:lnTo>
                  <a:pt x="105" y="1400"/>
                </a:lnTo>
                <a:lnTo>
                  <a:pt x="106" y="1399"/>
                </a:lnTo>
                <a:lnTo>
                  <a:pt x="111" y="1397"/>
                </a:lnTo>
                <a:lnTo>
                  <a:pt x="112" y="1397"/>
                </a:lnTo>
                <a:lnTo>
                  <a:pt x="119" y="1399"/>
                </a:lnTo>
                <a:lnTo>
                  <a:pt x="122" y="1396"/>
                </a:lnTo>
                <a:lnTo>
                  <a:pt x="125" y="1399"/>
                </a:lnTo>
                <a:lnTo>
                  <a:pt x="125" y="1400"/>
                </a:lnTo>
                <a:lnTo>
                  <a:pt x="126" y="1403"/>
                </a:lnTo>
                <a:lnTo>
                  <a:pt x="126" y="1405"/>
                </a:lnTo>
                <a:lnTo>
                  <a:pt x="127" y="1406"/>
                </a:lnTo>
                <a:lnTo>
                  <a:pt x="131" y="1406"/>
                </a:lnTo>
                <a:lnTo>
                  <a:pt x="131" y="1407"/>
                </a:lnTo>
                <a:lnTo>
                  <a:pt x="132" y="1407"/>
                </a:lnTo>
                <a:lnTo>
                  <a:pt x="131" y="1408"/>
                </a:lnTo>
                <a:lnTo>
                  <a:pt x="132" y="1409"/>
                </a:lnTo>
                <a:lnTo>
                  <a:pt x="134" y="1410"/>
                </a:lnTo>
                <a:lnTo>
                  <a:pt x="136" y="1412"/>
                </a:lnTo>
                <a:lnTo>
                  <a:pt x="136" y="1419"/>
                </a:lnTo>
                <a:lnTo>
                  <a:pt x="134" y="1419"/>
                </a:lnTo>
                <a:lnTo>
                  <a:pt x="133" y="1420"/>
                </a:lnTo>
                <a:lnTo>
                  <a:pt x="133" y="1421"/>
                </a:lnTo>
                <a:lnTo>
                  <a:pt x="132" y="1421"/>
                </a:lnTo>
                <a:lnTo>
                  <a:pt x="132" y="1422"/>
                </a:lnTo>
                <a:lnTo>
                  <a:pt x="131" y="1422"/>
                </a:lnTo>
                <a:lnTo>
                  <a:pt x="131" y="1424"/>
                </a:lnTo>
                <a:lnTo>
                  <a:pt x="130" y="1425"/>
                </a:lnTo>
                <a:lnTo>
                  <a:pt x="130" y="1431"/>
                </a:lnTo>
                <a:lnTo>
                  <a:pt x="128" y="1433"/>
                </a:lnTo>
                <a:lnTo>
                  <a:pt x="128" y="1443"/>
                </a:lnTo>
                <a:lnTo>
                  <a:pt x="130" y="1445"/>
                </a:lnTo>
                <a:lnTo>
                  <a:pt x="132" y="1449"/>
                </a:lnTo>
                <a:lnTo>
                  <a:pt x="130" y="1450"/>
                </a:lnTo>
                <a:lnTo>
                  <a:pt x="121" y="1450"/>
                </a:lnTo>
                <a:lnTo>
                  <a:pt x="112" y="1449"/>
                </a:lnTo>
                <a:lnTo>
                  <a:pt x="88" y="1448"/>
                </a:lnTo>
                <a:lnTo>
                  <a:pt x="70" y="1448"/>
                </a:lnTo>
                <a:lnTo>
                  <a:pt x="55" y="1446"/>
                </a:lnTo>
                <a:lnTo>
                  <a:pt x="31" y="1445"/>
                </a:lnTo>
                <a:lnTo>
                  <a:pt x="14" y="1444"/>
                </a:lnTo>
                <a:lnTo>
                  <a:pt x="2" y="1444"/>
                </a:lnTo>
                <a:lnTo>
                  <a:pt x="0" y="1443"/>
                </a:lnTo>
                <a:lnTo>
                  <a:pt x="0" y="1442"/>
                </a:lnTo>
                <a:lnTo>
                  <a:pt x="4" y="1437"/>
                </a:lnTo>
                <a:lnTo>
                  <a:pt x="8" y="1432"/>
                </a:lnTo>
                <a:lnTo>
                  <a:pt x="10" y="1427"/>
                </a:lnTo>
                <a:lnTo>
                  <a:pt x="12" y="1427"/>
                </a:lnTo>
                <a:lnTo>
                  <a:pt x="12" y="1424"/>
                </a:lnTo>
                <a:lnTo>
                  <a:pt x="13" y="1422"/>
                </a:lnTo>
                <a:lnTo>
                  <a:pt x="14" y="1420"/>
                </a:lnTo>
                <a:lnTo>
                  <a:pt x="14" y="1415"/>
                </a:lnTo>
                <a:lnTo>
                  <a:pt x="13" y="1412"/>
                </a:lnTo>
                <a:lnTo>
                  <a:pt x="13" y="1407"/>
                </a:lnTo>
                <a:lnTo>
                  <a:pt x="15" y="1405"/>
                </a:lnTo>
                <a:lnTo>
                  <a:pt x="16" y="1406"/>
                </a:lnTo>
                <a:lnTo>
                  <a:pt x="33" y="1406"/>
                </a:lnTo>
                <a:lnTo>
                  <a:pt x="37" y="1405"/>
                </a:lnTo>
                <a:lnTo>
                  <a:pt x="43" y="1399"/>
                </a:lnTo>
                <a:lnTo>
                  <a:pt x="50" y="1389"/>
                </a:lnTo>
                <a:lnTo>
                  <a:pt x="51" y="1389"/>
                </a:lnTo>
                <a:lnTo>
                  <a:pt x="55" y="1382"/>
                </a:lnTo>
                <a:lnTo>
                  <a:pt x="57" y="1382"/>
                </a:lnTo>
                <a:lnTo>
                  <a:pt x="56" y="1383"/>
                </a:lnTo>
                <a:lnTo>
                  <a:pt x="56" y="1384"/>
                </a:lnTo>
                <a:lnTo>
                  <a:pt x="55" y="1385"/>
                </a:lnTo>
                <a:lnTo>
                  <a:pt x="53" y="1385"/>
                </a:lnTo>
                <a:lnTo>
                  <a:pt x="53" y="1388"/>
                </a:lnTo>
                <a:lnTo>
                  <a:pt x="52" y="1388"/>
                </a:lnTo>
                <a:lnTo>
                  <a:pt x="52" y="1389"/>
                </a:lnTo>
                <a:lnTo>
                  <a:pt x="51" y="1391"/>
                </a:lnTo>
                <a:lnTo>
                  <a:pt x="49" y="1394"/>
                </a:lnTo>
                <a:lnTo>
                  <a:pt x="45" y="1399"/>
                </a:lnTo>
                <a:lnTo>
                  <a:pt x="39" y="1403"/>
                </a:lnTo>
                <a:lnTo>
                  <a:pt x="39" y="1405"/>
                </a:lnTo>
                <a:lnTo>
                  <a:pt x="38" y="1405"/>
                </a:lnTo>
                <a:lnTo>
                  <a:pt x="38" y="1406"/>
                </a:lnTo>
                <a:lnTo>
                  <a:pt x="39" y="1406"/>
                </a:lnTo>
                <a:lnTo>
                  <a:pt x="39" y="1407"/>
                </a:lnTo>
                <a:lnTo>
                  <a:pt x="40" y="1407"/>
                </a:lnTo>
                <a:lnTo>
                  <a:pt x="47" y="1406"/>
                </a:lnTo>
                <a:lnTo>
                  <a:pt x="50" y="1407"/>
                </a:lnTo>
                <a:lnTo>
                  <a:pt x="52" y="1409"/>
                </a:lnTo>
                <a:lnTo>
                  <a:pt x="62" y="1409"/>
                </a:lnTo>
                <a:lnTo>
                  <a:pt x="63" y="1408"/>
                </a:lnTo>
                <a:lnTo>
                  <a:pt x="66" y="1408"/>
                </a:lnTo>
                <a:lnTo>
                  <a:pt x="68" y="1407"/>
                </a:lnTo>
                <a:lnTo>
                  <a:pt x="68" y="1401"/>
                </a:lnTo>
                <a:lnTo>
                  <a:pt x="66" y="1393"/>
                </a:lnTo>
                <a:lnTo>
                  <a:pt x="66" y="1391"/>
                </a:lnTo>
                <a:lnTo>
                  <a:pt x="65" y="1390"/>
                </a:lnTo>
                <a:lnTo>
                  <a:pt x="65" y="1388"/>
                </a:lnTo>
                <a:lnTo>
                  <a:pt x="66" y="1387"/>
                </a:lnTo>
                <a:lnTo>
                  <a:pt x="68" y="1387"/>
                </a:lnTo>
                <a:lnTo>
                  <a:pt x="68" y="1388"/>
                </a:lnTo>
                <a:lnTo>
                  <a:pt x="69" y="1388"/>
                </a:lnTo>
                <a:lnTo>
                  <a:pt x="69" y="1387"/>
                </a:lnTo>
                <a:lnTo>
                  <a:pt x="70" y="1385"/>
                </a:lnTo>
                <a:lnTo>
                  <a:pt x="69" y="1384"/>
                </a:lnTo>
                <a:lnTo>
                  <a:pt x="72" y="1381"/>
                </a:lnTo>
                <a:close/>
                <a:moveTo>
                  <a:pt x="423" y="1007"/>
                </a:moveTo>
                <a:lnTo>
                  <a:pt x="425" y="1007"/>
                </a:lnTo>
                <a:lnTo>
                  <a:pt x="429" y="1009"/>
                </a:lnTo>
                <a:lnTo>
                  <a:pt x="429" y="1010"/>
                </a:lnTo>
                <a:lnTo>
                  <a:pt x="426" y="1009"/>
                </a:lnTo>
                <a:lnTo>
                  <a:pt x="425" y="1008"/>
                </a:lnTo>
                <a:lnTo>
                  <a:pt x="423" y="1007"/>
                </a:lnTo>
                <a:close/>
                <a:moveTo>
                  <a:pt x="345" y="1007"/>
                </a:moveTo>
                <a:lnTo>
                  <a:pt x="347" y="1007"/>
                </a:lnTo>
                <a:lnTo>
                  <a:pt x="348" y="1008"/>
                </a:lnTo>
                <a:lnTo>
                  <a:pt x="349" y="1008"/>
                </a:lnTo>
                <a:lnTo>
                  <a:pt x="349" y="1009"/>
                </a:lnTo>
                <a:lnTo>
                  <a:pt x="348" y="1009"/>
                </a:lnTo>
                <a:lnTo>
                  <a:pt x="345" y="1010"/>
                </a:lnTo>
                <a:lnTo>
                  <a:pt x="345" y="1007"/>
                </a:lnTo>
                <a:close/>
                <a:moveTo>
                  <a:pt x="308" y="1001"/>
                </a:moveTo>
                <a:lnTo>
                  <a:pt x="310" y="1001"/>
                </a:lnTo>
                <a:lnTo>
                  <a:pt x="311" y="1002"/>
                </a:lnTo>
                <a:lnTo>
                  <a:pt x="311" y="1003"/>
                </a:lnTo>
                <a:lnTo>
                  <a:pt x="312" y="1004"/>
                </a:lnTo>
                <a:lnTo>
                  <a:pt x="312" y="1008"/>
                </a:lnTo>
                <a:lnTo>
                  <a:pt x="311" y="1008"/>
                </a:lnTo>
                <a:lnTo>
                  <a:pt x="311" y="1007"/>
                </a:lnTo>
                <a:lnTo>
                  <a:pt x="310" y="1007"/>
                </a:lnTo>
                <a:lnTo>
                  <a:pt x="310" y="1004"/>
                </a:lnTo>
                <a:lnTo>
                  <a:pt x="308" y="1001"/>
                </a:lnTo>
                <a:close/>
                <a:moveTo>
                  <a:pt x="376" y="979"/>
                </a:moveTo>
                <a:lnTo>
                  <a:pt x="378" y="979"/>
                </a:lnTo>
                <a:lnTo>
                  <a:pt x="378" y="981"/>
                </a:lnTo>
                <a:lnTo>
                  <a:pt x="380" y="981"/>
                </a:lnTo>
                <a:lnTo>
                  <a:pt x="384" y="984"/>
                </a:lnTo>
                <a:lnTo>
                  <a:pt x="384" y="985"/>
                </a:lnTo>
                <a:lnTo>
                  <a:pt x="382" y="985"/>
                </a:lnTo>
                <a:lnTo>
                  <a:pt x="382" y="986"/>
                </a:lnTo>
                <a:lnTo>
                  <a:pt x="380" y="986"/>
                </a:lnTo>
                <a:lnTo>
                  <a:pt x="376" y="983"/>
                </a:lnTo>
                <a:lnTo>
                  <a:pt x="376" y="979"/>
                </a:lnTo>
                <a:close/>
                <a:moveTo>
                  <a:pt x="372" y="978"/>
                </a:moveTo>
                <a:lnTo>
                  <a:pt x="374" y="978"/>
                </a:lnTo>
                <a:lnTo>
                  <a:pt x="374" y="979"/>
                </a:lnTo>
                <a:lnTo>
                  <a:pt x="375" y="979"/>
                </a:lnTo>
                <a:lnTo>
                  <a:pt x="375" y="983"/>
                </a:lnTo>
                <a:lnTo>
                  <a:pt x="374" y="983"/>
                </a:lnTo>
                <a:lnTo>
                  <a:pt x="374" y="982"/>
                </a:lnTo>
                <a:lnTo>
                  <a:pt x="372" y="979"/>
                </a:lnTo>
                <a:lnTo>
                  <a:pt x="372" y="978"/>
                </a:lnTo>
                <a:close/>
                <a:moveTo>
                  <a:pt x="378" y="954"/>
                </a:moveTo>
                <a:lnTo>
                  <a:pt x="380" y="954"/>
                </a:lnTo>
                <a:lnTo>
                  <a:pt x="380" y="958"/>
                </a:lnTo>
                <a:lnTo>
                  <a:pt x="379" y="960"/>
                </a:lnTo>
                <a:lnTo>
                  <a:pt x="378" y="959"/>
                </a:lnTo>
                <a:lnTo>
                  <a:pt x="378" y="958"/>
                </a:lnTo>
                <a:lnTo>
                  <a:pt x="376" y="957"/>
                </a:lnTo>
                <a:lnTo>
                  <a:pt x="378" y="955"/>
                </a:lnTo>
                <a:lnTo>
                  <a:pt x="378" y="954"/>
                </a:lnTo>
                <a:close/>
                <a:moveTo>
                  <a:pt x="687" y="608"/>
                </a:moveTo>
                <a:lnTo>
                  <a:pt x="692" y="613"/>
                </a:lnTo>
                <a:lnTo>
                  <a:pt x="692" y="615"/>
                </a:lnTo>
                <a:lnTo>
                  <a:pt x="691" y="616"/>
                </a:lnTo>
                <a:lnTo>
                  <a:pt x="690" y="616"/>
                </a:lnTo>
                <a:lnTo>
                  <a:pt x="685" y="611"/>
                </a:lnTo>
                <a:lnTo>
                  <a:pt x="685" y="609"/>
                </a:lnTo>
                <a:lnTo>
                  <a:pt x="686" y="609"/>
                </a:lnTo>
                <a:lnTo>
                  <a:pt x="687" y="608"/>
                </a:lnTo>
                <a:close/>
                <a:moveTo>
                  <a:pt x="858" y="576"/>
                </a:moveTo>
                <a:lnTo>
                  <a:pt x="859" y="576"/>
                </a:lnTo>
                <a:lnTo>
                  <a:pt x="859" y="577"/>
                </a:lnTo>
                <a:lnTo>
                  <a:pt x="857" y="578"/>
                </a:lnTo>
                <a:lnTo>
                  <a:pt x="858" y="576"/>
                </a:lnTo>
                <a:close/>
                <a:moveTo>
                  <a:pt x="864" y="572"/>
                </a:moveTo>
                <a:lnTo>
                  <a:pt x="869" y="572"/>
                </a:lnTo>
                <a:lnTo>
                  <a:pt x="873" y="573"/>
                </a:lnTo>
                <a:lnTo>
                  <a:pt x="875" y="574"/>
                </a:lnTo>
                <a:lnTo>
                  <a:pt x="877" y="579"/>
                </a:lnTo>
                <a:lnTo>
                  <a:pt x="877" y="586"/>
                </a:lnTo>
                <a:lnTo>
                  <a:pt x="876" y="588"/>
                </a:lnTo>
                <a:lnTo>
                  <a:pt x="873" y="586"/>
                </a:lnTo>
                <a:lnTo>
                  <a:pt x="872" y="585"/>
                </a:lnTo>
                <a:lnTo>
                  <a:pt x="872" y="583"/>
                </a:lnTo>
                <a:lnTo>
                  <a:pt x="870" y="580"/>
                </a:lnTo>
                <a:lnTo>
                  <a:pt x="869" y="578"/>
                </a:lnTo>
                <a:lnTo>
                  <a:pt x="867" y="578"/>
                </a:lnTo>
                <a:lnTo>
                  <a:pt x="866" y="577"/>
                </a:lnTo>
                <a:lnTo>
                  <a:pt x="863" y="574"/>
                </a:lnTo>
                <a:lnTo>
                  <a:pt x="861" y="574"/>
                </a:lnTo>
                <a:lnTo>
                  <a:pt x="861" y="573"/>
                </a:lnTo>
                <a:lnTo>
                  <a:pt x="864" y="572"/>
                </a:lnTo>
                <a:close/>
                <a:moveTo>
                  <a:pt x="687" y="545"/>
                </a:moveTo>
                <a:lnTo>
                  <a:pt x="691" y="545"/>
                </a:lnTo>
                <a:lnTo>
                  <a:pt x="691" y="546"/>
                </a:lnTo>
                <a:lnTo>
                  <a:pt x="692" y="546"/>
                </a:lnTo>
                <a:lnTo>
                  <a:pt x="692" y="547"/>
                </a:lnTo>
                <a:lnTo>
                  <a:pt x="691" y="548"/>
                </a:lnTo>
                <a:lnTo>
                  <a:pt x="686" y="548"/>
                </a:lnTo>
                <a:lnTo>
                  <a:pt x="686" y="546"/>
                </a:lnTo>
                <a:lnTo>
                  <a:pt x="687" y="545"/>
                </a:lnTo>
                <a:close/>
                <a:moveTo>
                  <a:pt x="679" y="533"/>
                </a:moveTo>
                <a:lnTo>
                  <a:pt x="681" y="534"/>
                </a:lnTo>
                <a:lnTo>
                  <a:pt x="683" y="535"/>
                </a:lnTo>
                <a:lnTo>
                  <a:pt x="685" y="542"/>
                </a:lnTo>
                <a:lnTo>
                  <a:pt x="685" y="545"/>
                </a:lnTo>
                <a:lnTo>
                  <a:pt x="684" y="543"/>
                </a:lnTo>
                <a:lnTo>
                  <a:pt x="683" y="541"/>
                </a:lnTo>
                <a:lnTo>
                  <a:pt x="683" y="539"/>
                </a:lnTo>
                <a:lnTo>
                  <a:pt x="681" y="541"/>
                </a:lnTo>
                <a:lnTo>
                  <a:pt x="681" y="543"/>
                </a:lnTo>
                <a:lnTo>
                  <a:pt x="684" y="546"/>
                </a:lnTo>
                <a:lnTo>
                  <a:pt x="685" y="546"/>
                </a:lnTo>
                <a:lnTo>
                  <a:pt x="685" y="551"/>
                </a:lnTo>
                <a:lnTo>
                  <a:pt x="684" y="551"/>
                </a:lnTo>
                <a:lnTo>
                  <a:pt x="684" y="552"/>
                </a:lnTo>
                <a:lnTo>
                  <a:pt x="683" y="553"/>
                </a:lnTo>
                <a:lnTo>
                  <a:pt x="680" y="554"/>
                </a:lnTo>
                <a:lnTo>
                  <a:pt x="679" y="553"/>
                </a:lnTo>
                <a:lnTo>
                  <a:pt x="679" y="548"/>
                </a:lnTo>
                <a:lnTo>
                  <a:pt x="678" y="547"/>
                </a:lnTo>
                <a:lnTo>
                  <a:pt x="674" y="547"/>
                </a:lnTo>
                <a:lnTo>
                  <a:pt x="672" y="546"/>
                </a:lnTo>
                <a:lnTo>
                  <a:pt x="670" y="541"/>
                </a:lnTo>
                <a:lnTo>
                  <a:pt x="670" y="539"/>
                </a:lnTo>
                <a:lnTo>
                  <a:pt x="671" y="536"/>
                </a:lnTo>
                <a:lnTo>
                  <a:pt x="672" y="535"/>
                </a:lnTo>
                <a:lnTo>
                  <a:pt x="676" y="535"/>
                </a:lnTo>
                <a:lnTo>
                  <a:pt x="677" y="534"/>
                </a:lnTo>
                <a:lnTo>
                  <a:pt x="678" y="534"/>
                </a:lnTo>
                <a:lnTo>
                  <a:pt x="679" y="533"/>
                </a:lnTo>
                <a:close/>
                <a:moveTo>
                  <a:pt x="690" y="531"/>
                </a:moveTo>
                <a:lnTo>
                  <a:pt x="691" y="531"/>
                </a:lnTo>
                <a:lnTo>
                  <a:pt x="691" y="533"/>
                </a:lnTo>
                <a:lnTo>
                  <a:pt x="692" y="533"/>
                </a:lnTo>
                <a:lnTo>
                  <a:pt x="692" y="534"/>
                </a:lnTo>
                <a:lnTo>
                  <a:pt x="693" y="534"/>
                </a:lnTo>
                <a:lnTo>
                  <a:pt x="693" y="535"/>
                </a:lnTo>
                <a:lnTo>
                  <a:pt x="702" y="535"/>
                </a:lnTo>
                <a:lnTo>
                  <a:pt x="701" y="536"/>
                </a:lnTo>
                <a:lnTo>
                  <a:pt x="697" y="536"/>
                </a:lnTo>
                <a:lnTo>
                  <a:pt x="695" y="537"/>
                </a:lnTo>
                <a:lnTo>
                  <a:pt x="692" y="537"/>
                </a:lnTo>
                <a:lnTo>
                  <a:pt x="689" y="536"/>
                </a:lnTo>
                <a:lnTo>
                  <a:pt x="689" y="533"/>
                </a:lnTo>
                <a:lnTo>
                  <a:pt x="690" y="531"/>
                </a:lnTo>
                <a:close/>
                <a:moveTo>
                  <a:pt x="963" y="367"/>
                </a:moveTo>
                <a:lnTo>
                  <a:pt x="966" y="367"/>
                </a:lnTo>
                <a:lnTo>
                  <a:pt x="971" y="369"/>
                </a:lnTo>
                <a:lnTo>
                  <a:pt x="971" y="370"/>
                </a:lnTo>
                <a:lnTo>
                  <a:pt x="972" y="373"/>
                </a:lnTo>
                <a:lnTo>
                  <a:pt x="972" y="379"/>
                </a:lnTo>
                <a:lnTo>
                  <a:pt x="971" y="379"/>
                </a:lnTo>
                <a:lnTo>
                  <a:pt x="969" y="377"/>
                </a:lnTo>
                <a:lnTo>
                  <a:pt x="964" y="374"/>
                </a:lnTo>
                <a:lnTo>
                  <a:pt x="962" y="369"/>
                </a:lnTo>
                <a:lnTo>
                  <a:pt x="963" y="367"/>
                </a:lnTo>
                <a:close/>
                <a:moveTo>
                  <a:pt x="537" y="327"/>
                </a:moveTo>
                <a:lnTo>
                  <a:pt x="537" y="328"/>
                </a:lnTo>
                <a:lnTo>
                  <a:pt x="538" y="328"/>
                </a:lnTo>
                <a:lnTo>
                  <a:pt x="540" y="330"/>
                </a:lnTo>
                <a:lnTo>
                  <a:pt x="540" y="331"/>
                </a:lnTo>
                <a:lnTo>
                  <a:pt x="538" y="332"/>
                </a:lnTo>
                <a:lnTo>
                  <a:pt x="536" y="330"/>
                </a:lnTo>
                <a:lnTo>
                  <a:pt x="536" y="328"/>
                </a:lnTo>
                <a:lnTo>
                  <a:pt x="537" y="327"/>
                </a:lnTo>
                <a:close/>
                <a:moveTo>
                  <a:pt x="1463" y="195"/>
                </a:moveTo>
                <a:lnTo>
                  <a:pt x="1465" y="195"/>
                </a:lnTo>
                <a:lnTo>
                  <a:pt x="1465" y="196"/>
                </a:lnTo>
                <a:lnTo>
                  <a:pt x="1463" y="196"/>
                </a:lnTo>
                <a:lnTo>
                  <a:pt x="1463" y="197"/>
                </a:lnTo>
                <a:lnTo>
                  <a:pt x="1465" y="197"/>
                </a:lnTo>
                <a:lnTo>
                  <a:pt x="1465" y="203"/>
                </a:lnTo>
                <a:lnTo>
                  <a:pt x="1463" y="203"/>
                </a:lnTo>
                <a:lnTo>
                  <a:pt x="1460" y="204"/>
                </a:lnTo>
                <a:lnTo>
                  <a:pt x="1459" y="204"/>
                </a:lnTo>
                <a:lnTo>
                  <a:pt x="1459" y="201"/>
                </a:lnTo>
                <a:lnTo>
                  <a:pt x="1460" y="199"/>
                </a:lnTo>
                <a:lnTo>
                  <a:pt x="1460" y="198"/>
                </a:lnTo>
                <a:lnTo>
                  <a:pt x="1463" y="195"/>
                </a:lnTo>
                <a:close/>
                <a:moveTo>
                  <a:pt x="1447" y="191"/>
                </a:moveTo>
                <a:lnTo>
                  <a:pt x="1449" y="191"/>
                </a:lnTo>
                <a:lnTo>
                  <a:pt x="1450" y="193"/>
                </a:lnTo>
                <a:lnTo>
                  <a:pt x="1449" y="196"/>
                </a:lnTo>
                <a:lnTo>
                  <a:pt x="1449" y="199"/>
                </a:lnTo>
                <a:lnTo>
                  <a:pt x="1447" y="199"/>
                </a:lnTo>
                <a:lnTo>
                  <a:pt x="1444" y="197"/>
                </a:lnTo>
                <a:lnTo>
                  <a:pt x="1444" y="193"/>
                </a:lnTo>
                <a:lnTo>
                  <a:pt x="1447" y="191"/>
                </a:lnTo>
                <a:close/>
                <a:moveTo>
                  <a:pt x="1331" y="175"/>
                </a:moveTo>
                <a:lnTo>
                  <a:pt x="1336" y="175"/>
                </a:lnTo>
                <a:lnTo>
                  <a:pt x="1344" y="177"/>
                </a:lnTo>
                <a:lnTo>
                  <a:pt x="1343" y="178"/>
                </a:lnTo>
                <a:lnTo>
                  <a:pt x="1331" y="180"/>
                </a:lnTo>
                <a:lnTo>
                  <a:pt x="1327" y="184"/>
                </a:lnTo>
                <a:lnTo>
                  <a:pt x="1324" y="184"/>
                </a:lnTo>
                <a:lnTo>
                  <a:pt x="1322" y="187"/>
                </a:lnTo>
                <a:lnTo>
                  <a:pt x="1318" y="187"/>
                </a:lnTo>
                <a:lnTo>
                  <a:pt x="1318" y="189"/>
                </a:lnTo>
                <a:lnTo>
                  <a:pt x="1314" y="189"/>
                </a:lnTo>
                <a:lnTo>
                  <a:pt x="1317" y="186"/>
                </a:lnTo>
                <a:lnTo>
                  <a:pt x="1318" y="184"/>
                </a:lnTo>
                <a:lnTo>
                  <a:pt x="1331" y="175"/>
                </a:lnTo>
                <a:close/>
                <a:moveTo>
                  <a:pt x="1230" y="153"/>
                </a:moveTo>
                <a:lnTo>
                  <a:pt x="1231" y="153"/>
                </a:lnTo>
                <a:lnTo>
                  <a:pt x="1242" y="155"/>
                </a:lnTo>
                <a:lnTo>
                  <a:pt x="1243" y="155"/>
                </a:lnTo>
                <a:lnTo>
                  <a:pt x="1244" y="156"/>
                </a:lnTo>
                <a:lnTo>
                  <a:pt x="1230" y="153"/>
                </a:lnTo>
                <a:close/>
                <a:moveTo>
                  <a:pt x="1459" y="138"/>
                </a:moveTo>
                <a:lnTo>
                  <a:pt x="1461" y="138"/>
                </a:lnTo>
                <a:lnTo>
                  <a:pt x="1466" y="142"/>
                </a:lnTo>
                <a:lnTo>
                  <a:pt x="1467" y="142"/>
                </a:lnTo>
                <a:lnTo>
                  <a:pt x="1467" y="143"/>
                </a:lnTo>
                <a:lnTo>
                  <a:pt x="1460" y="141"/>
                </a:lnTo>
                <a:lnTo>
                  <a:pt x="1459" y="141"/>
                </a:lnTo>
                <a:lnTo>
                  <a:pt x="1459" y="138"/>
                </a:lnTo>
                <a:close/>
                <a:moveTo>
                  <a:pt x="1263" y="138"/>
                </a:moveTo>
                <a:lnTo>
                  <a:pt x="1264" y="138"/>
                </a:lnTo>
                <a:lnTo>
                  <a:pt x="1264" y="140"/>
                </a:lnTo>
                <a:lnTo>
                  <a:pt x="1263" y="141"/>
                </a:lnTo>
                <a:lnTo>
                  <a:pt x="1261" y="142"/>
                </a:lnTo>
                <a:lnTo>
                  <a:pt x="1260" y="141"/>
                </a:lnTo>
                <a:lnTo>
                  <a:pt x="1263" y="140"/>
                </a:lnTo>
                <a:lnTo>
                  <a:pt x="1263" y="138"/>
                </a:lnTo>
                <a:close/>
                <a:moveTo>
                  <a:pt x="1275" y="128"/>
                </a:moveTo>
                <a:lnTo>
                  <a:pt x="1275" y="129"/>
                </a:lnTo>
                <a:lnTo>
                  <a:pt x="1273" y="131"/>
                </a:lnTo>
                <a:lnTo>
                  <a:pt x="1271" y="131"/>
                </a:lnTo>
                <a:lnTo>
                  <a:pt x="1275" y="128"/>
                </a:lnTo>
                <a:close/>
                <a:moveTo>
                  <a:pt x="1488" y="124"/>
                </a:moveTo>
                <a:lnTo>
                  <a:pt x="1493" y="124"/>
                </a:lnTo>
                <a:lnTo>
                  <a:pt x="1493" y="127"/>
                </a:lnTo>
                <a:lnTo>
                  <a:pt x="1492" y="128"/>
                </a:lnTo>
                <a:lnTo>
                  <a:pt x="1491" y="127"/>
                </a:lnTo>
                <a:lnTo>
                  <a:pt x="1490" y="127"/>
                </a:lnTo>
                <a:lnTo>
                  <a:pt x="1488" y="125"/>
                </a:lnTo>
                <a:lnTo>
                  <a:pt x="1488" y="124"/>
                </a:lnTo>
                <a:close/>
                <a:moveTo>
                  <a:pt x="1506" y="123"/>
                </a:moveTo>
                <a:lnTo>
                  <a:pt x="1507" y="123"/>
                </a:lnTo>
                <a:lnTo>
                  <a:pt x="1511" y="124"/>
                </a:lnTo>
                <a:lnTo>
                  <a:pt x="1512" y="125"/>
                </a:lnTo>
                <a:lnTo>
                  <a:pt x="1513" y="128"/>
                </a:lnTo>
                <a:lnTo>
                  <a:pt x="1507" y="125"/>
                </a:lnTo>
                <a:lnTo>
                  <a:pt x="1504" y="128"/>
                </a:lnTo>
                <a:lnTo>
                  <a:pt x="1501" y="128"/>
                </a:lnTo>
                <a:lnTo>
                  <a:pt x="1503" y="125"/>
                </a:lnTo>
                <a:lnTo>
                  <a:pt x="1506" y="123"/>
                </a:lnTo>
                <a:close/>
                <a:moveTo>
                  <a:pt x="1285" y="122"/>
                </a:moveTo>
                <a:lnTo>
                  <a:pt x="1286" y="122"/>
                </a:lnTo>
                <a:lnTo>
                  <a:pt x="1286" y="123"/>
                </a:lnTo>
                <a:lnTo>
                  <a:pt x="1285" y="124"/>
                </a:lnTo>
                <a:lnTo>
                  <a:pt x="1282" y="125"/>
                </a:lnTo>
                <a:lnTo>
                  <a:pt x="1281" y="125"/>
                </a:lnTo>
                <a:lnTo>
                  <a:pt x="1285" y="122"/>
                </a:lnTo>
                <a:close/>
                <a:moveTo>
                  <a:pt x="1476" y="116"/>
                </a:moveTo>
                <a:lnTo>
                  <a:pt x="1479" y="116"/>
                </a:lnTo>
                <a:lnTo>
                  <a:pt x="1480" y="117"/>
                </a:lnTo>
                <a:lnTo>
                  <a:pt x="1480" y="119"/>
                </a:lnTo>
                <a:lnTo>
                  <a:pt x="1479" y="121"/>
                </a:lnTo>
                <a:lnTo>
                  <a:pt x="1479" y="122"/>
                </a:lnTo>
                <a:lnTo>
                  <a:pt x="1478" y="122"/>
                </a:lnTo>
                <a:lnTo>
                  <a:pt x="1475" y="123"/>
                </a:lnTo>
                <a:lnTo>
                  <a:pt x="1475" y="122"/>
                </a:lnTo>
                <a:lnTo>
                  <a:pt x="1474" y="122"/>
                </a:lnTo>
                <a:lnTo>
                  <a:pt x="1476" y="117"/>
                </a:lnTo>
                <a:lnTo>
                  <a:pt x="1476" y="116"/>
                </a:lnTo>
                <a:close/>
                <a:moveTo>
                  <a:pt x="1652" y="76"/>
                </a:moveTo>
                <a:lnTo>
                  <a:pt x="1653" y="76"/>
                </a:lnTo>
                <a:lnTo>
                  <a:pt x="1667" y="87"/>
                </a:lnTo>
                <a:lnTo>
                  <a:pt x="1670" y="90"/>
                </a:lnTo>
                <a:lnTo>
                  <a:pt x="1670" y="91"/>
                </a:lnTo>
                <a:lnTo>
                  <a:pt x="1668" y="92"/>
                </a:lnTo>
                <a:lnTo>
                  <a:pt x="1672" y="95"/>
                </a:lnTo>
                <a:lnTo>
                  <a:pt x="1672" y="100"/>
                </a:lnTo>
                <a:lnTo>
                  <a:pt x="1671" y="99"/>
                </a:lnTo>
                <a:lnTo>
                  <a:pt x="1671" y="98"/>
                </a:lnTo>
                <a:lnTo>
                  <a:pt x="1670" y="98"/>
                </a:lnTo>
                <a:lnTo>
                  <a:pt x="1668" y="97"/>
                </a:lnTo>
                <a:lnTo>
                  <a:pt x="1667" y="94"/>
                </a:lnTo>
                <a:lnTo>
                  <a:pt x="1666" y="94"/>
                </a:lnTo>
                <a:lnTo>
                  <a:pt x="1665" y="90"/>
                </a:lnTo>
                <a:lnTo>
                  <a:pt x="1664" y="88"/>
                </a:lnTo>
                <a:lnTo>
                  <a:pt x="1652" y="79"/>
                </a:lnTo>
                <a:lnTo>
                  <a:pt x="1652" y="76"/>
                </a:lnTo>
                <a:close/>
                <a:moveTo>
                  <a:pt x="616" y="68"/>
                </a:moveTo>
                <a:lnTo>
                  <a:pt x="623" y="75"/>
                </a:lnTo>
                <a:lnTo>
                  <a:pt x="623" y="76"/>
                </a:lnTo>
                <a:lnTo>
                  <a:pt x="608" y="75"/>
                </a:lnTo>
                <a:lnTo>
                  <a:pt x="605" y="74"/>
                </a:lnTo>
                <a:lnTo>
                  <a:pt x="605" y="72"/>
                </a:lnTo>
                <a:lnTo>
                  <a:pt x="606" y="70"/>
                </a:lnTo>
                <a:lnTo>
                  <a:pt x="608" y="70"/>
                </a:lnTo>
                <a:lnTo>
                  <a:pt x="611" y="69"/>
                </a:lnTo>
                <a:lnTo>
                  <a:pt x="616" y="68"/>
                </a:lnTo>
                <a:close/>
                <a:moveTo>
                  <a:pt x="1243" y="55"/>
                </a:moveTo>
                <a:lnTo>
                  <a:pt x="1251" y="56"/>
                </a:lnTo>
                <a:lnTo>
                  <a:pt x="1269" y="69"/>
                </a:lnTo>
                <a:lnTo>
                  <a:pt x="1282" y="81"/>
                </a:lnTo>
                <a:lnTo>
                  <a:pt x="1288" y="86"/>
                </a:lnTo>
                <a:lnTo>
                  <a:pt x="1291" y="90"/>
                </a:lnTo>
                <a:lnTo>
                  <a:pt x="1295" y="99"/>
                </a:lnTo>
                <a:lnTo>
                  <a:pt x="1294" y="104"/>
                </a:lnTo>
                <a:lnTo>
                  <a:pt x="1292" y="110"/>
                </a:lnTo>
                <a:lnTo>
                  <a:pt x="1288" y="116"/>
                </a:lnTo>
                <a:lnTo>
                  <a:pt x="1286" y="117"/>
                </a:lnTo>
                <a:lnTo>
                  <a:pt x="1287" y="116"/>
                </a:lnTo>
                <a:lnTo>
                  <a:pt x="1287" y="110"/>
                </a:lnTo>
                <a:lnTo>
                  <a:pt x="1289" y="105"/>
                </a:lnTo>
                <a:lnTo>
                  <a:pt x="1291" y="100"/>
                </a:lnTo>
                <a:lnTo>
                  <a:pt x="1291" y="98"/>
                </a:lnTo>
                <a:lnTo>
                  <a:pt x="1289" y="99"/>
                </a:lnTo>
                <a:lnTo>
                  <a:pt x="1287" y="100"/>
                </a:lnTo>
                <a:lnTo>
                  <a:pt x="1282" y="106"/>
                </a:lnTo>
                <a:lnTo>
                  <a:pt x="1280" y="109"/>
                </a:lnTo>
                <a:lnTo>
                  <a:pt x="1276" y="115"/>
                </a:lnTo>
                <a:lnTo>
                  <a:pt x="1275" y="116"/>
                </a:lnTo>
                <a:lnTo>
                  <a:pt x="1277" y="116"/>
                </a:lnTo>
                <a:lnTo>
                  <a:pt x="1277" y="119"/>
                </a:lnTo>
                <a:lnTo>
                  <a:pt x="1274" y="121"/>
                </a:lnTo>
                <a:lnTo>
                  <a:pt x="1270" y="130"/>
                </a:lnTo>
                <a:lnTo>
                  <a:pt x="1268" y="131"/>
                </a:lnTo>
                <a:lnTo>
                  <a:pt x="1267" y="131"/>
                </a:lnTo>
                <a:lnTo>
                  <a:pt x="1264" y="132"/>
                </a:lnTo>
                <a:lnTo>
                  <a:pt x="1262" y="136"/>
                </a:lnTo>
                <a:lnTo>
                  <a:pt x="1257" y="140"/>
                </a:lnTo>
                <a:lnTo>
                  <a:pt x="1254" y="138"/>
                </a:lnTo>
                <a:lnTo>
                  <a:pt x="1252" y="140"/>
                </a:lnTo>
                <a:lnTo>
                  <a:pt x="1250" y="143"/>
                </a:lnTo>
                <a:lnTo>
                  <a:pt x="1231" y="149"/>
                </a:lnTo>
                <a:lnTo>
                  <a:pt x="1230" y="148"/>
                </a:lnTo>
                <a:lnTo>
                  <a:pt x="1230" y="147"/>
                </a:lnTo>
                <a:lnTo>
                  <a:pt x="1229" y="147"/>
                </a:lnTo>
                <a:lnTo>
                  <a:pt x="1229" y="146"/>
                </a:lnTo>
                <a:lnTo>
                  <a:pt x="1227" y="146"/>
                </a:lnTo>
                <a:lnTo>
                  <a:pt x="1226" y="147"/>
                </a:lnTo>
                <a:lnTo>
                  <a:pt x="1226" y="148"/>
                </a:lnTo>
                <a:lnTo>
                  <a:pt x="1223" y="148"/>
                </a:lnTo>
                <a:lnTo>
                  <a:pt x="1221" y="147"/>
                </a:lnTo>
                <a:lnTo>
                  <a:pt x="1219" y="143"/>
                </a:lnTo>
                <a:lnTo>
                  <a:pt x="1214" y="138"/>
                </a:lnTo>
                <a:lnTo>
                  <a:pt x="1213" y="138"/>
                </a:lnTo>
                <a:lnTo>
                  <a:pt x="1212" y="136"/>
                </a:lnTo>
                <a:lnTo>
                  <a:pt x="1212" y="135"/>
                </a:lnTo>
                <a:lnTo>
                  <a:pt x="1211" y="135"/>
                </a:lnTo>
                <a:lnTo>
                  <a:pt x="1209" y="132"/>
                </a:lnTo>
                <a:lnTo>
                  <a:pt x="1211" y="131"/>
                </a:lnTo>
                <a:lnTo>
                  <a:pt x="1211" y="130"/>
                </a:lnTo>
                <a:lnTo>
                  <a:pt x="1209" y="129"/>
                </a:lnTo>
                <a:lnTo>
                  <a:pt x="1208" y="129"/>
                </a:lnTo>
                <a:lnTo>
                  <a:pt x="1207" y="131"/>
                </a:lnTo>
                <a:lnTo>
                  <a:pt x="1206" y="129"/>
                </a:lnTo>
                <a:lnTo>
                  <a:pt x="1206" y="128"/>
                </a:lnTo>
                <a:lnTo>
                  <a:pt x="1207" y="125"/>
                </a:lnTo>
                <a:lnTo>
                  <a:pt x="1207" y="122"/>
                </a:lnTo>
                <a:lnTo>
                  <a:pt x="1208" y="121"/>
                </a:lnTo>
                <a:lnTo>
                  <a:pt x="1208" y="119"/>
                </a:lnTo>
                <a:lnTo>
                  <a:pt x="1207" y="117"/>
                </a:lnTo>
                <a:lnTo>
                  <a:pt x="1207" y="118"/>
                </a:lnTo>
                <a:lnTo>
                  <a:pt x="1206" y="117"/>
                </a:lnTo>
                <a:lnTo>
                  <a:pt x="1206" y="115"/>
                </a:lnTo>
                <a:lnTo>
                  <a:pt x="1208" y="112"/>
                </a:lnTo>
                <a:lnTo>
                  <a:pt x="1206" y="111"/>
                </a:lnTo>
                <a:lnTo>
                  <a:pt x="1206" y="109"/>
                </a:lnTo>
                <a:lnTo>
                  <a:pt x="1207" y="105"/>
                </a:lnTo>
                <a:lnTo>
                  <a:pt x="1208" y="103"/>
                </a:lnTo>
                <a:lnTo>
                  <a:pt x="1208" y="91"/>
                </a:lnTo>
                <a:lnTo>
                  <a:pt x="1209" y="87"/>
                </a:lnTo>
                <a:lnTo>
                  <a:pt x="1209" y="85"/>
                </a:lnTo>
                <a:lnTo>
                  <a:pt x="1211" y="81"/>
                </a:lnTo>
                <a:lnTo>
                  <a:pt x="1214" y="76"/>
                </a:lnTo>
                <a:lnTo>
                  <a:pt x="1215" y="74"/>
                </a:lnTo>
                <a:lnTo>
                  <a:pt x="1215" y="73"/>
                </a:lnTo>
                <a:lnTo>
                  <a:pt x="1219" y="70"/>
                </a:lnTo>
                <a:lnTo>
                  <a:pt x="1221" y="67"/>
                </a:lnTo>
                <a:lnTo>
                  <a:pt x="1231" y="58"/>
                </a:lnTo>
                <a:lnTo>
                  <a:pt x="1236" y="56"/>
                </a:lnTo>
                <a:lnTo>
                  <a:pt x="1243" y="55"/>
                </a:lnTo>
                <a:close/>
                <a:moveTo>
                  <a:pt x="521" y="0"/>
                </a:moveTo>
                <a:lnTo>
                  <a:pt x="522" y="0"/>
                </a:lnTo>
                <a:lnTo>
                  <a:pt x="524" y="1"/>
                </a:lnTo>
                <a:lnTo>
                  <a:pt x="532" y="11"/>
                </a:lnTo>
                <a:lnTo>
                  <a:pt x="534" y="12"/>
                </a:lnTo>
                <a:lnTo>
                  <a:pt x="537" y="11"/>
                </a:lnTo>
                <a:lnTo>
                  <a:pt x="538" y="12"/>
                </a:lnTo>
                <a:lnTo>
                  <a:pt x="543" y="14"/>
                </a:lnTo>
                <a:lnTo>
                  <a:pt x="544" y="17"/>
                </a:lnTo>
                <a:lnTo>
                  <a:pt x="543" y="18"/>
                </a:lnTo>
                <a:lnTo>
                  <a:pt x="543" y="19"/>
                </a:lnTo>
                <a:lnTo>
                  <a:pt x="544" y="20"/>
                </a:lnTo>
                <a:lnTo>
                  <a:pt x="548" y="23"/>
                </a:lnTo>
                <a:lnTo>
                  <a:pt x="553" y="21"/>
                </a:lnTo>
                <a:lnTo>
                  <a:pt x="561" y="24"/>
                </a:lnTo>
                <a:lnTo>
                  <a:pt x="565" y="26"/>
                </a:lnTo>
                <a:lnTo>
                  <a:pt x="566" y="29"/>
                </a:lnTo>
                <a:lnTo>
                  <a:pt x="567" y="29"/>
                </a:lnTo>
                <a:lnTo>
                  <a:pt x="568" y="27"/>
                </a:lnTo>
                <a:lnTo>
                  <a:pt x="569" y="27"/>
                </a:lnTo>
                <a:lnTo>
                  <a:pt x="569" y="38"/>
                </a:lnTo>
                <a:lnTo>
                  <a:pt x="568" y="39"/>
                </a:lnTo>
                <a:lnTo>
                  <a:pt x="567" y="42"/>
                </a:lnTo>
                <a:lnTo>
                  <a:pt x="566" y="43"/>
                </a:lnTo>
                <a:lnTo>
                  <a:pt x="559" y="48"/>
                </a:lnTo>
                <a:lnTo>
                  <a:pt x="543" y="42"/>
                </a:lnTo>
                <a:lnTo>
                  <a:pt x="541" y="39"/>
                </a:lnTo>
                <a:lnTo>
                  <a:pt x="540" y="39"/>
                </a:lnTo>
                <a:lnTo>
                  <a:pt x="537" y="41"/>
                </a:lnTo>
                <a:lnTo>
                  <a:pt x="531" y="38"/>
                </a:lnTo>
                <a:lnTo>
                  <a:pt x="530" y="39"/>
                </a:lnTo>
                <a:lnTo>
                  <a:pt x="529" y="38"/>
                </a:lnTo>
                <a:lnTo>
                  <a:pt x="529" y="33"/>
                </a:lnTo>
                <a:lnTo>
                  <a:pt x="530" y="32"/>
                </a:lnTo>
                <a:lnTo>
                  <a:pt x="530" y="31"/>
                </a:lnTo>
                <a:lnTo>
                  <a:pt x="529" y="30"/>
                </a:lnTo>
                <a:lnTo>
                  <a:pt x="529" y="29"/>
                </a:lnTo>
                <a:lnTo>
                  <a:pt x="528" y="27"/>
                </a:lnTo>
                <a:lnTo>
                  <a:pt x="528" y="26"/>
                </a:lnTo>
                <a:lnTo>
                  <a:pt x="527" y="26"/>
                </a:lnTo>
                <a:lnTo>
                  <a:pt x="527" y="36"/>
                </a:lnTo>
                <a:lnTo>
                  <a:pt x="524" y="38"/>
                </a:lnTo>
                <a:lnTo>
                  <a:pt x="521" y="38"/>
                </a:lnTo>
                <a:lnTo>
                  <a:pt x="523" y="41"/>
                </a:lnTo>
                <a:lnTo>
                  <a:pt x="524" y="41"/>
                </a:lnTo>
                <a:lnTo>
                  <a:pt x="524" y="45"/>
                </a:lnTo>
                <a:lnTo>
                  <a:pt x="523" y="47"/>
                </a:lnTo>
                <a:lnTo>
                  <a:pt x="523" y="50"/>
                </a:lnTo>
                <a:lnTo>
                  <a:pt x="525" y="47"/>
                </a:lnTo>
                <a:lnTo>
                  <a:pt x="528" y="45"/>
                </a:lnTo>
                <a:lnTo>
                  <a:pt x="532" y="48"/>
                </a:lnTo>
                <a:lnTo>
                  <a:pt x="534" y="49"/>
                </a:lnTo>
                <a:lnTo>
                  <a:pt x="538" y="47"/>
                </a:lnTo>
                <a:lnTo>
                  <a:pt x="538" y="48"/>
                </a:lnTo>
                <a:lnTo>
                  <a:pt x="540" y="48"/>
                </a:lnTo>
                <a:lnTo>
                  <a:pt x="540" y="49"/>
                </a:lnTo>
                <a:lnTo>
                  <a:pt x="541" y="50"/>
                </a:lnTo>
                <a:lnTo>
                  <a:pt x="540" y="50"/>
                </a:lnTo>
                <a:lnTo>
                  <a:pt x="538" y="52"/>
                </a:lnTo>
                <a:lnTo>
                  <a:pt x="540" y="52"/>
                </a:lnTo>
                <a:lnTo>
                  <a:pt x="543" y="55"/>
                </a:lnTo>
                <a:lnTo>
                  <a:pt x="542" y="57"/>
                </a:lnTo>
                <a:lnTo>
                  <a:pt x="540" y="57"/>
                </a:lnTo>
                <a:lnTo>
                  <a:pt x="540" y="58"/>
                </a:lnTo>
                <a:lnTo>
                  <a:pt x="538" y="61"/>
                </a:lnTo>
                <a:lnTo>
                  <a:pt x="537" y="61"/>
                </a:lnTo>
                <a:lnTo>
                  <a:pt x="536" y="62"/>
                </a:lnTo>
                <a:lnTo>
                  <a:pt x="532" y="64"/>
                </a:lnTo>
                <a:lnTo>
                  <a:pt x="530" y="66"/>
                </a:lnTo>
                <a:lnTo>
                  <a:pt x="532" y="67"/>
                </a:lnTo>
                <a:lnTo>
                  <a:pt x="534" y="66"/>
                </a:lnTo>
                <a:lnTo>
                  <a:pt x="538" y="62"/>
                </a:lnTo>
                <a:lnTo>
                  <a:pt x="540" y="62"/>
                </a:lnTo>
                <a:lnTo>
                  <a:pt x="540" y="61"/>
                </a:lnTo>
                <a:lnTo>
                  <a:pt x="541" y="58"/>
                </a:lnTo>
                <a:lnTo>
                  <a:pt x="544" y="58"/>
                </a:lnTo>
                <a:lnTo>
                  <a:pt x="544" y="56"/>
                </a:lnTo>
                <a:lnTo>
                  <a:pt x="546" y="56"/>
                </a:lnTo>
                <a:lnTo>
                  <a:pt x="547" y="60"/>
                </a:lnTo>
                <a:lnTo>
                  <a:pt x="548" y="60"/>
                </a:lnTo>
                <a:lnTo>
                  <a:pt x="549" y="57"/>
                </a:lnTo>
                <a:lnTo>
                  <a:pt x="552" y="57"/>
                </a:lnTo>
                <a:lnTo>
                  <a:pt x="555" y="58"/>
                </a:lnTo>
                <a:lnTo>
                  <a:pt x="559" y="58"/>
                </a:lnTo>
                <a:lnTo>
                  <a:pt x="560" y="60"/>
                </a:lnTo>
                <a:lnTo>
                  <a:pt x="555" y="64"/>
                </a:lnTo>
                <a:lnTo>
                  <a:pt x="554" y="68"/>
                </a:lnTo>
                <a:lnTo>
                  <a:pt x="560" y="62"/>
                </a:lnTo>
                <a:lnTo>
                  <a:pt x="563" y="61"/>
                </a:lnTo>
                <a:lnTo>
                  <a:pt x="568" y="61"/>
                </a:lnTo>
                <a:lnTo>
                  <a:pt x="559" y="74"/>
                </a:lnTo>
                <a:lnTo>
                  <a:pt x="558" y="78"/>
                </a:lnTo>
                <a:lnTo>
                  <a:pt x="556" y="79"/>
                </a:lnTo>
                <a:lnTo>
                  <a:pt x="556" y="81"/>
                </a:lnTo>
                <a:lnTo>
                  <a:pt x="558" y="81"/>
                </a:lnTo>
                <a:lnTo>
                  <a:pt x="558" y="80"/>
                </a:lnTo>
                <a:lnTo>
                  <a:pt x="560" y="80"/>
                </a:lnTo>
                <a:lnTo>
                  <a:pt x="560" y="79"/>
                </a:lnTo>
                <a:lnTo>
                  <a:pt x="562" y="72"/>
                </a:lnTo>
                <a:lnTo>
                  <a:pt x="563" y="70"/>
                </a:lnTo>
                <a:lnTo>
                  <a:pt x="577" y="64"/>
                </a:lnTo>
                <a:lnTo>
                  <a:pt x="578" y="63"/>
                </a:lnTo>
                <a:lnTo>
                  <a:pt x="579" y="64"/>
                </a:lnTo>
                <a:lnTo>
                  <a:pt x="579" y="66"/>
                </a:lnTo>
                <a:lnTo>
                  <a:pt x="580" y="66"/>
                </a:lnTo>
                <a:lnTo>
                  <a:pt x="583" y="63"/>
                </a:lnTo>
                <a:lnTo>
                  <a:pt x="585" y="66"/>
                </a:lnTo>
                <a:lnTo>
                  <a:pt x="586" y="66"/>
                </a:lnTo>
                <a:lnTo>
                  <a:pt x="586" y="69"/>
                </a:lnTo>
                <a:lnTo>
                  <a:pt x="584" y="70"/>
                </a:lnTo>
                <a:lnTo>
                  <a:pt x="583" y="70"/>
                </a:lnTo>
                <a:lnTo>
                  <a:pt x="581" y="73"/>
                </a:lnTo>
                <a:lnTo>
                  <a:pt x="583" y="73"/>
                </a:lnTo>
                <a:lnTo>
                  <a:pt x="585" y="72"/>
                </a:lnTo>
                <a:lnTo>
                  <a:pt x="584" y="74"/>
                </a:lnTo>
                <a:lnTo>
                  <a:pt x="581" y="78"/>
                </a:lnTo>
                <a:lnTo>
                  <a:pt x="579" y="82"/>
                </a:lnTo>
                <a:lnTo>
                  <a:pt x="575" y="82"/>
                </a:lnTo>
                <a:lnTo>
                  <a:pt x="574" y="85"/>
                </a:lnTo>
                <a:lnTo>
                  <a:pt x="577" y="85"/>
                </a:lnTo>
                <a:lnTo>
                  <a:pt x="577" y="84"/>
                </a:lnTo>
                <a:lnTo>
                  <a:pt x="581" y="82"/>
                </a:lnTo>
                <a:lnTo>
                  <a:pt x="583" y="82"/>
                </a:lnTo>
                <a:lnTo>
                  <a:pt x="584" y="85"/>
                </a:lnTo>
                <a:lnTo>
                  <a:pt x="580" y="87"/>
                </a:lnTo>
                <a:lnTo>
                  <a:pt x="579" y="88"/>
                </a:lnTo>
                <a:lnTo>
                  <a:pt x="578" y="88"/>
                </a:lnTo>
                <a:lnTo>
                  <a:pt x="577" y="90"/>
                </a:lnTo>
                <a:lnTo>
                  <a:pt x="581" y="90"/>
                </a:lnTo>
                <a:lnTo>
                  <a:pt x="581" y="92"/>
                </a:lnTo>
                <a:lnTo>
                  <a:pt x="583" y="92"/>
                </a:lnTo>
                <a:lnTo>
                  <a:pt x="584" y="91"/>
                </a:lnTo>
                <a:lnTo>
                  <a:pt x="586" y="91"/>
                </a:lnTo>
                <a:lnTo>
                  <a:pt x="587" y="92"/>
                </a:lnTo>
                <a:lnTo>
                  <a:pt x="586" y="95"/>
                </a:lnTo>
                <a:lnTo>
                  <a:pt x="581" y="99"/>
                </a:lnTo>
                <a:lnTo>
                  <a:pt x="577" y="104"/>
                </a:lnTo>
                <a:lnTo>
                  <a:pt x="574" y="104"/>
                </a:lnTo>
                <a:lnTo>
                  <a:pt x="571" y="106"/>
                </a:lnTo>
                <a:lnTo>
                  <a:pt x="568" y="106"/>
                </a:lnTo>
                <a:lnTo>
                  <a:pt x="565" y="110"/>
                </a:lnTo>
                <a:lnTo>
                  <a:pt x="565" y="122"/>
                </a:lnTo>
                <a:lnTo>
                  <a:pt x="566" y="119"/>
                </a:lnTo>
                <a:lnTo>
                  <a:pt x="566" y="113"/>
                </a:lnTo>
                <a:lnTo>
                  <a:pt x="567" y="110"/>
                </a:lnTo>
                <a:lnTo>
                  <a:pt x="569" y="109"/>
                </a:lnTo>
                <a:lnTo>
                  <a:pt x="574" y="109"/>
                </a:lnTo>
                <a:lnTo>
                  <a:pt x="578" y="105"/>
                </a:lnTo>
                <a:lnTo>
                  <a:pt x="583" y="105"/>
                </a:lnTo>
                <a:lnTo>
                  <a:pt x="583" y="101"/>
                </a:lnTo>
                <a:lnTo>
                  <a:pt x="584" y="100"/>
                </a:lnTo>
                <a:lnTo>
                  <a:pt x="584" y="99"/>
                </a:lnTo>
                <a:lnTo>
                  <a:pt x="589" y="95"/>
                </a:lnTo>
                <a:lnTo>
                  <a:pt x="589" y="81"/>
                </a:lnTo>
                <a:lnTo>
                  <a:pt x="590" y="79"/>
                </a:lnTo>
                <a:lnTo>
                  <a:pt x="591" y="78"/>
                </a:lnTo>
                <a:lnTo>
                  <a:pt x="596" y="78"/>
                </a:lnTo>
                <a:lnTo>
                  <a:pt x="596" y="80"/>
                </a:lnTo>
                <a:lnTo>
                  <a:pt x="594" y="81"/>
                </a:lnTo>
                <a:lnTo>
                  <a:pt x="596" y="81"/>
                </a:lnTo>
                <a:lnTo>
                  <a:pt x="597" y="79"/>
                </a:lnTo>
                <a:lnTo>
                  <a:pt x="598" y="80"/>
                </a:lnTo>
                <a:lnTo>
                  <a:pt x="602" y="80"/>
                </a:lnTo>
                <a:lnTo>
                  <a:pt x="600" y="79"/>
                </a:lnTo>
                <a:lnTo>
                  <a:pt x="600" y="76"/>
                </a:lnTo>
                <a:lnTo>
                  <a:pt x="612" y="79"/>
                </a:lnTo>
                <a:lnTo>
                  <a:pt x="624" y="80"/>
                </a:lnTo>
                <a:lnTo>
                  <a:pt x="624" y="82"/>
                </a:lnTo>
                <a:lnTo>
                  <a:pt x="625" y="84"/>
                </a:lnTo>
                <a:lnTo>
                  <a:pt x="629" y="85"/>
                </a:lnTo>
                <a:lnTo>
                  <a:pt x="631" y="85"/>
                </a:lnTo>
                <a:lnTo>
                  <a:pt x="634" y="87"/>
                </a:lnTo>
                <a:lnTo>
                  <a:pt x="648" y="90"/>
                </a:lnTo>
                <a:lnTo>
                  <a:pt x="648" y="91"/>
                </a:lnTo>
                <a:lnTo>
                  <a:pt x="647" y="93"/>
                </a:lnTo>
                <a:lnTo>
                  <a:pt x="647" y="94"/>
                </a:lnTo>
                <a:lnTo>
                  <a:pt x="650" y="91"/>
                </a:lnTo>
                <a:lnTo>
                  <a:pt x="654" y="91"/>
                </a:lnTo>
                <a:lnTo>
                  <a:pt x="654" y="92"/>
                </a:lnTo>
                <a:lnTo>
                  <a:pt x="655" y="92"/>
                </a:lnTo>
                <a:lnTo>
                  <a:pt x="655" y="93"/>
                </a:lnTo>
                <a:lnTo>
                  <a:pt x="654" y="94"/>
                </a:lnTo>
                <a:lnTo>
                  <a:pt x="655" y="94"/>
                </a:lnTo>
                <a:lnTo>
                  <a:pt x="655" y="95"/>
                </a:lnTo>
                <a:lnTo>
                  <a:pt x="656" y="95"/>
                </a:lnTo>
                <a:lnTo>
                  <a:pt x="656" y="94"/>
                </a:lnTo>
                <a:lnTo>
                  <a:pt x="658" y="94"/>
                </a:lnTo>
                <a:lnTo>
                  <a:pt x="658" y="93"/>
                </a:lnTo>
                <a:lnTo>
                  <a:pt x="659" y="92"/>
                </a:lnTo>
                <a:lnTo>
                  <a:pt x="660" y="92"/>
                </a:lnTo>
                <a:lnTo>
                  <a:pt x="659" y="90"/>
                </a:lnTo>
                <a:lnTo>
                  <a:pt x="656" y="86"/>
                </a:lnTo>
                <a:lnTo>
                  <a:pt x="655" y="85"/>
                </a:lnTo>
                <a:lnTo>
                  <a:pt x="656" y="84"/>
                </a:lnTo>
                <a:lnTo>
                  <a:pt x="660" y="85"/>
                </a:lnTo>
                <a:lnTo>
                  <a:pt x="662" y="85"/>
                </a:lnTo>
                <a:lnTo>
                  <a:pt x="683" y="94"/>
                </a:lnTo>
                <a:lnTo>
                  <a:pt x="685" y="94"/>
                </a:lnTo>
                <a:lnTo>
                  <a:pt x="690" y="97"/>
                </a:lnTo>
                <a:lnTo>
                  <a:pt x="692" y="99"/>
                </a:lnTo>
                <a:lnTo>
                  <a:pt x="692" y="101"/>
                </a:lnTo>
                <a:lnTo>
                  <a:pt x="695" y="101"/>
                </a:lnTo>
                <a:lnTo>
                  <a:pt x="702" y="104"/>
                </a:lnTo>
                <a:lnTo>
                  <a:pt x="703" y="105"/>
                </a:lnTo>
                <a:lnTo>
                  <a:pt x="702" y="107"/>
                </a:lnTo>
                <a:lnTo>
                  <a:pt x="704" y="110"/>
                </a:lnTo>
                <a:lnTo>
                  <a:pt x="712" y="113"/>
                </a:lnTo>
                <a:lnTo>
                  <a:pt x="720" y="119"/>
                </a:lnTo>
                <a:lnTo>
                  <a:pt x="722" y="119"/>
                </a:lnTo>
                <a:lnTo>
                  <a:pt x="722" y="122"/>
                </a:lnTo>
                <a:lnTo>
                  <a:pt x="723" y="122"/>
                </a:lnTo>
                <a:lnTo>
                  <a:pt x="724" y="123"/>
                </a:lnTo>
                <a:lnTo>
                  <a:pt x="727" y="123"/>
                </a:lnTo>
                <a:lnTo>
                  <a:pt x="734" y="129"/>
                </a:lnTo>
                <a:lnTo>
                  <a:pt x="734" y="131"/>
                </a:lnTo>
                <a:lnTo>
                  <a:pt x="735" y="131"/>
                </a:lnTo>
                <a:lnTo>
                  <a:pt x="737" y="134"/>
                </a:lnTo>
                <a:lnTo>
                  <a:pt x="741" y="135"/>
                </a:lnTo>
                <a:lnTo>
                  <a:pt x="742" y="135"/>
                </a:lnTo>
                <a:lnTo>
                  <a:pt x="742" y="138"/>
                </a:lnTo>
                <a:lnTo>
                  <a:pt x="743" y="140"/>
                </a:lnTo>
                <a:lnTo>
                  <a:pt x="748" y="142"/>
                </a:lnTo>
                <a:lnTo>
                  <a:pt x="751" y="146"/>
                </a:lnTo>
                <a:lnTo>
                  <a:pt x="752" y="146"/>
                </a:lnTo>
                <a:lnTo>
                  <a:pt x="752" y="147"/>
                </a:lnTo>
                <a:lnTo>
                  <a:pt x="754" y="147"/>
                </a:lnTo>
                <a:lnTo>
                  <a:pt x="755" y="148"/>
                </a:lnTo>
                <a:lnTo>
                  <a:pt x="758" y="148"/>
                </a:lnTo>
                <a:lnTo>
                  <a:pt x="758" y="149"/>
                </a:lnTo>
                <a:lnTo>
                  <a:pt x="761" y="150"/>
                </a:lnTo>
                <a:lnTo>
                  <a:pt x="763" y="152"/>
                </a:lnTo>
                <a:lnTo>
                  <a:pt x="764" y="154"/>
                </a:lnTo>
                <a:lnTo>
                  <a:pt x="767" y="156"/>
                </a:lnTo>
                <a:lnTo>
                  <a:pt x="773" y="164"/>
                </a:lnTo>
                <a:lnTo>
                  <a:pt x="774" y="167"/>
                </a:lnTo>
                <a:lnTo>
                  <a:pt x="776" y="170"/>
                </a:lnTo>
                <a:lnTo>
                  <a:pt x="777" y="171"/>
                </a:lnTo>
                <a:lnTo>
                  <a:pt x="778" y="173"/>
                </a:lnTo>
                <a:lnTo>
                  <a:pt x="778" y="174"/>
                </a:lnTo>
                <a:lnTo>
                  <a:pt x="779" y="175"/>
                </a:lnTo>
                <a:lnTo>
                  <a:pt x="783" y="175"/>
                </a:lnTo>
                <a:lnTo>
                  <a:pt x="784" y="177"/>
                </a:lnTo>
                <a:lnTo>
                  <a:pt x="784" y="180"/>
                </a:lnTo>
                <a:lnTo>
                  <a:pt x="789" y="181"/>
                </a:lnTo>
                <a:lnTo>
                  <a:pt x="790" y="185"/>
                </a:lnTo>
                <a:lnTo>
                  <a:pt x="791" y="186"/>
                </a:lnTo>
                <a:lnTo>
                  <a:pt x="791" y="193"/>
                </a:lnTo>
                <a:lnTo>
                  <a:pt x="794" y="193"/>
                </a:lnTo>
                <a:lnTo>
                  <a:pt x="794" y="191"/>
                </a:lnTo>
                <a:lnTo>
                  <a:pt x="795" y="192"/>
                </a:lnTo>
                <a:lnTo>
                  <a:pt x="795" y="193"/>
                </a:lnTo>
                <a:lnTo>
                  <a:pt x="796" y="193"/>
                </a:lnTo>
                <a:lnTo>
                  <a:pt x="805" y="199"/>
                </a:lnTo>
                <a:lnTo>
                  <a:pt x="808" y="199"/>
                </a:lnTo>
                <a:lnTo>
                  <a:pt x="805" y="197"/>
                </a:lnTo>
                <a:lnTo>
                  <a:pt x="801" y="195"/>
                </a:lnTo>
                <a:lnTo>
                  <a:pt x="797" y="192"/>
                </a:lnTo>
                <a:lnTo>
                  <a:pt x="797" y="190"/>
                </a:lnTo>
                <a:lnTo>
                  <a:pt x="798" y="190"/>
                </a:lnTo>
                <a:lnTo>
                  <a:pt x="799" y="191"/>
                </a:lnTo>
                <a:lnTo>
                  <a:pt x="801" y="191"/>
                </a:lnTo>
                <a:lnTo>
                  <a:pt x="801" y="189"/>
                </a:lnTo>
                <a:lnTo>
                  <a:pt x="803" y="189"/>
                </a:lnTo>
                <a:lnTo>
                  <a:pt x="809" y="195"/>
                </a:lnTo>
                <a:lnTo>
                  <a:pt x="814" y="196"/>
                </a:lnTo>
                <a:lnTo>
                  <a:pt x="814" y="197"/>
                </a:lnTo>
                <a:lnTo>
                  <a:pt x="815" y="198"/>
                </a:lnTo>
                <a:lnTo>
                  <a:pt x="815" y="202"/>
                </a:lnTo>
                <a:lnTo>
                  <a:pt x="819" y="204"/>
                </a:lnTo>
                <a:lnTo>
                  <a:pt x="828" y="213"/>
                </a:lnTo>
                <a:lnTo>
                  <a:pt x="833" y="215"/>
                </a:lnTo>
                <a:lnTo>
                  <a:pt x="839" y="223"/>
                </a:lnTo>
                <a:lnTo>
                  <a:pt x="844" y="226"/>
                </a:lnTo>
                <a:lnTo>
                  <a:pt x="846" y="226"/>
                </a:lnTo>
                <a:lnTo>
                  <a:pt x="848" y="227"/>
                </a:lnTo>
                <a:lnTo>
                  <a:pt x="853" y="227"/>
                </a:lnTo>
                <a:lnTo>
                  <a:pt x="854" y="226"/>
                </a:lnTo>
                <a:lnTo>
                  <a:pt x="853" y="226"/>
                </a:lnTo>
                <a:lnTo>
                  <a:pt x="853" y="224"/>
                </a:lnTo>
                <a:lnTo>
                  <a:pt x="851" y="218"/>
                </a:lnTo>
                <a:lnTo>
                  <a:pt x="851" y="217"/>
                </a:lnTo>
                <a:lnTo>
                  <a:pt x="847" y="214"/>
                </a:lnTo>
                <a:lnTo>
                  <a:pt x="848" y="213"/>
                </a:lnTo>
                <a:lnTo>
                  <a:pt x="850" y="213"/>
                </a:lnTo>
                <a:lnTo>
                  <a:pt x="857" y="220"/>
                </a:lnTo>
                <a:lnTo>
                  <a:pt x="857" y="224"/>
                </a:lnTo>
                <a:lnTo>
                  <a:pt x="859" y="229"/>
                </a:lnTo>
                <a:lnTo>
                  <a:pt x="860" y="230"/>
                </a:lnTo>
                <a:lnTo>
                  <a:pt x="861" y="230"/>
                </a:lnTo>
                <a:lnTo>
                  <a:pt x="861" y="232"/>
                </a:lnTo>
                <a:lnTo>
                  <a:pt x="863" y="232"/>
                </a:lnTo>
                <a:lnTo>
                  <a:pt x="865" y="235"/>
                </a:lnTo>
                <a:lnTo>
                  <a:pt x="866" y="238"/>
                </a:lnTo>
                <a:lnTo>
                  <a:pt x="872" y="242"/>
                </a:lnTo>
                <a:lnTo>
                  <a:pt x="872" y="244"/>
                </a:lnTo>
                <a:lnTo>
                  <a:pt x="873" y="242"/>
                </a:lnTo>
                <a:lnTo>
                  <a:pt x="875" y="242"/>
                </a:lnTo>
                <a:lnTo>
                  <a:pt x="875" y="244"/>
                </a:lnTo>
                <a:lnTo>
                  <a:pt x="877" y="246"/>
                </a:lnTo>
                <a:lnTo>
                  <a:pt x="877" y="248"/>
                </a:lnTo>
                <a:lnTo>
                  <a:pt x="876" y="250"/>
                </a:lnTo>
                <a:lnTo>
                  <a:pt x="873" y="250"/>
                </a:lnTo>
                <a:lnTo>
                  <a:pt x="876" y="254"/>
                </a:lnTo>
                <a:lnTo>
                  <a:pt x="879" y="259"/>
                </a:lnTo>
                <a:lnTo>
                  <a:pt x="881" y="260"/>
                </a:lnTo>
                <a:lnTo>
                  <a:pt x="882" y="260"/>
                </a:lnTo>
                <a:lnTo>
                  <a:pt x="884" y="257"/>
                </a:lnTo>
                <a:lnTo>
                  <a:pt x="884" y="256"/>
                </a:lnTo>
                <a:lnTo>
                  <a:pt x="883" y="256"/>
                </a:lnTo>
                <a:lnTo>
                  <a:pt x="883" y="254"/>
                </a:lnTo>
                <a:lnTo>
                  <a:pt x="884" y="253"/>
                </a:lnTo>
                <a:lnTo>
                  <a:pt x="888" y="253"/>
                </a:lnTo>
                <a:lnTo>
                  <a:pt x="888" y="256"/>
                </a:lnTo>
                <a:lnTo>
                  <a:pt x="889" y="257"/>
                </a:lnTo>
                <a:lnTo>
                  <a:pt x="889" y="258"/>
                </a:lnTo>
                <a:lnTo>
                  <a:pt x="894" y="263"/>
                </a:lnTo>
                <a:lnTo>
                  <a:pt x="895" y="263"/>
                </a:lnTo>
                <a:lnTo>
                  <a:pt x="898" y="261"/>
                </a:lnTo>
                <a:lnTo>
                  <a:pt x="901" y="263"/>
                </a:lnTo>
                <a:lnTo>
                  <a:pt x="902" y="266"/>
                </a:lnTo>
                <a:lnTo>
                  <a:pt x="904" y="271"/>
                </a:lnTo>
                <a:lnTo>
                  <a:pt x="904" y="275"/>
                </a:lnTo>
                <a:lnTo>
                  <a:pt x="902" y="279"/>
                </a:lnTo>
                <a:lnTo>
                  <a:pt x="901" y="281"/>
                </a:lnTo>
                <a:lnTo>
                  <a:pt x="901" y="282"/>
                </a:lnTo>
                <a:lnTo>
                  <a:pt x="902" y="283"/>
                </a:lnTo>
                <a:lnTo>
                  <a:pt x="902" y="291"/>
                </a:lnTo>
                <a:lnTo>
                  <a:pt x="904" y="291"/>
                </a:lnTo>
                <a:lnTo>
                  <a:pt x="907" y="294"/>
                </a:lnTo>
                <a:lnTo>
                  <a:pt x="908" y="296"/>
                </a:lnTo>
                <a:lnTo>
                  <a:pt x="908" y="309"/>
                </a:lnTo>
                <a:lnTo>
                  <a:pt x="907" y="312"/>
                </a:lnTo>
                <a:lnTo>
                  <a:pt x="907" y="315"/>
                </a:lnTo>
                <a:lnTo>
                  <a:pt x="908" y="318"/>
                </a:lnTo>
                <a:lnTo>
                  <a:pt x="912" y="320"/>
                </a:lnTo>
                <a:lnTo>
                  <a:pt x="914" y="318"/>
                </a:lnTo>
                <a:lnTo>
                  <a:pt x="915" y="318"/>
                </a:lnTo>
                <a:lnTo>
                  <a:pt x="916" y="319"/>
                </a:lnTo>
                <a:lnTo>
                  <a:pt x="916" y="320"/>
                </a:lnTo>
                <a:lnTo>
                  <a:pt x="917" y="320"/>
                </a:lnTo>
                <a:lnTo>
                  <a:pt x="917" y="322"/>
                </a:lnTo>
                <a:lnTo>
                  <a:pt x="916" y="324"/>
                </a:lnTo>
                <a:lnTo>
                  <a:pt x="916" y="326"/>
                </a:lnTo>
                <a:lnTo>
                  <a:pt x="917" y="327"/>
                </a:lnTo>
                <a:lnTo>
                  <a:pt x="919" y="330"/>
                </a:lnTo>
                <a:lnTo>
                  <a:pt x="917" y="331"/>
                </a:lnTo>
                <a:lnTo>
                  <a:pt x="917" y="332"/>
                </a:lnTo>
                <a:lnTo>
                  <a:pt x="916" y="332"/>
                </a:lnTo>
                <a:lnTo>
                  <a:pt x="916" y="340"/>
                </a:lnTo>
                <a:lnTo>
                  <a:pt x="917" y="342"/>
                </a:lnTo>
                <a:lnTo>
                  <a:pt x="916" y="343"/>
                </a:lnTo>
                <a:lnTo>
                  <a:pt x="914" y="343"/>
                </a:lnTo>
                <a:lnTo>
                  <a:pt x="913" y="344"/>
                </a:lnTo>
                <a:lnTo>
                  <a:pt x="915" y="346"/>
                </a:lnTo>
                <a:lnTo>
                  <a:pt x="915" y="347"/>
                </a:lnTo>
                <a:lnTo>
                  <a:pt x="913" y="353"/>
                </a:lnTo>
                <a:lnTo>
                  <a:pt x="909" y="363"/>
                </a:lnTo>
                <a:lnTo>
                  <a:pt x="908" y="365"/>
                </a:lnTo>
                <a:lnTo>
                  <a:pt x="903" y="370"/>
                </a:lnTo>
                <a:lnTo>
                  <a:pt x="898" y="377"/>
                </a:lnTo>
                <a:lnTo>
                  <a:pt x="896" y="380"/>
                </a:lnTo>
                <a:lnTo>
                  <a:pt x="895" y="382"/>
                </a:lnTo>
                <a:lnTo>
                  <a:pt x="894" y="383"/>
                </a:lnTo>
                <a:lnTo>
                  <a:pt x="894" y="385"/>
                </a:lnTo>
                <a:lnTo>
                  <a:pt x="891" y="385"/>
                </a:lnTo>
                <a:lnTo>
                  <a:pt x="891" y="386"/>
                </a:lnTo>
                <a:lnTo>
                  <a:pt x="890" y="387"/>
                </a:lnTo>
                <a:lnTo>
                  <a:pt x="890" y="392"/>
                </a:lnTo>
                <a:lnTo>
                  <a:pt x="889" y="393"/>
                </a:lnTo>
                <a:lnTo>
                  <a:pt x="888" y="395"/>
                </a:lnTo>
                <a:lnTo>
                  <a:pt x="886" y="395"/>
                </a:lnTo>
                <a:lnTo>
                  <a:pt x="885" y="396"/>
                </a:lnTo>
                <a:lnTo>
                  <a:pt x="884" y="400"/>
                </a:lnTo>
                <a:lnTo>
                  <a:pt x="883" y="401"/>
                </a:lnTo>
                <a:lnTo>
                  <a:pt x="881" y="402"/>
                </a:lnTo>
                <a:lnTo>
                  <a:pt x="878" y="406"/>
                </a:lnTo>
                <a:lnTo>
                  <a:pt x="877" y="407"/>
                </a:lnTo>
                <a:lnTo>
                  <a:pt x="872" y="408"/>
                </a:lnTo>
                <a:lnTo>
                  <a:pt x="863" y="418"/>
                </a:lnTo>
                <a:lnTo>
                  <a:pt x="853" y="423"/>
                </a:lnTo>
                <a:lnTo>
                  <a:pt x="852" y="425"/>
                </a:lnTo>
                <a:lnTo>
                  <a:pt x="850" y="425"/>
                </a:lnTo>
                <a:lnTo>
                  <a:pt x="847" y="428"/>
                </a:lnTo>
                <a:lnTo>
                  <a:pt x="836" y="430"/>
                </a:lnTo>
                <a:lnTo>
                  <a:pt x="834" y="433"/>
                </a:lnTo>
                <a:lnTo>
                  <a:pt x="832" y="435"/>
                </a:lnTo>
                <a:lnTo>
                  <a:pt x="820" y="438"/>
                </a:lnTo>
                <a:lnTo>
                  <a:pt x="816" y="437"/>
                </a:lnTo>
                <a:lnTo>
                  <a:pt x="815" y="437"/>
                </a:lnTo>
                <a:lnTo>
                  <a:pt x="815" y="438"/>
                </a:lnTo>
                <a:lnTo>
                  <a:pt x="798" y="443"/>
                </a:lnTo>
                <a:lnTo>
                  <a:pt x="785" y="441"/>
                </a:lnTo>
                <a:lnTo>
                  <a:pt x="772" y="439"/>
                </a:lnTo>
                <a:lnTo>
                  <a:pt x="767" y="437"/>
                </a:lnTo>
                <a:lnTo>
                  <a:pt x="760" y="436"/>
                </a:lnTo>
                <a:lnTo>
                  <a:pt x="757" y="433"/>
                </a:lnTo>
                <a:lnTo>
                  <a:pt x="752" y="429"/>
                </a:lnTo>
                <a:lnTo>
                  <a:pt x="748" y="428"/>
                </a:lnTo>
                <a:lnTo>
                  <a:pt x="745" y="425"/>
                </a:lnTo>
                <a:lnTo>
                  <a:pt x="728" y="419"/>
                </a:lnTo>
                <a:lnTo>
                  <a:pt x="726" y="419"/>
                </a:lnTo>
                <a:lnTo>
                  <a:pt x="722" y="418"/>
                </a:lnTo>
                <a:lnTo>
                  <a:pt x="717" y="419"/>
                </a:lnTo>
                <a:lnTo>
                  <a:pt x="712" y="417"/>
                </a:lnTo>
                <a:lnTo>
                  <a:pt x="708" y="418"/>
                </a:lnTo>
                <a:lnTo>
                  <a:pt x="703" y="416"/>
                </a:lnTo>
                <a:lnTo>
                  <a:pt x="681" y="411"/>
                </a:lnTo>
                <a:lnTo>
                  <a:pt x="677" y="408"/>
                </a:lnTo>
                <a:lnTo>
                  <a:pt x="672" y="408"/>
                </a:lnTo>
                <a:lnTo>
                  <a:pt x="665" y="405"/>
                </a:lnTo>
                <a:lnTo>
                  <a:pt x="662" y="401"/>
                </a:lnTo>
                <a:lnTo>
                  <a:pt x="658" y="400"/>
                </a:lnTo>
                <a:lnTo>
                  <a:pt x="656" y="398"/>
                </a:lnTo>
                <a:lnTo>
                  <a:pt x="643" y="386"/>
                </a:lnTo>
                <a:lnTo>
                  <a:pt x="640" y="385"/>
                </a:lnTo>
                <a:lnTo>
                  <a:pt x="637" y="386"/>
                </a:lnTo>
                <a:lnTo>
                  <a:pt x="634" y="389"/>
                </a:lnTo>
                <a:lnTo>
                  <a:pt x="630" y="392"/>
                </a:lnTo>
                <a:lnTo>
                  <a:pt x="624" y="392"/>
                </a:lnTo>
                <a:lnTo>
                  <a:pt x="623" y="387"/>
                </a:lnTo>
                <a:lnTo>
                  <a:pt x="622" y="385"/>
                </a:lnTo>
                <a:lnTo>
                  <a:pt x="622" y="382"/>
                </a:lnTo>
                <a:lnTo>
                  <a:pt x="623" y="381"/>
                </a:lnTo>
                <a:lnTo>
                  <a:pt x="624" y="381"/>
                </a:lnTo>
                <a:lnTo>
                  <a:pt x="627" y="382"/>
                </a:lnTo>
                <a:lnTo>
                  <a:pt x="628" y="381"/>
                </a:lnTo>
                <a:lnTo>
                  <a:pt x="629" y="381"/>
                </a:lnTo>
                <a:lnTo>
                  <a:pt x="629" y="380"/>
                </a:lnTo>
                <a:lnTo>
                  <a:pt x="628" y="379"/>
                </a:lnTo>
                <a:lnTo>
                  <a:pt x="627" y="380"/>
                </a:lnTo>
                <a:lnTo>
                  <a:pt x="628" y="380"/>
                </a:lnTo>
                <a:lnTo>
                  <a:pt x="627" y="381"/>
                </a:lnTo>
                <a:lnTo>
                  <a:pt x="618" y="377"/>
                </a:lnTo>
                <a:lnTo>
                  <a:pt x="615" y="377"/>
                </a:lnTo>
                <a:lnTo>
                  <a:pt x="615" y="376"/>
                </a:lnTo>
                <a:lnTo>
                  <a:pt x="614" y="376"/>
                </a:lnTo>
                <a:lnTo>
                  <a:pt x="612" y="379"/>
                </a:lnTo>
                <a:lnTo>
                  <a:pt x="611" y="379"/>
                </a:lnTo>
                <a:lnTo>
                  <a:pt x="610" y="377"/>
                </a:lnTo>
                <a:lnTo>
                  <a:pt x="612" y="375"/>
                </a:lnTo>
                <a:lnTo>
                  <a:pt x="612" y="374"/>
                </a:lnTo>
                <a:lnTo>
                  <a:pt x="614" y="371"/>
                </a:lnTo>
                <a:lnTo>
                  <a:pt x="614" y="368"/>
                </a:lnTo>
                <a:lnTo>
                  <a:pt x="612" y="368"/>
                </a:lnTo>
                <a:lnTo>
                  <a:pt x="612" y="370"/>
                </a:lnTo>
                <a:lnTo>
                  <a:pt x="611" y="371"/>
                </a:lnTo>
                <a:lnTo>
                  <a:pt x="610" y="374"/>
                </a:lnTo>
                <a:lnTo>
                  <a:pt x="609" y="375"/>
                </a:lnTo>
                <a:lnTo>
                  <a:pt x="609" y="376"/>
                </a:lnTo>
                <a:lnTo>
                  <a:pt x="604" y="376"/>
                </a:lnTo>
                <a:lnTo>
                  <a:pt x="602" y="374"/>
                </a:lnTo>
                <a:lnTo>
                  <a:pt x="600" y="374"/>
                </a:lnTo>
                <a:lnTo>
                  <a:pt x="600" y="376"/>
                </a:lnTo>
                <a:lnTo>
                  <a:pt x="598" y="374"/>
                </a:lnTo>
                <a:lnTo>
                  <a:pt x="597" y="369"/>
                </a:lnTo>
                <a:lnTo>
                  <a:pt x="597" y="368"/>
                </a:lnTo>
                <a:lnTo>
                  <a:pt x="593" y="364"/>
                </a:lnTo>
                <a:lnTo>
                  <a:pt x="591" y="364"/>
                </a:lnTo>
                <a:lnTo>
                  <a:pt x="591" y="363"/>
                </a:lnTo>
                <a:lnTo>
                  <a:pt x="590" y="361"/>
                </a:lnTo>
                <a:lnTo>
                  <a:pt x="589" y="362"/>
                </a:lnTo>
                <a:lnTo>
                  <a:pt x="590" y="363"/>
                </a:lnTo>
                <a:lnTo>
                  <a:pt x="590" y="365"/>
                </a:lnTo>
                <a:lnTo>
                  <a:pt x="587" y="363"/>
                </a:lnTo>
                <a:lnTo>
                  <a:pt x="586" y="361"/>
                </a:lnTo>
                <a:lnTo>
                  <a:pt x="586" y="364"/>
                </a:lnTo>
                <a:lnTo>
                  <a:pt x="587" y="367"/>
                </a:lnTo>
                <a:lnTo>
                  <a:pt x="586" y="367"/>
                </a:lnTo>
                <a:lnTo>
                  <a:pt x="587" y="368"/>
                </a:lnTo>
                <a:lnTo>
                  <a:pt x="587" y="369"/>
                </a:lnTo>
                <a:lnTo>
                  <a:pt x="589" y="370"/>
                </a:lnTo>
                <a:lnTo>
                  <a:pt x="587" y="370"/>
                </a:lnTo>
                <a:lnTo>
                  <a:pt x="586" y="368"/>
                </a:lnTo>
                <a:lnTo>
                  <a:pt x="585" y="368"/>
                </a:lnTo>
                <a:lnTo>
                  <a:pt x="585" y="369"/>
                </a:lnTo>
                <a:lnTo>
                  <a:pt x="587" y="370"/>
                </a:lnTo>
                <a:lnTo>
                  <a:pt x="587" y="371"/>
                </a:lnTo>
                <a:lnTo>
                  <a:pt x="586" y="373"/>
                </a:lnTo>
                <a:lnTo>
                  <a:pt x="585" y="371"/>
                </a:lnTo>
                <a:lnTo>
                  <a:pt x="568" y="358"/>
                </a:lnTo>
                <a:lnTo>
                  <a:pt x="558" y="345"/>
                </a:lnTo>
                <a:lnTo>
                  <a:pt x="556" y="344"/>
                </a:lnTo>
                <a:lnTo>
                  <a:pt x="556" y="342"/>
                </a:lnTo>
                <a:lnTo>
                  <a:pt x="555" y="339"/>
                </a:lnTo>
                <a:lnTo>
                  <a:pt x="556" y="338"/>
                </a:lnTo>
                <a:lnTo>
                  <a:pt x="556" y="336"/>
                </a:lnTo>
                <a:lnTo>
                  <a:pt x="558" y="334"/>
                </a:lnTo>
                <a:lnTo>
                  <a:pt x="561" y="334"/>
                </a:lnTo>
                <a:lnTo>
                  <a:pt x="563" y="333"/>
                </a:lnTo>
                <a:lnTo>
                  <a:pt x="561" y="332"/>
                </a:lnTo>
                <a:lnTo>
                  <a:pt x="556" y="333"/>
                </a:lnTo>
                <a:lnTo>
                  <a:pt x="555" y="333"/>
                </a:lnTo>
                <a:lnTo>
                  <a:pt x="553" y="332"/>
                </a:lnTo>
                <a:lnTo>
                  <a:pt x="549" y="328"/>
                </a:lnTo>
                <a:lnTo>
                  <a:pt x="541" y="328"/>
                </a:lnTo>
                <a:lnTo>
                  <a:pt x="541" y="327"/>
                </a:lnTo>
                <a:lnTo>
                  <a:pt x="538" y="326"/>
                </a:lnTo>
                <a:lnTo>
                  <a:pt x="538" y="325"/>
                </a:lnTo>
                <a:lnTo>
                  <a:pt x="536" y="326"/>
                </a:lnTo>
                <a:lnTo>
                  <a:pt x="535" y="326"/>
                </a:lnTo>
                <a:lnTo>
                  <a:pt x="534" y="327"/>
                </a:lnTo>
                <a:lnTo>
                  <a:pt x="532" y="327"/>
                </a:lnTo>
                <a:lnTo>
                  <a:pt x="530" y="326"/>
                </a:lnTo>
                <a:lnTo>
                  <a:pt x="525" y="327"/>
                </a:lnTo>
                <a:lnTo>
                  <a:pt x="524" y="327"/>
                </a:lnTo>
                <a:lnTo>
                  <a:pt x="519" y="325"/>
                </a:lnTo>
                <a:lnTo>
                  <a:pt x="517" y="325"/>
                </a:lnTo>
                <a:lnTo>
                  <a:pt x="516" y="326"/>
                </a:lnTo>
                <a:lnTo>
                  <a:pt x="519" y="326"/>
                </a:lnTo>
                <a:lnTo>
                  <a:pt x="518" y="327"/>
                </a:lnTo>
                <a:lnTo>
                  <a:pt x="518" y="330"/>
                </a:lnTo>
                <a:lnTo>
                  <a:pt x="527" y="330"/>
                </a:lnTo>
                <a:lnTo>
                  <a:pt x="530" y="328"/>
                </a:lnTo>
                <a:lnTo>
                  <a:pt x="532" y="328"/>
                </a:lnTo>
                <a:lnTo>
                  <a:pt x="534" y="330"/>
                </a:lnTo>
                <a:lnTo>
                  <a:pt x="535" y="332"/>
                </a:lnTo>
                <a:lnTo>
                  <a:pt x="536" y="333"/>
                </a:lnTo>
                <a:lnTo>
                  <a:pt x="537" y="336"/>
                </a:lnTo>
                <a:lnTo>
                  <a:pt x="536" y="334"/>
                </a:lnTo>
                <a:lnTo>
                  <a:pt x="534" y="334"/>
                </a:lnTo>
                <a:lnTo>
                  <a:pt x="535" y="337"/>
                </a:lnTo>
                <a:lnTo>
                  <a:pt x="540" y="337"/>
                </a:lnTo>
                <a:lnTo>
                  <a:pt x="543" y="339"/>
                </a:lnTo>
                <a:lnTo>
                  <a:pt x="544" y="342"/>
                </a:lnTo>
                <a:lnTo>
                  <a:pt x="546" y="343"/>
                </a:lnTo>
                <a:lnTo>
                  <a:pt x="546" y="345"/>
                </a:lnTo>
                <a:lnTo>
                  <a:pt x="544" y="347"/>
                </a:lnTo>
                <a:lnTo>
                  <a:pt x="543" y="349"/>
                </a:lnTo>
                <a:lnTo>
                  <a:pt x="540" y="347"/>
                </a:lnTo>
                <a:lnTo>
                  <a:pt x="538" y="347"/>
                </a:lnTo>
                <a:lnTo>
                  <a:pt x="540" y="349"/>
                </a:lnTo>
                <a:lnTo>
                  <a:pt x="542" y="349"/>
                </a:lnTo>
                <a:lnTo>
                  <a:pt x="543" y="350"/>
                </a:lnTo>
                <a:lnTo>
                  <a:pt x="542" y="350"/>
                </a:lnTo>
                <a:lnTo>
                  <a:pt x="542" y="353"/>
                </a:lnTo>
                <a:lnTo>
                  <a:pt x="540" y="355"/>
                </a:lnTo>
                <a:lnTo>
                  <a:pt x="544" y="355"/>
                </a:lnTo>
                <a:lnTo>
                  <a:pt x="546" y="356"/>
                </a:lnTo>
                <a:lnTo>
                  <a:pt x="547" y="358"/>
                </a:lnTo>
                <a:lnTo>
                  <a:pt x="549" y="359"/>
                </a:lnTo>
                <a:lnTo>
                  <a:pt x="550" y="361"/>
                </a:lnTo>
                <a:lnTo>
                  <a:pt x="550" y="363"/>
                </a:lnTo>
                <a:lnTo>
                  <a:pt x="552" y="364"/>
                </a:lnTo>
                <a:lnTo>
                  <a:pt x="560" y="367"/>
                </a:lnTo>
                <a:lnTo>
                  <a:pt x="561" y="368"/>
                </a:lnTo>
                <a:lnTo>
                  <a:pt x="561" y="371"/>
                </a:lnTo>
                <a:lnTo>
                  <a:pt x="556" y="371"/>
                </a:lnTo>
                <a:lnTo>
                  <a:pt x="554" y="370"/>
                </a:lnTo>
                <a:lnTo>
                  <a:pt x="563" y="376"/>
                </a:lnTo>
                <a:lnTo>
                  <a:pt x="572" y="376"/>
                </a:lnTo>
                <a:lnTo>
                  <a:pt x="578" y="380"/>
                </a:lnTo>
                <a:lnTo>
                  <a:pt x="578" y="382"/>
                </a:lnTo>
                <a:lnTo>
                  <a:pt x="577" y="382"/>
                </a:lnTo>
                <a:lnTo>
                  <a:pt x="574" y="381"/>
                </a:lnTo>
                <a:lnTo>
                  <a:pt x="571" y="380"/>
                </a:lnTo>
                <a:lnTo>
                  <a:pt x="569" y="380"/>
                </a:lnTo>
                <a:lnTo>
                  <a:pt x="568" y="382"/>
                </a:lnTo>
                <a:lnTo>
                  <a:pt x="568" y="385"/>
                </a:lnTo>
                <a:lnTo>
                  <a:pt x="566" y="387"/>
                </a:lnTo>
                <a:lnTo>
                  <a:pt x="565" y="387"/>
                </a:lnTo>
                <a:lnTo>
                  <a:pt x="563" y="386"/>
                </a:lnTo>
                <a:lnTo>
                  <a:pt x="559" y="386"/>
                </a:lnTo>
                <a:lnTo>
                  <a:pt x="560" y="388"/>
                </a:lnTo>
                <a:lnTo>
                  <a:pt x="568" y="388"/>
                </a:lnTo>
                <a:lnTo>
                  <a:pt x="568" y="386"/>
                </a:lnTo>
                <a:lnTo>
                  <a:pt x="573" y="386"/>
                </a:lnTo>
                <a:lnTo>
                  <a:pt x="573" y="383"/>
                </a:lnTo>
                <a:lnTo>
                  <a:pt x="575" y="383"/>
                </a:lnTo>
                <a:lnTo>
                  <a:pt x="583" y="387"/>
                </a:lnTo>
                <a:lnTo>
                  <a:pt x="584" y="388"/>
                </a:lnTo>
                <a:lnTo>
                  <a:pt x="584" y="390"/>
                </a:lnTo>
                <a:lnTo>
                  <a:pt x="585" y="390"/>
                </a:lnTo>
                <a:lnTo>
                  <a:pt x="587" y="393"/>
                </a:lnTo>
                <a:lnTo>
                  <a:pt x="585" y="394"/>
                </a:lnTo>
                <a:lnTo>
                  <a:pt x="572" y="388"/>
                </a:lnTo>
                <a:lnTo>
                  <a:pt x="571" y="389"/>
                </a:lnTo>
                <a:lnTo>
                  <a:pt x="572" y="389"/>
                </a:lnTo>
                <a:lnTo>
                  <a:pt x="572" y="390"/>
                </a:lnTo>
                <a:lnTo>
                  <a:pt x="567" y="390"/>
                </a:lnTo>
                <a:lnTo>
                  <a:pt x="566" y="392"/>
                </a:lnTo>
                <a:lnTo>
                  <a:pt x="563" y="392"/>
                </a:lnTo>
                <a:lnTo>
                  <a:pt x="562" y="393"/>
                </a:lnTo>
                <a:lnTo>
                  <a:pt x="563" y="395"/>
                </a:lnTo>
                <a:lnTo>
                  <a:pt x="568" y="395"/>
                </a:lnTo>
                <a:lnTo>
                  <a:pt x="572" y="393"/>
                </a:lnTo>
                <a:lnTo>
                  <a:pt x="574" y="393"/>
                </a:lnTo>
                <a:lnTo>
                  <a:pt x="577" y="394"/>
                </a:lnTo>
                <a:lnTo>
                  <a:pt x="577" y="395"/>
                </a:lnTo>
                <a:lnTo>
                  <a:pt x="578" y="396"/>
                </a:lnTo>
                <a:lnTo>
                  <a:pt x="578" y="398"/>
                </a:lnTo>
                <a:lnTo>
                  <a:pt x="579" y="399"/>
                </a:lnTo>
                <a:lnTo>
                  <a:pt x="586" y="400"/>
                </a:lnTo>
                <a:lnTo>
                  <a:pt x="587" y="399"/>
                </a:lnTo>
                <a:lnTo>
                  <a:pt x="589" y="396"/>
                </a:lnTo>
                <a:lnTo>
                  <a:pt x="590" y="396"/>
                </a:lnTo>
                <a:lnTo>
                  <a:pt x="591" y="398"/>
                </a:lnTo>
                <a:lnTo>
                  <a:pt x="591" y="400"/>
                </a:lnTo>
                <a:lnTo>
                  <a:pt x="589" y="400"/>
                </a:lnTo>
                <a:lnTo>
                  <a:pt x="591" y="401"/>
                </a:lnTo>
                <a:lnTo>
                  <a:pt x="594" y="402"/>
                </a:lnTo>
                <a:lnTo>
                  <a:pt x="596" y="404"/>
                </a:lnTo>
                <a:lnTo>
                  <a:pt x="593" y="405"/>
                </a:lnTo>
                <a:lnTo>
                  <a:pt x="589" y="405"/>
                </a:lnTo>
                <a:lnTo>
                  <a:pt x="586" y="406"/>
                </a:lnTo>
                <a:lnTo>
                  <a:pt x="587" y="407"/>
                </a:lnTo>
                <a:lnTo>
                  <a:pt x="591" y="410"/>
                </a:lnTo>
                <a:lnTo>
                  <a:pt x="593" y="411"/>
                </a:lnTo>
                <a:lnTo>
                  <a:pt x="591" y="413"/>
                </a:lnTo>
                <a:lnTo>
                  <a:pt x="584" y="412"/>
                </a:lnTo>
                <a:lnTo>
                  <a:pt x="580" y="413"/>
                </a:lnTo>
                <a:lnTo>
                  <a:pt x="579" y="413"/>
                </a:lnTo>
                <a:lnTo>
                  <a:pt x="578" y="416"/>
                </a:lnTo>
                <a:lnTo>
                  <a:pt x="585" y="416"/>
                </a:lnTo>
                <a:lnTo>
                  <a:pt x="590" y="414"/>
                </a:lnTo>
                <a:lnTo>
                  <a:pt x="591" y="416"/>
                </a:lnTo>
                <a:lnTo>
                  <a:pt x="591" y="417"/>
                </a:lnTo>
                <a:lnTo>
                  <a:pt x="600" y="420"/>
                </a:lnTo>
                <a:lnTo>
                  <a:pt x="602" y="422"/>
                </a:lnTo>
                <a:lnTo>
                  <a:pt x="602" y="425"/>
                </a:lnTo>
                <a:lnTo>
                  <a:pt x="603" y="424"/>
                </a:lnTo>
                <a:lnTo>
                  <a:pt x="604" y="424"/>
                </a:lnTo>
                <a:lnTo>
                  <a:pt x="604" y="423"/>
                </a:lnTo>
                <a:lnTo>
                  <a:pt x="611" y="423"/>
                </a:lnTo>
                <a:lnTo>
                  <a:pt x="611" y="424"/>
                </a:lnTo>
                <a:lnTo>
                  <a:pt x="612" y="425"/>
                </a:lnTo>
                <a:lnTo>
                  <a:pt x="614" y="425"/>
                </a:lnTo>
                <a:lnTo>
                  <a:pt x="614" y="426"/>
                </a:lnTo>
                <a:lnTo>
                  <a:pt x="612" y="428"/>
                </a:lnTo>
                <a:lnTo>
                  <a:pt x="612" y="429"/>
                </a:lnTo>
                <a:lnTo>
                  <a:pt x="614" y="429"/>
                </a:lnTo>
                <a:lnTo>
                  <a:pt x="616" y="430"/>
                </a:lnTo>
                <a:lnTo>
                  <a:pt x="617" y="431"/>
                </a:lnTo>
                <a:lnTo>
                  <a:pt x="621" y="431"/>
                </a:lnTo>
                <a:lnTo>
                  <a:pt x="628" y="437"/>
                </a:lnTo>
                <a:lnTo>
                  <a:pt x="629" y="439"/>
                </a:lnTo>
                <a:lnTo>
                  <a:pt x="629" y="438"/>
                </a:lnTo>
                <a:lnTo>
                  <a:pt x="630" y="439"/>
                </a:lnTo>
                <a:lnTo>
                  <a:pt x="630" y="442"/>
                </a:lnTo>
                <a:lnTo>
                  <a:pt x="633" y="443"/>
                </a:lnTo>
                <a:lnTo>
                  <a:pt x="634" y="445"/>
                </a:lnTo>
                <a:lnTo>
                  <a:pt x="635" y="447"/>
                </a:lnTo>
                <a:lnTo>
                  <a:pt x="636" y="449"/>
                </a:lnTo>
                <a:lnTo>
                  <a:pt x="637" y="450"/>
                </a:lnTo>
                <a:lnTo>
                  <a:pt x="636" y="451"/>
                </a:lnTo>
                <a:lnTo>
                  <a:pt x="636" y="453"/>
                </a:lnTo>
                <a:lnTo>
                  <a:pt x="634" y="454"/>
                </a:lnTo>
                <a:lnTo>
                  <a:pt x="635" y="454"/>
                </a:lnTo>
                <a:lnTo>
                  <a:pt x="635" y="455"/>
                </a:lnTo>
                <a:lnTo>
                  <a:pt x="636" y="456"/>
                </a:lnTo>
                <a:lnTo>
                  <a:pt x="636" y="459"/>
                </a:lnTo>
                <a:lnTo>
                  <a:pt x="637" y="459"/>
                </a:lnTo>
                <a:lnTo>
                  <a:pt x="639" y="457"/>
                </a:lnTo>
                <a:lnTo>
                  <a:pt x="640" y="457"/>
                </a:lnTo>
                <a:lnTo>
                  <a:pt x="640" y="459"/>
                </a:lnTo>
                <a:lnTo>
                  <a:pt x="642" y="459"/>
                </a:lnTo>
                <a:lnTo>
                  <a:pt x="642" y="460"/>
                </a:lnTo>
                <a:lnTo>
                  <a:pt x="643" y="461"/>
                </a:lnTo>
                <a:lnTo>
                  <a:pt x="642" y="462"/>
                </a:lnTo>
                <a:lnTo>
                  <a:pt x="641" y="465"/>
                </a:lnTo>
                <a:lnTo>
                  <a:pt x="642" y="467"/>
                </a:lnTo>
                <a:lnTo>
                  <a:pt x="645" y="466"/>
                </a:lnTo>
                <a:lnTo>
                  <a:pt x="645" y="469"/>
                </a:lnTo>
                <a:lnTo>
                  <a:pt x="643" y="471"/>
                </a:lnTo>
                <a:lnTo>
                  <a:pt x="643" y="473"/>
                </a:lnTo>
                <a:lnTo>
                  <a:pt x="647" y="476"/>
                </a:lnTo>
                <a:lnTo>
                  <a:pt x="647" y="478"/>
                </a:lnTo>
                <a:lnTo>
                  <a:pt x="646" y="479"/>
                </a:lnTo>
                <a:lnTo>
                  <a:pt x="645" y="479"/>
                </a:lnTo>
                <a:lnTo>
                  <a:pt x="639" y="472"/>
                </a:lnTo>
                <a:lnTo>
                  <a:pt x="635" y="468"/>
                </a:lnTo>
                <a:lnTo>
                  <a:pt x="635" y="473"/>
                </a:lnTo>
                <a:lnTo>
                  <a:pt x="636" y="476"/>
                </a:lnTo>
                <a:lnTo>
                  <a:pt x="635" y="476"/>
                </a:lnTo>
                <a:lnTo>
                  <a:pt x="636" y="478"/>
                </a:lnTo>
                <a:lnTo>
                  <a:pt x="639" y="478"/>
                </a:lnTo>
                <a:lnTo>
                  <a:pt x="639" y="479"/>
                </a:lnTo>
                <a:lnTo>
                  <a:pt x="636" y="481"/>
                </a:lnTo>
                <a:lnTo>
                  <a:pt x="636" y="482"/>
                </a:lnTo>
                <a:lnTo>
                  <a:pt x="637" y="482"/>
                </a:lnTo>
                <a:lnTo>
                  <a:pt x="637" y="484"/>
                </a:lnTo>
                <a:lnTo>
                  <a:pt x="639" y="486"/>
                </a:lnTo>
                <a:lnTo>
                  <a:pt x="639" y="488"/>
                </a:lnTo>
                <a:lnTo>
                  <a:pt x="640" y="490"/>
                </a:lnTo>
                <a:lnTo>
                  <a:pt x="637" y="492"/>
                </a:lnTo>
                <a:lnTo>
                  <a:pt x="637" y="496"/>
                </a:lnTo>
                <a:lnTo>
                  <a:pt x="636" y="498"/>
                </a:lnTo>
                <a:lnTo>
                  <a:pt x="634" y="499"/>
                </a:lnTo>
                <a:lnTo>
                  <a:pt x="633" y="502"/>
                </a:lnTo>
                <a:lnTo>
                  <a:pt x="635" y="502"/>
                </a:lnTo>
                <a:lnTo>
                  <a:pt x="635" y="505"/>
                </a:lnTo>
                <a:lnTo>
                  <a:pt x="634" y="505"/>
                </a:lnTo>
                <a:lnTo>
                  <a:pt x="629" y="504"/>
                </a:lnTo>
                <a:lnTo>
                  <a:pt x="627" y="506"/>
                </a:lnTo>
                <a:lnTo>
                  <a:pt x="628" y="509"/>
                </a:lnTo>
                <a:lnTo>
                  <a:pt x="627" y="510"/>
                </a:lnTo>
                <a:lnTo>
                  <a:pt x="627" y="509"/>
                </a:lnTo>
                <a:lnTo>
                  <a:pt x="625" y="509"/>
                </a:lnTo>
                <a:lnTo>
                  <a:pt x="624" y="508"/>
                </a:lnTo>
                <a:lnTo>
                  <a:pt x="623" y="509"/>
                </a:lnTo>
                <a:lnTo>
                  <a:pt x="622" y="509"/>
                </a:lnTo>
                <a:lnTo>
                  <a:pt x="622" y="510"/>
                </a:lnTo>
                <a:lnTo>
                  <a:pt x="623" y="510"/>
                </a:lnTo>
                <a:lnTo>
                  <a:pt x="622" y="511"/>
                </a:lnTo>
                <a:lnTo>
                  <a:pt x="619" y="510"/>
                </a:lnTo>
                <a:lnTo>
                  <a:pt x="619" y="511"/>
                </a:lnTo>
                <a:lnTo>
                  <a:pt x="625" y="514"/>
                </a:lnTo>
                <a:lnTo>
                  <a:pt x="627" y="516"/>
                </a:lnTo>
                <a:lnTo>
                  <a:pt x="627" y="517"/>
                </a:lnTo>
                <a:lnTo>
                  <a:pt x="625" y="518"/>
                </a:lnTo>
                <a:lnTo>
                  <a:pt x="627" y="522"/>
                </a:lnTo>
                <a:lnTo>
                  <a:pt x="628" y="523"/>
                </a:lnTo>
                <a:lnTo>
                  <a:pt x="629" y="523"/>
                </a:lnTo>
                <a:lnTo>
                  <a:pt x="629" y="524"/>
                </a:lnTo>
                <a:lnTo>
                  <a:pt x="630" y="525"/>
                </a:lnTo>
                <a:lnTo>
                  <a:pt x="633" y="525"/>
                </a:lnTo>
                <a:lnTo>
                  <a:pt x="634" y="527"/>
                </a:lnTo>
                <a:lnTo>
                  <a:pt x="631" y="528"/>
                </a:lnTo>
                <a:lnTo>
                  <a:pt x="634" y="528"/>
                </a:lnTo>
                <a:lnTo>
                  <a:pt x="635" y="530"/>
                </a:lnTo>
                <a:lnTo>
                  <a:pt x="635" y="533"/>
                </a:lnTo>
                <a:lnTo>
                  <a:pt x="633" y="533"/>
                </a:lnTo>
                <a:lnTo>
                  <a:pt x="635" y="535"/>
                </a:lnTo>
                <a:lnTo>
                  <a:pt x="635" y="539"/>
                </a:lnTo>
                <a:lnTo>
                  <a:pt x="639" y="540"/>
                </a:lnTo>
                <a:lnTo>
                  <a:pt x="639" y="542"/>
                </a:lnTo>
                <a:lnTo>
                  <a:pt x="637" y="543"/>
                </a:lnTo>
                <a:lnTo>
                  <a:pt x="640" y="546"/>
                </a:lnTo>
                <a:lnTo>
                  <a:pt x="641" y="546"/>
                </a:lnTo>
                <a:lnTo>
                  <a:pt x="640" y="548"/>
                </a:lnTo>
                <a:lnTo>
                  <a:pt x="639" y="549"/>
                </a:lnTo>
                <a:lnTo>
                  <a:pt x="637" y="549"/>
                </a:lnTo>
                <a:lnTo>
                  <a:pt x="636" y="551"/>
                </a:lnTo>
                <a:lnTo>
                  <a:pt x="636" y="553"/>
                </a:lnTo>
                <a:lnTo>
                  <a:pt x="637" y="553"/>
                </a:lnTo>
                <a:lnTo>
                  <a:pt x="640" y="554"/>
                </a:lnTo>
                <a:lnTo>
                  <a:pt x="641" y="555"/>
                </a:lnTo>
                <a:lnTo>
                  <a:pt x="642" y="558"/>
                </a:lnTo>
                <a:lnTo>
                  <a:pt x="642" y="559"/>
                </a:lnTo>
                <a:lnTo>
                  <a:pt x="643" y="559"/>
                </a:lnTo>
                <a:lnTo>
                  <a:pt x="643" y="562"/>
                </a:lnTo>
                <a:lnTo>
                  <a:pt x="645" y="562"/>
                </a:lnTo>
                <a:lnTo>
                  <a:pt x="645" y="564"/>
                </a:lnTo>
                <a:lnTo>
                  <a:pt x="646" y="565"/>
                </a:lnTo>
                <a:lnTo>
                  <a:pt x="646" y="566"/>
                </a:lnTo>
                <a:lnTo>
                  <a:pt x="645" y="567"/>
                </a:lnTo>
                <a:lnTo>
                  <a:pt x="643" y="570"/>
                </a:lnTo>
                <a:lnTo>
                  <a:pt x="642" y="571"/>
                </a:lnTo>
                <a:lnTo>
                  <a:pt x="640" y="572"/>
                </a:lnTo>
                <a:lnTo>
                  <a:pt x="639" y="573"/>
                </a:lnTo>
                <a:lnTo>
                  <a:pt x="640" y="574"/>
                </a:lnTo>
                <a:lnTo>
                  <a:pt x="643" y="574"/>
                </a:lnTo>
                <a:lnTo>
                  <a:pt x="646" y="573"/>
                </a:lnTo>
                <a:lnTo>
                  <a:pt x="648" y="573"/>
                </a:lnTo>
                <a:lnTo>
                  <a:pt x="649" y="576"/>
                </a:lnTo>
                <a:lnTo>
                  <a:pt x="647" y="578"/>
                </a:lnTo>
                <a:lnTo>
                  <a:pt x="643" y="578"/>
                </a:lnTo>
                <a:lnTo>
                  <a:pt x="642" y="579"/>
                </a:lnTo>
                <a:lnTo>
                  <a:pt x="642" y="580"/>
                </a:lnTo>
                <a:lnTo>
                  <a:pt x="641" y="580"/>
                </a:lnTo>
                <a:lnTo>
                  <a:pt x="645" y="584"/>
                </a:lnTo>
                <a:lnTo>
                  <a:pt x="646" y="586"/>
                </a:lnTo>
                <a:lnTo>
                  <a:pt x="648" y="589"/>
                </a:lnTo>
                <a:lnTo>
                  <a:pt x="646" y="591"/>
                </a:lnTo>
                <a:lnTo>
                  <a:pt x="643" y="592"/>
                </a:lnTo>
                <a:lnTo>
                  <a:pt x="641" y="595"/>
                </a:lnTo>
                <a:lnTo>
                  <a:pt x="639" y="594"/>
                </a:lnTo>
                <a:lnTo>
                  <a:pt x="637" y="595"/>
                </a:lnTo>
                <a:lnTo>
                  <a:pt x="640" y="595"/>
                </a:lnTo>
                <a:lnTo>
                  <a:pt x="640" y="596"/>
                </a:lnTo>
                <a:lnTo>
                  <a:pt x="642" y="597"/>
                </a:lnTo>
                <a:lnTo>
                  <a:pt x="646" y="597"/>
                </a:lnTo>
                <a:lnTo>
                  <a:pt x="647" y="599"/>
                </a:lnTo>
                <a:lnTo>
                  <a:pt x="649" y="601"/>
                </a:lnTo>
                <a:lnTo>
                  <a:pt x="648" y="603"/>
                </a:lnTo>
                <a:lnTo>
                  <a:pt x="647" y="604"/>
                </a:lnTo>
                <a:lnTo>
                  <a:pt x="649" y="608"/>
                </a:lnTo>
                <a:lnTo>
                  <a:pt x="650" y="608"/>
                </a:lnTo>
                <a:lnTo>
                  <a:pt x="654" y="609"/>
                </a:lnTo>
                <a:lnTo>
                  <a:pt x="654" y="610"/>
                </a:lnTo>
                <a:lnTo>
                  <a:pt x="655" y="611"/>
                </a:lnTo>
                <a:lnTo>
                  <a:pt x="660" y="611"/>
                </a:lnTo>
                <a:lnTo>
                  <a:pt x="662" y="614"/>
                </a:lnTo>
                <a:lnTo>
                  <a:pt x="661" y="615"/>
                </a:lnTo>
                <a:lnTo>
                  <a:pt x="662" y="616"/>
                </a:lnTo>
                <a:lnTo>
                  <a:pt x="662" y="619"/>
                </a:lnTo>
                <a:lnTo>
                  <a:pt x="664" y="620"/>
                </a:lnTo>
                <a:lnTo>
                  <a:pt x="666" y="621"/>
                </a:lnTo>
                <a:lnTo>
                  <a:pt x="668" y="619"/>
                </a:lnTo>
                <a:lnTo>
                  <a:pt x="671" y="617"/>
                </a:lnTo>
                <a:lnTo>
                  <a:pt x="673" y="617"/>
                </a:lnTo>
                <a:lnTo>
                  <a:pt x="674" y="615"/>
                </a:lnTo>
                <a:lnTo>
                  <a:pt x="674" y="613"/>
                </a:lnTo>
                <a:lnTo>
                  <a:pt x="673" y="611"/>
                </a:lnTo>
                <a:lnTo>
                  <a:pt x="673" y="610"/>
                </a:lnTo>
                <a:lnTo>
                  <a:pt x="672" y="609"/>
                </a:lnTo>
                <a:lnTo>
                  <a:pt x="673" y="609"/>
                </a:lnTo>
                <a:lnTo>
                  <a:pt x="676" y="611"/>
                </a:lnTo>
                <a:lnTo>
                  <a:pt x="679" y="614"/>
                </a:lnTo>
                <a:lnTo>
                  <a:pt x="683" y="615"/>
                </a:lnTo>
                <a:lnTo>
                  <a:pt x="685" y="617"/>
                </a:lnTo>
                <a:lnTo>
                  <a:pt x="686" y="620"/>
                </a:lnTo>
                <a:lnTo>
                  <a:pt x="686" y="623"/>
                </a:lnTo>
                <a:lnTo>
                  <a:pt x="689" y="626"/>
                </a:lnTo>
                <a:lnTo>
                  <a:pt x="690" y="628"/>
                </a:lnTo>
                <a:lnTo>
                  <a:pt x="690" y="629"/>
                </a:lnTo>
                <a:lnTo>
                  <a:pt x="691" y="629"/>
                </a:lnTo>
                <a:lnTo>
                  <a:pt x="693" y="627"/>
                </a:lnTo>
                <a:lnTo>
                  <a:pt x="698" y="632"/>
                </a:lnTo>
                <a:lnTo>
                  <a:pt x="698" y="634"/>
                </a:lnTo>
                <a:lnTo>
                  <a:pt x="701" y="635"/>
                </a:lnTo>
                <a:lnTo>
                  <a:pt x="701" y="638"/>
                </a:lnTo>
                <a:lnTo>
                  <a:pt x="699" y="639"/>
                </a:lnTo>
                <a:lnTo>
                  <a:pt x="701" y="641"/>
                </a:lnTo>
                <a:lnTo>
                  <a:pt x="703" y="644"/>
                </a:lnTo>
                <a:lnTo>
                  <a:pt x="702" y="645"/>
                </a:lnTo>
                <a:lnTo>
                  <a:pt x="702" y="646"/>
                </a:lnTo>
                <a:lnTo>
                  <a:pt x="703" y="647"/>
                </a:lnTo>
                <a:lnTo>
                  <a:pt x="707" y="648"/>
                </a:lnTo>
                <a:lnTo>
                  <a:pt x="709" y="648"/>
                </a:lnTo>
                <a:lnTo>
                  <a:pt x="711" y="651"/>
                </a:lnTo>
                <a:lnTo>
                  <a:pt x="715" y="651"/>
                </a:lnTo>
                <a:lnTo>
                  <a:pt x="715" y="652"/>
                </a:lnTo>
                <a:lnTo>
                  <a:pt x="717" y="653"/>
                </a:lnTo>
                <a:lnTo>
                  <a:pt x="718" y="653"/>
                </a:lnTo>
                <a:lnTo>
                  <a:pt x="720" y="656"/>
                </a:lnTo>
                <a:lnTo>
                  <a:pt x="721" y="656"/>
                </a:lnTo>
                <a:lnTo>
                  <a:pt x="723" y="654"/>
                </a:lnTo>
                <a:lnTo>
                  <a:pt x="724" y="654"/>
                </a:lnTo>
                <a:lnTo>
                  <a:pt x="724" y="656"/>
                </a:lnTo>
                <a:lnTo>
                  <a:pt x="726" y="657"/>
                </a:lnTo>
                <a:lnTo>
                  <a:pt x="728" y="657"/>
                </a:lnTo>
                <a:lnTo>
                  <a:pt x="729" y="656"/>
                </a:lnTo>
                <a:lnTo>
                  <a:pt x="732" y="656"/>
                </a:lnTo>
                <a:lnTo>
                  <a:pt x="733" y="658"/>
                </a:lnTo>
                <a:lnTo>
                  <a:pt x="734" y="658"/>
                </a:lnTo>
                <a:lnTo>
                  <a:pt x="740" y="659"/>
                </a:lnTo>
                <a:lnTo>
                  <a:pt x="741" y="659"/>
                </a:lnTo>
                <a:lnTo>
                  <a:pt x="742" y="660"/>
                </a:lnTo>
                <a:lnTo>
                  <a:pt x="743" y="663"/>
                </a:lnTo>
                <a:lnTo>
                  <a:pt x="743" y="664"/>
                </a:lnTo>
                <a:lnTo>
                  <a:pt x="746" y="666"/>
                </a:lnTo>
                <a:lnTo>
                  <a:pt x="752" y="669"/>
                </a:lnTo>
                <a:lnTo>
                  <a:pt x="759" y="666"/>
                </a:lnTo>
                <a:lnTo>
                  <a:pt x="759" y="660"/>
                </a:lnTo>
                <a:lnTo>
                  <a:pt x="761" y="658"/>
                </a:lnTo>
                <a:lnTo>
                  <a:pt x="768" y="658"/>
                </a:lnTo>
                <a:lnTo>
                  <a:pt x="770" y="657"/>
                </a:lnTo>
                <a:lnTo>
                  <a:pt x="773" y="654"/>
                </a:lnTo>
                <a:lnTo>
                  <a:pt x="774" y="653"/>
                </a:lnTo>
                <a:lnTo>
                  <a:pt x="776" y="653"/>
                </a:lnTo>
                <a:lnTo>
                  <a:pt x="778" y="647"/>
                </a:lnTo>
                <a:lnTo>
                  <a:pt x="779" y="645"/>
                </a:lnTo>
                <a:lnTo>
                  <a:pt x="779" y="642"/>
                </a:lnTo>
                <a:lnTo>
                  <a:pt x="777" y="634"/>
                </a:lnTo>
                <a:lnTo>
                  <a:pt x="777" y="633"/>
                </a:lnTo>
                <a:lnTo>
                  <a:pt x="773" y="629"/>
                </a:lnTo>
                <a:lnTo>
                  <a:pt x="772" y="627"/>
                </a:lnTo>
                <a:lnTo>
                  <a:pt x="771" y="626"/>
                </a:lnTo>
                <a:lnTo>
                  <a:pt x="772" y="623"/>
                </a:lnTo>
                <a:lnTo>
                  <a:pt x="776" y="622"/>
                </a:lnTo>
                <a:lnTo>
                  <a:pt x="777" y="620"/>
                </a:lnTo>
                <a:lnTo>
                  <a:pt x="776" y="619"/>
                </a:lnTo>
                <a:lnTo>
                  <a:pt x="776" y="617"/>
                </a:lnTo>
                <a:lnTo>
                  <a:pt x="773" y="617"/>
                </a:lnTo>
                <a:lnTo>
                  <a:pt x="771" y="615"/>
                </a:lnTo>
                <a:lnTo>
                  <a:pt x="772" y="614"/>
                </a:lnTo>
                <a:lnTo>
                  <a:pt x="768" y="614"/>
                </a:lnTo>
                <a:lnTo>
                  <a:pt x="766" y="611"/>
                </a:lnTo>
                <a:lnTo>
                  <a:pt x="767" y="608"/>
                </a:lnTo>
                <a:lnTo>
                  <a:pt x="765" y="605"/>
                </a:lnTo>
                <a:lnTo>
                  <a:pt x="763" y="607"/>
                </a:lnTo>
                <a:lnTo>
                  <a:pt x="760" y="609"/>
                </a:lnTo>
                <a:lnTo>
                  <a:pt x="760" y="611"/>
                </a:lnTo>
                <a:lnTo>
                  <a:pt x="753" y="611"/>
                </a:lnTo>
                <a:lnTo>
                  <a:pt x="749" y="614"/>
                </a:lnTo>
                <a:lnTo>
                  <a:pt x="747" y="615"/>
                </a:lnTo>
                <a:lnTo>
                  <a:pt x="745" y="614"/>
                </a:lnTo>
                <a:lnTo>
                  <a:pt x="739" y="610"/>
                </a:lnTo>
                <a:lnTo>
                  <a:pt x="735" y="605"/>
                </a:lnTo>
                <a:lnTo>
                  <a:pt x="726" y="591"/>
                </a:lnTo>
                <a:lnTo>
                  <a:pt x="724" y="586"/>
                </a:lnTo>
                <a:lnTo>
                  <a:pt x="722" y="582"/>
                </a:lnTo>
                <a:lnTo>
                  <a:pt x="718" y="578"/>
                </a:lnTo>
                <a:lnTo>
                  <a:pt x="715" y="578"/>
                </a:lnTo>
                <a:lnTo>
                  <a:pt x="712" y="573"/>
                </a:lnTo>
                <a:lnTo>
                  <a:pt x="714" y="571"/>
                </a:lnTo>
                <a:lnTo>
                  <a:pt x="712" y="570"/>
                </a:lnTo>
                <a:lnTo>
                  <a:pt x="712" y="567"/>
                </a:lnTo>
                <a:lnTo>
                  <a:pt x="714" y="568"/>
                </a:lnTo>
                <a:lnTo>
                  <a:pt x="715" y="567"/>
                </a:lnTo>
                <a:lnTo>
                  <a:pt x="711" y="565"/>
                </a:lnTo>
                <a:lnTo>
                  <a:pt x="711" y="564"/>
                </a:lnTo>
                <a:lnTo>
                  <a:pt x="709" y="559"/>
                </a:lnTo>
                <a:lnTo>
                  <a:pt x="710" y="557"/>
                </a:lnTo>
                <a:lnTo>
                  <a:pt x="714" y="558"/>
                </a:lnTo>
                <a:lnTo>
                  <a:pt x="715" y="560"/>
                </a:lnTo>
                <a:lnTo>
                  <a:pt x="717" y="560"/>
                </a:lnTo>
                <a:lnTo>
                  <a:pt x="718" y="558"/>
                </a:lnTo>
                <a:lnTo>
                  <a:pt x="720" y="557"/>
                </a:lnTo>
                <a:lnTo>
                  <a:pt x="723" y="555"/>
                </a:lnTo>
                <a:lnTo>
                  <a:pt x="726" y="553"/>
                </a:lnTo>
                <a:lnTo>
                  <a:pt x="724" y="551"/>
                </a:lnTo>
                <a:lnTo>
                  <a:pt x="726" y="548"/>
                </a:lnTo>
                <a:lnTo>
                  <a:pt x="726" y="547"/>
                </a:lnTo>
                <a:lnTo>
                  <a:pt x="727" y="545"/>
                </a:lnTo>
                <a:lnTo>
                  <a:pt x="728" y="543"/>
                </a:lnTo>
                <a:lnTo>
                  <a:pt x="727" y="539"/>
                </a:lnTo>
                <a:lnTo>
                  <a:pt x="726" y="537"/>
                </a:lnTo>
                <a:lnTo>
                  <a:pt x="726" y="536"/>
                </a:lnTo>
                <a:lnTo>
                  <a:pt x="729" y="535"/>
                </a:lnTo>
                <a:lnTo>
                  <a:pt x="730" y="535"/>
                </a:lnTo>
                <a:lnTo>
                  <a:pt x="732" y="534"/>
                </a:lnTo>
                <a:lnTo>
                  <a:pt x="734" y="533"/>
                </a:lnTo>
                <a:lnTo>
                  <a:pt x="735" y="534"/>
                </a:lnTo>
                <a:lnTo>
                  <a:pt x="742" y="536"/>
                </a:lnTo>
                <a:lnTo>
                  <a:pt x="749" y="540"/>
                </a:lnTo>
                <a:lnTo>
                  <a:pt x="754" y="543"/>
                </a:lnTo>
                <a:lnTo>
                  <a:pt x="757" y="546"/>
                </a:lnTo>
                <a:lnTo>
                  <a:pt x="759" y="546"/>
                </a:lnTo>
                <a:lnTo>
                  <a:pt x="761" y="547"/>
                </a:lnTo>
                <a:lnTo>
                  <a:pt x="763" y="548"/>
                </a:lnTo>
                <a:lnTo>
                  <a:pt x="764" y="551"/>
                </a:lnTo>
                <a:lnTo>
                  <a:pt x="763" y="553"/>
                </a:lnTo>
                <a:lnTo>
                  <a:pt x="764" y="554"/>
                </a:lnTo>
                <a:lnTo>
                  <a:pt x="766" y="559"/>
                </a:lnTo>
                <a:lnTo>
                  <a:pt x="777" y="565"/>
                </a:lnTo>
                <a:lnTo>
                  <a:pt x="782" y="566"/>
                </a:lnTo>
                <a:lnTo>
                  <a:pt x="786" y="566"/>
                </a:lnTo>
                <a:lnTo>
                  <a:pt x="790" y="565"/>
                </a:lnTo>
                <a:lnTo>
                  <a:pt x="791" y="566"/>
                </a:lnTo>
                <a:lnTo>
                  <a:pt x="791" y="571"/>
                </a:lnTo>
                <a:lnTo>
                  <a:pt x="792" y="572"/>
                </a:lnTo>
                <a:lnTo>
                  <a:pt x="792" y="573"/>
                </a:lnTo>
                <a:lnTo>
                  <a:pt x="791" y="572"/>
                </a:lnTo>
                <a:lnTo>
                  <a:pt x="789" y="571"/>
                </a:lnTo>
                <a:lnTo>
                  <a:pt x="788" y="570"/>
                </a:lnTo>
                <a:lnTo>
                  <a:pt x="786" y="572"/>
                </a:lnTo>
                <a:lnTo>
                  <a:pt x="778" y="572"/>
                </a:lnTo>
                <a:lnTo>
                  <a:pt x="777" y="574"/>
                </a:lnTo>
                <a:lnTo>
                  <a:pt x="777" y="576"/>
                </a:lnTo>
                <a:lnTo>
                  <a:pt x="780" y="580"/>
                </a:lnTo>
                <a:lnTo>
                  <a:pt x="780" y="582"/>
                </a:lnTo>
                <a:lnTo>
                  <a:pt x="779" y="583"/>
                </a:lnTo>
                <a:lnTo>
                  <a:pt x="777" y="584"/>
                </a:lnTo>
                <a:lnTo>
                  <a:pt x="777" y="585"/>
                </a:lnTo>
                <a:lnTo>
                  <a:pt x="778" y="586"/>
                </a:lnTo>
                <a:lnTo>
                  <a:pt x="778" y="585"/>
                </a:lnTo>
                <a:lnTo>
                  <a:pt x="779" y="585"/>
                </a:lnTo>
                <a:lnTo>
                  <a:pt x="780" y="584"/>
                </a:lnTo>
                <a:lnTo>
                  <a:pt x="782" y="584"/>
                </a:lnTo>
                <a:lnTo>
                  <a:pt x="782" y="583"/>
                </a:lnTo>
                <a:lnTo>
                  <a:pt x="783" y="582"/>
                </a:lnTo>
                <a:lnTo>
                  <a:pt x="783" y="578"/>
                </a:lnTo>
                <a:lnTo>
                  <a:pt x="785" y="578"/>
                </a:lnTo>
                <a:lnTo>
                  <a:pt x="786" y="577"/>
                </a:lnTo>
                <a:lnTo>
                  <a:pt x="790" y="574"/>
                </a:lnTo>
                <a:lnTo>
                  <a:pt x="791" y="574"/>
                </a:lnTo>
                <a:lnTo>
                  <a:pt x="794" y="576"/>
                </a:lnTo>
                <a:lnTo>
                  <a:pt x="795" y="576"/>
                </a:lnTo>
                <a:lnTo>
                  <a:pt x="796" y="573"/>
                </a:lnTo>
                <a:lnTo>
                  <a:pt x="792" y="570"/>
                </a:lnTo>
                <a:lnTo>
                  <a:pt x="792" y="568"/>
                </a:lnTo>
                <a:lnTo>
                  <a:pt x="794" y="568"/>
                </a:lnTo>
                <a:lnTo>
                  <a:pt x="797" y="572"/>
                </a:lnTo>
                <a:lnTo>
                  <a:pt x="802" y="573"/>
                </a:lnTo>
                <a:lnTo>
                  <a:pt x="807" y="576"/>
                </a:lnTo>
                <a:lnTo>
                  <a:pt x="813" y="576"/>
                </a:lnTo>
                <a:lnTo>
                  <a:pt x="814" y="577"/>
                </a:lnTo>
                <a:lnTo>
                  <a:pt x="820" y="580"/>
                </a:lnTo>
                <a:lnTo>
                  <a:pt x="823" y="584"/>
                </a:lnTo>
                <a:lnTo>
                  <a:pt x="828" y="585"/>
                </a:lnTo>
                <a:lnTo>
                  <a:pt x="830" y="585"/>
                </a:lnTo>
                <a:lnTo>
                  <a:pt x="832" y="586"/>
                </a:lnTo>
                <a:lnTo>
                  <a:pt x="832" y="588"/>
                </a:lnTo>
                <a:lnTo>
                  <a:pt x="836" y="592"/>
                </a:lnTo>
                <a:lnTo>
                  <a:pt x="841" y="596"/>
                </a:lnTo>
                <a:lnTo>
                  <a:pt x="848" y="595"/>
                </a:lnTo>
                <a:lnTo>
                  <a:pt x="850" y="594"/>
                </a:lnTo>
                <a:lnTo>
                  <a:pt x="848" y="592"/>
                </a:lnTo>
                <a:lnTo>
                  <a:pt x="850" y="592"/>
                </a:lnTo>
                <a:lnTo>
                  <a:pt x="852" y="591"/>
                </a:lnTo>
                <a:lnTo>
                  <a:pt x="853" y="591"/>
                </a:lnTo>
                <a:lnTo>
                  <a:pt x="855" y="590"/>
                </a:lnTo>
                <a:lnTo>
                  <a:pt x="857" y="590"/>
                </a:lnTo>
                <a:lnTo>
                  <a:pt x="855" y="588"/>
                </a:lnTo>
                <a:lnTo>
                  <a:pt x="854" y="589"/>
                </a:lnTo>
                <a:lnTo>
                  <a:pt x="852" y="590"/>
                </a:lnTo>
                <a:lnTo>
                  <a:pt x="851" y="590"/>
                </a:lnTo>
                <a:lnTo>
                  <a:pt x="851" y="589"/>
                </a:lnTo>
                <a:lnTo>
                  <a:pt x="852" y="584"/>
                </a:lnTo>
                <a:lnTo>
                  <a:pt x="852" y="583"/>
                </a:lnTo>
                <a:lnTo>
                  <a:pt x="855" y="583"/>
                </a:lnTo>
                <a:lnTo>
                  <a:pt x="854" y="582"/>
                </a:lnTo>
                <a:lnTo>
                  <a:pt x="853" y="582"/>
                </a:lnTo>
                <a:lnTo>
                  <a:pt x="853" y="580"/>
                </a:lnTo>
                <a:lnTo>
                  <a:pt x="855" y="579"/>
                </a:lnTo>
                <a:lnTo>
                  <a:pt x="859" y="578"/>
                </a:lnTo>
                <a:lnTo>
                  <a:pt x="861" y="580"/>
                </a:lnTo>
                <a:lnTo>
                  <a:pt x="863" y="580"/>
                </a:lnTo>
                <a:lnTo>
                  <a:pt x="866" y="579"/>
                </a:lnTo>
                <a:lnTo>
                  <a:pt x="867" y="579"/>
                </a:lnTo>
                <a:lnTo>
                  <a:pt x="870" y="580"/>
                </a:lnTo>
                <a:lnTo>
                  <a:pt x="870" y="582"/>
                </a:lnTo>
                <a:lnTo>
                  <a:pt x="871" y="583"/>
                </a:lnTo>
                <a:lnTo>
                  <a:pt x="871" y="585"/>
                </a:lnTo>
                <a:lnTo>
                  <a:pt x="872" y="586"/>
                </a:lnTo>
                <a:lnTo>
                  <a:pt x="875" y="588"/>
                </a:lnTo>
                <a:lnTo>
                  <a:pt x="876" y="589"/>
                </a:lnTo>
                <a:lnTo>
                  <a:pt x="878" y="589"/>
                </a:lnTo>
                <a:lnTo>
                  <a:pt x="878" y="591"/>
                </a:lnTo>
                <a:lnTo>
                  <a:pt x="879" y="592"/>
                </a:lnTo>
                <a:lnTo>
                  <a:pt x="879" y="594"/>
                </a:lnTo>
                <a:lnTo>
                  <a:pt x="878" y="594"/>
                </a:lnTo>
                <a:lnTo>
                  <a:pt x="873" y="592"/>
                </a:lnTo>
                <a:lnTo>
                  <a:pt x="867" y="592"/>
                </a:lnTo>
                <a:lnTo>
                  <a:pt x="866" y="591"/>
                </a:lnTo>
                <a:lnTo>
                  <a:pt x="865" y="589"/>
                </a:lnTo>
                <a:lnTo>
                  <a:pt x="864" y="588"/>
                </a:lnTo>
                <a:lnTo>
                  <a:pt x="863" y="585"/>
                </a:lnTo>
                <a:lnTo>
                  <a:pt x="861" y="585"/>
                </a:lnTo>
                <a:lnTo>
                  <a:pt x="860" y="584"/>
                </a:lnTo>
                <a:lnTo>
                  <a:pt x="858" y="584"/>
                </a:lnTo>
                <a:lnTo>
                  <a:pt x="863" y="588"/>
                </a:lnTo>
                <a:lnTo>
                  <a:pt x="864" y="590"/>
                </a:lnTo>
                <a:lnTo>
                  <a:pt x="866" y="592"/>
                </a:lnTo>
                <a:lnTo>
                  <a:pt x="867" y="595"/>
                </a:lnTo>
                <a:lnTo>
                  <a:pt x="869" y="595"/>
                </a:lnTo>
                <a:lnTo>
                  <a:pt x="875" y="594"/>
                </a:lnTo>
                <a:lnTo>
                  <a:pt x="876" y="594"/>
                </a:lnTo>
                <a:lnTo>
                  <a:pt x="877" y="595"/>
                </a:lnTo>
                <a:lnTo>
                  <a:pt x="879" y="596"/>
                </a:lnTo>
                <a:lnTo>
                  <a:pt x="882" y="596"/>
                </a:lnTo>
                <a:lnTo>
                  <a:pt x="882" y="591"/>
                </a:lnTo>
                <a:lnTo>
                  <a:pt x="879" y="586"/>
                </a:lnTo>
                <a:lnTo>
                  <a:pt x="878" y="580"/>
                </a:lnTo>
                <a:lnTo>
                  <a:pt x="878" y="579"/>
                </a:lnTo>
                <a:lnTo>
                  <a:pt x="877" y="579"/>
                </a:lnTo>
                <a:lnTo>
                  <a:pt x="877" y="574"/>
                </a:lnTo>
                <a:lnTo>
                  <a:pt x="878" y="573"/>
                </a:lnTo>
                <a:lnTo>
                  <a:pt x="879" y="573"/>
                </a:lnTo>
                <a:lnTo>
                  <a:pt x="881" y="574"/>
                </a:lnTo>
                <a:lnTo>
                  <a:pt x="882" y="574"/>
                </a:lnTo>
                <a:lnTo>
                  <a:pt x="882" y="573"/>
                </a:lnTo>
                <a:lnTo>
                  <a:pt x="878" y="570"/>
                </a:lnTo>
                <a:lnTo>
                  <a:pt x="877" y="567"/>
                </a:lnTo>
                <a:lnTo>
                  <a:pt x="876" y="558"/>
                </a:lnTo>
                <a:lnTo>
                  <a:pt x="875" y="557"/>
                </a:lnTo>
                <a:lnTo>
                  <a:pt x="875" y="555"/>
                </a:lnTo>
                <a:lnTo>
                  <a:pt x="872" y="553"/>
                </a:lnTo>
                <a:lnTo>
                  <a:pt x="872" y="552"/>
                </a:lnTo>
                <a:lnTo>
                  <a:pt x="871" y="549"/>
                </a:lnTo>
                <a:lnTo>
                  <a:pt x="871" y="548"/>
                </a:lnTo>
                <a:lnTo>
                  <a:pt x="870" y="547"/>
                </a:lnTo>
                <a:lnTo>
                  <a:pt x="865" y="545"/>
                </a:lnTo>
                <a:lnTo>
                  <a:pt x="864" y="543"/>
                </a:lnTo>
                <a:lnTo>
                  <a:pt x="854" y="523"/>
                </a:lnTo>
                <a:lnTo>
                  <a:pt x="851" y="518"/>
                </a:lnTo>
                <a:lnTo>
                  <a:pt x="848" y="515"/>
                </a:lnTo>
                <a:lnTo>
                  <a:pt x="848" y="512"/>
                </a:lnTo>
                <a:lnTo>
                  <a:pt x="847" y="510"/>
                </a:lnTo>
                <a:lnTo>
                  <a:pt x="847" y="500"/>
                </a:lnTo>
                <a:lnTo>
                  <a:pt x="848" y="498"/>
                </a:lnTo>
                <a:lnTo>
                  <a:pt x="848" y="496"/>
                </a:lnTo>
                <a:lnTo>
                  <a:pt x="850" y="494"/>
                </a:lnTo>
                <a:lnTo>
                  <a:pt x="852" y="490"/>
                </a:lnTo>
                <a:lnTo>
                  <a:pt x="859" y="484"/>
                </a:lnTo>
                <a:lnTo>
                  <a:pt x="863" y="482"/>
                </a:lnTo>
                <a:lnTo>
                  <a:pt x="871" y="476"/>
                </a:lnTo>
                <a:lnTo>
                  <a:pt x="879" y="468"/>
                </a:lnTo>
                <a:lnTo>
                  <a:pt x="886" y="456"/>
                </a:lnTo>
                <a:lnTo>
                  <a:pt x="890" y="451"/>
                </a:lnTo>
                <a:lnTo>
                  <a:pt x="894" y="449"/>
                </a:lnTo>
                <a:lnTo>
                  <a:pt x="902" y="448"/>
                </a:lnTo>
                <a:lnTo>
                  <a:pt x="907" y="445"/>
                </a:lnTo>
                <a:lnTo>
                  <a:pt x="916" y="442"/>
                </a:lnTo>
                <a:lnTo>
                  <a:pt x="919" y="439"/>
                </a:lnTo>
                <a:lnTo>
                  <a:pt x="920" y="439"/>
                </a:lnTo>
                <a:lnTo>
                  <a:pt x="920" y="438"/>
                </a:lnTo>
                <a:lnTo>
                  <a:pt x="921" y="436"/>
                </a:lnTo>
                <a:lnTo>
                  <a:pt x="922" y="436"/>
                </a:lnTo>
                <a:lnTo>
                  <a:pt x="925" y="432"/>
                </a:lnTo>
                <a:lnTo>
                  <a:pt x="928" y="431"/>
                </a:lnTo>
                <a:lnTo>
                  <a:pt x="929" y="431"/>
                </a:lnTo>
                <a:lnTo>
                  <a:pt x="928" y="430"/>
                </a:lnTo>
                <a:lnTo>
                  <a:pt x="929" y="429"/>
                </a:lnTo>
                <a:lnTo>
                  <a:pt x="938" y="418"/>
                </a:lnTo>
                <a:lnTo>
                  <a:pt x="945" y="406"/>
                </a:lnTo>
                <a:lnTo>
                  <a:pt x="948" y="395"/>
                </a:lnTo>
                <a:lnTo>
                  <a:pt x="951" y="393"/>
                </a:lnTo>
                <a:lnTo>
                  <a:pt x="952" y="393"/>
                </a:lnTo>
                <a:lnTo>
                  <a:pt x="959" y="395"/>
                </a:lnTo>
                <a:lnTo>
                  <a:pt x="971" y="401"/>
                </a:lnTo>
                <a:lnTo>
                  <a:pt x="972" y="402"/>
                </a:lnTo>
                <a:lnTo>
                  <a:pt x="972" y="404"/>
                </a:lnTo>
                <a:lnTo>
                  <a:pt x="969" y="406"/>
                </a:lnTo>
                <a:lnTo>
                  <a:pt x="968" y="408"/>
                </a:lnTo>
                <a:lnTo>
                  <a:pt x="976" y="407"/>
                </a:lnTo>
                <a:lnTo>
                  <a:pt x="984" y="405"/>
                </a:lnTo>
                <a:lnTo>
                  <a:pt x="991" y="405"/>
                </a:lnTo>
                <a:lnTo>
                  <a:pt x="997" y="402"/>
                </a:lnTo>
                <a:lnTo>
                  <a:pt x="999" y="404"/>
                </a:lnTo>
                <a:lnTo>
                  <a:pt x="1000" y="406"/>
                </a:lnTo>
                <a:lnTo>
                  <a:pt x="1001" y="411"/>
                </a:lnTo>
                <a:lnTo>
                  <a:pt x="1002" y="412"/>
                </a:lnTo>
                <a:lnTo>
                  <a:pt x="1003" y="414"/>
                </a:lnTo>
                <a:lnTo>
                  <a:pt x="1009" y="414"/>
                </a:lnTo>
                <a:lnTo>
                  <a:pt x="1015" y="420"/>
                </a:lnTo>
                <a:lnTo>
                  <a:pt x="1015" y="424"/>
                </a:lnTo>
                <a:lnTo>
                  <a:pt x="1014" y="426"/>
                </a:lnTo>
                <a:lnTo>
                  <a:pt x="1008" y="430"/>
                </a:lnTo>
                <a:lnTo>
                  <a:pt x="1006" y="431"/>
                </a:lnTo>
                <a:lnTo>
                  <a:pt x="1004" y="433"/>
                </a:lnTo>
                <a:lnTo>
                  <a:pt x="1004" y="435"/>
                </a:lnTo>
                <a:lnTo>
                  <a:pt x="1003" y="436"/>
                </a:lnTo>
                <a:lnTo>
                  <a:pt x="1002" y="436"/>
                </a:lnTo>
                <a:lnTo>
                  <a:pt x="1002" y="437"/>
                </a:lnTo>
                <a:lnTo>
                  <a:pt x="1000" y="437"/>
                </a:lnTo>
                <a:lnTo>
                  <a:pt x="999" y="438"/>
                </a:lnTo>
                <a:lnTo>
                  <a:pt x="999" y="439"/>
                </a:lnTo>
                <a:lnTo>
                  <a:pt x="1001" y="442"/>
                </a:lnTo>
                <a:lnTo>
                  <a:pt x="1001" y="444"/>
                </a:lnTo>
                <a:lnTo>
                  <a:pt x="1006" y="444"/>
                </a:lnTo>
                <a:lnTo>
                  <a:pt x="1006" y="447"/>
                </a:lnTo>
                <a:lnTo>
                  <a:pt x="1008" y="451"/>
                </a:lnTo>
                <a:lnTo>
                  <a:pt x="1008" y="445"/>
                </a:lnTo>
                <a:lnTo>
                  <a:pt x="1007" y="443"/>
                </a:lnTo>
                <a:lnTo>
                  <a:pt x="1003" y="442"/>
                </a:lnTo>
                <a:lnTo>
                  <a:pt x="1002" y="441"/>
                </a:lnTo>
                <a:lnTo>
                  <a:pt x="1003" y="438"/>
                </a:lnTo>
                <a:lnTo>
                  <a:pt x="1007" y="435"/>
                </a:lnTo>
                <a:lnTo>
                  <a:pt x="1008" y="435"/>
                </a:lnTo>
                <a:lnTo>
                  <a:pt x="1009" y="433"/>
                </a:lnTo>
                <a:lnTo>
                  <a:pt x="1010" y="433"/>
                </a:lnTo>
                <a:lnTo>
                  <a:pt x="1013" y="432"/>
                </a:lnTo>
                <a:lnTo>
                  <a:pt x="1014" y="432"/>
                </a:lnTo>
                <a:lnTo>
                  <a:pt x="1014" y="430"/>
                </a:lnTo>
                <a:lnTo>
                  <a:pt x="1015" y="430"/>
                </a:lnTo>
                <a:lnTo>
                  <a:pt x="1016" y="429"/>
                </a:lnTo>
                <a:lnTo>
                  <a:pt x="1019" y="430"/>
                </a:lnTo>
                <a:lnTo>
                  <a:pt x="1021" y="429"/>
                </a:lnTo>
                <a:lnTo>
                  <a:pt x="1022" y="430"/>
                </a:lnTo>
                <a:lnTo>
                  <a:pt x="1024" y="432"/>
                </a:lnTo>
                <a:lnTo>
                  <a:pt x="1026" y="433"/>
                </a:lnTo>
                <a:lnTo>
                  <a:pt x="1031" y="441"/>
                </a:lnTo>
                <a:lnTo>
                  <a:pt x="1031" y="443"/>
                </a:lnTo>
                <a:lnTo>
                  <a:pt x="1029" y="444"/>
                </a:lnTo>
                <a:lnTo>
                  <a:pt x="1029" y="449"/>
                </a:lnTo>
                <a:lnTo>
                  <a:pt x="1032" y="453"/>
                </a:lnTo>
                <a:lnTo>
                  <a:pt x="1035" y="461"/>
                </a:lnTo>
                <a:lnTo>
                  <a:pt x="1035" y="462"/>
                </a:lnTo>
                <a:lnTo>
                  <a:pt x="1037" y="459"/>
                </a:lnTo>
                <a:lnTo>
                  <a:pt x="1035" y="455"/>
                </a:lnTo>
                <a:lnTo>
                  <a:pt x="1033" y="450"/>
                </a:lnTo>
                <a:lnTo>
                  <a:pt x="1033" y="448"/>
                </a:lnTo>
                <a:lnTo>
                  <a:pt x="1034" y="443"/>
                </a:lnTo>
                <a:lnTo>
                  <a:pt x="1035" y="439"/>
                </a:lnTo>
                <a:lnTo>
                  <a:pt x="1034" y="438"/>
                </a:lnTo>
                <a:lnTo>
                  <a:pt x="1033" y="433"/>
                </a:lnTo>
                <a:lnTo>
                  <a:pt x="1032" y="432"/>
                </a:lnTo>
                <a:lnTo>
                  <a:pt x="1032" y="422"/>
                </a:lnTo>
                <a:lnTo>
                  <a:pt x="1033" y="416"/>
                </a:lnTo>
                <a:lnTo>
                  <a:pt x="1034" y="411"/>
                </a:lnTo>
                <a:lnTo>
                  <a:pt x="1035" y="410"/>
                </a:lnTo>
                <a:lnTo>
                  <a:pt x="1037" y="406"/>
                </a:lnTo>
                <a:lnTo>
                  <a:pt x="1038" y="405"/>
                </a:lnTo>
                <a:lnTo>
                  <a:pt x="1038" y="401"/>
                </a:lnTo>
                <a:lnTo>
                  <a:pt x="1039" y="401"/>
                </a:lnTo>
                <a:lnTo>
                  <a:pt x="1043" y="396"/>
                </a:lnTo>
                <a:lnTo>
                  <a:pt x="1044" y="395"/>
                </a:lnTo>
                <a:lnTo>
                  <a:pt x="1044" y="392"/>
                </a:lnTo>
                <a:lnTo>
                  <a:pt x="1045" y="386"/>
                </a:lnTo>
                <a:lnTo>
                  <a:pt x="1045" y="383"/>
                </a:lnTo>
                <a:lnTo>
                  <a:pt x="1046" y="381"/>
                </a:lnTo>
                <a:lnTo>
                  <a:pt x="1049" y="380"/>
                </a:lnTo>
                <a:lnTo>
                  <a:pt x="1052" y="379"/>
                </a:lnTo>
                <a:lnTo>
                  <a:pt x="1052" y="377"/>
                </a:lnTo>
                <a:lnTo>
                  <a:pt x="1049" y="377"/>
                </a:lnTo>
                <a:lnTo>
                  <a:pt x="1047" y="376"/>
                </a:lnTo>
                <a:lnTo>
                  <a:pt x="1047" y="375"/>
                </a:lnTo>
                <a:lnTo>
                  <a:pt x="1045" y="368"/>
                </a:lnTo>
                <a:lnTo>
                  <a:pt x="1044" y="367"/>
                </a:lnTo>
                <a:lnTo>
                  <a:pt x="1044" y="364"/>
                </a:lnTo>
                <a:lnTo>
                  <a:pt x="1049" y="362"/>
                </a:lnTo>
                <a:lnTo>
                  <a:pt x="1049" y="353"/>
                </a:lnTo>
                <a:lnTo>
                  <a:pt x="1050" y="351"/>
                </a:lnTo>
                <a:lnTo>
                  <a:pt x="1049" y="350"/>
                </a:lnTo>
                <a:lnTo>
                  <a:pt x="1049" y="347"/>
                </a:lnTo>
                <a:lnTo>
                  <a:pt x="1046" y="345"/>
                </a:lnTo>
                <a:lnTo>
                  <a:pt x="1046" y="342"/>
                </a:lnTo>
                <a:lnTo>
                  <a:pt x="1041" y="337"/>
                </a:lnTo>
                <a:lnTo>
                  <a:pt x="1041" y="334"/>
                </a:lnTo>
                <a:lnTo>
                  <a:pt x="1043" y="333"/>
                </a:lnTo>
                <a:lnTo>
                  <a:pt x="1044" y="333"/>
                </a:lnTo>
                <a:lnTo>
                  <a:pt x="1044" y="331"/>
                </a:lnTo>
                <a:lnTo>
                  <a:pt x="1040" y="333"/>
                </a:lnTo>
                <a:lnTo>
                  <a:pt x="1039" y="332"/>
                </a:lnTo>
                <a:lnTo>
                  <a:pt x="1039" y="331"/>
                </a:lnTo>
                <a:lnTo>
                  <a:pt x="1037" y="330"/>
                </a:lnTo>
                <a:lnTo>
                  <a:pt x="1034" y="327"/>
                </a:lnTo>
                <a:lnTo>
                  <a:pt x="1029" y="325"/>
                </a:lnTo>
                <a:lnTo>
                  <a:pt x="1025" y="325"/>
                </a:lnTo>
                <a:lnTo>
                  <a:pt x="1022" y="324"/>
                </a:lnTo>
                <a:lnTo>
                  <a:pt x="1020" y="324"/>
                </a:lnTo>
                <a:lnTo>
                  <a:pt x="1019" y="320"/>
                </a:lnTo>
                <a:lnTo>
                  <a:pt x="1019" y="313"/>
                </a:lnTo>
                <a:lnTo>
                  <a:pt x="1020" y="306"/>
                </a:lnTo>
                <a:lnTo>
                  <a:pt x="1022" y="296"/>
                </a:lnTo>
                <a:lnTo>
                  <a:pt x="1028" y="279"/>
                </a:lnTo>
                <a:lnTo>
                  <a:pt x="1029" y="275"/>
                </a:lnTo>
                <a:lnTo>
                  <a:pt x="1029" y="269"/>
                </a:lnTo>
                <a:lnTo>
                  <a:pt x="1031" y="269"/>
                </a:lnTo>
                <a:lnTo>
                  <a:pt x="1031" y="267"/>
                </a:lnTo>
                <a:lnTo>
                  <a:pt x="1032" y="267"/>
                </a:lnTo>
                <a:lnTo>
                  <a:pt x="1032" y="270"/>
                </a:lnTo>
                <a:lnTo>
                  <a:pt x="1033" y="270"/>
                </a:lnTo>
                <a:lnTo>
                  <a:pt x="1034" y="269"/>
                </a:lnTo>
                <a:lnTo>
                  <a:pt x="1034" y="265"/>
                </a:lnTo>
                <a:lnTo>
                  <a:pt x="1032" y="265"/>
                </a:lnTo>
                <a:lnTo>
                  <a:pt x="1031" y="264"/>
                </a:lnTo>
                <a:lnTo>
                  <a:pt x="1032" y="263"/>
                </a:lnTo>
                <a:lnTo>
                  <a:pt x="1033" y="260"/>
                </a:lnTo>
                <a:lnTo>
                  <a:pt x="1033" y="257"/>
                </a:lnTo>
                <a:lnTo>
                  <a:pt x="1034" y="256"/>
                </a:lnTo>
                <a:lnTo>
                  <a:pt x="1034" y="254"/>
                </a:lnTo>
                <a:lnTo>
                  <a:pt x="1033" y="253"/>
                </a:lnTo>
                <a:lnTo>
                  <a:pt x="1033" y="251"/>
                </a:lnTo>
                <a:lnTo>
                  <a:pt x="1032" y="250"/>
                </a:lnTo>
                <a:lnTo>
                  <a:pt x="1032" y="245"/>
                </a:lnTo>
                <a:lnTo>
                  <a:pt x="1037" y="245"/>
                </a:lnTo>
                <a:lnTo>
                  <a:pt x="1038" y="244"/>
                </a:lnTo>
                <a:lnTo>
                  <a:pt x="1039" y="241"/>
                </a:lnTo>
                <a:lnTo>
                  <a:pt x="1040" y="240"/>
                </a:lnTo>
                <a:lnTo>
                  <a:pt x="1038" y="239"/>
                </a:lnTo>
                <a:lnTo>
                  <a:pt x="1034" y="241"/>
                </a:lnTo>
                <a:lnTo>
                  <a:pt x="1033" y="240"/>
                </a:lnTo>
                <a:lnTo>
                  <a:pt x="1034" y="235"/>
                </a:lnTo>
                <a:lnTo>
                  <a:pt x="1035" y="234"/>
                </a:lnTo>
                <a:lnTo>
                  <a:pt x="1038" y="234"/>
                </a:lnTo>
                <a:lnTo>
                  <a:pt x="1037" y="233"/>
                </a:lnTo>
                <a:lnTo>
                  <a:pt x="1034" y="233"/>
                </a:lnTo>
                <a:lnTo>
                  <a:pt x="1035" y="230"/>
                </a:lnTo>
                <a:lnTo>
                  <a:pt x="1043" y="226"/>
                </a:lnTo>
                <a:lnTo>
                  <a:pt x="1046" y="226"/>
                </a:lnTo>
                <a:lnTo>
                  <a:pt x="1045" y="224"/>
                </a:lnTo>
                <a:lnTo>
                  <a:pt x="1041" y="224"/>
                </a:lnTo>
                <a:lnTo>
                  <a:pt x="1039" y="226"/>
                </a:lnTo>
                <a:lnTo>
                  <a:pt x="1038" y="228"/>
                </a:lnTo>
                <a:lnTo>
                  <a:pt x="1035" y="228"/>
                </a:lnTo>
                <a:lnTo>
                  <a:pt x="1035" y="222"/>
                </a:lnTo>
                <a:lnTo>
                  <a:pt x="1037" y="220"/>
                </a:lnTo>
                <a:lnTo>
                  <a:pt x="1037" y="213"/>
                </a:lnTo>
                <a:lnTo>
                  <a:pt x="1038" y="207"/>
                </a:lnTo>
                <a:lnTo>
                  <a:pt x="1039" y="203"/>
                </a:lnTo>
                <a:lnTo>
                  <a:pt x="1039" y="201"/>
                </a:lnTo>
                <a:lnTo>
                  <a:pt x="1038" y="198"/>
                </a:lnTo>
                <a:lnTo>
                  <a:pt x="1035" y="195"/>
                </a:lnTo>
                <a:lnTo>
                  <a:pt x="1018" y="178"/>
                </a:lnTo>
                <a:lnTo>
                  <a:pt x="1000" y="162"/>
                </a:lnTo>
                <a:lnTo>
                  <a:pt x="997" y="158"/>
                </a:lnTo>
                <a:lnTo>
                  <a:pt x="1000" y="156"/>
                </a:lnTo>
                <a:lnTo>
                  <a:pt x="1002" y="156"/>
                </a:lnTo>
                <a:lnTo>
                  <a:pt x="1007" y="155"/>
                </a:lnTo>
                <a:lnTo>
                  <a:pt x="1012" y="159"/>
                </a:lnTo>
                <a:lnTo>
                  <a:pt x="1013" y="159"/>
                </a:lnTo>
                <a:lnTo>
                  <a:pt x="1015" y="161"/>
                </a:lnTo>
                <a:lnTo>
                  <a:pt x="1018" y="162"/>
                </a:lnTo>
                <a:lnTo>
                  <a:pt x="1019" y="164"/>
                </a:lnTo>
                <a:lnTo>
                  <a:pt x="1020" y="164"/>
                </a:lnTo>
                <a:lnTo>
                  <a:pt x="1021" y="165"/>
                </a:lnTo>
                <a:lnTo>
                  <a:pt x="1022" y="165"/>
                </a:lnTo>
                <a:lnTo>
                  <a:pt x="1027" y="170"/>
                </a:lnTo>
                <a:lnTo>
                  <a:pt x="1038" y="171"/>
                </a:lnTo>
                <a:lnTo>
                  <a:pt x="1050" y="170"/>
                </a:lnTo>
                <a:lnTo>
                  <a:pt x="1083" y="170"/>
                </a:lnTo>
                <a:lnTo>
                  <a:pt x="1095" y="173"/>
                </a:lnTo>
                <a:lnTo>
                  <a:pt x="1108" y="180"/>
                </a:lnTo>
                <a:lnTo>
                  <a:pt x="1111" y="181"/>
                </a:lnTo>
                <a:lnTo>
                  <a:pt x="1111" y="185"/>
                </a:lnTo>
                <a:lnTo>
                  <a:pt x="1112" y="187"/>
                </a:lnTo>
                <a:lnTo>
                  <a:pt x="1112" y="189"/>
                </a:lnTo>
                <a:lnTo>
                  <a:pt x="1113" y="190"/>
                </a:lnTo>
                <a:lnTo>
                  <a:pt x="1113" y="191"/>
                </a:lnTo>
                <a:lnTo>
                  <a:pt x="1114" y="192"/>
                </a:lnTo>
                <a:lnTo>
                  <a:pt x="1114" y="196"/>
                </a:lnTo>
                <a:lnTo>
                  <a:pt x="1117" y="197"/>
                </a:lnTo>
                <a:lnTo>
                  <a:pt x="1120" y="202"/>
                </a:lnTo>
                <a:lnTo>
                  <a:pt x="1122" y="205"/>
                </a:lnTo>
                <a:lnTo>
                  <a:pt x="1125" y="208"/>
                </a:lnTo>
                <a:lnTo>
                  <a:pt x="1125" y="209"/>
                </a:lnTo>
                <a:lnTo>
                  <a:pt x="1127" y="208"/>
                </a:lnTo>
                <a:lnTo>
                  <a:pt x="1130" y="210"/>
                </a:lnTo>
                <a:lnTo>
                  <a:pt x="1131" y="210"/>
                </a:lnTo>
                <a:lnTo>
                  <a:pt x="1132" y="213"/>
                </a:lnTo>
                <a:lnTo>
                  <a:pt x="1136" y="217"/>
                </a:lnTo>
                <a:lnTo>
                  <a:pt x="1133" y="220"/>
                </a:lnTo>
                <a:lnTo>
                  <a:pt x="1136" y="220"/>
                </a:lnTo>
                <a:lnTo>
                  <a:pt x="1136" y="229"/>
                </a:lnTo>
                <a:lnTo>
                  <a:pt x="1137" y="230"/>
                </a:lnTo>
                <a:lnTo>
                  <a:pt x="1137" y="233"/>
                </a:lnTo>
                <a:lnTo>
                  <a:pt x="1138" y="234"/>
                </a:lnTo>
                <a:lnTo>
                  <a:pt x="1139" y="234"/>
                </a:lnTo>
                <a:lnTo>
                  <a:pt x="1139" y="236"/>
                </a:lnTo>
                <a:lnTo>
                  <a:pt x="1140" y="236"/>
                </a:lnTo>
                <a:lnTo>
                  <a:pt x="1140" y="239"/>
                </a:lnTo>
                <a:lnTo>
                  <a:pt x="1142" y="242"/>
                </a:lnTo>
                <a:lnTo>
                  <a:pt x="1143" y="245"/>
                </a:lnTo>
                <a:lnTo>
                  <a:pt x="1143" y="253"/>
                </a:lnTo>
                <a:lnTo>
                  <a:pt x="1140" y="254"/>
                </a:lnTo>
                <a:lnTo>
                  <a:pt x="1137" y="253"/>
                </a:lnTo>
                <a:lnTo>
                  <a:pt x="1128" y="253"/>
                </a:lnTo>
                <a:lnTo>
                  <a:pt x="1121" y="254"/>
                </a:lnTo>
                <a:lnTo>
                  <a:pt x="1113" y="258"/>
                </a:lnTo>
                <a:lnTo>
                  <a:pt x="1096" y="260"/>
                </a:lnTo>
                <a:lnTo>
                  <a:pt x="1089" y="263"/>
                </a:lnTo>
                <a:lnTo>
                  <a:pt x="1086" y="263"/>
                </a:lnTo>
                <a:lnTo>
                  <a:pt x="1083" y="264"/>
                </a:lnTo>
                <a:lnTo>
                  <a:pt x="1083" y="266"/>
                </a:lnTo>
                <a:lnTo>
                  <a:pt x="1084" y="267"/>
                </a:lnTo>
                <a:lnTo>
                  <a:pt x="1086" y="267"/>
                </a:lnTo>
                <a:lnTo>
                  <a:pt x="1086" y="271"/>
                </a:lnTo>
                <a:lnTo>
                  <a:pt x="1084" y="275"/>
                </a:lnTo>
                <a:lnTo>
                  <a:pt x="1084" y="278"/>
                </a:lnTo>
                <a:lnTo>
                  <a:pt x="1077" y="278"/>
                </a:lnTo>
                <a:lnTo>
                  <a:pt x="1071" y="284"/>
                </a:lnTo>
                <a:lnTo>
                  <a:pt x="1069" y="289"/>
                </a:lnTo>
                <a:lnTo>
                  <a:pt x="1068" y="295"/>
                </a:lnTo>
                <a:lnTo>
                  <a:pt x="1068" y="299"/>
                </a:lnTo>
                <a:lnTo>
                  <a:pt x="1066" y="300"/>
                </a:lnTo>
                <a:lnTo>
                  <a:pt x="1066" y="302"/>
                </a:lnTo>
                <a:lnTo>
                  <a:pt x="1068" y="304"/>
                </a:lnTo>
                <a:lnTo>
                  <a:pt x="1069" y="308"/>
                </a:lnTo>
                <a:lnTo>
                  <a:pt x="1072" y="312"/>
                </a:lnTo>
                <a:lnTo>
                  <a:pt x="1077" y="315"/>
                </a:lnTo>
                <a:lnTo>
                  <a:pt x="1080" y="318"/>
                </a:lnTo>
                <a:lnTo>
                  <a:pt x="1083" y="320"/>
                </a:lnTo>
                <a:lnTo>
                  <a:pt x="1088" y="321"/>
                </a:lnTo>
                <a:lnTo>
                  <a:pt x="1091" y="322"/>
                </a:lnTo>
                <a:lnTo>
                  <a:pt x="1095" y="326"/>
                </a:lnTo>
                <a:lnTo>
                  <a:pt x="1097" y="331"/>
                </a:lnTo>
                <a:lnTo>
                  <a:pt x="1097" y="333"/>
                </a:lnTo>
                <a:lnTo>
                  <a:pt x="1099" y="336"/>
                </a:lnTo>
                <a:lnTo>
                  <a:pt x="1103" y="346"/>
                </a:lnTo>
                <a:lnTo>
                  <a:pt x="1105" y="347"/>
                </a:lnTo>
                <a:lnTo>
                  <a:pt x="1105" y="351"/>
                </a:lnTo>
                <a:lnTo>
                  <a:pt x="1106" y="353"/>
                </a:lnTo>
                <a:lnTo>
                  <a:pt x="1107" y="355"/>
                </a:lnTo>
                <a:lnTo>
                  <a:pt x="1112" y="357"/>
                </a:lnTo>
                <a:lnTo>
                  <a:pt x="1112" y="358"/>
                </a:lnTo>
                <a:lnTo>
                  <a:pt x="1114" y="361"/>
                </a:lnTo>
                <a:lnTo>
                  <a:pt x="1125" y="359"/>
                </a:lnTo>
                <a:lnTo>
                  <a:pt x="1133" y="356"/>
                </a:lnTo>
                <a:lnTo>
                  <a:pt x="1137" y="356"/>
                </a:lnTo>
                <a:lnTo>
                  <a:pt x="1138" y="358"/>
                </a:lnTo>
                <a:lnTo>
                  <a:pt x="1138" y="361"/>
                </a:lnTo>
                <a:lnTo>
                  <a:pt x="1136" y="361"/>
                </a:lnTo>
                <a:lnTo>
                  <a:pt x="1136" y="362"/>
                </a:lnTo>
                <a:lnTo>
                  <a:pt x="1134" y="364"/>
                </a:lnTo>
                <a:lnTo>
                  <a:pt x="1128" y="370"/>
                </a:lnTo>
                <a:lnTo>
                  <a:pt x="1130" y="370"/>
                </a:lnTo>
                <a:lnTo>
                  <a:pt x="1132" y="369"/>
                </a:lnTo>
                <a:lnTo>
                  <a:pt x="1133" y="368"/>
                </a:lnTo>
                <a:lnTo>
                  <a:pt x="1136" y="364"/>
                </a:lnTo>
                <a:lnTo>
                  <a:pt x="1137" y="363"/>
                </a:lnTo>
                <a:lnTo>
                  <a:pt x="1147" y="359"/>
                </a:lnTo>
                <a:lnTo>
                  <a:pt x="1152" y="359"/>
                </a:lnTo>
                <a:lnTo>
                  <a:pt x="1155" y="357"/>
                </a:lnTo>
                <a:lnTo>
                  <a:pt x="1156" y="358"/>
                </a:lnTo>
                <a:lnTo>
                  <a:pt x="1173" y="350"/>
                </a:lnTo>
                <a:lnTo>
                  <a:pt x="1174" y="351"/>
                </a:lnTo>
                <a:lnTo>
                  <a:pt x="1178" y="353"/>
                </a:lnTo>
                <a:lnTo>
                  <a:pt x="1180" y="355"/>
                </a:lnTo>
                <a:lnTo>
                  <a:pt x="1178" y="357"/>
                </a:lnTo>
                <a:lnTo>
                  <a:pt x="1180" y="357"/>
                </a:lnTo>
                <a:lnTo>
                  <a:pt x="1180" y="356"/>
                </a:lnTo>
                <a:lnTo>
                  <a:pt x="1181" y="355"/>
                </a:lnTo>
                <a:lnTo>
                  <a:pt x="1180" y="352"/>
                </a:lnTo>
                <a:lnTo>
                  <a:pt x="1180" y="350"/>
                </a:lnTo>
                <a:lnTo>
                  <a:pt x="1181" y="349"/>
                </a:lnTo>
                <a:lnTo>
                  <a:pt x="1181" y="347"/>
                </a:lnTo>
                <a:lnTo>
                  <a:pt x="1183" y="344"/>
                </a:lnTo>
                <a:lnTo>
                  <a:pt x="1184" y="344"/>
                </a:lnTo>
                <a:lnTo>
                  <a:pt x="1186" y="343"/>
                </a:lnTo>
                <a:lnTo>
                  <a:pt x="1186" y="339"/>
                </a:lnTo>
                <a:lnTo>
                  <a:pt x="1187" y="336"/>
                </a:lnTo>
                <a:lnTo>
                  <a:pt x="1187" y="328"/>
                </a:lnTo>
                <a:lnTo>
                  <a:pt x="1186" y="327"/>
                </a:lnTo>
                <a:lnTo>
                  <a:pt x="1184" y="324"/>
                </a:lnTo>
                <a:lnTo>
                  <a:pt x="1184" y="320"/>
                </a:lnTo>
                <a:lnTo>
                  <a:pt x="1188" y="316"/>
                </a:lnTo>
                <a:lnTo>
                  <a:pt x="1188" y="306"/>
                </a:lnTo>
                <a:lnTo>
                  <a:pt x="1187" y="306"/>
                </a:lnTo>
                <a:lnTo>
                  <a:pt x="1188" y="303"/>
                </a:lnTo>
                <a:lnTo>
                  <a:pt x="1193" y="299"/>
                </a:lnTo>
                <a:lnTo>
                  <a:pt x="1195" y="294"/>
                </a:lnTo>
                <a:lnTo>
                  <a:pt x="1195" y="291"/>
                </a:lnTo>
                <a:lnTo>
                  <a:pt x="1194" y="289"/>
                </a:lnTo>
                <a:lnTo>
                  <a:pt x="1189" y="282"/>
                </a:lnTo>
                <a:lnTo>
                  <a:pt x="1189" y="279"/>
                </a:lnTo>
                <a:lnTo>
                  <a:pt x="1190" y="277"/>
                </a:lnTo>
                <a:lnTo>
                  <a:pt x="1198" y="271"/>
                </a:lnTo>
                <a:lnTo>
                  <a:pt x="1199" y="271"/>
                </a:lnTo>
                <a:lnTo>
                  <a:pt x="1201" y="272"/>
                </a:lnTo>
                <a:lnTo>
                  <a:pt x="1201" y="273"/>
                </a:lnTo>
                <a:lnTo>
                  <a:pt x="1200" y="275"/>
                </a:lnTo>
                <a:lnTo>
                  <a:pt x="1200" y="278"/>
                </a:lnTo>
                <a:lnTo>
                  <a:pt x="1201" y="278"/>
                </a:lnTo>
                <a:lnTo>
                  <a:pt x="1202" y="277"/>
                </a:lnTo>
                <a:lnTo>
                  <a:pt x="1204" y="273"/>
                </a:lnTo>
                <a:lnTo>
                  <a:pt x="1206" y="271"/>
                </a:lnTo>
                <a:lnTo>
                  <a:pt x="1206" y="270"/>
                </a:lnTo>
                <a:lnTo>
                  <a:pt x="1208" y="267"/>
                </a:lnTo>
                <a:lnTo>
                  <a:pt x="1212" y="267"/>
                </a:lnTo>
                <a:lnTo>
                  <a:pt x="1215" y="270"/>
                </a:lnTo>
                <a:lnTo>
                  <a:pt x="1219" y="270"/>
                </a:lnTo>
                <a:lnTo>
                  <a:pt x="1225" y="265"/>
                </a:lnTo>
                <a:lnTo>
                  <a:pt x="1226" y="264"/>
                </a:lnTo>
                <a:lnTo>
                  <a:pt x="1229" y="266"/>
                </a:lnTo>
                <a:lnTo>
                  <a:pt x="1226" y="266"/>
                </a:lnTo>
                <a:lnTo>
                  <a:pt x="1236" y="267"/>
                </a:lnTo>
                <a:lnTo>
                  <a:pt x="1239" y="270"/>
                </a:lnTo>
                <a:lnTo>
                  <a:pt x="1238" y="271"/>
                </a:lnTo>
                <a:lnTo>
                  <a:pt x="1240" y="273"/>
                </a:lnTo>
                <a:lnTo>
                  <a:pt x="1243" y="273"/>
                </a:lnTo>
                <a:lnTo>
                  <a:pt x="1244" y="272"/>
                </a:lnTo>
                <a:lnTo>
                  <a:pt x="1243" y="271"/>
                </a:lnTo>
                <a:lnTo>
                  <a:pt x="1242" y="271"/>
                </a:lnTo>
                <a:lnTo>
                  <a:pt x="1242" y="269"/>
                </a:lnTo>
                <a:lnTo>
                  <a:pt x="1238" y="266"/>
                </a:lnTo>
                <a:lnTo>
                  <a:pt x="1237" y="266"/>
                </a:lnTo>
                <a:lnTo>
                  <a:pt x="1236" y="265"/>
                </a:lnTo>
                <a:lnTo>
                  <a:pt x="1234" y="263"/>
                </a:lnTo>
                <a:lnTo>
                  <a:pt x="1233" y="261"/>
                </a:lnTo>
                <a:lnTo>
                  <a:pt x="1231" y="263"/>
                </a:lnTo>
                <a:lnTo>
                  <a:pt x="1230" y="263"/>
                </a:lnTo>
                <a:lnTo>
                  <a:pt x="1230" y="260"/>
                </a:lnTo>
                <a:lnTo>
                  <a:pt x="1231" y="259"/>
                </a:lnTo>
                <a:lnTo>
                  <a:pt x="1231" y="251"/>
                </a:lnTo>
                <a:lnTo>
                  <a:pt x="1221" y="240"/>
                </a:lnTo>
                <a:lnTo>
                  <a:pt x="1224" y="239"/>
                </a:lnTo>
                <a:lnTo>
                  <a:pt x="1232" y="247"/>
                </a:lnTo>
                <a:lnTo>
                  <a:pt x="1238" y="250"/>
                </a:lnTo>
                <a:lnTo>
                  <a:pt x="1245" y="247"/>
                </a:lnTo>
                <a:lnTo>
                  <a:pt x="1246" y="246"/>
                </a:lnTo>
                <a:lnTo>
                  <a:pt x="1252" y="244"/>
                </a:lnTo>
                <a:lnTo>
                  <a:pt x="1261" y="238"/>
                </a:lnTo>
                <a:lnTo>
                  <a:pt x="1267" y="234"/>
                </a:lnTo>
                <a:lnTo>
                  <a:pt x="1273" y="228"/>
                </a:lnTo>
                <a:lnTo>
                  <a:pt x="1280" y="222"/>
                </a:lnTo>
                <a:lnTo>
                  <a:pt x="1282" y="222"/>
                </a:lnTo>
                <a:lnTo>
                  <a:pt x="1281" y="226"/>
                </a:lnTo>
                <a:lnTo>
                  <a:pt x="1276" y="228"/>
                </a:lnTo>
                <a:lnTo>
                  <a:pt x="1275" y="230"/>
                </a:lnTo>
                <a:lnTo>
                  <a:pt x="1281" y="226"/>
                </a:lnTo>
                <a:lnTo>
                  <a:pt x="1283" y="222"/>
                </a:lnTo>
                <a:lnTo>
                  <a:pt x="1285" y="221"/>
                </a:lnTo>
                <a:lnTo>
                  <a:pt x="1286" y="218"/>
                </a:lnTo>
                <a:lnTo>
                  <a:pt x="1291" y="214"/>
                </a:lnTo>
                <a:lnTo>
                  <a:pt x="1293" y="213"/>
                </a:lnTo>
                <a:lnTo>
                  <a:pt x="1296" y="209"/>
                </a:lnTo>
                <a:lnTo>
                  <a:pt x="1300" y="208"/>
                </a:lnTo>
                <a:lnTo>
                  <a:pt x="1308" y="198"/>
                </a:lnTo>
                <a:lnTo>
                  <a:pt x="1311" y="195"/>
                </a:lnTo>
                <a:lnTo>
                  <a:pt x="1312" y="193"/>
                </a:lnTo>
                <a:lnTo>
                  <a:pt x="1313" y="190"/>
                </a:lnTo>
                <a:lnTo>
                  <a:pt x="1314" y="189"/>
                </a:lnTo>
                <a:lnTo>
                  <a:pt x="1316" y="190"/>
                </a:lnTo>
                <a:lnTo>
                  <a:pt x="1317" y="192"/>
                </a:lnTo>
                <a:lnTo>
                  <a:pt x="1319" y="193"/>
                </a:lnTo>
                <a:lnTo>
                  <a:pt x="1322" y="193"/>
                </a:lnTo>
                <a:lnTo>
                  <a:pt x="1326" y="192"/>
                </a:lnTo>
                <a:lnTo>
                  <a:pt x="1327" y="192"/>
                </a:lnTo>
                <a:lnTo>
                  <a:pt x="1329" y="190"/>
                </a:lnTo>
                <a:lnTo>
                  <a:pt x="1330" y="189"/>
                </a:lnTo>
                <a:lnTo>
                  <a:pt x="1332" y="189"/>
                </a:lnTo>
                <a:lnTo>
                  <a:pt x="1338" y="186"/>
                </a:lnTo>
                <a:lnTo>
                  <a:pt x="1342" y="183"/>
                </a:lnTo>
                <a:lnTo>
                  <a:pt x="1343" y="183"/>
                </a:lnTo>
                <a:lnTo>
                  <a:pt x="1344" y="184"/>
                </a:lnTo>
                <a:lnTo>
                  <a:pt x="1345" y="184"/>
                </a:lnTo>
                <a:lnTo>
                  <a:pt x="1348" y="183"/>
                </a:lnTo>
                <a:lnTo>
                  <a:pt x="1349" y="181"/>
                </a:lnTo>
                <a:lnTo>
                  <a:pt x="1348" y="181"/>
                </a:lnTo>
                <a:lnTo>
                  <a:pt x="1347" y="180"/>
                </a:lnTo>
                <a:lnTo>
                  <a:pt x="1348" y="177"/>
                </a:lnTo>
                <a:lnTo>
                  <a:pt x="1354" y="177"/>
                </a:lnTo>
                <a:lnTo>
                  <a:pt x="1368" y="171"/>
                </a:lnTo>
                <a:lnTo>
                  <a:pt x="1373" y="166"/>
                </a:lnTo>
                <a:lnTo>
                  <a:pt x="1375" y="166"/>
                </a:lnTo>
                <a:lnTo>
                  <a:pt x="1374" y="168"/>
                </a:lnTo>
                <a:lnTo>
                  <a:pt x="1374" y="171"/>
                </a:lnTo>
                <a:lnTo>
                  <a:pt x="1372" y="173"/>
                </a:lnTo>
                <a:lnTo>
                  <a:pt x="1368" y="173"/>
                </a:lnTo>
                <a:lnTo>
                  <a:pt x="1368" y="177"/>
                </a:lnTo>
                <a:lnTo>
                  <a:pt x="1369" y="178"/>
                </a:lnTo>
                <a:lnTo>
                  <a:pt x="1373" y="174"/>
                </a:lnTo>
                <a:lnTo>
                  <a:pt x="1379" y="175"/>
                </a:lnTo>
                <a:lnTo>
                  <a:pt x="1380" y="175"/>
                </a:lnTo>
                <a:lnTo>
                  <a:pt x="1381" y="178"/>
                </a:lnTo>
                <a:lnTo>
                  <a:pt x="1379" y="178"/>
                </a:lnTo>
                <a:lnTo>
                  <a:pt x="1378" y="180"/>
                </a:lnTo>
                <a:lnTo>
                  <a:pt x="1379" y="181"/>
                </a:lnTo>
                <a:lnTo>
                  <a:pt x="1379" y="184"/>
                </a:lnTo>
                <a:lnTo>
                  <a:pt x="1376" y="186"/>
                </a:lnTo>
                <a:lnTo>
                  <a:pt x="1373" y="187"/>
                </a:lnTo>
                <a:lnTo>
                  <a:pt x="1372" y="189"/>
                </a:lnTo>
                <a:lnTo>
                  <a:pt x="1373" y="190"/>
                </a:lnTo>
                <a:lnTo>
                  <a:pt x="1376" y="196"/>
                </a:lnTo>
                <a:lnTo>
                  <a:pt x="1378" y="197"/>
                </a:lnTo>
                <a:lnTo>
                  <a:pt x="1380" y="195"/>
                </a:lnTo>
                <a:lnTo>
                  <a:pt x="1382" y="193"/>
                </a:lnTo>
                <a:lnTo>
                  <a:pt x="1383" y="193"/>
                </a:lnTo>
                <a:lnTo>
                  <a:pt x="1392" y="185"/>
                </a:lnTo>
                <a:lnTo>
                  <a:pt x="1394" y="184"/>
                </a:lnTo>
                <a:lnTo>
                  <a:pt x="1395" y="183"/>
                </a:lnTo>
                <a:lnTo>
                  <a:pt x="1397" y="180"/>
                </a:lnTo>
                <a:lnTo>
                  <a:pt x="1397" y="177"/>
                </a:lnTo>
                <a:lnTo>
                  <a:pt x="1394" y="174"/>
                </a:lnTo>
                <a:lnTo>
                  <a:pt x="1391" y="173"/>
                </a:lnTo>
                <a:lnTo>
                  <a:pt x="1389" y="171"/>
                </a:lnTo>
                <a:lnTo>
                  <a:pt x="1389" y="170"/>
                </a:lnTo>
                <a:lnTo>
                  <a:pt x="1388" y="168"/>
                </a:lnTo>
                <a:lnTo>
                  <a:pt x="1388" y="166"/>
                </a:lnTo>
                <a:lnTo>
                  <a:pt x="1387" y="165"/>
                </a:lnTo>
                <a:lnTo>
                  <a:pt x="1387" y="161"/>
                </a:lnTo>
                <a:lnTo>
                  <a:pt x="1392" y="161"/>
                </a:lnTo>
                <a:lnTo>
                  <a:pt x="1392" y="160"/>
                </a:lnTo>
                <a:lnTo>
                  <a:pt x="1393" y="160"/>
                </a:lnTo>
                <a:lnTo>
                  <a:pt x="1393" y="156"/>
                </a:lnTo>
                <a:lnTo>
                  <a:pt x="1392" y="156"/>
                </a:lnTo>
                <a:lnTo>
                  <a:pt x="1387" y="159"/>
                </a:lnTo>
                <a:lnTo>
                  <a:pt x="1386" y="160"/>
                </a:lnTo>
                <a:lnTo>
                  <a:pt x="1385" y="164"/>
                </a:lnTo>
                <a:lnTo>
                  <a:pt x="1383" y="165"/>
                </a:lnTo>
                <a:lnTo>
                  <a:pt x="1379" y="165"/>
                </a:lnTo>
                <a:lnTo>
                  <a:pt x="1378" y="164"/>
                </a:lnTo>
                <a:lnTo>
                  <a:pt x="1378" y="162"/>
                </a:lnTo>
                <a:lnTo>
                  <a:pt x="1380" y="160"/>
                </a:lnTo>
                <a:lnTo>
                  <a:pt x="1385" y="158"/>
                </a:lnTo>
                <a:lnTo>
                  <a:pt x="1400" y="144"/>
                </a:lnTo>
                <a:lnTo>
                  <a:pt x="1406" y="142"/>
                </a:lnTo>
                <a:lnTo>
                  <a:pt x="1411" y="137"/>
                </a:lnTo>
                <a:lnTo>
                  <a:pt x="1414" y="135"/>
                </a:lnTo>
                <a:lnTo>
                  <a:pt x="1418" y="131"/>
                </a:lnTo>
                <a:lnTo>
                  <a:pt x="1423" y="130"/>
                </a:lnTo>
                <a:lnTo>
                  <a:pt x="1426" y="127"/>
                </a:lnTo>
                <a:lnTo>
                  <a:pt x="1445" y="121"/>
                </a:lnTo>
                <a:lnTo>
                  <a:pt x="1455" y="117"/>
                </a:lnTo>
                <a:lnTo>
                  <a:pt x="1463" y="117"/>
                </a:lnTo>
                <a:lnTo>
                  <a:pt x="1465" y="116"/>
                </a:lnTo>
                <a:lnTo>
                  <a:pt x="1473" y="116"/>
                </a:lnTo>
                <a:lnTo>
                  <a:pt x="1474" y="117"/>
                </a:lnTo>
                <a:lnTo>
                  <a:pt x="1474" y="118"/>
                </a:lnTo>
                <a:lnTo>
                  <a:pt x="1473" y="118"/>
                </a:lnTo>
                <a:lnTo>
                  <a:pt x="1473" y="119"/>
                </a:lnTo>
                <a:lnTo>
                  <a:pt x="1468" y="119"/>
                </a:lnTo>
                <a:lnTo>
                  <a:pt x="1466" y="122"/>
                </a:lnTo>
                <a:lnTo>
                  <a:pt x="1449" y="124"/>
                </a:lnTo>
                <a:lnTo>
                  <a:pt x="1434" y="128"/>
                </a:lnTo>
                <a:lnTo>
                  <a:pt x="1434" y="129"/>
                </a:lnTo>
                <a:lnTo>
                  <a:pt x="1435" y="130"/>
                </a:lnTo>
                <a:lnTo>
                  <a:pt x="1435" y="131"/>
                </a:lnTo>
                <a:lnTo>
                  <a:pt x="1436" y="132"/>
                </a:lnTo>
                <a:lnTo>
                  <a:pt x="1438" y="134"/>
                </a:lnTo>
                <a:lnTo>
                  <a:pt x="1439" y="132"/>
                </a:lnTo>
                <a:lnTo>
                  <a:pt x="1438" y="132"/>
                </a:lnTo>
                <a:lnTo>
                  <a:pt x="1438" y="131"/>
                </a:lnTo>
                <a:lnTo>
                  <a:pt x="1437" y="131"/>
                </a:lnTo>
                <a:lnTo>
                  <a:pt x="1437" y="130"/>
                </a:lnTo>
                <a:lnTo>
                  <a:pt x="1438" y="129"/>
                </a:lnTo>
                <a:lnTo>
                  <a:pt x="1449" y="131"/>
                </a:lnTo>
                <a:lnTo>
                  <a:pt x="1450" y="132"/>
                </a:lnTo>
                <a:lnTo>
                  <a:pt x="1451" y="135"/>
                </a:lnTo>
                <a:lnTo>
                  <a:pt x="1447" y="140"/>
                </a:lnTo>
                <a:lnTo>
                  <a:pt x="1445" y="140"/>
                </a:lnTo>
                <a:lnTo>
                  <a:pt x="1444" y="141"/>
                </a:lnTo>
                <a:lnTo>
                  <a:pt x="1443" y="144"/>
                </a:lnTo>
                <a:lnTo>
                  <a:pt x="1443" y="153"/>
                </a:lnTo>
                <a:lnTo>
                  <a:pt x="1438" y="158"/>
                </a:lnTo>
                <a:lnTo>
                  <a:pt x="1438" y="160"/>
                </a:lnTo>
                <a:lnTo>
                  <a:pt x="1439" y="162"/>
                </a:lnTo>
                <a:lnTo>
                  <a:pt x="1442" y="165"/>
                </a:lnTo>
                <a:lnTo>
                  <a:pt x="1445" y="172"/>
                </a:lnTo>
                <a:lnTo>
                  <a:pt x="1445" y="173"/>
                </a:lnTo>
                <a:lnTo>
                  <a:pt x="1447" y="174"/>
                </a:lnTo>
                <a:lnTo>
                  <a:pt x="1447" y="183"/>
                </a:lnTo>
                <a:lnTo>
                  <a:pt x="1448" y="185"/>
                </a:lnTo>
                <a:lnTo>
                  <a:pt x="1448" y="187"/>
                </a:lnTo>
                <a:lnTo>
                  <a:pt x="1447" y="189"/>
                </a:lnTo>
                <a:lnTo>
                  <a:pt x="1444" y="189"/>
                </a:lnTo>
                <a:lnTo>
                  <a:pt x="1444" y="190"/>
                </a:lnTo>
                <a:lnTo>
                  <a:pt x="1443" y="192"/>
                </a:lnTo>
                <a:lnTo>
                  <a:pt x="1442" y="193"/>
                </a:lnTo>
                <a:lnTo>
                  <a:pt x="1442" y="192"/>
                </a:lnTo>
                <a:lnTo>
                  <a:pt x="1436" y="186"/>
                </a:lnTo>
                <a:lnTo>
                  <a:pt x="1434" y="185"/>
                </a:lnTo>
                <a:lnTo>
                  <a:pt x="1432" y="186"/>
                </a:lnTo>
                <a:lnTo>
                  <a:pt x="1436" y="190"/>
                </a:lnTo>
                <a:lnTo>
                  <a:pt x="1436" y="191"/>
                </a:lnTo>
                <a:lnTo>
                  <a:pt x="1437" y="193"/>
                </a:lnTo>
                <a:lnTo>
                  <a:pt x="1436" y="195"/>
                </a:lnTo>
                <a:lnTo>
                  <a:pt x="1435" y="195"/>
                </a:lnTo>
                <a:lnTo>
                  <a:pt x="1431" y="191"/>
                </a:lnTo>
                <a:lnTo>
                  <a:pt x="1426" y="190"/>
                </a:lnTo>
                <a:lnTo>
                  <a:pt x="1425" y="191"/>
                </a:lnTo>
                <a:lnTo>
                  <a:pt x="1424" y="193"/>
                </a:lnTo>
                <a:lnTo>
                  <a:pt x="1423" y="193"/>
                </a:lnTo>
                <a:lnTo>
                  <a:pt x="1423" y="192"/>
                </a:lnTo>
                <a:lnTo>
                  <a:pt x="1422" y="192"/>
                </a:lnTo>
                <a:lnTo>
                  <a:pt x="1420" y="195"/>
                </a:lnTo>
                <a:lnTo>
                  <a:pt x="1418" y="198"/>
                </a:lnTo>
                <a:lnTo>
                  <a:pt x="1417" y="202"/>
                </a:lnTo>
                <a:lnTo>
                  <a:pt x="1418" y="203"/>
                </a:lnTo>
                <a:lnTo>
                  <a:pt x="1422" y="205"/>
                </a:lnTo>
                <a:lnTo>
                  <a:pt x="1424" y="204"/>
                </a:lnTo>
                <a:lnTo>
                  <a:pt x="1428" y="203"/>
                </a:lnTo>
                <a:lnTo>
                  <a:pt x="1442" y="204"/>
                </a:lnTo>
                <a:lnTo>
                  <a:pt x="1443" y="204"/>
                </a:lnTo>
                <a:lnTo>
                  <a:pt x="1445" y="207"/>
                </a:lnTo>
                <a:lnTo>
                  <a:pt x="1445" y="208"/>
                </a:lnTo>
                <a:lnTo>
                  <a:pt x="1450" y="208"/>
                </a:lnTo>
                <a:lnTo>
                  <a:pt x="1454" y="204"/>
                </a:lnTo>
                <a:lnTo>
                  <a:pt x="1456" y="198"/>
                </a:lnTo>
                <a:lnTo>
                  <a:pt x="1459" y="196"/>
                </a:lnTo>
                <a:lnTo>
                  <a:pt x="1460" y="196"/>
                </a:lnTo>
                <a:lnTo>
                  <a:pt x="1457" y="201"/>
                </a:lnTo>
                <a:lnTo>
                  <a:pt x="1457" y="205"/>
                </a:lnTo>
                <a:lnTo>
                  <a:pt x="1459" y="209"/>
                </a:lnTo>
                <a:lnTo>
                  <a:pt x="1461" y="208"/>
                </a:lnTo>
                <a:lnTo>
                  <a:pt x="1469" y="198"/>
                </a:lnTo>
                <a:lnTo>
                  <a:pt x="1472" y="197"/>
                </a:lnTo>
                <a:lnTo>
                  <a:pt x="1473" y="197"/>
                </a:lnTo>
                <a:lnTo>
                  <a:pt x="1474" y="199"/>
                </a:lnTo>
                <a:lnTo>
                  <a:pt x="1478" y="210"/>
                </a:lnTo>
                <a:lnTo>
                  <a:pt x="1479" y="213"/>
                </a:lnTo>
                <a:lnTo>
                  <a:pt x="1486" y="213"/>
                </a:lnTo>
                <a:lnTo>
                  <a:pt x="1487" y="211"/>
                </a:lnTo>
                <a:lnTo>
                  <a:pt x="1487" y="209"/>
                </a:lnTo>
                <a:lnTo>
                  <a:pt x="1488" y="207"/>
                </a:lnTo>
                <a:lnTo>
                  <a:pt x="1490" y="205"/>
                </a:lnTo>
                <a:lnTo>
                  <a:pt x="1490" y="204"/>
                </a:lnTo>
                <a:lnTo>
                  <a:pt x="1488" y="201"/>
                </a:lnTo>
                <a:lnTo>
                  <a:pt x="1488" y="198"/>
                </a:lnTo>
                <a:lnTo>
                  <a:pt x="1487" y="198"/>
                </a:lnTo>
                <a:lnTo>
                  <a:pt x="1486" y="196"/>
                </a:lnTo>
                <a:lnTo>
                  <a:pt x="1488" y="196"/>
                </a:lnTo>
                <a:lnTo>
                  <a:pt x="1488" y="193"/>
                </a:lnTo>
                <a:lnTo>
                  <a:pt x="1490" y="190"/>
                </a:lnTo>
                <a:lnTo>
                  <a:pt x="1490" y="187"/>
                </a:lnTo>
                <a:lnTo>
                  <a:pt x="1492" y="183"/>
                </a:lnTo>
                <a:lnTo>
                  <a:pt x="1493" y="181"/>
                </a:lnTo>
                <a:lnTo>
                  <a:pt x="1494" y="183"/>
                </a:lnTo>
                <a:lnTo>
                  <a:pt x="1496" y="181"/>
                </a:lnTo>
                <a:lnTo>
                  <a:pt x="1497" y="178"/>
                </a:lnTo>
                <a:lnTo>
                  <a:pt x="1500" y="177"/>
                </a:lnTo>
                <a:lnTo>
                  <a:pt x="1501" y="175"/>
                </a:lnTo>
                <a:lnTo>
                  <a:pt x="1501" y="173"/>
                </a:lnTo>
                <a:lnTo>
                  <a:pt x="1503" y="172"/>
                </a:lnTo>
                <a:lnTo>
                  <a:pt x="1509" y="168"/>
                </a:lnTo>
                <a:lnTo>
                  <a:pt x="1513" y="167"/>
                </a:lnTo>
                <a:lnTo>
                  <a:pt x="1518" y="167"/>
                </a:lnTo>
                <a:lnTo>
                  <a:pt x="1525" y="165"/>
                </a:lnTo>
                <a:lnTo>
                  <a:pt x="1532" y="158"/>
                </a:lnTo>
                <a:lnTo>
                  <a:pt x="1535" y="156"/>
                </a:lnTo>
                <a:lnTo>
                  <a:pt x="1537" y="158"/>
                </a:lnTo>
                <a:lnTo>
                  <a:pt x="1541" y="161"/>
                </a:lnTo>
                <a:lnTo>
                  <a:pt x="1543" y="161"/>
                </a:lnTo>
                <a:lnTo>
                  <a:pt x="1556" y="160"/>
                </a:lnTo>
                <a:lnTo>
                  <a:pt x="1556" y="161"/>
                </a:lnTo>
                <a:lnTo>
                  <a:pt x="1555" y="166"/>
                </a:lnTo>
                <a:lnTo>
                  <a:pt x="1556" y="165"/>
                </a:lnTo>
                <a:lnTo>
                  <a:pt x="1559" y="160"/>
                </a:lnTo>
                <a:lnTo>
                  <a:pt x="1560" y="159"/>
                </a:lnTo>
                <a:lnTo>
                  <a:pt x="1562" y="159"/>
                </a:lnTo>
                <a:lnTo>
                  <a:pt x="1571" y="167"/>
                </a:lnTo>
                <a:lnTo>
                  <a:pt x="1580" y="170"/>
                </a:lnTo>
                <a:lnTo>
                  <a:pt x="1591" y="168"/>
                </a:lnTo>
                <a:lnTo>
                  <a:pt x="1593" y="166"/>
                </a:lnTo>
                <a:lnTo>
                  <a:pt x="1594" y="164"/>
                </a:lnTo>
                <a:lnTo>
                  <a:pt x="1596" y="159"/>
                </a:lnTo>
                <a:lnTo>
                  <a:pt x="1597" y="156"/>
                </a:lnTo>
                <a:lnTo>
                  <a:pt x="1599" y="154"/>
                </a:lnTo>
                <a:lnTo>
                  <a:pt x="1600" y="152"/>
                </a:lnTo>
                <a:lnTo>
                  <a:pt x="1602" y="148"/>
                </a:lnTo>
                <a:lnTo>
                  <a:pt x="1603" y="147"/>
                </a:lnTo>
                <a:lnTo>
                  <a:pt x="1616" y="146"/>
                </a:lnTo>
                <a:lnTo>
                  <a:pt x="1618" y="141"/>
                </a:lnTo>
                <a:lnTo>
                  <a:pt x="1617" y="140"/>
                </a:lnTo>
                <a:lnTo>
                  <a:pt x="1617" y="135"/>
                </a:lnTo>
                <a:lnTo>
                  <a:pt x="1618" y="134"/>
                </a:lnTo>
                <a:lnTo>
                  <a:pt x="1627" y="130"/>
                </a:lnTo>
                <a:lnTo>
                  <a:pt x="1629" y="130"/>
                </a:lnTo>
                <a:lnTo>
                  <a:pt x="1629" y="131"/>
                </a:lnTo>
                <a:lnTo>
                  <a:pt x="1628" y="135"/>
                </a:lnTo>
                <a:lnTo>
                  <a:pt x="1628" y="137"/>
                </a:lnTo>
                <a:lnTo>
                  <a:pt x="1629" y="138"/>
                </a:lnTo>
                <a:lnTo>
                  <a:pt x="1630" y="141"/>
                </a:lnTo>
                <a:lnTo>
                  <a:pt x="1630" y="143"/>
                </a:lnTo>
                <a:lnTo>
                  <a:pt x="1635" y="146"/>
                </a:lnTo>
                <a:lnTo>
                  <a:pt x="1634" y="148"/>
                </a:lnTo>
                <a:lnTo>
                  <a:pt x="1636" y="148"/>
                </a:lnTo>
                <a:lnTo>
                  <a:pt x="1637" y="147"/>
                </a:lnTo>
                <a:lnTo>
                  <a:pt x="1637" y="144"/>
                </a:lnTo>
                <a:lnTo>
                  <a:pt x="1636" y="144"/>
                </a:lnTo>
                <a:lnTo>
                  <a:pt x="1635" y="143"/>
                </a:lnTo>
                <a:lnTo>
                  <a:pt x="1635" y="142"/>
                </a:lnTo>
                <a:lnTo>
                  <a:pt x="1631" y="142"/>
                </a:lnTo>
                <a:lnTo>
                  <a:pt x="1631" y="137"/>
                </a:lnTo>
                <a:lnTo>
                  <a:pt x="1630" y="137"/>
                </a:lnTo>
                <a:lnTo>
                  <a:pt x="1630" y="129"/>
                </a:lnTo>
                <a:lnTo>
                  <a:pt x="1631" y="129"/>
                </a:lnTo>
                <a:lnTo>
                  <a:pt x="1631" y="128"/>
                </a:lnTo>
                <a:lnTo>
                  <a:pt x="1643" y="122"/>
                </a:lnTo>
                <a:lnTo>
                  <a:pt x="1656" y="117"/>
                </a:lnTo>
                <a:lnTo>
                  <a:pt x="1671" y="117"/>
                </a:lnTo>
                <a:lnTo>
                  <a:pt x="1672" y="118"/>
                </a:lnTo>
                <a:lnTo>
                  <a:pt x="1671" y="119"/>
                </a:lnTo>
                <a:lnTo>
                  <a:pt x="1668" y="118"/>
                </a:lnTo>
                <a:lnTo>
                  <a:pt x="1667" y="118"/>
                </a:lnTo>
                <a:lnTo>
                  <a:pt x="1666" y="119"/>
                </a:lnTo>
                <a:lnTo>
                  <a:pt x="1660" y="121"/>
                </a:lnTo>
                <a:lnTo>
                  <a:pt x="1658" y="123"/>
                </a:lnTo>
                <a:lnTo>
                  <a:pt x="1656" y="125"/>
                </a:lnTo>
                <a:lnTo>
                  <a:pt x="1660" y="125"/>
                </a:lnTo>
                <a:lnTo>
                  <a:pt x="1666" y="129"/>
                </a:lnTo>
                <a:lnTo>
                  <a:pt x="1679" y="144"/>
                </a:lnTo>
                <a:lnTo>
                  <a:pt x="1679" y="150"/>
                </a:lnTo>
                <a:lnTo>
                  <a:pt x="1678" y="152"/>
                </a:lnTo>
                <a:lnTo>
                  <a:pt x="1675" y="152"/>
                </a:lnTo>
                <a:lnTo>
                  <a:pt x="1673" y="150"/>
                </a:lnTo>
                <a:lnTo>
                  <a:pt x="1671" y="150"/>
                </a:lnTo>
                <a:lnTo>
                  <a:pt x="1668" y="153"/>
                </a:lnTo>
                <a:lnTo>
                  <a:pt x="1667" y="155"/>
                </a:lnTo>
                <a:lnTo>
                  <a:pt x="1667" y="158"/>
                </a:lnTo>
                <a:lnTo>
                  <a:pt x="1666" y="159"/>
                </a:lnTo>
                <a:lnTo>
                  <a:pt x="1666" y="160"/>
                </a:lnTo>
                <a:lnTo>
                  <a:pt x="1665" y="160"/>
                </a:lnTo>
                <a:lnTo>
                  <a:pt x="1664" y="161"/>
                </a:lnTo>
                <a:lnTo>
                  <a:pt x="1664" y="167"/>
                </a:lnTo>
                <a:lnTo>
                  <a:pt x="1666" y="170"/>
                </a:lnTo>
                <a:lnTo>
                  <a:pt x="1666" y="173"/>
                </a:lnTo>
                <a:lnTo>
                  <a:pt x="1665" y="175"/>
                </a:lnTo>
                <a:lnTo>
                  <a:pt x="1665" y="185"/>
                </a:lnTo>
                <a:lnTo>
                  <a:pt x="1666" y="186"/>
                </a:lnTo>
                <a:lnTo>
                  <a:pt x="1678" y="190"/>
                </a:lnTo>
                <a:lnTo>
                  <a:pt x="1690" y="195"/>
                </a:lnTo>
                <a:lnTo>
                  <a:pt x="1697" y="189"/>
                </a:lnTo>
                <a:lnTo>
                  <a:pt x="1699" y="186"/>
                </a:lnTo>
                <a:lnTo>
                  <a:pt x="1702" y="179"/>
                </a:lnTo>
                <a:lnTo>
                  <a:pt x="1702" y="173"/>
                </a:lnTo>
                <a:lnTo>
                  <a:pt x="1698" y="166"/>
                </a:lnTo>
                <a:lnTo>
                  <a:pt x="1696" y="162"/>
                </a:lnTo>
                <a:lnTo>
                  <a:pt x="1695" y="161"/>
                </a:lnTo>
                <a:lnTo>
                  <a:pt x="1693" y="161"/>
                </a:lnTo>
                <a:lnTo>
                  <a:pt x="1693" y="156"/>
                </a:lnTo>
                <a:lnTo>
                  <a:pt x="1696" y="154"/>
                </a:lnTo>
                <a:lnTo>
                  <a:pt x="1699" y="149"/>
                </a:lnTo>
                <a:lnTo>
                  <a:pt x="1701" y="149"/>
                </a:lnTo>
                <a:lnTo>
                  <a:pt x="1705" y="153"/>
                </a:lnTo>
                <a:lnTo>
                  <a:pt x="1706" y="154"/>
                </a:lnTo>
                <a:lnTo>
                  <a:pt x="1723" y="149"/>
                </a:lnTo>
                <a:lnTo>
                  <a:pt x="1727" y="147"/>
                </a:lnTo>
                <a:lnTo>
                  <a:pt x="1733" y="138"/>
                </a:lnTo>
                <a:lnTo>
                  <a:pt x="1734" y="137"/>
                </a:lnTo>
                <a:lnTo>
                  <a:pt x="1735" y="132"/>
                </a:lnTo>
                <a:lnTo>
                  <a:pt x="1736" y="131"/>
                </a:lnTo>
                <a:lnTo>
                  <a:pt x="1737" y="129"/>
                </a:lnTo>
                <a:lnTo>
                  <a:pt x="1740" y="129"/>
                </a:lnTo>
                <a:lnTo>
                  <a:pt x="1745" y="128"/>
                </a:lnTo>
                <a:lnTo>
                  <a:pt x="1743" y="128"/>
                </a:lnTo>
                <a:lnTo>
                  <a:pt x="1742" y="127"/>
                </a:lnTo>
                <a:lnTo>
                  <a:pt x="1742" y="124"/>
                </a:lnTo>
                <a:lnTo>
                  <a:pt x="1743" y="122"/>
                </a:lnTo>
                <a:lnTo>
                  <a:pt x="1743" y="113"/>
                </a:lnTo>
                <a:lnTo>
                  <a:pt x="1742" y="112"/>
                </a:lnTo>
                <a:lnTo>
                  <a:pt x="1743" y="109"/>
                </a:lnTo>
                <a:lnTo>
                  <a:pt x="1742" y="107"/>
                </a:lnTo>
                <a:lnTo>
                  <a:pt x="1741" y="103"/>
                </a:lnTo>
                <a:lnTo>
                  <a:pt x="1739" y="98"/>
                </a:lnTo>
                <a:lnTo>
                  <a:pt x="1736" y="95"/>
                </a:lnTo>
                <a:lnTo>
                  <a:pt x="1734" y="97"/>
                </a:lnTo>
                <a:lnTo>
                  <a:pt x="1734" y="103"/>
                </a:lnTo>
                <a:lnTo>
                  <a:pt x="1735" y="103"/>
                </a:lnTo>
                <a:lnTo>
                  <a:pt x="1734" y="105"/>
                </a:lnTo>
                <a:lnTo>
                  <a:pt x="1732" y="104"/>
                </a:lnTo>
                <a:lnTo>
                  <a:pt x="1729" y="104"/>
                </a:lnTo>
                <a:lnTo>
                  <a:pt x="1728" y="101"/>
                </a:lnTo>
                <a:lnTo>
                  <a:pt x="1728" y="85"/>
                </a:lnTo>
                <a:lnTo>
                  <a:pt x="1727" y="82"/>
                </a:lnTo>
                <a:lnTo>
                  <a:pt x="1727" y="80"/>
                </a:lnTo>
                <a:lnTo>
                  <a:pt x="1726" y="78"/>
                </a:lnTo>
                <a:lnTo>
                  <a:pt x="1722" y="74"/>
                </a:lnTo>
                <a:lnTo>
                  <a:pt x="1722" y="69"/>
                </a:lnTo>
                <a:lnTo>
                  <a:pt x="1721" y="68"/>
                </a:lnTo>
                <a:lnTo>
                  <a:pt x="1717" y="63"/>
                </a:lnTo>
                <a:lnTo>
                  <a:pt x="1716" y="63"/>
                </a:lnTo>
                <a:lnTo>
                  <a:pt x="1715" y="57"/>
                </a:lnTo>
                <a:lnTo>
                  <a:pt x="1712" y="55"/>
                </a:lnTo>
                <a:lnTo>
                  <a:pt x="1712" y="51"/>
                </a:lnTo>
                <a:lnTo>
                  <a:pt x="1709" y="48"/>
                </a:lnTo>
                <a:lnTo>
                  <a:pt x="1710" y="45"/>
                </a:lnTo>
                <a:lnTo>
                  <a:pt x="1710" y="42"/>
                </a:lnTo>
                <a:lnTo>
                  <a:pt x="1711" y="39"/>
                </a:lnTo>
                <a:lnTo>
                  <a:pt x="1714" y="37"/>
                </a:lnTo>
                <a:lnTo>
                  <a:pt x="1732" y="37"/>
                </a:lnTo>
                <a:lnTo>
                  <a:pt x="1732" y="32"/>
                </a:lnTo>
                <a:lnTo>
                  <a:pt x="1730" y="31"/>
                </a:lnTo>
                <a:lnTo>
                  <a:pt x="1730" y="29"/>
                </a:lnTo>
                <a:lnTo>
                  <a:pt x="1732" y="29"/>
                </a:lnTo>
                <a:lnTo>
                  <a:pt x="1733" y="30"/>
                </a:lnTo>
                <a:lnTo>
                  <a:pt x="1734" y="30"/>
                </a:lnTo>
                <a:lnTo>
                  <a:pt x="1734" y="27"/>
                </a:lnTo>
                <a:lnTo>
                  <a:pt x="1733" y="27"/>
                </a:lnTo>
                <a:lnTo>
                  <a:pt x="1733" y="18"/>
                </a:lnTo>
                <a:lnTo>
                  <a:pt x="1734" y="17"/>
                </a:lnTo>
                <a:lnTo>
                  <a:pt x="1736" y="15"/>
                </a:lnTo>
                <a:lnTo>
                  <a:pt x="1742" y="13"/>
                </a:lnTo>
                <a:lnTo>
                  <a:pt x="1745" y="13"/>
                </a:lnTo>
                <a:lnTo>
                  <a:pt x="1747" y="15"/>
                </a:lnTo>
                <a:lnTo>
                  <a:pt x="1748" y="15"/>
                </a:lnTo>
                <a:lnTo>
                  <a:pt x="1749" y="13"/>
                </a:lnTo>
                <a:lnTo>
                  <a:pt x="1751" y="13"/>
                </a:lnTo>
                <a:lnTo>
                  <a:pt x="1751" y="15"/>
                </a:lnTo>
                <a:lnTo>
                  <a:pt x="1752" y="17"/>
                </a:lnTo>
                <a:lnTo>
                  <a:pt x="1759" y="18"/>
                </a:lnTo>
                <a:lnTo>
                  <a:pt x="1762" y="21"/>
                </a:lnTo>
                <a:lnTo>
                  <a:pt x="1778" y="25"/>
                </a:lnTo>
                <a:lnTo>
                  <a:pt x="1784" y="26"/>
                </a:lnTo>
                <a:lnTo>
                  <a:pt x="1784" y="1480"/>
                </a:lnTo>
                <a:lnTo>
                  <a:pt x="1783" y="1480"/>
                </a:lnTo>
                <a:lnTo>
                  <a:pt x="1782" y="1479"/>
                </a:lnTo>
                <a:lnTo>
                  <a:pt x="1780" y="1479"/>
                </a:lnTo>
                <a:lnTo>
                  <a:pt x="1780" y="1475"/>
                </a:lnTo>
                <a:lnTo>
                  <a:pt x="1778" y="1475"/>
                </a:lnTo>
                <a:lnTo>
                  <a:pt x="1778" y="1476"/>
                </a:lnTo>
                <a:lnTo>
                  <a:pt x="1777" y="1476"/>
                </a:lnTo>
                <a:lnTo>
                  <a:pt x="1776" y="1475"/>
                </a:lnTo>
                <a:lnTo>
                  <a:pt x="1772" y="1475"/>
                </a:lnTo>
                <a:lnTo>
                  <a:pt x="1772" y="1477"/>
                </a:lnTo>
                <a:lnTo>
                  <a:pt x="1771" y="1477"/>
                </a:lnTo>
                <a:lnTo>
                  <a:pt x="1771" y="1479"/>
                </a:lnTo>
                <a:lnTo>
                  <a:pt x="1770" y="1479"/>
                </a:lnTo>
                <a:lnTo>
                  <a:pt x="1768" y="1477"/>
                </a:lnTo>
                <a:lnTo>
                  <a:pt x="1768" y="1475"/>
                </a:lnTo>
                <a:lnTo>
                  <a:pt x="1766" y="1475"/>
                </a:lnTo>
                <a:lnTo>
                  <a:pt x="1765" y="1474"/>
                </a:lnTo>
                <a:lnTo>
                  <a:pt x="1764" y="1471"/>
                </a:lnTo>
                <a:lnTo>
                  <a:pt x="1760" y="1470"/>
                </a:lnTo>
                <a:lnTo>
                  <a:pt x="1759" y="1470"/>
                </a:lnTo>
                <a:lnTo>
                  <a:pt x="1758" y="1471"/>
                </a:lnTo>
                <a:lnTo>
                  <a:pt x="1758" y="1473"/>
                </a:lnTo>
                <a:lnTo>
                  <a:pt x="1757" y="1474"/>
                </a:lnTo>
                <a:lnTo>
                  <a:pt x="1754" y="1474"/>
                </a:lnTo>
                <a:lnTo>
                  <a:pt x="1754" y="1475"/>
                </a:lnTo>
                <a:lnTo>
                  <a:pt x="1755" y="1477"/>
                </a:lnTo>
                <a:lnTo>
                  <a:pt x="1755" y="1480"/>
                </a:lnTo>
                <a:lnTo>
                  <a:pt x="1754" y="1481"/>
                </a:lnTo>
                <a:lnTo>
                  <a:pt x="1754" y="1482"/>
                </a:lnTo>
                <a:lnTo>
                  <a:pt x="1753" y="1481"/>
                </a:lnTo>
                <a:lnTo>
                  <a:pt x="1753" y="1480"/>
                </a:lnTo>
                <a:lnTo>
                  <a:pt x="1752" y="1480"/>
                </a:lnTo>
                <a:lnTo>
                  <a:pt x="1752" y="1479"/>
                </a:lnTo>
                <a:lnTo>
                  <a:pt x="1746" y="1479"/>
                </a:lnTo>
                <a:lnTo>
                  <a:pt x="1745" y="1480"/>
                </a:lnTo>
                <a:lnTo>
                  <a:pt x="1745" y="1483"/>
                </a:lnTo>
                <a:lnTo>
                  <a:pt x="1749" y="1483"/>
                </a:lnTo>
                <a:lnTo>
                  <a:pt x="1749" y="1485"/>
                </a:lnTo>
                <a:lnTo>
                  <a:pt x="1751" y="1486"/>
                </a:lnTo>
                <a:lnTo>
                  <a:pt x="1752" y="1486"/>
                </a:lnTo>
                <a:lnTo>
                  <a:pt x="1754" y="1488"/>
                </a:lnTo>
                <a:lnTo>
                  <a:pt x="1754" y="1489"/>
                </a:lnTo>
                <a:lnTo>
                  <a:pt x="1751" y="1493"/>
                </a:lnTo>
                <a:lnTo>
                  <a:pt x="1751" y="1495"/>
                </a:lnTo>
                <a:lnTo>
                  <a:pt x="1748" y="1495"/>
                </a:lnTo>
                <a:lnTo>
                  <a:pt x="1748" y="1496"/>
                </a:lnTo>
                <a:lnTo>
                  <a:pt x="1747" y="1496"/>
                </a:lnTo>
                <a:lnTo>
                  <a:pt x="1747" y="1500"/>
                </a:lnTo>
                <a:lnTo>
                  <a:pt x="1746" y="1501"/>
                </a:lnTo>
                <a:lnTo>
                  <a:pt x="1741" y="1499"/>
                </a:lnTo>
                <a:lnTo>
                  <a:pt x="1741" y="1501"/>
                </a:lnTo>
                <a:lnTo>
                  <a:pt x="1742" y="1502"/>
                </a:lnTo>
                <a:lnTo>
                  <a:pt x="1747" y="1502"/>
                </a:lnTo>
                <a:lnTo>
                  <a:pt x="1749" y="1504"/>
                </a:lnTo>
                <a:lnTo>
                  <a:pt x="1751" y="1505"/>
                </a:lnTo>
                <a:lnTo>
                  <a:pt x="1751" y="1506"/>
                </a:lnTo>
                <a:lnTo>
                  <a:pt x="1752" y="1506"/>
                </a:lnTo>
                <a:lnTo>
                  <a:pt x="1758" y="1507"/>
                </a:lnTo>
                <a:lnTo>
                  <a:pt x="1759" y="1507"/>
                </a:lnTo>
                <a:lnTo>
                  <a:pt x="1761" y="1505"/>
                </a:lnTo>
                <a:lnTo>
                  <a:pt x="1767" y="1505"/>
                </a:lnTo>
                <a:lnTo>
                  <a:pt x="1768" y="1506"/>
                </a:lnTo>
                <a:lnTo>
                  <a:pt x="1768" y="1510"/>
                </a:lnTo>
                <a:lnTo>
                  <a:pt x="1762" y="1516"/>
                </a:lnTo>
                <a:lnTo>
                  <a:pt x="1761" y="1516"/>
                </a:lnTo>
                <a:lnTo>
                  <a:pt x="1759" y="1513"/>
                </a:lnTo>
                <a:lnTo>
                  <a:pt x="1759" y="1511"/>
                </a:lnTo>
                <a:lnTo>
                  <a:pt x="1758" y="1511"/>
                </a:lnTo>
                <a:lnTo>
                  <a:pt x="1757" y="1510"/>
                </a:lnTo>
                <a:lnTo>
                  <a:pt x="1755" y="1511"/>
                </a:lnTo>
                <a:lnTo>
                  <a:pt x="1754" y="1513"/>
                </a:lnTo>
                <a:lnTo>
                  <a:pt x="1754" y="1516"/>
                </a:lnTo>
                <a:lnTo>
                  <a:pt x="1752" y="1518"/>
                </a:lnTo>
                <a:lnTo>
                  <a:pt x="1752" y="1523"/>
                </a:lnTo>
                <a:lnTo>
                  <a:pt x="1753" y="1525"/>
                </a:lnTo>
                <a:lnTo>
                  <a:pt x="1754" y="1526"/>
                </a:lnTo>
                <a:lnTo>
                  <a:pt x="1760" y="1526"/>
                </a:lnTo>
                <a:lnTo>
                  <a:pt x="1761" y="1528"/>
                </a:lnTo>
                <a:lnTo>
                  <a:pt x="1766" y="1531"/>
                </a:lnTo>
                <a:lnTo>
                  <a:pt x="1768" y="1531"/>
                </a:lnTo>
                <a:lnTo>
                  <a:pt x="1773" y="1529"/>
                </a:lnTo>
                <a:lnTo>
                  <a:pt x="1778" y="1533"/>
                </a:lnTo>
                <a:lnTo>
                  <a:pt x="1780" y="1535"/>
                </a:lnTo>
                <a:lnTo>
                  <a:pt x="1784" y="1536"/>
                </a:lnTo>
                <a:lnTo>
                  <a:pt x="1784" y="1550"/>
                </a:lnTo>
                <a:lnTo>
                  <a:pt x="1782" y="1548"/>
                </a:lnTo>
                <a:lnTo>
                  <a:pt x="1773" y="1548"/>
                </a:lnTo>
                <a:lnTo>
                  <a:pt x="1772" y="1549"/>
                </a:lnTo>
                <a:lnTo>
                  <a:pt x="1770" y="1549"/>
                </a:lnTo>
                <a:lnTo>
                  <a:pt x="1765" y="1544"/>
                </a:lnTo>
                <a:lnTo>
                  <a:pt x="1764" y="1544"/>
                </a:lnTo>
                <a:lnTo>
                  <a:pt x="1761" y="1547"/>
                </a:lnTo>
                <a:lnTo>
                  <a:pt x="1757" y="1547"/>
                </a:lnTo>
                <a:lnTo>
                  <a:pt x="1755" y="1545"/>
                </a:lnTo>
                <a:lnTo>
                  <a:pt x="1752" y="1545"/>
                </a:lnTo>
                <a:lnTo>
                  <a:pt x="1749" y="1548"/>
                </a:lnTo>
                <a:lnTo>
                  <a:pt x="1745" y="1548"/>
                </a:lnTo>
                <a:lnTo>
                  <a:pt x="1748" y="1551"/>
                </a:lnTo>
                <a:lnTo>
                  <a:pt x="1741" y="1559"/>
                </a:lnTo>
                <a:lnTo>
                  <a:pt x="1740" y="1559"/>
                </a:lnTo>
                <a:lnTo>
                  <a:pt x="1739" y="1561"/>
                </a:lnTo>
                <a:lnTo>
                  <a:pt x="1739" y="1562"/>
                </a:lnTo>
                <a:lnTo>
                  <a:pt x="1736" y="1562"/>
                </a:lnTo>
                <a:lnTo>
                  <a:pt x="1735" y="1563"/>
                </a:lnTo>
                <a:lnTo>
                  <a:pt x="1733" y="1565"/>
                </a:lnTo>
                <a:lnTo>
                  <a:pt x="1732" y="1567"/>
                </a:lnTo>
                <a:lnTo>
                  <a:pt x="1732" y="1569"/>
                </a:lnTo>
                <a:lnTo>
                  <a:pt x="1733" y="1569"/>
                </a:lnTo>
                <a:lnTo>
                  <a:pt x="1733" y="1571"/>
                </a:lnTo>
                <a:lnTo>
                  <a:pt x="1734" y="1572"/>
                </a:lnTo>
                <a:lnTo>
                  <a:pt x="1737" y="1572"/>
                </a:lnTo>
                <a:lnTo>
                  <a:pt x="1737" y="1579"/>
                </a:lnTo>
                <a:lnTo>
                  <a:pt x="1739" y="1580"/>
                </a:lnTo>
                <a:lnTo>
                  <a:pt x="1742" y="1581"/>
                </a:lnTo>
                <a:lnTo>
                  <a:pt x="1743" y="1581"/>
                </a:lnTo>
                <a:lnTo>
                  <a:pt x="1743" y="1587"/>
                </a:lnTo>
                <a:lnTo>
                  <a:pt x="1745" y="1588"/>
                </a:lnTo>
                <a:lnTo>
                  <a:pt x="1747" y="1592"/>
                </a:lnTo>
                <a:lnTo>
                  <a:pt x="1741" y="1598"/>
                </a:lnTo>
                <a:lnTo>
                  <a:pt x="1740" y="1598"/>
                </a:lnTo>
                <a:lnTo>
                  <a:pt x="1736" y="1600"/>
                </a:lnTo>
                <a:lnTo>
                  <a:pt x="1735" y="1600"/>
                </a:lnTo>
                <a:lnTo>
                  <a:pt x="1734" y="1604"/>
                </a:lnTo>
                <a:lnTo>
                  <a:pt x="1732" y="1605"/>
                </a:lnTo>
                <a:lnTo>
                  <a:pt x="1724" y="1605"/>
                </a:lnTo>
                <a:lnTo>
                  <a:pt x="1721" y="1606"/>
                </a:lnTo>
                <a:lnTo>
                  <a:pt x="1718" y="1609"/>
                </a:lnTo>
                <a:lnTo>
                  <a:pt x="1712" y="1616"/>
                </a:lnTo>
                <a:lnTo>
                  <a:pt x="1704" y="1616"/>
                </a:lnTo>
                <a:lnTo>
                  <a:pt x="1703" y="1617"/>
                </a:lnTo>
                <a:lnTo>
                  <a:pt x="1703" y="1619"/>
                </a:lnTo>
                <a:lnTo>
                  <a:pt x="1705" y="1624"/>
                </a:lnTo>
                <a:lnTo>
                  <a:pt x="1706" y="1624"/>
                </a:lnTo>
                <a:lnTo>
                  <a:pt x="1708" y="1625"/>
                </a:lnTo>
                <a:lnTo>
                  <a:pt x="1709" y="1624"/>
                </a:lnTo>
                <a:lnTo>
                  <a:pt x="1709" y="1623"/>
                </a:lnTo>
                <a:lnTo>
                  <a:pt x="1711" y="1623"/>
                </a:lnTo>
                <a:lnTo>
                  <a:pt x="1715" y="1627"/>
                </a:lnTo>
                <a:lnTo>
                  <a:pt x="1722" y="1628"/>
                </a:lnTo>
                <a:lnTo>
                  <a:pt x="1723" y="1630"/>
                </a:lnTo>
                <a:lnTo>
                  <a:pt x="1723" y="1631"/>
                </a:lnTo>
                <a:lnTo>
                  <a:pt x="1722" y="1631"/>
                </a:lnTo>
                <a:lnTo>
                  <a:pt x="1722" y="1634"/>
                </a:lnTo>
                <a:lnTo>
                  <a:pt x="1721" y="1634"/>
                </a:lnTo>
                <a:lnTo>
                  <a:pt x="1718" y="1636"/>
                </a:lnTo>
                <a:lnTo>
                  <a:pt x="1718" y="1637"/>
                </a:lnTo>
                <a:lnTo>
                  <a:pt x="1720" y="1639"/>
                </a:lnTo>
                <a:lnTo>
                  <a:pt x="1724" y="1639"/>
                </a:lnTo>
                <a:lnTo>
                  <a:pt x="1724" y="1641"/>
                </a:lnTo>
                <a:lnTo>
                  <a:pt x="1726" y="1641"/>
                </a:lnTo>
                <a:lnTo>
                  <a:pt x="1742" y="1642"/>
                </a:lnTo>
                <a:lnTo>
                  <a:pt x="1742" y="1645"/>
                </a:lnTo>
                <a:lnTo>
                  <a:pt x="1743" y="1646"/>
                </a:lnTo>
                <a:lnTo>
                  <a:pt x="1743" y="1647"/>
                </a:lnTo>
                <a:lnTo>
                  <a:pt x="1747" y="1651"/>
                </a:lnTo>
                <a:lnTo>
                  <a:pt x="1749" y="1651"/>
                </a:lnTo>
                <a:lnTo>
                  <a:pt x="1752" y="1652"/>
                </a:lnTo>
                <a:lnTo>
                  <a:pt x="1758" y="1652"/>
                </a:lnTo>
                <a:lnTo>
                  <a:pt x="1759" y="1653"/>
                </a:lnTo>
                <a:lnTo>
                  <a:pt x="1759" y="1652"/>
                </a:lnTo>
                <a:lnTo>
                  <a:pt x="1760" y="1652"/>
                </a:lnTo>
                <a:lnTo>
                  <a:pt x="1762" y="1653"/>
                </a:lnTo>
                <a:lnTo>
                  <a:pt x="1764" y="1654"/>
                </a:lnTo>
                <a:lnTo>
                  <a:pt x="1766" y="1654"/>
                </a:lnTo>
                <a:lnTo>
                  <a:pt x="1766" y="1655"/>
                </a:lnTo>
                <a:lnTo>
                  <a:pt x="1768" y="1661"/>
                </a:lnTo>
                <a:lnTo>
                  <a:pt x="1771" y="1664"/>
                </a:lnTo>
                <a:lnTo>
                  <a:pt x="1773" y="1665"/>
                </a:lnTo>
                <a:lnTo>
                  <a:pt x="1773" y="1666"/>
                </a:lnTo>
                <a:lnTo>
                  <a:pt x="1771" y="1666"/>
                </a:lnTo>
                <a:lnTo>
                  <a:pt x="1768" y="1668"/>
                </a:lnTo>
                <a:lnTo>
                  <a:pt x="1767" y="1672"/>
                </a:lnTo>
                <a:lnTo>
                  <a:pt x="1765" y="1683"/>
                </a:lnTo>
                <a:lnTo>
                  <a:pt x="1765" y="1685"/>
                </a:lnTo>
                <a:lnTo>
                  <a:pt x="1764" y="1691"/>
                </a:lnTo>
                <a:lnTo>
                  <a:pt x="1764" y="1694"/>
                </a:lnTo>
                <a:lnTo>
                  <a:pt x="1762" y="1696"/>
                </a:lnTo>
                <a:lnTo>
                  <a:pt x="1761" y="1697"/>
                </a:lnTo>
                <a:lnTo>
                  <a:pt x="1749" y="1702"/>
                </a:lnTo>
                <a:lnTo>
                  <a:pt x="1737" y="1705"/>
                </a:lnTo>
                <a:lnTo>
                  <a:pt x="1734" y="1705"/>
                </a:lnTo>
                <a:lnTo>
                  <a:pt x="1716" y="1704"/>
                </a:lnTo>
                <a:lnTo>
                  <a:pt x="1714" y="1703"/>
                </a:lnTo>
                <a:lnTo>
                  <a:pt x="1712" y="1702"/>
                </a:lnTo>
                <a:lnTo>
                  <a:pt x="1711" y="1700"/>
                </a:lnTo>
                <a:lnTo>
                  <a:pt x="1710" y="1698"/>
                </a:lnTo>
                <a:lnTo>
                  <a:pt x="1710" y="1696"/>
                </a:lnTo>
                <a:lnTo>
                  <a:pt x="1709" y="1694"/>
                </a:lnTo>
                <a:lnTo>
                  <a:pt x="1706" y="1692"/>
                </a:lnTo>
                <a:lnTo>
                  <a:pt x="1704" y="1692"/>
                </a:lnTo>
                <a:lnTo>
                  <a:pt x="1703" y="1694"/>
                </a:lnTo>
                <a:lnTo>
                  <a:pt x="1702" y="1694"/>
                </a:lnTo>
                <a:lnTo>
                  <a:pt x="1702" y="1695"/>
                </a:lnTo>
                <a:lnTo>
                  <a:pt x="1701" y="1698"/>
                </a:lnTo>
                <a:lnTo>
                  <a:pt x="1699" y="1700"/>
                </a:lnTo>
                <a:lnTo>
                  <a:pt x="1699" y="1701"/>
                </a:lnTo>
                <a:lnTo>
                  <a:pt x="1701" y="1703"/>
                </a:lnTo>
                <a:lnTo>
                  <a:pt x="1699" y="1704"/>
                </a:lnTo>
                <a:lnTo>
                  <a:pt x="1699" y="1705"/>
                </a:lnTo>
                <a:lnTo>
                  <a:pt x="1697" y="1708"/>
                </a:lnTo>
                <a:lnTo>
                  <a:pt x="1696" y="1711"/>
                </a:lnTo>
                <a:lnTo>
                  <a:pt x="1693" y="1714"/>
                </a:lnTo>
                <a:lnTo>
                  <a:pt x="1690" y="1714"/>
                </a:lnTo>
                <a:lnTo>
                  <a:pt x="1687" y="1715"/>
                </a:lnTo>
                <a:lnTo>
                  <a:pt x="1685" y="1717"/>
                </a:lnTo>
                <a:lnTo>
                  <a:pt x="1684" y="1717"/>
                </a:lnTo>
                <a:lnTo>
                  <a:pt x="1681" y="1716"/>
                </a:lnTo>
                <a:lnTo>
                  <a:pt x="1680" y="1715"/>
                </a:lnTo>
                <a:lnTo>
                  <a:pt x="1680" y="1714"/>
                </a:lnTo>
                <a:lnTo>
                  <a:pt x="1681" y="1713"/>
                </a:lnTo>
                <a:lnTo>
                  <a:pt x="1685" y="1713"/>
                </a:lnTo>
                <a:lnTo>
                  <a:pt x="1685" y="1710"/>
                </a:lnTo>
                <a:lnTo>
                  <a:pt x="1683" y="1709"/>
                </a:lnTo>
                <a:lnTo>
                  <a:pt x="1681" y="1709"/>
                </a:lnTo>
                <a:lnTo>
                  <a:pt x="1680" y="1708"/>
                </a:lnTo>
                <a:lnTo>
                  <a:pt x="1678" y="1708"/>
                </a:lnTo>
                <a:lnTo>
                  <a:pt x="1673" y="1709"/>
                </a:lnTo>
                <a:lnTo>
                  <a:pt x="1671" y="1707"/>
                </a:lnTo>
                <a:lnTo>
                  <a:pt x="1671" y="1705"/>
                </a:lnTo>
                <a:lnTo>
                  <a:pt x="1670" y="1705"/>
                </a:lnTo>
                <a:lnTo>
                  <a:pt x="1658" y="1704"/>
                </a:lnTo>
                <a:lnTo>
                  <a:pt x="1656" y="1703"/>
                </a:lnTo>
                <a:lnTo>
                  <a:pt x="1653" y="1701"/>
                </a:lnTo>
                <a:lnTo>
                  <a:pt x="1652" y="1700"/>
                </a:lnTo>
                <a:lnTo>
                  <a:pt x="1652" y="1697"/>
                </a:lnTo>
                <a:lnTo>
                  <a:pt x="1647" y="1697"/>
                </a:lnTo>
                <a:lnTo>
                  <a:pt x="1647" y="1696"/>
                </a:lnTo>
                <a:lnTo>
                  <a:pt x="1646" y="1695"/>
                </a:lnTo>
                <a:lnTo>
                  <a:pt x="1647" y="1692"/>
                </a:lnTo>
                <a:lnTo>
                  <a:pt x="1643" y="1692"/>
                </a:lnTo>
                <a:lnTo>
                  <a:pt x="1642" y="1691"/>
                </a:lnTo>
                <a:lnTo>
                  <a:pt x="1642" y="1688"/>
                </a:lnTo>
                <a:lnTo>
                  <a:pt x="1643" y="1688"/>
                </a:lnTo>
                <a:lnTo>
                  <a:pt x="1643" y="1686"/>
                </a:lnTo>
                <a:lnTo>
                  <a:pt x="1644" y="1685"/>
                </a:lnTo>
                <a:lnTo>
                  <a:pt x="1644" y="1682"/>
                </a:lnTo>
                <a:lnTo>
                  <a:pt x="1643" y="1679"/>
                </a:lnTo>
                <a:lnTo>
                  <a:pt x="1641" y="1679"/>
                </a:lnTo>
                <a:lnTo>
                  <a:pt x="1636" y="1678"/>
                </a:lnTo>
                <a:lnTo>
                  <a:pt x="1635" y="1678"/>
                </a:lnTo>
                <a:lnTo>
                  <a:pt x="1635" y="1676"/>
                </a:lnTo>
                <a:lnTo>
                  <a:pt x="1633" y="1673"/>
                </a:lnTo>
                <a:lnTo>
                  <a:pt x="1630" y="1673"/>
                </a:lnTo>
                <a:lnTo>
                  <a:pt x="1628" y="1676"/>
                </a:lnTo>
                <a:lnTo>
                  <a:pt x="1628" y="1677"/>
                </a:lnTo>
                <a:lnTo>
                  <a:pt x="1627" y="1678"/>
                </a:lnTo>
                <a:lnTo>
                  <a:pt x="1627" y="1679"/>
                </a:lnTo>
                <a:lnTo>
                  <a:pt x="1625" y="1679"/>
                </a:lnTo>
                <a:lnTo>
                  <a:pt x="1624" y="1678"/>
                </a:lnTo>
                <a:lnTo>
                  <a:pt x="1623" y="1678"/>
                </a:lnTo>
                <a:lnTo>
                  <a:pt x="1623" y="1677"/>
                </a:lnTo>
                <a:lnTo>
                  <a:pt x="1618" y="1677"/>
                </a:lnTo>
                <a:lnTo>
                  <a:pt x="1617" y="1678"/>
                </a:lnTo>
                <a:lnTo>
                  <a:pt x="1616" y="1677"/>
                </a:lnTo>
                <a:lnTo>
                  <a:pt x="1616" y="1676"/>
                </a:lnTo>
                <a:lnTo>
                  <a:pt x="1612" y="1676"/>
                </a:lnTo>
                <a:lnTo>
                  <a:pt x="1610" y="1674"/>
                </a:lnTo>
                <a:lnTo>
                  <a:pt x="1609" y="1674"/>
                </a:lnTo>
                <a:lnTo>
                  <a:pt x="1609" y="1677"/>
                </a:lnTo>
                <a:lnTo>
                  <a:pt x="1608" y="1678"/>
                </a:lnTo>
                <a:lnTo>
                  <a:pt x="1608" y="1689"/>
                </a:lnTo>
                <a:lnTo>
                  <a:pt x="1606" y="1690"/>
                </a:lnTo>
                <a:lnTo>
                  <a:pt x="1602" y="1689"/>
                </a:lnTo>
                <a:lnTo>
                  <a:pt x="1599" y="1689"/>
                </a:lnTo>
                <a:lnTo>
                  <a:pt x="1599" y="1690"/>
                </a:lnTo>
                <a:lnTo>
                  <a:pt x="1598" y="1691"/>
                </a:lnTo>
                <a:lnTo>
                  <a:pt x="1598" y="1692"/>
                </a:lnTo>
                <a:lnTo>
                  <a:pt x="1594" y="1692"/>
                </a:lnTo>
                <a:lnTo>
                  <a:pt x="1592" y="1690"/>
                </a:lnTo>
                <a:lnTo>
                  <a:pt x="1591" y="1690"/>
                </a:lnTo>
                <a:lnTo>
                  <a:pt x="1591" y="1689"/>
                </a:lnTo>
                <a:lnTo>
                  <a:pt x="1590" y="1688"/>
                </a:lnTo>
                <a:lnTo>
                  <a:pt x="1590" y="1685"/>
                </a:lnTo>
                <a:lnTo>
                  <a:pt x="1588" y="1684"/>
                </a:lnTo>
                <a:lnTo>
                  <a:pt x="1588" y="1683"/>
                </a:lnTo>
                <a:lnTo>
                  <a:pt x="1587" y="1683"/>
                </a:lnTo>
                <a:lnTo>
                  <a:pt x="1586" y="1682"/>
                </a:lnTo>
                <a:lnTo>
                  <a:pt x="1585" y="1682"/>
                </a:lnTo>
                <a:lnTo>
                  <a:pt x="1585" y="1678"/>
                </a:lnTo>
                <a:lnTo>
                  <a:pt x="1584" y="1677"/>
                </a:lnTo>
                <a:lnTo>
                  <a:pt x="1584" y="1676"/>
                </a:lnTo>
                <a:lnTo>
                  <a:pt x="1583" y="1677"/>
                </a:lnTo>
                <a:lnTo>
                  <a:pt x="1578" y="1679"/>
                </a:lnTo>
                <a:lnTo>
                  <a:pt x="1574" y="1678"/>
                </a:lnTo>
                <a:lnTo>
                  <a:pt x="1573" y="1678"/>
                </a:lnTo>
                <a:lnTo>
                  <a:pt x="1572" y="1679"/>
                </a:lnTo>
                <a:lnTo>
                  <a:pt x="1569" y="1679"/>
                </a:lnTo>
                <a:lnTo>
                  <a:pt x="1567" y="1678"/>
                </a:lnTo>
                <a:lnTo>
                  <a:pt x="1563" y="1678"/>
                </a:lnTo>
                <a:lnTo>
                  <a:pt x="1563" y="1680"/>
                </a:lnTo>
                <a:lnTo>
                  <a:pt x="1565" y="1683"/>
                </a:lnTo>
                <a:lnTo>
                  <a:pt x="1565" y="1685"/>
                </a:lnTo>
                <a:lnTo>
                  <a:pt x="1563" y="1685"/>
                </a:lnTo>
                <a:lnTo>
                  <a:pt x="1561" y="1684"/>
                </a:lnTo>
                <a:lnTo>
                  <a:pt x="1560" y="1684"/>
                </a:lnTo>
                <a:lnTo>
                  <a:pt x="1556" y="1678"/>
                </a:lnTo>
                <a:lnTo>
                  <a:pt x="1555" y="1678"/>
                </a:lnTo>
                <a:lnTo>
                  <a:pt x="1553" y="1680"/>
                </a:lnTo>
                <a:lnTo>
                  <a:pt x="1553" y="1685"/>
                </a:lnTo>
                <a:lnTo>
                  <a:pt x="1550" y="1685"/>
                </a:lnTo>
                <a:lnTo>
                  <a:pt x="1549" y="1686"/>
                </a:lnTo>
                <a:lnTo>
                  <a:pt x="1549" y="1690"/>
                </a:lnTo>
                <a:lnTo>
                  <a:pt x="1548" y="1691"/>
                </a:lnTo>
                <a:lnTo>
                  <a:pt x="1546" y="1691"/>
                </a:lnTo>
                <a:lnTo>
                  <a:pt x="1542" y="1689"/>
                </a:lnTo>
                <a:lnTo>
                  <a:pt x="1541" y="1689"/>
                </a:lnTo>
                <a:lnTo>
                  <a:pt x="1541" y="1691"/>
                </a:lnTo>
                <a:lnTo>
                  <a:pt x="1538" y="1700"/>
                </a:lnTo>
                <a:lnTo>
                  <a:pt x="1538" y="1701"/>
                </a:lnTo>
                <a:lnTo>
                  <a:pt x="1531" y="1707"/>
                </a:lnTo>
                <a:lnTo>
                  <a:pt x="1525" y="1710"/>
                </a:lnTo>
                <a:lnTo>
                  <a:pt x="1522" y="1714"/>
                </a:lnTo>
                <a:lnTo>
                  <a:pt x="1521" y="1714"/>
                </a:lnTo>
                <a:lnTo>
                  <a:pt x="1518" y="1713"/>
                </a:lnTo>
                <a:lnTo>
                  <a:pt x="1517" y="1711"/>
                </a:lnTo>
                <a:lnTo>
                  <a:pt x="1517" y="1710"/>
                </a:lnTo>
                <a:lnTo>
                  <a:pt x="1515" y="1709"/>
                </a:lnTo>
                <a:lnTo>
                  <a:pt x="1513" y="1708"/>
                </a:lnTo>
                <a:lnTo>
                  <a:pt x="1513" y="1707"/>
                </a:lnTo>
                <a:lnTo>
                  <a:pt x="1512" y="1705"/>
                </a:lnTo>
                <a:lnTo>
                  <a:pt x="1507" y="1705"/>
                </a:lnTo>
                <a:lnTo>
                  <a:pt x="1507" y="1707"/>
                </a:lnTo>
                <a:lnTo>
                  <a:pt x="1506" y="1705"/>
                </a:lnTo>
                <a:lnTo>
                  <a:pt x="1505" y="1705"/>
                </a:lnTo>
                <a:lnTo>
                  <a:pt x="1496" y="1696"/>
                </a:lnTo>
                <a:lnTo>
                  <a:pt x="1496" y="1692"/>
                </a:lnTo>
                <a:lnTo>
                  <a:pt x="1494" y="1691"/>
                </a:lnTo>
                <a:lnTo>
                  <a:pt x="1488" y="1689"/>
                </a:lnTo>
                <a:lnTo>
                  <a:pt x="1485" y="1685"/>
                </a:lnTo>
                <a:lnTo>
                  <a:pt x="1481" y="1683"/>
                </a:lnTo>
                <a:lnTo>
                  <a:pt x="1480" y="1682"/>
                </a:lnTo>
                <a:lnTo>
                  <a:pt x="1479" y="1682"/>
                </a:lnTo>
                <a:lnTo>
                  <a:pt x="1478" y="1680"/>
                </a:lnTo>
                <a:lnTo>
                  <a:pt x="1478" y="1682"/>
                </a:lnTo>
                <a:lnTo>
                  <a:pt x="1474" y="1682"/>
                </a:lnTo>
                <a:lnTo>
                  <a:pt x="1473" y="1683"/>
                </a:lnTo>
                <a:lnTo>
                  <a:pt x="1473" y="1686"/>
                </a:lnTo>
                <a:lnTo>
                  <a:pt x="1472" y="1688"/>
                </a:lnTo>
                <a:lnTo>
                  <a:pt x="1473" y="1689"/>
                </a:lnTo>
                <a:lnTo>
                  <a:pt x="1475" y="1689"/>
                </a:lnTo>
                <a:lnTo>
                  <a:pt x="1478" y="1690"/>
                </a:lnTo>
                <a:lnTo>
                  <a:pt x="1478" y="1694"/>
                </a:lnTo>
                <a:lnTo>
                  <a:pt x="1476" y="1695"/>
                </a:lnTo>
                <a:lnTo>
                  <a:pt x="1476" y="1696"/>
                </a:lnTo>
                <a:lnTo>
                  <a:pt x="1478" y="1697"/>
                </a:lnTo>
                <a:lnTo>
                  <a:pt x="1478" y="1702"/>
                </a:lnTo>
                <a:lnTo>
                  <a:pt x="1479" y="1707"/>
                </a:lnTo>
                <a:lnTo>
                  <a:pt x="1479" y="1709"/>
                </a:lnTo>
                <a:lnTo>
                  <a:pt x="1478" y="1711"/>
                </a:lnTo>
                <a:lnTo>
                  <a:pt x="1475" y="1714"/>
                </a:lnTo>
                <a:lnTo>
                  <a:pt x="1473" y="1714"/>
                </a:lnTo>
                <a:lnTo>
                  <a:pt x="1472" y="1715"/>
                </a:lnTo>
                <a:lnTo>
                  <a:pt x="1470" y="1715"/>
                </a:lnTo>
                <a:lnTo>
                  <a:pt x="1467" y="1711"/>
                </a:lnTo>
                <a:lnTo>
                  <a:pt x="1467" y="1709"/>
                </a:lnTo>
                <a:lnTo>
                  <a:pt x="1466" y="1708"/>
                </a:lnTo>
                <a:lnTo>
                  <a:pt x="1467" y="1707"/>
                </a:lnTo>
                <a:lnTo>
                  <a:pt x="1467" y="1704"/>
                </a:lnTo>
                <a:lnTo>
                  <a:pt x="1468" y="1703"/>
                </a:lnTo>
                <a:lnTo>
                  <a:pt x="1468" y="1698"/>
                </a:lnTo>
                <a:lnTo>
                  <a:pt x="1470" y="1695"/>
                </a:lnTo>
                <a:lnTo>
                  <a:pt x="1470" y="1692"/>
                </a:lnTo>
                <a:lnTo>
                  <a:pt x="1468" y="1692"/>
                </a:lnTo>
                <a:lnTo>
                  <a:pt x="1468" y="1691"/>
                </a:lnTo>
                <a:lnTo>
                  <a:pt x="1467" y="1691"/>
                </a:lnTo>
                <a:lnTo>
                  <a:pt x="1467" y="1690"/>
                </a:lnTo>
                <a:lnTo>
                  <a:pt x="1463" y="1690"/>
                </a:lnTo>
                <a:lnTo>
                  <a:pt x="1462" y="1689"/>
                </a:lnTo>
                <a:lnTo>
                  <a:pt x="1461" y="1689"/>
                </a:lnTo>
                <a:lnTo>
                  <a:pt x="1461" y="1688"/>
                </a:lnTo>
                <a:lnTo>
                  <a:pt x="1459" y="1685"/>
                </a:lnTo>
                <a:lnTo>
                  <a:pt x="1457" y="1685"/>
                </a:lnTo>
                <a:lnTo>
                  <a:pt x="1456" y="1683"/>
                </a:lnTo>
                <a:lnTo>
                  <a:pt x="1456" y="1680"/>
                </a:lnTo>
                <a:lnTo>
                  <a:pt x="1455" y="1678"/>
                </a:lnTo>
                <a:lnTo>
                  <a:pt x="1455" y="1677"/>
                </a:lnTo>
                <a:lnTo>
                  <a:pt x="1454" y="1676"/>
                </a:lnTo>
                <a:lnTo>
                  <a:pt x="1451" y="1676"/>
                </a:lnTo>
                <a:lnTo>
                  <a:pt x="1451" y="1674"/>
                </a:lnTo>
                <a:lnTo>
                  <a:pt x="1450" y="1672"/>
                </a:lnTo>
                <a:lnTo>
                  <a:pt x="1449" y="1672"/>
                </a:lnTo>
                <a:lnTo>
                  <a:pt x="1447" y="1670"/>
                </a:lnTo>
                <a:lnTo>
                  <a:pt x="1444" y="1671"/>
                </a:lnTo>
                <a:lnTo>
                  <a:pt x="1436" y="1668"/>
                </a:lnTo>
                <a:lnTo>
                  <a:pt x="1436" y="1667"/>
                </a:lnTo>
                <a:lnTo>
                  <a:pt x="1435" y="1666"/>
                </a:lnTo>
                <a:lnTo>
                  <a:pt x="1435" y="1665"/>
                </a:lnTo>
                <a:lnTo>
                  <a:pt x="1432" y="1662"/>
                </a:lnTo>
                <a:lnTo>
                  <a:pt x="1434" y="1661"/>
                </a:lnTo>
                <a:lnTo>
                  <a:pt x="1434" y="1660"/>
                </a:lnTo>
                <a:lnTo>
                  <a:pt x="1432" y="1659"/>
                </a:lnTo>
                <a:lnTo>
                  <a:pt x="1434" y="1659"/>
                </a:lnTo>
                <a:lnTo>
                  <a:pt x="1434" y="1657"/>
                </a:lnTo>
                <a:lnTo>
                  <a:pt x="1431" y="1655"/>
                </a:lnTo>
                <a:lnTo>
                  <a:pt x="1428" y="1653"/>
                </a:lnTo>
                <a:lnTo>
                  <a:pt x="1426" y="1653"/>
                </a:lnTo>
                <a:lnTo>
                  <a:pt x="1425" y="1651"/>
                </a:lnTo>
                <a:lnTo>
                  <a:pt x="1424" y="1649"/>
                </a:lnTo>
                <a:lnTo>
                  <a:pt x="1417" y="1649"/>
                </a:lnTo>
                <a:lnTo>
                  <a:pt x="1417" y="1648"/>
                </a:lnTo>
                <a:lnTo>
                  <a:pt x="1414" y="1648"/>
                </a:lnTo>
                <a:lnTo>
                  <a:pt x="1414" y="1651"/>
                </a:lnTo>
                <a:lnTo>
                  <a:pt x="1410" y="1649"/>
                </a:lnTo>
                <a:lnTo>
                  <a:pt x="1409" y="1651"/>
                </a:lnTo>
                <a:lnTo>
                  <a:pt x="1407" y="1651"/>
                </a:lnTo>
                <a:lnTo>
                  <a:pt x="1407" y="1652"/>
                </a:lnTo>
                <a:lnTo>
                  <a:pt x="1406" y="1652"/>
                </a:lnTo>
                <a:lnTo>
                  <a:pt x="1406" y="1653"/>
                </a:lnTo>
                <a:lnTo>
                  <a:pt x="1405" y="1652"/>
                </a:lnTo>
                <a:lnTo>
                  <a:pt x="1403" y="1652"/>
                </a:lnTo>
                <a:lnTo>
                  <a:pt x="1404" y="1651"/>
                </a:lnTo>
                <a:lnTo>
                  <a:pt x="1403" y="1649"/>
                </a:lnTo>
                <a:lnTo>
                  <a:pt x="1400" y="1651"/>
                </a:lnTo>
                <a:lnTo>
                  <a:pt x="1400" y="1649"/>
                </a:lnTo>
                <a:lnTo>
                  <a:pt x="1399" y="1649"/>
                </a:lnTo>
                <a:lnTo>
                  <a:pt x="1399" y="1648"/>
                </a:lnTo>
                <a:lnTo>
                  <a:pt x="1398" y="1649"/>
                </a:lnTo>
                <a:lnTo>
                  <a:pt x="1398" y="1651"/>
                </a:lnTo>
                <a:lnTo>
                  <a:pt x="1395" y="1651"/>
                </a:lnTo>
                <a:lnTo>
                  <a:pt x="1395" y="1652"/>
                </a:lnTo>
                <a:lnTo>
                  <a:pt x="1388" y="1652"/>
                </a:lnTo>
                <a:lnTo>
                  <a:pt x="1387" y="1651"/>
                </a:lnTo>
                <a:lnTo>
                  <a:pt x="1387" y="1649"/>
                </a:lnTo>
                <a:lnTo>
                  <a:pt x="1386" y="1649"/>
                </a:lnTo>
                <a:lnTo>
                  <a:pt x="1386" y="1648"/>
                </a:lnTo>
                <a:lnTo>
                  <a:pt x="1385" y="1643"/>
                </a:lnTo>
                <a:lnTo>
                  <a:pt x="1381" y="1636"/>
                </a:lnTo>
                <a:lnTo>
                  <a:pt x="1381" y="1634"/>
                </a:lnTo>
                <a:lnTo>
                  <a:pt x="1380" y="1631"/>
                </a:lnTo>
                <a:lnTo>
                  <a:pt x="1379" y="1630"/>
                </a:lnTo>
                <a:lnTo>
                  <a:pt x="1379" y="1631"/>
                </a:lnTo>
                <a:lnTo>
                  <a:pt x="1376" y="1634"/>
                </a:lnTo>
                <a:lnTo>
                  <a:pt x="1373" y="1634"/>
                </a:lnTo>
                <a:lnTo>
                  <a:pt x="1372" y="1635"/>
                </a:lnTo>
                <a:lnTo>
                  <a:pt x="1370" y="1637"/>
                </a:lnTo>
                <a:lnTo>
                  <a:pt x="1369" y="1639"/>
                </a:lnTo>
                <a:lnTo>
                  <a:pt x="1364" y="1639"/>
                </a:lnTo>
                <a:lnTo>
                  <a:pt x="1364" y="1637"/>
                </a:lnTo>
                <a:lnTo>
                  <a:pt x="1361" y="1637"/>
                </a:lnTo>
                <a:lnTo>
                  <a:pt x="1358" y="1640"/>
                </a:lnTo>
                <a:lnTo>
                  <a:pt x="1356" y="1643"/>
                </a:lnTo>
                <a:lnTo>
                  <a:pt x="1356" y="1645"/>
                </a:lnTo>
                <a:lnTo>
                  <a:pt x="1357" y="1647"/>
                </a:lnTo>
                <a:lnTo>
                  <a:pt x="1357" y="1649"/>
                </a:lnTo>
                <a:lnTo>
                  <a:pt x="1352" y="1652"/>
                </a:lnTo>
                <a:lnTo>
                  <a:pt x="1351" y="1653"/>
                </a:lnTo>
                <a:lnTo>
                  <a:pt x="1350" y="1651"/>
                </a:lnTo>
                <a:lnTo>
                  <a:pt x="1350" y="1648"/>
                </a:lnTo>
                <a:lnTo>
                  <a:pt x="1349" y="1647"/>
                </a:lnTo>
                <a:lnTo>
                  <a:pt x="1347" y="1647"/>
                </a:lnTo>
                <a:lnTo>
                  <a:pt x="1347" y="1648"/>
                </a:lnTo>
                <a:lnTo>
                  <a:pt x="1345" y="1649"/>
                </a:lnTo>
                <a:lnTo>
                  <a:pt x="1343" y="1651"/>
                </a:lnTo>
                <a:lnTo>
                  <a:pt x="1339" y="1652"/>
                </a:lnTo>
                <a:lnTo>
                  <a:pt x="1335" y="1649"/>
                </a:lnTo>
                <a:lnTo>
                  <a:pt x="1335" y="1648"/>
                </a:lnTo>
                <a:lnTo>
                  <a:pt x="1333" y="1647"/>
                </a:lnTo>
                <a:lnTo>
                  <a:pt x="1333" y="1646"/>
                </a:lnTo>
                <a:lnTo>
                  <a:pt x="1338" y="1646"/>
                </a:lnTo>
                <a:lnTo>
                  <a:pt x="1339" y="1645"/>
                </a:lnTo>
                <a:lnTo>
                  <a:pt x="1339" y="1640"/>
                </a:lnTo>
                <a:lnTo>
                  <a:pt x="1336" y="1640"/>
                </a:lnTo>
                <a:lnTo>
                  <a:pt x="1336" y="1639"/>
                </a:lnTo>
                <a:lnTo>
                  <a:pt x="1333" y="1636"/>
                </a:lnTo>
                <a:lnTo>
                  <a:pt x="1332" y="1637"/>
                </a:lnTo>
                <a:lnTo>
                  <a:pt x="1320" y="1637"/>
                </a:lnTo>
                <a:lnTo>
                  <a:pt x="1319" y="1636"/>
                </a:lnTo>
                <a:lnTo>
                  <a:pt x="1319" y="1635"/>
                </a:lnTo>
                <a:lnTo>
                  <a:pt x="1318" y="1634"/>
                </a:lnTo>
                <a:lnTo>
                  <a:pt x="1318" y="1633"/>
                </a:lnTo>
                <a:lnTo>
                  <a:pt x="1317" y="1633"/>
                </a:lnTo>
                <a:lnTo>
                  <a:pt x="1316" y="1631"/>
                </a:lnTo>
                <a:lnTo>
                  <a:pt x="1314" y="1631"/>
                </a:lnTo>
                <a:lnTo>
                  <a:pt x="1313" y="1633"/>
                </a:lnTo>
                <a:lnTo>
                  <a:pt x="1313" y="1635"/>
                </a:lnTo>
                <a:lnTo>
                  <a:pt x="1316" y="1641"/>
                </a:lnTo>
                <a:lnTo>
                  <a:pt x="1312" y="1645"/>
                </a:lnTo>
                <a:lnTo>
                  <a:pt x="1310" y="1645"/>
                </a:lnTo>
                <a:lnTo>
                  <a:pt x="1310" y="1642"/>
                </a:lnTo>
                <a:lnTo>
                  <a:pt x="1311" y="1642"/>
                </a:lnTo>
                <a:lnTo>
                  <a:pt x="1311" y="1641"/>
                </a:lnTo>
                <a:lnTo>
                  <a:pt x="1308" y="1641"/>
                </a:lnTo>
                <a:lnTo>
                  <a:pt x="1307" y="1640"/>
                </a:lnTo>
                <a:lnTo>
                  <a:pt x="1306" y="1640"/>
                </a:lnTo>
                <a:lnTo>
                  <a:pt x="1306" y="1643"/>
                </a:lnTo>
                <a:lnTo>
                  <a:pt x="1305" y="1643"/>
                </a:lnTo>
                <a:lnTo>
                  <a:pt x="1304" y="1645"/>
                </a:lnTo>
                <a:lnTo>
                  <a:pt x="1304" y="1652"/>
                </a:lnTo>
                <a:lnTo>
                  <a:pt x="1301" y="1652"/>
                </a:lnTo>
                <a:lnTo>
                  <a:pt x="1301" y="1654"/>
                </a:lnTo>
                <a:lnTo>
                  <a:pt x="1296" y="1654"/>
                </a:lnTo>
                <a:lnTo>
                  <a:pt x="1296" y="1655"/>
                </a:lnTo>
                <a:lnTo>
                  <a:pt x="1298" y="1655"/>
                </a:lnTo>
                <a:lnTo>
                  <a:pt x="1298" y="1657"/>
                </a:lnTo>
                <a:lnTo>
                  <a:pt x="1296" y="1657"/>
                </a:lnTo>
                <a:lnTo>
                  <a:pt x="1296" y="1658"/>
                </a:lnTo>
                <a:lnTo>
                  <a:pt x="1295" y="1658"/>
                </a:lnTo>
                <a:lnTo>
                  <a:pt x="1295" y="1659"/>
                </a:lnTo>
                <a:lnTo>
                  <a:pt x="1296" y="1660"/>
                </a:lnTo>
                <a:lnTo>
                  <a:pt x="1296" y="1661"/>
                </a:lnTo>
                <a:lnTo>
                  <a:pt x="1295" y="1662"/>
                </a:lnTo>
                <a:lnTo>
                  <a:pt x="1291" y="1665"/>
                </a:lnTo>
                <a:lnTo>
                  <a:pt x="1282" y="1666"/>
                </a:lnTo>
                <a:lnTo>
                  <a:pt x="1273" y="1676"/>
                </a:lnTo>
                <a:lnTo>
                  <a:pt x="1257" y="1676"/>
                </a:lnTo>
                <a:lnTo>
                  <a:pt x="1257" y="1677"/>
                </a:lnTo>
                <a:lnTo>
                  <a:pt x="1256" y="1678"/>
                </a:lnTo>
                <a:lnTo>
                  <a:pt x="1256" y="1682"/>
                </a:lnTo>
                <a:lnTo>
                  <a:pt x="1255" y="1683"/>
                </a:lnTo>
                <a:lnTo>
                  <a:pt x="1254" y="1685"/>
                </a:lnTo>
                <a:lnTo>
                  <a:pt x="1255" y="1686"/>
                </a:lnTo>
                <a:lnTo>
                  <a:pt x="1257" y="1691"/>
                </a:lnTo>
                <a:lnTo>
                  <a:pt x="1256" y="1694"/>
                </a:lnTo>
                <a:lnTo>
                  <a:pt x="1255" y="1695"/>
                </a:lnTo>
                <a:lnTo>
                  <a:pt x="1251" y="1696"/>
                </a:lnTo>
                <a:lnTo>
                  <a:pt x="1245" y="1697"/>
                </a:lnTo>
                <a:lnTo>
                  <a:pt x="1244" y="1700"/>
                </a:lnTo>
                <a:lnTo>
                  <a:pt x="1239" y="1704"/>
                </a:lnTo>
                <a:lnTo>
                  <a:pt x="1232" y="1710"/>
                </a:lnTo>
                <a:lnTo>
                  <a:pt x="1229" y="1710"/>
                </a:lnTo>
                <a:lnTo>
                  <a:pt x="1223" y="1707"/>
                </a:lnTo>
                <a:lnTo>
                  <a:pt x="1221" y="1707"/>
                </a:lnTo>
                <a:lnTo>
                  <a:pt x="1221" y="1708"/>
                </a:lnTo>
                <a:lnTo>
                  <a:pt x="1223" y="1709"/>
                </a:lnTo>
                <a:lnTo>
                  <a:pt x="1225" y="1709"/>
                </a:lnTo>
                <a:lnTo>
                  <a:pt x="1225" y="1711"/>
                </a:lnTo>
                <a:lnTo>
                  <a:pt x="1226" y="1713"/>
                </a:lnTo>
                <a:lnTo>
                  <a:pt x="1226" y="1727"/>
                </a:lnTo>
                <a:lnTo>
                  <a:pt x="1227" y="1732"/>
                </a:lnTo>
                <a:lnTo>
                  <a:pt x="1230" y="1735"/>
                </a:lnTo>
                <a:lnTo>
                  <a:pt x="1231" y="1738"/>
                </a:lnTo>
                <a:lnTo>
                  <a:pt x="1230" y="1740"/>
                </a:lnTo>
                <a:lnTo>
                  <a:pt x="1230" y="1741"/>
                </a:lnTo>
                <a:lnTo>
                  <a:pt x="1233" y="1743"/>
                </a:lnTo>
                <a:lnTo>
                  <a:pt x="1233" y="1744"/>
                </a:lnTo>
                <a:lnTo>
                  <a:pt x="1234" y="1745"/>
                </a:lnTo>
                <a:lnTo>
                  <a:pt x="1234" y="1748"/>
                </a:lnTo>
                <a:lnTo>
                  <a:pt x="1230" y="1753"/>
                </a:lnTo>
                <a:lnTo>
                  <a:pt x="1226" y="1756"/>
                </a:lnTo>
                <a:lnTo>
                  <a:pt x="1218" y="1759"/>
                </a:lnTo>
                <a:lnTo>
                  <a:pt x="1215" y="1762"/>
                </a:lnTo>
                <a:lnTo>
                  <a:pt x="1214" y="1762"/>
                </a:lnTo>
                <a:lnTo>
                  <a:pt x="1212" y="1760"/>
                </a:lnTo>
                <a:lnTo>
                  <a:pt x="1211" y="1758"/>
                </a:lnTo>
                <a:lnTo>
                  <a:pt x="1207" y="1758"/>
                </a:lnTo>
                <a:lnTo>
                  <a:pt x="1207" y="1757"/>
                </a:lnTo>
                <a:lnTo>
                  <a:pt x="1206" y="1756"/>
                </a:lnTo>
                <a:lnTo>
                  <a:pt x="1206" y="1754"/>
                </a:lnTo>
                <a:lnTo>
                  <a:pt x="1204" y="1752"/>
                </a:lnTo>
                <a:lnTo>
                  <a:pt x="1202" y="1750"/>
                </a:lnTo>
                <a:lnTo>
                  <a:pt x="1202" y="1747"/>
                </a:lnTo>
                <a:lnTo>
                  <a:pt x="1201" y="1746"/>
                </a:lnTo>
                <a:lnTo>
                  <a:pt x="1201" y="1744"/>
                </a:lnTo>
                <a:lnTo>
                  <a:pt x="1200" y="1743"/>
                </a:lnTo>
                <a:lnTo>
                  <a:pt x="1199" y="1740"/>
                </a:lnTo>
                <a:lnTo>
                  <a:pt x="1198" y="1740"/>
                </a:lnTo>
                <a:lnTo>
                  <a:pt x="1198" y="1738"/>
                </a:lnTo>
                <a:lnTo>
                  <a:pt x="1196" y="1738"/>
                </a:lnTo>
                <a:lnTo>
                  <a:pt x="1194" y="1733"/>
                </a:lnTo>
                <a:lnTo>
                  <a:pt x="1192" y="1732"/>
                </a:lnTo>
                <a:lnTo>
                  <a:pt x="1190" y="1731"/>
                </a:lnTo>
                <a:lnTo>
                  <a:pt x="1189" y="1728"/>
                </a:lnTo>
                <a:lnTo>
                  <a:pt x="1188" y="1728"/>
                </a:lnTo>
                <a:lnTo>
                  <a:pt x="1188" y="1727"/>
                </a:lnTo>
                <a:lnTo>
                  <a:pt x="1187" y="1727"/>
                </a:lnTo>
                <a:lnTo>
                  <a:pt x="1187" y="1726"/>
                </a:lnTo>
                <a:lnTo>
                  <a:pt x="1181" y="1720"/>
                </a:lnTo>
                <a:lnTo>
                  <a:pt x="1176" y="1720"/>
                </a:lnTo>
                <a:lnTo>
                  <a:pt x="1175" y="1722"/>
                </a:lnTo>
                <a:lnTo>
                  <a:pt x="1174" y="1723"/>
                </a:lnTo>
                <a:lnTo>
                  <a:pt x="1174" y="1725"/>
                </a:lnTo>
                <a:lnTo>
                  <a:pt x="1173" y="1727"/>
                </a:lnTo>
                <a:lnTo>
                  <a:pt x="1171" y="1728"/>
                </a:lnTo>
                <a:lnTo>
                  <a:pt x="1169" y="1729"/>
                </a:lnTo>
                <a:lnTo>
                  <a:pt x="1168" y="1729"/>
                </a:lnTo>
                <a:lnTo>
                  <a:pt x="1168" y="1733"/>
                </a:lnTo>
                <a:lnTo>
                  <a:pt x="1169" y="1733"/>
                </a:lnTo>
                <a:lnTo>
                  <a:pt x="1168" y="1734"/>
                </a:lnTo>
                <a:lnTo>
                  <a:pt x="1167" y="1737"/>
                </a:lnTo>
                <a:lnTo>
                  <a:pt x="1167" y="1739"/>
                </a:lnTo>
                <a:lnTo>
                  <a:pt x="1169" y="1743"/>
                </a:lnTo>
                <a:lnTo>
                  <a:pt x="1169" y="1745"/>
                </a:lnTo>
                <a:lnTo>
                  <a:pt x="1168" y="1746"/>
                </a:lnTo>
                <a:lnTo>
                  <a:pt x="1165" y="1750"/>
                </a:lnTo>
                <a:lnTo>
                  <a:pt x="1163" y="1752"/>
                </a:lnTo>
                <a:lnTo>
                  <a:pt x="1151" y="1758"/>
                </a:lnTo>
                <a:lnTo>
                  <a:pt x="1151" y="1760"/>
                </a:lnTo>
                <a:lnTo>
                  <a:pt x="1147" y="1777"/>
                </a:lnTo>
                <a:lnTo>
                  <a:pt x="1145" y="1793"/>
                </a:lnTo>
                <a:lnTo>
                  <a:pt x="1147" y="1794"/>
                </a:lnTo>
                <a:lnTo>
                  <a:pt x="1153" y="1799"/>
                </a:lnTo>
                <a:lnTo>
                  <a:pt x="1156" y="1801"/>
                </a:lnTo>
                <a:lnTo>
                  <a:pt x="1157" y="1805"/>
                </a:lnTo>
                <a:lnTo>
                  <a:pt x="1156" y="1808"/>
                </a:lnTo>
                <a:lnTo>
                  <a:pt x="1153" y="1811"/>
                </a:lnTo>
                <a:lnTo>
                  <a:pt x="1152" y="1814"/>
                </a:lnTo>
                <a:lnTo>
                  <a:pt x="1151" y="1814"/>
                </a:lnTo>
                <a:lnTo>
                  <a:pt x="1150" y="1815"/>
                </a:lnTo>
                <a:lnTo>
                  <a:pt x="1145" y="1818"/>
                </a:lnTo>
                <a:lnTo>
                  <a:pt x="1145" y="1820"/>
                </a:lnTo>
                <a:lnTo>
                  <a:pt x="1133" y="1851"/>
                </a:lnTo>
                <a:lnTo>
                  <a:pt x="1144" y="1856"/>
                </a:lnTo>
                <a:lnTo>
                  <a:pt x="1153" y="1860"/>
                </a:lnTo>
                <a:lnTo>
                  <a:pt x="1158" y="1861"/>
                </a:lnTo>
                <a:lnTo>
                  <a:pt x="1159" y="1861"/>
                </a:lnTo>
                <a:lnTo>
                  <a:pt x="1159" y="1863"/>
                </a:lnTo>
                <a:lnTo>
                  <a:pt x="1158" y="1864"/>
                </a:lnTo>
                <a:lnTo>
                  <a:pt x="1158" y="1866"/>
                </a:lnTo>
                <a:lnTo>
                  <a:pt x="1159" y="1867"/>
                </a:lnTo>
                <a:lnTo>
                  <a:pt x="1159" y="1873"/>
                </a:lnTo>
                <a:lnTo>
                  <a:pt x="1163" y="1873"/>
                </a:lnTo>
                <a:lnTo>
                  <a:pt x="1163" y="1874"/>
                </a:lnTo>
                <a:lnTo>
                  <a:pt x="1161" y="1876"/>
                </a:lnTo>
                <a:lnTo>
                  <a:pt x="1157" y="1877"/>
                </a:lnTo>
                <a:lnTo>
                  <a:pt x="1157" y="1880"/>
                </a:lnTo>
                <a:lnTo>
                  <a:pt x="1161" y="1883"/>
                </a:lnTo>
                <a:lnTo>
                  <a:pt x="1162" y="1886"/>
                </a:lnTo>
                <a:lnTo>
                  <a:pt x="1162" y="1887"/>
                </a:lnTo>
                <a:lnTo>
                  <a:pt x="1161" y="1887"/>
                </a:lnTo>
                <a:lnTo>
                  <a:pt x="1161" y="1888"/>
                </a:lnTo>
                <a:lnTo>
                  <a:pt x="1159" y="1889"/>
                </a:lnTo>
                <a:lnTo>
                  <a:pt x="1161" y="1889"/>
                </a:lnTo>
                <a:lnTo>
                  <a:pt x="1161" y="1891"/>
                </a:lnTo>
                <a:lnTo>
                  <a:pt x="1162" y="1892"/>
                </a:lnTo>
                <a:lnTo>
                  <a:pt x="1170" y="1898"/>
                </a:lnTo>
                <a:lnTo>
                  <a:pt x="1171" y="1897"/>
                </a:lnTo>
                <a:lnTo>
                  <a:pt x="1171" y="1888"/>
                </a:lnTo>
                <a:lnTo>
                  <a:pt x="1174" y="1888"/>
                </a:lnTo>
                <a:lnTo>
                  <a:pt x="1182" y="1893"/>
                </a:lnTo>
                <a:lnTo>
                  <a:pt x="1199" y="1892"/>
                </a:lnTo>
                <a:lnTo>
                  <a:pt x="1202" y="1893"/>
                </a:lnTo>
                <a:lnTo>
                  <a:pt x="1205" y="1895"/>
                </a:lnTo>
                <a:lnTo>
                  <a:pt x="1212" y="1910"/>
                </a:lnTo>
                <a:lnTo>
                  <a:pt x="1217" y="1915"/>
                </a:lnTo>
                <a:lnTo>
                  <a:pt x="1219" y="1915"/>
                </a:lnTo>
                <a:lnTo>
                  <a:pt x="1220" y="1916"/>
                </a:lnTo>
                <a:lnTo>
                  <a:pt x="1220" y="1917"/>
                </a:lnTo>
                <a:lnTo>
                  <a:pt x="1226" y="1934"/>
                </a:lnTo>
                <a:lnTo>
                  <a:pt x="1239" y="1954"/>
                </a:lnTo>
                <a:lnTo>
                  <a:pt x="1237" y="1957"/>
                </a:lnTo>
                <a:lnTo>
                  <a:pt x="1236" y="1959"/>
                </a:lnTo>
                <a:lnTo>
                  <a:pt x="1230" y="1960"/>
                </a:lnTo>
                <a:lnTo>
                  <a:pt x="1229" y="1959"/>
                </a:lnTo>
                <a:lnTo>
                  <a:pt x="1227" y="1956"/>
                </a:lnTo>
                <a:lnTo>
                  <a:pt x="1226" y="1956"/>
                </a:lnTo>
                <a:lnTo>
                  <a:pt x="1226" y="1955"/>
                </a:lnTo>
                <a:lnTo>
                  <a:pt x="1224" y="1954"/>
                </a:lnTo>
                <a:lnTo>
                  <a:pt x="1220" y="1955"/>
                </a:lnTo>
                <a:lnTo>
                  <a:pt x="1219" y="1956"/>
                </a:lnTo>
                <a:lnTo>
                  <a:pt x="1218" y="1960"/>
                </a:lnTo>
                <a:lnTo>
                  <a:pt x="1217" y="1961"/>
                </a:lnTo>
                <a:lnTo>
                  <a:pt x="1218" y="1961"/>
                </a:lnTo>
                <a:lnTo>
                  <a:pt x="1220" y="1963"/>
                </a:lnTo>
                <a:lnTo>
                  <a:pt x="1220" y="1965"/>
                </a:lnTo>
                <a:lnTo>
                  <a:pt x="1221" y="1965"/>
                </a:lnTo>
                <a:lnTo>
                  <a:pt x="1220" y="1967"/>
                </a:lnTo>
                <a:lnTo>
                  <a:pt x="1225" y="1967"/>
                </a:lnTo>
                <a:lnTo>
                  <a:pt x="1227" y="1968"/>
                </a:lnTo>
                <a:lnTo>
                  <a:pt x="1229" y="1968"/>
                </a:lnTo>
                <a:lnTo>
                  <a:pt x="1229" y="1969"/>
                </a:lnTo>
                <a:lnTo>
                  <a:pt x="1232" y="1972"/>
                </a:lnTo>
                <a:lnTo>
                  <a:pt x="1236" y="1972"/>
                </a:lnTo>
                <a:lnTo>
                  <a:pt x="1240" y="1977"/>
                </a:lnTo>
                <a:lnTo>
                  <a:pt x="1249" y="1981"/>
                </a:lnTo>
                <a:lnTo>
                  <a:pt x="1250" y="1984"/>
                </a:lnTo>
                <a:lnTo>
                  <a:pt x="1251" y="1985"/>
                </a:lnTo>
                <a:lnTo>
                  <a:pt x="1252" y="1985"/>
                </a:lnTo>
                <a:lnTo>
                  <a:pt x="1252" y="1986"/>
                </a:lnTo>
                <a:lnTo>
                  <a:pt x="1250" y="1986"/>
                </a:lnTo>
                <a:lnTo>
                  <a:pt x="1250" y="1985"/>
                </a:lnTo>
                <a:lnTo>
                  <a:pt x="1248" y="1985"/>
                </a:lnTo>
                <a:lnTo>
                  <a:pt x="1245" y="1983"/>
                </a:lnTo>
                <a:lnTo>
                  <a:pt x="1246" y="1981"/>
                </a:lnTo>
                <a:lnTo>
                  <a:pt x="1245" y="1981"/>
                </a:lnTo>
                <a:lnTo>
                  <a:pt x="1243" y="1984"/>
                </a:lnTo>
                <a:lnTo>
                  <a:pt x="1243" y="1985"/>
                </a:lnTo>
                <a:lnTo>
                  <a:pt x="1242" y="1985"/>
                </a:lnTo>
                <a:lnTo>
                  <a:pt x="1242" y="1986"/>
                </a:lnTo>
                <a:lnTo>
                  <a:pt x="1244" y="1986"/>
                </a:lnTo>
                <a:lnTo>
                  <a:pt x="1244" y="1992"/>
                </a:lnTo>
                <a:lnTo>
                  <a:pt x="1242" y="1990"/>
                </a:lnTo>
                <a:lnTo>
                  <a:pt x="1240" y="1990"/>
                </a:lnTo>
                <a:lnTo>
                  <a:pt x="1240" y="1991"/>
                </a:lnTo>
                <a:lnTo>
                  <a:pt x="1239" y="1991"/>
                </a:lnTo>
                <a:lnTo>
                  <a:pt x="1237" y="1992"/>
                </a:lnTo>
                <a:lnTo>
                  <a:pt x="1237" y="1996"/>
                </a:lnTo>
                <a:lnTo>
                  <a:pt x="1236" y="1996"/>
                </a:lnTo>
                <a:lnTo>
                  <a:pt x="1236" y="1993"/>
                </a:lnTo>
                <a:lnTo>
                  <a:pt x="1234" y="1992"/>
                </a:lnTo>
                <a:lnTo>
                  <a:pt x="1234" y="1995"/>
                </a:lnTo>
                <a:lnTo>
                  <a:pt x="1233" y="1993"/>
                </a:lnTo>
                <a:lnTo>
                  <a:pt x="1233" y="1996"/>
                </a:lnTo>
                <a:lnTo>
                  <a:pt x="1234" y="1997"/>
                </a:lnTo>
                <a:lnTo>
                  <a:pt x="1233" y="1997"/>
                </a:lnTo>
                <a:lnTo>
                  <a:pt x="1232" y="1996"/>
                </a:lnTo>
                <a:lnTo>
                  <a:pt x="1232" y="1998"/>
                </a:lnTo>
                <a:lnTo>
                  <a:pt x="1231" y="1998"/>
                </a:lnTo>
                <a:lnTo>
                  <a:pt x="1231" y="1997"/>
                </a:lnTo>
                <a:lnTo>
                  <a:pt x="1227" y="1993"/>
                </a:lnTo>
                <a:lnTo>
                  <a:pt x="1226" y="1995"/>
                </a:lnTo>
                <a:lnTo>
                  <a:pt x="1225" y="1995"/>
                </a:lnTo>
                <a:lnTo>
                  <a:pt x="1225" y="1996"/>
                </a:lnTo>
                <a:lnTo>
                  <a:pt x="1224" y="1996"/>
                </a:lnTo>
                <a:lnTo>
                  <a:pt x="1224" y="1997"/>
                </a:lnTo>
                <a:lnTo>
                  <a:pt x="1226" y="1997"/>
                </a:lnTo>
                <a:lnTo>
                  <a:pt x="1227" y="1999"/>
                </a:lnTo>
                <a:lnTo>
                  <a:pt x="1227" y="2002"/>
                </a:lnTo>
                <a:lnTo>
                  <a:pt x="1225" y="2002"/>
                </a:lnTo>
                <a:lnTo>
                  <a:pt x="1225" y="2004"/>
                </a:lnTo>
                <a:lnTo>
                  <a:pt x="1226" y="2003"/>
                </a:lnTo>
                <a:lnTo>
                  <a:pt x="1229" y="2003"/>
                </a:lnTo>
                <a:lnTo>
                  <a:pt x="1229" y="2008"/>
                </a:lnTo>
                <a:lnTo>
                  <a:pt x="1230" y="2010"/>
                </a:lnTo>
                <a:lnTo>
                  <a:pt x="1229" y="2011"/>
                </a:lnTo>
                <a:lnTo>
                  <a:pt x="1227" y="2011"/>
                </a:lnTo>
                <a:lnTo>
                  <a:pt x="1227" y="2012"/>
                </a:lnTo>
                <a:lnTo>
                  <a:pt x="1226" y="2011"/>
                </a:lnTo>
                <a:lnTo>
                  <a:pt x="1226" y="2009"/>
                </a:lnTo>
                <a:lnTo>
                  <a:pt x="1224" y="2006"/>
                </a:lnTo>
                <a:lnTo>
                  <a:pt x="1224" y="2005"/>
                </a:lnTo>
                <a:lnTo>
                  <a:pt x="1221" y="2003"/>
                </a:lnTo>
                <a:lnTo>
                  <a:pt x="1220" y="2003"/>
                </a:lnTo>
                <a:lnTo>
                  <a:pt x="1219" y="2004"/>
                </a:lnTo>
                <a:lnTo>
                  <a:pt x="1219" y="2005"/>
                </a:lnTo>
                <a:lnTo>
                  <a:pt x="1217" y="2005"/>
                </a:lnTo>
                <a:lnTo>
                  <a:pt x="1215" y="2006"/>
                </a:lnTo>
                <a:lnTo>
                  <a:pt x="1214" y="2009"/>
                </a:lnTo>
                <a:lnTo>
                  <a:pt x="1212" y="2009"/>
                </a:lnTo>
                <a:lnTo>
                  <a:pt x="1212" y="2010"/>
                </a:lnTo>
                <a:lnTo>
                  <a:pt x="1214" y="2010"/>
                </a:lnTo>
                <a:lnTo>
                  <a:pt x="1214" y="2011"/>
                </a:lnTo>
                <a:lnTo>
                  <a:pt x="1209" y="2011"/>
                </a:lnTo>
                <a:lnTo>
                  <a:pt x="1209" y="2014"/>
                </a:lnTo>
                <a:lnTo>
                  <a:pt x="1208" y="2015"/>
                </a:lnTo>
                <a:lnTo>
                  <a:pt x="1207" y="2015"/>
                </a:lnTo>
                <a:lnTo>
                  <a:pt x="1206" y="2016"/>
                </a:lnTo>
                <a:lnTo>
                  <a:pt x="1207" y="2016"/>
                </a:lnTo>
                <a:lnTo>
                  <a:pt x="1207" y="2018"/>
                </a:lnTo>
                <a:lnTo>
                  <a:pt x="1206" y="2018"/>
                </a:lnTo>
                <a:lnTo>
                  <a:pt x="1205" y="2017"/>
                </a:lnTo>
                <a:lnTo>
                  <a:pt x="1204" y="2017"/>
                </a:lnTo>
                <a:lnTo>
                  <a:pt x="1202" y="2018"/>
                </a:lnTo>
                <a:lnTo>
                  <a:pt x="1201" y="2016"/>
                </a:lnTo>
                <a:lnTo>
                  <a:pt x="1200" y="2016"/>
                </a:lnTo>
                <a:lnTo>
                  <a:pt x="1200" y="2017"/>
                </a:lnTo>
                <a:lnTo>
                  <a:pt x="1199" y="2017"/>
                </a:lnTo>
                <a:lnTo>
                  <a:pt x="1199" y="2018"/>
                </a:lnTo>
                <a:lnTo>
                  <a:pt x="1198" y="2018"/>
                </a:lnTo>
                <a:lnTo>
                  <a:pt x="1198" y="2020"/>
                </a:lnTo>
                <a:lnTo>
                  <a:pt x="1196" y="2018"/>
                </a:lnTo>
                <a:lnTo>
                  <a:pt x="1196" y="2017"/>
                </a:lnTo>
                <a:lnTo>
                  <a:pt x="1195" y="2017"/>
                </a:lnTo>
                <a:lnTo>
                  <a:pt x="1195" y="2018"/>
                </a:lnTo>
                <a:lnTo>
                  <a:pt x="1194" y="2018"/>
                </a:lnTo>
                <a:lnTo>
                  <a:pt x="1193" y="2020"/>
                </a:lnTo>
                <a:lnTo>
                  <a:pt x="1193" y="2018"/>
                </a:lnTo>
                <a:lnTo>
                  <a:pt x="1190" y="2018"/>
                </a:lnTo>
                <a:lnTo>
                  <a:pt x="1190" y="2024"/>
                </a:lnTo>
                <a:lnTo>
                  <a:pt x="1189" y="2026"/>
                </a:lnTo>
                <a:lnTo>
                  <a:pt x="1188" y="2022"/>
                </a:lnTo>
                <a:lnTo>
                  <a:pt x="1187" y="2022"/>
                </a:lnTo>
                <a:lnTo>
                  <a:pt x="1187" y="2020"/>
                </a:lnTo>
                <a:lnTo>
                  <a:pt x="1186" y="2020"/>
                </a:lnTo>
                <a:lnTo>
                  <a:pt x="1184" y="2018"/>
                </a:lnTo>
                <a:lnTo>
                  <a:pt x="1184" y="2020"/>
                </a:lnTo>
                <a:lnTo>
                  <a:pt x="1183" y="2020"/>
                </a:lnTo>
                <a:lnTo>
                  <a:pt x="1182" y="2018"/>
                </a:lnTo>
                <a:lnTo>
                  <a:pt x="1182" y="2016"/>
                </a:lnTo>
                <a:lnTo>
                  <a:pt x="1181" y="2016"/>
                </a:lnTo>
                <a:lnTo>
                  <a:pt x="1180" y="2015"/>
                </a:lnTo>
                <a:lnTo>
                  <a:pt x="1178" y="2015"/>
                </a:lnTo>
                <a:lnTo>
                  <a:pt x="1178" y="2017"/>
                </a:lnTo>
                <a:lnTo>
                  <a:pt x="1180" y="2017"/>
                </a:lnTo>
                <a:lnTo>
                  <a:pt x="1181" y="2018"/>
                </a:lnTo>
                <a:lnTo>
                  <a:pt x="1181" y="2023"/>
                </a:lnTo>
                <a:lnTo>
                  <a:pt x="1183" y="2024"/>
                </a:lnTo>
                <a:lnTo>
                  <a:pt x="1182" y="2026"/>
                </a:lnTo>
                <a:lnTo>
                  <a:pt x="1182" y="2028"/>
                </a:lnTo>
                <a:lnTo>
                  <a:pt x="1181" y="2028"/>
                </a:lnTo>
                <a:lnTo>
                  <a:pt x="1181" y="2027"/>
                </a:lnTo>
                <a:lnTo>
                  <a:pt x="1180" y="2026"/>
                </a:lnTo>
                <a:lnTo>
                  <a:pt x="1180" y="2024"/>
                </a:lnTo>
                <a:lnTo>
                  <a:pt x="1177" y="2022"/>
                </a:lnTo>
                <a:lnTo>
                  <a:pt x="1177" y="2021"/>
                </a:lnTo>
                <a:lnTo>
                  <a:pt x="1174" y="2021"/>
                </a:lnTo>
                <a:lnTo>
                  <a:pt x="1174" y="2018"/>
                </a:lnTo>
                <a:lnTo>
                  <a:pt x="1176" y="2018"/>
                </a:lnTo>
                <a:lnTo>
                  <a:pt x="1175" y="2017"/>
                </a:lnTo>
                <a:lnTo>
                  <a:pt x="1173" y="2017"/>
                </a:lnTo>
                <a:lnTo>
                  <a:pt x="1173" y="2016"/>
                </a:lnTo>
                <a:lnTo>
                  <a:pt x="1171" y="2016"/>
                </a:lnTo>
                <a:lnTo>
                  <a:pt x="1171" y="2017"/>
                </a:lnTo>
                <a:lnTo>
                  <a:pt x="1173" y="2018"/>
                </a:lnTo>
                <a:lnTo>
                  <a:pt x="1173" y="2021"/>
                </a:lnTo>
                <a:lnTo>
                  <a:pt x="1174" y="2021"/>
                </a:lnTo>
                <a:lnTo>
                  <a:pt x="1175" y="2022"/>
                </a:lnTo>
                <a:lnTo>
                  <a:pt x="1176" y="2022"/>
                </a:lnTo>
                <a:lnTo>
                  <a:pt x="1178" y="2024"/>
                </a:lnTo>
                <a:lnTo>
                  <a:pt x="1178" y="2029"/>
                </a:lnTo>
                <a:lnTo>
                  <a:pt x="1177" y="2029"/>
                </a:lnTo>
                <a:lnTo>
                  <a:pt x="1177" y="2028"/>
                </a:lnTo>
                <a:lnTo>
                  <a:pt x="1176" y="2027"/>
                </a:lnTo>
                <a:lnTo>
                  <a:pt x="1176" y="2028"/>
                </a:lnTo>
                <a:lnTo>
                  <a:pt x="1177" y="2030"/>
                </a:lnTo>
                <a:lnTo>
                  <a:pt x="1177" y="2032"/>
                </a:lnTo>
                <a:lnTo>
                  <a:pt x="1176" y="2033"/>
                </a:lnTo>
                <a:lnTo>
                  <a:pt x="1176" y="2035"/>
                </a:lnTo>
                <a:lnTo>
                  <a:pt x="1175" y="2036"/>
                </a:lnTo>
                <a:lnTo>
                  <a:pt x="1171" y="2036"/>
                </a:lnTo>
                <a:lnTo>
                  <a:pt x="1171" y="2038"/>
                </a:lnTo>
                <a:lnTo>
                  <a:pt x="1175" y="2038"/>
                </a:lnTo>
                <a:lnTo>
                  <a:pt x="1174" y="2039"/>
                </a:lnTo>
                <a:lnTo>
                  <a:pt x="1174" y="2040"/>
                </a:lnTo>
                <a:lnTo>
                  <a:pt x="1173" y="2040"/>
                </a:lnTo>
                <a:lnTo>
                  <a:pt x="1171" y="2042"/>
                </a:lnTo>
                <a:lnTo>
                  <a:pt x="1171" y="2049"/>
                </a:lnTo>
                <a:lnTo>
                  <a:pt x="1170" y="2051"/>
                </a:lnTo>
                <a:lnTo>
                  <a:pt x="1169" y="2049"/>
                </a:lnTo>
                <a:lnTo>
                  <a:pt x="1168" y="2049"/>
                </a:lnTo>
                <a:lnTo>
                  <a:pt x="1168" y="2051"/>
                </a:lnTo>
                <a:lnTo>
                  <a:pt x="1167" y="2052"/>
                </a:lnTo>
                <a:lnTo>
                  <a:pt x="1167" y="2054"/>
                </a:lnTo>
                <a:lnTo>
                  <a:pt x="1165" y="2057"/>
                </a:lnTo>
                <a:lnTo>
                  <a:pt x="1165" y="2058"/>
                </a:lnTo>
                <a:lnTo>
                  <a:pt x="1164" y="2059"/>
                </a:lnTo>
                <a:lnTo>
                  <a:pt x="1164" y="2063"/>
                </a:lnTo>
                <a:lnTo>
                  <a:pt x="1163" y="2064"/>
                </a:lnTo>
                <a:lnTo>
                  <a:pt x="1163" y="2063"/>
                </a:lnTo>
                <a:lnTo>
                  <a:pt x="1162" y="2064"/>
                </a:lnTo>
                <a:lnTo>
                  <a:pt x="1162" y="2065"/>
                </a:lnTo>
                <a:lnTo>
                  <a:pt x="1161" y="2066"/>
                </a:lnTo>
                <a:lnTo>
                  <a:pt x="1161" y="2065"/>
                </a:lnTo>
                <a:lnTo>
                  <a:pt x="1159" y="2064"/>
                </a:lnTo>
                <a:lnTo>
                  <a:pt x="1159" y="2070"/>
                </a:lnTo>
                <a:lnTo>
                  <a:pt x="1158" y="2072"/>
                </a:lnTo>
                <a:lnTo>
                  <a:pt x="1158" y="2075"/>
                </a:lnTo>
                <a:lnTo>
                  <a:pt x="1157" y="2073"/>
                </a:lnTo>
                <a:lnTo>
                  <a:pt x="1156" y="2071"/>
                </a:lnTo>
                <a:lnTo>
                  <a:pt x="1156" y="2067"/>
                </a:lnTo>
                <a:lnTo>
                  <a:pt x="1155" y="2066"/>
                </a:lnTo>
                <a:lnTo>
                  <a:pt x="1155" y="2071"/>
                </a:lnTo>
                <a:lnTo>
                  <a:pt x="1156" y="2071"/>
                </a:lnTo>
                <a:lnTo>
                  <a:pt x="1155" y="2072"/>
                </a:lnTo>
                <a:lnTo>
                  <a:pt x="1153" y="2075"/>
                </a:lnTo>
                <a:lnTo>
                  <a:pt x="1153" y="2076"/>
                </a:lnTo>
                <a:lnTo>
                  <a:pt x="1152" y="2075"/>
                </a:lnTo>
                <a:lnTo>
                  <a:pt x="1150" y="2076"/>
                </a:lnTo>
                <a:lnTo>
                  <a:pt x="1150" y="2077"/>
                </a:lnTo>
                <a:lnTo>
                  <a:pt x="1147" y="2079"/>
                </a:lnTo>
                <a:lnTo>
                  <a:pt x="1146" y="2079"/>
                </a:lnTo>
                <a:lnTo>
                  <a:pt x="1144" y="2082"/>
                </a:lnTo>
                <a:lnTo>
                  <a:pt x="1143" y="2082"/>
                </a:lnTo>
                <a:lnTo>
                  <a:pt x="1143" y="2089"/>
                </a:lnTo>
                <a:lnTo>
                  <a:pt x="1142" y="2089"/>
                </a:lnTo>
                <a:lnTo>
                  <a:pt x="1142" y="2091"/>
                </a:lnTo>
                <a:lnTo>
                  <a:pt x="1143" y="2094"/>
                </a:lnTo>
                <a:lnTo>
                  <a:pt x="1143" y="2095"/>
                </a:lnTo>
                <a:lnTo>
                  <a:pt x="1145" y="2097"/>
                </a:lnTo>
                <a:lnTo>
                  <a:pt x="1149" y="2097"/>
                </a:lnTo>
                <a:lnTo>
                  <a:pt x="1155" y="2098"/>
                </a:lnTo>
                <a:lnTo>
                  <a:pt x="1156" y="2100"/>
                </a:lnTo>
                <a:lnTo>
                  <a:pt x="1157" y="2100"/>
                </a:lnTo>
                <a:lnTo>
                  <a:pt x="1157" y="2101"/>
                </a:lnTo>
                <a:lnTo>
                  <a:pt x="1158" y="2104"/>
                </a:lnTo>
                <a:lnTo>
                  <a:pt x="1158" y="2106"/>
                </a:lnTo>
                <a:lnTo>
                  <a:pt x="1162" y="2109"/>
                </a:lnTo>
                <a:lnTo>
                  <a:pt x="1163" y="2109"/>
                </a:lnTo>
                <a:lnTo>
                  <a:pt x="1163" y="2108"/>
                </a:lnTo>
                <a:lnTo>
                  <a:pt x="1164" y="2107"/>
                </a:lnTo>
                <a:lnTo>
                  <a:pt x="1165" y="2108"/>
                </a:lnTo>
                <a:lnTo>
                  <a:pt x="1167" y="2110"/>
                </a:lnTo>
                <a:lnTo>
                  <a:pt x="1167" y="2115"/>
                </a:lnTo>
                <a:lnTo>
                  <a:pt x="1168" y="2118"/>
                </a:lnTo>
                <a:lnTo>
                  <a:pt x="1169" y="2119"/>
                </a:lnTo>
                <a:lnTo>
                  <a:pt x="1170" y="2119"/>
                </a:lnTo>
                <a:lnTo>
                  <a:pt x="1171" y="2124"/>
                </a:lnTo>
                <a:lnTo>
                  <a:pt x="1173" y="2125"/>
                </a:lnTo>
                <a:lnTo>
                  <a:pt x="1173" y="2127"/>
                </a:lnTo>
                <a:lnTo>
                  <a:pt x="1174" y="2128"/>
                </a:lnTo>
                <a:lnTo>
                  <a:pt x="1175" y="2128"/>
                </a:lnTo>
                <a:lnTo>
                  <a:pt x="1174" y="2129"/>
                </a:lnTo>
                <a:lnTo>
                  <a:pt x="1174" y="2131"/>
                </a:lnTo>
                <a:lnTo>
                  <a:pt x="1175" y="2131"/>
                </a:lnTo>
                <a:lnTo>
                  <a:pt x="1176" y="2132"/>
                </a:lnTo>
                <a:lnTo>
                  <a:pt x="1176" y="2134"/>
                </a:lnTo>
                <a:lnTo>
                  <a:pt x="1175" y="2134"/>
                </a:lnTo>
                <a:lnTo>
                  <a:pt x="1174" y="2135"/>
                </a:lnTo>
                <a:lnTo>
                  <a:pt x="1174" y="2139"/>
                </a:lnTo>
                <a:lnTo>
                  <a:pt x="1173" y="2140"/>
                </a:lnTo>
                <a:lnTo>
                  <a:pt x="1173" y="2141"/>
                </a:lnTo>
                <a:lnTo>
                  <a:pt x="1171" y="2144"/>
                </a:lnTo>
                <a:lnTo>
                  <a:pt x="1171" y="2143"/>
                </a:lnTo>
                <a:lnTo>
                  <a:pt x="1170" y="2143"/>
                </a:lnTo>
                <a:lnTo>
                  <a:pt x="1170" y="2145"/>
                </a:lnTo>
                <a:lnTo>
                  <a:pt x="1173" y="2147"/>
                </a:lnTo>
                <a:lnTo>
                  <a:pt x="1173" y="2150"/>
                </a:lnTo>
                <a:lnTo>
                  <a:pt x="1174" y="2149"/>
                </a:lnTo>
                <a:lnTo>
                  <a:pt x="1175" y="2146"/>
                </a:lnTo>
                <a:lnTo>
                  <a:pt x="1175" y="2140"/>
                </a:lnTo>
                <a:lnTo>
                  <a:pt x="1176" y="2140"/>
                </a:lnTo>
                <a:lnTo>
                  <a:pt x="1176" y="2137"/>
                </a:lnTo>
                <a:lnTo>
                  <a:pt x="1177" y="2135"/>
                </a:lnTo>
                <a:lnTo>
                  <a:pt x="1177" y="2129"/>
                </a:lnTo>
                <a:lnTo>
                  <a:pt x="1178" y="2128"/>
                </a:lnTo>
                <a:lnTo>
                  <a:pt x="1178" y="2127"/>
                </a:lnTo>
                <a:lnTo>
                  <a:pt x="1180" y="2126"/>
                </a:lnTo>
                <a:lnTo>
                  <a:pt x="1181" y="2126"/>
                </a:lnTo>
                <a:lnTo>
                  <a:pt x="1182" y="2127"/>
                </a:lnTo>
                <a:lnTo>
                  <a:pt x="1183" y="2127"/>
                </a:lnTo>
                <a:lnTo>
                  <a:pt x="1184" y="2128"/>
                </a:lnTo>
                <a:lnTo>
                  <a:pt x="1182" y="2131"/>
                </a:lnTo>
                <a:lnTo>
                  <a:pt x="1181" y="2134"/>
                </a:lnTo>
                <a:lnTo>
                  <a:pt x="1177" y="2143"/>
                </a:lnTo>
                <a:lnTo>
                  <a:pt x="1177" y="2149"/>
                </a:lnTo>
                <a:lnTo>
                  <a:pt x="1176" y="2152"/>
                </a:lnTo>
                <a:lnTo>
                  <a:pt x="1175" y="2155"/>
                </a:lnTo>
                <a:lnTo>
                  <a:pt x="1175" y="2157"/>
                </a:lnTo>
                <a:lnTo>
                  <a:pt x="1176" y="2158"/>
                </a:lnTo>
                <a:lnTo>
                  <a:pt x="1176" y="2159"/>
                </a:lnTo>
                <a:lnTo>
                  <a:pt x="1175" y="2161"/>
                </a:lnTo>
                <a:lnTo>
                  <a:pt x="1176" y="2162"/>
                </a:lnTo>
                <a:lnTo>
                  <a:pt x="1178" y="2159"/>
                </a:lnTo>
                <a:lnTo>
                  <a:pt x="1180" y="2159"/>
                </a:lnTo>
                <a:lnTo>
                  <a:pt x="1180" y="2162"/>
                </a:lnTo>
                <a:lnTo>
                  <a:pt x="1178" y="2163"/>
                </a:lnTo>
                <a:lnTo>
                  <a:pt x="1178" y="2164"/>
                </a:lnTo>
                <a:lnTo>
                  <a:pt x="1177" y="2164"/>
                </a:lnTo>
                <a:lnTo>
                  <a:pt x="1175" y="2167"/>
                </a:lnTo>
                <a:lnTo>
                  <a:pt x="1176" y="2168"/>
                </a:lnTo>
                <a:lnTo>
                  <a:pt x="1175" y="2169"/>
                </a:lnTo>
                <a:lnTo>
                  <a:pt x="1175" y="2171"/>
                </a:lnTo>
                <a:lnTo>
                  <a:pt x="1174" y="2172"/>
                </a:lnTo>
                <a:lnTo>
                  <a:pt x="1174" y="2174"/>
                </a:lnTo>
                <a:lnTo>
                  <a:pt x="1175" y="2177"/>
                </a:lnTo>
                <a:lnTo>
                  <a:pt x="1177" y="2181"/>
                </a:lnTo>
                <a:lnTo>
                  <a:pt x="1180" y="2182"/>
                </a:lnTo>
                <a:lnTo>
                  <a:pt x="1181" y="2183"/>
                </a:lnTo>
                <a:lnTo>
                  <a:pt x="1181" y="2184"/>
                </a:lnTo>
                <a:lnTo>
                  <a:pt x="1184" y="2187"/>
                </a:lnTo>
                <a:lnTo>
                  <a:pt x="1184" y="2189"/>
                </a:lnTo>
                <a:lnTo>
                  <a:pt x="1186" y="2192"/>
                </a:lnTo>
                <a:lnTo>
                  <a:pt x="1186" y="2198"/>
                </a:lnTo>
                <a:lnTo>
                  <a:pt x="1187" y="2200"/>
                </a:lnTo>
                <a:lnTo>
                  <a:pt x="1190" y="2201"/>
                </a:lnTo>
                <a:lnTo>
                  <a:pt x="1192" y="2202"/>
                </a:lnTo>
                <a:lnTo>
                  <a:pt x="1194" y="2208"/>
                </a:lnTo>
                <a:lnTo>
                  <a:pt x="1196" y="2212"/>
                </a:lnTo>
                <a:lnTo>
                  <a:pt x="1200" y="2215"/>
                </a:lnTo>
                <a:lnTo>
                  <a:pt x="1201" y="2215"/>
                </a:lnTo>
                <a:lnTo>
                  <a:pt x="1206" y="2226"/>
                </a:lnTo>
                <a:lnTo>
                  <a:pt x="1207" y="2227"/>
                </a:lnTo>
                <a:lnTo>
                  <a:pt x="1209" y="2229"/>
                </a:lnTo>
                <a:lnTo>
                  <a:pt x="1209" y="2230"/>
                </a:lnTo>
                <a:lnTo>
                  <a:pt x="1211" y="2231"/>
                </a:lnTo>
                <a:lnTo>
                  <a:pt x="1211" y="2233"/>
                </a:lnTo>
                <a:lnTo>
                  <a:pt x="1213" y="2239"/>
                </a:lnTo>
                <a:lnTo>
                  <a:pt x="1214" y="2241"/>
                </a:lnTo>
                <a:lnTo>
                  <a:pt x="1217" y="2242"/>
                </a:lnTo>
                <a:lnTo>
                  <a:pt x="1219" y="2242"/>
                </a:lnTo>
                <a:lnTo>
                  <a:pt x="1221" y="2244"/>
                </a:lnTo>
                <a:lnTo>
                  <a:pt x="1217" y="2251"/>
                </a:lnTo>
                <a:lnTo>
                  <a:pt x="1214" y="2257"/>
                </a:lnTo>
                <a:lnTo>
                  <a:pt x="1214" y="2258"/>
                </a:lnTo>
                <a:lnTo>
                  <a:pt x="1213" y="2260"/>
                </a:lnTo>
                <a:lnTo>
                  <a:pt x="1209" y="2262"/>
                </a:lnTo>
                <a:lnTo>
                  <a:pt x="1207" y="2263"/>
                </a:lnTo>
                <a:lnTo>
                  <a:pt x="1206" y="2264"/>
                </a:lnTo>
                <a:lnTo>
                  <a:pt x="1201" y="2266"/>
                </a:lnTo>
                <a:lnTo>
                  <a:pt x="1200" y="2266"/>
                </a:lnTo>
                <a:lnTo>
                  <a:pt x="1199" y="2268"/>
                </a:lnTo>
                <a:lnTo>
                  <a:pt x="1198" y="2272"/>
                </a:lnTo>
                <a:lnTo>
                  <a:pt x="1196" y="2273"/>
                </a:lnTo>
                <a:lnTo>
                  <a:pt x="1195" y="2272"/>
                </a:lnTo>
                <a:lnTo>
                  <a:pt x="1195" y="2273"/>
                </a:lnTo>
                <a:lnTo>
                  <a:pt x="1194" y="2274"/>
                </a:lnTo>
                <a:lnTo>
                  <a:pt x="1194" y="2275"/>
                </a:lnTo>
                <a:lnTo>
                  <a:pt x="1193" y="2275"/>
                </a:lnTo>
                <a:lnTo>
                  <a:pt x="1193" y="2280"/>
                </a:lnTo>
                <a:lnTo>
                  <a:pt x="1192" y="2280"/>
                </a:lnTo>
                <a:lnTo>
                  <a:pt x="1190" y="2281"/>
                </a:lnTo>
                <a:lnTo>
                  <a:pt x="1186" y="2281"/>
                </a:lnTo>
                <a:lnTo>
                  <a:pt x="1184" y="2280"/>
                </a:lnTo>
                <a:lnTo>
                  <a:pt x="1182" y="2279"/>
                </a:lnTo>
                <a:lnTo>
                  <a:pt x="1181" y="2279"/>
                </a:lnTo>
                <a:lnTo>
                  <a:pt x="1181" y="2280"/>
                </a:lnTo>
                <a:lnTo>
                  <a:pt x="1177" y="2280"/>
                </a:lnTo>
                <a:lnTo>
                  <a:pt x="1175" y="2278"/>
                </a:lnTo>
                <a:lnTo>
                  <a:pt x="1170" y="2278"/>
                </a:lnTo>
                <a:lnTo>
                  <a:pt x="1169" y="2276"/>
                </a:lnTo>
                <a:lnTo>
                  <a:pt x="1167" y="2275"/>
                </a:lnTo>
                <a:lnTo>
                  <a:pt x="1165" y="2274"/>
                </a:lnTo>
                <a:lnTo>
                  <a:pt x="1165" y="2269"/>
                </a:lnTo>
                <a:lnTo>
                  <a:pt x="1163" y="2267"/>
                </a:lnTo>
                <a:lnTo>
                  <a:pt x="1163" y="2264"/>
                </a:lnTo>
                <a:lnTo>
                  <a:pt x="1162" y="2264"/>
                </a:lnTo>
                <a:lnTo>
                  <a:pt x="1162" y="2263"/>
                </a:lnTo>
                <a:lnTo>
                  <a:pt x="1161" y="2262"/>
                </a:lnTo>
                <a:lnTo>
                  <a:pt x="1161" y="2260"/>
                </a:lnTo>
                <a:lnTo>
                  <a:pt x="1158" y="2260"/>
                </a:lnTo>
                <a:lnTo>
                  <a:pt x="1158" y="2261"/>
                </a:lnTo>
                <a:lnTo>
                  <a:pt x="1156" y="2261"/>
                </a:lnTo>
                <a:lnTo>
                  <a:pt x="1156" y="2260"/>
                </a:lnTo>
                <a:lnTo>
                  <a:pt x="1155" y="2258"/>
                </a:lnTo>
                <a:lnTo>
                  <a:pt x="1153" y="2256"/>
                </a:lnTo>
                <a:lnTo>
                  <a:pt x="1151" y="2254"/>
                </a:lnTo>
                <a:lnTo>
                  <a:pt x="1151" y="2253"/>
                </a:lnTo>
                <a:lnTo>
                  <a:pt x="1150" y="2251"/>
                </a:lnTo>
                <a:lnTo>
                  <a:pt x="1147" y="2251"/>
                </a:lnTo>
                <a:lnTo>
                  <a:pt x="1145" y="2249"/>
                </a:lnTo>
                <a:lnTo>
                  <a:pt x="1145" y="2247"/>
                </a:lnTo>
                <a:lnTo>
                  <a:pt x="1144" y="2245"/>
                </a:lnTo>
                <a:lnTo>
                  <a:pt x="1144" y="2244"/>
                </a:lnTo>
                <a:lnTo>
                  <a:pt x="1143" y="2245"/>
                </a:lnTo>
                <a:lnTo>
                  <a:pt x="1140" y="2245"/>
                </a:lnTo>
                <a:lnTo>
                  <a:pt x="1138" y="2248"/>
                </a:lnTo>
                <a:lnTo>
                  <a:pt x="1136" y="2248"/>
                </a:lnTo>
                <a:lnTo>
                  <a:pt x="1136" y="2243"/>
                </a:lnTo>
                <a:lnTo>
                  <a:pt x="1134" y="2243"/>
                </a:lnTo>
                <a:lnTo>
                  <a:pt x="1133" y="2242"/>
                </a:lnTo>
                <a:lnTo>
                  <a:pt x="1131" y="2242"/>
                </a:lnTo>
                <a:lnTo>
                  <a:pt x="1130" y="2241"/>
                </a:lnTo>
                <a:lnTo>
                  <a:pt x="1128" y="2241"/>
                </a:lnTo>
                <a:lnTo>
                  <a:pt x="1126" y="2239"/>
                </a:lnTo>
                <a:lnTo>
                  <a:pt x="1125" y="2239"/>
                </a:lnTo>
                <a:lnTo>
                  <a:pt x="1124" y="2237"/>
                </a:lnTo>
                <a:lnTo>
                  <a:pt x="1122" y="2236"/>
                </a:lnTo>
                <a:lnTo>
                  <a:pt x="1120" y="2236"/>
                </a:lnTo>
                <a:lnTo>
                  <a:pt x="1118" y="2237"/>
                </a:lnTo>
                <a:lnTo>
                  <a:pt x="1117" y="2237"/>
                </a:lnTo>
                <a:lnTo>
                  <a:pt x="1115" y="2236"/>
                </a:lnTo>
                <a:lnTo>
                  <a:pt x="1115" y="2235"/>
                </a:lnTo>
                <a:lnTo>
                  <a:pt x="1113" y="2235"/>
                </a:lnTo>
                <a:lnTo>
                  <a:pt x="1113" y="2233"/>
                </a:lnTo>
                <a:lnTo>
                  <a:pt x="1112" y="2233"/>
                </a:lnTo>
                <a:lnTo>
                  <a:pt x="1112" y="2235"/>
                </a:lnTo>
                <a:lnTo>
                  <a:pt x="1109" y="2235"/>
                </a:lnTo>
                <a:lnTo>
                  <a:pt x="1109" y="2233"/>
                </a:lnTo>
                <a:lnTo>
                  <a:pt x="1108" y="2231"/>
                </a:lnTo>
                <a:lnTo>
                  <a:pt x="1108" y="2230"/>
                </a:lnTo>
                <a:lnTo>
                  <a:pt x="1105" y="2229"/>
                </a:lnTo>
                <a:lnTo>
                  <a:pt x="1100" y="2226"/>
                </a:lnTo>
                <a:lnTo>
                  <a:pt x="1096" y="2223"/>
                </a:lnTo>
                <a:lnTo>
                  <a:pt x="1101" y="2211"/>
                </a:lnTo>
                <a:lnTo>
                  <a:pt x="1102" y="2210"/>
                </a:lnTo>
                <a:lnTo>
                  <a:pt x="1100" y="2207"/>
                </a:lnTo>
                <a:lnTo>
                  <a:pt x="1093" y="2205"/>
                </a:lnTo>
                <a:lnTo>
                  <a:pt x="1090" y="2205"/>
                </a:lnTo>
                <a:lnTo>
                  <a:pt x="1088" y="2206"/>
                </a:lnTo>
                <a:lnTo>
                  <a:pt x="1084" y="2206"/>
                </a:lnTo>
                <a:lnTo>
                  <a:pt x="1083" y="2205"/>
                </a:lnTo>
                <a:lnTo>
                  <a:pt x="1083" y="2204"/>
                </a:lnTo>
                <a:lnTo>
                  <a:pt x="1082" y="2202"/>
                </a:lnTo>
                <a:lnTo>
                  <a:pt x="1078" y="2198"/>
                </a:lnTo>
                <a:lnTo>
                  <a:pt x="1076" y="2195"/>
                </a:lnTo>
                <a:lnTo>
                  <a:pt x="1075" y="2196"/>
                </a:lnTo>
                <a:lnTo>
                  <a:pt x="1071" y="2196"/>
                </a:lnTo>
                <a:lnTo>
                  <a:pt x="1066" y="2193"/>
                </a:lnTo>
                <a:lnTo>
                  <a:pt x="1064" y="2193"/>
                </a:lnTo>
                <a:lnTo>
                  <a:pt x="1064" y="2194"/>
                </a:lnTo>
                <a:lnTo>
                  <a:pt x="1063" y="2195"/>
                </a:lnTo>
                <a:lnTo>
                  <a:pt x="1062" y="2198"/>
                </a:lnTo>
                <a:lnTo>
                  <a:pt x="1062" y="2201"/>
                </a:lnTo>
                <a:lnTo>
                  <a:pt x="1060" y="2201"/>
                </a:lnTo>
                <a:lnTo>
                  <a:pt x="1060" y="2200"/>
                </a:lnTo>
                <a:lnTo>
                  <a:pt x="1059" y="2198"/>
                </a:lnTo>
                <a:lnTo>
                  <a:pt x="1059" y="2196"/>
                </a:lnTo>
                <a:lnTo>
                  <a:pt x="1057" y="2194"/>
                </a:lnTo>
                <a:lnTo>
                  <a:pt x="1056" y="2194"/>
                </a:lnTo>
                <a:lnTo>
                  <a:pt x="1053" y="2193"/>
                </a:lnTo>
                <a:lnTo>
                  <a:pt x="1049" y="2193"/>
                </a:lnTo>
                <a:lnTo>
                  <a:pt x="1045" y="2195"/>
                </a:lnTo>
                <a:lnTo>
                  <a:pt x="1040" y="2195"/>
                </a:lnTo>
                <a:lnTo>
                  <a:pt x="1039" y="2196"/>
                </a:lnTo>
                <a:lnTo>
                  <a:pt x="1038" y="2199"/>
                </a:lnTo>
                <a:lnTo>
                  <a:pt x="1037" y="2200"/>
                </a:lnTo>
                <a:lnTo>
                  <a:pt x="1034" y="2200"/>
                </a:lnTo>
                <a:lnTo>
                  <a:pt x="1031" y="2201"/>
                </a:lnTo>
                <a:lnTo>
                  <a:pt x="1028" y="2201"/>
                </a:lnTo>
                <a:lnTo>
                  <a:pt x="1028" y="2202"/>
                </a:lnTo>
                <a:lnTo>
                  <a:pt x="1027" y="2204"/>
                </a:lnTo>
                <a:lnTo>
                  <a:pt x="1027" y="2205"/>
                </a:lnTo>
                <a:lnTo>
                  <a:pt x="1026" y="2205"/>
                </a:lnTo>
                <a:lnTo>
                  <a:pt x="1024" y="2202"/>
                </a:lnTo>
                <a:lnTo>
                  <a:pt x="1020" y="2202"/>
                </a:lnTo>
                <a:lnTo>
                  <a:pt x="1018" y="2201"/>
                </a:lnTo>
                <a:lnTo>
                  <a:pt x="1016" y="2200"/>
                </a:lnTo>
                <a:lnTo>
                  <a:pt x="1016" y="2199"/>
                </a:lnTo>
                <a:lnTo>
                  <a:pt x="1018" y="2198"/>
                </a:lnTo>
                <a:lnTo>
                  <a:pt x="1020" y="2196"/>
                </a:lnTo>
                <a:lnTo>
                  <a:pt x="1020" y="2193"/>
                </a:lnTo>
                <a:lnTo>
                  <a:pt x="1018" y="2193"/>
                </a:lnTo>
                <a:lnTo>
                  <a:pt x="1014" y="2192"/>
                </a:lnTo>
                <a:lnTo>
                  <a:pt x="1010" y="2188"/>
                </a:lnTo>
                <a:lnTo>
                  <a:pt x="1008" y="2187"/>
                </a:lnTo>
                <a:lnTo>
                  <a:pt x="1007" y="2187"/>
                </a:lnTo>
                <a:lnTo>
                  <a:pt x="1002" y="2186"/>
                </a:lnTo>
                <a:lnTo>
                  <a:pt x="995" y="2183"/>
                </a:lnTo>
                <a:lnTo>
                  <a:pt x="994" y="2182"/>
                </a:lnTo>
                <a:lnTo>
                  <a:pt x="993" y="2182"/>
                </a:lnTo>
                <a:lnTo>
                  <a:pt x="987" y="2176"/>
                </a:lnTo>
                <a:lnTo>
                  <a:pt x="985" y="2176"/>
                </a:lnTo>
                <a:lnTo>
                  <a:pt x="985" y="2175"/>
                </a:lnTo>
                <a:lnTo>
                  <a:pt x="987" y="2174"/>
                </a:lnTo>
                <a:lnTo>
                  <a:pt x="987" y="2172"/>
                </a:lnTo>
                <a:lnTo>
                  <a:pt x="983" y="2171"/>
                </a:lnTo>
                <a:lnTo>
                  <a:pt x="982" y="2171"/>
                </a:lnTo>
                <a:lnTo>
                  <a:pt x="979" y="2169"/>
                </a:lnTo>
                <a:lnTo>
                  <a:pt x="971" y="2169"/>
                </a:lnTo>
                <a:lnTo>
                  <a:pt x="971" y="2170"/>
                </a:lnTo>
                <a:lnTo>
                  <a:pt x="970" y="2171"/>
                </a:lnTo>
                <a:lnTo>
                  <a:pt x="969" y="2170"/>
                </a:lnTo>
                <a:lnTo>
                  <a:pt x="966" y="2169"/>
                </a:lnTo>
                <a:lnTo>
                  <a:pt x="964" y="2167"/>
                </a:lnTo>
                <a:lnTo>
                  <a:pt x="962" y="2165"/>
                </a:lnTo>
                <a:lnTo>
                  <a:pt x="952" y="2165"/>
                </a:lnTo>
                <a:lnTo>
                  <a:pt x="951" y="2167"/>
                </a:lnTo>
                <a:lnTo>
                  <a:pt x="947" y="2168"/>
                </a:lnTo>
                <a:lnTo>
                  <a:pt x="944" y="2168"/>
                </a:lnTo>
                <a:lnTo>
                  <a:pt x="941" y="2167"/>
                </a:lnTo>
                <a:lnTo>
                  <a:pt x="932" y="2167"/>
                </a:lnTo>
                <a:lnTo>
                  <a:pt x="931" y="2165"/>
                </a:lnTo>
                <a:lnTo>
                  <a:pt x="928" y="2167"/>
                </a:lnTo>
                <a:lnTo>
                  <a:pt x="926" y="2167"/>
                </a:lnTo>
                <a:lnTo>
                  <a:pt x="922" y="2163"/>
                </a:lnTo>
                <a:lnTo>
                  <a:pt x="920" y="2162"/>
                </a:lnTo>
                <a:lnTo>
                  <a:pt x="919" y="2162"/>
                </a:lnTo>
                <a:lnTo>
                  <a:pt x="919" y="2159"/>
                </a:lnTo>
                <a:lnTo>
                  <a:pt x="914" y="2159"/>
                </a:lnTo>
                <a:lnTo>
                  <a:pt x="912" y="2158"/>
                </a:lnTo>
                <a:lnTo>
                  <a:pt x="910" y="2158"/>
                </a:lnTo>
                <a:lnTo>
                  <a:pt x="909" y="2157"/>
                </a:lnTo>
                <a:lnTo>
                  <a:pt x="902" y="2157"/>
                </a:lnTo>
                <a:lnTo>
                  <a:pt x="896" y="2152"/>
                </a:lnTo>
                <a:lnTo>
                  <a:pt x="895" y="2151"/>
                </a:lnTo>
                <a:lnTo>
                  <a:pt x="891" y="2150"/>
                </a:lnTo>
                <a:lnTo>
                  <a:pt x="889" y="2149"/>
                </a:lnTo>
                <a:lnTo>
                  <a:pt x="888" y="2147"/>
                </a:lnTo>
                <a:lnTo>
                  <a:pt x="885" y="2147"/>
                </a:lnTo>
                <a:lnTo>
                  <a:pt x="883" y="2149"/>
                </a:lnTo>
                <a:lnTo>
                  <a:pt x="882" y="2150"/>
                </a:lnTo>
                <a:lnTo>
                  <a:pt x="879" y="2149"/>
                </a:lnTo>
                <a:lnTo>
                  <a:pt x="870" y="2145"/>
                </a:lnTo>
                <a:lnTo>
                  <a:pt x="866" y="2145"/>
                </a:lnTo>
                <a:lnTo>
                  <a:pt x="864" y="2146"/>
                </a:lnTo>
                <a:lnTo>
                  <a:pt x="863" y="2146"/>
                </a:lnTo>
                <a:lnTo>
                  <a:pt x="863" y="2147"/>
                </a:lnTo>
                <a:lnTo>
                  <a:pt x="859" y="2155"/>
                </a:lnTo>
                <a:lnTo>
                  <a:pt x="859" y="2156"/>
                </a:lnTo>
                <a:lnTo>
                  <a:pt x="858" y="2156"/>
                </a:lnTo>
                <a:lnTo>
                  <a:pt x="855" y="2153"/>
                </a:lnTo>
                <a:lnTo>
                  <a:pt x="855" y="2152"/>
                </a:lnTo>
                <a:lnTo>
                  <a:pt x="854" y="2151"/>
                </a:lnTo>
                <a:lnTo>
                  <a:pt x="854" y="2150"/>
                </a:lnTo>
                <a:lnTo>
                  <a:pt x="853" y="2149"/>
                </a:lnTo>
                <a:lnTo>
                  <a:pt x="850" y="2147"/>
                </a:lnTo>
                <a:lnTo>
                  <a:pt x="848" y="2146"/>
                </a:lnTo>
                <a:lnTo>
                  <a:pt x="847" y="2146"/>
                </a:lnTo>
                <a:lnTo>
                  <a:pt x="847" y="2144"/>
                </a:lnTo>
                <a:lnTo>
                  <a:pt x="846" y="2143"/>
                </a:lnTo>
                <a:lnTo>
                  <a:pt x="844" y="2141"/>
                </a:lnTo>
                <a:lnTo>
                  <a:pt x="836" y="2134"/>
                </a:lnTo>
                <a:lnTo>
                  <a:pt x="834" y="2129"/>
                </a:lnTo>
                <a:lnTo>
                  <a:pt x="832" y="2127"/>
                </a:lnTo>
                <a:lnTo>
                  <a:pt x="822" y="2119"/>
                </a:lnTo>
                <a:lnTo>
                  <a:pt x="820" y="2116"/>
                </a:lnTo>
                <a:lnTo>
                  <a:pt x="820" y="2115"/>
                </a:lnTo>
                <a:lnTo>
                  <a:pt x="817" y="2115"/>
                </a:lnTo>
                <a:lnTo>
                  <a:pt x="817" y="2113"/>
                </a:lnTo>
                <a:lnTo>
                  <a:pt x="815" y="2110"/>
                </a:lnTo>
                <a:lnTo>
                  <a:pt x="813" y="2110"/>
                </a:lnTo>
                <a:lnTo>
                  <a:pt x="807" y="2104"/>
                </a:lnTo>
                <a:lnTo>
                  <a:pt x="804" y="2103"/>
                </a:lnTo>
                <a:lnTo>
                  <a:pt x="801" y="2101"/>
                </a:lnTo>
                <a:lnTo>
                  <a:pt x="789" y="2098"/>
                </a:lnTo>
                <a:lnTo>
                  <a:pt x="788" y="2098"/>
                </a:lnTo>
                <a:lnTo>
                  <a:pt x="784" y="2097"/>
                </a:lnTo>
                <a:lnTo>
                  <a:pt x="783" y="2097"/>
                </a:lnTo>
                <a:lnTo>
                  <a:pt x="780" y="2092"/>
                </a:lnTo>
                <a:lnTo>
                  <a:pt x="778" y="2090"/>
                </a:lnTo>
                <a:lnTo>
                  <a:pt x="778" y="2088"/>
                </a:lnTo>
                <a:lnTo>
                  <a:pt x="774" y="2088"/>
                </a:lnTo>
                <a:lnTo>
                  <a:pt x="773" y="2085"/>
                </a:lnTo>
                <a:lnTo>
                  <a:pt x="772" y="2085"/>
                </a:lnTo>
                <a:lnTo>
                  <a:pt x="772" y="2083"/>
                </a:lnTo>
                <a:lnTo>
                  <a:pt x="770" y="2079"/>
                </a:lnTo>
                <a:lnTo>
                  <a:pt x="768" y="2079"/>
                </a:lnTo>
                <a:lnTo>
                  <a:pt x="766" y="2077"/>
                </a:lnTo>
                <a:lnTo>
                  <a:pt x="766" y="2079"/>
                </a:lnTo>
                <a:lnTo>
                  <a:pt x="767" y="2081"/>
                </a:lnTo>
                <a:lnTo>
                  <a:pt x="767" y="2083"/>
                </a:lnTo>
                <a:lnTo>
                  <a:pt x="763" y="2083"/>
                </a:lnTo>
                <a:lnTo>
                  <a:pt x="760" y="2081"/>
                </a:lnTo>
                <a:lnTo>
                  <a:pt x="759" y="2082"/>
                </a:lnTo>
                <a:lnTo>
                  <a:pt x="755" y="2082"/>
                </a:lnTo>
                <a:lnTo>
                  <a:pt x="755" y="2081"/>
                </a:lnTo>
                <a:lnTo>
                  <a:pt x="754" y="2081"/>
                </a:lnTo>
                <a:lnTo>
                  <a:pt x="754" y="2082"/>
                </a:lnTo>
                <a:lnTo>
                  <a:pt x="753" y="2081"/>
                </a:lnTo>
                <a:lnTo>
                  <a:pt x="753" y="2079"/>
                </a:lnTo>
                <a:lnTo>
                  <a:pt x="752" y="2079"/>
                </a:lnTo>
                <a:lnTo>
                  <a:pt x="752" y="2078"/>
                </a:lnTo>
                <a:lnTo>
                  <a:pt x="749" y="2077"/>
                </a:lnTo>
                <a:lnTo>
                  <a:pt x="748" y="2077"/>
                </a:lnTo>
                <a:lnTo>
                  <a:pt x="748" y="2075"/>
                </a:lnTo>
                <a:lnTo>
                  <a:pt x="746" y="2071"/>
                </a:lnTo>
                <a:lnTo>
                  <a:pt x="746" y="2067"/>
                </a:lnTo>
                <a:lnTo>
                  <a:pt x="745" y="2066"/>
                </a:lnTo>
                <a:lnTo>
                  <a:pt x="741" y="2061"/>
                </a:lnTo>
                <a:lnTo>
                  <a:pt x="737" y="2061"/>
                </a:lnTo>
                <a:lnTo>
                  <a:pt x="737" y="2060"/>
                </a:lnTo>
                <a:lnTo>
                  <a:pt x="736" y="2060"/>
                </a:lnTo>
                <a:lnTo>
                  <a:pt x="734" y="2059"/>
                </a:lnTo>
                <a:lnTo>
                  <a:pt x="730" y="2058"/>
                </a:lnTo>
                <a:lnTo>
                  <a:pt x="727" y="2055"/>
                </a:lnTo>
                <a:lnTo>
                  <a:pt x="724" y="2054"/>
                </a:lnTo>
                <a:lnTo>
                  <a:pt x="723" y="2054"/>
                </a:lnTo>
                <a:lnTo>
                  <a:pt x="722" y="2055"/>
                </a:lnTo>
                <a:lnTo>
                  <a:pt x="721" y="2055"/>
                </a:lnTo>
                <a:lnTo>
                  <a:pt x="718" y="2054"/>
                </a:lnTo>
                <a:lnTo>
                  <a:pt x="716" y="2052"/>
                </a:lnTo>
                <a:lnTo>
                  <a:pt x="716" y="2051"/>
                </a:lnTo>
                <a:lnTo>
                  <a:pt x="715" y="2051"/>
                </a:lnTo>
                <a:lnTo>
                  <a:pt x="715" y="2049"/>
                </a:lnTo>
                <a:lnTo>
                  <a:pt x="722" y="2049"/>
                </a:lnTo>
                <a:lnTo>
                  <a:pt x="724" y="2047"/>
                </a:lnTo>
                <a:lnTo>
                  <a:pt x="728" y="2047"/>
                </a:lnTo>
                <a:lnTo>
                  <a:pt x="730" y="2046"/>
                </a:lnTo>
                <a:lnTo>
                  <a:pt x="732" y="2045"/>
                </a:lnTo>
                <a:lnTo>
                  <a:pt x="732" y="2042"/>
                </a:lnTo>
                <a:lnTo>
                  <a:pt x="730" y="2042"/>
                </a:lnTo>
                <a:lnTo>
                  <a:pt x="724" y="2043"/>
                </a:lnTo>
                <a:lnTo>
                  <a:pt x="723" y="2043"/>
                </a:lnTo>
                <a:lnTo>
                  <a:pt x="723" y="2040"/>
                </a:lnTo>
                <a:lnTo>
                  <a:pt x="724" y="2041"/>
                </a:lnTo>
                <a:lnTo>
                  <a:pt x="724" y="2042"/>
                </a:lnTo>
                <a:lnTo>
                  <a:pt x="726" y="2042"/>
                </a:lnTo>
                <a:lnTo>
                  <a:pt x="726" y="2040"/>
                </a:lnTo>
                <a:lnTo>
                  <a:pt x="724" y="2039"/>
                </a:lnTo>
                <a:lnTo>
                  <a:pt x="722" y="2039"/>
                </a:lnTo>
                <a:lnTo>
                  <a:pt x="718" y="2042"/>
                </a:lnTo>
                <a:lnTo>
                  <a:pt x="718" y="2041"/>
                </a:lnTo>
                <a:lnTo>
                  <a:pt x="720" y="2040"/>
                </a:lnTo>
                <a:lnTo>
                  <a:pt x="721" y="2038"/>
                </a:lnTo>
                <a:lnTo>
                  <a:pt x="726" y="2035"/>
                </a:lnTo>
                <a:lnTo>
                  <a:pt x="729" y="2035"/>
                </a:lnTo>
                <a:lnTo>
                  <a:pt x="736" y="2040"/>
                </a:lnTo>
                <a:lnTo>
                  <a:pt x="737" y="2041"/>
                </a:lnTo>
                <a:lnTo>
                  <a:pt x="739" y="2041"/>
                </a:lnTo>
                <a:lnTo>
                  <a:pt x="739" y="2042"/>
                </a:lnTo>
                <a:lnTo>
                  <a:pt x="737" y="2042"/>
                </a:lnTo>
                <a:lnTo>
                  <a:pt x="737" y="2046"/>
                </a:lnTo>
                <a:lnTo>
                  <a:pt x="736" y="2046"/>
                </a:lnTo>
                <a:lnTo>
                  <a:pt x="736" y="2047"/>
                </a:lnTo>
                <a:lnTo>
                  <a:pt x="737" y="2047"/>
                </a:lnTo>
                <a:lnTo>
                  <a:pt x="740" y="2046"/>
                </a:lnTo>
                <a:lnTo>
                  <a:pt x="743" y="2046"/>
                </a:lnTo>
                <a:lnTo>
                  <a:pt x="743" y="2045"/>
                </a:lnTo>
                <a:lnTo>
                  <a:pt x="746" y="2045"/>
                </a:lnTo>
                <a:lnTo>
                  <a:pt x="745" y="2043"/>
                </a:lnTo>
                <a:lnTo>
                  <a:pt x="740" y="2043"/>
                </a:lnTo>
                <a:lnTo>
                  <a:pt x="740" y="2042"/>
                </a:lnTo>
                <a:lnTo>
                  <a:pt x="748" y="2042"/>
                </a:lnTo>
                <a:lnTo>
                  <a:pt x="749" y="2043"/>
                </a:lnTo>
                <a:lnTo>
                  <a:pt x="749" y="2042"/>
                </a:lnTo>
                <a:lnTo>
                  <a:pt x="752" y="2042"/>
                </a:lnTo>
                <a:lnTo>
                  <a:pt x="754" y="2040"/>
                </a:lnTo>
                <a:lnTo>
                  <a:pt x="755" y="2040"/>
                </a:lnTo>
                <a:lnTo>
                  <a:pt x="754" y="2041"/>
                </a:lnTo>
                <a:lnTo>
                  <a:pt x="759" y="2041"/>
                </a:lnTo>
                <a:lnTo>
                  <a:pt x="759" y="2042"/>
                </a:lnTo>
                <a:lnTo>
                  <a:pt x="760" y="2041"/>
                </a:lnTo>
                <a:lnTo>
                  <a:pt x="760" y="2042"/>
                </a:lnTo>
                <a:lnTo>
                  <a:pt x="761" y="2042"/>
                </a:lnTo>
                <a:lnTo>
                  <a:pt x="761" y="2043"/>
                </a:lnTo>
                <a:lnTo>
                  <a:pt x="764" y="2043"/>
                </a:lnTo>
                <a:lnTo>
                  <a:pt x="764" y="2042"/>
                </a:lnTo>
                <a:lnTo>
                  <a:pt x="763" y="2041"/>
                </a:lnTo>
                <a:lnTo>
                  <a:pt x="763" y="2040"/>
                </a:lnTo>
                <a:lnTo>
                  <a:pt x="764" y="2040"/>
                </a:lnTo>
                <a:lnTo>
                  <a:pt x="764" y="2039"/>
                </a:lnTo>
                <a:lnTo>
                  <a:pt x="765" y="2039"/>
                </a:lnTo>
                <a:lnTo>
                  <a:pt x="765" y="2038"/>
                </a:lnTo>
                <a:lnTo>
                  <a:pt x="764" y="2038"/>
                </a:lnTo>
                <a:lnTo>
                  <a:pt x="764" y="2036"/>
                </a:lnTo>
                <a:lnTo>
                  <a:pt x="763" y="2035"/>
                </a:lnTo>
                <a:lnTo>
                  <a:pt x="763" y="2034"/>
                </a:lnTo>
                <a:lnTo>
                  <a:pt x="764" y="2034"/>
                </a:lnTo>
                <a:lnTo>
                  <a:pt x="764" y="2035"/>
                </a:lnTo>
                <a:lnTo>
                  <a:pt x="765" y="2035"/>
                </a:lnTo>
                <a:lnTo>
                  <a:pt x="765" y="2034"/>
                </a:lnTo>
                <a:lnTo>
                  <a:pt x="764" y="2034"/>
                </a:lnTo>
                <a:lnTo>
                  <a:pt x="763" y="2033"/>
                </a:lnTo>
                <a:lnTo>
                  <a:pt x="763" y="2028"/>
                </a:lnTo>
                <a:lnTo>
                  <a:pt x="761" y="2027"/>
                </a:lnTo>
                <a:lnTo>
                  <a:pt x="760" y="2027"/>
                </a:lnTo>
                <a:lnTo>
                  <a:pt x="760" y="2026"/>
                </a:lnTo>
                <a:lnTo>
                  <a:pt x="759" y="2026"/>
                </a:lnTo>
                <a:lnTo>
                  <a:pt x="759" y="2027"/>
                </a:lnTo>
                <a:lnTo>
                  <a:pt x="760" y="2027"/>
                </a:lnTo>
                <a:lnTo>
                  <a:pt x="761" y="2028"/>
                </a:lnTo>
                <a:lnTo>
                  <a:pt x="760" y="2028"/>
                </a:lnTo>
                <a:lnTo>
                  <a:pt x="760" y="2034"/>
                </a:lnTo>
                <a:lnTo>
                  <a:pt x="759" y="2036"/>
                </a:lnTo>
                <a:lnTo>
                  <a:pt x="758" y="2036"/>
                </a:lnTo>
                <a:lnTo>
                  <a:pt x="758" y="2023"/>
                </a:lnTo>
                <a:lnTo>
                  <a:pt x="759" y="2022"/>
                </a:lnTo>
                <a:lnTo>
                  <a:pt x="759" y="2021"/>
                </a:lnTo>
                <a:lnTo>
                  <a:pt x="760" y="2022"/>
                </a:lnTo>
                <a:lnTo>
                  <a:pt x="759" y="2023"/>
                </a:lnTo>
                <a:lnTo>
                  <a:pt x="760" y="2023"/>
                </a:lnTo>
                <a:lnTo>
                  <a:pt x="760" y="2024"/>
                </a:lnTo>
                <a:lnTo>
                  <a:pt x="763" y="2024"/>
                </a:lnTo>
                <a:lnTo>
                  <a:pt x="763" y="2023"/>
                </a:lnTo>
                <a:lnTo>
                  <a:pt x="761" y="2023"/>
                </a:lnTo>
                <a:lnTo>
                  <a:pt x="761" y="2021"/>
                </a:lnTo>
                <a:lnTo>
                  <a:pt x="765" y="2018"/>
                </a:lnTo>
                <a:lnTo>
                  <a:pt x="767" y="2017"/>
                </a:lnTo>
                <a:lnTo>
                  <a:pt x="768" y="2016"/>
                </a:lnTo>
                <a:lnTo>
                  <a:pt x="768" y="2015"/>
                </a:lnTo>
                <a:lnTo>
                  <a:pt x="770" y="2014"/>
                </a:lnTo>
                <a:lnTo>
                  <a:pt x="770" y="2011"/>
                </a:lnTo>
                <a:lnTo>
                  <a:pt x="771" y="2004"/>
                </a:lnTo>
                <a:lnTo>
                  <a:pt x="772" y="2002"/>
                </a:lnTo>
                <a:lnTo>
                  <a:pt x="774" y="1999"/>
                </a:lnTo>
                <a:lnTo>
                  <a:pt x="777" y="1998"/>
                </a:lnTo>
                <a:lnTo>
                  <a:pt x="779" y="1998"/>
                </a:lnTo>
                <a:lnTo>
                  <a:pt x="777" y="1999"/>
                </a:lnTo>
                <a:lnTo>
                  <a:pt x="778" y="1999"/>
                </a:lnTo>
                <a:lnTo>
                  <a:pt x="778" y="2000"/>
                </a:lnTo>
                <a:lnTo>
                  <a:pt x="777" y="2002"/>
                </a:lnTo>
                <a:lnTo>
                  <a:pt x="777" y="2004"/>
                </a:lnTo>
                <a:lnTo>
                  <a:pt x="778" y="2004"/>
                </a:lnTo>
                <a:lnTo>
                  <a:pt x="778" y="2008"/>
                </a:lnTo>
                <a:lnTo>
                  <a:pt x="776" y="2010"/>
                </a:lnTo>
                <a:lnTo>
                  <a:pt x="776" y="2012"/>
                </a:lnTo>
                <a:lnTo>
                  <a:pt x="777" y="2012"/>
                </a:lnTo>
                <a:lnTo>
                  <a:pt x="778" y="2011"/>
                </a:lnTo>
                <a:lnTo>
                  <a:pt x="777" y="2011"/>
                </a:lnTo>
                <a:lnTo>
                  <a:pt x="777" y="2010"/>
                </a:lnTo>
                <a:lnTo>
                  <a:pt x="778" y="2009"/>
                </a:lnTo>
                <a:lnTo>
                  <a:pt x="779" y="2005"/>
                </a:lnTo>
                <a:lnTo>
                  <a:pt x="779" y="2004"/>
                </a:lnTo>
                <a:lnTo>
                  <a:pt x="780" y="2003"/>
                </a:lnTo>
                <a:lnTo>
                  <a:pt x="780" y="2002"/>
                </a:lnTo>
                <a:lnTo>
                  <a:pt x="782" y="1999"/>
                </a:lnTo>
                <a:lnTo>
                  <a:pt x="782" y="1996"/>
                </a:lnTo>
                <a:lnTo>
                  <a:pt x="783" y="1995"/>
                </a:lnTo>
                <a:lnTo>
                  <a:pt x="783" y="1993"/>
                </a:lnTo>
                <a:lnTo>
                  <a:pt x="785" y="1993"/>
                </a:lnTo>
                <a:lnTo>
                  <a:pt x="785" y="1992"/>
                </a:lnTo>
                <a:lnTo>
                  <a:pt x="789" y="1996"/>
                </a:lnTo>
                <a:lnTo>
                  <a:pt x="790" y="1996"/>
                </a:lnTo>
                <a:lnTo>
                  <a:pt x="794" y="1999"/>
                </a:lnTo>
                <a:lnTo>
                  <a:pt x="798" y="1999"/>
                </a:lnTo>
                <a:lnTo>
                  <a:pt x="799" y="1998"/>
                </a:lnTo>
                <a:lnTo>
                  <a:pt x="799" y="1995"/>
                </a:lnTo>
                <a:lnTo>
                  <a:pt x="798" y="1995"/>
                </a:lnTo>
                <a:lnTo>
                  <a:pt x="788" y="1989"/>
                </a:lnTo>
                <a:lnTo>
                  <a:pt x="788" y="1986"/>
                </a:lnTo>
                <a:lnTo>
                  <a:pt x="786" y="1985"/>
                </a:lnTo>
                <a:lnTo>
                  <a:pt x="786" y="1984"/>
                </a:lnTo>
                <a:lnTo>
                  <a:pt x="784" y="1983"/>
                </a:lnTo>
                <a:lnTo>
                  <a:pt x="780" y="1978"/>
                </a:lnTo>
                <a:lnTo>
                  <a:pt x="779" y="1977"/>
                </a:lnTo>
                <a:lnTo>
                  <a:pt x="774" y="1977"/>
                </a:lnTo>
                <a:lnTo>
                  <a:pt x="774" y="1978"/>
                </a:lnTo>
                <a:lnTo>
                  <a:pt x="776" y="1979"/>
                </a:lnTo>
                <a:lnTo>
                  <a:pt x="774" y="1980"/>
                </a:lnTo>
                <a:lnTo>
                  <a:pt x="774" y="1979"/>
                </a:lnTo>
                <a:lnTo>
                  <a:pt x="771" y="1977"/>
                </a:lnTo>
                <a:lnTo>
                  <a:pt x="770" y="1973"/>
                </a:lnTo>
                <a:lnTo>
                  <a:pt x="768" y="1973"/>
                </a:lnTo>
                <a:lnTo>
                  <a:pt x="768" y="1972"/>
                </a:lnTo>
                <a:lnTo>
                  <a:pt x="767" y="1971"/>
                </a:lnTo>
                <a:lnTo>
                  <a:pt x="767" y="1968"/>
                </a:lnTo>
                <a:lnTo>
                  <a:pt x="765" y="1963"/>
                </a:lnTo>
                <a:lnTo>
                  <a:pt x="765" y="1962"/>
                </a:lnTo>
                <a:lnTo>
                  <a:pt x="764" y="1961"/>
                </a:lnTo>
                <a:lnTo>
                  <a:pt x="764" y="1960"/>
                </a:lnTo>
                <a:lnTo>
                  <a:pt x="765" y="1961"/>
                </a:lnTo>
                <a:lnTo>
                  <a:pt x="767" y="1962"/>
                </a:lnTo>
                <a:lnTo>
                  <a:pt x="768" y="1963"/>
                </a:lnTo>
                <a:lnTo>
                  <a:pt x="777" y="1963"/>
                </a:lnTo>
                <a:lnTo>
                  <a:pt x="778" y="1962"/>
                </a:lnTo>
                <a:lnTo>
                  <a:pt x="779" y="1960"/>
                </a:lnTo>
                <a:lnTo>
                  <a:pt x="780" y="1960"/>
                </a:lnTo>
                <a:lnTo>
                  <a:pt x="782" y="1959"/>
                </a:lnTo>
                <a:lnTo>
                  <a:pt x="785" y="1959"/>
                </a:lnTo>
                <a:lnTo>
                  <a:pt x="786" y="1956"/>
                </a:lnTo>
                <a:lnTo>
                  <a:pt x="788" y="1957"/>
                </a:lnTo>
                <a:lnTo>
                  <a:pt x="788" y="1960"/>
                </a:lnTo>
                <a:lnTo>
                  <a:pt x="789" y="1960"/>
                </a:lnTo>
                <a:lnTo>
                  <a:pt x="795" y="1962"/>
                </a:lnTo>
                <a:lnTo>
                  <a:pt x="799" y="1961"/>
                </a:lnTo>
                <a:lnTo>
                  <a:pt x="801" y="1961"/>
                </a:lnTo>
                <a:lnTo>
                  <a:pt x="801" y="1960"/>
                </a:lnTo>
                <a:lnTo>
                  <a:pt x="799" y="1959"/>
                </a:lnTo>
                <a:lnTo>
                  <a:pt x="799" y="1957"/>
                </a:lnTo>
                <a:lnTo>
                  <a:pt x="798" y="1957"/>
                </a:lnTo>
                <a:lnTo>
                  <a:pt x="797" y="1956"/>
                </a:lnTo>
                <a:lnTo>
                  <a:pt x="791" y="1956"/>
                </a:lnTo>
                <a:lnTo>
                  <a:pt x="791" y="1955"/>
                </a:lnTo>
                <a:lnTo>
                  <a:pt x="792" y="1954"/>
                </a:lnTo>
                <a:lnTo>
                  <a:pt x="792" y="1950"/>
                </a:lnTo>
                <a:lnTo>
                  <a:pt x="794" y="1949"/>
                </a:lnTo>
                <a:lnTo>
                  <a:pt x="801" y="1949"/>
                </a:lnTo>
                <a:lnTo>
                  <a:pt x="804" y="1948"/>
                </a:lnTo>
                <a:lnTo>
                  <a:pt x="805" y="1948"/>
                </a:lnTo>
                <a:lnTo>
                  <a:pt x="808" y="1947"/>
                </a:lnTo>
                <a:lnTo>
                  <a:pt x="809" y="1947"/>
                </a:lnTo>
                <a:lnTo>
                  <a:pt x="811" y="1944"/>
                </a:lnTo>
                <a:lnTo>
                  <a:pt x="811" y="1943"/>
                </a:lnTo>
                <a:lnTo>
                  <a:pt x="816" y="1943"/>
                </a:lnTo>
                <a:lnTo>
                  <a:pt x="817" y="1942"/>
                </a:lnTo>
                <a:lnTo>
                  <a:pt x="819" y="1940"/>
                </a:lnTo>
                <a:lnTo>
                  <a:pt x="820" y="1938"/>
                </a:lnTo>
                <a:lnTo>
                  <a:pt x="821" y="1938"/>
                </a:lnTo>
                <a:lnTo>
                  <a:pt x="822" y="1940"/>
                </a:lnTo>
                <a:lnTo>
                  <a:pt x="823" y="1940"/>
                </a:lnTo>
                <a:lnTo>
                  <a:pt x="823" y="1938"/>
                </a:lnTo>
                <a:lnTo>
                  <a:pt x="828" y="1940"/>
                </a:lnTo>
                <a:lnTo>
                  <a:pt x="829" y="1940"/>
                </a:lnTo>
                <a:lnTo>
                  <a:pt x="829" y="1938"/>
                </a:lnTo>
                <a:lnTo>
                  <a:pt x="830" y="1936"/>
                </a:lnTo>
                <a:lnTo>
                  <a:pt x="830" y="1935"/>
                </a:lnTo>
                <a:lnTo>
                  <a:pt x="832" y="1934"/>
                </a:lnTo>
                <a:lnTo>
                  <a:pt x="833" y="1934"/>
                </a:lnTo>
                <a:lnTo>
                  <a:pt x="834" y="1932"/>
                </a:lnTo>
                <a:lnTo>
                  <a:pt x="832" y="1932"/>
                </a:lnTo>
                <a:lnTo>
                  <a:pt x="829" y="1935"/>
                </a:lnTo>
                <a:lnTo>
                  <a:pt x="828" y="1934"/>
                </a:lnTo>
                <a:lnTo>
                  <a:pt x="829" y="1931"/>
                </a:lnTo>
                <a:lnTo>
                  <a:pt x="828" y="1931"/>
                </a:lnTo>
                <a:lnTo>
                  <a:pt x="828" y="1928"/>
                </a:lnTo>
                <a:lnTo>
                  <a:pt x="829" y="1928"/>
                </a:lnTo>
                <a:lnTo>
                  <a:pt x="829" y="1925"/>
                </a:lnTo>
                <a:lnTo>
                  <a:pt x="828" y="1924"/>
                </a:lnTo>
                <a:lnTo>
                  <a:pt x="827" y="1924"/>
                </a:lnTo>
                <a:lnTo>
                  <a:pt x="826" y="1923"/>
                </a:lnTo>
                <a:lnTo>
                  <a:pt x="821" y="1923"/>
                </a:lnTo>
                <a:lnTo>
                  <a:pt x="820" y="1924"/>
                </a:lnTo>
                <a:lnTo>
                  <a:pt x="815" y="1924"/>
                </a:lnTo>
                <a:lnTo>
                  <a:pt x="815" y="1929"/>
                </a:lnTo>
                <a:lnTo>
                  <a:pt x="813" y="1929"/>
                </a:lnTo>
                <a:lnTo>
                  <a:pt x="811" y="1930"/>
                </a:lnTo>
                <a:lnTo>
                  <a:pt x="808" y="1930"/>
                </a:lnTo>
                <a:lnTo>
                  <a:pt x="805" y="1931"/>
                </a:lnTo>
                <a:lnTo>
                  <a:pt x="798" y="1931"/>
                </a:lnTo>
                <a:lnTo>
                  <a:pt x="798" y="1932"/>
                </a:lnTo>
                <a:lnTo>
                  <a:pt x="796" y="1932"/>
                </a:lnTo>
                <a:lnTo>
                  <a:pt x="796" y="1931"/>
                </a:lnTo>
                <a:lnTo>
                  <a:pt x="797" y="1930"/>
                </a:lnTo>
                <a:lnTo>
                  <a:pt x="797" y="1929"/>
                </a:lnTo>
                <a:lnTo>
                  <a:pt x="798" y="1928"/>
                </a:lnTo>
                <a:lnTo>
                  <a:pt x="798" y="1926"/>
                </a:lnTo>
                <a:lnTo>
                  <a:pt x="801" y="1926"/>
                </a:lnTo>
                <a:lnTo>
                  <a:pt x="808" y="1925"/>
                </a:lnTo>
                <a:lnTo>
                  <a:pt x="810" y="1923"/>
                </a:lnTo>
                <a:lnTo>
                  <a:pt x="809" y="1922"/>
                </a:lnTo>
                <a:lnTo>
                  <a:pt x="809" y="1924"/>
                </a:lnTo>
                <a:lnTo>
                  <a:pt x="807" y="1924"/>
                </a:lnTo>
                <a:lnTo>
                  <a:pt x="801" y="1925"/>
                </a:lnTo>
                <a:lnTo>
                  <a:pt x="798" y="1926"/>
                </a:lnTo>
                <a:lnTo>
                  <a:pt x="797" y="1926"/>
                </a:lnTo>
                <a:lnTo>
                  <a:pt x="796" y="1929"/>
                </a:lnTo>
                <a:lnTo>
                  <a:pt x="795" y="1930"/>
                </a:lnTo>
                <a:lnTo>
                  <a:pt x="795" y="1931"/>
                </a:lnTo>
                <a:lnTo>
                  <a:pt x="794" y="1932"/>
                </a:lnTo>
                <a:lnTo>
                  <a:pt x="786" y="1932"/>
                </a:lnTo>
                <a:lnTo>
                  <a:pt x="785" y="1934"/>
                </a:lnTo>
                <a:lnTo>
                  <a:pt x="784" y="1934"/>
                </a:lnTo>
                <a:lnTo>
                  <a:pt x="784" y="1928"/>
                </a:lnTo>
                <a:lnTo>
                  <a:pt x="786" y="1925"/>
                </a:lnTo>
                <a:lnTo>
                  <a:pt x="788" y="1925"/>
                </a:lnTo>
                <a:lnTo>
                  <a:pt x="788" y="1923"/>
                </a:lnTo>
                <a:lnTo>
                  <a:pt x="786" y="1922"/>
                </a:lnTo>
                <a:lnTo>
                  <a:pt x="783" y="1922"/>
                </a:lnTo>
                <a:lnTo>
                  <a:pt x="783" y="1920"/>
                </a:lnTo>
                <a:lnTo>
                  <a:pt x="785" y="1918"/>
                </a:lnTo>
                <a:lnTo>
                  <a:pt x="786" y="1916"/>
                </a:lnTo>
                <a:lnTo>
                  <a:pt x="786" y="1907"/>
                </a:lnTo>
                <a:lnTo>
                  <a:pt x="788" y="1905"/>
                </a:lnTo>
                <a:lnTo>
                  <a:pt x="790" y="1903"/>
                </a:lnTo>
                <a:lnTo>
                  <a:pt x="799" y="1901"/>
                </a:lnTo>
                <a:lnTo>
                  <a:pt x="799" y="1900"/>
                </a:lnTo>
                <a:lnTo>
                  <a:pt x="801" y="1900"/>
                </a:lnTo>
                <a:lnTo>
                  <a:pt x="802" y="1898"/>
                </a:lnTo>
                <a:lnTo>
                  <a:pt x="807" y="1898"/>
                </a:lnTo>
                <a:lnTo>
                  <a:pt x="807" y="1894"/>
                </a:lnTo>
                <a:lnTo>
                  <a:pt x="810" y="1887"/>
                </a:lnTo>
                <a:lnTo>
                  <a:pt x="813" y="1886"/>
                </a:lnTo>
                <a:lnTo>
                  <a:pt x="819" y="1887"/>
                </a:lnTo>
                <a:lnTo>
                  <a:pt x="821" y="1888"/>
                </a:lnTo>
                <a:lnTo>
                  <a:pt x="824" y="1888"/>
                </a:lnTo>
                <a:lnTo>
                  <a:pt x="830" y="1887"/>
                </a:lnTo>
                <a:lnTo>
                  <a:pt x="832" y="1887"/>
                </a:lnTo>
                <a:lnTo>
                  <a:pt x="834" y="1889"/>
                </a:lnTo>
                <a:lnTo>
                  <a:pt x="835" y="1888"/>
                </a:lnTo>
                <a:lnTo>
                  <a:pt x="838" y="1888"/>
                </a:lnTo>
                <a:lnTo>
                  <a:pt x="839" y="1889"/>
                </a:lnTo>
                <a:lnTo>
                  <a:pt x="841" y="1888"/>
                </a:lnTo>
                <a:lnTo>
                  <a:pt x="842" y="1888"/>
                </a:lnTo>
                <a:lnTo>
                  <a:pt x="847" y="1889"/>
                </a:lnTo>
                <a:lnTo>
                  <a:pt x="848" y="1889"/>
                </a:lnTo>
                <a:lnTo>
                  <a:pt x="850" y="1888"/>
                </a:lnTo>
                <a:lnTo>
                  <a:pt x="850" y="1887"/>
                </a:lnTo>
                <a:lnTo>
                  <a:pt x="851" y="1885"/>
                </a:lnTo>
                <a:lnTo>
                  <a:pt x="851" y="1879"/>
                </a:lnTo>
                <a:lnTo>
                  <a:pt x="850" y="1877"/>
                </a:lnTo>
                <a:lnTo>
                  <a:pt x="850" y="1876"/>
                </a:lnTo>
                <a:lnTo>
                  <a:pt x="851" y="1876"/>
                </a:lnTo>
                <a:lnTo>
                  <a:pt x="853" y="1875"/>
                </a:lnTo>
                <a:lnTo>
                  <a:pt x="852" y="1873"/>
                </a:lnTo>
                <a:lnTo>
                  <a:pt x="852" y="1872"/>
                </a:lnTo>
                <a:lnTo>
                  <a:pt x="853" y="1870"/>
                </a:lnTo>
                <a:lnTo>
                  <a:pt x="855" y="1867"/>
                </a:lnTo>
                <a:lnTo>
                  <a:pt x="855" y="1866"/>
                </a:lnTo>
                <a:lnTo>
                  <a:pt x="858" y="1863"/>
                </a:lnTo>
                <a:lnTo>
                  <a:pt x="859" y="1863"/>
                </a:lnTo>
                <a:lnTo>
                  <a:pt x="859" y="1860"/>
                </a:lnTo>
                <a:lnTo>
                  <a:pt x="854" y="1860"/>
                </a:lnTo>
                <a:lnTo>
                  <a:pt x="852" y="1858"/>
                </a:lnTo>
                <a:lnTo>
                  <a:pt x="857" y="1854"/>
                </a:lnTo>
                <a:lnTo>
                  <a:pt x="855" y="1854"/>
                </a:lnTo>
                <a:lnTo>
                  <a:pt x="855" y="1851"/>
                </a:lnTo>
                <a:lnTo>
                  <a:pt x="854" y="1848"/>
                </a:lnTo>
                <a:lnTo>
                  <a:pt x="853" y="1848"/>
                </a:lnTo>
                <a:lnTo>
                  <a:pt x="853" y="1846"/>
                </a:lnTo>
                <a:lnTo>
                  <a:pt x="854" y="1846"/>
                </a:lnTo>
                <a:lnTo>
                  <a:pt x="854" y="1844"/>
                </a:lnTo>
                <a:lnTo>
                  <a:pt x="853" y="1843"/>
                </a:lnTo>
                <a:lnTo>
                  <a:pt x="853" y="1842"/>
                </a:lnTo>
                <a:lnTo>
                  <a:pt x="852" y="1840"/>
                </a:lnTo>
                <a:lnTo>
                  <a:pt x="844" y="1840"/>
                </a:lnTo>
                <a:lnTo>
                  <a:pt x="845" y="1839"/>
                </a:lnTo>
                <a:lnTo>
                  <a:pt x="847" y="1831"/>
                </a:lnTo>
                <a:lnTo>
                  <a:pt x="847" y="1830"/>
                </a:lnTo>
                <a:lnTo>
                  <a:pt x="848" y="1830"/>
                </a:lnTo>
                <a:lnTo>
                  <a:pt x="848" y="1829"/>
                </a:lnTo>
                <a:lnTo>
                  <a:pt x="850" y="1829"/>
                </a:lnTo>
                <a:lnTo>
                  <a:pt x="850" y="1827"/>
                </a:lnTo>
                <a:lnTo>
                  <a:pt x="851" y="1826"/>
                </a:lnTo>
                <a:lnTo>
                  <a:pt x="852" y="1826"/>
                </a:lnTo>
                <a:lnTo>
                  <a:pt x="857" y="1827"/>
                </a:lnTo>
                <a:lnTo>
                  <a:pt x="859" y="1827"/>
                </a:lnTo>
                <a:lnTo>
                  <a:pt x="861" y="1825"/>
                </a:lnTo>
                <a:lnTo>
                  <a:pt x="861" y="1821"/>
                </a:lnTo>
                <a:lnTo>
                  <a:pt x="860" y="1821"/>
                </a:lnTo>
                <a:lnTo>
                  <a:pt x="859" y="1823"/>
                </a:lnTo>
                <a:lnTo>
                  <a:pt x="858" y="1823"/>
                </a:lnTo>
                <a:lnTo>
                  <a:pt x="858" y="1824"/>
                </a:lnTo>
                <a:lnTo>
                  <a:pt x="857" y="1824"/>
                </a:lnTo>
                <a:lnTo>
                  <a:pt x="857" y="1823"/>
                </a:lnTo>
                <a:lnTo>
                  <a:pt x="855" y="1821"/>
                </a:lnTo>
                <a:lnTo>
                  <a:pt x="854" y="1823"/>
                </a:lnTo>
                <a:lnTo>
                  <a:pt x="851" y="1821"/>
                </a:lnTo>
                <a:lnTo>
                  <a:pt x="850" y="1821"/>
                </a:lnTo>
                <a:lnTo>
                  <a:pt x="848" y="1820"/>
                </a:lnTo>
                <a:lnTo>
                  <a:pt x="848" y="1818"/>
                </a:lnTo>
                <a:lnTo>
                  <a:pt x="847" y="1818"/>
                </a:lnTo>
                <a:lnTo>
                  <a:pt x="846" y="1817"/>
                </a:lnTo>
                <a:lnTo>
                  <a:pt x="846" y="1813"/>
                </a:lnTo>
                <a:lnTo>
                  <a:pt x="847" y="1812"/>
                </a:lnTo>
                <a:lnTo>
                  <a:pt x="850" y="1813"/>
                </a:lnTo>
                <a:lnTo>
                  <a:pt x="852" y="1811"/>
                </a:lnTo>
                <a:lnTo>
                  <a:pt x="854" y="1811"/>
                </a:lnTo>
                <a:lnTo>
                  <a:pt x="855" y="1812"/>
                </a:lnTo>
                <a:lnTo>
                  <a:pt x="857" y="1811"/>
                </a:lnTo>
                <a:lnTo>
                  <a:pt x="857" y="1807"/>
                </a:lnTo>
                <a:lnTo>
                  <a:pt x="859" y="1805"/>
                </a:lnTo>
                <a:lnTo>
                  <a:pt x="861" y="1803"/>
                </a:lnTo>
                <a:lnTo>
                  <a:pt x="861" y="1802"/>
                </a:lnTo>
                <a:lnTo>
                  <a:pt x="865" y="1799"/>
                </a:lnTo>
                <a:lnTo>
                  <a:pt x="865" y="1796"/>
                </a:lnTo>
                <a:lnTo>
                  <a:pt x="866" y="1794"/>
                </a:lnTo>
                <a:lnTo>
                  <a:pt x="866" y="1791"/>
                </a:lnTo>
                <a:lnTo>
                  <a:pt x="864" y="1789"/>
                </a:lnTo>
                <a:lnTo>
                  <a:pt x="861" y="1784"/>
                </a:lnTo>
                <a:lnTo>
                  <a:pt x="861" y="1781"/>
                </a:lnTo>
                <a:lnTo>
                  <a:pt x="864" y="1778"/>
                </a:lnTo>
                <a:lnTo>
                  <a:pt x="865" y="1778"/>
                </a:lnTo>
                <a:lnTo>
                  <a:pt x="865" y="1776"/>
                </a:lnTo>
                <a:lnTo>
                  <a:pt x="860" y="1775"/>
                </a:lnTo>
                <a:lnTo>
                  <a:pt x="859" y="1775"/>
                </a:lnTo>
                <a:lnTo>
                  <a:pt x="855" y="1777"/>
                </a:lnTo>
                <a:lnTo>
                  <a:pt x="855" y="1778"/>
                </a:lnTo>
                <a:lnTo>
                  <a:pt x="853" y="1778"/>
                </a:lnTo>
                <a:lnTo>
                  <a:pt x="852" y="1780"/>
                </a:lnTo>
                <a:lnTo>
                  <a:pt x="851" y="1780"/>
                </a:lnTo>
                <a:lnTo>
                  <a:pt x="851" y="1778"/>
                </a:lnTo>
                <a:lnTo>
                  <a:pt x="848" y="1776"/>
                </a:lnTo>
                <a:lnTo>
                  <a:pt x="846" y="1776"/>
                </a:lnTo>
                <a:lnTo>
                  <a:pt x="845" y="1775"/>
                </a:lnTo>
                <a:lnTo>
                  <a:pt x="844" y="1775"/>
                </a:lnTo>
                <a:lnTo>
                  <a:pt x="842" y="1772"/>
                </a:lnTo>
                <a:lnTo>
                  <a:pt x="842" y="1769"/>
                </a:lnTo>
                <a:lnTo>
                  <a:pt x="841" y="1768"/>
                </a:lnTo>
                <a:lnTo>
                  <a:pt x="839" y="1766"/>
                </a:lnTo>
                <a:lnTo>
                  <a:pt x="838" y="1766"/>
                </a:lnTo>
                <a:lnTo>
                  <a:pt x="836" y="1765"/>
                </a:lnTo>
                <a:lnTo>
                  <a:pt x="834" y="1766"/>
                </a:lnTo>
                <a:lnTo>
                  <a:pt x="833" y="1766"/>
                </a:lnTo>
                <a:lnTo>
                  <a:pt x="832" y="1768"/>
                </a:lnTo>
                <a:lnTo>
                  <a:pt x="829" y="1766"/>
                </a:lnTo>
                <a:lnTo>
                  <a:pt x="828" y="1766"/>
                </a:lnTo>
                <a:lnTo>
                  <a:pt x="827" y="1764"/>
                </a:lnTo>
                <a:lnTo>
                  <a:pt x="824" y="1758"/>
                </a:lnTo>
                <a:lnTo>
                  <a:pt x="824" y="1757"/>
                </a:lnTo>
                <a:lnTo>
                  <a:pt x="822" y="1758"/>
                </a:lnTo>
                <a:lnTo>
                  <a:pt x="822" y="1759"/>
                </a:lnTo>
                <a:lnTo>
                  <a:pt x="820" y="1760"/>
                </a:lnTo>
                <a:lnTo>
                  <a:pt x="820" y="1762"/>
                </a:lnTo>
                <a:lnTo>
                  <a:pt x="815" y="1762"/>
                </a:lnTo>
                <a:lnTo>
                  <a:pt x="811" y="1758"/>
                </a:lnTo>
                <a:lnTo>
                  <a:pt x="807" y="1757"/>
                </a:lnTo>
                <a:lnTo>
                  <a:pt x="803" y="1753"/>
                </a:lnTo>
                <a:lnTo>
                  <a:pt x="803" y="1752"/>
                </a:lnTo>
                <a:lnTo>
                  <a:pt x="795" y="1752"/>
                </a:lnTo>
                <a:lnTo>
                  <a:pt x="794" y="1751"/>
                </a:lnTo>
                <a:lnTo>
                  <a:pt x="790" y="1751"/>
                </a:lnTo>
                <a:lnTo>
                  <a:pt x="790" y="1750"/>
                </a:lnTo>
                <a:lnTo>
                  <a:pt x="789" y="1746"/>
                </a:lnTo>
                <a:lnTo>
                  <a:pt x="788" y="1745"/>
                </a:lnTo>
                <a:lnTo>
                  <a:pt x="783" y="1745"/>
                </a:lnTo>
                <a:lnTo>
                  <a:pt x="782" y="1747"/>
                </a:lnTo>
                <a:lnTo>
                  <a:pt x="783" y="1750"/>
                </a:lnTo>
                <a:lnTo>
                  <a:pt x="783" y="1753"/>
                </a:lnTo>
                <a:lnTo>
                  <a:pt x="780" y="1754"/>
                </a:lnTo>
                <a:lnTo>
                  <a:pt x="779" y="1754"/>
                </a:lnTo>
                <a:lnTo>
                  <a:pt x="779" y="1753"/>
                </a:lnTo>
                <a:lnTo>
                  <a:pt x="778" y="1753"/>
                </a:lnTo>
                <a:lnTo>
                  <a:pt x="778" y="1754"/>
                </a:lnTo>
                <a:lnTo>
                  <a:pt x="776" y="1756"/>
                </a:lnTo>
                <a:lnTo>
                  <a:pt x="774" y="1756"/>
                </a:lnTo>
                <a:lnTo>
                  <a:pt x="774" y="1753"/>
                </a:lnTo>
                <a:lnTo>
                  <a:pt x="772" y="1748"/>
                </a:lnTo>
                <a:lnTo>
                  <a:pt x="770" y="1747"/>
                </a:lnTo>
                <a:lnTo>
                  <a:pt x="768" y="1746"/>
                </a:lnTo>
                <a:lnTo>
                  <a:pt x="765" y="1745"/>
                </a:lnTo>
                <a:lnTo>
                  <a:pt x="764" y="1744"/>
                </a:lnTo>
                <a:lnTo>
                  <a:pt x="760" y="1738"/>
                </a:lnTo>
                <a:lnTo>
                  <a:pt x="758" y="1737"/>
                </a:lnTo>
                <a:lnTo>
                  <a:pt x="758" y="1734"/>
                </a:lnTo>
                <a:lnTo>
                  <a:pt x="759" y="1733"/>
                </a:lnTo>
                <a:lnTo>
                  <a:pt x="757" y="1728"/>
                </a:lnTo>
                <a:lnTo>
                  <a:pt x="753" y="1727"/>
                </a:lnTo>
                <a:lnTo>
                  <a:pt x="753" y="1725"/>
                </a:lnTo>
                <a:lnTo>
                  <a:pt x="752" y="1723"/>
                </a:lnTo>
                <a:lnTo>
                  <a:pt x="752" y="1721"/>
                </a:lnTo>
                <a:lnTo>
                  <a:pt x="746" y="1721"/>
                </a:lnTo>
                <a:lnTo>
                  <a:pt x="741" y="1726"/>
                </a:lnTo>
                <a:lnTo>
                  <a:pt x="735" y="1727"/>
                </a:lnTo>
                <a:lnTo>
                  <a:pt x="729" y="1727"/>
                </a:lnTo>
                <a:lnTo>
                  <a:pt x="720" y="1732"/>
                </a:lnTo>
                <a:lnTo>
                  <a:pt x="720" y="1733"/>
                </a:lnTo>
                <a:lnTo>
                  <a:pt x="718" y="1733"/>
                </a:lnTo>
                <a:lnTo>
                  <a:pt x="718" y="1734"/>
                </a:lnTo>
                <a:lnTo>
                  <a:pt x="717" y="1735"/>
                </a:lnTo>
                <a:lnTo>
                  <a:pt x="714" y="1735"/>
                </a:lnTo>
                <a:lnTo>
                  <a:pt x="714" y="1732"/>
                </a:lnTo>
                <a:lnTo>
                  <a:pt x="712" y="1731"/>
                </a:lnTo>
                <a:lnTo>
                  <a:pt x="711" y="1731"/>
                </a:lnTo>
                <a:lnTo>
                  <a:pt x="710" y="1729"/>
                </a:lnTo>
                <a:lnTo>
                  <a:pt x="707" y="1729"/>
                </a:lnTo>
                <a:lnTo>
                  <a:pt x="705" y="1731"/>
                </a:lnTo>
                <a:lnTo>
                  <a:pt x="702" y="1731"/>
                </a:lnTo>
                <a:lnTo>
                  <a:pt x="698" y="1723"/>
                </a:lnTo>
                <a:lnTo>
                  <a:pt x="697" y="1723"/>
                </a:lnTo>
                <a:lnTo>
                  <a:pt x="697" y="1722"/>
                </a:lnTo>
                <a:lnTo>
                  <a:pt x="696" y="1721"/>
                </a:lnTo>
                <a:lnTo>
                  <a:pt x="683" y="1721"/>
                </a:lnTo>
                <a:lnTo>
                  <a:pt x="683" y="1722"/>
                </a:lnTo>
                <a:lnTo>
                  <a:pt x="681" y="1723"/>
                </a:lnTo>
                <a:lnTo>
                  <a:pt x="680" y="1723"/>
                </a:lnTo>
                <a:lnTo>
                  <a:pt x="680" y="1725"/>
                </a:lnTo>
                <a:lnTo>
                  <a:pt x="679" y="1725"/>
                </a:lnTo>
                <a:lnTo>
                  <a:pt x="679" y="1726"/>
                </a:lnTo>
                <a:lnTo>
                  <a:pt x="678" y="1727"/>
                </a:lnTo>
                <a:lnTo>
                  <a:pt x="676" y="1727"/>
                </a:lnTo>
                <a:lnTo>
                  <a:pt x="674" y="1726"/>
                </a:lnTo>
                <a:lnTo>
                  <a:pt x="673" y="1726"/>
                </a:lnTo>
                <a:lnTo>
                  <a:pt x="673" y="1725"/>
                </a:lnTo>
                <a:lnTo>
                  <a:pt x="672" y="1723"/>
                </a:lnTo>
                <a:lnTo>
                  <a:pt x="672" y="1720"/>
                </a:lnTo>
                <a:lnTo>
                  <a:pt x="671" y="1719"/>
                </a:lnTo>
                <a:lnTo>
                  <a:pt x="668" y="1719"/>
                </a:lnTo>
                <a:lnTo>
                  <a:pt x="666" y="1716"/>
                </a:lnTo>
                <a:lnTo>
                  <a:pt x="665" y="1708"/>
                </a:lnTo>
                <a:lnTo>
                  <a:pt x="665" y="1707"/>
                </a:lnTo>
                <a:lnTo>
                  <a:pt x="668" y="1705"/>
                </a:lnTo>
                <a:lnTo>
                  <a:pt x="667" y="1704"/>
                </a:lnTo>
                <a:lnTo>
                  <a:pt x="667" y="1698"/>
                </a:lnTo>
                <a:lnTo>
                  <a:pt x="666" y="1697"/>
                </a:lnTo>
                <a:lnTo>
                  <a:pt x="665" y="1697"/>
                </a:lnTo>
                <a:lnTo>
                  <a:pt x="665" y="1694"/>
                </a:lnTo>
                <a:lnTo>
                  <a:pt x="664" y="1692"/>
                </a:lnTo>
                <a:lnTo>
                  <a:pt x="664" y="1691"/>
                </a:lnTo>
                <a:lnTo>
                  <a:pt x="662" y="1690"/>
                </a:lnTo>
                <a:lnTo>
                  <a:pt x="664" y="1689"/>
                </a:lnTo>
                <a:lnTo>
                  <a:pt x="662" y="1688"/>
                </a:lnTo>
                <a:lnTo>
                  <a:pt x="661" y="1688"/>
                </a:lnTo>
                <a:lnTo>
                  <a:pt x="661" y="1686"/>
                </a:lnTo>
                <a:lnTo>
                  <a:pt x="660" y="1686"/>
                </a:lnTo>
                <a:lnTo>
                  <a:pt x="660" y="1683"/>
                </a:lnTo>
                <a:lnTo>
                  <a:pt x="664" y="1683"/>
                </a:lnTo>
                <a:lnTo>
                  <a:pt x="664" y="1680"/>
                </a:lnTo>
                <a:lnTo>
                  <a:pt x="662" y="1680"/>
                </a:lnTo>
                <a:lnTo>
                  <a:pt x="661" y="1679"/>
                </a:lnTo>
                <a:lnTo>
                  <a:pt x="660" y="1679"/>
                </a:lnTo>
                <a:lnTo>
                  <a:pt x="658" y="1680"/>
                </a:lnTo>
                <a:lnTo>
                  <a:pt x="656" y="1680"/>
                </a:lnTo>
                <a:lnTo>
                  <a:pt x="655" y="1679"/>
                </a:lnTo>
                <a:lnTo>
                  <a:pt x="654" y="1677"/>
                </a:lnTo>
                <a:lnTo>
                  <a:pt x="653" y="1671"/>
                </a:lnTo>
                <a:lnTo>
                  <a:pt x="653" y="1670"/>
                </a:lnTo>
                <a:lnTo>
                  <a:pt x="652" y="1668"/>
                </a:lnTo>
                <a:lnTo>
                  <a:pt x="650" y="1668"/>
                </a:lnTo>
                <a:lnTo>
                  <a:pt x="649" y="1670"/>
                </a:lnTo>
                <a:lnTo>
                  <a:pt x="648" y="1670"/>
                </a:lnTo>
                <a:lnTo>
                  <a:pt x="648" y="1668"/>
                </a:lnTo>
                <a:lnTo>
                  <a:pt x="647" y="1668"/>
                </a:lnTo>
                <a:lnTo>
                  <a:pt x="645" y="1670"/>
                </a:lnTo>
                <a:lnTo>
                  <a:pt x="641" y="1671"/>
                </a:lnTo>
                <a:lnTo>
                  <a:pt x="639" y="1672"/>
                </a:lnTo>
                <a:lnTo>
                  <a:pt x="635" y="1672"/>
                </a:lnTo>
                <a:lnTo>
                  <a:pt x="633" y="1670"/>
                </a:lnTo>
                <a:lnTo>
                  <a:pt x="633" y="1667"/>
                </a:lnTo>
                <a:lnTo>
                  <a:pt x="627" y="1667"/>
                </a:lnTo>
                <a:lnTo>
                  <a:pt x="624" y="1666"/>
                </a:lnTo>
                <a:lnTo>
                  <a:pt x="621" y="1666"/>
                </a:lnTo>
                <a:lnTo>
                  <a:pt x="619" y="1667"/>
                </a:lnTo>
                <a:lnTo>
                  <a:pt x="617" y="1667"/>
                </a:lnTo>
                <a:lnTo>
                  <a:pt x="615" y="1666"/>
                </a:lnTo>
                <a:lnTo>
                  <a:pt x="617" y="1665"/>
                </a:lnTo>
                <a:lnTo>
                  <a:pt x="619" y="1660"/>
                </a:lnTo>
                <a:lnTo>
                  <a:pt x="619" y="1658"/>
                </a:lnTo>
                <a:lnTo>
                  <a:pt x="618" y="1659"/>
                </a:lnTo>
                <a:lnTo>
                  <a:pt x="617" y="1659"/>
                </a:lnTo>
                <a:lnTo>
                  <a:pt x="614" y="1655"/>
                </a:lnTo>
                <a:lnTo>
                  <a:pt x="616" y="1655"/>
                </a:lnTo>
                <a:lnTo>
                  <a:pt x="616" y="1647"/>
                </a:lnTo>
                <a:lnTo>
                  <a:pt x="612" y="1643"/>
                </a:lnTo>
                <a:lnTo>
                  <a:pt x="612" y="1641"/>
                </a:lnTo>
                <a:lnTo>
                  <a:pt x="611" y="1641"/>
                </a:lnTo>
                <a:lnTo>
                  <a:pt x="610" y="1640"/>
                </a:lnTo>
                <a:lnTo>
                  <a:pt x="610" y="1637"/>
                </a:lnTo>
                <a:lnTo>
                  <a:pt x="612" y="1637"/>
                </a:lnTo>
                <a:lnTo>
                  <a:pt x="619" y="1635"/>
                </a:lnTo>
                <a:lnTo>
                  <a:pt x="622" y="1635"/>
                </a:lnTo>
                <a:lnTo>
                  <a:pt x="624" y="1633"/>
                </a:lnTo>
                <a:lnTo>
                  <a:pt x="624" y="1630"/>
                </a:lnTo>
                <a:lnTo>
                  <a:pt x="623" y="1628"/>
                </a:lnTo>
                <a:lnTo>
                  <a:pt x="621" y="1625"/>
                </a:lnTo>
                <a:lnTo>
                  <a:pt x="618" y="1624"/>
                </a:lnTo>
                <a:lnTo>
                  <a:pt x="618" y="1623"/>
                </a:lnTo>
                <a:lnTo>
                  <a:pt x="616" y="1623"/>
                </a:lnTo>
                <a:lnTo>
                  <a:pt x="616" y="1622"/>
                </a:lnTo>
                <a:lnTo>
                  <a:pt x="615" y="1622"/>
                </a:lnTo>
                <a:lnTo>
                  <a:pt x="615" y="1621"/>
                </a:lnTo>
                <a:lnTo>
                  <a:pt x="612" y="1618"/>
                </a:lnTo>
                <a:lnTo>
                  <a:pt x="610" y="1618"/>
                </a:lnTo>
                <a:lnTo>
                  <a:pt x="611" y="1617"/>
                </a:lnTo>
                <a:lnTo>
                  <a:pt x="611" y="1616"/>
                </a:lnTo>
                <a:lnTo>
                  <a:pt x="609" y="1614"/>
                </a:lnTo>
                <a:lnTo>
                  <a:pt x="609" y="1608"/>
                </a:lnTo>
                <a:lnTo>
                  <a:pt x="610" y="1606"/>
                </a:lnTo>
                <a:lnTo>
                  <a:pt x="610" y="1605"/>
                </a:lnTo>
                <a:lnTo>
                  <a:pt x="608" y="1603"/>
                </a:lnTo>
                <a:lnTo>
                  <a:pt x="608" y="1602"/>
                </a:lnTo>
                <a:lnTo>
                  <a:pt x="605" y="1599"/>
                </a:lnTo>
                <a:lnTo>
                  <a:pt x="604" y="1599"/>
                </a:lnTo>
                <a:lnTo>
                  <a:pt x="603" y="1597"/>
                </a:lnTo>
                <a:lnTo>
                  <a:pt x="603" y="1596"/>
                </a:lnTo>
                <a:lnTo>
                  <a:pt x="600" y="1594"/>
                </a:lnTo>
                <a:lnTo>
                  <a:pt x="599" y="1593"/>
                </a:lnTo>
                <a:lnTo>
                  <a:pt x="599" y="1592"/>
                </a:lnTo>
                <a:lnTo>
                  <a:pt x="598" y="1591"/>
                </a:lnTo>
                <a:lnTo>
                  <a:pt x="593" y="1591"/>
                </a:lnTo>
                <a:lnTo>
                  <a:pt x="590" y="1592"/>
                </a:lnTo>
                <a:lnTo>
                  <a:pt x="586" y="1596"/>
                </a:lnTo>
                <a:lnTo>
                  <a:pt x="585" y="1594"/>
                </a:lnTo>
                <a:lnTo>
                  <a:pt x="585" y="1591"/>
                </a:lnTo>
                <a:lnTo>
                  <a:pt x="584" y="1591"/>
                </a:lnTo>
                <a:lnTo>
                  <a:pt x="583" y="1592"/>
                </a:lnTo>
                <a:lnTo>
                  <a:pt x="581" y="1592"/>
                </a:lnTo>
                <a:lnTo>
                  <a:pt x="580" y="1591"/>
                </a:lnTo>
                <a:lnTo>
                  <a:pt x="577" y="1591"/>
                </a:lnTo>
                <a:lnTo>
                  <a:pt x="573" y="1590"/>
                </a:lnTo>
                <a:lnTo>
                  <a:pt x="572" y="1590"/>
                </a:lnTo>
                <a:lnTo>
                  <a:pt x="572" y="1591"/>
                </a:lnTo>
                <a:lnTo>
                  <a:pt x="571" y="1592"/>
                </a:lnTo>
                <a:lnTo>
                  <a:pt x="568" y="1592"/>
                </a:lnTo>
                <a:lnTo>
                  <a:pt x="568" y="1593"/>
                </a:lnTo>
                <a:lnTo>
                  <a:pt x="567" y="1594"/>
                </a:lnTo>
                <a:lnTo>
                  <a:pt x="566" y="1594"/>
                </a:lnTo>
                <a:lnTo>
                  <a:pt x="561" y="1598"/>
                </a:lnTo>
                <a:lnTo>
                  <a:pt x="559" y="1598"/>
                </a:lnTo>
                <a:lnTo>
                  <a:pt x="558" y="1597"/>
                </a:lnTo>
                <a:lnTo>
                  <a:pt x="556" y="1597"/>
                </a:lnTo>
                <a:lnTo>
                  <a:pt x="554" y="1598"/>
                </a:lnTo>
                <a:lnTo>
                  <a:pt x="553" y="1598"/>
                </a:lnTo>
                <a:lnTo>
                  <a:pt x="544" y="1593"/>
                </a:lnTo>
                <a:lnTo>
                  <a:pt x="542" y="1594"/>
                </a:lnTo>
                <a:lnTo>
                  <a:pt x="538" y="1593"/>
                </a:lnTo>
                <a:lnTo>
                  <a:pt x="537" y="1593"/>
                </a:lnTo>
                <a:lnTo>
                  <a:pt x="536" y="1596"/>
                </a:lnTo>
                <a:lnTo>
                  <a:pt x="537" y="1598"/>
                </a:lnTo>
                <a:lnTo>
                  <a:pt x="537" y="1599"/>
                </a:lnTo>
                <a:lnTo>
                  <a:pt x="536" y="1599"/>
                </a:lnTo>
                <a:lnTo>
                  <a:pt x="536" y="1602"/>
                </a:lnTo>
                <a:lnTo>
                  <a:pt x="535" y="1605"/>
                </a:lnTo>
                <a:lnTo>
                  <a:pt x="534" y="1608"/>
                </a:lnTo>
                <a:lnTo>
                  <a:pt x="531" y="1610"/>
                </a:lnTo>
                <a:lnTo>
                  <a:pt x="527" y="1612"/>
                </a:lnTo>
                <a:lnTo>
                  <a:pt x="525" y="1612"/>
                </a:lnTo>
                <a:lnTo>
                  <a:pt x="523" y="1611"/>
                </a:lnTo>
                <a:lnTo>
                  <a:pt x="522" y="1612"/>
                </a:lnTo>
                <a:lnTo>
                  <a:pt x="519" y="1614"/>
                </a:lnTo>
                <a:lnTo>
                  <a:pt x="518" y="1614"/>
                </a:lnTo>
                <a:lnTo>
                  <a:pt x="517" y="1612"/>
                </a:lnTo>
                <a:lnTo>
                  <a:pt x="517" y="1609"/>
                </a:lnTo>
                <a:lnTo>
                  <a:pt x="516" y="1609"/>
                </a:lnTo>
                <a:lnTo>
                  <a:pt x="515" y="1608"/>
                </a:lnTo>
                <a:lnTo>
                  <a:pt x="512" y="1609"/>
                </a:lnTo>
                <a:lnTo>
                  <a:pt x="512" y="1605"/>
                </a:lnTo>
                <a:lnTo>
                  <a:pt x="509" y="1602"/>
                </a:lnTo>
                <a:lnTo>
                  <a:pt x="509" y="1598"/>
                </a:lnTo>
                <a:lnTo>
                  <a:pt x="507" y="1597"/>
                </a:lnTo>
                <a:lnTo>
                  <a:pt x="506" y="1597"/>
                </a:lnTo>
                <a:lnTo>
                  <a:pt x="505" y="1596"/>
                </a:lnTo>
                <a:lnTo>
                  <a:pt x="504" y="1593"/>
                </a:lnTo>
                <a:lnTo>
                  <a:pt x="505" y="1592"/>
                </a:lnTo>
                <a:lnTo>
                  <a:pt x="505" y="1588"/>
                </a:lnTo>
                <a:lnTo>
                  <a:pt x="504" y="1587"/>
                </a:lnTo>
                <a:lnTo>
                  <a:pt x="504" y="1586"/>
                </a:lnTo>
                <a:lnTo>
                  <a:pt x="505" y="1584"/>
                </a:lnTo>
                <a:lnTo>
                  <a:pt x="505" y="1582"/>
                </a:lnTo>
                <a:lnTo>
                  <a:pt x="503" y="1580"/>
                </a:lnTo>
                <a:lnTo>
                  <a:pt x="504" y="1579"/>
                </a:lnTo>
                <a:lnTo>
                  <a:pt x="504" y="1578"/>
                </a:lnTo>
                <a:lnTo>
                  <a:pt x="506" y="1578"/>
                </a:lnTo>
                <a:lnTo>
                  <a:pt x="506" y="1576"/>
                </a:lnTo>
                <a:lnTo>
                  <a:pt x="504" y="1575"/>
                </a:lnTo>
                <a:lnTo>
                  <a:pt x="504" y="1574"/>
                </a:lnTo>
                <a:lnTo>
                  <a:pt x="503" y="1572"/>
                </a:lnTo>
                <a:lnTo>
                  <a:pt x="500" y="1569"/>
                </a:lnTo>
                <a:lnTo>
                  <a:pt x="500" y="1568"/>
                </a:lnTo>
                <a:lnTo>
                  <a:pt x="503" y="1567"/>
                </a:lnTo>
                <a:lnTo>
                  <a:pt x="504" y="1565"/>
                </a:lnTo>
                <a:lnTo>
                  <a:pt x="504" y="1561"/>
                </a:lnTo>
                <a:lnTo>
                  <a:pt x="502" y="1559"/>
                </a:lnTo>
                <a:lnTo>
                  <a:pt x="502" y="1556"/>
                </a:lnTo>
                <a:lnTo>
                  <a:pt x="499" y="1556"/>
                </a:lnTo>
                <a:lnTo>
                  <a:pt x="496" y="1553"/>
                </a:lnTo>
                <a:lnTo>
                  <a:pt x="494" y="1549"/>
                </a:lnTo>
                <a:lnTo>
                  <a:pt x="493" y="1548"/>
                </a:lnTo>
                <a:lnTo>
                  <a:pt x="491" y="1544"/>
                </a:lnTo>
                <a:lnTo>
                  <a:pt x="493" y="1541"/>
                </a:lnTo>
                <a:lnTo>
                  <a:pt x="494" y="1541"/>
                </a:lnTo>
                <a:lnTo>
                  <a:pt x="496" y="1539"/>
                </a:lnTo>
                <a:lnTo>
                  <a:pt x="496" y="1533"/>
                </a:lnTo>
                <a:lnTo>
                  <a:pt x="498" y="1532"/>
                </a:lnTo>
                <a:lnTo>
                  <a:pt x="503" y="1532"/>
                </a:lnTo>
                <a:lnTo>
                  <a:pt x="504" y="1531"/>
                </a:lnTo>
                <a:lnTo>
                  <a:pt x="506" y="1531"/>
                </a:lnTo>
                <a:lnTo>
                  <a:pt x="509" y="1532"/>
                </a:lnTo>
                <a:lnTo>
                  <a:pt x="512" y="1532"/>
                </a:lnTo>
                <a:lnTo>
                  <a:pt x="512" y="1537"/>
                </a:lnTo>
                <a:lnTo>
                  <a:pt x="513" y="1538"/>
                </a:lnTo>
                <a:lnTo>
                  <a:pt x="516" y="1538"/>
                </a:lnTo>
                <a:lnTo>
                  <a:pt x="518" y="1539"/>
                </a:lnTo>
                <a:lnTo>
                  <a:pt x="522" y="1539"/>
                </a:lnTo>
                <a:lnTo>
                  <a:pt x="523" y="1538"/>
                </a:lnTo>
                <a:lnTo>
                  <a:pt x="525" y="1541"/>
                </a:lnTo>
                <a:lnTo>
                  <a:pt x="527" y="1541"/>
                </a:lnTo>
                <a:lnTo>
                  <a:pt x="528" y="1539"/>
                </a:lnTo>
                <a:lnTo>
                  <a:pt x="530" y="1539"/>
                </a:lnTo>
                <a:lnTo>
                  <a:pt x="531" y="1538"/>
                </a:lnTo>
                <a:lnTo>
                  <a:pt x="531" y="1537"/>
                </a:lnTo>
                <a:lnTo>
                  <a:pt x="534" y="1537"/>
                </a:lnTo>
                <a:lnTo>
                  <a:pt x="538" y="1532"/>
                </a:lnTo>
                <a:lnTo>
                  <a:pt x="540" y="1532"/>
                </a:lnTo>
                <a:lnTo>
                  <a:pt x="540" y="1531"/>
                </a:lnTo>
                <a:lnTo>
                  <a:pt x="541" y="1529"/>
                </a:lnTo>
                <a:lnTo>
                  <a:pt x="542" y="1528"/>
                </a:lnTo>
                <a:lnTo>
                  <a:pt x="542" y="1526"/>
                </a:lnTo>
                <a:lnTo>
                  <a:pt x="541" y="1526"/>
                </a:lnTo>
                <a:lnTo>
                  <a:pt x="541" y="1525"/>
                </a:lnTo>
                <a:lnTo>
                  <a:pt x="542" y="1524"/>
                </a:lnTo>
                <a:lnTo>
                  <a:pt x="543" y="1525"/>
                </a:lnTo>
                <a:lnTo>
                  <a:pt x="546" y="1525"/>
                </a:lnTo>
                <a:lnTo>
                  <a:pt x="547" y="1524"/>
                </a:lnTo>
                <a:lnTo>
                  <a:pt x="547" y="1523"/>
                </a:lnTo>
                <a:lnTo>
                  <a:pt x="553" y="1523"/>
                </a:lnTo>
                <a:lnTo>
                  <a:pt x="552" y="1520"/>
                </a:lnTo>
                <a:lnTo>
                  <a:pt x="553" y="1516"/>
                </a:lnTo>
                <a:lnTo>
                  <a:pt x="553" y="1514"/>
                </a:lnTo>
                <a:lnTo>
                  <a:pt x="552" y="1513"/>
                </a:lnTo>
                <a:lnTo>
                  <a:pt x="549" y="1513"/>
                </a:lnTo>
                <a:lnTo>
                  <a:pt x="549" y="1511"/>
                </a:lnTo>
                <a:lnTo>
                  <a:pt x="547" y="1511"/>
                </a:lnTo>
                <a:lnTo>
                  <a:pt x="547" y="1512"/>
                </a:lnTo>
                <a:lnTo>
                  <a:pt x="546" y="1511"/>
                </a:lnTo>
                <a:lnTo>
                  <a:pt x="546" y="1510"/>
                </a:lnTo>
                <a:lnTo>
                  <a:pt x="544" y="1510"/>
                </a:lnTo>
                <a:lnTo>
                  <a:pt x="542" y="1508"/>
                </a:lnTo>
                <a:lnTo>
                  <a:pt x="540" y="1506"/>
                </a:lnTo>
                <a:lnTo>
                  <a:pt x="540" y="1505"/>
                </a:lnTo>
                <a:lnTo>
                  <a:pt x="538" y="1502"/>
                </a:lnTo>
                <a:lnTo>
                  <a:pt x="538" y="1501"/>
                </a:lnTo>
                <a:lnTo>
                  <a:pt x="540" y="1501"/>
                </a:lnTo>
                <a:lnTo>
                  <a:pt x="542" y="1499"/>
                </a:lnTo>
                <a:lnTo>
                  <a:pt x="543" y="1499"/>
                </a:lnTo>
                <a:lnTo>
                  <a:pt x="543" y="1498"/>
                </a:lnTo>
                <a:lnTo>
                  <a:pt x="541" y="1495"/>
                </a:lnTo>
                <a:lnTo>
                  <a:pt x="537" y="1495"/>
                </a:lnTo>
                <a:lnTo>
                  <a:pt x="536" y="1493"/>
                </a:lnTo>
                <a:lnTo>
                  <a:pt x="535" y="1492"/>
                </a:lnTo>
                <a:lnTo>
                  <a:pt x="529" y="1490"/>
                </a:lnTo>
                <a:lnTo>
                  <a:pt x="527" y="1489"/>
                </a:lnTo>
                <a:lnTo>
                  <a:pt x="525" y="1488"/>
                </a:lnTo>
                <a:lnTo>
                  <a:pt x="517" y="1490"/>
                </a:lnTo>
                <a:lnTo>
                  <a:pt x="513" y="1489"/>
                </a:lnTo>
                <a:lnTo>
                  <a:pt x="511" y="1489"/>
                </a:lnTo>
                <a:lnTo>
                  <a:pt x="512" y="1488"/>
                </a:lnTo>
                <a:lnTo>
                  <a:pt x="515" y="1483"/>
                </a:lnTo>
                <a:lnTo>
                  <a:pt x="515" y="1477"/>
                </a:lnTo>
                <a:lnTo>
                  <a:pt x="516" y="1477"/>
                </a:lnTo>
                <a:lnTo>
                  <a:pt x="516" y="1475"/>
                </a:lnTo>
                <a:lnTo>
                  <a:pt x="515" y="1471"/>
                </a:lnTo>
                <a:lnTo>
                  <a:pt x="512" y="1471"/>
                </a:lnTo>
                <a:lnTo>
                  <a:pt x="512" y="1469"/>
                </a:lnTo>
                <a:lnTo>
                  <a:pt x="511" y="1469"/>
                </a:lnTo>
                <a:lnTo>
                  <a:pt x="511" y="1468"/>
                </a:lnTo>
                <a:lnTo>
                  <a:pt x="507" y="1468"/>
                </a:lnTo>
                <a:lnTo>
                  <a:pt x="504" y="1465"/>
                </a:lnTo>
                <a:lnTo>
                  <a:pt x="503" y="1465"/>
                </a:lnTo>
                <a:lnTo>
                  <a:pt x="502" y="1464"/>
                </a:lnTo>
                <a:lnTo>
                  <a:pt x="500" y="1464"/>
                </a:lnTo>
                <a:lnTo>
                  <a:pt x="493" y="1458"/>
                </a:lnTo>
                <a:lnTo>
                  <a:pt x="493" y="1457"/>
                </a:lnTo>
                <a:lnTo>
                  <a:pt x="492" y="1456"/>
                </a:lnTo>
                <a:lnTo>
                  <a:pt x="492" y="1449"/>
                </a:lnTo>
                <a:lnTo>
                  <a:pt x="491" y="1449"/>
                </a:lnTo>
                <a:lnTo>
                  <a:pt x="491" y="1448"/>
                </a:lnTo>
                <a:lnTo>
                  <a:pt x="490" y="1444"/>
                </a:lnTo>
                <a:lnTo>
                  <a:pt x="488" y="1443"/>
                </a:lnTo>
                <a:lnTo>
                  <a:pt x="487" y="1443"/>
                </a:lnTo>
                <a:lnTo>
                  <a:pt x="487" y="1442"/>
                </a:lnTo>
                <a:lnTo>
                  <a:pt x="484" y="1440"/>
                </a:lnTo>
                <a:lnTo>
                  <a:pt x="482" y="1439"/>
                </a:lnTo>
                <a:lnTo>
                  <a:pt x="484" y="1437"/>
                </a:lnTo>
                <a:lnTo>
                  <a:pt x="486" y="1433"/>
                </a:lnTo>
                <a:lnTo>
                  <a:pt x="487" y="1430"/>
                </a:lnTo>
                <a:lnTo>
                  <a:pt x="485" y="1428"/>
                </a:lnTo>
                <a:lnTo>
                  <a:pt x="485" y="1426"/>
                </a:lnTo>
                <a:lnTo>
                  <a:pt x="480" y="1426"/>
                </a:lnTo>
                <a:lnTo>
                  <a:pt x="480" y="1425"/>
                </a:lnTo>
                <a:lnTo>
                  <a:pt x="479" y="1424"/>
                </a:lnTo>
                <a:lnTo>
                  <a:pt x="473" y="1419"/>
                </a:lnTo>
                <a:lnTo>
                  <a:pt x="471" y="1419"/>
                </a:lnTo>
                <a:lnTo>
                  <a:pt x="471" y="1418"/>
                </a:lnTo>
                <a:lnTo>
                  <a:pt x="469" y="1416"/>
                </a:lnTo>
                <a:lnTo>
                  <a:pt x="471" y="1415"/>
                </a:lnTo>
                <a:lnTo>
                  <a:pt x="471" y="1413"/>
                </a:lnTo>
                <a:lnTo>
                  <a:pt x="472" y="1413"/>
                </a:lnTo>
                <a:lnTo>
                  <a:pt x="473" y="1412"/>
                </a:lnTo>
                <a:lnTo>
                  <a:pt x="473" y="1409"/>
                </a:lnTo>
                <a:lnTo>
                  <a:pt x="472" y="1408"/>
                </a:lnTo>
                <a:lnTo>
                  <a:pt x="473" y="1407"/>
                </a:lnTo>
                <a:lnTo>
                  <a:pt x="475" y="1406"/>
                </a:lnTo>
                <a:lnTo>
                  <a:pt x="476" y="1406"/>
                </a:lnTo>
                <a:lnTo>
                  <a:pt x="478" y="1405"/>
                </a:lnTo>
                <a:lnTo>
                  <a:pt x="476" y="1403"/>
                </a:lnTo>
                <a:lnTo>
                  <a:pt x="476" y="1401"/>
                </a:lnTo>
                <a:lnTo>
                  <a:pt x="480" y="1401"/>
                </a:lnTo>
                <a:lnTo>
                  <a:pt x="480" y="1397"/>
                </a:lnTo>
                <a:lnTo>
                  <a:pt x="479" y="1396"/>
                </a:lnTo>
                <a:lnTo>
                  <a:pt x="479" y="1391"/>
                </a:lnTo>
                <a:lnTo>
                  <a:pt x="478" y="1391"/>
                </a:lnTo>
                <a:lnTo>
                  <a:pt x="478" y="1390"/>
                </a:lnTo>
                <a:lnTo>
                  <a:pt x="475" y="1388"/>
                </a:lnTo>
                <a:lnTo>
                  <a:pt x="474" y="1384"/>
                </a:lnTo>
                <a:lnTo>
                  <a:pt x="474" y="1383"/>
                </a:lnTo>
                <a:lnTo>
                  <a:pt x="473" y="1383"/>
                </a:lnTo>
                <a:lnTo>
                  <a:pt x="472" y="1382"/>
                </a:lnTo>
                <a:lnTo>
                  <a:pt x="472" y="1378"/>
                </a:lnTo>
                <a:lnTo>
                  <a:pt x="473" y="1376"/>
                </a:lnTo>
                <a:lnTo>
                  <a:pt x="476" y="1375"/>
                </a:lnTo>
                <a:lnTo>
                  <a:pt x="476" y="1372"/>
                </a:lnTo>
                <a:lnTo>
                  <a:pt x="475" y="1371"/>
                </a:lnTo>
                <a:lnTo>
                  <a:pt x="475" y="1367"/>
                </a:lnTo>
                <a:lnTo>
                  <a:pt x="476" y="1366"/>
                </a:lnTo>
                <a:lnTo>
                  <a:pt x="475" y="1365"/>
                </a:lnTo>
                <a:lnTo>
                  <a:pt x="476" y="1363"/>
                </a:lnTo>
                <a:lnTo>
                  <a:pt x="476" y="1359"/>
                </a:lnTo>
                <a:lnTo>
                  <a:pt x="475" y="1358"/>
                </a:lnTo>
                <a:lnTo>
                  <a:pt x="473" y="1357"/>
                </a:lnTo>
                <a:lnTo>
                  <a:pt x="472" y="1358"/>
                </a:lnTo>
                <a:lnTo>
                  <a:pt x="469" y="1358"/>
                </a:lnTo>
                <a:lnTo>
                  <a:pt x="468" y="1356"/>
                </a:lnTo>
                <a:lnTo>
                  <a:pt x="467" y="1354"/>
                </a:lnTo>
                <a:lnTo>
                  <a:pt x="467" y="1353"/>
                </a:lnTo>
                <a:lnTo>
                  <a:pt x="463" y="1353"/>
                </a:lnTo>
                <a:lnTo>
                  <a:pt x="462" y="1352"/>
                </a:lnTo>
                <a:lnTo>
                  <a:pt x="462" y="1348"/>
                </a:lnTo>
                <a:lnTo>
                  <a:pt x="457" y="1346"/>
                </a:lnTo>
                <a:lnTo>
                  <a:pt x="457" y="1344"/>
                </a:lnTo>
                <a:lnTo>
                  <a:pt x="449" y="1340"/>
                </a:lnTo>
                <a:lnTo>
                  <a:pt x="448" y="1340"/>
                </a:lnTo>
                <a:lnTo>
                  <a:pt x="447" y="1339"/>
                </a:lnTo>
                <a:lnTo>
                  <a:pt x="445" y="1339"/>
                </a:lnTo>
                <a:lnTo>
                  <a:pt x="443" y="1341"/>
                </a:lnTo>
                <a:lnTo>
                  <a:pt x="442" y="1341"/>
                </a:lnTo>
                <a:lnTo>
                  <a:pt x="437" y="1339"/>
                </a:lnTo>
                <a:lnTo>
                  <a:pt x="436" y="1339"/>
                </a:lnTo>
                <a:lnTo>
                  <a:pt x="434" y="1340"/>
                </a:lnTo>
                <a:lnTo>
                  <a:pt x="432" y="1340"/>
                </a:lnTo>
                <a:lnTo>
                  <a:pt x="430" y="1345"/>
                </a:lnTo>
                <a:lnTo>
                  <a:pt x="429" y="1346"/>
                </a:lnTo>
                <a:lnTo>
                  <a:pt x="425" y="1345"/>
                </a:lnTo>
                <a:lnTo>
                  <a:pt x="424" y="1345"/>
                </a:lnTo>
                <a:lnTo>
                  <a:pt x="420" y="1347"/>
                </a:lnTo>
                <a:lnTo>
                  <a:pt x="417" y="1352"/>
                </a:lnTo>
                <a:lnTo>
                  <a:pt x="416" y="1352"/>
                </a:lnTo>
                <a:lnTo>
                  <a:pt x="414" y="1351"/>
                </a:lnTo>
                <a:lnTo>
                  <a:pt x="413" y="1348"/>
                </a:lnTo>
                <a:lnTo>
                  <a:pt x="410" y="1345"/>
                </a:lnTo>
                <a:lnTo>
                  <a:pt x="410" y="1342"/>
                </a:lnTo>
                <a:lnTo>
                  <a:pt x="411" y="1340"/>
                </a:lnTo>
                <a:lnTo>
                  <a:pt x="411" y="1339"/>
                </a:lnTo>
                <a:lnTo>
                  <a:pt x="412" y="1338"/>
                </a:lnTo>
                <a:lnTo>
                  <a:pt x="412" y="1335"/>
                </a:lnTo>
                <a:lnTo>
                  <a:pt x="414" y="1335"/>
                </a:lnTo>
                <a:lnTo>
                  <a:pt x="414" y="1334"/>
                </a:lnTo>
                <a:lnTo>
                  <a:pt x="413" y="1334"/>
                </a:lnTo>
                <a:lnTo>
                  <a:pt x="413" y="1333"/>
                </a:lnTo>
                <a:lnTo>
                  <a:pt x="412" y="1332"/>
                </a:lnTo>
                <a:lnTo>
                  <a:pt x="411" y="1332"/>
                </a:lnTo>
                <a:lnTo>
                  <a:pt x="405" y="1329"/>
                </a:lnTo>
                <a:lnTo>
                  <a:pt x="404" y="1328"/>
                </a:lnTo>
                <a:lnTo>
                  <a:pt x="399" y="1326"/>
                </a:lnTo>
                <a:lnTo>
                  <a:pt x="397" y="1326"/>
                </a:lnTo>
                <a:lnTo>
                  <a:pt x="389" y="1329"/>
                </a:lnTo>
                <a:lnTo>
                  <a:pt x="388" y="1330"/>
                </a:lnTo>
                <a:lnTo>
                  <a:pt x="388" y="1333"/>
                </a:lnTo>
                <a:lnTo>
                  <a:pt x="387" y="1333"/>
                </a:lnTo>
                <a:lnTo>
                  <a:pt x="385" y="1332"/>
                </a:lnTo>
                <a:lnTo>
                  <a:pt x="382" y="1329"/>
                </a:lnTo>
                <a:lnTo>
                  <a:pt x="382" y="1326"/>
                </a:lnTo>
                <a:lnTo>
                  <a:pt x="380" y="1323"/>
                </a:lnTo>
                <a:lnTo>
                  <a:pt x="380" y="1322"/>
                </a:lnTo>
                <a:lnTo>
                  <a:pt x="379" y="1321"/>
                </a:lnTo>
                <a:lnTo>
                  <a:pt x="369" y="1321"/>
                </a:lnTo>
                <a:lnTo>
                  <a:pt x="369" y="1322"/>
                </a:lnTo>
                <a:lnTo>
                  <a:pt x="367" y="1324"/>
                </a:lnTo>
                <a:lnTo>
                  <a:pt x="366" y="1324"/>
                </a:lnTo>
                <a:lnTo>
                  <a:pt x="363" y="1322"/>
                </a:lnTo>
                <a:lnTo>
                  <a:pt x="361" y="1319"/>
                </a:lnTo>
                <a:lnTo>
                  <a:pt x="360" y="1317"/>
                </a:lnTo>
                <a:lnTo>
                  <a:pt x="361" y="1316"/>
                </a:lnTo>
                <a:lnTo>
                  <a:pt x="361" y="1310"/>
                </a:lnTo>
                <a:lnTo>
                  <a:pt x="362" y="1309"/>
                </a:lnTo>
                <a:lnTo>
                  <a:pt x="362" y="1307"/>
                </a:lnTo>
                <a:lnTo>
                  <a:pt x="361" y="1302"/>
                </a:lnTo>
                <a:lnTo>
                  <a:pt x="361" y="1299"/>
                </a:lnTo>
                <a:lnTo>
                  <a:pt x="360" y="1298"/>
                </a:lnTo>
                <a:lnTo>
                  <a:pt x="361" y="1296"/>
                </a:lnTo>
                <a:lnTo>
                  <a:pt x="360" y="1295"/>
                </a:lnTo>
                <a:lnTo>
                  <a:pt x="360" y="1293"/>
                </a:lnTo>
                <a:lnTo>
                  <a:pt x="357" y="1291"/>
                </a:lnTo>
                <a:lnTo>
                  <a:pt x="357" y="1289"/>
                </a:lnTo>
                <a:lnTo>
                  <a:pt x="358" y="1287"/>
                </a:lnTo>
                <a:lnTo>
                  <a:pt x="358" y="1286"/>
                </a:lnTo>
                <a:lnTo>
                  <a:pt x="357" y="1285"/>
                </a:lnTo>
                <a:lnTo>
                  <a:pt x="355" y="1284"/>
                </a:lnTo>
                <a:lnTo>
                  <a:pt x="354" y="1283"/>
                </a:lnTo>
                <a:lnTo>
                  <a:pt x="354" y="1281"/>
                </a:lnTo>
                <a:lnTo>
                  <a:pt x="353" y="1280"/>
                </a:lnTo>
                <a:lnTo>
                  <a:pt x="353" y="1276"/>
                </a:lnTo>
                <a:lnTo>
                  <a:pt x="348" y="1272"/>
                </a:lnTo>
                <a:lnTo>
                  <a:pt x="348" y="1270"/>
                </a:lnTo>
                <a:lnTo>
                  <a:pt x="349" y="1268"/>
                </a:lnTo>
                <a:lnTo>
                  <a:pt x="350" y="1266"/>
                </a:lnTo>
                <a:lnTo>
                  <a:pt x="350" y="1265"/>
                </a:lnTo>
                <a:lnTo>
                  <a:pt x="349" y="1265"/>
                </a:lnTo>
                <a:lnTo>
                  <a:pt x="347" y="1262"/>
                </a:lnTo>
                <a:lnTo>
                  <a:pt x="344" y="1261"/>
                </a:lnTo>
                <a:lnTo>
                  <a:pt x="343" y="1262"/>
                </a:lnTo>
                <a:lnTo>
                  <a:pt x="339" y="1264"/>
                </a:lnTo>
                <a:lnTo>
                  <a:pt x="337" y="1264"/>
                </a:lnTo>
                <a:lnTo>
                  <a:pt x="338" y="1261"/>
                </a:lnTo>
                <a:lnTo>
                  <a:pt x="342" y="1255"/>
                </a:lnTo>
                <a:lnTo>
                  <a:pt x="342" y="1250"/>
                </a:lnTo>
                <a:lnTo>
                  <a:pt x="343" y="1249"/>
                </a:lnTo>
                <a:lnTo>
                  <a:pt x="343" y="1246"/>
                </a:lnTo>
                <a:lnTo>
                  <a:pt x="342" y="1246"/>
                </a:lnTo>
                <a:lnTo>
                  <a:pt x="339" y="1243"/>
                </a:lnTo>
                <a:lnTo>
                  <a:pt x="341" y="1242"/>
                </a:lnTo>
                <a:lnTo>
                  <a:pt x="344" y="1240"/>
                </a:lnTo>
                <a:lnTo>
                  <a:pt x="347" y="1237"/>
                </a:lnTo>
                <a:lnTo>
                  <a:pt x="347" y="1228"/>
                </a:lnTo>
                <a:lnTo>
                  <a:pt x="345" y="1227"/>
                </a:lnTo>
                <a:lnTo>
                  <a:pt x="341" y="1224"/>
                </a:lnTo>
                <a:lnTo>
                  <a:pt x="338" y="1221"/>
                </a:lnTo>
                <a:lnTo>
                  <a:pt x="333" y="1219"/>
                </a:lnTo>
                <a:lnTo>
                  <a:pt x="332" y="1218"/>
                </a:lnTo>
                <a:lnTo>
                  <a:pt x="332" y="1217"/>
                </a:lnTo>
                <a:lnTo>
                  <a:pt x="333" y="1215"/>
                </a:lnTo>
                <a:lnTo>
                  <a:pt x="333" y="1210"/>
                </a:lnTo>
                <a:lnTo>
                  <a:pt x="325" y="1210"/>
                </a:lnTo>
                <a:lnTo>
                  <a:pt x="325" y="1205"/>
                </a:lnTo>
                <a:lnTo>
                  <a:pt x="327" y="1205"/>
                </a:lnTo>
                <a:lnTo>
                  <a:pt x="327" y="1198"/>
                </a:lnTo>
                <a:lnTo>
                  <a:pt x="329" y="1198"/>
                </a:lnTo>
                <a:lnTo>
                  <a:pt x="332" y="1197"/>
                </a:lnTo>
                <a:lnTo>
                  <a:pt x="332" y="1191"/>
                </a:lnTo>
                <a:lnTo>
                  <a:pt x="333" y="1190"/>
                </a:lnTo>
                <a:lnTo>
                  <a:pt x="335" y="1190"/>
                </a:lnTo>
                <a:lnTo>
                  <a:pt x="333" y="1188"/>
                </a:lnTo>
                <a:lnTo>
                  <a:pt x="335" y="1187"/>
                </a:lnTo>
                <a:lnTo>
                  <a:pt x="341" y="1187"/>
                </a:lnTo>
                <a:lnTo>
                  <a:pt x="343" y="1186"/>
                </a:lnTo>
                <a:lnTo>
                  <a:pt x="345" y="1184"/>
                </a:lnTo>
                <a:lnTo>
                  <a:pt x="344" y="1182"/>
                </a:lnTo>
                <a:lnTo>
                  <a:pt x="344" y="1181"/>
                </a:lnTo>
                <a:lnTo>
                  <a:pt x="339" y="1180"/>
                </a:lnTo>
                <a:lnTo>
                  <a:pt x="339" y="1174"/>
                </a:lnTo>
                <a:lnTo>
                  <a:pt x="338" y="1173"/>
                </a:lnTo>
                <a:lnTo>
                  <a:pt x="338" y="1166"/>
                </a:lnTo>
                <a:lnTo>
                  <a:pt x="336" y="1163"/>
                </a:lnTo>
                <a:lnTo>
                  <a:pt x="333" y="1160"/>
                </a:lnTo>
                <a:lnTo>
                  <a:pt x="333" y="1157"/>
                </a:lnTo>
                <a:lnTo>
                  <a:pt x="332" y="1155"/>
                </a:lnTo>
                <a:lnTo>
                  <a:pt x="331" y="1151"/>
                </a:lnTo>
                <a:lnTo>
                  <a:pt x="335" y="1141"/>
                </a:lnTo>
                <a:lnTo>
                  <a:pt x="332" y="1130"/>
                </a:lnTo>
                <a:lnTo>
                  <a:pt x="329" y="1115"/>
                </a:lnTo>
                <a:lnTo>
                  <a:pt x="329" y="1112"/>
                </a:lnTo>
                <a:lnTo>
                  <a:pt x="331" y="1102"/>
                </a:lnTo>
                <a:lnTo>
                  <a:pt x="337" y="1098"/>
                </a:lnTo>
                <a:lnTo>
                  <a:pt x="341" y="1094"/>
                </a:lnTo>
                <a:lnTo>
                  <a:pt x="341" y="1093"/>
                </a:lnTo>
                <a:lnTo>
                  <a:pt x="344" y="1086"/>
                </a:lnTo>
                <a:lnTo>
                  <a:pt x="347" y="1078"/>
                </a:lnTo>
                <a:lnTo>
                  <a:pt x="348" y="1072"/>
                </a:lnTo>
                <a:lnTo>
                  <a:pt x="349" y="1071"/>
                </a:lnTo>
                <a:lnTo>
                  <a:pt x="348" y="1069"/>
                </a:lnTo>
                <a:lnTo>
                  <a:pt x="349" y="1068"/>
                </a:lnTo>
                <a:lnTo>
                  <a:pt x="351" y="1066"/>
                </a:lnTo>
                <a:lnTo>
                  <a:pt x="356" y="1066"/>
                </a:lnTo>
                <a:lnTo>
                  <a:pt x="357" y="1065"/>
                </a:lnTo>
                <a:lnTo>
                  <a:pt x="356" y="1065"/>
                </a:lnTo>
                <a:lnTo>
                  <a:pt x="354" y="1064"/>
                </a:lnTo>
                <a:lnTo>
                  <a:pt x="358" y="1064"/>
                </a:lnTo>
                <a:lnTo>
                  <a:pt x="360" y="1062"/>
                </a:lnTo>
                <a:lnTo>
                  <a:pt x="361" y="1063"/>
                </a:lnTo>
                <a:lnTo>
                  <a:pt x="361" y="1061"/>
                </a:lnTo>
                <a:lnTo>
                  <a:pt x="358" y="1058"/>
                </a:lnTo>
                <a:lnTo>
                  <a:pt x="357" y="1056"/>
                </a:lnTo>
                <a:lnTo>
                  <a:pt x="357" y="1055"/>
                </a:lnTo>
                <a:lnTo>
                  <a:pt x="355" y="1053"/>
                </a:lnTo>
                <a:lnTo>
                  <a:pt x="354" y="1052"/>
                </a:lnTo>
                <a:lnTo>
                  <a:pt x="356" y="1049"/>
                </a:lnTo>
                <a:lnTo>
                  <a:pt x="356" y="1044"/>
                </a:lnTo>
                <a:lnTo>
                  <a:pt x="355" y="1040"/>
                </a:lnTo>
                <a:lnTo>
                  <a:pt x="354" y="1038"/>
                </a:lnTo>
                <a:lnTo>
                  <a:pt x="354" y="1035"/>
                </a:lnTo>
                <a:lnTo>
                  <a:pt x="353" y="1034"/>
                </a:lnTo>
                <a:lnTo>
                  <a:pt x="353" y="1033"/>
                </a:lnTo>
                <a:lnTo>
                  <a:pt x="354" y="1031"/>
                </a:lnTo>
                <a:lnTo>
                  <a:pt x="354" y="1029"/>
                </a:lnTo>
                <a:lnTo>
                  <a:pt x="357" y="1026"/>
                </a:lnTo>
                <a:lnTo>
                  <a:pt x="358" y="1026"/>
                </a:lnTo>
                <a:lnTo>
                  <a:pt x="360" y="1028"/>
                </a:lnTo>
                <a:lnTo>
                  <a:pt x="362" y="1031"/>
                </a:lnTo>
                <a:lnTo>
                  <a:pt x="362" y="1033"/>
                </a:lnTo>
                <a:lnTo>
                  <a:pt x="363" y="1034"/>
                </a:lnTo>
                <a:lnTo>
                  <a:pt x="368" y="1037"/>
                </a:lnTo>
                <a:lnTo>
                  <a:pt x="369" y="1037"/>
                </a:lnTo>
                <a:lnTo>
                  <a:pt x="370" y="1035"/>
                </a:lnTo>
                <a:lnTo>
                  <a:pt x="370" y="1033"/>
                </a:lnTo>
                <a:lnTo>
                  <a:pt x="372" y="1031"/>
                </a:lnTo>
                <a:lnTo>
                  <a:pt x="370" y="1027"/>
                </a:lnTo>
                <a:lnTo>
                  <a:pt x="373" y="1022"/>
                </a:lnTo>
                <a:lnTo>
                  <a:pt x="373" y="1021"/>
                </a:lnTo>
                <a:lnTo>
                  <a:pt x="374" y="1021"/>
                </a:lnTo>
                <a:lnTo>
                  <a:pt x="375" y="1020"/>
                </a:lnTo>
                <a:lnTo>
                  <a:pt x="378" y="1022"/>
                </a:lnTo>
                <a:lnTo>
                  <a:pt x="380" y="1023"/>
                </a:lnTo>
                <a:lnTo>
                  <a:pt x="381" y="1023"/>
                </a:lnTo>
                <a:lnTo>
                  <a:pt x="381" y="1025"/>
                </a:lnTo>
                <a:lnTo>
                  <a:pt x="382" y="1025"/>
                </a:lnTo>
                <a:lnTo>
                  <a:pt x="382" y="1026"/>
                </a:lnTo>
                <a:lnTo>
                  <a:pt x="384" y="1027"/>
                </a:lnTo>
                <a:lnTo>
                  <a:pt x="385" y="1027"/>
                </a:lnTo>
                <a:lnTo>
                  <a:pt x="386" y="1026"/>
                </a:lnTo>
                <a:lnTo>
                  <a:pt x="387" y="1027"/>
                </a:lnTo>
                <a:lnTo>
                  <a:pt x="389" y="1027"/>
                </a:lnTo>
                <a:lnTo>
                  <a:pt x="391" y="1025"/>
                </a:lnTo>
                <a:lnTo>
                  <a:pt x="393" y="1025"/>
                </a:lnTo>
                <a:lnTo>
                  <a:pt x="394" y="1023"/>
                </a:lnTo>
                <a:lnTo>
                  <a:pt x="397" y="1019"/>
                </a:lnTo>
                <a:lnTo>
                  <a:pt x="397" y="1018"/>
                </a:lnTo>
                <a:lnTo>
                  <a:pt x="394" y="1015"/>
                </a:lnTo>
                <a:lnTo>
                  <a:pt x="397" y="1015"/>
                </a:lnTo>
                <a:lnTo>
                  <a:pt x="397" y="1014"/>
                </a:lnTo>
                <a:lnTo>
                  <a:pt x="399" y="1010"/>
                </a:lnTo>
                <a:lnTo>
                  <a:pt x="400" y="1009"/>
                </a:lnTo>
                <a:lnTo>
                  <a:pt x="406" y="1009"/>
                </a:lnTo>
                <a:lnTo>
                  <a:pt x="417" y="1012"/>
                </a:lnTo>
                <a:lnTo>
                  <a:pt x="430" y="1014"/>
                </a:lnTo>
                <a:lnTo>
                  <a:pt x="432" y="1016"/>
                </a:lnTo>
                <a:lnTo>
                  <a:pt x="443" y="1020"/>
                </a:lnTo>
                <a:lnTo>
                  <a:pt x="444" y="1020"/>
                </a:lnTo>
                <a:lnTo>
                  <a:pt x="445" y="1019"/>
                </a:lnTo>
                <a:lnTo>
                  <a:pt x="447" y="1016"/>
                </a:lnTo>
                <a:lnTo>
                  <a:pt x="447" y="1013"/>
                </a:lnTo>
                <a:lnTo>
                  <a:pt x="448" y="1012"/>
                </a:lnTo>
                <a:lnTo>
                  <a:pt x="448" y="1009"/>
                </a:lnTo>
                <a:lnTo>
                  <a:pt x="447" y="1009"/>
                </a:lnTo>
                <a:lnTo>
                  <a:pt x="437" y="1008"/>
                </a:lnTo>
                <a:lnTo>
                  <a:pt x="436" y="1007"/>
                </a:lnTo>
                <a:lnTo>
                  <a:pt x="435" y="1003"/>
                </a:lnTo>
                <a:lnTo>
                  <a:pt x="434" y="1002"/>
                </a:lnTo>
                <a:lnTo>
                  <a:pt x="434" y="997"/>
                </a:lnTo>
                <a:lnTo>
                  <a:pt x="431" y="995"/>
                </a:lnTo>
                <a:lnTo>
                  <a:pt x="425" y="992"/>
                </a:lnTo>
                <a:lnTo>
                  <a:pt x="418" y="991"/>
                </a:lnTo>
                <a:lnTo>
                  <a:pt x="414" y="994"/>
                </a:lnTo>
                <a:lnTo>
                  <a:pt x="413" y="995"/>
                </a:lnTo>
                <a:lnTo>
                  <a:pt x="406" y="994"/>
                </a:lnTo>
                <a:lnTo>
                  <a:pt x="398" y="994"/>
                </a:lnTo>
                <a:lnTo>
                  <a:pt x="397" y="992"/>
                </a:lnTo>
                <a:lnTo>
                  <a:pt x="395" y="990"/>
                </a:lnTo>
                <a:lnTo>
                  <a:pt x="393" y="986"/>
                </a:lnTo>
                <a:lnTo>
                  <a:pt x="391" y="984"/>
                </a:lnTo>
                <a:lnTo>
                  <a:pt x="389" y="984"/>
                </a:lnTo>
                <a:lnTo>
                  <a:pt x="389" y="982"/>
                </a:lnTo>
                <a:lnTo>
                  <a:pt x="388" y="979"/>
                </a:lnTo>
                <a:lnTo>
                  <a:pt x="388" y="978"/>
                </a:lnTo>
                <a:lnTo>
                  <a:pt x="387" y="978"/>
                </a:lnTo>
                <a:lnTo>
                  <a:pt x="387" y="979"/>
                </a:lnTo>
                <a:lnTo>
                  <a:pt x="384" y="979"/>
                </a:lnTo>
                <a:lnTo>
                  <a:pt x="382" y="978"/>
                </a:lnTo>
                <a:lnTo>
                  <a:pt x="380" y="977"/>
                </a:lnTo>
                <a:lnTo>
                  <a:pt x="379" y="977"/>
                </a:lnTo>
                <a:lnTo>
                  <a:pt x="379" y="976"/>
                </a:lnTo>
                <a:lnTo>
                  <a:pt x="375" y="967"/>
                </a:lnTo>
                <a:lnTo>
                  <a:pt x="373" y="963"/>
                </a:lnTo>
                <a:lnTo>
                  <a:pt x="372" y="961"/>
                </a:lnTo>
                <a:lnTo>
                  <a:pt x="373" y="960"/>
                </a:lnTo>
                <a:lnTo>
                  <a:pt x="374" y="960"/>
                </a:lnTo>
                <a:lnTo>
                  <a:pt x="375" y="961"/>
                </a:lnTo>
                <a:lnTo>
                  <a:pt x="375" y="965"/>
                </a:lnTo>
                <a:lnTo>
                  <a:pt x="376" y="965"/>
                </a:lnTo>
                <a:lnTo>
                  <a:pt x="381" y="970"/>
                </a:lnTo>
                <a:lnTo>
                  <a:pt x="384" y="970"/>
                </a:lnTo>
                <a:lnTo>
                  <a:pt x="384" y="969"/>
                </a:lnTo>
                <a:lnTo>
                  <a:pt x="382" y="966"/>
                </a:lnTo>
                <a:lnTo>
                  <a:pt x="382" y="965"/>
                </a:lnTo>
                <a:lnTo>
                  <a:pt x="381" y="964"/>
                </a:lnTo>
                <a:lnTo>
                  <a:pt x="381" y="957"/>
                </a:lnTo>
                <a:lnTo>
                  <a:pt x="382" y="957"/>
                </a:lnTo>
                <a:lnTo>
                  <a:pt x="382" y="955"/>
                </a:lnTo>
                <a:lnTo>
                  <a:pt x="381" y="953"/>
                </a:lnTo>
                <a:lnTo>
                  <a:pt x="380" y="952"/>
                </a:lnTo>
                <a:lnTo>
                  <a:pt x="381" y="951"/>
                </a:lnTo>
                <a:lnTo>
                  <a:pt x="382" y="951"/>
                </a:lnTo>
                <a:lnTo>
                  <a:pt x="382" y="952"/>
                </a:lnTo>
                <a:lnTo>
                  <a:pt x="384" y="952"/>
                </a:lnTo>
                <a:lnTo>
                  <a:pt x="385" y="949"/>
                </a:lnTo>
                <a:lnTo>
                  <a:pt x="384" y="947"/>
                </a:lnTo>
                <a:lnTo>
                  <a:pt x="382" y="946"/>
                </a:lnTo>
                <a:lnTo>
                  <a:pt x="378" y="951"/>
                </a:lnTo>
                <a:lnTo>
                  <a:pt x="375" y="951"/>
                </a:lnTo>
                <a:lnTo>
                  <a:pt x="374" y="952"/>
                </a:lnTo>
                <a:lnTo>
                  <a:pt x="370" y="952"/>
                </a:lnTo>
                <a:lnTo>
                  <a:pt x="369" y="954"/>
                </a:lnTo>
                <a:lnTo>
                  <a:pt x="369" y="955"/>
                </a:lnTo>
                <a:lnTo>
                  <a:pt x="367" y="955"/>
                </a:lnTo>
                <a:lnTo>
                  <a:pt x="367" y="957"/>
                </a:lnTo>
                <a:lnTo>
                  <a:pt x="368" y="957"/>
                </a:lnTo>
                <a:lnTo>
                  <a:pt x="368" y="958"/>
                </a:lnTo>
                <a:lnTo>
                  <a:pt x="366" y="958"/>
                </a:lnTo>
                <a:lnTo>
                  <a:pt x="366" y="959"/>
                </a:lnTo>
                <a:lnTo>
                  <a:pt x="364" y="959"/>
                </a:lnTo>
                <a:lnTo>
                  <a:pt x="363" y="961"/>
                </a:lnTo>
                <a:lnTo>
                  <a:pt x="362" y="963"/>
                </a:lnTo>
                <a:lnTo>
                  <a:pt x="361" y="963"/>
                </a:lnTo>
                <a:lnTo>
                  <a:pt x="361" y="961"/>
                </a:lnTo>
                <a:lnTo>
                  <a:pt x="360" y="961"/>
                </a:lnTo>
                <a:lnTo>
                  <a:pt x="360" y="964"/>
                </a:lnTo>
                <a:lnTo>
                  <a:pt x="358" y="964"/>
                </a:lnTo>
                <a:lnTo>
                  <a:pt x="357" y="963"/>
                </a:lnTo>
                <a:lnTo>
                  <a:pt x="356" y="963"/>
                </a:lnTo>
                <a:lnTo>
                  <a:pt x="355" y="964"/>
                </a:lnTo>
                <a:lnTo>
                  <a:pt x="349" y="964"/>
                </a:lnTo>
                <a:lnTo>
                  <a:pt x="348" y="963"/>
                </a:lnTo>
                <a:lnTo>
                  <a:pt x="348" y="960"/>
                </a:lnTo>
                <a:lnTo>
                  <a:pt x="347" y="961"/>
                </a:lnTo>
                <a:lnTo>
                  <a:pt x="347" y="963"/>
                </a:lnTo>
                <a:lnTo>
                  <a:pt x="345" y="964"/>
                </a:lnTo>
                <a:lnTo>
                  <a:pt x="344" y="964"/>
                </a:lnTo>
                <a:lnTo>
                  <a:pt x="345" y="963"/>
                </a:lnTo>
                <a:lnTo>
                  <a:pt x="345" y="961"/>
                </a:lnTo>
                <a:lnTo>
                  <a:pt x="349" y="958"/>
                </a:lnTo>
                <a:lnTo>
                  <a:pt x="353" y="953"/>
                </a:lnTo>
                <a:lnTo>
                  <a:pt x="354" y="952"/>
                </a:lnTo>
                <a:lnTo>
                  <a:pt x="360" y="945"/>
                </a:lnTo>
                <a:lnTo>
                  <a:pt x="363" y="941"/>
                </a:lnTo>
                <a:lnTo>
                  <a:pt x="368" y="935"/>
                </a:lnTo>
                <a:lnTo>
                  <a:pt x="375" y="928"/>
                </a:lnTo>
                <a:lnTo>
                  <a:pt x="379" y="927"/>
                </a:lnTo>
                <a:lnTo>
                  <a:pt x="381" y="924"/>
                </a:lnTo>
                <a:lnTo>
                  <a:pt x="381" y="922"/>
                </a:lnTo>
                <a:lnTo>
                  <a:pt x="382" y="921"/>
                </a:lnTo>
                <a:lnTo>
                  <a:pt x="385" y="917"/>
                </a:lnTo>
                <a:lnTo>
                  <a:pt x="387" y="915"/>
                </a:lnTo>
                <a:lnTo>
                  <a:pt x="389" y="914"/>
                </a:lnTo>
                <a:lnTo>
                  <a:pt x="392" y="910"/>
                </a:lnTo>
                <a:lnTo>
                  <a:pt x="394" y="909"/>
                </a:lnTo>
                <a:lnTo>
                  <a:pt x="401" y="904"/>
                </a:lnTo>
                <a:lnTo>
                  <a:pt x="404" y="902"/>
                </a:lnTo>
                <a:lnTo>
                  <a:pt x="406" y="898"/>
                </a:lnTo>
                <a:lnTo>
                  <a:pt x="407" y="897"/>
                </a:lnTo>
                <a:lnTo>
                  <a:pt x="407" y="896"/>
                </a:lnTo>
                <a:lnTo>
                  <a:pt x="409" y="893"/>
                </a:lnTo>
                <a:lnTo>
                  <a:pt x="414" y="887"/>
                </a:lnTo>
                <a:lnTo>
                  <a:pt x="417" y="883"/>
                </a:lnTo>
                <a:lnTo>
                  <a:pt x="417" y="881"/>
                </a:lnTo>
                <a:lnTo>
                  <a:pt x="418" y="880"/>
                </a:lnTo>
                <a:lnTo>
                  <a:pt x="423" y="878"/>
                </a:lnTo>
                <a:lnTo>
                  <a:pt x="429" y="871"/>
                </a:lnTo>
                <a:lnTo>
                  <a:pt x="429" y="869"/>
                </a:lnTo>
                <a:lnTo>
                  <a:pt x="430" y="866"/>
                </a:lnTo>
                <a:lnTo>
                  <a:pt x="437" y="859"/>
                </a:lnTo>
                <a:lnTo>
                  <a:pt x="444" y="848"/>
                </a:lnTo>
                <a:lnTo>
                  <a:pt x="451" y="835"/>
                </a:lnTo>
                <a:lnTo>
                  <a:pt x="457" y="829"/>
                </a:lnTo>
                <a:lnTo>
                  <a:pt x="463" y="820"/>
                </a:lnTo>
                <a:lnTo>
                  <a:pt x="465" y="818"/>
                </a:lnTo>
                <a:lnTo>
                  <a:pt x="465" y="817"/>
                </a:lnTo>
                <a:lnTo>
                  <a:pt x="466" y="817"/>
                </a:lnTo>
                <a:lnTo>
                  <a:pt x="467" y="816"/>
                </a:lnTo>
                <a:lnTo>
                  <a:pt x="476" y="809"/>
                </a:lnTo>
                <a:lnTo>
                  <a:pt x="476" y="807"/>
                </a:lnTo>
                <a:lnTo>
                  <a:pt x="478" y="806"/>
                </a:lnTo>
                <a:lnTo>
                  <a:pt x="479" y="804"/>
                </a:lnTo>
                <a:lnTo>
                  <a:pt x="479" y="803"/>
                </a:lnTo>
                <a:lnTo>
                  <a:pt x="485" y="795"/>
                </a:lnTo>
                <a:lnTo>
                  <a:pt x="486" y="793"/>
                </a:lnTo>
                <a:lnTo>
                  <a:pt x="486" y="792"/>
                </a:lnTo>
                <a:lnTo>
                  <a:pt x="487" y="792"/>
                </a:lnTo>
                <a:lnTo>
                  <a:pt x="490" y="791"/>
                </a:lnTo>
                <a:lnTo>
                  <a:pt x="490" y="789"/>
                </a:lnTo>
                <a:lnTo>
                  <a:pt x="491" y="787"/>
                </a:lnTo>
                <a:lnTo>
                  <a:pt x="492" y="782"/>
                </a:lnTo>
                <a:lnTo>
                  <a:pt x="493" y="781"/>
                </a:lnTo>
                <a:lnTo>
                  <a:pt x="494" y="777"/>
                </a:lnTo>
                <a:lnTo>
                  <a:pt x="496" y="775"/>
                </a:lnTo>
                <a:lnTo>
                  <a:pt x="497" y="767"/>
                </a:lnTo>
                <a:lnTo>
                  <a:pt x="498" y="763"/>
                </a:lnTo>
                <a:lnTo>
                  <a:pt x="500" y="760"/>
                </a:lnTo>
                <a:lnTo>
                  <a:pt x="504" y="752"/>
                </a:lnTo>
                <a:lnTo>
                  <a:pt x="503" y="751"/>
                </a:lnTo>
                <a:lnTo>
                  <a:pt x="502" y="749"/>
                </a:lnTo>
                <a:lnTo>
                  <a:pt x="502" y="746"/>
                </a:lnTo>
                <a:lnTo>
                  <a:pt x="500" y="744"/>
                </a:lnTo>
                <a:lnTo>
                  <a:pt x="499" y="744"/>
                </a:lnTo>
                <a:lnTo>
                  <a:pt x="499" y="743"/>
                </a:lnTo>
                <a:lnTo>
                  <a:pt x="496" y="739"/>
                </a:lnTo>
                <a:lnTo>
                  <a:pt x="494" y="737"/>
                </a:lnTo>
                <a:lnTo>
                  <a:pt x="492" y="736"/>
                </a:lnTo>
                <a:lnTo>
                  <a:pt x="491" y="733"/>
                </a:lnTo>
                <a:lnTo>
                  <a:pt x="491" y="732"/>
                </a:lnTo>
                <a:lnTo>
                  <a:pt x="490" y="731"/>
                </a:lnTo>
                <a:lnTo>
                  <a:pt x="490" y="725"/>
                </a:lnTo>
                <a:lnTo>
                  <a:pt x="487" y="723"/>
                </a:lnTo>
                <a:lnTo>
                  <a:pt x="479" y="717"/>
                </a:lnTo>
                <a:lnTo>
                  <a:pt x="472" y="708"/>
                </a:lnTo>
                <a:lnTo>
                  <a:pt x="459" y="700"/>
                </a:lnTo>
                <a:lnTo>
                  <a:pt x="456" y="697"/>
                </a:lnTo>
                <a:lnTo>
                  <a:pt x="454" y="693"/>
                </a:lnTo>
                <a:lnTo>
                  <a:pt x="448" y="689"/>
                </a:lnTo>
                <a:lnTo>
                  <a:pt x="437" y="676"/>
                </a:lnTo>
                <a:lnTo>
                  <a:pt x="437" y="672"/>
                </a:lnTo>
                <a:lnTo>
                  <a:pt x="440" y="671"/>
                </a:lnTo>
                <a:lnTo>
                  <a:pt x="447" y="669"/>
                </a:lnTo>
                <a:lnTo>
                  <a:pt x="449" y="665"/>
                </a:lnTo>
                <a:lnTo>
                  <a:pt x="451" y="658"/>
                </a:lnTo>
                <a:lnTo>
                  <a:pt x="459" y="650"/>
                </a:lnTo>
                <a:lnTo>
                  <a:pt x="461" y="646"/>
                </a:lnTo>
                <a:lnTo>
                  <a:pt x="462" y="644"/>
                </a:lnTo>
                <a:lnTo>
                  <a:pt x="462" y="640"/>
                </a:lnTo>
                <a:lnTo>
                  <a:pt x="461" y="637"/>
                </a:lnTo>
                <a:lnTo>
                  <a:pt x="461" y="634"/>
                </a:lnTo>
                <a:lnTo>
                  <a:pt x="460" y="633"/>
                </a:lnTo>
                <a:lnTo>
                  <a:pt x="460" y="632"/>
                </a:lnTo>
                <a:lnTo>
                  <a:pt x="461" y="629"/>
                </a:lnTo>
                <a:lnTo>
                  <a:pt x="461" y="627"/>
                </a:lnTo>
                <a:lnTo>
                  <a:pt x="459" y="625"/>
                </a:lnTo>
                <a:lnTo>
                  <a:pt x="456" y="625"/>
                </a:lnTo>
                <a:lnTo>
                  <a:pt x="455" y="623"/>
                </a:lnTo>
                <a:lnTo>
                  <a:pt x="455" y="621"/>
                </a:lnTo>
                <a:lnTo>
                  <a:pt x="451" y="617"/>
                </a:lnTo>
                <a:lnTo>
                  <a:pt x="444" y="615"/>
                </a:lnTo>
                <a:lnTo>
                  <a:pt x="442" y="614"/>
                </a:lnTo>
                <a:lnTo>
                  <a:pt x="440" y="611"/>
                </a:lnTo>
                <a:lnTo>
                  <a:pt x="440" y="608"/>
                </a:lnTo>
                <a:lnTo>
                  <a:pt x="441" y="605"/>
                </a:lnTo>
                <a:lnTo>
                  <a:pt x="441" y="603"/>
                </a:lnTo>
                <a:lnTo>
                  <a:pt x="440" y="601"/>
                </a:lnTo>
                <a:lnTo>
                  <a:pt x="437" y="599"/>
                </a:lnTo>
                <a:lnTo>
                  <a:pt x="437" y="596"/>
                </a:lnTo>
                <a:lnTo>
                  <a:pt x="436" y="596"/>
                </a:lnTo>
                <a:lnTo>
                  <a:pt x="436" y="592"/>
                </a:lnTo>
                <a:lnTo>
                  <a:pt x="443" y="589"/>
                </a:lnTo>
                <a:lnTo>
                  <a:pt x="445" y="586"/>
                </a:lnTo>
                <a:lnTo>
                  <a:pt x="445" y="584"/>
                </a:lnTo>
                <a:lnTo>
                  <a:pt x="444" y="582"/>
                </a:lnTo>
                <a:lnTo>
                  <a:pt x="443" y="580"/>
                </a:lnTo>
                <a:lnTo>
                  <a:pt x="443" y="579"/>
                </a:lnTo>
                <a:lnTo>
                  <a:pt x="442" y="578"/>
                </a:lnTo>
                <a:lnTo>
                  <a:pt x="442" y="576"/>
                </a:lnTo>
                <a:lnTo>
                  <a:pt x="443" y="574"/>
                </a:lnTo>
                <a:lnTo>
                  <a:pt x="443" y="573"/>
                </a:lnTo>
                <a:lnTo>
                  <a:pt x="442" y="573"/>
                </a:lnTo>
                <a:lnTo>
                  <a:pt x="441" y="572"/>
                </a:lnTo>
                <a:lnTo>
                  <a:pt x="432" y="572"/>
                </a:lnTo>
                <a:lnTo>
                  <a:pt x="429" y="571"/>
                </a:lnTo>
                <a:lnTo>
                  <a:pt x="425" y="566"/>
                </a:lnTo>
                <a:lnTo>
                  <a:pt x="422" y="560"/>
                </a:lnTo>
                <a:lnTo>
                  <a:pt x="420" y="552"/>
                </a:lnTo>
                <a:lnTo>
                  <a:pt x="420" y="547"/>
                </a:lnTo>
                <a:lnTo>
                  <a:pt x="422" y="545"/>
                </a:lnTo>
                <a:lnTo>
                  <a:pt x="424" y="542"/>
                </a:lnTo>
                <a:lnTo>
                  <a:pt x="430" y="541"/>
                </a:lnTo>
                <a:lnTo>
                  <a:pt x="431" y="540"/>
                </a:lnTo>
                <a:lnTo>
                  <a:pt x="431" y="537"/>
                </a:lnTo>
                <a:lnTo>
                  <a:pt x="430" y="537"/>
                </a:lnTo>
                <a:lnTo>
                  <a:pt x="430" y="535"/>
                </a:lnTo>
                <a:lnTo>
                  <a:pt x="431" y="534"/>
                </a:lnTo>
                <a:lnTo>
                  <a:pt x="431" y="530"/>
                </a:lnTo>
                <a:lnTo>
                  <a:pt x="428" y="529"/>
                </a:lnTo>
                <a:lnTo>
                  <a:pt x="422" y="529"/>
                </a:lnTo>
                <a:lnTo>
                  <a:pt x="420" y="527"/>
                </a:lnTo>
                <a:lnTo>
                  <a:pt x="422" y="523"/>
                </a:lnTo>
                <a:lnTo>
                  <a:pt x="426" y="517"/>
                </a:lnTo>
                <a:lnTo>
                  <a:pt x="426" y="514"/>
                </a:lnTo>
                <a:lnTo>
                  <a:pt x="425" y="505"/>
                </a:lnTo>
                <a:lnTo>
                  <a:pt x="426" y="500"/>
                </a:lnTo>
                <a:lnTo>
                  <a:pt x="426" y="499"/>
                </a:lnTo>
                <a:lnTo>
                  <a:pt x="430" y="494"/>
                </a:lnTo>
                <a:lnTo>
                  <a:pt x="431" y="493"/>
                </a:lnTo>
                <a:lnTo>
                  <a:pt x="430" y="491"/>
                </a:lnTo>
                <a:lnTo>
                  <a:pt x="426" y="488"/>
                </a:lnTo>
                <a:lnTo>
                  <a:pt x="425" y="487"/>
                </a:lnTo>
                <a:lnTo>
                  <a:pt x="428" y="485"/>
                </a:lnTo>
                <a:lnTo>
                  <a:pt x="438" y="481"/>
                </a:lnTo>
                <a:lnTo>
                  <a:pt x="441" y="484"/>
                </a:lnTo>
                <a:lnTo>
                  <a:pt x="442" y="484"/>
                </a:lnTo>
                <a:lnTo>
                  <a:pt x="443" y="481"/>
                </a:lnTo>
                <a:lnTo>
                  <a:pt x="442" y="479"/>
                </a:lnTo>
                <a:lnTo>
                  <a:pt x="441" y="469"/>
                </a:lnTo>
                <a:lnTo>
                  <a:pt x="441" y="467"/>
                </a:lnTo>
                <a:lnTo>
                  <a:pt x="438" y="457"/>
                </a:lnTo>
                <a:lnTo>
                  <a:pt x="437" y="456"/>
                </a:lnTo>
                <a:lnTo>
                  <a:pt x="436" y="451"/>
                </a:lnTo>
                <a:lnTo>
                  <a:pt x="436" y="449"/>
                </a:lnTo>
                <a:lnTo>
                  <a:pt x="435" y="442"/>
                </a:lnTo>
                <a:lnTo>
                  <a:pt x="434" y="437"/>
                </a:lnTo>
                <a:lnTo>
                  <a:pt x="432" y="435"/>
                </a:lnTo>
                <a:lnTo>
                  <a:pt x="429" y="430"/>
                </a:lnTo>
                <a:lnTo>
                  <a:pt x="423" y="418"/>
                </a:lnTo>
                <a:lnTo>
                  <a:pt x="420" y="412"/>
                </a:lnTo>
                <a:lnTo>
                  <a:pt x="419" y="410"/>
                </a:lnTo>
                <a:lnTo>
                  <a:pt x="419" y="405"/>
                </a:lnTo>
                <a:lnTo>
                  <a:pt x="418" y="404"/>
                </a:lnTo>
                <a:lnTo>
                  <a:pt x="418" y="398"/>
                </a:lnTo>
                <a:lnTo>
                  <a:pt x="413" y="389"/>
                </a:lnTo>
                <a:lnTo>
                  <a:pt x="412" y="388"/>
                </a:lnTo>
                <a:lnTo>
                  <a:pt x="412" y="385"/>
                </a:lnTo>
                <a:lnTo>
                  <a:pt x="411" y="383"/>
                </a:lnTo>
                <a:lnTo>
                  <a:pt x="409" y="377"/>
                </a:lnTo>
                <a:lnTo>
                  <a:pt x="399" y="361"/>
                </a:lnTo>
                <a:lnTo>
                  <a:pt x="398" y="352"/>
                </a:lnTo>
                <a:lnTo>
                  <a:pt x="400" y="344"/>
                </a:lnTo>
                <a:lnTo>
                  <a:pt x="413" y="318"/>
                </a:lnTo>
                <a:lnTo>
                  <a:pt x="416" y="315"/>
                </a:lnTo>
                <a:lnTo>
                  <a:pt x="416" y="314"/>
                </a:lnTo>
                <a:lnTo>
                  <a:pt x="417" y="313"/>
                </a:lnTo>
                <a:lnTo>
                  <a:pt x="417" y="310"/>
                </a:lnTo>
                <a:lnTo>
                  <a:pt x="434" y="287"/>
                </a:lnTo>
                <a:lnTo>
                  <a:pt x="435" y="285"/>
                </a:lnTo>
                <a:lnTo>
                  <a:pt x="436" y="281"/>
                </a:lnTo>
                <a:lnTo>
                  <a:pt x="436" y="271"/>
                </a:lnTo>
                <a:lnTo>
                  <a:pt x="437" y="270"/>
                </a:lnTo>
                <a:lnTo>
                  <a:pt x="437" y="269"/>
                </a:lnTo>
                <a:lnTo>
                  <a:pt x="438" y="267"/>
                </a:lnTo>
                <a:lnTo>
                  <a:pt x="425" y="256"/>
                </a:lnTo>
                <a:lnTo>
                  <a:pt x="423" y="252"/>
                </a:lnTo>
                <a:lnTo>
                  <a:pt x="416" y="236"/>
                </a:lnTo>
                <a:lnTo>
                  <a:pt x="414" y="233"/>
                </a:lnTo>
                <a:lnTo>
                  <a:pt x="411" y="226"/>
                </a:lnTo>
                <a:lnTo>
                  <a:pt x="409" y="223"/>
                </a:lnTo>
                <a:lnTo>
                  <a:pt x="395" y="217"/>
                </a:lnTo>
                <a:lnTo>
                  <a:pt x="384" y="213"/>
                </a:lnTo>
                <a:lnTo>
                  <a:pt x="382" y="211"/>
                </a:lnTo>
                <a:lnTo>
                  <a:pt x="381" y="209"/>
                </a:lnTo>
                <a:lnTo>
                  <a:pt x="374" y="179"/>
                </a:lnTo>
                <a:lnTo>
                  <a:pt x="373" y="177"/>
                </a:lnTo>
                <a:lnTo>
                  <a:pt x="372" y="173"/>
                </a:lnTo>
                <a:lnTo>
                  <a:pt x="372" y="172"/>
                </a:lnTo>
                <a:lnTo>
                  <a:pt x="373" y="171"/>
                </a:lnTo>
                <a:lnTo>
                  <a:pt x="384" y="149"/>
                </a:lnTo>
                <a:lnTo>
                  <a:pt x="385" y="146"/>
                </a:lnTo>
                <a:lnTo>
                  <a:pt x="387" y="136"/>
                </a:lnTo>
                <a:lnTo>
                  <a:pt x="384" y="132"/>
                </a:lnTo>
                <a:lnTo>
                  <a:pt x="372" y="132"/>
                </a:lnTo>
                <a:lnTo>
                  <a:pt x="370" y="131"/>
                </a:lnTo>
                <a:lnTo>
                  <a:pt x="370" y="129"/>
                </a:lnTo>
                <a:lnTo>
                  <a:pt x="373" y="129"/>
                </a:lnTo>
                <a:lnTo>
                  <a:pt x="384" y="121"/>
                </a:lnTo>
                <a:lnTo>
                  <a:pt x="388" y="119"/>
                </a:lnTo>
                <a:lnTo>
                  <a:pt x="393" y="113"/>
                </a:lnTo>
                <a:lnTo>
                  <a:pt x="394" y="113"/>
                </a:lnTo>
                <a:lnTo>
                  <a:pt x="395" y="112"/>
                </a:lnTo>
                <a:lnTo>
                  <a:pt x="398" y="113"/>
                </a:lnTo>
                <a:lnTo>
                  <a:pt x="403" y="109"/>
                </a:lnTo>
                <a:lnTo>
                  <a:pt x="405" y="105"/>
                </a:lnTo>
                <a:lnTo>
                  <a:pt x="406" y="104"/>
                </a:lnTo>
                <a:lnTo>
                  <a:pt x="406" y="101"/>
                </a:lnTo>
                <a:lnTo>
                  <a:pt x="407" y="98"/>
                </a:lnTo>
                <a:lnTo>
                  <a:pt x="407" y="94"/>
                </a:lnTo>
                <a:lnTo>
                  <a:pt x="409" y="93"/>
                </a:lnTo>
                <a:lnTo>
                  <a:pt x="409" y="90"/>
                </a:lnTo>
                <a:lnTo>
                  <a:pt x="410" y="86"/>
                </a:lnTo>
                <a:lnTo>
                  <a:pt x="410" y="84"/>
                </a:lnTo>
                <a:lnTo>
                  <a:pt x="411" y="81"/>
                </a:lnTo>
                <a:lnTo>
                  <a:pt x="413" y="80"/>
                </a:lnTo>
                <a:lnTo>
                  <a:pt x="420" y="80"/>
                </a:lnTo>
                <a:lnTo>
                  <a:pt x="423" y="79"/>
                </a:lnTo>
                <a:lnTo>
                  <a:pt x="428" y="74"/>
                </a:lnTo>
                <a:lnTo>
                  <a:pt x="436" y="74"/>
                </a:lnTo>
                <a:lnTo>
                  <a:pt x="436" y="73"/>
                </a:lnTo>
                <a:lnTo>
                  <a:pt x="437" y="70"/>
                </a:lnTo>
                <a:lnTo>
                  <a:pt x="443" y="64"/>
                </a:lnTo>
                <a:lnTo>
                  <a:pt x="443" y="60"/>
                </a:lnTo>
                <a:lnTo>
                  <a:pt x="444" y="58"/>
                </a:lnTo>
                <a:lnTo>
                  <a:pt x="444" y="56"/>
                </a:lnTo>
                <a:lnTo>
                  <a:pt x="447" y="54"/>
                </a:lnTo>
                <a:lnTo>
                  <a:pt x="447" y="52"/>
                </a:lnTo>
                <a:lnTo>
                  <a:pt x="448" y="50"/>
                </a:lnTo>
                <a:lnTo>
                  <a:pt x="448" y="48"/>
                </a:lnTo>
                <a:lnTo>
                  <a:pt x="447" y="45"/>
                </a:lnTo>
                <a:lnTo>
                  <a:pt x="447" y="44"/>
                </a:lnTo>
                <a:lnTo>
                  <a:pt x="444" y="43"/>
                </a:lnTo>
                <a:lnTo>
                  <a:pt x="443" y="42"/>
                </a:lnTo>
                <a:lnTo>
                  <a:pt x="443" y="41"/>
                </a:lnTo>
                <a:lnTo>
                  <a:pt x="448" y="41"/>
                </a:lnTo>
                <a:lnTo>
                  <a:pt x="450" y="43"/>
                </a:lnTo>
                <a:lnTo>
                  <a:pt x="457" y="52"/>
                </a:lnTo>
                <a:lnTo>
                  <a:pt x="460" y="52"/>
                </a:lnTo>
                <a:lnTo>
                  <a:pt x="469" y="55"/>
                </a:lnTo>
                <a:lnTo>
                  <a:pt x="474" y="54"/>
                </a:lnTo>
                <a:lnTo>
                  <a:pt x="475" y="52"/>
                </a:lnTo>
                <a:lnTo>
                  <a:pt x="476" y="48"/>
                </a:lnTo>
                <a:lnTo>
                  <a:pt x="476" y="37"/>
                </a:lnTo>
                <a:lnTo>
                  <a:pt x="475" y="35"/>
                </a:lnTo>
                <a:lnTo>
                  <a:pt x="475" y="31"/>
                </a:lnTo>
                <a:lnTo>
                  <a:pt x="474" y="29"/>
                </a:lnTo>
                <a:lnTo>
                  <a:pt x="474" y="27"/>
                </a:lnTo>
                <a:lnTo>
                  <a:pt x="473" y="25"/>
                </a:lnTo>
                <a:lnTo>
                  <a:pt x="473" y="20"/>
                </a:lnTo>
                <a:lnTo>
                  <a:pt x="481" y="24"/>
                </a:lnTo>
                <a:lnTo>
                  <a:pt x="486" y="24"/>
                </a:lnTo>
                <a:lnTo>
                  <a:pt x="488" y="26"/>
                </a:lnTo>
                <a:lnTo>
                  <a:pt x="490" y="26"/>
                </a:lnTo>
                <a:lnTo>
                  <a:pt x="491" y="25"/>
                </a:lnTo>
                <a:lnTo>
                  <a:pt x="492" y="26"/>
                </a:lnTo>
                <a:lnTo>
                  <a:pt x="493" y="26"/>
                </a:lnTo>
                <a:lnTo>
                  <a:pt x="494" y="30"/>
                </a:lnTo>
                <a:lnTo>
                  <a:pt x="497" y="30"/>
                </a:lnTo>
                <a:lnTo>
                  <a:pt x="497" y="36"/>
                </a:lnTo>
                <a:lnTo>
                  <a:pt x="496" y="36"/>
                </a:lnTo>
                <a:lnTo>
                  <a:pt x="496" y="39"/>
                </a:lnTo>
                <a:lnTo>
                  <a:pt x="494" y="41"/>
                </a:lnTo>
                <a:lnTo>
                  <a:pt x="492" y="44"/>
                </a:lnTo>
                <a:lnTo>
                  <a:pt x="494" y="42"/>
                </a:lnTo>
                <a:lnTo>
                  <a:pt x="499" y="35"/>
                </a:lnTo>
                <a:lnTo>
                  <a:pt x="500" y="33"/>
                </a:lnTo>
                <a:lnTo>
                  <a:pt x="502" y="35"/>
                </a:lnTo>
                <a:lnTo>
                  <a:pt x="503" y="35"/>
                </a:lnTo>
                <a:lnTo>
                  <a:pt x="503" y="33"/>
                </a:lnTo>
                <a:lnTo>
                  <a:pt x="504" y="33"/>
                </a:lnTo>
                <a:lnTo>
                  <a:pt x="515" y="35"/>
                </a:lnTo>
                <a:lnTo>
                  <a:pt x="513" y="32"/>
                </a:lnTo>
                <a:lnTo>
                  <a:pt x="512" y="31"/>
                </a:lnTo>
                <a:lnTo>
                  <a:pt x="510" y="30"/>
                </a:lnTo>
                <a:lnTo>
                  <a:pt x="510" y="27"/>
                </a:lnTo>
                <a:lnTo>
                  <a:pt x="511" y="25"/>
                </a:lnTo>
                <a:lnTo>
                  <a:pt x="510" y="23"/>
                </a:lnTo>
                <a:lnTo>
                  <a:pt x="510" y="18"/>
                </a:lnTo>
                <a:lnTo>
                  <a:pt x="511" y="15"/>
                </a:lnTo>
                <a:lnTo>
                  <a:pt x="512" y="14"/>
                </a:lnTo>
                <a:lnTo>
                  <a:pt x="516" y="14"/>
                </a:lnTo>
                <a:lnTo>
                  <a:pt x="517" y="15"/>
                </a:lnTo>
                <a:lnTo>
                  <a:pt x="518" y="18"/>
                </a:lnTo>
                <a:lnTo>
                  <a:pt x="521" y="19"/>
                </a:lnTo>
                <a:lnTo>
                  <a:pt x="523" y="23"/>
                </a:lnTo>
                <a:lnTo>
                  <a:pt x="524" y="24"/>
                </a:lnTo>
                <a:lnTo>
                  <a:pt x="527" y="21"/>
                </a:lnTo>
                <a:lnTo>
                  <a:pt x="527" y="20"/>
                </a:lnTo>
                <a:lnTo>
                  <a:pt x="525" y="19"/>
                </a:lnTo>
                <a:lnTo>
                  <a:pt x="524" y="15"/>
                </a:lnTo>
                <a:lnTo>
                  <a:pt x="522" y="13"/>
                </a:lnTo>
                <a:lnTo>
                  <a:pt x="522" y="8"/>
                </a:lnTo>
                <a:lnTo>
                  <a:pt x="521" y="8"/>
                </a:lnTo>
                <a:lnTo>
                  <a:pt x="518" y="6"/>
                </a:lnTo>
                <a:lnTo>
                  <a:pt x="518" y="5"/>
                </a:lnTo>
                <a:lnTo>
                  <a:pt x="519" y="2"/>
                </a:lnTo>
                <a:lnTo>
                  <a:pt x="519" y="1"/>
                </a:lnTo>
                <a:lnTo>
                  <a:pt x="521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6" name="Freeform 19">
            <a:extLst>
              <a:ext uri="{FF2B5EF4-FFF2-40B4-BE49-F238E27FC236}">
                <a16:creationId xmlns:a16="http://schemas.microsoft.com/office/drawing/2014/main" id="{FA8427A7-C8A1-475F-BBFC-8072B167A7A0}"/>
              </a:ext>
            </a:extLst>
          </p:cNvPr>
          <p:cNvSpPr>
            <a:spLocks noEditPoints="1"/>
          </p:cNvSpPr>
          <p:nvPr/>
        </p:nvSpPr>
        <p:spPr bwMode="auto">
          <a:xfrm>
            <a:off x="4374447" y="1844353"/>
            <a:ext cx="559291" cy="391214"/>
          </a:xfrm>
          <a:custGeom>
            <a:avLst/>
            <a:gdLst/>
            <a:ahLst/>
            <a:cxnLst>
              <a:cxn ang="0">
                <a:pos x="343" y="203"/>
              </a:cxn>
              <a:cxn ang="0">
                <a:pos x="363" y="216"/>
              </a:cxn>
              <a:cxn ang="0">
                <a:pos x="381" y="244"/>
              </a:cxn>
              <a:cxn ang="0">
                <a:pos x="382" y="257"/>
              </a:cxn>
              <a:cxn ang="0">
                <a:pos x="360" y="270"/>
              </a:cxn>
              <a:cxn ang="0">
                <a:pos x="346" y="253"/>
              </a:cxn>
              <a:cxn ang="0">
                <a:pos x="320" y="240"/>
              </a:cxn>
              <a:cxn ang="0">
                <a:pos x="302" y="220"/>
              </a:cxn>
              <a:cxn ang="0">
                <a:pos x="301" y="208"/>
              </a:cxn>
              <a:cxn ang="0">
                <a:pos x="298" y="196"/>
              </a:cxn>
              <a:cxn ang="0">
                <a:pos x="301" y="186"/>
              </a:cxn>
              <a:cxn ang="0">
                <a:pos x="309" y="176"/>
              </a:cxn>
              <a:cxn ang="0">
                <a:pos x="245" y="164"/>
              </a:cxn>
              <a:cxn ang="0">
                <a:pos x="232" y="159"/>
              </a:cxn>
              <a:cxn ang="0">
                <a:pos x="83" y="65"/>
              </a:cxn>
              <a:cxn ang="0">
                <a:pos x="63" y="54"/>
              </a:cxn>
              <a:cxn ang="0">
                <a:pos x="58" y="54"/>
              </a:cxn>
              <a:cxn ang="0">
                <a:pos x="71" y="69"/>
              </a:cxn>
              <a:cxn ang="0">
                <a:pos x="72" y="91"/>
              </a:cxn>
              <a:cxn ang="0">
                <a:pos x="68" y="103"/>
              </a:cxn>
              <a:cxn ang="0">
                <a:pos x="52" y="74"/>
              </a:cxn>
              <a:cxn ang="0">
                <a:pos x="41" y="54"/>
              </a:cxn>
              <a:cxn ang="0">
                <a:pos x="174" y="0"/>
              </a:cxn>
              <a:cxn ang="0">
                <a:pos x="196" y="61"/>
              </a:cxn>
              <a:cxn ang="0">
                <a:pos x="238" y="121"/>
              </a:cxn>
              <a:cxn ang="0">
                <a:pos x="255" y="139"/>
              </a:cxn>
              <a:cxn ang="0">
                <a:pos x="255" y="153"/>
              </a:cxn>
              <a:cxn ang="0">
                <a:pos x="227" y="145"/>
              </a:cxn>
              <a:cxn ang="0">
                <a:pos x="237" y="154"/>
              </a:cxn>
              <a:cxn ang="0">
                <a:pos x="218" y="137"/>
              </a:cxn>
              <a:cxn ang="0">
                <a:pos x="203" y="139"/>
              </a:cxn>
              <a:cxn ang="0">
                <a:pos x="205" y="148"/>
              </a:cxn>
              <a:cxn ang="0">
                <a:pos x="221" y="158"/>
              </a:cxn>
              <a:cxn ang="0">
                <a:pos x="216" y="154"/>
              </a:cxn>
              <a:cxn ang="0">
                <a:pos x="199" y="154"/>
              </a:cxn>
              <a:cxn ang="0">
                <a:pos x="190" y="154"/>
              </a:cxn>
              <a:cxn ang="0">
                <a:pos x="184" y="146"/>
              </a:cxn>
              <a:cxn ang="0">
                <a:pos x="170" y="136"/>
              </a:cxn>
              <a:cxn ang="0">
                <a:pos x="163" y="143"/>
              </a:cxn>
              <a:cxn ang="0">
                <a:pos x="153" y="154"/>
              </a:cxn>
              <a:cxn ang="0">
                <a:pos x="139" y="134"/>
              </a:cxn>
              <a:cxn ang="0">
                <a:pos x="137" y="142"/>
              </a:cxn>
              <a:cxn ang="0">
                <a:pos x="129" y="140"/>
              </a:cxn>
              <a:cxn ang="0">
                <a:pos x="102" y="128"/>
              </a:cxn>
              <a:cxn ang="0">
                <a:pos x="90" y="128"/>
              </a:cxn>
              <a:cxn ang="0">
                <a:pos x="95" y="122"/>
              </a:cxn>
              <a:cxn ang="0">
                <a:pos x="95" y="102"/>
              </a:cxn>
              <a:cxn ang="0">
                <a:pos x="107" y="96"/>
              </a:cxn>
              <a:cxn ang="0">
                <a:pos x="113" y="90"/>
              </a:cxn>
              <a:cxn ang="0">
                <a:pos x="110" y="81"/>
              </a:cxn>
              <a:cxn ang="0">
                <a:pos x="106" y="80"/>
              </a:cxn>
              <a:cxn ang="0">
                <a:pos x="95" y="76"/>
              </a:cxn>
              <a:cxn ang="0">
                <a:pos x="93" y="61"/>
              </a:cxn>
              <a:cxn ang="0">
                <a:pos x="102" y="45"/>
              </a:cxn>
              <a:cxn ang="0">
                <a:pos x="81" y="37"/>
              </a:cxn>
              <a:cxn ang="0">
                <a:pos x="71" y="47"/>
              </a:cxn>
              <a:cxn ang="0">
                <a:pos x="65" y="50"/>
              </a:cxn>
              <a:cxn ang="0">
                <a:pos x="56" y="38"/>
              </a:cxn>
              <a:cxn ang="0">
                <a:pos x="46" y="23"/>
              </a:cxn>
              <a:cxn ang="0">
                <a:pos x="35" y="32"/>
              </a:cxn>
              <a:cxn ang="0">
                <a:pos x="31" y="39"/>
              </a:cxn>
              <a:cxn ang="0">
                <a:pos x="4" y="18"/>
              </a:cxn>
            </a:cxnLst>
            <a:rect l="0" t="0" r="r" b="b"/>
            <a:pathLst>
              <a:path w="386" h="270">
                <a:moveTo>
                  <a:pt x="321" y="170"/>
                </a:moveTo>
                <a:lnTo>
                  <a:pt x="323" y="171"/>
                </a:lnTo>
                <a:lnTo>
                  <a:pt x="323" y="174"/>
                </a:lnTo>
                <a:lnTo>
                  <a:pt x="324" y="174"/>
                </a:lnTo>
                <a:lnTo>
                  <a:pt x="325" y="176"/>
                </a:lnTo>
                <a:lnTo>
                  <a:pt x="333" y="183"/>
                </a:lnTo>
                <a:lnTo>
                  <a:pt x="334" y="185"/>
                </a:lnTo>
                <a:lnTo>
                  <a:pt x="339" y="194"/>
                </a:lnTo>
                <a:lnTo>
                  <a:pt x="342" y="196"/>
                </a:lnTo>
                <a:lnTo>
                  <a:pt x="343" y="196"/>
                </a:lnTo>
                <a:lnTo>
                  <a:pt x="343" y="203"/>
                </a:lnTo>
                <a:lnTo>
                  <a:pt x="344" y="204"/>
                </a:lnTo>
                <a:lnTo>
                  <a:pt x="348" y="204"/>
                </a:lnTo>
                <a:lnTo>
                  <a:pt x="350" y="208"/>
                </a:lnTo>
                <a:lnTo>
                  <a:pt x="352" y="208"/>
                </a:lnTo>
                <a:lnTo>
                  <a:pt x="352" y="211"/>
                </a:lnTo>
                <a:lnTo>
                  <a:pt x="354" y="213"/>
                </a:lnTo>
                <a:lnTo>
                  <a:pt x="354" y="214"/>
                </a:lnTo>
                <a:lnTo>
                  <a:pt x="356" y="214"/>
                </a:lnTo>
                <a:lnTo>
                  <a:pt x="360" y="217"/>
                </a:lnTo>
                <a:lnTo>
                  <a:pt x="361" y="217"/>
                </a:lnTo>
                <a:lnTo>
                  <a:pt x="363" y="216"/>
                </a:lnTo>
                <a:lnTo>
                  <a:pt x="364" y="217"/>
                </a:lnTo>
                <a:lnTo>
                  <a:pt x="364" y="220"/>
                </a:lnTo>
                <a:lnTo>
                  <a:pt x="365" y="220"/>
                </a:lnTo>
                <a:lnTo>
                  <a:pt x="367" y="221"/>
                </a:lnTo>
                <a:lnTo>
                  <a:pt x="376" y="233"/>
                </a:lnTo>
                <a:lnTo>
                  <a:pt x="376" y="234"/>
                </a:lnTo>
                <a:lnTo>
                  <a:pt x="380" y="234"/>
                </a:lnTo>
                <a:lnTo>
                  <a:pt x="381" y="235"/>
                </a:lnTo>
                <a:lnTo>
                  <a:pt x="382" y="239"/>
                </a:lnTo>
                <a:lnTo>
                  <a:pt x="382" y="242"/>
                </a:lnTo>
                <a:lnTo>
                  <a:pt x="381" y="244"/>
                </a:lnTo>
                <a:lnTo>
                  <a:pt x="382" y="246"/>
                </a:lnTo>
                <a:lnTo>
                  <a:pt x="382" y="247"/>
                </a:lnTo>
                <a:lnTo>
                  <a:pt x="383" y="247"/>
                </a:lnTo>
                <a:lnTo>
                  <a:pt x="385" y="248"/>
                </a:lnTo>
                <a:lnTo>
                  <a:pt x="385" y="251"/>
                </a:lnTo>
                <a:lnTo>
                  <a:pt x="386" y="252"/>
                </a:lnTo>
                <a:lnTo>
                  <a:pt x="386" y="253"/>
                </a:lnTo>
                <a:lnTo>
                  <a:pt x="385" y="253"/>
                </a:lnTo>
                <a:lnTo>
                  <a:pt x="385" y="254"/>
                </a:lnTo>
                <a:lnTo>
                  <a:pt x="383" y="254"/>
                </a:lnTo>
                <a:lnTo>
                  <a:pt x="382" y="257"/>
                </a:lnTo>
                <a:lnTo>
                  <a:pt x="381" y="258"/>
                </a:lnTo>
                <a:lnTo>
                  <a:pt x="381" y="262"/>
                </a:lnTo>
                <a:lnTo>
                  <a:pt x="382" y="264"/>
                </a:lnTo>
                <a:lnTo>
                  <a:pt x="379" y="263"/>
                </a:lnTo>
                <a:lnTo>
                  <a:pt x="377" y="264"/>
                </a:lnTo>
                <a:lnTo>
                  <a:pt x="373" y="268"/>
                </a:lnTo>
                <a:lnTo>
                  <a:pt x="371" y="268"/>
                </a:lnTo>
                <a:lnTo>
                  <a:pt x="367" y="264"/>
                </a:lnTo>
                <a:lnTo>
                  <a:pt x="363" y="264"/>
                </a:lnTo>
                <a:lnTo>
                  <a:pt x="360" y="268"/>
                </a:lnTo>
                <a:lnTo>
                  <a:pt x="360" y="270"/>
                </a:lnTo>
                <a:lnTo>
                  <a:pt x="358" y="270"/>
                </a:lnTo>
                <a:lnTo>
                  <a:pt x="358" y="268"/>
                </a:lnTo>
                <a:lnTo>
                  <a:pt x="357" y="266"/>
                </a:lnTo>
                <a:lnTo>
                  <a:pt x="352" y="266"/>
                </a:lnTo>
                <a:lnTo>
                  <a:pt x="344" y="264"/>
                </a:lnTo>
                <a:lnTo>
                  <a:pt x="345" y="263"/>
                </a:lnTo>
                <a:lnTo>
                  <a:pt x="343" y="260"/>
                </a:lnTo>
                <a:lnTo>
                  <a:pt x="343" y="257"/>
                </a:lnTo>
                <a:lnTo>
                  <a:pt x="344" y="256"/>
                </a:lnTo>
                <a:lnTo>
                  <a:pt x="346" y="256"/>
                </a:lnTo>
                <a:lnTo>
                  <a:pt x="346" y="253"/>
                </a:lnTo>
                <a:lnTo>
                  <a:pt x="345" y="252"/>
                </a:lnTo>
                <a:lnTo>
                  <a:pt x="340" y="246"/>
                </a:lnTo>
                <a:lnTo>
                  <a:pt x="338" y="242"/>
                </a:lnTo>
                <a:lnTo>
                  <a:pt x="336" y="242"/>
                </a:lnTo>
                <a:lnTo>
                  <a:pt x="333" y="244"/>
                </a:lnTo>
                <a:lnTo>
                  <a:pt x="332" y="244"/>
                </a:lnTo>
                <a:lnTo>
                  <a:pt x="327" y="239"/>
                </a:lnTo>
                <a:lnTo>
                  <a:pt x="324" y="239"/>
                </a:lnTo>
                <a:lnTo>
                  <a:pt x="318" y="237"/>
                </a:lnTo>
                <a:lnTo>
                  <a:pt x="318" y="238"/>
                </a:lnTo>
                <a:lnTo>
                  <a:pt x="320" y="240"/>
                </a:lnTo>
                <a:lnTo>
                  <a:pt x="323" y="241"/>
                </a:lnTo>
                <a:lnTo>
                  <a:pt x="326" y="245"/>
                </a:lnTo>
                <a:lnTo>
                  <a:pt x="324" y="247"/>
                </a:lnTo>
                <a:lnTo>
                  <a:pt x="321" y="246"/>
                </a:lnTo>
                <a:lnTo>
                  <a:pt x="321" y="245"/>
                </a:lnTo>
                <a:lnTo>
                  <a:pt x="320" y="245"/>
                </a:lnTo>
                <a:lnTo>
                  <a:pt x="318" y="242"/>
                </a:lnTo>
                <a:lnTo>
                  <a:pt x="318" y="241"/>
                </a:lnTo>
                <a:lnTo>
                  <a:pt x="315" y="238"/>
                </a:lnTo>
                <a:lnTo>
                  <a:pt x="307" y="229"/>
                </a:lnTo>
                <a:lnTo>
                  <a:pt x="302" y="220"/>
                </a:lnTo>
                <a:lnTo>
                  <a:pt x="303" y="215"/>
                </a:lnTo>
                <a:lnTo>
                  <a:pt x="301" y="214"/>
                </a:lnTo>
                <a:lnTo>
                  <a:pt x="301" y="213"/>
                </a:lnTo>
                <a:lnTo>
                  <a:pt x="302" y="213"/>
                </a:lnTo>
                <a:lnTo>
                  <a:pt x="303" y="211"/>
                </a:lnTo>
                <a:lnTo>
                  <a:pt x="303" y="210"/>
                </a:lnTo>
                <a:lnTo>
                  <a:pt x="302" y="210"/>
                </a:lnTo>
                <a:lnTo>
                  <a:pt x="302" y="208"/>
                </a:lnTo>
                <a:lnTo>
                  <a:pt x="303" y="207"/>
                </a:lnTo>
                <a:lnTo>
                  <a:pt x="301" y="207"/>
                </a:lnTo>
                <a:lnTo>
                  <a:pt x="301" y="208"/>
                </a:lnTo>
                <a:lnTo>
                  <a:pt x="300" y="208"/>
                </a:lnTo>
                <a:lnTo>
                  <a:pt x="300" y="205"/>
                </a:lnTo>
                <a:lnTo>
                  <a:pt x="298" y="205"/>
                </a:lnTo>
                <a:lnTo>
                  <a:pt x="298" y="204"/>
                </a:lnTo>
                <a:lnTo>
                  <a:pt x="299" y="202"/>
                </a:lnTo>
                <a:lnTo>
                  <a:pt x="299" y="201"/>
                </a:lnTo>
                <a:lnTo>
                  <a:pt x="298" y="201"/>
                </a:lnTo>
                <a:lnTo>
                  <a:pt x="296" y="199"/>
                </a:lnTo>
                <a:lnTo>
                  <a:pt x="295" y="197"/>
                </a:lnTo>
                <a:lnTo>
                  <a:pt x="296" y="196"/>
                </a:lnTo>
                <a:lnTo>
                  <a:pt x="298" y="196"/>
                </a:lnTo>
                <a:lnTo>
                  <a:pt x="313" y="203"/>
                </a:lnTo>
                <a:lnTo>
                  <a:pt x="313" y="201"/>
                </a:lnTo>
                <a:lnTo>
                  <a:pt x="312" y="199"/>
                </a:lnTo>
                <a:lnTo>
                  <a:pt x="312" y="198"/>
                </a:lnTo>
                <a:lnTo>
                  <a:pt x="311" y="197"/>
                </a:lnTo>
                <a:lnTo>
                  <a:pt x="307" y="195"/>
                </a:lnTo>
                <a:lnTo>
                  <a:pt x="306" y="192"/>
                </a:lnTo>
                <a:lnTo>
                  <a:pt x="300" y="188"/>
                </a:lnTo>
                <a:lnTo>
                  <a:pt x="299" y="188"/>
                </a:lnTo>
                <a:lnTo>
                  <a:pt x="300" y="186"/>
                </a:lnTo>
                <a:lnTo>
                  <a:pt x="301" y="186"/>
                </a:lnTo>
                <a:lnTo>
                  <a:pt x="305" y="188"/>
                </a:lnTo>
                <a:lnTo>
                  <a:pt x="305" y="186"/>
                </a:lnTo>
                <a:lnTo>
                  <a:pt x="307" y="184"/>
                </a:lnTo>
                <a:lnTo>
                  <a:pt x="308" y="184"/>
                </a:lnTo>
                <a:lnTo>
                  <a:pt x="309" y="183"/>
                </a:lnTo>
                <a:lnTo>
                  <a:pt x="309" y="182"/>
                </a:lnTo>
                <a:lnTo>
                  <a:pt x="311" y="180"/>
                </a:lnTo>
                <a:lnTo>
                  <a:pt x="309" y="179"/>
                </a:lnTo>
                <a:lnTo>
                  <a:pt x="309" y="177"/>
                </a:lnTo>
                <a:lnTo>
                  <a:pt x="308" y="177"/>
                </a:lnTo>
                <a:lnTo>
                  <a:pt x="309" y="176"/>
                </a:lnTo>
                <a:lnTo>
                  <a:pt x="315" y="176"/>
                </a:lnTo>
                <a:lnTo>
                  <a:pt x="315" y="174"/>
                </a:lnTo>
                <a:lnTo>
                  <a:pt x="319" y="171"/>
                </a:lnTo>
                <a:lnTo>
                  <a:pt x="321" y="170"/>
                </a:lnTo>
                <a:close/>
                <a:moveTo>
                  <a:pt x="230" y="153"/>
                </a:moveTo>
                <a:lnTo>
                  <a:pt x="234" y="156"/>
                </a:lnTo>
                <a:lnTo>
                  <a:pt x="237" y="158"/>
                </a:lnTo>
                <a:lnTo>
                  <a:pt x="239" y="160"/>
                </a:lnTo>
                <a:lnTo>
                  <a:pt x="240" y="159"/>
                </a:lnTo>
                <a:lnTo>
                  <a:pt x="244" y="161"/>
                </a:lnTo>
                <a:lnTo>
                  <a:pt x="245" y="164"/>
                </a:lnTo>
                <a:lnTo>
                  <a:pt x="245" y="166"/>
                </a:lnTo>
                <a:lnTo>
                  <a:pt x="244" y="165"/>
                </a:lnTo>
                <a:lnTo>
                  <a:pt x="240" y="162"/>
                </a:lnTo>
                <a:lnTo>
                  <a:pt x="238" y="162"/>
                </a:lnTo>
                <a:lnTo>
                  <a:pt x="237" y="161"/>
                </a:lnTo>
                <a:lnTo>
                  <a:pt x="238" y="164"/>
                </a:lnTo>
                <a:lnTo>
                  <a:pt x="242" y="165"/>
                </a:lnTo>
                <a:lnTo>
                  <a:pt x="242" y="167"/>
                </a:lnTo>
                <a:lnTo>
                  <a:pt x="238" y="166"/>
                </a:lnTo>
                <a:lnTo>
                  <a:pt x="233" y="162"/>
                </a:lnTo>
                <a:lnTo>
                  <a:pt x="232" y="159"/>
                </a:lnTo>
                <a:lnTo>
                  <a:pt x="233" y="159"/>
                </a:lnTo>
                <a:lnTo>
                  <a:pt x="232" y="156"/>
                </a:lnTo>
                <a:lnTo>
                  <a:pt x="230" y="156"/>
                </a:lnTo>
                <a:lnTo>
                  <a:pt x="230" y="153"/>
                </a:lnTo>
                <a:close/>
                <a:moveTo>
                  <a:pt x="102" y="128"/>
                </a:moveTo>
                <a:lnTo>
                  <a:pt x="104" y="130"/>
                </a:lnTo>
                <a:lnTo>
                  <a:pt x="103" y="130"/>
                </a:lnTo>
                <a:lnTo>
                  <a:pt x="102" y="128"/>
                </a:lnTo>
                <a:close/>
                <a:moveTo>
                  <a:pt x="73" y="56"/>
                </a:moveTo>
                <a:lnTo>
                  <a:pt x="77" y="56"/>
                </a:lnTo>
                <a:lnTo>
                  <a:pt x="83" y="65"/>
                </a:lnTo>
                <a:lnTo>
                  <a:pt x="83" y="66"/>
                </a:lnTo>
                <a:lnTo>
                  <a:pt x="84" y="66"/>
                </a:lnTo>
                <a:lnTo>
                  <a:pt x="83" y="67"/>
                </a:lnTo>
                <a:lnTo>
                  <a:pt x="82" y="66"/>
                </a:lnTo>
                <a:lnTo>
                  <a:pt x="77" y="62"/>
                </a:lnTo>
                <a:lnTo>
                  <a:pt x="77" y="61"/>
                </a:lnTo>
                <a:lnTo>
                  <a:pt x="76" y="59"/>
                </a:lnTo>
                <a:lnTo>
                  <a:pt x="73" y="56"/>
                </a:lnTo>
                <a:close/>
                <a:moveTo>
                  <a:pt x="54" y="49"/>
                </a:moveTo>
                <a:lnTo>
                  <a:pt x="56" y="49"/>
                </a:lnTo>
                <a:lnTo>
                  <a:pt x="63" y="54"/>
                </a:lnTo>
                <a:lnTo>
                  <a:pt x="63" y="55"/>
                </a:lnTo>
                <a:lnTo>
                  <a:pt x="64" y="56"/>
                </a:lnTo>
                <a:lnTo>
                  <a:pt x="65" y="60"/>
                </a:lnTo>
                <a:lnTo>
                  <a:pt x="65" y="61"/>
                </a:lnTo>
                <a:lnTo>
                  <a:pt x="68" y="63"/>
                </a:lnTo>
                <a:lnTo>
                  <a:pt x="68" y="66"/>
                </a:lnTo>
                <a:lnTo>
                  <a:pt x="63" y="61"/>
                </a:lnTo>
                <a:lnTo>
                  <a:pt x="62" y="57"/>
                </a:lnTo>
                <a:lnTo>
                  <a:pt x="62" y="56"/>
                </a:lnTo>
                <a:lnTo>
                  <a:pt x="59" y="54"/>
                </a:lnTo>
                <a:lnTo>
                  <a:pt x="58" y="54"/>
                </a:lnTo>
                <a:lnTo>
                  <a:pt x="60" y="57"/>
                </a:lnTo>
                <a:lnTo>
                  <a:pt x="62" y="60"/>
                </a:lnTo>
                <a:lnTo>
                  <a:pt x="60" y="61"/>
                </a:lnTo>
                <a:lnTo>
                  <a:pt x="58" y="60"/>
                </a:lnTo>
                <a:lnTo>
                  <a:pt x="58" y="61"/>
                </a:lnTo>
                <a:lnTo>
                  <a:pt x="70" y="72"/>
                </a:lnTo>
                <a:lnTo>
                  <a:pt x="72" y="73"/>
                </a:lnTo>
                <a:lnTo>
                  <a:pt x="73" y="70"/>
                </a:lnTo>
                <a:lnTo>
                  <a:pt x="72" y="69"/>
                </a:lnTo>
                <a:lnTo>
                  <a:pt x="71" y="70"/>
                </a:lnTo>
                <a:lnTo>
                  <a:pt x="71" y="69"/>
                </a:lnTo>
                <a:lnTo>
                  <a:pt x="73" y="67"/>
                </a:lnTo>
                <a:lnTo>
                  <a:pt x="73" y="68"/>
                </a:lnTo>
                <a:lnTo>
                  <a:pt x="75" y="69"/>
                </a:lnTo>
                <a:lnTo>
                  <a:pt x="76" y="69"/>
                </a:lnTo>
                <a:lnTo>
                  <a:pt x="76" y="74"/>
                </a:lnTo>
                <a:lnTo>
                  <a:pt x="77" y="74"/>
                </a:lnTo>
                <a:lnTo>
                  <a:pt x="76" y="76"/>
                </a:lnTo>
                <a:lnTo>
                  <a:pt x="76" y="82"/>
                </a:lnTo>
                <a:lnTo>
                  <a:pt x="73" y="85"/>
                </a:lnTo>
                <a:lnTo>
                  <a:pt x="73" y="91"/>
                </a:lnTo>
                <a:lnTo>
                  <a:pt x="72" y="91"/>
                </a:lnTo>
                <a:lnTo>
                  <a:pt x="72" y="92"/>
                </a:lnTo>
                <a:lnTo>
                  <a:pt x="71" y="92"/>
                </a:lnTo>
                <a:lnTo>
                  <a:pt x="70" y="91"/>
                </a:lnTo>
                <a:lnTo>
                  <a:pt x="69" y="93"/>
                </a:lnTo>
                <a:lnTo>
                  <a:pt x="69" y="98"/>
                </a:lnTo>
                <a:lnTo>
                  <a:pt x="70" y="100"/>
                </a:lnTo>
                <a:lnTo>
                  <a:pt x="73" y="104"/>
                </a:lnTo>
                <a:lnTo>
                  <a:pt x="72" y="106"/>
                </a:lnTo>
                <a:lnTo>
                  <a:pt x="70" y="108"/>
                </a:lnTo>
                <a:lnTo>
                  <a:pt x="68" y="106"/>
                </a:lnTo>
                <a:lnTo>
                  <a:pt x="68" y="103"/>
                </a:lnTo>
                <a:lnTo>
                  <a:pt x="66" y="99"/>
                </a:lnTo>
                <a:lnTo>
                  <a:pt x="66" y="97"/>
                </a:lnTo>
                <a:lnTo>
                  <a:pt x="64" y="94"/>
                </a:lnTo>
                <a:lnTo>
                  <a:pt x="59" y="91"/>
                </a:lnTo>
                <a:lnTo>
                  <a:pt x="59" y="88"/>
                </a:lnTo>
                <a:lnTo>
                  <a:pt x="58" y="88"/>
                </a:lnTo>
                <a:lnTo>
                  <a:pt x="58" y="81"/>
                </a:lnTo>
                <a:lnTo>
                  <a:pt x="57" y="80"/>
                </a:lnTo>
                <a:lnTo>
                  <a:pt x="53" y="78"/>
                </a:lnTo>
                <a:lnTo>
                  <a:pt x="53" y="75"/>
                </a:lnTo>
                <a:lnTo>
                  <a:pt x="52" y="74"/>
                </a:lnTo>
                <a:lnTo>
                  <a:pt x="51" y="72"/>
                </a:lnTo>
                <a:lnTo>
                  <a:pt x="48" y="70"/>
                </a:lnTo>
                <a:lnTo>
                  <a:pt x="46" y="70"/>
                </a:lnTo>
                <a:lnTo>
                  <a:pt x="44" y="72"/>
                </a:lnTo>
                <a:lnTo>
                  <a:pt x="40" y="70"/>
                </a:lnTo>
                <a:lnTo>
                  <a:pt x="35" y="67"/>
                </a:lnTo>
                <a:lnTo>
                  <a:pt x="34" y="65"/>
                </a:lnTo>
                <a:lnTo>
                  <a:pt x="34" y="57"/>
                </a:lnTo>
                <a:lnTo>
                  <a:pt x="35" y="57"/>
                </a:lnTo>
                <a:lnTo>
                  <a:pt x="40" y="55"/>
                </a:lnTo>
                <a:lnTo>
                  <a:pt x="41" y="54"/>
                </a:lnTo>
                <a:lnTo>
                  <a:pt x="45" y="54"/>
                </a:lnTo>
                <a:lnTo>
                  <a:pt x="47" y="51"/>
                </a:lnTo>
                <a:lnTo>
                  <a:pt x="52" y="53"/>
                </a:lnTo>
                <a:lnTo>
                  <a:pt x="53" y="54"/>
                </a:lnTo>
                <a:lnTo>
                  <a:pt x="54" y="56"/>
                </a:lnTo>
                <a:lnTo>
                  <a:pt x="56" y="57"/>
                </a:lnTo>
                <a:lnTo>
                  <a:pt x="56" y="56"/>
                </a:lnTo>
                <a:lnTo>
                  <a:pt x="54" y="54"/>
                </a:lnTo>
                <a:lnTo>
                  <a:pt x="54" y="49"/>
                </a:lnTo>
                <a:close/>
                <a:moveTo>
                  <a:pt x="0" y="0"/>
                </a:moveTo>
                <a:lnTo>
                  <a:pt x="174" y="0"/>
                </a:lnTo>
                <a:lnTo>
                  <a:pt x="175" y="4"/>
                </a:lnTo>
                <a:lnTo>
                  <a:pt x="180" y="23"/>
                </a:lnTo>
                <a:lnTo>
                  <a:pt x="183" y="30"/>
                </a:lnTo>
                <a:lnTo>
                  <a:pt x="186" y="33"/>
                </a:lnTo>
                <a:lnTo>
                  <a:pt x="187" y="35"/>
                </a:lnTo>
                <a:lnTo>
                  <a:pt x="189" y="43"/>
                </a:lnTo>
                <a:lnTo>
                  <a:pt x="190" y="47"/>
                </a:lnTo>
                <a:lnTo>
                  <a:pt x="193" y="49"/>
                </a:lnTo>
                <a:lnTo>
                  <a:pt x="194" y="53"/>
                </a:lnTo>
                <a:lnTo>
                  <a:pt x="195" y="54"/>
                </a:lnTo>
                <a:lnTo>
                  <a:pt x="196" y="61"/>
                </a:lnTo>
                <a:lnTo>
                  <a:pt x="196" y="66"/>
                </a:lnTo>
                <a:lnTo>
                  <a:pt x="199" y="69"/>
                </a:lnTo>
                <a:lnTo>
                  <a:pt x="218" y="96"/>
                </a:lnTo>
                <a:lnTo>
                  <a:pt x="221" y="102"/>
                </a:lnTo>
                <a:lnTo>
                  <a:pt x="227" y="106"/>
                </a:lnTo>
                <a:lnTo>
                  <a:pt x="230" y="108"/>
                </a:lnTo>
                <a:lnTo>
                  <a:pt x="230" y="109"/>
                </a:lnTo>
                <a:lnTo>
                  <a:pt x="231" y="110"/>
                </a:lnTo>
                <a:lnTo>
                  <a:pt x="232" y="113"/>
                </a:lnTo>
                <a:lnTo>
                  <a:pt x="238" y="119"/>
                </a:lnTo>
                <a:lnTo>
                  <a:pt x="238" y="121"/>
                </a:lnTo>
                <a:lnTo>
                  <a:pt x="242" y="121"/>
                </a:lnTo>
                <a:lnTo>
                  <a:pt x="245" y="124"/>
                </a:lnTo>
                <a:lnTo>
                  <a:pt x="247" y="125"/>
                </a:lnTo>
                <a:lnTo>
                  <a:pt x="249" y="128"/>
                </a:lnTo>
                <a:lnTo>
                  <a:pt x="256" y="127"/>
                </a:lnTo>
                <a:lnTo>
                  <a:pt x="256" y="130"/>
                </a:lnTo>
                <a:lnTo>
                  <a:pt x="263" y="137"/>
                </a:lnTo>
                <a:lnTo>
                  <a:pt x="258" y="137"/>
                </a:lnTo>
                <a:lnTo>
                  <a:pt x="256" y="136"/>
                </a:lnTo>
                <a:lnTo>
                  <a:pt x="255" y="135"/>
                </a:lnTo>
                <a:lnTo>
                  <a:pt x="255" y="139"/>
                </a:lnTo>
                <a:lnTo>
                  <a:pt x="257" y="140"/>
                </a:lnTo>
                <a:lnTo>
                  <a:pt x="258" y="141"/>
                </a:lnTo>
                <a:lnTo>
                  <a:pt x="258" y="143"/>
                </a:lnTo>
                <a:lnTo>
                  <a:pt x="256" y="146"/>
                </a:lnTo>
                <a:lnTo>
                  <a:pt x="256" y="148"/>
                </a:lnTo>
                <a:lnTo>
                  <a:pt x="255" y="149"/>
                </a:lnTo>
                <a:lnTo>
                  <a:pt x="255" y="151"/>
                </a:lnTo>
                <a:lnTo>
                  <a:pt x="252" y="151"/>
                </a:lnTo>
                <a:lnTo>
                  <a:pt x="252" y="152"/>
                </a:lnTo>
                <a:lnTo>
                  <a:pt x="253" y="152"/>
                </a:lnTo>
                <a:lnTo>
                  <a:pt x="255" y="153"/>
                </a:lnTo>
                <a:lnTo>
                  <a:pt x="246" y="151"/>
                </a:lnTo>
                <a:lnTo>
                  <a:pt x="239" y="145"/>
                </a:lnTo>
                <a:lnTo>
                  <a:pt x="237" y="145"/>
                </a:lnTo>
                <a:lnTo>
                  <a:pt x="236" y="147"/>
                </a:lnTo>
                <a:lnTo>
                  <a:pt x="234" y="147"/>
                </a:lnTo>
                <a:lnTo>
                  <a:pt x="232" y="146"/>
                </a:lnTo>
                <a:lnTo>
                  <a:pt x="228" y="141"/>
                </a:lnTo>
                <a:lnTo>
                  <a:pt x="226" y="140"/>
                </a:lnTo>
                <a:lnTo>
                  <a:pt x="225" y="141"/>
                </a:lnTo>
                <a:lnTo>
                  <a:pt x="225" y="142"/>
                </a:lnTo>
                <a:lnTo>
                  <a:pt x="227" y="145"/>
                </a:lnTo>
                <a:lnTo>
                  <a:pt x="230" y="148"/>
                </a:lnTo>
                <a:lnTo>
                  <a:pt x="238" y="151"/>
                </a:lnTo>
                <a:lnTo>
                  <a:pt x="240" y="149"/>
                </a:lnTo>
                <a:lnTo>
                  <a:pt x="243" y="149"/>
                </a:lnTo>
                <a:lnTo>
                  <a:pt x="243" y="153"/>
                </a:lnTo>
                <a:lnTo>
                  <a:pt x="245" y="154"/>
                </a:lnTo>
                <a:lnTo>
                  <a:pt x="249" y="156"/>
                </a:lnTo>
                <a:lnTo>
                  <a:pt x="250" y="158"/>
                </a:lnTo>
                <a:lnTo>
                  <a:pt x="250" y="159"/>
                </a:lnTo>
                <a:lnTo>
                  <a:pt x="249" y="159"/>
                </a:lnTo>
                <a:lnTo>
                  <a:pt x="237" y="154"/>
                </a:lnTo>
                <a:lnTo>
                  <a:pt x="224" y="149"/>
                </a:lnTo>
                <a:lnTo>
                  <a:pt x="219" y="145"/>
                </a:lnTo>
                <a:lnTo>
                  <a:pt x="219" y="147"/>
                </a:lnTo>
                <a:lnTo>
                  <a:pt x="224" y="149"/>
                </a:lnTo>
                <a:lnTo>
                  <a:pt x="221" y="151"/>
                </a:lnTo>
                <a:lnTo>
                  <a:pt x="219" y="149"/>
                </a:lnTo>
                <a:lnTo>
                  <a:pt x="215" y="146"/>
                </a:lnTo>
                <a:lnTo>
                  <a:pt x="214" y="142"/>
                </a:lnTo>
                <a:lnTo>
                  <a:pt x="215" y="141"/>
                </a:lnTo>
                <a:lnTo>
                  <a:pt x="215" y="137"/>
                </a:lnTo>
                <a:lnTo>
                  <a:pt x="218" y="137"/>
                </a:lnTo>
                <a:lnTo>
                  <a:pt x="218" y="135"/>
                </a:lnTo>
                <a:lnTo>
                  <a:pt x="213" y="135"/>
                </a:lnTo>
                <a:lnTo>
                  <a:pt x="213" y="137"/>
                </a:lnTo>
                <a:lnTo>
                  <a:pt x="212" y="139"/>
                </a:lnTo>
                <a:lnTo>
                  <a:pt x="212" y="140"/>
                </a:lnTo>
                <a:lnTo>
                  <a:pt x="211" y="140"/>
                </a:lnTo>
                <a:lnTo>
                  <a:pt x="207" y="137"/>
                </a:lnTo>
                <a:lnTo>
                  <a:pt x="205" y="136"/>
                </a:lnTo>
                <a:lnTo>
                  <a:pt x="202" y="136"/>
                </a:lnTo>
                <a:lnTo>
                  <a:pt x="203" y="137"/>
                </a:lnTo>
                <a:lnTo>
                  <a:pt x="203" y="139"/>
                </a:lnTo>
                <a:lnTo>
                  <a:pt x="205" y="140"/>
                </a:lnTo>
                <a:lnTo>
                  <a:pt x="207" y="140"/>
                </a:lnTo>
                <a:lnTo>
                  <a:pt x="207" y="141"/>
                </a:lnTo>
                <a:lnTo>
                  <a:pt x="202" y="140"/>
                </a:lnTo>
                <a:lnTo>
                  <a:pt x="202" y="142"/>
                </a:lnTo>
                <a:lnTo>
                  <a:pt x="203" y="143"/>
                </a:lnTo>
                <a:lnTo>
                  <a:pt x="207" y="143"/>
                </a:lnTo>
                <a:lnTo>
                  <a:pt x="206" y="146"/>
                </a:lnTo>
                <a:lnTo>
                  <a:pt x="203" y="146"/>
                </a:lnTo>
                <a:lnTo>
                  <a:pt x="203" y="147"/>
                </a:lnTo>
                <a:lnTo>
                  <a:pt x="205" y="148"/>
                </a:lnTo>
                <a:lnTo>
                  <a:pt x="209" y="148"/>
                </a:lnTo>
                <a:lnTo>
                  <a:pt x="209" y="146"/>
                </a:lnTo>
                <a:lnTo>
                  <a:pt x="207" y="143"/>
                </a:lnTo>
                <a:lnTo>
                  <a:pt x="212" y="145"/>
                </a:lnTo>
                <a:lnTo>
                  <a:pt x="214" y="146"/>
                </a:lnTo>
                <a:lnTo>
                  <a:pt x="215" y="149"/>
                </a:lnTo>
                <a:lnTo>
                  <a:pt x="213" y="149"/>
                </a:lnTo>
                <a:lnTo>
                  <a:pt x="213" y="151"/>
                </a:lnTo>
                <a:lnTo>
                  <a:pt x="218" y="153"/>
                </a:lnTo>
                <a:lnTo>
                  <a:pt x="221" y="154"/>
                </a:lnTo>
                <a:lnTo>
                  <a:pt x="221" y="158"/>
                </a:lnTo>
                <a:lnTo>
                  <a:pt x="219" y="158"/>
                </a:lnTo>
                <a:lnTo>
                  <a:pt x="215" y="161"/>
                </a:lnTo>
                <a:lnTo>
                  <a:pt x="214" y="161"/>
                </a:lnTo>
                <a:lnTo>
                  <a:pt x="211" y="159"/>
                </a:lnTo>
                <a:lnTo>
                  <a:pt x="215" y="159"/>
                </a:lnTo>
                <a:lnTo>
                  <a:pt x="213" y="158"/>
                </a:lnTo>
                <a:lnTo>
                  <a:pt x="213" y="156"/>
                </a:lnTo>
                <a:lnTo>
                  <a:pt x="214" y="158"/>
                </a:lnTo>
                <a:lnTo>
                  <a:pt x="216" y="158"/>
                </a:lnTo>
                <a:lnTo>
                  <a:pt x="218" y="156"/>
                </a:lnTo>
                <a:lnTo>
                  <a:pt x="216" y="154"/>
                </a:lnTo>
                <a:lnTo>
                  <a:pt x="214" y="154"/>
                </a:lnTo>
                <a:lnTo>
                  <a:pt x="212" y="155"/>
                </a:lnTo>
                <a:lnTo>
                  <a:pt x="208" y="154"/>
                </a:lnTo>
                <a:lnTo>
                  <a:pt x="206" y="153"/>
                </a:lnTo>
                <a:lnTo>
                  <a:pt x="200" y="147"/>
                </a:lnTo>
                <a:lnTo>
                  <a:pt x="197" y="146"/>
                </a:lnTo>
                <a:lnTo>
                  <a:pt x="195" y="148"/>
                </a:lnTo>
                <a:lnTo>
                  <a:pt x="200" y="151"/>
                </a:lnTo>
                <a:lnTo>
                  <a:pt x="201" y="153"/>
                </a:lnTo>
                <a:lnTo>
                  <a:pt x="201" y="155"/>
                </a:lnTo>
                <a:lnTo>
                  <a:pt x="199" y="154"/>
                </a:lnTo>
                <a:lnTo>
                  <a:pt x="195" y="152"/>
                </a:lnTo>
                <a:lnTo>
                  <a:pt x="193" y="147"/>
                </a:lnTo>
                <a:lnTo>
                  <a:pt x="190" y="145"/>
                </a:lnTo>
                <a:lnTo>
                  <a:pt x="187" y="143"/>
                </a:lnTo>
                <a:lnTo>
                  <a:pt x="186" y="142"/>
                </a:lnTo>
                <a:lnTo>
                  <a:pt x="188" y="148"/>
                </a:lnTo>
                <a:lnTo>
                  <a:pt x="194" y="152"/>
                </a:lnTo>
                <a:lnTo>
                  <a:pt x="196" y="156"/>
                </a:lnTo>
                <a:lnTo>
                  <a:pt x="195" y="158"/>
                </a:lnTo>
                <a:lnTo>
                  <a:pt x="191" y="154"/>
                </a:lnTo>
                <a:lnTo>
                  <a:pt x="190" y="154"/>
                </a:lnTo>
                <a:lnTo>
                  <a:pt x="189" y="156"/>
                </a:lnTo>
                <a:lnTo>
                  <a:pt x="188" y="155"/>
                </a:lnTo>
                <a:lnTo>
                  <a:pt x="188" y="153"/>
                </a:lnTo>
                <a:lnTo>
                  <a:pt x="182" y="153"/>
                </a:lnTo>
                <a:lnTo>
                  <a:pt x="181" y="152"/>
                </a:lnTo>
                <a:lnTo>
                  <a:pt x="182" y="151"/>
                </a:lnTo>
                <a:lnTo>
                  <a:pt x="181" y="148"/>
                </a:lnTo>
                <a:lnTo>
                  <a:pt x="183" y="149"/>
                </a:lnTo>
                <a:lnTo>
                  <a:pt x="184" y="149"/>
                </a:lnTo>
                <a:lnTo>
                  <a:pt x="186" y="148"/>
                </a:lnTo>
                <a:lnTo>
                  <a:pt x="184" y="146"/>
                </a:lnTo>
                <a:lnTo>
                  <a:pt x="183" y="142"/>
                </a:lnTo>
                <a:lnTo>
                  <a:pt x="183" y="141"/>
                </a:lnTo>
                <a:lnTo>
                  <a:pt x="180" y="140"/>
                </a:lnTo>
                <a:lnTo>
                  <a:pt x="178" y="136"/>
                </a:lnTo>
                <a:lnTo>
                  <a:pt x="177" y="137"/>
                </a:lnTo>
                <a:lnTo>
                  <a:pt x="177" y="140"/>
                </a:lnTo>
                <a:lnTo>
                  <a:pt x="180" y="140"/>
                </a:lnTo>
                <a:lnTo>
                  <a:pt x="182" y="145"/>
                </a:lnTo>
                <a:lnTo>
                  <a:pt x="172" y="140"/>
                </a:lnTo>
                <a:lnTo>
                  <a:pt x="171" y="139"/>
                </a:lnTo>
                <a:lnTo>
                  <a:pt x="170" y="136"/>
                </a:lnTo>
                <a:lnTo>
                  <a:pt x="170" y="135"/>
                </a:lnTo>
                <a:lnTo>
                  <a:pt x="169" y="135"/>
                </a:lnTo>
                <a:lnTo>
                  <a:pt x="169" y="136"/>
                </a:lnTo>
                <a:lnTo>
                  <a:pt x="166" y="139"/>
                </a:lnTo>
                <a:lnTo>
                  <a:pt x="166" y="141"/>
                </a:lnTo>
                <a:lnTo>
                  <a:pt x="168" y="141"/>
                </a:lnTo>
                <a:lnTo>
                  <a:pt x="170" y="143"/>
                </a:lnTo>
                <a:lnTo>
                  <a:pt x="171" y="147"/>
                </a:lnTo>
                <a:lnTo>
                  <a:pt x="170" y="147"/>
                </a:lnTo>
                <a:lnTo>
                  <a:pt x="169" y="143"/>
                </a:lnTo>
                <a:lnTo>
                  <a:pt x="163" y="143"/>
                </a:lnTo>
                <a:lnTo>
                  <a:pt x="162" y="145"/>
                </a:lnTo>
                <a:lnTo>
                  <a:pt x="162" y="148"/>
                </a:lnTo>
                <a:lnTo>
                  <a:pt x="164" y="152"/>
                </a:lnTo>
                <a:lnTo>
                  <a:pt x="164" y="153"/>
                </a:lnTo>
                <a:lnTo>
                  <a:pt x="163" y="153"/>
                </a:lnTo>
                <a:lnTo>
                  <a:pt x="163" y="156"/>
                </a:lnTo>
                <a:lnTo>
                  <a:pt x="160" y="156"/>
                </a:lnTo>
                <a:lnTo>
                  <a:pt x="160" y="159"/>
                </a:lnTo>
                <a:lnTo>
                  <a:pt x="158" y="160"/>
                </a:lnTo>
                <a:lnTo>
                  <a:pt x="156" y="158"/>
                </a:lnTo>
                <a:lnTo>
                  <a:pt x="153" y="154"/>
                </a:lnTo>
                <a:lnTo>
                  <a:pt x="151" y="152"/>
                </a:lnTo>
                <a:lnTo>
                  <a:pt x="151" y="149"/>
                </a:lnTo>
                <a:lnTo>
                  <a:pt x="147" y="149"/>
                </a:lnTo>
                <a:lnTo>
                  <a:pt x="147" y="148"/>
                </a:lnTo>
                <a:lnTo>
                  <a:pt x="146" y="147"/>
                </a:lnTo>
                <a:lnTo>
                  <a:pt x="143" y="146"/>
                </a:lnTo>
                <a:lnTo>
                  <a:pt x="143" y="145"/>
                </a:lnTo>
                <a:lnTo>
                  <a:pt x="140" y="142"/>
                </a:lnTo>
                <a:lnTo>
                  <a:pt x="140" y="141"/>
                </a:lnTo>
                <a:lnTo>
                  <a:pt x="139" y="139"/>
                </a:lnTo>
                <a:lnTo>
                  <a:pt x="139" y="134"/>
                </a:lnTo>
                <a:lnTo>
                  <a:pt x="138" y="133"/>
                </a:lnTo>
                <a:lnTo>
                  <a:pt x="134" y="131"/>
                </a:lnTo>
                <a:lnTo>
                  <a:pt x="133" y="128"/>
                </a:lnTo>
                <a:lnTo>
                  <a:pt x="131" y="125"/>
                </a:lnTo>
                <a:lnTo>
                  <a:pt x="132" y="128"/>
                </a:lnTo>
                <a:lnTo>
                  <a:pt x="133" y="129"/>
                </a:lnTo>
                <a:lnTo>
                  <a:pt x="133" y="131"/>
                </a:lnTo>
                <a:lnTo>
                  <a:pt x="131" y="130"/>
                </a:lnTo>
                <a:lnTo>
                  <a:pt x="129" y="130"/>
                </a:lnTo>
                <a:lnTo>
                  <a:pt x="129" y="137"/>
                </a:lnTo>
                <a:lnTo>
                  <a:pt x="137" y="142"/>
                </a:lnTo>
                <a:lnTo>
                  <a:pt x="135" y="142"/>
                </a:lnTo>
                <a:lnTo>
                  <a:pt x="135" y="143"/>
                </a:lnTo>
                <a:lnTo>
                  <a:pt x="137" y="145"/>
                </a:lnTo>
                <a:lnTo>
                  <a:pt x="139" y="145"/>
                </a:lnTo>
                <a:lnTo>
                  <a:pt x="140" y="146"/>
                </a:lnTo>
                <a:lnTo>
                  <a:pt x="141" y="148"/>
                </a:lnTo>
                <a:lnTo>
                  <a:pt x="137" y="147"/>
                </a:lnTo>
                <a:lnTo>
                  <a:pt x="133" y="145"/>
                </a:lnTo>
                <a:lnTo>
                  <a:pt x="132" y="143"/>
                </a:lnTo>
                <a:lnTo>
                  <a:pt x="132" y="140"/>
                </a:lnTo>
                <a:lnTo>
                  <a:pt x="129" y="140"/>
                </a:lnTo>
                <a:lnTo>
                  <a:pt x="121" y="131"/>
                </a:lnTo>
                <a:lnTo>
                  <a:pt x="121" y="136"/>
                </a:lnTo>
                <a:lnTo>
                  <a:pt x="120" y="137"/>
                </a:lnTo>
                <a:lnTo>
                  <a:pt x="119" y="137"/>
                </a:lnTo>
                <a:lnTo>
                  <a:pt x="115" y="134"/>
                </a:lnTo>
                <a:lnTo>
                  <a:pt x="113" y="136"/>
                </a:lnTo>
                <a:lnTo>
                  <a:pt x="112" y="135"/>
                </a:lnTo>
                <a:lnTo>
                  <a:pt x="109" y="134"/>
                </a:lnTo>
                <a:lnTo>
                  <a:pt x="103" y="125"/>
                </a:lnTo>
                <a:lnTo>
                  <a:pt x="102" y="125"/>
                </a:lnTo>
                <a:lnTo>
                  <a:pt x="102" y="128"/>
                </a:lnTo>
                <a:lnTo>
                  <a:pt x="101" y="128"/>
                </a:lnTo>
                <a:lnTo>
                  <a:pt x="98" y="129"/>
                </a:lnTo>
                <a:lnTo>
                  <a:pt x="97" y="129"/>
                </a:lnTo>
                <a:lnTo>
                  <a:pt x="97" y="128"/>
                </a:lnTo>
                <a:lnTo>
                  <a:pt x="94" y="124"/>
                </a:lnTo>
                <a:lnTo>
                  <a:pt x="91" y="124"/>
                </a:lnTo>
                <a:lnTo>
                  <a:pt x="90" y="123"/>
                </a:lnTo>
                <a:lnTo>
                  <a:pt x="91" y="123"/>
                </a:lnTo>
                <a:lnTo>
                  <a:pt x="91" y="122"/>
                </a:lnTo>
                <a:lnTo>
                  <a:pt x="90" y="122"/>
                </a:lnTo>
                <a:lnTo>
                  <a:pt x="90" y="128"/>
                </a:lnTo>
                <a:lnTo>
                  <a:pt x="89" y="127"/>
                </a:lnTo>
                <a:lnTo>
                  <a:pt x="87" y="125"/>
                </a:lnTo>
                <a:lnTo>
                  <a:pt x="84" y="122"/>
                </a:lnTo>
                <a:lnTo>
                  <a:pt x="83" y="121"/>
                </a:lnTo>
                <a:lnTo>
                  <a:pt x="79" y="119"/>
                </a:lnTo>
                <a:lnTo>
                  <a:pt x="89" y="119"/>
                </a:lnTo>
                <a:lnTo>
                  <a:pt x="90" y="118"/>
                </a:lnTo>
                <a:lnTo>
                  <a:pt x="90" y="117"/>
                </a:lnTo>
                <a:lnTo>
                  <a:pt x="91" y="117"/>
                </a:lnTo>
                <a:lnTo>
                  <a:pt x="93" y="118"/>
                </a:lnTo>
                <a:lnTo>
                  <a:pt x="95" y="122"/>
                </a:lnTo>
                <a:lnTo>
                  <a:pt x="95" y="124"/>
                </a:lnTo>
                <a:lnTo>
                  <a:pt x="96" y="124"/>
                </a:lnTo>
                <a:lnTo>
                  <a:pt x="97" y="123"/>
                </a:lnTo>
                <a:lnTo>
                  <a:pt x="96" y="121"/>
                </a:lnTo>
                <a:lnTo>
                  <a:pt x="95" y="119"/>
                </a:lnTo>
                <a:lnTo>
                  <a:pt x="95" y="117"/>
                </a:lnTo>
                <a:lnTo>
                  <a:pt x="97" y="112"/>
                </a:lnTo>
                <a:lnTo>
                  <a:pt x="97" y="111"/>
                </a:lnTo>
                <a:lnTo>
                  <a:pt x="98" y="110"/>
                </a:lnTo>
                <a:lnTo>
                  <a:pt x="97" y="106"/>
                </a:lnTo>
                <a:lnTo>
                  <a:pt x="95" y="102"/>
                </a:lnTo>
                <a:lnTo>
                  <a:pt x="90" y="97"/>
                </a:lnTo>
                <a:lnTo>
                  <a:pt x="88" y="93"/>
                </a:lnTo>
                <a:lnTo>
                  <a:pt x="88" y="91"/>
                </a:lnTo>
                <a:lnTo>
                  <a:pt x="90" y="92"/>
                </a:lnTo>
                <a:lnTo>
                  <a:pt x="96" y="92"/>
                </a:lnTo>
                <a:lnTo>
                  <a:pt x="95" y="91"/>
                </a:lnTo>
                <a:lnTo>
                  <a:pt x="96" y="90"/>
                </a:lnTo>
                <a:lnTo>
                  <a:pt x="98" y="92"/>
                </a:lnTo>
                <a:lnTo>
                  <a:pt x="101" y="92"/>
                </a:lnTo>
                <a:lnTo>
                  <a:pt x="106" y="96"/>
                </a:lnTo>
                <a:lnTo>
                  <a:pt x="107" y="96"/>
                </a:lnTo>
                <a:lnTo>
                  <a:pt x="102" y="88"/>
                </a:lnTo>
                <a:lnTo>
                  <a:pt x="101" y="85"/>
                </a:lnTo>
                <a:lnTo>
                  <a:pt x="107" y="84"/>
                </a:lnTo>
                <a:lnTo>
                  <a:pt x="109" y="85"/>
                </a:lnTo>
                <a:lnTo>
                  <a:pt x="112" y="87"/>
                </a:lnTo>
                <a:lnTo>
                  <a:pt x="108" y="86"/>
                </a:lnTo>
                <a:lnTo>
                  <a:pt x="107" y="86"/>
                </a:lnTo>
                <a:lnTo>
                  <a:pt x="106" y="88"/>
                </a:lnTo>
                <a:lnTo>
                  <a:pt x="107" y="90"/>
                </a:lnTo>
                <a:lnTo>
                  <a:pt x="109" y="88"/>
                </a:lnTo>
                <a:lnTo>
                  <a:pt x="113" y="90"/>
                </a:lnTo>
                <a:lnTo>
                  <a:pt x="119" y="87"/>
                </a:lnTo>
                <a:lnTo>
                  <a:pt x="120" y="87"/>
                </a:lnTo>
                <a:lnTo>
                  <a:pt x="119" y="86"/>
                </a:lnTo>
                <a:lnTo>
                  <a:pt x="119" y="85"/>
                </a:lnTo>
                <a:lnTo>
                  <a:pt x="118" y="85"/>
                </a:lnTo>
                <a:lnTo>
                  <a:pt x="116" y="86"/>
                </a:lnTo>
                <a:lnTo>
                  <a:pt x="115" y="86"/>
                </a:lnTo>
                <a:lnTo>
                  <a:pt x="112" y="85"/>
                </a:lnTo>
                <a:lnTo>
                  <a:pt x="110" y="84"/>
                </a:lnTo>
                <a:lnTo>
                  <a:pt x="109" y="81"/>
                </a:lnTo>
                <a:lnTo>
                  <a:pt x="110" y="81"/>
                </a:lnTo>
                <a:lnTo>
                  <a:pt x="110" y="79"/>
                </a:lnTo>
                <a:lnTo>
                  <a:pt x="112" y="78"/>
                </a:lnTo>
                <a:lnTo>
                  <a:pt x="113" y="78"/>
                </a:lnTo>
                <a:lnTo>
                  <a:pt x="112" y="75"/>
                </a:lnTo>
                <a:lnTo>
                  <a:pt x="115" y="75"/>
                </a:lnTo>
                <a:lnTo>
                  <a:pt x="112" y="72"/>
                </a:lnTo>
                <a:lnTo>
                  <a:pt x="110" y="73"/>
                </a:lnTo>
                <a:lnTo>
                  <a:pt x="110" y="74"/>
                </a:lnTo>
                <a:lnTo>
                  <a:pt x="108" y="79"/>
                </a:lnTo>
                <a:lnTo>
                  <a:pt x="107" y="80"/>
                </a:lnTo>
                <a:lnTo>
                  <a:pt x="106" y="80"/>
                </a:lnTo>
                <a:lnTo>
                  <a:pt x="104" y="79"/>
                </a:lnTo>
                <a:lnTo>
                  <a:pt x="104" y="76"/>
                </a:lnTo>
                <a:lnTo>
                  <a:pt x="103" y="75"/>
                </a:lnTo>
                <a:lnTo>
                  <a:pt x="101" y="75"/>
                </a:lnTo>
                <a:lnTo>
                  <a:pt x="102" y="76"/>
                </a:lnTo>
                <a:lnTo>
                  <a:pt x="102" y="82"/>
                </a:lnTo>
                <a:lnTo>
                  <a:pt x="101" y="82"/>
                </a:lnTo>
                <a:lnTo>
                  <a:pt x="98" y="80"/>
                </a:lnTo>
                <a:lnTo>
                  <a:pt x="97" y="80"/>
                </a:lnTo>
                <a:lnTo>
                  <a:pt x="97" y="78"/>
                </a:lnTo>
                <a:lnTo>
                  <a:pt x="95" y="76"/>
                </a:lnTo>
                <a:lnTo>
                  <a:pt x="95" y="75"/>
                </a:lnTo>
                <a:lnTo>
                  <a:pt x="94" y="75"/>
                </a:lnTo>
                <a:lnTo>
                  <a:pt x="91" y="76"/>
                </a:lnTo>
                <a:lnTo>
                  <a:pt x="90" y="75"/>
                </a:lnTo>
                <a:lnTo>
                  <a:pt x="90" y="74"/>
                </a:lnTo>
                <a:lnTo>
                  <a:pt x="89" y="73"/>
                </a:lnTo>
                <a:lnTo>
                  <a:pt x="87" y="69"/>
                </a:lnTo>
                <a:lnTo>
                  <a:pt x="87" y="68"/>
                </a:lnTo>
                <a:lnTo>
                  <a:pt x="91" y="65"/>
                </a:lnTo>
                <a:lnTo>
                  <a:pt x="93" y="63"/>
                </a:lnTo>
                <a:lnTo>
                  <a:pt x="93" y="61"/>
                </a:lnTo>
                <a:lnTo>
                  <a:pt x="95" y="57"/>
                </a:lnTo>
                <a:lnTo>
                  <a:pt x="95" y="54"/>
                </a:lnTo>
                <a:lnTo>
                  <a:pt x="96" y="50"/>
                </a:lnTo>
                <a:lnTo>
                  <a:pt x="97" y="49"/>
                </a:lnTo>
                <a:lnTo>
                  <a:pt x="104" y="48"/>
                </a:lnTo>
                <a:lnTo>
                  <a:pt x="106" y="45"/>
                </a:lnTo>
                <a:lnTo>
                  <a:pt x="107" y="42"/>
                </a:lnTo>
                <a:lnTo>
                  <a:pt x="106" y="41"/>
                </a:lnTo>
                <a:lnTo>
                  <a:pt x="104" y="41"/>
                </a:lnTo>
                <a:lnTo>
                  <a:pt x="104" y="42"/>
                </a:lnTo>
                <a:lnTo>
                  <a:pt x="102" y="45"/>
                </a:lnTo>
                <a:lnTo>
                  <a:pt x="91" y="51"/>
                </a:lnTo>
                <a:lnTo>
                  <a:pt x="90" y="53"/>
                </a:lnTo>
                <a:lnTo>
                  <a:pt x="90" y="61"/>
                </a:lnTo>
                <a:lnTo>
                  <a:pt x="88" y="63"/>
                </a:lnTo>
                <a:lnTo>
                  <a:pt x="84" y="62"/>
                </a:lnTo>
                <a:lnTo>
                  <a:pt x="82" y="60"/>
                </a:lnTo>
                <a:lnTo>
                  <a:pt x="82" y="55"/>
                </a:lnTo>
                <a:lnTo>
                  <a:pt x="81" y="51"/>
                </a:lnTo>
                <a:lnTo>
                  <a:pt x="78" y="43"/>
                </a:lnTo>
                <a:lnTo>
                  <a:pt x="81" y="41"/>
                </a:lnTo>
                <a:lnTo>
                  <a:pt x="81" y="37"/>
                </a:lnTo>
                <a:lnTo>
                  <a:pt x="82" y="35"/>
                </a:lnTo>
                <a:lnTo>
                  <a:pt x="85" y="31"/>
                </a:lnTo>
                <a:lnTo>
                  <a:pt x="83" y="27"/>
                </a:lnTo>
                <a:lnTo>
                  <a:pt x="82" y="27"/>
                </a:lnTo>
                <a:lnTo>
                  <a:pt x="76" y="36"/>
                </a:lnTo>
                <a:lnTo>
                  <a:pt x="75" y="38"/>
                </a:lnTo>
                <a:lnTo>
                  <a:pt x="73" y="42"/>
                </a:lnTo>
                <a:lnTo>
                  <a:pt x="73" y="45"/>
                </a:lnTo>
                <a:lnTo>
                  <a:pt x="72" y="47"/>
                </a:lnTo>
                <a:lnTo>
                  <a:pt x="72" y="48"/>
                </a:lnTo>
                <a:lnTo>
                  <a:pt x="71" y="47"/>
                </a:lnTo>
                <a:lnTo>
                  <a:pt x="71" y="42"/>
                </a:lnTo>
                <a:lnTo>
                  <a:pt x="69" y="39"/>
                </a:lnTo>
                <a:lnTo>
                  <a:pt x="70" y="37"/>
                </a:lnTo>
                <a:lnTo>
                  <a:pt x="69" y="37"/>
                </a:lnTo>
                <a:lnTo>
                  <a:pt x="68" y="38"/>
                </a:lnTo>
                <a:lnTo>
                  <a:pt x="68" y="41"/>
                </a:lnTo>
                <a:lnTo>
                  <a:pt x="69" y="42"/>
                </a:lnTo>
                <a:lnTo>
                  <a:pt x="69" y="44"/>
                </a:lnTo>
                <a:lnTo>
                  <a:pt x="66" y="44"/>
                </a:lnTo>
                <a:lnTo>
                  <a:pt x="66" y="49"/>
                </a:lnTo>
                <a:lnTo>
                  <a:pt x="65" y="50"/>
                </a:lnTo>
                <a:lnTo>
                  <a:pt x="65" y="49"/>
                </a:lnTo>
                <a:lnTo>
                  <a:pt x="64" y="49"/>
                </a:lnTo>
                <a:lnTo>
                  <a:pt x="63" y="51"/>
                </a:lnTo>
                <a:lnTo>
                  <a:pt x="62" y="51"/>
                </a:lnTo>
                <a:lnTo>
                  <a:pt x="62" y="43"/>
                </a:lnTo>
                <a:lnTo>
                  <a:pt x="59" y="41"/>
                </a:lnTo>
                <a:lnTo>
                  <a:pt x="58" y="42"/>
                </a:lnTo>
                <a:lnTo>
                  <a:pt x="59" y="47"/>
                </a:lnTo>
                <a:lnTo>
                  <a:pt x="57" y="45"/>
                </a:lnTo>
                <a:lnTo>
                  <a:pt x="56" y="44"/>
                </a:lnTo>
                <a:lnTo>
                  <a:pt x="56" y="38"/>
                </a:lnTo>
                <a:lnTo>
                  <a:pt x="52" y="42"/>
                </a:lnTo>
                <a:lnTo>
                  <a:pt x="51" y="41"/>
                </a:lnTo>
                <a:lnTo>
                  <a:pt x="51" y="38"/>
                </a:lnTo>
                <a:lnTo>
                  <a:pt x="52" y="36"/>
                </a:lnTo>
                <a:lnTo>
                  <a:pt x="52" y="31"/>
                </a:lnTo>
                <a:lnTo>
                  <a:pt x="51" y="29"/>
                </a:lnTo>
                <a:lnTo>
                  <a:pt x="50" y="27"/>
                </a:lnTo>
                <a:lnTo>
                  <a:pt x="48" y="25"/>
                </a:lnTo>
                <a:lnTo>
                  <a:pt x="48" y="19"/>
                </a:lnTo>
                <a:lnTo>
                  <a:pt x="47" y="20"/>
                </a:lnTo>
                <a:lnTo>
                  <a:pt x="46" y="23"/>
                </a:lnTo>
                <a:lnTo>
                  <a:pt x="46" y="29"/>
                </a:lnTo>
                <a:lnTo>
                  <a:pt x="45" y="30"/>
                </a:lnTo>
                <a:lnTo>
                  <a:pt x="41" y="30"/>
                </a:lnTo>
                <a:lnTo>
                  <a:pt x="40" y="32"/>
                </a:lnTo>
                <a:lnTo>
                  <a:pt x="40" y="36"/>
                </a:lnTo>
                <a:lnTo>
                  <a:pt x="42" y="38"/>
                </a:lnTo>
                <a:lnTo>
                  <a:pt x="42" y="41"/>
                </a:lnTo>
                <a:lnTo>
                  <a:pt x="41" y="39"/>
                </a:lnTo>
                <a:lnTo>
                  <a:pt x="39" y="38"/>
                </a:lnTo>
                <a:lnTo>
                  <a:pt x="37" y="35"/>
                </a:lnTo>
                <a:lnTo>
                  <a:pt x="35" y="32"/>
                </a:lnTo>
                <a:lnTo>
                  <a:pt x="37" y="27"/>
                </a:lnTo>
                <a:lnTo>
                  <a:pt x="37" y="25"/>
                </a:lnTo>
                <a:lnTo>
                  <a:pt x="35" y="26"/>
                </a:lnTo>
                <a:lnTo>
                  <a:pt x="33" y="30"/>
                </a:lnTo>
                <a:lnTo>
                  <a:pt x="32" y="31"/>
                </a:lnTo>
                <a:lnTo>
                  <a:pt x="31" y="31"/>
                </a:lnTo>
                <a:lnTo>
                  <a:pt x="32" y="35"/>
                </a:lnTo>
                <a:lnTo>
                  <a:pt x="33" y="37"/>
                </a:lnTo>
                <a:lnTo>
                  <a:pt x="35" y="38"/>
                </a:lnTo>
                <a:lnTo>
                  <a:pt x="37" y="41"/>
                </a:lnTo>
                <a:lnTo>
                  <a:pt x="31" y="39"/>
                </a:lnTo>
                <a:lnTo>
                  <a:pt x="27" y="41"/>
                </a:lnTo>
                <a:lnTo>
                  <a:pt x="23" y="39"/>
                </a:lnTo>
                <a:lnTo>
                  <a:pt x="21" y="42"/>
                </a:lnTo>
                <a:lnTo>
                  <a:pt x="19" y="43"/>
                </a:lnTo>
                <a:lnTo>
                  <a:pt x="16" y="41"/>
                </a:lnTo>
                <a:lnTo>
                  <a:pt x="16" y="38"/>
                </a:lnTo>
                <a:lnTo>
                  <a:pt x="11" y="33"/>
                </a:lnTo>
                <a:lnTo>
                  <a:pt x="8" y="32"/>
                </a:lnTo>
                <a:lnTo>
                  <a:pt x="6" y="29"/>
                </a:lnTo>
                <a:lnTo>
                  <a:pt x="6" y="19"/>
                </a:lnTo>
                <a:lnTo>
                  <a:pt x="4" y="18"/>
                </a:lnTo>
                <a:lnTo>
                  <a:pt x="2" y="11"/>
                </a:lnTo>
                <a:lnTo>
                  <a:pt x="2" y="10"/>
                </a:lnTo>
                <a:lnTo>
                  <a:pt x="3" y="8"/>
                </a:lnTo>
                <a:lnTo>
                  <a:pt x="1" y="6"/>
                </a:lnTo>
                <a:lnTo>
                  <a:pt x="1" y="4"/>
                </a:lnTo>
                <a:lnTo>
                  <a:pt x="0" y="1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7" name="Freeform 20">
            <a:extLst>
              <a:ext uri="{FF2B5EF4-FFF2-40B4-BE49-F238E27FC236}">
                <a16:creationId xmlns:a16="http://schemas.microsoft.com/office/drawing/2014/main" id="{139EAA83-BA9E-49C8-80DB-01C04BE6FCBE}"/>
              </a:ext>
            </a:extLst>
          </p:cNvPr>
          <p:cNvSpPr>
            <a:spLocks noEditPoints="1"/>
          </p:cNvSpPr>
          <p:nvPr/>
        </p:nvSpPr>
        <p:spPr bwMode="auto">
          <a:xfrm>
            <a:off x="2469090" y="4878434"/>
            <a:ext cx="578128" cy="405703"/>
          </a:xfrm>
          <a:custGeom>
            <a:avLst/>
            <a:gdLst/>
            <a:ahLst/>
            <a:cxnLst>
              <a:cxn ang="0">
                <a:pos x="366" y="220"/>
              </a:cxn>
              <a:cxn ang="0">
                <a:pos x="274" y="1"/>
              </a:cxn>
              <a:cxn ang="0">
                <a:pos x="287" y="8"/>
              </a:cxn>
              <a:cxn ang="0">
                <a:pos x="291" y="15"/>
              </a:cxn>
              <a:cxn ang="0">
                <a:pos x="294" y="28"/>
              </a:cxn>
              <a:cxn ang="0">
                <a:pos x="303" y="43"/>
              </a:cxn>
              <a:cxn ang="0">
                <a:pos x="310" y="54"/>
              </a:cxn>
              <a:cxn ang="0">
                <a:pos x="318" y="69"/>
              </a:cxn>
              <a:cxn ang="0">
                <a:pos x="331" y="85"/>
              </a:cxn>
              <a:cxn ang="0">
                <a:pos x="337" y="117"/>
              </a:cxn>
              <a:cxn ang="0">
                <a:pos x="331" y="135"/>
              </a:cxn>
              <a:cxn ang="0">
                <a:pos x="334" y="167"/>
              </a:cxn>
              <a:cxn ang="0">
                <a:pos x="343" y="182"/>
              </a:cxn>
              <a:cxn ang="0">
                <a:pos x="361" y="181"/>
              </a:cxn>
              <a:cxn ang="0">
                <a:pos x="375" y="178"/>
              </a:cxn>
              <a:cxn ang="0">
                <a:pos x="397" y="186"/>
              </a:cxn>
              <a:cxn ang="0">
                <a:pos x="397" y="199"/>
              </a:cxn>
              <a:cxn ang="0">
                <a:pos x="378" y="212"/>
              </a:cxn>
              <a:cxn ang="0">
                <a:pos x="375" y="210"/>
              </a:cxn>
              <a:cxn ang="0">
                <a:pos x="368" y="202"/>
              </a:cxn>
              <a:cxn ang="0">
                <a:pos x="367" y="211"/>
              </a:cxn>
              <a:cxn ang="0">
                <a:pos x="360" y="221"/>
              </a:cxn>
              <a:cxn ang="0">
                <a:pos x="359" y="229"/>
              </a:cxn>
              <a:cxn ang="0">
                <a:pos x="358" y="237"/>
              </a:cxn>
              <a:cxn ang="0">
                <a:pos x="355" y="261"/>
              </a:cxn>
              <a:cxn ang="0">
                <a:pos x="322" y="260"/>
              </a:cxn>
              <a:cxn ang="0">
                <a:pos x="297" y="253"/>
              </a:cxn>
              <a:cxn ang="0">
                <a:pos x="272" y="254"/>
              </a:cxn>
              <a:cxn ang="0">
                <a:pos x="235" y="273"/>
              </a:cxn>
              <a:cxn ang="0">
                <a:pos x="214" y="279"/>
              </a:cxn>
              <a:cxn ang="0">
                <a:pos x="173" y="273"/>
              </a:cxn>
              <a:cxn ang="0">
                <a:pos x="123" y="267"/>
              </a:cxn>
              <a:cxn ang="0">
                <a:pos x="116" y="259"/>
              </a:cxn>
              <a:cxn ang="0">
                <a:pos x="100" y="241"/>
              </a:cxn>
              <a:cxn ang="0">
                <a:pos x="100" y="225"/>
              </a:cxn>
              <a:cxn ang="0">
                <a:pos x="92" y="216"/>
              </a:cxn>
              <a:cxn ang="0">
                <a:pos x="77" y="229"/>
              </a:cxn>
              <a:cxn ang="0">
                <a:pos x="58" y="217"/>
              </a:cxn>
              <a:cxn ang="0">
                <a:pos x="52" y="208"/>
              </a:cxn>
              <a:cxn ang="0">
                <a:pos x="49" y="199"/>
              </a:cxn>
              <a:cxn ang="0">
                <a:pos x="42" y="187"/>
              </a:cxn>
              <a:cxn ang="0">
                <a:pos x="25" y="173"/>
              </a:cxn>
              <a:cxn ang="0">
                <a:pos x="21" y="155"/>
              </a:cxn>
              <a:cxn ang="0">
                <a:pos x="8" y="143"/>
              </a:cxn>
              <a:cxn ang="0">
                <a:pos x="11" y="130"/>
              </a:cxn>
              <a:cxn ang="0">
                <a:pos x="26" y="124"/>
              </a:cxn>
              <a:cxn ang="0">
                <a:pos x="38" y="124"/>
              </a:cxn>
              <a:cxn ang="0">
                <a:pos x="44" y="104"/>
              </a:cxn>
              <a:cxn ang="0">
                <a:pos x="54" y="91"/>
              </a:cxn>
              <a:cxn ang="0">
                <a:pos x="58" y="77"/>
              </a:cxn>
              <a:cxn ang="0">
                <a:pos x="70" y="58"/>
              </a:cxn>
              <a:cxn ang="0">
                <a:pos x="87" y="33"/>
              </a:cxn>
              <a:cxn ang="0">
                <a:pos x="111" y="21"/>
              </a:cxn>
              <a:cxn ang="0">
                <a:pos x="122" y="11"/>
              </a:cxn>
              <a:cxn ang="0">
                <a:pos x="145" y="18"/>
              </a:cxn>
              <a:cxn ang="0">
                <a:pos x="168" y="24"/>
              </a:cxn>
              <a:cxn ang="0">
                <a:pos x="192" y="28"/>
              </a:cxn>
              <a:cxn ang="0">
                <a:pos x="237" y="19"/>
              </a:cxn>
              <a:cxn ang="0">
                <a:pos x="255" y="6"/>
              </a:cxn>
            </a:cxnLst>
            <a:rect l="0" t="0" r="r" b="b"/>
            <a:pathLst>
              <a:path w="399" h="280">
                <a:moveTo>
                  <a:pt x="365" y="217"/>
                </a:moveTo>
                <a:lnTo>
                  <a:pt x="368" y="218"/>
                </a:lnTo>
                <a:lnTo>
                  <a:pt x="369" y="220"/>
                </a:lnTo>
                <a:lnTo>
                  <a:pt x="368" y="221"/>
                </a:lnTo>
                <a:lnTo>
                  <a:pt x="368" y="222"/>
                </a:lnTo>
                <a:lnTo>
                  <a:pt x="367" y="222"/>
                </a:lnTo>
                <a:lnTo>
                  <a:pt x="367" y="221"/>
                </a:lnTo>
                <a:lnTo>
                  <a:pt x="368" y="220"/>
                </a:lnTo>
                <a:lnTo>
                  <a:pt x="367" y="218"/>
                </a:lnTo>
                <a:lnTo>
                  <a:pt x="367" y="220"/>
                </a:lnTo>
                <a:lnTo>
                  <a:pt x="366" y="220"/>
                </a:lnTo>
                <a:lnTo>
                  <a:pt x="366" y="221"/>
                </a:lnTo>
                <a:lnTo>
                  <a:pt x="365" y="221"/>
                </a:lnTo>
                <a:lnTo>
                  <a:pt x="362" y="223"/>
                </a:lnTo>
                <a:lnTo>
                  <a:pt x="361" y="223"/>
                </a:lnTo>
                <a:lnTo>
                  <a:pt x="361" y="222"/>
                </a:lnTo>
                <a:lnTo>
                  <a:pt x="363" y="221"/>
                </a:lnTo>
                <a:lnTo>
                  <a:pt x="366" y="218"/>
                </a:lnTo>
                <a:lnTo>
                  <a:pt x="365" y="217"/>
                </a:lnTo>
                <a:close/>
                <a:moveTo>
                  <a:pt x="269" y="0"/>
                </a:moveTo>
                <a:lnTo>
                  <a:pt x="274" y="0"/>
                </a:lnTo>
                <a:lnTo>
                  <a:pt x="274" y="1"/>
                </a:lnTo>
                <a:lnTo>
                  <a:pt x="278" y="1"/>
                </a:lnTo>
                <a:lnTo>
                  <a:pt x="279" y="2"/>
                </a:lnTo>
                <a:lnTo>
                  <a:pt x="281" y="3"/>
                </a:lnTo>
                <a:lnTo>
                  <a:pt x="281" y="5"/>
                </a:lnTo>
                <a:lnTo>
                  <a:pt x="284" y="5"/>
                </a:lnTo>
                <a:lnTo>
                  <a:pt x="284" y="6"/>
                </a:lnTo>
                <a:lnTo>
                  <a:pt x="285" y="6"/>
                </a:lnTo>
                <a:lnTo>
                  <a:pt x="285" y="7"/>
                </a:lnTo>
                <a:lnTo>
                  <a:pt x="284" y="7"/>
                </a:lnTo>
                <a:lnTo>
                  <a:pt x="284" y="8"/>
                </a:lnTo>
                <a:lnTo>
                  <a:pt x="287" y="8"/>
                </a:lnTo>
                <a:lnTo>
                  <a:pt x="287" y="11"/>
                </a:lnTo>
                <a:lnTo>
                  <a:pt x="286" y="11"/>
                </a:lnTo>
                <a:lnTo>
                  <a:pt x="287" y="12"/>
                </a:lnTo>
                <a:lnTo>
                  <a:pt x="287" y="13"/>
                </a:lnTo>
                <a:lnTo>
                  <a:pt x="288" y="14"/>
                </a:lnTo>
                <a:lnTo>
                  <a:pt x="290" y="14"/>
                </a:lnTo>
                <a:lnTo>
                  <a:pt x="290" y="15"/>
                </a:lnTo>
                <a:lnTo>
                  <a:pt x="288" y="15"/>
                </a:lnTo>
                <a:lnTo>
                  <a:pt x="288" y="16"/>
                </a:lnTo>
                <a:lnTo>
                  <a:pt x="290" y="16"/>
                </a:lnTo>
                <a:lnTo>
                  <a:pt x="291" y="15"/>
                </a:lnTo>
                <a:lnTo>
                  <a:pt x="291" y="18"/>
                </a:lnTo>
                <a:lnTo>
                  <a:pt x="292" y="18"/>
                </a:lnTo>
                <a:lnTo>
                  <a:pt x="292" y="20"/>
                </a:lnTo>
                <a:lnTo>
                  <a:pt x="293" y="20"/>
                </a:lnTo>
                <a:lnTo>
                  <a:pt x="292" y="21"/>
                </a:lnTo>
                <a:lnTo>
                  <a:pt x="292" y="22"/>
                </a:lnTo>
                <a:lnTo>
                  <a:pt x="293" y="22"/>
                </a:lnTo>
                <a:lnTo>
                  <a:pt x="294" y="24"/>
                </a:lnTo>
                <a:lnTo>
                  <a:pt x="294" y="26"/>
                </a:lnTo>
                <a:lnTo>
                  <a:pt x="296" y="27"/>
                </a:lnTo>
                <a:lnTo>
                  <a:pt x="294" y="28"/>
                </a:lnTo>
                <a:lnTo>
                  <a:pt x="296" y="30"/>
                </a:lnTo>
                <a:lnTo>
                  <a:pt x="296" y="31"/>
                </a:lnTo>
                <a:lnTo>
                  <a:pt x="298" y="33"/>
                </a:lnTo>
                <a:lnTo>
                  <a:pt x="297" y="33"/>
                </a:lnTo>
                <a:lnTo>
                  <a:pt x="298" y="34"/>
                </a:lnTo>
                <a:lnTo>
                  <a:pt x="297" y="34"/>
                </a:lnTo>
                <a:lnTo>
                  <a:pt x="297" y="36"/>
                </a:lnTo>
                <a:lnTo>
                  <a:pt x="298" y="38"/>
                </a:lnTo>
                <a:lnTo>
                  <a:pt x="300" y="42"/>
                </a:lnTo>
                <a:lnTo>
                  <a:pt x="301" y="43"/>
                </a:lnTo>
                <a:lnTo>
                  <a:pt x="303" y="43"/>
                </a:lnTo>
                <a:lnTo>
                  <a:pt x="304" y="44"/>
                </a:lnTo>
                <a:lnTo>
                  <a:pt x="304" y="46"/>
                </a:lnTo>
                <a:lnTo>
                  <a:pt x="305" y="46"/>
                </a:lnTo>
                <a:lnTo>
                  <a:pt x="305" y="49"/>
                </a:lnTo>
                <a:lnTo>
                  <a:pt x="306" y="49"/>
                </a:lnTo>
                <a:lnTo>
                  <a:pt x="306" y="50"/>
                </a:lnTo>
                <a:lnTo>
                  <a:pt x="310" y="50"/>
                </a:lnTo>
                <a:lnTo>
                  <a:pt x="310" y="51"/>
                </a:lnTo>
                <a:lnTo>
                  <a:pt x="309" y="52"/>
                </a:lnTo>
                <a:lnTo>
                  <a:pt x="309" y="54"/>
                </a:lnTo>
                <a:lnTo>
                  <a:pt x="310" y="54"/>
                </a:lnTo>
                <a:lnTo>
                  <a:pt x="310" y="57"/>
                </a:lnTo>
                <a:lnTo>
                  <a:pt x="311" y="59"/>
                </a:lnTo>
                <a:lnTo>
                  <a:pt x="312" y="61"/>
                </a:lnTo>
                <a:lnTo>
                  <a:pt x="315" y="61"/>
                </a:lnTo>
                <a:lnTo>
                  <a:pt x="315" y="62"/>
                </a:lnTo>
                <a:lnTo>
                  <a:pt x="316" y="62"/>
                </a:lnTo>
                <a:lnTo>
                  <a:pt x="317" y="63"/>
                </a:lnTo>
                <a:lnTo>
                  <a:pt x="317" y="65"/>
                </a:lnTo>
                <a:lnTo>
                  <a:pt x="319" y="68"/>
                </a:lnTo>
                <a:lnTo>
                  <a:pt x="319" y="69"/>
                </a:lnTo>
                <a:lnTo>
                  <a:pt x="318" y="69"/>
                </a:lnTo>
                <a:lnTo>
                  <a:pt x="321" y="71"/>
                </a:lnTo>
                <a:lnTo>
                  <a:pt x="321" y="73"/>
                </a:lnTo>
                <a:lnTo>
                  <a:pt x="322" y="73"/>
                </a:lnTo>
                <a:lnTo>
                  <a:pt x="324" y="75"/>
                </a:lnTo>
                <a:lnTo>
                  <a:pt x="324" y="76"/>
                </a:lnTo>
                <a:lnTo>
                  <a:pt x="325" y="76"/>
                </a:lnTo>
                <a:lnTo>
                  <a:pt x="327" y="77"/>
                </a:lnTo>
                <a:lnTo>
                  <a:pt x="329" y="77"/>
                </a:lnTo>
                <a:lnTo>
                  <a:pt x="329" y="79"/>
                </a:lnTo>
                <a:lnTo>
                  <a:pt x="331" y="81"/>
                </a:lnTo>
                <a:lnTo>
                  <a:pt x="331" y="85"/>
                </a:lnTo>
                <a:lnTo>
                  <a:pt x="332" y="86"/>
                </a:lnTo>
                <a:lnTo>
                  <a:pt x="332" y="89"/>
                </a:lnTo>
                <a:lnTo>
                  <a:pt x="334" y="91"/>
                </a:lnTo>
                <a:lnTo>
                  <a:pt x="335" y="94"/>
                </a:lnTo>
                <a:lnTo>
                  <a:pt x="335" y="95"/>
                </a:lnTo>
                <a:lnTo>
                  <a:pt x="337" y="100"/>
                </a:lnTo>
                <a:lnTo>
                  <a:pt x="337" y="107"/>
                </a:lnTo>
                <a:lnTo>
                  <a:pt x="336" y="107"/>
                </a:lnTo>
                <a:lnTo>
                  <a:pt x="336" y="110"/>
                </a:lnTo>
                <a:lnTo>
                  <a:pt x="337" y="111"/>
                </a:lnTo>
                <a:lnTo>
                  <a:pt x="337" y="117"/>
                </a:lnTo>
                <a:lnTo>
                  <a:pt x="336" y="117"/>
                </a:lnTo>
                <a:lnTo>
                  <a:pt x="336" y="119"/>
                </a:lnTo>
                <a:lnTo>
                  <a:pt x="335" y="119"/>
                </a:lnTo>
                <a:lnTo>
                  <a:pt x="335" y="123"/>
                </a:lnTo>
                <a:lnTo>
                  <a:pt x="334" y="124"/>
                </a:lnTo>
                <a:lnTo>
                  <a:pt x="332" y="124"/>
                </a:lnTo>
                <a:lnTo>
                  <a:pt x="332" y="129"/>
                </a:lnTo>
                <a:lnTo>
                  <a:pt x="334" y="129"/>
                </a:lnTo>
                <a:lnTo>
                  <a:pt x="332" y="131"/>
                </a:lnTo>
                <a:lnTo>
                  <a:pt x="332" y="135"/>
                </a:lnTo>
                <a:lnTo>
                  <a:pt x="331" y="135"/>
                </a:lnTo>
                <a:lnTo>
                  <a:pt x="331" y="141"/>
                </a:lnTo>
                <a:lnTo>
                  <a:pt x="332" y="143"/>
                </a:lnTo>
                <a:lnTo>
                  <a:pt x="332" y="153"/>
                </a:lnTo>
                <a:lnTo>
                  <a:pt x="334" y="154"/>
                </a:lnTo>
                <a:lnTo>
                  <a:pt x="334" y="162"/>
                </a:lnTo>
                <a:lnTo>
                  <a:pt x="335" y="162"/>
                </a:lnTo>
                <a:lnTo>
                  <a:pt x="334" y="163"/>
                </a:lnTo>
                <a:lnTo>
                  <a:pt x="331" y="163"/>
                </a:lnTo>
                <a:lnTo>
                  <a:pt x="330" y="165"/>
                </a:lnTo>
                <a:lnTo>
                  <a:pt x="332" y="166"/>
                </a:lnTo>
                <a:lnTo>
                  <a:pt x="334" y="167"/>
                </a:lnTo>
                <a:lnTo>
                  <a:pt x="334" y="169"/>
                </a:lnTo>
                <a:lnTo>
                  <a:pt x="335" y="171"/>
                </a:lnTo>
                <a:lnTo>
                  <a:pt x="335" y="172"/>
                </a:lnTo>
                <a:lnTo>
                  <a:pt x="336" y="173"/>
                </a:lnTo>
                <a:lnTo>
                  <a:pt x="337" y="173"/>
                </a:lnTo>
                <a:lnTo>
                  <a:pt x="340" y="175"/>
                </a:lnTo>
                <a:lnTo>
                  <a:pt x="340" y="177"/>
                </a:lnTo>
                <a:lnTo>
                  <a:pt x="341" y="180"/>
                </a:lnTo>
                <a:lnTo>
                  <a:pt x="341" y="181"/>
                </a:lnTo>
                <a:lnTo>
                  <a:pt x="342" y="181"/>
                </a:lnTo>
                <a:lnTo>
                  <a:pt x="343" y="182"/>
                </a:lnTo>
                <a:lnTo>
                  <a:pt x="344" y="182"/>
                </a:lnTo>
                <a:lnTo>
                  <a:pt x="348" y="184"/>
                </a:lnTo>
                <a:lnTo>
                  <a:pt x="352" y="186"/>
                </a:lnTo>
                <a:lnTo>
                  <a:pt x="358" y="187"/>
                </a:lnTo>
                <a:lnTo>
                  <a:pt x="359" y="187"/>
                </a:lnTo>
                <a:lnTo>
                  <a:pt x="360" y="186"/>
                </a:lnTo>
                <a:lnTo>
                  <a:pt x="361" y="186"/>
                </a:lnTo>
                <a:lnTo>
                  <a:pt x="360" y="185"/>
                </a:lnTo>
                <a:lnTo>
                  <a:pt x="360" y="184"/>
                </a:lnTo>
                <a:lnTo>
                  <a:pt x="361" y="182"/>
                </a:lnTo>
                <a:lnTo>
                  <a:pt x="361" y="181"/>
                </a:lnTo>
                <a:lnTo>
                  <a:pt x="362" y="181"/>
                </a:lnTo>
                <a:lnTo>
                  <a:pt x="363" y="182"/>
                </a:lnTo>
                <a:lnTo>
                  <a:pt x="365" y="182"/>
                </a:lnTo>
                <a:lnTo>
                  <a:pt x="366" y="184"/>
                </a:lnTo>
                <a:lnTo>
                  <a:pt x="367" y="184"/>
                </a:lnTo>
                <a:lnTo>
                  <a:pt x="368" y="182"/>
                </a:lnTo>
                <a:lnTo>
                  <a:pt x="368" y="181"/>
                </a:lnTo>
                <a:lnTo>
                  <a:pt x="369" y="181"/>
                </a:lnTo>
                <a:lnTo>
                  <a:pt x="372" y="179"/>
                </a:lnTo>
                <a:lnTo>
                  <a:pt x="374" y="179"/>
                </a:lnTo>
                <a:lnTo>
                  <a:pt x="375" y="178"/>
                </a:lnTo>
                <a:lnTo>
                  <a:pt x="377" y="178"/>
                </a:lnTo>
                <a:lnTo>
                  <a:pt x="377" y="177"/>
                </a:lnTo>
                <a:lnTo>
                  <a:pt x="378" y="177"/>
                </a:lnTo>
                <a:lnTo>
                  <a:pt x="378" y="175"/>
                </a:lnTo>
                <a:lnTo>
                  <a:pt x="383" y="175"/>
                </a:lnTo>
                <a:lnTo>
                  <a:pt x="383" y="174"/>
                </a:lnTo>
                <a:lnTo>
                  <a:pt x="387" y="174"/>
                </a:lnTo>
                <a:lnTo>
                  <a:pt x="393" y="177"/>
                </a:lnTo>
                <a:lnTo>
                  <a:pt x="398" y="181"/>
                </a:lnTo>
                <a:lnTo>
                  <a:pt x="398" y="184"/>
                </a:lnTo>
                <a:lnTo>
                  <a:pt x="397" y="186"/>
                </a:lnTo>
                <a:lnTo>
                  <a:pt x="398" y="186"/>
                </a:lnTo>
                <a:lnTo>
                  <a:pt x="398" y="187"/>
                </a:lnTo>
                <a:lnTo>
                  <a:pt x="396" y="187"/>
                </a:lnTo>
                <a:lnTo>
                  <a:pt x="396" y="188"/>
                </a:lnTo>
                <a:lnTo>
                  <a:pt x="397" y="188"/>
                </a:lnTo>
                <a:lnTo>
                  <a:pt x="397" y="190"/>
                </a:lnTo>
                <a:lnTo>
                  <a:pt x="398" y="191"/>
                </a:lnTo>
                <a:lnTo>
                  <a:pt x="399" y="191"/>
                </a:lnTo>
                <a:lnTo>
                  <a:pt x="398" y="192"/>
                </a:lnTo>
                <a:lnTo>
                  <a:pt x="398" y="193"/>
                </a:lnTo>
                <a:lnTo>
                  <a:pt x="397" y="199"/>
                </a:lnTo>
                <a:lnTo>
                  <a:pt x="397" y="203"/>
                </a:lnTo>
                <a:lnTo>
                  <a:pt x="396" y="203"/>
                </a:lnTo>
                <a:lnTo>
                  <a:pt x="396" y="206"/>
                </a:lnTo>
                <a:lnTo>
                  <a:pt x="394" y="208"/>
                </a:lnTo>
                <a:lnTo>
                  <a:pt x="396" y="209"/>
                </a:lnTo>
                <a:lnTo>
                  <a:pt x="396" y="210"/>
                </a:lnTo>
                <a:lnTo>
                  <a:pt x="394" y="210"/>
                </a:lnTo>
                <a:lnTo>
                  <a:pt x="393" y="211"/>
                </a:lnTo>
                <a:lnTo>
                  <a:pt x="391" y="211"/>
                </a:lnTo>
                <a:lnTo>
                  <a:pt x="383" y="212"/>
                </a:lnTo>
                <a:lnTo>
                  <a:pt x="378" y="212"/>
                </a:lnTo>
                <a:lnTo>
                  <a:pt x="377" y="214"/>
                </a:lnTo>
                <a:lnTo>
                  <a:pt x="372" y="216"/>
                </a:lnTo>
                <a:lnTo>
                  <a:pt x="371" y="217"/>
                </a:lnTo>
                <a:lnTo>
                  <a:pt x="369" y="220"/>
                </a:lnTo>
                <a:lnTo>
                  <a:pt x="369" y="217"/>
                </a:lnTo>
                <a:lnTo>
                  <a:pt x="368" y="216"/>
                </a:lnTo>
                <a:lnTo>
                  <a:pt x="369" y="215"/>
                </a:lnTo>
                <a:lnTo>
                  <a:pt x="372" y="215"/>
                </a:lnTo>
                <a:lnTo>
                  <a:pt x="374" y="214"/>
                </a:lnTo>
                <a:lnTo>
                  <a:pt x="375" y="212"/>
                </a:lnTo>
                <a:lnTo>
                  <a:pt x="375" y="210"/>
                </a:lnTo>
                <a:lnTo>
                  <a:pt x="373" y="208"/>
                </a:lnTo>
                <a:lnTo>
                  <a:pt x="374" y="209"/>
                </a:lnTo>
                <a:lnTo>
                  <a:pt x="374" y="210"/>
                </a:lnTo>
                <a:lnTo>
                  <a:pt x="372" y="210"/>
                </a:lnTo>
                <a:lnTo>
                  <a:pt x="372" y="204"/>
                </a:lnTo>
                <a:lnTo>
                  <a:pt x="374" y="203"/>
                </a:lnTo>
                <a:lnTo>
                  <a:pt x="374" y="202"/>
                </a:lnTo>
                <a:lnTo>
                  <a:pt x="372" y="200"/>
                </a:lnTo>
                <a:lnTo>
                  <a:pt x="371" y="200"/>
                </a:lnTo>
                <a:lnTo>
                  <a:pt x="368" y="199"/>
                </a:lnTo>
                <a:lnTo>
                  <a:pt x="368" y="202"/>
                </a:lnTo>
                <a:lnTo>
                  <a:pt x="366" y="202"/>
                </a:lnTo>
                <a:lnTo>
                  <a:pt x="363" y="204"/>
                </a:lnTo>
                <a:lnTo>
                  <a:pt x="363" y="205"/>
                </a:lnTo>
                <a:lnTo>
                  <a:pt x="365" y="205"/>
                </a:lnTo>
                <a:lnTo>
                  <a:pt x="365" y="206"/>
                </a:lnTo>
                <a:lnTo>
                  <a:pt x="363" y="206"/>
                </a:lnTo>
                <a:lnTo>
                  <a:pt x="363" y="208"/>
                </a:lnTo>
                <a:lnTo>
                  <a:pt x="365" y="208"/>
                </a:lnTo>
                <a:lnTo>
                  <a:pt x="365" y="209"/>
                </a:lnTo>
                <a:lnTo>
                  <a:pt x="366" y="209"/>
                </a:lnTo>
                <a:lnTo>
                  <a:pt x="367" y="211"/>
                </a:lnTo>
                <a:lnTo>
                  <a:pt x="366" y="211"/>
                </a:lnTo>
                <a:lnTo>
                  <a:pt x="367" y="212"/>
                </a:lnTo>
                <a:lnTo>
                  <a:pt x="366" y="212"/>
                </a:lnTo>
                <a:lnTo>
                  <a:pt x="366" y="214"/>
                </a:lnTo>
                <a:lnTo>
                  <a:pt x="367" y="214"/>
                </a:lnTo>
                <a:lnTo>
                  <a:pt x="367" y="215"/>
                </a:lnTo>
                <a:lnTo>
                  <a:pt x="363" y="215"/>
                </a:lnTo>
                <a:lnTo>
                  <a:pt x="361" y="217"/>
                </a:lnTo>
                <a:lnTo>
                  <a:pt x="361" y="220"/>
                </a:lnTo>
                <a:lnTo>
                  <a:pt x="360" y="220"/>
                </a:lnTo>
                <a:lnTo>
                  <a:pt x="360" y="221"/>
                </a:lnTo>
                <a:lnTo>
                  <a:pt x="361" y="222"/>
                </a:lnTo>
                <a:lnTo>
                  <a:pt x="360" y="222"/>
                </a:lnTo>
                <a:lnTo>
                  <a:pt x="359" y="223"/>
                </a:lnTo>
                <a:lnTo>
                  <a:pt x="360" y="223"/>
                </a:lnTo>
                <a:lnTo>
                  <a:pt x="360" y="224"/>
                </a:lnTo>
                <a:lnTo>
                  <a:pt x="361" y="225"/>
                </a:lnTo>
                <a:lnTo>
                  <a:pt x="359" y="225"/>
                </a:lnTo>
                <a:lnTo>
                  <a:pt x="359" y="227"/>
                </a:lnTo>
                <a:lnTo>
                  <a:pt x="360" y="227"/>
                </a:lnTo>
                <a:lnTo>
                  <a:pt x="360" y="228"/>
                </a:lnTo>
                <a:lnTo>
                  <a:pt x="359" y="229"/>
                </a:lnTo>
                <a:lnTo>
                  <a:pt x="359" y="233"/>
                </a:lnTo>
                <a:lnTo>
                  <a:pt x="360" y="231"/>
                </a:lnTo>
                <a:lnTo>
                  <a:pt x="360" y="229"/>
                </a:lnTo>
                <a:lnTo>
                  <a:pt x="361" y="229"/>
                </a:lnTo>
                <a:lnTo>
                  <a:pt x="362" y="227"/>
                </a:lnTo>
                <a:lnTo>
                  <a:pt x="363" y="227"/>
                </a:lnTo>
                <a:lnTo>
                  <a:pt x="365" y="225"/>
                </a:lnTo>
                <a:lnTo>
                  <a:pt x="366" y="225"/>
                </a:lnTo>
                <a:lnTo>
                  <a:pt x="363" y="230"/>
                </a:lnTo>
                <a:lnTo>
                  <a:pt x="361" y="231"/>
                </a:lnTo>
                <a:lnTo>
                  <a:pt x="358" y="237"/>
                </a:lnTo>
                <a:lnTo>
                  <a:pt x="356" y="239"/>
                </a:lnTo>
                <a:lnTo>
                  <a:pt x="355" y="239"/>
                </a:lnTo>
                <a:lnTo>
                  <a:pt x="355" y="240"/>
                </a:lnTo>
                <a:lnTo>
                  <a:pt x="354" y="240"/>
                </a:lnTo>
                <a:lnTo>
                  <a:pt x="354" y="245"/>
                </a:lnTo>
                <a:lnTo>
                  <a:pt x="355" y="246"/>
                </a:lnTo>
                <a:lnTo>
                  <a:pt x="355" y="249"/>
                </a:lnTo>
                <a:lnTo>
                  <a:pt x="354" y="249"/>
                </a:lnTo>
                <a:lnTo>
                  <a:pt x="354" y="252"/>
                </a:lnTo>
                <a:lnTo>
                  <a:pt x="355" y="257"/>
                </a:lnTo>
                <a:lnTo>
                  <a:pt x="355" y="261"/>
                </a:lnTo>
                <a:lnTo>
                  <a:pt x="353" y="266"/>
                </a:lnTo>
                <a:lnTo>
                  <a:pt x="353" y="270"/>
                </a:lnTo>
                <a:lnTo>
                  <a:pt x="352" y="271"/>
                </a:lnTo>
                <a:lnTo>
                  <a:pt x="352" y="274"/>
                </a:lnTo>
                <a:lnTo>
                  <a:pt x="346" y="274"/>
                </a:lnTo>
                <a:lnTo>
                  <a:pt x="336" y="273"/>
                </a:lnTo>
                <a:lnTo>
                  <a:pt x="328" y="270"/>
                </a:lnTo>
                <a:lnTo>
                  <a:pt x="327" y="268"/>
                </a:lnTo>
                <a:lnTo>
                  <a:pt x="324" y="261"/>
                </a:lnTo>
                <a:lnTo>
                  <a:pt x="324" y="260"/>
                </a:lnTo>
                <a:lnTo>
                  <a:pt x="322" y="260"/>
                </a:lnTo>
                <a:lnTo>
                  <a:pt x="318" y="261"/>
                </a:lnTo>
                <a:lnTo>
                  <a:pt x="316" y="263"/>
                </a:lnTo>
                <a:lnTo>
                  <a:pt x="313" y="260"/>
                </a:lnTo>
                <a:lnTo>
                  <a:pt x="312" y="258"/>
                </a:lnTo>
                <a:lnTo>
                  <a:pt x="310" y="259"/>
                </a:lnTo>
                <a:lnTo>
                  <a:pt x="301" y="259"/>
                </a:lnTo>
                <a:lnTo>
                  <a:pt x="300" y="258"/>
                </a:lnTo>
                <a:lnTo>
                  <a:pt x="300" y="257"/>
                </a:lnTo>
                <a:lnTo>
                  <a:pt x="299" y="257"/>
                </a:lnTo>
                <a:lnTo>
                  <a:pt x="297" y="255"/>
                </a:lnTo>
                <a:lnTo>
                  <a:pt x="297" y="253"/>
                </a:lnTo>
                <a:lnTo>
                  <a:pt x="296" y="253"/>
                </a:lnTo>
                <a:lnTo>
                  <a:pt x="296" y="252"/>
                </a:lnTo>
                <a:lnTo>
                  <a:pt x="294" y="253"/>
                </a:lnTo>
                <a:lnTo>
                  <a:pt x="294" y="252"/>
                </a:lnTo>
                <a:lnTo>
                  <a:pt x="290" y="251"/>
                </a:lnTo>
                <a:lnTo>
                  <a:pt x="286" y="249"/>
                </a:lnTo>
                <a:lnTo>
                  <a:pt x="285" y="249"/>
                </a:lnTo>
                <a:lnTo>
                  <a:pt x="280" y="251"/>
                </a:lnTo>
                <a:lnTo>
                  <a:pt x="276" y="253"/>
                </a:lnTo>
                <a:lnTo>
                  <a:pt x="273" y="253"/>
                </a:lnTo>
                <a:lnTo>
                  <a:pt x="272" y="254"/>
                </a:lnTo>
                <a:lnTo>
                  <a:pt x="269" y="254"/>
                </a:lnTo>
                <a:lnTo>
                  <a:pt x="261" y="255"/>
                </a:lnTo>
                <a:lnTo>
                  <a:pt x="257" y="257"/>
                </a:lnTo>
                <a:lnTo>
                  <a:pt x="256" y="257"/>
                </a:lnTo>
                <a:lnTo>
                  <a:pt x="249" y="259"/>
                </a:lnTo>
                <a:lnTo>
                  <a:pt x="245" y="263"/>
                </a:lnTo>
                <a:lnTo>
                  <a:pt x="245" y="264"/>
                </a:lnTo>
                <a:lnTo>
                  <a:pt x="241" y="267"/>
                </a:lnTo>
                <a:lnTo>
                  <a:pt x="240" y="267"/>
                </a:lnTo>
                <a:lnTo>
                  <a:pt x="240" y="268"/>
                </a:lnTo>
                <a:lnTo>
                  <a:pt x="235" y="273"/>
                </a:lnTo>
                <a:lnTo>
                  <a:pt x="234" y="276"/>
                </a:lnTo>
                <a:lnTo>
                  <a:pt x="229" y="276"/>
                </a:lnTo>
                <a:lnTo>
                  <a:pt x="229" y="277"/>
                </a:lnTo>
                <a:lnTo>
                  <a:pt x="228" y="277"/>
                </a:lnTo>
                <a:lnTo>
                  <a:pt x="226" y="278"/>
                </a:lnTo>
                <a:lnTo>
                  <a:pt x="225" y="278"/>
                </a:lnTo>
                <a:lnTo>
                  <a:pt x="224" y="279"/>
                </a:lnTo>
                <a:lnTo>
                  <a:pt x="219" y="279"/>
                </a:lnTo>
                <a:lnTo>
                  <a:pt x="218" y="280"/>
                </a:lnTo>
                <a:lnTo>
                  <a:pt x="216" y="279"/>
                </a:lnTo>
                <a:lnTo>
                  <a:pt x="214" y="279"/>
                </a:lnTo>
                <a:lnTo>
                  <a:pt x="213" y="278"/>
                </a:lnTo>
                <a:lnTo>
                  <a:pt x="211" y="277"/>
                </a:lnTo>
                <a:lnTo>
                  <a:pt x="210" y="277"/>
                </a:lnTo>
                <a:lnTo>
                  <a:pt x="204" y="276"/>
                </a:lnTo>
                <a:lnTo>
                  <a:pt x="199" y="274"/>
                </a:lnTo>
                <a:lnTo>
                  <a:pt x="188" y="274"/>
                </a:lnTo>
                <a:lnTo>
                  <a:pt x="186" y="273"/>
                </a:lnTo>
                <a:lnTo>
                  <a:pt x="180" y="271"/>
                </a:lnTo>
                <a:lnTo>
                  <a:pt x="179" y="271"/>
                </a:lnTo>
                <a:lnTo>
                  <a:pt x="174" y="273"/>
                </a:lnTo>
                <a:lnTo>
                  <a:pt x="173" y="273"/>
                </a:lnTo>
                <a:lnTo>
                  <a:pt x="166" y="274"/>
                </a:lnTo>
                <a:lnTo>
                  <a:pt x="164" y="273"/>
                </a:lnTo>
                <a:lnTo>
                  <a:pt x="150" y="270"/>
                </a:lnTo>
                <a:lnTo>
                  <a:pt x="148" y="268"/>
                </a:lnTo>
                <a:lnTo>
                  <a:pt x="147" y="268"/>
                </a:lnTo>
                <a:lnTo>
                  <a:pt x="143" y="270"/>
                </a:lnTo>
                <a:lnTo>
                  <a:pt x="142" y="268"/>
                </a:lnTo>
                <a:lnTo>
                  <a:pt x="137" y="266"/>
                </a:lnTo>
                <a:lnTo>
                  <a:pt x="130" y="266"/>
                </a:lnTo>
                <a:lnTo>
                  <a:pt x="126" y="267"/>
                </a:lnTo>
                <a:lnTo>
                  <a:pt x="123" y="267"/>
                </a:lnTo>
                <a:lnTo>
                  <a:pt x="122" y="268"/>
                </a:lnTo>
                <a:lnTo>
                  <a:pt x="119" y="268"/>
                </a:lnTo>
                <a:lnTo>
                  <a:pt x="113" y="270"/>
                </a:lnTo>
                <a:lnTo>
                  <a:pt x="112" y="268"/>
                </a:lnTo>
                <a:lnTo>
                  <a:pt x="111" y="268"/>
                </a:lnTo>
                <a:lnTo>
                  <a:pt x="110" y="267"/>
                </a:lnTo>
                <a:lnTo>
                  <a:pt x="110" y="266"/>
                </a:lnTo>
                <a:lnTo>
                  <a:pt x="111" y="261"/>
                </a:lnTo>
                <a:lnTo>
                  <a:pt x="112" y="260"/>
                </a:lnTo>
                <a:lnTo>
                  <a:pt x="112" y="259"/>
                </a:lnTo>
                <a:lnTo>
                  <a:pt x="116" y="259"/>
                </a:lnTo>
                <a:lnTo>
                  <a:pt x="117" y="258"/>
                </a:lnTo>
                <a:lnTo>
                  <a:pt x="118" y="255"/>
                </a:lnTo>
                <a:lnTo>
                  <a:pt x="118" y="254"/>
                </a:lnTo>
                <a:lnTo>
                  <a:pt x="117" y="254"/>
                </a:lnTo>
                <a:lnTo>
                  <a:pt x="116" y="253"/>
                </a:lnTo>
                <a:lnTo>
                  <a:pt x="114" y="253"/>
                </a:lnTo>
                <a:lnTo>
                  <a:pt x="112" y="252"/>
                </a:lnTo>
                <a:lnTo>
                  <a:pt x="104" y="246"/>
                </a:lnTo>
                <a:lnTo>
                  <a:pt x="104" y="242"/>
                </a:lnTo>
                <a:lnTo>
                  <a:pt x="102" y="241"/>
                </a:lnTo>
                <a:lnTo>
                  <a:pt x="100" y="241"/>
                </a:lnTo>
                <a:lnTo>
                  <a:pt x="95" y="236"/>
                </a:lnTo>
                <a:lnTo>
                  <a:pt x="95" y="234"/>
                </a:lnTo>
                <a:lnTo>
                  <a:pt x="94" y="233"/>
                </a:lnTo>
                <a:lnTo>
                  <a:pt x="94" y="230"/>
                </a:lnTo>
                <a:lnTo>
                  <a:pt x="95" y="230"/>
                </a:lnTo>
                <a:lnTo>
                  <a:pt x="96" y="229"/>
                </a:lnTo>
                <a:lnTo>
                  <a:pt x="98" y="229"/>
                </a:lnTo>
                <a:lnTo>
                  <a:pt x="98" y="227"/>
                </a:lnTo>
                <a:lnTo>
                  <a:pt x="99" y="227"/>
                </a:lnTo>
                <a:lnTo>
                  <a:pt x="99" y="225"/>
                </a:lnTo>
                <a:lnTo>
                  <a:pt x="100" y="225"/>
                </a:lnTo>
                <a:lnTo>
                  <a:pt x="102" y="228"/>
                </a:lnTo>
                <a:lnTo>
                  <a:pt x="105" y="228"/>
                </a:lnTo>
                <a:lnTo>
                  <a:pt x="106" y="227"/>
                </a:lnTo>
                <a:lnTo>
                  <a:pt x="106" y="225"/>
                </a:lnTo>
                <a:lnTo>
                  <a:pt x="105" y="223"/>
                </a:lnTo>
                <a:lnTo>
                  <a:pt x="104" y="222"/>
                </a:lnTo>
                <a:lnTo>
                  <a:pt x="100" y="222"/>
                </a:lnTo>
                <a:lnTo>
                  <a:pt x="98" y="220"/>
                </a:lnTo>
                <a:lnTo>
                  <a:pt x="94" y="217"/>
                </a:lnTo>
                <a:lnTo>
                  <a:pt x="94" y="216"/>
                </a:lnTo>
                <a:lnTo>
                  <a:pt x="92" y="216"/>
                </a:lnTo>
                <a:lnTo>
                  <a:pt x="92" y="217"/>
                </a:lnTo>
                <a:lnTo>
                  <a:pt x="91" y="218"/>
                </a:lnTo>
                <a:lnTo>
                  <a:pt x="89" y="218"/>
                </a:lnTo>
                <a:lnTo>
                  <a:pt x="88" y="220"/>
                </a:lnTo>
                <a:lnTo>
                  <a:pt x="87" y="220"/>
                </a:lnTo>
                <a:lnTo>
                  <a:pt x="87" y="221"/>
                </a:lnTo>
                <a:lnTo>
                  <a:pt x="82" y="229"/>
                </a:lnTo>
                <a:lnTo>
                  <a:pt x="81" y="230"/>
                </a:lnTo>
                <a:lnTo>
                  <a:pt x="80" y="230"/>
                </a:lnTo>
                <a:lnTo>
                  <a:pt x="79" y="229"/>
                </a:lnTo>
                <a:lnTo>
                  <a:pt x="77" y="229"/>
                </a:lnTo>
                <a:lnTo>
                  <a:pt x="77" y="227"/>
                </a:lnTo>
                <a:lnTo>
                  <a:pt x="76" y="227"/>
                </a:lnTo>
                <a:lnTo>
                  <a:pt x="76" y="224"/>
                </a:lnTo>
                <a:lnTo>
                  <a:pt x="75" y="224"/>
                </a:lnTo>
                <a:lnTo>
                  <a:pt x="74" y="221"/>
                </a:lnTo>
                <a:lnTo>
                  <a:pt x="73" y="221"/>
                </a:lnTo>
                <a:lnTo>
                  <a:pt x="69" y="218"/>
                </a:lnTo>
                <a:lnTo>
                  <a:pt x="68" y="218"/>
                </a:lnTo>
                <a:lnTo>
                  <a:pt x="65" y="220"/>
                </a:lnTo>
                <a:lnTo>
                  <a:pt x="60" y="220"/>
                </a:lnTo>
                <a:lnTo>
                  <a:pt x="58" y="217"/>
                </a:lnTo>
                <a:lnTo>
                  <a:pt x="57" y="216"/>
                </a:lnTo>
                <a:lnTo>
                  <a:pt x="57" y="215"/>
                </a:lnTo>
                <a:lnTo>
                  <a:pt x="56" y="214"/>
                </a:lnTo>
                <a:lnTo>
                  <a:pt x="49" y="214"/>
                </a:lnTo>
                <a:lnTo>
                  <a:pt x="49" y="212"/>
                </a:lnTo>
                <a:lnTo>
                  <a:pt x="46" y="210"/>
                </a:lnTo>
                <a:lnTo>
                  <a:pt x="46" y="209"/>
                </a:lnTo>
                <a:lnTo>
                  <a:pt x="48" y="209"/>
                </a:lnTo>
                <a:lnTo>
                  <a:pt x="49" y="208"/>
                </a:lnTo>
                <a:lnTo>
                  <a:pt x="51" y="209"/>
                </a:lnTo>
                <a:lnTo>
                  <a:pt x="52" y="208"/>
                </a:lnTo>
                <a:lnTo>
                  <a:pt x="55" y="208"/>
                </a:lnTo>
                <a:lnTo>
                  <a:pt x="55" y="205"/>
                </a:lnTo>
                <a:lnTo>
                  <a:pt x="54" y="204"/>
                </a:lnTo>
                <a:lnTo>
                  <a:pt x="52" y="204"/>
                </a:lnTo>
                <a:lnTo>
                  <a:pt x="51" y="203"/>
                </a:lnTo>
                <a:lnTo>
                  <a:pt x="48" y="203"/>
                </a:lnTo>
                <a:lnTo>
                  <a:pt x="48" y="202"/>
                </a:lnTo>
                <a:lnTo>
                  <a:pt x="46" y="202"/>
                </a:lnTo>
                <a:lnTo>
                  <a:pt x="46" y="200"/>
                </a:lnTo>
                <a:lnTo>
                  <a:pt x="48" y="199"/>
                </a:lnTo>
                <a:lnTo>
                  <a:pt x="49" y="199"/>
                </a:lnTo>
                <a:lnTo>
                  <a:pt x="50" y="198"/>
                </a:lnTo>
                <a:lnTo>
                  <a:pt x="50" y="197"/>
                </a:lnTo>
                <a:lnTo>
                  <a:pt x="51" y="196"/>
                </a:lnTo>
                <a:lnTo>
                  <a:pt x="51" y="193"/>
                </a:lnTo>
                <a:lnTo>
                  <a:pt x="52" y="193"/>
                </a:lnTo>
                <a:lnTo>
                  <a:pt x="52" y="191"/>
                </a:lnTo>
                <a:lnTo>
                  <a:pt x="51" y="190"/>
                </a:lnTo>
                <a:lnTo>
                  <a:pt x="50" y="190"/>
                </a:lnTo>
                <a:lnTo>
                  <a:pt x="49" y="188"/>
                </a:lnTo>
                <a:lnTo>
                  <a:pt x="44" y="187"/>
                </a:lnTo>
                <a:lnTo>
                  <a:pt x="42" y="187"/>
                </a:lnTo>
                <a:lnTo>
                  <a:pt x="40" y="186"/>
                </a:lnTo>
                <a:lnTo>
                  <a:pt x="40" y="185"/>
                </a:lnTo>
                <a:lnTo>
                  <a:pt x="38" y="182"/>
                </a:lnTo>
                <a:lnTo>
                  <a:pt x="37" y="182"/>
                </a:lnTo>
                <a:lnTo>
                  <a:pt x="37" y="184"/>
                </a:lnTo>
                <a:lnTo>
                  <a:pt x="36" y="184"/>
                </a:lnTo>
                <a:lnTo>
                  <a:pt x="36" y="182"/>
                </a:lnTo>
                <a:lnTo>
                  <a:pt x="35" y="182"/>
                </a:lnTo>
                <a:lnTo>
                  <a:pt x="32" y="181"/>
                </a:lnTo>
                <a:lnTo>
                  <a:pt x="26" y="175"/>
                </a:lnTo>
                <a:lnTo>
                  <a:pt x="25" y="173"/>
                </a:lnTo>
                <a:lnTo>
                  <a:pt x="24" y="173"/>
                </a:lnTo>
                <a:lnTo>
                  <a:pt x="21" y="171"/>
                </a:lnTo>
                <a:lnTo>
                  <a:pt x="23" y="171"/>
                </a:lnTo>
                <a:lnTo>
                  <a:pt x="24" y="169"/>
                </a:lnTo>
                <a:lnTo>
                  <a:pt x="24" y="168"/>
                </a:lnTo>
                <a:lnTo>
                  <a:pt x="23" y="167"/>
                </a:lnTo>
                <a:lnTo>
                  <a:pt x="21" y="165"/>
                </a:lnTo>
                <a:lnTo>
                  <a:pt x="21" y="162"/>
                </a:lnTo>
                <a:lnTo>
                  <a:pt x="23" y="161"/>
                </a:lnTo>
                <a:lnTo>
                  <a:pt x="23" y="155"/>
                </a:lnTo>
                <a:lnTo>
                  <a:pt x="21" y="155"/>
                </a:lnTo>
                <a:lnTo>
                  <a:pt x="21" y="156"/>
                </a:lnTo>
                <a:lnTo>
                  <a:pt x="19" y="156"/>
                </a:lnTo>
                <a:lnTo>
                  <a:pt x="18" y="155"/>
                </a:lnTo>
                <a:lnTo>
                  <a:pt x="18" y="154"/>
                </a:lnTo>
                <a:lnTo>
                  <a:pt x="17" y="153"/>
                </a:lnTo>
                <a:lnTo>
                  <a:pt x="17" y="150"/>
                </a:lnTo>
                <a:lnTo>
                  <a:pt x="15" y="150"/>
                </a:lnTo>
                <a:lnTo>
                  <a:pt x="15" y="149"/>
                </a:lnTo>
                <a:lnTo>
                  <a:pt x="14" y="147"/>
                </a:lnTo>
                <a:lnTo>
                  <a:pt x="12" y="147"/>
                </a:lnTo>
                <a:lnTo>
                  <a:pt x="8" y="143"/>
                </a:lnTo>
                <a:lnTo>
                  <a:pt x="7" y="143"/>
                </a:lnTo>
                <a:lnTo>
                  <a:pt x="6" y="142"/>
                </a:lnTo>
                <a:lnTo>
                  <a:pt x="5" y="142"/>
                </a:lnTo>
                <a:lnTo>
                  <a:pt x="4" y="141"/>
                </a:lnTo>
                <a:lnTo>
                  <a:pt x="4" y="138"/>
                </a:lnTo>
                <a:lnTo>
                  <a:pt x="2" y="137"/>
                </a:lnTo>
                <a:lnTo>
                  <a:pt x="0" y="134"/>
                </a:lnTo>
                <a:lnTo>
                  <a:pt x="1" y="131"/>
                </a:lnTo>
                <a:lnTo>
                  <a:pt x="8" y="131"/>
                </a:lnTo>
                <a:lnTo>
                  <a:pt x="9" y="130"/>
                </a:lnTo>
                <a:lnTo>
                  <a:pt x="11" y="130"/>
                </a:lnTo>
                <a:lnTo>
                  <a:pt x="13" y="131"/>
                </a:lnTo>
                <a:lnTo>
                  <a:pt x="14" y="132"/>
                </a:lnTo>
                <a:lnTo>
                  <a:pt x="18" y="132"/>
                </a:lnTo>
                <a:lnTo>
                  <a:pt x="19" y="131"/>
                </a:lnTo>
                <a:lnTo>
                  <a:pt x="19" y="129"/>
                </a:lnTo>
                <a:lnTo>
                  <a:pt x="21" y="129"/>
                </a:lnTo>
                <a:lnTo>
                  <a:pt x="21" y="128"/>
                </a:lnTo>
                <a:lnTo>
                  <a:pt x="20" y="126"/>
                </a:lnTo>
                <a:lnTo>
                  <a:pt x="21" y="126"/>
                </a:lnTo>
                <a:lnTo>
                  <a:pt x="23" y="124"/>
                </a:lnTo>
                <a:lnTo>
                  <a:pt x="26" y="124"/>
                </a:lnTo>
                <a:lnTo>
                  <a:pt x="26" y="125"/>
                </a:lnTo>
                <a:lnTo>
                  <a:pt x="27" y="125"/>
                </a:lnTo>
                <a:lnTo>
                  <a:pt x="27" y="124"/>
                </a:lnTo>
                <a:lnTo>
                  <a:pt x="29" y="124"/>
                </a:lnTo>
                <a:lnTo>
                  <a:pt x="30" y="125"/>
                </a:lnTo>
                <a:lnTo>
                  <a:pt x="32" y="125"/>
                </a:lnTo>
                <a:lnTo>
                  <a:pt x="33" y="126"/>
                </a:lnTo>
                <a:lnTo>
                  <a:pt x="35" y="126"/>
                </a:lnTo>
                <a:lnTo>
                  <a:pt x="36" y="124"/>
                </a:lnTo>
                <a:lnTo>
                  <a:pt x="37" y="123"/>
                </a:lnTo>
                <a:lnTo>
                  <a:pt x="38" y="124"/>
                </a:lnTo>
                <a:lnTo>
                  <a:pt x="38" y="122"/>
                </a:lnTo>
                <a:lnTo>
                  <a:pt x="39" y="120"/>
                </a:lnTo>
                <a:lnTo>
                  <a:pt x="39" y="117"/>
                </a:lnTo>
                <a:lnTo>
                  <a:pt x="40" y="116"/>
                </a:lnTo>
                <a:lnTo>
                  <a:pt x="43" y="116"/>
                </a:lnTo>
                <a:lnTo>
                  <a:pt x="44" y="114"/>
                </a:lnTo>
                <a:lnTo>
                  <a:pt x="44" y="113"/>
                </a:lnTo>
                <a:lnTo>
                  <a:pt x="43" y="111"/>
                </a:lnTo>
                <a:lnTo>
                  <a:pt x="43" y="108"/>
                </a:lnTo>
                <a:lnTo>
                  <a:pt x="44" y="108"/>
                </a:lnTo>
                <a:lnTo>
                  <a:pt x="44" y="104"/>
                </a:lnTo>
                <a:lnTo>
                  <a:pt x="45" y="102"/>
                </a:lnTo>
                <a:lnTo>
                  <a:pt x="49" y="102"/>
                </a:lnTo>
                <a:lnTo>
                  <a:pt x="50" y="101"/>
                </a:lnTo>
                <a:lnTo>
                  <a:pt x="50" y="99"/>
                </a:lnTo>
                <a:lnTo>
                  <a:pt x="52" y="99"/>
                </a:lnTo>
                <a:lnTo>
                  <a:pt x="54" y="98"/>
                </a:lnTo>
                <a:lnTo>
                  <a:pt x="54" y="96"/>
                </a:lnTo>
                <a:lnTo>
                  <a:pt x="52" y="95"/>
                </a:lnTo>
                <a:lnTo>
                  <a:pt x="51" y="95"/>
                </a:lnTo>
                <a:lnTo>
                  <a:pt x="52" y="94"/>
                </a:lnTo>
                <a:lnTo>
                  <a:pt x="54" y="91"/>
                </a:lnTo>
                <a:lnTo>
                  <a:pt x="55" y="89"/>
                </a:lnTo>
                <a:lnTo>
                  <a:pt x="56" y="89"/>
                </a:lnTo>
                <a:lnTo>
                  <a:pt x="56" y="88"/>
                </a:lnTo>
                <a:lnTo>
                  <a:pt x="57" y="88"/>
                </a:lnTo>
                <a:lnTo>
                  <a:pt x="57" y="85"/>
                </a:lnTo>
                <a:lnTo>
                  <a:pt x="60" y="83"/>
                </a:lnTo>
                <a:lnTo>
                  <a:pt x="60" y="80"/>
                </a:lnTo>
                <a:lnTo>
                  <a:pt x="61" y="80"/>
                </a:lnTo>
                <a:lnTo>
                  <a:pt x="60" y="79"/>
                </a:lnTo>
                <a:lnTo>
                  <a:pt x="58" y="79"/>
                </a:lnTo>
                <a:lnTo>
                  <a:pt x="58" y="77"/>
                </a:lnTo>
                <a:lnTo>
                  <a:pt x="61" y="76"/>
                </a:lnTo>
                <a:lnTo>
                  <a:pt x="61" y="75"/>
                </a:lnTo>
                <a:lnTo>
                  <a:pt x="63" y="74"/>
                </a:lnTo>
                <a:lnTo>
                  <a:pt x="64" y="73"/>
                </a:lnTo>
                <a:lnTo>
                  <a:pt x="64" y="70"/>
                </a:lnTo>
                <a:lnTo>
                  <a:pt x="65" y="70"/>
                </a:lnTo>
                <a:lnTo>
                  <a:pt x="67" y="69"/>
                </a:lnTo>
                <a:lnTo>
                  <a:pt x="67" y="65"/>
                </a:lnTo>
                <a:lnTo>
                  <a:pt x="68" y="64"/>
                </a:lnTo>
                <a:lnTo>
                  <a:pt x="68" y="61"/>
                </a:lnTo>
                <a:lnTo>
                  <a:pt x="70" y="58"/>
                </a:lnTo>
                <a:lnTo>
                  <a:pt x="70" y="57"/>
                </a:lnTo>
                <a:lnTo>
                  <a:pt x="71" y="57"/>
                </a:lnTo>
                <a:lnTo>
                  <a:pt x="74" y="56"/>
                </a:lnTo>
                <a:lnTo>
                  <a:pt x="74" y="49"/>
                </a:lnTo>
                <a:lnTo>
                  <a:pt x="75" y="48"/>
                </a:lnTo>
                <a:lnTo>
                  <a:pt x="76" y="45"/>
                </a:lnTo>
                <a:lnTo>
                  <a:pt x="81" y="43"/>
                </a:lnTo>
                <a:lnTo>
                  <a:pt x="81" y="40"/>
                </a:lnTo>
                <a:lnTo>
                  <a:pt x="82" y="39"/>
                </a:lnTo>
                <a:lnTo>
                  <a:pt x="82" y="38"/>
                </a:lnTo>
                <a:lnTo>
                  <a:pt x="87" y="33"/>
                </a:lnTo>
                <a:lnTo>
                  <a:pt x="92" y="33"/>
                </a:lnTo>
                <a:lnTo>
                  <a:pt x="92" y="31"/>
                </a:lnTo>
                <a:lnTo>
                  <a:pt x="93" y="30"/>
                </a:lnTo>
                <a:lnTo>
                  <a:pt x="96" y="32"/>
                </a:lnTo>
                <a:lnTo>
                  <a:pt x="100" y="32"/>
                </a:lnTo>
                <a:lnTo>
                  <a:pt x="105" y="27"/>
                </a:lnTo>
                <a:lnTo>
                  <a:pt x="106" y="27"/>
                </a:lnTo>
                <a:lnTo>
                  <a:pt x="106" y="25"/>
                </a:lnTo>
                <a:lnTo>
                  <a:pt x="107" y="24"/>
                </a:lnTo>
                <a:lnTo>
                  <a:pt x="108" y="24"/>
                </a:lnTo>
                <a:lnTo>
                  <a:pt x="111" y="21"/>
                </a:lnTo>
                <a:lnTo>
                  <a:pt x="111" y="20"/>
                </a:lnTo>
                <a:lnTo>
                  <a:pt x="112" y="20"/>
                </a:lnTo>
                <a:lnTo>
                  <a:pt x="113" y="19"/>
                </a:lnTo>
                <a:lnTo>
                  <a:pt x="113" y="16"/>
                </a:lnTo>
                <a:lnTo>
                  <a:pt x="114" y="16"/>
                </a:lnTo>
                <a:lnTo>
                  <a:pt x="116" y="18"/>
                </a:lnTo>
                <a:lnTo>
                  <a:pt x="117" y="18"/>
                </a:lnTo>
                <a:lnTo>
                  <a:pt x="119" y="16"/>
                </a:lnTo>
                <a:lnTo>
                  <a:pt x="119" y="15"/>
                </a:lnTo>
                <a:lnTo>
                  <a:pt x="120" y="12"/>
                </a:lnTo>
                <a:lnTo>
                  <a:pt x="122" y="11"/>
                </a:lnTo>
                <a:lnTo>
                  <a:pt x="123" y="11"/>
                </a:lnTo>
                <a:lnTo>
                  <a:pt x="126" y="12"/>
                </a:lnTo>
                <a:lnTo>
                  <a:pt x="131" y="16"/>
                </a:lnTo>
                <a:lnTo>
                  <a:pt x="131" y="18"/>
                </a:lnTo>
                <a:lnTo>
                  <a:pt x="133" y="18"/>
                </a:lnTo>
                <a:lnTo>
                  <a:pt x="136" y="19"/>
                </a:lnTo>
                <a:lnTo>
                  <a:pt x="137" y="19"/>
                </a:lnTo>
                <a:lnTo>
                  <a:pt x="137" y="18"/>
                </a:lnTo>
                <a:lnTo>
                  <a:pt x="138" y="16"/>
                </a:lnTo>
                <a:lnTo>
                  <a:pt x="144" y="16"/>
                </a:lnTo>
                <a:lnTo>
                  <a:pt x="145" y="18"/>
                </a:lnTo>
                <a:lnTo>
                  <a:pt x="150" y="18"/>
                </a:lnTo>
                <a:lnTo>
                  <a:pt x="153" y="20"/>
                </a:lnTo>
                <a:lnTo>
                  <a:pt x="153" y="21"/>
                </a:lnTo>
                <a:lnTo>
                  <a:pt x="154" y="21"/>
                </a:lnTo>
                <a:lnTo>
                  <a:pt x="157" y="19"/>
                </a:lnTo>
                <a:lnTo>
                  <a:pt x="158" y="19"/>
                </a:lnTo>
                <a:lnTo>
                  <a:pt x="160" y="20"/>
                </a:lnTo>
                <a:lnTo>
                  <a:pt x="162" y="20"/>
                </a:lnTo>
                <a:lnTo>
                  <a:pt x="164" y="22"/>
                </a:lnTo>
                <a:lnTo>
                  <a:pt x="167" y="24"/>
                </a:lnTo>
                <a:lnTo>
                  <a:pt x="168" y="24"/>
                </a:lnTo>
                <a:lnTo>
                  <a:pt x="172" y="21"/>
                </a:lnTo>
                <a:lnTo>
                  <a:pt x="173" y="21"/>
                </a:lnTo>
                <a:lnTo>
                  <a:pt x="175" y="20"/>
                </a:lnTo>
                <a:lnTo>
                  <a:pt x="182" y="20"/>
                </a:lnTo>
                <a:lnTo>
                  <a:pt x="185" y="21"/>
                </a:lnTo>
                <a:lnTo>
                  <a:pt x="185" y="22"/>
                </a:lnTo>
                <a:lnTo>
                  <a:pt x="186" y="24"/>
                </a:lnTo>
                <a:lnTo>
                  <a:pt x="186" y="26"/>
                </a:lnTo>
                <a:lnTo>
                  <a:pt x="187" y="27"/>
                </a:lnTo>
                <a:lnTo>
                  <a:pt x="188" y="27"/>
                </a:lnTo>
                <a:lnTo>
                  <a:pt x="192" y="28"/>
                </a:lnTo>
                <a:lnTo>
                  <a:pt x="193" y="30"/>
                </a:lnTo>
                <a:lnTo>
                  <a:pt x="193" y="31"/>
                </a:lnTo>
                <a:lnTo>
                  <a:pt x="194" y="33"/>
                </a:lnTo>
                <a:lnTo>
                  <a:pt x="195" y="34"/>
                </a:lnTo>
                <a:lnTo>
                  <a:pt x="201" y="34"/>
                </a:lnTo>
                <a:lnTo>
                  <a:pt x="204" y="33"/>
                </a:lnTo>
                <a:lnTo>
                  <a:pt x="206" y="31"/>
                </a:lnTo>
                <a:lnTo>
                  <a:pt x="210" y="25"/>
                </a:lnTo>
                <a:lnTo>
                  <a:pt x="212" y="24"/>
                </a:lnTo>
                <a:lnTo>
                  <a:pt x="232" y="21"/>
                </a:lnTo>
                <a:lnTo>
                  <a:pt x="237" y="19"/>
                </a:lnTo>
                <a:lnTo>
                  <a:pt x="242" y="19"/>
                </a:lnTo>
                <a:lnTo>
                  <a:pt x="244" y="18"/>
                </a:lnTo>
                <a:lnTo>
                  <a:pt x="250" y="18"/>
                </a:lnTo>
                <a:lnTo>
                  <a:pt x="250" y="16"/>
                </a:lnTo>
                <a:lnTo>
                  <a:pt x="251" y="14"/>
                </a:lnTo>
                <a:lnTo>
                  <a:pt x="253" y="14"/>
                </a:lnTo>
                <a:lnTo>
                  <a:pt x="253" y="13"/>
                </a:lnTo>
                <a:lnTo>
                  <a:pt x="254" y="12"/>
                </a:lnTo>
                <a:lnTo>
                  <a:pt x="254" y="11"/>
                </a:lnTo>
                <a:lnTo>
                  <a:pt x="255" y="9"/>
                </a:lnTo>
                <a:lnTo>
                  <a:pt x="255" y="6"/>
                </a:lnTo>
                <a:lnTo>
                  <a:pt x="256" y="3"/>
                </a:lnTo>
                <a:lnTo>
                  <a:pt x="257" y="3"/>
                </a:lnTo>
                <a:lnTo>
                  <a:pt x="259" y="2"/>
                </a:lnTo>
                <a:lnTo>
                  <a:pt x="262" y="2"/>
                </a:lnTo>
                <a:lnTo>
                  <a:pt x="268" y="1"/>
                </a:lnTo>
                <a:lnTo>
                  <a:pt x="269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8" name="Freeform 22">
            <a:extLst>
              <a:ext uri="{FF2B5EF4-FFF2-40B4-BE49-F238E27FC236}">
                <a16:creationId xmlns:a16="http://schemas.microsoft.com/office/drawing/2014/main" id="{EB8FB6BB-6D4E-4DDC-91A8-3948B099BB5C}"/>
              </a:ext>
            </a:extLst>
          </p:cNvPr>
          <p:cNvSpPr>
            <a:spLocks noEditPoints="1"/>
          </p:cNvSpPr>
          <p:nvPr/>
        </p:nvSpPr>
        <p:spPr bwMode="auto">
          <a:xfrm>
            <a:off x="2093815" y="4230758"/>
            <a:ext cx="612902" cy="579576"/>
          </a:xfrm>
          <a:custGeom>
            <a:avLst/>
            <a:gdLst/>
            <a:ahLst/>
            <a:cxnLst>
              <a:cxn ang="0">
                <a:pos x="195" y="11"/>
              </a:cxn>
              <a:cxn ang="0">
                <a:pos x="195" y="10"/>
              </a:cxn>
              <a:cxn ang="0">
                <a:pos x="179" y="0"/>
              </a:cxn>
              <a:cxn ang="0">
                <a:pos x="185" y="13"/>
              </a:cxn>
              <a:cxn ang="0">
                <a:pos x="195" y="34"/>
              </a:cxn>
              <a:cxn ang="0">
                <a:pos x="235" y="30"/>
              </a:cxn>
              <a:cxn ang="0">
                <a:pos x="370" y="32"/>
              </a:cxn>
              <a:cxn ang="0">
                <a:pos x="391" y="45"/>
              </a:cxn>
              <a:cxn ang="0">
                <a:pos x="397" y="76"/>
              </a:cxn>
              <a:cxn ang="0">
                <a:pos x="413" y="124"/>
              </a:cxn>
              <a:cxn ang="0">
                <a:pos x="383" y="182"/>
              </a:cxn>
              <a:cxn ang="0">
                <a:pos x="397" y="192"/>
              </a:cxn>
              <a:cxn ang="0">
                <a:pos x="402" y="208"/>
              </a:cxn>
              <a:cxn ang="0">
                <a:pos x="398" y="226"/>
              </a:cxn>
              <a:cxn ang="0">
                <a:pos x="403" y="244"/>
              </a:cxn>
              <a:cxn ang="0">
                <a:pos x="412" y="262"/>
              </a:cxn>
              <a:cxn ang="0">
                <a:pos x="420" y="281"/>
              </a:cxn>
              <a:cxn ang="0">
                <a:pos x="421" y="299"/>
              </a:cxn>
              <a:cxn ang="0">
                <a:pos x="400" y="318"/>
              </a:cxn>
              <a:cxn ang="0">
                <a:pos x="365" y="360"/>
              </a:cxn>
              <a:cxn ang="0">
                <a:pos x="364" y="389"/>
              </a:cxn>
              <a:cxn ang="0">
                <a:pos x="364" y="398"/>
              </a:cxn>
              <a:cxn ang="0">
                <a:pos x="338" y="388"/>
              </a:cxn>
              <a:cxn ang="0">
                <a:pos x="321" y="375"/>
              </a:cxn>
              <a:cxn ang="0">
                <a:pos x="299" y="374"/>
              </a:cxn>
              <a:cxn ang="0">
                <a:pos x="289" y="381"/>
              </a:cxn>
              <a:cxn ang="0">
                <a:pos x="267" y="374"/>
              </a:cxn>
              <a:cxn ang="0">
                <a:pos x="252" y="388"/>
              </a:cxn>
              <a:cxn ang="0">
                <a:pos x="240" y="382"/>
              </a:cxn>
              <a:cxn ang="0">
                <a:pos x="227" y="363"/>
              </a:cxn>
              <a:cxn ang="0">
                <a:pos x="210" y="375"/>
              </a:cxn>
              <a:cxn ang="0">
                <a:pos x="198" y="361"/>
              </a:cxn>
              <a:cxn ang="0">
                <a:pos x="189" y="350"/>
              </a:cxn>
              <a:cxn ang="0">
                <a:pos x="178" y="340"/>
              </a:cxn>
              <a:cxn ang="0">
                <a:pos x="166" y="332"/>
              </a:cxn>
              <a:cxn ang="0">
                <a:pos x="153" y="329"/>
              </a:cxn>
              <a:cxn ang="0">
                <a:pos x="150" y="314"/>
              </a:cxn>
              <a:cxn ang="0">
                <a:pos x="131" y="313"/>
              </a:cxn>
              <a:cxn ang="0">
                <a:pos x="118" y="313"/>
              </a:cxn>
              <a:cxn ang="0">
                <a:pos x="118" y="321"/>
              </a:cxn>
              <a:cxn ang="0">
                <a:pos x="99" y="317"/>
              </a:cxn>
              <a:cxn ang="0">
                <a:pos x="92" y="303"/>
              </a:cxn>
              <a:cxn ang="0">
                <a:pos x="87" y="294"/>
              </a:cxn>
              <a:cxn ang="0">
                <a:pos x="75" y="290"/>
              </a:cxn>
              <a:cxn ang="0">
                <a:pos x="53" y="284"/>
              </a:cxn>
              <a:cxn ang="0">
                <a:pos x="43" y="269"/>
              </a:cxn>
              <a:cxn ang="0">
                <a:pos x="30" y="278"/>
              </a:cxn>
              <a:cxn ang="0">
                <a:pos x="35" y="238"/>
              </a:cxn>
              <a:cxn ang="0">
                <a:pos x="23" y="221"/>
              </a:cxn>
              <a:cxn ang="0">
                <a:pos x="25" y="191"/>
              </a:cxn>
              <a:cxn ang="0">
                <a:pos x="23" y="161"/>
              </a:cxn>
              <a:cxn ang="0">
                <a:pos x="3" y="139"/>
              </a:cxn>
              <a:cxn ang="0">
                <a:pos x="13" y="117"/>
              </a:cxn>
              <a:cxn ang="0">
                <a:pos x="9" y="90"/>
              </a:cxn>
              <a:cxn ang="0">
                <a:pos x="15" y="84"/>
              </a:cxn>
              <a:cxn ang="0">
                <a:pos x="19" y="78"/>
              </a:cxn>
              <a:cxn ang="0">
                <a:pos x="11" y="68"/>
              </a:cxn>
              <a:cxn ang="0">
                <a:pos x="3" y="68"/>
              </a:cxn>
              <a:cxn ang="0">
                <a:pos x="66" y="47"/>
              </a:cxn>
              <a:cxn ang="0">
                <a:pos x="92" y="37"/>
              </a:cxn>
              <a:cxn ang="0">
                <a:pos x="100" y="25"/>
              </a:cxn>
              <a:cxn ang="0">
                <a:pos x="160" y="1"/>
              </a:cxn>
            </a:cxnLst>
            <a:rect l="0" t="0" r="r" b="b"/>
            <a:pathLst>
              <a:path w="423" h="400">
                <a:moveTo>
                  <a:pt x="7" y="79"/>
                </a:moveTo>
                <a:lnTo>
                  <a:pt x="9" y="79"/>
                </a:lnTo>
                <a:lnTo>
                  <a:pt x="9" y="80"/>
                </a:lnTo>
                <a:lnTo>
                  <a:pt x="7" y="79"/>
                </a:lnTo>
                <a:close/>
                <a:moveTo>
                  <a:pt x="85" y="41"/>
                </a:moveTo>
                <a:lnTo>
                  <a:pt x="86" y="41"/>
                </a:lnTo>
                <a:lnTo>
                  <a:pt x="84" y="42"/>
                </a:lnTo>
                <a:lnTo>
                  <a:pt x="85" y="41"/>
                </a:lnTo>
                <a:close/>
                <a:moveTo>
                  <a:pt x="92" y="35"/>
                </a:moveTo>
                <a:lnTo>
                  <a:pt x="90" y="37"/>
                </a:lnTo>
                <a:lnTo>
                  <a:pt x="92" y="35"/>
                </a:lnTo>
                <a:close/>
                <a:moveTo>
                  <a:pt x="195" y="11"/>
                </a:moveTo>
                <a:lnTo>
                  <a:pt x="196" y="11"/>
                </a:lnTo>
                <a:lnTo>
                  <a:pt x="198" y="14"/>
                </a:lnTo>
                <a:lnTo>
                  <a:pt x="199" y="16"/>
                </a:lnTo>
                <a:lnTo>
                  <a:pt x="199" y="18"/>
                </a:lnTo>
                <a:lnTo>
                  <a:pt x="198" y="18"/>
                </a:lnTo>
                <a:lnTo>
                  <a:pt x="198" y="17"/>
                </a:lnTo>
                <a:lnTo>
                  <a:pt x="197" y="16"/>
                </a:lnTo>
                <a:lnTo>
                  <a:pt x="197" y="14"/>
                </a:lnTo>
                <a:lnTo>
                  <a:pt x="196" y="13"/>
                </a:lnTo>
                <a:lnTo>
                  <a:pt x="195" y="11"/>
                </a:lnTo>
                <a:close/>
                <a:moveTo>
                  <a:pt x="193" y="10"/>
                </a:moveTo>
                <a:lnTo>
                  <a:pt x="195" y="10"/>
                </a:lnTo>
                <a:lnTo>
                  <a:pt x="195" y="11"/>
                </a:lnTo>
                <a:lnTo>
                  <a:pt x="193" y="10"/>
                </a:lnTo>
                <a:close/>
                <a:moveTo>
                  <a:pt x="184" y="4"/>
                </a:moveTo>
                <a:lnTo>
                  <a:pt x="193" y="10"/>
                </a:lnTo>
                <a:lnTo>
                  <a:pt x="192" y="10"/>
                </a:lnTo>
                <a:lnTo>
                  <a:pt x="191" y="8"/>
                </a:lnTo>
                <a:lnTo>
                  <a:pt x="190" y="8"/>
                </a:lnTo>
                <a:lnTo>
                  <a:pt x="185" y="6"/>
                </a:lnTo>
                <a:lnTo>
                  <a:pt x="185" y="5"/>
                </a:lnTo>
                <a:lnTo>
                  <a:pt x="184" y="4"/>
                </a:lnTo>
                <a:close/>
                <a:moveTo>
                  <a:pt x="171" y="0"/>
                </a:moveTo>
                <a:lnTo>
                  <a:pt x="179" y="0"/>
                </a:lnTo>
                <a:lnTo>
                  <a:pt x="180" y="1"/>
                </a:lnTo>
                <a:lnTo>
                  <a:pt x="180" y="2"/>
                </a:lnTo>
                <a:lnTo>
                  <a:pt x="181" y="2"/>
                </a:lnTo>
                <a:lnTo>
                  <a:pt x="184" y="4"/>
                </a:lnTo>
                <a:lnTo>
                  <a:pt x="183" y="4"/>
                </a:lnTo>
                <a:lnTo>
                  <a:pt x="183" y="5"/>
                </a:lnTo>
                <a:lnTo>
                  <a:pt x="181" y="6"/>
                </a:lnTo>
                <a:lnTo>
                  <a:pt x="181" y="8"/>
                </a:lnTo>
                <a:lnTo>
                  <a:pt x="183" y="8"/>
                </a:lnTo>
                <a:lnTo>
                  <a:pt x="184" y="10"/>
                </a:lnTo>
                <a:lnTo>
                  <a:pt x="184" y="13"/>
                </a:lnTo>
                <a:lnTo>
                  <a:pt x="185" y="13"/>
                </a:lnTo>
                <a:lnTo>
                  <a:pt x="184" y="14"/>
                </a:lnTo>
                <a:lnTo>
                  <a:pt x="185" y="16"/>
                </a:lnTo>
                <a:lnTo>
                  <a:pt x="186" y="16"/>
                </a:lnTo>
                <a:lnTo>
                  <a:pt x="186" y="17"/>
                </a:lnTo>
                <a:lnTo>
                  <a:pt x="187" y="17"/>
                </a:lnTo>
                <a:lnTo>
                  <a:pt x="189" y="20"/>
                </a:lnTo>
                <a:lnTo>
                  <a:pt x="189" y="30"/>
                </a:lnTo>
                <a:lnTo>
                  <a:pt x="190" y="30"/>
                </a:lnTo>
                <a:lnTo>
                  <a:pt x="191" y="31"/>
                </a:lnTo>
                <a:lnTo>
                  <a:pt x="193" y="31"/>
                </a:lnTo>
                <a:lnTo>
                  <a:pt x="193" y="32"/>
                </a:lnTo>
                <a:lnTo>
                  <a:pt x="195" y="34"/>
                </a:lnTo>
                <a:lnTo>
                  <a:pt x="202" y="36"/>
                </a:lnTo>
                <a:lnTo>
                  <a:pt x="203" y="36"/>
                </a:lnTo>
                <a:lnTo>
                  <a:pt x="204" y="35"/>
                </a:lnTo>
                <a:lnTo>
                  <a:pt x="205" y="36"/>
                </a:lnTo>
                <a:lnTo>
                  <a:pt x="207" y="36"/>
                </a:lnTo>
                <a:lnTo>
                  <a:pt x="222" y="34"/>
                </a:lnTo>
                <a:lnTo>
                  <a:pt x="226" y="32"/>
                </a:lnTo>
                <a:lnTo>
                  <a:pt x="228" y="31"/>
                </a:lnTo>
                <a:lnTo>
                  <a:pt x="229" y="31"/>
                </a:lnTo>
                <a:lnTo>
                  <a:pt x="233" y="28"/>
                </a:lnTo>
                <a:lnTo>
                  <a:pt x="233" y="29"/>
                </a:lnTo>
                <a:lnTo>
                  <a:pt x="235" y="30"/>
                </a:lnTo>
                <a:lnTo>
                  <a:pt x="247" y="30"/>
                </a:lnTo>
                <a:lnTo>
                  <a:pt x="264" y="31"/>
                </a:lnTo>
                <a:lnTo>
                  <a:pt x="288" y="32"/>
                </a:lnTo>
                <a:lnTo>
                  <a:pt x="303" y="34"/>
                </a:lnTo>
                <a:lnTo>
                  <a:pt x="321" y="34"/>
                </a:lnTo>
                <a:lnTo>
                  <a:pt x="345" y="35"/>
                </a:lnTo>
                <a:lnTo>
                  <a:pt x="354" y="36"/>
                </a:lnTo>
                <a:lnTo>
                  <a:pt x="363" y="36"/>
                </a:lnTo>
                <a:lnTo>
                  <a:pt x="365" y="35"/>
                </a:lnTo>
                <a:lnTo>
                  <a:pt x="366" y="35"/>
                </a:lnTo>
                <a:lnTo>
                  <a:pt x="367" y="32"/>
                </a:lnTo>
                <a:lnTo>
                  <a:pt x="370" y="32"/>
                </a:lnTo>
                <a:lnTo>
                  <a:pt x="372" y="34"/>
                </a:lnTo>
                <a:lnTo>
                  <a:pt x="375" y="34"/>
                </a:lnTo>
                <a:lnTo>
                  <a:pt x="375" y="36"/>
                </a:lnTo>
                <a:lnTo>
                  <a:pt x="377" y="36"/>
                </a:lnTo>
                <a:lnTo>
                  <a:pt x="377" y="39"/>
                </a:lnTo>
                <a:lnTo>
                  <a:pt x="381" y="39"/>
                </a:lnTo>
                <a:lnTo>
                  <a:pt x="384" y="42"/>
                </a:lnTo>
                <a:lnTo>
                  <a:pt x="385" y="43"/>
                </a:lnTo>
                <a:lnTo>
                  <a:pt x="389" y="44"/>
                </a:lnTo>
                <a:lnTo>
                  <a:pt x="390" y="44"/>
                </a:lnTo>
                <a:lnTo>
                  <a:pt x="390" y="45"/>
                </a:lnTo>
                <a:lnTo>
                  <a:pt x="391" y="45"/>
                </a:lnTo>
                <a:lnTo>
                  <a:pt x="391" y="48"/>
                </a:lnTo>
                <a:lnTo>
                  <a:pt x="392" y="48"/>
                </a:lnTo>
                <a:lnTo>
                  <a:pt x="395" y="50"/>
                </a:lnTo>
                <a:lnTo>
                  <a:pt x="395" y="53"/>
                </a:lnTo>
                <a:lnTo>
                  <a:pt x="396" y="54"/>
                </a:lnTo>
                <a:lnTo>
                  <a:pt x="396" y="61"/>
                </a:lnTo>
                <a:lnTo>
                  <a:pt x="395" y="61"/>
                </a:lnTo>
                <a:lnTo>
                  <a:pt x="395" y="63"/>
                </a:lnTo>
                <a:lnTo>
                  <a:pt x="396" y="63"/>
                </a:lnTo>
                <a:lnTo>
                  <a:pt x="396" y="69"/>
                </a:lnTo>
                <a:lnTo>
                  <a:pt x="397" y="71"/>
                </a:lnTo>
                <a:lnTo>
                  <a:pt x="397" y="76"/>
                </a:lnTo>
                <a:lnTo>
                  <a:pt x="400" y="79"/>
                </a:lnTo>
                <a:lnTo>
                  <a:pt x="400" y="84"/>
                </a:lnTo>
                <a:lnTo>
                  <a:pt x="401" y="88"/>
                </a:lnTo>
                <a:lnTo>
                  <a:pt x="404" y="99"/>
                </a:lnTo>
                <a:lnTo>
                  <a:pt x="406" y="104"/>
                </a:lnTo>
                <a:lnTo>
                  <a:pt x="407" y="106"/>
                </a:lnTo>
                <a:lnTo>
                  <a:pt x="408" y="112"/>
                </a:lnTo>
                <a:lnTo>
                  <a:pt x="409" y="115"/>
                </a:lnTo>
                <a:lnTo>
                  <a:pt x="410" y="116"/>
                </a:lnTo>
                <a:lnTo>
                  <a:pt x="410" y="118"/>
                </a:lnTo>
                <a:lnTo>
                  <a:pt x="413" y="121"/>
                </a:lnTo>
                <a:lnTo>
                  <a:pt x="413" y="124"/>
                </a:lnTo>
                <a:lnTo>
                  <a:pt x="412" y="124"/>
                </a:lnTo>
                <a:lnTo>
                  <a:pt x="412" y="128"/>
                </a:lnTo>
                <a:lnTo>
                  <a:pt x="413" y="130"/>
                </a:lnTo>
                <a:lnTo>
                  <a:pt x="414" y="131"/>
                </a:lnTo>
                <a:lnTo>
                  <a:pt x="414" y="153"/>
                </a:lnTo>
                <a:lnTo>
                  <a:pt x="412" y="155"/>
                </a:lnTo>
                <a:lnTo>
                  <a:pt x="407" y="159"/>
                </a:lnTo>
                <a:lnTo>
                  <a:pt x="396" y="162"/>
                </a:lnTo>
                <a:lnTo>
                  <a:pt x="392" y="166"/>
                </a:lnTo>
                <a:lnTo>
                  <a:pt x="386" y="174"/>
                </a:lnTo>
                <a:lnTo>
                  <a:pt x="384" y="177"/>
                </a:lnTo>
                <a:lnTo>
                  <a:pt x="383" y="182"/>
                </a:lnTo>
                <a:lnTo>
                  <a:pt x="384" y="183"/>
                </a:lnTo>
                <a:lnTo>
                  <a:pt x="383" y="185"/>
                </a:lnTo>
                <a:lnTo>
                  <a:pt x="384" y="185"/>
                </a:lnTo>
                <a:lnTo>
                  <a:pt x="388" y="186"/>
                </a:lnTo>
                <a:lnTo>
                  <a:pt x="388" y="185"/>
                </a:lnTo>
                <a:lnTo>
                  <a:pt x="389" y="186"/>
                </a:lnTo>
                <a:lnTo>
                  <a:pt x="391" y="188"/>
                </a:lnTo>
                <a:lnTo>
                  <a:pt x="392" y="188"/>
                </a:lnTo>
                <a:lnTo>
                  <a:pt x="391" y="189"/>
                </a:lnTo>
                <a:lnTo>
                  <a:pt x="396" y="189"/>
                </a:lnTo>
                <a:lnTo>
                  <a:pt x="396" y="190"/>
                </a:lnTo>
                <a:lnTo>
                  <a:pt x="397" y="192"/>
                </a:lnTo>
                <a:lnTo>
                  <a:pt x="400" y="192"/>
                </a:lnTo>
                <a:lnTo>
                  <a:pt x="401" y="194"/>
                </a:lnTo>
                <a:lnTo>
                  <a:pt x="401" y="195"/>
                </a:lnTo>
                <a:lnTo>
                  <a:pt x="402" y="195"/>
                </a:lnTo>
                <a:lnTo>
                  <a:pt x="402" y="197"/>
                </a:lnTo>
                <a:lnTo>
                  <a:pt x="403" y="198"/>
                </a:lnTo>
                <a:lnTo>
                  <a:pt x="403" y="201"/>
                </a:lnTo>
                <a:lnTo>
                  <a:pt x="404" y="202"/>
                </a:lnTo>
                <a:lnTo>
                  <a:pt x="403" y="202"/>
                </a:lnTo>
                <a:lnTo>
                  <a:pt x="403" y="203"/>
                </a:lnTo>
                <a:lnTo>
                  <a:pt x="402" y="204"/>
                </a:lnTo>
                <a:lnTo>
                  <a:pt x="402" y="208"/>
                </a:lnTo>
                <a:lnTo>
                  <a:pt x="401" y="209"/>
                </a:lnTo>
                <a:lnTo>
                  <a:pt x="402" y="209"/>
                </a:lnTo>
                <a:lnTo>
                  <a:pt x="401" y="210"/>
                </a:lnTo>
                <a:lnTo>
                  <a:pt x="401" y="213"/>
                </a:lnTo>
                <a:lnTo>
                  <a:pt x="402" y="214"/>
                </a:lnTo>
                <a:lnTo>
                  <a:pt x="402" y="216"/>
                </a:lnTo>
                <a:lnTo>
                  <a:pt x="401" y="216"/>
                </a:lnTo>
                <a:lnTo>
                  <a:pt x="400" y="217"/>
                </a:lnTo>
                <a:lnTo>
                  <a:pt x="398" y="217"/>
                </a:lnTo>
                <a:lnTo>
                  <a:pt x="398" y="225"/>
                </a:lnTo>
                <a:lnTo>
                  <a:pt x="397" y="225"/>
                </a:lnTo>
                <a:lnTo>
                  <a:pt x="398" y="226"/>
                </a:lnTo>
                <a:lnTo>
                  <a:pt x="398" y="229"/>
                </a:lnTo>
                <a:lnTo>
                  <a:pt x="400" y="232"/>
                </a:lnTo>
                <a:lnTo>
                  <a:pt x="398" y="232"/>
                </a:lnTo>
                <a:lnTo>
                  <a:pt x="400" y="233"/>
                </a:lnTo>
                <a:lnTo>
                  <a:pt x="401" y="233"/>
                </a:lnTo>
                <a:lnTo>
                  <a:pt x="401" y="235"/>
                </a:lnTo>
                <a:lnTo>
                  <a:pt x="402" y="235"/>
                </a:lnTo>
                <a:lnTo>
                  <a:pt x="403" y="237"/>
                </a:lnTo>
                <a:lnTo>
                  <a:pt x="403" y="238"/>
                </a:lnTo>
                <a:lnTo>
                  <a:pt x="404" y="241"/>
                </a:lnTo>
                <a:lnTo>
                  <a:pt x="404" y="244"/>
                </a:lnTo>
                <a:lnTo>
                  <a:pt x="403" y="244"/>
                </a:lnTo>
                <a:lnTo>
                  <a:pt x="403" y="245"/>
                </a:lnTo>
                <a:lnTo>
                  <a:pt x="402" y="246"/>
                </a:lnTo>
                <a:lnTo>
                  <a:pt x="402" y="248"/>
                </a:lnTo>
                <a:lnTo>
                  <a:pt x="403" y="248"/>
                </a:lnTo>
                <a:lnTo>
                  <a:pt x="404" y="250"/>
                </a:lnTo>
                <a:lnTo>
                  <a:pt x="407" y="254"/>
                </a:lnTo>
                <a:lnTo>
                  <a:pt x="408" y="256"/>
                </a:lnTo>
                <a:lnTo>
                  <a:pt x="410" y="257"/>
                </a:lnTo>
                <a:lnTo>
                  <a:pt x="412" y="259"/>
                </a:lnTo>
                <a:lnTo>
                  <a:pt x="413" y="259"/>
                </a:lnTo>
                <a:lnTo>
                  <a:pt x="412" y="260"/>
                </a:lnTo>
                <a:lnTo>
                  <a:pt x="412" y="262"/>
                </a:lnTo>
                <a:lnTo>
                  <a:pt x="413" y="264"/>
                </a:lnTo>
                <a:lnTo>
                  <a:pt x="414" y="265"/>
                </a:lnTo>
                <a:lnTo>
                  <a:pt x="414" y="269"/>
                </a:lnTo>
                <a:lnTo>
                  <a:pt x="415" y="269"/>
                </a:lnTo>
                <a:lnTo>
                  <a:pt x="415" y="270"/>
                </a:lnTo>
                <a:lnTo>
                  <a:pt x="416" y="270"/>
                </a:lnTo>
                <a:lnTo>
                  <a:pt x="416" y="274"/>
                </a:lnTo>
                <a:lnTo>
                  <a:pt x="420" y="276"/>
                </a:lnTo>
                <a:lnTo>
                  <a:pt x="423" y="277"/>
                </a:lnTo>
                <a:lnTo>
                  <a:pt x="423" y="280"/>
                </a:lnTo>
                <a:lnTo>
                  <a:pt x="420" y="280"/>
                </a:lnTo>
                <a:lnTo>
                  <a:pt x="420" y="281"/>
                </a:lnTo>
                <a:lnTo>
                  <a:pt x="419" y="280"/>
                </a:lnTo>
                <a:lnTo>
                  <a:pt x="417" y="280"/>
                </a:lnTo>
                <a:lnTo>
                  <a:pt x="416" y="281"/>
                </a:lnTo>
                <a:lnTo>
                  <a:pt x="416" y="284"/>
                </a:lnTo>
                <a:lnTo>
                  <a:pt x="419" y="284"/>
                </a:lnTo>
                <a:lnTo>
                  <a:pt x="417" y="286"/>
                </a:lnTo>
                <a:lnTo>
                  <a:pt x="420" y="288"/>
                </a:lnTo>
                <a:lnTo>
                  <a:pt x="421" y="288"/>
                </a:lnTo>
                <a:lnTo>
                  <a:pt x="421" y="291"/>
                </a:lnTo>
                <a:lnTo>
                  <a:pt x="422" y="294"/>
                </a:lnTo>
                <a:lnTo>
                  <a:pt x="421" y="295"/>
                </a:lnTo>
                <a:lnTo>
                  <a:pt x="421" y="299"/>
                </a:lnTo>
                <a:lnTo>
                  <a:pt x="422" y="300"/>
                </a:lnTo>
                <a:lnTo>
                  <a:pt x="421" y="300"/>
                </a:lnTo>
                <a:lnTo>
                  <a:pt x="421" y="301"/>
                </a:lnTo>
                <a:lnTo>
                  <a:pt x="417" y="302"/>
                </a:lnTo>
                <a:lnTo>
                  <a:pt x="417" y="306"/>
                </a:lnTo>
                <a:lnTo>
                  <a:pt x="416" y="308"/>
                </a:lnTo>
                <a:lnTo>
                  <a:pt x="415" y="309"/>
                </a:lnTo>
                <a:lnTo>
                  <a:pt x="406" y="309"/>
                </a:lnTo>
                <a:lnTo>
                  <a:pt x="403" y="312"/>
                </a:lnTo>
                <a:lnTo>
                  <a:pt x="403" y="314"/>
                </a:lnTo>
                <a:lnTo>
                  <a:pt x="402" y="314"/>
                </a:lnTo>
                <a:lnTo>
                  <a:pt x="400" y="318"/>
                </a:lnTo>
                <a:lnTo>
                  <a:pt x="396" y="321"/>
                </a:lnTo>
                <a:lnTo>
                  <a:pt x="394" y="323"/>
                </a:lnTo>
                <a:lnTo>
                  <a:pt x="384" y="333"/>
                </a:lnTo>
                <a:lnTo>
                  <a:pt x="379" y="338"/>
                </a:lnTo>
                <a:lnTo>
                  <a:pt x="375" y="345"/>
                </a:lnTo>
                <a:lnTo>
                  <a:pt x="373" y="346"/>
                </a:lnTo>
                <a:lnTo>
                  <a:pt x="373" y="348"/>
                </a:lnTo>
                <a:lnTo>
                  <a:pt x="371" y="350"/>
                </a:lnTo>
                <a:lnTo>
                  <a:pt x="369" y="355"/>
                </a:lnTo>
                <a:lnTo>
                  <a:pt x="367" y="356"/>
                </a:lnTo>
                <a:lnTo>
                  <a:pt x="365" y="356"/>
                </a:lnTo>
                <a:lnTo>
                  <a:pt x="365" y="360"/>
                </a:lnTo>
                <a:lnTo>
                  <a:pt x="361" y="363"/>
                </a:lnTo>
                <a:lnTo>
                  <a:pt x="360" y="366"/>
                </a:lnTo>
                <a:lnTo>
                  <a:pt x="361" y="368"/>
                </a:lnTo>
                <a:lnTo>
                  <a:pt x="361" y="373"/>
                </a:lnTo>
                <a:lnTo>
                  <a:pt x="364" y="375"/>
                </a:lnTo>
                <a:lnTo>
                  <a:pt x="364" y="385"/>
                </a:lnTo>
                <a:lnTo>
                  <a:pt x="363" y="387"/>
                </a:lnTo>
                <a:lnTo>
                  <a:pt x="363" y="389"/>
                </a:lnTo>
                <a:lnTo>
                  <a:pt x="361" y="389"/>
                </a:lnTo>
                <a:lnTo>
                  <a:pt x="363" y="391"/>
                </a:lnTo>
                <a:lnTo>
                  <a:pt x="363" y="389"/>
                </a:lnTo>
                <a:lnTo>
                  <a:pt x="364" y="389"/>
                </a:lnTo>
                <a:lnTo>
                  <a:pt x="366" y="392"/>
                </a:lnTo>
                <a:lnTo>
                  <a:pt x="366" y="393"/>
                </a:lnTo>
                <a:lnTo>
                  <a:pt x="369" y="394"/>
                </a:lnTo>
                <a:lnTo>
                  <a:pt x="369" y="398"/>
                </a:lnTo>
                <a:lnTo>
                  <a:pt x="370" y="399"/>
                </a:lnTo>
                <a:lnTo>
                  <a:pt x="370" y="400"/>
                </a:lnTo>
                <a:lnTo>
                  <a:pt x="369" y="400"/>
                </a:lnTo>
                <a:lnTo>
                  <a:pt x="367" y="399"/>
                </a:lnTo>
                <a:lnTo>
                  <a:pt x="366" y="399"/>
                </a:lnTo>
                <a:lnTo>
                  <a:pt x="365" y="398"/>
                </a:lnTo>
                <a:lnTo>
                  <a:pt x="365" y="397"/>
                </a:lnTo>
                <a:lnTo>
                  <a:pt x="364" y="398"/>
                </a:lnTo>
                <a:lnTo>
                  <a:pt x="360" y="398"/>
                </a:lnTo>
                <a:lnTo>
                  <a:pt x="357" y="394"/>
                </a:lnTo>
                <a:lnTo>
                  <a:pt x="355" y="395"/>
                </a:lnTo>
                <a:lnTo>
                  <a:pt x="354" y="394"/>
                </a:lnTo>
                <a:lnTo>
                  <a:pt x="350" y="394"/>
                </a:lnTo>
                <a:lnTo>
                  <a:pt x="347" y="392"/>
                </a:lnTo>
                <a:lnTo>
                  <a:pt x="345" y="392"/>
                </a:lnTo>
                <a:lnTo>
                  <a:pt x="342" y="391"/>
                </a:lnTo>
                <a:lnTo>
                  <a:pt x="342" y="389"/>
                </a:lnTo>
                <a:lnTo>
                  <a:pt x="340" y="389"/>
                </a:lnTo>
                <a:lnTo>
                  <a:pt x="339" y="388"/>
                </a:lnTo>
                <a:lnTo>
                  <a:pt x="338" y="388"/>
                </a:lnTo>
                <a:lnTo>
                  <a:pt x="335" y="387"/>
                </a:lnTo>
                <a:lnTo>
                  <a:pt x="334" y="387"/>
                </a:lnTo>
                <a:lnTo>
                  <a:pt x="333" y="385"/>
                </a:lnTo>
                <a:lnTo>
                  <a:pt x="333" y="382"/>
                </a:lnTo>
                <a:lnTo>
                  <a:pt x="332" y="380"/>
                </a:lnTo>
                <a:lnTo>
                  <a:pt x="330" y="379"/>
                </a:lnTo>
                <a:lnTo>
                  <a:pt x="328" y="377"/>
                </a:lnTo>
                <a:lnTo>
                  <a:pt x="327" y="376"/>
                </a:lnTo>
                <a:lnTo>
                  <a:pt x="324" y="376"/>
                </a:lnTo>
                <a:lnTo>
                  <a:pt x="323" y="377"/>
                </a:lnTo>
                <a:lnTo>
                  <a:pt x="322" y="377"/>
                </a:lnTo>
                <a:lnTo>
                  <a:pt x="321" y="375"/>
                </a:lnTo>
                <a:lnTo>
                  <a:pt x="320" y="374"/>
                </a:lnTo>
                <a:lnTo>
                  <a:pt x="319" y="374"/>
                </a:lnTo>
                <a:lnTo>
                  <a:pt x="317" y="373"/>
                </a:lnTo>
                <a:lnTo>
                  <a:pt x="313" y="373"/>
                </a:lnTo>
                <a:lnTo>
                  <a:pt x="311" y="374"/>
                </a:lnTo>
                <a:lnTo>
                  <a:pt x="311" y="373"/>
                </a:lnTo>
                <a:lnTo>
                  <a:pt x="310" y="374"/>
                </a:lnTo>
                <a:lnTo>
                  <a:pt x="309" y="374"/>
                </a:lnTo>
                <a:lnTo>
                  <a:pt x="305" y="373"/>
                </a:lnTo>
                <a:lnTo>
                  <a:pt x="303" y="372"/>
                </a:lnTo>
                <a:lnTo>
                  <a:pt x="301" y="372"/>
                </a:lnTo>
                <a:lnTo>
                  <a:pt x="299" y="374"/>
                </a:lnTo>
                <a:lnTo>
                  <a:pt x="297" y="374"/>
                </a:lnTo>
                <a:lnTo>
                  <a:pt x="297" y="373"/>
                </a:lnTo>
                <a:lnTo>
                  <a:pt x="294" y="373"/>
                </a:lnTo>
                <a:lnTo>
                  <a:pt x="294" y="374"/>
                </a:lnTo>
                <a:lnTo>
                  <a:pt x="292" y="374"/>
                </a:lnTo>
                <a:lnTo>
                  <a:pt x="292" y="375"/>
                </a:lnTo>
                <a:lnTo>
                  <a:pt x="294" y="375"/>
                </a:lnTo>
                <a:lnTo>
                  <a:pt x="295" y="376"/>
                </a:lnTo>
                <a:lnTo>
                  <a:pt x="294" y="377"/>
                </a:lnTo>
                <a:lnTo>
                  <a:pt x="291" y="377"/>
                </a:lnTo>
                <a:lnTo>
                  <a:pt x="291" y="379"/>
                </a:lnTo>
                <a:lnTo>
                  <a:pt x="289" y="381"/>
                </a:lnTo>
                <a:lnTo>
                  <a:pt x="286" y="381"/>
                </a:lnTo>
                <a:lnTo>
                  <a:pt x="285" y="380"/>
                </a:lnTo>
                <a:lnTo>
                  <a:pt x="283" y="380"/>
                </a:lnTo>
                <a:lnTo>
                  <a:pt x="283" y="379"/>
                </a:lnTo>
                <a:lnTo>
                  <a:pt x="282" y="379"/>
                </a:lnTo>
                <a:lnTo>
                  <a:pt x="278" y="374"/>
                </a:lnTo>
                <a:lnTo>
                  <a:pt x="274" y="374"/>
                </a:lnTo>
                <a:lnTo>
                  <a:pt x="274" y="375"/>
                </a:lnTo>
                <a:lnTo>
                  <a:pt x="273" y="375"/>
                </a:lnTo>
                <a:lnTo>
                  <a:pt x="273" y="376"/>
                </a:lnTo>
                <a:lnTo>
                  <a:pt x="271" y="376"/>
                </a:lnTo>
                <a:lnTo>
                  <a:pt x="267" y="374"/>
                </a:lnTo>
                <a:lnTo>
                  <a:pt x="266" y="374"/>
                </a:lnTo>
                <a:lnTo>
                  <a:pt x="266" y="375"/>
                </a:lnTo>
                <a:lnTo>
                  <a:pt x="261" y="375"/>
                </a:lnTo>
                <a:lnTo>
                  <a:pt x="261" y="379"/>
                </a:lnTo>
                <a:lnTo>
                  <a:pt x="257" y="379"/>
                </a:lnTo>
                <a:lnTo>
                  <a:pt x="255" y="380"/>
                </a:lnTo>
                <a:lnTo>
                  <a:pt x="254" y="380"/>
                </a:lnTo>
                <a:lnTo>
                  <a:pt x="254" y="381"/>
                </a:lnTo>
                <a:lnTo>
                  <a:pt x="253" y="382"/>
                </a:lnTo>
                <a:lnTo>
                  <a:pt x="253" y="383"/>
                </a:lnTo>
                <a:lnTo>
                  <a:pt x="252" y="385"/>
                </a:lnTo>
                <a:lnTo>
                  <a:pt x="252" y="388"/>
                </a:lnTo>
                <a:lnTo>
                  <a:pt x="251" y="389"/>
                </a:lnTo>
                <a:lnTo>
                  <a:pt x="247" y="386"/>
                </a:lnTo>
                <a:lnTo>
                  <a:pt x="243" y="386"/>
                </a:lnTo>
                <a:lnTo>
                  <a:pt x="243" y="387"/>
                </a:lnTo>
                <a:lnTo>
                  <a:pt x="242" y="388"/>
                </a:lnTo>
                <a:lnTo>
                  <a:pt x="240" y="388"/>
                </a:lnTo>
                <a:lnTo>
                  <a:pt x="239" y="387"/>
                </a:lnTo>
                <a:lnTo>
                  <a:pt x="239" y="386"/>
                </a:lnTo>
                <a:lnTo>
                  <a:pt x="240" y="383"/>
                </a:lnTo>
                <a:lnTo>
                  <a:pt x="241" y="383"/>
                </a:lnTo>
                <a:lnTo>
                  <a:pt x="241" y="382"/>
                </a:lnTo>
                <a:lnTo>
                  <a:pt x="240" y="382"/>
                </a:lnTo>
                <a:lnTo>
                  <a:pt x="240" y="376"/>
                </a:lnTo>
                <a:lnTo>
                  <a:pt x="239" y="375"/>
                </a:lnTo>
                <a:lnTo>
                  <a:pt x="239" y="374"/>
                </a:lnTo>
                <a:lnTo>
                  <a:pt x="237" y="375"/>
                </a:lnTo>
                <a:lnTo>
                  <a:pt x="235" y="375"/>
                </a:lnTo>
                <a:lnTo>
                  <a:pt x="233" y="374"/>
                </a:lnTo>
                <a:lnTo>
                  <a:pt x="233" y="372"/>
                </a:lnTo>
                <a:lnTo>
                  <a:pt x="230" y="372"/>
                </a:lnTo>
                <a:lnTo>
                  <a:pt x="230" y="370"/>
                </a:lnTo>
                <a:lnTo>
                  <a:pt x="228" y="366"/>
                </a:lnTo>
                <a:lnTo>
                  <a:pt x="228" y="363"/>
                </a:lnTo>
                <a:lnTo>
                  <a:pt x="227" y="363"/>
                </a:lnTo>
                <a:lnTo>
                  <a:pt x="226" y="362"/>
                </a:lnTo>
                <a:lnTo>
                  <a:pt x="226" y="361"/>
                </a:lnTo>
                <a:lnTo>
                  <a:pt x="221" y="366"/>
                </a:lnTo>
                <a:lnTo>
                  <a:pt x="221" y="367"/>
                </a:lnTo>
                <a:lnTo>
                  <a:pt x="216" y="367"/>
                </a:lnTo>
                <a:lnTo>
                  <a:pt x="216" y="368"/>
                </a:lnTo>
                <a:lnTo>
                  <a:pt x="215" y="370"/>
                </a:lnTo>
                <a:lnTo>
                  <a:pt x="216" y="372"/>
                </a:lnTo>
                <a:lnTo>
                  <a:pt x="215" y="372"/>
                </a:lnTo>
                <a:lnTo>
                  <a:pt x="215" y="373"/>
                </a:lnTo>
                <a:lnTo>
                  <a:pt x="212" y="375"/>
                </a:lnTo>
                <a:lnTo>
                  <a:pt x="210" y="375"/>
                </a:lnTo>
                <a:lnTo>
                  <a:pt x="210" y="374"/>
                </a:lnTo>
                <a:lnTo>
                  <a:pt x="209" y="374"/>
                </a:lnTo>
                <a:lnTo>
                  <a:pt x="207" y="375"/>
                </a:lnTo>
                <a:lnTo>
                  <a:pt x="205" y="375"/>
                </a:lnTo>
                <a:lnTo>
                  <a:pt x="205" y="372"/>
                </a:lnTo>
                <a:lnTo>
                  <a:pt x="204" y="370"/>
                </a:lnTo>
                <a:lnTo>
                  <a:pt x="204" y="369"/>
                </a:lnTo>
                <a:lnTo>
                  <a:pt x="205" y="368"/>
                </a:lnTo>
                <a:lnTo>
                  <a:pt x="204" y="368"/>
                </a:lnTo>
                <a:lnTo>
                  <a:pt x="199" y="367"/>
                </a:lnTo>
                <a:lnTo>
                  <a:pt x="199" y="361"/>
                </a:lnTo>
                <a:lnTo>
                  <a:pt x="198" y="361"/>
                </a:lnTo>
                <a:lnTo>
                  <a:pt x="198" y="357"/>
                </a:lnTo>
                <a:lnTo>
                  <a:pt x="197" y="356"/>
                </a:lnTo>
                <a:lnTo>
                  <a:pt x="196" y="356"/>
                </a:lnTo>
                <a:lnTo>
                  <a:pt x="196" y="357"/>
                </a:lnTo>
                <a:lnTo>
                  <a:pt x="195" y="357"/>
                </a:lnTo>
                <a:lnTo>
                  <a:pt x="195" y="356"/>
                </a:lnTo>
                <a:lnTo>
                  <a:pt x="193" y="356"/>
                </a:lnTo>
                <a:lnTo>
                  <a:pt x="193" y="355"/>
                </a:lnTo>
                <a:lnTo>
                  <a:pt x="191" y="355"/>
                </a:lnTo>
                <a:lnTo>
                  <a:pt x="191" y="354"/>
                </a:lnTo>
                <a:lnTo>
                  <a:pt x="190" y="352"/>
                </a:lnTo>
                <a:lnTo>
                  <a:pt x="189" y="350"/>
                </a:lnTo>
                <a:lnTo>
                  <a:pt x="189" y="346"/>
                </a:lnTo>
                <a:lnTo>
                  <a:pt x="190" y="345"/>
                </a:lnTo>
                <a:lnTo>
                  <a:pt x="189" y="344"/>
                </a:lnTo>
                <a:lnTo>
                  <a:pt x="189" y="343"/>
                </a:lnTo>
                <a:lnTo>
                  <a:pt x="187" y="342"/>
                </a:lnTo>
                <a:lnTo>
                  <a:pt x="187" y="340"/>
                </a:lnTo>
                <a:lnTo>
                  <a:pt x="186" y="342"/>
                </a:lnTo>
                <a:lnTo>
                  <a:pt x="185" y="342"/>
                </a:lnTo>
                <a:lnTo>
                  <a:pt x="181" y="340"/>
                </a:lnTo>
                <a:lnTo>
                  <a:pt x="180" y="339"/>
                </a:lnTo>
                <a:lnTo>
                  <a:pt x="178" y="339"/>
                </a:lnTo>
                <a:lnTo>
                  <a:pt x="178" y="340"/>
                </a:lnTo>
                <a:lnTo>
                  <a:pt x="179" y="340"/>
                </a:lnTo>
                <a:lnTo>
                  <a:pt x="178" y="342"/>
                </a:lnTo>
                <a:lnTo>
                  <a:pt x="177" y="342"/>
                </a:lnTo>
                <a:lnTo>
                  <a:pt x="176" y="340"/>
                </a:lnTo>
                <a:lnTo>
                  <a:pt x="176" y="339"/>
                </a:lnTo>
                <a:lnTo>
                  <a:pt x="174" y="338"/>
                </a:lnTo>
                <a:lnTo>
                  <a:pt x="173" y="338"/>
                </a:lnTo>
                <a:lnTo>
                  <a:pt x="172" y="337"/>
                </a:lnTo>
                <a:lnTo>
                  <a:pt x="171" y="337"/>
                </a:lnTo>
                <a:lnTo>
                  <a:pt x="168" y="336"/>
                </a:lnTo>
                <a:lnTo>
                  <a:pt x="168" y="334"/>
                </a:lnTo>
                <a:lnTo>
                  <a:pt x="166" y="332"/>
                </a:lnTo>
                <a:lnTo>
                  <a:pt x="165" y="332"/>
                </a:lnTo>
                <a:lnTo>
                  <a:pt x="165" y="333"/>
                </a:lnTo>
                <a:lnTo>
                  <a:pt x="166" y="333"/>
                </a:lnTo>
                <a:lnTo>
                  <a:pt x="166" y="334"/>
                </a:lnTo>
                <a:lnTo>
                  <a:pt x="165" y="336"/>
                </a:lnTo>
                <a:lnTo>
                  <a:pt x="162" y="336"/>
                </a:lnTo>
                <a:lnTo>
                  <a:pt x="161" y="337"/>
                </a:lnTo>
                <a:lnTo>
                  <a:pt x="158" y="337"/>
                </a:lnTo>
                <a:lnTo>
                  <a:pt x="154" y="333"/>
                </a:lnTo>
                <a:lnTo>
                  <a:pt x="154" y="331"/>
                </a:lnTo>
                <a:lnTo>
                  <a:pt x="153" y="331"/>
                </a:lnTo>
                <a:lnTo>
                  <a:pt x="153" y="329"/>
                </a:lnTo>
                <a:lnTo>
                  <a:pt x="149" y="329"/>
                </a:lnTo>
                <a:lnTo>
                  <a:pt x="147" y="326"/>
                </a:lnTo>
                <a:lnTo>
                  <a:pt x="147" y="325"/>
                </a:lnTo>
                <a:lnTo>
                  <a:pt x="148" y="324"/>
                </a:lnTo>
                <a:lnTo>
                  <a:pt x="150" y="324"/>
                </a:lnTo>
                <a:lnTo>
                  <a:pt x="153" y="323"/>
                </a:lnTo>
                <a:lnTo>
                  <a:pt x="153" y="321"/>
                </a:lnTo>
                <a:lnTo>
                  <a:pt x="154" y="321"/>
                </a:lnTo>
                <a:lnTo>
                  <a:pt x="153" y="320"/>
                </a:lnTo>
                <a:lnTo>
                  <a:pt x="153" y="315"/>
                </a:lnTo>
                <a:lnTo>
                  <a:pt x="152" y="314"/>
                </a:lnTo>
                <a:lnTo>
                  <a:pt x="150" y="314"/>
                </a:lnTo>
                <a:lnTo>
                  <a:pt x="150" y="315"/>
                </a:lnTo>
                <a:lnTo>
                  <a:pt x="149" y="318"/>
                </a:lnTo>
                <a:lnTo>
                  <a:pt x="142" y="318"/>
                </a:lnTo>
                <a:lnTo>
                  <a:pt x="141" y="319"/>
                </a:lnTo>
                <a:lnTo>
                  <a:pt x="140" y="319"/>
                </a:lnTo>
                <a:lnTo>
                  <a:pt x="140" y="318"/>
                </a:lnTo>
                <a:lnTo>
                  <a:pt x="137" y="318"/>
                </a:lnTo>
                <a:lnTo>
                  <a:pt x="137" y="319"/>
                </a:lnTo>
                <a:lnTo>
                  <a:pt x="136" y="318"/>
                </a:lnTo>
                <a:lnTo>
                  <a:pt x="136" y="314"/>
                </a:lnTo>
                <a:lnTo>
                  <a:pt x="133" y="314"/>
                </a:lnTo>
                <a:lnTo>
                  <a:pt x="131" y="313"/>
                </a:lnTo>
                <a:lnTo>
                  <a:pt x="130" y="313"/>
                </a:lnTo>
                <a:lnTo>
                  <a:pt x="130" y="311"/>
                </a:lnTo>
                <a:lnTo>
                  <a:pt x="127" y="311"/>
                </a:lnTo>
                <a:lnTo>
                  <a:pt x="127" y="309"/>
                </a:lnTo>
                <a:lnTo>
                  <a:pt x="125" y="309"/>
                </a:lnTo>
                <a:lnTo>
                  <a:pt x="122" y="308"/>
                </a:lnTo>
                <a:lnTo>
                  <a:pt x="121" y="308"/>
                </a:lnTo>
                <a:lnTo>
                  <a:pt x="119" y="307"/>
                </a:lnTo>
                <a:lnTo>
                  <a:pt x="116" y="307"/>
                </a:lnTo>
                <a:lnTo>
                  <a:pt x="117" y="308"/>
                </a:lnTo>
                <a:lnTo>
                  <a:pt x="118" y="311"/>
                </a:lnTo>
                <a:lnTo>
                  <a:pt x="118" y="313"/>
                </a:lnTo>
                <a:lnTo>
                  <a:pt x="119" y="314"/>
                </a:lnTo>
                <a:lnTo>
                  <a:pt x="119" y="315"/>
                </a:lnTo>
                <a:lnTo>
                  <a:pt x="121" y="315"/>
                </a:lnTo>
                <a:lnTo>
                  <a:pt x="122" y="317"/>
                </a:lnTo>
                <a:lnTo>
                  <a:pt x="122" y="319"/>
                </a:lnTo>
                <a:lnTo>
                  <a:pt x="123" y="320"/>
                </a:lnTo>
                <a:lnTo>
                  <a:pt x="123" y="321"/>
                </a:lnTo>
                <a:lnTo>
                  <a:pt x="122" y="321"/>
                </a:lnTo>
                <a:lnTo>
                  <a:pt x="122" y="320"/>
                </a:lnTo>
                <a:lnTo>
                  <a:pt x="121" y="320"/>
                </a:lnTo>
                <a:lnTo>
                  <a:pt x="121" y="321"/>
                </a:lnTo>
                <a:lnTo>
                  <a:pt x="118" y="321"/>
                </a:lnTo>
                <a:lnTo>
                  <a:pt x="117" y="323"/>
                </a:lnTo>
                <a:lnTo>
                  <a:pt x="115" y="323"/>
                </a:lnTo>
                <a:lnTo>
                  <a:pt x="112" y="325"/>
                </a:lnTo>
                <a:lnTo>
                  <a:pt x="112" y="326"/>
                </a:lnTo>
                <a:lnTo>
                  <a:pt x="110" y="329"/>
                </a:lnTo>
                <a:lnTo>
                  <a:pt x="106" y="329"/>
                </a:lnTo>
                <a:lnTo>
                  <a:pt x="104" y="326"/>
                </a:lnTo>
                <a:lnTo>
                  <a:pt x="104" y="325"/>
                </a:lnTo>
                <a:lnTo>
                  <a:pt x="103" y="323"/>
                </a:lnTo>
                <a:lnTo>
                  <a:pt x="103" y="321"/>
                </a:lnTo>
                <a:lnTo>
                  <a:pt x="100" y="319"/>
                </a:lnTo>
                <a:lnTo>
                  <a:pt x="99" y="317"/>
                </a:lnTo>
                <a:lnTo>
                  <a:pt x="98" y="315"/>
                </a:lnTo>
                <a:lnTo>
                  <a:pt x="96" y="314"/>
                </a:lnTo>
                <a:lnTo>
                  <a:pt x="94" y="313"/>
                </a:lnTo>
                <a:lnTo>
                  <a:pt x="94" y="311"/>
                </a:lnTo>
                <a:lnTo>
                  <a:pt x="91" y="311"/>
                </a:lnTo>
                <a:lnTo>
                  <a:pt x="90" y="308"/>
                </a:lnTo>
                <a:lnTo>
                  <a:pt x="89" y="308"/>
                </a:lnTo>
                <a:lnTo>
                  <a:pt x="89" y="306"/>
                </a:lnTo>
                <a:lnTo>
                  <a:pt x="90" y="306"/>
                </a:lnTo>
                <a:lnTo>
                  <a:pt x="90" y="305"/>
                </a:lnTo>
                <a:lnTo>
                  <a:pt x="91" y="305"/>
                </a:lnTo>
                <a:lnTo>
                  <a:pt x="92" y="303"/>
                </a:lnTo>
                <a:lnTo>
                  <a:pt x="92" y="302"/>
                </a:lnTo>
                <a:lnTo>
                  <a:pt x="96" y="302"/>
                </a:lnTo>
                <a:lnTo>
                  <a:pt x="96" y="301"/>
                </a:lnTo>
                <a:lnTo>
                  <a:pt x="97" y="301"/>
                </a:lnTo>
                <a:lnTo>
                  <a:pt x="97" y="299"/>
                </a:lnTo>
                <a:lnTo>
                  <a:pt x="98" y="297"/>
                </a:lnTo>
                <a:lnTo>
                  <a:pt x="98" y="296"/>
                </a:lnTo>
                <a:lnTo>
                  <a:pt x="93" y="291"/>
                </a:lnTo>
                <a:lnTo>
                  <a:pt x="90" y="291"/>
                </a:lnTo>
                <a:lnTo>
                  <a:pt x="89" y="293"/>
                </a:lnTo>
                <a:lnTo>
                  <a:pt x="89" y="294"/>
                </a:lnTo>
                <a:lnTo>
                  <a:pt x="87" y="294"/>
                </a:lnTo>
                <a:lnTo>
                  <a:pt x="85" y="293"/>
                </a:lnTo>
                <a:lnTo>
                  <a:pt x="84" y="293"/>
                </a:lnTo>
                <a:lnTo>
                  <a:pt x="81" y="295"/>
                </a:lnTo>
                <a:lnTo>
                  <a:pt x="79" y="295"/>
                </a:lnTo>
                <a:lnTo>
                  <a:pt x="79" y="294"/>
                </a:lnTo>
                <a:lnTo>
                  <a:pt x="80" y="294"/>
                </a:lnTo>
                <a:lnTo>
                  <a:pt x="80" y="293"/>
                </a:lnTo>
                <a:lnTo>
                  <a:pt x="79" y="291"/>
                </a:lnTo>
                <a:lnTo>
                  <a:pt x="79" y="290"/>
                </a:lnTo>
                <a:lnTo>
                  <a:pt x="78" y="290"/>
                </a:lnTo>
                <a:lnTo>
                  <a:pt x="78" y="289"/>
                </a:lnTo>
                <a:lnTo>
                  <a:pt x="75" y="290"/>
                </a:lnTo>
                <a:lnTo>
                  <a:pt x="73" y="290"/>
                </a:lnTo>
                <a:lnTo>
                  <a:pt x="72" y="287"/>
                </a:lnTo>
                <a:lnTo>
                  <a:pt x="71" y="286"/>
                </a:lnTo>
                <a:lnTo>
                  <a:pt x="67" y="287"/>
                </a:lnTo>
                <a:lnTo>
                  <a:pt x="66" y="287"/>
                </a:lnTo>
                <a:lnTo>
                  <a:pt x="66" y="286"/>
                </a:lnTo>
                <a:lnTo>
                  <a:pt x="65" y="286"/>
                </a:lnTo>
                <a:lnTo>
                  <a:pt x="56" y="282"/>
                </a:lnTo>
                <a:lnTo>
                  <a:pt x="55" y="282"/>
                </a:lnTo>
                <a:lnTo>
                  <a:pt x="54" y="283"/>
                </a:lnTo>
                <a:lnTo>
                  <a:pt x="54" y="284"/>
                </a:lnTo>
                <a:lnTo>
                  <a:pt x="53" y="284"/>
                </a:lnTo>
                <a:lnTo>
                  <a:pt x="53" y="280"/>
                </a:lnTo>
                <a:lnTo>
                  <a:pt x="50" y="280"/>
                </a:lnTo>
                <a:lnTo>
                  <a:pt x="50" y="278"/>
                </a:lnTo>
                <a:lnTo>
                  <a:pt x="49" y="278"/>
                </a:lnTo>
                <a:lnTo>
                  <a:pt x="49" y="276"/>
                </a:lnTo>
                <a:lnTo>
                  <a:pt x="48" y="275"/>
                </a:lnTo>
                <a:lnTo>
                  <a:pt x="49" y="274"/>
                </a:lnTo>
                <a:lnTo>
                  <a:pt x="49" y="272"/>
                </a:lnTo>
                <a:lnTo>
                  <a:pt x="47" y="270"/>
                </a:lnTo>
                <a:lnTo>
                  <a:pt x="44" y="270"/>
                </a:lnTo>
                <a:lnTo>
                  <a:pt x="44" y="268"/>
                </a:lnTo>
                <a:lnTo>
                  <a:pt x="43" y="269"/>
                </a:lnTo>
                <a:lnTo>
                  <a:pt x="43" y="270"/>
                </a:lnTo>
                <a:lnTo>
                  <a:pt x="42" y="270"/>
                </a:lnTo>
                <a:lnTo>
                  <a:pt x="41" y="269"/>
                </a:lnTo>
                <a:lnTo>
                  <a:pt x="38" y="269"/>
                </a:lnTo>
                <a:lnTo>
                  <a:pt x="38" y="268"/>
                </a:lnTo>
                <a:lnTo>
                  <a:pt x="37" y="268"/>
                </a:lnTo>
                <a:lnTo>
                  <a:pt x="37" y="269"/>
                </a:lnTo>
                <a:lnTo>
                  <a:pt x="36" y="269"/>
                </a:lnTo>
                <a:lnTo>
                  <a:pt x="36" y="270"/>
                </a:lnTo>
                <a:lnTo>
                  <a:pt x="37" y="271"/>
                </a:lnTo>
                <a:lnTo>
                  <a:pt x="37" y="278"/>
                </a:lnTo>
                <a:lnTo>
                  <a:pt x="30" y="278"/>
                </a:lnTo>
                <a:lnTo>
                  <a:pt x="30" y="276"/>
                </a:lnTo>
                <a:lnTo>
                  <a:pt x="32" y="275"/>
                </a:lnTo>
                <a:lnTo>
                  <a:pt x="34" y="269"/>
                </a:lnTo>
                <a:lnTo>
                  <a:pt x="36" y="264"/>
                </a:lnTo>
                <a:lnTo>
                  <a:pt x="36" y="262"/>
                </a:lnTo>
                <a:lnTo>
                  <a:pt x="37" y="262"/>
                </a:lnTo>
                <a:lnTo>
                  <a:pt x="37" y="256"/>
                </a:lnTo>
                <a:lnTo>
                  <a:pt x="38" y="254"/>
                </a:lnTo>
                <a:lnTo>
                  <a:pt x="38" y="250"/>
                </a:lnTo>
                <a:lnTo>
                  <a:pt x="36" y="247"/>
                </a:lnTo>
                <a:lnTo>
                  <a:pt x="36" y="239"/>
                </a:lnTo>
                <a:lnTo>
                  <a:pt x="35" y="238"/>
                </a:lnTo>
                <a:lnTo>
                  <a:pt x="34" y="238"/>
                </a:lnTo>
                <a:lnTo>
                  <a:pt x="32" y="237"/>
                </a:lnTo>
                <a:lnTo>
                  <a:pt x="31" y="237"/>
                </a:lnTo>
                <a:lnTo>
                  <a:pt x="30" y="235"/>
                </a:lnTo>
                <a:lnTo>
                  <a:pt x="29" y="235"/>
                </a:lnTo>
                <a:lnTo>
                  <a:pt x="27" y="234"/>
                </a:lnTo>
                <a:lnTo>
                  <a:pt x="25" y="233"/>
                </a:lnTo>
                <a:lnTo>
                  <a:pt x="25" y="231"/>
                </a:lnTo>
                <a:lnTo>
                  <a:pt x="27" y="229"/>
                </a:lnTo>
                <a:lnTo>
                  <a:pt x="27" y="223"/>
                </a:lnTo>
                <a:lnTo>
                  <a:pt x="24" y="221"/>
                </a:lnTo>
                <a:lnTo>
                  <a:pt x="23" y="221"/>
                </a:lnTo>
                <a:lnTo>
                  <a:pt x="23" y="217"/>
                </a:lnTo>
                <a:lnTo>
                  <a:pt x="21" y="215"/>
                </a:lnTo>
                <a:lnTo>
                  <a:pt x="21" y="211"/>
                </a:lnTo>
                <a:lnTo>
                  <a:pt x="24" y="208"/>
                </a:lnTo>
                <a:lnTo>
                  <a:pt x="24" y="207"/>
                </a:lnTo>
                <a:lnTo>
                  <a:pt x="25" y="205"/>
                </a:lnTo>
                <a:lnTo>
                  <a:pt x="25" y="201"/>
                </a:lnTo>
                <a:lnTo>
                  <a:pt x="27" y="200"/>
                </a:lnTo>
                <a:lnTo>
                  <a:pt x="27" y="197"/>
                </a:lnTo>
                <a:lnTo>
                  <a:pt x="28" y="196"/>
                </a:lnTo>
                <a:lnTo>
                  <a:pt x="24" y="192"/>
                </a:lnTo>
                <a:lnTo>
                  <a:pt x="25" y="191"/>
                </a:lnTo>
                <a:lnTo>
                  <a:pt x="25" y="184"/>
                </a:lnTo>
                <a:lnTo>
                  <a:pt x="24" y="183"/>
                </a:lnTo>
                <a:lnTo>
                  <a:pt x="23" y="183"/>
                </a:lnTo>
                <a:lnTo>
                  <a:pt x="22" y="182"/>
                </a:lnTo>
                <a:lnTo>
                  <a:pt x="21" y="182"/>
                </a:lnTo>
                <a:lnTo>
                  <a:pt x="21" y="180"/>
                </a:lnTo>
                <a:lnTo>
                  <a:pt x="19" y="178"/>
                </a:lnTo>
                <a:lnTo>
                  <a:pt x="18" y="174"/>
                </a:lnTo>
                <a:lnTo>
                  <a:pt x="18" y="172"/>
                </a:lnTo>
                <a:lnTo>
                  <a:pt x="22" y="168"/>
                </a:lnTo>
                <a:lnTo>
                  <a:pt x="22" y="164"/>
                </a:lnTo>
                <a:lnTo>
                  <a:pt x="23" y="161"/>
                </a:lnTo>
                <a:lnTo>
                  <a:pt x="19" y="158"/>
                </a:lnTo>
                <a:lnTo>
                  <a:pt x="16" y="157"/>
                </a:lnTo>
                <a:lnTo>
                  <a:pt x="15" y="154"/>
                </a:lnTo>
                <a:lnTo>
                  <a:pt x="13" y="154"/>
                </a:lnTo>
                <a:lnTo>
                  <a:pt x="12" y="151"/>
                </a:lnTo>
                <a:lnTo>
                  <a:pt x="7" y="147"/>
                </a:lnTo>
                <a:lnTo>
                  <a:pt x="5" y="145"/>
                </a:lnTo>
                <a:lnTo>
                  <a:pt x="3" y="145"/>
                </a:lnTo>
                <a:lnTo>
                  <a:pt x="0" y="142"/>
                </a:lnTo>
                <a:lnTo>
                  <a:pt x="2" y="141"/>
                </a:lnTo>
                <a:lnTo>
                  <a:pt x="3" y="141"/>
                </a:lnTo>
                <a:lnTo>
                  <a:pt x="3" y="139"/>
                </a:lnTo>
                <a:lnTo>
                  <a:pt x="2" y="136"/>
                </a:lnTo>
                <a:lnTo>
                  <a:pt x="2" y="135"/>
                </a:lnTo>
                <a:lnTo>
                  <a:pt x="4" y="133"/>
                </a:lnTo>
                <a:lnTo>
                  <a:pt x="9" y="130"/>
                </a:lnTo>
                <a:lnTo>
                  <a:pt x="10" y="128"/>
                </a:lnTo>
                <a:lnTo>
                  <a:pt x="11" y="127"/>
                </a:lnTo>
                <a:lnTo>
                  <a:pt x="12" y="123"/>
                </a:lnTo>
                <a:lnTo>
                  <a:pt x="12" y="121"/>
                </a:lnTo>
                <a:lnTo>
                  <a:pt x="11" y="119"/>
                </a:lnTo>
                <a:lnTo>
                  <a:pt x="12" y="118"/>
                </a:lnTo>
                <a:lnTo>
                  <a:pt x="12" y="117"/>
                </a:lnTo>
                <a:lnTo>
                  <a:pt x="13" y="117"/>
                </a:lnTo>
                <a:lnTo>
                  <a:pt x="13" y="116"/>
                </a:lnTo>
                <a:lnTo>
                  <a:pt x="15" y="115"/>
                </a:lnTo>
                <a:lnTo>
                  <a:pt x="13" y="114"/>
                </a:lnTo>
                <a:lnTo>
                  <a:pt x="13" y="112"/>
                </a:lnTo>
                <a:lnTo>
                  <a:pt x="12" y="112"/>
                </a:lnTo>
                <a:lnTo>
                  <a:pt x="12" y="109"/>
                </a:lnTo>
                <a:lnTo>
                  <a:pt x="11" y="104"/>
                </a:lnTo>
                <a:lnTo>
                  <a:pt x="11" y="100"/>
                </a:lnTo>
                <a:lnTo>
                  <a:pt x="10" y="99"/>
                </a:lnTo>
                <a:lnTo>
                  <a:pt x="10" y="98"/>
                </a:lnTo>
                <a:lnTo>
                  <a:pt x="9" y="96"/>
                </a:lnTo>
                <a:lnTo>
                  <a:pt x="9" y="90"/>
                </a:lnTo>
                <a:lnTo>
                  <a:pt x="7" y="87"/>
                </a:lnTo>
                <a:lnTo>
                  <a:pt x="6" y="86"/>
                </a:lnTo>
                <a:lnTo>
                  <a:pt x="6" y="82"/>
                </a:lnTo>
                <a:lnTo>
                  <a:pt x="7" y="82"/>
                </a:lnTo>
                <a:lnTo>
                  <a:pt x="9" y="81"/>
                </a:lnTo>
                <a:lnTo>
                  <a:pt x="7" y="80"/>
                </a:lnTo>
                <a:lnTo>
                  <a:pt x="10" y="80"/>
                </a:lnTo>
                <a:lnTo>
                  <a:pt x="10" y="81"/>
                </a:lnTo>
                <a:lnTo>
                  <a:pt x="11" y="81"/>
                </a:lnTo>
                <a:lnTo>
                  <a:pt x="12" y="82"/>
                </a:lnTo>
                <a:lnTo>
                  <a:pt x="12" y="84"/>
                </a:lnTo>
                <a:lnTo>
                  <a:pt x="15" y="84"/>
                </a:lnTo>
                <a:lnTo>
                  <a:pt x="17" y="85"/>
                </a:lnTo>
                <a:lnTo>
                  <a:pt x="18" y="85"/>
                </a:lnTo>
                <a:lnTo>
                  <a:pt x="18" y="86"/>
                </a:lnTo>
                <a:lnTo>
                  <a:pt x="21" y="88"/>
                </a:lnTo>
                <a:lnTo>
                  <a:pt x="21" y="87"/>
                </a:lnTo>
                <a:lnTo>
                  <a:pt x="22" y="87"/>
                </a:lnTo>
                <a:lnTo>
                  <a:pt x="22" y="86"/>
                </a:lnTo>
                <a:lnTo>
                  <a:pt x="21" y="86"/>
                </a:lnTo>
                <a:lnTo>
                  <a:pt x="19" y="85"/>
                </a:lnTo>
                <a:lnTo>
                  <a:pt x="18" y="82"/>
                </a:lnTo>
                <a:lnTo>
                  <a:pt x="19" y="80"/>
                </a:lnTo>
                <a:lnTo>
                  <a:pt x="19" y="78"/>
                </a:lnTo>
                <a:lnTo>
                  <a:pt x="22" y="78"/>
                </a:lnTo>
                <a:lnTo>
                  <a:pt x="22" y="73"/>
                </a:lnTo>
                <a:lnTo>
                  <a:pt x="21" y="74"/>
                </a:lnTo>
                <a:lnTo>
                  <a:pt x="19" y="74"/>
                </a:lnTo>
                <a:lnTo>
                  <a:pt x="19" y="73"/>
                </a:lnTo>
                <a:lnTo>
                  <a:pt x="21" y="73"/>
                </a:lnTo>
                <a:lnTo>
                  <a:pt x="19" y="72"/>
                </a:lnTo>
                <a:lnTo>
                  <a:pt x="19" y="71"/>
                </a:lnTo>
                <a:lnTo>
                  <a:pt x="15" y="71"/>
                </a:lnTo>
                <a:lnTo>
                  <a:pt x="13" y="69"/>
                </a:lnTo>
                <a:lnTo>
                  <a:pt x="15" y="68"/>
                </a:lnTo>
                <a:lnTo>
                  <a:pt x="11" y="68"/>
                </a:lnTo>
                <a:lnTo>
                  <a:pt x="11" y="69"/>
                </a:lnTo>
                <a:lnTo>
                  <a:pt x="12" y="69"/>
                </a:lnTo>
                <a:lnTo>
                  <a:pt x="13" y="71"/>
                </a:lnTo>
                <a:lnTo>
                  <a:pt x="13" y="72"/>
                </a:lnTo>
                <a:lnTo>
                  <a:pt x="12" y="72"/>
                </a:lnTo>
                <a:lnTo>
                  <a:pt x="11" y="73"/>
                </a:lnTo>
                <a:lnTo>
                  <a:pt x="10" y="73"/>
                </a:lnTo>
                <a:lnTo>
                  <a:pt x="10" y="74"/>
                </a:lnTo>
                <a:lnTo>
                  <a:pt x="9" y="74"/>
                </a:lnTo>
                <a:lnTo>
                  <a:pt x="4" y="69"/>
                </a:lnTo>
                <a:lnTo>
                  <a:pt x="4" y="68"/>
                </a:lnTo>
                <a:lnTo>
                  <a:pt x="3" y="68"/>
                </a:lnTo>
                <a:lnTo>
                  <a:pt x="4" y="67"/>
                </a:lnTo>
                <a:lnTo>
                  <a:pt x="4" y="66"/>
                </a:lnTo>
                <a:lnTo>
                  <a:pt x="5" y="66"/>
                </a:lnTo>
                <a:lnTo>
                  <a:pt x="7" y="67"/>
                </a:lnTo>
                <a:lnTo>
                  <a:pt x="12" y="67"/>
                </a:lnTo>
                <a:lnTo>
                  <a:pt x="15" y="66"/>
                </a:lnTo>
                <a:lnTo>
                  <a:pt x="17" y="63"/>
                </a:lnTo>
                <a:lnTo>
                  <a:pt x="29" y="59"/>
                </a:lnTo>
                <a:lnTo>
                  <a:pt x="38" y="56"/>
                </a:lnTo>
                <a:lnTo>
                  <a:pt x="50" y="51"/>
                </a:lnTo>
                <a:lnTo>
                  <a:pt x="58" y="49"/>
                </a:lnTo>
                <a:lnTo>
                  <a:pt x="66" y="47"/>
                </a:lnTo>
                <a:lnTo>
                  <a:pt x="74" y="43"/>
                </a:lnTo>
                <a:lnTo>
                  <a:pt x="81" y="42"/>
                </a:lnTo>
                <a:lnTo>
                  <a:pt x="84" y="42"/>
                </a:lnTo>
                <a:lnTo>
                  <a:pt x="83" y="42"/>
                </a:lnTo>
                <a:lnTo>
                  <a:pt x="84" y="43"/>
                </a:lnTo>
                <a:lnTo>
                  <a:pt x="87" y="42"/>
                </a:lnTo>
                <a:lnTo>
                  <a:pt x="87" y="41"/>
                </a:lnTo>
                <a:lnTo>
                  <a:pt x="89" y="41"/>
                </a:lnTo>
                <a:lnTo>
                  <a:pt x="89" y="39"/>
                </a:lnTo>
                <a:lnTo>
                  <a:pt x="87" y="39"/>
                </a:lnTo>
                <a:lnTo>
                  <a:pt x="90" y="37"/>
                </a:lnTo>
                <a:lnTo>
                  <a:pt x="92" y="37"/>
                </a:lnTo>
                <a:lnTo>
                  <a:pt x="92" y="36"/>
                </a:lnTo>
                <a:lnTo>
                  <a:pt x="93" y="36"/>
                </a:lnTo>
                <a:lnTo>
                  <a:pt x="94" y="35"/>
                </a:lnTo>
                <a:lnTo>
                  <a:pt x="93" y="34"/>
                </a:lnTo>
                <a:lnTo>
                  <a:pt x="92" y="35"/>
                </a:lnTo>
                <a:lnTo>
                  <a:pt x="93" y="32"/>
                </a:lnTo>
                <a:lnTo>
                  <a:pt x="98" y="25"/>
                </a:lnTo>
                <a:lnTo>
                  <a:pt x="98" y="26"/>
                </a:lnTo>
                <a:lnTo>
                  <a:pt x="99" y="28"/>
                </a:lnTo>
                <a:lnTo>
                  <a:pt x="99" y="26"/>
                </a:lnTo>
                <a:lnTo>
                  <a:pt x="100" y="26"/>
                </a:lnTo>
                <a:lnTo>
                  <a:pt x="100" y="25"/>
                </a:lnTo>
                <a:lnTo>
                  <a:pt x="99" y="25"/>
                </a:lnTo>
                <a:lnTo>
                  <a:pt x="99" y="24"/>
                </a:lnTo>
                <a:lnTo>
                  <a:pt x="102" y="23"/>
                </a:lnTo>
                <a:lnTo>
                  <a:pt x="104" y="20"/>
                </a:lnTo>
                <a:lnTo>
                  <a:pt x="112" y="19"/>
                </a:lnTo>
                <a:lnTo>
                  <a:pt x="116" y="18"/>
                </a:lnTo>
                <a:lnTo>
                  <a:pt x="118" y="18"/>
                </a:lnTo>
                <a:lnTo>
                  <a:pt x="119" y="17"/>
                </a:lnTo>
                <a:lnTo>
                  <a:pt x="124" y="13"/>
                </a:lnTo>
                <a:lnTo>
                  <a:pt x="136" y="7"/>
                </a:lnTo>
                <a:lnTo>
                  <a:pt x="153" y="4"/>
                </a:lnTo>
                <a:lnTo>
                  <a:pt x="160" y="1"/>
                </a:lnTo>
                <a:lnTo>
                  <a:pt x="171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" name="Freeform 23">
            <a:extLst>
              <a:ext uri="{FF2B5EF4-FFF2-40B4-BE49-F238E27FC236}">
                <a16:creationId xmlns:a16="http://schemas.microsoft.com/office/drawing/2014/main" id="{968A5611-8A2D-4B25-BF03-8535B93D13A8}"/>
              </a:ext>
            </a:extLst>
          </p:cNvPr>
          <p:cNvSpPr>
            <a:spLocks noEditPoints="1"/>
          </p:cNvSpPr>
          <p:nvPr/>
        </p:nvSpPr>
        <p:spPr bwMode="auto">
          <a:xfrm>
            <a:off x="1435997" y="4364061"/>
            <a:ext cx="234728" cy="281094"/>
          </a:xfrm>
          <a:custGeom>
            <a:avLst/>
            <a:gdLst/>
            <a:ahLst/>
            <a:cxnLst>
              <a:cxn ang="0">
                <a:pos x="22" y="154"/>
              </a:cxn>
              <a:cxn ang="0">
                <a:pos x="32" y="153"/>
              </a:cxn>
              <a:cxn ang="0">
                <a:pos x="25" y="162"/>
              </a:cxn>
              <a:cxn ang="0">
                <a:pos x="7" y="158"/>
              </a:cxn>
              <a:cxn ang="0">
                <a:pos x="60" y="148"/>
              </a:cxn>
              <a:cxn ang="0">
                <a:pos x="65" y="29"/>
              </a:cxn>
              <a:cxn ang="0">
                <a:pos x="62" y="31"/>
              </a:cxn>
              <a:cxn ang="0">
                <a:pos x="65" y="24"/>
              </a:cxn>
              <a:cxn ang="0">
                <a:pos x="86" y="12"/>
              </a:cxn>
              <a:cxn ang="0">
                <a:pos x="81" y="11"/>
              </a:cxn>
              <a:cxn ang="0">
                <a:pos x="150" y="16"/>
              </a:cxn>
              <a:cxn ang="0">
                <a:pos x="158" y="22"/>
              </a:cxn>
              <a:cxn ang="0">
                <a:pos x="161" y="44"/>
              </a:cxn>
              <a:cxn ang="0">
                <a:pos x="144" y="65"/>
              </a:cxn>
              <a:cxn ang="0">
                <a:pos x="143" y="78"/>
              </a:cxn>
              <a:cxn ang="0">
                <a:pos x="155" y="93"/>
              </a:cxn>
              <a:cxn ang="0">
                <a:pos x="143" y="102"/>
              </a:cxn>
              <a:cxn ang="0">
                <a:pos x="146" y="110"/>
              </a:cxn>
              <a:cxn ang="0">
                <a:pos x="135" y="117"/>
              </a:cxn>
              <a:cxn ang="0">
                <a:pos x="125" y="119"/>
              </a:cxn>
              <a:cxn ang="0">
                <a:pos x="118" y="119"/>
              </a:cxn>
              <a:cxn ang="0">
                <a:pos x="110" y="128"/>
              </a:cxn>
              <a:cxn ang="0">
                <a:pos x="118" y="141"/>
              </a:cxn>
              <a:cxn ang="0">
                <a:pos x="115" y="165"/>
              </a:cxn>
              <a:cxn ang="0">
                <a:pos x="109" y="174"/>
              </a:cxn>
              <a:cxn ang="0">
                <a:pos x="112" y="179"/>
              </a:cxn>
              <a:cxn ang="0">
                <a:pos x="111" y="191"/>
              </a:cxn>
              <a:cxn ang="0">
                <a:pos x="99" y="190"/>
              </a:cxn>
              <a:cxn ang="0">
                <a:pos x="100" y="179"/>
              </a:cxn>
              <a:cxn ang="0">
                <a:pos x="103" y="166"/>
              </a:cxn>
              <a:cxn ang="0">
                <a:pos x="92" y="158"/>
              </a:cxn>
              <a:cxn ang="0">
                <a:pos x="75" y="155"/>
              </a:cxn>
              <a:cxn ang="0">
                <a:pos x="69" y="147"/>
              </a:cxn>
              <a:cxn ang="0">
                <a:pos x="60" y="143"/>
              </a:cxn>
              <a:cxn ang="0">
                <a:pos x="43" y="147"/>
              </a:cxn>
              <a:cxn ang="0">
                <a:pos x="38" y="149"/>
              </a:cxn>
              <a:cxn ang="0">
                <a:pos x="25" y="147"/>
              </a:cxn>
              <a:cxn ang="0">
                <a:pos x="9" y="147"/>
              </a:cxn>
              <a:cxn ang="0">
                <a:pos x="5" y="140"/>
              </a:cxn>
              <a:cxn ang="0">
                <a:pos x="23" y="140"/>
              </a:cxn>
              <a:cxn ang="0">
                <a:pos x="40" y="143"/>
              </a:cxn>
              <a:cxn ang="0">
                <a:pos x="36" y="135"/>
              </a:cxn>
              <a:cxn ang="0">
                <a:pos x="23" y="133"/>
              </a:cxn>
              <a:cxn ang="0">
                <a:pos x="15" y="128"/>
              </a:cxn>
              <a:cxn ang="0">
                <a:pos x="34" y="130"/>
              </a:cxn>
              <a:cxn ang="0">
                <a:pos x="23" y="123"/>
              </a:cxn>
              <a:cxn ang="0">
                <a:pos x="29" y="116"/>
              </a:cxn>
              <a:cxn ang="0">
                <a:pos x="44" y="93"/>
              </a:cxn>
              <a:cxn ang="0">
                <a:pos x="57" y="49"/>
              </a:cxn>
              <a:cxn ang="0">
                <a:pos x="69" y="44"/>
              </a:cxn>
              <a:cxn ang="0">
                <a:pos x="88" y="24"/>
              </a:cxn>
              <a:cxn ang="0">
                <a:pos x="99" y="17"/>
              </a:cxn>
              <a:cxn ang="0">
                <a:pos x="133" y="8"/>
              </a:cxn>
              <a:cxn ang="0">
                <a:pos x="109" y="6"/>
              </a:cxn>
              <a:cxn ang="0">
                <a:pos x="121" y="4"/>
              </a:cxn>
              <a:cxn ang="0">
                <a:pos x="121" y="4"/>
              </a:cxn>
            </a:cxnLst>
            <a:rect l="0" t="0" r="r" b="b"/>
            <a:pathLst>
              <a:path w="162" h="194">
                <a:moveTo>
                  <a:pt x="7" y="149"/>
                </a:moveTo>
                <a:lnTo>
                  <a:pt x="9" y="149"/>
                </a:lnTo>
                <a:lnTo>
                  <a:pt x="11" y="151"/>
                </a:lnTo>
                <a:lnTo>
                  <a:pt x="16" y="152"/>
                </a:lnTo>
                <a:lnTo>
                  <a:pt x="17" y="153"/>
                </a:lnTo>
                <a:lnTo>
                  <a:pt x="19" y="153"/>
                </a:lnTo>
                <a:lnTo>
                  <a:pt x="20" y="154"/>
                </a:lnTo>
                <a:lnTo>
                  <a:pt x="22" y="154"/>
                </a:lnTo>
                <a:lnTo>
                  <a:pt x="25" y="152"/>
                </a:lnTo>
                <a:lnTo>
                  <a:pt x="26" y="152"/>
                </a:lnTo>
                <a:lnTo>
                  <a:pt x="26" y="149"/>
                </a:lnTo>
                <a:lnTo>
                  <a:pt x="29" y="149"/>
                </a:lnTo>
                <a:lnTo>
                  <a:pt x="30" y="151"/>
                </a:lnTo>
                <a:lnTo>
                  <a:pt x="30" y="152"/>
                </a:lnTo>
                <a:lnTo>
                  <a:pt x="32" y="152"/>
                </a:lnTo>
                <a:lnTo>
                  <a:pt x="32" y="153"/>
                </a:lnTo>
                <a:lnTo>
                  <a:pt x="35" y="153"/>
                </a:lnTo>
                <a:lnTo>
                  <a:pt x="35" y="152"/>
                </a:lnTo>
                <a:lnTo>
                  <a:pt x="37" y="152"/>
                </a:lnTo>
                <a:lnTo>
                  <a:pt x="37" y="154"/>
                </a:lnTo>
                <a:lnTo>
                  <a:pt x="36" y="154"/>
                </a:lnTo>
                <a:lnTo>
                  <a:pt x="35" y="156"/>
                </a:lnTo>
                <a:lnTo>
                  <a:pt x="32" y="159"/>
                </a:lnTo>
                <a:lnTo>
                  <a:pt x="25" y="162"/>
                </a:lnTo>
                <a:lnTo>
                  <a:pt x="24" y="162"/>
                </a:lnTo>
                <a:lnTo>
                  <a:pt x="19" y="164"/>
                </a:lnTo>
                <a:lnTo>
                  <a:pt x="19" y="162"/>
                </a:lnTo>
                <a:lnTo>
                  <a:pt x="18" y="162"/>
                </a:lnTo>
                <a:lnTo>
                  <a:pt x="18" y="160"/>
                </a:lnTo>
                <a:lnTo>
                  <a:pt x="17" y="159"/>
                </a:lnTo>
                <a:lnTo>
                  <a:pt x="12" y="158"/>
                </a:lnTo>
                <a:lnTo>
                  <a:pt x="7" y="158"/>
                </a:lnTo>
                <a:lnTo>
                  <a:pt x="6" y="159"/>
                </a:lnTo>
                <a:lnTo>
                  <a:pt x="7" y="160"/>
                </a:lnTo>
                <a:lnTo>
                  <a:pt x="6" y="161"/>
                </a:lnTo>
                <a:lnTo>
                  <a:pt x="4" y="161"/>
                </a:lnTo>
                <a:lnTo>
                  <a:pt x="0" y="158"/>
                </a:lnTo>
                <a:lnTo>
                  <a:pt x="0" y="152"/>
                </a:lnTo>
                <a:lnTo>
                  <a:pt x="7" y="149"/>
                </a:lnTo>
                <a:close/>
                <a:moveTo>
                  <a:pt x="60" y="148"/>
                </a:moveTo>
                <a:lnTo>
                  <a:pt x="61" y="148"/>
                </a:lnTo>
                <a:lnTo>
                  <a:pt x="62" y="149"/>
                </a:lnTo>
                <a:lnTo>
                  <a:pt x="60" y="149"/>
                </a:lnTo>
                <a:lnTo>
                  <a:pt x="60" y="148"/>
                </a:lnTo>
                <a:close/>
                <a:moveTo>
                  <a:pt x="63" y="26"/>
                </a:moveTo>
                <a:lnTo>
                  <a:pt x="65" y="26"/>
                </a:lnTo>
                <a:lnTo>
                  <a:pt x="66" y="27"/>
                </a:lnTo>
                <a:lnTo>
                  <a:pt x="65" y="29"/>
                </a:lnTo>
                <a:lnTo>
                  <a:pt x="66" y="29"/>
                </a:lnTo>
                <a:lnTo>
                  <a:pt x="66" y="35"/>
                </a:lnTo>
                <a:lnTo>
                  <a:pt x="60" y="41"/>
                </a:lnTo>
                <a:lnTo>
                  <a:pt x="57" y="38"/>
                </a:lnTo>
                <a:lnTo>
                  <a:pt x="57" y="36"/>
                </a:lnTo>
                <a:lnTo>
                  <a:pt x="59" y="33"/>
                </a:lnTo>
                <a:lnTo>
                  <a:pt x="60" y="32"/>
                </a:lnTo>
                <a:lnTo>
                  <a:pt x="62" y="31"/>
                </a:lnTo>
                <a:lnTo>
                  <a:pt x="62" y="29"/>
                </a:lnTo>
                <a:lnTo>
                  <a:pt x="63" y="26"/>
                </a:lnTo>
                <a:close/>
                <a:moveTo>
                  <a:pt x="72" y="18"/>
                </a:moveTo>
                <a:lnTo>
                  <a:pt x="73" y="18"/>
                </a:lnTo>
                <a:lnTo>
                  <a:pt x="73" y="19"/>
                </a:lnTo>
                <a:lnTo>
                  <a:pt x="72" y="19"/>
                </a:lnTo>
                <a:lnTo>
                  <a:pt x="66" y="25"/>
                </a:lnTo>
                <a:lnTo>
                  <a:pt x="65" y="24"/>
                </a:lnTo>
                <a:lnTo>
                  <a:pt x="69" y="19"/>
                </a:lnTo>
                <a:lnTo>
                  <a:pt x="72" y="18"/>
                </a:lnTo>
                <a:close/>
                <a:moveTo>
                  <a:pt x="94" y="8"/>
                </a:moveTo>
                <a:lnTo>
                  <a:pt x="93" y="10"/>
                </a:lnTo>
                <a:lnTo>
                  <a:pt x="90" y="10"/>
                </a:lnTo>
                <a:lnTo>
                  <a:pt x="90" y="11"/>
                </a:lnTo>
                <a:lnTo>
                  <a:pt x="88" y="11"/>
                </a:lnTo>
                <a:lnTo>
                  <a:pt x="86" y="12"/>
                </a:lnTo>
                <a:lnTo>
                  <a:pt x="85" y="12"/>
                </a:lnTo>
                <a:lnTo>
                  <a:pt x="79" y="16"/>
                </a:lnTo>
                <a:lnTo>
                  <a:pt x="78" y="16"/>
                </a:lnTo>
                <a:lnTo>
                  <a:pt x="76" y="14"/>
                </a:lnTo>
                <a:lnTo>
                  <a:pt x="78" y="13"/>
                </a:lnTo>
                <a:lnTo>
                  <a:pt x="80" y="12"/>
                </a:lnTo>
                <a:lnTo>
                  <a:pt x="80" y="11"/>
                </a:lnTo>
                <a:lnTo>
                  <a:pt x="81" y="11"/>
                </a:lnTo>
                <a:lnTo>
                  <a:pt x="87" y="10"/>
                </a:lnTo>
                <a:lnTo>
                  <a:pt x="88" y="10"/>
                </a:lnTo>
                <a:lnTo>
                  <a:pt x="94" y="8"/>
                </a:lnTo>
                <a:close/>
                <a:moveTo>
                  <a:pt x="143" y="7"/>
                </a:moveTo>
                <a:lnTo>
                  <a:pt x="147" y="8"/>
                </a:lnTo>
                <a:lnTo>
                  <a:pt x="148" y="8"/>
                </a:lnTo>
                <a:lnTo>
                  <a:pt x="149" y="10"/>
                </a:lnTo>
                <a:lnTo>
                  <a:pt x="150" y="16"/>
                </a:lnTo>
                <a:lnTo>
                  <a:pt x="152" y="16"/>
                </a:lnTo>
                <a:lnTo>
                  <a:pt x="152" y="17"/>
                </a:lnTo>
                <a:lnTo>
                  <a:pt x="154" y="17"/>
                </a:lnTo>
                <a:lnTo>
                  <a:pt x="155" y="18"/>
                </a:lnTo>
                <a:lnTo>
                  <a:pt x="156" y="18"/>
                </a:lnTo>
                <a:lnTo>
                  <a:pt x="156" y="19"/>
                </a:lnTo>
                <a:lnTo>
                  <a:pt x="158" y="18"/>
                </a:lnTo>
                <a:lnTo>
                  <a:pt x="158" y="22"/>
                </a:lnTo>
                <a:lnTo>
                  <a:pt x="159" y="22"/>
                </a:lnTo>
                <a:lnTo>
                  <a:pt x="162" y="23"/>
                </a:lnTo>
                <a:lnTo>
                  <a:pt x="162" y="27"/>
                </a:lnTo>
                <a:lnTo>
                  <a:pt x="161" y="30"/>
                </a:lnTo>
                <a:lnTo>
                  <a:pt x="161" y="31"/>
                </a:lnTo>
                <a:lnTo>
                  <a:pt x="162" y="31"/>
                </a:lnTo>
                <a:lnTo>
                  <a:pt x="162" y="42"/>
                </a:lnTo>
                <a:lnTo>
                  <a:pt x="161" y="44"/>
                </a:lnTo>
                <a:lnTo>
                  <a:pt x="158" y="50"/>
                </a:lnTo>
                <a:lnTo>
                  <a:pt x="158" y="51"/>
                </a:lnTo>
                <a:lnTo>
                  <a:pt x="156" y="53"/>
                </a:lnTo>
                <a:lnTo>
                  <a:pt x="156" y="65"/>
                </a:lnTo>
                <a:lnTo>
                  <a:pt x="155" y="66"/>
                </a:lnTo>
                <a:lnTo>
                  <a:pt x="150" y="66"/>
                </a:lnTo>
                <a:lnTo>
                  <a:pt x="148" y="65"/>
                </a:lnTo>
                <a:lnTo>
                  <a:pt x="144" y="65"/>
                </a:lnTo>
                <a:lnTo>
                  <a:pt x="143" y="66"/>
                </a:lnTo>
                <a:lnTo>
                  <a:pt x="142" y="66"/>
                </a:lnTo>
                <a:lnTo>
                  <a:pt x="142" y="69"/>
                </a:lnTo>
                <a:lnTo>
                  <a:pt x="143" y="70"/>
                </a:lnTo>
                <a:lnTo>
                  <a:pt x="141" y="72"/>
                </a:lnTo>
                <a:lnTo>
                  <a:pt x="141" y="76"/>
                </a:lnTo>
                <a:lnTo>
                  <a:pt x="142" y="78"/>
                </a:lnTo>
                <a:lnTo>
                  <a:pt x="143" y="78"/>
                </a:lnTo>
                <a:lnTo>
                  <a:pt x="147" y="79"/>
                </a:lnTo>
                <a:lnTo>
                  <a:pt x="153" y="79"/>
                </a:lnTo>
                <a:lnTo>
                  <a:pt x="153" y="78"/>
                </a:lnTo>
                <a:lnTo>
                  <a:pt x="155" y="82"/>
                </a:lnTo>
                <a:lnTo>
                  <a:pt x="156" y="84"/>
                </a:lnTo>
                <a:lnTo>
                  <a:pt x="156" y="86"/>
                </a:lnTo>
                <a:lnTo>
                  <a:pt x="155" y="88"/>
                </a:lnTo>
                <a:lnTo>
                  <a:pt x="155" y="93"/>
                </a:lnTo>
                <a:lnTo>
                  <a:pt x="154" y="94"/>
                </a:lnTo>
                <a:lnTo>
                  <a:pt x="153" y="94"/>
                </a:lnTo>
                <a:lnTo>
                  <a:pt x="152" y="97"/>
                </a:lnTo>
                <a:lnTo>
                  <a:pt x="149" y="98"/>
                </a:lnTo>
                <a:lnTo>
                  <a:pt x="148" y="99"/>
                </a:lnTo>
                <a:lnTo>
                  <a:pt x="148" y="100"/>
                </a:lnTo>
                <a:lnTo>
                  <a:pt x="147" y="102"/>
                </a:lnTo>
                <a:lnTo>
                  <a:pt x="143" y="102"/>
                </a:lnTo>
                <a:lnTo>
                  <a:pt x="143" y="103"/>
                </a:lnTo>
                <a:lnTo>
                  <a:pt x="142" y="104"/>
                </a:lnTo>
                <a:lnTo>
                  <a:pt x="142" y="105"/>
                </a:lnTo>
                <a:lnTo>
                  <a:pt x="141" y="105"/>
                </a:lnTo>
                <a:lnTo>
                  <a:pt x="141" y="108"/>
                </a:lnTo>
                <a:lnTo>
                  <a:pt x="142" y="108"/>
                </a:lnTo>
                <a:lnTo>
                  <a:pt x="144" y="109"/>
                </a:lnTo>
                <a:lnTo>
                  <a:pt x="146" y="110"/>
                </a:lnTo>
                <a:lnTo>
                  <a:pt x="146" y="111"/>
                </a:lnTo>
                <a:lnTo>
                  <a:pt x="147" y="111"/>
                </a:lnTo>
                <a:lnTo>
                  <a:pt x="147" y="112"/>
                </a:lnTo>
                <a:lnTo>
                  <a:pt x="146" y="112"/>
                </a:lnTo>
                <a:lnTo>
                  <a:pt x="144" y="115"/>
                </a:lnTo>
                <a:lnTo>
                  <a:pt x="143" y="116"/>
                </a:lnTo>
                <a:lnTo>
                  <a:pt x="138" y="116"/>
                </a:lnTo>
                <a:lnTo>
                  <a:pt x="135" y="117"/>
                </a:lnTo>
                <a:lnTo>
                  <a:pt x="133" y="119"/>
                </a:lnTo>
                <a:lnTo>
                  <a:pt x="131" y="119"/>
                </a:lnTo>
                <a:lnTo>
                  <a:pt x="128" y="118"/>
                </a:lnTo>
                <a:lnTo>
                  <a:pt x="129" y="121"/>
                </a:lnTo>
                <a:lnTo>
                  <a:pt x="128" y="121"/>
                </a:lnTo>
                <a:lnTo>
                  <a:pt x="127" y="122"/>
                </a:lnTo>
                <a:lnTo>
                  <a:pt x="127" y="121"/>
                </a:lnTo>
                <a:lnTo>
                  <a:pt x="125" y="119"/>
                </a:lnTo>
                <a:lnTo>
                  <a:pt x="124" y="119"/>
                </a:lnTo>
                <a:lnTo>
                  <a:pt x="123" y="118"/>
                </a:lnTo>
                <a:lnTo>
                  <a:pt x="121" y="118"/>
                </a:lnTo>
                <a:lnTo>
                  <a:pt x="118" y="117"/>
                </a:lnTo>
                <a:lnTo>
                  <a:pt x="117" y="116"/>
                </a:lnTo>
                <a:lnTo>
                  <a:pt x="116" y="117"/>
                </a:lnTo>
                <a:lnTo>
                  <a:pt x="117" y="117"/>
                </a:lnTo>
                <a:lnTo>
                  <a:pt x="118" y="119"/>
                </a:lnTo>
                <a:lnTo>
                  <a:pt x="113" y="119"/>
                </a:lnTo>
                <a:lnTo>
                  <a:pt x="112" y="121"/>
                </a:lnTo>
                <a:lnTo>
                  <a:pt x="110" y="121"/>
                </a:lnTo>
                <a:lnTo>
                  <a:pt x="109" y="122"/>
                </a:lnTo>
                <a:lnTo>
                  <a:pt x="111" y="124"/>
                </a:lnTo>
                <a:lnTo>
                  <a:pt x="111" y="125"/>
                </a:lnTo>
                <a:lnTo>
                  <a:pt x="110" y="127"/>
                </a:lnTo>
                <a:lnTo>
                  <a:pt x="110" y="128"/>
                </a:lnTo>
                <a:lnTo>
                  <a:pt x="111" y="128"/>
                </a:lnTo>
                <a:lnTo>
                  <a:pt x="112" y="129"/>
                </a:lnTo>
                <a:lnTo>
                  <a:pt x="113" y="129"/>
                </a:lnTo>
                <a:lnTo>
                  <a:pt x="112" y="131"/>
                </a:lnTo>
                <a:lnTo>
                  <a:pt x="113" y="133"/>
                </a:lnTo>
                <a:lnTo>
                  <a:pt x="116" y="134"/>
                </a:lnTo>
                <a:lnTo>
                  <a:pt x="116" y="136"/>
                </a:lnTo>
                <a:lnTo>
                  <a:pt x="118" y="141"/>
                </a:lnTo>
                <a:lnTo>
                  <a:pt x="121" y="142"/>
                </a:lnTo>
                <a:lnTo>
                  <a:pt x="121" y="154"/>
                </a:lnTo>
                <a:lnTo>
                  <a:pt x="119" y="154"/>
                </a:lnTo>
                <a:lnTo>
                  <a:pt x="118" y="155"/>
                </a:lnTo>
                <a:lnTo>
                  <a:pt x="116" y="159"/>
                </a:lnTo>
                <a:lnTo>
                  <a:pt x="116" y="160"/>
                </a:lnTo>
                <a:lnTo>
                  <a:pt x="115" y="161"/>
                </a:lnTo>
                <a:lnTo>
                  <a:pt x="115" y="165"/>
                </a:lnTo>
                <a:lnTo>
                  <a:pt x="116" y="166"/>
                </a:lnTo>
                <a:lnTo>
                  <a:pt x="118" y="165"/>
                </a:lnTo>
                <a:lnTo>
                  <a:pt x="117" y="166"/>
                </a:lnTo>
                <a:lnTo>
                  <a:pt x="118" y="167"/>
                </a:lnTo>
                <a:lnTo>
                  <a:pt x="116" y="168"/>
                </a:lnTo>
                <a:lnTo>
                  <a:pt x="111" y="172"/>
                </a:lnTo>
                <a:lnTo>
                  <a:pt x="110" y="174"/>
                </a:lnTo>
                <a:lnTo>
                  <a:pt x="109" y="174"/>
                </a:lnTo>
                <a:lnTo>
                  <a:pt x="107" y="173"/>
                </a:lnTo>
                <a:lnTo>
                  <a:pt x="106" y="174"/>
                </a:lnTo>
                <a:lnTo>
                  <a:pt x="106" y="179"/>
                </a:lnTo>
                <a:lnTo>
                  <a:pt x="107" y="179"/>
                </a:lnTo>
                <a:lnTo>
                  <a:pt x="109" y="178"/>
                </a:lnTo>
                <a:lnTo>
                  <a:pt x="110" y="178"/>
                </a:lnTo>
                <a:lnTo>
                  <a:pt x="111" y="179"/>
                </a:lnTo>
                <a:lnTo>
                  <a:pt x="112" y="179"/>
                </a:lnTo>
                <a:lnTo>
                  <a:pt x="112" y="182"/>
                </a:lnTo>
                <a:lnTo>
                  <a:pt x="113" y="183"/>
                </a:lnTo>
                <a:lnTo>
                  <a:pt x="115" y="183"/>
                </a:lnTo>
                <a:lnTo>
                  <a:pt x="115" y="186"/>
                </a:lnTo>
                <a:lnTo>
                  <a:pt x="113" y="188"/>
                </a:lnTo>
                <a:lnTo>
                  <a:pt x="112" y="188"/>
                </a:lnTo>
                <a:lnTo>
                  <a:pt x="112" y="190"/>
                </a:lnTo>
                <a:lnTo>
                  <a:pt x="111" y="191"/>
                </a:lnTo>
                <a:lnTo>
                  <a:pt x="111" y="192"/>
                </a:lnTo>
                <a:lnTo>
                  <a:pt x="112" y="192"/>
                </a:lnTo>
                <a:lnTo>
                  <a:pt x="112" y="194"/>
                </a:lnTo>
                <a:lnTo>
                  <a:pt x="103" y="194"/>
                </a:lnTo>
                <a:lnTo>
                  <a:pt x="102" y="192"/>
                </a:lnTo>
                <a:lnTo>
                  <a:pt x="100" y="194"/>
                </a:lnTo>
                <a:lnTo>
                  <a:pt x="99" y="194"/>
                </a:lnTo>
                <a:lnTo>
                  <a:pt x="99" y="190"/>
                </a:lnTo>
                <a:lnTo>
                  <a:pt x="98" y="190"/>
                </a:lnTo>
                <a:lnTo>
                  <a:pt x="97" y="189"/>
                </a:lnTo>
                <a:lnTo>
                  <a:pt x="96" y="186"/>
                </a:lnTo>
                <a:lnTo>
                  <a:pt x="99" y="183"/>
                </a:lnTo>
                <a:lnTo>
                  <a:pt x="100" y="183"/>
                </a:lnTo>
                <a:lnTo>
                  <a:pt x="100" y="182"/>
                </a:lnTo>
                <a:lnTo>
                  <a:pt x="103" y="179"/>
                </a:lnTo>
                <a:lnTo>
                  <a:pt x="100" y="179"/>
                </a:lnTo>
                <a:lnTo>
                  <a:pt x="102" y="177"/>
                </a:lnTo>
                <a:lnTo>
                  <a:pt x="103" y="176"/>
                </a:lnTo>
                <a:lnTo>
                  <a:pt x="103" y="173"/>
                </a:lnTo>
                <a:lnTo>
                  <a:pt x="104" y="173"/>
                </a:lnTo>
                <a:lnTo>
                  <a:pt x="104" y="171"/>
                </a:lnTo>
                <a:lnTo>
                  <a:pt x="105" y="171"/>
                </a:lnTo>
                <a:lnTo>
                  <a:pt x="105" y="166"/>
                </a:lnTo>
                <a:lnTo>
                  <a:pt x="103" y="166"/>
                </a:lnTo>
                <a:lnTo>
                  <a:pt x="102" y="165"/>
                </a:lnTo>
                <a:lnTo>
                  <a:pt x="97" y="165"/>
                </a:lnTo>
                <a:lnTo>
                  <a:pt x="97" y="164"/>
                </a:lnTo>
                <a:lnTo>
                  <a:pt x="94" y="162"/>
                </a:lnTo>
                <a:lnTo>
                  <a:pt x="93" y="162"/>
                </a:lnTo>
                <a:lnTo>
                  <a:pt x="93" y="160"/>
                </a:lnTo>
                <a:lnTo>
                  <a:pt x="92" y="159"/>
                </a:lnTo>
                <a:lnTo>
                  <a:pt x="92" y="158"/>
                </a:lnTo>
                <a:lnTo>
                  <a:pt x="88" y="158"/>
                </a:lnTo>
                <a:lnTo>
                  <a:pt x="86" y="160"/>
                </a:lnTo>
                <a:lnTo>
                  <a:pt x="81" y="159"/>
                </a:lnTo>
                <a:lnTo>
                  <a:pt x="80" y="160"/>
                </a:lnTo>
                <a:lnTo>
                  <a:pt x="79" y="159"/>
                </a:lnTo>
                <a:lnTo>
                  <a:pt x="79" y="156"/>
                </a:lnTo>
                <a:lnTo>
                  <a:pt x="75" y="156"/>
                </a:lnTo>
                <a:lnTo>
                  <a:pt x="75" y="155"/>
                </a:lnTo>
                <a:lnTo>
                  <a:pt x="74" y="154"/>
                </a:lnTo>
                <a:lnTo>
                  <a:pt x="74" y="153"/>
                </a:lnTo>
                <a:lnTo>
                  <a:pt x="73" y="152"/>
                </a:lnTo>
                <a:lnTo>
                  <a:pt x="73" y="146"/>
                </a:lnTo>
                <a:lnTo>
                  <a:pt x="72" y="145"/>
                </a:lnTo>
                <a:lnTo>
                  <a:pt x="71" y="145"/>
                </a:lnTo>
                <a:lnTo>
                  <a:pt x="71" y="146"/>
                </a:lnTo>
                <a:lnTo>
                  <a:pt x="69" y="147"/>
                </a:lnTo>
                <a:lnTo>
                  <a:pt x="69" y="148"/>
                </a:lnTo>
                <a:lnTo>
                  <a:pt x="67" y="151"/>
                </a:lnTo>
                <a:lnTo>
                  <a:pt x="66" y="151"/>
                </a:lnTo>
                <a:lnTo>
                  <a:pt x="65" y="149"/>
                </a:lnTo>
                <a:lnTo>
                  <a:pt x="62" y="149"/>
                </a:lnTo>
                <a:lnTo>
                  <a:pt x="62" y="145"/>
                </a:lnTo>
                <a:lnTo>
                  <a:pt x="61" y="143"/>
                </a:lnTo>
                <a:lnTo>
                  <a:pt x="60" y="143"/>
                </a:lnTo>
                <a:lnTo>
                  <a:pt x="55" y="148"/>
                </a:lnTo>
                <a:lnTo>
                  <a:pt x="54" y="148"/>
                </a:lnTo>
                <a:lnTo>
                  <a:pt x="54" y="149"/>
                </a:lnTo>
                <a:lnTo>
                  <a:pt x="53" y="148"/>
                </a:lnTo>
                <a:lnTo>
                  <a:pt x="50" y="148"/>
                </a:lnTo>
                <a:lnTo>
                  <a:pt x="50" y="145"/>
                </a:lnTo>
                <a:lnTo>
                  <a:pt x="48" y="145"/>
                </a:lnTo>
                <a:lnTo>
                  <a:pt x="43" y="147"/>
                </a:lnTo>
                <a:lnTo>
                  <a:pt x="44" y="148"/>
                </a:lnTo>
                <a:lnTo>
                  <a:pt x="44" y="149"/>
                </a:lnTo>
                <a:lnTo>
                  <a:pt x="46" y="151"/>
                </a:lnTo>
                <a:lnTo>
                  <a:pt x="46" y="153"/>
                </a:lnTo>
                <a:lnTo>
                  <a:pt x="42" y="153"/>
                </a:lnTo>
                <a:lnTo>
                  <a:pt x="40" y="152"/>
                </a:lnTo>
                <a:lnTo>
                  <a:pt x="38" y="152"/>
                </a:lnTo>
                <a:lnTo>
                  <a:pt x="38" y="149"/>
                </a:lnTo>
                <a:lnTo>
                  <a:pt x="37" y="148"/>
                </a:lnTo>
                <a:lnTo>
                  <a:pt x="37" y="149"/>
                </a:lnTo>
                <a:lnTo>
                  <a:pt x="31" y="149"/>
                </a:lnTo>
                <a:lnTo>
                  <a:pt x="31" y="148"/>
                </a:lnTo>
                <a:lnTo>
                  <a:pt x="29" y="147"/>
                </a:lnTo>
                <a:lnTo>
                  <a:pt x="28" y="147"/>
                </a:lnTo>
                <a:lnTo>
                  <a:pt x="26" y="146"/>
                </a:lnTo>
                <a:lnTo>
                  <a:pt x="25" y="147"/>
                </a:lnTo>
                <a:lnTo>
                  <a:pt x="24" y="149"/>
                </a:lnTo>
                <a:lnTo>
                  <a:pt x="23" y="151"/>
                </a:lnTo>
                <a:lnTo>
                  <a:pt x="20" y="151"/>
                </a:lnTo>
                <a:lnTo>
                  <a:pt x="19" y="149"/>
                </a:lnTo>
                <a:lnTo>
                  <a:pt x="16" y="148"/>
                </a:lnTo>
                <a:lnTo>
                  <a:pt x="15" y="146"/>
                </a:lnTo>
                <a:lnTo>
                  <a:pt x="12" y="147"/>
                </a:lnTo>
                <a:lnTo>
                  <a:pt x="9" y="147"/>
                </a:lnTo>
                <a:lnTo>
                  <a:pt x="9" y="146"/>
                </a:lnTo>
                <a:lnTo>
                  <a:pt x="7" y="145"/>
                </a:lnTo>
                <a:lnTo>
                  <a:pt x="7" y="143"/>
                </a:lnTo>
                <a:lnTo>
                  <a:pt x="6" y="143"/>
                </a:lnTo>
                <a:lnTo>
                  <a:pt x="5" y="142"/>
                </a:lnTo>
                <a:lnTo>
                  <a:pt x="5" y="141"/>
                </a:lnTo>
                <a:lnTo>
                  <a:pt x="4" y="140"/>
                </a:lnTo>
                <a:lnTo>
                  <a:pt x="5" y="140"/>
                </a:lnTo>
                <a:lnTo>
                  <a:pt x="9" y="136"/>
                </a:lnTo>
                <a:lnTo>
                  <a:pt x="20" y="135"/>
                </a:lnTo>
                <a:lnTo>
                  <a:pt x="22" y="136"/>
                </a:lnTo>
                <a:lnTo>
                  <a:pt x="23" y="136"/>
                </a:lnTo>
                <a:lnTo>
                  <a:pt x="23" y="137"/>
                </a:lnTo>
                <a:lnTo>
                  <a:pt x="24" y="139"/>
                </a:lnTo>
                <a:lnTo>
                  <a:pt x="23" y="139"/>
                </a:lnTo>
                <a:lnTo>
                  <a:pt x="23" y="140"/>
                </a:lnTo>
                <a:lnTo>
                  <a:pt x="26" y="140"/>
                </a:lnTo>
                <a:lnTo>
                  <a:pt x="29" y="141"/>
                </a:lnTo>
                <a:lnTo>
                  <a:pt x="31" y="143"/>
                </a:lnTo>
                <a:lnTo>
                  <a:pt x="31" y="146"/>
                </a:lnTo>
                <a:lnTo>
                  <a:pt x="32" y="147"/>
                </a:lnTo>
                <a:lnTo>
                  <a:pt x="40" y="147"/>
                </a:lnTo>
                <a:lnTo>
                  <a:pt x="41" y="146"/>
                </a:lnTo>
                <a:lnTo>
                  <a:pt x="40" y="143"/>
                </a:lnTo>
                <a:lnTo>
                  <a:pt x="40" y="142"/>
                </a:lnTo>
                <a:lnTo>
                  <a:pt x="36" y="142"/>
                </a:lnTo>
                <a:lnTo>
                  <a:pt x="34" y="141"/>
                </a:lnTo>
                <a:lnTo>
                  <a:pt x="31" y="141"/>
                </a:lnTo>
                <a:lnTo>
                  <a:pt x="28" y="137"/>
                </a:lnTo>
                <a:lnTo>
                  <a:pt x="30" y="136"/>
                </a:lnTo>
                <a:lnTo>
                  <a:pt x="36" y="136"/>
                </a:lnTo>
                <a:lnTo>
                  <a:pt x="36" y="135"/>
                </a:lnTo>
                <a:lnTo>
                  <a:pt x="34" y="135"/>
                </a:lnTo>
                <a:lnTo>
                  <a:pt x="32" y="134"/>
                </a:lnTo>
                <a:lnTo>
                  <a:pt x="32" y="133"/>
                </a:lnTo>
                <a:lnTo>
                  <a:pt x="31" y="134"/>
                </a:lnTo>
                <a:lnTo>
                  <a:pt x="30" y="134"/>
                </a:lnTo>
                <a:lnTo>
                  <a:pt x="26" y="135"/>
                </a:lnTo>
                <a:lnTo>
                  <a:pt x="24" y="134"/>
                </a:lnTo>
                <a:lnTo>
                  <a:pt x="23" y="133"/>
                </a:lnTo>
                <a:lnTo>
                  <a:pt x="23" y="131"/>
                </a:lnTo>
                <a:lnTo>
                  <a:pt x="22" y="131"/>
                </a:lnTo>
                <a:lnTo>
                  <a:pt x="20" y="130"/>
                </a:lnTo>
                <a:lnTo>
                  <a:pt x="19" y="130"/>
                </a:lnTo>
                <a:lnTo>
                  <a:pt x="19" y="129"/>
                </a:lnTo>
                <a:lnTo>
                  <a:pt x="18" y="131"/>
                </a:lnTo>
                <a:lnTo>
                  <a:pt x="15" y="131"/>
                </a:lnTo>
                <a:lnTo>
                  <a:pt x="15" y="128"/>
                </a:lnTo>
                <a:lnTo>
                  <a:pt x="16" y="127"/>
                </a:lnTo>
                <a:lnTo>
                  <a:pt x="26" y="127"/>
                </a:lnTo>
                <a:lnTo>
                  <a:pt x="26" y="128"/>
                </a:lnTo>
                <a:lnTo>
                  <a:pt x="29" y="129"/>
                </a:lnTo>
                <a:lnTo>
                  <a:pt x="29" y="130"/>
                </a:lnTo>
                <a:lnTo>
                  <a:pt x="31" y="131"/>
                </a:lnTo>
                <a:lnTo>
                  <a:pt x="34" y="131"/>
                </a:lnTo>
                <a:lnTo>
                  <a:pt x="34" y="130"/>
                </a:lnTo>
                <a:lnTo>
                  <a:pt x="35" y="130"/>
                </a:lnTo>
                <a:lnTo>
                  <a:pt x="34" y="129"/>
                </a:lnTo>
                <a:lnTo>
                  <a:pt x="31" y="129"/>
                </a:lnTo>
                <a:lnTo>
                  <a:pt x="30" y="128"/>
                </a:lnTo>
                <a:lnTo>
                  <a:pt x="30" y="125"/>
                </a:lnTo>
                <a:lnTo>
                  <a:pt x="26" y="122"/>
                </a:lnTo>
                <a:lnTo>
                  <a:pt x="26" y="123"/>
                </a:lnTo>
                <a:lnTo>
                  <a:pt x="23" y="123"/>
                </a:lnTo>
                <a:lnTo>
                  <a:pt x="22" y="122"/>
                </a:lnTo>
                <a:lnTo>
                  <a:pt x="23" y="121"/>
                </a:lnTo>
                <a:lnTo>
                  <a:pt x="25" y="119"/>
                </a:lnTo>
                <a:lnTo>
                  <a:pt x="29" y="119"/>
                </a:lnTo>
                <a:lnTo>
                  <a:pt x="30" y="121"/>
                </a:lnTo>
                <a:lnTo>
                  <a:pt x="31" y="119"/>
                </a:lnTo>
                <a:lnTo>
                  <a:pt x="29" y="117"/>
                </a:lnTo>
                <a:lnTo>
                  <a:pt x="29" y="116"/>
                </a:lnTo>
                <a:lnTo>
                  <a:pt x="30" y="116"/>
                </a:lnTo>
                <a:lnTo>
                  <a:pt x="29" y="115"/>
                </a:lnTo>
                <a:lnTo>
                  <a:pt x="29" y="111"/>
                </a:lnTo>
                <a:lnTo>
                  <a:pt x="28" y="110"/>
                </a:lnTo>
                <a:lnTo>
                  <a:pt x="32" y="110"/>
                </a:lnTo>
                <a:lnTo>
                  <a:pt x="34" y="109"/>
                </a:lnTo>
                <a:lnTo>
                  <a:pt x="40" y="102"/>
                </a:lnTo>
                <a:lnTo>
                  <a:pt x="44" y="93"/>
                </a:lnTo>
                <a:lnTo>
                  <a:pt x="49" y="86"/>
                </a:lnTo>
                <a:lnTo>
                  <a:pt x="51" y="79"/>
                </a:lnTo>
                <a:lnTo>
                  <a:pt x="51" y="76"/>
                </a:lnTo>
                <a:lnTo>
                  <a:pt x="53" y="74"/>
                </a:lnTo>
                <a:lnTo>
                  <a:pt x="55" y="61"/>
                </a:lnTo>
                <a:lnTo>
                  <a:pt x="55" y="56"/>
                </a:lnTo>
                <a:lnTo>
                  <a:pt x="56" y="54"/>
                </a:lnTo>
                <a:lnTo>
                  <a:pt x="57" y="49"/>
                </a:lnTo>
                <a:lnTo>
                  <a:pt x="59" y="47"/>
                </a:lnTo>
                <a:lnTo>
                  <a:pt x="59" y="42"/>
                </a:lnTo>
                <a:lnTo>
                  <a:pt x="62" y="43"/>
                </a:lnTo>
                <a:lnTo>
                  <a:pt x="62" y="44"/>
                </a:lnTo>
                <a:lnTo>
                  <a:pt x="63" y="47"/>
                </a:lnTo>
                <a:lnTo>
                  <a:pt x="66" y="47"/>
                </a:lnTo>
                <a:lnTo>
                  <a:pt x="67" y="45"/>
                </a:lnTo>
                <a:lnTo>
                  <a:pt x="69" y="44"/>
                </a:lnTo>
                <a:lnTo>
                  <a:pt x="72" y="44"/>
                </a:lnTo>
                <a:lnTo>
                  <a:pt x="73" y="43"/>
                </a:lnTo>
                <a:lnTo>
                  <a:pt x="81" y="36"/>
                </a:lnTo>
                <a:lnTo>
                  <a:pt x="84" y="33"/>
                </a:lnTo>
                <a:lnTo>
                  <a:pt x="86" y="33"/>
                </a:lnTo>
                <a:lnTo>
                  <a:pt x="87" y="31"/>
                </a:lnTo>
                <a:lnTo>
                  <a:pt x="88" y="26"/>
                </a:lnTo>
                <a:lnTo>
                  <a:pt x="88" y="24"/>
                </a:lnTo>
                <a:lnTo>
                  <a:pt x="91" y="23"/>
                </a:lnTo>
                <a:lnTo>
                  <a:pt x="91" y="22"/>
                </a:lnTo>
                <a:lnTo>
                  <a:pt x="93" y="22"/>
                </a:lnTo>
                <a:lnTo>
                  <a:pt x="93" y="20"/>
                </a:lnTo>
                <a:lnTo>
                  <a:pt x="94" y="19"/>
                </a:lnTo>
                <a:lnTo>
                  <a:pt x="94" y="18"/>
                </a:lnTo>
                <a:lnTo>
                  <a:pt x="98" y="18"/>
                </a:lnTo>
                <a:lnTo>
                  <a:pt x="99" y="17"/>
                </a:lnTo>
                <a:lnTo>
                  <a:pt x="106" y="14"/>
                </a:lnTo>
                <a:lnTo>
                  <a:pt x="107" y="13"/>
                </a:lnTo>
                <a:lnTo>
                  <a:pt x="109" y="13"/>
                </a:lnTo>
                <a:lnTo>
                  <a:pt x="111" y="11"/>
                </a:lnTo>
                <a:lnTo>
                  <a:pt x="124" y="11"/>
                </a:lnTo>
                <a:lnTo>
                  <a:pt x="125" y="12"/>
                </a:lnTo>
                <a:lnTo>
                  <a:pt x="127" y="11"/>
                </a:lnTo>
                <a:lnTo>
                  <a:pt x="133" y="8"/>
                </a:lnTo>
                <a:lnTo>
                  <a:pt x="143" y="7"/>
                </a:lnTo>
                <a:close/>
                <a:moveTo>
                  <a:pt x="117" y="7"/>
                </a:moveTo>
                <a:lnTo>
                  <a:pt x="118" y="7"/>
                </a:lnTo>
                <a:lnTo>
                  <a:pt x="118" y="8"/>
                </a:lnTo>
                <a:lnTo>
                  <a:pt x="117" y="7"/>
                </a:lnTo>
                <a:close/>
                <a:moveTo>
                  <a:pt x="98" y="6"/>
                </a:moveTo>
                <a:lnTo>
                  <a:pt x="98" y="7"/>
                </a:lnTo>
                <a:lnTo>
                  <a:pt x="109" y="6"/>
                </a:lnTo>
                <a:lnTo>
                  <a:pt x="110" y="7"/>
                </a:lnTo>
                <a:lnTo>
                  <a:pt x="106" y="8"/>
                </a:lnTo>
                <a:lnTo>
                  <a:pt x="100" y="8"/>
                </a:lnTo>
                <a:lnTo>
                  <a:pt x="98" y="10"/>
                </a:lnTo>
                <a:lnTo>
                  <a:pt x="97" y="8"/>
                </a:lnTo>
                <a:lnTo>
                  <a:pt x="97" y="7"/>
                </a:lnTo>
                <a:lnTo>
                  <a:pt x="98" y="6"/>
                </a:lnTo>
                <a:close/>
                <a:moveTo>
                  <a:pt x="121" y="4"/>
                </a:moveTo>
                <a:lnTo>
                  <a:pt x="127" y="4"/>
                </a:lnTo>
                <a:lnTo>
                  <a:pt x="127" y="5"/>
                </a:lnTo>
                <a:lnTo>
                  <a:pt x="125" y="5"/>
                </a:lnTo>
                <a:lnTo>
                  <a:pt x="118" y="7"/>
                </a:lnTo>
                <a:lnTo>
                  <a:pt x="117" y="6"/>
                </a:lnTo>
                <a:lnTo>
                  <a:pt x="118" y="5"/>
                </a:lnTo>
                <a:lnTo>
                  <a:pt x="119" y="5"/>
                </a:lnTo>
                <a:lnTo>
                  <a:pt x="121" y="4"/>
                </a:lnTo>
                <a:close/>
                <a:moveTo>
                  <a:pt x="130" y="0"/>
                </a:moveTo>
                <a:lnTo>
                  <a:pt x="131" y="0"/>
                </a:lnTo>
                <a:lnTo>
                  <a:pt x="134" y="1"/>
                </a:lnTo>
                <a:lnTo>
                  <a:pt x="133" y="2"/>
                </a:lnTo>
                <a:lnTo>
                  <a:pt x="13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" name="Freeform 24">
            <a:extLst>
              <a:ext uri="{FF2B5EF4-FFF2-40B4-BE49-F238E27FC236}">
                <a16:creationId xmlns:a16="http://schemas.microsoft.com/office/drawing/2014/main" id="{B2A4F062-3F95-47FF-BAEB-DBDC9DBFA1EF}"/>
              </a:ext>
            </a:extLst>
          </p:cNvPr>
          <p:cNvSpPr>
            <a:spLocks noEditPoints="1"/>
          </p:cNvSpPr>
          <p:nvPr/>
        </p:nvSpPr>
        <p:spPr bwMode="auto">
          <a:xfrm>
            <a:off x="2358971" y="5292831"/>
            <a:ext cx="117365" cy="140548"/>
          </a:xfrm>
          <a:custGeom>
            <a:avLst/>
            <a:gdLst/>
            <a:ahLst/>
            <a:cxnLst>
              <a:cxn ang="0">
                <a:pos x="3" y="66"/>
              </a:cxn>
              <a:cxn ang="0">
                <a:pos x="22" y="0"/>
              </a:cxn>
              <a:cxn ang="0">
                <a:pos x="26" y="3"/>
              </a:cxn>
              <a:cxn ang="0">
                <a:pos x="28" y="0"/>
              </a:cxn>
              <a:cxn ang="0">
                <a:pos x="31" y="4"/>
              </a:cxn>
              <a:cxn ang="0">
                <a:pos x="39" y="10"/>
              </a:cxn>
              <a:cxn ang="0">
                <a:pos x="45" y="17"/>
              </a:cxn>
              <a:cxn ang="0">
                <a:pos x="49" y="21"/>
              </a:cxn>
              <a:cxn ang="0">
                <a:pos x="52" y="23"/>
              </a:cxn>
              <a:cxn ang="0">
                <a:pos x="56" y="25"/>
              </a:cxn>
              <a:cxn ang="0">
                <a:pos x="60" y="27"/>
              </a:cxn>
              <a:cxn ang="0">
                <a:pos x="62" y="24"/>
              </a:cxn>
              <a:cxn ang="0">
                <a:pos x="64" y="27"/>
              </a:cxn>
              <a:cxn ang="0">
                <a:pos x="71" y="34"/>
              </a:cxn>
              <a:cxn ang="0">
                <a:pos x="80" y="37"/>
              </a:cxn>
              <a:cxn ang="0">
                <a:pos x="77" y="42"/>
              </a:cxn>
              <a:cxn ang="0">
                <a:pos x="74" y="47"/>
              </a:cxn>
              <a:cxn ang="0">
                <a:pos x="68" y="45"/>
              </a:cxn>
              <a:cxn ang="0">
                <a:pos x="66" y="47"/>
              </a:cxn>
              <a:cxn ang="0">
                <a:pos x="69" y="54"/>
              </a:cxn>
              <a:cxn ang="0">
                <a:pos x="66" y="58"/>
              </a:cxn>
              <a:cxn ang="0">
                <a:pos x="60" y="61"/>
              </a:cxn>
              <a:cxn ang="0">
                <a:pos x="57" y="61"/>
              </a:cxn>
              <a:cxn ang="0">
                <a:pos x="52" y="52"/>
              </a:cxn>
              <a:cxn ang="0">
                <a:pos x="47" y="59"/>
              </a:cxn>
              <a:cxn ang="0">
                <a:pos x="45" y="63"/>
              </a:cxn>
              <a:cxn ang="0">
                <a:pos x="44" y="65"/>
              </a:cxn>
              <a:cxn ang="0">
                <a:pos x="37" y="77"/>
              </a:cxn>
              <a:cxn ang="0">
                <a:pos x="37" y="80"/>
              </a:cxn>
              <a:cxn ang="0">
                <a:pos x="38" y="88"/>
              </a:cxn>
              <a:cxn ang="0">
                <a:pos x="38" y="91"/>
              </a:cxn>
              <a:cxn ang="0">
                <a:pos x="38" y="94"/>
              </a:cxn>
              <a:cxn ang="0">
                <a:pos x="37" y="95"/>
              </a:cxn>
              <a:cxn ang="0">
                <a:pos x="32" y="92"/>
              </a:cxn>
              <a:cxn ang="0">
                <a:pos x="29" y="90"/>
              </a:cxn>
              <a:cxn ang="0">
                <a:pos x="27" y="82"/>
              </a:cxn>
              <a:cxn ang="0">
                <a:pos x="24" y="80"/>
              </a:cxn>
              <a:cxn ang="0">
                <a:pos x="22" y="78"/>
              </a:cxn>
              <a:cxn ang="0">
                <a:pos x="19" y="72"/>
              </a:cxn>
              <a:cxn ang="0">
                <a:pos x="14" y="73"/>
              </a:cxn>
              <a:cxn ang="0">
                <a:pos x="12" y="70"/>
              </a:cxn>
              <a:cxn ang="0">
                <a:pos x="9" y="67"/>
              </a:cxn>
              <a:cxn ang="0">
                <a:pos x="7" y="67"/>
              </a:cxn>
              <a:cxn ang="0">
                <a:pos x="6" y="64"/>
              </a:cxn>
              <a:cxn ang="0">
                <a:pos x="10" y="66"/>
              </a:cxn>
              <a:cxn ang="0">
                <a:pos x="10" y="63"/>
              </a:cxn>
              <a:cxn ang="0">
                <a:pos x="7" y="64"/>
              </a:cxn>
              <a:cxn ang="0">
                <a:pos x="1" y="64"/>
              </a:cxn>
              <a:cxn ang="0">
                <a:pos x="0" y="57"/>
              </a:cxn>
              <a:cxn ang="0">
                <a:pos x="4" y="53"/>
              </a:cxn>
              <a:cxn ang="0">
                <a:pos x="1" y="45"/>
              </a:cxn>
              <a:cxn ang="0">
                <a:pos x="0" y="41"/>
              </a:cxn>
              <a:cxn ang="0">
                <a:pos x="0" y="36"/>
              </a:cxn>
              <a:cxn ang="0">
                <a:pos x="2" y="30"/>
              </a:cxn>
              <a:cxn ang="0">
                <a:pos x="10" y="18"/>
              </a:cxn>
              <a:cxn ang="0">
                <a:pos x="15" y="14"/>
              </a:cxn>
              <a:cxn ang="0">
                <a:pos x="20" y="11"/>
              </a:cxn>
              <a:cxn ang="0">
                <a:pos x="22" y="15"/>
              </a:cxn>
              <a:cxn ang="0">
                <a:pos x="25" y="15"/>
              </a:cxn>
              <a:cxn ang="0">
                <a:pos x="25" y="11"/>
              </a:cxn>
              <a:cxn ang="0">
                <a:pos x="22" y="5"/>
              </a:cxn>
              <a:cxn ang="0">
                <a:pos x="20" y="4"/>
              </a:cxn>
              <a:cxn ang="0">
                <a:pos x="22" y="0"/>
              </a:cxn>
            </a:cxnLst>
            <a:rect l="0" t="0" r="r" b="b"/>
            <a:pathLst>
              <a:path w="81" h="97">
                <a:moveTo>
                  <a:pt x="2" y="64"/>
                </a:moveTo>
                <a:lnTo>
                  <a:pt x="3" y="64"/>
                </a:lnTo>
                <a:lnTo>
                  <a:pt x="3" y="66"/>
                </a:lnTo>
                <a:lnTo>
                  <a:pt x="2" y="65"/>
                </a:lnTo>
                <a:lnTo>
                  <a:pt x="2" y="64"/>
                </a:lnTo>
                <a:close/>
                <a:moveTo>
                  <a:pt x="22" y="0"/>
                </a:moveTo>
                <a:lnTo>
                  <a:pt x="25" y="0"/>
                </a:lnTo>
                <a:lnTo>
                  <a:pt x="25" y="2"/>
                </a:lnTo>
                <a:lnTo>
                  <a:pt x="26" y="3"/>
                </a:lnTo>
                <a:lnTo>
                  <a:pt x="27" y="3"/>
                </a:lnTo>
                <a:lnTo>
                  <a:pt x="27" y="2"/>
                </a:lnTo>
                <a:lnTo>
                  <a:pt x="28" y="0"/>
                </a:lnTo>
                <a:lnTo>
                  <a:pt x="32" y="0"/>
                </a:lnTo>
                <a:lnTo>
                  <a:pt x="31" y="2"/>
                </a:lnTo>
                <a:lnTo>
                  <a:pt x="31" y="4"/>
                </a:lnTo>
                <a:lnTo>
                  <a:pt x="33" y="6"/>
                </a:lnTo>
                <a:lnTo>
                  <a:pt x="39" y="9"/>
                </a:lnTo>
                <a:lnTo>
                  <a:pt x="39" y="10"/>
                </a:lnTo>
                <a:lnTo>
                  <a:pt x="44" y="15"/>
                </a:lnTo>
                <a:lnTo>
                  <a:pt x="44" y="16"/>
                </a:lnTo>
                <a:lnTo>
                  <a:pt x="45" y="17"/>
                </a:lnTo>
                <a:lnTo>
                  <a:pt x="46" y="20"/>
                </a:lnTo>
                <a:lnTo>
                  <a:pt x="47" y="20"/>
                </a:lnTo>
                <a:lnTo>
                  <a:pt x="49" y="21"/>
                </a:lnTo>
                <a:lnTo>
                  <a:pt x="49" y="22"/>
                </a:lnTo>
                <a:lnTo>
                  <a:pt x="52" y="22"/>
                </a:lnTo>
                <a:lnTo>
                  <a:pt x="52" y="23"/>
                </a:lnTo>
                <a:lnTo>
                  <a:pt x="53" y="22"/>
                </a:lnTo>
                <a:lnTo>
                  <a:pt x="54" y="24"/>
                </a:lnTo>
                <a:lnTo>
                  <a:pt x="56" y="25"/>
                </a:lnTo>
                <a:lnTo>
                  <a:pt x="57" y="25"/>
                </a:lnTo>
                <a:lnTo>
                  <a:pt x="58" y="27"/>
                </a:lnTo>
                <a:lnTo>
                  <a:pt x="60" y="27"/>
                </a:lnTo>
                <a:lnTo>
                  <a:pt x="60" y="25"/>
                </a:lnTo>
                <a:lnTo>
                  <a:pt x="62" y="25"/>
                </a:lnTo>
                <a:lnTo>
                  <a:pt x="62" y="24"/>
                </a:lnTo>
                <a:lnTo>
                  <a:pt x="63" y="25"/>
                </a:lnTo>
                <a:lnTo>
                  <a:pt x="63" y="27"/>
                </a:lnTo>
                <a:lnTo>
                  <a:pt x="64" y="27"/>
                </a:lnTo>
                <a:lnTo>
                  <a:pt x="68" y="30"/>
                </a:lnTo>
                <a:lnTo>
                  <a:pt x="71" y="33"/>
                </a:lnTo>
                <a:lnTo>
                  <a:pt x="71" y="34"/>
                </a:lnTo>
                <a:lnTo>
                  <a:pt x="75" y="34"/>
                </a:lnTo>
                <a:lnTo>
                  <a:pt x="77" y="36"/>
                </a:lnTo>
                <a:lnTo>
                  <a:pt x="80" y="37"/>
                </a:lnTo>
                <a:lnTo>
                  <a:pt x="81" y="37"/>
                </a:lnTo>
                <a:lnTo>
                  <a:pt x="81" y="41"/>
                </a:lnTo>
                <a:lnTo>
                  <a:pt x="77" y="42"/>
                </a:lnTo>
                <a:lnTo>
                  <a:pt x="75" y="42"/>
                </a:lnTo>
                <a:lnTo>
                  <a:pt x="75" y="46"/>
                </a:lnTo>
                <a:lnTo>
                  <a:pt x="74" y="47"/>
                </a:lnTo>
                <a:lnTo>
                  <a:pt x="72" y="46"/>
                </a:lnTo>
                <a:lnTo>
                  <a:pt x="70" y="45"/>
                </a:lnTo>
                <a:lnTo>
                  <a:pt x="68" y="45"/>
                </a:lnTo>
                <a:lnTo>
                  <a:pt x="68" y="46"/>
                </a:lnTo>
                <a:lnTo>
                  <a:pt x="66" y="46"/>
                </a:lnTo>
                <a:lnTo>
                  <a:pt x="66" y="47"/>
                </a:lnTo>
                <a:lnTo>
                  <a:pt x="70" y="51"/>
                </a:lnTo>
                <a:lnTo>
                  <a:pt x="70" y="53"/>
                </a:lnTo>
                <a:lnTo>
                  <a:pt x="69" y="54"/>
                </a:lnTo>
                <a:lnTo>
                  <a:pt x="69" y="58"/>
                </a:lnTo>
                <a:lnTo>
                  <a:pt x="68" y="57"/>
                </a:lnTo>
                <a:lnTo>
                  <a:pt x="66" y="58"/>
                </a:lnTo>
                <a:lnTo>
                  <a:pt x="65" y="60"/>
                </a:lnTo>
                <a:lnTo>
                  <a:pt x="60" y="60"/>
                </a:lnTo>
                <a:lnTo>
                  <a:pt x="60" y="61"/>
                </a:lnTo>
                <a:lnTo>
                  <a:pt x="59" y="63"/>
                </a:lnTo>
                <a:lnTo>
                  <a:pt x="57" y="63"/>
                </a:lnTo>
                <a:lnTo>
                  <a:pt x="57" y="61"/>
                </a:lnTo>
                <a:lnTo>
                  <a:pt x="54" y="59"/>
                </a:lnTo>
                <a:lnTo>
                  <a:pt x="54" y="52"/>
                </a:lnTo>
                <a:lnTo>
                  <a:pt x="52" y="52"/>
                </a:lnTo>
                <a:lnTo>
                  <a:pt x="49" y="55"/>
                </a:lnTo>
                <a:lnTo>
                  <a:pt x="49" y="59"/>
                </a:lnTo>
                <a:lnTo>
                  <a:pt x="47" y="59"/>
                </a:lnTo>
                <a:lnTo>
                  <a:pt x="46" y="60"/>
                </a:lnTo>
                <a:lnTo>
                  <a:pt x="46" y="61"/>
                </a:lnTo>
                <a:lnTo>
                  <a:pt x="45" y="63"/>
                </a:lnTo>
                <a:lnTo>
                  <a:pt x="45" y="64"/>
                </a:lnTo>
                <a:lnTo>
                  <a:pt x="44" y="64"/>
                </a:lnTo>
                <a:lnTo>
                  <a:pt x="44" y="65"/>
                </a:lnTo>
                <a:lnTo>
                  <a:pt x="40" y="68"/>
                </a:lnTo>
                <a:lnTo>
                  <a:pt x="40" y="70"/>
                </a:lnTo>
                <a:lnTo>
                  <a:pt x="37" y="77"/>
                </a:lnTo>
                <a:lnTo>
                  <a:pt x="35" y="78"/>
                </a:lnTo>
                <a:lnTo>
                  <a:pt x="35" y="79"/>
                </a:lnTo>
                <a:lnTo>
                  <a:pt x="37" y="80"/>
                </a:lnTo>
                <a:lnTo>
                  <a:pt x="39" y="82"/>
                </a:lnTo>
                <a:lnTo>
                  <a:pt x="39" y="86"/>
                </a:lnTo>
                <a:lnTo>
                  <a:pt x="38" y="88"/>
                </a:lnTo>
                <a:lnTo>
                  <a:pt x="39" y="89"/>
                </a:lnTo>
                <a:lnTo>
                  <a:pt x="39" y="91"/>
                </a:lnTo>
                <a:lnTo>
                  <a:pt x="38" y="91"/>
                </a:lnTo>
                <a:lnTo>
                  <a:pt x="39" y="92"/>
                </a:lnTo>
                <a:lnTo>
                  <a:pt x="38" y="92"/>
                </a:lnTo>
                <a:lnTo>
                  <a:pt x="38" y="94"/>
                </a:lnTo>
                <a:lnTo>
                  <a:pt x="39" y="95"/>
                </a:lnTo>
                <a:lnTo>
                  <a:pt x="39" y="97"/>
                </a:lnTo>
                <a:lnTo>
                  <a:pt x="37" y="95"/>
                </a:lnTo>
                <a:lnTo>
                  <a:pt x="35" y="95"/>
                </a:lnTo>
                <a:lnTo>
                  <a:pt x="33" y="94"/>
                </a:lnTo>
                <a:lnTo>
                  <a:pt x="32" y="92"/>
                </a:lnTo>
                <a:lnTo>
                  <a:pt x="31" y="92"/>
                </a:lnTo>
                <a:lnTo>
                  <a:pt x="31" y="90"/>
                </a:lnTo>
                <a:lnTo>
                  <a:pt x="29" y="90"/>
                </a:lnTo>
                <a:lnTo>
                  <a:pt x="29" y="86"/>
                </a:lnTo>
                <a:lnTo>
                  <a:pt x="27" y="84"/>
                </a:lnTo>
                <a:lnTo>
                  <a:pt x="27" y="82"/>
                </a:lnTo>
                <a:lnTo>
                  <a:pt x="26" y="82"/>
                </a:lnTo>
                <a:lnTo>
                  <a:pt x="26" y="80"/>
                </a:lnTo>
                <a:lnTo>
                  <a:pt x="24" y="80"/>
                </a:lnTo>
                <a:lnTo>
                  <a:pt x="24" y="79"/>
                </a:lnTo>
                <a:lnTo>
                  <a:pt x="22" y="79"/>
                </a:lnTo>
                <a:lnTo>
                  <a:pt x="22" y="78"/>
                </a:lnTo>
                <a:lnTo>
                  <a:pt x="20" y="76"/>
                </a:lnTo>
                <a:lnTo>
                  <a:pt x="19" y="73"/>
                </a:lnTo>
                <a:lnTo>
                  <a:pt x="19" y="72"/>
                </a:lnTo>
                <a:lnTo>
                  <a:pt x="15" y="72"/>
                </a:lnTo>
                <a:lnTo>
                  <a:pt x="15" y="73"/>
                </a:lnTo>
                <a:lnTo>
                  <a:pt x="14" y="73"/>
                </a:lnTo>
                <a:lnTo>
                  <a:pt x="14" y="72"/>
                </a:lnTo>
                <a:lnTo>
                  <a:pt x="12" y="71"/>
                </a:lnTo>
                <a:lnTo>
                  <a:pt x="12" y="70"/>
                </a:lnTo>
                <a:lnTo>
                  <a:pt x="10" y="68"/>
                </a:lnTo>
                <a:lnTo>
                  <a:pt x="10" y="67"/>
                </a:lnTo>
                <a:lnTo>
                  <a:pt x="9" y="67"/>
                </a:lnTo>
                <a:lnTo>
                  <a:pt x="9" y="68"/>
                </a:lnTo>
                <a:lnTo>
                  <a:pt x="8" y="67"/>
                </a:lnTo>
                <a:lnTo>
                  <a:pt x="7" y="67"/>
                </a:lnTo>
                <a:lnTo>
                  <a:pt x="4" y="65"/>
                </a:lnTo>
                <a:lnTo>
                  <a:pt x="4" y="64"/>
                </a:lnTo>
                <a:lnTo>
                  <a:pt x="6" y="64"/>
                </a:lnTo>
                <a:lnTo>
                  <a:pt x="8" y="65"/>
                </a:lnTo>
                <a:lnTo>
                  <a:pt x="9" y="65"/>
                </a:lnTo>
                <a:lnTo>
                  <a:pt x="10" y="66"/>
                </a:lnTo>
                <a:lnTo>
                  <a:pt x="12" y="66"/>
                </a:lnTo>
                <a:lnTo>
                  <a:pt x="12" y="65"/>
                </a:lnTo>
                <a:lnTo>
                  <a:pt x="10" y="63"/>
                </a:lnTo>
                <a:lnTo>
                  <a:pt x="10" y="61"/>
                </a:lnTo>
                <a:lnTo>
                  <a:pt x="9" y="63"/>
                </a:lnTo>
                <a:lnTo>
                  <a:pt x="7" y="64"/>
                </a:lnTo>
                <a:lnTo>
                  <a:pt x="2" y="63"/>
                </a:lnTo>
                <a:lnTo>
                  <a:pt x="2" y="64"/>
                </a:lnTo>
                <a:lnTo>
                  <a:pt x="1" y="64"/>
                </a:lnTo>
                <a:lnTo>
                  <a:pt x="1" y="63"/>
                </a:lnTo>
                <a:lnTo>
                  <a:pt x="0" y="61"/>
                </a:lnTo>
                <a:lnTo>
                  <a:pt x="0" y="57"/>
                </a:lnTo>
                <a:lnTo>
                  <a:pt x="2" y="57"/>
                </a:lnTo>
                <a:lnTo>
                  <a:pt x="2" y="55"/>
                </a:lnTo>
                <a:lnTo>
                  <a:pt x="4" y="53"/>
                </a:lnTo>
                <a:lnTo>
                  <a:pt x="4" y="49"/>
                </a:lnTo>
                <a:lnTo>
                  <a:pt x="2" y="47"/>
                </a:lnTo>
                <a:lnTo>
                  <a:pt x="1" y="45"/>
                </a:lnTo>
                <a:lnTo>
                  <a:pt x="1" y="43"/>
                </a:lnTo>
                <a:lnTo>
                  <a:pt x="0" y="42"/>
                </a:lnTo>
                <a:lnTo>
                  <a:pt x="0" y="41"/>
                </a:lnTo>
                <a:lnTo>
                  <a:pt x="1" y="41"/>
                </a:lnTo>
                <a:lnTo>
                  <a:pt x="1" y="39"/>
                </a:lnTo>
                <a:lnTo>
                  <a:pt x="0" y="36"/>
                </a:lnTo>
                <a:lnTo>
                  <a:pt x="0" y="34"/>
                </a:lnTo>
                <a:lnTo>
                  <a:pt x="1" y="31"/>
                </a:lnTo>
                <a:lnTo>
                  <a:pt x="2" y="30"/>
                </a:lnTo>
                <a:lnTo>
                  <a:pt x="8" y="30"/>
                </a:lnTo>
                <a:lnTo>
                  <a:pt x="8" y="21"/>
                </a:lnTo>
                <a:lnTo>
                  <a:pt x="10" y="18"/>
                </a:lnTo>
                <a:lnTo>
                  <a:pt x="9" y="18"/>
                </a:lnTo>
                <a:lnTo>
                  <a:pt x="10" y="17"/>
                </a:lnTo>
                <a:lnTo>
                  <a:pt x="15" y="14"/>
                </a:lnTo>
                <a:lnTo>
                  <a:pt x="16" y="12"/>
                </a:lnTo>
                <a:lnTo>
                  <a:pt x="16" y="11"/>
                </a:lnTo>
                <a:lnTo>
                  <a:pt x="20" y="11"/>
                </a:lnTo>
                <a:lnTo>
                  <a:pt x="21" y="12"/>
                </a:lnTo>
                <a:lnTo>
                  <a:pt x="22" y="12"/>
                </a:lnTo>
                <a:lnTo>
                  <a:pt x="22" y="15"/>
                </a:lnTo>
                <a:lnTo>
                  <a:pt x="24" y="16"/>
                </a:lnTo>
                <a:lnTo>
                  <a:pt x="24" y="15"/>
                </a:lnTo>
                <a:lnTo>
                  <a:pt x="25" y="15"/>
                </a:lnTo>
                <a:lnTo>
                  <a:pt x="25" y="14"/>
                </a:lnTo>
                <a:lnTo>
                  <a:pt x="27" y="14"/>
                </a:lnTo>
                <a:lnTo>
                  <a:pt x="25" y="11"/>
                </a:lnTo>
                <a:lnTo>
                  <a:pt x="24" y="8"/>
                </a:lnTo>
                <a:lnTo>
                  <a:pt x="22" y="6"/>
                </a:lnTo>
                <a:lnTo>
                  <a:pt x="22" y="5"/>
                </a:lnTo>
                <a:lnTo>
                  <a:pt x="21" y="6"/>
                </a:lnTo>
                <a:lnTo>
                  <a:pt x="21" y="4"/>
                </a:lnTo>
                <a:lnTo>
                  <a:pt x="20" y="4"/>
                </a:lnTo>
                <a:lnTo>
                  <a:pt x="20" y="2"/>
                </a:lnTo>
                <a:lnTo>
                  <a:pt x="21" y="2"/>
                </a:lnTo>
                <a:lnTo>
                  <a:pt x="22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" name="Freeform 25">
            <a:extLst>
              <a:ext uri="{FF2B5EF4-FFF2-40B4-BE49-F238E27FC236}">
                <a16:creationId xmlns:a16="http://schemas.microsoft.com/office/drawing/2014/main" id="{F65C450F-64FC-4583-B28E-7836B5D4D585}"/>
              </a:ext>
            </a:extLst>
          </p:cNvPr>
          <p:cNvSpPr>
            <a:spLocks/>
          </p:cNvSpPr>
          <p:nvPr/>
        </p:nvSpPr>
        <p:spPr bwMode="auto">
          <a:xfrm>
            <a:off x="1680867" y="5273995"/>
            <a:ext cx="5796" cy="4347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3" y="0"/>
              </a:cxn>
              <a:cxn ang="0">
                <a:pos x="4" y="1"/>
              </a:cxn>
              <a:cxn ang="0">
                <a:pos x="3" y="3"/>
              </a:cxn>
              <a:cxn ang="0">
                <a:pos x="0" y="3"/>
              </a:cxn>
              <a:cxn ang="0">
                <a:pos x="0" y="1"/>
              </a:cxn>
              <a:cxn ang="0">
                <a:pos x="2" y="0"/>
              </a:cxn>
            </a:cxnLst>
            <a:rect l="0" t="0" r="r" b="b"/>
            <a:pathLst>
              <a:path w="4" h="3">
                <a:moveTo>
                  <a:pt x="2" y="0"/>
                </a:moveTo>
                <a:lnTo>
                  <a:pt x="3" y="0"/>
                </a:lnTo>
                <a:lnTo>
                  <a:pt x="4" y="1"/>
                </a:lnTo>
                <a:lnTo>
                  <a:pt x="3" y="3"/>
                </a:lnTo>
                <a:lnTo>
                  <a:pt x="0" y="3"/>
                </a:lnTo>
                <a:lnTo>
                  <a:pt x="0" y="1"/>
                </a:lnTo>
                <a:lnTo>
                  <a:pt x="2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" name="Freeform 26">
            <a:extLst>
              <a:ext uri="{FF2B5EF4-FFF2-40B4-BE49-F238E27FC236}">
                <a16:creationId xmlns:a16="http://schemas.microsoft.com/office/drawing/2014/main" id="{EBA04F75-52C3-486B-B147-171522745C02}"/>
              </a:ext>
            </a:extLst>
          </p:cNvPr>
          <p:cNvSpPr>
            <a:spLocks/>
          </p:cNvSpPr>
          <p:nvPr/>
        </p:nvSpPr>
        <p:spPr bwMode="auto">
          <a:xfrm>
            <a:off x="2858856" y="4856700"/>
            <a:ext cx="214443" cy="272401"/>
          </a:xfrm>
          <a:custGeom>
            <a:avLst/>
            <a:gdLst/>
            <a:ahLst/>
            <a:cxnLst>
              <a:cxn ang="0">
                <a:pos x="52" y="5"/>
              </a:cxn>
              <a:cxn ang="0">
                <a:pos x="62" y="12"/>
              </a:cxn>
              <a:cxn ang="0">
                <a:pos x="66" y="17"/>
              </a:cxn>
              <a:cxn ang="0">
                <a:pos x="73" y="17"/>
              </a:cxn>
              <a:cxn ang="0">
                <a:pos x="74" y="21"/>
              </a:cxn>
              <a:cxn ang="0">
                <a:pos x="78" y="27"/>
              </a:cxn>
              <a:cxn ang="0">
                <a:pos x="90" y="23"/>
              </a:cxn>
              <a:cxn ang="0">
                <a:pos x="96" y="33"/>
              </a:cxn>
              <a:cxn ang="0">
                <a:pos x="104" y="33"/>
              </a:cxn>
              <a:cxn ang="0">
                <a:pos x="109" y="39"/>
              </a:cxn>
              <a:cxn ang="0">
                <a:pos x="109" y="46"/>
              </a:cxn>
              <a:cxn ang="0">
                <a:pos x="108" y="58"/>
              </a:cxn>
              <a:cxn ang="0">
                <a:pos x="109" y="66"/>
              </a:cxn>
              <a:cxn ang="0">
                <a:pos x="116" y="72"/>
              </a:cxn>
              <a:cxn ang="0">
                <a:pos x="121" y="74"/>
              </a:cxn>
              <a:cxn ang="0">
                <a:pos x="125" y="78"/>
              </a:cxn>
              <a:cxn ang="0">
                <a:pos x="123" y="86"/>
              </a:cxn>
              <a:cxn ang="0">
                <a:pos x="125" y="89"/>
              </a:cxn>
              <a:cxn ang="0">
                <a:pos x="130" y="100"/>
              </a:cxn>
              <a:cxn ang="0">
                <a:pos x="140" y="106"/>
              </a:cxn>
              <a:cxn ang="0">
                <a:pos x="141" y="120"/>
              </a:cxn>
              <a:cxn ang="0">
                <a:pos x="142" y="126"/>
              </a:cxn>
              <a:cxn ang="0">
                <a:pos x="148" y="129"/>
              </a:cxn>
              <a:cxn ang="0">
                <a:pos x="135" y="132"/>
              </a:cxn>
              <a:cxn ang="0">
                <a:pos x="128" y="129"/>
              </a:cxn>
              <a:cxn ang="0">
                <a:pos x="123" y="129"/>
              </a:cxn>
              <a:cxn ang="0">
                <a:pos x="114" y="127"/>
              </a:cxn>
              <a:cxn ang="0">
                <a:pos x="108" y="122"/>
              </a:cxn>
              <a:cxn ang="0">
                <a:pos x="97" y="133"/>
              </a:cxn>
              <a:cxn ang="0">
                <a:pos x="98" y="151"/>
              </a:cxn>
              <a:cxn ang="0">
                <a:pos x="89" y="160"/>
              </a:cxn>
              <a:cxn ang="0">
                <a:pos x="86" y="169"/>
              </a:cxn>
              <a:cxn ang="0">
                <a:pos x="80" y="172"/>
              </a:cxn>
              <a:cxn ang="0">
                <a:pos x="79" y="177"/>
              </a:cxn>
              <a:cxn ang="0">
                <a:pos x="79" y="182"/>
              </a:cxn>
              <a:cxn ang="0">
                <a:pos x="67" y="186"/>
              </a:cxn>
              <a:cxn ang="0">
                <a:pos x="63" y="181"/>
              </a:cxn>
              <a:cxn ang="0">
                <a:pos x="65" y="169"/>
              </a:cxn>
              <a:cxn ang="0">
                <a:pos x="63" y="146"/>
              </a:cxn>
              <a:cxn ang="0">
                <a:pos x="66" y="134"/>
              </a:cxn>
              <a:cxn ang="0">
                <a:pos x="67" y="122"/>
              </a:cxn>
              <a:cxn ang="0">
                <a:pos x="63" y="104"/>
              </a:cxn>
              <a:cxn ang="0">
                <a:pos x="58" y="92"/>
              </a:cxn>
              <a:cxn ang="0">
                <a:pos x="52" y="86"/>
              </a:cxn>
              <a:cxn ang="0">
                <a:pos x="47" y="77"/>
              </a:cxn>
              <a:cxn ang="0">
                <a:pos x="41" y="69"/>
              </a:cxn>
              <a:cxn ang="0">
                <a:pos x="37" y="64"/>
              </a:cxn>
              <a:cxn ang="0">
                <a:pos x="32" y="58"/>
              </a:cxn>
              <a:cxn ang="0">
                <a:pos x="28" y="48"/>
              </a:cxn>
              <a:cxn ang="0">
                <a:pos x="25" y="41"/>
              </a:cxn>
              <a:cxn ang="0">
                <a:pos x="23" y="35"/>
              </a:cxn>
              <a:cxn ang="0">
                <a:pos x="19" y="30"/>
              </a:cxn>
              <a:cxn ang="0">
                <a:pos x="17" y="26"/>
              </a:cxn>
              <a:cxn ang="0">
                <a:pos x="16" y="21"/>
              </a:cxn>
              <a:cxn ang="0">
                <a:pos x="9" y="16"/>
              </a:cxn>
              <a:cxn ang="0">
                <a:pos x="3" y="11"/>
              </a:cxn>
              <a:cxn ang="0">
                <a:pos x="6" y="9"/>
              </a:cxn>
              <a:cxn ang="0">
                <a:pos x="16" y="9"/>
              </a:cxn>
              <a:cxn ang="0">
                <a:pos x="25" y="9"/>
              </a:cxn>
              <a:cxn ang="0">
                <a:pos x="40" y="2"/>
              </a:cxn>
            </a:cxnLst>
            <a:rect l="0" t="0" r="r" b="b"/>
            <a:pathLst>
              <a:path w="148" h="188">
                <a:moveTo>
                  <a:pt x="41" y="0"/>
                </a:moveTo>
                <a:lnTo>
                  <a:pt x="42" y="2"/>
                </a:lnTo>
                <a:lnTo>
                  <a:pt x="42" y="3"/>
                </a:lnTo>
                <a:lnTo>
                  <a:pt x="48" y="3"/>
                </a:lnTo>
                <a:lnTo>
                  <a:pt x="49" y="4"/>
                </a:lnTo>
                <a:lnTo>
                  <a:pt x="52" y="5"/>
                </a:lnTo>
                <a:lnTo>
                  <a:pt x="54" y="8"/>
                </a:lnTo>
                <a:lnTo>
                  <a:pt x="54" y="9"/>
                </a:lnTo>
                <a:lnTo>
                  <a:pt x="56" y="11"/>
                </a:lnTo>
                <a:lnTo>
                  <a:pt x="61" y="11"/>
                </a:lnTo>
                <a:lnTo>
                  <a:pt x="61" y="12"/>
                </a:lnTo>
                <a:lnTo>
                  <a:pt x="62" y="12"/>
                </a:lnTo>
                <a:lnTo>
                  <a:pt x="62" y="14"/>
                </a:lnTo>
                <a:lnTo>
                  <a:pt x="61" y="16"/>
                </a:lnTo>
                <a:lnTo>
                  <a:pt x="62" y="17"/>
                </a:lnTo>
                <a:lnTo>
                  <a:pt x="63" y="17"/>
                </a:lnTo>
                <a:lnTo>
                  <a:pt x="66" y="15"/>
                </a:lnTo>
                <a:lnTo>
                  <a:pt x="66" y="17"/>
                </a:lnTo>
                <a:lnTo>
                  <a:pt x="67" y="18"/>
                </a:lnTo>
                <a:lnTo>
                  <a:pt x="69" y="18"/>
                </a:lnTo>
                <a:lnTo>
                  <a:pt x="69" y="17"/>
                </a:lnTo>
                <a:lnTo>
                  <a:pt x="71" y="17"/>
                </a:lnTo>
                <a:lnTo>
                  <a:pt x="73" y="16"/>
                </a:lnTo>
                <a:lnTo>
                  <a:pt x="73" y="17"/>
                </a:lnTo>
                <a:lnTo>
                  <a:pt x="74" y="17"/>
                </a:lnTo>
                <a:lnTo>
                  <a:pt x="74" y="20"/>
                </a:lnTo>
                <a:lnTo>
                  <a:pt x="72" y="22"/>
                </a:lnTo>
                <a:lnTo>
                  <a:pt x="72" y="23"/>
                </a:lnTo>
                <a:lnTo>
                  <a:pt x="74" y="23"/>
                </a:lnTo>
                <a:lnTo>
                  <a:pt x="74" y="21"/>
                </a:lnTo>
                <a:lnTo>
                  <a:pt x="75" y="21"/>
                </a:lnTo>
                <a:lnTo>
                  <a:pt x="77" y="22"/>
                </a:lnTo>
                <a:lnTo>
                  <a:pt x="77" y="23"/>
                </a:lnTo>
                <a:lnTo>
                  <a:pt x="75" y="24"/>
                </a:lnTo>
                <a:lnTo>
                  <a:pt x="77" y="27"/>
                </a:lnTo>
                <a:lnTo>
                  <a:pt x="78" y="27"/>
                </a:lnTo>
                <a:lnTo>
                  <a:pt x="79" y="28"/>
                </a:lnTo>
                <a:lnTo>
                  <a:pt x="79" y="24"/>
                </a:lnTo>
                <a:lnTo>
                  <a:pt x="80" y="22"/>
                </a:lnTo>
                <a:lnTo>
                  <a:pt x="83" y="22"/>
                </a:lnTo>
                <a:lnTo>
                  <a:pt x="86" y="23"/>
                </a:lnTo>
                <a:lnTo>
                  <a:pt x="90" y="23"/>
                </a:lnTo>
                <a:lnTo>
                  <a:pt x="91" y="24"/>
                </a:lnTo>
                <a:lnTo>
                  <a:pt x="92" y="24"/>
                </a:lnTo>
                <a:lnTo>
                  <a:pt x="92" y="27"/>
                </a:lnTo>
                <a:lnTo>
                  <a:pt x="93" y="28"/>
                </a:lnTo>
                <a:lnTo>
                  <a:pt x="93" y="30"/>
                </a:lnTo>
                <a:lnTo>
                  <a:pt x="96" y="33"/>
                </a:lnTo>
                <a:lnTo>
                  <a:pt x="97" y="35"/>
                </a:lnTo>
                <a:lnTo>
                  <a:pt x="98" y="35"/>
                </a:lnTo>
                <a:lnTo>
                  <a:pt x="98" y="36"/>
                </a:lnTo>
                <a:lnTo>
                  <a:pt x="102" y="36"/>
                </a:lnTo>
                <a:lnTo>
                  <a:pt x="103" y="34"/>
                </a:lnTo>
                <a:lnTo>
                  <a:pt x="104" y="33"/>
                </a:lnTo>
                <a:lnTo>
                  <a:pt x="105" y="33"/>
                </a:lnTo>
                <a:lnTo>
                  <a:pt x="106" y="34"/>
                </a:lnTo>
                <a:lnTo>
                  <a:pt x="106" y="35"/>
                </a:lnTo>
                <a:lnTo>
                  <a:pt x="108" y="35"/>
                </a:lnTo>
                <a:lnTo>
                  <a:pt x="108" y="39"/>
                </a:lnTo>
                <a:lnTo>
                  <a:pt x="109" y="39"/>
                </a:lnTo>
                <a:lnTo>
                  <a:pt x="110" y="40"/>
                </a:lnTo>
                <a:lnTo>
                  <a:pt x="110" y="41"/>
                </a:lnTo>
                <a:lnTo>
                  <a:pt x="109" y="42"/>
                </a:lnTo>
                <a:lnTo>
                  <a:pt x="109" y="43"/>
                </a:lnTo>
                <a:lnTo>
                  <a:pt x="108" y="45"/>
                </a:lnTo>
                <a:lnTo>
                  <a:pt x="109" y="46"/>
                </a:lnTo>
                <a:lnTo>
                  <a:pt x="110" y="46"/>
                </a:lnTo>
                <a:lnTo>
                  <a:pt x="110" y="48"/>
                </a:lnTo>
                <a:lnTo>
                  <a:pt x="109" y="49"/>
                </a:lnTo>
                <a:lnTo>
                  <a:pt x="109" y="54"/>
                </a:lnTo>
                <a:lnTo>
                  <a:pt x="108" y="57"/>
                </a:lnTo>
                <a:lnTo>
                  <a:pt x="108" y="58"/>
                </a:lnTo>
                <a:lnTo>
                  <a:pt x="106" y="59"/>
                </a:lnTo>
                <a:lnTo>
                  <a:pt x="105" y="61"/>
                </a:lnTo>
                <a:lnTo>
                  <a:pt x="108" y="66"/>
                </a:lnTo>
                <a:lnTo>
                  <a:pt x="108" y="67"/>
                </a:lnTo>
                <a:lnTo>
                  <a:pt x="109" y="67"/>
                </a:lnTo>
                <a:lnTo>
                  <a:pt x="109" y="66"/>
                </a:lnTo>
                <a:lnTo>
                  <a:pt x="110" y="66"/>
                </a:lnTo>
                <a:lnTo>
                  <a:pt x="112" y="69"/>
                </a:lnTo>
                <a:lnTo>
                  <a:pt x="112" y="70"/>
                </a:lnTo>
                <a:lnTo>
                  <a:pt x="114" y="71"/>
                </a:lnTo>
                <a:lnTo>
                  <a:pt x="115" y="71"/>
                </a:lnTo>
                <a:lnTo>
                  <a:pt x="116" y="72"/>
                </a:lnTo>
                <a:lnTo>
                  <a:pt x="116" y="76"/>
                </a:lnTo>
                <a:lnTo>
                  <a:pt x="117" y="76"/>
                </a:lnTo>
                <a:lnTo>
                  <a:pt x="117" y="77"/>
                </a:lnTo>
                <a:lnTo>
                  <a:pt x="119" y="77"/>
                </a:lnTo>
                <a:lnTo>
                  <a:pt x="119" y="76"/>
                </a:lnTo>
                <a:lnTo>
                  <a:pt x="121" y="74"/>
                </a:lnTo>
                <a:lnTo>
                  <a:pt x="121" y="73"/>
                </a:lnTo>
                <a:lnTo>
                  <a:pt x="123" y="73"/>
                </a:lnTo>
                <a:lnTo>
                  <a:pt x="124" y="74"/>
                </a:lnTo>
                <a:lnTo>
                  <a:pt x="124" y="76"/>
                </a:lnTo>
                <a:lnTo>
                  <a:pt x="125" y="77"/>
                </a:lnTo>
                <a:lnTo>
                  <a:pt x="125" y="78"/>
                </a:lnTo>
                <a:lnTo>
                  <a:pt x="124" y="79"/>
                </a:lnTo>
                <a:lnTo>
                  <a:pt x="123" y="79"/>
                </a:lnTo>
                <a:lnTo>
                  <a:pt x="123" y="80"/>
                </a:lnTo>
                <a:lnTo>
                  <a:pt x="124" y="84"/>
                </a:lnTo>
                <a:lnTo>
                  <a:pt x="123" y="85"/>
                </a:lnTo>
                <a:lnTo>
                  <a:pt x="123" y="86"/>
                </a:lnTo>
                <a:lnTo>
                  <a:pt x="121" y="86"/>
                </a:lnTo>
                <a:lnTo>
                  <a:pt x="121" y="88"/>
                </a:lnTo>
                <a:lnTo>
                  <a:pt x="122" y="90"/>
                </a:lnTo>
                <a:lnTo>
                  <a:pt x="123" y="90"/>
                </a:lnTo>
                <a:lnTo>
                  <a:pt x="123" y="89"/>
                </a:lnTo>
                <a:lnTo>
                  <a:pt x="125" y="89"/>
                </a:lnTo>
                <a:lnTo>
                  <a:pt x="125" y="92"/>
                </a:lnTo>
                <a:lnTo>
                  <a:pt x="124" y="94"/>
                </a:lnTo>
                <a:lnTo>
                  <a:pt x="124" y="98"/>
                </a:lnTo>
                <a:lnTo>
                  <a:pt x="127" y="98"/>
                </a:lnTo>
                <a:lnTo>
                  <a:pt x="127" y="100"/>
                </a:lnTo>
                <a:lnTo>
                  <a:pt x="130" y="100"/>
                </a:lnTo>
                <a:lnTo>
                  <a:pt x="130" y="101"/>
                </a:lnTo>
                <a:lnTo>
                  <a:pt x="133" y="103"/>
                </a:lnTo>
                <a:lnTo>
                  <a:pt x="136" y="103"/>
                </a:lnTo>
                <a:lnTo>
                  <a:pt x="137" y="104"/>
                </a:lnTo>
                <a:lnTo>
                  <a:pt x="137" y="106"/>
                </a:lnTo>
                <a:lnTo>
                  <a:pt x="140" y="106"/>
                </a:lnTo>
                <a:lnTo>
                  <a:pt x="140" y="109"/>
                </a:lnTo>
                <a:lnTo>
                  <a:pt x="141" y="109"/>
                </a:lnTo>
                <a:lnTo>
                  <a:pt x="141" y="111"/>
                </a:lnTo>
                <a:lnTo>
                  <a:pt x="140" y="115"/>
                </a:lnTo>
                <a:lnTo>
                  <a:pt x="140" y="119"/>
                </a:lnTo>
                <a:lnTo>
                  <a:pt x="141" y="120"/>
                </a:lnTo>
                <a:lnTo>
                  <a:pt x="140" y="121"/>
                </a:lnTo>
                <a:lnTo>
                  <a:pt x="139" y="121"/>
                </a:lnTo>
                <a:lnTo>
                  <a:pt x="139" y="123"/>
                </a:lnTo>
                <a:lnTo>
                  <a:pt x="141" y="125"/>
                </a:lnTo>
                <a:lnTo>
                  <a:pt x="141" y="126"/>
                </a:lnTo>
                <a:lnTo>
                  <a:pt x="142" y="126"/>
                </a:lnTo>
                <a:lnTo>
                  <a:pt x="142" y="125"/>
                </a:lnTo>
                <a:lnTo>
                  <a:pt x="143" y="125"/>
                </a:lnTo>
                <a:lnTo>
                  <a:pt x="143" y="127"/>
                </a:lnTo>
                <a:lnTo>
                  <a:pt x="146" y="128"/>
                </a:lnTo>
                <a:lnTo>
                  <a:pt x="146" y="129"/>
                </a:lnTo>
                <a:lnTo>
                  <a:pt x="148" y="129"/>
                </a:lnTo>
                <a:lnTo>
                  <a:pt x="147" y="132"/>
                </a:lnTo>
                <a:lnTo>
                  <a:pt x="146" y="133"/>
                </a:lnTo>
                <a:lnTo>
                  <a:pt x="137" y="133"/>
                </a:lnTo>
                <a:lnTo>
                  <a:pt x="136" y="134"/>
                </a:lnTo>
                <a:lnTo>
                  <a:pt x="135" y="134"/>
                </a:lnTo>
                <a:lnTo>
                  <a:pt x="135" y="132"/>
                </a:lnTo>
                <a:lnTo>
                  <a:pt x="134" y="131"/>
                </a:lnTo>
                <a:lnTo>
                  <a:pt x="134" y="129"/>
                </a:lnTo>
                <a:lnTo>
                  <a:pt x="131" y="127"/>
                </a:lnTo>
                <a:lnTo>
                  <a:pt x="130" y="127"/>
                </a:lnTo>
                <a:lnTo>
                  <a:pt x="130" y="129"/>
                </a:lnTo>
                <a:lnTo>
                  <a:pt x="128" y="129"/>
                </a:lnTo>
                <a:lnTo>
                  <a:pt x="128" y="133"/>
                </a:lnTo>
                <a:lnTo>
                  <a:pt x="125" y="133"/>
                </a:lnTo>
                <a:lnTo>
                  <a:pt x="124" y="132"/>
                </a:lnTo>
                <a:lnTo>
                  <a:pt x="124" y="131"/>
                </a:lnTo>
                <a:lnTo>
                  <a:pt x="123" y="131"/>
                </a:lnTo>
                <a:lnTo>
                  <a:pt x="123" y="129"/>
                </a:lnTo>
                <a:lnTo>
                  <a:pt x="121" y="129"/>
                </a:lnTo>
                <a:lnTo>
                  <a:pt x="121" y="126"/>
                </a:lnTo>
                <a:lnTo>
                  <a:pt x="119" y="126"/>
                </a:lnTo>
                <a:lnTo>
                  <a:pt x="116" y="129"/>
                </a:lnTo>
                <a:lnTo>
                  <a:pt x="115" y="129"/>
                </a:lnTo>
                <a:lnTo>
                  <a:pt x="114" y="127"/>
                </a:lnTo>
                <a:lnTo>
                  <a:pt x="112" y="128"/>
                </a:lnTo>
                <a:lnTo>
                  <a:pt x="112" y="131"/>
                </a:lnTo>
                <a:lnTo>
                  <a:pt x="110" y="133"/>
                </a:lnTo>
                <a:lnTo>
                  <a:pt x="109" y="133"/>
                </a:lnTo>
                <a:lnTo>
                  <a:pt x="109" y="122"/>
                </a:lnTo>
                <a:lnTo>
                  <a:pt x="108" y="122"/>
                </a:lnTo>
                <a:lnTo>
                  <a:pt x="104" y="125"/>
                </a:lnTo>
                <a:lnTo>
                  <a:pt x="103" y="125"/>
                </a:lnTo>
                <a:lnTo>
                  <a:pt x="102" y="126"/>
                </a:lnTo>
                <a:lnTo>
                  <a:pt x="98" y="127"/>
                </a:lnTo>
                <a:lnTo>
                  <a:pt x="97" y="129"/>
                </a:lnTo>
                <a:lnTo>
                  <a:pt x="97" y="133"/>
                </a:lnTo>
                <a:lnTo>
                  <a:pt x="98" y="135"/>
                </a:lnTo>
                <a:lnTo>
                  <a:pt x="98" y="140"/>
                </a:lnTo>
                <a:lnTo>
                  <a:pt x="102" y="144"/>
                </a:lnTo>
                <a:lnTo>
                  <a:pt x="100" y="146"/>
                </a:lnTo>
                <a:lnTo>
                  <a:pt x="98" y="149"/>
                </a:lnTo>
                <a:lnTo>
                  <a:pt x="98" y="151"/>
                </a:lnTo>
                <a:lnTo>
                  <a:pt x="99" y="154"/>
                </a:lnTo>
                <a:lnTo>
                  <a:pt x="99" y="156"/>
                </a:lnTo>
                <a:lnTo>
                  <a:pt x="98" y="156"/>
                </a:lnTo>
                <a:lnTo>
                  <a:pt x="90" y="158"/>
                </a:lnTo>
                <a:lnTo>
                  <a:pt x="89" y="159"/>
                </a:lnTo>
                <a:lnTo>
                  <a:pt x="89" y="160"/>
                </a:lnTo>
                <a:lnTo>
                  <a:pt x="90" y="162"/>
                </a:lnTo>
                <a:lnTo>
                  <a:pt x="90" y="165"/>
                </a:lnTo>
                <a:lnTo>
                  <a:pt x="89" y="165"/>
                </a:lnTo>
                <a:lnTo>
                  <a:pt x="89" y="166"/>
                </a:lnTo>
                <a:lnTo>
                  <a:pt x="86" y="166"/>
                </a:lnTo>
                <a:lnTo>
                  <a:pt x="86" y="169"/>
                </a:lnTo>
                <a:lnTo>
                  <a:pt x="85" y="170"/>
                </a:lnTo>
                <a:lnTo>
                  <a:pt x="83" y="170"/>
                </a:lnTo>
                <a:lnTo>
                  <a:pt x="81" y="171"/>
                </a:lnTo>
                <a:lnTo>
                  <a:pt x="83" y="171"/>
                </a:lnTo>
                <a:lnTo>
                  <a:pt x="83" y="172"/>
                </a:lnTo>
                <a:lnTo>
                  <a:pt x="80" y="172"/>
                </a:lnTo>
                <a:lnTo>
                  <a:pt x="80" y="174"/>
                </a:lnTo>
                <a:lnTo>
                  <a:pt x="79" y="174"/>
                </a:lnTo>
                <a:lnTo>
                  <a:pt x="79" y="175"/>
                </a:lnTo>
                <a:lnTo>
                  <a:pt x="78" y="176"/>
                </a:lnTo>
                <a:lnTo>
                  <a:pt x="79" y="176"/>
                </a:lnTo>
                <a:lnTo>
                  <a:pt x="79" y="177"/>
                </a:lnTo>
                <a:lnTo>
                  <a:pt x="80" y="177"/>
                </a:lnTo>
                <a:lnTo>
                  <a:pt x="80" y="180"/>
                </a:lnTo>
                <a:lnTo>
                  <a:pt x="81" y="181"/>
                </a:lnTo>
                <a:lnTo>
                  <a:pt x="80" y="181"/>
                </a:lnTo>
                <a:lnTo>
                  <a:pt x="80" y="182"/>
                </a:lnTo>
                <a:lnTo>
                  <a:pt x="79" y="182"/>
                </a:lnTo>
                <a:lnTo>
                  <a:pt x="80" y="184"/>
                </a:lnTo>
                <a:lnTo>
                  <a:pt x="79" y="186"/>
                </a:lnTo>
                <a:lnTo>
                  <a:pt x="75" y="186"/>
                </a:lnTo>
                <a:lnTo>
                  <a:pt x="73" y="184"/>
                </a:lnTo>
                <a:lnTo>
                  <a:pt x="69" y="184"/>
                </a:lnTo>
                <a:lnTo>
                  <a:pt x="67" y="186"/>
                </a:lnTo>
                <a:lnTo>
                  <a:pt x="67" y="188"/>
                </a:lnTo>
                <a:lnTo>
                  <a:pt x="66" y="187"/>
                </a:lnTo>
                <a:lnTo>
                  <a:pt x="66" y="186"/>
                </a:lnTo>
                <a:lnTo>
                  <a:pt x="65" y="184"/>
                </a:lnTo>
                <a:lnTo>
                  <a:pt x="65" y="182"/>
                </a:lnTo>
                <a:lnTo>
                  <a:pt x="63" y="181"/>
                </a:lnTo>
                <a:lnTo>
                  <a:pt x="61" y="180"/>
                </a:lnTo>
                <a:lnTo>
                  <a:pt x="62" y="178"/>
                </a:lnTo>
                <a:lnTo>
                  <a:pt x="65" y="178"/>
                </a:lnTo>
                <a:lnTo>
                  <a:pt x="66" y="177"/>
                </a:lnTo>
                <a:lnTo>
                  <a:pt x="65" y="177"/>
                </a:lnTo>
                <a:lnTo>
                  <a:pt x="65" y="169"/>
                </a:lnTo>
                <a:lnTo>
                  <a:pt x="63" y="168"/>
                </a:lnTo>
                <a:lnTo>
                  <a:pt x="63" y="158"/>
                </a:lnTo>
                <a:lnTo>
                  <a:pt x="62" y="156"/>
                </a:lnTo>
                <a:lnTo>
                  <a:pt x="62" y="150"/>
                </a:lnTo>
                <a:lnTo>
                  <a:pt x="63" y="150"/>
                </a:lnTo>
                <a:lnTo>
                  <a:pt x="63" y="146"/>
                </a:lnTo>
                <a:lnTo>
                  <a:pt x="65" y="144"/>
                </a:lnTo>
                <a:lnTo>
                  <a:pt x="63" y="144"/>
                </a:lnTo>
                <a:lnTo>
                  <a:pt x="63" y="139"/>
                </a:lnTo>
                <a:lnTo>
                  <a:pt x="65" y="139"/>
                </a:lnTo>
                <a:lnTo>
                  <a:pt x="66" y="138"/>
                </a:lnTo>
                <a:lnTo>
                  <a:pt x="66" y="134"/>
                </a:lnTo>
                <a:lnTo>
                  <a:pt x="67" y="134"/>
                </a:lnTo>
                <a:lnTo>
                  <a:pt x="67" y="132"/>
                </a:lnTo>
                <a:lnTo>
                  <a:pt x="68" y="132"/>
                </a:lnTo>
                <a:lnTo>
                  <a:pt x="68" y="126"/>
                </a:lnTo>
                <a:lnTo>
                  <a:pt x="67" y="125"/>
                </a:lnTo>
                <a:lnTo>
                  <a:pt x="67" y="122"/>
                </a:lnTo>
                <a:lnTo>
                  <a:pt x="68" y="122"/>
                </a:lnTo>
                <a:lnTo>
                  <a:pt x="68" y="115"/>
                </a:lnTo>
                <a:lnTo>
                  <a:pt x="66" y="110"/>
                </a:lnTo>
                <a:lnTo>
                  <a:pt x="66" y="109"/>
                </a:lnTo>
                <a:lnTo>
                  <a:pt x="65" y="106"/>
                </a:lnTo>
                <a:lnTo>
                  <a:pt x="63" y="104"/>
                </a:lnTo>
                <a:lnTo>
                  <a:pt x="63" y="101"/>
                </a:lnTo>
                <a:lnTo>
                  <a:pt x="62" y="100"/>
                </a:lnTo>
                <a:lnTo>
                  <a:pt x="62" y="96"/>
                </a:lnTo>
                <a:lnTo>
                  <a:pt x="60" y="94"/>
                </a:lnTo>
                <a:lnTo>
                  <a:pt x="60" y="92"/>
                </a:lnTo>
                <a:lnTo>
                  <a:pt x="58" y="92"/>
                </a:lnTo>
                <a:lnTo>
                  <a:pt x="56" y="91"/>
                </a:lnTo>
                <a:lnTo>
                  <a:pt x="55" y="91"/>
                </a:lnTo>
                <a:lnTo>
                  <a:pt x="55" y="90"/>
                </a:lnTo>
                <a:lnTo>
                  <a:pt x="53" y="88"/>
                </a:lnTo>
                <a:lnTo>
                  <a:pt x="52" y="88"/>
                </a:lnTo>
                <a:lnTo>
                  <a:pt x="52" y="86"/>
                </a:lnTo>
                <a:lnTo>
                  <a:pt x="49" y="84"/>
                </a:lnTo>
                <a:lnTo>
                  <a:pt x="50" y="84"/>
                </a:lnTo>
                <a:lnTo>
                  <a:pt x="50" y="83"/>
                </a:lnTo>
                <a:lnTo>
                  <a:pt x="48" y="80"/>
                </a:lnTo>
                <a:lnTo>
                  <a:pt x="48" y="78"/>
                </a:lnTo>
                <a:lnTo>
                  <a:pt x="47" y="77"/>
                </a:lnTo>
                <a:lnTo>
                  <a:pt x="46" y="77"/>
                </a:lnTo>
                <a:lnTo>
                  <a:pt x="46" y="76"/>
                </a:lnTo>
                <a:lnTo>
                  <a:pt x="43" y="76"/>
                </a:lnTo>
                <a:lnTo>
                  <a:pt x="42" y="74"/>
                </a:lnTo>
                <a:lnTo>
                  <a:pt x="41" y="72"/>
                </a:lnTo>
                <a:lnTo>
                  <a:pt x="41" y="69"/>
                </a:lnTo>
                <a:lnTo>
                  <a:pt x="40" y="69"/>
                </a:lnTo>
                <a:lnTo>
                  <a:pt x="40" y="67"/>
                </a:lnTo>
                <a:lnTo>
                  <a:pt x="41" y="66"/>
                </a:lnTo>
                <a:lnTo>
                  <a:pt x="41" y="65"/>
                </a:lnTo>
                <a:lnTo>
                  <a:pt x="37" y="65"/>
                </a:lnTo>
                <a:lnTo>
                  <a:pt x="37" y="64"/>
                </a:lnTo>
                <a:lnTo>
                  <a:pt x="36" y="64"/>
                </a:lnTo>
                <a:lnTo>
                  <a:pt x="36" y="61"/>
                </a:lnTo>
                <a:lnTo>
                  <a:pt x="35" y="61"/>
                </a:lnTo>
                <a:lnTo>
                  <a:pt x="35" y="59"/>
                </a:lnTo>
                <a:lnTo>
                  <a:pt x="34" y="58"/>
                </a:lnTo>
                <a:lnTo>
                  <a:pt x="32" y="58"/>
                </a:lnTo>
                <a:lnTo>
                  <a:pt x="31" y="57"/>
                </a:lnTo>
                <a:lnTo>
                  <a:pt x="29" y="53"/>
                </a:lnTo>
                <a:lnTo>
                  <a:pt x="28" y="51"/>
                </a:lnTo>
                <a:lnTo>
                  <a:pt x="28" y="49"/>
                </a:lnTo>
                <a:lnTo>
                  <a:pt x="29" y="49"/>
                </a:lnTo>
                <a:lnTo>
                  <a:pt x="28" y="48"/>
                </a:lnTo>
                <a:lnTo>
                  <a:pt x="29" y="48"/>
                </a:lnTo>
                <a:lnTo>
                  <a:pt x="27" y="46"/>
                </a:lnTo>
                <a:lnTo>
                  <a:pt x="27" y="45"/>
                </a:lnTo>
                <a:lnTo>
                  <a:pt x="25" y="43"/>
                </a:lnTo>
                <a:lnTo>
                  <a:pt x="27" y="42"/>
                </a:lnTo>
                <a:lnTo>
                  <a:pt x="25" y="41"/>
                </a:lnTo>
                <a:lnTo>
                  <a:pt x="25" y="39"/>
                </a:lnTo>
                <a:lnTo>
                  <a:pt x="24" y="37"/>
                </a:lnTo>
                <a:lnTo>
                  <a:pt x="23" y="37"/>
                </a:lnTo>
                <a:lnTo>
                  <a:pt x="23" y="36"/>
                </a:lnTo>
                <a:lnTo>
                  <a:pt x="24" y="35"/>
                </a:lnTo>
                <a:lnTo>
                  <a:pt x="23" y="35"/>
                </a:lnTo>
                <a:lnTo>
                  <a:pt x="23" y="33"/>
                </a:lnTo>
                <a:lnTo>
                  <a:pt x="22" y="33"/>
                </a:lnTo>
                <a:lnTo>
                  <a:pt x="22" y="30"/>
                </a:lnTo>
                <a:lnTo>
                  <a:pt x="21" y="31"/>
                </a:lnTo>
                <a:lnTo>
                  <a:pt x="19" y="31"/>
                </a:lnTo>
                <a:lnTo>
                  <a:pt x="19" y="30"/>
                </a:lnTo>
                <a:lnTo>
                  <a:pt x="21" y="30"/>
                </a:lnTo>
                <a:lnTo>
                  <a:pt x="21" y="29"/>
                </a:lnTo>
                <a:lnTo>
                  <a:pt x="19" y="29"/>
                </a:lnTo>
                <a:lnTo>
                  <a:pt x="18" y="28"/>
                </a:lnTo>
                <a:lnTo>
                  <a:pt x="18" y="27"/>
                </a:lnTo>
                <a:lnTo>
                  <a:pt x="17" y="26"/>
                </a:lnTo>
                <a:lnTo>
                  <a:pt x="18" y="26"/>
                </a:lnTo>
                <a:lnTo>
                  <a:pt x="18" y="23"/>
                </a:lnTo>
                <a:lnTo>
                  <a:pt x="15" y="23"/>
                </a:lnTo>
                <a:lnTo>
                  <a:pt x="15" y="22"/>
                </a:lnTo>
                <a:lnTo>
                  <a:pt x="16" y="22"/>
                </a:lnTo>
                <a:lnTo>
                  <a:pt x="16" y="21"/>
                </a:lnTo>
                <a:lnTo>
                  <a:pt x="15" y="21"/>
                </a:lnTo>
                <a:lnTo>
                  <a:pt x="15" y="20"/>
                </a:lnTo>
                <a:lnTo>
                  <a:pt x="12" y="20"/>
                </a:lnTo>
                <a:lnTo>
                  <a:pt x="12" y="18"/>
                </a:lnTo>
                <a:lnTo>
                  <a:pt x="10" y="17"/>
                </a:lnTo>
                <a:lnTo>
                  <a:pt x="9" y="16"/>
                </a:lnTo>
                <a:lnTo>
                  <a:pt x="5" y="16"/>
                </a:lnTo>
                <a:lnTo>
                  <a:pt x="5" y="15"/>
                </a:lnTo>
                <a:lnTo>
                  <a:pt x="0" y="15"/>
                </a:lnTo>
                <a:lnTo>
                  <a:pt x="0" y="14"/>
                </a:lnTo>
                <a:lnTo>
                  <a:pt x="3" y="12"/>
                </a:lnTo>
                <a:lnTo>
                  <a:pt x="3" y="11"/>
                </a:lnTo>
                <a:lnTo>
                  <a:pt x="4" y="11"/>
                </a:lnTo>
                <a:lnTo>
                  <a:pt x="4" y="12"/>
                </a:lnTo>
                <a:lnTo>
                  <a:pt x="5" y="14"/>
                </a:lnTo>
                <a:lnTo>
                  <a:pt x="7" y="14"/>
                </a:lnTo>
                <a:lnTo>
                  <a:pt x="7" y="10"/>
                </a:lnTo>
                <a:lnTo>
                  <a:pt x="6" y="9"/>
                </a:lnTo>
                <a:lnTo>
                  <a:pt x="7" y="8"/>
                </a:lnTo>
                <a:lnTo>
                  <a:pt x="9" y="9"/>
                </a:lnTo>
                <a:lnTo>
                  <a:pt x="9" y="6"/>
                </a:lnTo>
                <a:lnTo>
                  <a:pt x="10" y="6"/>
                </a:lnTo>
                <a:lnTo>
                  <a:pt x="13" y="10"/>
                </a:lnTo>
                <a:lnTo>
                  <a:pt x="16" y="9"/>
                </a:lnTo>
                <a:lnTo>
                  <a:pt x="17" y="9"/>
                </a:lnTo>
                <a:lnTo>
                  <a:pt x="17" y="6"/>
                </a:lnTo>
                <a:lnTo>
                  <a:pt x="18" y="6"/>
                </a:lnTo>
                <a:lnTo>
                  <a:pt x="19" y="8"/>
                </a:lnTo>
                <a:lnTo>
                  <a:pt x="23" y="9"/>
                </a:lnTo>
                <a:lnTo>
                  <a:pt x="25" y="9"/>
                </a:lnTo>
                <a:lnTo>
                  <a:pt x="30" y="4"/>
                </a:lnTo>
                <a:lnTo>
                  <a:pt x="31" y="4"/>
                </a:lnTo>
                <a:lnTo>
                  <a:pt x="32" y="5"/>
                </a:lnTo>
                <a:lnTo>
                  <a:pt x="34" y="5"/>
                </a:lnTo>
                <a:lnTo>
                  <a:pt x="37" y="2"/>
                </a:lnTo>
                <a:lnTo>
                  <a:pt x="40" y="2"/>
                </a:lnTo>
                <a:lnTo>
                  <a:pt x="41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" name="Freeform 27">
            <a:extLst>
              <a:ext uri="{FF2B5EF4-FFF2-40B4-BE49-F238E27FC236}">
                <a16:creationId xmlns:a16="http://schemas.microsoft.com/office/drawing/2014/main" id="{9D81C635-0C0D-4570-8F67-4D85D952A986}"/>
              </a:ext>
            </a:extLst>
          </p:cNvPr>
          <p:cNvSpPr>
            <a:spLocks noEditPoints="1"/>
          </p:cNvSpPr>
          <p:nvPr/>
        </p:nvSpPr>
        <p:spPr bwMode="auto">
          <a:xfrm>
            <a:off x="2099611" y="5886897"/>
            <a:ext cx="21735" cy="20285"/>
          </a:xfrm>
          <a:custGeom>
            <a:avLst/>
            <a:gdLst/>
            <a:ahLst/>
            <a:cxnLst>
              <a:cxn ang="0">
                <a:pos x="6" y="6"/>
              </a:cxn>
              <a:cxn ang="0">
                <a:pos x="11" y="6"/>
              </a:cxn>
              <a:cxn ang="0">
                <a:pos x="13" y="8"/>
              </a:cxn>
              <a:cxn ang="0">
                <a:pos x="13" y="10"/>
              </a:cxn>
              <a:cxn ang="0">
                <a:pos x="14" y="10"/>
              </a:cxn>
              <a:cxn ang="0">
                <a:pos x="15" y="11"/>
              </a:cxn>
              <a:cxn ang="0">
                <a:pos x="15" y="13"/>
              </a:cxn>
              <a:cxn ang="0">
                <a:pos x="14" y="13"/>
              </a:cxn>
              <a:cxn ang="0">
                <a:pos x="14" y="14"/>
              </a:cxn>
              <a:cxn ang="0">
                <a:pos x="12" y="14"/>
              </a:cxn>
              <a:cxn ang="0">
                <a:pos x="9" y="13"/>
              </a:cxn>
              <a:cxn ang="0">
                <a:pos x="7" y="11"/>
              </a:cxn>
              <a:cxn ang="0">
                <a:pos x="6" y="11"/>
              </a:cxn>
              <a:cxn ang="0">
                <a:pos x="6" y="6"/>
              </a:cxn>
              <a:cxn ang="0">
                <a:pos x="6" y="5"/>
              </a:cxn>
              <a:cxn ang="0">
                <a:pos x="7" y="5"/>
              </a:cxn>
              <a:cxn ang="0">
                <a:pos x="6" y="6"/>
              </a:cxn>
              <a:cxn ang="0">
                <a:pos x="5" y="6"/>
              </a:cxn>
              <a:cxn ang="0">
                <a:pos x="6" y="5"/>
              </a:cxn>
              <a:cxn ang="0">
                <a:pos x="0" y="0"/>
              </a:cxn>
              <a:cxn ang="0">
                <a:pos x="3" y="0"/>
              </a:cxn>
              <a:cxn ang="0">
                <a:pos x="6" y="2"/>
              </a:cxn>
              <a:cxn ang="0">
                <a:pos x="5" y="2"/>
              </a:cxn>
              <a:cxn ang="0">
                <a:pos x="3" y="4"/>
              </a:cxn>
              <a:cxn ang="0">
                <a:pos x="1" y="4"/>
              </a:cxn>
              <a:cxn ang="0">
                <a:pos x="0" y="2"/>
              </a:cxn>
              <a:cxn ang="0">
                <a:pos x="0" y="0"/>
              </a:cxn>
            </a:cxnLst>
            <a:rect l="0" t="0" r="r" b="b"/>
            <a:pathLst>
              <a:path w="15" h="14">
                <a:moveTo>
                  <a:pt x="6" y="6"/>
                </a:moveTo>
                <a:lnTo>
                  <a:pt x="11" y="6"/>
                </a:lnTo>
                <a:lnTo>
                  <a:pt x="13" y="8"/>
                </a:lnTo>
                <a:lnTo>
                  <a:pt x="13" y="10"/>
                </a:lnTo>
                <a:lnTo>
                  <a:pt x="14" y="10"/>
                </a:lnTo>
                <a:lnTo>
                  <a:pt x="15" y="11"/>
                </a:lnTo>
                <a:lnTo>
                  <a:pt x="15" y="13"/>
                </a:lnTo>
                <a:lnTo>
                  <a:pt x="14" y="13"/>
                </a:lnTo>
                <a:lnTo>
                  <a:pt x="14" y="14"/>
                </a:lnTo>
                <a:lnTo>
                  <a:pt x="12" y="14"/>
                </a:lnTo>
                <a:lnTo>
                  <a:pt x="9" y="13"/>
                </a:lnTo>
                <a:lnTo>
                  <a:pt x="7" y="11"/>
                </a:lnTo>
                <a:lnTo>
                  <a:pt x="6" y="11"/>
                </a:lnTo>
                <a:lnTo>
                  <a:pt x="6" y="6"/>
                </a:lnTo>
                <a:close/>
                <a:moveTo>
                  <a:pt x="6" y="5"/>
                </a:moveTo>
                <a:lnTo>
                  <a:pt x="7" y="5"/>
                </a:lnTo>
                <a:lnTo>
                  <a:pt x="6" y="6"/>
                </a:lnTo>
                <a:lnTo>
                  <a:pt x="5" y="6"/>
                </a:lnTo>
                <a:lnTo>
                  <a:pt x="6" y="5"/>
                </a:lnTo>
                <a:close/>
                <a:moveTo>
                  <a:pt x="0" y="0"/>
                </a:moveTo>
                <a:lnTo>
                  <a:pt x="3" y="0"/>
                </a:lnTo>
                <a:lnTo>
                  <a:pt x="6" y="2"/>
                </a:lnTo>
                <a:lnTo>
                  <a:pt x="5" y="2"/>
                </a:lnTo>
                <a:lnTo>
                  <a:pt x="3" y="4"/>
                </a:lnTo>
                <a:lnTo>
                  <a:pt x="1" y="4"/>
                </a:lnTo>
                <a:lnTo>
                  <a:pt x="0" y="2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" name="Freeform 28">
            <a:extLst>
              <a:ext uri="{FF2B5EF4-FFF2-40B4-BE49-F238E27FC236}">
                <a16:creationId xmlns:a16="http://schemas.microsoft.com/office/drawing/2014/main" id="{7A8527B9-FCDB-4CF4-A0AF-8846D1A5A3C1}"/>
              </a:ext>
            </a:extLst>
          </p:cNvPr>
          <p:cNvSpPr>
            <a:spLocks/>
          </p:cNvSpPr>
          <p:nvPr/>
        </p:nvSpPr>
        <p:spPr bwMode="auto">
          <a:xfrm>
            <a:off x="2480682" y="5389911"/>
            <a:ext cx="157935" cy="124609"/>
          </a:xfrm>
          <a:custGeom>
            <a:avLst/>
            <a:gdLst/>
            <a:ahLst/>
            <a:cxnLst>
              <a:cxn ang="0">
                <a:pos x="78" y="3"/>
              </a:cxn>
              <a:cxn ang="0">
                <a:pos x="80" y="4"/>
              </a:cxn>
              <a:cxn ang="0">
                <a:pos x="87" y="13"/>
              </a:cxn>
              <a:cxn ang="0">
                <a:pos x="94" y="18"/>
              </a:cxn>
              <a:cxn ang="0">
                <a:pos x="99" y="19"/>
              </a:cxn>
              <a:cxn ang="0">
                <a:pos x="102" y="22"/>
              </a:cxn>
              <a:cxn ang="0">
                <a:pos x="104" y="29"/>
              </a:cxn>
              <a:cxn ang="0">
                <a:pos x="108" y="35"/>
              </a:cxn>
              <a:cxn ang="0">
                <a:pos x="108" y="40"/>
              </a:cxn>
              <a:cxn ang="0">
                <a:pos x="105" y="46"/>
              </a:cxn>
              <a:cxn ang="0">
                <a:pos x="105" y="55"/>
              </a:cxn>
              <a:cxn ang="0">
                <a:pos x="99" y="59"/>
              </a:cxn>
              <a:cxn ang="0">
                <a:pos x="97" y="62"/>
              </a:cxn>
              <a:cxn ang="0">
                <a:pos x="96" y="70"/>
              </a:cxn>
              <a:cxn ang="0">
                <a:pos x="92" y="68"/>
              </a:cxn>
              <a:cxn ang="0">
                <a:pos x="90" y="72"/>
              </a:cxn>
              <a:cxn ang="0">
                <a:pos x="86" y="72"/>
              </a:cxn>
              <a:cxn ang="0">
                <a:pos x="79" y="71"/>
              </a:cxn>
              <a:cxn ang="0">
                <a:pos x="75" y="68"/>
              </a:cxn>
              <a:cxn ang="0">
                <a:pos x="72" y="71"/>
              </a:cxn>
              <a:cxn ang="0">
                <a:pos x="67" y="70"/>
              </a:cxn>
              <a:cxn ang="0">
                <a:pos x="63" y="72"/>
              </a:cxn>
              <a:cxn ang="0">
                <a:pos x="61" y="76"/>
              </a:cxn>
              <a:cxn ang="0">
                <a:pos x="56" y="82"/>
              </a:cxn>
              <a:cxn ang="0">
                <a:pos x="53" y="82"/>
              </a:cxn>
              <a:cxn ang="0">
                <a:pos x="50" y="84"/>
              </a:cxn>
              <a:cxn ang="0">
                <a:pos x="46" y="84"/>
              </a:cxn>
              <a:cxn ang="0">
                <a:pos x="38" y="85"/>
              </a:cxn>
              <a:cxn ang="0">
                <a:pos x="35" y="85"/>
              </a:cxn>
              <a:cxn ang="0">
                <a:pos x="23" y="86"/>
              </a:cxn>
              <a:cxn ang="0">
                <a:pos x="22" y="83"/>
              </a:cxn>
              <a:cxn ang="0">
                <a:pos x="12" y="84"/>
              </a:cxn>
              <a:cxn ang="0">
                <a:pos x="11" y="78"/>
              </a:cxn>
              <a:cxn ang="0">
                <a:pos x="6" y="73"/>
              </a:cxn>
              <a:cxn ang="0">
                <a:pos x="5" y="68"/>
              </a:cxn>
              <a:cxn ang="0">
                <a:pos x="3" y="61"/>
              </a:cxn>
              <a:cxn ang="0">
                <a:pos x="4" y="59"/>
              </a:cxn>
              <a:cxn ang="0">
                <a:pos x="5" y="55"/>
              </a:cxn>
              <a:cxn ang="0">
                <a:pos x="3" y="54"/>
              </a:cxn>
              <a:cxn ang="0">
                <a:pos x="1" y="50"/>
              </a:cxn>
              <a:cxn ang="0">
                <a:pos x="3" y="47"/>
              </a:cxn>
              <a:cxn ang="0">
                <a:pos x="3" y="41"/>
              </a:cxn>
              <a:cxn ang="0">
                <a:pos x="5" y="30"/>
              </a:cxn>
              <a:cxn ang="0">
                <a:pos x="9" y="30"/>
              </a:cxn>
              <a:cxn ang="0">
                <a:pos x="10" y="30"/>
              </a:cxn>
              <a:cxn ang="0">
                <a:pos x="13" y="28"/>
              </a:cxn>
              <a:cxn ang="0">
                <a:pos x="15" y="17"/>
              </a:cxn>
              <a:cxn ang="0">
                <a:pos x="23" y="15"/>
              </a:cxn>
              <a:cxn ang="0">
                <a:pos x="25" y="12"/>
              </a:cxn>
              <a:cxn ang="0">
                <a:pos x="31" y="12"/>
              </a:cxn>
              <a:cxn ang="0">
                <a:pos x="34" y="16"/>
              </a:cxn>
              <a:cxn ang="0">
                <a:pos x="36" y="16"/>
              </a:cxn>
              <a:cxn ang="0">
                <a:pos x="36" y="13"/>
              </a:cxn>
              <a:cxn ang="0">
                <a:pos x="42" y="10"/>
              </a:cxn>
              <a:cxn ang="0">
                <a:pos x="43" y="9"/>
              </a:cxn>
              <a:cxn ang="0">
                <a:pos x="46" y="9"/>
              </a:cxn>
              <a:cxn ang="0">
                <a:pos x="52" y="9"/>
              </a:cxn>
              <a:cxn ang="0">
                <a:pos x="54" y="7"/>
              </a:cxn>
              <a:cxn ang="0">
                <a:pos x="62" y="3"/>
              </a:cxn>
              <a:cxn ang="0">
                <a:pos x="67" y="5"/>
              </a:cxn>
              <a:cxn ang="0">
                <a:pos x="77" y="1"/>
              </a:cxn>
            </a:cxnLst>
            <a:rect l="0" t="0" r="r" b="b"/>
            <a:pathLst>
              <a:path w="109" h="86">
                <a:moveTo>
                  <a:pt x="77" y="0"/>
                </a:moveTo>
                <a:lnTo>
                  <a:pt x="78" y="0"/>
                </a:lnTo>
                <a:lnTo>
                  <a:pt x="78" y="3"/>
                </a:lnTo>
                <a:lnTo>
                  <a:pt x="79" y="3"/>
                </a:lnTo>
                <a:lnTo>
                  <a:pt x="79" y="4"/>
                </a:lnTo>
                <a:lnTo>
                  <a:pt x="80" y="4"/>
                </a:lnTo>
                <a:lnTo>
                  <a:pt x="85" y="10"/>
                </a:lnTo>
                <a:lnTo>
                  <a:pt x="87" y="12"/>
                </a:lnTo>
                <a:lnTo>
                  <a:pt x="87" y="13"/>
                </a:lnTo>
                <a:lnTo>
                  <a:pt x="88" y="15"/>
                </a:lnTo>
                <a:lnTo>
                  <a:pt x="92" y="17"/>
                </a:lnTo>
                <a:lnTo>
                  <a:pt x="94" y="18"/>
                </a:lnTo>
                <a:lnTo>
                  <a:pt x="96" y="18"/>
                </a:lnTo>
                <a:lnTo>
                  <a:pt x="97" y="19"/>
                </a:lnTo>
                <a:lnTo>
                  <a:pt x="99" y="19"/>
                </a:lnTo>
                <a:lnTo>
                  <a:pt x="99" y="21"/>
                </a:lnTo>
                <a:lnTo>
                  <a:pt x="102" y="21"/>
                </a:lnTo>
                <a:lnTo>
                  <a:pt x="102" y="22"/>
                </a:lnTo>
                <a:lnTo>
                  <a:pt x="103" y="23"/>
                </a:lnTo>
                <a:lnTo>
                  <a:pt x="103" y="29"/>
                </a:lnTo>
                <a:lnTo>
                  <a:pt x="104" y="29"/>
                </a:lnTo>
                <a:lnTo>
                  <a:pt x="104" y="30"/>
                </a:lnTo>
                <a:lnTo>
                  <a:pt x="106" y="35"/>
                </a:lnTo>
                <a:lnTo>
                  <a:pt x="108" y="35"/>
                </a:lnTo>
                <a:lnTo>
                  <a:pt x="109" y="36"/>
                </a:lnTo>
                <a:lnTo>
                  <a:pt x="109" y="39"/>
                </a:lnTo>
                <a:lnTo>
                  <a:pt x="108" y="40"/>
                </a:lnTo>
                <a:lnTo>
                  <a:pt x="108" y="41"/>
                </a:lnTo>
                <a:lnTo>
                  <a:pt x="105" y="43"/>
                </a:lnTo>
                <a:lnTo>
                  <a:pt x="105" y="46"/>
                </a:lnTo>
                <a:lnTo>
                  <a:pt x="106" y="46"/>
                </a:lnTo>
                <a:lnTo>
                  <a:pt x="106" y="55"/>
                </a:lnTo>
                <a:lnTo>
                  <a:pt x="105" y="55"/>
                </a:lnTo>
                <a:lnTo>
                  <a:pt x="106" y="56"/>
                </a:lnTo>
                <a:lnTo>
                  <a:pt x="106" y="59"/>
                </a:lnTo>
                <a:lnTo>
                  <a:pt x="99" y="59"/>
                </a:lnTo>
                <a:lnTo>
                  <a:pt x="98" y="60"/>
                </a:lnTo>
                <a:lnTo>
                  <a:pt x="98" y="62"/>
                </a:lnTo>
                <a:lnTo>
                  <a:pt x="97" y="62"/>
                </a:lnTo>
                <a:lnTo>
                  <a:pt x="97" y="70"/>
                </a:lnTo>
                <a:lnTo>
                  <a:pt x="96" y="71"/>
                </a:lnTo>
                <a:lnTo>
                  <a:pt x="96" y="70"/>
                </a:lnTo>
                <a:lnTo>
                  <a:pt x="94" y="70"/>
                </a:lnTo>
                <a:lnTo>
                  <a:pt x="94" y="68"/>
                </a:lnTo>
                <a:lnTo>
                  <a:pt x="92" y="68"/>
                </a:lnTo>
                <a:lnTo>
                  <a:pt x="92" y="71"/>
                </a:lnTo>
                <a:lnTo>
                  <a:pt x="90" y="71"/>
                </a:lnTo>
                <a:lnTo>
                  <a:pt x="90" y="72"/>
                </a:lnTo>
                <a:lnTo>
                  <a:pt x="88" y="71"/>
                </a:lnTo>
                <a:lnTo>
                  <a:pt x="87" y="71"/>
                </a:lnTo>
                <a:lnTo>
                  <a:pt x="86" y="72"/>
                </a:lnTo>
                <a:lnTo>
                  <a:pt x="84" y="72"/>
                </a:lnTo>
                <a:lnTo>
                  <a:pt x="83" y="71"/>
                </a:lnTo>
                <a:lnTo>
                  <a:pt x="79" y="71"/>
                </a:lnTo>
                <a:lnTo>
                  <a:pt x="79" y="70"/>
                </a:lnTo>
                <a:lnTo>
                  <a:pt x="75" y="70"/>
                </a:lnTo>
                <a:lnTo>
                  <a:pt x="75" y="68"/>
                </a:lnTo>
                <a:lnTo>
                  <a:pt x="74" y="70"/>
                </a:lnTo>
                <a:lnTo>
                  <a:pt x="73" y="70"/>
                </a:lnTo>
                <a:lnTo>
                  <a:pt x="72" y="71"/>
                </a:lnTo>
                <a:lnTo>
                  <a:pt x="68" y="71"/>
                </a:lnTo>
                <a:lnTo>
                  <a:pt x="68" y="70"/>
                </a:lnTo>
                <a:lnTo>
                  <a:pt x="67" y="70"/>
                </a:lnTo>
                <a:lnTo>
                  <a:pt x="67" y="71"/>
                </a:lnTo>
                <a:lnTo>
                  <a:pt x="65" y="71"/>
                </a:lnTo>
                <a:lnTo>
                  <a:pt x="63" y="72"/>
                </a:lnTo>
                <a:lnTo>
                  <a:pt x="62" y="72"/>
                </a:lnTo>
                <a:lnTo>
                  <a:pt x="62" y="76"/>
                </a:lnTo>
                <a:lnTo>
                  <a:pt x="61" y="76"/>
                </a:lnTo>
                <a:lnTo>
                  <a:pt x="57" y="79"/>
                </a:lnTo>
                <a:lnTo>
                  <a:pt x="57" y="82"/>
                </a:lnTo>
                <a:lnTo>
                  <a:pt x="56" y="82"/>
                </a:lnTo>
                <a:lnTo>
                  <a:pt x="56" y="83"/>
                </a:lnTo>
                <a:lnTo>
                  <a:pt x="55" y="83"/>
                </a:lnTo>
                <a:lnTo>
                  <a:pt x="53" y="82"/>
                </a:lnTo>
                <a:lnTo>
                  <a:pt x="52" y="83"/>
                </a:lnTo>
                <a:lnTo>
                  <a:pt x="52" y="84"/>
                </a:lnTo>
                <a:lnTo>
                  <a:pt x="50" y="84"/>
                </a:lnTo>
                <a:lnTo>
                  <a:pt x="49" y="85"/>
                </a:lnTo>
                <a:lnTo>
                  <a:pt x="47" y="85"/>
                </a:lnTo>
                <a:lnTo>
                  <a:pt x="46" y="84"/>
                </a:lnTo>
                <a:lnTo>
                  <a:pt x="42" y="83"/>
                </a:lnTo>
                <a:lnTo>
                  <a:pt x="41" y="83"/>
                </a:lnTo>
                <a:lnTo>
                  <a:pt x="38" y="85"/>
                </a:lnTo>
                <a:lnTo>
                  <a:pt x="36" y="86"/>
                </a:lnTo>
                <a:lnTo>
                  <a:pt x="35" y="86"/>
                </a:lnTo>
                <a:lnTo>
                  <a:pt x="35" y="85"/>
                </a:lnTo>
                <a:lnTo>
                  <a:pt x="31" y="85"/>
                </a:lnTo>
                <a:lnTo>
                  <a:pt x="29" y="86"/>
                </a:lnTo>
                <a:lnTo>
                  <a:pt x="23" y="86"/>
                </a:lnTo>
                <a:lnTo>
                  <a:pt x="23" y="85"/>
                </a:lnTo>
                <a:lnTo>
                  <a:pt x="22" y="84"/>
                </a:lnTo>
                <a:lnTo>
                  <a:pt x="22" y="83"/>
                </a:lnTo>
                <a:lnTo>
                  <a:pt x="16" y="83"/>
                </a:lnTo>
                <a:lnTo>
                  <a:pt x="15" y="84"/>
                </a:lnTo>
                <a:lnTo>
                  <a:pt x="12" y="84"/>
                </a:lnTo>
                <a:lnTo>
                  <a:pt x="12" y="83"/>
                </a:lnTo>
                <a:lnTo>
                  <a:pt x="11" y="82"/>
                </a:lnTo>
                <a:lnTo>
                  <a:pt x="11" y="78"/>
                </a:lnTo>
                <a:lnTo>
                  <a:pt x="10" y="74"/>
                </a:lnTo>
                <a:lnTo>
                  <a:pt x="9" y="73"/>
                </a:lnTo>
                <a:lnTo>
                  <a:pt x="6" y="73"/>
                </a:lnTo>
                <a:lnTo>
                  <a:pt x="6" y="71"/>
                </a:lnTo>
                <a:lnTo>
                  <a:pt x="5" y="70"/>
                </a:lnTo>
                <a:lnTo>
                  <a:pt x="5" y="68"/>
                </a:lnTo>
                <a:lnTo>
                  <a:pt x="4" y="66"/>
                </a:lnTo>
                <a:lnTo>
                  <a:pt x="3" y="65"/>
                </a:lnTo>
                <a:lnTo>
                  <a:pt x="3" y="61"/>
                </a:lnTo>
                <a:lnTo>
                  <a:pt x="1" y="60"/>
                </a:lnTo>
                <a:lnTo>
                  <a:pt x="3" y="59"/>
                </a:lnTo>
                <a:lnTo>
                  <a:pt x="4" y="59"/>
                </a:lnTo>
                <a:lnTo>
                  <a:pt x="4" y="58"/>
                </a:lnTo>
                <a:lnTo>
                  <a:pt x="5" y="56"/>
                </a:lnTo>
                <a:lnTo>
                  <a:pt x="5" y="55"/>
                </a:lnTo>
                <a:lnTo>
                  <a:pt x="4" y="55"/>
                </a:lnTo>
                <a:lnTo>
                  <a:pt x="4" y="54"/>
                </a:lnTo>
                <a:lnTo>
                  <a:pt x="3" y="54"/>
                </a:lnTo>
                <a:lnTo>
                  <a:pt x="3" y="52"/>
                </a:lnTo>
                <a:lnTo>
                  <a:pt x="1" y="52"/>
                </a:lnTo>
                <a:lnTo>
                  <a:pt x="1" y="50"/>
                </a:lnTo>
                <a:lnTo>
                  <a:pt x="0" y="50"/>
                </a:lnTo>
                <a:lnTo>
                  <a:pt x="0" y="47"/>
                </a:lnTo>
                <a:lnTo>
                  <a:pt x="3" y="47"/>
                </a:lnTo>
                <a:lnTo>
                  <a:pt x="4" y="46"/>
                </a:lnTo>
                <a:lnTo>
                  <a:pt x="4" y="42"/>
                </a:lnTo>
                <a:lnTo>
                  <a:pt x="3" y="41"/>
                </a:lnTo>
                <a:lnTo>
                  <a:pt x="3" y="36"/>
                </a:lnTo>
                <a:lnTo>
                  <a:pt x="5" y="34"/>
                </a:lnTo>
                <a:lnTo>
                  <a:pt x="5" y="30"/>
                </a:lnTo>
                <a:lnTo>
                  <a:pt x="6" y="29"/>
                </a:lnTo>
                <a:lnTo>
                  <a:pt x="6" y="30"/>
                </a:lnTo>
                <a:lnTo>
                  <a:pt x="9" y="30"/>
                </a:lnTo>
                <a:lnTo>
                  <a:pt x="9" y="29"/>
                </a:lnTo>
                <a:lnTo>
                  <a:pt x="10" y="29"/>
                </a:lnTo>
                <a:lnTo>
                  <a:pt x="10" y="30"/>
                </a:lnTo>
                <a:lnTo>
                  <a:pt x="12" y="30"/>
                </a:lnTo>
                <a:lnTo>
                  <a:pt x="12" y="29"/>
                </a:lnTo>
                <a:lnTo>
                  <a:pt x="13" y="28"/>
                </a:lnTo>
                <a:lnTo>
                  <a:pt x="13" y="19"/>
                </a:lnTo>
                <a:lnTo>
                  <a:pt x="15" y="18"/>
                </a:lnTo>
                <a:lnTo>
                  <a:pt x="15" y="17"/>
                </a:lnTo>
                <a:lnTo>
                  <a:pt x="16" y="17"/>
                </a:lnTo>
                <a:lnTo>
                  <a:pt x="19" y="15"/>
                </a:lnTo>
                <a:lnTo>
                  <a:pt x="23" y="15"/>
                </a:lnTo>
                <a:lnTo>
                  <a:pt x="24" y="13"/>
                </a:lnTo>
                <a:lnTo>
                  <a:pt x="25" y="13"/>
                </a:lnTo>
                <a:lnTo>
                  <a:pt x="25" y="12"/>
                </a:lnTo>
                <a:lnTo>
                  <a:pt x="27" y="11"/>
                </a:lnTo>
                <a:lnTo>
                  <a:pt x="29" y="11"/>
                </a:lnTo>
                <a:lnTo>
                  <a:pt x="31" y="12"/>
                </a:lnTo>
                <a:lnTo>
                  <a:pt x="32" y="13"/>
                </a:lnTo>
                <a:lnTo>
                  <a:pt x="32" y="15"/>
                </a:lnTo>
                <a:lnTo>
                  <a:pt x="34" y="16"/>
                </a:lnTo>
                <a:lnTo>
                  <a:pt x="35" y="16"/>
                </a:lnTo>
                <a:lnTo>
                  <a:pt x="36" y="17"/>
                </a:lnTo>
                <a:lnTo>
                  <a:pt x="36" y="16"/>
                </a:lnTo>
                <a:lnTo>
                  <a:pt x="37" y="16"/>
                </a:lnTo>
                <a:lnTo>
                  <a:pt x="36" y="15"/>
                </a:lnTo>
                <a:lnTo>
                  <a:pt x="36" y="13"/>
                </a:lnTo>
                <a:lnTo>
                  <a:pt x="38" y="10"/>
                </a:lnTo>
                <a:lnTo>
                  <a:pt x="40" y="9"/>
                </a:lnTo>
                <a:lnTo>
                  <a:pt x="42" y="10"/>
                </a:lnTo>
                <a:lnTo>
                  <a:pt x="42" y="7"/>
                </a:lnTo>
                <a:lnTo>
                  <a:pt x="43" y="7"/>
                </a:lnTo>
                <a:lnTo>
                  <a:pt x="43" y="9"/>
                </a:lnTo>
                <a:lnTo>
                  <a:pt x="44" y="9"/>
                </a:lnTo>
                <a:lnTo>
                  <a:pt x="44" y="7"/>
                </a:lnTo>
                <a:lnTo>
                  <a:pt x="46" y="9"/>
                </a:lnTo>
                <a:lnTo>
                  <a:pt x="48" y="7"/>
                </a:lnTo>
                <a:lnTo>
                  <a:pt x="50" y="7"/>
                </a:lnTo>
                <a:lnTo>
                  <a:pt x="52" y="9"/>
                </a:lnTo>
                <a:lnTo>
                  <a:pt x="53" y="9"/>
                </a:lnTo>
                <a:lnTo>
                  <a:pt x="53" y="7"/>
                </a:lnTo>
                <a:lnTo>
                  <a:pt x="54" y="7"/>
                </a:lnTo>
                <a:lnTo>
                  <a:pt x="59" y="4"/>
                </a:lnTo>
                <a:lnTo>
                  <a:pt x="61" y="4"/>
                </a:lnTo>
                <a:lnTo>
                  <a:pt x="62" y="3"/>
                </a:lnTo>
                <a:lnTo>
                  <a:pt x="63" y="3"/>
                </a:lnTo>
                <a:lnTo>
                  <a:pt x="66" y="4"/>
                </a:lnTo>
                <a:lnTo>
                  <a:pt x="67" y="5"/>
                </a:lnTo>
                <a:lnTo>
                  <a:pt x="68" y="5"/>
                </a:lnTo>
                <a:lnTo>
                  <a:pt x="71" y="4"/>
                </a:lnTo>
                <a:lnTo>
                  <a:pt x="77" y="1"/>
                </a:lnTo>
                <a:lnTo>
                  <a:pt x="77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" name="Freeform 29">
            <a:extLst>
              <a:ext uri="{FF2B5EF4-FFF2-40B4-BE49-F238E27FC236}">
                <a16:creationId xmlns:a16="http://schemas.microsoft.com/office/drawing/2014/main" id="{3EE23A17-1A3E-47B9-8833-391C41892736}"/>
              </a:ext>
            </a:extLst>
          </p:cNvPr>
          <p:cNvSpPr>
            <a:spLocks/>
          </p:cNvSpPr>
          <p:nvPr/>
        </p:nvSpPr>
        <p:spPr bwMode="auto">
          <a:xfrm>
            <a:off x="1580891" y="4700215"/>
            <a:ext cx="49264" cy="69549"/>
          </a:xfrm>
          <a:custGeom>
            <a:avLst/>
            <a:gdLst/>
            <a:ahLst/>
            <a:cxnLst>
              <a:cxn ang="0">
                <a:pos x="12" y="0"/>
              </a:cxn>
              <a:cxn ang="0">
                <a:pos x="16" y="1"/>
              </a:cxn>
              <a:cxn ang="0">
                <a:pos x="17" y="3"/>
              </a:cxn>
              <a:cxn ang="0">
                <a:pos x="16" y="7"/>
              </a:cxn>
              <a:cxn ang="0">
                <a:pos x="16" y="8"/>
              </a:cxn>
              <a:cxn ang="0">
                <a:pos x="17" y="12"/>
              </a:cxn>
              <a:cxn ang="0">
                <a:pos x="18" y="14"/>
              </a:cxn>
              <a:cxn ang="0">
                <a:pos x="19" y="14"/>
              </a:cxn>
              <a:cxn ang="0">
                <a:pos x="22" y="19"/>
              </a:cxn>
              <a:cxn ang="0">
                <a:pos x="24" y="20"/>
              </a:cxn>
              <a:cxn ang="0">
                <a:pos x="27" y="21"/>
              </a:cxn>
              <a:cxn ang="0">
                <a:pos x="28" y="24"/>
              </a:cxn>
              <a:cxn ang="0">
                <a:pos x="33" y="25"/>
              </a:cxn>
              <a:cxn ang="0">
                <a:pos x="33" y="27"/>
              </a:cxn>
              <a:cxn ang="0">
                <a:pos x="30" y="33"/>
              </a:cxn>
              <a:cxn ang="0">
                <a:pos x="29" y="34"/>
              </a:cxn>
              <a:cxn ang="0">
                <a:pos x="30" y="36"/>
              </a:cxn>
              <a:cxn ang="0">
                <a:pos x="29" y="37"/>
              </a:cxn>
              <a:cxn ang="0">
                <a:pos x="27" y="46"/>
              </a:cxn>
              <a:cxn ang="0">
                <a:pos x="23" y="44"/>
              </a:cxn>
              <a:cxn ang="0">
                <a:pos x="18" y="45"/>
              </a:cxn>
              <a:cxn ang="0">
                <a:pos x="16" y="46"/>
              </a:cxn>
              <a:cxn ang="0">
                <a:pos x="10" y="48"/>
              </a:cxn>
              <a:cxn ang="0">
                <a:pos x="9" y="45"/>
              </a:cxn>
              <a:cxn ang="0">
                <a:pos x="5" y="44"/>
              </a:cxn>
              <a:cxn ang="0">
                <a:pos x="3" y="42"/>
              </a:cxn>
              <a:cxn ang="0">
                <a:pos x="5" y="40"/>
              </a:cxn>
              <a:cxn ang="0">
                <a:pos x="6" y="37"/>
              </a:cxn>
              <a:cxn ang="0">
                <a:pos x="7" y="36"/>
              </a:cxn>
              <a:cxn ang="0">
                <a:pos x="5" y="33"/>
              </a:cxn>
              <a:cxn ang="0">
                <a:pos x="6" y="31"/>
              </a:cxn>
              <a:cxn ang="0">
                <a:pos x="4" y="30"/>
              </a:cxn>
              <a:cxn ang="0">
                <a:pos x="3" y="26"/>
              </a:cxn>
              <a:cxn ang="0">
                <a:pos x="0" y="25"/>
              </a:cxn>
              <a:cxn ang="0">
                <a:pos x="2" y="21"/>
              </a:cxn>
              <a:cxn ang="0">
                <a:pos x="0" y="20"/>
              </a:cxn>
              <a:cxn ang="0">
                <a:pos x="0" y="19"/>
              </a:cxn>
              <a:cxn ang="0">
                <a:pos x="2" y="14"/>
              </a:cxn>
              <a:cxn ang="0">
                <a:pos x="4" y="10"/>
              </a:cxn>
              <a:cxn ang="0">
                <a:pos x="5" y="8"/>
              </a:cxn>
              <a:cxn ang="0">
                <a:pos x="6" y="5"/>
              </a:cxn>
              <a:cxn ang="0">
                <a:pos x="9" y="3"/>
              </a:cxn>
              <a:cxn ang="0">
                <a:pos x="10" y="0"/>
              </a:cxn>
            </a:cxnLst>
            <a:rect l="0" t="0" r="r" b="b"/>
            <a:pathLst>
              <a:path w="34" h="48">
                <a:moveTo>
                  <a:pt x="10" y="0"/>
                </a:moveTo>
                <a:lnTo>
                  <a:pt x="12" y="0"/>
                </a:lnTo>
                <a:lnTo>
                  <a:pt x="12" y="1"/>
                </a:lnTo>
                <a:lnTo>
                  <a:pt x="16" y="1"/>
                </a:lnTo>
                <a:lnTo>
                  <a:pt x="16" y="3"/>
                </a:lnTo>
                <a:lnTo>
                  <a:pt x="17" y="3"/>
                </a:lnTo>
                <a:lnTo>
                  <a:pt x="17" y="5"/>
                </a:lnTo>
                <a:lnTo>
                  <a:pt x="16" y="7"/>
                </a:lnTo>
                <a:lnTo>
                  <a:pt x="17" y="7"/>
                </a:lnTo>
                <a:lnTo>
                  <a:pt x="16" y="8"/>
                </a:lnTo>
                <a:lnTo>
                  <a:pt x="17" y="8"/>
                </a:lnTo>
                <a:lnTo>
                  <a:pt x="17" y="12"/>
                </a:lnTo>
                <a:lnTo>
                  <a:pt x="18" y="13"/>
                </a:lnTo>
                <a:lnTo>
                  <a:pt x="18" y="14"/>
                </a:lnTo>
                <a:lnTo>
                  <a:pt x="19" y="15"/>
                </a:lnTo>
                <a:lnTo>
                  <a:pt x="19" y="14"/>
                </a:lnTo>
                <a:lnTo>
                  <a:pt x="21" y="15"/>
                </a:lnTo>
                <a:lnTo>
                  <a:pt x="22" y="19"/>
                </a:lnTo>
                <a:lnTo>
                  <a:pt x="23" y="20"/>
                </a:lnTo>
                <a:lnTo>
                  <a:pt x="24" y="20"/>
                </a:lnTo>
                <a:lnTo>
                  <a:pt x="24" y="21"/>
                </a:lnTo>
                <a:lnTo>
                  <a:pt x="27" y="21"/>
                </a:lnTo>
                <a:lnTo>
                  <a:pt x="27" y="22"/>
                </a:lnTo>
                <a:lnTo>
                  <a:pt x="28" y="24"/>
                </a:lnTo>
                <a:lnTo>
                  <a:pt x="31" y="24"/>
                </a:lnTo>
                <a:lnTo>
                  <a:pt x="33" y="25"/>
                </a:lnTo>
                <a:lnTo>
                  <a:pt x="34" y="25"/>
                </a:lnTo>
                <a:lnTo>
                  <a:pt x="33" y="27"/>
                </a:lnTo>
                <a:lnTo>
                  <a:pt x="33" y="31"/>
                </a:lnTo>
                <a:lnTo>
                  <a:pt x="30" y="33"/>
                </a:lnTo>
                <a:lnTo>
                  <a:pt x="29" y="33"/>
                </a:lnTo>
                <a:lnTo>
                  <a:pt x="29" y="34"/>
                </a:lnTo>
                <a:lnTo>
                  <a:pt x="30" y="34"/>
                </a:lnTo>
                <a:lnTo>
                  <a:pt x="30" y="36"/>
                </a:lnTo>
                <a:lnTo>
                  <a:pt x="29" y="36"/>
                </a:lnTo>
                <a:lnTo>
                  <a:pt x="29" y="37"/>
                </a:lnTo>
                <a:lnTo>
                  <a:pt x="27" y="39"/>
                </a:lnTo>
                <a:lnTo>
                  <a:pt x="27" y="46"/>
                </a:lnTo>
                <a:lnTo>
                  <a:pt x="24" y="46"/>
                </a:lnTo>
                <a:lnTo>
                  <a:pt x="23" y="44"/>
                </a:lnTo>
                <a:lnTo>
                  <a:pt x="18" y="44"/>
                </a:lnTo>
                <a:lnTo>
                  <a:pt x="18" y="45"/>
                </a:lnTo>
                <a:lnTo>
                  <a:pt x="16" y="45"/>
                </a:lnTo>
                <a:lnTo>
                  <a:pt x="16" y="46"/>
                </a:lnTo>
                <a:lnTo>
                  <a:pt x="15" y="48"/>
                </a:lnTo>
                <a:lnTo>
                  <a:pt x="10" y="48"/>
                </a:lnTo>
                <a:lnTo>
                  <a:pt x="10" y="46"/>
                </a:lnTo>
                <a:lnTo>
                  <a:pt x="9" y="45"/>
                </a:lnTo>
                <a:lnTo>
                  <a:pt x="6" y="44"/>
                </a:lnTo>
                <a:lnTo>
                  <a:pt x="5" y="44"/>
                </a:lnTo>
                <a:lnTo>
                  <a:pt x="5" y="43"/>
                </a:lnTo>
                <a:lnTo>
                  <a:pt x="3" y="42"/>
                </a:lnTo>
                <a:lnTo>
                  <a:pt x="4" y="40"/>
                </a:lnTo>
                <a:lnTo>
                  <a:pt x="5" y="40"/>
                </a:lnTo>
                <a:lnTo>
                  <a:pt x="5" y="38"/>
                </a:lnTo>
                <a:lnTo>
                  <a:pt x="6" y="37"/>
                </a:lnTo>
                <a:lnTo>
                  <a:pt x="6" y="36"/>
                </a:lnTo>
                <a:lnTo>
                  <a:pt x="7" y="36"/>
                </a:lnTo>
                <a:lnTo>
                  <a:pt x="7" y="33"/>
                </a:lnTo>
                <a:lnTo>
                  <a:pt x="5" y="33"/>
                </a:lnTo>
                <a:lnTo>
                  <a:pt x="5" y="32"/>
                </a:lnTo>
                <a:lnTo>
                  <a:pt x="6" y="31"/>
                </a:lnTo>
                <a:lnTo>
                  <a:pt x="6" y="30"/>
                </a:lnTo>
                <a:lnTo>
                  <a:pt x="4" y="30"/>
                </a:lnTo>
                <a:lnTo>
                  <a:pt x="4" y="28"/>
                </a:lnTo>
                <a:lnTo>
                  <a:pt x="3" y="26"/>
                </a:lnTo>
                <a:lnTo>
                  <a:pt x="2" y="25"/>
                </a:lnTo>
                <a:lnTo>
                  <a:pt x="0" y="25"/>
                </a:lnTo>
                <a:lnTo>
                  <a:pt x="0" y="22"/>
                </a:lnTo>
                <a:lnTo>
                  <a:pt x="2" y="21"/>
                </a:lnTo>
                <a:lnTo>
                  <a:pt x="0" y="21"/>
                </a:lnTo>
                <a:lnTo>
                  <a:pt x="0" y="20"/>
                </a:lnTo>
                <a:lnTo>
                  <a:pt x="2" y="20"/>
                </a:lnTo>
                <a:lnTo>
                  <a:pt x="0" y="19"/>
                </a:lnTo>
                <a:lnTo>
                  <a:pt x="2" y="15"/>
                </a:lnTo>
                <a:lnTo>
                  <a:pt x="2" y="14"/>
                </a:lnTo>
                <a:lnTo>
                  <a:pt x="4" y="14"/>
                </a:lnTo>
                <a:lnTo>
                  <a:pt x="4" y="10"/>
                </a:lnTo>
                <a:lnTo>
                  <a:pt x="5" y="10"/>
                </a:lnTo>
                <a:lnTo>
                  <a:pt x="5" y="8"/>
                </a:lnTo>
                <a:lnTo>
                  <a:pt x="6" y="7"/>
                </a:lnTo>
                <a:lnTo>
                  <a:pt x="6" y="5"/>
                </a:lnTo>
                <a:lnTo>
                  <a:pt x="7" y="5"/>
                </a:lnTo>
                <a:lnTo>
                  <a:pt x="9" y="3"/>
                </a:lnTo>
                <a:lnTo>
                  <a:pt x="10" y="3"/>
                </a:lnTo>
                <a:lnTo>
                  <a:pt x="1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" name="Freeform 30">
            <a:extLst>
              <a:ext uri="{FF2B5EF4-FFF2-40B4-BE49-F238E27FC236}">
                <a16:creationId xmlns:a16="http://schemas.microsoft.com/office/drawing/2014/main" id="{C857A188-C4CD-4D3D-B4E5-04B5FAF89CD2}"/>
              </a:ext>
            </a:extLst>
          </p:cNvPr>
          <p:cNvSpPr>
            <a:spLocks/>
          </p:cNvSpPr>
          <p:nvPr/>
        </p:nvSpPr>
        <p:spPr bwMode="auto">
          <a:xfrm>
            <a:off x="2511110" y="4058334"/>
            <a:ext cx="357889" cy="272401"/>
          </a:xfrm>
          <a:custGeom>
            <a:avLst/>
            <a:gdLst/>
            <a:ahLst/>
            <a:cxnLst>
              <a:cxn ang="0">
                <a:pos x="170" y="10"/>
              </a:cxn>
              <a:cxn ang="0">
                <a:pos x="196" y="22"/>
              </a:cxn>
              <a:cxn ang="0">
                <a:pos x="208" y="33"/>
              </a:cxn>
              <a:cxn ang="0">
                <a:pos x="226" y="52"/>
              </a:cxn>
              <a:cxn ang="0">
                <a:pos x="237" y="68"/>
              </a:cxn>
              <a:cxn ang="0">
                <a:pos x="233" y="83"/>
              </a:cxn>
              <a:cxn ang="0">
                <a:pos x="246" y="89"/>
              </a:cxn>
              <a:cxn ang="0">
                <a:pos x="240" y="93"/>
              </a:cxn>
              <a:cxn ang="0">
                <a:pos x="233" y="98"/>
              </a:cxn>
              <a:cxn ang="0">
                <a:pos x="221" y="107"/>
              </a:cxn>
              <a:cxn ang="0">
                <a:pos x="211" y="111"/>
              </a:cxn>
              <a:cxn ang="0">
                <a:pos x="205" y="117"/>
              </a:cxn>
              <a:cxn ang="0">
                <a:pos x="203" y="139"/>
              </a:cxn>
              <a:cxn ang="0">
                <a:pos x="197" y="149"/>
              </a:cxn>
              <a:cxn ang="0">
                <a:pos x="197" y="158"/>
              </a:cxn>
              <a:cxn ang="0">
                <a:pos x="203" y="161"/>
              </a:cxn>
              <a:cxn ang="0">
                <a:pos x="195" y="170"/>
              </a:cxn>
              <a:cxn ang="0">
                <a:pos x="194" y="163"/>
              </a:cxn>
              <a:cxn ang="0">
                <a:pos x="188" y="162"/>
              </a:cxn>
              <a:cxn ang="0">
                <a:pos x="177" y="169"/>
              </a:cxn>
              <a:cxn ang="0">
                <a:pos x="164" y="172"/>
              </a:cxn>
              <a:cxn ang="0">
                <a:pos x="159" y="182"/>
              </a:cxn>
              <a:cxn ang="0">
                <a:pos x="145" y="188"/>
              </a:cxn>
              <a:cxn ang="0">
                <a:pos x="135" y="184"/>
              </a:cxn>
              <a:cxn ang="0">
                <a:pos x="121" y="186"/>
              </a:cxn>
              <a:cxn ang="0">
                <a:pos x="113" y="187"/>
              </a:cxn>
              <a:cxn ang="0">
                <a:pos x="108" y="180"/>
              </a:cxn>
              <a:cxn ang="0">
                <a:pos x="103" y="164"/>
              </a:cxn>
              <a:cxn ang="0">
                <a:pos x="93" y="158"/>
              </a:cxn>
              <a:cxn ang="0">
                <a:pos x="82" y="151"/>
              </a:cxn>
              <a:cxn ang="0">
                <a:pos x="73" y="138"/>
              </a:cxn>
              <a:cxn ang="0">
                <a:pos x="77" y="126"/>
              </a:cxn>
              <a:cxn ang="0">
                <a:pos x="79" y="115"/>
              </a:cxn>
              <a:cxn ang="0">
                <a:pos x="72" y="111"/>
              </a:cxn>
              <a:cxn ang="0">
                <a:pos x="64" y="104"/>
              </a:cxn>
              <a:cxn ang="0">
                <a:pos x="46" y="104"/>
              </a:cxn>
              <a:cxn ang="0">
                <a:pos x="40" y="100"/>
              </a:cxn>
              <a:cxn ang="0">
                <a:pos x="25" y="93"/>
              </a:cxn>
              <a:cxn ang="0">
                <a:pos x="14" y="86"/>
              </a:cxn>
              <a:cxn ang="0">
                <a:pos x="10" y="82"/>
              </a:cxn>
              <a:cxn ang="0">
                <a:pos x="11" y="68"/>
              </a:cxn>
              <a:cxn ang="0">
                <a:pos x="7" y="74"/>
              </a:cxn>
              <a:cxn ang="0">
                <a:pos x="2" y="86"/>
              </a:cxn>
              <a:cxn ang="0">
                <a:pos x="7" y="53"/>
              </a:cxn>
              <a:cxn ang="0">
                <a:pos x="6" y="49"/>
              </a:cxn>
              <a:cxn ang="0">
                <a:pos x="11" y="26"/>
              </a:cxn>
              <a:cxn ang="0">
                <a:pos x="27" y="10"/>
              </a:cxn>
              <a:cxn ang="0">
                <a:pos x="51" y="1"/>
              </a:cxn>
              <a:cxn ang="0">
                <a:pos x="83" y="2"/>
              </a:cxn>
              <a:cxn ang="0">
                <a:pos x="94" y="7"/>
              </a:cxn>
              <a:cxn ang="0">
                <a:pos x="109" y="8"/>
              </a:cxn>
              <a:cxn ang="0">
                <a:pos x="128" y="9"/>
              </a:cxn>
              <a:cxn ang="0">
                <a:pos x="150" y="13"/>
              </a:cxn>
              <a:cxn ang="0">
                <a:pos x="165" y="2"/>
              </a:cxn>
            </a:cxnLst>
            <a:rect l="0" t="0" r="r" b="b"/>
            <a:pathLst>
              <a:path w="247" h="188">
                <a:moveTo>
                  <a:pt x="165" y="0"/>
                </a:moveTo>
                <a:lnTo>
                  <a:pt x="168" y="0"/>
                </a:lnTo>
                <a:lnTo>
                  <a:pt x="168" y="1"/>
                </a:lnTo>
                <a:lnTo>
                  <a:pt x="169" y="4"/>
                </a:lnTo>
                <a:lnTo>
                  <a:pt x="170" y="9"/>
                </a:lnTo>
                <a:lnTo>
                  <a:pt x="170" y="10"/>
                </a:lnTo>
                <a:lnTo>
                  <a:pt x="171" y="10"/>
                </a:lnTo>
                <a:lnTo>
                  <a:pt x="175" y="18"/>
                </a:lnTo>
                <a:lnTo>
                  <a:pt x="176" y="19"/>
                </a:lnTo>
                <a:lnTo>
                  <a:pt x="187" y="21"/>
                </a:lnTo>
                <a:lnTo>
                  <a:pt x="194" y="21"/>
                </a:lnTo>
                <a:lnTo>
                  <a:pt x="196" y="22"/>
                </a:lnTo>
                <a:lnTo>
                  <a:pt x="200" y="22"/>
                </a:lnTo>
                <a:lnTo>
                  <a:pt x="201" y="26"/>
                </a:lnTo>
                <a:lnTo>
                  <a:pt x="202" y="27"/>
                </a:lnTo>
                <a:lnTo>
                  <a:pt x="205" y="28"/>
                </a:lnTo>
                <a:lnTo>
                  <a:pt x="206" y="29"/>
                </a:lnTo>
                <a:lnTo>
                  <a:pt x="208" y="33"/>
                </a:lnTo>
                <a:lnTo>
                  <a:pt x="212" y="35"/>
                </a:lnTo>
                <a:lnTo>
                  <a:pt x="214" y="38"/>
                </a:lnTo>
                <a:lnTo>
                  <a:pt x="218" y="40"/>
                </a:lnTo>
                <a:lnTo>
                  <a:pt x="221" y="44"/>
                </a:lnTo>
                <a:lnTo>
                  <a:pt x="224" y="49"/>
                </a:lnTo>
                <a:lnTo>
                  <a:pt x="226" y="52"/>
                </a:lnTo>
                <a:lnTo>
                  <a:pt x="228" y="55"/>
                </a:lnTo>
                <a:lnTo>
                  <a:pt x="234" y="57"/>
                </a:lnTo>
                <a:lnTo>
                  <a:pt x="237" y="58"/>
                </a:lnTo>
                <a:lnTo>
                  <a:pt x="239" y="58"/>
                </a:lnTo>
                <a:lnTo>
                  <a:pt x="239" y="65"/>
                </a:lnTo>
                <a:lnTo>
                  <a:pt x="237" y="68"/>
                </a:lnTo>
                <a:lnTo>
                  <a:pt x="237" y="74"/>
                </a:lnTo>
                <a:lnTo>
                  <a:pt x="236" y="75"/>
                </a:lnTo>
                <a:lnTo>
                  <a:pt x="234" y="78"/>
                </a:lnTo>
                <a:lnTo>
                  <a:pt x="234" y="80"/>
                </a:lnTo>
                <a:lnTo>
                  <a:pt x="233" y="81"/>
                </a:lnTo>
                <a:lnTo>
                  <a:pt x="233" y="83"/>
                </a:lnTo>
                <a:lnTo>
                  <a:pt x="236" y="84"/>
                </a:lnTo>
                <a:lnTo>
                  <a:pt x="239" y="84"/>
                </a:lnTo>
                <a:lnTo>
                  <a:pt x="246" y="86"/>
                </a:lnTo>
                <a:lnTo>
                  <a:pt x="247" y="86"/>
                </a:lnTo>
                <a:lnTo>
                  <a:pt x="247" y="88"/>
                </a:lnTo>
                <a:lnTo>
                  <a:pt x="246" y="89"/>
                </a:lnTo>
                <a:lnTo>
                  <a:pt x="245" y="89"/>
                </a:lnTo>
                <a:lnTo>
                  <a:pt x="244" y="90"/>
                </a:lnTo>
                <a:lnTo>
                  <a:pt x="243" y="90"/>
                </a:lnTo>
                <a:lnTo>
                  <a:pt x="241" y="92"/>
                </a:lnTo>
                <a:lnTo>
                  <a:pt x="241" y="93"/>
                </a:lnTo>
                <a:lnTo>
                  <a:pt x="240" y="93"/>
                </a:lnTo>
                <a:lnTo>
                  <a:pt x="240" y="98"/>
                </a:lnTo>
                <a:lnTo>
                  <a:pt x="239" y="99"/>
                </a:lnTo>
                <a:lnTo>
                  <a:pt x="238" y="99"/>
                </a:lnTo>
                <a:lnTo>
                  <a:pt x="234" y="96"/>
                </a:lnTo>
                <a:lnTo>
                  <a:pt x="233" y="96"/>
                </a:lnTo>
                <a:lnTo>
                  <a:pt x="233" y="98"/>
                </a:lnTo>
                <a:lnTo>
                  <a:pt x="232" y="98"/>
                </a:lnTo>
                <a:lnTo>
                  <a:pt x="227" y="96"/>
                </a:lnTo>
                <a:lnTo>
                  <a:pt x="225" y="96"/>
                </a:lnTo>
                <a:lnTo>
                  <a:pt x="224" y="99"/>
                </a:lnTo>
                <a:lnTo>
                  <a:pt x="224" y="104"/>
                </a:lnTo>
                <a:lnTo>
                  <a:pt x="221" y="107"/>
                </a:lnTo>
                <a:lnTo>
                  <a:pt x="221" y="108"/>
                </a:lnTo>
                <a:lnTo>
                  <a:pt x="220" y="108"/>
                </a:lnTo>
                <a:lnTo>
                  <a:pt x="220" y="110"/>
                </a:lnTo>
                <a:lnTo>
                  <a:pt x="218" y="111"/>
                </a:lnTo>
                <a:lnTo>
                  <a:pt x="213" y="112"/>
                </a:lnTo>
                <a:lnTo>
                  <a:pt x="211" y="111"/>
                </a:lnTo>
                <a:lnTo>
                  <a:pt x="208" y="112"/>
                </a:lnTo>
                <a:lnTo>
                  <a:pt x="208" y="113"/>
                </a:lnTo>
                <a:lnTo>
                  <a:pt x="207" y="114"/>
                </a:lnTo>
                <a:lnTo>
                  <a:pt x="207" y="115"/>
                </a:lnTo>
                <a:lnTo>
                  <a:pt x="206" y="115"/>
                </a:lnTo>
                <a:lnTo>
                  <a:pt x="205" y="117"/>
                </a:lnTo>
                <a:lnTo>
                  <a:pt x="205" y="121"/>
                </a:lnTo>
                <a:lnTo>
                  <a:pt x="203" y="121"/>
                </a:lnTo>
                <a:lnTo>
                  <a:pt x="202" y="123"/>
                </a:lnTo>
                <a:lnTo>
                  <a:pt x="202" y="133"/>
                </a:lnTo>
                <a:lnTo>
                  <a:pt x="203" y="136"/>
                </a:lnTo>
                <a:lnTo>
                  <a:pt x="203" y="139"/>
                </a:lnTo>
                <a:lnTo>
                  <a:pt x="202" y="141"/>
                </a:lnTo>
                <a:lnTo>
                  <a:pt x="201" y="141"/>
                </a:lnTo>
                <a:lnTo>
                  <a:pt x="199" y="142"/>
                </a:lnTo>
                <a:lnTo>
                  <a:pt x="199" y="143"/>
                </a:lnTo>
                <a:lnTo>
                  <a:pt x="197" y="144"/>
                </a:lnTo>
                <a:lnTo>
                  <a:pt x="197" y="149"/>
                </a:lnTo>
                <a:lnTo>
                  <a:pt x="195" y="154"/>
                </a:lnTo>
                <a:lnTo>
                  <a:pt x="194" y="155"/>
                </a:lnTo>
                <a:lnTo>
                  <a:pt x="194" y="157"/>
                </a:lnTo>
                <a:lnTo>
                  <a:pt x="195" y="157"/>
                </a:lnTo>
                <a:lnTo>
                  <a:pt x="195" y="158"/>
                </a:lnTo>
                <a:lnTo>
                  <a:pt x="197" y="158"/>
                </a:lnTo>
                <a:lnTo>
                  <a:pt x="200" y="156"/>
                </a:lnTo>
                <a:lnTo>
                  <a:pt x="201" y="156"/>
                </a:lnTo>
                <a:lnTo>
                  <a:pt x="201" y="158"/>
                </a:lnTo>
                <a:lnTo>
                  <a:pt x="202" y="160"/>
                </a:lnTo>
                <a:lnTo>
                  <a:pt x="203" y="160"/>
                </a:lnTo>
                <a:lnTo>
                  <a:pt x="203" y="161"/>
                </a:lnTo>
                <a:lnTo>
                  <a:pt x="205" y="161"/>
                </a:lnTo>
                <a:lnTo>
                  <a:pt x="205" y="168"/>
                </a:lnTo>
                <a:lnTo>
                  <a:pt x="203" y="169"/>
                </a:lnTo>
                <a:lnTo>
                  <a:pt x="201" y="169"/>
                </a:lnTo>
                <a:lnTo>
                  <a:pt x="200" y="170"/>
                </a:lnTo>
                <a:lnTo>
                  <a:pt x="195" y="170"/>
                </a:lnTo>
                <a:lnTo>
                  <a:pt x="193" y="168"/>
                </a:lnTo>
                <a:lnTo>
                  <a:pt x="193" y="167"/>
                </a:lnTo>
                <a:lnTo>
                  <a:pt x="194" y="167"/>
                </a:lnTo>
                <a:lnTo>
                  <a:pt x="194" y="166"/>
                </a:lnTo>
                <a:lnTo>
                  <a:pt x="193" y="164"/>
                </a:lnTo>
                <a:lnTo>
                  <a:pt x="194" y="163"/>
                </a:lnTo>
                <a:lnTo>
                  <a:pt x="195" y="163"/>
                </a:lnTo>
                <a:lnTo>
                  <a:pt x="193" y="160"/>
                </a:lnTo>
                <a:lnTo>
                  <a:pt x="191" y="158"/>
                </a:lnTo>
                <a:lnTo>
                  <a:pt x="190" y="158"/>
                </a:lnTo>
                <a:lnTo>
                  <a:pt x="188" y="161"/>
                </a:lnTo>
                <a:lnTo>
                  <a:pt x="188" y="162"/>
                </a:lnTo>
                <a:lnTo>
                  <a:pt x="184" y="162"/>
                </a:lnTo>
                <a:lnTo>
                  <a:pt x="181" y="161"/>
                </a:lnTo>
                <a:lnTo>
                  <a:pt x="180" y="162"/>
                </a:lnTo>
                <a:lnTo>
                  <a:pt x="180" y="166"/>
                </a:lnTo>
                <a:lnTo>
                  <a:pt x="178" y="167"/>
                </a:lnTo>
                <a:lnTo>
                  <a:pt x="177" y="169"/>
                </a:lnTo>
                <a:lnTo>
                  <a:pt x="175" y="170"/>
                </a:lnTo>
                <a:lnTo>
                  <a:pt x="172" y="170"/>
                </a:lnTo>
                <a:lnTo>
                  <a:pt x="170" y="169"/>
                </a:lnTo>
                <a:lnTo>
                  <a:pt x="165" y="169"/>
                </a:lnTo>
                <a:lnTo>
                  <a:pt x="164" y="170"/>
                </a:lnTo>
                <a:lnTo>
                  <a:pt x="164" y="172"/>
                </a:lnTo>
                <a:lnTo>
                  <a:pt x="163" y="173"/>
                </a:lnTo>
                <a:lnTo>
                  <a:pt x="163" y="176"/>
                </a:lnTo>
                <a:lnTo>
                  <a:pt x="164" y="178"/>
                </a:lnTo>
                <a:lnTo>
                  <a:pt x="164" y="181"/>
                </a:lnTo>
                <a:lnTo>
                  <a:pt x="163" y="182"/>
                </a:lnTo>
                <a:lnTo>
                  <a:pt x="159" y="182"/>
                </a:lnTo>
                <a:lnTo>
                  <a:pt x="158" y="180"/>
                </a:lnTo>
                <a:lnTo>
                  <a:pt x="157" y="181"/>
                </a:lnTo>
                <a:lnTo>
                  <a:pt x="154" y="181"/>
                </a:lnTo>
                <a:lnTo>
                  <a:pt x="152" y="182"/>
                </a:lnTo>
                <a:lnTo>
                  <a:pt x="147" y="187"/>
                </a:lnTo>
                <a:lnTo>
                  <a:pt x="145" y="188"/>
                </a:lnTo>
                <a:lnTo>
                  <a:pt x="144" y="188"/>
                </a:lnTo>
                <a:lnTo>
                  <a:pt x="143" y="187"/>
                </a:lnTo>
                <a:lnTo>
                  <a:pt x="140" y="187"/>
                </a:lnTo>
                <a:lnTo>
                  <a:pt x="139" y="185"/>
                </a:lnTo>
                <a:lnTo>
                  <a:pt x="137" y="182"/>
                </a:lnTo>
                <a:lnTo>
                  <a:pt x="135" y="184"/>
                </a:lnTo>
                <a:lnTo>
                  <a:pt x="133" y="185"/>
                </a:lnTo>
                <a:lnTo>
                  <a:pt x="128" y="185"/>
                </a:lnTo>
                <a:lnTo>
                  <a:pt x="127" y="184"/>
                </a:lnTo>
                <a:lnTo>
                  <a:pt x="126" y="184"/>
                </a:lnTo>
                <a:lnTo>
                  <a:pt x="122" y="186"/>
                </a:lnTo>
                <a:lnTo>
                  <a:pt x="121" y="186"/>
                </a:lnTo>
                <a:lnTo>
                  <a:pt x="121" y="185"/>
                </a:lnTo>
                <a:lnTo>
                  <a:pt x="120" y="185"/>
                </a:lnTo>
                <a:lnTo>
                  <a:pt x="119" y="186"/>
                </a:lnTo>
                <a:lnTo>
                  <a:pt x="116" y="186"/>
                </a:lnTo>
                <a:lnTo>
                  <a:pt x="114" y="187"/>
                </a:lnTo>
                <a:lnTo>
                  <a:pt x="113" y="187"/>
                </a:lnTo>
                <a:lnTo>
                  <a:pt x="109" y="185"/>
                </a:lnTo>
                <a:lnTo>
                  <a:pt x="108" y="185"/>
                </a:lnTo>
                <a:lnTo>
                  <a:pt x="108" y="182"/>
                </a:lnTo>
                <a:lnTo>
                  <a:pt x="107" y="182"/>
                </a:lnTo>
                <a:lnTo>
                  <a:pt x="107" y="180"/>
                </a:lnTo>
                <a:lnTo>
                  <a:pt x="108" y="180"/>
                </a:lnTo>
                <a:lnTo>
                  <a:pt x="108" y="173"/>
                </a:lnTo>
                <a:lnTo>
                  <a:pt x="107" y="172"/>
                </a:lnTo>
                <a:lnTo>
                  <a:pt x="107" y="169"/>
                </a:lnTo>
                <a:lnTo>
                  <a:pt x="104" y="167"/>
                </a:lnTo>
                <a:lnTo>
                  <a:pt x="103" y="167"/>
                </a:lnTo>
                <a:lnTo>
                  <a:pt x="103" y="164"/>
                </a:lnTo>
                <a:lnTo>
                  <a:pt x="102" y="164"/>
                </a:lnTo>
                <a:lnTo>
                  <a:pt x="102" y="163"/>
                </a:lnTo>
                <a:lnTo>
                  <a:pt x="101" y="163"/>
                </a:lnTo>
                <a:lnTo>
                  <a:pt x="97" y="162"/>
                </a:lnTo>
                <a:lnTo>
                  <a:pt x="96" y="161"/>
                </a:lnTo>
                <a:lnTo>
                  <a:pt x="93" y="158"/>
                </a:lnTo>
                <a:lnTo>
                  <a:pt x="89" y="158"/>
                </a:lnTo>
                <a:lnTo>
                  <a:pt x="89" y="155"/>
                </a:lnTo>
                <a:lnTo>
                  <a:pt x="87" y="155"/>
                </a:lnTo>
                <a:lnTo>
                  <a:pt x="87" y="153"/>
                </a:lnTo>
                <a:lnTo>
                  <a:pt x="84" y="153"/>
                </a:lnTo>
                <a:lnTo>
                  <a:pt x="82" y="151"/>
                </a:lnTo>
                <a:lnTo>
                  <a:pt x="79" y="151"/>
                </a:lnTo>
                <a:lnTo>
                  <a:pt x="78" y="154"/>
                </a:lnTo>
                <a:lnTo>
                  <a:pt x="77" y="154"/>
                </a:lnTo>
                <a:lnTo>
                  <a:pt x="75" y="150"/>
                </a:lnTo>
                <a:lnTo>
                  <a:pt x="73" y="148"/>
                </a:lnTo>
                <a:lnTo>
                  <a:pt x="73" y="138"/>
                </a:lnTo>
                <a:lnTo>
                  <a:pt x="75" y="136"/>
                </a:lnTo>
                <a:lnTo>
                  <a:pt x="75" y="130"/>
                </a:lnTo>
                <a:lnTo>
                  <a:pt x="76" y="129"/>
                </a:lnTo>
                <a:lnTo>
                  <a:pt x="76" y="127"/>
                </a:lnTo>
                <a:lnTo>
                  <a:pt x="77" y="127"/>
                </a:lnTo>
                <a:lnTo>
                  <a:pt x="77" y="126"/>
                </a:lnTo>
                <a:lnTo>
                  <a:pt x="78" y="126"/>
                </a:lnTo>
                <a:lnTo>
                  <a:pt x="78" y="125"/>
                </a:lnTo>
                <a:lnTo>
                  <a:pt x="79" y="124"/>
                </a:lnTo>
                <a:lnTo>
                  <a:pt x="81" y="124"/>
                </a:lnTo>
                <a:lnTo>
                  <a:pt x="81" y="117"/>
                </a:lnTo>
                <a:lnTo>
                  <a:pt x="79" y="115"/>
                </a:lnTo>
                <a:lnTo>
                  <a:pt x="77" y="114"/>
                </a:lnTo>
                <a:lnTo>
                  <a:pt x="76" y="113"/>
                </a:lnTo>
                <a:lnTo>
                  <a:pt x="77" y="112"/>
                </a:lnTo>
                <a:lnTo>
                  <a:pt x="76" y="112"/>
                </a:lnTo>
                <a:lnTo>
                  <a:pt x="76" y="111"/>
                </a:lnTo>
                <a:lnTo>
                  <a:pt x="72" y="111"/>
                </a:lnTo>
                <a:lnTo>
                  <a:pt x="71" y="110"/>
                </a:lnTo>
                <a:lnTo>
                  <a:pt x="71" y="108"/>
                </a:lnTo>
                <a:lnTo>
                  <a:pt x="70" y="105"/>
                </a:lnTo>
                <a:lnTo>
                  <a:pt x="70" y="104"/>
                </a:lnTo>
                <a:lnTo>
                  <a:pt x="67" y="101"/>
                </a:lnTo>
                <a:lnTo>
                  <a:pt x="64" y="104"/>
                </a:lnTo>
                <a:lnTo>
                  <a:pt x="57" y="102"/>
                </a:lnTo>
                <a:lnTo>
                  <a:pt x="56" y="102"/>
                </a:lnTo>
                <a:lnTo>
                  <a:pt x="51" y="104"/>
                </a:lnTo>
                <a:lnTo>
                  <a:pt x="50" y="105"/>
                </a:lnTo>
                <a:lnTo>
                  <a:pt x="47" y="105"/>
                </a:lnTo>
                <a:lnTo>
                  <a:pt x="46" y="104"/>
                </a:lnTo>
                <a:lnTo>
                  <a:pt x="46" y="101"/>
                </a:lnTo>
                <a:lnTo>
                  <a:pt x="45" y="100"/>
                </a:lnTo>
                <a:lnTo>
                  <a:pt x="44" y="100"/>
                </a:lnTo>
                <a:lnTo>
                  <a:pt x="44" y="101"/>
                </a:lnTo>
                <a:lnTo>
                  <a:pt x="41" y="101"/>
                </a:lnTo>
                <a:lnTo>
                  <a:pt x="40" y="100"/>
                </a:lnTo>
                <a:lnTo>
                  <a:pt x="39" y="100"/>
                </a:lnTo>
                <a:lnTo>
                  <a:pt x="38" y="99"/>
                </a:lnTo>
                <a:lnTo>
                  <a:pt x="34" y="98"/>
                </a:lnTo>
                <a:lnTo>
                  <a:pt x="31" y="94"/>
                </a:lnTo>
                <a:lnTo>
                  <a:pt x="28" y="93"/>
                </a:lnTo>
                <a:lnTo>
                  <a:pt x="25" y="93"/>
                </a:lnTo>
                <a:lnTo>
                  <a:pt x="22" y="92"/>
                </a:lnTo>
                <a:lnTo>
                  <a:pt x="20" y="87"/>
                </a:lnTo>
                <a:lnTo>
                  <a:pt x="19" y="86"/>
                </a:lnTo>
                <a:lnTo>
                  <a:pt x="17" y="86"/>
                </a:lnTo>
                <a:lnTo>
                  <a:pt x="14" y="89"/>
                </a:lnTo>
                <a:lnTo>
                  <a:pt x="14" y="86"/>
                </a:lnTo>
                <a:lnTo>
                  <a:pt x="15" y="86"/>
                </a:lnTo>
                <a:lnTo>
                  <a:pt x="15" y="83"/>
                </a:lnTo>
                <a:lnTo>
                  <a:pt x="14" y="83"/>
                </a:lnTo>
                <a:lnTo>
                  <a:pt x="14" y="80"/>
                </a:lnTo>
                <a:lnTo>
                  <a:pt x="11" y="82"/>
                </a:lnTo>
                <a:lnTo>
                  <a:pt x="10" y="82"/>
                </a:lnTo>
                <a:lnTo>
                  <a:pt x="13" y="77"/>
                </a:lnTo>
                <a:lnTo>
                  <a:pt x="14" y="76"/>
                </a:lnTo>
                <a:lnTo>
                  <a:pt x="14" y="75"/>
                </a:lnTo>
                <a:lnTo>
                  <a:pt x="13" y="71"/>
                </a:lnTo>
                <a:lnTo>
                  <a:pt x="13" y="69"/>
                </a:lnTo>
                <a:lnTo>
                  <a:pt x="11" y="68"/>
                </a:lnTo>
                <a:lnTo>
                  <a:pt x="11" y="64"/>
                </a:lnTo>
                <a:lnTo>
                  <a:pt x="9" y="59"/>
                </a:lnTo>
                <a:lnTo>
                  <a:pt x="9" y="65"/>
                </a:lnTo>
                <a:lnTo>
                  <a:pt x="8" y="67"/>
                </a:lnTo>
                <a:lnTo>
                  <a:pt x="8" y="72"/>
                </a:lnTo>
                <a:lnTo>
                  <a:pt x="7" y="74"/>
                </a:lnTo>
                <a:lnTo>
                  <a:pt x="7" y="75"/>
                </a:lnTo>
                <a:lnTo>
                  <a:pt x="8" y="75"/>
                </a:lnTo>
                <a:lnTo>
                  <a:pt x="8" y="76"/>
                </a:lnTo>
                <a:lnTo>
                  <a:pt x="6" y="78"/>
                </a:lnTo>
                <a:lnTo>
                  <a:pt x="6" y="82"/>
                </a:lnTo>
                <a:lnTo>
                  <a:pt x="2" y="86"/>
                </a:lnTo>
                <a:lnTo>
                  <a:pt x="2" y="87"/>
                </a:lnTo>
                <a:lnTo>
                  <a:pt x="0" y="87"/>
                </a:lnTo>
                <a:lnTo>
                  <a:pt x="3" y="81"/>
                </a:lnTo>
                <a:lnTo>
                  <a:pt x="4" y="76"/>
                </a:lnTo>
                <a:lnTo>
                  <a:pt x="7" y="70"/>
                </a:lnTo>
                <a:lnTo>
                  <a:pt x="7" y="53"/>
                </a:lnTo>
                <a:lnTo>
                  <a:pt x="9" y="58"/>
                </a:lnTo>
                <a:lnTo>
                  <a:pt x="9" y="56"/>
                </a:lnTo>
                <a:lnTo>
                  <a:pt x="7" y="53"/>
                </a:lnTo>
                <a:lnTo>
                  <a:pt x="7" y="52"/>
                </a:lnTo>
                <a:lnTo>
                  <a:pt x="6" y="52"/>
                </a:lnTo>
                <a:lnTo>
                  <a:pt x="6" y="49"/>
                </a:lnTo>
                <a:lnTo>
                  <a:pt x="4" y="43"/>
                </a:lnTo>
                <a:lnTo>
                  <a:pt x="4" y="39"/>
                </a:lnTo>
                <a:lnTo>
                  <a:pt x="6" y="38"/>
                </a:lnTo>
                <a:lnTo>
                  <a:pt x="6" y="27"/>
                </a:lnTo>
                <a:lnTo>
                  <a:pt x="9" y="27"/>
                </a:lnTo>
                <a:lnTo>
                  <a:pt x="11" y="26"/>
                </a:lnTo>
                <a:lnTo>
                  <a:pt x="11" y="22"/>
                </a:lnTo>
                <a:lnTo>
                  <a:pt x="13" y="20"/>
                </a:lnTo>
                <a:lnTo>
                  <a:pt x="16" y="16"/>
                </a:lnTo>
                <a:lnTo>
                  <a:pt x="19" y="15"/>
                </a:lnTo>
                <a:lnTo>
                  <a:pt x="21" y="15"/>
                </a:lnTo>
                <a:lnTo>
                  <a:pt x="27" y="10"/>
                </a:lnTo>
                <a:lnTo>
                  <a:pt x="28" y="9"/>
                </a:lnTo>
                <a:lnTo>
                  <a:pt x="32" y="9"/>
                </a:lnTo>
                <a:lnTo>
                  <a:pt x="44" y="3"/>
                </a:lnTo>
                <a:lnTo>
                  <a:pt x="45" y="3"/>
                </a:lnTo>
                <a:lnTo>
                  <a:pt x="50" y="1"/>
                </a:lnTo>
                <a:lnTo>
                  <a:pt x="51" y="1"/>
                </a:lnTo>
                <a:lnTo>
                  <a:pt x="53" y="3"/>
                </a:lnTo>
                <a:lnTo>
                  <a:pt x="70" y="3"/>
                </a:lnTo>
                <a:lnTo>
                  <a:pt x="73" y="7"/>
                </a:lnTo>
                <a:lnTo>
                  <a:pt x="79" y="3"/>
                </a:lnTo>
                <a:lnTo>
                  <a:pt x="82" y="3"/>
                </a:lnTo>
                <a:lnTo>
                  <a:pt x="83" y="2"/>
                </a:lnTo>
                <a:lnTo>
                  <a:pt x="85" y="2"/>
                </a:lnTo>
                <a:lnTo>
                  <a:pt x="87" y="4"/>
                </a:lnTo>
                <a:lnTo>
                  <a:pt x="88" y="8"/>
                </a:lnTo>
                <a:lnTo>
                  <a:pt x="90" y="9"/>
                </a:lnTo>
                <a:lnTo>
                  <a:pt x="93" y="9"/>
                </a:lnTo>
                <a:lnTo>
                  <a:pt x="94" y="7"/>
                </a:lnTo>
                <a:lnTo>
                  <a:pt x="94" y="6"/>
                </a:lnTo>
                <a:lnTo>
                  <a:pt x="95" y="6"/>
                </a:lnTo>
                <a:lnTo>
                  <a:pt x="100" y="4"/>
                </a:lnTo>
                <a:lnTo>
                  <a:pt x="101" y="4"/>
                </a:lnTo>
                <a:lnTo>
                  <a:pt x="108" y="8"/>
                </a:lnTo>
                <a:lnTo>
                  <a:pt x="109" y="8"/>
                </a:lnTo>
                <a:lnTo>
                  <a:pt x="112" y="7"/>
                </a:lnTo>
                <a:lnTo>
                  <a:pt x="113" y="6"/>
                </a:lnTo>
                <a:lnTo>
                  <a:pt x="118" y="6"/>
                </a:lnTo>
                <a:lnTo>
                  <a:pt x="118" y="8"/>
                </a:lnTo>
                <a:lnTo>
                  <a:pt x="124" y="8"/>
                </a:lnTo>
                <a:lnTo>
                  <a:pt x="128" y="9"/>
                </a:lnTo>
                <a:lnTo>
                  <a:pt x="133" y="13"/>
                </a:lnTo>
                <a:lnTo>
                  <a:pt x="137" y="13"/>
                </a:lnTo>
                <a:lnTo>
                  <a:pt x="141" y="10"/>
                </a:lnTo>
                <a:lnTo>
                  <a:pt x="144" y="10"/>
                </a:lnTo>
                <a:lnTo>
                  <a:pt x="147" y="13"/>
                </a:lnTo>
                <a:lnTo>
                  <a:pt x="150" y="13"/>
                </a:lnTo>
                <a:lnTo>
                  <a:pt x="152" y="12"/>
                </a:lnTo>
                <a:lnTo>
                  <a:pt x="153" y="10"/>
                </a:lnTo>
                <a:lnTo>
                  <a:pt x="157" y="6"/>
                </a:lnTo>
                <a:lnTo>
                  <a:pt x="159" y="3"/>
                </a:lnTo>
                <a:lnTo>
                  <a:pt x="164" y="2"/>
                </a:lnTo>
                <a:lnTo>
                  <a:pt x="165" y="2"/>
                </a:lnTo>
                <a:lnTo>
                  <a:pt x="165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" name="Freeform 31">
            <a:extLst>
              <a:ext uri="{FF2B5EF4-FFF2-40B4-BE49-F238E27FC236}">
                <a16:creationId xmlns:a16="http://schemas.microsoft.com/office/drawing/2014/main" id="{C2CD388C-FBB8-41E4-8457-7B79ED52D4AF}"/>
              </a:ext>
            </a:extLst>
          </p:cNvPr>
          <p:cNvSpPr>
            <a:spLocks/>
          </p:cNvSpPr>
          <p:nvPr/>
        </p:nvSpPr>
        <p:spPr bwMode="auto">
          <a:xfrm>
            <a:off x="1811272" y="4969718"/>
            <a:ext cx="8694" cy="18837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2" y="2"/>
              </a:cxn>
              <a:cxn ang="0">
                <a:pos x="3" y="2"/>
              </a:cxn>
              <a:cxn ang="0">
                <a:pos x="3" y="6"/>
              </a:cxn>
              <a:cxn ang="0">
                <a:pos x="5" y="6"/>
              </a:cxn>
              <a:cxn ang="0">
                <a:pos x="5" y="8"/>
              </a:cxn>
              <a:cxn ang="0">
                <a:pos x="6" y="10"/>
              </a:cxn>
              <a:cxn ang="0">
                <a:pos x="6" y="11"/>
              </a:cxn>
              <a:cxn ang="0">
                <a:pos x="3" y="13"/>
              </a:cxn>
              <a:cxn ang="0">
                <a:pos x="1" y="12"/>
              </a:cxn>
              <a:cxn ang="0">
                <a:pos x="0" y="12"/>
              </a:cxn>
              <a:cxn ang="0">
                <a:pos x="0" y="11"/>
              </a:cxn>
              <a:cxn ang="0">
                <a:pos x="1" y="11"/>
              </a:cxn>
              <a:cxn ang="0">
                <a:pos x="1" y="7"/>
              </a:cxn>
              <a:cxn ang="0">
                <a:pos x="0" y="6"/>
              </a:cxn>
              <a:cxn ang="0">
                <a:pos x="0" y="4"/>
              </a:cxn>
              <a:cxn ang="0">
                <a:pos x="1" y="1"/>
              </a:cxn>
              <a:cxn ang="0">
                <a:pos x="2" y="0"/>
              </a:cxn>
            </a:cxnLst>
            <a:rect l="0" t="0" r="r" b="b"/>
            <a:pathLst>
              <a:path w="6" h="13">
                <a:moveTo>
                  <a:pt x="2" y="0"/>
                </a:moveTo>
                <a:lnTo>
                  <a:pt x="2" y="2"/>
                </a:lnTo>
                <a:lnTo>
                  <a:pt x="3" y="2"/>
                </a:lnTo>
                <a:lnTo>
                  <a:pt x="3" y="6"/>
                </a:lnTo>
                <a:lnTo>
                  <a:pt x="5" y="6"/>
                </a:lnTo>
                <a:lnTo>
                  <a:pt x="5" y="8"/>
                </a:lnTo>
                <a:lnTo>
                  <a:pt x="6" y="10"/>
                </a:lnTo>
                <a:lnTo>
                  <a:pt x="6" y="11"/>
                </a:lnTo>
                <a:lnTo>
                  <a:pt x="3" y="13"/>
                </a:lnTo>
                <a:lnTo>
                  <a:pt x="1" y="12"/>
                </a:lnTo>
                <a:lnTo>
                  <a:pt x="0" y="12"/>
                </a:lnTo>
                <a:lnTo>
                  <a:pt x="0" y="11"/>
                </a:lnTo>
                <a:lnTo>
                  <a:pt x="1" y="11"/>
                </a:lnTo>
                <a:lnTo>
                  <a:pt x="1" y="7"/>
                </a:lnTo>
                <a:lnTo>
                  <a:pt x="0" y="6"/>
                </a:lnTo>
                <a:lnTo>
                  <a:pt x="0" y="4"/>
                </a:lnTo>
                <a:lnTo>
                  <a:pt x="1" y="1"/>
                </a:lnTo>
                <a:lnTo>
                  <a:pt x="2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" name="Freeform 32">
            <a:extLst>
              <a:ext uri="{FF2B5EF4-FFF2-40B4-BE49-F238E27FC236}">
                <a16:creationId xmlns:a16="http://schemas.microsoft.com/office/drawing/2014/main" id="{567BB836-AAEA-4E54-81CA-113844CB419E}"/>
              </a:ext>
            </a:extLst>
          </p:cNvPr>
          <p:cNvSpPr>
            <a:spLocks/>
          </p:cNvSpPr>
          <p:nvPr/>
        </p:nvSpPr>
        <p:spPr bwMode="auto">
          <a:xfrm>
            <a:off x="2514008" y="3872870"/>
            <a:ext cx="441927" cy="269503"/>
          </a:xfrm>
          <a:custGeom>
            <a:avLst/>
            <a:gdLst/>
            <a:ahLst/>
            <a:cxnLst>
              <a:cxn ang="0">
                <a:pos x="182" y="5"/>
              </a:cxn>
              <a:cxn ang="0">
                <a:pos x="186" y="3"/>
              </a:cxn>
              <a:cxn ang="0">
                <a:pos x="199" y="12"/>
              </a:cxn>
              <a:cxn ang="0">
                <a:pos x="212" y="18"/>
              </a:cxn>
              <a:cxn ang="0">
                <a:pos x="218" y="27"/>
              </a:cxn>
              <a:cxn ang="0">
                <a:pos x="234" y="44"/>
              </a:cxn>
              <a:cxn ang="0">
                <a:pos x="238" y="42"/>
              </a:cxn>
              <a:cxn ang="0">
                <a:pos x="247" y="38"/>
              </a:cxn>
              <a:cxn ang="0">
                <a:pos x="251" y="37"/>
              </a:cxn>
              <a:cxn ang="0">
                <a:pos x="269" y="43"/>
              </a:cxn>
              <a:cxn ang="0">
                <a:pos x="281" y="54"/>
              </a:cxn>
              <a:cxn ang="0">
                <a:pos x="284" y="75"/>
              </a:cxn>
              <a:cxn ang="0">
                <a:pos x="285" y="88"/>
              </a:cxn>
              <a:cxn ang="0">
                <a:pos x="290" y="95"/>
              </a:cxn>
              <a:cxn ang="0">
                <a:pos x="291" y="105"/>
              </a:cxn>
              <a:cxn ang="0">
                <a:pos x="300" y="118"/>
              </a:cxn>
              <a:cxn ang="0">
                <a:pos x="303" y="128"/>
              </a:cxn>
              <a:cxn ang="0">
                <a:pos x="305" y="142"/>
              </a:cxn>
              <a:cxn ang="0">
                <a:pos x="297" y="152"/>
              </a:cxn>
              <a:cxn ang="0">
                <a:pos x="287" y="160"/>
              </a:cxn>
              <a:cxn ang="0">
                <a:pos x="279" y="177"/>
              </a:cxn>
              <a:cxn ang="0">
                <a:pos x="265" y="177"/>
              </a:cxn>
              <a:cxn ang="0">
                <a:pos x="248" y="181"/>
              </a:cxn>
              <a:cxn ang="0">
                <a:pos x="237" y="186"/>
              </a:cxn>
              <a:cxn ang="0">
                <a:pos x="219" y="172"/>
              </a:cxn>
              <a:cxn ang="0">
                <a:pos x="203" y="156"/>
              </a:cxn>
              <a:cxn ang="0">
                <a:pos x="185" y="149"/>
              </a:cxn>
              <a:cxn ang="0">
                <a:pos x="167" y="132"/>
              </a:cxn>
              <a:cxn ang="0">
                <a:pos x="157" y="131"/>
              </a:cxn>
              <a:cxn ang="0">
                <a:pos x="142" y="138"/>
              </a:cxn>
              <a:cxn ang="0">
                <a:pos x="116" y="136"/>
              </a:cxn>
              <a:cxn ang="0">
                <a:pos x="99" y="132"/>
              </a:cxn>
              <a:cxn ang="0">
                <a:pos x="88" y="137"/>
              </a:cxn>
              <a:cxn ang="0">
                <a:pos x="77" y="131"/>
              </a:cxn>
              <a:cxn ang="0">
                <a:pos x="43" y="131"/>
              </a:cxn>
              <a:cxn ang="0">
                <a:pos x="17" y="143"/>
              </a:cxn>
              <a:cxn ang="0">
                <a:pos x="4" y="155"/>
              </a:cxn>
              <a:cxn ang="0">
                <a:pos x="1" y="122"/>
              </a:cxn>
              <a:cxn ang="0">
                <a:pos x="4" y="129"/>
              </a:cxn>
              <a:cxn ang="0">
                <a:pos x="4" y="109"/>
              </a:cxn>
              <a:cxn ang="0">
                <a:pos x="13" y="88"/>
              </a:cxn>
              <a:cxn ang="0">
                <a:pos x="18" y="79"/>
              </a:cxn>
              <a:cxn ang="0">
                <a:pos x="19" y="63"/>
              </a:cxn>
              <a:cxn ang="0">
                <a:pos x="33" y="38"/>
              </a:cxn>
              <a:cxn ang="0">
                <a:pos x="67" y="25"/>
              </a:cxn>
              <a:cxn ang="0">
                <a:pos x="70" y="38"/>
              </a:cxn>
              <a:cxn ang="0">
                <a:pos x="91" y="57"/>
              </a:cxn>
              <a:cxn ang="0">
                <a:pos x="94" y="68"/>
              </a:cxn>
              <a:cxn ang="0">
                <a:pos x="107" y="82"/>
              </a:cxn>
              <a:cxn ang="0">
                <a:pos x="125" y="83"/>
              </a:cxn>
              <a:cxn ang="0">
                <a:pos x="132" y="77"/>
              </a:cxn>
              <a:cxn ang="0">
                <a:pos x="141" y="70"/>
              </a:cxn>
              <a:cxn ang="0">
                <a:pos x="143" y="45"/>
              </a:cxn>
              <a:cxn ang="0">
                <a:pos x="141" y="17"/>
              </a:cxn>
              <a:cxn ang="0">
                <a:pos x="151" y="9"/>
              </a:cxn>
              <a:cxn ang="0">
                <a:pos x="162" y="8"/>
              </a:cxn>
              <a:cxn ang="0">
                <a:pos x="172" y="1"/>
              </a:cxn>
            </a:cxnLst>
            <a:rect l="0" t="0" r="r" b="b"/>
            <a:pathLst>
              <a:path w="305" h="186">
                <a:moveTo>
                  <a:pt x="175" y="0"/>
                </a:moveTo>
                <a:lnTo>
                  <a:pt x="178" y="2"/>
                </a:lnTo>
                <a:lnTo>
                  <a:pt x="178" y="5"/>
                </a:lnTo>
                <a:lnTo>
                  <a:pt x="179" y="7"/>
                </a:lnTo>
                <a:lnTo>
                  <a:pt x="180" y="7"/>
                </a:lnTo>
                <a:lnTo>
                  <a:pt x="182" y="5"/>
                </a:lnTo>
                <a:lnTo>
                  <a:pt x="180" y="2"/>
                </a:lnTo>
                <a:lnTo>
                  <a:pt x="180" y="0"/>
                </a:lnTo>
                <a:lnTo>
                  <a:pt x="181" y="0"/>
                </a:lnTo>
                <a:lnTo>
                  <a:pt x="183" y="2"/>
                </a:lnTo>
                <a:lnTo>
                  <a:pt x="183" y="3"/>
                </a:lnTo>
                <a:lnTo>
                  <a:pt x="186" y="3"/>
                </a:lnTo>
                <a:lnTo>
                  <a:pt x="191" y="8"/>
                </a:lnTo>
                <a:lnTo>
                  <a:pt x="193" y="8"/>
                </a:lnTo>
                <a:lnTo>
                  <a:pt x="193" y="11"/>
                </a:lnTo>
                <a:lnTo>
                  <a:pt x="195" y="13"/>
                </a:lnTo>
                <a:lnTo>
                  <a:pt x="197" y="13"/>
                </a:lnTo>
                <a:lnTo>
                  <a:pt x="199" y="12"/>
                </a:lnTo>
                <a:lnTo>
                  <a:pt x="200" y="12"/>
                </a:lnTo>
                <a:lnTo>
                  <a:pt x="201" y="13"/>
                </a:lnTo>
                <a:lnTo>
                  <a:pt x="201" y="14"/>
                </a:lnTo>
                <a:lnTo>
                  <a:pt x="203" y="17"/>
                </a:lnTo>
                <a:lnTo>
                  <a:pt x="203" y="18"/>
                </a:lnTo>
                <a:lnTo>
                  <a:pt x="212" y="18"/>
                </a:lnTo>
                <a:lnTo>
                  <a:pt x="213" y="19"/>
                </a:lnTo>
                <a:lnTo>
                  <a:pt x="213" y="20"/>
                </a:lnTo>
                <a:lnTo>
                  <a:pt x="212" y="20"/>
                </a:lnTo>
                <a:lnTo>
                  <a:pt x="212" y="23"/>
                </a:lnTo>
                <a:lnTo>
                  <a:pt x="213" y="24"/>
                </a:lnTo>
                <a:lnTo>
                  <a:pt x="218" y="27"/>
                </a:lnTo>
                <a:lnTo>
                  <a:pt x="219" y="30"/>
                </a:lnTo>
                <a:lnTo>
                  <a:pt x="223" y="36"/>
                </a:lnTo>
                <a:lnTo>
                  <a:pt x="224" y="38"/>
                </a:lnTo>
                <a:lnTo>
                  <a:pt x="226" y="39"/>
                </a:lnTo>
                <a:lnTo>
                  <a:pt x="230" y="40"/>
                </a:lnTo>
                <a:lnTo>
                  <a:pt x="234" y="44"/>
                </a:lnTo>
                <a:lnTo>
                  <a:pt x="235" y="44"/>
                </a:lnTo>
                <a:lnTo>
                  <a:pt x="235" y="43"/>
                </a:lnTo>
                <a:lnTo>
                  <a:pt x="236" y="44"/>
                </a:lnTo>
                <a:lnTo>
                  <a:pt x="237" y="44"/>
                </a:lnTo>
                <a:lnTo>
                  <a:pt x="237" y="42"/>
                </a:lnTo>
                <a:lnTo>
                  <a:pt x="238" y="42"/>
                </a:lnTo>
                <a:lnTo>
                  <a:pt x="239" y="40"/>
                </a:lnTo>
                <a:lnTo>
                  <a:pt x="242" y="39"/>
                </a:lnTo>
                <a:lnTo>
                  <a:pt x="244" y="40"/>
                </a:lnTo>
                <a:lnTo>
                  <a:pt x="245" y="39"/>
                </a:lnTo>
                <a:lnTo>
                  <a:pt x="247" y="39"/>
                </a:lnTo>
                <a:lnTo>
                  <a:pt x="247" y="38"/>
                </a:lnTo>
                <a:lnTo>
                  <a:pt x="248" y="37"/>
                </a:lnTo>
                <a:lnTo>
                  <a:pt x="248" y="36"/>
                </a:lnTo>
                <a:lnTo>
                  <a:pt x="249" y="36"/>
                </a:lnTo>
                <a:lnTo>
                  <a:pt x="250" y="37"/>
                </a:lnTo>
                <a:lnTo>
                  <a:pt x="251" y="36"/>
                </a:lnTo>
                <a:lnTo>
                  <a:pt x="251" y="37"/>
                </a:lnTo>
                <a:lnTo>
                  <a:pt x="254" y="37"/>
                </a:lnTo>
                <a:lnTo>
                  <a:pt x="254" y="38"/>
                </a:lnTo>
                <a:lnTo>
                  <a:pt x="257" y="42"/>
                </a:lnTo>
                <a:lnTo>
                  <a:pt x="261" y="42"/>
                </a:lnTo>
                <a:lnTo>
                  <a:pt x="268" y="44"/>
                </a:lnTo>
                <a:lnTo>
                  <a:pt x="269" y="43"/>
                </a:lnTo>
                <a:lnTo>
                  <a:pt x="276" y="43"/>
                </a:lnTo>
                <a:lnTo>
                  <a:pt x="276" y="48"/>
                </a:lnTo>
                <a:lnTo>
                  <a:pt x="275" y="50"/>
                </a:lnTo>
                <a:lnTo>
                  <a:pt x="275" y="51"/>
                </a:lnTo>
                <a:lnTo>
                  <a:pt x="276" y="52"/>
                </a:lnTo>
                <a:lnTo>
                  <a:pt x="281" y="54"/>
                </a:lnTo>
                <a:lnTo>
                  <a:pt x="284" y="57"/>
                </a:lnTo>
                <a:lnTo>
                  <a:pt x="288" y="60"/>
                </a:lnTo>
                <a:lnTo>
                  <a:pt x="290" y="61"/>
                </a:lnTo>
                <a:lnTo>
                  <a:pt x="290" y="70"/>
                </a:lnTo>
                <a:lnTo>
                  <a:pt x="287" y="73"/>
                </a:lnTo>
                <a:lnTo>
                  <a:pt x="284" y="75"/>
                </a:lnTo>
                <a:lnTo>
                  <a:pt x="282" y="76"/>
                </a:lnTo>
                <a:lnTo>
                  <a:pt x="285" y="79"/>
                </a:lnTo>
                <a:lnTo>
                  <a:pt x="286" y="79"/>
                </a:lnTo>
                <a:lnTo>
                  <a:pt x="286" y="82"/>
                </a:lnTo>
                <a:lnTo>
                  <a:pt x="285" y="83"/>
                </a:lnTo>
                <a:lnTo>
                  <a:pt x="285" y="88"/>
                </a:lnTo>
                <a:lnTo>
                  <a:pt x="281" y="94"/>
                </a:lnTo>
                <a:lnTo>
                  <a:pt x="280" y="97"/>
                </a:lnTo>
                <a:lnTo>
                  <a:pt x="282" y="97"/>
                </a:lnTo>
                <a:lnTo>
                  <a:pt x="286" y="95"/>
                </a:lnTo>
                <a:lnTo>
                  <a:pt x="287" y="94"/>
                </a:lnTo>
                <a:lnTo>
                  <a:pt x="290" y="95"/>
                </a:lnTo>
                <a:lnTo>
                  <a:pt x="292" y="98"/>
                </a:lnTo>
                <a:lnTo>
                  <a:pt x="293" y="98"/>
                </a:lnTo>
                <a:lnTo>
                  <a:pt x="293" y="99"/>
                </a:lnTo>
                <a:lnTo>
                  <a:pt x="292" y="101"/>
                </a:lnTo>
                <a:lnTo>
                  <a:pt x="291" y="103"/>
                </a:lnTo>
                <a:lnTo>
                  <a:pt x="291" y="105"/>
                </a:lnTo>
                <a:lnTo>
                  <a:pt x="296" y="109"/>
                </a:lnTo>
                <a:lnTo>
                  <a:pt x="296" y="113"/>
                </a:lnTo>
                <a:lnTo>
                  <a:pt x="297" y="114"/>
                </a:lnTo>
                <a:lnTo>
                  <a:pt x="297" y="116"/>
                </a:lnTo>
                <a:lnTo>
                  <a:pt x="298" y="117"/>
                </a:lnTo>
                <a:lnTo>
                  <a:pt x="300" y="118"/>
                </a:lnTo>
                <a:lnTo>
                  <a:pt x="301" y="119"/>
                </a:lnTo>
                <a:lnTo>
                  <a:pt x="301" y="120"/>
                </a:lnTo>
                <a:lnTo>
                  <a:pt x="300" y="122"/>
                </a:lnTo>
                <a:lnTo>
                  <a:pt x="300" y="124"/>
                </a:lnTo>
                <a:lnTo>
                  <a:pt x="303" y="126"/>
                </a:lnTo>
                <a:lnTo>
                  <a:pt x="303" y="128"/>
                </a:lnTo>
                <a:lnTo>
                  <a:pt x="304" y="129"/>
                </a:lnTo>
                <a:lnTo>
                  <a:pt x="303" y="131"/>
                </a:lnTo>
                <a:lnTo>
                  <a:pt x="304" y="132"/>
                </a:lnTo>
                <a:lnTo>
                  <a:pt x="304" y="135"/>
                </a:lnTo>
                <a:lnTo>
                  <a:pt x="305" y="140"/>
                </a:lnTo>
                <a:lnTo>
                  <a:pt x="305" y="142"/>
                </a:lnTo>
                <a:lnTo>
                  <a:pt x="304" y="143"/>
                </a:lnTo>
                <a:lnTo>
                  <a:pt x="304" y="149"/>
                </a:lnTo>
                <a:lnTo>
                  <a:pt x="303" y="150"/>
                </a:lnTo>
                <a:lnTo>
                  <a:pt x="301" y="149"/>
                </a:lnTo>
                <a:lnTo>
                  <a:pt x="299" y="149"/>
                </a:lnTo>
                <a:lnTo>
                  <a:pt x="297" y="152"/>
                </a:lnTo>
                <a:lnTo>
                  <a:pt x="296" y="152"/>
                </a:lnTo>
                <a:lnTo>
                  <a:pt x="294" y="153"/>
                </a:lnTo>
                <a:lnTo>
                  <a:pt x="293" y="153"/>
                </a:lnTo>
                <a:lnTo>
                  <a:pt x="292" y="154"/>
                </a:lnTo>
                <a:lnTo>
                  <a:pt x="292" y="155"/>
                </a:lnTo>
                <a:lnTo>
                  <a:pt x="287" y="160"/>
                </a:lnTo>
                <a:lnTo>
                  <a:pt x="287" y="161"/>
                </a:lnTo>
                <a:lnTo>
                  <a:pt x="286" y="163"/>
                </a:lnTo>
                <a:lnTo>
                  <a:pt x="281" y="167"/>
                </a:lnTo>
                <a:lnTo>
                  <a:pt x="280" y="169"/>
                </a:lnTo>
                <a:lnTo>
                  <a:pt x="280" y="175"/>
                </a:lnTo>
                <a:lnTo>
                  <a:pt x="279" y="177"/>
                </a:lnTo>
                <a:lnTo>
                  <a:pt x="278" y="177"/>
                </a:lnTo>
                <a:lnTo>
                  <a:pt x="273" y="175"/>
                </a:lnTo>
                <a:lnTo>
                  <a:pt x="272" y="175"/>
                </a:lnTo>
                <a:lnTo>
                  <a:pt x="269" y="173"/>
                </a:lnTo>
                <a:lnTo>
                  <a:pt x="266" y="177"/>
                </a:lnTo>
                <a:lnTo>
                  <a:pt x="265" y="177"/>
                </a:lnTo>
                <a:lnTo>
                  <a:pt x="261" y="174"/>
                </a:lnTo>
                <a:lnTo>
                  <a:pt x="261" y="173"/>
                </a:lnTo>
                <a:lnTo>
                  <a:pt x="259" y="173"/>
                </a:lnTo>
                <a:lnTo>
                  <a:pt x="254" y="174"/>
                </a:lnTo>
                <a:lnTo>
                  <a:pt x="253" y="174"/>
                </a:lnTo>
                <a:lnTo>
                  <a:pt x="248" y="181"/>
                </a:lnTo>
                <a:lnTo>
                  <a:pt x="247" y="183"/>
                </a:lnTo>
                <a:lnTo>
                  <a:pt x="243" y="185"/>
                </a:lnTo>
                <a:lnTo>
                  <a:pt x="242" y="185"/>
                </a:lnTo>
                <a:lnTo>
                  <a:pt x="239" y="184"/>
                </a:lnTo>
                <a:lnTo>
                  <a:pt x="238" y="184"/>
                </a:lnTo>
                <a:lnTo>
                  <a:pt x="237" y="186"/>
                </a:lnTo>
                <a:lnTo>
                  <a:pt x="235" y="186"/>
                </a:lnTo>
                <a:lnTo>
                  <a:pt x="232" y="185"/>
                </a:lnTo>
                <a:lnTo>
                  <a:pt x="226" y="183"/>
                </a:lnTo>
                <a:lnTo>
                  <a:pt x="224" y="180"/>
                </a:lnTo>
                <a:lnTo>
                  <a:pt x="222" y="177"/>
                </a:lnTo>
                <a:lnTo>
                  <a:pt x="219" y="172"/>
                </a:lnTo>
                <a:lnTo>
                  <a:pt x="216" y="168"/>
                </a:lnTo>
                <a:lnTo>
                  <a:pt x="212" y="166"/>
                </a:lnTo>
                <a:lnTo>
                  <a:pt x="210" y="163"/>
                </a:lnTo>
                <a:lnTo>
                  <a:pt x="206" y="161"/>
                </a:lnTo>
                <a:lnTo>
                  <a:pt x="204" y="157"/>
                </a:lnTo>
                <a:lnTo>
                  <a:pt x="203" y="156"/>
                </a:lnTo>
                <a:lnTo>
                  <a:pt x="200" y="155"/>
                </a:lnTo>
                <a:lnTo>
                  <a:pt x="199" y="154"/>
                </a:lnTo>
                <a:lnTo>
                  <a:pt x="198" y="150"/>
                </a:lnTo>
                <a:lnTo>
                  <a:pt x="194" y="150"/>
                </a:lnTo>
                <a:lnTo>
                  <a:pt x="192" y="149"/>
                </a:lnTo>
                <a:lnTo>
                  <a:pt x="185" y="149"/>
                </a:lnTo>
                <a:lnTo>
                  <a:pt x="174" y="147"/>
                </a:lnTo>
                <a:lnTo>
                  <a:pt x="173" y="146"/>
                </a:lnTo>
                <a:lnTo>
                  <a:pt x="169" y="138"/>
                </a:lnTo>
                <a:lnTo>
                  <a:pt x="168" y="138"/>
                </a:lnTo>
                <a:lnTo>
                  <a:pt x="168" y="137"/>
                </a:lnTo>
                <a:lnTo>
                  <a:pt x="167" y="132"/>
                </a:lnTo>
                <a:lnTo>
                  <a:pt x="166" y="129"/>
                </a:lnTo>
                <a:lnTo>
                  <a:pt x="166" y="128"/>
                </a:lnTo>
                <a:lnTo>
                  <a:pt x="163" y="128"/>
                </a:lnTo>
                <a:lnTo>
                  <a:pt x="163" y="130"/>
                </a:lnTo>
                <a:lnTo>
                  <a:pt x="162" y="130"/>
                </a:lnTo>
                <a:lnTo>
                  <a:pt x="157" y="131"/>
                </a:lnTo>
                <a:lnTo>
                  <a:pt x="155" y="134"/>
                </a:lnTo>
                <a:lnTo>
                  <a:pt x="151" y="138"/>
                </a:lnTo>
                <a:lnTo>
                  <a:pt x="150" y="140"/>
                </a:lnTo>
                <a:lnTo>
                  <a:pt x="148" y="141"/>
                </a:lnTo>
                <a:lnTo>
                  <a:pt x="145" y="141"/>
                </a:lnTo>
                <a:lnTo>
                  <a:pt x="142" y="138"/>
                </a:lnTo>
                <a:lnTo>
                  <a:pt x="139" y="138"/>
                </a:lnTo>
                <a:lnTo>
                  <a:pt x="135" y="141"/>
                </a:lnTo>
                <a:lnTo>
                  <a:pt x="131" y="141"/>
                </a:lnTo>
                <a:lnTo>
                  <a:pt x="126" y="137"/>
                </a:lnTo>
                <a:lnTo>
                  <a:pt x="122" y="136"/>
                </a:lnTo>
                <a:lnTo>
                  <a:pt x="116" y="136"/>
                </a:lnTo>
                <a:lnTo>
                  <a:pt x="116" y="134"/>
                </a:lnTo>
                <a:lnTo>
                  <a:pt x="111" y="134"/>
                </a:lnTo>
                <a:lnTo>
                  <a:pt x="110" y="135"/>
                </a:lnTo>
                <a:lnTo>
                  <a:pt x="107" y="136"/>
                </a:lnTo>
                <a:lnTo>
                  <a:pt x="106" y="136"/>
                </a:lnTo>
                <a:lnTo>
                  <a:pt x="99" y="132"/>
                </a:lnTo>
                <a:lnTo>
                  <a:pt x="98" y="132"/>
                </a:lnTo>
                <a:lnTo>
                  <a:pt x="93" y="134"/>
                </a:lnTo>
                <a:lnTo>
                  <a:pt x="92" y="134"/>
                </a:lnTo>
                <a:lnTo>
                  <a:pt x="92" y="135"/>
                </a:lnTo>
                <a:lnTo>
                  <a:pt x="91" y="137"/>
                </a:lnTo>
                <a:lnTo>
                  <a:pt x="88" y="137"/>
                </a:lnTo>
                <a:lnTo>
                  <a:pt x="86" y="136"/>
                </a:lnTo>
                <a:lnTo>
                  <a:pt x="85" y="132"/>
                </a:lnTo>
                <a:lnTo>
                  <a:pt x="83" y="130"/>
                </a:lnTo>
                <a:lnTo>
                  <a:pt x="81" y="130"/>
                </a:lnTo>
                <a:lnTo>
                  <a:pt x="80" y="131"/>
                </a:lnTo>
                <a:lnTo>
                  <a:pt x="77" y="131"/>
                </a:lnTo>
                <a:lnTo>
                  <a:pt x="71" y="135"/>
                </a:lnTo>
                <a:lnTo>
                  <a:pt x="68" y="131"/>
                </a:lnTo>
                <a:lnTo>
                  <a:pt x="51" y="131"/>
                </a:lnTo>
                <a:lnTo>
                  <a:pt x="49" y="129"/>
                </a:lnTo>
                <a:lnTo>
                  <a:pt x="48" y="129"/>
                </a:lnTo>
                <a:lnTo>
                  <a:pt x="43" y="131"/>
                </a:lnTo>
                <a:lnTo>
                  <a:pt x="42" y="131"/>
                </a:lnTo>
                <a:lnTo>
                  <a:pt x="30" y="137"/>
                </a:lnTo>
                <a:lnTo>
                  <a:pt x="26" y="137"/>
                </a:lnTo>
                <a:lnTo>
                  <a:pt x="25" y="138"/>
                </a:lnTo>
                <a:lnTo>
                  <a:pt x="19" y="143"/>
                </a:lnTo>
                <a:lnTo>
                  <a:pt x="17" y="143"/>
                </a:lnTo>
                <a:lnTo>
                  <a:pt x="14" y="144"/>
                </a:lnTo>
                <a:lnTo>
                  <a:pt x="11" y="148"/>
                </a:lnTo>
                <a:lnTo>
                  <a:pt x="9" y="150"/>
                </a:lnTo>
                <a:lnTo>
                  <a:pt x="9" y="154"/>
                </a:lnTo>
                <a:lnTo>
                  <a:pt x="7" y="155"/>
                </a:lnTo>
                <a:lnTo>
                  <a:pt x="4" y="155"/>
                </a:lnTo>
                <a:lnTo>
                  <a:pt x="2" y="153"/>
                </a:lnTo>
                <a:lnTo>
                  <a:pt x="2" y="149"/>
                </a:lnTo>
                <a:lnTo>
                  <a:pt x="0" y="144"/>
                </a:lnTo>
                <a:lnTo>
                  <a:pt x="0" y="130"/>
                </a:lnTo>
                <a:lnTo>
                  <a:pt x="1" y="129"/>
                </a:lnTo>
                <a:lnTo>
                  <a:pt x="1" y="122"/>
                </a:lnTo>
                <a:lnTo>
                  <a:pt x="2" y="122"/>
                </a:lnTo>
                <a:lnTo>
                  <a:pt x="2" y="130"/>
                </a:lnTo>
                <a:lnTo>
                  <a:pt x="4" y="131"/>
                </a:lnTo>
                <a:lnTo>
                  <a:pt x="5" y="131"/>
                </a:lnTo>
                <a:lnTo>
                  <a:pt x="5" y="130"/>
                </a:lnTo>
                <a:lnTo>
                  <a:pt x="4" y="129"/>
                </a:lnTo>
                <a:lnTo>
                  <a:pt x="4" y="122"/>
                </a:lnTo>
                <a:lnTo>
                  <a:pt x="2" y="120"/>
                </a:lnTo>
                <a:lnTo>
                  <a:pt x="1" y="120"/>
                </a:lnTo>
                <a:lnTo>
                  <a:pt x="1" y="116"/>
                </a:lnTo>
                <a:lnTo>
                  <a:pt x="2" y="111"/>
                </a:lnTo>
                <a:lnTo>
                  <a:pt x="4" y="109"/>
                </a:lnTo>
                <a:lnTo>
                  <a:pt x="4" y="97"/>
                </a:lnTo>
                <a:lnTo>
                  <a:pt x="7" y="94"/>
                </a:lnTo>
                <a:lnTo>
                  <a:pt x="7" y="93"/>
                </a:lnTo>
                <a:lnTo>
                  <a:pt x="11" y="92"/>
                </a:lnTo>
                <a:lnTo>
                  <a:pt x="11" y="91"/>
                </a:lnTo>
                <a:lnTo>
                  <a:pt x="13" y="88"/>
                </a:lnTo>
                <a:lnTo>
                  <a:pt x="13" y="87"/>
                </a:lnTo>
                <a:lnTo>
                  <a:pt x="14" y="86"/>
                </a:lnTo>
                <a:lnTo>
                  <a:pt x="17" y="85"/>
                </a:lnTo>
                <a:lnTo>
                  <a:pt x="17" y="83"/>
                </a:lnTo>
                <a:lnTo>
                  <a:pt x="18" y="81"/>
                </a:lnTo>
                <a:lnTo>
                  <a:pt x="18" y="79"/>
                </a:lnTo>
                <a:lnTo>
                  <a:pt x="19" y="75"/>
                </a:lnTo>
                <a:lnTo>
                  <a:pt x="18" y="75"/>
                </a:lnTo>
                <a:lnTo>
                  <a:pt x="18" y="70"/>
                </a:lnTo>
                <a:lnTo>
                  <a:pt x="19" y="70"/>
                </a:lnTo>
                <a:lnTo>
                  <a:pt x="18" y="64"/>
                </a:lnTo>
                <a:lnTo>
                  <a:pt x="19" y="63"/>
                </a:lnTo>
                <a:lnTo>
                  <a:pt x="19" y="61"/>
                </a:lnTo>
                <a:lnTo>
                  <a:pt x="21" y="58"/>
                </a:lnTo>
                <a:lnTo>
                  <a:pt x="23" y="54"/>
                </a:lnTo>
                <a:lnTo>
                  <a:pt x="26" y="50"/>
                </a:lnTo>
                <a:lnTo>
                  <a:pt x="31" y="40"/>
                </a:lnTo>
                <a:lnTo>
                  <a:pt x="33" y="38"/>
                </a:lnTo>
                <a:lnTo>
                  <a:pt x="42" y="38"/>
                </a:lnTo>
                <a:lnTo>
                  <a:pt x="43" y="37"/>
                </a:lnTo>
                <a:lnTo>
                  <a:pt x="51" y="33"/>
                </a:lnTo>
                <a:lnTo>
                  <a:pt x="63" y="26"/>
                </a:lnTo>
                <a:lnTo>
                  <a:pt x="67" y="26"/>
                </a:lnTo>
                <a:lnTo>
                  <a:pt x="67" y="25"/>
                </a:lnTo>
                <a:lnTo>
                  <a:pt x="69" y="25"/>
                </a:lnTo>
                <a:lnTo>
                  <a:pt x="69" y="26"/>
                </a:lnTo>
                <a:lnTo>
                  <a:pt x="68" y="26"/>
                </a:lnTo>
                <a:lnTo>
                  <a:pt x="68" y="34"/>
                </a:lnTo>
                <a:lnTo>
                  <a:pt x="69" y="36"/>
                </a:lnTo>
                <a:lnTo>
                  <a:pt x="70" y="38"/>
                </a:lnTo>
                <a:lnTo>
                  <a:pt x="80" y="46"/>
                </a:lnTo>
                <a:lnTo>
                  <a:pt x="83" y="51"/>
                </a:lnTo>
                <a:lnTo>
                  <a:pt x="87" y="54"/>
                </a:lnTo>
                <a:lnTo>
                  <a:pt x="89" y="55"/>
                </a:lnTo>
                <a:lnTo>
                  <a:pt x="91" y="55"/>
                </a:lnTo>
                <a:lnTo>
                  <a:pt x="91" y="57"/>
                </a:lnTo>
                <a:lnTo>
                  <a:pt x="92" y="57"/>
                </a:lnTo>
                <a:lnTo>
                  <a:pt x="92" y="60"/>
                </a:lnTo>
                <a:lnTo>
                  <a:pt x="93" y="61"/>
                </a:lnTo>
                <a:lnTo>
                  <a:pt x="93" y="66"/>
                </a:lnTo>
                <a:lnTo>
                  <a:pt x="94" y="67"/>
                </a:lnTo>
                <a:lnTo>
                  <a:pt x="94" y="68"/>
                </a:lnTo>
                <a:lnTo>
                  <a:pt x="95" y="68"/>
                </a:lnTo>
                <a:lnTo>
                  <a:pt x="96" y="75"/>
                </a:lnTo>
                <a:lnTo>
                  <a:pt x="96" y="77"/>
                </a:lnTo>
                <a:lnTo>
                  <a:pt x="98" y="77"/>
                </a:lnTo>
                <a:lnTo>
                  <a:pt x="100" y="80"/>
                </a:lnTo>
                <a:lnTo>
                  <a:pt x="107" y="82"/>
                </a:lnTo>
                <a:lnTo>
                  <a:pt x="110" y="86"/>
                </a:lnTo>
                <a:lnTo>
                  <a:pt x="112" y="87"/>
                </a:lnTo>
                <a:lnTo>
                  <a:pt x="114" y="87"/>
                </a:lnTo>
                <a:lnTo>
                  <a:pt x="122" y="85"/>
                </a:lnTo>
                <a:lnTo>
                  <a:pt x="124" y="83"/>
                </a:lnTo>
                <a:lnTo>
                  <a:pt x="125" y="83"/>
                </a:lnTo>
                <a:lnTo>
                  <a:pt x="127" y="82"/>
                </a:lnTo>
                <a:lnTo>
                  <a:pt x="127" y="81"/>
                </a:lnTo>
                <a:lnTo>
                  <a:pt x="129" y="80"/>
                </a:lnTo>
                <a:lnTo>
                  <a:pt x="129" y="79"/>
                </a:lnTo>
                <a:lnTo>
                  <a:pt x="131" y="79"/>
                </a:lnTo>
                <a:lnTo>
                  <a:pt x="132" y="77"/>
                </a:lnTo>
                <a:lnTo>
                  <a:pt x="137" y="75"/>
                </a:lnTo>
                <a:lnTo>
                  <a:pt x="137" y="73"/>
                </a:lnTo>
                <a:lnTo>
                  <a:pt x="138" y="73"/>
                </a:lnTo>
                <a:lnTo>
                  <a:pt x="139" y="71"/>
                </a:lnTo>
                <a:lnTo>
                  <a:pt x="139" y="70"/>
                </a:lnTo>
                <a:lnTo>
                  <a:pt x="141" y="70"/>
                </a:lnTo>
                <a:lnTo>
                  <a:pt x="143" y="67"/>
                </a:lnTo>
                <a:lnTo>
                  <a:pt x="144" y="64"/>
                </a:lnTo>
                <a:lnTo>
                  <a:pt x="145" y="61"/>
                </a:lnTo>
                <a:lnTo>
                  <a:pt x="144" y="57"/>
                </a:lnTo>
                <a:lnTo>
                  <a:pt x="144" y="48"/>
                </a:lnTo>
                <a:lnTo>
                  <a:pt x="143" y="45"/>
                </a:lnTo>
                <a:lnTo>
                  <a:pt x="143" y="31"/>
                </a:lnTo>
                <a:lnTo>
                  <a:pt x="141" y="27"/>
                </a:lnTo>
                <a:lnTo>
                  <a:pt x="141" y="25"/>
                </a:lnTo>
                <a:lnTo>
                  <a:pt x="139" y="21"/>
                </a:lnTo>
                <a:lnTo>
                  <a:pt x="139" y="18"/>
                </a:lnTo>
                <a:lnTo>
                  <a:pt x="141" y="17"/>
                </a:lnTo>
                <a:lnTo>
                  <a:pt x="144" y="17"/>
                </a:lnTo>
                <a:lnTo>
                  <a:pt x="145" y="15"/>
                </a:lnTo>
                <a:lnTo>
                  <a:pt x="145" y="14"/>
                </a:lnTo>
                <a:lnTo>
                  <a:pt x="148" y="12"/>
                </a:lnTo>
                <a:lnTo>
                  <a:pt x="150" y="11"/>
                </a:lnTo>
                <a:lnTo>
                  <a:pt x="151" y="9"/>
                </a:lnTo>
                <a:lnTo>
                  <a:pt x="154" y="11"/>
                </a:lnTo>
                <a:lnTo>
                  <a:pt x="156" y="9"/>
                </a:lnTo>
                <a:lnTo>
                  <a:pt x="157" y="9"/>
                </a:lnTo>
                <a:lnTo>
                  <a:pt x="157" y="7"/>
                </a:lnTo>
                <a:lnTo>
                  <a:pt x="161" y="7"/>
                </a:lnTo>
                <a:lnTo>
                  <a:pt x="162" y="8"/>
                </a:lnTo>
                <a:lnTo>
                  <a:pt x="162" y="7"/>
                </a:lnTo>
                <a:lnTo>
                  <a:pt x="163" y="7"/>
                </a:lnTo>
                <a:lnTo>
                  <a:pt x="164" y="6"/>
                </a:lnTo>
                <a:lnTo>
                  <a:pt x="168" y="6"/>
                </a:lnTo>
                <a:lnTo>
                  <a:pt x="172" y="2"/>
                </a:lnTo>
                <a:lnTo>
                  <a:pt x="172" y="1"/>
                </a:lnTo>
                <a:lnTo>
                  <a:pt x="174" y="1"/>
                </a:lnTo>
                <a:lnTo>
                  <a:pt x="175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" name="Freeform 33">
            <a:extLst>
              <a:ext uri="{FF2B5EF4-FFF2-40B4-BE49-F238E27FC236}">
                <a16:creationId xmlns:a16="http://schemas.microsoft.com/office/drawing/2014/main" id="{E90FFA49-427C-4950-8625-A6CEE5BB77F9}"/>
              </a:ext>
            </a:extLst>
          </p:cNvPr>
          <p:cNvSpPr>
            <a:spLocks/>
          </p:cNvSpPr>
          <p:nvPr/>
        </p:nvSpPr>
        <p:spPr bwMode="auto">
          <a:xfrm>
            <a:off x="2454601" y="5316014"/>
            <a:ext cx="107222" cy="117365"/>
          </a:xfrm>
          <a:custGeom>
            <a:avLst/>
            <a:gdLst/>
            <a:ahLst/>
            <a:cxnLst>
              <a:cxn ang="0">
                <a:pos x="35" y="1"/>
              </a:cxn>
              <a:cxn ang="0">
                <a:pos x="35" y="4"/>
              </a:cxn>
              <a:cxn ang="0">
                <a:pos x="42" y="9"/>
              </a:cxn>
              <a:cxn ang="0">
                <a:pos x="47" y="12"/>
              </a:cxn>
              <a:cxn ang="0">
                <a:pos x="50" y="15"/>
              </a:cxn>
              <a:cxn ang="0">
                <a:pos x="53" y="23"/>
              </a:cxn>
              <a:cxn ang="0">
                <a:pos x="59" y="24"/>
              </a:cxn>
              <a:cxn ang="0">
                <a:pos x="59" y="31"/>
              </a:cxn>
              <a:cxn ang="0">
                <a:pos x="68" y="33"/>
              </a:cxn>
              <a:cxn ang="0">
                <a:pos x="71" y="33"/>
              </a:cxn>
              <a:cxn ang="0">
                <a:pos x="74" y="35"/>
              </a:cxn>
              <a:cxn ang="0">
                <a:pos x="73" y="41"/>
              </a:cxn>
              <a:cxn ang="0">
                <a:pos x="68" y="47"/>
              </a:cxn>
              <a:cxn ang="0">
                <a:pos x="65" y="52"/>
              </a:cxn>
              <a:cxn ang="0">
                <a:pos x="65" y="57"/>
              </a:cxn>
              <a:cxn ang="0">
                <a:pos x="62" y="58"/>
              </a:cxn>
              <a:cxn ang="0">
                <a:pos x="61" y="58"/>
              </a:cxn>
              <a:cxn ang="0">
                <a:pos x="58" y="60"/>
              </a:cxn>
              <a:cxn ang="0">
                <a:pos x="54" y="66"/>
              </a:cxn>
              <a:cxn ang="0">
                <a:pos x="54" y="68"/>
              </a:cxn>
              <a:cxn ang="0">
                <a:pos x="50" y="66"/>
              </a:cxn>
              <a:cxn ang="0">
                <a:pos x="47" y="62"/>
              </a:cxn>
              <a:cxn ang="0">
                <a:pos x="43" y="64"/>
              </a:cxn>
              <a:cxn ang="0">
                <a:pos x="37" y="66"/>
              </a:cxn>
              <a:cxn ang="0">
                <a:pos x="33" y="69"/>
              </a:cxn>
              <a:cxn ang="0">
                <a:pos x="30" y="80"/>
              </a:cxn>
              <a:cxn ang="0">
                <a:pos x="28" y="80"/>
              </a:cxn>
              <a:cxn ang="0">
                <a:pos x="24" y="81"/>
              </a:cxn>
              <a:cxn ang="0">
                <a:pos x="24" y="78"/>
              </a:cxn>
              <a:cxn ang="0">
                <a:pos x="24" y="74"/>
              </a:cxn>
              <a:cxn ang="0">
                <a:pos x="23" y="64"/>
              </a:cxn>
              <a:cxn ang="0">
                <a:pos x="19" y="60"/>
              </a:cxn>
              <a:cxn ang="0">
                <a:pos x="10" y="55"/>
              </a:cxn>
              <a:cxn ang="0">
                <a:pos x="9" y="51"/>
              </a:cxn>
              <a:cxn ang="0">
                <a:pos x="9" y="49"/>
              </a:cxn>
              <a:cxn ang="0">
                <a:pos x="5" y="44"/>
              </a:cxn>
              <a:cxn ang="0">
                <a:pos x="4" y="37"/>
              </a:cxn>
              <a:cxn ang="0">
                <a:pos x="0" y="30"/>
              </a:cxn>
              <a:cxn ang="0">
                <a:pos x="4" y="29"/>
              </a:cxn>
              <a:cxn ang="0">
                <a:pos x="9" y="30"/>
              </a:cxn>
              <a:cxn ang="0">
                <a:pos x="15" y="25"/>
              </a:cxn>
              <a:cxn ang="0">
                <a:pos x="21" y="21"/>
              </a:cxn>
              <a:cxn ang="0">
                <a:pos x="19" y="19"/>
              </a:cxn>
              <a:cxn ang="0">
                <a:pos x="22" y="17"/>
              </a:cxn>
              <a:cxn ang="0">
                <a:pos x="25" y="15"/>
              </a:cxn>
              <a:cxn ang="0">
                <a:pos x="28" y="11"/>
              </a:cxn>
              <a:cxn ang="0">
                <a:pos x="27" y="8"/>
              </a:cxn>
              <a:cxn ang="0">
                <a:pos x="28" y="4"/>
              </a:cxn>
              <a:cxn ang="0">
                <a:pos x="34" y="0"/>
              </a:cxn>
            </a:cxnLst>
            <a:rect l="0" t="0" r="r" b="b"/>
            <a:pathLst>
              <a:path w="74" h="81">
                <a:moveTo>
                  <a:pt x="34" y="0"/>
                </a:moveTo>
                <a:lnTo>
                  <a:pt x="34" y="1"/>
                </a:lnTo>
                <a:lnTo>
                  <a:pt x="35" y="1"/>
                </a:lnTo>
                <a:lnTo>
                  <a:pt x="35" y="2"/>
                </a:lnTo>
                <a:lnTo>
                  <a:pt x="36" y="2"/>
                </a:lnTo>
                <a:lnTo>
                  <a:pt x="35" y="4"/>
                </a:lnTo>
                <a:lnTo>
                  <a:pt x="35" y="6"/>
                </a:lnTo>
                <a:lnTo>
                  <a:pt x="39" y="7"/>
                </a:lnTo>
                <a:lnTo>
                  <a:pt x="42" y="9"/>
                </a:lnTo>
                <a:lnTo>
                  <a:pt x="43" y="11"/>
                </a:lnTo>
                <a:lnTo>
                  <a:pt x="47" y="11"/>
                </a:lnTo>
                <a:lnTo>
                  <a:pt x="47" y="12"/>
                </a:lnTo>
                <a:lnTo>
                  <a:pt x="48" y="15"/>
                </a:lnTo>
                <a:lnTo>
                  <a:pt x="49" y="17"/>
                </a:lnTo>
                <a:lnTo>
                  <a:pt x="50" y="15"/>
                </a:lnTo>
                <a:lnTo>
                  <a:pt x="52" y="17"/>
                </a:lnTo>
                <a:lnTo>
                  <a:pt x="52" y="20"/>
                </a:lnTo>
                <a:lnTo>
                  <a:pt x="53" y="23"/>
                </a:lnTo>
                <a:lnTo>
                  <a:pt x="55" y="23"/>
                </a:lnTo>
                <a:lnTo>
                  <a:pt x="56" y="24"/>
                </a:lnTo>
                <a:lnTo>
                  <a:pt x="59" y="24"/>
                </a:lnTo>
                <a:lnTo>
                  <a:pt x="59" y="30"/>
                </a:lnTo>
                <a:lnTo>
                  <a:pt x="58" y="30"/>
                </a:lnTo>
                <a:lnTo>
                  <a:pt x="59" y="31"/>
                </a:lnTo>
                <a:lnTo>
                  <a:pt x="65" y="31"/>
                </a:lnTo>
                <a:lnTo>
                  <a:pt x="66" y="32"/>
                </a:lnTo>
                <a:lnTo>
                  <a:pt x="68" y="33"/>
                </a:lnTo>
                <a:lnTo>
                  <a:pt x="68" y="35"/>
                </a:lnTo>
                <a:lnTo>
                  <a:pt x="70" y="35"/>
                </a:lnTo>
                <a:lnTo>
                  <a:pt x="71" y="33"/>
                </a:lnTo>
                <a:lnTo>
                  <a:pt x="73" y="33"/>
                </a:lnTo>
                <a:lnTo>
                  <a:pt x="73" y="35"/>
                </a:lnTo>
                <a:lnTo>
                  <a:pt x="74" y="35"/>
                </a:lnTo>
                <a:lnTo>
                  <a:pt x="74" y="37"/>
                </a:lnTo>
                <a:lnTo>
                  <a:pt x="73" y="37"/>
                </a:lnTo>
                <a:lnTo>
                  <a:pt x="73" y="41"/>
                </a:lnTo>
                <a:lnTo>
                  <a:pt x="72" y="42"/>
                </a:lnTo>
                <a:lnTo>
                  <a:pt x="70" y="45"/>
                </a:lnTo>
                <a:lnTo>
                  <a:pt x="68" y="47"/>
                </a:lnTo>
                <a:lnTo>
                  <a:pt x="68" y="51"/>
                </a:lnTo>
                <a:lnTo>
                  <a:pt x="67" y="51"/>
                </a:lnTo>
                <a:lnTo>
                  <a:pt x="65" y="52"/>
                </a:lnTo>
                <a:lnTo>
                  <a:pt x="64" y="54"/>
                </a:lnTo>
                <a:lnTo>
                  <a:pt x="64" y="55"/>
                </a:lnTo>
                <a:lnTo>
                  <a:pt x="65" y="57"/>
                </a:lnTo>
                <a:lnTo>
                  <a:pt x="66" y="58"/>
                </a:lnTo>
                <a:lnTo>
                  <a:pt x="64" y="60"/>
                </a:lnTo>
                <a:lnTo>
                  <a:pt x="62" y="58"/>
                </a:lnTo>
                <a:lnTo>
                  <a:pt x="62" y="60"/>
                </a:lnTo>
                <a:lnTo>
                  <a:pt x="61" y="60"/>
                </a:lnTo>
                <a:lnTo>
                  <a:pt x="61" y="58"/>
                </a:lnTo>
                <a:lnTo>
                  <a:pt x="60" y="58"/>
                </a:lnTo>
                <a:lnTo>
                  <a:pt x="60" y="61"/>
                </a:lnTo>
                <a:lnTo>
                  <a:pt x="58" y="60"/>
                </a:lnTo>
                <a:lnTo>
                  <a:pt x="56" y="61"/>
                </a:lnTo>
                <a:lnTo>
                  <a:pt x="54" y="64"/>
                </a:lnTo>
                <a:lnTo>
                  <a:pt x="54" y="66"/>
                </a:lnTo>
                <a:lnTo>
                  <a:pt x="55" y="67"/>
                </a:lnTo>
                <a:lnTo>
                  <a:pt x="54" y="67"/>
                </a:lnTo>
                <a:lnTo>
                  <a:pt x="54" y="68"/>
                </a:lnTo>
                <a:lnTo>
                  <a:pt x="53" y="67"/>
                </a:lnTo>
                <a:lnTo>
                  <a:pt x="52" y="67"/>
                </a:lnTo>
                <a:lnTo>
                  <a:pt x="50" y="66"/>
                </a:lnTo>
                <a:lnTo>
                  <a:pt x="50" y="64"/>
                </a:lnTo>
                <a:lnTo>
                  <a:pt x="49" y="63"/>
                </a:lnTo>
                <a:lnTo>
                  <a:pt x="47" y="62"/>
                </a:lnTo>
                <a:lnTo>
                  <a:pt x="45" y="62"/>
                </a:lnTo>
                <a:lnTo>
                  <a:pt x="43" y="63"/>
                </a:lnTo>
                <a:lnTo>
                  <a:pt x="43" y="64"/>
                </a:lnTo>
                <a:lnTo>
                  <a:pt x="42" y="64"/>
                </a:lnTo>
                <a:lnTo>
                  <a:pt x="41" y="66"/>
                </a:lnTo>
                <a:lnTo>
                  <a:pt x="37" y="66"/>
                </a:lnTo>
                <a:lnTo>
                  <a:pt x="34" y="68"/>
                </a:lnTo>
                <a:lnTo>
                  <a:pt x="33" y="68"/>
                </a:lnTo>
                <a:lnTo>
                  <a:pt x="33" y="69"/>
                </a:lnTo>
                <a:lnTo>
                  <a:pt x="31" y="70"/>
                </a:lnTo>
                <a:lnTo>
                  <a:pt x="31" y="79"/>
                </a:lnTo>
                <a:lnTo>
                  <a:pt x="30" y="80"/>
                </a:lnTo>
                <a:lnTo>
                  <a:pt x="30" y="81"/>
                </a:lnTo>
                <a:lnTo>
                  <a:pt x="28" y="81"/>
                </a:lnTo>
                <a:lnTo>
                  <a:pt x="28" y="80"/>
                </a:lnTo>
                <a:lnTo>
                  <a:pt x="27" y="80"/>
                </a:lnTo>
                <a:lnTo>
                  <a:pt x="27" y="81"/>
                </a:lnTo>
                <a:lnTo>
                  <a:pt x="24" y="81"/>
                </a:lnTo>
                <a:lnTo>
                  <a:pt x="24" y="80"/>
                </a:lnTo>
                <a:lnTo>
                  <a:pt x="23" y="79"/>
                </a:lnTo>
                <a:lnTo>
                  <a:pt x="24" y="78"/>
                </a:lnTo>
                <a:lnTo>
                  <a:pt x="24" y="76"/>
                </a:lnTo>
                <a:lnTo>
                  <a:pt x="25" y="75"/>
                </a:lnTo>
                <a:lnTo>
                  <a:pt x="24" y="74"/>
                </a:lnTo>
                <a:lnTo>
                  <a:pt x="24" y="73"/>
                </a:lnTo>
                <a:lnTo>
                  <a:pt x="23" y="69"/>
                </a:lnTo>
                <a:lnTo>
                  <a:pt x="23" y="64"/>
                </a:lnTo>
                <a:lnTo>
                  <a:pt x="21" y="61"/>
                </a:lnTo>
                <a:lnTo>
                  <a:pt x="21" y="60"/>
                </a:lnTo>
                <a:lnTo>
                  <a:pt x="19" y="60"/>
                </a:lnTo>
                <a:lnTo>
                  <a:pt x="19" y="58"/>
                </a:lnTo>
                <a:lnTo>
                  <a:pt x="14" y="55"/>
                </a:lnTo>
                <a:lnTo>
                  <a:pt x="10" y="55"/>
                </a:lnTo>
                <a:lnTo>
                  <a:pt x="10" y="54"/>
                </a:lnTo>
                <a:lnTo>
                  <a:pt x="9" y="54"/>
                </a:lnTo>
                <a:lnTo>
                  <a:pt x="9" y="51"/>
                </a:lnTo>
                <a:lnTo>
                  <a:pt x="8" y="51"/>
                </a:lnTo>
                <a:lnTo>
                  <a:pt x="8" y="50"/>
                </a:lnTo>
                <a:lnTo>
                  <a:pt x="9" y="49"/>
                </a:lnTo>
                <a:lnTo>
                  <a:pt x="8" y="48"/>
                </a:lnTo>
                <a:lnTo>
                  <a:pt x="6" y="44"/>
                </a:lnTo>
                <a:lnTo>
                  <a:pt x="5" y="44"/>
                </a:lnTo>
                <a:lnTo>
                  <a:pt x="3" y="43"/>
                </a:lnTo>
                <a:lnTo>
                  <a:pt x="3" y="38"/>
                </a:lnTo>
                <a:lnTo>
                  <a:pt x="4" y="37"/>
                </a:lnTo>
                <a:lnTo>
                  <a:pt x="4" y="35"/>
                </a:lnTo>
                <a:lnTo>
                  <a:pt x="0" y="31"/>
                </a:lnTo>
                <a:lnTo>
                  <a:pt x="0" y="30"/>
                </a:lnTo>
                <a:lnTo>
                  <a:pt x="2" y="30"/>
                </a:lnTo>
                <a:lnTo>
                  <a:pt x="2" y="29"/>
                </a:lnTo>
                <a:lnTo>
                  <a:pt x="4" y="29"/>
                </a:lnTo>
                <a:lnTo>
                  <a:pt x="6" y="30"/>
                </a:lnTo>
                <a:lnTo>
                  <a:pt x="8" y="31"/>
                </a:lnTo>
                <a:lnTo>
                  <a:pt x="9" y="30"/>
                </a:lnTo>
                <a:lnTo>
                  <a:pt x="9" y="26"/>
                </a:lnTo>
                <a:lnTo>
                  <a:pt x="11" y="26"/>
                </a:lnTo>
                <a:lnTo>
                  <a:pt x="15" y="25"/>
                </a:lnTo>
                <a:lnTo>
                  <a:pt x="18" y="25"/>
                </a:lnTo>
                <a:lnTo>
                  <a:pt x="21" y="23"/>
                </a:lnTo>
                <a:lnTo>
                  <a:pt x="21" y="21"/>
                </a:lnTo>
                <a:lnTo>
                  <a:pt x="19" y="20"/>
                </a:lnTo>
                <a:lnTo>
                  <a:pt x="18" y="20"/>
                </a:lnTo>
                <a:lnTo>
                  <a:pt x="19" y="19"/>
                </a:lnTo>
                <a:lnTo>
                  <a:pt x="19" y="18"/>
                </a:lnTo>
                <a:lnTo>
                  <a:pt x="22" y="18"/>
                </a:lnTo>
                <a:lnTo>
                  <a:pt x="22" y="17"/>
                </a:lnTo>
                <a:lnTo>
                  <a:pt x="23" y="17"/>
                </a:lnTo>
                <a:lnTo>
                  <a:pt x="23" y="15"/>
                </a:lnTo>
                <a:lnTo>
                  <a:pt x="25" y="15"/>
                </a:lnTo>
                <a:lnTo>
                  <a:pt x="25" y="14"/>
                </a:lnTo>
                <a:lnTo>
                  <a:pt x="27" y="13"/>
                </a:lnTo>
                <a:lnTo>
                  <a:pt x="28" y="11"/>
                </a:lnTo>
                <a:lnTo>
                  <a:pt x="28" y="9"/>
                </a:lnTo>
                <a:lnTo>
                  <a:pt x="27" y="9"/>
                </a:lnTo>
                <a:lnTo>
                  <a:pt x="27" y="8"/>
                </a:lnTo>
                <a:lnTo>
                  <a:pt x="25" y="8"/>
                </a:lnTo>
                <a:lnTo>
                  <a:pt x="25" y="4"/>
                </a:lnTo>
                <a:lnTo>
                  <a:pt x="28" y="4"/>
                </a:lnTo>
                <a:lnTo>
                  <a:pt x="31" y="1"/>
                </a:lnTo>
                <a:lnTo>
                  <a:pt x="33" y="1"/>
                </a:lnTo>
                <a:lnTo>
                  <a:pt x="34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" name="Freeform 34">
            <a:extLst>
              <a:ext uri="{FF2B5EF4-FFF2-40B4-BE49-F238E27FC236}">
                <a16:creationId xmlns:a16="http://schemas.microsoft.com/office/drawing/2014/main" id="{FA5A600B-0840-4C5C-991E-EBA52613D7F4}"/>
              </a:ext>
            </a:extLst>
          </p:cNvPr>
          <p:cNvSpPr>
            <a:spLocks noEditPoints="1"/>
          </p:cNvSpPr>
          <p:nvPr/>
        </p:nvSpPr>
        <p:spPr bwMode="auto">
          <a:xfrm>
            <a:off x="1634501" y="4985656"/>
            <a:ext cx="728817" cy="946159"/>
          </a:xfrm>
          <a:custGeom>
            <a:avLst/>
            <a:gdLst/>
            <a:ahLst/>
            <a:cxnLst>
              <a:cxn ang="0">
                <a:pos x="231" y="522"/>
              </a:cxn>
              <a:cxn ang="0">
                <a:pos x="365" y="559"/>
              </a:cxn>
              <a:cxn ang="0">
                <a:pos x="358" y="592"/>
              </a:cxn>
              <a:cxn ang="0">
                <a:pos x="296" y="560"/>
              </a:cxn>
              <a:cxn ang="0">
                <a:pos x="249" y="538"/>
              </a:cxn>
              <a:cxn ang="0">
                <a:pos x="273" y="516"/>
              </a:cxn>
              <a:cxn ang="0">
                <a:pos x="315" y="519"/>
              </a:cxn>
              <a:cxn ang="0">
                <a:pos x="354" y="501"/>
              </a:cxn>
              <a:cxn ang="0">
                <a:pos x="335" y="489"/>
              </a:cxn>
              <a:cxn ang="0">
                <a:pos x="72" y="461"/>
              </a:cxn>
              <a:cxn ang="0">
                <a:pos x="74" y="353"/>
              </a:cxn>
              <a:cxn ang="0">
                <a:pos x="124" y="349"/>
              </a:cxn>
              <a:cxn ang="0">
                <a:pos x="133" y="375"/>
              </a:cxn>
              <a:cxn ang="0">
                <a:pos x="130" y="421"/>
              </a:cxn>
              <a:cxn ang="0">
                <a:pos x="115" y="455"/>
              </a:cxn>
              <a:cxn ang="0">
                <a:pos x="90" y="470"/>
              </a:cxn>
              <a:cxn ang="0">
                <a:pos x="77" y="443"/>
              </a:cxn>
              <a:cxn ang="0">
                <a:pos x="80" y="406"/>
              </a:cxn>
              <a:cxn ang="0">
                <a:pos x="67" y="374"/>
              </a:cxn>
              <a:cxn ang="0">
                <a:pos x="99" y="353"/>
              </a:cxn>
              <a:cxn ang="0">
                <a:pos x="148" y="267"/>
              </a:cxn>
              <a:cxn ang="0">
                <a:pos x="158" y="254"/>
              </a:cxn>
              <a:cxn ang="0">
                <a:pos x="136" y="181"/>
              </a:cxn>
              <a:cxn ang="0">
                <a:pos x="234" y="7"/>
              </a:cxn>
              <a:cxn ang="0">
                <a:pos x="291" y="33"/>
              </a:cxn>
              <a:cxn ang="0">
                <a:pos x="291" y="67"/>
              </a:cxn>
              <a:cxn ang="0">
                <a:pos x="301" y="85"/>
              </a:cxn>
              <a:cxn ang="0">
                <a:pos x="274" y="82"/>
              </a:cxn>
              <a:cxn ang="0">
                <a:pos x="249" y="92"/>
              </a:cxn>
              <a:cxn ang="0">
                <a:pos x="246" y="124"/>
              </a:cxn>
              <a:cxn ang="0">
                <a:pos x="240" y="137"/>
              </a:cxn>
              <a:cxn ang="0">
                <a:pos x="291" y="208"/>
              </a:cxn>
              <a:cxn ang="0">
                <a:pos x="340" y="290"/>
              </a:cxn>
              <a:cxn ang="0">
                <a:pos x="398" y="319"/>
              </a:cxn>
              <a:cxn ang="0">
                <a:pos x="475" y="374"/>
              </a:cxn>
              <a:cxn ang="0">
                <a:pos x="497" y="421"/>
              </a:cxn>
              <a:cxn ang="0">
                <a:pos x="450" y="390"/>
              </a:cxn>
              <a:cxn ang="0">
                <a:pos x="425" y="406"/>
              </a:cxn>
              <a:cxn ang="0">
                <a:pos x="441" y="443"/>
              </a:cxn>
              <a:cxn ang="0">
                <a:pos x="419" y="500"/>
              </a:cxn>
              <a:cxn ang="0">
                <a:pos x="389" y="504"/>
              </a:cxn>
              <a:cxn ang="0">
                <a:pos x="397" y="443"/>
              </a:cxn>
              <a:cxn ang="0">
                <a:pos x="352" y="399"/>
              </a:cxn>
              <a:cxn ang="0">
                <a:pos x="329" y="377"/>
              </a:cxn>
              <a:cxn ang="0">
                <a:pos x="295" y="344"/>
              </a:cxn>
              <a:cxn ang="0">
                <a:pos x="241" y="316"/>
              </a:cxn>
              <a:cxn ang="0">
                <a:pos x="191" y="278"/>
              </a:cxn>
              <a:cxn ang="0">
                <a:pos x="165" y="247"/>
              </a:cxn>
              <a:cxn ang="0">
                <a:pos x="136" y="179"/>
              </a:cxn>
              <a:cxn ang="0">
                <a:pos x="94" y="161"/>
              </a:cxn>
              <a:cxn ang="0">
                <a:pos x="66" y="189"/>
              </a:cxn>
              <a:cxn ang="0">
                <a:pos x="34" y="178"/>
              </a:cxn>
              <a:cxn ang="0">
                <a:pos x="18" y="140"/>
              </a:cxn>
              <a:cxn ang="0">
                <a:pos x="19" y="113"/>
              </a:cxn>
              <a:cxn ang="0">
                <a:pos x="21" y="73"/>
              </a:cxn>
              <a:cxn ang="0">
                <a:pos x="62" y="51"/>
              </a:cxn>
              <a:cxn ang="0">
                <a:pos x="94" y="64"/>
              </a:cxn>
              <a:cxn ang="0">
                <a:pos x="105" y="60"/>
              </a:cxn>
              <a:cxn ang="0">
                <a:pos x="124" y="48"/>
              </a:cxn>
              <a:cxn ang="0">
                <a:pos x="147" y="30"/>
              </a:cxn>
              <a:cxn ang="0">
                <a:pos x="174" y="18"/>
              </a:cxn>
              <a:cxn ang="0">
                <a:pos x="216" y="7"/>
              </a:cxn>
            </a:cxnLst>
            <a:rect l="0" t="0" r="r" b="b"/>
            <a:pathLst>
              <a:path w="503" h="653">
                <a:moveTo>
                  <a:pt x="251" y="651"/>
                </a:moveTo>
                <a:lnTo>
                  <a:pt x="254" y="651"/>
                </a:lnTo>
                <a:lnTo>
                  <a:pt x="254" y="653"/>
                </a:lnTo>
                <a:lnTo>
                  <a:pt x="253" y="652"/>
                </a:lnTo>
                <a:lnTo>
                  <a:pt x="251" y="652"/>
                </a:lnTo>
                <a:lnTo>
                  <a:pt x="251" y="651"/>
                </a:lnTo>
                <a:close/>
                <a:moveTo>
                  <a:pt x="264" y="633"/>
                </a:moveTo>
                <a:lnTo>
                  <a:pt x="265" y="633"/>
                </a:lnTo>
                <a:lnTo>
                  <a:pt x="265" y="634"/>
                </a:lnTo>
                <a:lnTo>
                  <a:pt x="264" y="634"/>
                </a:lnTo>
                <a:lnTo>
                  <a:pt x="264" y="633"/>
                </a:lnTo>
                <a:close/>
                <a:moveTo>
                  <a:pt x="224" y="583"/>
                </a:moveTo>
                <a:lnTo>
                  <a:pt x="228" y="583"/>
                </a:lnTo>
                <a:lnTo>
                  <a:pt x="230" y="584"/>
                </a:lnTo>
                <a:lnTo>
                  <a:pt x="230" y="586"/>
                </a:lnTo>
                <a:lnTo>
                  <a:pt x="229" y="587"/>
                </a:lnTo>
                <a:lnTo>
                  <a:pt x="228" y="587"/>
                </a:lnTo>
                <a:lnTo>
                  <a:pt x="226" y="585"/>
                </a:lnTo>
                <a:lnTo>
                  <a:pt x="226" y="584"/>
                </a:lnTo>
                <a:lnTo>
                  <a:pt x="224" y="583"/>
                </a:lnTo>
                <a:close/>
                <a:moveTo>
                  <a:pt x="240" y="524"/>
                </a:moveTo>
                <a:lnTo>
                  <a:pt x="243" y="524"/>
                </a:lnTo>
                <a:lnTo>
                  <a:pt x="243" y="525"/>
                </a:lnTo>
                <a:lnTo>
                  <a:pt x="240" y="525"/>
                </a:lnTo>
                <a:lnTo>
                  <a:pt x="240" y="524"/>
                </a:lnTo>
                <a:close/>
                <a:moveTo>
                  <a:pt x="230" y="522"/>
                </a:moveTo>
                <a:lnTo>
                  <a:pt x="231" y="522"/>
                </a:lnTo>
                <a:lnTo>
                  <a:pt x="231" y="523"/>
                </a:lnTo>
                <a:lnTo>
                  <a:pt x="230" y="523"/>
                </a:lnTo>
                <a:lnTo>
                  <a:pt x="230" y="522"/>
                </a:lnTo>
                <a:close/>
                <a:moveTo>
                  <a:pt x="377" y="505"/>
                </a:moveTo>
                <a:lnTo>
                  <a:pt x="378" y="505"/>
                </a:lnTo>
                <a:lnTo>
                  <a:pt x="380" y="506"/>
                </a:lnTo>
                <a:lnTo>
                  <a:pt x="382" y="506"/>
                </a:lnTo>
                <a:lnTo>
                  <a:pt x="379" y="507"/>
                </a:lnTo>
                <a:lnTo>
                  <a:pt x="379" y="509"/>
                </a:lnTo>
                <a:lnTo>
                  <a:pt x="378" y="510"/>
                </a:lnTo>
                <a:lnTo>
                  <a:pt x="379" y="510"/>
                </a:lnTo>
                <a:lnTo>
                  <a:pt x="377" y="513"/>
                </a:lnTo>
                <a:lnTo>
                  <a:pt x="376" y="516"/>
                </a:lnTo>
                <a:lnTo>
                  <a:pt x="371" y="522"/>
                </a:lnTo>
                <a:lnTo>
                  <a:pt x="367" y="528"/>
                </a:lnTo>
                <a:lnTo>
                  <a:pt x="366" y="530"/>
                </a:lnTo>
                <a:lnTo>
                  <a:pt x="366" y="531"/>
                </a:lnTo>
                <a:lnTo>
                  <a:pt x="365" y="531"/>
                </a:lnTo>
                <a:lnTo>
                  <a:pt x="364" y="534"/>
                </a:lnTo>
                <a:lnTo>
                  <a:pt x="364" y="537"/>
                </a:lnTo>
                <a:lnTo>
                  <a:pt x="363" y="538"/>
                </a:lnTo>
                <a:lnTo>
                  <a:pt x="363" y="542"/>
                </a:lnTo>
                <a:lnTo>
                  <a:pt x="361" y="543"/>
                </a:lnTo>
                <a:lnTo>
                  <a:pt x="359" y="548"/>
                </a:lnTo>
                <a:lnTo>
                  <a:pt x="359" y="556"/>
                </a:lnTo>
                <a:lnTo>
                  <a:pt x="363" y="559"/>
                </a:lnTo>
                <a:lnTo>
                  <a:pt x="365" y="559"/>
                </a:lnTo>
                <a:lnTo>
                  <a:pt x="365" y="560"/>
                </a:lnTo>
                <a:lnTo>
                  <a:pt x="366" y="561"/>
                </a:lnTo>
                <a:lnTo>
                  <a:pt x="365" y="561"/>
                </a:lnTo>
                <a:lnTo>
                  <a:pt x="364" y="562"/>
                </a:lnTo>
                <a:lnTo>
                  <a:pt x="364" y="561"/>
                </a:lnTo>
                <a:lnTo>
                  <a:pt x="363" y="561"/>
                </a:lnTo>
                <a:lnTo>
                  <a:pt x="363" y="565"/>
                </a:lnTo>
                <a:lnTo>
                  <a:pt x="364" y="566"/>
                </a:lnTo>
                <a:lnTo>
                  <a:pt x="365" y="565"/>
                </a:lnTo>
                <a:lnTo>
                  <a:pt x="365" y="567"/>
                </a:lnTo>
                <a:lnTo>
                  <a:pt x="366" y="568"/>
                </a:lnTo>
                <a:lnTo>
                  <a:pt x="367" y="568"/>
                </a:lnTo>
                <a:lnTo>
                  <a:pt x="367" y="571"/>
                </a:lnTo>
                <a:lnTo>
                  <a:pt x="366" y="571"/>
                </a:lnTo>
                <a:lnTo>
                  <a:pt x="367" y="572"/>
                </a:lnTo>
                <a:lnTo>
                  <a:pt x="367" y="573"/>
                </a:lnTo>
                <a:lnTo>
                  <a:pt x="366" y="574"/>
                </a:lnTo>
                <a:lnTo>
                  <a:pt x="366" y="575"/>
                </a:lnTo>
                <a:lnTo>
                  <a:pt x="364" y="575"/>
                </a:lnTo>
                <a:lnTo>
                  <a:pt x="364" y="577"/>
                </a:lnTo>
                <a:lnTo>
                  <a:pt x="363" y="577"/>
                </a:lnTo>
                <a:lnTo>
                  <a:pt x="361" y="578"/>
                </a:lnTo>
                <a:lnTo>
                  <a:pt x="359" y="584"/>
                </a:lnTo>
                <a:lnTo>
                  <a:pt x="359" y="585"/>
                </a:lnTo>
                <a:lnTo>
                  <a:pt x="360" y="587"/>
                </a:lnTo>
                <a:lnTo>
                  <a:pt x="360" y="592"/>
                </a:lnTo>
                <a:lnTo>
                  <a:pt x="358" y="592"/>
                </a:lnTo>
                <a:lnTo>
                  <a:pt x="357" y="591"/>
                </a:lnTo>
                <a:lnTo>
                  <a:pt x="357" y="590"/>
                </a:lnTo>
                <a:lnTo>
                  <a:pt x="353" y="590"/>
                </a:lnTo>
                <a:lnTo>
                  <a:pt x="352" y="589"/>
                </a:lnTo>
                <a:lnTo>
                  <a:pt x="349" y="587"/>
                </a:lnTo>
                <a:lnTo>
                  <a:pt x="348" y="589"/>
                </a:lnTo>
                <a:lnTo>
                  <a:pt x="346" y="590"/>
                </a:lnTo>
                <a:lnTo>
                  <a:pt x="346" y="589"/>
                </a:lnTo>
                <a:lnTo>
                  <a:pt x="345" y="589"/>
                </a:lnTo>
                <a:lnTo>
                  <a:pt x="345" y="590"/>
                </a:lnTo>
                <a:lnTo>
                  <a:pt x="344" y="589"/>
                </a:lnTo>
                <a:lnTo>
                  <a:pt x="341" y="589"/>
                </a:lnTo>
                <a:lnTo>
                  <a:pt x="341" y="587"/>
                </a:lnTo>
                <a:lnTo>
                  <a:pt x="340" y="586"/>
                </a:lnTo>
                <a:lnTo>
                  <a:pt x="338" y="586"/>
                </a:lnTo>
                <a:lnTo>
                  <a:pt x="338" y="585"/>
                </a:lnTo>
                <a:lnTo>
                  <a:pt x="333" y="585"/>
                </a:lnTo>
                <a:lnTo>
                  <a:pt x="333" y="584"/>
                </a:lnTo>
                <a:lnTo>
                  <a:pt x="329" y="577"/>
                </a:lnTo>
                <a:lnTo>
                  <a:pt x="324" y="572"/>
                </a:lnTo>
                <a:lnTo>
                  <a:pt x="321" y="570"/>
                </a:lnTo>
                <a:lnTo>
                  <a:pt x="316" y="567"/>
                </a:lnTo>
                <a:lnTo>
                  <a:pt x="311" y="568"/>
                </a:lnTo>
                <a:lnTo>
                  <a:pt x="308" y="568"/>
                </a:lnTo>
                <a:lnTo>
                  <a:pt x="305" y="566"/>
                </a:lnTo>
                <a:lnTo>
                  <a:pt x="302" y="566"/>
                </a:lnTo>
                <a:lnTo>
                  <a:pt x="296" y="560"/>
                </a:lnTo>
                <a:lnTo>
                  <a:pt x="295" y="560"/>
                </a:lnTo>
                <a:lnTo>
                  <a:pt x="293" y="559"/>
                </a:lnTo>
                <a:lnTo>
                  <a:pt x="291" y="559"/>
                </a:lnTo>
                <a:lnTo>
                  <a:pt x="290" y="558"/>
                </a:lnTo>
                <a:lnTo>
                  <a:pt x="289" y="558"/>
                </a:lnTo>
                <a:lnTo>
                  <a:pt x="286" y="555"/>
                </a:lnTo>
                <a:lnTo>
                  <a:pt x="284" y="554"/>
                </a:lnTo>
                <a:lnTo>
                  <a:pt x="283" y="554"/>
                </a:lnTo>
                <a:lnTo>
                  <a:pt x="283" y="553"/>
                </a:lnTo>
                <a:lnTo>
                  <a:pt x="282" y="553"/>
                </a:lnTo>
                <a:lnTo>
                  <a:pt x="282" y="550"/>
                </a:lnTo>
                <a:lnTo>
                  <a:pt x="280" y="550"/>
                </a:lnTo>
                <a:lnTo>
                  <a:pt x="279" y="549"/>
                </a:lnTo>
                <a:lnTo>
                  <a:pt x="278" y="549"/>
                </a:lnTo>
                <a:lnTo>
                  <a:pt x="278" y="548"/>
                </a:lnTo>
                <a:lnTo>
                  <a:pt x="272" y="547"/>
                </a:lnTo>
                <a:lnTo>
                  <a:pt x="272" y="548"/>
                </a:lnTo>
                <a:lnTo>
                  <a:pt x="271" y="548"/>
                </a:lnTo>
                <a:lnTo>
                  <a:pt x="271" y="546"/>
                </a:lnTo>
                <a:lnTo>
                  <a:pt x="268" y="543"/>
                </a:lnTo>
                <a:lnTo>
                  <a:pt x="261" y="543"/>
                </a:lnTo>
                <a:lnTo>
                  <a:pt x="258" y="544"/>
                </a:lnTo>
                <a:lnTo>
                  <a:pt x="257" y="544"/>
                </a:lnTo>
                <a:lnTo>
                  <a:pt x="255" y="543"/>
                </a:lnTo>
                <a:lnTo>
                  <a:pt x="253" y="540"/>
                </a:lnTo>
                <a:lnTo>
                  <a:pt x="252" y="538"/>
                </a:lnTo>
                <a:lnTo>
                  <a:pt x="249" y="538"/>
                </a:lnTo>
                <a:lnTo>
                  <a:pt x="249" y="537"/>
                </a:lnTo>
                <a:lnTo>
                  <a:pt x="248" y="536"/>
                </a:lnTo>
                <a:lnTo>
                  <a:pt x="248" y="534"/>
                </a:lnTo>
                <a:lnTo>
                  <a:pt x="247" y="534"/>
                </a:lnTo>
                <a:lnTo>
                  <a:pt x="247" y="532"/>
                </a:lnTo>
                <a:lnTo>
                  <a:pt x="246" y="531"/>
                </a:lnTo>
                <a:lnTo>
                  <a:pt x="247" y="530"/>
                </a:lnTo>
                <a:lnTo>
                  <a:pt x="247" y="531"/>
                </a:lnTo>
                <a:lnTo>
                  <a:pt x="248" y="530"/>
                </a:lnTo>
                <a:lnTo>
                  <a:pt x="248" y="525"/>
                </a:lnTo>
                <a:lnTo>
                  <a:pt x="249" y="523"/>
                </a:lnTo>
                <a:lnTo>
                  <a:pt x="249" y="519"/>
                </a:lnTo>
                <a:lnTo>
                  <a:pt x="251" y="519"/>
                </a:lnTo>
                <a:lnTo>
                  <a:pt x="253" y="517"/>
                </a:lnTo>
                <a:lnTo>
                  <a:pt x="255" y="517"/>
                </a:lnTo>
                <a:lnTo>
                  <a:pt x="255" y="516"/>
                </a:lnTo>
                <a:lnTo>
                  <a:pt x="257" y="515"/>
                </a:lnTo>
                <a:lnTo>
                  <a:pt x="259" y="515"/>
                </a:lnTo>
                <a:lnTo>
                  <a:pt x="259" y="511"/>
                </a:lnTo>
                <a:lnTo>
                  <a:pt x="260" y="511"/>
                </a:lnTo>
                <a:lnTo>
                  <a:pt x="260" y="512"/>
                </a:lnTo>
                <a:lnTo>
                  <a:pt x="262" y="517"/>
                </a:lnTo>
                <a:lnTo>
                  <a:pt x="264" y="517"/>
                </a:lnTo>
                <a:lnTo>
                  <a:pt x="266" y="519"/>
                </a:lnTo>
                <a:lnTo>
                  <a:pt x="268" y="519"/>
                </a:lnTo>
                <a:lnTo>
                  <a:pt x="272" y="517"/>
                </a:lnTo>
                <a:lnTo>
                  <a:pt x="273" y="516"/>
                </a:lnTo>
                <a:lnTo>
                  <a:pt x="273" y="513"/>
                </a:lnTo>
                <a:lnTo>
                  <a:pt x="274" y="512"/>
                </a:lnTo>
                <a:lnTo>
                  <a:pt x="274" y="511"/>
                </a:lnTo>
                <a:lnTo>
                  <a:pt x="280" y="511"/>
                </a:lnTo>
                <a:lnTo>
                  <a:pt x="280" y="510"/>
                </a:lnTo>
                <a:lnTo>
                  <a:pt x="283" y="510"/>
                </a:lnTo>
                <a:lnTo>
                  <a:pt x="284" y="509"/>
                </a:lnTo>
                <a:lnTo>
                  <a:pt x="284" y="510"/>
                </a:lnTo>
                <a:lnTo>
                  <a:pt x="286" y="511"/>
                </a:lnTo>
                <a:lnTo>
                  <a:pt x="286" y="513"/>
                </a:lnTo>
                <a:lnTo>
                  <a:pt x="288" y="516"/>
                </a:lnTo>
                <a:lnTo>
                  <a:pt x="292" y="515"/>
                </a:lnTo>
                <a:lnTo>
                  <a:pt x="293" y="516"/>
                </a:lnTo>
                <a:lnTo>
                  <a:pt x="293" y="518"/>
                </a:lnTo>
                <a:lnTo>
                  <a:pt x="295" y="518"/>
                </a:lnTo>
                <a:lnTo>
                  <a:pt x="297" y="519"/>
                </a:lnTo>
                <a:lnTo>
                  <a:pt x="298" y="521"/>
                </a:lnTo>
                <a:lnTo>
                  <a:pt x="299" y="521"/>
                </a:lnTo>
                <a:lnTo>
                  <a:pt x="301" y="522"/>
                </a:lnTo>
                <a:lnTo>
                  <a:pt x="304" y="522"/>
                </a:lnTo>
                <a:lnTo>
                  <a:pt x="307" y="521"/>
                </a:lnTo>
                <a:lnTo>
                  <a:pt x="309" y="521"/>
                </a:lnTo>
                <a:lnTo>
                  <a:pt x="309" y="519"/>
                </a:lnTo>
                <a:lnTo>
                  <a:pt x="310" y="519"/>
                </a:lnTo>
                <a:lnTo>
                  <a:pt x="313" y="518"/>
                </a:lnTo>
                <a:lnTo>
                  <a:pt x="314" y="518"/>
                </a:lnTo>
                <a:lnTo>
                  <a:pt x="315" y="519"/>
                </a:lnTo>
                <a:lnTo>
                  <a:pt x="329" y="519"/>
                </a:lnTo>
                <a:lnTo>
                  <a:pt x="330" y="518"/>
                </a:lnTo>
                <a:lnTo>
                  <a:pt x="334" y="518"/>
                </a:lnTo>
                <a:lnTo>
                  <a:pt x="340" y="517"/>
                </a:lnTo>
                <a:lnTo>
                  <a:pt x="342" y="515"/>
                </a:lnTo>
                <a:lnTo>
                  <a:pt x="344" y="512"/>
                </a:lnTo>
                <a:lnTo>
                  <a:pt x="346" y="512"/>
                </a:lnTo>
                <a:lnTo>
                  <a:pt x="349" y="511"/>
                </a:lnTo>
                <a:lnTo>
                  <a:pt x="352" y="511"/>
                </a:lnTo>
                <a:lnTo>
                  <a:pt x="353" y="512"/>
                </a:lnTo>
                <a:lnTo>
                  <a:pt x="357" y="512"/>
                </a:lnTo>
                <a:lnTo>
                  <a:pt x="357" y="513"/>
                </a:lnTo>
                <a:lnTo>
                  <a:pt x="360" y="513"/>
                </a:lnTo>
                <a:lnTo>
                  <a:pt x="363" y="512"/>
                </a:lnTo>
                <a:lnTo>
                  <a:pt x="364" y="511"/>
                </a:lnTo>
                <a:lnTo>
                  <a:pt x="365" y="507"/>
                </a:lnTo>
                <a:lnTo>
                  <a:pt x="365" y="509"/>
                </a:lnTo>
                <a:lnTo>
                  <a:pt x="366" y="510"/>
                </a:lnTo>
                <a:lnTo>
                  <a:pt x="367" y="510"/>
                </a:lnTo>
                <a:lnTo>
                  <a:pt x="372" y="509"/>
                </a:lnTo>
                <a:lnTo>
                  <a:pt x="372" y="507"/>
                </a:lnTo>
                <a:lnTo>
                  <a:pt x="373" y="507"/>
                </a:lnTo>
                <a:lnTo>
                  <a:pt x="375" y="506"/>
                </a:lnTo>
                <a:lnTo>
                  <a:pt x="377" y="505"/>
                </a:lnTo>
                <a:close/>
                <a:moveTo>
                  <a:pt x="353" y="498"/>
                </a:moveTo>
                <a:lnTo>
                  <a:pt x="355" y="500"/>
                </a:lnTo>
                <a:lnTo>
                  <a:pt x="354" y="501"/>
                </a:lnTo>
                <a:lnTo>
                  <a:pt x="353" y="500"/>
                </a:lnTo>
                <a:lnTo>
                  <a:pt x="353" y="498"/>
                </a:lnTo>
                <a:close/>
                <a:moveTo>
                  <a:pt x="351" y="493"/>
                </a:moveTo>
                <a:lnTo>
                  <a:pt x="353" y="493"/>
                </a:lnTo>
                <a:lnTo>
                  <a:pt x="353" y="494"/>
                </a:lnTo>
                <a:lnTo>
                  <a:pt x="354" y="494"/>
                </a:lnTo>
                <a:lnTo>
                  <a:pt x="354" y="495"/>
                </a:lnTo>
                <a:lnTo>
                  <a:pt x="353" y="495"/>
                </a:lnTo>
                <a:lnTo>
                  <a:pt x="353" y="497"/>
                </a:lnTo>
                <a:lnTo>
                  <a:pt x="352" y="497"/>
                </a:lnTo>
                <a:lnTo>
                  <a:pt x="352" y="495"/>
                </a:lnTo>
                <a:lnTo>
                  <a:pt x="351" y="495"/>
                </a:lnTo>
                <a:lnTo>
                  <a:pt x="351" y="493"/>
                </a:lnTo>
                <a:close/>
                <a:moveTo>
                  <a:pt x="328" y="491"/>
                </a:moveTo>
                <a:lnTo>
                  <a:pt x="328" y="492"/>
                </a:lnTo>
                <a:lnTo>
                  <a:pt x="327" y="492"/>
                </a:lnTo>
                <a:lnTo>
                  <a:pt x="328" y="491"/>
                </a:lnTo>
                <a:close/>
                <a:moveTo>
                  <a:pt x="346" y="489"/>
                </a:moveTo>
                <a:lnTo>
                  <a:pt x="349" y="489"/>
                </a:lnTo>
                <a:lnTo>
                  <a:pt x="349" y="492"/>
                </a:lnTo>
                <a:lnTo>
                  <a:pt x="347" y="491"/>
                </a:lnTo>
                <a:lnTo>
                  <a:pt x="346" y="489"/>
                </a:lnTo>
                <a:close/>
                <a:moveTo>
                  <a:pt x="335" y="489"/>
                </a:moveTo>
                <a:lnTo>
                  <a:pt x="336" y="489"/>
                </a:lnTo>
                <a:lnTo>
                  <a:pt x="338" y="491"/>
                </a:lnTo>
                <a:lnTo>
                  <a:pt x="336" y="491"/>
                </a:lnTo>
                <a:lnTo>
                  <a:pt x="335" y="489"/>
                </a:lnTo>
                <a:close/>
                <a:moveTo>
                  <a:pt x="277" y="482"/>
                </a:moveTo>
                <a:lnTo>
                  <a:pt x="279" y="482"/>
                </a:lnTo>
                <a:lnTo>
                  <a:pt x="278" y="484"/>
                </a:lnTo>
                <a:lnTo>
                  <a:pt x="277" y="484"/>
                </a:lnTo>
                <a:lnTo>
                  <a:pt x="277" y="482"/>
                </a:lnTo>
                <a:close/>
                <a:moveTo>
                  <a:pt x="363" y="478"/>
                </a:moveTo>
                <a:lnTo>
                  <a:pt x="365" y="478"/>
                </a:lnTo>
                <a:lnTo>
                  <a:pt x="365" y="479"/>
                </a:lnTo>
                <a:lnTo>
                  <a:pt x="363" y="479"/>
                </a:lnTo>
                <a:lnTo>
                  <a:pt x="363" y="478"/>
                </a:lnTo>
                <a:close/>
                <a:moveTo>
                  <a:pt x="74" y="461"/>
                </a:moveTo>
                <a:lnTo>
                  <a:pt x="78" y="461"/>
                </a:lnTo>
                <a:lnTo>
                  <a:pt x="79" y="463"/>
                </a:lnTo>
                <a:lnTo>
                  <a:pt x="80" y="463"/>
                </a:lnTo>
                <a:lnTo>
                  <a:pt x="79" y="464"/>
                </a:lnTo>
                <a:lnTo>
                  <a:pt x="79" y="466"/>
                </a:lnTo>
                <a:lnTo>
                  <a:pt x="78" y="467"/>
                </a:lnTo>
                <a:lnTo>
                  <a:pt x="78" y="469"/>
                </a:lnTo>
                <a:lnTo>
                  <a:pt x="77" y="469"/>
                </a:lnTo>
                <a:lnTo>
                  <a:pt x="77" y="468"/>
                </a:lnTo>
                <a:lnTo>
                  <a:pt x="74" y="463"/>
                </a:lnTo>
                <a:lnTo>
                  <a:pt x="74" y="461"/>
                </a:lnTo>
                <a:close/>
                <a:moveTo>
                  <a:pt x="69" y="457"/>
                </a:moveTo>
                <a:lnTo>
                  <a:pt x="72" y="457"/>
                </a:lnTo>
                <a:lnTo>
                  <a:pt x="72" y="458"/>
                </a:lnTo>
                <a:lnTo>
                  <a:pt x="73" y="461"/>
                </a:lnTo>
                <a:lnTo>
                  <a:pt x="72" y="461"/>
                </a:lnTo>
                <a:lnTo>
                  <a:pt x="72" y="462"/>
                </a:lnTo>
                <a:lnTo>
                  <a:pt x="71" y="462"/>
                </a:lnTo>
                <a:lnTo>
                  <a:pt x="71" y="460"/>
                </a:lnTo>
                <a:lnTo>
                  <a:pt x="69" y="460"/>
                </a:lnTo>
                <a:lnTo>
                  <a:pt x="69" y="457"/>
                </a:lnTo>
                <a:close/>
                <a:moveTo>
                  <a:pt x="307" y="370"/>
                </a:moveTo>
                <a:lnTo>
                  <a:pt x="308" y="370"/>
                </a:lnTo>
                <a:lnTo>
                  <a:pt x="310" y="371"/>
                </a:lnTo>
                <a:lnTo>
                  <a:pt x="311" y="371"/>
                </a:lnTo>
                <a:lnTo>
                  <a:pt x="311" y="372"/>
                </a:lnTo>
                <a:lnTo>
                  <a:pt x="310" y="374"/>
                </a:lnTo>
                <a:lnTo>
                  <a:pt x="307" y="374"/>
                </a:lnTo>
                <a:lnTo>
                  <a:pt x="307" y="370"/>
                </a:lnTo>
                <a:close/>
                <a:moveTo>
                  <a:pt x="289" y="368"/>
                </a:moveTo>
                <a:lnTo>
                  <a:pt x="289" y="369"/>
                </a:lnTo>
                <a:lnTo>
                  <a:pt x="288" y="369"/>
                </a:lnTo>
                <a:lnTo>
                  <a:pt x="289" y="368"/>
                </a:lnTo>
                <a:close/>
                <a:moveTo>
                  <a:pt x="71" y="353"/>
                </a:moveTo>
                <a:lnTo>
                  <a:pt x="71" y="356"/>
                </a:lnTo>
                <a:lnTo>
                  <a:pt x="69" y="357"/>
                </a:lnTo>
                <a:lnTo>
                  <a:pt x="68" y="357"/>
                </a:lnTo>
                <a:lnTo>
                  <a:pt x="69" y="356"/>
                </a:lnTo>
                <a:lnTo>
                  <a:pt x="69" y="355"/>
                </a:lnTo>
                <a:lnTo>
                  <a:pt x="71" y="353"/>
                </a:lnTo>
                <a:close/>
                <a:moveTo>
                  <a:pt x="71" y="351"/>
                </a:moveTo>
                <a:lnTo>
                  <a:pt x="74" y="351"/>
                </a:lnTo>
                <a:lnTo>
                  <a:pt x="74" y="353"/>
                </a:lnTo>
                <a:lnTo>
                  <a:pt x="71" y="353"/>
                </a:lnTo>
                <a:lnTo>
                  <a:pt x="71" y="351"/>
                </a:lnTo>
                <a:close/>
                <a:moveTo>
                  <a:pt x="121" y="344"/>
                </a:moveTo>
                <a:lnTo>
                  <a:pt x="122" y="344"/>
                </a:lnTo>
                <a:lnTo>
                  <a:pt x="122" y="347"/>
                </a:lnTo>
                <a:lnTo>
                  <a:pt x="121" y="347"/>
                </a:lnTo>
                <a:lnTo>
                  <a:pt x="121" y="344"/>
                </a:lnTo>
                <a:close/>
                <a:moveTo>
                  <a:pt x="118" y="343"/>
                </a:moveTo>
                <a:lnTo>
                  <a:pt x="119" y="343"/>
                </a:lnTo>
                <a:lnTo>
                  <a:pt x="119" y="345"/>
                </a:lnTo>
                <a:lnTo>
                  <a:pt x="117" y="345"/>
                </a:lnTo>
                <a:lnTo>
                  <a:pt x="117" y="344"/>
                </a:lnTo>
                <a:lnTo>
                  <a:pt x="118" y="344"/>
                </a:lnTo>
                <a:lnTo>
                  <a:pt x="118" y="343"/>
                </a:lnTo>
                <a:close/>
                <a:moveTo>
                  <a:pt x="110" y="343"/>
                </a:moveTo>
                <a:lnTo>
                  <a:pt x="112" y="343"/>
                </a:lnTo>
                <a:lnTo>
                  <a:pt x="114" y="344"/>
                </a:lnTo>
                <a:lnTo>
                  <a:pt x="114" y="346"/>
                </a:lnTo>
                <a:lnTo>
                  <a:pt x="116" y="346"/>
                </a:lnTo>
                <a:lnTo>
                  <a:pt x="116" y="345"/>
                </a:lnTo>
                <a:lnTo>
                  <a:pt x="117" y="345"/>
                </a:lnTo>
                <a:lnTo>
                  <a:pt x="118" y="347"/>
                </a:lnTo>
                <a:lnTo>
                  <a:pt x="119" y="347"/>
                </a:lnTo>
                <a:lnTo>
                  <a:pt x="119" y="349"/>
                </a:lnTo>
                <a:lnTo>
                  <a:pt x="121" y="350"/>
                </a:lnTo>
                <a:lnTo>
                  <a:pt x="121" y="349"/>
                </a:lnTo>
                <a:lnTo>
                  <a:pt x="124" y="349"/>
                </a:lnTo>
                <a:lnTo>
                  <a:pt x="124" y="350"/>
                </a:lnTo>
                <a:lnTo>
                  <a:pt x="125" y="350"/>
                </a:lnTo>
                <a:lnTo>
                  <a:pt x="125" y="352"/>
                </a:lnTo>
                <a:lnTo>
                  <a:pt x="124" y="352"/>
                </a:lnTo>
                <a:lnTo>
                  <a:pt x="124" y="355"/>
                </a:lnTo>
                <a:lnTo>
                  <a:pt x="125" y="355"/>
                </a:lnTo>
                <a:lnTo>
                  <a:pt x="125" y="357"/>
                </a:lnTo>
                <a:lnTo>
                  <a:pt x="127" y="356"/>
                </a:lnTo>
                <a:lnTo>
                  <a:pt x="128" y="356"/>
                </a:lnTo>
                <a:lnTo>
                  <a:pt x="129" y="357"/>
                </a:lnTo>
                <a:lnTo>
                  <a:pt x="127" y="357"/>
                </a:lnTo>
                <a:lnTo>
                  <a:pt x="127" y="359"/>
                </a:lnTo>
                <a:lnTo>
                  <a:pt x="125" y="359"/>
                </a:lnTo>
                <a:lnTo>
                  <a:pt x="125" y="361"/>
                </a:lnTo>
                <a:lnTo>
                  <a:pt x="123" y="361"/>
                </a:lnTo>
                <a:lnTo>
                  <a:pt x="123" y="362"/>
                </a:lnTo>
                <a:lnTo>
                  <a:pt x="128" y="362"/>
                </a:lnTo>
                <a:lnTo>
                  <a:pt x="128" y="363"/>
                </a:lnTo>
                <a:lnTo>
                  <a:pt x="130" y="365"/>
                </a:lnTo>
                <a:lnTo>
                  <a:pt x="133" y="365"/>
                </a:lnTo>
                <a:lnTo>
                  <a:pt x="131" y="366"/>
                </a:lnTo>
                <a:lnTo>
                  <a:pt x="130" y="366"/>
                </a:lnTo>
                <a:lnTo>
                  <a:pt x="130" y="368"/>
                </a:lnTo>
                <a:lnTo>
                  <a:pt x="129" y="368"/>
                </a:lnTo>
                <a:lnTo>
                  <a:pt x="131" y="370"/>
                </a:lnTo>
                <a:lnTo>
                  <a:pt x="131" y="372"/>
                </a:lnTo>
                <a:lnTo>
                  <a:pt x="133" y="375"/>
                </a:lnTo>
                <a:lnTo>
                  <a:pt x="134" y="376"/>
                </a:lnTo>
                <a:lnTo>
                  <a:pt x="134" y="380"/>
                </a:lnTo>
                <a:lnTo>
                  <a:pt x="135" y="381"/>
                </a:lnTo>
                <a:lnTo>
                  <a:pt x="135" y="382"/>
                </a:lnTo>
                <a:lnTo>
                  <a:pt x="136" y="383"/>
                </a:lnTo>
                <a:lnTo>
                  <a:pt x="136" y="387"/>
                </a:lnTo>
                <a:lnTo>
                  <a:pt x="135" y="387"/>
                </a:lnTo>
                <a:lnTo>
                  <a:pt x="135" y="389"/>
                </a:lnTo>
                <a:lnTo>
                  <a:pt x="134" y="390"/>
                </a:lnTo>
                <a:lnTo>
                  <a:pt x="134" y="392"/>
                </a:lnTo>
                <a:lnTo>
                  <a:pt x="133" y="392"/>
                </a:lnTo>
                <a:lnTo>
                  <a:pt x="130" y="394"/>
                </a:lnTo>
                <a:lnTo>
                  <a:pt x="130" y="395"/>
                </a:lnTo>
                <a:lnTo>
                  <a:pt x="128" y="398"/>
                </a:lnTo>
                <a:lnTo>
                  <a:pt x="128" y="401"/>
                </a:lnTo>
                <a:lnTo>
                  <a:pt x="129" y="405"/>
                </a:lnTo>
                <a:lnTo>
                  <a:pt x="130" y="405"/>
                </a:lnTo>
                <a:lnTo>
                  <a:pt x="130" y="406"/>
                </a:lnTo>
                <a:lnTo>
                  <a:pt x="133" y="408"/>
                </a:lnTo>
                <a:lnTo>
                  <a:pt x="131" y="413"/>
                </a:lnTo>
                <a:lnTo>
                  <a:pt x="130" y="414"/>
                </a:lnTo>
                <a:lnTo>
                  <a:pt x="131" y="415"/>
                </a:lnTo>
                <a:lnTo>
                  <a:pt x="131" y="417"/>
                </a:lnTo>
                <a:lnTo>
                  <a:pt x="130" y="418"/>
                </a:lnTo>
                <a:lnTo>
                  <a:pt x="130" y="420"/>
                </a:lnTo>
                <a:lnTo>
                  <a:pt x="131" y="420"/>
                </a:lnTo>
                <a:lnTo>
                  <a:pt x="130" y="421"/>
                </a:lnTo>
                <a:lnTo>
                  <a:pt x="130" y="430"/>
                </a:lnTo>
                <a:lnTo>
                  <a:pt x="129" y="431"/>
                </a:lnTo>
                <a:lnTo>
                  <a:pt x="129" y="436"/>
                </a:lnTo>
                <a:lnTo>
                  <a:pt x="128" y="439"/>
                </a:lnTo>
                <a:lnTo>
                  <a:pt x="129" y="441"/>
                </a:lnTo>
                <a:lnTo>
                  <a:pt x="129" y="443"/>
                </a:lnTo>
                <a:lnTo>
                  <a:pt x="127" y="448"/>
                </a:lnTo>
                <a:lnTo>
                  <a:pt x="127" y="449"/>
                </a:lnTo>
                <a:lnTo>
                  <a:pt x="128" y="450"/>
                </a:lnTo>
                <a:lnTo>
                  <a:pt x="129" y="450"/>
                </a:lnTo>
                <a:lnTo>
                  <a:pt x="129" y="451"/>
                </a:lnTo>
                <a:lnTo>
                  <a:pt x="128" y="451"/>
                </a:lnTo>
                <a:lnTo>
                  <a:pt x="125" y="454"/>
                </a:lnTo>
                <a:lnTo>
                  <a:pt x="125" y="456"/>
                </a:lnTo>
                <a:lnTo>
                  <a:pt x="127" y="457"/>
                </a:lnTo>
                <a:lnTo>
                  <a:pt x="125" y="458"/>
                </a:lnTo>
                <a:lnTo>
                  <a:pt x="125" y="460"/>
                </a:lnTo>
                <a:lnTo>
                  <a:pt x="124" y="460"/>
                </a:lnTo>
                <a:lnTo>
                  <a:pt x="123" y="461"/>
                </a:lnTo>
                <a:lnTo>
                  <a:pt x="123" y="460"/>
                </a:lnTo>
                <a:lnTo>
                  <a:pt x="119" y="460"/>
                </a:lnTo>
                <a:lnTo>
                  <a:pt x="119" y="458"/>
                </a:lnTo>
                <a:lnTo>
                  <a:pt x="118" y="457"/>
                </a:lnTo>
                <a:lnTo>
                  <a:pt x="117" y="457"/>
                </a:lnTo>
                <a:lnTo>
                  <a:pt x="116" y="456"/>
                </a:lnTo>
                <a:lnTo>
                  <a:pt x="115" y="456"/>
                </a:lnTo>
                <a:lnTo>
                  <a:pt x="115" y="455"/>
                </a:lnTo>
                <a:lnTo>
                  <a:pt x="110" y="455"/>
                </a:lnTo>
                <a:lnTo>
                  <a:pt x="109" y="456"/>
                </a:lnTo>
                <a:lnTo>
                  <a:pt x="109" y="457"/>
                </a:lnTo>
                <a:lnTo>
                  <a:pt x="108" y="456"/>
                </a:lnTo>
                <a:lnTo>
                  <a:pt x="106" y="456"/>
                </a:lnTo>
                <a:lnTo>
                  <a:pt x="105" y="454"/>
                </a:lnTo>
                <a:lnTo>
                  <a:pt x="104" y="454"/>
                </a:lnTo>
                <a:lnTo>
                  <a:pt x="104" y="452"/>
                </a:lnTo>
                <a:lnTo>
                  <a:pt x="103" y="452"/>
                </a:lnTo>
                <a:lnTo>
                  <a:pt x="103" y="455"/>
                </a:lnTo>
                <a:lnTo>
                  <a:pt x="105" y="455"/>
                </a:lnTo>
                <a:lnTo>
                  <a:pt x="103" y="457"/>
                </a:lnTo>
                <a:lnTo>
                  <a:pt x="103" y="463"/>
                </a:lnTo>
                <a:lnTo>
                  <a:pt x="104" y="463"/>
                </a:lnTo>
                <a:lnTo>
                  <a:pt x="104" y="464"/>
                </a:lnTo>
                <a:lnTo>
                  <a:pt x="103" y="466"/>
                </a:lnTo>
                <a:lnTo>
                  <a:pt x="103" y="468"/>
                </a:lnTo>
                <a:lnTo>
                  <a:pt x="102" y="468"/>
                </a:lnTo>
                <a:lnTo>
                  <a:pt x="97" y="473"/>
                </a:lnTo>
                <a:lnTo>
                  <a:pt x="96" y="473"/>
                </a:lnTo>
                <a:lnTo>
                  <a:pt x="96" y="474"/>
                </a:lnTo>
                <a:lnTo>
                  <a:pt x="94" y="474"/>
                </a:lnTo>
                <a:lnTo>
                  <a:pt x="94" y="473"/>
                </a:lnTo>
                <a:lnTo>
                  <a:pt x="93" y="472"/>
                </a:lnTo>
                <a:lnTo>
                  <a:pt x="92" y="472"/>
                </a:lnTo>
                <a:lnTo>
                  <a:pt x="91" y="470"/>
                </a:lnTo>
                <a:lnTo>
                  <a:pt x="90" y="470"/>
                </a:lnTo>
                <a:lnTo>
                  <a:pt x="88" y="472"/>
                </a:lnTo>
                <a:lnTo>
                  <a:pt x="87" y="472"/>
                </a:lnTo>
                <a:lnTo>
                  <a:pt x="87" y="474"/>
                </a:lnTo>
                <a:lnTo>
                  <a:pt x="86" y="474"/>
                </a:lnTo>
                <a:lnTo>
                  <a:pt x="86" y="473"/>
                </a:lnTo>
                <a:lnTo>
                  <a:pt x="85" y="473"/>
                </a:lnTo>
                <a:lnTo>
                  <a:pt x="85" y="469"/>
                </a:lnTo>
                <a:lnTo>
                  <a:pt x="84" y="469"/>
                </a:lnTo>
                <a:lnTo>
                  <a:pt x="84" y="467"/>
                </a:lnTo>
                <a:lnTo>
                  <a:pt x="83" y="464"/>
                </a:lnTo>
                <a:lnTo>
                  <a:pt x="81" y="463"/>
                </a:lnTo>
                <a:lnTo>
                  <a:pt x="81" y="462"/>
                </a:lnTo>
                <a:lnTo>
                  <a:pt x="80" y="462"/>
                </a:lnTo>
                <a:lnTo>
                  <a:pt x="79" y="461"/>
                </a:lnTo>
                <a:lnTo>
                  <a:pt x="79" y="460"/>
                </a:lnTo>
                <a:lnTo>
                  <a:pt x="78" y="461"/>
                </a:lnTo>
                <a:lnTo>
                  <a:pt x="78" y="457"/>
                </a:lnTo>
                <a:lnTo>
                  <a:pt x="77" y="457"/>
                </a:lnTo>
                <a:lnTo>
                  <a:pt x="77" y="456"/>
                </a:lnTo>
                <a:lnTo>
                  <a:pt x="75" y="456"/>
                </a:lnTo>
                <a:lnTo>
                  <a:pt x="75" y="454"/>
                </a:lnTo>
                <a:lnTo>
                  <a:pt x="78" y="451"/>
                </a:lnTo>
                <a:lnTo>
                  <a:pt x="78" y="450"/>
                </a:lnTo>
                <a:lnTo>
                  <a:pt x="75" y="448"/>
                </a:lnTo>
                <a:lnTo>
                  <a:pt x="75" y="445"/>
                </a:lnTo>
                <a:lnTo>
                  <a:pt x="77" y="445"/>
                </a:lnTo>
                <a:lnTo>
                  <a:pt x="77" y="443"/>
                </a:lnTo>
                <a:lnTo>
                  <a:pt x="75" y="442"/>
                </a:lnTo>
                <a:lnTo>
                  <a:pt x="78" y="439"/>
                </a:lnTo>
                <a:lnTo>
                  <a:pt x="78" y="438"/>
                </a:lnTo>
                <a:lnTo>
                  <a:pt x="79" y="437"/>
                </a:lnTo>
                <a:lnTo>
                  <a:pt x="79" y="431"/>
                </a:lnTo>
                <a:lnTo>
                  <a:pt x="78" y="429"/>
                </a:lnTo>
                <a:lnTo>
                  <a:pt x="78" y="425"/>
                </a:lnTo>
                <a:lnTo>
                  <a:pt x="79" y="425"/>
                </a:lnTo>
                <a:lnTo>
                  <a:pt x="79" y="426"/>
                </a:lnTo>
                <a:lnTo>
                  <a:pt x="81" y="429"/>
                </a:lnTo>
                <a:lnTo>
                  <a:pt x="81" y="426"/>
                </a:lnTo>
                <a:lnTo>
                  <a:pt x="83" y="425"/>
                </a:lnTo>
                <a:lnTo>
                  <a:pt x="81" y="425"/>
                </a:lnTo>
                <a:lnTo>
                  <a:pt x="83" y="424"/>
                </a:lnTo>
                <a:lnTo>
                  <a:pt x="83" y="419"/>
                </a:lnTo>
                <a:lnTo>
                  <a:pt x="80" y="417"/>
                </a:lnTo>
                <a:lnTo>
                  <a:pt x="79" y="417"/>
                </a:lnTo>
                <a:lnTo>
                  <a:pt x="78" y="418"/>
                </a:lnTo>
                <a:lnTo>
                  <a:pt x="79" y="418"/>
                </a:lnTo>
                <a:lnTo>
                  <a:pt x="78" y="419"/>
                </a:lnTo>
                <a:lnTo>
                  <a:pt x="77" y="418"/>
                </a:lnTo>
                <a:lnTo>
                  <a:pt x="77" y="411"/>
                </a:lnTo>
                <a:lnTo>
                  <a:pt x="75" y="411"/>
                </a:lnTo>
                <a:lnTo>
                  <a:pt x="75" y="409"/>
                </a:lnTo>
                <a:lnTo>
                  <a:pt x="79" y="409"/>
                </a:lnTo>
                <a:lnTo>
                  <a:pt x="80" y="408"/>
                </a:lnTo>
                <a:lnTo>
                  <a:pt x="80" y="406"/>
                </a:lnTo>
                <a:lnTo>
                  <a:pt x="79" y="405"/>
                </a:lnTo>
                <a:lnTo>
                  <a:pt x="79" y="400"/>
                </a:lnTo>
                <a:lnTo>
                  <a:pt x="80" y="398"/>
                </a:lnTo>
                <a:lnTo>
                  <a:pt x="80" y="396"/>
                </a:lnTo>
                <a:lnTo>
                  <a:pt x="77" y="393"/>
                </a:lnTo>
                <a:lnTo>
                  <a:pt x="77" y="394"/>
                </a:lnTo>
                <a:lnTo>
                  <a:pt x="75" y="393"/>
                </a:lnTo>
                <a:lnTo>
                  <a:pt x="75" y="392"/>
                </a:lnTo>
                <a:lnTo>
                  <a:pt x="77" y="389"/>
                </a:lnTo>
                <a:lnTo>
                  <a:pt x="75" y="388"/>
                </a:lnTo>
                <a:lnTo>
                  <a:pt x="75" y="386"/>
                </a:lnTo>
                <a:lnTo>
                  <a:pt x="74" y="384"/>
                </a:lnTo>
                <a:lnTo>
                  <a:pt x="73" y="384"/>
                </a:lnTo>
                <a:lnTo>
                  <a:pt x="73" y="381"/>
                </a:lnTo>
                <a:lnTo>
                  <a:pt x="72" y="380"/>
                </a:lnTo>
                <a:lnTo>
                  <a:pt x="71" y="380"/>
                </a:lnTo>
                <a:lnTo>
                  <a:pt x="68" y="381"/>
                </a:lnTo>
                <a:lnTo>
                  <a:pt x="68" y="378"/>
                </a:lnTo>
                <a:lnTo>
                  <a:pt x="67" y="378"/>
                </a:lnTo>
                <a:lnTo>
                  <a:pt x="67" y="380"/>
                </a:lnTo>
                <a:lnTo>
                  <a:pt x="66" y="381"/>
                </a:lnTo>
                <a:lnTo>
                  <a:pt x="66" y="377"/>
                </a:lnTo>
                <a:lnTo>
                  <a:pt x="67" y="377"/>
                </a:lnTo>
                <a:lnTo>
                  <a:pt x="67" y="375"/>
                </a:lnTo>
                <a:lnTo>
                  <a:pt x="68" y="375"/>
                </a:lnTo>
                <a:lnTo>
                  <a:pt x="68" y="374"/>
                </a:lnTo>
                <a:lnTo>
                  <a:pt x="67" y="374"/>
                </a:lnTo>
                <a:lnTo>
                  <a:pt x="66" y="372"/>
                </a:lnTo>
                <a:lnTo>
                  <a:pt x="65" y="372"/>
                </a:lnTo>
                <a:lnTo>
                  <a:pt x="68" y="364"/>
                </a:lnTo>
                <a:lnTo>
                  <a:pt x="68" y="362"/>
                </a:lnTo>
                <a:lnTo>
                  <a:pt x="67" y="362"/>
                </a:lnTo>
                <a:lnTo>
                  <a:pt x="67" y="359"/>
                </a:lnTo>
                <a:lnTo>
                  <a:pt x="68" y="358"/>
                </a:lnTo>
                <a:lnTo>
                  <a:pt x="68" y="359"/>
                </a:lnTo>
                <a:lnTo>
                  <a:pt x="69" y="359"/>
                </a:lnTo>
                <a:lnTo>
                  <a:pt x="69" y="362"/>
                </a:lnTo>
                <a:lnTo>
                  <a:pt x="71" y="364"/>
                </a:lnTo>
                <a:lnTo>
                  <a:pt x="73" y="365"/>
                </a:lnTo>
                <a:lnTo>
                  <a:pt x="78" y="366"/>
                </a:lnTo>
                <a:lnTo>
                  <a:pt x="81" y="366"/>
                </a:lnTo>
                <a:lnTo>
                  <a:pt x="85" y="365"/>
                </a:lnTo>
                <a:lnTo>
                  <a:pt x="86" y="364"/>
                </a:lnTo>
                <a:lnTo>
                  <a:pt x="86" y="363"/>
                </a:lnTo>
                <a:lnTo>
                  <a:pt x="90" y="362"/>
                </a:lnTo>
                <a:lnTo>
                  <a:pt x="92" y="362"/>
                </a:lnTo>
                <a:lnTo>
                  <a:pt x="94" y="361"/>
                </a:lnTo>
                <a:lnTo>
                  <a:pt x="94" y="359"/>
                </a:lnTo>
                <a:lnTo>
                  <a:pt x="97" y="357"/>
                </a:lnTo>
                <a:lnTo>
                  <a:pt x="97" y="356"/>
                </a:lnTo>
                <a:lnTo>
                  <a:pt x="98" y="356"/>
                </a:lnTo>
                <a:lnTo>
                  <a:pt x="98" y="355"/>
                </a:lnTo>
                <a:lnTo>
                  <a:pt x="99" y="355"/>
                </a:lnTo>
                <a:lnTo>
                  <a:pt x="99" y="353"/>
                </a:lnTo>
                <a:lnTo>
                  <a:pt x="100" y="353"/>
                </a:lnTo>
                <a:lnTo>
                  <a:pt x="100" y="352"/>
                </a:lnTo>
                <a:lnTo>
                  <a:pt x="102" y="351"/>
                </a:lnTo>
                <a:lnTo>
                  <a:pt x="102" y="350"/>
                </a:lnTo>
                <a:lnTo>
                  <a:pt x="106" y="350"/>
                </a:lnTo>
                <a:lnTo>
                  <a:pt x="109" y="347"/>
                </a:lnTo>
                <a:lnTo>
                  <a:pt x="109" y="344"/>
                </a:lnTo>
                <a:lnTo>
                  <a:pt x="110" y="343"/>
                </a:lnTo>
                <a:close/>
                <a:moveTo>
                  <a:pt x="183" y="282"/>
                </a:moveTo>
                <a:lnTo>
                  <a:pt x="184" y="282"/>
                </a:lnTo>
                <a:lnTo>
                  <a:pt x="183" y="283"/>
                </a:lnTo>
                <a:lnTo>
                  <a:pt x="183" y="282"/>
                </a:lnTo>
                <a:close/>
                <a:moveTo>
                  <a:pt x="156" y="280"/>
                </a:moveTo>
                <a:lnTo>
                  <a:pt x="158" y="282"/>
                </a:lnTo>
                <a:lnTo>
                  <a:pt x="158" y="283"/>
                </a:lnTo>
                <a:lnTo>
                  <a:pt x="156" y="282"/>
                </a:lnTo>
                <a:lnTo>
                  <a:pt x="156" y="280"/>
                </a:lnTo>
                <a:close/>
                <a:moveTo>
                  <a:pt x="181" y="278"/>
                </a:moveTo>
                <a:lnTo>
                  <a:pt x="181" y="279"/>
                </a:lnTo>
                <a:lnTo>
                  <a:pt x="183" y="279"/>
                </a:lnTo>
                <a:lnTo>
                  <a:pt x="183" y="282"/>
                </a:lnTo>
                <a:lnTo>
                  <a:pt x="180" y="280"/>
                </a:lnTo>
                <a:lnTo>
                  <a:pt x="180" y="279"/>
                </a:lnTo>
                <a:lnTo>
                  <a:pt x="181" y="278"/>
                </a:lnTo>
                <a:close/>
                <a:moveTo>
                  <a:pt x="147" y="266"/>
                </a:moveTo>
                <a:lnTo>
                  <a:pt x="148" y="266"/>
                </a:lnTo>
                <a:lnTo>
                  <a:pt x="148" y="267"/>
                </a:lnTo>
                <a:lnTo>
                  <a:pt x="147" y="269"/>
                </a:lnTo>
                <a:lnTo>
                  <a:pt x="147" y="266"/>
                </a:lnTo>
                <a:close/>
                <a:moveTo>
                  <a:pt x="161" y="251"/>
                </a:moveTo>
                <a:lnTo>
                  <a:pt x="162" y="252"/>
                </a:lnTo>
                <a:lnTo>
                  <a:pt x="162" y="255"/>
                </a:lnTo>
                <a:lnTo>
                  <a:pt x="160" y="258"/>
                </a:lnTo>
                <a:lnTo>
                  <a:pt x="161" y="258"/>
                </a:lnTo>
                <a:lnTo>
                  <a:pt x="162" y="259"/>
                </a:lnTo>
                <a:lnTo>
                  <a:pt x="161" y="260"/>
                </a:lnTo>
                <a:lnTo>
                  <a:pt x="160" y="260"/>
                </a:lnTo>
                <a:lnTo>
                  <a:pt x="160" y="259"/>
                </a:lnTo>
                <a:lnTo>
                  <a:pt x="158" y="257"/>
                </a:lnTo>
                <a:lnTo>
                  <a:pt x="158" y="258"/>
                </a:lnTo>
                <a:lnTo>
                  <a:pt x="154" y="258"/>
                </a:lnTo>
                <a:lnTo>
                  <a:pt x="154" y="259"/>
                </a:lnTo>
                <a:lnTo>
                  <a:pt x="150" y="259"/>
                </a:lnTo>
                <a:lnTo>
                  <a:pt x="149" y="258"/>
                </a:lnTo>
                <a:lnTo>
                  <a:pt x="148" y="258"/>
                </a:lnTo>
                <a:lnTo>
                  <a:pt x="148" y="255"/>
                </a:lnTo>
                <a:lnTo>
                  <a:pt x="149" y="254"/>
                </a:lnTo>
                <a:lnTo>
                  <a:pt x="153" y="254"/>
                </a:lnTo>
                <a:lnTo>
                  <a:pt x="153" y="255"/>
                </a:lnTo>
                <a:lnTo>
                  <a:pt x="155" y="255"/>
                </a:lnTo>
                <a:lnTo>
                  <a:pt x="155" y="253"/>
                </a:lnTo>
                <a:lnTo>
                  <a:pt x="156" y="254"/>
                </a:lnTo>
                <a:lnTo>
                  <a:pt x="158" y="253"/>
                </a:lnTo>
                <a:lnTo>
                  <a:pt x="158" y="254"/>
                </a:lnTo>
                <a:lnTo>
                  <a:pt x="159" y="254"/>
                </a:lnTo>
                <a:lnTo>
                  <a:pt x="160" y="253"/>
                </a:lnTo>
                <a:lnTo>
                  <a:pt x="160" y="252"/>
                </a:lnTo>
                <a:lnTo>
                  <a:pt x="161" y="251"/>
                </a:lnTo>
                <a:close/>
                <a:moveTo>
                  <a:pt x="136" y="240"/>
                </a:moveTo>
                <a:lnTo>
                  <a:pt x="137" y="240"/>
                </a:lnTo>
                <a:lnTo>
                  <a:pt x="137" y="242"/>
                </a:lnTo>
                <a:lnTo>
                  <a:pt x="136" y="243"/>
                </a:lnTo>
                <a:lnTo>
                  <a:pt x="135" y="243"/>
                </a:lnTo>
                <a:lnTo>
                  <a:pt x="135" y="242"/>
                </a:lnTo>
                <a:lnTo>
                  <a:pt x="136" y="240"/>
                </a:lnTo>
                <a:close/>
                <a:moveTo>
                  <a:pt x="248" y="186"/>
                </a:moveTo>
                <a:lnTo>
                  <a:pt x="247" y="187"/>
                </a:lnTo>
                <a:lnTo>
                  <a:pt x="246" y="187"/>
                </a:lnTo>
                <a:lnTo>
                  <a:pt x="245" y="189"/>
                </a:lnTo>
                <a:lnTo>
                  <a:pt x="245" y="191"/>
                </a:lnTo>
                <a:lnTo>
                  <a:pt x="246" y="192"/>
                </a:lnTo>
                <a:lnTo>
                  <a:pt x="248" y="192"/>
                </a:lnTo>
                <a:lnTo>
                  <a:pt x="248" y="190"/>
                </a:lnTo>
                <a:lnTo>
                  <a:pt x="249" y="189"/>
                </a:lnTo>
                <a:lnTo>
                  <a:pt x="249" y="187"/>
                </a:lnTo>
                <a:lnTo>
                  <a:pt x="248" y="186"/>
                </a:lnTo>
                <a:close/>
                <a:moveTo>
                  <a:pt x="136" y="181"/>
                </a:moveTo>
                <a:lnTo>
                  <a:pt x="137" y="181"/>
                </a:lnTo>
                <a:lnTo>
                  <a:pt x="137" y="183"/>
                </a:lnTo>
                <a:lnTo>
                  <a:pt x="136" y="183"/>
                </a:lnTo>
                <a:lnTo>
                  <a:pt x="136" y="181"/>
                </a:lnTo>
                <a:close/>
                <a:moveTo>
                  <a:pt x="235" y="107"/>
                </a:moveTo>
                <a:lnTo>
                  <a:pt x="235" y="111"/>
                </a:lnTo>
                <a:lnTo>
                  <a:pt x="236" y="111"/>
                </a:lnTo>
                <a:lnTo>
                  <a:pt x="236" y="108"/>
                </a:lnTo>
                <a:lnTo>
                  <a:pt x="235" y="107"/>
                </a:lnTo>
                <a:close/>
                <a:moveTo>
                  <a:pt x="245" y="100"/>
                </a:moveTo>
                <a:lnTo>
                  <a:pt x="246" y="100"/>
                </a:lnTo>
                <a:lnTo>
                  <a:pt x="247" y="101"/>
                </a:lnTo>
                <a:lnTo>
                  <a:pt x="245" y="101"/>
                </a:lnTo>
                <a:lnTo>
                  <a:pt x="242" y="106"/>
                </a:lnTo>
                <a:lnTo>
                  <a:pt x="242" y="104"/>
                </a:lnTo>
                <a:lnTo>
                  <a:pt x="243" y="103"/>
                </a:lnTo>
                <a:lnTo>
                  <a:pt x="243" y="101"/>
                </a:lnTo>
                <a:lnTo>
                  <a:pt x="245" y="100"/>
                </a:lnTo>
                <a:close/>
                <a:moveTo>
                  <a:pt x="242" y="99"/>
                </a:moveTo>
                <a:lnTo>
                  <a:pt x="243" y="99"/>
                </a:lnTo>
                <a:lnTo>
                  <a:pt x="243" y="100"/>
                </a:lnTo>
                <a:lnTo>
                  <a:pt x="242" y="101"/>
                </a:lnTo>
                <a:lnTo>
                  <a:pt x="242" y="100"/>
                </a:lnTo>
                <a:lnTo>
                  <a:pt x="241" y="100"/>
                </a:lnTo>
                <a:lnTo>
                  <a:pt x="242" y="99"/>
                </a:lnTo>
                <a:close/>
                <a:moveTo>
                  <a:pt x="233" y="0"/>
                </a:moveTo>
                <a:lnTo>
                  <a:pt x="236" y="0"/>
                </a:lnTo>
                <a:lnTo>
                  <a:pt x="236" y="3"/>
                </a:lnTo>
                <a:lnTo>
                  <a:pt x="234" y="5"/>
                </a:lnTo>
                <a:lnTo>
                  <a:pt x="233" y="6"/>
                </a:lnTo>
                <a:lnTo>
                  <a:pt x="234" y="7"/>
                </a:lnTo>
                <a:lnTo>
                  <a:pt x="234" y="11"/>
                </a:lnTo>
                <a:lnTo>
                  <a:pt x="235" y="11"/>
                </a:lnTo>
                <a:lnTo>
                  <a:pt x="235" y="12"/>
                </a:lnTo>
                <a:lnTo>
                  <a:pt x="236" y="12"/>
                </a:lnTo>
                <a:lnTo>
                  <a:pt x="236" y="13"/>
                </a:lnTo>
                <a:lnTo>
                  <a:pt x="240" y="13"/>
                </a:lnTo>
                <a:lnTo>
                  <a:pt x="240" y="19"/>
                </a:lnTo>
                <a:lnTo>
                  <a:pt x="242" y="19"/>
                </a:lnTo>
                <a:lnTo>
                  <a:pt x="242" y="20"/>
                </a:lnTo>
                <a:lnTo>
                  <a:pt x="243" y="21"/>
                </a:lnTo>
                <a:lnTo>
                  <a:pt x="243" y="22"/>
                </a:lnTo>
                <a:lnTo>
                  <a:pt x="246" y="24"/>
                </a:lnTo>
                <a:lnTo>
                  <a:pt x="247" y="25"/>
                </a:lnTo>
                <a:lnTo>
                  <a:pt x="249" y="25"/>
                </a:lnTo>
                <a:lnTo>
                  <a:pt x="251" y="26"/>
                </a:lnTo>
                <a:lnTo>
                  <a:pt x="257" y="26"/>
                </a:lnTo>
                <a:lnTo>
                  <a:pt x="258" y="27"/>
                </a:lnTo>
                <a:lnTo>
                  <a:pt x="261" y="27"/>
                </a:lnTo>
                <a:lnTo>
                  <a:pt x="264" y="30"/>
                </a:lnTo>
                <a:lnTo>
                  <a:pt x="273" y="30"/>
                </a:lnTo>
                <a:lnTo>
                  <a:pt x="277" y="31"/>
                </a:lnTo>
                <a:lnTo>
                  <a:pt x="279" y="32"/>
                </a:lnTo>
                <a:lnTo>
                  <a:pt x="280" y="32"/>
                </a:lnTo>
                <a:lnTo>
                  <a:pt x="282" y="33"/>
                </a:lnTo>
                <a:lnTo>
                  <a:pt x="286" y="32"/>
                </a:lnTo>
                <a:lnTo>
                  <a:pt x="291" y="32"/>
                </a:lnTo>
                <a:lnTo>
                  <a:pt x="291" y="33"/>
                </a:lnTo>
                <a:lnTo>
                  <a:pt x="293" y="33"/>
                </a:lnTo>
                <a:lnTo>
                  <a:pt x="298" y="34"/>
                </a:lnTo>
                <a:lnTo>
                  <a:pt x="299" y="34"/>
                </a:lnTo>
                <a:lnTo>
                  <a:pt x="299" y="39"/>
                </a:lnTo>
                <a:lnTo>
                  <a:pt x="296" y="39"/>
                </a:lnTo>
                <a:lnTo>
                  <a:pt x="291" y="44"/>
                </a:lnTo>
                <a:lnTo>
                  <a:pt x="290" y="44"/>
                </a:lnTo>
                <a:lnTo>
                  <a:pt x="288" y="46"/>
                </a:lnTo>
                <a:lnTo>
                  <a:pt x="288" y="48"/>
                </a:lnTo>
                <a:lnTo>
                  <a:pt x="286" y="49"/>
                </a:lnTo>
                <a:lnTo>
                  <a:pt x="286" y="51"/>
                </a:lnTo>
                <a:lnTo>
                  <a:pt x="288" y="52"/>
                </a:lnTo>
                <a:lnTo>
                  <a:pt x="288" y="54"/>
                </a:lnTo>
                <a:lnTo>
                  <a:pt x="289" y="54"/>
                </a:lnTo>
                <a:lnTo>
                  <a:pt x="289" y="52"/>
                </a:lnTo>
                <a:lnTo>
                  <a:pt x="290" y="52"/>
                </a:lnTo>
                <a:lnTo>
                  <a:pt x="291" y="54"/>
                </a:lnTo>
                <a:lnTo>
                  <a:pt x="292" y="54"/>
                </a:lnTo>
                <a:lnTo>
                  <a:pt x="293" y="55"/>
                </a:lnTo>
                <a:lnTo>
                  <a:pt x="297" y="55"/>
                </a:lnTo>
                <a:lnTo>
                  <a:pt x="297" y="56"/>
                </a:lnTo>
                <a:lnTo>
                  <a:pt x="296" y="58"/>
                </a:lnTo>
                <a:lnTo>
                  <a:pt x="291" y="63"/>
                </a:lnTo>
                <a:lnTo>
                  <a:pt x="291" y="65"/>
                </a:lnTo>
                <a:lnTo>
                  <a:pt x="290" y="65"/>
                </a:lnTo>
                <a:lnTo>
                  <a:pt x="290" y="67"/>
                </a:lnTo>
                <a:lnTo>
                  <a:pt x="291" y="67"/>
                </a:lnTo>
                <a:lnTo>
                  <a:pt x="292" y="68"/>
                </a:lnTo>
                <a:lnTo>
                  <a:pt x="295" y="68"/>
                </a:lnTo>
                <a:lnTo>
                  <a:pt x="296" y="67"/>
                </a:lnTo>
                <a:lnTo>
                  <a:pt x="297" y="68"/>
                </a:lnTo>
                <a:lnTo>
                  <a:pt x="296" y="69"/>
                </a:lnTo>
                <a:lnTo>
                  <a:pt x="296" y="71"/>
                </a:lnTo>
                <a:lnTo>
                  <a:pt x="295" y="75"/>
                </a:lnTo>
                <a:lnTo>
                  <a:pt x="295" y="77"/>
                </a:lnTo>
                <a:lnTo>
                  <a:pt x="296" y="79"/>
                </a:lnTo>
                <a:lnTo>
                  <a:pt x="298" y="79"/>
                </a:lnTo>
                <a:lnTo>
                  <a:pt x="301" y="81"/>
                </a:lnTo>
                <a:lnTo>
                  <a:pt x="303" y="82"/>
                </a:lnTo>
                <a:lnTo>
                  <a:pt x="307" y="87"/>
                </a:lnTo>
                <a:lnTo>
                  <a:pt x="307" y="88"/>
                </a:lnTo>
                <a:lnTo>
                  <a:pt x="308" y="88"/>
                </a:lnTo>
                <a:lnTo>
                  <a:pt x="308" y="89"/>
                </a:lnTo>
                <a:lnTo>
                  <a:pt x="307" y="91"/>
                </a:lnTo>
                <a:lnTo>
                  <a:pt x="307" y="92"/>
                </a:lnTo>
                <a:lnTo>
                  <a:pt x="304" y="92"/>
                </a:lnTo>
                <a:lnTo>
                  <a:pt x="303" y="91"/>
                </a:lnTo>
                <a:lnTo>
                  <a:pt x="301" y="91"/>
                </a:lnTo>
                <a:lnTo>
                  <a:pt x="301" y="89"/>
                </a:lnTo>
                <a:lnTo>
                  <a:pt x="303" y="89"/>
                </a:lnTo>
                <a:lnTo>
                  <a:pt x="303" y="88"/>
                </a:lnTo>
                <a:lnTo>
                  <a:pt x="302" y="87"/>
                </a:lnTo>
                <a:lnTo>
                  <a:pt x="302" y="85"/>
                </a:lnTo>
                <a:lnTo>
                  <a:pt x="301" y="85"/>
                </a:lnTo>
                <a:lnTo>
                  <a:pt x="298" y="81"/>
                </a:lnTo>
                <a:lnTo>
                  <a:pt x="297" y="80"/>
                </a:lnTo>
                <a:lnTo>
                  <a:pt x="295" y="79"/>
                </a:lnTo>
                <a:lnTo>
                  <a:pt x="293" y="79"/>
                </a:lnTo>
                <a:lnTo>
                  <a:pt x="293" y="80"/>
                </a:lnTo>
                <a:lnTo>
                  <a:pt x="292" y="81"/>
                </a:lnTo>
                <a:lnTo>
                  <a:pt x="292" y="82"/>
                </a:lnTo>
                <a:lnTo>
                  <a:pt x="293" y="82"/>
                </a:lnTo>
                <a:lnTo>
                  <a:pt x="292" y="83"/>
                </a:lnTo>
                <a:lnTo>
                  <a:pt x="291" y="83"/>
                </a:lnTo>
                <a:lnTo>
                  <a:pt x="289" y="86"/>
                </a:lnTo>
                <a:lnTo>
                  <a:pt x="286" y="86"/>
                </a:lnTo>
                <a:lnTo>
                  <a:pt x="288" y="85"/>
                </a:lnTo>
                <a:lnTo>
                  <a:pt x="289" y="85"/>
                </a:lnTo>
                <a:lnTo>
                  <a:pt x="289" y="83"/>
                </a:lnTo>
                <a:lnTo>
                  <a:pt x="286" y="82"/>
                </a:lnTo>
                <a:lnTo>
                  <a:pt x="285" y="82"/>
                </a:lnTo>
                <a:lnTo>
                  <a:pt x="282" y="81"/>
                </a:lnTo>
                <a:lnTo>
                  <a:pt x="280" y="81"/>
                </a:lnTo>
                <a:lnTo>
                  <a:pt x="280" y="80"/>
                </a:lnTo>
                <a:lnTo>
                  <a:pt x="278" y="80"/>
                </a:lnTo>
                <a:lnTo>
                  <a:pt x="277" y="81"/>
                </a:lnTo>
                <a:lnTo>
                  <a:pt x="276" y="80"/>
                </a:lnTo>
                <a:lnTo>
                  <a:pt x="274" y="81"/>
                </a:lnTo>
                <a:lnTo>
                  <a:pt x="276" y="81"/>
                </a:lnTo>
                <a:lnTo>
                  <a:pt x="276" y="82"/>
                </a:lnTo>
                <a:lnTo>
                  <a:pt x="274" y="82"/>
                </a:lnTo>
                <a:lnTo>
                  <a:pt x="273" y="83"/>
                </a:lnTo>
                <a:lnTo>
                  <a:pt x="273" y="85"/>
                </a:lnTo>
                <a:lnTo>
                  <a:pt x="277" y="85"/>
                </a:lnTo>
                <a:lnTo>
                  <a:pt x="274" y="86"/>
                </a:lnTo>
                <a:lnTo>
                  <a:pt x="274" y="88"/>
                </a:lnTo>
                <a:lnTo>
                  <a:pt x="268" y="88"/>
                </a:lnTo>
                <a:lnTo>
                  <a:pt x="261" y="93"/>
                </a:lnTo>
                <a:lnTo>
                  <a:pt x="254" y="97"/>
                </a:lnTo>
                <a:lnTo>
                  <a:pt x="249" y="98"/>
                </a:lnTo>
                <a:lnTo>
                  <a:pt x="249" y="99"/>
                </a:lnTo>
                <a:lnTo>
                  <a:pt x="247" y="99"/>
                </a:lnTo>
                <a:lnTo>
                  <a:pt x="246" y="100"/>
                </a:lnTo>
                <a:lnTo>
                  <a:pt x="246" y="99"/>
                </a:lnTo>
                <a:lnTo>
                  <a:pt x="247" y="98"/>
                </a:lnTo>
                <a:lnTo>
                  <a:pt x="247" y="97"/>
                </a:lnTo>
                <a:lnTo>
                  <a:pt x="251" y="97"/>
                </a:lnTo>
                <a:lnTo>
                  <a:pt x="251" y="95"/>
                </a:lnTo>
                <a:lnTo>
                  <a:pt x="252" y="95"/>
                </a:lnTo>
                <a:lnTo>
                  <a:pt x="252" y="94"/>
                </a:lnTo>
                <a:lnTo>
                  <a:pt x="253" y="94"/>
                </a:lnTo>
                <a:lnTo>
                  <a:pt x="253" y="93"/>
                </a:lnTo>
                <a:lnTo>
                  <a:pt x="252" y="93"/>
                </a:lnTo>
                <a:lnTo>
                  <a:pt x="252" y="94"/>
                </a:lnTo>
                <a:lnTo>
                  <a:pt x="251" y="94"/>
                </a:lnTo>
                <a:lnTo>
                  <a:pt x="251" y="93"/>
                </a:lnTo>
                <a:lnTo>
                  <a:pt x="249" y="93"/>
                </a:lnTo>
                <a:lnTo>
                  <a:pt x="249" y="92"/>
                </a:lnTo>
                <a:lnTo>
                  <a:pt x="247" y="94"/>
                </a:lnTo>
                <a:lnTo>
                  <a:pt x="247" y="95"/>
                </a:lnTo>
                <a:lnTo>
                  <a:pt x="246" y="95"/>
                </a:lnTo>
                <a:lnTo>
                  <a:pt x="245" y="94"/>
                </a:lnTo>
                <a:lnTo>
                  <a:pt x="245" y="95"/>
                </a:lnTo>
                <a:lnTo>
                  <a:pt x="246" y="97"/>
                </a:lnTo>
                <a:lnTo>
                  <a:pt x="243" y="97"/>
                </a:lnTo>
                <a:lnTo>
                  <a:pt x="241" y="98"/>
                </a:lnTo>
                <a:lnTo>
                  <a:pt x="239" y="100"/>
                </a:lnTo>
                <a:lnTo>
                  <a:pt x="239" y="105"/>
                </a:lnTo>
                <a:lnTo>
                  <a:pt x="237" y="105"/>
                </a:lnTo>
                <a:lnTo>
                  <a:pt x="237" y="114"/>
                </a:lnTo>
                <a:lnTo>
                  <a:pt x="239" y="114"/>
                </a:lnTo>
                <a:lnTo>
                  <a:pt x="240" y="113"/>
                </a:lnTo>
                <a:lnTo>
                  <a:pt x="241" y="113"/>
                </a:lnTo>
                <a:lnTo>
                  <a:pt x="241" y="116"/>
                </a:lnTo>
                <a:lnTo>
                  <a:pt x="242" y="116"/>
                </a:lnTo>
                <a:lnTo>
                  <a:pt x="242" y="120"/>
                </a:lnTo>
                <a:lnTo>
                  <a:pt x="241" y="120"/>
                </a:lnTo>
                <a:lnTo>
                  <a:pt x="241" y="122"/>
                </a:lnTo>
                <a:lnTo>
                  <a:pt x="242" y="122"/>
                </a:lnTo>
                <a:lnTo>
                  <a:pt x="245" y="124"/>
                </a:lnTo>
                <a:lnTo>
                  <a:pt x="243" y="124"/>
                </a:lnTo>
                <a:lnTo>
                  <a:pt x="243" y="125"/>
                </a:lnTo>
                <a:lnTo>
                  <a:pt x="245" y="125"/>
                </a:lnTo>
                <a:lnTo>
                  <a:pt x="245" y="124"/>
                </a:lnTo>
                <a:lnTo>
                  <a:pt x="246" y="124"/>
                </a:lnTo>
                <a:lnTo>
                  <a:pt x="246" y="125"/>
                </a:lnTo>
                <a:lnTo>
                  <a:pt x="247" y="125"/>
                </a:lnTo>
                <a:lnTo>
                  <a:pt x="248" y="126"/>
                </a:lnTo>
                <a:lnTo>
                  <a:pt x="249" y="126"/>
                </a:lnTo>
                <a:lnTo>
                  <a:pt x="251" y="128"/>
                </a:lnTo>
                <a:lnTo>
                  <a:pt x="251" y="130"/>
                </a:lnTo>
                <a:lnTo>
                  <a:pt x="249" y="131"/>
                </a:lnTo>
                <a:lnTo>
                  <a:pt x="249" y="135"/>
                </a:lnTo>
                <a:lnTo>
                  <a:pt x="247" y="137"/>
                </a:lnTo>
                <a:lnTo>
                  <a:pt x="247" y="136"/>
                </a:lnTo>
                <a:lnTo>
                  <a:pt x="246" y="135"/>
                </a:lnTo>
                <a:lnTo>
                  <a:pt x="247" y="134"/>
                </a:lnTo>
                <a:lnTo>
                  <a:pt x="247" y="132"/>
                </a:lnTo>
                <a:lnTo>
                  <a:pt x="246" y="132"/>
                </a:lnTo>
                <a:lnTo>
                  <a:pt x="246" y="134"/>
                </a:lnTo>
                <a:lnTo>
                  <a:pt x="245" y="135"/>
                </a:lnTo>
                <a:lnTo>
                  <a:pt x="246" y="135"/>
                </a:lnTo>
                <a:lnTo>
                  <a:pt x="246" y="136"/>
                </a:lnTo>
                <a:lnTo>
                  <a:pt x="245" y="136"/>
                </a:lnTo>
                <a:lnTo>
                  <a:pt x="245" y="137"/>
                </a:lnTo>
                <a:lnTo>
                  <a:pt x="246" y="137"/>
                </a:lnTo>
                <a:lnTo>
                  <a:pt x="246" y="138"/>
                </a:lnTo>
                <a:lnTo>
                  <a:pt x="243" y="138"/>
                </a:lnTo>
                <a:lnTo>
                  <a:pt x="243" y="137"/>
                </a:lnTo>
                <a:lnTo>
                  <a:pt x="242" y="136"/>
                </a:lnTo>
                <a:lnTo>
                  <a:pt x="241" y="136"/>
                </a:lnTo>
                <a:lnTo>
                  <a:pt x="240" y="137"/>
                </a:lnTo>
                <a:lnTo>
                  <a:pt x="239" y="141"/>
                </a:lnTo>
                <a:lnTo>
                  <a:pt x="239" y="147"/>
                </a:lnTo>
                <a:lnTo>
                  <a:pt x="240" y="148"/>
                </a:lnTo>
                <a:lnTo>
                  <a:pt x="240" y="156"/>
                </a:lnTo>
                <a:lnTo>
                  <a:pt x="241" y="162"/>
                </a:lnTo>
                <a:lnTo>
                  <a:pt x="242" y="165"/>
                </a:lnTo>
                <a:lnTo>
                  <a:pt x="242" y="167"/>
                </a:lnTo>
                <a:lnTo>
                  <a:pt x="243" y="168"/>
                </a:lnTo>
                <a:lnTo>
                  <a:pt x="243" y="171"/>
                </a:lnTo>
                <a:lnTo>
                  <a:pt x="245" y="173"/>
                </a:lnTo>
                <a:lnTo>
                  <a:pt x="247" y="175"/>
                </a:lnTo>
                <a:lnTo>
                  <a:pt x="248" y="178"/>
                </a:lnTo>
                <a:lnTo>
                  <a:pt x="249" y="179"/>
                </a:lnTo>
                <a:lnTo>
                  <a:pt x="252" y="180"/>
                </a:lnTo>
                <a:lnTo>
                  <a:pt x="253" y="180"/>
                </a:lnTo>
                <a:lnTo>
                  <a:pt x="255" y="184"/>
                </a:lnTo>
                <a:lnTo>
                  <a:pt x="258" y="186"/>
                </a:lnTo>
                <a:lnTo>
                  <a:pt x="260" y="187"/>
                </a:lnTo>
                <a:lnTo>
                  <a:pt x="262" y="187"/>
                </a:lnTo>
                <a:lnTo>
                  <a:pt x="262" y="189"/>
                </a:lnTo>
                <a:lnTo>
                  <a:pt x="267" y="191"/>
                </a:lnTo>
                <a:lnTo>
                  <a:pt x="268" y="192"/>
                </a:lnTo>
                <a:lnTo>
                  <a:pt x="282" y="203"/>
                </a:lnTo>
                <a:lnTo>
                  <a:pt x="286" y="206"/>
                </a:lnTo>
                <a:lnTo>
                  <a:pt x="288" y="206"/>
                </a:lnTo>
                <a:lnTo>
                  <a:pt x="289" y="208"/>
                </a:lnTo>
                <a:lnTo>
                  <a:pt x="291" y="208"/>
                </a:lnTo>
                <a:lnTo>
                  <a:pt x="292" y="206"/>
                </a:lnTo>
                <a:lnTo>
                  <a:pt x="292" y="208"/>
                </a:lnTo>
                <a:lnTo>
                  <a:pt x="293" y="208"/>
                </a:lnTo>
                <a:lnTo>
                  <a:pt x="293" y="209"/>
                </a:lnTo>
                <a:lnTo>
                  <a:pt x="297" y="212"/>
                </a:lnTo>
                <a:lnTo>
                  <a:pt x="296" y="212"/>
                </a:lnTo>
                <a:lnTo>
                  <a:pt x="303" y="228"/>
                </a:lnTo>
                <a:lnTo>
                  <a:pt x="303" y="232"/>
                </a:lnTo>
                <a:lnTo>
                  <a:pt x="304" y="233"/>
                </a:lnTo>
                <a:lnTo>
                  <a:pt x="304" y="234"/>
                </a:lnTo>
                <a:lnTo>
                  <a:pt x="307" y="239"/>
                </a:lnTo>
                <a:lnTo>
                  <a:pt x="307" y="243"/>
                </a:lnTo>
                <a:lnTo>
                  <a:pt x="309" y="249"/>
                </a:lnTo>
                <a:lnTo>
                  <a:pt x="310" y="255"/>
                </a:lnTo>
                <a:lnTo>
                  <a:pt x="311" y="259"/>
                </a:lnTo>
                <a:lnTo>
                  <a:pt x="313" y="261"/>
                </a:lnTo>
                <a:lnTo>
                  <a:pt x="315" y="265"/>
                </a:lnTo>
                <a:lnTo>
                  <a:pt x="315" y="266"/>
                </a:lnTo>
                <a:lnTo>
                  <a:pt x="316" y="266"/>
                </a:lnTo>
                <a:lnTo>
                  <a:pt x="322" y="275"/>
                </a:lnTo>
                <a:lnTo>
                  <a:pt x="324" y="277"/>
                </a:lnTo>
                <a:lnTo>
                  <a:pt x="328" y="278"/>
                </a:lnTo>
                <a:lnTo>
                  <a:pt x="329" y="279"/>
                </a:lnTo>
                <a:lnTo>
                  <a:pt x="330" y="283"/>
                </a:lnTo>
                <a:lnTo>
                  <a:pt x="336" y="288"/>
                </a:lnTo>
                <a:lnTo>
                  <a:pt x="338" y="289"/>
                </a:lnTo>
                <a:lnTo>
                  <a:pt x="340" y="290"/>
                </a:lnTo>
                <a:lnTo>
                  <a:pt x="342" y="290"/>
                </a:lnTo>
                <a:lnTo>
                  <a:pt x="342" y="291"/>
                </a:lnTo>
                <a:lnTo>
                  <a:pt x="344" y="294"/>
                </a:lnTo>
                <a:lnTo>
                  <a:pt x="344" y="296"/>
                </a:lnTo>
                <a:lnTo>
                  <a:pt x="346" y="296"/>
                </a:lnTo>
                <a:lnTo>
                  <a:pt x="346" y="297"/>
                </a:lnTo>
                <a:lnTo>
                  <a:pt x="348" y="298"/>
                </a:lnTo>
                <a:lnTo>
                  <a:pt x="349" y="298"/>
                </a:lnTo>
                <a:lnTo>
                  <a:pt x="353" y="300"/>
                </a:lnTo>
                <a:lnTo>
                  <a:pt x="354" y="300"/>
                </a:lnTo>
                <a:lnTo>
                  <a:pt x="359" y="304"/>
                </a:lnTo>
                <a:lnTo>
                  <a:pt x="366" y="304"/>
                </a:lnTo>
                <a:lnTo>
                  <a:pt x="372" y="306"/>
                </a:lnTo>
                <a:lnTo>
                  <a:pt x="373" y="306"/>
                </a:lnTo>
                <a:lnTo>
                  <a:pt x="380" y="304"/>
                </a:lnTo>
                <a:lnTo>
                  <a:pt x="388" y="306"/>
                </a:lnTo>
                <a:lnTo>
                  <a:pt x="398" y="304"/>
                </a:lnTo>
                <a:lnTo>
                  <a:pt x="402" y="304"/>
                </a:lnTo>
                <a:lnTo>
                  <a:pt x="404" y="307"/>
                </a:lnTo>
                <a:lnTo>
                  <a:pt x="404" y="309"/>
                </a:lnTo>
                <a:lnTo>
                  <a:pt x="406" y="310"/>
                </a:lnTo>
                <a:lnTo>
                  <a:pt x="406" y="313"/>
                </a:lnTo>
                <a:lnTo>
                  <a:pt x="404" y="313"/>
                </a:lnTo>
                <a:lnTo>
                  <a:pt x="404" y="314"/>
                </a:lnTo>
                <a:lnTo>
                  <a:pt x="403" y="315"/>
                </a:lnTo>
                <a:lnTo>
                  <a:pt x="402" y="315"/>
                </a:lnTo>
                <a:lnTo>
                  <a:pt x="398" y="319"/>
                </a:lnTo>
                <a:lnTo>
                  <a:pt x="394" y="321"/>
                </a:lnTo>
                <a:lnTo>
                  <a:pt x="392" y="322"/>
                </a:lnTo>
                <a:lnTo>
                  <a:pt x="392" y="327"/>
                </a:lnTo>
                <a:lnTo>
                  <a:pt x="394" y="328"/>
                </a:lnTo>
                <a:lnTo>
                  <a:pt x="395" y="331"/>
                </a:lnTo>
                <a:lnTo>
                  <a:pt x="395" y="332"/>
                </a:lnTo>
                <a:lnTo>
                  <a:pt x="398" y="333"/>
                </a:lnTo>
                <a:lnTo>
                  <a:pt x="401" y="334"/>
                </a:lnTo>
                <a:lnTo>
                  <a:pt x="402" y="335"/>
                </a:lnTo>
                <a:lnTo>
                  <a:pt x="410" y="339"/>
                </a:lnTo>
                <a:lnTo>
                  <a:pt x="416" y="343"/>
                </a:lnTo>
                <a:lnTo>
                  <a:pt x="419" y="343"/>
                </a:lnTo>
                <a:lnTo>
                  <a:pt x="420" y="344"/>
                </a:lnTo>
                <a:lnTo>
                  <a:pt x="422" y="345"/>
                </a:lnTo>
                <a:lnTo>
                  <a:pt x="432" y="349"/>
                </a:lnTo>
                <a:lnTo>
                  <a:pt x="433" y="350"/>
                </a:lnTo>
                <a:lnTo>
                  <a:pt x="433" y="349"/>
                </a:lnTo>
                <a:lnTo>
                  <a:pt x="434" y="350"/>
                </a:lnTo>
                <a:lnTo>
                  <a:pt x="441" y="352"/>
                </a:lnTo>
                <a:lnTo>
                  <a:pt x="447" y="356"/>
                </a:lnTo>
                <a:lnTo>
                  <a:pt x="451" y="358"/>
                </a:lnTo>
                <a:lnTo>
                  <a:pt x="459" y="366"/>
                </a:lnTo>
                <a:lnTo>
                  <a:pt x="460" y="366"/>
                </a:lnTo>
                <a:lnTo>
                  <a:pt x="463" y="368"/>
                </a:lnTo>
                <a:lnTo>
                  <a:pt x="466" y="369"/>
                </a:lnTo>
                <a:lnTo>
                  <a:pt x="471" y="371"/>
                </a:lnTo>
                <a:lnTo>
                  <a:pt x="475" y="374"/>
                </a:lnTo>
                <a:lnTo>
                  <a:pt x="478" y="375"/>
                </a:lnTo>
                <a:lnTo>
                  <a:pt x="479" y="375"/>
                </a:lnTo>
                <a:lnTo>
                  <a:pt x="479" y="377"/>
                </a:lnTo>
                <a:lnTo>
                  <a:pt x="481" y="376"/>
                </a:lnTo>
                <a:lnTo>
                  <a:pt x="482" y="376"/>
                </a:lnTo>
                <a:lnTo>
                  <a:pt x="482" y="378"/>
                </a:lnTo>
                <a:lnTo>
                  <a:pt x="483" y="378"/>
                </a:lnTo>
                <a:lnTo>
                  <a:pt x="483" y="382"/>
                </a:lnTo>
                <a:lnTo>
                  <a:pt x="490" y="387"/>
                </a:lnTo>
                <a:lnTo>
                  <a:pt x="491" y="387"/>
                </a:lnTo>
                <a:lnTo>
                  <a:pt x="493" y="389"/>
                </a:lnTo>
                <a:lnTo>
                  <a:pt x="494" y="390"/>
                </a:lnTo>
                <a:lnTo>
                  <a:pt x="495" y="393"/>
                </a:lnTo>
                <a:lnTo>
                  <a:pt x="496" y="393"/>
                </a:lnTo>
                <a:lnTo>
                  <a:pt x="497" y="394"/>
                </a:lnTo>
                <a:lnTo>
                  <a:pt x="500" y="398"/>
                </a:lnTo>
                <a:lnTo>
                  <a:pt x="502" y="404"/>
                </a:lnTo>
                <a:lnTo>
                  <a:pt x="502" y="405"/>
                </a:lnTo>
                <a:lnTo>
                  <a:pt x="503" y="405"/>
                </a:lnTo>
                <a:lnTo>
                  <a:pt x="503" y="407"/>
                </a:lnTo>
                <a:lnTo>
                  <a:pt x="502" y="408"/>
                </a:lnTo>
                <a:lnTo>
                  <a:pt x="502" y="409"/>
                </a:lnTo>
                <a:lnTo>
                  <a:pt x="501" y="409"/>
                </a:lnTo>
                <a:lnTo>
                  <a:pt x="500" y="411"/>
                </a:lnTo>
                <a:lnTo>
                  <a:pt x="498" y="413"/>
                </a:lnTo>
                <a:lnTo>
                  <a:pt x="498" y="419"/>
                </a:lnTo>
                <a:lnTo>
                  <a:pt x="497" y="421"/>
                </a:lnTo>
                <a:lnTo>
                  <a:pt x="497" y="424"/>
                </a:lnTo>
                <a:lnTo>
                  <a:pt x="496" y="424"/>
                </a:lnTo>
                <a:lnTo>
                  <a:pt x="494" y="421"/>
                </a:lnTo>
                <a:lnTo>
                  <a:pt x="490" y="421"/>
                </a:lnTo>
                <a:lnTo>
                  <a:pt x="489" y="420"/>
                </a:lnTo>
                <a:lnTo>
                  <a:pt x="488" y="420"/>
                </a:lnTo>
                <a:lnTo>
                  <a:pt x="484" y="417"/>
                </a:lnTo>
                <a:lnTo>
                  <a:pt x="482" y="413"/>
                </a:lnTo>
                <a:lnTo>
                  <a:pt x="481" y="413"/>
                </a:lnTo>
                <a:lnTo>
                  <a:pt x="481" y="412"/>
                </a:lnTo>
                <a:lnTo>
                  <a:pt x="482" y="412"/>
                </a:lnTo>
                <a:lnTo>
                  <a:pt x="482" y="409"/>
                </a:lnTo>
                <a:lnTo>
                  <a:pt x="479" y="409"/>
                </a:lnTo>
                <a:lnTo>
                  <a:pt x="482" y="408"/>
                </a:lnTo>
                <a:lnTo>
                  <a:pt x="482" y="406"/>
                </a:lnTo>
                <a:lnTo>
                  <a:pt x="479" y="405"/>
                </a:lnTo>
                <a:lnTo>
                  <a:pt x="479" y="404"/>
                </a:lnTo>
                <a:lnTo>
                  <a:pt x="478" y="402"/>
                </a:lnTo>
                <a:lnTo>
                  <a:pt x="478" y="399"/>
                </a:lnTo>
                <a:lnTo>
                  <a:pt x="476" y="396"/>
                </a:lnTo>
                <a:lnTo>
                  <a:pt x="475" y="396"/>
                </a:lnTo>
                <a:lnTo>
                  <a:pt x="460" y="395"/>
                </a:lnTo>
                <a:lnTo>
                  <a:pt x="458" y="394"/>
                </a:lnTo>
                <a:lnTo>
                  <a:pt x="456" y="394"/>
                </a:lnTo>
                <a:lnTo>
                  <a:pt x="456" y="393"/>
                </a:lnTo>
                <a:lnTo>
                  <a:pt x="454" y="393"/>
                </a:lnTo>
                <a:lnTo>
                  <a:pt x="450" y="390"/>
                </a:lnTo>
                <a:lnTo>
                  <a:pt x="448" y="390"/>
                </a:lnTo>
                <a:lnTo>
                  <a:pt x="447" y="389"/>
                </a:lnTo>
                <a:lnTo>
                  <a:pt x="448" y="389"/>
                </a:lnTo>
                <a:lnTo>
                  <a:pt x="450" y="388"/>
                </a:lnTo>
                <a:lnTo>
                  <a:pt x="450" y="387"/>
                </a:lnTo>
                <a:lnTo>
                  <a:pt x="448" y="387"/>
                </a:lnTo>
                <a:lnTo>
                  <a:pt x="450" y="386"/>
                </a:lnTo>
                <a:lnTo>
                  <a:pt x="452" y="387"/>
                </a:lnTo>
                <a:lnTo>
                  <a:pt x="452" y="386"/>
                </a:lnTo>
                <a:lnTo>
                  <a:pt x="453" y="384"/>
                </a:lnTo>
                <a:lnTo>
                  <a:pt x="452" y="384"/>
                </a:lnTo>
                <a:lnTo>
                  <a:pt x="451" y="386"/>
                </a:lnTo>
                <a:lnTo>
                  <a:pt x="451" y="384"/>
                </a:lnTo>
                <a:lnTo>
                  <a:pt x="448" y="384"/>
                </a:lnTo>
                <a:lnTo>
                  <a:pt x="448" y="386"/>
                </a:lnTo>
                <a:lnTo>
                  <a:pt x="446" y="386"/>
                </a:lnTo>
                <a:lnTo>
                  <a:pt x="446" y="384"/>
                </a:lnTo>
                <a:lnTo>
                  <a:pt x="445" y="384"/>
                </a:lnTo>
                <a:lnTo>
                  <a:pt x="441" y="383"/>
                </a:lnTo>
                <a:lnTo>
                  <a:pt x="438" y="386"/>
                </a:lnTo>
                <a:lnTo>
                  <a:pt x="433" y="390"/>
                </a:lnTo>
                <a:lnTo>
                  <a:pt x="431" y="396"/>
                </a:lnTo>
                <a:lnTo>
                  <a:pt x="429" y="398"/>
                </a:lnTo>
                <a:lnTo>
                  <a:pt x="428" y="401"/>
                </a:lnTo>
                <a:lnTo>
                  <a:pt x="427" y="402"/>
                </a:lnTo>
                <a:lnTo>
                  <a:pt x="426" y="405"/>
                </a:lnTo>
                <a:lnTo>
                  <a:pt x="425" y="406"/>
                </a:lnTo>
                <a:lnTo>
                  <a:pt x="423" y="406"/>
                </a:lnTo>
                <a:lnTo>
                  <a:pt x="422" y="408"/>
                </a:lnTo>
                <a:lnTo>
                  <a:pt x="422" y="411"/>
                </a:lnTo>
                <a:lnTo>
                  <a:pt x="423" y="413"/>
                </a:lnTo>
                <a:lnTo>
                  <a:pt x="423" y="415"/>
                </a:lnTo>
                <a:lnTo>
                  <a:pt x="422" y="415"/>
                </a:lnTo>
                <a:lnTo>
                  <a:pt x="422" y="417"/>
                </a:lnTo>
                <a:lnTo>
                  <a:pt x="420" y="419"/>
                </a:lnTo>
                <a:lnTo>
                  <a:pt x="419" y="421"/>
                </a:lnTo>
                <a:lnTo>
                  <a:pt x="417" y="423"/>
                </a:lnTo>
                <a:lnTo>
                  <a:pt x="417" y="425"/>
                </a:lnTo>
                <a:lnTo>
                  <a:pt x="420" y="427"/>
                </a:lnTo>
                <a:lnTo>
                  <a:pt x="420" y="429"/>
                </a:lnTo>
                <a:lnTo>
                  <a:pt x="419" y="430"/>
                </a:lnTo>
                <a:lnTo>
                  <a:pt x="420" y="431"/>
                </a:lnTo>
                <a:lnTo>
                  <a:pt x="422" y="432"/>
                </a:lnTo>
                <a:lnTo>
                  <a:pt x="423" y="433"/>
                </a:lnTo>
                <a:lnTo>
                  <a:pt x="431" y="433"/>
                </a:lnTo>
                <a:lnTo>
                  <a:pt x="431" y="435"/>
                </a:lnTo>
                <a:lnTo>
                  <a:pt x="432" y="435"/>
                </a:lnTo>
                <a:lnTo>
                  <a:pt x="432" y="437"/>
                </a:lnTo>
                <a:lnTo>
                  <a:pt x="433" y="437"/>
                </a:lnTo>
                <a:lnTo>
                  <a:pt x="438" y="439"/>
                </a:lnTo>
                <a:lnTo>
                  <a:pt x="438" y="441"/>
                </a:lnTo>
                <a:lnTo>
                  <a:pt x="440" y="441"/>
                </a:lnTo>
                <a:lnTo>
                  <a:pt x="441" y="442"/>
                </a:lnTo>
                <a:lnTo>
                  <a:pt x="441" y="443"/>
                </a:lnTo>
                <a:lnTo>
                  <a:pt x="442" y="444"/>
                </a:lnTo>
                <a:lnTo>
                  <a:pt x="445" y="445"/>
                </a:lnTo>
                <a:lnTo>
                  <a:pt x="446" y="445"/>
                </a:lnTo>
                <a:lnTo>
                  <a:pt x="445" y="449"/>
                </a:lnTo>
                <a:lnTo>
                  <a:pt x="444" y="451"/>
                </a:lnTo>
                <a:lnTo>
                  <a:pt x="444" y="452"/>
                </a:lnTo>
                <a:lnTo>
                  <a:pt x="445" y="454"/>
                </a:lnTo>
                <a:lnTo>
                  <a:pt x="445" y="464"/>
                </a:lnTo>
                <a:lnTo>
                  <a:pt x="446" y="464"/>
                </a:lnTo>
                <a:lnTo>
                  <a:pt x="447" y="466"/>
                </a:lnTo>
                <a:lnTo>
                  <a:pt x="446" y="467"/>
                </a:lnTo>
                <a:lnTo>
                  <a:pt x="446" y="469"/>
                </a:lnTo>
                <a:lnTo>
                  <a:pt x="444" y="472"/>
                </a:lnTo>
                <a:lnTo>
                  <a:pt x="440" y="472"/>
                </a:lnTo>
                <a:lnTo>
                  <a:pt x="439" y="470"/>
                </a:lnTo>
                <a:lnTo>
                  <a:pt x="436" y="470"/>
                </a:lnTo>
                <a:lnTo>
                  <a:pt x="433" y="472"/>
                </a:lnTo>
                <a:lnTo>
                  <a:pt x="426" y="475"/>
                </a:lnTo>
                <a:lnTo>
                  <a:pt x="422" y="476"/>
                </a:lnTo>
                <a:lnTo>
                  <a:pt x="422" y="478"/>
                </a:lnTo>
                <a:lnTo>
                  <a:pt x="421" y="479"/>
                </a:lnTo>
                <a:lnTo>
                  <a:pt x="421" y="480"/>
                </a:lnTo>
                <a:lnTo>
                  <a:pt x="420" y="481"/>
                </a:lnTo>
                <a:lnTo>
                  <a:pt x="420" y="485"/>
                </a:lnTo>
                <a:lnTo>
                  <a:pt x="421" y="488"/>
                </a:lnTo>
                <a:lnTo>
                  <a:pt x="421" y="498"/>
                </a:lnTo>
                <a:lnTo>
                  <a:pt x="419" y="500"/>
                </a:lnTo>
                <a:lnTo>
                  <a:pt x="419" y="501"/>
                </a:lnTo>
                <a:lnTo>
                  <a:pt x="417" y="501"/>
                </a:lnTo>
                <a:lnTo>
                  <a:pt x="416" y="503"/>
                </a:lnTo>
                <a:lnTo>
                  <a:pt x="415" y="503"/>
                </a:lnTo>
                <a:lnTo>
                  <a:pt x="411" y="505"/>
                </a:lnTo>
                <a:lnTo>
                  <a:pt x="410" y="506"/>
                </a:lnTo>
                <a:lnTo>
                  <a:pt x="404" y="513"/>
                </a:lnTo>
                <a:lnTo>
                  <a:pt x="403" y="515"/>
                </a:lnTo>
                <a:lnTo>
                  <a:pt x="402" y="521"/>
                </a:lnTo>
                <a:lnTo>
                  <a:pt x="402" y="522"/>
                </a:lnTo>
                <a:lnTo>
                  <a:pt x="401" y="523"/>
                </a:lnTo>
                <a:lnTo>
                  <a:pt x="401" y="524"/>
                </a:lnTo>
                <a:lnTo>
                  <a:pt x="400" y="524"/>
                </a:lnTo>
                <a:lnTo>
                  <a:pt x="397" y="525"/>
                </a:lnTo>
                <a:lnTo>
                  <a:pt x="395" y="524"/>
                </a:lnTo>
                <a:lnTo>
                  <a:pt x="386" y="525"/>
                </a:lnTo>
                <a:lnTo>
                  <a:pt x="384" y="523"/>
                </a:lnTo>
                <a:lnTo>
                  <a:pt x="383" y="523"/>
                </a:lnTo>
                <a:lnTo>
                  <a:pt x="382" y="522"/>
                </a:lnTo>
                <a:lnTo>
                  <a:pt x="382" y="519"/>
                </a:lnTo>
                <a:lnTo>
                  <a:pt x="383" y="518"/>
                </a:lnTo>
                <a:lnTo>
                  <a:pt x="382" y="517"/>
                </a:lnTo>
                <a:lnTo>
                  <a:pt x="382" y="507"/>
                </a:lnTo>
                <a:lnTo>
                  <a:pt x="384" y="507"/>
                </a:lnTo>
                <a:lnTo>
                  <a:pt x="388" y="506"/>
                </a:lnTo>
                <a:lnTo>
                  <a:pt x="389" y="505"/>
                </a:lnTo>
                <a:lnTo>
                  <a:pt x="389" y="504"/>
                </a:lnTo>
                <a:lnTo>
                  <a:pt x="390" y="501"/>
                </a:lnTo>
                <a:lnTo>
                  <a:pt x="392" y="495"/>
                </a:lnTo>
                <a:lnTo>
                  <a:pt x="394" y="493"/>
                </a:lnTo>
                <a:lnTo>
                  <a:pt x="394" y="491"/>
                </a:lnTo>
                <a:lnTo>
                  <a:pt x="390" y="487"/>
                </a:lnTo>
                <a:lnTo>
                  <a:pt x="390" y="485"/>
                </a:lnTo>
                <a:lnTo>
                  <a:pt x="392" y="485"/>
                </a:lnTo>
                <a:lnTo>
                  <a:pt x="396" y="482"/>
                </a:lnTo>
                <a:lnTo>
                  <a:pt x="397" y="482"/>
                </a:lnTo>
                <a:lnTo>
                  <a:pt x="400" y="481"/>
                </a:lnTo>
                <a:lnTo>
                  <a:pt x="402" y="482"/>
                </a:lnTo>
                <a:lnTo>
                  <a:pt x="403" y="482"/>
                </a:lnTo>
                <a:lnTo>
                  <a:pt x="403" y="481"/>
                </a:lnTo>
                <a:lnTo>
                  <a:pt x="404" y="481"/>
                </a:lnTo>
                <a:lnTo>
                  <a:pt x="406" y="479"/>
                </a:lnTo>
                <a:lnTo>
                  <a:pt x="406" y="478"/>
                </a:lnTo>
                <a:lnTo>
                  <a:pt x="407" y="475"/>
                </a:lnTo>
                <a:lnTo>
                  <a:pt x="407" y="473"/>
                </a:lnTo>
                <a:lnTo>
                  <a:pt x="406" y="472"/>
                </a:lnTo>
                <a:lnTo>
                  <a:pt x="406" y="470"/>
                </a:lnTo>
                <a:lnTo>
                  <a:pt x="404" y="470"/>
                </a:lnTo>
                <a:lnTo>
                  <a:pt x="403" y="469"/>
                </a:lnTo>
                <a:lnTo>
                  <a:pt x="403" y="468"/>
                </a:lnTo>
                <a:lnTo>
                  <a:pt x="401" y="463"/>
                </a:lnTo>
                <a:lnTo>
                  <a:pt x="398" y="450"/>
                </a:lnTo>
                <a:lnTo>
                  <a:pt x="398" y="448"/>
                </a:lnTo>
                <a:lnTo>
                  <a:pt x="397" y="443"/>
                </a:lnTo>
                <a:lnTo>
                  <a:pt x="391" y="437"/>
                </a:lnTo>
                <a:lnTo>
                  <a:pt x="391" y="433"/>
                </a:lnTo>
                <a:lnTo>
                  <a:pt x="390" y="431"/>
                </a:lnTo>
                <a:lnTo>
                  <a:pt x="389" y="430"/>
                </a:lnTo>
                <a:lnTo>
                  <a:pt x="389" y="429"/>
                </a:lnTo>
                <a:lnTo>
                  <a:pt x="388" y="424"/>
                </a:lnTo>
                <a:lnTo>
                  <a:pt x="388" y="418"/>
                </a:lnTo>
                <a:lnTo>
                  <a:pt x="385" y="415"/>
                </a:lnTo>
                <a:lnTo>
                  <a:pt x="385" y="413"/>
                </a:lnTo>
                <a:lnTo>
                  <a:pt x="383" y="412"/>
                </a:lnTo>
                <a:lnTo>
                  <a:pt x="383" y="409"/>
                </a:lnTo>
                <a:lnTo>
                  <a:pt x="382" y="409"/>
                </a:lnTo>
                <a:lnTo>
                  <a:pt x="382" y="408"/>
                </a:lnTo>
                <a:lnTo>
                  <a:pt x="377" y="408"/>
                </a:lnTo>
                <a:lnTo>
                  <a:pt x="372" y="413"/>
                </a:lnTo>
                <a:lnTo>
                  <a:pt x="367" y="411"/>
                </a:lnTo>
                <a:lnTo>
                  <a:pt x="366" y="411"/>
                </a:lnTo>
                <a:lnTo>
                  <a:pt x="366" y="408"/>
                </a:lnTo>
                <a:lnTo>
                  <a:pt x="364" y="406"/>
                </a:lnTo>
                <a:lnTo>
                  <a:pt x="363" y="406"/>
                </a:lnTo>
                <a:lnTo>
                  <a:pt x="359" y="402"/>
                </a:lnTo>
                <a:lnTo>
                  <a:pt x="358" y="404"/>
                </a:lnTo>
                <a:lnTo>
                  <a:pt x="357" y="404"/>
                </a:lnTo>
                <a:lnTo>
                  <a:pt x="357" y="402"/>
                </a:lnTo>
                <a:lnTo>
                  <a:pt x="354" y="400"/>
                </a:lnTo>
                <a:lnTo>
                  <a:pt x="352" y="400"/>
                </a:lnTo>
                <a:lnTo>
                  <a:pt x="352" y="399"/>
                </a:lnTo>
                <a:lnTo>
                  <a:pt x="351" y="399"/>
                </a:lnTo>
                <a:lnTo>
                  <a:pt x="351" y="398"/>
                </a:lnTo>
                <a:lnTo>
                  <a:pt x="352" y="396"/>
                </a:lnTo>
                <a:lnTo>
                  <a:pt x="352" y="394"/>
                </a:lnTo>
                <a:lnTo>
                  <a:pt x="353" y="394"/>
                </a:lnTo>
                <a:lnTo>
                  <a:pt x="353" y="393"/>
                </a:lnTo>
                <a:lnTo>
                  <a:pt x="354" y="393"/>
                </a:lnTo>
                <a:lnTo>
                  <a:pt x="354" y="388"/>
                </a:lnTo>
                <a:lnTo>
                  <a:pt x="349" y="378"/>
                </a:lnTo>
                <a:lnTo>
                  <a:pt x="346" y="375"/>
                </a:lnTo>
                <a:lnTo>
                  <a:pt x="345" y="375"/>
                </a:lnTo>
                <a:lnTo>
                  <a:pt x="344" y="376"/>
                </a:lnTo>
                <a:lnTo>
                  <a:pt x="341" y="376"/>
                </a:lnTo>
                <a:lnTo>
                  <a:pt x="341" y="377"/>
                </a:lnTo>
                <a:lnTo>
                  <a:pt x="339" y="376"/>
                </a:lnTo>
                <a:lnTo>
                  <a:pt x="339" y="377"/>
                </a:lnTo>
                <a:lnTo>
                  <a:pt x="336" y="378"/>
                </a:lnTo>
                <a:lnTo>
                  <a:pt x="334" y="378"/>
                </a:lnTo>
                <a:lnTo>
                  <a:pt x="333" y="377"/>
                </a:lnTo>
                <a:lnTo>
                  <a:pt x="333" y="378"/>
                </a:lnTo>
                <a:lnTo>
                  <a:pt x="330" y="378"/>
                </a:lnTo>
                <a:lnTo>
                  <a:pt x="329" y="380"/>
                </a:lnTo>
                <a:lnTo>
                  <a:pt x="328" y="380"/>
                </a:lnTo>
                <a:lnTo>
                  <a:pt x="327" y="381"/>
                </a:lnTo>
                <a:lnTo>
                  <a:pt x="327" y="378"/>
                </a:lnTo>
                <a:lnTo>
                  <a:pt x="328" y="377"/>
                </a:lnTo>
                <a:lnTo>
                  <a:pt x="329" y="377"/>
                </a:lnTo>
                <a:lnTo>
                  <a:pt x="329" y="376"/>
                </a:lnTo>
                <a:lnTo>
                  <a:pt x="332" y="375"/>
                </a:lnTo>
                <a:lnTo>
                  <a:pt x="333" y="374"/>
                </a:lnTo>
                <a:lnTo>
                  <a:pt x="333" y="372"/>
                </a:lnTo>
                <a:lnTo>
                  <a:pt x="332" y="371"/>
                </a:lnTo>
                <a:lnTo>
                  <a:pt x="332" y="370"/>
                </a:lnTo>
                <a:lnTo>
                  <a:pt x="330" y="371"/>
                </a:lnTo>
                <a:lnTo>
                  <a:pt x="328" y="369"/>
                </a:lnTo>
                <a:lnTo>
                  <a:pt x="327" y="369"/>
                </a:lnTo>
                <a:lnTo>
                  <a:pt x="326" y="366"/>
                </a:lnTo>
                <a:lnTo>
                  <a:pt x="322" y="366"/>
                </a:lnTo>
                <a:lnTo>
                  <a:pt x="321" y="368"/>
                </a:lnTo>
                <a:lnTo>
                  <a:pt x="319" y="368"/>
                </a:lnTo>
                <a:lnTo>
                  <a:pt x="317" y="366"/>
                </a:lnTo>
                <a:lnTo>
                  <a:pt x="316" y="366"/>
                </a:lnTo>
                <a:lnTo>
                  <a:pt x="316" y="369"/>
                </a:lnTo>
                <a:lnTo>
                  <a:pt x="315" y="369"/>
                </a:lnTo>
                <a:lnTo>
                  <a:pt x="315" y="364"/>
                </a:lnTo>
                <a:lnTo>
                  <a:pt x="311" y="357"/>
                </a:lnTo>
                <a:lnTo>
                  <a:pt x="310" y="356"/>
                </a:lnTo>
                <a:lnTo>
                  <a:pt x="309" y="356"/>
                </a:lnTo>
                <a:lnTo>
                  <a:pt x="309" y="353"/>
                </a:lnTo>
                <a:lnTo>
                  <a:pt x="307" y="349"/>
                </a:lnTo>
                <a:lnTo>
                  <a:pt x="304" y="345"/>
                </a:lnTo>
                <a:lnTo>
                  <a:pt x="301" y="343"/>
                </a:lnTo>
                <a:lnTo>
                  <a:pt x="296" y="343"/>
                </a:lnTo>
                <a:lnTo>
                  <a:pt x="295" y="344"/>
                </a:lnTo>
                <a:lnTo>
                  <a:pt x="295" y="345"/>
                </a:lnTo>
                <a:lnTo>
                  <a:pt x="291" y="345"/>
                </a:lnTo>
                <a:lnTo>
                  <a:pt x="291" y="344"/>
                </a:lnTo>
                <a:lnTo>
                  <a:pt x="284" y="340"/>
                </a:lnTo>
                <a:lnTo>
                  <a:pt x="283" y="340"/>
                </a:lnTo>
                <a:lnTo>
                  <a:pt x="279" y="341"/>
                </a:lnTo>
                <a:lnTo>
                  <a:pt x="278" y="341"/>
                </a:lnTo>
                <a:lnTo>
                  <a:pt x="277" y="343"/>
                </a:lnTo>
                <a:lnTo>
                  <a:pt x="276" y="343"/>
                </a:lnTo>
                <a:lnTo>
                  <a:pt x="273" y="345"/>
                </a:lnTo>
                <a:lnTo>
                  <a:pt x="272" y="344"/>
                </a:lnTo>
                <a:lnTo>
                  <a:pt x="272" y="343"/>
                </a:lnTo>
                <a:lnTo>
                  <a:pt x="271" y="341"/>
                </a:lnTo>
                <a:lnTo>
                  <a:pt x="270" y="339"/>
                </a:lnTo>
                <a:lnTo>
                  <a:pt x="267" y="335"/>
                </a:lnTo>
                <a:lnTo>
                  <a:pt x="266" y="334"/>
                </a:lnTo>
                <a:lnTo>
                  <a:pt x="265" y="334"/>
                </a:lnTo>
                <a:lnTo>
                  <a:pt x="264" y="333"/>
                </a:lnTo>
                <a:lnTo>
                  <a:pt x="260" y="333"/>
                </a:lnTo>
                <a:lnTo>
                  <a:pt x="257" y="332"/>
                </a:lnTo>
                <a:lnTo>
                  <a:pt x="255" y="331"/>
                </a:lnTo>
                <a:lnTo>
                  <a:pt x="255" y="332"/>
                </a:lnTo>
                <a:lnTo>
                  <a:pt x="254" y="332"/>
                </a:lnTo>
                <a:lnTo>
                  <a:pt x="252" y="327"/>
                </a:lnTo>
                <a:lnTo>
                  <a:pt x="247" y="321"/>
                </a:lnTo>
                <a:lnTo>
                  <a:pt x="242" y="318"/>
                </a:lnTo>
                <a:lnTo>
                  <a:pt x="241" y="316"/>
                </a:lnTo>
                <a:lnTo>
                  <a:pt x="239" y="316"/>
                </a:lnTo>
                <a:lnTo>
                  <a:pt x="239" y="315"/>
                </a:lnTo>
                <a:lnTo>
                  <a:pt x="237" y="315"/>
                </a:lnTo>
                <a:lnTo>
                  <a:pt x="237" y="310"/>
                </a:lnTo>
                <a:lnTo>
                  <a:pt x="229" y="302"/>
                </a:lnTo>
                <a:lnTo>
                  <a:pt x="229" y="301"/>
                </a:lnTo>
                <a:lnTo>
                  <a:pt x="228" y="301"/>
                </a:lnTo>
                <a:lnTo>
                  <a:pt x="226" y="298"/>
                </a:lnTo>
                <a:lnTo>
                  <a:pt x="221" y="298"/>
                </a:lnTo>
                <a:lnTo>
                  <a:pt x="221" y="297"/>
                </a:lnTo>
                <a:lnTo>
                  <a:pt x="220" y="296"/>
                </a:lnTo>
                <a:lnTo>
                  <a:pt x="218" y="296"/>
                </a:lnTo>
                <a:lnTo>
                  <a:pt x="218" y="295"/>
                </a:lnTo>
                <a:lnTo>
                  <a:pt x="217" y="294"/>
                </a:lnTo>
                <a:lnTo>
                  <a:pt x="217" y="291"/>
                </a:lnTo>
                <a:lnTo>
                  <a:pt x="215" y="286"/>
                </a:lnTo>
                <a:lnTo>
                  <a:pt x="209" y="280"/>
                </a:lnTo>
                <a:lnTo>
                  <a:pt x="206" y="280"/>
                </a:lnTo>
                <a:lnTo>
                  <a:pt x="204" y="279"/>
                </a:lnTo>
                <a:lnTo>
                  <a:pt x="203" y="278"/>
                </a:lnTo>
                <a:lnTo>
                  <a:pt x="201" y="278"/>
                </a:lnTo>
                <a:lnTo>
                  <a:pt x="197" y="277"/>
                </a:lnTo>
                <a:lnTo>
                  <a:pt x="195" y="277"/>
                </a:lnTo>
                <a:lnTo>
                  <a:pt x="195" y="278"/>
                </a:lnTo>
                <a:lnTo>
                  <a:pt x="193" y="279"/>
                </a:lnTo>
                <a:lnTo>
                  <a:pt x="192" y="279"/>
                </a:lnTo>
                <a:lnTo>
                  <a:pt x="191" y="278"/>
                </a:lnTo>
                <a:lnTo>
                  <a:pt x="190" y="278"/>
                </a:lnTo>
                <a:lnTo>
                  <a:pt x="190" y="276"/>
                </a:lnTo>
                <a:lnTo>
                  <a:pt x="193" y="276"/>
                </a:lnTo>
                <a:lnTo>
                  <a:pt x="193" y="275"/>
                </a:lnTo>
                <a:lnTo>
                  <a:pt x="195" y="273"/>
                </a:lnTo>
                <a:lnTo>
                  <a:pt x="195" y="272"/>
                </a:lnTo>
                <a:lnTo>
                  <a:pt x="193" y="271"/>
                </a:lnTo>
                <a:lnTo>
                  <a:pt x="193" y="270"/>
                </a:lnTo>
                <a:lnTo>
                  <a:pt x="192" y="269"/>
                </a:lnTo>
                <a:lnTo>
                  <a:pt x="191" y="269"/>
                </a:lnTo>
                <a:lnTo>
                  <a:pt x="191" y="267"/>
                </a:lnTo>
                <a:lnTo>
                  <a:pt x="190" y="266"/>
                </a:lnTo>
                <a:lnTo>
                  <a:pt x="190" y="265"/>
                </a:lnTo>
                <a:lnTo>
                  <a:pt x="189" y="264"/>
                </a:lnTo>
                <a:lnTo>
                  <a:pt x="186" y="263"/>
                </a:lnTo>
                <a:lnTo>
                  <a:pt x="186" y="261"/>
                </a:lnTo>
                <a:lnTo>
                  <a:pt x="185" y="260"/>
                </a:lnTo>
                <a:lnTo>
                  <a:pt x="184" y="258"/>
                </a:lnTo>
                <a:lnTo>
                  <a:pt x="181" y="257"/>
                </a:lnTo>
                <a:lnTo>
                  <a:pt x="174" y="255"/>
                </a:lnTo>
                <a:lnTo>
                  <a:pt x="177" y="253"/>
                </a:lnTo>
                <a:lnTo>
                  <a:pt x="177" y="249"/>
                </a:lnTo>
                <a:lnTo>
                  <a:pt x="175" y="248"/>
                </a:lnTo>
                <a:lnTo>
                  <a:pt x="171" y="246"/>
                </a:lnTo>
                <a:lnTo>
                  <a:pt x="168" y="246"/>
                </a:lnTo>
                <a:lnTo>
                  <a:pt x="166" y="248"/>
                </a:lnTo>
                <a:lnTo>
                  <a:pt x="165" y="247"/>
                </a:lnTo>
                <a:lnTo>
                  <a:pt x="164" y="245"/>
                </a:lnTo>
                <a:lnTo>
                  <a:pt x="166" y="242"/>
                </a:lnTo>
                <a:lnTo>
                  <a:pt x="167" y="239"/>
                </a:lnTo>
                <a:lnTo>
                  <a:pt x="166" y="239"/>
                </a:lnTo>
                <a:lnTo>
                  <a:pt x="166" y="237"/>
                </a:lnTo>
                <a:lnTo>
                  <a:pt x="167" y="236"/>
                </a:lnTo>
                <a:lnTo>
                  <a:pt x="167" y="234"/>
                </a:lnTo>
                <a:lnTo>
                  <a:pt x="166" y="233"/>
                </a:lnTo>
                <a:lnTo>
                  <a:pt x="166" y="228"/>
                </a:lnTo>
                <a:lnTo>
                  <a:pt x="162" y="221"/>
                </a:lnTo>
                <a:lnTo>
                  <a:pt x="160" y="217"/>
                </a:lnTo>
                <a:lnTo>
                  <a:pt x="159" y="217"/>
                </a:lnTo>
                <a:lnTo>
                  <a:pt x="158" y="216"/>
                </a:lnTo>
                <a:lnTo>
                  <a:pt x="158" y="215"/>
                </a:lnTo>
                <a:lnTo>
                  <a:pt x="156" y="211"/>
                </a:lnTo>
                <a:lnTo>
                  <a:pt x="155" y="197"/>
                </a:lnTo>
                <a:lnTo>
                  <a:pt x="154" y="194"/>
                </a:lnTo>
                <a:lnTo>
                  <a:pt x="153" y="190"/>
                </a:lnTo>
                <a:lnTo>
                  <a:pt x="152" y="189"/>
                </a:lnTo>
                <a:lnTo>
                  <a:pt x="149" y="187"/>
                </a:lnTo>
                <a:lnTo>
                  <a:pt x="148" y="185"/>
                </a:lnTo>
                <a:lnTo>
                  <a:pt x="148" y="184"/>
                </a:lnTo>
                <a:lnTo>
                  <a:pt x="147" y="184"/>
                </a:lnTo>
                <a:lnTo>
                  <a:pt x="146" y="183"/>
                </a:lnTo>
                <a:lnTo>
                  <a:pt x="141" y="183"/>
                </a:lnTo>
                <a:lnTo>
                  <a:pt x="137" y="179"/>
                </a:lnTo>
                <a:lnTo>
                  <a:pt x="136" y="179"/>
                </a:lnTo>
                <a:lnTo>
                  <a:pt x="137" y="180"/>
                </a:lnTo>
                <a:lnTo>
                  <a:pt x="136" y="180"/>
                </a:lnTo>
                <a:lnTo>
                  <a:pt x="136" y="181"/>
                </a:lnTo>
                <a:lnTo>
                  <a:pt x="134" y="181"/>
                </a:lnTo>
                <a:lnTo>
                  <a:pt x="133" y="179"/>
                </a:lnTo>
                <a:lnTo>
                  <a:pt x="131" y="179"/>
                </a:lnTo>
                <a:lnTo>
                  <a:pt x="130" y="178"/>
                </a:lnTo>
                <a:lnTo>
                  <a:pt x="129" y="178"/>
                </a:lnTo>
                <a:lnTo>
                  <a:pt x="125" y="174"/>
                </a:lnTo>
                <a:lnTo>
                  <a:pt x="123" y="173"/>
                </a:lnTo>
                <a:lnTo>
                  <a:pt x="122" y="172"/>
                </a:lnTo>
                <a:lnTo>
                  <a:pt x="121" y="172"/>
                </a:lnTo>
                <a:lnTo>
                  <a:pt x="119" y="171"/>
                </a:lnTo>
                <a:lnTo>
                  <a:pt x="117" y="169"/>
                </a:lnTo>
                <a:lnTo>
                  <a:pt x="117" y="168"/>
                </a:lnTo>
                <a:lnTo>
                  <a:pt x="112" y="166"/>
                </a:lnTo>
                <a:lnTo>
                  <a:pt x="111" y="165"/>
                </a:lnTo>
                <a:lnTo>
                  <a:pt x="111" y="166"/>
                </a:lnTo>
                <a:lnTo>
                  <a:pt x="110" y="167"/>
                </a:lnTo>
                <a:lnTo>
                  <a:pt x="109" y="167"/>
                </a:lnTo>
                <a:lnTo>
                  <a:pt x="108" y="166"/>
                </a:lnTo>
                <a:lnTo>
                  <a:pt x="108" y="165"/>
                </a:lnTo>
                <a:lnTo>
                  <a:pt x="106" y="163"/>
                </a:lnTo>
                <a:lnTo>
                  <a:pt x="102" y="162"/>
                </a:lnTo>
                <a:lnTo>
                  <a:pt x="99" y="162"/>
                </a:lnTo>
                <a:lnTo>
                  <a:pt x="98" y="161"/>
                </a:lnTo>
                <a:lnTo>
                  <a:pt x="94" y="161"/>
                </a:lnTo>
                <a:lnTo>
                  <a:pt x="94" y="160"/>
                </a:lnTo>
                <a:lnTo>
                  <a:pt x="91" y="160"/>
                </a:lnTo>
                <a:lnTo>
                  <a:pt x="90" y="161"/>
                </a:lnTo>
                <a:lnTo>
                  <a:pt x="88" y="161"/>
                </a:lnTo>
                <a:lnTo>
                  <a:pt x="88" y="162"/>
                </a:lnTo>
                <a:lnTo>
                  <a:pt x="87" y="162"/>
                </a:lnTo>
                <a:lnTo>
                  <a:pt x="85" y="165"/>
                </a:lnTo>
                <a:lnTo>
                  <a:pt x="84" y="165"/>
                </a:lnTo>
                <a:lnTo>
                  <a:pt x="83" y="166"/>
                </a:lnTo>
                <a:lnTo>
                  <a:pt x="79" y="168"/>
                </a:lnTo>
                <a:lnTo>
                  <a:pt x="78" y="169"/>
                </a:lnTo>
                <a:lnTo>
                  <a:pt x="79" y="169"/>
                </a:lnTo>
                <a:lnTo>
                  <a:pt x="78" y="171"/>
                </a:lnTo>
                <a:lnTo>
                  <a:pt x="78" y="172"/>
                </a:lnTo>
                <a:lnTo>
                  <a:pt x="77" y="172"/>
                </a:lnTo>
                <a:lnTo>
                  <a:pt x="77" y="175"/>
                </a:lnTo>
                <a:lnTo>
                  <a:pt x="75" y="175"/>
                </a:lnTo>
                <a:lnTo>
                  <a:pt x="73" y="177"/>
                </a:lnTo>
                <a:lnTo>
                  <a:pt x="72" y="177"/>
                </a:lnTo>
                <a:lnTo>
                  <a:pt x="69" y="179"/>
                </a:lnTo>
                <a:lnTo>
                  <a:pt x="69" y="183"/>
                </a:lnTo>
                <a:lnTo>
                  <a:pt x="68" y="183"/>
                </a:lnTo>
                <a:lnTo>
                  <a:pt x="67" y="185"/>
                </a:lnTo>
                <a:lnTo>
                  <a:pt x="66" y="186"/>
                </a:lnTo>
                <a:lnTo>
                  <a:pt x="67" y="187"/>
                </a:lnTo>
                <a:lnTo>
                  <a:pt x="67" y="189"/>
                </a:lnTo>
                <a:lnTo>
                  <a:pt x="66" y="189"/>
                </a:lnTo>
                <a:lnTo>
                  <a:pt x="65" y="190"/>
                </a:lnTo>
                <a:lnTo>
                  <a:pt x="63" y="190"/>
                </a:lnTo>
                <a:lnTo>
                  <a:pt x="63" y="191"/>
                </a:lnTo>
                <a:lnTo>
                  <a:pt x="62" y="191"/>
                </a:lnTo>
                <a:lnTo>
                  <a:pt x="62" y="192"/>
                </a:lnTo>
                <a:lnTo>
                  <a:pt x="61" y="192"/>
                </a:lnTo>
                <a:lnTo>
                  <a:pt x="57" y="194"/>
                </a:lnTo>
                <a:lnTo>
                  <a:pt x="50" y="196"/>
                </a:lnTo>
                <a:lnTo>
                  <a:pt x="48" y="197"/>
                </a:lnTo>
                <a:lnTo>
                  <a:pt x="47" y="198"/>
                </a:lnTo>
                <a:lnTo>
                  <a:pt x="38" y="198"/>
                </a:lnTo>
                <a:lnTo>
                  <a:pt x="37" y="194"/>
                </a:lnTo>
                <a:lnTo>
                  <a:pt x="37" y="193"/>
                </a:lnTo>
                <a:lnTo>
                  <a:pt x="38" y="192"/>
                </a:lnTo>
                <a:lnTo>
                  <a:pt x="40" y="190"/>
                </a:lnTo>
                <a:lnTo>
                  <a:pt x="41" y="189"/>
                </a:lnTo>
                <a:lnTo>
                  <a:pt x="43" y="187"/>
                </a:lnTo>
                <a:lnTo>
                  <a:pt x="44" y="186"/>
                </a:lnTo>
                <a:lnTo>
                  <a:pt x="44" y="184"/>
                </a:lnTo>
                <a:lnTo>
                  <a:pt x="47" y="181"/>
                </a:lnTo>
                <a:lnTo>
                  <a:pt x="47" y="180"/>
                </a:lnTo>
                <a:lnTo>
                  <a:pt x="44" y="178"/>
                </a:lnTo>
                <a:lnTo>
                  <a:pt x="44" y="175"/>
                </a:lnTo>
                <a:lnTo>
                  <a:pt x="43" y="175"/>
                </a:lnTo>
                <a:lnTo>
                  <a:pt x="42" y="177"/>
                </a:lnTo>
                <a:lnTo>
                  <a:pt x="41" y="177"/>
                </a:lnTo>
                <a:lnTo>
                  <a:pt x="34" y="178"/>
                </a:lnTo>
                <a:lnTo>
                  <a:pt x="30" y="178"/>
                </a:lnTo>
                <a:lnTo>
                  <a:pt x="30" y="177"/>
                </a:lnTo>
                <a:lnTo>
                  <a:pt x="28" y="177"/>
                </a:lnTo>
                <a:lnTo>
                  <a:pt x="23" y="173"/>
                </a:lnTo>
                <a:lnTo>
                  <a:pt x="22" y="173"/>
                </a:lnTo>
                <a:lnTo>
                  <a:pt x="19" y="172"/>
                </a:lnTo>
                <a:lnTo>
                  <a:pt x="17" y="172"/>
                </a:lnTo>
                <a:lnTo>
                  <a:pt x="16" y="171"/>
                </a:lnTo>
                <a:lnTo>
                  <a:pt x="16" y="169"/>
                </a:lnTo>
                <a:lnTo>
                  <a:pt x="15" y="168"/>
                </a:lnTo>
                <a:lnTo>
                  <a:pt x="13" y="168"/>
                </a:lnTo>
                <a:lnTo>
                  <a:pt x="13" y="166"/>
                </a:lnTo>
                <a:lnTo>
                  <a:pt x="12" y="165"/>
                </a:lnTo>
                <a:lnTo>
                  <a:pt x="12" y="161"/>
                </a:lnTo>
                <a:lnTo>
                  <a:pt x="13" y="160"/>
                </a:lnTo>
                <a:lnTo>
                  <a:pt x="11" y="157"/>
                </a:lnTo>
                <a:lnTo>
                  <a:pt x="11" y="156"/>
                </a:lnTo>
                <a:lnTo>
                  <a:pt x="10" y="154"/>
                </a:lnTo>
                <a:lnTo>
                  <a:pt x="11" y="154"/>
                </a:lnTo>
                <a:lnTo>
                  <a:pt x="13" y="151"/>
                </a:lnTo>
                <a:lnTo>
                  <a:pt x="15" y="149"/>
                </a:lnTo>
                <a:lnTo>
                  <a:pt x="15" y="147"/>
                </a:lnTo>
                <a:lnTo>
                  <a:pt x="17" y="144"/>
                </a:lnTo>
                <a:lnTo>
                  <a:pt x="19" y="146"/>
                </a:lnTo>
                <a:lnTo>
                  <a:pt x="19" y="144"/>
                </a:lnTo>
                <a:lnTo>
                  <a:pt x="18" y="142"/>
                </a:lnTo>
                <a:lnTo>
                  <a:pt x="18" y="140"/>
                </a:lnTo>
                <a:lnTo>
                  <a:pt x="17" y="138"/>
                </a:lnTo>
                <a:lnTo>
                  <a:pt x="17" y="136"/>
                </a:lnTo>
                <a:lnTo>
                  <a:pt x="15" y="135"/>
                </a:lnTo>
                <a:lnTo>
                  <a:pt x="11" y="135"/>
                </a:lnTo>
                <a:lnTo>
                  <a:pt x="7" y="134"/>
                </a:lnTo>
                <a:lnTo>
                  <a:pt x="6" y="132"/>
                </a:lnTo>
                <a:lnTo>
                  <a:pt x="6" y="128"/>
                </a:lnTo>
                <a:lnTo>
                  <a:pt x="5" y="125"/>
                </a:lnTo>
                <a:lnTo>
                  <a:pt x="3" y="125"/>
                </a:lnTo>
                <a:lnTo>
                  <a:pt x="3" y="124"/>
                </a:lnTo>
                <a:lnTo>
                  <a:pt x="1" y="123"/>
                </a:lnTo>
                <a:lnTo>
                  <a:pt x="1" y="122"/>
                </a:lnTo>
                <a:lnTo>
                  <a:pt x="0" y="120"/>
                </a:lnTo>
                <a:lnTo>
                  <a:pt x="3" y="118"/>
                </a:lnTo>
                <a:lnTo>
                  <a:pt x="5" y="118"/>
                </a:lnTo>
                <a:lnTo>
                  <a:pt x="6" y="117"/>
                </a:lnTo>
                <a:lnTo>
                  <a:pt x="7" y="117"/>
                </a:lnTo>
                <a:lnTo>
                  <a:pt x="9" y="118"/>
                </a:lnTo>
                <a:lnTo>
                  <a:pt x="11" y="119"/>
                </a:lnTo>
                <a:lnTo>
                  <a:pt x="12" y="118"/>
                </a:lnTo>
                <a:lnTo>
                  <a:pt x="12" y="117"/>
                </a:lnTo>
                <a:lnTo>
                  <a:pt x="13" y="117"/>
                </a:lnTo>
                <a:lnTo>
                  <a:pt x="15" y="116"/>
                </a:lnTo>
                <a:lnTo>
                  <a:pt x="15" y="114"/>
                </a:lnTo>
                <a:lnTo>
                  <a:pt x="16" y="114"/>
                </a:lnTo>
                <a:lnTo>
                  <a:pt x="17" y="113"/>
                </a:lnTo>
                <a:lnTo>
                  <a:pt x="19" y="113"/>
                </a:lnTo>
                <a:lnTo>
                  <a:pt x="22" y="111"/>
                </a:lnTo>
                <a:lnTo>
                  <a:pt x="22" y="107"/>
                </a:lnTo>
                <a:lnTo>
                  <a:pt x="23" y="105"/>
                </a:lnTo>
                <a:lnTo>
                  <a:pt x="24" y="104"/>
                </a:lnTo>
                <a:lnTo>
                  <a:pt x="24" y="101"/>
                </a:lnTo>
                <a:lnTo>
                  <a:pt x="22" y="101"/>
                </a:lnTo>
                <a:lnTo>
                  <a:pt x="22" y="100"/>
                </a:lnTo>
                <a:lnTo>
                  <a:pt x="21" y="100"/>
                </a:lnTo>
                <a:lnTo>
                  <a:pt x="21" y="98"/>
                </a:lnTo>
                <a:lnTo>
                  <a:pt x="18" y="97"/>
                </a:lnTo>
                <a:lnTo>
                  <a:pt x="17" y="95"/>
                </a:lnTo>
                <a:lnTo>
                  <a:pt x="16" y="95"/>
                </a:lnTo>
                <a:lnTo>
                  <a:pt x="16" y="88"/>
                </a:lnTo>
                <a:lnTo>
                  <a:pt x="13" y="87"/>
                </a:lnTo>
                <a:lnTo>
                  <a:pt x="12" y="86"/>
                </a:lnTo>
                <a:lnTo>
                  <a:pt x="11" y="86"/>
                </a:lnTo>
                <a:lnTo>
                  <a:pt x="9" y="83"/>
                </a:lnTo>
                <a:lnTo>
                  <a:pt x="9" y="76"/>
                </a:lnTo>
                <a:lnTo>
                  <a:pt x="11" y="76"/>
                </a:lnTo>
                <a:lnTo>
                  <a:pt x="11" y="75"/>
                </a:lnTo>
                <a:lnTo>
                  <a:pt x="12" y="76"/>
                </a:lnTo>
                <a:lnTo>
                  <a:pt x="13" y="76"/>
                </a:lnTo>
                <a:lnTo>
                  <a:pt x="17" y="73"/>
                </a:lnTo>
                <a:lnTo>
                  <a:pt x="17" y="71"/>
                </a:lnTo>
                <a:lnTo>
                  <a:pt x="18" y="71"/>
                </a:lnTo>
                <a:lnTo>
                  <a:pt x="18" y="70"/>
                </a:lnTo>
                <a:lnTo>
                  <a:pt x="21" y="73"/>
                </a:lnTo>
                <a:lnTo>
                  <a:pt x="21" y="74"/>
                </a:lnTo>
                <a:lnTo>
                  <a:pt x="25" y="74"/>
                </a:lnTo>
                <a:lnTo>
                  <a:pt x="28" y="73"/>
                </a:lnTo>
                <a:lnTo>
                  <a:pt x="29" y="71"/>
                </a:lnTo>
                <a:lnTo>
                  <a:pt x="34" y="71"/>
                </a:lnTo>
                <a:lnTo>
                  <a:pt x="36" y="69"/>
                </a:lnTo>
                <a:lnTo>
                  <a:pt x="38" y="69"/>
                </a:lnTo>
                <a:lnTo>
                  <a:pt x="38" y="68"/>
                </a:lnTo>
                <a:lnTo>
                  <a:pt x="40" y="68"/>
                </a:lnTo>
                <a:lnTo>
                  <a:pt x="40" y="67"/>
                </a:lnTo>
                <a:lnTo>
                  <a:pt x="44" y="68"/>
                </a:lnTo>
                <a:lnTo>
                  <a:pt x="47" y="70"/>
                </a:lnTo>
                <a:lnTo>
                  <a:pt x="48" y="70"/>
                </a:lnTo>
                <a:lnTo>
                  <a:pt x="50" y="71"/>
                </a:lnTo>
                <a:lnTo>
                  <a:pt x="53" y="71"/>
                </a:lnTo>
                <a:lnTo>
                  <a:pt x="53" y="70"/>
                </a:lnTo>
                <a:lnTo>
                  <a:pt x="54" y="68"/>
                </a:lnTo>
                <a:lnTo>
                  <a:pt x="55" y="68"/>
                </a:lnTo>
                <a:lnTo>
                  <a:pt x="59" y="67"/>
                </a:lnTo>
                <a:lnTo>
                  <a:pt x="60" y="65"/>
                </a:lnTo>
                <a:lnTo>
                  <a:pt x="60" y="62"/>
                </a:lnTo>
                <a:lnTo>
                  <a:pt x="61" y="61"/>
                </a:lnTo>
                <a:lnTo>
                  <a:pt x="62" y="61"/>
                </a:lnTo>
                <a:lnTo>
                  <a:pt x="65" y="58"/>
                </a:lnTo>
                <a:lnTo>
                  <a:pt x="65" y="55"/>
                </a:lnTo>
                <a:lnTo>
                  <a:pt x="63" y="52"/>
                </a:lnTo>
                <a:lnTo>
                  <a:pt x="62" y="51"/>
                </a:lnTo>
                <a:lnTo>
                  <a:pt x="62" y="50"/>
                </a:lnTo>
                <a:lnTo>
                  <a:pt x="63" y="50"/>
                </a:lnTo>
                <a:lnTo>
                  <a:pt x="63" y="49"/>
                </a:lnTo>
                <a:lnTo>
                  <a:pt x="65" y="49"/>
                </a:lnTo>
                <a:lnTo>
                  <a:pt x="67" y="48"/>
                </a:lnTo>
                <a:lnTo>
                  <a:pt x="71" y="44"/>
                </a:lnTo>
                <a:lnTo>
                  <a:pt x="72" y="44"/>
                </a:lnTo>
                <a:lnTo>
                  <a:pt x="72" y="40"/>
                </a:lnTo>
                <a:lnTo>
                  <a:pt x="73" y="40"/>
                </a:lnTo>
                <a:lnTo>
                  <a:pt x="74" y="39"/>
                </a:lnTo>
                <a:lnTo>
                  <a:pt x="78" y="39"/>
                </a:lnTo>
                <a:lnTo>
                  <a:pt x="78" y="52"/>
                </a:lnTo>
                <a:lnTo>
                  <a:pt x="79" y="52"/>
                </a:lnTo>
                <a:lnTo>
                  <a:pt x="80" y="54"/>
                </a:lnTo>
                <a:lnTo>
                  <a:pt x="81" y="54"/>
                </a:lnTo>
                <a:lnTo>
                  <a:pt x="83" y="55"/>
                </a:lnTo>
                <a:lnTo>
                  <a:pt x="85" y="58"/>
                </a:lnTo>
                <a:lnTo>
                  <a:pt x="85" y="60"/>
                </a:lnTo>
                <a:lnTo>
                  <a:pt x="86" y="60"/>
                </a:lnTo>
                <a:lnTo>
                  <a:pt x="88" y="61"/>
                </a:lnTo>
                <a:lnTo>
                  <a:pt x="90" y="61"/>
                </a:lnTo>
                <a:lnTo>
                  <a:pt x="90" y="60"/>
                </a:lnTo>
                <a:lnTo>
                  <a:pt x="91" y="60"/>
                </a:lnTo>
                <a:lnTo>
                  <a:pt x="91" y="61"/>
                </a:lnTo>
                <a:lnTo>
                  <a:pt x="93" y="61"/>
                </a:lnTo>
                <a:lnTo>
                  <a:pt x="94" y="62"/>
                </a:lnTo>
                <a:lnTo>
                  <a:pt x="94" y="64"/>
                </a:lnTo>
                <a:lnTo>
                  <a:pt x="92" y="67"/>
                </a:lnTo>
                <a:lnTo>
                  <a:pt x="92" y="68"/>
                </a:lnTo>
                <a:lnTo>
                  <a:pt x="93" y="68"/>
                </a:lnTo>
                <a:lnTo>
                  <a:pt x="96" y="69"/>
                </a:lnTo>
                <a:lnTo>
                  <a:pt x="97" y="70"/>
                </a:lnTo>
                <a:lnTo>
                  <a:pt x="97" y="71"/>
                </a:lnTo>
                <a:lnTo>
                  <a:pt x="98" y="73"/>
                </a:lnTo>
                <a:lnTo>
                  <a:pt x="98" y="76"/>
                </a:lnTo>
                <a:lnTo>
                  <a:pt x="99" y="76"/>
                </a:lnTo>
                <a:lnTo>
                  <a:pt x="100" y="77"/>
                </a:lnTo>
                <a:lnTo>
                  <a:pt x="102" y="77"/>
                </a:lnTo>
                <a:lnTo>
                  <a:pt x="103" y="75"/>
                </a:lnTo>
                <a:lnTo>
                  <a:pt x="104" y="74"/>
                </a:lnTo>
                <a:lnTo>
                  <a:pt x="104" y="71"/>
                </a:lnTo>
                <a:lnTo>
                  <a:pt x="103" y="71"/>
                </a:lnTo>
                <a:lnTo>
                  <a:pt x="102" y="70"/>
                </a:lnTo>
                <a:lnTo>
                  <a:pt x="102" y="69"/>
                </a:lnTo>
                <a:lnTo>
                  <a:pt x="100" y="69"/>
                </a:lnTo>
                <a:lnTo>
                  <a:pt x="100" y="68"/>
                </a:lnTo>
                <a:lnTo>
                  <a:pt x="103" y="67"/>
                </a:lnTo>
                <a:lnTo>
                  <a:pt x="102" y="64"/>
                </a:lnTo>
                <a:lnTo>
                  <a:pt x="103" y="63"/>
                </a:lnTo>
                <a:lnTo>
                  <a:pt x="104" y="63"/>
                </a:lnTo>
                <a:lnTo>
                  <a:pt x="104" y="62"/>
                </a:lnTo>
                <a:lnTo>
                  <a:pt x="105" y="61"/>
                </a:lnTo>
                <a:lnTo>
                  <a:pt x="104" y="60"/>
                </a:lnTo>
                <a:lnTo>
                  <a:pt x="105" y="60"/>
                </a:lnTo>
                <a:lnTo>
                  <a:pt x="105" y="58"/>
                </a:lnTo>
                <a:lnTo>
                  <a:pt x="109" y="56"/>
                </a:lnTo>
                <a:lnTo>
                  <a:pt x="109" y="54"/>
                </a:lnTo>
                <a:lnTo>
                  <a:pt x="110" y="54"/>
                </a:lnTo>
                <a:lnTo>
                  <a:pt x="111" y="52"/>
                </a:lnTo>
                <a:lnTo>
                  <a:pt x="114" y="48"/>
                </a:lnTo>
                <a:lnTo>
                  <a:pt x="114" y="45"/>
                </a:lnTo>
                <a:lnTo>
                  <a:pt x="112" y="43"/>
                </a:lnTo>
                <a:lnTo>
                  <a:pt x="112" y="40"/>
                </a:lnTo>
                <a:lnTo>
                  <a:pt x="111" y="39"/>
                </a:lnTo>
                <a:lnTo>
                  <a:pt x="112" y="38"/>
                </a:lnTo>
                <a:lnTo>
                  <a:pt x="112" y="37"/>
                </a:lnTo>
                <a:lnTo>
                  <a:pt x="114" y="36"/>
                </a:lnTo>
                <a:lnTo>
                  <a:pt x="116" y="36"/>
                </a:lnTo>
                <a:lnTo>
                  <a:pt x="116" y="37"/>
                </a:lnTo>
                <a:lnTo>
                  <a:pt x="117" y="38"/>
                </a:lnTo>
                <a:lnTo>
                  <a:pt x="118" y="38"/>
                </a:lnTo>
                <a:lnTo>
                  <a:pt x="118" y="37"/>
                </a:lnTo>
                <a:lnTo>
                  <a:pt x="119" y="37"/>
                </a:lnTo>
                <a:lnTo>
                  <a:pt x="119" y="36"/>
                </a:lnTo>
                <a:lnTo>
                  <a:pt x="121" y="37"/>
                </a:lnTo>
                <a:lnTo>
                  <a:pt x="121" y="44"/>
                </a:lnTo>
                <a:lnTo>
                  <a:pt x="122" y="44"/>
                </a:lnTo>
                <a:lnTo>
                  <a:pt x="122" y="45"/>
                </a:lnTo>
                <a:lnTo>
                  <a:pt x="123" y="46"/>
                </a:lnTo>
                <a:lnTo>
                  <a:pt x="123" y="48"/>
                </a:lnTo>
                <a:lnTo>
                  <a:pt x="124" y="48"/>
                </a:lnTo>
                <a:lnTo>
                  <a:pt x="125" y="49"/>
                </a:lnTo>
                <a:lnTo>
                  <a:pt x="131" y="49"/>
                </a:lnTo>
                <a:lnTo>
                  <a:pt x="131" y="45"/>
                </a:lnTo>
                <a:lnTo>
                  <a:pt x="135" y="45"/>
                </a:lnTo>
                <a:lnTo>
                  <a:pt x="137" y="44"/>
                </a:lnTo>
                <a:lnTo>
                  <a:pt x="141" y="44"/>
                </a:lnTo>
                <a:lnTo>
                  <a:pt x="142" y="45"/>
                </a:lnTo>
                <a:lnTo>
                  <a:pt x="142" y="46"/>
                </a:lnTo>
                <a:lnTo>
                  <a:pt x="143" y="49"/>
                </a:lnTo>
                <a:lnTo>
                  <a:pt x="146" y="50"/>
                </a:lnTo>
                <a:lnTo>
                  <a:pt x="146" y="52"/>
                </a:lnTo>
                <a:lnTo>
                  <a:pt x="149" y="52"/>
                </a:lnTo>
                <a:lnTo>
                  <a:pt x="150" y="51"/>
                </a:lnTo>
                <a:lnTo>
                  <a:pt x="150" y="49"/>
                </a:lnTo>
                <a:lnTo>
                  <a:pt x="148" y="48"/>
                </a:lnTo>
                <a:lnTo>
                  <a:pt x="148" y="44"/>
                </a:lnTo>
                <a:lnTo>
                  <a:pt x="149" y="44"/>
                </a:lnTo>
                <a:lnTo>
                  <a:pt x="149" y="40"/>
                </a:lnTo>
                <a:lnTo>
                  <a:pt x="146" y="40"/>
                </a:lnTo>
                <a:lnTo>
                  <a:pt x="144" y="39"/>
                </a:lnTo>
                <a:lnTo>
                  <a:pt x="146" y="38"/>
                </a:lnTo>
                <a:lnTo>
                  <a:pt x="146" y="37"/>
                </a:lnTo>
                <a:lnTo>
                  <a:pt x="144" y="37"/>
                </a:lnTo>
                <a:lnTo>
                  <a:pt x="146" y="36"/>
                </a:lnTo>
                <a:lnTo>
                  <a:pt x="146" y="33"/>
                </a:lnTo>
                <a:lnTo>
                  <a:pt x="147" y="32"/>
                </a:lnTo>
                <a:lnTo>
                  <a:pt x="147" y="30"/>
                </a:lnTo>
                <a:lnTo>
                  <a:pt x="148" y="30"/>
                </a:lnTo>
                <a:lnTo>
                  <a:pt x="152" y="28"/>
                </a:lnTo>
                <a:lnTo>
                  <a:pt x="154" y="28"/>
                </a:lnTo>
                <a:lnTo>
                  <a:pt x="154" y="31"/>
                </a:lnTo>
                <a:lnTo>
                  <a:pt x="155" y="32"/>
                </a:lnTo>
                <a:lnTo>
                  <a:pt x="156" y="32"/>
                </a:lnTo>
                <a:lnTo>
                  <a:pt x="156" y="33"/>
                </a:lnTo>
                <a:lnTo>
                  <a:pt x="162" y="33"/>
                </a:lnTo>
                <a:lnTo>
                  <a:pt x="164" y="32"/>
                </a:lnTo>
                <a:lnTo>
                  <a:pt x="164" y="28"/>
                </a:lnTo>
                <a:lnTo>
                  <a:pt x="162" y="27"/>
                </a:lnTo>
                <a:lnTo>
                  <a:pt x="160" y="27"/>
                </a:lnTo>
                <a:lnTo>
                  <a:pt x="160" y="22"/>
                </a:lnTo>
                <a:lnTo>
                  <a:pt x="162" y="20"/>
                </a:lnTo>
                <a:lnTo>
                  <a:pt x="162" y="19"/>
                </a:lnTo>
                <a:lnTo>
                  <a:pt x="161" y="19"/>
                </a:lnTo>
                <a:lnTo>
                  <a:pt x="161" y="18"/>
                </a:lnTo>
                <a:lnTo>
                  <a:pt x="162" y="17"/>
                </a:lnTo>
                <a:lnTo>
                  <a:pt x="162" y="15"/>
                </a:lnTo>
                <a:lnTo>
                  <a:pt x="164" y="13"/>
                </a:lnTo>
                <a:lnTo>
                  <a:pt x="166" y="15"/>
                </a:lnTo>
                <a:lnTo>
                  <a:pt x="171" y="14"/>
                </a:lnTo>
                <a:lnTo>
                  <a:pt x="171" y="13"/>
                </a:lnTo>
                <a:lnTo>
                  <a:pt x="172" y="14"/>
                </a:lnTo>
                <a:lnTo>
                  <a:pt x="175" y="15"/>
                </a:lnTo>
                <a:lnTo>
                  <a:pt x="175" y="17"/>
                </a:lnTo>
                <a:lnTo>
                  <a:pt x="174" y="18"/>
                </a:lnTo>
                <a:lnTo>
                  <a:pt x="177" y="18"/>
                </a:lnTo>
                <a:lnTo>
                  <a:pt x="178" y="19"/>
                </a:lnTo>
                <a:lnTo>
                  <a:pt x="180" y="19"/>
                </a:lnTo>
                <a:lnTo>
                  <a:pt x="180" y="20"/>
                </a:lnTo>
                <a:lnTo>
                  <a:pt x="181" y="20"/>
                </a:lnTo>
                <a:lnTo>
                  <a:pt x="183" y="19"/>
                </a:lnTo>
                <a:lnTo>
                  <a:pt x="186" y="19"/>
                </a:lnTo>
                <a:lnTo>
                  <a:pt x="187" y="17"/>
                </a:lnTo>
                <a:lnTo>
                  <a:pt x="189" y="17"/>
                </a:lnTo>
                <a:lnTo>
                  <a:pt x="189" y="13"/>
                </a:lnTo>
                <a:lnTo>
                  <a:pt x="190" y="12"/>
                </a:lnTo>
                <a:lnTo>
                  <a:pt x="190" y="11"/>
                </a:lnTo>
                <a:lnTo>
                  <a:pt x="193" y="7"/>
                </a:lnTo>
                <a:lnTo>
                  <a:pt x="196" y="6"/>
                </a:lnTo>
                <a:lnTo>
                  <a:pt x="201" y="6"/>
                </a:lnTo>
                <a:lnTo>
                  <a:pt x="202" y="7"/>
                </a:lnTo>
                <a:lnTo>
                  <a:pt x="203" y="7"/>
                </a:lnTo>
                <a:lnTo>
                  <a:pt x="205" y="6"/>
                </a:lnTo>
                <a:lnTo>
                  <a:pt x="205" y="5"/>
                </a:lnTo>
                <a:lnTo>
                  <a:pt x="206" y="5"/>
                </a:lnTo>
                <a:lnTo>
                  <a:pt x="208" y="6"/>
                </a:lnTo>
                <a:lnTo>
                  <a:pt x="209" y="6"/>
                </a:lnTo>
                <a:lnTo>
                  <a:pt x="210" y="5"/>
                </a:lnTo>
                <a:lnTo>
                  <a:pt x="211" y="5"/>
                </a:lnTo>
                <a:lnTo>
                  <a:pt x="214" y="6"/>
                </a:lnTo>
                <a:lnTo>
                  <a:pt x="215" y="6"/>
                </a:lnTo>
                <a:lnTo>
                  <a:pt x="216" y="7"/>
                </a:lnTo>
                <a:lnTo>
                  <a:pt x="217" y="7"/>
                </a:lnTo>
                <a:lnTo>
                  <a:pt x="218" y="6"/>
                </a:lnTo>
                <a:lnTo>
                  <a:pt x="221" y="6"/>
                </a:lnTo>
                <a:lnTo>
                  <a:pt x="222" y="5"/>
                </a:lnTo>
                <a:lnTo>
                  <a:pt x="224" y="3"/>
                </a:lnTo>
                <a:lnTo>
                  <a:pt x="226" y="2"/>
                </a:lnTo>
                <a:lnTo>
                  <a:pt x="229" y="2"/>
                </a:lnTo>
                <a:lnTo>
                  <a:pt x="233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" name="Freeform 35">
            <a:extLst>
              <a:ext uri="{FF2B5EF4-FFF2-40B4-BE49-F238E27FC236}">
                <a16:creationId xmlns:a16="http://schemas.microsoft.com/office/drawing/2014/main" id="{58DEDE71-53CE-469A-9C91-298B19F51A01}"/>
              </a:ext>
            </a:extLst>
          </p:cNvPr>
          <p:cNvSpPr>
            <a:spLocks noEditPoints="1"/>
          </p:cNvSpPr>
          <p:nvPr/>
        </p:nvSpPr>
        <p:spPr bwMode="auto">
          <a:xfrm>
            <a:off x="591264" y="4171351"/>
            <a:ext cx="273850" cy="405703"/>
          </a:xfrm>
          <a:custGeom>
            <a:avLst/>
            <a:gdLst/>
            <a:ahLst/>
            <a:cxnLst>
              <a:cxn ang="0">
                <a:pos x="34" y="165"/>
              </a:cxn>
              <a:cxn ang="0">
                <a:pos x="33" y="155"/>
              </a:cxn>
              <a:cxn ang="0">
                <a:pos x="29" y="108"/>
              </a:cxn>
              <a:cxn ang="0">
                <a:pos x="22" y="83"/>
              </a:cxn>
              <a:cxn ang="0">
                <a:pos x="87" y="60"/>
              </a:cxn>
              <a:cxn ang="0">
                <a:pos x="136" y="3"/>
              </a:cxn>
              <a:cxn ang="0">
                <a:pos x="131" y="27"/>
              </a:cxn>
              <a:cxn ang="0">
                <a:pos x="112" y="55"/>
              </a:cxn>
              <a:cxn ang="0">
                <a:pos x="101" y="75"/>
              </a:cxn>
              <a:cxn ang="0">
                <a:pos x="134" y="94"/>
              </a:cxn>
              <a:cxn ang="0">
                <a:pos x="146" y="72"/>
              </a:cxn>
              <a:cxn ang="0">
                <a:pos x="160" y="94"/>
              </a:cxn>
              <a:cxn ang="0">
                <a:pos x="182" y="100"/>
              </a:cxn>
              <a:cxn ang="0">
                <a:pos x="180" y="128"/>
              </a:cxn>
              <a:cxn ang="0">
                <a:pos x="180" y="150"/>
              </a:cxn>
              <a:cxn ang="0">
                <a:pos x="183" y="186"/>
              </a:cxn>
              <a:cxn ang="0">
                <a:pos x="174" y="229"/>
              </a:cxn>
              <a:cxn ang="0">
                <a:pos x="157" y="225"/>
              </a:cxn>
              <a:cxn ang="0">
                <a:pos x="148" y="227"/>
              </a:cxn>
              <a:cxn ang="0">
                <a:pos x="124" y="236"/>
              </a:cxn>
              <a:cxn ang="0">
                <a:pos x="111" y="244"/>
              </a:cxn>
              <a:cxn ang="0">
                <a:pos x="97" y="252"/>
              </a:cxn>
              <a:cxn ang="0">
                <a:pos x="91" y="256"/>
              </a:cxn>
              <a:cxn ang="0">
                <a:pos x="75" y="268"/>
              </a:cxn>
              <a:cxn ang="0">
                <a:pos x="58" y="274"/>
              </a:cxn>
              <a:cxn ang="0">
                <a:pos x="44" y="274"/>
              </a:cxn>
              <a:cxn ang="0">
                <a:pos x="27" y="278"/>
              </a:cxn>
              <a:cxn ang="0">
                <a:pos x="40" y="264"/>
              </a:cxn>
              <a:cxn ang="0">
                <a:pos x="15" y="269"/>
              </a:cxn>
              <a:cxn ang="0">
                <a:pos x="28" y="256"/>
              </a:cxn>
              <a:cxn ang="0">
                <a:pos x="18" y="257"/>
              </a:cxn>
              <a:cxn ang="0">
                <a:pos x="5" y="248"/>
              </a:cxn>
              <a:cxn ang="0">
                <a:pos x="21" y="236"/>
              </a:cxn>
              <a:cxn ang="0">
                <a:pos x="9" y="235"/>
              </a:cxn>
              <a:cxn ang="0">
                <a:pos x="6" y="226"/>
              </a:cxn>
              <a:cxn ang="0">
                <a:pos x="30" y="224"/>
              </a:cxn>
              <a:cxn ang="0">
                <a:pos x="34" y="208"/>
              </a:cxn>
              <a:cxn ang="0">
                <a:pos x="65" y="192"/>
              </a:cxn>
              <a:cxn ang="0">
                <a:pos x="40" y="199"/>
              </a:cxn>
              <a:cxn ang="0">
                <a:pos x="43" y="183"/>
              </a:cxn>
              <a:cxn ang="0">
                <a:pos x="59" y="163"/>
              </a:cxn>
              <a:cxn ang="0">
                <a:pos x="62" y="156"/>
              </a:cxn>
              <a:cxn ang="0">
                <a:pos x="37" y="146"/>
              </a:cxn>
              <a:cxn ang="0">
                <a:pos x="27" y="144"/>
              </a:cxn>
              <a:cxn ang="0">
                <a:pos x="15" y="137"/>
              </a:cxn>
              <a:cxn ang="0">
                <a:pos x="23" y="123"/>
              </a:cxn>
              <a:cxn ang="0">
                <a:pos x="22" y="110"/>
              </a:cxn>
              <a:cxn ang="0">
                <a:pos x="22" y="101"/>
              </a:cxn>
              <a:cxn ang="0">
                <a:pos x="27" y="94"/>
              </a:cxn>
              <a:cxn ang="0">
                <a:pos x="27" y="82"/>
              </a:cxn>
              <a:cxn ang="0">
                <a:pos x="52" y="80"/>
              </a:cxn>
              <a:cxn ang="0">
                <a:pos x="71" y="83"/>
              </a:cxn>
              <a:cxn ang="0">
                <a:pos x="81" y="79"/>
              </a:cxn>
              <a:cxn ang="0">
                <a:pos x="96" y="60"/>
              </a:cxn>
              <a:cxn ang="0">
                <a:pos x="84" y="58"/>
              </a:cxn>
              <a:cxn ang="0">
                <a:pos x="81" y="45"/>
              </a:cxn>
              <a:cxn ang="0">
                <a:pos x="85" y="33"/>
              </a:cxn>
              <a:cxn ang="0">
                <a:pos x="98" y="20"/>
              </a:cxn>
              <a:cxn ang="0">
                <a:pos x="112" y="15"/>
              </a:cxn>
              <a:cxn ang="0">
                <a:pos x="116" y="11"/>
              </a:cxn>
              <a:cxn ang="0">
                <a:pos x="124" y="27"/>
              </a:cxn>
              <a:cxn ang="0">
                <a:pos x="133" y="8"/>
              </a:cxn>
            </a:cxnLst>
            <a:rect l="0" t="0" r="r" b="b"/>
            <a:pathLst>
              <a:path w="189" h="280">
                <a:moveTo>
                  <a:pt x="24" y="267"/>
                </a:moveTo>
                <a:lnTo>
                  <a:pt x="28" y="267"/>
                </a:lnTo>
                <a:lnTo>
                  <a:pt x="28" y="268"/>
                </a:lnTo>
                <a:lnTo>
                  <a:pt x="24" y="269"/>
                </a:lnTo>
                <a:lnTo>
                  <a:pt x="24" y="268"/>
                </a:lnTo>
                <a:lnTo>
                  <a:pt x="23" y="268"/>
                </a:lnTo>
                <a:lnTo>
                  <a:pt x="24" y="267"/>
                </a:lnTo>
                <a:close/>
                <a:moveTo>
                  <a:pt x="141" y="231"/>
                </a:moveTo>
                <a:lnTo>
                  <a:pt x="142" y="231"/>
                </a:lnTo>
                <a:lnTo>
                  <a:pt x="142" y="232"/>
                </a:lnTo>
                <a:lnTo>
                  <a:pt x="141" y="231"/>
                </a:lnTo>
                <a:close/>
                <a:moveTo>
                  <a:pt x="167" y="217"/>
                </a:moveTo>
                <a:lnTo>
                  <a:pt x="167" y="218"/>
                </a:lnTo>
                <a:lnTo>
                  <a:pt x="168" y="218"/>
                </a:lnTo>
                <a:lnTo>
                  <a:pt x="170" y="217"/>
                </a:lnTo>
                <a:lnTo>
                  <a:pt x="167" y="217"/>
                </a:lnTo>
                <a:close/>
                <a:moveTo>
                  <a:pt x="28" y="163"/>
                </a:moveTo>
                <a:lnTo>
                  <a:pt x="33" y="163"/>
                </a:lnTo>
                <a:lnTo>
                  <a:pt x="34" y="164"/>
                </a:lnTo>
                <a:lnTo>
                  <a:pt x="34" y="165"/>
                </a:lnTo>
                <a:lnTo>
                  <a:pt x="35" y="165"/>
                </a:lnTo>
                <a:lnTo>
                  <a:pt x="35" y="166"/>
                </a:lnTo>
                <a:lnTo>
                  <a:pt x="34" y="166"/>
                </a:lnTo>
                <a:lnTo>
                  <a:pt x="29" y="164"/>
                </a:lnTo>
                <a:lnTo>
                  <a:pt x="28" y="163"/>
                </a:lnTo>
                <a:close/>
                <a:moveTo>
                  <a:pt x="62" y="160"/>
                </a:moveTo>
                <a:lnTo>
                  <a:pt x="64" y="160"/>
                </a:lnTo>
                <a:lnTo>
                  <a:pt x="62" y="162"/>
                </a:lnTo>
                <a:lnTo>
                  <a:pt x="62" y="160"/>
                </a:lnTo>
                <a:close/>
                <a:moveTo>
                  <a:pt x="60" y="160"/>
                </a:moveTo>
                <a:lnTo>
                  <a:pt x="61" y="160"/>
                </a:lnTo>
                <a:lnTo>
                  <a:pt x="62" y="162"/>
                </a:lnTo>
                <a:lnTo>
                  <a:pt x="60" y="162"/>
                </a:lnTo>
                <a:lnTo>
                  <a:pt x="60" y="160"/>
                </a:lnTo>
                <a:close/>
                <a:moveTo>
                  <a:pt x="33" y="153"/>
                </a:moveTo>
                <a:lnTo>
                  <a:pt x="34" y="153"/>
                </a:lnTo>
                <a:lnTo>
                  <a:pt x="35" y="156"/>
                </a:lnTo>
                <a:lnTo>
                  <a:pt x="35" y="157"/>
                </a:lnTo>
                <a:lnTo>
                  <a:pt x="33" y="157"/>
                </a:lnTo>
                <a:lnTo>
                  <a:pt x="33" y="155"/>
                </a:lnTo>
                <a:lnTo>
                  <a:pt x="31" y="155"/>
                </a:lnTo>
                <a:lnTo>
                  <a:pt x="33" y="153"/>
                </a:lnTo>
                <a:close/>
                <a:moveTo>
                  <a:pt x="184" y="145"/>
                </a:moveTo>
                <a:lnTo>
                  <a:pt x="186" y="145"/>
                </a:lnTo>
                <a:lnTo>
                  <a:pt x="186" y="147"/>
                </a:lnTo>
                <a:lnTo>
                  <a:pt x="185" y="147"/>
                </a:lnTo>
                <a:lnTo>
                  <a:pt x="185" y="146"/>
                </a:lnTo>
                <a:lnTo>
                  <a:pt x="184" y="146"/>
                </a:lnTo>
                <a:lnTo>
                  <a:pt x="184" y="145"/>
                </a:lnTo>
                <a:close/>
                <a:moveTo>
                  <a:pt x="18" y="139"/>
                </a:moveTo>
                <a:lnTo>
                  <a:pt x="19" y="140"/>
                </a:lnTo>
                <a:lnTo>
                  <a:pt x="19" y="139"/>
                </a:lnTo>
                <a:lnTo>
                  <a:pt x="18" y="139"/>
                </a:lnTo>
                <a:close/>
                <a:moveTo>
                  <a:pt x="11" y="134"/>
                </a:moveTo>
                <a:lnTo>
                  <a:pt x="14" y="134"/>
                </a:lnTo>
                <a:lnTo>
                  <a:pt x="12" y="135"/>
                </a:lnTo>
                <a:lnTo>
                  <a:pt x="11" y="134"/>
                </a:lnTo>
                <a:close/>
                <a:moveTo>
                  <a:pt x="28" y="104"/>
                </a:moveTo>
                <a:lnTo>
                  <a:pt x="28" y="108"/>
                </a:lnTo>
                <a:lnTo>
                  <a:pt x="29" y="108"/>
                </a:lnTo>
                <a:lnTo>
                  <a:pt x="29" y="106"/>
                </a:lnTo>
                <a:lnTo>
                  <a:pt x="28" y="104"/>
                </a:lnTo>
                <a:close/>
                <a:moveTo>
                  <a:pt x="134" y="90"/>
                </a:moveTo>
                <a:lnTo>
                  <a:pt x="134" y="94"/>
                </a:lnTo>
                <a:lnTo>
                  <a:pt x="133" y="91"/>
                </a:lnTo>
                <a:lnTo>
                  <a:pt x="134" y="90"/>
                </a:lnTo>
                <a:close/>
                <a:moveTo>
                  <a:pt x="16" y="90"/>
                </a:moveTo>
                <a:lnTo>
                  <a:pt x="16" y="91"/>
                </a:lnTo>
                <a:lnTo>
                  <a:pt x="17" y="91"/>
                </a:lnTo>
                <a:lnTo>
                  <a:pt x="17" y="92"/>
                </a:lnTo>
                <a:lnTo>
                  <a:pt x="16" y="94"/>
                </a:lnTo>
                <a:lnTo>
                  <a:pt x="17" y="94"/>
                </a:lnTo>
                <a:lnTo>
                  <a:pt x="17" y="95"/>
                </a:lnTo>
                <a:lnTo>
                  <a:pt x="15" y="95"/>
                </a:lnTo>
                <a:lnTo>
                  <a:pt x="15" y="92"/>
                </a:lnTo>
                <a:lnTo>
                  <a:pt x="16" y="90"/>
                </a:lnTo>
                <a:close/>
                <a:moveTo>
                  <a:pt x="19" y="80"/>
                </a:moveTo>
                <a:lnTo>
                  <a:pt x="21" y="80"/>
                </a:lnTo>
                <a:lnTo>
                  <a:pt x="21" y="82"/>
                </a:lnTo>
                <a:lnTo>
                  <a:pt x="22" y="83"/>
                </a:lnTo>
                <a:lnTo>
                  <a:pt x="25" y="83"/>
                </a:lnTo>
                <a:lnTo>
                  <a:pt x="24" y="85"/>
                </a:lnTo>
                <a:lnTo>
                  <a:pt x="22" y="85"/>
                </a:lnTo>
                <a:lnTo>
                  <a:pt x="21" y="84"/>
                </a:lnTo>
                <a:lnTo>
                  <a:pt x="21" y="86"/>
                </a:lnTo>
                <a:lnTo>
                  <a:pt x="19" y="86"/>
                </a:lnTo>
                <a:lnTo>
                  <a:pt x="19" y="89"/>
                </a:lnTo>
                <a:lnTo>
                  <a:pt x="18" y="89"/>
                </a:lnTo>
                <a:lnTo>
                  <a:pt x="18" y="90"/>
                </a:lnTo>
                <a:lnTo>
                  <a:pt x="16" y="90"/>
                </a:lnTo>
                <a:lnTo>
                  <a:pt x="16" y="88"/>
                </a:lnTo>
                <a:lnTo>
                  <a:pt x="17" y="88"/>
                </a:lnTo>
                <a:lnTo>
                  <a:pt x="17" y="86"/>
                </a:lnTo>
                <a:lnTo>
                  <a:pt x="16" y="86"/>
                </a:lnTo>
                <a:lnTo>
                  <a:pt x="16" y="84"/>
                </a:lnTo>
                <a:lnTo>
                  <a:pt x="17" y="83"/>
                </a:lnTo>
                <a:lnTo>
                  <a:pt x="17" y="82"/>
                </a:lnTo>
                <a:lnTo>
                  <a:pt x="19" y="80"/>
                </a:lnTo>
                <a:close/>
                <a:moveTo>
                  <a:pt x="89" y="58"/>
                </a:moveTo>
                <a:lnTo>
                  <a:pt x="87" y="60"/>
                </a:lnTo>
                <a:lnTo>
                  <a:pt x="86" y="60"/>
                </a:lnTo>
                <a:lnTo>
                  <a:pt x="86" y="61"/>
                </a:lnTo>
                <a:lnTo>
                  <a:pt x="85" y="61"/>
                </a:lnTo>
                <a:lnTo>
                  <a:pt x="85" y="60"/>
                </a:lnTo>
                <a:lnTo>
                  <a:pt x="86" y="59"/>
                </a:lnTo>
                <a:lnTo>
                  <a:pt x="87" y="59"/>
                </a:lnTo>
                <a:lnTo>
                  <a:pt x="89" y="58"/>
                </a:lnTo>
                <a:close/>
                <a:moveTo>
                  <a:pt x="81" y="28"/>
                </a:moveTo>
                <a:lnTo>
                  <a:pt x="83" y="29"/>
                </a:lnTo>
                <a:lnTo>
                  <a:pt x="84" y="29"/>
                </a:lnTo>
                <a:lnTo>
                  <a:pt x="84" y="32"/>
                </a:lnTo>
                <a:lnTo>
                  <a:pt x="80" y="32"/>
                </a:lnTo>
                <a:lnTo>
                  <a:pt x="80" y="29"/>
                </a:lnTo>
                <a:lnTo>
                  <a:pt x="81" y="29"/>
                </a:lnTo>
                <a:lnTo>
                  <a:pt x="81" y="28"/>
                </a:lnTo>
                <a:close/>
                <a:moveTo>
                  <a:pt x="130" y="0"/>
                </a:moveTo>
                <a:lnTo>
                  <a:pt x="131" y="0"/>
                </a:lnTo>
                <a:lnTo>
                  <a:pt x="133" y="2"/>
                </a:lnTo>
                <a:lnTo>
                  <a:pt x="135" y="3"/>
                </a:lnTo>
                <a:lnTo>
                  <a:pt x="136" y="3"/>
                </a:lnTo>
                <a:lnTo>
                  <a:pt x="137" y="4"/>
                </a:lnTo>
                <a:lnTo>
                  <a:pt x="139" y="4"/>
                </a:lnTo>
                <a:lnTo>
                  <a:pt x="141" y="8"/>
                </a:lnTo>
                <a:lnTo>
                  <a:pt x="143" y="9"/>
                </a:lnTo>
                <a:lnTo>
                  <a:pt x="145" y="10"/>
                </a:lnTo>
                <a:lnTo>
                  <a:pt x="147" y="10"/>
                </a:lnTo>
                <a:lnTo>
                  <a:pt x="148" y="11"/>
                </a:lnTo>
                <a:lnTo>
                  <a:pt x="148" y="10"/>
                </a:lnTo>
                <a:lnTo>
                  <a:pt x="149" y="11"/>
                </a:lnTo>
                <a:lnTo>
                  <a:pt x="149" y="14"/>
                </a:lnTo>
                <a:lnTo>
                  <a:pt x="147" y="14"/>
                </a:lnTo>
                <a:lnTo>
                  <a:pt x="145" y="15"/>
                </a:lnTo>
                <a:lnTo>
                  <a:pt x="141" y="18"/>
                </a:lnTo>
                <a:lnTo>
                  <a:pt x="140" y="18"/>
                </a:lnTo>
                <a:lnTo>
                  <a:pt x="136" y="22"/>
                </a:lnTo>
                <a:lnTo>
                  <a:pt x="136" y="24"/>
                </a:lnTo>
                <a:lnTo>
                  <a:pt x="135" y="24"/>
                </a:lnTo>
                <a:lnTo>
                  <a:pt x="135" y="26"/>
                </a:lnTo>
                <a:lnTo>
                  <a:pt x="134" y="26"/>
                </a:lnTo>
                <a:lnTo>
                  <a:pt x="131" y="27"/>
                </a:lnTo>
                <a:lnTo>
                  <a:pt x="130" y="27"/>
                </a:lnTo>
                <a:lnTo>
                  <a:pt x="129" y="29"/>
                </a:lnTo>
                <a:lnTo>
                  <a:pt x="129" y="34"/>
                </a:lnTo>
                <a:lnTo>
                  <a:pt x="128" y="34"/>
                </a:lnTo>
                <a:lnTo>
                  <a:pt x="128" y="40"/>
                </a:lnTo>
                <a:lnTo>
                  <a:pt x="123" y="45"/>
                </a:lnTo>
                <a:lnTo>
                  <a:pt x="123" y="48"/>
                </a:lnTo>
                <a:lnTo>
                  <a:pt x="118" y="48"/>
                </a:lnTo>
                <a:lnTo>
                  <a:pt x="116" y="51"/>
                </a:lnTo>
                <a:lnTo>
                  <a:pt x="112" y="51"/>
                </a:lnTo>
                <a:lnTo>
                  <a:pt x="111" y="49"/>
                </a:lnTo>
                <a:lnTo>
                  <a:pt x="110" y="51"/>
                </a:lnTo>
                <a:lnTo>
                  <a:pt x="108" y="52"/>
                </a:lnTo>
                <a:lnTo>
                  <a:pt x="109" y="52"/>
                </a:lnTo>
                <a:lnTo>
                  <a:pt x="108" y="53"/>
                </a:lnTo>
                <a:lnTo>
                  <a:pt x="109" y="54"/>
                </a:lnTo>
                <a:lnTo>
                  <a:pt x="110" y="54"/>
                </a:lnTo>
                <a:lnTo>
                  <a:pt x="110" y="55"/>
                </a:lnTo>
                <a:lnTo>
                  <a:pt x="111" y="57"/>
                </a:lnTo>
                <a:lnTo>
                  <a:pt x="112" y="55"/>
                </a:lnTo>
                <a:lnTo>
                  <a:pt x="112" y="57"/>
                </a:lnTo>
                <a:lnTo>
                  <a:pt x="114" y="58"/>
                </a:lnTo>
                <a:lnTo>
                  <a:pt x="115" y="58"/>
                </a:lnTo>
                <a:lnTo>
                  <a:pt x="116" y="57"/>
                </a:lnTo>
                <a:lnTo>
                  <a:pt x="117" y="57"/>
                </a:lnTo>
                <a:lnTo>
                  <a:pt x="117" y="58"/>
                </a:lnTo>
                <a:lnTo>
                  <a:pt x="115" y="59"/>
                </a:lnTo>
                <a:lnTo>
                  <a:pt x="111" y="63"/>
                </a:lnTo>
                <a:lnTo>
                  <a:pt x="109" y="64"/>
                </a:lnTo>
                <a:lnTo>
                  <a:pt x="108" y="64"/>
                </a:lnTo>
                <a:lnTo>
                  <a:pt x="104" y="63"/>
                </a:lnTo>
                <a:lnTo>
                  <a:pt x="103" y="64"/>
                </a:lnTo>
                <a:lnTo>
                  <a:pt x="103" y="65"/>
                </a:lnTo>
                <a:lnTo>
                  <a:pt x="102" y="66"/>
                </a:lnTo>
                <a:lnTo>
                  <a:pt x="102" y="67"/>
                </a:lnTo>
                <a:lnTo>
                  <a:pt x="101" y="67"/>
                </a:lnTo>
                <a:lnTo>
                  <a:pt x="98" y="69"/>
                </a:lnTo>
                <a:lnTo>
                  <a:pt x="98" y="71"/>
                </a:lnTo>
                <a:lnTo>
                  <a:pt x="99" y="72"/>
                </a:lnTo>
                <a:lnTo>
                  <a:pt x="101" y="75"/>
                </a:lnTo>
                <a:lnTo>
                  <a:pt x="102" y="76"/>
                </a:lnTo>
                <a:lnTo>
                  <a:pt x="104" y="76"/>
                </a:lnTo>
                <a:lnTo>
                  <a:pt x="105" y="78"/>
                </a:lnTo>
                <a:lnTo>
                  <a:pt x="105" y="79"/>
                </a:lnTo>
                <a:lnTo>
                  <a:pt x="106" y="80"/>
                </a:lnTo>
                <a:lnTo>
                  <a:pt x="109" y="80"/>
                </a:lnTo>
                <a:lnTo>
                  <a:pt x="110" y="82"/>
                </a:lnTo>
                <a:lnTo>
                  <a:pt x="110" y="86"/>
                </a:lnTo>
                <a:lnTo>
                  <a:pt x="111" y="88"/>
                </a:lnTo>
                <a:lnTo>
                  <a:pt x="117" y="88"/>
                </a:lnTo>
                <a:lnTo>
                  <a:pt x="120" y="90"/>
                </a:lnTo>
                <a:lnTo>
                  <a:pt x="121" y="90"/>
                </a:lnTo>
                <a:lnTo>
                  <a:pt x="121" y="92"/>
                </a:lnTo>
                <a:lnTo>
                  <a:pt x="127" y="92"/>
                </a:lnTo>
                <a:lnTo>
                  <a:pt x="128" y="91"/>
                </a:lnTo>
                <a:lnTo>
                  <a:pt x="129" y="91"/>
                </a:lnTo>
                <a:lnTo>
                  <a:pt x="129" y="92"/>
                </a:lnTo>
                <a:lnTo>
                  <a:pt x="130" y="92"/>
                </a:lnTo>
                <a:lnTo>
                  <a:pt x="130" y="94"/>
                </a:lnTo>
                <a:lnTo>
                  <a:pt x="134" y="94"/>
                </a:lnTo>
                <a:lnTo>
                  <a:pt x="135" y="92"/>
                </a:lnTo>
                <a:lnTo>
                  <a:pt x="135" y="90"/>
                </a:lnTo>
                <a:lnTo>
                  <a:pt x="136" y="90"/>
                </a:lnTo>
                <a:lnTo>
                  <a:pt x="136" y="89"/>
                </a:lnTo>
                <a:lnTo>
                  <a:pt x="135" y="89"/>
                </a:lnTo>
                <a:lnTo>
                  <a:pt x="137" y="86"/>
                </a:lnTo>
                <a:lnTo>
                  <a:pt x="139" y="86"/>
                </a:lnTo>
                <a:lnTo>
                  <a:pt x="140" y="85"/>
                </a:lnTo>
                <a:lnTo>
                  <a:pt x="140" y="84"/>
                </a:lnTo>
                <a:lnTo>
                  <a:pt x="141" y="84"/>
                </a:lnTo>
                <a:lnTo>
                  <a:pt x="139" y="83"/>
                </a:lnTo>
                <a:lnTo>
                  <a:pt x="139" y="82"/>
                </a:lnTo>
                <a:lnTo>
                  <a:pt x="137" y="80"/>
                </a:lnTo>
                <a:lnTo>
                  <a:pt x="139" y="80"/>
                </a:lnTo>
                <a:lnTo>
                  <a:pt x="139" y="78"/>
                </a:lnTo>
                <a:lnTo>
                  <a:pt x="140" y="78"/>
                </a:lnTo>
                <a:lnTo>
                  <a:pt x="141" y="77"/>
                </a:lnTo>
                <a:lnTo>
                  <a:pt x="143" y="73"/>
                </a:lnTo>
                <a:lnTo>
                  <a:pt x="145" y="72"/>
                </a:lnTo>
                <a:lnTo>
                  <a:pt x="146" y="72"/>
                </a:lnTo>
                <a:lnTo>
                  <a:pt x="147" y="73"/>
                </a:lnTo>
                <a:lnTo>
                  <a:pt x="149" y="75"/>
                </a:lnTo>
                <a:lnTo>
                  <a:pt x="151" y="76"/>
                </a:lnTo>
                <a:lnTo>
                  <a:pt x="151" y="77"/>
                </a:lnTo>
                <a:lnTo>
                  <a:pt x="152" y="77"/>
                </a:lnTo>
                <a:lnTo>
                  <a:pt x="152" y="78"/>
                </a:lnTo>
                <a:lnTo>
                  <a:pt x="153" y="79"/>
                </a:lnTo>
                <a:lnTo>
                  <a:pt x="153" y="80"/>
                </a:lnTo>
                <a:lnTo>
                  <a:pt x="152" y="82"/>
                </a:lnTo>
                <a:lnTo>
                  <a:pt x="154" y="84"/>
                </a:lnTo>
                <a:lnTo>
                  <a:pt x="154" y="86"/>
                </a:lnTo>
                <a:lnTo>
                  <a:pt x="155" y="88"/>
                </a:lnTo>
                <a:lnTo>
                  <a:pt x="157" y="88"/>
                </a:lnTo>
                <a:lnTo>
                  <a:pt x="158" y="89"/>
                </a:lnTo>
                <a:lnTo>
                  <a:pt x="159" y="88"/>
                </a:lnTo>
                <a:lnTo>
                  <a:pt x="160" y="88"/>
                </a:lnTo>
                <a:lnTo>
                  <a:pt x="161" y="89"/>
                </a:lnTo>
                <a:lnTo>
                  <a:pt x="161" y="90"/>
                </a:lnTo>
                <a:lnTo>
                  <a:pt x="162" y="91"/>
                </a:lnTo>
                <a:lnTo>
                  <a:pt x="160" y="94"/>
                </a:lnTo>
                <a:lnTo>
                  <a:pt x="161" y="95"/>
                </a:lnTo>
                <a:lnTo>
                  <a:pt x="160" y="97"/>
                </a:lnTo>
                <a:lnTo>
                  <a:pt x="161" y="97"/>
                </a:lnTo>
                <a:lnTo>
                  <a:pt x="162" y="98"/>
                </a:lnTo>
                <a:lnTo>
                  <a:pt x="162" y="100"/>
                </a:lnTo>
                <a:lnTo>
                  <a:pt x="164" y="98"/>
                </a:lnTo>
                <a:lnTo>
                  <a:pt x="165" y="98"/>
                </a:lnTo>
                <a:lnTo>
                  <a:pt x="168" y="97"/>
                </a:lnTo>
                <a:lnTo>
                  <a:pt x="170" y="97"/>
                </a:lnTo>
                <a:lnTo>
                  <a:pt x="171" y="98"/>
                </a:lnTo>
                <a:lnTo>
                  <a:pt x="172" y="97"/>
                </a:lnTo>
                <a:lnTo>
                  <a:pt x="173" y="97"/>
                </a:lnTo>
                <a:lnTo>
                  <a:pt x="173" y="95"/>
                </a:lnTo>
                <a:lnTo>
                  <a:pt x="174" y="94"/>
                </a:lnTo>
                <a:lnTo>
                  <a:pt x="174" y="95"/>
                </a:lnTo>
                <a:lnTo>
                  <a:pt x="178" y="95"/>
                </a:lnTo>
                <a:lnTo>
                  <a:pt x="180" y="97"/>
                </a:lnTo>
                <a:lnTo>
                  <a:pt x="180" y="98"/>
                </a:lnTo>
                <a:lnTo>
                  <a:pt x="182" y="98"/>
                </a:lnTo>
                <a:lnTo>
                  <a:pt x="182" y="100"/>
                </a:lnTo>
                <a:lnTo>
                  <a:pt x="184" y="100"/>
                </a:lnTo>
                <a:lnTo>
                  <a:pt x="184" y="102"/>
                </a:lnTo>
                <a:lnTo>
                  <a:pt x="183" y="103"/>
                </a:lnTo>
                <a:lnTo>
                  <a:pt x="180" y="103"/>
                </a:lnTo>
                <a:lnTo>
                  <a:pt x="179" y="102"/>
                </a:lnTo>
                <a:lnTo>
                  <a:pt x="176" y="101"/>
                </a:lnTo>
                <a:lnTo>
                  <a:pt x="173" y="101"/>
                </a:lnTo>
                <a:lnTo>
                  <a:pt x="174" y="102"/>
                </a:lnTo>
                <a:lnTo>
                  <a:pt x="173" y="103"/>
                </a:lnTo>
                <a:lnTo>
                  <a:pt x="173" y="109"/>
                </a:lnTo>
                <a:lnTo>
                  <a:pt x="176" y="112"/>
                </a:lnTo>
                <a:lnTo>
                  <a:pt x="178" y="112"/>
                </a:lnTo>
                <a:lnTo>
                  <a:pt x="178" y="116"/>
                </a:lnTo>
                <a:lnTo>
                  <a:pt x="179" y="116"/>
                </a:lnTo>
                <a:lnTo>
                  <a:pt x="178" y="117"/>
                </a:lnTo>
                <a:lnTo>
                  <a:pt x="178" y="121"/>
                </a:lnTo>
                <a:lnTo>
                  <a:pt x="179" y="125"/>
                </a:lnTo>
                <a:lnTo>
                  <a:pt x="179" y="127"/>
                </a:lnTo>
                <a:lnTo>
                  <a:pt x="180" y="127"/>
                </a:lnTo>
                <a:lnTo>
                  <a:pt x="180" y="128"/>
                </a:lnTo>
                <a:lnTo>
                  <a:pt x="182" y="131"/>
                </a:lnTo>
                <a:lnTo>
                  <a:pt x="183" y="131"/>
                </a:lnTo>
                <a:lnTo>
                  <a:pt x="184" y="132"/>
                </a:lnTo>
                <a:lnTo>
                  <a:pt x="185" y="132"/>
                </a:lnTo>
                <a:lnTo>
                  <a:pt x="185" y="137"/>
                </a:lnTo>
                <a:lnTo>
                  <a:pt x="184" y="138"/>
                </a:lnTo>
                <a:lnTo>
                  <a:pt x="184" y="140"/>
                </a:lnTo>
                <a:lnTo>
                  <a:pt x="183" y="140"/>
                </a:lnTo>
                <a:lnTo>
                  <a:pt x="182" y="139"/>
                </a:lnTo>
                <a:lnTo>
                  <a:pt x="182" y="140"/>
                </a:lnTo>
                <a:lnTo>
                  <a:pt x="180" y="140"/>
                </a:lnTo>
                <a:lnTo>
                  <a:pt x="183" y="141"/>
                </a:lnTo>
                <a:lnTo>
                  <a:pt x="184" y="143"/>
                </a:lnTo>
                <a:lnTo>
                  <a:pt x="184" y="145"/>
                </a:lnTo>
                <a:lnTo>
                  <a:pt x="183" y="145"/>
                </a:lnTo>
                <a:lnTo>
                  <a:pt x="183" y="146"/>
                </a:lnTo>
                <a:lnTo>
                  <a:pt x="179" y="147"/>
                </a:lnTo>
                <a:lnTo>
                  <a:pt x="179" y="149"/>
                </a:lnTo>
                <a:lnTo>
                  <a:pt x="180" y="149"/>
                </a:lnTo>
                <a:lnTo>
                  <a:pt x="180" y="150"/>
                </a:lnTo>
                <a:lnTo>
                  <a:pt x="183" y="152"/>
                </a:lnTo>
                <a:lnTo>
                  <a:pt x="184" y="152"/>
                </a:lnTo>
                <a:lnTo>
                  <a:pt x="185" y="153"/>
                </a:lnTo>
                <a:lnTo>
                  <a:pt x="184" y="153"/>
                </a:lnTo>
                <a:lnTo>
                  <a:pt x="184" y="157"/>
                </a:lnTo>
                <a:lnTo>
                  <a:pt x="185" y="158"/>
                </a:lnTo>
                <a:lnTo>
                  <a:pt x="185" y="159"/>
                </a:lnTo>
                <a:lnTo>
                  <a:pt x="186" y="159"/>
                </a:lnTo>
                <a:lnTo>
                  <a:pt x="185" y="162"/>
                </a:lnTo>
                <a:lnTo>
                  <a:pt x="186" y="162"/>
                </a:lnTo>
                <a:lnTo>
                  <a:pt x="188" y="165"/>
                </a:lnTo>
                <a:lnTo>
                  <a:pt x="188" y="170"/>
                </a:lnTo>
                <a:lnTo>
                  <a:pt x="186" y="171"/>
                </a:lnTo>
                <a:lnTo>
                  <a:pt x="186" y="172"/>
                </a:lnTo>
                <a:lnTo>
                  <a:pt x="189" y="175"/>
                </a:lnTo>
                <a:lnTo>
                  <a:pt x="189" y="176"/>
                </a:lnTo>
                <a:lnTo>
                  <a:pt x="188" y="177"/>
                </a:lnTo>
                <a:lnTo>
                  <a:pt x="188" y="178"/>
                </a:lnTo>
                <a:lnTo>
                  <a:pt x="186" y="182"/>
                </a:lnTo>
                <a:lnTo>
                  <a:pt x="183" y="186"/>
                </a:lnTo>
                <a:lnTo>
                  <a:pt x="183" y="190"/>
                </a:lnTo>
                <a:lnTo>
                  <a:pt x="182" y="193"/>
                </a:lnTo>
                <a:lnTo>
                  <a:pt x="179" y="196"/>
                </a:lnTo>
                <a:lnTo>
                  <a:pt x="179" y="199"/>
                </a:lnTo>
                <a:lnTo>
                  <a:pt x="180" y="200"/>
                </a:lnTo>
                <a:lnTo>
                  <a:pt x="180" y="205"/>
                </a:lnTo>
                <a:lnTo>
                  <a:pt x="179" y="206"/>
                </a:lnTo>
                <a:lnTo>
                  <a:pt x="177" y="209"/>
                </a:lnTo>
                <a:lnTo>
                  <a:pt x="176" y="211"/>
                </a:lnTo>
                <a:lnTo>
                  <a:pt x="176" y="212"/>
                </a:lnTo>
                <a:lnTo>
                  <a:pt x="174" y="212"/>
                </a:lnTo>
                <a:lnTo>
                  <a:pt x="173" y="214"/>
                </a:lnTo>
                <a:lnTo>
                  <a:pt x="173" y="218"/>
                </a:lnTo>
                <a:lnTo>
                  <a:pt x="170" y="218"/>
                </a:lnTo>
                <a:lnTo>
                  <a:pt x="170" y="220"/>
                </a:lnTo>
                <a:lnTo>
                  <a:pt x="172" y="223"/>
                </a:lnTo>
                <a:lnTo>
                  <a:pt x="172" y="221"/>
                </a:lnTo>
                <a:lnTo>
                  <a:pt x="173" y="224"/>
                </a:lnTo>
                <a:lnTo>
                  <a:pt x="176" y="225"/>
                </a:lnTo>
                <a:lnTo>
                  <a:pt x="174" y="229"/>
                </a:lnTo>
                <a:lnTo>
                  <a:pt x="173" y="230"/>
                </a:lnTo>
                <a:lnTo>
                  <a:pt x="172" y="230"/>
                </a:lnTo>
                <a:lnTo>
                  <a:pt x="172" y="229"/>
                </a:lnTo>
                <a:lnTo>
                  <a:pt x="173" y="227"/>
                </a:lnTo>
                <a:lnTo>
                  <a:pt x="172" y="227"/>
                </a:lnTo>
                <a:lnTo>
                  <a:pt x="172" y="229"/>
                </a:lnTo>
                <a:lnTo>
                  <a:pt x="170" y="229"/>
                </a:lnTo>
                <a:lnTo>
                  <a:pt x="170" y="227"/>
                </a:lnTo>
                <a:lnTo>
                  <a:pt x="168" y="227"/>
                </a:lnTo>
                <a:lnTo>
                  <a:pt x="168" y="229"/>
                </a:lnTo>
                <a:lnTo>
                  <a:pt x="166" y="229"/>
                </a:lnTo>
                <a:lnTo>
                  <a:pt x="165" y="230"/>
                </a:lnTo>
                <a:lnTo>
                  <a:pt x="164" y="230"/>
                </a:lnTo>
                <a:lnTo>
                  <a:pt x="162" y="229"/>
                </a:lnTo>
                <a:lnTo>
                  <a:pt x="161" y="229"/>
                </a:lnTo>
                <a:lnTo>
                  <a:pt x="159" y="227"/>
                </a:lnTo>
                <a:lnTo>
                  <a:pt x="155" y="227"/>
                </a:lnTo>
                <a:lnTo>
                  <a:pt x="155" y="226"/>
                </a:lnTo>
                <a:lnTo>
                  <a:pt x="157" y="226"/>
                </a:lnTo>
                <a:lnTo>
                  <a:pt x="157" y="225"/>
                </a:lnTo>
                <a:lnTo>
                  <a:pt x="155" y="226"/>
                </a:lnTo>
                <a:lnTo>
                  <a:pt x="154" y="226"/>
                </a:lnTo>
                <a:lnTo>
                  <a:pt x="154" y="225"/>
                </a:lnTo>
                <a:lnTo>
                  <a:pt x="153" y="226"/>
                </a:lnTo>
                <a:lnTo>
                  <a:pt x="153" y="227"/>
                </a:lnTo>
                <a:lnTo>
                  <a:pt x="154" y="227"/>
                </a:lnTo>
                <a:lnTo>
                  <a:pt x="154" y="230"/>
                </a:lnTo>
                <a:lnTo>
                  <a:pt x="151" y="232"/>
                </a:lnTo>
                <a:lnTo>
                  <a:pt x="151" y="233"/>
                </a:lnTo>
                <a:lnTo>
                  <a:pt x="148" y="233"/>
                </a:lnTo>
                <a:lnTo>
                  <a:pt x="151" y="231"/>
                </a:lnTo>
                <a:lnTo>
                  <a:pt x="151" y="230"/>
                </a:lnTo>
                <a:lnTo>
                  <a:pt x="149" y="227"/>
                </a:lnTo>
                <a:lnTo>
                  <a:pt x="149" y="226"/>
                </a:lnTo>
                <a:lnTo>
                  <a:pt x="148" y="226"/>
                </a:lnTo>
                <a:lnTo>
                  <a:pt x="148" y="225"/>
                </a:lnTo>
                <a:lnTo>
                  <a:pt x="147" y="223"/>
                </a:lnTo>
                <a:lnTo>
                  <a:pt x="147" y="225"/>
                </a:lnTo>
                <a:lnTo>
                  <a:pt x="148" y="226"/>
                </a:lnTo>
                <a:lnTo>
                  <a:pt x="148" y="227"/>
                </a:lnTo>
                <a:lnTo>
                  <a:pt x="147" y="229"/>
                </a:lnTo>
                <a:lnTo>
                  <a:pt x="147" y="230"/>
                </a:lnTo>
                <a:lnTo>
                  <a:pt x="148" y="230"/>
                </a:lnTo>
                <a:lnTo>
                  <a:pt x="147" y="232"/>
                </a:lnTo>
                <a:lnTo>
                  <a:pt x="146" y="232"/>
                </a:lnTo>
                <a:lnTo>
                  <a:pt x="145" y="233"/>
                </a:lnTo>
                <a:lnTo>
                  <a:pt x="142" y="233"/>
                </a:lnTo>
                <a:lnTo>
                  <a:pt x="142" y="232"/>
                </a:lnTo>
                <a:lnTo>
                  <a:pt x="143" y="231"/>
                </a:lnTo>
                <a:lnTo>
                  <a:pt x="142" y="230"/>
                </a:lnTo>
                <a:lnTo>
                  <a:pt x="141" y="230"/>
                </a:lnTo>
                <a:lnTo>
                  <a:pt x="141" y="231"/>
                </a:lnTo>
                <a:lnTo>
                  <a:pt x="140" y="231"/>
                </a:lnTo>
                <a:lnTo>
                  <a:pt x="140" y="232"/>
                </a:lnTo>
                <a:lnTo>
                  <a:pt x="139" y="233"/>
                </a:lnTo>
                <a:lnTo>
                  <a:pt x="137" y="233"/>
                </a:lnTo>
                <a:lnTo>
                  <a:pt x="136" y="232"/>
                </a:lnTo>
                <a:lnTo>
                  <a:pt x="128" y="233"/>
                </a:lnTo>
                <a:lnTo>
                  <a:pt x="126" y="235"/>
                </a:lnTo>
                <a:lnTo>
                  <a:pt x="124" y="236"/>
                </a:lnTo>
                <a:lnTo>
                  <a:pt x="123" y="236"/>
                </a:lnTo>
                <a:lnTo>
                  <a:pt x="123" y="237"/>
                </a:lnTo>
                <a:lnTo>
                  <a:pt x="122" y="236"/>
                </a:lnTo>
                <a:lnTo>
                  <a:pt x="122" y="235"/>
                </a:lnTo>
                <a:lnTo>
                  <a:pt x="120" y="237"/>
                </a:lnTo>
                <a:lnTo>
                  <a:pt x="120" y="238"/>
                </a:lnTo>
                <a:lnTo>
                  <a:pt x="121" y="237"/>
                </a:lnTo>
                <a:lnTo>
                  <a:pt x="122" y="237"/>
                </a:lnTo>
                <a:lnTo>
                  <a:pt x="123" y="238"/>
                </a:lnTo>
                <a:lnTo>
                  <a:pt x="123" y="239"/>
                </a:lnTo>
                <a:lnTo>
                  <a:pt x="122" y="241"/>
                </a:lnTo>
                <a:lnTo>
                  <a:pt x="122" y="243"/>
                </a:lnTo>
                <a:lnTo>
                  <a:pt x="121" y="243"/>
                </a:lnTo>
                <a:lnTo>
                  <a:pt x="120" y="244"/>
                </a:lnTo>
                <a:lnTo>
                  <a:pt x="117" y="243"/>
                </a:lnTo>
                <a:lnTo>
                  <a:pt x="117" y="244"/>
                </a:lnTo>
                <a:lnTo>
                  <a:pt x="116" y="245"/>
                </a:lnTo>
                <a:lnTo>
                  <a:pt x="116" y="246"/>
                </a:lnTo>
                <a:lnTo>
                  <a:pt x="111" y="245"/>
                </a:lnTo>
                <a:lnTo>
                  <a:pt x="111" y="244"/>
                </a:lnTo>
                <a:lnTo>
                  <a:pt x="110" y="244"/>
                </a:lnTo>
                <a:lnTo>
                  <a:pt x="110" y="246"/>
                </a:lnTo>
                <a:lnTo>
                  <a:pt x="109" y="248"/>
                </a:lnTo>
                <a:lnTo>
                  <a:pt x="108" y="248"/>
                </a:lnTo>
                <a:lnTo>
                  <a:pt x="109" y="249"/>
                </a:lnTo>
                <a:lnTo>
                  <a:pt x="109" y="250"/>
                </a:lnTo>
                <a:lnTo>
                  <a:pt x="108" y="250"/>
                </a:lnTo>
                <a:lnTo>
                  <a:pt x="106" y="251"/>
                </a:lnTo>
                <a:lnTo>
                  <a:pt x="104" y="252"/>
                </a:lnTo>
                <a:lnTo>
                  <a:pt x="103" y="252"/>
                </a:lnTo>
                <a:lnTo>
                  <a:pt x="104" y="254"/>
                </a:lnTo>
                <a:lnTo>
                  <a:pt x="101" y="255"/>
                </a:lnTo>
                <a:lnTo>
                  <a:pt x="99" y="256"/>
                </a:lnTo>
                <a:lnTo>
                  <a:pt x="95" y="256"/>
                </a:lnTo>
                <a:lnTo>
                  <a:pt x="93" y="255"/>
                </a:lnTo>
                <a:lnTo>
                  <a:pt x="95" y="255"/>
                </a:lnTo>
                <a:lnTo>
                  <a:pt x="95" y="254"/>
                </a:lnTo>
                <a:lnTo>
                  <a:pt x="96" y="254"/>
                </a:lnTo>
                <a:lnTo>
                  <a:pt x="96" y="252"/>
                </a:lnTo>
                <a:lnTo>
                  <a:pt x="97" y="252"/>
                </a:lnTo>
                <a:lnTo>
                  <a:pt x="97" y="251"/>
                </a:lnTo>
                <a:lnTo>
                  <a:pt x="96" y="251"/>
                </a:lnTo>
                <a:lnTo>
                  <a:pt x="96" y="250"/>
                </a:lnTo>
                <a:lnTo>
                  <a:pt x="97" y="250"/>
                </a:lnTo>
                <a:lnTo>
                  <a:pt x="97" y="249"/>
                </a:lnTo>
                <a:lnTo>
                  <a:pt x="96" y="249"/>
                </a:lnTo>
                <a:lnTo>
                  <a:pt x="96" y="250"/>
                </a:lnTo>
                <a:lnTo>
                  <a:pt x="95" y="250"/>
                </a:lnTo>
                <a:lnTo>
                  <a:pt x="95" y="249"/>
                </a:lnTo>
                <a:lnTo>
                  <a:pt x="92" y="250"/>
                </a:lnTo>
                <a:lnTo>
                  <a:pt x="92" y="249"/>
                </a:lnTo>
                <a:lnTo>
                  <a:pt x="91" y="249"/>
                </a:lnTo>
                <a:lnTo>
                  <a:pt x="90" y="250"/>
                </a:lnTo>
                <a:lnTo>
                  <a:pt x="89" y="249"/>
                </a:lnTo>
                <a:lnTo>
                  <a:pt x="87" y="250"/>
                </a:lnTo>
                <a:lnTo>
                  <a:pt x="90" y="251"/>
                </a:lnTo>
                <a:lnTo>
                  <a:pt x="91" y="251"/>
                </a:lnTo>
                <a:lnTo>
                  <a:pt x="90" y="254"/>
                </a:lnTo>
                <a:lnTo>
                  <a:pt x="91" y="254"/>
                </a:lnTo>
                <a:lnTo>
                  <a:pt x="91" y="256"/>
                </a:lnTo>
                <a:lnTo>
                  <a:pt x="92" y="256"/>
                </a:lnTo>
                <a:lnTo>
                  <a:pt x="92" y="258"/>
                </a:lnTo>
                <a:lnTo>
                  <a:pt x="90" y="260"/>
                </a:lnTo>
                <a:lnTo>
                  <a:pt x="90" y="261"/>
                </a:lnTo>
                <a:lnTo>
                  <a:pt x="89" y="262"/>
                </a:lnTo>
                <a:lnTo>
                  <a:pt x="85" y="262"/>
                </a:lnTo>
                <a:lnTo>
                  <a:pt x="85" y="263"/>
                </a:lnTo>
                <a:lnTo>
                  <a:pt x="84" y="264"/>
                </a:lnTo>
                <a:lnTo>
                  <a:pt x="84" y="263"/>
                </a:lnTo>
                <a:lnTo>
                  <a:pt x="83" y="263"/>
                </a:lnTo>
                <a:lnTo>
                  <a:pt x="83" y="262"/>
                </a:lnTo>
                <a:lnTo>
                  <a:pt x="81" y="262"/>
                </a:lnTo>
                <a:lnTo>
                  <a:pt x="81" y="263"/>
                </a:lnTo>
                <a:lnTo>
                  <a:pt x="83" y="263"/>
                </a:lnTo>
                <a:lnTo>
                  <a:pt x="83" y="264"/>
                </a:lnTo>
                <a:lnTo>
                  <a:pt x="81" y="266"/>
                </a:lnTo>
                <a:lnTo>
                  <a:pt x="81" y="268"/>
                </a:lnTo>
                <a:lnTo>
                  <a:pt x="80" y="267"/>
                </a:lnTo>
                <a:lnTo>
                  <a:pt x="75" y="267"/>
                </a:lnTo>
                <a:lnTo>
                  <a:pt x="75" y="268"/>
                </a:lnTo>
                <a:lnTo>
                  <a:pt x="74" y="268"/>
                </a:lnTo>
                <a:lnTo>
                  <a:pt x="75" y="269"/>
                </a:lnTo>
                <a:lnTo>
                  <a:pt x="74" y="269"/>
                </a:lnTo>
                <a:lnTo>
                  <a:pt x="74" y="270"/>
                </a:lnTo>
                <a:lnTo>
                  <a:pt x="75" y="272"/>
                </a:lnTo>
                <a:lnTo>
                  <a:pt x="73" y="270"/>
                </a:lnTo>
                <a:lnTo>
                  <a:pt x="71" y="270"/>
                </a:lnTo>
                <a:lnTo>
                  <a:pt x="70" y="269"/>
                </a:lnTo>
                <a:lnTo>
                  <a:pt x="70" y="270"/>
                </a:lnTo>
                <a:lnTo>
                  <a:pt x="68" y="269"/>
                </a:lnTo>
                <a:lnTo>
                  <a:pt x="68" y="270"/>
                </a:lnTo>
                <a:lnTo>
                  <a:pt x="67" y="272"/>
                </a:lnTo>
                <a:lnTo>
                  <a:pt x="67" y="273"/>
                </a:lnTo>
                <a:lnTo>
                  <a:pt x="64" y="273"/>
                </a:lnTo>
                <a:lnTo>
                  <a:pt x="64" y="272"/>
                </a:lnTo>
                <a:lnTo>
                  <a:pt x="62" y="272"/>
                </a:lnTo>
                <a:lnTo>
                  <a:pt x="61" y="273"/>
                </a:lnTo>
                <a:lnTo>
                  <a:pt x="59" y="273"/>
                </a:lnTo>
                <a:lnTo>
                  <a:pt x="58" y="272"/>
                </a:lnTo>
                <a:lnTo>
                  <a:pt x="58" y="274"/>
                </a:lnTo>
                <a:lnTo>
                  <a:pt x="56" y="274"/>
                </a:lnTo>
                <a:lnTo>
                  <a:pt x="55" y="275"/>
                </a:lnTo>
                <a:lnTo>
                  <a:pt x="54" y="274"/>
                </a:lnTo>
                <a:lnTo>
                  <a:pt x="54" y="275"/>
                </a:lnTo>
                <a:lnTo>
                  <a:pt x="53" y="276"/>
                </a:lnTo>
                <a:lnTo>
                  <a:pt x="53" y="278"/>
                </a:lnTo>
                <a:lnTo>
                  <a:pt x="52" y="276"/>
                </a:lnTo>
                <a:lnTo>
                  <a:pt x="50" y="278"/>
                </a:lnTo>
                <a:lnTo>
                  <a:pt x="50" y="275"/>
                </a:lnTo>
                <a:lnTo>
                  <a:pt x="49" y="276"/>
                </a:lnTo>
                <a:lnTo>
                  <a:pt x="49" y="278"/>
                </a:lnTo>
                <a:lnTo>
                  <a:pt x="47" y="278"/>
                </a:lnTo>
                <a:lnTo>
                  <a:pt x="47" y="275"/>
                </a:lnTo>
                <a:lnTo>
                  <a:pt x="48" y="274"/>
                </a:lnTo>
                <a:lnTo>
                  <a:pt x="47" y="274"/>
                </a:lnTo>
                <a:lnTo>
                  <a:pt x="47" y="275"/>
                </a:lnTo>
                <a:lnTo>
                  <a:pt x="46" y="275"/>
                </a:lnTo>
                <a:lnTo>
                  <a:pt x="46" y="276"/>
                </a:lnTo>
                <a:lnTo>
                  <a:pt x="44" y="275"/>
                </a:lnTo>
                <a:lnTo>
                  <a:pt x="44" y="274"/>
                </a:lnTo>
                <a:lnTo>
                  <a:pt x="46" y="273"/>
                </a:lnTo>
                <a:lnTo>
                  <a:pt x="44" y="273"/>
                </a:lnTo>
                <a:lnTo>
                  <a:pt x="43" y="272"/>
                </a:lnTo>
                <a:lnTo>
                  <a:pt x="43" y="273"/>
                </a:lnTo>
                <a:lnTo>
                  <a:pt x="42" y="274"/>
                </a:lnTo>
                <a:lnTo>
                  <a:pt x="39" y="274"/>
                </a:lnTo>
                <a:lnTo>
                  <a:pt x="39" y="275"/>
                </a:lnTo>
                <a:lnTo>
                  <a:pt x="37" y="275"/>
                </a:lnTo>
                <a:lnTo>
                  <a:pt x="37" y="276"/>
                </a:lnTo>
                <a:lnTo>
                  <a:pt x="36" y="276"/>
                </a:lnTo>
                <a:lnTo>
                  <a:pt x="35" y="275"/>
                </a:lnTo>
                <a:lnTo>
                  <a:pt x="34" y="275"/>
                </a:lnTo>
                <a:lnTo>
                  <a:pt x="31" y="278"/>
                </a:lnTo>
                <a:lnTo>
                  <a:pt x="33" y="278"/>
                </a:lnTo>
                <a:lnTo>
                  <a:pt x="30" y="280"/>
                </a:lnTo>
                <a:lnTo>
                  <a:pt x="30" y="279"/>
                </a:lnTo>
                <a:lnTo>
                  <a:pt x="29" y="279"/>
                </a:lnTo>
                <a:lnTo>
                  <a:pt x="28" y="280"/>
                </a:lnTo>
                <a:lnTo>
                  <a:pt x="28" y="278"/>
                </a:lnTo>
                <a:lnTo>
                  <a:pt x="27" y="278"/>
                </a:lnTo>
                <a:lnTo>
                  <a:pt x="28" y="276"/>
                </a:lnTo>
                <a:lnTo>
                  <a:pt x="29" y="276"/>
                </a:lnTo>
                <a:lnTo>
                  <a:pt x="31" y="274"/>
                </a:lnTo>
                <a:lnTo>
                  <a:pt x="33" y="274"/>
                </a:lnTo>
                <a:lnTo>
                  <a:pt x="36" y="270"/>
                </a:lnTo>
                <a:lnTo>
                  <a:pt x="37" y="270"/>
                </a:lnTo>
                <a:lnTo>
                  <a:pt x="39" y="269"/>
                </a:lnTo>
                <a:lnTo>
                  <a:pt x="40" y="269"/>
                </a:lnTo>
                <a:lnTo>
                  <a:pt x="37" y="268"/>
                </a:lnTo>
                <a:lnTo>
                  <a:pt x="29" y="273"/>
                </a:lnTo>
                <a:lnTo>
                  <a:pt x="27" y="273"/>
                </a:lnTo>
                <a:lnTo>
                  <a:pt x="28" y="272"/>
                </a:lnTo>
                <a:lnTo>
                  <a:pt x="29" y="272"/>
                </a:lnTo>
                <a:lnTo>
                  <a:pt x="29" y="270"/>
                </a:lnTo>
                <a:lnTo>
                  <a:pt x="30" y="270"/>
                </a:lnTo>
                <a:lnTo>
                  <a:pt x="31" y="269"/>
                </a:lnTo>
                <a:lnTo>
                  <a:pt x="36" y="267"/>
                </a:lnTo>
                <a:lnTo>
                  <a:pt x="37" y="266"/>
                </a:lnTo>
                <a:lnTo>
                  <a:pt x="39" y="266"/>
                </a:lnTo>
                <a:lnTo>
                  <a:pt x="40" y="264"/>
                </a:lnTo>
                <a:lnTo>
                  <a:pt x="42" y="264"/>
                </a:lnTo>
                <a:lnTo>
                  <a:pt x="43" y="263"/>
                </a:lnTo>
                <a:lnTo>
                  <a:pt x="43" y="261"/>
                </a:lnTo>
                <a:lnTo>
                  <a:pt x="42" y="261"/>
                </a:lnTo>
                <a:lnTo>
                  <a:pt x="42" y="262"/>
                </a:lnTo>
                <a:lnTo>
                  <a:pt x="41" y="261"/>
                </a:lnTo>
                <a:lnTo>
                  <a:pt x="40" y="261"/>
                </a:lnTo>
                <a:lnTo>
                  <a:pt x="40" y="258"/>
                </a:lnTo>
                <a:lnTo>
                  <a:pt x="39" y="258"/>
                </a:lnTo>
                <a:lnTo>
                  <a:pt x="39" y="261"/>
                </a:lnTo>
                <a:lnTo>
                  <a:pt x="40" y="261"/>
                </a:lnTo>
                <a:lnTo>
                  <a:pt x="39" y="262"/>
                </a:lnTo>
                <a:lnTo>
                  <a:pt x="37" y="262"/>
                </a:lnTo>
                <a:lnTo>
                  <a:pt x="35" y="264"/>
                </a:lnTo>
                <a:lnTo>
                  <a:pt x="30" y="264"/>
                </a:lnTo>
                <a:lnTo>
                  <a:pt x="25" y="266"/>
                </a:lnTo>
                <a:lnTo>
                  <a:pt x="23" y="267"/>
                </a:lnTo>
                <a:lnTo>
                  <a:pt x="23" y="268"/>
                </a:lnTo>
                <a:lnTo>
                  <a:pt x="19" y="269"/>
                </a:lnTo>
                <a:lnTo>
                  <a:pt x="15" y="269"/>
                </a:lnTo>
                <a:lnTo>
                  <a:pt x="15" y="270"/>
                </a:lnTo>
                <a:lnTo>
                  <a:pt x="14" y="270"/>
                </a:lnTo>
                <a:lnTo>
                  <a:pt x="14" y="268"/>
                </a:lnTo>
                <a:lnTo>
                  <a:pt x="17" y="268"/>
                </a:lnTo>
                <a:lnTo>
                  <a:pt x="17" y="266"/>
                </a:lnTo>
                <a:lnTo>
                  <a:pt x="16" y="266"/>
                </a:lnTo>
                <a:lnTo>
                  <a:pt x="16" y="264"/>
                </a:lnTo>
                <a:lnTo>
                  <a:pt x="19" y="264"/>
                </a:lnTo>
                <a:lnTo>
                  <a:pt x="22" y="262"/>
                </a:lnTo>
                <a:lnTo>
                  <a:pt x="21" y="262"/>
                </a:lnTo>
                <a:lnTo>
                  <a:pt x="21" y="261"/>
                </a:lnTo>
                <a:lnTo>
                  <a:pt x="23" y="258"/>
                </a:lnTo>
                <a:lnTo>
                  <a:pt x="24" y="258"/>
                </a:lnTo>
                <a:lnTo>
                  <a:pt x="24" y="260"/>
                </a:lnTo>
                <a:lnTo>
                  <a:pt x="25" y="260"/>
                </a:lnTo>
                <a:lnTo>
                  <a:pt x="27" y="258"/>
                </a:lnTo>
                <a:lnTo>
                  <a:pt x="29" y="258"/>
                </a:lnTo>
                <a:lnTo>
                  <a:pt x="29" y="257"/>
                </a:lnTo>
                <a:lnTo>
                  <a:pt x="28" y="257"/>
                </a:lnTo>
                <a:lnTo>
                  <a:pt x="28" y="256"/>
                </a:lnTo>
                <a:lnTo>
                  <a:pt x="29" y="256"/>
                </a:lnTo>
                <a:lnTo>
                  <a:pt x="29" y="255"/>
                </a:lnTo>
                <a:lnTo>
                  <a:pt x="30" y="255"/>
                </a:lnTo>
                <a:lnTo>
                  <a:pt x="31" y="254"/>
                </a:lnTo>
                <a:lnTo>
                  <a:pt x="33" y="254"/>
                </a:lnTo>
                <a:lnTo>
                  <a:pt x="34" y="252"/>
                </a:lnTo>
                <a:lnTo>
                  <a:pt x="36" y="251"/>
                </a:lnTo>
                <a:lnTo>
                  <a:pt x="37" y="251"/>
                </a:lnTo>
                <a:lnTo>
                  <a:pt x="37" y="250"/>
                </a:lnTo>
                <a:lnTo>
                  <a:pt x="35" y="251"/>
                </a:lnTo>
                <a:lnTo>
                  <a:pt x="30" y="252"/>
                </a:lnTo>
                <a:lnTo>
                  <a:pt x="29" y="254"/>
                </a:lnTo>
                <a:lnTo>
                  <a:pt x="27" y="254"/>
                </a:lnTo>
                <a:lnTo>
                  <a:pt x="27" y="255"/>
                </a:lnTo>
                <a:lnTo>
                  <a:pt x="25" y="256"/>
                </a:lnTo>
                <a:lnTo>
                  <a:pt x="25" y="254"/>
                </a:lnTo>
                <a:lnTo>
                  <a:pt x="24" y="255"/>
                </a:lnTo>
                <a:lnTo>
                  <a:pt x="23" y="255"/>
                </a:lnTo>
                <a:lnTo>
                  <a:pt x="21" y="257"/>
                </a:lnTo>
                <a:lnTo>
                  <a:pt x="18" y="257"/>
                </a:lnTo>
                <a:lnTo>
                  <a:pt x="17" y="258"/>
                </a:lnTo>
                <a:lnTo>
                  <a:pt x="16" y="258"/>
                </a:lnTo>
                <a:lnTo>
                  <a:pt x="16" y="260"/>
                </a:lnTo>
                <a:lnTo>
                  <a:pt x="15" y="260"/>
                </a:lnTo>
                <a:lnTo>
                  <a:pt x="15" y="258"/>
                </a:lnTo>
                <a:lnTo>
                  <a:pt x="11" y="257"/>
                </a:lnTo>
                <a:lnTo>
                  <a:pt x="12" y="256"/>
                </a:lnTo>
                <a:lnTo>
                  <a:pt x="12" y="254"/>
                </a:lnTo>
                <a:lnTo>
                  <a:pt x="10" y="252"/>
                </a:lnTo>
                <a:lnTo>
                  <a:pt x="9" y="255"/>
                </a:lnTo>
                <a:lnTo>
                  <a:pt x="8" y="255"/>
                </a:lnTo>
                <a:lnTo>
                  <a:pt x="6" y="256"/>
                </a:lnTo>
                <a:lnTo>
                  <a:pt x="5" y="256"/>
                </a:lnTo>
                <a:lnTo>
                  <a:pt x="6" y="254"/>
                </a:lnTo>
                <a:lnTo>
                  <a:pt x="5" y="252"/>
                </a:lnTo>
                <a:lnTo>
                  <a:pt x="4" y="252"/>
                </a:lnTo>
                <a:lnTo>
                  <a:pt x="4" y="250"/>
                </a:lnTo>
                <a:lnTo>
                  <a:pt x="2" y="250"/>
                </a:lnTo>
                <a:lnTo>
                  <a:pt x="3" y="249"/>
                </a:lnTo>
                <a:lnTo>
                  <a:pt x="5" y="248"/>
                </a:lnTo>
                <a:lnTo>
                  <a:pt x="5" y="246"/>
                </a:lnTo>
                <a:lnTo>
                  <a:pt x="6" y="246"/>
                </a:lnTo>
                <a:lnTo>
                  <a:pt x="6" y="248"/>
                </a:lnTo>
                <a:lnTo>
                  <a:pt x="8" y="248"/>
                </a:lnTo>
                <a:lnTo>
                  <a:pt x="5" y="250"/>
                </a:lnTo>
                <a:lnTo>
                  <a:pt x="9" y="249"/>
                </a:lnTo>
                <a:lnTo>
                  <a:pt x="10" y="248"/>
                </a:lnTo>
                <a:lnTo>
                  <a:pt x="9" y="248"/>
                </a:lnTo>
                <a:lnTo>
                  <a:pt x="9" y="246"/>
                </a:lnTo>
                <a:lnTo>
                  <a:pt x="8" y="245"/>
                </a:lnTo>
                <a:lnTo>
                  <a:pt x="8" y="244"/>
                </a:lnTo>
                <a:lnTo>
                  <a:pt x="9" y="244"/>
                </a:lnTo>
                <a:lnTo>
                  <a:pt x="9" y="243"/>
                </a:lnTo>
                <a:lnTo>
                  <a:pt x="10" y="243"/>
                </a:lnTo>
                <a:lnTo>
                  <a:pt x="11" y="242"/>
                </a:lnTo>
                <a:lnTo>
                  <a:pt x="12" y="242"/>
                </a:lnTo>
                <a:lnTo>
                  <a:pt x="15" y="241"/>
                </a:lnTo>
                <a:lnTo>
                  <a:pt x="18" y="239"/>
                </a:lnTo>
                <a:lnTo>
                  <a:pt x="21" y="238"/>
                </a:lnTo>
                <a:lnTo>
                  <a:pt x="21" y="236"/>
                </a:lnTo>
                <a:lnTo>
                  <a:pt x="22" y="236"/>
                </a:lnTo>
                <a:lnTo>
                  <a:pt x="22" y="238"/>
                </a:lnTo>
                <a:lnTo>
                  <a:pt x="23" y="238"/>
                </a:lnTo>
                <a:lnTo>
                  <a:pt x="23" y="237"/>
                </a:lnTo>
                <a:lnTo>
                  <a:pt x="24" y="233"/>
                </a:lnTo>
                <a:lnTo>
                  <a:pt x="25" y="233"/>
                </a:lnTo>
                <a:lnTo>
                  <a:pt x="27" y="235"/>
                </a:lnTo>
                <a:lnTo>
                  <a:pt x="30" y="233"/>
                </a:lnTo>
                <a:lnTo>
                  <a:pt x="29" y="233"/>
                </a:lnTo>
                <a:lnTo>
                  <a:pt x="29" y="232"/>
                </a:lnTo>
                <a:lnTo>
                  <a:pt x="22" y="232"/>
                </a:lnTo>
                <a:lnTo>
                  <a:pt x="22" y="233"/>
                </a:lnTo>
                <a:lnTo>
                  <a:pt x="21" y="233"/>
                </a:lnTo>
                <a:lnTo>
                  <a:pt x="21" y="232"/>
                </a:lnTo>
                <a:lnTo>
                  <a:pt x="18" y="232"/>
                </a:lnTo>
                <a:lnTo>
                  <a:pt x="14" y="235"/>
                </a:lnTo>
                <a:lnTo>
                  <a:pt x="11" y="235"/>
                </a:lnTo>
                <a:lnTo>
                  <a:pt x="11" y="233"/>
                </a:lnTo>
                <a:lnTo>
                  <a:pt x="8" y="233"/>
                </a:lnTo>
                <a:lnTo>
                  <a:pt x="9" y="235"/>
                </a:lnTo>
                <a:lnTo>
                  <a:pt x="8" y="235"/>
                </a:lnTo>
                <a:lnTo>
                  <a:pt x="5" y="233"/>
                </a:lnTo>
                <a:lnTo>
                  <a:pt x="4" y="233"/>
                </a:lnTo>
                <a:lnTo>
                  <a:pt x="4" y="235"/>
                </a:lnTo>
                <a:lnTo>
                  <a:pt x="3" y="236"/>
                </a:lnTo>
                <a:lnTo>
                  <a:pt x="2" y="236"/>
                </a:lnTo>
                <a:lnTo>
                  <a:pt x="0" y="235"/>
                </a:lnTo>
                <a:lnTo>
                  <a:pt x="0" y="231"/>
                </a:lnTo>
                <a:lnTo>
                  <a:pt x="2" y="231"/>
                </a:lnTo>
                <a:lnTo>
                  <a:pt x="2" y="230"/>
                </a:lnTo>
                <a:lnTo>
                  <a:pt x="0" y="230"/>
                </a:lnTo>
                <a:lnTo>
                  <a:pt x="2" y="229"/>
                </a:lnTo>
                <a:lnTo>
                  <a:pt x="3" y="229"/>
                </a:lnTo>
                <a:lnTo>
                  <a:pt x="3" y="230"/>
                </a:lnTo>
                <a:lnTo>
                  <a:pt x="4" y="230"/>
                </a:lnTo>
                <a:lnTo>
                  <a:pt x="4" y="229"/>
                </a:lnTo>
                <a:lnTo>
                  <a:pt x="5" y="227"/>
                </a:lnTo>
                <a:lnTo>
                  <a:pt x="4" y="227"/>
                </a:lnTo>
                <a:lnTo>
                  <a:pt x="4" y="226"/>
                </a:lnTo>
                <a:lnTo>
                  <a:pt x="6" y="226"/>
                </a:lnTo>
                <a:lnTo>
                  <a:pt x="8" y="225"/>
                </a:lnTo>
                <a:lnTo>
                  <a:pt x="8" y="224"/>
                </a:lnTo>
                <a:lnTo>
                  <a:pt x="9" y="224"/>
                </a:lnTo>
                <a:lnTo>
                  <a:pt x="12" y="223"/>
                </a:lnTo>
                <a:lnTo>
                  <a:pt x="14" y="223"/>
                </a:lnTo>
                <a:lnTo>
                  <a:pt x="14" y="226"/>
                </a:lnTo>
                <a:lnTo>
                  <a:pt x="16" y="225"/>
                </a:lnTo>
                <a:lnTo>
                  <a:pt x="17" y="225"/>
                </a:lnTo>
                <a:lnTo>
                  <a:pt x="18" y="224"/>
                </a:lnTo>
                <a:lnTo>
                  <a:pt x="18" y="223"/>
                </a:lnTo>
                <a:lnTo>
                  <a:pt x="17" y="221"/>
                </a:lnTo>
                <a:lnTo>
                  <a:pt x="19" y="220"/>
                </a:lnTo>
                <a:lnTo>
                  <a:pt x="19" y="225"/>
                </a:lnTo>
                <a:lnTo>
                  <a:pt x="21" y="225"/>
                </a:lnTo>
                <a:lnTo>
                  <a:pt x="22" y="226"/>
                </a:lnTo>
                <a:lnTo>
                  <a:pt x="25" y="226"/>
                </a:lnTo>
                <a:lnTo>
                  <a:pt x="28" y="224"/>
                </a:lnTo>
                <a:lnTo>
                  <a:pt x="28" y="225"/>
                </a:lnTo>
                <a:lnTo>
                  <a:pt x="31" y="225"/>
                </a:lnTo>
                <a:lnTo>
                  <a:pt x="30" y="224"/>
                </a:lnTo>
                <a:lnTo>
                  <a:pt x="25" y="224"/>
                </a:lnTo>
                <a:lnTo>
                  <a:pt x="25" y="223"/>
                </a:lnTo>
                <a:lnTo>
                  <a:pt x="27" y="223"/>
                </a:lnTo>
                <a:lnTo>
                  <a:pt x="27" y="221"/>
                </a:lnTo>
                <a:lnTo>
                  <a:pt x="28" y="221"/>
                </a:lnTo>
                <a:lnTo>
                  <a:pt x="27" y="220"/>
                </a:lnTo>
                <a:lnTo>
                  <a:pt x="27" y="215"/>
                </a:lnTo>
                <a:lnTo>
                  <a:pt x="24" y="215"/>
                </a:lnTo>
                <a:lnTo>
                  <a:pt x="23" y="214"/>
                </a:lnTo>
                <a:lnTo>
                  <a:pt x="22" y="214"/>
                </a:lnTo>
                <a:lnTo>
                  <a:pt x="23" y="213"/>
                </a:lnTo>
                <a:lnTo>
                  <a:pt x="27" y="213"/>
                </a:lnTo>
                <a:lnTo>
                  <a:pt x="30" y="211"/>
                </a:lnTo>
                <a:lnTo>
                  <a:pt x="31" y="211"/>
                </a:lnTo>
                <a:lnTo>
                  <a:pt x="31" y="209"/>
                </a:lnTo>
                <a:lnTo>
                  <a:pt x="33" y="208"/>
                </a:lnTo>
                <a:lnTo>
                  <a:pt x="34" y="208"/>
                </a:lnTo>
                <a:lnTo>
                  <a:pt x="35" y="209"/>
                </a:lnTo>
                <a:lnTo>
                  <a:pt x="35" y="208"/>
                </a:lnTo>
                <a:lnTo>
                  <a:pt x="34" y="208"/>
                </a:lnTo>
                <a:lnTo>
                  <a:pt x="34" y="203"/>
                </a:lnTo>
                <a:lnTo>
                  <a:pt x="35" y="202"/>
                </a:lnTo>
                <a:lnTo>
                  <a:pt x="41" y="202"/>
                </a:lnTo>
                <a:lnTo>
                  <a:pt x="42" y="203"/>
                </a:lnTo>
                <a:lnTo>
                  <a:pt x="43" y="203"/>
                </a:lnTo>
                <a:lnTo>
                  <a:pt x="43" y="202"/>
                </a:lnTo>
                <a:lnTo>
                  <a:pt x="53" y="202"/>
                </a:lnTo>
                <a:lnTo>
                  <a:pt x="54" y="201"/>
                </a:lnTo>
                <a:lnTo>
                  <a:pt x="59" y="199"/>
                </a:lnTo>
                <a:lnTo>
                  <a:pt x="60" y="199"/>
                </a:lnTo>
                <a:lnTo>
                  <a:pt x="61" y="200"/>
                </a:lnTo>
                <a:lnTo>
                  <a:pt x="64" y="198"/>
                </a:lnTo>
                <a:lnTo>
                  <a:pt x="71" y="196"/>
                </a:lnTo>
                <a:lnTo>
                  <a:pt x="73" y="195"/>
                </a:lnTo>
                <a:lnTo>
                  <a:pt x="70" y="195"/>
                </a:lnTo>
                <a:lnTo>
                  <a:pt x="68" y="194"/>
                </a:lnTo>
                <a:lnTo>
                  <a:pt x="65" y="195"/>
                </a:lnTo>
                <a:lnTo>
                  <a:pt x="64" y="194"/>
                </a:lnTo>
                <a:lnTo>
                  <a:pt x="65" y="193"/>
                </a:lnTo>
                <a:lnTo>
                  <a:pt x="65" y="192"/>
                </a:lnTo>
                <a:lnTo>
                  <a:pt x="64" y="190"/>
                </a:lnTo>
                <a:lnTo>
                  <a:pt x="65" y="189"/>
                </a:lnTo>
                <a:lnTo>
                  <a:pt x="65" y="188"/>
                </a:lnTo>
                <a:lnTo>
                  <a:pt x="64" y="189"/>
                </a:lnTo>
                <a:lnTo>
                  <a:pt x="62" y="189"/>
                </a:lnTo>
                <a:lnTo>
                  <a:pt x="61" y="190"/>
                </a:lnTo>
                <a:lnTo>
                  <a:pt x="61" y="192"/>
                </a:lnTo>
                <a:lnTo>
                  <a:pt x="60" y="194"/>
                </a:lnTo>
                <a:lnTo>
                  <a:pt x="56" y="199"/>
                </a:lnTo>
                <a:lnTo>
                  <a:pt x="55" y="200"/>
                </a:lnTo>
                <a:lnTo>
                  <a:pt x="52" y="200"/>
                </a:lnTo>
                <a:lnTo>
                  <a:pt x="50" y="201"/>
                </a:lnTo>
                <a:lnTo>
                  <a:pt x="48" y="201"/>
                </a:lnTo>
                <a:lnTo>
                  <a:pt x="50" y="199"/>
                </a:lnTo>
                <a:lnTo>
                  <a:pt x="50" y="198"/>
                </a:lnTo>
                <a:lnTo>
                  <a:pt x="49" y="199"/>
                </a:lnTo>
                <a:lnTo>
                  <a:pt x="46" y="200"/>
                </a:lnTo>
                <a:lnTo>
                  <a:pt x="42" y="200"/>
                </a:lnTo>
                <a:lnTo>
                  <a:pt x="42" y="199"/>
                </a:lnTo>
                <a:lnTo>
                  <a:pt x="40" y="199"/>
                </a:lnTo>
                <a:lnTo>
                  <a:pt x="40" y="196"/>
                </a:lnTo>
                <a:lnTo>
                  <a:pt x="39" y="196"/>
                </a:lnTo>
                <a:lnTo>
                  <a:pt x="39" y="198"/>
                </a:lnTo>
                <a:lnTo>
                  <a:pt x="36" y="200"/>
                </a:lnTo>
                <a:lnTo>
                  <a:pt x="33" y="200"/>
                </a:lnTo>
                <a:lnTo>
                  <a:pt x="33" y="202"/>
                </a:lnTo>
                <a:lnTo>
                  <a:pt x="30" y="202"/>
                </a:lnTo>
                <a:lnTo>
                  <a:pt x="23" y="203"/>
                </a:lnTo>
                <a:lnTo>
                  <a:pt x="25" y="201"/>
                </a:lnTo>
                <a:lnTo>
                  <a:pt x="28" y="201"/>
                </a:lnTo>
                <a:lnTo>
                  <a:pt x="36" y="193"/>
                </a:lnTo>
                <a:lnTo>
                  <a:pt x="36" y="192"/>
                </a:lnTo>
                <a:lnTo>
                  <a:pt x="37" y="192"/>
                </a:lnTo>
                <a:lnTo>
                  <a:pt x="37" y="190"/>
                </a:lnTo>
                <a:lnTo>
                  <a:pt x="41" y="190"/>
                </a:lnTo>
                <a:lnTo>
                  <a:pt x="41" y="189"/>
                </a:lnTo>
                <a:lnTo>
                  <a:pt x="42" y="188"/>
                </a:lnTo>
                <a:lnTo>
                  <a:pt x="42" y="186"/>
                </a:lnTo>
                <a:lnTo>
                  <a:pt x="43" y="186"/>
                </a:lnTo>
                <a:lnTo>
                  <a:pt x="43" y="183"/>
                </a:lnTo>
                <a:lnTo>
                  <a:pt x="44" y="183"/>
                </a:lnTo>
                <a:lnTo>
                  <a:pt x="44" y="181"/>
                </a:lnTo>
                <a:lnTo>
                  <a:pt x="47" y="178"/>
                </a:lnTo>
                <a:lnTo>
                  <a:pt x="47" y="177"/>
                </a:lnTo>
                <a:lnTo>
                  <a:pt x="42" y="177"/>
                </a:lnTo>
                <a:lnTo>
                  <a:pt x="43" y="176"/>
                </a:lnTo>
                <a:lnTo>
                  <a:pt x="43" y="175"/>
                </a:lnTo>
                <a:lnTo>
                  <a:pt x="46" y="172"/>
                </a:lnTo>
                <a:lnTo>
                  <a:pt x="46" y="171"/>
                </a:lnTo>
                <a:lnTo>
                  <a:pt x="48" y="168"/>
                </a:lnTo>
                <a:lnTo>
                  <a:pt x="49" y="166"/>
                </a:lnTo>
                <a:lnTo>
                  <a:pt x="49" y="165"/>
                </a:lnTo>
                <a:lnTo>
                  <a:pt x="50" y="164"/>
                </a:lnTo>
                <a:lnTo>
                  <a:pt x="50" y="163"/>
                </a:lnTo>
                <a:lnTo>
                  <a:pt x="52" y="162"/>
                </a:lnTo>
                <a:lnTo>
                  <a:pt x="55" y="165"/>
                </a:lnTo>
                <a:lnTo>
                  <a:pt x="56" y="165"/>
                </a:lnTo>
                <a:lnTo>
                  <a:pt x="58" y="164"/>
                </a:lnTo>
                <a:lnTo>
                  <a:pt x="59" y="164"/>
                </a:lnTo>
                <a:lnTo>
                  <a:pt x="59" y="163"/>
                </a:lnTo>
                <a:lnTo>
                  <a:pt x="56" y="162"/>
                </a:lnTo>
                <a:lnTo>
                  <a:pt x="60" y="162"/>
                </a:lnTo>
                <a:lnTo>
                  <a:pt x="61" y="163"/>
                </a:lnTo>
                <a:lnTo>
                  <a:pt x="62" y="163"/>
                </a:lnTo>
                <a:lnTo>
                  <a:pt x="62" y="162"/>
                </a:lnTo>
                <a:lnTo>
                  <a:pt x="64" y="162"/>
                </a:lnTo>
                <a:lnTo>
                  <a:pt x="65" y="163"/>
                </a:lnTo>
                <a:lnTo>
                  <a:pt x="65" y="160"/>
                </a:lnTo>
                <a:lnTo>
                  <a:pt x="64" y="160"/>
                </a:lnTo>
                <a:lnTo>
                  <a:pt x="65" y="159"/>
                </a:lnTo>
                <a:lnTo>
                  <a:pt x="65" y="158"/>
                </a:lnTo>
                <a:lnTo>
                  <a:pt x="66" y="158"/>
                </a:lnTo>
                <a:lnTo>
                  <a:pt x="67" y="157"/>
                </a:lnTo>
                <a:lnTo>
                  <a:pt x="66" y="157"/>
                </a:lnTo>
                <a:lnTo>
                  <a:pt x="66" y="158"/>
                </a:lnTo>
                <a:lnTo>
                  <a:pt x="61" y="158"/>
                </a:lnTo>
                <a:lnTo>
                  <a:pt x="60" y="157"/>
                </a:lnTo>
                <a:lnTo>
                  <a:pt x="62" y="157"/>
                </a:lnTo>
                <a:lnTo>
                  <a:pt x="64" y="156"/>
                </a:lnTo>
                <a:lnTo>
                  <a:pt x="62" y="156"/>
                </a:lnTo>
                <a:lnTo>
                  <a:pt x="64" y="155"/>
                </a:lnTo>
                <a:lnTo>
                  <a:pt x="65" y="155"/>
                </a:lnTo>
                <a:lnTo>
                  <a:pt x="61" y="153"/>
                </a:lnTo>
                <a:lnTo>
                  <a:pt x="60" y="153"/>
                </a:lnTo>
                <a:lnTo>
                  <a:pt x="59" y="155"/>
                </a:lnTo>
                <a:lnTo>
                  <a:pt x="46" y="156"/>
                </a:lnTo>
                <a:lnTo>
                  <a:pt x="44" y="156"/>
                </a:lnTo>
                <a:lnTo>
                  <a:pt x="43" y="157"/>
                </a:lnTo>
                <a:lnTo>
                  <a:pt x="40" y="157"/>
                </a:lnTo>
                <a:lnTo>
                  <a:pt x="40" y="156"/>
                </a:lnTo>
                <a:lnTo>
                  <a:pt x="39" y="155"/>
                </a:lnTo>
                <a:lnTo>
                  <a:pt x="39" y="152"/>
                </a:lnTo>
                <a:lnTo>
                  <a:pt x="37" y="153"/>
                </a:lnTo>
                <a:lnTo>
                  <a:pt x="37" y="156"/>
                </a:lnTo>
                <a:lnTo>
                  <a:pt x="36" y="156"/>
                </a:lnTo>
                <a:lnTo>
                  <a:pt x="36" y="150"/>
                </a:lnTo>
                <a:lnTo>
                  <a:pt x="39" y="150"/>
                </a:lnTo>
                <a:lnTo>
                  <a:pt x="39" y="149"/>
                </a:lnTo>
                <a:lnTo>
                  <a:pt x="37" y="147"/>
                </a:lnTo>
                <a:lnTo>
                  <a:pt x="37" y="146"/>
                </a:lnTo>
                <a:lnTo>
                  <a:pt x="36" y="146"/>
                </a:lnTo>
                <a:lnTo>
                  <a:pt x="36" y="150"/>
                </a:lnTo>
                <a:lnTo>
                  <a:pt x="35" y="150"/>
                </a:lnTo>
                <a:lnTo>
                  <a:pt x="35" y="145"/>
                </a:lnTo>
                <a:lnTo>
                  <a:pt x="33" y="147"/>
                </a:lnTo>
                <a:lnTo>
                  <a:pt x="33" y="149"/>
                </a:lnTo>
                <a:lnTo>
                  <a:pt x="31" y="150"/>
                </a:lnTo>
                <a:lnTo>
                  <a:pt x="31" y="151"/>
                </a:lnTo>
                <a:lnTo>
                  <a:pt x="29" y="152"/>
                </a:lnTo>
                <a:lnTo>
                  <a:pt x="28" y="152"/>
                </a:lnTo>
                <a:lnTo>
                  <a:pt x="28" y="151"/>
                </a:lnTo>
                <a:lnTo>
                  <a:pt x="27" y="150"/>
                </a:lnTo>
                <a:lnTo>
                  <a:pt x="24" y="151"/>
                </a:lnTo>
                <a:lnTo>
                  <a:pt x="24" y="147"/>
                </a:lnTo>
                <a:lnTo>
                  <a:pt x="27" y="147"/>
                </a:lnTo>
                <a:lnTo>
                  <a:pt x="29" y="146"/>
                </a:lnTo>
                <a:lnTo>
                  <a:pt x="29" y="145"/>
                </a:lnTo>
                <a:lnTo>
                  <a:pt x="28" y="145"/>
                </a:lnTo>
                <a:lnTo>
                  <a:pt x="28" y="144"/>
                </a:lnTo>
                <a:lnTo>
                  <a:pt x="27" y="144"/>
                </a:lnTo>
                <a:lnTo>
                  <a:pt x="27" y="145"/>
                </a:lnTo>
                <a:lnTo>
                  <a:pt x="25" y="145"/>
                </a:lnTo>
                <a:lnTo>
                  <a:pt x="25" y="144"/>
                </a:lnTo>
                <a:lnTo>
                  <a:pt x="27" y="143"/>
                </a:lnTo>
                <a:lnTo>
                  <a:pt x="25" y="143"/>
                </a:lnTo>
                <a:lnTo>
                  <a:pt x="25" y="144"/>
                </a:lnTo>
                <a:lnTo>
                  <a:pt x="24" y="143"/>
                </a:lnTo>
                <a:lnTo>
                  <a:pt x="23" y="144"/>
                </a:lnTo>
                <a:lnTo>
                  <a:pt x="23" y="146"/>
                </a:lnTo>
                <a:lnTo>
                  <a:pt x="19" y="146"/>
                </a:lnTo>
                <a:lnTo>
                  <a:pt x="18" y="145"/>
                </a:lnTo>
                <a:lnTo>
                  <a:pt x="18" y="144"/>
                </a:lnTo>
                <a:lnTo>
                  <a:pt x="12" y="144"/>
                </a:lnTo>
                <a:lnTo>
                  <a:pt x="14" y="143"/>
                </a:lnTo>
                <a:lnTo>
                  <a:pt x="14" y="141"/>
                </a:lnTo>
                <a:lnTo>
                  <a:pt x="18" y="141"/>
                </a:lnTo>
                <a:lnTo>
                  <a:pt x="18" y="140"/>
                </a:lnTo>
                <a:lnTo>
                  <a:pt x="17" y="140"/>
                </a:lnTo>
                <a:lnTo>
                  <a:pt x="17" y="139"/>
                </a:lnTo>
                <a:lnTo>
                  <a:pt x="15" y="137"/>
                </a:lnTo>
                <a:lnTo>
                  <a:pt x="15" y="135"/>
                </a:lnTo>
                <a:lnTo>
                  <a:pt x="14" y="135"/>
                </a:lnTo>
                <a:lnTo>
                  <a:pt x="14" y="134"/>
                </a:lnTo>
                <a:lnTo>
                  <a:pt x="16" y="134"/>
                </a:lnTo>
                <a:lnTo>
                  <a:pt x="15" y="133"/>
                </a:lnTo>
                <a:lnTo>
                  <a:pt x="19" y="133"/>
                </a:lnTo>
                <a:lnTo>
                  <a:pt x="19" y="134"/>
                </a:lnTo>
                <a:lnTo>
                  <a:pt x="21" y="134"/>
                </a:lnTo>
                <a:lnTo>
                  <a:pt x="21" y="133"/>
                </a:lnTo>
                <a:lnTo>
                  <a:pt x="18" y="132"/>
                </a:lnTo>
                <a:lnTo>
                  <a:pt x="18" y="131"/>
                </a:lnTo>
                <a:lnTo>
                  <a:pt x="24" y="131"/>
                </a:lnTo>
                <a:lnTo>
                  <a:pt x="25" y="129"/>
                </a:lnTo>
                <a:lnTo>
                  <a:pt x="28" y="129"/>
                </a:lnTo>
                <a:lnTo>
                  <a:pt x="29" y="131"/>
                </a:lnTo>
                <a:lnTo>
                  <a:pt x="33" y="131"/>
                </a:lnTo>
                <a:lnTo>
                  <a:pt x="33" y="129"/>
                </a:lnTo>
                <a:lnTo>
                  <a:pt x="28" y="129"/>
                </a:lnTo>
                <a:lnTo>
                  <a:pt x="24" y="127"/>
                </a:lnTo>
                <a:lnTo>
                  <a:pt x="23" y="123"/>
                </a:lnTo>
                <a:lnTo>
                  <a:pt x="23" y="122"/>
                </a:lnTo>
                <a:lnTo>
                  <a:pt x="24" y="121"/>
                </a:lnTo>
                <a:lnTo>
                  <a:pt x="24" y="119"/>
                </a:lnTo>
                <a:lnTo>
                  <a:pt x="25" y="119"/>
                </a:lnTo>
                <a:lnTo>
                  <a:pt x="27" y="117"/>
                </a:lnTo>
                <a:lnTo>
                  <a:pt x="30" y="117"/>
                </a:lnTo>
                <a:lnTo>
                  <a:pt x="39" y="116"/>
                </a:lnTo>
                <a:lnTo>
                  <a:pt x="37" y="116"/>
                </a:lnTo>
                <a:lnTo>
                  <a:pt x="36" y="115"/>
                </a:lnTo>
                <a:lnTo>
                  <a:pt x="37" y="114"/>
                </a:lnTo>
                <a:lnTo>
                  <a:pt x="36" y="114"/>
                </a:lnTo>
                <a:lnTo>
                  <a:pt x="39" y="112"/>
                </a:lnTo>
                <a:lnTo>
                  <a:pt x="37" y="112"/>
                </a:lnTo>
                <a:lnTo>
                  <a:pt x="37" y="110"/>
                </a:lnTo>
                <a:lnTo>
                  <a:pt x="39" y="110"/>
                </a:lnTo>
                <a:lnTo>
                  <a:pt x="39" y="109"/>
                </a:lnTo>
                <a:lnTo>
                  <a:pt x="30" y="109"/>
                </a:lnTo>
                <a:lnTo>
                  <a:pt x="27" y="112"/>
                </a:lnTo>
                <a:lnTo>
                  <a:pt x="24" y="112"/>
                </a:lnTo>
                <a:lnTo>
                  <a:pt x="22" y="110"/>
                </a:lnTo>
                <a:lnTo>
                  <a:pt x="23" y="110"/>
                </a:lnTo>
                <a:lnTo>
                  <a:pt x="23" y="109"/>
                </a:lnTo>
                <a:lnTo>
                  <a:pt x="22" y="110"/>
                </a:lnTo>
                <a:lnTo>
                  <a:pt x="21" y="110"/>
                </a:lnTo>
                <a:lnTo>
                  <a:pt x="21" y="109"/>
                </a:lnTo>
                <a:lnTo>
                  <a:pt x="19" y="108"/>
                </a:lnTo>
                <a:lnTo>
                  <a:pt x="17" y="108"/>
                </a:lnTo>
                <a:lnTo>
                  <a:pt x="17" y="107"/>
                </a:lnTo>
                <a:lnTo>
                  <a:pt x="18" y="106"/>
                </a:lnTo>
                <a:lnTo>
                  <a:pt x="17" y="104"/>
                </a:lnTo>
                <a:lnTo>
                  <a:pt x="12" y="104"/>
                </a:lnTo>
                <a:lnTo>
                  <a:pt x="10" y="103"/>
                </a:lnTo>
                <a:lnTo>
                  <a:pt x="11" y="103"/>
                </a:lnTo>
                <a:lnTo>
                  <a:pt x="11" y="102"/>
                </a:lnTo>
                <a:lnTo>
                  <a:pt x="12" y="101"/>
                </a:lnTo>
                <a:lnTo>
                  <a:pt x="14" y="101"/>
                </a:lnTo>
                <a:lnTo>
                  <a:pt x="15" y="102"/>
                </a:lnTo>
                <a:lnTo>
                  <a:pt x="16" y="102"/>
                </a:lnTo>
                <a:lnTo>
                  <a:pt x="17" y="101"/>
                </a:lnTo>
                <a:lnTo>
                  <a:pt x="22" y="101"/>
                </a:lnTo>
                <a:lnTo>
                  <a:pt x="23" y="103"/>
                </a:lnTo>
                <a:lnTo>
                  <a:pt x="22" y="103"/>
                </a:lnTo>
                <a:lnTo>
                  <a:pt x="22" y="104"/>
                </a:lnTo>
                <a:lnTo>
                  <a:pt x="23" y="104"/>
                </a:lnTo>
                <a:lnTo>
                  <a:pt x="23" y="108"/>
                </a:lnTo>
                <a:lnTo>
                  <a:pt x="24" y="108"/>
                </a:lnTo>
                <a:lnTo>
                  <a:pt x="24" y="106"/>
                </a:lnTo>
                <a:lnTo>
                  <a:pt x="23" y="106"/>
                </a:lnTo>
                <a:lnTo>
                  <a:pt x="25" y="104"/>
                </a:lnTo>
                <a:lnTo>
                  <a:pt x="27" y="106"/>
                </a:lnTo>
                <a:lnTo>
                  <a:pt x="27" y="102"/>
                </a:lnTo>
                <a:lnTo>
                  <a:pt x="25" y="102"/>
                </a:lnTo>
                <a:lnTo>
                  <a:pt x="25" y="101"/>
                </a:lnTo>
                <a:lnTo>
                  <a:pt x="24" y="101"/>
                </a:lnTo>
                <a:lnTo>
                  <a:pt x="24" y="97"/>
                </a:lnTo>
                <a:lnTo>
                  <a:pt x="25" y="97"/>
                </a:lnTo>
                <a:lnTo>
                  <a:pt x="25" y="96"/>
                </a:lnTo>
                <a:lnTo>
                  <a:pt x="27" y="95"/>
                </a:lnTo>
                <a:lnTo>
                  <a:pt x="25" y="95"/>
                </a:lnTo>
                <a:lnTo>
                  <a:pt x="27" y="94"/>
                </a:lnTo>
                <a:lnTo>
                  <a:pt x="25" y="94"/>
                </a:lnTo>
                <a:lnTo>
                  <a:pt x="25" y="95"/>
                </a:lnTo>
                <a:lnTo>
                  <a:pt x="24" y="95"/>
                </a:lnTo>
                <a:lnTo>
                  <a:pt x="23" y="97"/>
                </a:lnTo>
                <a:lnTo>
                  <a:pt x="22" y="97"/>
                </a:lnTo>
                <a:lnTo>
                  <a:pt x="22" y="96"/>
                </a:lnTo>
                <a:lnTo>
                  <a:pt x="21" y="95"/>
                </a:lnTo>
                <a:lnTo>
                  <a:pt x="23" y="94"/>
                </a:lnTo>
                <a:lnTo>
                  <a:pt x="24" y="94"/>
                </a:lnTo>
                <a:lnTo>
                  <a:pt x="22" y="91"/>
                </a:lnTo>
                <a:lnTo>
                  <a:pt x="23" y="91"/>
                </a:lnTo>
                <a:lnTo>
                  <a:pt x="21" y="89"/>
                </a:lnTo>
                <a:lnTo>
                  <a:pt x="23" y="89"/>
                </a:lnTo>
                <a:lnTo>
                  <a:pt x="21" y="86"/>
                </a:lnTo>
                <a:lnTo>
                  <a:pt x="23" y="86"/>
                </a:lnTo>
                <a:lnTo>
                  <a:pt x="24" y="88"/>
                </a:lnTo>
                <a:lnTo>
                  <a:pt x="24" y="86"/>
                </a:lnTo>
                <a:lnTo>
                  <a:pt x="25" y="86"/>
                </a:lnTo>
                <a:lnTo>
                  <a:pt x="25" y="83"/>
                </a:lnTo>
                <a:lnTo>
                  <a:pt x="27" y="82"/>
                </a:lnTo>
                <a:lnTo>
                  <a:pt x="28" y="83"/>
                </a:lnTo>
                <a:lnTo>
                  <a:pt x="29" y="83"/>
                </a:lnTo>
                <a:lnTo>
                  <a:pt x="30" y="84"/>
                </a:lnTo>
                <a:lnTo>
                  <a:pt x="30" y="83"/>
                </a:lnTo>
                <a:lnTo>
                  <a:pt x="29" y="83"/>
                </a:lnTo>
                <a:lnTo>
                  <a:pt x="29" y="82"/>
                </a:lnTo>
                <a:lnTo>
                  <a:pt x="30" y="82"/>
                </a:lnTo>
                <a:lnTo>
                  <a:pt x="29" y="80"/>
                </a:lnTo>
                <a:lnTo>
                  <a:pt x="28" y="80"/>
                </a:lnTo>
                <a:lnTo>
                  <a:pt x="27" y="79"/>
                </a:lnTo>
                <a:lnTo>
                  <a:pt x="27" y="78"/>
                </a:lnTo>
                <a:lnTo>
                  <a:pt x="30" y="78"/>
                </a:lnTo>
                <a:lnTo>
                  <a:pt x="31" y="79"/>
                </a:lnTo>
                <a:lnTo>
                  <a:pt x="42" y="79"/>
                </a:lnTo>
                <a:lnTo>
                  <a:pt x="42" y="80"/>
                </a:lnTo>
                <a:lnTo>
                  <a:pt x="47" y="80"/>
                </a:lnTo>
                <a:lnTo>
                  <a:pt x="47" y="79"/>
                </a:lnTo>
                <a:lnTo>
                  <a:pt x="48" y="79"/>
                </a:lnTo>
                <a:lnTo>
                  <a:pt x="50" y="80"/>
                </a:lnTo>
                <a:lnTo>
                  <a:pt x="52" y="80"/>
                </a:lnTo>
                <a:lnTo>
                  <a:pt x="52" y="82"/>
                </a:lnTo>
                <a:lnTo>
                  <a:pt x="53" y="82"/>
                </a:lnTo>
                <a:lnTo>
                  <a:pt x="53" y="84"/>
                </a:lnTo>
                <a:lnTo>
                  <a:pt x="54" y="84"/>
                </a:lnTo>
                <a:lnTo>
                  <a:pt x="54" y="85"/>
                </a:lnTo>
                <a:lnTo>
                  <a:pt x="53" y="85"/>
                </a:lnTo>
                <a:lnTo>
                  <a:pt x="53" y="86"/>
                </a:lnTo>
                <a:lnTo>
                  <a:pt x="55" y="88"/>
                </a:lnTo>
                <a:lnTo>
                  <a:pt x="56" y="89"/>
                </a:lnTo>
                <a:lnTo>
                  <a:pt x="56" y="86"/>
                </a:lnTo>
                <a:lnTo>
                  <a:pt x="58" y="86"/>
                </a:lnTo>
                <a:lnTo>
                  <a:pt x="59" y="85"/>
                </a:lnTo>
                <a:lnTo>
                  <a:pt x="59" y="84"/>
                </a:lnTo>
                <a:lnTo>
                  <a:pt x="60" y="83"/>
                </a:lnTo>
                <a:lnTo>
                  <a:pt x="60" y="82"/>
                </a:lnTo>
                <a:lnTo>
                  <a:pt x="61" y="80"/>
                </a:lnTo>
                <a:lnTo>
                  <a:pt x="64" y="82"/>
                </a:lnTo>
                <a:lnTo>
                  <a:pt x="67" y="82"/>
                </a:lnTo>
                <a:lnTo>
                  <a:pt x="67" y="83"/>
                </a:lnTo>
                <a:lnTo>
                  <a:pt x="71" y="83"/>
                </a:lnTo>
                <a:lnTo>
                  <a:pt x="72" y="82"/>
                </a:lnTo>
                <a:lnTo>
                  <a:pt x="73" y="83"/>
                </a:lnTo>
                <a:lnTo>
                  <a:pt x="77" y="83"/>
                </a:lnTo>
                <a:lnTo>
                  <a:pt x="78" y="84"/>
                </a:lnTo>
                <a:lnTo>
                  <a:pt x="78" y="85"/>
                </a:lnTo>
                <a:lnTo>
                  <a:pt x="79" y="85"/>
                </a:lnTo>
                <a:lnTo>
                  <a:pt x="79" y="86"/>
                </a:lnTo>
                <a:lnTo>
                  <a:pt x="80" y="88"/>
                </a:lnTo>
                <a:lnTo>
                  <a:pt x="81" y="86"/>
                </a:lnTo>
                <a:lnTo>
                  <a:pt x="80" y="85"/>
                </a:lnTo>
                <a:lnTo>
                  <a:pt x="80" y="84"/>
                </a:lnTo>
                <a:lnTo>
                  <a:pt x="78" y="84"/>
                </a:lnTo>
                <a:lnTo>
                  <a:pt x="78" y="83"/>
                </a:lnTo>
                <a:lnTo>
                  <a:pt x="79" y="83"/>
                </a:lnTo>
                <a:lnTo>
                  <a:pt x="79" y="82"/>
                </a:lnTo>
                <a:lnTo>
                  <a:pt x="84" y="82"/>
                </a:lnTo>
                <a:lnTo>
                  <a:pt x="83" y="80"/>
                </a:lnTo>
                <a:lnTo>
                  <a:pt x="80" y="80"/>
                </a:lnTo>
                <a:lnTo>
                  <a:pt x="80" y="78"/>
                </a:lnTo>
                <a:lnTo>
                  <a:pt x="81" y="79"/>
                </a:lnTo>
                <a:lnTo>
                  <a:pt x="83" y="79"/>
                </a:lnTo>
                <a:lnTo>
                  <a:pt x="83" y="78"/>
                </a:lnTo>
                <a:lnTo>
                  <a:pt x="77" y="78"/>
                </a:lnTo>
                <a:lnTo>
                  <a:pt x="77" y="76"/>
                </a:lnTo>
                <a:lnTo>
                  <a:pt x="78" y="76"/>
                </a:lnTo>
                <a:lnTo>
                  <a:pt x="79" y="75"/>
                </a:lnTo>
                <a:lnTo>
                  <a:pt x="84" y="71"/>
                </a:lnTo>
                <a:lnTo>
                  <a:pt x="85" y="71"/>
                </a:lnTo>
                <a:lnTo>
                  <a:pt x="85" y="69"/>
                </a:lnTo>
                <a:lnTo>
                  <a:pt x="86" y="70"/>
                </a:lnTo>
                <a:lnTo>
                  <a:pt x="87" y="69"/>
                </a:lnTo>
                <a:lnTo>
                  <a:pt x="89" y="69"/>
                </a:lnTo>
                <a:lnTo>
                  <a:pt x="92" y="67"/>
                </a:lnTo>
                <a:lnTo>
                  <a:pt x="95" y="66"/>
                </a:lnTo>
                <a:lnTo>
                  <a:pt x="96" y="66"/>
                </a:lnTo>
                <a:lnTo>
                  <a:pt x="96" y="65"/>
                </a:lnTo>
                <a:lnTo>
                  <a:pt x="93" y="65"/>
                </a:lnTo>
                <a:lnTo>
                  <a:pt x="93" y="64"/>
                </a:lnTo>
                <a:lnTo>
                  <a:pt x="96" y="63"/>
                </a:lnTo>
                <a:lnTo>
                  <a:pt x="96" y="60"/>
                </a:lnTo>
                <a:lnTo>
                  <a:pt x="97" y="59"/>
                </a:lnTo>
                <a:lnTo>
                  <a:pt x="97" y="58"/>
                </a:lnTo>
                <a:lnTo>
                  <a:pt x="98" y="58"/>
                </a:lnTo>
                <a:lnTo>
                  <a:pt x="99" y="55"/>
                </a:lnTo>
                <a:lnTo>
                  <a:pt x="99" y="54"/>
                </a:lnTo>
                <a:lnTo>
                  <a:pt x="98" y="55"/>
                </a:lnTo>
                <a:lnTo>
                  <a:pt x="97" y="55"/>
                </a:lnTo>
                <a:lnTo>
                  <a:pt x="95" y="57"/>
                </a:lnTo>
                <a:lnTo>
                  <a:pt x="93" y="58"/>
                </a:lnTo>
                <a:lnTo>
                  <a:pt x="92" y="58"/>
                </a:lnTo>
                <a:lnTo>
                  <a:pt x="92" y="55"/>
                </a:lnTo>
                <a:lnTo>
                  <a:pt x="91" y="55"/>
                </a:lnTo>
                <a:lnTo>
                  <a:pt x="90" y="58"/>
                </a:lnTo>
                <a:lnTo>
                  <a:pt x="89" y="58"/>
                </a:lnTo>
                <a:lnTo>
                  <a:pt x="89" y="57"/>
                </a:lnTo>
                <a:lnTo>
                  <a:pt x="86" y="57"/>
                </a:lnTo>
                <a:lnTo>
                  <a:pt x="86" y="55"/>
                </a:lnTo>
                <a:lnTo>
                  <a:pt x="85" y="57"/>
                </a:lnTo>
                <a:lnTo>
                  <a:pt x="85" y="58"/>
                </a:lnTo>
                <a:lnTo>
                  <a:pt x="84" y="58"/>
                </a:lnTo>
                <a:lnTo>
                  <a:pt x="84" y="57"/>
                </a:lnTo>
                <a:lnTo>
                  <a:pt x="81" y="57"/>
                </a:lnTo>
                <a:lnTo>
                  <a:pt x="80" y="58"/>
                </a:lnTo>
                <a:lnTo>
                  <a:pt x="79" y="57"/>
                </a:lnTo>
                <a:lnTo>
                  <a:pt x="75" y="57"/>
                </a:lnTo>
                <a:lnTo>
                  <a:pt x="75" y="55"/>
                </a:lnTo>
                <a:lnTo>
                  <a:pt x="72" y="54"/>
                </a:lnTo>
                <a:lnTo>
                  <a:pt x="71" y="54"/>
                </a:lnTo>
                <a:lnTo>
                  <a:pt x="72" y="53"/>
                </a:lnTo>
                <a:lnTo>
                  <a:pt x="71" y="52"/>
                </a:lnTo>
                <a:lnTo>
                  <a:pt x="72" y="51"/>
                </a:lnTo>
                <a:lnTo>
                  <a:pt x="73" y="51"/>
                </a:lnTo>
                <a:lnTo>
                  <a:pt x="73" y="49"/>
                </a:lnTo>
                <a:lnTo>
                  <a:pt x="77" y="47"/>
                </a:lnTo>
                <a:lnTo>
                  <a:pt x="78" y="46"/>
                </a:lnTo>
                <a:lnTo>
                  <a:pt x="81" y="46"/>
                </a:lnTo>
                <a:lnTo>
                  <a:pt x="84" y="47"/>
                </a:lnTo>
                <a:lnTo>
                  <a:pt x="85" y="47"/>
                </a:lnTo>
                <a:lnTo>
                  <a:pt x="83" y="46"/>
                </a:lnTo>
                <a:lnTo>
                  <a:pt x="81" y="45"/>
                </a:lnTo>
                <a:lnTo>
                  <a:pt x="85" y="45"/>
                </a:lnTo>
                <a:lnTo>
                  <a:pt x="85" y="46"/>
                </a:lnTo>
                <a:lnTo>
                  <a:pt x="86" y="47"/>
                </a:lnTo>
                <a:lnTo>
                  <a:pt x="87" y="47"/>
                </a:lnTo>
                <a:lnTo>
                  <a:pt x="84" y="43"/>
                </a:lnTo>
                <a:lnTo>
                  <a:pt x="81" y="42"/>
                </a:lnTo>
                <a:lnTo>
                  <a:pt x="83" y="41"/>
                </a:lnTo>
                <a:lnTo>
                  <a:pt x="84" y="41"/>
                </a:lnTo>
                <a:lnTo>
                  <a:pt x="84" y="40"/>
                </a:lnTo>
                <a:lnTo>
                  <a:pt x="85" y="41"/>
                </a:lnTo>
                <a:lnTo>
                  <a:pt x="89" y="41"/>
                </a:lnTo>
                <a:lnTo>
                  <a:pt x="89" y="37"/>
                </a:lnTo>
                <a:lnTo>
                  <a:pt x="91" y="39"/>
                </a:lnTo>
                <a:lnTo>
                  <a:pt x="91" y="37"/>
                </a:lnTo>
                <a:lnTo>
                  <a:pt x="90" y="36"/>
                </a:lnTo>
                <a:lnTo>
                  <a:pt x="89" y="36"/>
                </a:lnTo>
                <a:lnTo>
                  <a:pt x="89" y="37"/>
                </a:lnTo>
                <a:lnTo>
                  <a:pt x="87" y="37"/>
                </a:lnTo>
                <a:lnTo>
                  <a:pt x="85" y="35"/>
                </a:lnTo>
                <a:lnTo>
                  <a:pt x="85" y="33"/>
                </a:lnTo>
                <a:lnTo>
                  <a:pt x="86" y="34"/>
                </a:lnTo>
                <a:lnTo>
                  <a:pt x="87" y="34"/>
                </a:lnTo>
                <a:lnTo>
                  <a:pt x="89" y="33"/>
                </a:lnTo>
                <a:lnTo>
                  <a:pt x="87" y="33"/>
                </a:lnTo>
                <a:lnTo>
                  <a:pt x="86" y="32"/>
                </a:lnTo>
                <a:lnTo>
                  <a:pt x="85" y="29"/>
                </a:lnTo>
                <a:lnTo>
                  <a:pt x="87" y="29"/>
                </a:lnTo>
                <a:lnTo>
                  <a:pt x="87" y="27"/>
                </a:lnTo>
                <a:lnTo>
                  <a:pt x="89" y="27"/>
                </a:lnTo>
                <a:lnTo>
                  <a:pt x="90" y="24"/>
                </a:lnTo>
                <a:lnTo>
                  <a:pt x="90" y="27"/>
                </a:lnTo>
                <a:lnTo>
                  <a:pt x="91" y="27"/>
                </a:lnTo>
                <a:lnTo>
                  <a:pt x="91" y="21"/>
                </a:lnTo>
                <a:lnTo>
                  <a:pt x="92" y="18"/>
                </a:lnTo>
                <a:lnTo>
                  <a:pt x="92" y="17"/>
                </a:lnTo>
                <a:lnTo>
                  <a:pt x="93" y="17"/>
                </a:lnTo>
                <a:lnTo>
                  <a:pt x="96" y="18"/>
                </a:lnTo>
                <a:lnTo>
                  <a:pt x="97" y="18"/>
                </a:lnTo>
                <a:lnTo>
                  <a:pt x="98" y="17"/>
                </a:lnTo>
                <a:lnTo>
                  <a:pt x="98" y="20"/>
                </a:lnTo>
                <a:lnTo>
                  <a:pt x="102" y="16"/>
                </a:lnTo>
                <a:lnTo>
                  <a:pt x="103" y="16"/>
                </a:lnTo>
                <a:lnTo>
                  <a:pt x="104" y="15"/>
                </a:lnTo>
                <a:lnTo>
                  <a:pt x="104" y="14"/>
                </a:lnTo>
                <a:lnTo>
                  <a:pt x="105" y="12"/>
                </a:lnTo>
                <a:lnTo>
                  <a:pt x="106" y="14"/>
                </a:lnTo>
                <a:lnTo>
                  <a:pt x="106" y="15"/>
                </a:lnTo>
                <a:lnTo>
                  <a:pt x="104" y="16"/>
                </a:lnTo>
                <a:lnTo>
                  <a:pt x="108" y="16"/>
                </a:lnTo>
                <a:lnTo>
                  <a:pt x="109" y="15"/>
                </a:lnTo>
                <a:lnTo>
                  <a:pt x="109" y="17"/>
                </a:lnTo>
                <a:lnTo>
                  <a:pt x="110" y="17"/>
                </a:lnTo>
                <a:lnTo>
                  <a:pt x="110" y="20"/>
                </a:lnTo>
                <a:lnTo>
                  <a:pt x="111" y="18"/>
                </a:lnTo>
                <a:lnTo>
                  <a:pt x="111" y="16"/>
                </a:lnTo>
                <a:lnTo>
                  <a:pt x="110" y="15"/>
                </a:lnTo>
                <a:lnTo>
                  <a:pt x="110" y="14"/>
                </a:lnTo>
                <a:lnTo>
                  <a:pt x="112" y="11"/>
                </a:lnTo>
                <a:lnTo>
                  <a:pt x="114" y="11"/>
                </a:lnTo>
                <a:lnTo>
                  <a:pt x="112" y="15"/>
                </a:lnTo>
                <a:lnTo>
                  <a:pt x="112" y="16"/>
                </a:lnTo>
                <a:lnTo>
                  <a:pt x="114" y="16"/>
                </a:lnTo>
                <a:lnTo>
                  <a:pt x="114" y="15"/>
                </a:lnTo>
                <a:lnTo>
                  <a:pt x="115" y="16"/>
                </a:lnTo>
                <a:lnTo>
                  <a:pt x="116" y="16"/>
                </a:lnTo>
                <a:lnTo>
                  <a:pt x="116" y="17"/>
                </a:lnTo>
                <a:lnTo>
                  <a:pt x="117" y="17"/>
                </a:lnTo>
                <a:lnTo>
                  <a:pt x="117" y="21"/>
                </a:lnTo>
                <a:lnTo>
                  <a:pt x="118" y="20"/>
                </a:lnTo>
                <a:lnTo>
                  <a:pt x="118" y="17"/>
                </a:lnTo>
                <a:lnTo>
                  <a:pt x="117" y="16"/>
                </a:lnTo>
                <a:lnTo>
                  <a:pt x="117" y="14"/>
                </a:lnTo>
                <a:lnTo>
                  <a:pt x="116" y="12"/>
                </a:lnTo>
                <a:lnTo>
                  <a:pt x="116" y="16"/>
                </a:lnTo>
                <a:lnTo>
                  <a:pt x="115" y="15"/>
                </a:lnTo>
                <a:lnTo>
                  <a:pt x="114" y="15"/>
                </a:lnTo>
                <a:lnTo>
                  <a:pt x="114" y="14"/>
                </a:lnTo>
                <a:lnTo>
                  <a:pt x="115" y="11"/>
                </a:lnTo>
                <a:lnTo>
                  <a:pt x="115" y="10"/>
                </a:lnTo>
                <a:lnTo>
                  <a:pt x="116" y="11"/>
                </a:lnTo>
                <a:lnTo>
                  <a:pt x="118" y="9"/>
                </a:lnTo>
                <a:lnTo>
                  <a:pt x="120" y="9"/>
                </a:lnTo>
                <a:lnTo>
                  <a:pt x="120" y="10"/>
                </a:lnTo>
                <a:lnTo>
                  <a:pt x="121" y="10"/>
                </a:lnTo>
                <a:lnTo>
                  <a:pt x="121" y="15"/>
                </a:lnTo>
                <a:lnTo>
                  <a:pt x="122" y="16"/>
                </a:lnTo>
                <a:lnTo>
                  <a:pt x="122" y="17"/>
                </a:lnTo>
                <a:lnTo>
                  <a:pt x="123" y="18"/>
                </a:lnTo>
                <a:lnTo>
                  <a:pt x="124" y="18"/>
                </a:lnTo>
                <a:lnTo>
                  <a:pt x="124" y="22"/>
                </a:lnTo>
                <a:lnTo>
                  <a:pt x="122" y="24"/>
                </a:lnTo>
                <a:lnTo>
                  <a:pt x="120" y="26"/>
                </a:lnTo>
                <a:lnTo>
                  <a:pt x="123" y="26"/>
                </a:lnTo>
                <a:lnTo>
                  <a:pt x="122" y="28"/>
                </a:lnTo>
                <a:lnTo>
                  <a:pt x="120" y="29"/>
                </a:lnTo>
                <a:lnTo>
                  <a:pt x="118" y="32"/>
                </a:lnTo>
                <a:lnTo>
                  <a:pt x="118" y="33"/>
                </a:lnTo>
                <a:lnTo>
                  <a:pt x="123" y="28"/>
                </a:lnTo>
                <a:lnTo>
                  <a:pt x="124" y="28"/>
                </a:lnTo>
                <a:lnTo>
                  <a:pt x="124" y="27"/>
                </a:lnTo>
                <a:lnTo>
                  <a:pt x="126" y="27"/>
                </a:lnTo>
                <a:lnTo>
                  <a:pt x="127" y="26"/>
                </a:lnTo>
                <a:lnTo>
                  <a:pt x="128" y="26"/>
                </a:lnTo>
                <a:lnTo>
                  <a:pt x="128" y="23"/>
                </a:lnTo>
                <a:lnTo>
                  <a:pt x="127" y="22"/>
                </a:lnTo>
                <a:lnTo>
                  <a:pt x="127" y="18"/>
                </a:lnTo>
                <a:lnTo>
                  <a:pt x="126" y="16"/>
                </a:lnTo>
                <a:lnTo>
                  <a:pt x="123" y="14"/>
                </a:lnTo>
                <a:lnTo>
                  <a:pt x="123" y="12"/>
                </a:lnTo>
                <a:lnTo>
                  <a:pt x="124" y="12"/>
                </a:lnTo>
                <a:lnTo>
                  <a:pt x="124" y="8"/>
                </a:lnTo>
                <a:lnTo>
                  <a:pt x="126" y="8"/>
                </a:lnTo>
                <a:lnTo>
                  <a:pt x="127" y="9"/>
                </a:lnTo>
                <a:lnTo>
                  <a:pt x="127" y="6"/>
                </a:lnTo>
                <a:lnTo>
                  <a:pt x="128" y="8"/>
                </a:lnTo>
                <a:lnTo>
                  <a:pt x="129" y="8"/>
                </a:lnTo>
                <a:lnTo>
                  <a:pt x="131" y="6"/>
                </a:lnTo>
                <a:lnTo>
                  <a:pt x="133" y="6"/>
                </a:lnTo>
                <a:lnTo>
                  <a:pt x="134" y="8"/>
                </a:lnTo>
                <a:lnTo>
                  <a:pt x="133" y="8"/>
                </a:lnTo>
                <a:lnTo>
                  <a:pt x="133" y="9"/>
                </a:lnTo>
                <a:lnTo>
                  <a:pt x="136" y="9"/>
                </a:lnTo>
                <a:lnTo>
                  <a:pt x="133" y="6"/>
                </a:lnTo>
                <a:lnTo>
                  <a:pt x="131" y="4"/>
                </a:lnTo>
                <a:lnTo>
                  <a:pt x="131" y="3"/>
                </a:lnTo>
                <a:lnTo>
                  <a:pt x="130" y="2"/>
                </a:lnTo>
                <a:lnTo>
                  <a:pt x="129" y="2"/>
                </a:lnTo>
                <a:lnTo>
                  <a:pt x="13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2" name="Freeform 37">
            <a:extLst>
              <a:ext uri="{FF2B5EF4-FFF2-40B4-BE49-F238E27FC236}">
                <a16:creationId xmlns:a16="http://schemas.microsoft.com/office/drawing/2014/main" id="{286CBF10-0FA2-463A-9C7A-062988E1DA44}"/>
              </a:ext>
            </a:extLst>
          </p:cNvPr>
          <p:cNvSpPr>
            <a:spLocks noEditPoints="1"/>
          </p:cNvSpPr>
          <p:nvPr/>
        </p:nvSpPr>
        <p:spPr bwMode="auto">
          <a:xfrm>
            <a:off x="2215526" y="4850905"/>
            <a:ext cx="414397" cy="253565"/>
          </a:xfrm>
          <a:custGeom>
            <a:avLst/>
            <a:gdLst/>
            <a:ahLst/>
            <a:cxnLst>
              <a:cxn ang="0">
                <a:pos x="199" y="0"/>
              </a:cxn>
              <a:cxn ang="0">
                <a:pos x="214" y="3"/>
              </a:cxn>
              <a:cxn ang="0">
                <a:pos x="223" y="1"/>
              </a:cxn>
              <a:cxn ang="0">
                <a:pos x="232" y="4"/>
              </a:cxn>
              <a:cxn ang="0">
                <a:pos x="245" y="13"/>
              </a:cxn>
              <a:cxn ang="0">
                <a:pos x="261" y="10"/>
              </a:cxn>
              <a:cxn ang="0">
                <a:pos x="266" y="21"/>
              </a:cxn>
              <a:cxn ang="0">
                <a:pos x="274" y="28"/>
              </a:cxn>
              <a:cxn ang="0">
                <a:pos x="285" y="31"/>
              </a:cxn>
              <a:cxn ang="0">
                <a:pos x="286" y="40"/>
              </a:cxn>
              <a:cxn ang="0">
                <a:pos x="271" y="51"/>
              </a:cxn>
              <a:cxn ang="0">
                <a:pos x="256" y="59"/>
              </a:cxn>
              <a:cxn ang="0">
                <a:pos x="245" y="76"/>
              </a:cxn>
              <a:cxn ang="0">
                <a:pos x="239" y="89"/>
              </a:cxn>
              <a:cxn ang="0">
                <a:pos x="235" y="98"/>
              </a:cxn>
              <a:cxn ang="0">
                <a:pos x="231" y="108"/>
              </a:cxn>
              <a:cxn ang="0">
                <a:pos x="229" y="117"/>
              </a:cxn>
              <a:cxn ang="0">
                <a:pos x="219" y="127"/>
              </a:cxn>
              <a:cxn ang="0">
                <a:pos x="214" y="136"/>
              </a:cxn>
              <a:cxn ang="0">
                <a:pos x="208" y="145"/>
              </a:cxn>
              <a:cxn ang="0">
                <a:pos x="201" y="143"/>
              </a:cxn>
              <a:cxn ang="0">
                <a:pos x="194" y="150"/>
              </a:cxn>
              <a:cxn ang="0">
                <a:pos x="176" y="150"/>
              </a:cxn>
              <a:cxn ang="0">
                <a:pos x="164" y="150"/>
              </a:cxn>
              <a:cxn ang="0">
                <a:pos x="151" y="149"/>
              </a:cxn>
              <a:cxn ang="0">
                <a:pos x="142" y="154"/>
              </a:cxn>
              <a:cxn ang="0">
                <a:pos x="134" y="158"/>
              </a:cxn>
              <a:cxn ang="0">
                <a:pos x="125" y="158"/>
              </a:cxn>
              <a:cxn ang="0">
                <a:pos x="114" y="166"/>
              </a:cxn>
              <a:cxn ang="0">
                <a:pos x="107" y="167"/>
              </a:cxn>
              <a:cxn ang="0">
                <a:pos x="96" y="175"/>
              </a:cxn>
              <a:cxn ang="0">
                <a:pos x="75" y="173"/>
              </a:cxn>
              <a:cxn ang="0">
                <a:pos x="56" y="163"/>
              </a:cxn>
              <a:cxn ang="0">
                <a:pos x="50" y="157"/>
              </a:cxn>
              <a:cxn ang="0">
                <a:pos x="37" y="147"/>
              </a:cxn>
              <a:cxn ang="0">
                <a:pos x="27" y="135"/>
              </a:cxn>
              <a:cxn ang="0">
                <a:pos x="20" y="131"/>
              </a:cxn>
              <a:cxn ang="0">
                <a:pos x="12" y="121"/>
              </a:cxn>
              <a:cxn ang="0">
                <a:pos x="9" y="111"/>
              </a:cxn>
              <a:cxn ang="0">
                <a:pos x="3" y="104"/>
              </a:cxn>
              <a:cxn ang="0">
                <a:pos x="13" y="98"/>
              </a:cxn>
              <a:cxn ang="0">
                <a:pos x="16" y="94"/>
              </a:cxn>
              <a:cxn ang="0">
                <a:pos x="14" y="87"/>
              </a:cxn>
              <a:cxn ang="0">
                <a:pos x="14" y="77"/>
              </a:cxn>
              <a:cxn ang="0">
                <a:pos x="22" y="68"/>
              </a:cxn>
              <a:cxn ang="0">
                <a:pos x="20" y="59"/>
              </a:cxn>
              <a:cxn ang="0">
                <a:pos x="18" y="55"/>
              </a:cxn>
              <a:cxn ang="0">
                <a:pos x="25" y="52"/>
              </a:cxn>
              <a:cxn ang="0">
                <a:pos x="32" y="56"/>
              </a:cxn>
              <a:cxn ang="0">
                <a:pos x="39" y="46"/>
              </a:cxn>
              <a:cxn ang="0">
                <a:pos x="43" y="39"/>
              </a:cxn>
              <a:cxn ang="0">
                <a:pos x="52" y="35"/>
              </a:cxn>
              <a:cxn ang="0">
                <a:pos x="65" y="47"/>
              </a:cxn>
              <a:cxn ang="0">
                <a:pos x="103" y="49"/>
              </a:cxn>
              <a:cxn ang="0">
                <a:pos x="115" y="46"/>
              </a:cxn>
              <a:cxn ang="0">
                <a:pos x="120" y="32"/>
              </a:cxn>
              <a:cxn ang="0">
                <a:pos x="143" y="27"/>
              </a:cxn>
              <a:cxn ang="0">
                <a:pos x="151" y="24"/>
              </a:cxn>
              <a:cxn ang="0">
                <a:pos x="164" y="26"/>
              </a:cxn>
              <a:cxn ang="0">
                <a:pos x="170" y="20"/>
              </a:cxn>
              <a:cxn ang="0">
                <a:pos x="182" y="9"/>
              </a:cxn>
              <a:cxn ang="0">
                <a:pos x="189" y="2"/>
              </a:cxn>
            </a:cxnLst>
            <a:rect l="0" t="0" r="r" b="b"/>
            <a:pathLst>
              <a:path w="286" h="175">
                <a:moveTo>
                  <a:pt x="121" y="163"/>
                </a:moveTo>
                <a:lnTo>
                  <a:pt x="123" y="163"/>
                </a:lnTo>
                <a:lnTo>
                  <a:pt x="123" y="164"/>
                </a:lnTo>
                <a:lnTo>
                  <a:pt x="121" y="164"/>
                </a:lnTo>
                <a:lnTo>
                  <a:pt x="121" y="163"/>
                </a:lnTo>
                <a:close/>
                <a:moveTo>
                  <a:pt x="198" y="0"/>
                </a:moveTo>
                <a:lnTo>
                  <a:pt x="199" y="0"/>
                </a:lnTo>
                <a:lnTo>
                  <a:pt x="200" y="1"/>
                </a:lnTo>
                <a:lnTo>
                  <a:pt x="202" y="1"/>
                </a:lnTo>
                <a:lnTo>
                  <a:pt x="205" y="3"/>
                </a:lnTo>
                <a:lnTo>
                  <a:pt x="210" y="3"/>
                </a:lnTo>
                <a:lnTo>
                  <a:pt x="211" y="4"/>
                </a:lnTo>
                <a:lnTo>
                  <a:pt x="212" y="4"/>
                </a:lnTo>
                <a:lnTo>
                  <a:pt x="214" y="3"/>
                </a:lnTo>
                <a:lnTo>
                  <a:pt x="218" y="3"/>
                </a:lnTo>
                <a:lnTo>
                  <a:pt x="218" y="4"/>
                </a:lnTo>
                <a:lnTo>
                  <a:pt x="219" y="3"/>
                </a:lnTo>
                <a:lnTo>
                  <a:pt x="219" y="2"/>
                </a:lnTo>
                <a:lnTo>
                  <a:pt x="220" y="2"/>
                </a:lnTo>
                <a:lnTo>
                  <a:pt x="220" y="1"/>
                </a:lnTo>
                <a:lnTo>
                  <a:pt x="223" y="1"/>
                </a:lnTo>
                <a:lnTo>
                  <a:pt x="225" y="0"/>
                </a:lnTo>
                <a:lnTo>
                  <a:pt x="225" y="1"/>
                </a:lnTo>
                <a:lnTo>
                  <a:pt x="227" y="1"/>
                </a:lnTo>
                <a:lnTo>
                  <a:pt x="227" y="2"/>
                </a:lnTo>
                <a:lnTo>
                  <a:pt x="229" y="2"/>
                </a:lnTo>
                <a:lnTo>
                  <a:pt x="229" y="4"/>
                </a:lnTo>
                <a:lnTo>
                  <a:pt x="232" y="4"/>
                </a:lnTo>
                <a:lnTo>
                  <a:pt x="232" y="6"/>
                </a:lnTo>
                <a:lnTo>
                  <a:pt x="233" y="8"/>
                </a:lnTo>
                <a:lnTo>
                  <a:pt x="236" y="12"/>
                </a:lnTo>
                <a:lnTo>
                  <a:pt x="239" y="15"/>
                </a:lnTo>
                <a:lnTo>
                  <a:pt x="240" y="14"/>
                </a:lnTo>
                <a:lnTo>
                  <a:pt x="243" y="13"/>
                </a:lnTo>
                <a:lnTo>
                  <a:pt x="245" y="13"/>
                </a:lnTo>
                <a:lnTo>
                  <a:pt x="246" y="12"/>
                </a:lnTo>
                <a:lnTo>
                  <a:pt x="254" y="12"/>
                </a:lnTo>
                <a:lnTo>
                  <a:pt x="255" y="10"/>
                </a:lnTo>
                <a:lnTo>
                  <a:pt x="256" y="10"/>
                </a:lnTo>
                <a:lnTo>
                  <a:pt x="256" y="9"/>
                </a:lnTo>
                <a:lnTo>
                  <a:pt x="260" y="9"/>
                </a:lnTo>
                <a:lnTo>
                  <a:pt x="261" y="10"/>
                </a:lnTo>
                <a:lnTo>
                  <a:pt x="260" y="12"/>
                </a:lnTo>
                <a:lnTo>
                  <a:pt x="260" y="13"/>
                </a:lnTo>
                <a:lnTo>
                  <a:pt x="262" y="13"/>
                </a:lnTo>
                <a:lnTo>
                  <a:pt x="262" y="18"/>
                </a:lnTo>
                <a:lnTo>
                  <a:pt x="264" y="20"/>
                </a:lnTo>
                <a:lnTo>
                  <a:pt x="264" y="21"/>
                </a:lnTo>
                <a:lnTo>
                  <a:pt x="266" y="21"/>
                </a:lnTo>
                <a:lnTo>
                  <a:pt x="266" y="20"/>
                </a:lnTo>
                <a:lnTo>
                  <a:pt x="267" y="21"/>
                </a:lnTo>
                <a:lnTo>
                  <a:pt x="268" y="21"/>
                </a:lnTo>
                <a:lnTo>
                  <a:pt x="269" y="20"/>
                </a:lnTo>
                <a:lnTo>
                  <a:pt x="273" y="25"/>
                </a:lnTo>
                <a:lnTo>
                  <a:pt x="273" y="26"/>
                </a:lnTo>
                <a:lnTo>
                  <a:pt x="274" y="28"/>
                </a:lnTo>
                <a:lnTo>
                  <a:pt x="274" y="30"/>
                </a:lnTo>
                <a:lnTo>
                  <a:pt x="279" y="30"/>
                </a:lnTo>
                <a:lnTo>
                  <a:pt x="280" y="28"/>
                </a:lnTo>
                <a:lnTo>
                  <a:pt x="281" y="28"/>
                </a:lnTo>
                <a:lnTo>
                  <a:pt x="281" y="30"/>
                </a:lnTo>
                <a:lnTo>
                  <a:pt x="283" y="30"/>
                </a:lnTo>
                <a:lnTo>
                  <a:pt x="285" y="31"/>
                </a:lnTo>
                <a:lnTo>
                  <a:pt x="285" y="32"/>
                </a:lnTo>
                <a:lnTo>
                  <a:pt x="286" y="33"/>
                </a:lnTo>
                <a:lnTo>
                  <a:pt x="286" y="34"/>
                </a:lnTo>
                <a:lnTo>
                  <a:pt x="285" y="35"/>
                </a:lnTo>
                <a:lnTo>
                  <a:pt x="285" y="38"/>
                </a:lnTo>
                <a:lnTo>
                  <a:pt x="286" y="39"/>
                </a:lnTo>
                <a:lnTo>
                  <a:pt x="286" y="40"/>
                </a:lnTo>
                <a:lnTo>
                  <a:pt x="283" y="43"/>
                </a:lnTo>
                <a:lnTo>
                  <a:pt x="282" y="43"/>
                </a:lnTo>
                <a:lnTo>
                  <a:pt x="281" y="44"/>
                </a:lnTo>
                <a:lnTo>
                  <a:pt x="281" y="46"/>
                </a:lnTo>
                <a:lnTo>
                  <a:pt x="280" y="46"/>
                </a:lnTo>
                <a:lnTo>
                  <a:pt x="275" y="51"/>
                </a:lnTo>
                <a:lnTo>
                  <a:pt x="271" y="51"/>
                </a:lnTo>
                <a:lnTo>
                  <a:pt x="268" y="49"/>
                </a:lnTo>
                <a:lnTo>
                  <a:pt x="267" y="50"/>
                </a:lnTo>
                <a:lnTo>
                  <a:pt x="267" y="52"/>
                </a:lnTo>
                <a:lnTo>
                  <a:pt x="262" y="52"/>
                </a:lnTo>
                <a:lnTo>
                  <a:pt x="257" y="57"/>
                </a:lnTo>
                <a:lnTo>
                  <a:pt x="257" y="58"/>
                </a:lnTo>
                <a:lnTo>
                  <a:pt x="256" y="59"/>
                </a:lnTo>
                <a:lnTo>
                  <a:pt x="256" y="62"/>
                </a:lnTo>
                <a:lnTo>
                  <a:pt x="251" y="64"/>
                </a:lnTo>
                <a:lnTo>
                  <a:pt x="250" y="67"/>
                </a:lnTo>
                <a:lnTo>
                  <a:pt x="249" y="68"/>
                </a:lnTo>
                <a:lnTo>
                  <a:pt x="249" y="75"/>
                </a:lnTo>
                <a:lnTo>
                  <a:pt x="246" y="76"/>
                </a:lnTo>
                <a:lnTo>
                  <a:pt x="245" y="76"/>
                </a:lnTo>
                <a:lnTo>
                  <a:pt x="245" y="77"/>
                </a:lnTo>
                <a:lnTo>
                  <a:pt x="243" y="80"/>
                </a:lnTo>
                <a:lnTo>
                  <a:pt x="243" y="83"/>
                </a:lnTo>
                <a:lnTo>
                  <a:pt x="242" y="84"/>
                </a:lnTo>
                <a:lnTo>
                  <a:pt x="242" y="88"/>
                </a:lnTo>
                <a:lnTo>
                  <a:pt x="240" y="89"/>
                </a:lnTo>
                <a:lnTo>
                  <a:pt x="239" y="89"/>
                </a:lnTo>
                <a:lnTo>
                  <a:pt x="239" y="92"/>
                </a:lnTo>
                <a:lnTo>
                  <a:pt x="238" y="93"/>
                </a:lnTo>
                <a:lnTo>
                  <a:pt x="236" y="94"/>
                </a:lnTo>
                <a:lnTo>
                  <a:pt x="236" y="95"/>
                </a:lnTo>
                <a:lnTo>
                  <a:pt x="233" y="96"/>
                </a:lnTo>
                <a:lnTo>
                  <a:pt x="233" y="98"/>
                </a:lnTo>
                <a:lnTo>
                  <a:pt x="235" y="98"/>
                </a:lnTo>
                <a:lnTo>
                  <a:pt x="236" y="99"/>
                </a:lnTo>
                <a:lnTo>
                  <a:pt x="235" y="99"/>
                </a:lnTo>
                <a:lnTo>
                  <a:pt x="235" y="102"/>
                </a:lnTo>
                <a:lnTo>
                  <a:pt x="232" y="104"/>
                </a:lnTo>
                <a:lnTo>
                  <a:pt x="232" y="107"/>
                </a:lnTo>
                <a:lnTo>
                  <a:pt x="231" y="107"/>
                </a:lnTo>
                <a:lnTo>
                  <a:pt x="231" y="108"/>
                </a:lnTo>
                <a:lnTo>
                  <a:pt x="230" y="108"/>
                </a:lnTo>
                <a:lnTo>
                  <a:pt x="229" y="110"/>
                </a:lnTo>
                <a:lnTo>
                  <a:pt x="227" y="113"/>
                </a:lnTo>
                <a:lnTo>
                  <a:pt x="226" y="114"/>
                </a:lnTo>
                <a:lnTo>
                  <a:pt x="227" y="114"/>
                </a:lnTo>
                <a:lnTo>
                  <a:pt x="229" y="115"/>
                </a:lnTo>
                <a:lnTo>
                  <a:pt x="229" y="117"/>
                </a:lnTo>
                <a:lnTo>
                  <a:pt x="227" y="118"/>
                </a:lnTo>
                <a:lnTo>
                  <a:pt x="225" y="118"/>
                </a:lnTo>
                <a:lnTo>
                  <a:pt x="225" y="120"/>
                </a:lnTo>
                <a:lnTo>
                  <a:pt x="224" y="121"/>
                </a:lnTo>
                <a:lnTo>
                  <a:pt x="220" y="121"/>
                </a:lnTo>
                <a:lnTo>
                  <a:pt x="219" y="123"/>
                </a:lnTo>
                <a:lnTo>
                  <a:pt x="219" y="127"/>
                </a:lnTo>
                <a:lnTo>
                  <a:pt x="218" y="127"/>
                </a:lnTo>
                <a:lnTo>
                  <a:pt x="218" y="130"/>
                </a:lnTo>
                <a:lnTo>
                  <a:pt x="219" y="132"/>
                </a:lnTo>
                <a:lnTo>
                  <a:pt x="219" y="133"/>
                </a:lnTo>
                <a:lnTo>
                  <a:pt x="218" y="135"/>
                </a:lnTo>
                <a:lnTo>
                  <a:pt x="215" y="135"/>
                </a:lnTo>
                <a:lnTo>
                  <a:pt x="214" y="136"/>
                </a:lnTo>
                <a:lnTo>
                  <a:pt x="214" y="139"/>
                </a:lnTo>
                <a:lnTo>
                  <a:pt x="213" y="141"/>
                </a:lnTo>
                <a:lnTo>
                  <a:pt x="213" y="143"/>
                </a:lnTo>
                <a:lnTo>
                  <a:pt x="212" y="142"/>
                </a:lnTo>
                <a:lnTo>
                  <a:pt x="211" y="143"/>
                </a:lnTo>
                <a:lnTo>
                  <a:pt x="210" y="145"/>
                </a:lnTo>
                <a:lnTo>
                  <a:pt x="208" y="145"/>
                </a:lnTo>
                <a:lnTo>
                  <a:pt x="207" y="144"/>
                </a:lnTo>
                <a:lnTo>
                  <a:pt x="205" y="144"/>
                </a:lnTo>
                <a:lnTo>
                  <a:pt x="204" y="143"/>
                </a:lnTo>
                <a:lnTo>
                  <a:pt x="202" y="143"/>
                </a:lnTo>
                <a:lnTo>
                  <a:pt x="202" y="144"/>
                </a:lnTo>
                <a:lnTo>
                  <a:pt x="201" y="144"/>
                </a:lnTo>
                <a:lnTo>
                  <a:pt x="201" y="143"/>
                </a:lnTo>
                <a:lnTo>
                  <a:pt x="198" y="143"/>
                </a:lnTo>
                <a:lnTo>
                  <a:pt x="196" y="145"/>
                </a:lnTo>
                <a:lnTo>
                  <a:pt x="195" y="145"/>
                </a:lnTo>
                <a:lnTo>
                  <a:pt x="196" y="147"/>
                </a:lnTo>
                <a:lnTo>
                  <a:pt x="196" y="148"/>
                </a:lnTo>
                <a:lnTo>
                  <a:pt x="194" y="148"/>
                </a:lnTo>
                <a:lnTo>
                  <a:pt x="194" y="150"/>
                </a:lnTo>
                <a:lnTo>
                  <a:pt x="193" y="151"/>
                </a:lnTo>
                <a:lnTo>
                  <a:pt x="189" y="151"/>
                </a:lnTo>
                <a:lnTo>
                  <a:pt x="188" y="150"/>
                </a:lnTo>
                <a:lnTo>
                  <a:pt x="186" y="149"/>
                </a:lnTo>
                <a:lnTo>
                  <a:pt x="184" y="149"/>
                </a:lnTo>
                <a:lnTo>
                  <a:pt x="183" y="150"/>
                </a:lnTo>
                <a:lnTo>
                  <a:pt x="176" y="150"/>
                </a:lnTo>
                <a:lnTo>
                  <a:pt x="175" y="153"/>
                </a:lnTo>
                <a:lnTo>
                  <a:pt x="173" y="151"/>
                </a:lnTo>
                <a:lnTo>
                  <a:pt x="171" y="150"/>
                </a:lnTo>
                <a:lnTo>
                  <a:pt x="171" y="151"/>
                </a:lnTo>
                <a:lnTo>
                  <a:pt x="170" y="151"/>
                </a:lnTo>
                <a:lnTo>
                  <a:pt x="170" y="150"/>
                </a:lnTo>
                <a:lnTo>
                  <a:pt x="164" y="150"/>
                </a:lnTo>
                <a:lnTo>
                  <a:pt x="162" y="149"/>
                </a:lnTo>
                <a:lnTo>
                  <a:pt x="161" y="150"/>
                </a:lnTo>
                <a:lnTo>
                  <a:pt x="159" y="150"/>
                </a:lnTo>
                <a:lnTo>
                  <a:pt x="156" y="151"/>
                </a:lnTo>
                <a:lnTo>
                  <a:pt x="155" y="151"/>
                </a:lnTo>
                <a:lnTo>
                  <a:pt x="152" y="150"/>
                </a:lnTo>
                <a:lnTo>
                  <a:pt x="151" y="149"/>
                </a:lnTo>
                <a:lnTo>
                  <a:pt x="146" y="149"/>
                </a:lnTo>
                <a:lnTo>
                  <a:pt x="145" y="150"/>
                </a:lnTo>
                <a:lnTo>
                  <a:pt x="144" y="150"/>
                </a:lnTo>
                <a:lnTo>
                  <a:pt x="143" y="151"/>
                </a:lnTo>
                <a:lnTo>
                  <a:pt x="144" y="153"/>
                </a:lnTo>
                <a:lnTo>
                  <a:pt x="143" y="154"/>
                </a:lnTo>
                <a:lnTo>
                  <a:pt x="142" y="154"/>
                </a:lnTo>
                <a:lnTo>
                  <a:pt x="142" y="155"/>
                </a:lnTo>
                <a:lnTo>
                  <a:pt x="140" y="155"/>
                </a:lnTo>
                <a:lnTo>
                  <a:pt x="139" y="156"/>
                </a:lnTo>
                <a:lnTo>
                  <a:pt x="139" y="157"/>
                </a:lnTo>
                <a:lnTo>
                  <a:pt x="136" y="157"/>
                </a:lnTo>
                <a:lnTo>
                  <a:pt x="136" y="158"/>
                </a:lnTo>
                <a:lnTo>
                  <a:pt x="134" y="158"/>
                </a:lnTo>
                <a:lnTo>
                  <a:pt x="134" y="160"/>
                </a:lnTo>
                <a:lnTo>
                  <a:pt x="133" y="161"/>
                </a:lnTo>
                <a:lnTo>
                  <a:pt x="132" y="161"/>
                </a:lnTo>
                <a:lnTo>
                  <a:pt x="128" y="160"/>
                </a:lnTo>
                <a:lnTo>
                  <a:pt x="127" y="160"/>
                </a:lnTo>
                <a:lnTo>
                  <a:pt x="127" y="158"/>
                </a:lnTo>
                <a:lnTo>
                  <a:pt x="125" y="158"/>
                </a:lnTo>
                <a:lnTo>
                  <a:pt x="125" y="162"/>
                </a:lnTo>
                <a:lnTo>
                  <a:pt x="121" y="162"/>
                </a:lnTo>
                <a:lnTo>
                  <a:pt x="121" y="163"/>
                </a:lnTo>
                <a:lnTo>
                  <a:pt x="118" y="163"/>
                </a:lnTo>
                <a:lnTo>
                  <a:pt x="118" y="164"/>
                </a:lnTo>
                <a:lnTo>
                  <a:pt x="114" y="164"/>
                </a:lnTo>
                <a:lnTo>
                  <a:pt x="114" y="166"/>
                </a:lnTo>
                <a:lnTo>
                  <a:pt x="113" y="166"/>
                </a:lnTo>
                <a:lnTo>
                  <a:pt x="113" y="167"/>
                </a:lnTo>
                <a:lnTo>
                  <a:pt x="111" y="166"/>
                </a:lnTo>
                <a:lnTo>
                  <a:pt x="109" y="164"/>
                </a:lnTo>
                <a:lnTo>
                  <a:pt x="108" y="164"/>
                </a:lnTo>
                <a:lnTo>
                  <a:pt x="107" y="166"/>
                </a:lnTo>
                <a:lnTo>
                  <a:pt x="107" y="167"/>
                </a:lnTo>
                <a:lnTo>
                  <a:pt x="105" y="169"/>
                </a:lnTo>
                <a:lnTo>
                  <a:pt x="105" y="170"/>
                </a:lnTo>
                <a:lnTo>
                  <a:pt x="102" y="172"/>
                </a:lnTo>
                <a:lnTo>
                  <a:pt x="101" y="173"/>
                </a:lnTo>
                <a:lnTo>
                  <a:pt x="101" y="172"/>
                </a:lnTo>
                <a:lnTo>
                  <a:pt x="97" y="175"/>
                </a:lnTo>
                <a:lnTo>
                  <a:pt x="96" y="175"/>
                </a:lnTo>
                <a:lnTo>
                  <a:pt x="96" y="174"/>
                </a:lnTo>
                <a:lnTo>
                  <a:pt x="92" y="174"/>
                </a:lnTo>
                <a:lnTo>
                  <a:pt x="90" y="173"/>
                </a:lnTo>
                <a:lnTo>
                  <a:pt x="83" y="173"/>
                </a:lnTo>
                <a:lnTo>
                  <a:pt x="80" y="172"/>
                </a:lnTo>
                <a:lnTo>
                  <a:pt x="75" y="172"/>
                </a:lnTo>
                <a:lnTo>
                  <a:pt x="75" y="173"/>
                </a:lnTo>
                <a:lnTo>
                  <a:pt x="72" y="170"/>
                </a:lnTo>
                <a:lnTo>
                  <a:pt x="68" y="169"/>
                </a:lnTo>
                <a:lnTo>
                  <a:pt x="65" y="169"/>
                </a:lnTo>
                <a:lnTo>
                  <a:pt x="65" y="166"/>
                </a:lnTo>
                <a:lnTo>
                  <a:pt x="62" y="162"/>
                </a:lnTo>
                <a:lnTo>
                  <a:pt x="56" y="162"/>
                </a:lnTo>
                <a:lnTo>
                  <a:pt x="56" y="163"/>
                </a:lnTo>
                <a:lnTo>
                  <a:pt x="55" y="162"/>
                </a:lnTo>
                <a:lnTo>
                  <a:pt x="52" y="162"/>
                </a:lnTo>
                <a:lnTo>
                  <a:pt x="52" y="161"/>
                </a:lnTo>
                <a:lnTo>
                  <a:pt x="51" y="161"/>
                </a:lnTo>
                <a:lnTo>
                  <a:pt x="51" y="158"/>
                </a:lnTo>
                <a:lnTo>
                  <a:pt x="50" y="158"/>
                </a:lnTo>
                <a:lnTo>
                  <a:pt x="50" y="157"/>
                </a:lnTo>
                <a:lnTo>
                  <a:pt x="47" y="153"/>
                </a:lnTo>
                <a:lnTo>
                  <a:pt x="46" y="153"/>
                </a:lnTo>
                <a:lnTo>
                  <a:pt x="43" y="151"/>
                </a:lnTo>
                <a:lnTo>
                  <a:pt x="40" y="150"/>
                </a:lnTo>
                <a:lnTo>
                  <a:pt x="40" y="149"/>
                </a:lnTo>
                <a:lnTo>
                  <a:pt x="39" y="149"/>
                </a:lnTo>
                <a:lnTo>
                  <a:pt x="37" y="147"/>
                </a:lnTo>
                <a:lnTo>
                  <a:pt x="34" y="142"/>
                </a:lnTo>
                <a:lnTo>
                  <a:pt x="33" y="142"/>
                </a:lnTo>
                <a:lnTo>
                  <a:pt x="33" y="138"/>
                </a:lnTo>
                <a:lnTo>
                  <a:pt x="32" y="137"/>
                </a:lnTo>
                <a:lnTo>
                  <a:pt x="32" y="136"/>
                </a:lnTo>
                <a:lnTo>
                  <a:pt x="28" y="136"/>
                </a:lnTo>
                <a:lnTo>
                  <a:pt x="27" y="135"/>
                </a:lnTo>
                <a:lnTo>
                  <a:pt x="26" y="135"/>
                </a:lnTo>
                <a:lnTo>
                  <a:pt x="25" y="133"/>
                </a:lnTo>
                <a:lnTo>
                  <a:pt x="25" y="132"/>
                </a:lnTo>
                <a:lnTo>
                  <a:pt x="22" y="130"/>
                </a:lnTo>
                <a:lnTo>
                  <a:pt x="21" y="130"/>
                </a:lnTo>
                <a:lnTo>
                  <a:pt x="21" y="131"/>
                </a:lnTo>
                <a:lnTo>
                  <a:pt x="20" y="131"/>
                </a:lnTo>
                <a:lnTo>
                  <a:pt x="20" y="130"/>
                </a:lnTo>
                <a:lnTo>
                  <a:pt x="18" y="129"/>
                </a:lnTo>
                <a:lnTo>
                  <a:pt x="18" y="126"/>
                </a:lnTo>
                <a:lnTo>
                  <a:pt x="15" y="125"/>
                </a:lnTo>
                <a:lnTo>
                  <a:pt x="14" y="123"/>
                </a:lnTo>
                <a:lnTo>
                  <a:pt x="13" y="121"/>
                </a:lnTo>
                <a:lnTo>
                  <a:pt x="12" y="121"/>
                </a:lnTo>
                <a:lnTo>
                  <a:pt x="12" y="119"/>
                </a:lnTo>
                <a:lnTo>
                  <a:pt x="13" y="119"/>
                </a:lnTo>
                <a:lnTo>
                  <a:pt x="13" y="117"/>
                </a:lnTo>
                <a:lnTo>
                  <a:pt x="12" y="117"/>
                </a:lnTo>
                <a:lnTo>
                  <a:pt x="9" y="114"/>
                </a:lnTo>
                <a:lnTo>
                  <a:pt x="8" y="112"/>
                </a:lnTo>
                <a:lnTo>
                  <a:pt x="9" y="111"/>
                </a:lnTo>
                <a:lnTo>
                  <a:pt x="9" y="108"/>
                </a:lnTo>
                <a:lnTo>
                  <a:pt x="7" y="106"/>
                </a:lnTo>
                <a:lnTo>
                  <a:pt x="3" y="107"/>
                </a:lnTo>
                <a:lnTo>
                  <a:pt x="0" y="107"/>
                </a:lnTo>
                <a:lnTo>
                  <a:pt x="1" y="106"/>
                </a:lnTo>
                <a:lnTo>
                  <a:pt x="2" y="104"/>
                </a:lnTo>
                <a:lnTo>
                  <a:pt x="3" y="104"/>
                </a:lnTo>
                <a:lnTo>
                  <a:pt x="5" y="102"/>
                </a:lnTo>
                <a:lnTo>
                  <a:pt x="6" y="102"/>
                </a:lnTo>
                <a:lnTo>
                  <a:pt x="6" y="100"/>
                </a:lnTo>
                <a:lnTo>
                  <a:pt x="7" y="100"/>
                </a:lnTo>
                <a:lnTo>
                  <a:pt x="7" y="99"/>
                </a:lnTo>
                <a:lnTo>
                  <a:pt x="8" y="98"/>
                </a:lnTo>
                <a:lnTo>
                  <a:pt x="13" y="98"/>
                </a:lnTo>
                <a:lnTo>
                  <a:pt x="13" y="99"/>
                </a:lnTo>
                <a:lnTo>
                  <a:pt x="15" y="99"/>
                </a:lnTo>
                <a:lnTo>
                  <a:pt x="16" y="98"/>
                </a:lnTo>
                <a:lnTo>
                  <a:pt x="15" y="96"/>
                </a:lnTo>
                <a:lnTo>
                  <a:pt x="14" y="96"/>
                </a:lnTo>
                <a:lnTo>
                  <a:pt x="16" y="95"/>
                </a:lnTo>
                <a:lnTo>
                  <a:pt x="16" y="94"/>
                </a:lnTo>
                <a:lnTo>
                  <a:pt x="15" y="94"/>
                </a:lnTo>
                <a:lnTo>
                  <a:pt x="15" y="92"/>
                </a:lnTo>
                <a:lnTo>
                  <a:pt x="16" y="92"/>
                </a:lnTo>
                <a:lnTo>
                  <a:pt x="18" y="90"/>
                </a:lnTo>
                <a:lnTo>
                  <a:pt x="18" y="89"/>
                </a:lnTo>
                <a:lnTo>
                  <a:pt x="14" y="89"/>
                </a:lnTo>
                <a:lnTo>
                  <a:pt x="14" y="87"/>
                </a:lnTo>
                <a:lnTo>
                  <a:pt x="13" y="87"/>
                </a:lnTo>
                <a:lnTo>
                  <a:pt x="13" y="86"/>
                </a:lnTo>
                <a:lnTo>
                  <a:pt x="14" y="84"/>
                </a:lnTo>
                <a:lnTo>
                  <a:pt x="14" y="83"/>
                </a:lnTo>
                <a:lnTo>
                  <a:pt x="16" y="81"/>
                </a:lnTo>
                <a:lnTo>
                  <a:pt x="15" y="80"/>
                </a:lnTo>
                <a:lnTo>
                  <a:pt x="14" y="77"/>
                </a:lnTo>
                <a:lnTo>
                  <a:pt x="14" y="74"/>
                </a:lnTo>
                <a:lnTo>
                  <a:pt x="15" y="73"/>
                </a:lnTo>
                <a:lnTo>
                  <a:pt x="16" y="74"/>
                </a:lnTo>
                <a:lnTo>
                  <a:pt x="21" y="71"/>
                </a:lnTo>
                <a:lnTo>
                  <a:pt x="22" y="70"/>
                </a:lnTo>
                <a:lnTo>
                  <a:pt x="24" y="70"/>
                </a:lnTo>
                <a:lnTo>
                  <a:pt x="22" y="68"/>
                </a:lnTo>
                <a:lnTo>
                  <a:pt x="24" y="67"/>
                </a:lnTo>
                <a:lnTo>
                  <a:pt x="25" y="67"/>
                </a:lnTo>
                <a:lnTo>
                  <a:pt x="25" y="64"/>
                </a:lnTo>
                <a:lnTo>
                  <a:pt x="24" y="63"/>
                </a:lnTo>
                <a:lnTo>
                  <a:pt x="24" y="61"/>
                </a:lnTo>
                <a:lnTo>
                  <a:pt x="22" y="59"/>
                </a:lnTo>
                <a:lnTo>
                  <a:pt x="20" y="59"/>
                </a:lnTo>
                <a:lnTo>
                  <a:pt x="18" y="58"/>
                </a:lnTo>
                <a:lnTo>
                  <a:pt x="16" y="58"/>
                </a:lnTo>
                <a:lnTo>
                  <a:pt x="14" y="57"/>
                </a:lnTo>
                <a:lnTo>
                  <a:pt x="14" y="55"/>
                </a:lnTo>
                <a:lnTo>
                  <a:pt x="15" y="56"/>
                </a:lnTo>
                <a:lnTo>
                  <a:pt x="16" y="55"/>
                </a:lnTo>
                <a:lnTo>
                  <a:pt x="18" y="55"/>
                </a:lnTo>
                <a:lnTo>
                  <a:pt x="18" y="53"/>
                </a:lnTo>
                <a:lnTo>
                  <a:pt x="19" y="53"/>
                </a:lnTo>
                <a:lnTo>
                  <a:pt x="18" y="52"/>
                </a:lnTo>
                <a:lnTo>
                  <a:pt x="19" y="52"/>
                </a:lnTo>
                <a:lnTo>
                  <a:pt x="20" y="51"/>
                </a:lnTo>
                <a:lnTo>
                  <a:pt x="21" y="51"/>
                </a:lnTo>
                <a:lnTo>
                  <a:pt x="25" y="52"/>
                </a:lnTo>
                <a:lnTo>
                  <a:pt x="26" y="53"/>
                </a:lnTo>
                <a:lnTo>
                  <a:pt x="26" y="55"/>
                </a:lnTo>
                <a:lnTo>
                  <a:pt x="27" y="56"/>
                </a:lnTo>
                <a:lnTo>
                  <a:pt x="31" y="56"/>
                </a:lnTo>
                <a:lnTo>
                  <a:pt x="31" y="55"/>
                </a:lnTo>
                <a:lnTo>
                  <a:pt x="32" y="53"/>
                </a:lnTo>
                <a:lnTo>
                  <a:pt x="32" y="56"/>
                </a:lnTo>
                <a:lnTo>
                  <a:pt x="34" y="56"/>
                </a:lnTo>
                <a:lnTo>
                  <a:pt x="38" y="55"/>
                </a:lnTo>
                <a:lnTo>
                  <a:pt x="41" y="55"/>
                </a:lnTo>
                <a:lnTo>
                  <a:pt x="41" y="53"/>
                </a:lnTo>
                <a:lnTo>
                  <a:pt x="40" y="53"/>
                </a:lnTo>
                <a:lnTo>
                  <a:pt x="40" y="46"/>
                </a:lnTo>
                <a:lnTo>
                  <a:pt x="39" y="46"/>
                </a:lnTo>
                <a:lnTo>
                  <a:pt x="39" y="45"/>
                </a:lnTo>
                <a:lnTo>
                  <a:pt x="38" y="45"/>
                </a:lnTo>
                <a:lnTo>
                  <a:pt x="38" y="44"/>
                </a:lnTo>
                <a:lnTo>
                  <a:pt x="40" y="44"/>
                </a:lnTo>
                <a:lnTo>
                  <a:pt x="41" y="43"/>
                </a:lnTo>
                <a:lnTo>
                  <a:pt x="41" y="39"/>
                </a:lnTo>
                <a:lnTo>
                  <a:pt x="43" y="39"/>
                </a:lnTo>
                <a:lnTo>
                  <a:pt x="43" y="38"/>
                </a:lnTo>
                <a:lnTo>
                  <a:pt x="41" y="38"/>
                </a:lnTo>
                <a:lnTo>
                  <a:pt x="44" y="35"/>
                </a:lnTo>
                <a:lnTo>
                  <a:pt x="46" y="34"/>
                </a:lnTo>
                <a:lnTo>
                  <a:pt x="47" y="34"/>
                </a:lnTo>
                <a:lnTo>
                  <a:pt x="50" y="35"/>
                </a:lnTo>
                <a:lnTo>
                  <a:pt x="52" y="35"/>
                </a:lnTo>
                <a:lnTo>
                  <a:pt x="53" y="37"/>
                </a:lnTo>
                <a:lnTo>
                  <a:pt x="58" y="43"/>
                </a:lnTo>
                <a:lnTo>
                  <a:pt x="59" y="44"/>
                </a:lnTo>
                <a:lnTo>
                  <a:pt x="61" y="44"/>
                </a:lnTo>
                <a:lnTo>
                  <a:pt x="62" y="46"/>
                </a:lnTo>
                <a:lnTo>
                  <a:pt x="64" y="46"/>
                </a:lnTo>
                <a:lnTo>
                  <a:pt x="65" y="47"/>
                </a:lnTo>
                <a:lnTo>
                  <a:pt x="66" y="47"/>
                </a:lnTo>
                <a:lnTo>
                  <a:pt x="66" y="49"/>
                </a:lnTo>
                <a:lnTo>
                  <a:pt x="69" y="50"/>
                </a:lnTo>
                <a:lnTo>
                  <a:pt x="70" y="51"/>
                </a:lnTo>
                <a:lnTo>
                  <a:pt x="92" y="51"/>
                </a:lnTo>
                <a:lnTo>
                  <a:pt x="95" y="50"/>
                </a:lnTo>
                <a:lnTo>
                  <a:pt x="103" y="49"/>
                </a:lnTo>
                <a:lnTo>
                  <a:pt x="106" y="49"/>
                </a:lnTo>
                <a:lnTo>
                  <a:pt x="107" y="50"/>
                </a:lnTo>
                <a:lnTo>
                  <a:pt x="109" y="50"/>
                </a:lnTo>
                <a:lnTo>
                  <a:pt x="112" y="47"/>
                </a:lnTo>
                <a:lnTo>
                  <a:pt x="113" y="47"/>
                </a:lnTo>
                <a:lnTo>
                  <a:pt x="114" y="46"/>
                </a:lnTo>
                <a:lnTo>
                  <a:pt x="115" y="46"/>
                </a:lnTo>
                <a:lnTo>
                  <a:pt x="113" y="45"/>
                </a:lnTo>
                <a:lnTo>
                  <a:pt x="112" y="44"/>
                </a:lnTo>
                <a:lnTo>
                  <a:pt x="112" y="37"/>
                </a:lnTo>
                <a:lnTo>
                  <a:pt x="114" y="37"/>
                </a:lnTo>
                <a:lnTo>
                  <a:pt x="115" y="34"/>
                </a:lnTo>
                <a:lnTo>
                  <a:pt x="115" y="33"/>
                </a:lnTo>
                <a:lnTo>
                  <a:pt x="120" y="32"/>
                </a:lnTo>
                <a:lnTo>
                  <a:pt x="124" y="32"/>
                </a:lnTo>
                <a:lnTo>
                  <a:pt x="127" y="31"/>
                </a:lnTo>
                <a:lnTo>
                  <a:pt x="132" y="32"/>
                </a:lnTo>
                <a:lnTo>
                  <a:pt x="134" y="31"/>
                </a:lnTo>
                <a:lnTo>
                  <a:pt x="140" y="31"/>
                </a:lnTo>
                <a:lnTo>
                  <a:pt x="143" y="28"/>
                </a:lnTo>
                <a:lnTo>
                  <a:pt x="143" y="27"/>
                </a:lnTo>
                <a:lnTo>
                  <a:pt x="144" y="26"/>
                </a:lnTo>
                <a:lnTo>
                  <a:pt x="144" y="22"/>
                </a:lnTo>
                <a:lnTo>
                  <a:pt x="145" y="22"/>
                </a:lnTo>
                <a:lnTo>
                  <a:pt x="149" y="21"/>
                </a:lnTo>
                <a:lnTo>
                  <a:pt x="150" y="21"/>
                </a:lnTo>
                <a:lnTo>
                  <a:pt x="150" y="22"/>
                </a:lnTo>
                <a:lnTo>
                  <a:pt x="151" y="24"/>
                </a:lnTo>
                <a:lnTo>
                  <a:pt x="153" y="22"/>
                </a:lnTo>
                <a:lnTo>
                  <a:pt x="155" y="24"/>
                </a:lnTo>
                <a:lnTo>
                  <a:pt x="155" y="26"/>
                </a:lnTo>
                <a:lnTo>
                  <a:pt x="158" y="26"/>
                </a:lnTo>
                <a:lnTo>
                  <a:pt x="161" y="28"/>
                </a:lnTo>
                <a:lnTo>
                  <a:pt x="162" y="27"/>
                </a:lnTo>
                <a:lnTo>
                  <a:pt x="164" y="26"/>
                </a:lnTo>
                <a:lnTo>
                  <a:pt x="164" y="25"/>
                </a:lnTo>
                <a:lnTo>
                  <a:pt x="167" y="25"/>
                </a:lnTo>
                <a:lnTo>
                  <a:pt x="168" y="24"/>
                </a:lnTo>
                <a:lnTo>
                  <a:pt x="169" y="24"/>
                </a:lnTo>
                <a:lnTo>
                  <a:pt x="169" y="22"/>
                </a:lnTo>
                <a:lnTo>
                  <a:pt x="170" y="21"/>
                </a:lnTo>
                <a:lnTo>
                  <a:pt x="170" y="20"/>
                </a:lnTo>
                <a:lnTo>
                  <a:pt x="173" y="20"/>
                </a:lnTo>
                <a:lnTo>
                  <a:pt x="174" y="19"/>
                </a:lnTo>
                <a:lnTo>
                  <a:pt x="175" y="19"/>
                </a:lnTo>
                <a:lnTo>
                  <a:pt x="176" y="20"/>
                </a:lnTo>
                <a:lnTo>
                  <a:pt x="180" y="16"/>
                </a:lnTo>
                <a:lnTo>
                  <a:pt x="181" y="14"/>
                </a:lnTo>
                <a:lnTo>
                  <a:pt x="182" y="9"/>
                </a:lnTo>
                <a:lnTo>
                  <a:pt x="182" y="8"/>
                </a:lnTo>
                <a:lnTo>
                  <a:pt x="183" y="8"/>
                </a:lnTo>
                <a:lnTo>
                  <a:pt x="186" y="6"/>
                </a:lnTo>
                <a:lnTo>
                  <a:pt x="186" y="4"/>
                </a:lnTo>
                <a:lnTo>
                  <a:pt x="184" y="3"/>
                </a:lnTo>
                <a:lnTo>
                  <a:pt x="186" y="2"/>
                </a:lnTo>
                <a:lnTo>
                  <a:pt x="189" y="2"/>
                </a:lnTo>
                <a:lnTo>
                  <a:pt x="198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3" name="Freeform 38">
            <a:extLst>
              <a:ext uri="{FF2B5EF4-FFF2-40B4-BE49-F238E27FC236}">
                <a16:creationId xmlns:a16="http://schemas.microsoft.com/office/drawing/2014/main" id="{BC851291-30E3-42C4-9DED-A901D52BD99E}"/>
              </a:ext>
            </a:extLst>
          </p:cNvPr>
          <p:cNvSpPr>
            <a:spLocks noEditPoints="1"/>
          </p:cNvSpPr>
          <p:nvPr/>
        </p:nvSpPr>
        <p:spPr bwMode="auto">
          <a:xfrm>
            <a:off x="2432867" y="5442072"/>
            <a:ext cx="524516" cy="540455"/>
          </a:xfrm>
          <a:custGeom>
            <a:avLst/>
            <a:gdLst/>
            <a:ahLst/>
            <a:cxnLst>
              <a:cxn ang="0">
                <a:pos x="191" y="339"/>
              </a:cxn>
              <a:cxn ang="0">
                <a:pos x="268" y="351"/>
              </a:cxn>
              <a:cxn ang="0">
                <a:pos x="208" y="357"/>
              </a:cxn>
              <a:cxn ang="0">
                <a:pos x="318" y="326"/>
              </a:cxn>
              <a:cxn ang="0">
                <a:pos x="139" y="292"/>
              </a:cxn>
              <a:cxn ang="0">
                <a:pos x="348" y="313"/>
              </a:cxn>
              <a:cxn ang="0">
                <a:pos x="329" y="289"/>
              </a:cxn>
              <a:cxn ang="0">
                <a:pos x="346" y="282"/>
              </a:cxn>
              <a:cxn ang="0">
                <a:pos x="200" y="274"/>
              </a:cxn>
              <a:cxn ang="0">
                <a:pos x="211" y="270"/>
              </a:cxn>
              <a:cxn ang="0">
                <a:pos x="270" y="264"/>
              </a:cxn>
              <a:cxn ang="0">
                <a:pos x="306" y="255"/>
              </a:cxn>
              <a:cxn ang="0">
                <a:pos x="232" y="255"/>
              </a:cxn>
              <a:cxn ang="0">
                <a:pos x="204" y="252"/>
              </a:cxn>
              <a:cxn ang="0">
                <a:pos x="203" y="238"/>
              </a:cxn>
              <a:cxn ang="0">
                <a:pos x="162" y="231"/>
              </a:cxn>
              <a:cxn ang="0">
                <a:pos x="232" y="226"/>
              </a:cxn>
              <a:cxn ang="0">
                <a:pos x="309" y="219"/>
              </a:cxn>
              <a:cxn ang="0">
                <a:pos x="50" y="222"/>
              </a:cxn>
              <a:cxn ang="0">
                <a:pos x="216" y="213"/>
              </a:cxn>
              <a:cxn ang="0">
                <a:pos x="45" y="185"/>
              </a:cxn>
              <a:cxn ang="0">
                <a:pos x="38" y="186"/>
              </a:cxn>
              <a:cxn ang="0">
                <a:pos x="266" y="195"/>
              </a:cxn>
              <a:cxn ang="0">
                <a:pos x="54" y="172"/>
              </a:cxn>
              <a:cxn ang="0">
                <a:pos x="141" y="159"/>
              </a:cxn>
              <a:cxn ang="0">
                <a:pos x="160" y="154"/>
              </a:cxn>
              <a:cxn ang="0">
                <a:pos x="206" y="208"/>
              </a:cxn>
              <a:cxn ang="0">
                <a:pos x="161" y="171"/>
              </a:cxn>
              <a:cxn ang="0">
                <a:pos x="161" y="140"/>
              </a:cxn>
              <a:cxn ang="0">
                <a:pos x="282" y="133"/>
              </a:cxn>
              <a:cxn ang="0">
                <a:pos x="280" y="141"/>
              </a:cxn>
              <a:cxn ang="0">
                <a:pos x="12" y="109"/>
              </a:cxn>
              <a:cxn ang="0">
                <a:pos x="6" y="108"/>
              </a:cxn>
              <a:cxn ang="0">
                <a:pos x="229" y="98"/>
              </a:cxn>
              <a:cxn ang="0">
                <a:pos x="208" y="63"/>
              </a:cxn>
              <a:cxn ang="0">
                <a:pos x="284" y="41"/>
              </a:cxn>
              <a:cxn ang="0">
                <a:pos x="225" y="44"/>
              </a:cxn>
              <a:cxn ang="0">
                <a:pos x="173" y="62"/>
              </a:cxn>
              <a:cxn ang="0">
                <a:pos x="170" y="79"/>
              </a:cxn>
              <a:cxn ang="0">
                <a:pos x="156" y="85"/>
              </a:cxn>
              <a:cxn ang="0">
                <a:pos x="137" y="62"/>
              </a:cxn>
              <a:cxn ang="0">
                <a:pos x="138" y="120"/>
              </a:cxn>
              <a:cxn ang="0">
                <a:pos x="136" y="143"/>
              </a:cxn>
              <a:cxn ang="0">
                <a:pos x="124" y="160"/>
              </a:cxn>
              <a:cxn ang="0">
                <a:pos x="167" y="182"/>
              </a:cxn>
              <a:cxn ang="0">
                <a:pos x="180" y="217"/>
              </a:cxn>
              <a:cxn ang="0">
                <a:pos x="149" y="222"/>
              </a:cxn>
              <a:cxn ang="0">
                <a:pos x="147" y="240"/>
              </a:cxn>
              <a:cxn ang="0">
                <a:pos x="143" y="265"/>
              </a:cxn>
              <a:cxn ang="0">
                <a:pos x="124" y="272"/>
              </a:cxn>
              <a:cxn ang="0">
                <a:pos x="99" y="258"/>
              </a:cxn>
              <a:cxn ang="0">
                <a:pos x="67" y="216"/>
              </a:cxn>
              <a:cxn ang="0">
                <a:pos x="139" y="209"/>
              </a:cxn>
              <a:cxn ang="0">
                <a:pos x="129" y="189"/>
              </a:cxn>
              <a:cxn ang="0">
                <a:pos x="89" y="186"/>
              </a:cxn>
              <a:cxn ang="0">
                <a:pos x="58" y="174"/>
              </a:cxn>
              <a:cxn ang="0">
                <a:pos x="61" y="149"/>
              </a:cxn>
              <a:cxn ang="0">
                <a:pos x="25" y="129"/>
              </a:cxn>
              <a:cxn ang="0">
                <a:pos x="43" y="92"/>
              </a:cxn>
              <a:cxn ang="0">
                <a:pos x="94" y="40"/>
              </a:cxn>
              <a:cxn ang="0">
                <a:pos x="155" y="20"/>
              </a:cxn>
              <a:cxn ang="0">
                <a:pos x="213" y="19"/>
              </a:cxn>
              <a:cxn ang="0">
                <a:pos x="275" y="12"/>
              </a:cxn>
            </a:cxnLst>
            <a:rect l="0" t="0" r="r" b="b"/>
            <a:pathLst>
              <a:path w="362" h="373">
                <a:moveTo>
                  <a:pt x="187" y="369"/>
                </a:moveTo>
                <a:lnTo>
                  <a:pt x="188" y="369"/>
                </a:lnTo>
                <a:lnTo>
                  <a:pt x="189" y="370"/>
                </a:lnTo>
                <a:lnTo>
                  <a:pt x="188" y="370"/>
                </a:lnTo>
                <a:lnTo>
                  <a:pt x="188" y="372"/>
                </a:lnTo>
                <a:lnTo>
                  <a:pt x="189" y="372"/>
                </a:lnTo>
                <a:lnTo>
                  <a:pt x="189" y="373"/>
                </a:lnTo>
                <a:lnTo>
                  <a:pt x="188" y="373"/>
                </a:lnTo>
                <a:lnTo>
                  <a:pt x="186" y="370"/>
                </a:lnTo>
                <a:lnTo>
                  <a:pt x="187" y="370"/>
                </a:lnTo>
                <a:lnTo>
                  <a:pt x="187" y="369"/>
                </a:lnTo>
                <a:close/>
                <a:moveTo>
                  <a:pt x="280" y="346"/>
                </a:moveTo>
                <a:lnTo>
                  <a:pt x="281" y="346"/>
                </a:lnTo>
                <a:lnTo>
                  <a:pt x="281" y="348"/>
                </a:lnTo>
                <a:lnTo>
                  <a:pt x="280" y="348"/>
                </a:lnTo>
                <a:lnTo>
                  <a:pt x="280" y="346"/>
                </a:lnTo>
                <a:close/>
                <a:moveTo>
                  <a:pt x="309" y="341"/>
                </a:moveTo>
                <a:lnTo>
                  <a:pt x="310" y="341"/>
                </a:lnTo>
                <a:lnTo>
                  <a:pt x="310" y="343"/>
                </a:lnTo>
                <a:lnTo>
                  <a:pt x="307" y="343"/>
                </a:lnTo>
                <a:lnTo>
                  <a:pt x="307" y="344"/>
                </a:lnTo>
                <a:lnTo>
                  <a:pt x="306" y="344"/>
                </a:lnTo>
                <a:lnTo>
                  <a:pt x="305" y="345"/>
                </a:lnTo>
                <a:lnTo>
                  <a:pt x="304" y="344"/>
                </a:lnTo>
                <a:lnTo>
                  <a:pt x="304" y="343"/>
                </a:lnTo>
                <a:lnTo>
                  <a:pt x="305" y="342"/>
                </a:lnTo>
                <a:lnTo>
                  <a:pt x="307" y="342"/>
                </a:lnTo>
                <a:lnTo>
                  <a:pt x="309" y="341"/>
                </a:lnTo>
                <a:close/>
                <a:moveTo>
                  <a:pt x="173" y="327"/>
                </a:moveTo>
                <a:lnTo>
                  <a:pt x="174" y="327"/>
                </a:lnTo>
                <a:lnTo>
                  <a:pt x="174" y="333"/>
                </a:lnTo>
                <a:lnTo>
                  <a:pt x="176" y="336"/>
                </a:lnTo>
                <a:lnTo>
                  <a:pt x="186" y="336"/>
                </a:lnTo>
                <a:lnTo>
                  <a:pt x="186" y="335"/>
                </a:lnTo>
                <a:lnTo>
                  <a:pt x="187" y="335"/>
                </a:lnTo>
                <a:lnTo>
                  <a:pt x="187" y="332"/>
                </a:lnTo>
                <a:lnTo>
                  <a:pt x="192" y="332"/>
                </a:lnTo>
                <a:lnTo>
                  <a:pt x="192" y="337"/>
                </a:lnTo>
                <a:lnTo>
                  <a:pt x="187" y="337"/>
                </a:lnTo>
                <a:lnTo>
                  <a:pt x="187" y="338"/>
                </a:lnTo>
                <a:lnTo>
                  <a:pt x="189" y="338"/>
                </a:lnTo>
                <a:lnTo>
                  <a:pt x="191" y="339"/>
                </a:lnTo>
                <a:lnTo>
                  <a:pt x="193" y="339"/>
                </a:lnTo>
                <a:lnTo>
                  <a:pt x="194" y="338"/>
                </a:lnTo>
                <a:lnTo>
                  <a:pt x="194" y="344"/>
                </a:lnTo>
                <a:lnTo>
                  <a:pt x="197" y="344"/>
                </a:lnTo>
                <a:lnTo>
                  <a:pt x="198" y="345"/>
                </a:lnTo>
                <a:lnTo>
                  <a:pt x="201" y="344"/>
                </a:lnTo>
                <a:lnTo>
                  <a:pt x="204" y="344"/>
                </a:lnTo>
                <a:lnTo>
                  <a:pt x="207" y="343"/>
                </a:lnTo>
                <a:lnTo>
                  <a:pt x="208" y="343"/>
                </a:lnTo>
                <a:lnTo>
                  <a:pt x="211" y="342"/>
                </a:lnTo>
                <a:lnTo>
                  <a:pt x="212" y="341"/>
                </a:lnTo>
                <a:lnTo>
                  <a:pt x="214" y="341"/>
                </a:lnTo>
                <a:lnTo>
                  <a:pt x="218" y="342"/>
                </a:lnTo>
                <a:lnTo>
                  <a:pt x="220" y="342"/>
                </a:lnTo>
                <a:lnTo>
                  <a:pt x="222" y="341"/>
                </a:lnTo>
                <a:lnTo>
                  <a:pt x="224" y="342"/>
                </a:lnTo>
                <a:lnTo>
                  <a:pt x="224" y="341"/>
                </a:lnTo>
                <a:lnTo>
                  <a:pt x="226" y="342"/>
                </a:lnTo>
                <a:lnTo>
                  <a:pt x="228" y="342"/>
                </a:lnTo>
                <a:lnTo>
                  <a:pt x="228" y="344"/>
                </a:lnTo>
                <a:lnTo>
                  <a:pt x="229" y="345"/>
                </a:lnTo>
                <a:lnTo>
                  <a:pt x="242" y="345"/>
                </a:lnTo>
                <a:lnTo>
                  <a:pt x="242" y="346"/>
                </a:lnTo>
                <a:lnTo>
                  <a:pt x="243" y="346"/>
                </a:lnTo>
                <a:lnTo>
                  <a:pt x="243" y="348"/>
                </a:lnTo>
                <a:lnTo>
                  <a:pt x="247" y="348"/>
                </a:lnTo>
                <a:lnTo>
                  <a:pt x="253" y="345"/>
                </a:lnTo>
                <a:lnTo>
                  <a:pt x="259" y="345"/>
                </a:lnTo>
                <a:lnTo>
                  <a:pt x="256" y="348"/>
                </a:lnTo>
                <a:lnTo>
                  <a:pt x="256" y="349"/>
                </a:lnTo>
                <a:lnTo>
                  <a:pt x="257" y="350"/>
                </a:lnTo>
                <a:lnTo>
                  <a:pt x="256" y="350"/>
                </a:lnTo>
                <a:lnTo>
                  <a:pt x="256" y="356"/>
                </a:lnTo>
                <a:lnTo>
                  <a:pt x="259" y="356"/>
                </a:lnTo>
                <a:lnTo>
                  <a:pt x="259" y="357"/>
                </a:lnTo>
                <a:lnTo>
                  <a:pt x="260" y="357"/>
                </a:lnTo>
                <a:lnTo>
                  <a:pt x="261" y="356"/>
                </a:lnTo>
                <a:lnTo>
                  <a:pt x="261" y="355"/>
                </a:lnTo>
                <a:lnTo>
                  <a:pt x="263" y="355"/>
                </a:lnTo>
                <a:lnTo>
                  <a:pt x="263" y="354"/>
                </a:lnTo>
                <a:lnTo>
                  <a:pt x="266" y="354"/>
                </a:lnTo>
                <a:lnTo>
                  <a:pt x="268" y="351"/>
                </a:lnTo>
                <a:lnTo>
                  <a:pt x="273" y="351"/>
                </a:lnTo>
                <a:lnTo>
                  <a:pt x="273" y="352"/>
                </a:lnTo>
                <a:lnTo>
                  <a:pt x="275" y="352"/>
                </a:lnTo>
                <a:lnTo>
                  <a:pt x="278" y="350"/>
                </a:lnTo>
                <a:lnTo>
                  <a:pt x="278" y="349"/>
                </a:lnTo>
                <a:lnTo>
                  <a:pt x="279" y="348"/>
                </a:lnTo>
                <a:lnTo>
                  <a:pt x="280" y="348"/>
                </a:lnTo>
                <a:lnTo>
                  <a:pt x="280" y="349"/>
                </a:lnTo>
                <a:lnTo>
                  <a:pt x="279" y="350"/>
                </a:lnTo>
                <a:lnTo>
                  <a:pt x="280" y="352"/>
                </a:lnTo>
                <a:lnTo>
                  <a:pt x="280" y="354"/>
                </a:lnTo>
                <a:lnTo>
                  <a:pt x="281" y="352"/>
                </a:lnTo>
                <a:lnTo>
                  <a:pt x="281" y="354"/>
                </a:lnTo>
                <a:lnTo>
                  <a:pt x="280" y="355"/>
                </a:lnTo>
                <a:lnTo>
                  <a:pt x="280" y="357"/>
                </a:lnTo>
                <a:lnTo>
                  <a:pt x="279" y="358"/>
                </a:lnTo>
                <a:lnTo>
                  <a:pt x="279" y="360"/>
                </a:lnTo>
                <a:lnTo>
                  <a:pt x="276" y="362"/>
                </a:lnTo>
                <a:lnTo>
                  <a:pt x="274" y="363"/>
                </a:lnTo>
                <a:lnTo>
                  <a:pt x="273" y="363"/>
                </a:lnTo>
                <a:lnTo>
                  <a:pt x="272" y="362"/>
                </a:lnTo>
                <a:lnTo>
                  <a:pt x="269" y="362"/>
                </a:lnTo>
                <a:lnTo>
                  <a:pt x="268" y="361"/>
                </a:lnTo>
                <a:lnTo>
                  <a:pt x="265" y="361"/>
                </a:lnTo>
                <a:lnTo>
                  <a:pt x="263" y="362"/>
                </a:lnTo>
                <a:lnTo>
                  <a:pt x="251" y="362"/>
                </a:lnTo>
                <a:lnTo>
                  <a:pt x="248" y="363"/>
                </a:lnTo>
                <a:lnTo>
                  <a:pt x="238" y="363"/>
                </a:lnTo>
                <a:lnTo>
                  <a:pt x="238" y="364"/>
                </a:lnTo>
                <a:lnTo>
                  <a:pt x="237" y="364"/>
                </a:lnTo>
                <a:lnTo>
                  <a:pt x="235" y="366"/>
                </a:lnTo>
                <a:lnTo>
                  <a:pt x="228" y="366"/>
                </a:lnTo>
                <a:lnTo>
                  <a:pt x="226" y="367"/>
                </a:lnTo>
                <a:lnTo>
                  <a:pt x="226" y="366"/>
                </a:lnTo>
                <a:lnTo>
                  <a:pt x="225" y="366"/>
                </a:lnTo>
                <a:lnTo>
                  <a:pt x="214" y="367"/>
                </a:lnTo>
                <a:lnTo>
                  <a:pt x="214" y="366"/>
                </a:lnTo>
                <a:lnTo>
                  <a:pt x="216" y="366"/>
                </a:lnTo>
                <a:lnTo>
                  <a:pt x="216" y="360"/>
                </a:lnTo>
                <a:lnTo>
                  <a:pt x="214" y="358"/>
                </a:lnTo>
                <a:lnTo>
                  <a:pt x="210" y="358"/>
                </a:lnTo>
                <a:lnTo>
                  <a:pt x="208" y="357"/>
                </a:lnTo>
                <a:lnTo>
                  <a:pt x="207" y="357"/>
                </a:lnTo>
                <a:lnTo>
                  <a:pt x="206" y="356"/>
                </a:lnTo>
                <a:lnTo>
                  <a:pt x="205" y="356"/>
                </a:lnTo>
                <a:lnTo>
                  <a:pt x="205" y="355"/>
                </a:lnTo>
                <a:lnTo>
                  <a:pt x="203" y="355"/>
                </a:lnTo>
                <a:lnTo>
                  <a:pt x="200" y="354"/>
                </a:lnTo>
                <a:lnTo>
                  <a:pt x="193" y="354"/>
                </a:lnTo>
                <a:lnTo>
                  <a:pt x="193" y="352"/>
                </a:lnTo>
                <a:lnTo>
                  <a:pt x="187" y="352"/>
                </a:lnTo>
                <a:lnTo>
                  <a:pt x="186" y="354"/>
                </a:lnTo>
                <a:lnTo>
                  <a:pt x="183" y="351"/>
                </a:lnTo>
                <a:lnTo>
                  <a:pt x="178" y="351"/>
                </a:lnTo>
                <a:lnTo>
                  <a:pt x="176" y="350"/>
                </a:lnTo>
                <a:lnTo>
                  <a:pt x="175" y="350"/>
                </a:lnTo>
                <a:lnTo>
                  <a:pt x="174" y="351"/>
                </a:lnTo>
                <a:lnTo>
                  <a:pt x="167" y="351"/>
                </a:lnTo>
                <a:lnTo>
                  <a:pt x="166" y="350"/>
                </a:lnTo>
                <a:lnTo>
                  <a:pt x="166" y="349"/>
                </a:lnTo>
                <a:lnTo>
                  <a:pt x="164" y="349"/>
                </a:lnTo>
                <a:lnTo>
                  <a:pt x="163" y="348"/>
                </a:lnTo>
                <a:lnTo>
                  <a:pt x="163" y="346"/>
                </a:lnTo>
                <a:lnTo>
                  <a:pt x="164" y="346"/>
                </a:lnTo>
                <a:lnTo>
                  <a:pt x="164" y="343"/>
                </a:lnTo>
                <a:lnTo>
                  <a:pt x="166" y="342"/>
                </a:lnTo>
                <a:lnTo>
                  <a:pt x="166" y="339"/>
                </a:lnTo>
                <a:lnTo>
                  <a:pt x="164" y="339"/>
                </a:lnTo>
                <a:lnTo>
                  <a:pt x="166" y="338"/>
                </a:lnTo>
                <a:lnTo>
                  <a:pt x="166" y="333"/>
                </a:lnTo>
                <a:lnTo>
                  <a:pt x="167" y="332"/>
                </a:lnTo>
                <a:lnTo>
                  <a:pt x="167" y="336"/>
                </a:lnTo>
                <a:lnTo>
                  <a:pt x="168" y="336"/>
                </a:lnTo>
                <a:lnTo>
                  <a:pt x="168" y="337"/>
                </a:lnTo>
                <a:lnTo>
                  <a:pt x="172" y="337"/>
                </a:lnTo>
                <a:lnTo>
                  <a:pt x="172" y="336"/>
                </a:lnTo>
                <a:lnTo>
                  <a:pt x="173" y="335"/>
                </a:lnTo>
                <a:lnTo>
                  <a:pt x="172" y="333"/>
                </a:lnTo>
                <a:lnTo>
                  <a:pt x="172" y="329"/>
                </a:lnTo>
                <a:lnTo>
                  <a:pt x="173" y="327"/>
                </a:lnTo>
                <a:close/>
                <a:moveTo>
                  <a:pt x="318" y="320"/>
                </a:moveTo>
                <a:lnTo>
                  <a:pt x="319" y="320"/>
                </a:lnTo>
                <a:lnTo>
                  <a:pt x="319" y="326"/>
                </a:lnTo>
                <a:lnTo>
                  <a:pt x="318" y="326"/>
                </a:lnTo>
                <a:lnTo>
                  <a:pt x="318" y="329"/>
                </a:lnTo>
                <a:lnTo>
                  <a:pt x="317" y="329"/>
                </a:lnTo>
                <a:lnTo>
                  <a:pt x="317" y="331"/>
                </a:lnTo>
                <a:lnTo>
                  <a:pt x="318" y="332"/>
                </a:lnTo>
                <a:lnTo>
                  <a:pt x="319" y="335"/>
                </a:lnTo>
                <a:lnTo>
                  <a:pt x="319" y="337"/>
                </a:lnTo>
                <a:lnTo>
                  <a:pt x="321" y="337"/>
                </a:lnTo>
                <a:lnTo>
                  <a:pt x="318" y="339"/>
                </a:lnTo>
                <a:lnTo>
                  <a:pt x="317" y="339"/>
                </a:lnTo>
                <a:lnTo>
                  <a:pt x="317" y="342"/>
                </a:lnTo>
                <a:lnTo>
                  <a:pt x="316" y="342"/>
                </a:lnTo>
                <a:lnTo>
                  <a:pt x="316" y="341"/>
                </a:lnTo>
                <a:lnTo>
                  <a:pt x="315" y="341"/>
                </a:lnTo>
                <a:lnTo>
                  <a:pt x="315" y="333"/>
                </a:lnTo>
                <a:lnTo>
                  <a:pt x="313" y="333"/>
                </a:lnTo>
                <a:lnTo>
                  <a:pt x="313" y="330"/>
                </a:lnTo>
                <a:lnTo>
                  <a:pt x="315" y="330"/>
                </a:lnTo>
                <a:lnTo>
                  <a:pt x="316" y="329"/>
                </a:lnTo>
                <a:lnTo>
                  <a:pt x="316" y="327"/>
                </a:lnTo>
                <a:lnTo>
                  <a:pt x="317" y="326"/>
                </a:lnTo>
                <a:lnTo>
                  <a:pt x="317" y="321"/>
                </a:lnTo>
                <a:lnTo>
                  <a:pt x="318" y="321"/>
                </a:lnTo>
                <a:lnTo>
                  <a:pt x="318" y="320"/>
                </a:lnTo>
                <a:close/>
                <a:moveTo>
                  <a:pt x="152" y="317"/>
                </a:moveTo>
                <a:lnTo>
                  <a:pt x="154" y="317"/>
                </a:lnTo>
                <a:lnTo>
                  <a:pt x="155" y="318"/>
                </a:lnTo>
                <a:lnTo>
                  <a:pt x="155" y="319"/>
                </a:lnTo>
                <a:lnTo>
                  <a:pt x="154" y="319"/>
                </a:lnTo>
                <a:lnTo>
                  <a:pt x="154" y="318"/>
                </a:lnTo>
                <a:lnTo>
                  <a:pt x="152" y="317"/>
                </a:lnTo>
                <a:close/>
                <a:moveTo>
                  <a:pt x="332" y="299"/>
                </a:moveTo>
                <a:lnTo>
                  <a:pt x="336" y="299"/>
                </a:lnTo>
                <a:lnTo>
                  <a:pt x="336" y="300"/>
                </a:lnTo>
                <a:lnTo>
                  <a:pt x="332" y="300"/>
                </a:lnTo>
                <a:lnTo>
                  <a:pt x="332" y="299"/>
                </a:lnTo>
                <a:close/>
                <a:moveTo>
                  <a:pt x="257" y="290"/>
                </a:moveTo>
                <a:lnTo>
                  <a:pt x="260" y="290"/>
                </a:lnTo>
                <a:lnTo>
                  <a:pt x="262" y="293"/>
                </a:lnTo>
                <a:lnTo>
                  <a:pt x="257" y="293"/>
                </a:lnTo>
                <a:lnTo>
                  <a:pt x="257" y="290"/>
                </a:lnTo>
                <a:close/>
                <a:moveTo>
                  <a:pt x="139" y="290"/>
                </a:moveTo>
                <a:lnTo>
                  <a:pt x="139" y="292"/>
                </a:lnTo>
                <a:lnTo>
                  <a:pt x="142" y="294"/>
                </a:lnTo>
                <a:lnTo>
                  <a:pt x="142" y="295"/>
                </a:lnTo>
                <a:lnTo>
                  <a:pt x="144" y="298"/>
                </a:lnTo>
                <a:lnTo>
                  <a:pt x="145" y="298"/>
                </a:lnTo>
                <a:lnTo>
                  <a:pt x="145" y="299"/>
                </a:lnTo>
                <a:lnTo>
                  <a:pt x="144" y="300"/>
                </a:lnTo>
                <a:lnTo>
                  <a:pt x="144" y="301"/>
                </a:lnTo>
                <a:lnTo>
                  <a:pt x="143" y="303"/>
                </a:lnTo>
                <a:lnTo>
                  <a:pt x="141" y="303"/>
                </a:lnTo>
                <a:lnTo>
                  <a:pt x="139" y="302"/>
                </a:lnTo>
                <a:lnTo>
                  <a:pt x="138" y="302"/>
                </a:lnTo>
                <a:lnTo>
                  <a:pt x="138" y="301"/>
                </a:lnTo>
                <a:lnTo>
                  <a:pt x="137" y="300"/>
                </a:lnTo>
                <a:lnTo>
                  <a:pt x="138" y="298"/>
                </a:lnTo>
                <a:lnTo>
                  <a:pt x="138" y="296"/>
                </a:lnTo>
                <a:lnTo>
                  <a:pt x="137" y="295"/>
                </a:lnTo>
                <a:lnTo>
                  <a:pt x="137" y="294"/>
                </a:lnTo>
                <a:lnTo>
                  <a:pt x="138" y="292"/>
                </a:lnTo>
                <a:lnTo>
                  <a:pt x="139" y="290"/>
                </a:lnTo>
                <a:close/>
                <a:moveTo>
                  <a:pt x="361" y="288"/>
                </a:moveTo>
                <a:lnTo>
                  <a:pt x="362" y="288"/>
                </a:lnTo>
                <a:lnTo>
                  <a:pt x="362" y="292"/>
                </a:lnTo>
                <a:lnTo>
                  <a:pt x="361" y="293"/>
                </a:lnTo>
                <a:lnTo>
                  <a:pt x="361" y="295"/>
                </a:lnTo>
                <a:lnTo>
                  <a:pt x="360" y="296"/>
                </a:lnTo>
                <a:lnTo>
                  <a:pt x="360" y="299"/>
                </a:lnTo>
                <a:lnTo>
                  <a:pt x="359" y="299"/>
                </a:lnTo>
                <a:lnTo>
                  <a:pt x="359" y="300"/>
                </a:lnTo>
                <a:lnTo>
                  <a:pt x="357" y="301"/>
                </a:lnTo>
                <a:lnTo>
                  <a:pt x="356" y="301"/>
                </a:lnTo>
                <a:lnTo>
                  <a:pt x="356" y="302"/>
                </a:lnTo>
                <a:lnTo>
                  <a:pt x="355" y="305"/>
                </a:lnTo>
                <a:lnTo>
                  <a:pt x="355" y="306"/>
                </a:lnTo>
                <a:lnTo>
                  <a:pt x="356" y="306"/>
                </a:lnTo>
                <a:lnTo>
                  <a:pt x="356" y="307"/>
                </a:lnTo>
                <a:lnTo>
                  <a:pt x="355" y="307"/>
                </a:lnTo>
                <a:lnTo>
                  <a:pt x="356" y="308"/>
                </a:lnTo>
                <a:lnTo>
                  <a:pt x="354" y="307"/>
                </a:lnTo>
                <a:lnTo>
                  <a:pt x="353" y="307"/>
                </a:lnTo>
                <a:lnTo>
                  <a:pt x="350" y="309"/>
                </a:lnTo>
                <a:lnTo>
                  <a:pt x="349" y="309"/>
                </a:lnTo>
                <a:lnTo>
                  <a:pt x="348" y="313"/>
                </a:lnTo>
                <a:lnTo>
                  <a:pt x="346" y="315"/>
                </a:lnTo>
                <a:lnTo>
                  <a:pt x="343" y="317"/>
                </a:lnTo>
                <a:lnTo>
                  <a:pt x="341" y="315"/>
                </a:lnTo>
                <a:lnTo>
                  <a:pt x="340" y="314"/>
                </a:lnTo>
                <a:lnTo>
                  <a:pt x="341" y="313"/>
                </a:lnTo>
                <a:lnTo>
                  <a:pt x="342" y="309"/>
                </a:lnTo>
                <a:lnTo>
                  <a:pt x="342" y="306"/>
                </a:lnTo>
                <a:lnTo>
                  <a:pt x="341" y="306"/>
                </a:lnTo>
                <a:lnTo>
                  <a:pt x="340" y="305"/>
                </a:lnTo>
                <a:lnTo>
                  <a:pt x="341" y="303"/>
                </a:lnTo>
                <a:lnTo>
                  <a:pt x="338" y="303"/>
                </a:lnTo>
                <a:lnTo>
                  <a:pt x="341" y="301"/>
                </a:lnTo>
                <a:lnTo>
                  <a:pt x="343" y="301"/>
                </a:lnTo>
                <a:lnTo>
                  <a:pt x="342" y="300"/>
                </a:lnTo>
                <a:lnTo>
                  <a:pt x="343" y="300"/>
                </a:lnTo>
                <a:lnTo>
                  <a:pt x="343" y="298"/>
                </a:lnTo>
                <a:lnTo>
                  <a:pt x="344" y="298"/>
                </a:lnTo>
                <a:lnTo>
                  <a:pt x="344" y="296"/>
                </a:lnTo>
                <a:lnTo>
                  <a:pt x="346" y="296"/>
                </a:lnTo>
                <a:lnTo>
                  <a:pt x="347" y="294"/>
                </a:lnTo>
                <a:lnTo>
                  <a:pt x="348" y="294"/>
                </a:lnTo>
                <a:lnTo>
                  <a:pt x="355" y="290"/>
                </a:lnTo>
                <a:lnTo>
                  <a:pt x="356" y="289"/>
                </a:lnTo>
                <a:lnTo>
                  <a:pt x="360" y="289"/>
                </a:lnTo>
                <a:lnTo>
                  <a:pt x="361" y="288"/>
                </a:lnTo>
                <a:close/>
                <a:moveTo>
                  <a:pt x="243" y="287"/>
                </a:moveTo>
                <a:lnTo>
                  <a:pt x="247" y="290"/>
                </a:lnTo>
                <a:lnTo>
                  <a:pt x="247" y="292"/>
                </a:lnTo>
                <a:lnTo>
                  <a:pt x="244" y="294"/>
                </a:lnTo>
                <a:lnTo>
                  <a:pt x="242" y="293"/>
                </a:lnTo>
                <a:lnTo>
                  <a:pt x="243" y="293"/>
                </a:lnTo>
                <a:lnTo>
                  <a:pt x="243" y="292"/>
                </a:lnTo>
                <a:lnTo>
                  <a:pt x="244" y="292"/>
                </a:lnTo>
                <a:lnTo>
                  <a:pt x="244" y="289"/>
                </a:lnTo>
                <a:lnTo>
                  <a:pt x="243" y="289"/>
                </a:lnTo>
                <a:lnTo>
                  <a:pt x="243" y="287"/>
                </a:lnTo>
                <a:close/>
                <a:moveTo>
                  <a:pt x="325" y="286"/>
                </a:moveTo>
                <a:lnTo>
                  <a:pt x="325" y="287"/>
                </a:lnTo>
                <a:lnTo>
                  <a:pt x="326" y="288"/>
                </a:lnTo>
                <a:lnTo>
                  <a:pt x="326" y="290"/>
                </a:lnTo>
                <a:lnTo>
                  <a:pt x="328" y="290"/>
                </a:lnTo>
                <a:lnTo>
                  <a:pt x="329" y="289"/>
                </a:lnTo>
                <a:lnTo>
                  <a:pt x="329" y="290"/>
                </a:lnTo>
                <a:lnTo>
                  <a:pt x="328" y="292"/>
                </a:lnTo>
                <a:lnTo>
                  <a:pt x="326" y="292"/>
                </a:lnTo>
                <a:lnTo>
                  <a:pt x="325" y="290"/>
                </a:lnTo>
                <a:lnTo>
                  <a:pt x="325" y="289"/>
                </a:lnTo>
                <a:lnTo>
                  <a:pt x="323" y="289"/>
                </a:lnTo>
                <a:lnTo>
                  <a:pt x="323" y="287"/>
                </a:lnTo>
                <a:lnTo>
                  <a:pt x="324" y="287"/>
                </a:lnTo>
                <a:lnTo>
                  <a:pt x="325" y="286"/>
                </a:lnTo>
                <a:close/>
                <a:moveTo>
                  <a:pt x="242" y="286"/>
                </a:moveTo>
                <a:lnTo>
                  <a:pt x="243" y="287"/>
                </a:lnTo>
                <a:lnTo>
                  <a:pt x="242" y="287"/>
                </a:lnTo>
                <a:lnTo>
                  <a:pt x="242" y="286"/>
                </a:lnTo>
                <a:close/>
                <a:moveTo>
                  <a:pt x="316" y="280"/>
                </a:moveTo>
                <a:lnTo>
                  <a:pt x="318" y="280"/>
                </a:lnTo>
                <a:lnTo>
                  <a:pt x="319" y="281"/>
                </a:lnTo>
                <a:lnTo>
                  <a:pt x="318" y="282"/>
                </a:lnTo>
                <a:lnTo>
                  <a:pt x="316" y="282"/>
                </a:lnTo>
                <a:lnTo>
                  <a:pt x="316" y="280"/>
                </a:lnTo>
                <a:close/>
                <a:moveTo>
                  <a:pt x="279" y="280"/>
                </a:moveTo>
                <a:lnTo>
                  <a:pt x="280" y="281"/>
                </a:lnTo>
                <a:lnTo>
                  <a:pt x="280" y="280"/>
                </a:lnTo>
                <a:lnTo>
                  <a:pt x="282" y="282"/>
                </a:lnTo>
                <a:lnTo>
                  <a:pt x="282" y="281"/>
                </a:lnTo>
                <a:lnTo>
                  <a:pt x="284" y="281"/>
                </a:lnTo>
                <a:lnTo>
                  <a:pt x="284" y="282"/>
                </a:lnTo>
                <a:lnTo>
                  <a:pt x="282" y="283"/>
                </a:lnTo>
                <a:lnTo>
                  <a:pt x="282" y="284"/>
                </a:lnTo>
                <a:lnTo>
                  <a:pt x="280" y="284"/>
                </a:lnTo>
                <a:lnTo>
                  <a:pt x="280" y="283"/>
                </a:lnTo>
                <a:lnTo>
                  <a:pt x="279" y="282"/>
                </a:lnTo>
                <a:lnTo>
                  <a:pt x="280" y="282"/>
                </a:lnTo>
                <a:lnTo>
                  <a:pt x="279" y="281"/>
                </a:lnTo>
                <a:lnTo>
                  <a:pt x="279" y="280"/>
                </a:lnTo>
                <a:close/>
                <a:moveTo>
                  <a:pt x="343" y="278"/>
                </a:moveTo>
                <a:lnTo>
                  <a:pt x="344" y="278"/>
                </a:lnTo>
                <a:lnTo>
                  <a:pt x="344" y="280"/>
                </a:lnTo>
                <a:lnTo>
                  <a:pt x="346" y="280"/>
                </a:lnTo>
                <a:lnTo>
                  <a:pt x="347" y="278"/>
                </a:lnTo>
                <a:lnTo>
                  <a:pt x="347" y="283"/>
                </a:lnTo>
                <a:lnTo>
                  <a:pt x="346" y="283"/>
                </a:lnTo>
                <a:lnTo>
                  <a:pt x="346" y="282"/>
                </a:lnTo>
                <a:lnTo>
                  <a:pt x="343" y="282"/>
                </a:lnTo>
                <a:lnTo>
                  <a:pt x="344" y="281"/>
                </a:lnTo>
                <a:lnTo>
                  <a:pt x="342" y="281"/>
                </a:lnTo>
                <a:lnTo>
                  <a:pt x="343" y="280"/>
                </a:lnTo>
                <a:lnTo>
                  <a:pt x="343" y="278"/>
                </a:lnTo>
                <a:close/>
                <a:moveTo>
                  <a:pt x="285" y="278"/>
                </a:moveTo>
                <a:lnTo>
                  <a:pt x="286" y="278"/>
                </a:lnTo>
                <a:lnTo>
                  <a:pt x="287" y="280"/>
                </a:lnTo>
                <a:lnTo>
                  <a:pt x="287" y="281"/>
                </a:lnTo>
                <a:lnTo>
                  <a:pt x="285" y="281"/>
                </a:lnTo>
                <a:lnTo>
                  <a:pt x="285" y="278"/>
                </a:lnTo>
                <a:close/>
                <a:moveTo>
                  <a:pt x="346" y="277"/>
                </a:moveTo>
                <a:lnTo>
                  <a:pt x="347" y="277"/>
                </a:lnTo>
                <a:lnTo>
                  <a:pt x="347" y="278"/>
                </a:lnTo>
                <a:lnTo>
                  <a:pt x="344" y="278"/>
                </a:lnTo>
                <a:lnTo>
                  <a:pt x="346" y="277"/>
                </a:lnTo>
                <a:close/>
                <a:moveTo>
                  <a:pt x="219" y="276"/>
                </a:moveTo>
                <a:lnTo>
                  <a:pt x="220" y="276"/>
                </a:lnTo>
                <a:lnTo>
                  <a:pt x="224" y="278"/>
                </a:lnTo>
                <a:lnTo>
                  <a:pt x="224" y="280"/>
                </a:lnTo>
                <a:lnTo>
                  <a:pt x="223" y="280"/>
                </a:lnTo>
                <a:lnTo>
                  <a:pt x="222" y="278"/>
                </a:lnTo>
                <a:lnTo>
                  <a:pt x="220" y="278"/>
                </a:lnTo>
                <a:lnTo>
                  <a:pt x="219" y="277"/>
                </a:lnTo>
                <a:lnTo>
                  <a:pt x="219" y="276"/>
                </a:lnTo>
                <a:close/>
                <a:moveTo>
                  <a:pt x="231" y="274"/>
                </a:moveTo>
                <a:lnTo>
                  <a:pt x="234" y="274"/>
                </a:lnTo>
                <a:lnTo>
                  <a:pt x="234" y="275"/>
                </a:lnTo>
                <a:lnTo>
                  <a:pt x="230" y="278"/>
                </a:lnTo>
                <a:lnTo>
                  <a:pt x="229" y="278"/>
                </a:lnTo>
                <a:lnTo>
                  <a:pt x="230" y="275"/>
                </a:lnTo>
                <a:lnTo>
                  <a:pt x="231" y="275"/>
                </a:lnTo>
                <a:lnTo>
                  <a:pt x="231" y="274"/>
                </a:lnTo>
                <a:close/>
                <a:moveTo>
                  <a:pt x="89" y="272"/>
                </a:moveTo>
                <a:lnTo>
                  <a:pt x="90" y="272"/>
                </a:lnTo>
                <a:lnTo>
                  <a:pt x="89" y="274"/>
                </a:lnTo>
                <a:lnTo>
                  <a:pt x="88" y="274"/>
                </a:lnTo>
                <a:lnTo>
                  <a:pt x="89" y="272"/>
                </a:lnTo>
                <a:close/>
                <a:moveTo>
                  <a:pt x="199" y="271"/>
                </a:moveTo>
                <a:lnTo>
                  <a:pt x="199" y="272"/>
                </a:lnTo>
                <a:lnTo>
                  <a:pt x="200" y="272"/>
                </a:lnTo>
                <a:lnTo>
                  <a:pt x="200" y="274"/>
                </a:lnTo>
                <a:lnTo>
                  <a:pt x="201" y="275"/>
                </a:lnTo>
                <a:lnTo>
                  <a:pt x="204" y="275"/>
                </a:lnTo>
                <a:lnTo>
                  <a:pt x="204" y="274"/>
                </a:lnTo>
                <a:lnTo>
                  <a:pt x="203" y="274"/>
                </a:lnTo>
                <a:lnTo>
                  <a:pt x="201" y="272"/>
                </a:lnTo>
                <a:lnTo>
                  <a:pt x="201" y="271"/>
                </a:lnTo>
                <a:lnTo>
                  <a:pt x="203" y="271"/>
                </a:lnTo>
                <a:lnTo>
                  <a:pt x="204" y="272"/>
                </a:lnTo>
                <a:lnTo>
                  <a:pt x="205" y="271"/>
                </a:lnTo>
                <a:lnTo>
                  <a:pt x="206" y="271"/>
                </a:lnTo>
                <a:lnTo>
                  <a:pt x="206" y="276"/>
                </a:lnTo>
                <a:lnTo>
                  <a:pt x="199" y="276"/>
                </a:lnTo>
                <a:lnTo>
                  <a:pt x="198" y="277"/>
                </a:lnTo>
                <a:lnTo>
                  <a:pt x="197" y="276"/>
                </a:lnTo>
                <a:lnTo>
                  <a:pt x="198" y="275"/>
                </a:lnTo>
                <a:lnTo>
                  <a:pt x="198" y="272"/>
                </a:lnTo>
                <a:lnTo>
                  <a:pt x="199" y="271"/>
                </a:lnTo>
                <a:close/>
                <a:moveTo>
                  <a:pt x="309" y="270"/>
                </a:moveTo>
                <a:lnTo>
                  <a:pt x="310" y="271"/>
                </a:lnTo>
                <a:lnTo>
                  <a:pt x="309" y="272"/>
                </a:lnTo>
                <a:lnTo>
                  <a:pt x="310" y="274"/>
                </a:lnTo>
                <a:lnTo>
                  <a:pt x="309" y="274"/>
                </a:lnTo>
                <a:lnTo>
                  <a:pt x="309" y="276"/>
                </a:lnTo>
                <a:lnTo>
                  <a:pt x="306" y="274"/>
                </a:lnTo>
                <a:lnTo>
                  <a:pt x="306" y="272"/>
                </a:lnTo>
                <a:lnTo>
                  <a:pt x="309" y="270"/>
                </a:lnTo>
                <a:close/>
                <a:moveTo>
                  <a:pt x="238" y="270"/>
                </a:moveTo>
                <a:lnTo>
                  <a:pt x="239" y="270"/>
                </a:lnTo>
                <a:lnTo>
                  <a:pt x="239" y="271"/>
                </a:lnTo>
                <a:lnTo>
                  <a:pt x="241" y="272"/>
                </a:lnTo>
                <a:lnTo>
                  <a:pt x="242" y="272"/>
                </a:lnTo>
                <a:lnTo>
                  <a:pt x="243" y="274"/>
                </a:lnTo>
                <a:lnTo>
                  <a:pt x="242" y="274"/>
                </a:lnTo>
                <a:lnTo>
                  <a:pt x="242" y="277"/>
                </a:lnTo>
                <a:lnTo>
                  <a:pt x="239" y="276"/>
                </a:lnTo>
                <a:lnTo>
                  <a:pt x="237" y="274"/>
                </a:lnTo>
                <a:lnTo>
                  <a:pt x="236" y="274"/>
                </a:lnTo>
                <a:lnTo>
                  <a:pt x="237" y="272"/>
                </a:lnTo>
                <a:lnTo>
                  <a:pt x="237" y="271"/>
                </a:lnTo>
                <a:lnTo>
                  <a:pt x="238" y="270"/>
                </a:lnTo>
                <a:close/>
                <a:moveTo>
                  <a:pt x="210" y="270"/>
                </a:moveTo>
                <a:lnTo>
                  <a:pt x="211" y="270"/>
                </a:lnTo>
                <a:lnTo>
                  <a:pt x="212" y="271"/>
                </a:lnTo>
                <a:lnTo>
                  <a:pt x="211" y="272"/>
                </a:lnTo>
                <a:lnTo>
                  <a:pt x="210" y="271"/>
                </a:lnTo>
                <a:lnTo>
                  <a:pt x="210" y="270"/>
                </a:lnTo>
                <a:close/>
                <a:moveTo>
                  <a:pt x="87" y="270"/>
                </a:moveTo>
                <a:lnTo>
                  <a:pt x="87" y="272"/>
                </a:lnTo>
                <a:lnTo>
                  <a:pt x="86" y="272"/>
                </a:lnTo>
                <a:lnTo>
                  <a:pt x="87" y="270"/>
                </a:lnTo>
                <a:close/>
                <a:moveTo>
                  <a:pt x="207" y="266"/>
                </a:moveTo>
                <a:lnTo>
                  <a:pt x="207" y="268"/>
                </a:lnTo>
                <a:lnTo>
                  <a:pt x="208" y="268"/>
                </a:lnTo>
                <a:lnTo>
                  <a:pt x="207" y="270"/>
                </a:lnTo>
                <a:lnTo>
                  <a:pt x="206" y="270"/>
                </a:lnTo>
                <a:lnTo>
                  <a:pt x="206" y="269"/>
                </a:lnTo>
                <a:lnTo>
                  <a:pt x="205" y="269"/>
                </a:lnTo>
                <a:lnTo>
                  <a:pt x="207" y="266"/>
                </a:lnTo>
                <a:close/>
                <a:moveTo>
                  <a:pt x="245" y="265"/>
                </a:moveTo>
                <a:lnTo>
                  <a:pt x="245" y="268"/>
                </a:lnTo>
                <a:lnTo>
                  <a:pt x="243" y="268"/>
                </a:lnTo>
                <a:lnTo>
                  <a:pt x="245" y="265"/>
                </a:lnTo>
                <a:close/>
                <a:moveTo>
                  <a:pt x="317" y="264"/>
                </a:moveTo>
                <a:lnTo>
                  <a:pt x="323" y="264"/>
                </a:lnTo>
                <a:lnTo>
                  <a:pt x="325" y="266"/>
                </a:lnTo>
                <a:lnTo>
                  <a:pt x="324" y="266"/>
                </a:lnTo>
                <a:lnTo>
                  <a:pt x="319" y="268"/>
                </a:lnTo>
                <a:lnTo>
                  <a:pt x="316" y="271"/>
                </a:lnTo>
                <a:lnTo>
                  <a:pt x="310" y="271"/>
                </a:lnTo>
                <a:lnTo>
                  <a:pt x="310" y="270"/>
                </a:lnTo>
                <a:lnTo>
                  <a:pt x="311" y="270"/>
                </a:lnTo>
                <a:lnTo>
                  <a:pt x="311" y="269"/>
                </a:lnTo>
                <a:lnTo>
                  <a:pt x="312" y="268"/>
                </a:lnTo>
                <a:lnTo>
                  <a:pt x="317" y="264"/>
                </a:lnTo>
                <a:close/>
                <a:moveTo>
                  <a:pt x="253" y="263"/>
                </a:moveTo>
                <a:lnTo>
                  <a:pt x="254" y="264"/>
                </a:lnTo>
                <a:lnTo>
                  <a:pt x="255" y="264"/>
                </a:lnTo>
                <a:lnTo>
                  <a:pt x="254" y="265"/>
                </a:lnTo>
                <a:lnTo>
                  <a:pt x="251" y="265"/>
                </a:lnTo>
                <a:lnTo>
                  <a:pt x="251" y="264"/>
                </a:lnTo>
                <a:lnTo>
                  <a:pt x="253" y="264"/>
                </a:lnTo>
                <a:lnTo>
                  <a:pt x="253" y="263"/>
                </a:lnTo>
                <a:close/>
                <a:moveTo>
                  <a:pt x="268" y="262"/>
                </a:moveTo>
                <a:lnTo>
                  <a:pt x="270" y="264"/>
                </a:lnTo>
                <a:lnTo>
                  <a:pt x="268" y="264"/>
                </a:lnTo>
                <a:lnTo>
                  <a:pt x="268" y="265"/>
                </a:lnTo>
                <a:lnTo>
                  <a:pt x="266" y="266"/>
                </a:lnTo>
                <a:lnTo>
                  <a:pt x="263" y="269"/>
                </a:lnTo>
                <a:lnTo>
                  <a:pt x="263" y="270"/>
                </a:lnTo>
                <a:lnTo>
                  <a:pt x="260" y="271"/>
                </a:lnTo>
                <a:lnTo>
                  <a:pt x="257" y="271"/>
                </a:lnTo>
                <a:lnTo>
                  <a:pt x="257" y="269"/>
                </a:lnTo>
                <a:lnTo>
                  <a:pt x="262" y="269"/>
                </a:lnTo>
                <a:lnTo>
                  <a:pt x="262" y="268"/>
                </a:lnTo>
                <a:lnTo>
                  <a:pt x="261" y="268"/>
                </a:lnTo>
                <a:lnTo>
                  <a:pt x="261" y="266"/>
                </a:lnTo>
                <a:lnTo>
                  <a:pt x="262" y="266"/>
                </a:lnTo>
                <a:lnTo>
                  <a:pt x="267" y="264"/>
                </a:lnTo>
                <a:lnTo>
                  <a:pt x="266" y="264"/>
                </a:lnTo>
                <a:lnTo>
                  <a:pt x="266" y="263"/>
                </a:lnTo>
                <a:lnTo>
                  <a:pt x="267" y="263"/>
                </a:lnTo>
                <a:lnTo>
                  <a:pt x="268" y="262"/>
                </a:lnTo>
                <a:close/>
                <a:moveTo>
                  <a:pt x="228" y="257"/>
                </a:moveTo>
                <a:lnTo>
                  <a:pt x="230" y="257"/>
                </a:lnTo>
                <a:lnTo>
                  <a:pt x="229" y="259"/>
                </a:lnTo>
                <a:lnTo>
                  <a:pt x="229" y="262"/>
                </a:lnTo>
                <a:lnTo>
                  <a:pt x="228" y="260"/>
                </a:lnTo>
                <a:lnTo>
                  <a:pt x="228" y="259"/>
                </a:lnTo>
                <a:lnTo>
                  <a:pt x="226" y="258"/>
                </a:lnTo>
                <a:lnTo>
                  <a:pt x="228" y="258"/>
                </a:lnTo>
                <a:lnTo>
                  <a:pt x="228" y="257"/>
                </a:lnTo>
                <a:close/>
                <a:moveTo>
                  <a:pt x="211" y="256"/>
                </a:moveTo>
                <a:lnTo>
                  <a:pt x="212" y="257"/>
                </a:lnTo>
                <a:lnTo>
                  <a:pt x="213" y="257"/>
                </a:lnTo>
                <a:lnTo>
                  <a:pt x="213" y="258"/>
                </a:lnTo>
                <a:lnTo>
                  <a:pt x="216" y="259"/>
                </a:lnTo>
                <a:lnTo>
                  <a:pt x="216" y="262"/>
                </a:lnTo>
                <a:lnTo>
                  <a:pt x="214" y="262"/>
                </a:lnTo>
                <a:lnTo>
                  <a:pt x="213" y="264"/>
                </a:lnTo>
                <a:lnTo>
                  <a:pt x="213" y="263"/>
                </a:lnTo>
                <a:lnTo>
                  <a:pt x="212" y="262"/>
                </a:lnTo>
                <a:lnTo>
                  <a:pt x="212" y="258"/>
                </a:lnTo>
                <a:lnTo>
                  <a:pt x="211" y="258"/>
                </a:lnTo>
                <a:lnTo>
                  <a:pt x="211" y="256"/>
                </a:lnTo>
                <a:close/>
                <a:moveTo>
                  <a:pt x="305" y="255"/>
                </a:moveTo>
                <a:lnTo>
                  <a:pt x="306" y="255"/>
                </a:lnTo>
                <a:lnTo>
                  <a:pt x="310" y="256"/>
                </a:lnTo>
                <a:lnTo>
                  <a:pt x="310" y="259"/>
                </a:lnTo>
                <a:lnTo>
                  <a:pt x="311" y="258"/>
                </a:lnTo>
                <a:lnTo>
                  <a:pt x="312" y="258"/>
                </a:lnTo>
                <a:lnTo>
                  <a:pt x="312" y="260"/>
                </a:lnTo>
                <a:lnTo>
                  <a:pt x="311" y="260"/>
                </a:lnTo>
                <a:lnTo>
                  <a:pt x="311" y="262"/>
                </a:lnTo>
                <a:lnTo>
                  <a:pt x="310" y="262"/>
                </a:lnTo>
                <a:lnTo>
                  <a:pt x="310" y="263"/>
                </a:lnTo>
                <a:lnTo>
                  <a:pt x="307" y="263"/>
                </a:lnTo>
                <a:lnTo>
                  <a:pt x="307" y="262"/>
                </a:lnTo>
                <a:lnTo>
                  <a:pt x="306" y="262"/>
                </a:lnTo>
                <a:lnTo>
                  <a:pt x="306" y="260"/>
                </a:lnTo>
                <a:lnTo>
                  <a:pt x="307" y="260"/>
                </a:lnTo>
                <a:lnTo>
                  <a:pt x="307" y="258"/>
                </a:lnTo>
                <a:lnTo>
                  <a:pt x="309" y="258"/>
                </a:lnTo>
                <a:lnTo>
                  <a:pt x="309" y="257"/>
                </a:lnTo>
                <a:lnTo>
                  <a:pt x="306" y="257"/>
                </a:lnTo>
                <a:lnTo>
                  <a:pt x="306" y="256"/>
                </a:lnTo>
                <a:lnTo>
                  <a:pt x="305" y="255"/>
                </a:lnTo>
                <a:close/>
                <a:moveTo>
                  <a:pt x="259" y="252"/>
                </a:moveTo>
                <a:lnTo>
                  <a:pt x="261" y="252"/>
                </a:lnTo>
                <a:lnTo>
                  <a:pt x="261" y="253"/>
                </a:lnTo>
                <a:lnTo>
                  <a:pt x="260" y="253"/>
                </a:lnTo>
                <a:lnTo>
                  <a:pt x="259" y="252"/>
                </a:lnTo>
                <a:close/>
                <a:moveTo>
                  <a:pt x="237" y="251"/>
                </a:moveTo>
                <a:lnTo>
                  <a:pt x="238" y="251"/>
                </a:lnTo>
                <a:lnTo>
                  <a:pt x="238" y="252"/>
                </a:lnTo>
                <a:lnTo>
                  <a:pt x="237" y="252"/>
                </a:lnTo>
                <a:lnTo>
                  <a:pt x="237" y="251"/>
                </a:lnTo>
                <a:close/>
                <a:moveTo>
                  <a:pt x="235" y="251"/>
                </a:moveTo>
                <a:lnTo>
                  <a:pt x="236" y="251"/>
                </a:lnTo>
                <a:lnTo>
                  <a:pt x="235" y="252"/>
                </a:lnTo>
                <a:lnTo>
                  <a:pt x="237" y="252"/>
                </a:lnTo>
                <a:lnTo>
                  <a:pt x="237" y="257"/>
                </a:lnTo>
                <a:lnTo>
                  <a:pt x="235" y="259"/>
                </a:lnTo>
                <a:lnTo>
                  <a:pt x="232" y="259"/>
                </a:lnTo>
                <a:lnTo>
                  <a:pt x="231" y="258"/>
                </a:lnTo>
                <a:lnTo>
                  <a:pt x="230" y="258"/>
                </a:lnTo>
                <a:lnTo>
                  <a:pt x="230" y="256"/>
                </a:lnTo>
                <a:lnTo>
                  <a:pt x="231" y="255"/>
                </a:lnTo>
                <a:lnTo>
                  <a:pt x="232" y="255"/>
                </a:lnTo>
                <a:lnTo>
                  <a:pt x="232" y="253"/>
                </a:lnTo>
                <a:lnTo>
                  <a:pt x="235" y="251"/>
                </a:lnTo>
                <a:close/>
                <a:moveTo>
                  <a:pt x="301" y="249"/>
                </a:moveTo>
                <a:lnTo>
                  <a:pt x="304" y="249"/>
                </a:lnTo>
                <a:lnTo>
                  <a:pt x="304" y="251"/>
                </a:lnTo>
                <a:lnTo>
                  <a:pt x="305" y="251"/>
                </a:lnTo>
                <a:lnTo>
                  <a:pt x="305" y="253"/>
                </a:lnTo>
                <a:lnTo>
                  <a:pt x="303" y="253"/>
                </a:lnTo>
                <a:lnTo>
                  <a:pt x="304" y="252"/>
                </a:lnTo>
                <a:lnTo>
                  <a:pt x="303" y="252"/>
                </a:lnTo>
                <a:lnTo>
                  <a:pt x="303" y="251"/>
                </a:lnTo>
                <a:lnTo>
                  <a:pt x="301" y="251"/>
                </a:lnTo>
                <a:lnTo>
                  <a:pt x="301" y="250"/>
                </a:lnTo>
                <a:lnTo>
                  <a:pt x="300" y="250"/>
                </a:lnTo>
                <a:lnTo>
                  <a:pt x="301" y="249"/>
                </a:lnTo>
                <a:close/>
                <a:moveTo>
                  <a:pt x="247" y="249"/>
                </a:moveTo>
                <a:lnTo>
                  <a:pt x="249" y="249"/>
                </a:lnTo>
                <a:lnTo>
                  <a:pt x="250" y="250"/>
                </a:lnTo>
                <a:lnTo>
                  <a:pt x="250" y="251"/>
                </a:lnTo>
                <a:lnTo>
                  <a:pt x="251" y="253"/>
                </a:lnTo>
                <a:lnTo>
                  <a:pt x="250" y="255"/>
                </a:lnTo>
                <a:lnTo>
                  <a:pt x="250" y="258"/>
                </a:lnTo>
                <a:lnTo>
                  <a:pt x="249" y="260"/>
                </a:lnTo>
                <a:lnTo>
                  <a:pt x="248" y="260"/>
                </a:lnTo>
                <a:lnTo>
                  <a:pt x="247" y="263"/>
                </a:lnTo>
                <a:lnTo>
                  <a:pt x="244" y="263"/>
                </a:lnTo>
                <a:lnTo>
                  <a:pt x="244" y="260"/>
                </a:lnTo>
                <a:lnTo>
                  <a:pt x="243" y="260"/>
                </a:lnTo>
                <a:lnTo>
                  <a:pt x="242" y="259"/>
                </a:lnTo>
                <a:lnTo>
                  <a:pt x="242" y="257"/>
                </a:lnTo>
                <a:lnTo>
                  <a:pt x="241" y="256"/>
                </a:lnTo>
                <a:lnTo>
                  <a:pt x="241" y="255"/>
                </a:lnTo>
                <a:lnTo>
                  <a:pt x="242" y="255"/>
                </a:lnTo>
                <a:lnTo>
                  <a:pt x="243" y="252"/>
                </a:lnTo>
                <a:lnTo>
                  <a:pt x="247" y="249"/>
                </a:lnTo>
                <a:close/>
                <a:moveTo>
                  <a:pt x="204" y="247"/>
                </a:moveTo>
                <a:lnTo>
                  <a:pt x="205" y="249"/>
                </a:lnTo>
                <a:lnTo>
                  <a:pt x="206" y="249"/>
                </a:lnTo>
                <a:lnTo>
                  <a:pt x="206" y="251"/>
                </a:lnTo>
                <a:lnTo>
                  <a:pt x="205" y="251"/>
                </a:lnTo>
                <a:lnTo>
                  <a:pt x="205" y="253"/>
                </a:lnTo>
                <a:lnTo>
                  <a:pt x="204" y="252"/>
                </a:lnTo>
                <a:lnTo>
                  <a:pt x="201" y="252"/>
                </a:lnTo>
                <a:lnTo>
                  <a:pt x="201" y="250"/>
                </a:lnTo>
                <a:lnTo>
                  <a:pt x="203" y="250"/>
                </a:lnTo>
                <a:lnTo>
                  <a:pt x="201" y="249"/>
                </a:lnTo>
                <a:lnTo>
                  <a:pt x="204" y="249"/>
                </a:lnTo>
                <a:lnTo>
                  <a:pt x="204" y="247"/>
                </a:lnTo>
                <a:close/>
                <a:moveTo>
                  <a:pt x="145" y="244"/>
                </a:moveTo>
                <a:lnTo>
                  <a:pt x="148" y="244"/>
                </a:lnTo>
                <a:lnTo>
                  <a:pt x="148" y="246"/>
                </a:lnTo>
                <a:lnTo>
                  <a:pt x="147" y="246"/>
                </a:lnTo>
                <a:lnTo>
                  <a:pt x="147" y="245"/>
                </a:lnTo>
                <a:lnTo>
                  <a:pt x="145" y="244"/>
                </a:lnTo>
                <a:close/>
                <a:moveTo>
                  <a:pt x="291" y="241"/>
                </a:moveTo>
                <a:lnTo>
                  <a:pt x="292" y="243"/>
                </a:lnTo>
                <a:lnTo>
                  <a:pt x="292" y="245"/>
                </a:lnTo>
                <a:lnTo>
                  <a:pt x="291" y="244"/>
                </a:lnTo>
                <a:lnTo>
                  <a:pt x="291" y="241"/>
                </a:lnTo>
                <a:close/>
                <a:moveTo>
                  <a:pt x="291" y="239"/>
                </a:moveTo>
                <a:lnTo>
                  <a:pt x="293" y="239"/>
                </a:lnTo>
                <a:lnTo>
                  <a:pt x="293" y="240"/>
                </a:lnTo>
                <a:lnTo>
                  <a:pt x="292" y="240"/>
                </a:lnTo>
                <a:lnTo>
                  <a:pt x="292" y="241"/>
                </a:lnTo>
                <a:lnTo>
                  <a:pt x="291" y="241"/>
                </a:lnTo>
                <a:lnTo>
                  <a:pt x="291" y="239"/>
                </a:lnTo>
                <a:close/>
                <a:moveTo>
                  <a:pt x="163" y="239"/>
                </a:moveTo>
                <a:lnTo>
                  <a:pt x="166" y="239"/>
                </a:lnTo>
                <a:lnTo>
                  <a:pt x="166" y="240"/>
                </a:lnTo>
                <a:lnTo>
                  <a:pt x="163" y="240"/>
                </a:lnTo>
                <a:lnTo>
                  <a:pt x="163" y="241"/>
                </a:lnTo>
                <a:lnTo>
                  <a:pt x="162" y="241"/>
                </a:lnTo>
                <a:lnTo>
                  <a:pt x="161" y="243"/>
                </a:lnTo>
                <a:lnTo>
                  <a:pt x="157" y="243"/>
                </a:lnTo>
                <a:lnTo>
                  <a:pt x="161" y="240"/>
                </a:lnTo>
                <a:lnTo>
                  <a:pt x="162" y="240"/>
                </a:lnTo>
                <a:lnTo>
                  <a:pt x="163" y="239"/>
                </a:lnTo>
                <a:close/>
                <a:moveTo>
                  <a:pt x="201" y="233"/>
                </a:moveTo>
                <a:lnTo>
                  <a:pt x="203" y="233"/>
                </a:lnTo>
                <a:lnTo>
                  <a:pt x="203" y="234"/>
                </a:lnTo>
                <a:lnTo>
                  <a:pt x="201" y="235"/>
                </a:lnTo>
                <a:lnTo>
                  <a:pt x="204" y="237"/>
                </a:lnTo>
                <a:lnTo>
                  <a:pt x="204" y="238"/>
                </a:lnTo>
                <a:lnTo>
                  <a:pt x="203" y="238"/>
                </a:lnTo>
                <a:lnTo>
                  <a:pt x="203" y="240"/>
                </a:lnTo>
                <a:lnTo>
                  <a:pt x="200" y="243"/>
                </a:lnTo>
                <a:lnTo>
                  <a:pt x="199" y="243"/>
                </a:lnTo>
                <a:lnTo>
                  <a:pt x="199" y="240"/>
                </a:lnTo>
                <a:lnTo>
                  <a:pt x="200" y="240"/>
                </a:lnTo>
                <a:lnTo>
                  <a:pt x="200" y="237"/>
                </a:lnTo>
                <a:lnTo>
                  <a:pt x="199" y="237"/>
                </a:lnTo>
                <a:lnTo>
                  <a:pt x="199" y="235"/>
                </a:lnTo>
                <a:lnTo>
                  <a:pt x="200" y="234"/>
                </a:lnTo>
                <a:lnTo>
                  <a:pt x="201" y="234"/>
                </a:lnTo>
                <a:lnTo>
                  <a:pt x="201" y="233"/>
                </a:lnTo>
                <a:close/>
                <a:moveTo>
                  <a:pt x="239" y="232"/>
                </a:moveTo>
                <a:lnTo>
                  <a:pt x="241" y="232"/>
                </a:lnTo>
                <a:lnTo>
                  <a:pt x="242" y="234"/>
                </a:lnTo>
                <a:lnTo>
                  <a:pt x="242" y="233"/>
                </a:lnTo>
                <a:lnTo>
                  <a:pt x="244" y="233"/>
                </a:lnTo>
                <a:lnTo>
                  <a:pt x="244" y="234"/>
                </a:lnTo>
                <a:lnTo>
                  <a:pt x="245" y="234"/>
                </a:lnTo>
                <a:lnTo>
                  <a:pt x="245" y="235"/>
                </a:lnTo>
                <a:lnTo>
                  <a:pt x="243" y="235"/>
                </a:lnTo>
                <a:lnTo>
                  <a:pt x="243" y="237"/>
                </a:lnTo>
                <a:lnTo>
                  <a:pt x="238" y="237"/>
                </a:lnTo>
                <a:lnTo>
                  <a:pt x="238" y="235"/>
                </a:lnTo>
                <a:lnTo>
                  <a:pt x="239" y="235"/>
                </a:lnTo>
                <a:lnTo>
                  <a:pt x="239" y="234"/>
                </a:lnTo>
                <a:lnTo>
                  <a:pt x="238" y="234"/>
                </a:lnTo>
                <a:lnTo>
                  <a:pt x="239" y="233"/>
                </a:lnTo>
                <a:lnTo>
                  <a:pt x="239" y="232"/>
                </a:lnTo>
                <a:close/>
                <a:moveTo>
                  <a:pt x="222" y="232"/>
                </a:moveTo>
                <a:lnTo>
                  <a:pt x="223" y="232"/>
                </a:lnTo>
                <a:lnTo>
                  <a:pt x="224" y="233"/>
                </a:lnTo>
                <a:lnTo>
                  <a:pt x="224" y="238"/>
                </a:lnTo>
                <a:lnTo>
                  <a:pt x="222" y="239"/>
                </a:lnTo>
                <a:lnTo>
                  <a:pt x="220" y="240"/>
                </a:lnTo>
                <a:lnTo>
                  <a:pt x="220" y="239"/>
                </a:lnTo>
                <a:lnTo>
                  <a:pt x="222" y="238"/>
                </a:lnTo>
                <a:lnTo>
                  <a:pt x="220" y="238"/>
                </a:lnTo>
                <a:lnTo>
                  <a:pt x="220" y="235"/>
                </a:lnTo>
                <a:lnTo>
                  <a:pt x="222" y="235"/>
                </a:lnTo>
                <a:lnTo>
                  <a:pt x="222" y="232"/>
                </a:lnTo>
                <a:close/>
                <a:moveTo>
                  <a:pt x="162" y="229"/>
                </a:moveTo>
                <a:lnTo>
                  <a:pt x="162" y="231"/>
                </a:lnTo>
                <a:lnTo>
                  <a:pt x="163" y="231"/>
                </a:lnTo>
                <a:lnTo>
                  <a:pt x="163" y="232"/>
                </a:lnTo>
                <a:lnTo>
                  <a:pt x="161" y="232"/>
                </a:lnTo>
                <a:lnTo>
                  <a:pt x="160" y="231"/>
                </a:lnTo>
                <a:lnTo>
                  <a:pt x="161" y="231"/>
                </a:lnTo>
                <a:lnTo>
                  <a:pt x="162" y="229"/>
                </a:lnTo>
                <a:close/>
                <a:moveTo>
                  <a:pt x="213" y="226"/>
                </a:moveTo>
                <a:lnTo>
                  <a:pt x="214" y="226"/>
                </a:lnTo>
                <a:lnTo>
                  <a:pt x="214" y="227"/>
                </a:lnTo>
                <a:lnTo>
                  <a:pt x="212" y="227"/>
                </a:lnTo>
                <a:lnTo>
                  <a:pt x="213" y="226"/>
                </a:lnTo>
                <a:close/>
                <a:moveTo>
                  <a:pt x="281" y="222"/>
                </a:moveTo>
                <a:lnTo>
                  <a:pt x="284" y="222"/>
                </a:lnTo>
                <a:lnTo>
                  <a:pt x="276" y="229"/>
                </a:lnTo>
                <a:lnTo>
                  <a:pt x="273" y="229"/>
                </a:lnTo>
                <a:lnTo>
                  <a:pt x="272" y="231"/>
                </a:lnTo>
                <a:lnTo>
                  <a:pt x="270" y="231"/>
                </a:lnTo>
                <a:lnTo>
                  <a:pt x="270" y="232"/>
                </a:lnTo>
                <a:lnTo>
                  <a:pt x="269" y="232"/>
                </a:lnTo>
                <a:lnTo>
                  <a:pt x="269" y="231"/>
                </a:lnTo>
                <a:lnTo>
                  <a:pt x="268" y="232"/>
                </a:lnTo>
                <a:lnTo>
                  <a:pt x="267" y="232"/>
                </a:lnTo>
                <a:lnTo>
                  <a:pt x="267" y="229"/>
                </a:lnTo>
                <a:lnTo>
                  <a:pt x="268" y="228"/>
                </a:lnTo>
                <a:lnTo>
                  <a:pt x="269" y="228"/>
                </a:lnTo>
                <a:lnTo>
                  <a:pt x="269" y="226"/>
                </a:lnTo>
                <a:lnTo>
                  <a:pt x="270" y="226"/>
                </a:lnTo>
                <a:lnTo>
                  <a:pt x="270" y="225"/>
                </a:lnTo>
                <a:lnTo>
                  <a:pt x="272" y="225"/>
                </a:lnTo>
                <a:lnTo>
                  <a:pt x="274" y="226"/>
                </a:lnTo>
                <a:lnTo>
                  <a:pt x="275" y="225"/>
                </a:lnTo>
                <a:lnTo>
                  <a:pt x="276" y="226"/>
                </a:lnTo>
                <a:lnTo>
                  <a:pt x="278" y="225"/>
                </a:lnTo>
                <a:lnTo>
                  <a:pt x="279" y="225"/>
                </a:lnTo>
                <a:lnTo>
                  <a:pt x="281" y="222"/>
                </a:lnTo>
                <a:close/>
                <a:moveTo>
                  <a:pt x="225" y="222"/>
                </a:moveTo>
                <a:lnTo>
                  <a:pt x="228" y="222"/>
                </a:lnTo>
                <a:lnTo>
                  <a:pt x="228" y="223"/>
                </a:lnTo>
                <a:lnTo>
                  <a:pt x="229" y="223"/>
                </a:lnTo>
                <a:lnTo>
                  <a:pt x="229" y="225"/>
                </a:lnTo>
                <a:lnTo>
                  <a:pt x="231" y="225"/>
                </a:lnTo>
                <a:lnTo>
                  <a:pt x="232" y="226"/>
                </a:lnTo>
                <a:lnTo>
                  <a:pt x="232" y="225"/>
                </a:lnTo>
                <a:lnTo>
                  <a:pt x="234" y="225"/>
                </a:lnTo>
                <a:lnTo>
                  <a:pt x="235" y="226"/>
                </a:lnTo>
                <a:lnTo>
                  <a:pt x="236" y="226"/>
                </a:lnTo>
                <a:lnTo>
                  <a:pt x="236" y="227"/>
                </a:lnTo>
                <a:lnTo>
                  <a:pt x="237" y="227"/>
                </a:lnTo>
                <a:lnTo>
                  <a:pt x="236" y="229"/>
                </a:lnTo>
                <a:lnTo>
                  <a:pt x="235" y="231"/>
                </a:lnTo>
                <a:lnTo>
                  <a:pt x="232" y="231"/>
                </a:lnTo>
                <a:lnTo>
                  <a:pt x="230" y="228"/>
                </a:lnTo>
                <a:lnTo>
                  <a:pt x="229" y="228"/>
                </a:lnTo>
                <a:lnTo>
                  <a:pt x="228" y="226"/>
                </a:lnTo>
                <a:lnTo>
                  <a:pt x="226" y="226"/>
                </a:lnTo>
                <a:lnTo>
                  <a:pt x="225" y="225"/>
                </a:lnTo>
                <a:lnTo>
                  <a:pt x="225" y="222"/>
                </a:lnTo>
                <a:close/>
                <a:moveTo>
                  <a:pt x="197" y="222"/>
                </a:moveTo>
                <a:lnTo>
                  <a:pt x="199" y="222"/>
                </a:lnTo>
                <a:lnTo>
                  <a:pt x="200" y="225"/>
                </a:lnTo>
                <a:lnTo>
                  <a:pt x="200" y="226"/>
                </a:lnTo>
                <a:lnTo>
                  <a:pt x="198" y="228"/>
                </a:lnTo>
                <a:lnTo>
                  <a:pt x="197" y="231"/>
                </a:lnTo>
                <a:lnTo>
                  <a:pt x="195" y="231"/>
                </a:lnTo>
                <a:lnTo>
                  <a:pt x="195" y="225"/>
                </a:lnTo>
                <a:lnTo>
                  <a:pt x="197" y="223"/>
                </a:lnTo>
                <a:lnTo>
                  <a:pt x="197" y="222"/>
                </a:lnTo>
                <a:close/>
                <a:moveTo>
                  <a:pt x="164" y="217"/>
                </a:moveTo>
                <a:lnTo>
                  <a:pt x="166" y="219"/>
                </a:lnTo>
                <a:lnTo>
                  <a:pt x="164" y="219"/>
                </a:lnTo>
                <a:lnTo>
                  <a:pt x="164" y="220"/>
                </a:lnTo>
                <a:lnTo>
                  <a:pt x="163" y="220"/>
                </a:lnTo>
                <a:lnTo>
                  <a:pt x="163" y="222"/>
                </a:lnTo>
                <a:lnTo>
                  <a:pt x="161" y="222"/>
                </a:lnTo>
                <a:lnTo>
                  <a:pt x="161" y="221"/>
                </a:lnTo>
                <a:lnTo>
                  <a:pt x="160" y="220"/>
                </a:lnTo>
                <a:lnTo>
                  <a:pt x="160" y="219"/>
                </a:lnTo>
                <a:lnTo>
                  <a:pt x="164" y="217"/>
                </a:lnTo>
                <a:close/>
                <a:moveTo>
                  <a:pt x="300" y="215"/>
                </a:moveTo>
                <a:lnTo>
                  <a:pt x="301" y="215"/>
                </a:lnTo>
                <a:lnTo>
                  <a:pt x="304" y="216"/>
                </a:lnTo>
                <a:lnTo>
                  <a:pt x="305" y="217"/>
                </a:lnTo>
                <a:lnTo>
                  <a:pt x="306" y="217"/>
                </a:lnTo>
                <a:lnTo>
                  <a:pt x="309" y="219"/>
                </a:lnTo>
                <a:lnTo>
                  <a:pt x="309" y="217"/>
                </a:lnTo>
                <a:lnTo>
                  <a:pt x="313" y="217"/>
                </a:lnTo>
                <a:lnTo>
                  <a:pt x="312" y="219"/>
                </a:lnTo>
                <a:lnTo>
                  <a:pt x="311" y="219"/>
                </a:lnTo>
                <a:lnTo>
                  <a:pt x="312" y="220"/>
                </a:lnTo>
                <a:lnTo>
                  <a:pt x="313" y="220"/>
                </a:lnTo>
                <a:lnTo>
                  <a:pt x="313" y="221"/>
                </a:lnTo>
                <a:lnTo>
                  <a:pt x="310" y="221"/>
                </a:lnTo>
                <a:lnTo>
                  <a:pt x="306" y="223"/>
                </a:lnTo>
                <a:lnTo>
                  <a:pt x="305" y="223"/>
                </a:lnTo>
                <a:lnTo>
                  <a:pt x="305" y="225"/>
                </a:lnTo>
                <a:lnTo>
                  <a:pt x="301" y="225"/>
                </a:lnTo>
                <a:lnTo>
                  <a:pt x="300" y="223"/>
                </a:lnTo>
                <a:lnTo>
                  <a:pt x="300" y="222"/>
                </a:lnTo>
                <a:lnTo>
                  <a:pt x="299" y="222"/>
                </a:lnTo>
                <a:lnTo>
                  <a:pt x="299" y="221"/>
                </a:lnTo>
                <a:lnTo>
                  <a:pt x="295" y="221"/>
                </a:lnTo>
                <a:lnTo>
                  <a:pt x="295" y="222"/>
                </a:lnTo>
                <a:lnTo>
                  <a:pt x="293" y="222"/>
                </a:lnTo>
                <a:lnTo>
                  <a:pt x="292" y="221"/>
                </a:lnTo>
                <a:lnTo>
                  <a:pt x="292" y="220"/>
                </a:lnTo>
                <a:lnTo>
                  <a:pt x="293" y="219"/>
                </a:lnTo>
                <a:lnTo>
                  <a:pt x="294" y="219"/>
                </a:lnTo>
                <a:lnTo>
                  <a:pt x="295" y="217"/>
                </a:lnTo>
                <a:lnTo>
                  <a:pt x="295" y="216"/>
                </a:lnTo>
                <a:lnTo>
                  <a:pt x="300" y="215"/>
                </a:lnTo>
                <a:close/>
                <a:moveTo>
                  <a:pt x="44" y="209"/>
                </a:moveTo>
                <a:lnTo>
                  <a:pt x="45" y="210"/>
                </a:lnTo>
                <a:lnTo>
                  <a:pt x="45" y="212"/>
                </a:lnTo>
                <a:lnTo>
                  <a:pt x="46" y="213"/>
                </a:lnTo>
                <a:lnTo>
                  <a:pt x="46" y="214"/>
                </a:lnTo>
                <a:lnTo>
                  <a:pt x="51" y="214"/>
                </a:lnTo>
                <a:lnTo>
                  <a:pt x="52" y="215"/>
                </a:lnTo>
                <a:lnTo>
                  <a:pt x="52" y="216"/>
                </a:lnTo>
                <a:lnTo>
                  <a:pt x="54" y="219"/>
                </a:lnTo>
                <a:lnTo>
                  <a:pt x="56" y="220"/>
                </a:lnTo>
                <a:lnTo>
                  <a:pt x="57" y="222"/>
                </a:lnTo>
                <a:lnTo>
                  <a:pt x="55" y="220"/>
                </a:lnTo>
                <a:lnTo>
                  <a:pt x="52" y="220"/>
                </a:lnTo>
                <a:lnTo>
                  <a:pt x="51" y="221"/>
                </a:lnTo>
                <a:lnTo>
                  <a:pt x="50" y="221"/>
                </a:lnTo>
                <a:lnTo>
                  <a:pt x="50" y="222"/>
                </a:lnTo>
                <a:lnTo>
                  <a:pt x="51" y="223"/>
                </a:lnTo>
                <a:lnTo>
                  <a:pt x="50" y="225"/>
                </a:lnTo>
                <a:lnTo>
                  <a:pt x="49" y="225"/>
                </a:lnTo>
                <a:lnTo>
                  <a:pt x="48" y="222"/>
                </a:lnTo>
                <a:lnTo>
                  <a:pt x="45" y="221"/>
                </a:lnTo>
                <a:lnTo>
                  <a:pt x="44" y="220"/>
                </a:lnTo>
                <a:lnTo>
                  <a:pt x="44" y="217"/>
                </a:lnTo>
                <a:lnTo>
                  <a:pt x="42" y="216"/>
                </a:lnTo>
                <a:lnTo>
                  <a:pt x="40" y="215"/>
                </a:lnTo>
                <a:lnTo>
                  <a:pt x="42" y="215"/>
                </a:lnTo>
                <a:lnTo>
                  <a:pt x="40" y="214"/>
                </a:lnTo>
                <a:lnTo>
                  <a:pt x="42" y="214"/>
                </a:lnTo>
                <a:lnTo>
                  <a:pt x="40" y="213"/>
                </a:lnTo>
                <a:lnTo>
                  <a:pt x="44" y="209"/>
                </a:lnTo>
                <a:close/>
                <a:moveTo>
                  <a:pt x="216" y="206"/>
                </a:moveTo>
                <a:lnTo>
                  <a:pt x="217" y="206"/>
                </a:lnTo>
                <a:lnTo>
                  <a:pt x="217" y="207"/>
                </a:lnTo>
                <a:lnTo>
                  <a:pt x="218" y="207"/>
                </a:lnTo>
                <a:lnTo>
                  <a:pt x="218" y="208"/>
                </a:lnTo>
                <a:lnTo>
                  <a:pt x="219" y="209"/>
                </a:lnTo>
                <a:lnTo>
                  <a:pt x="219" y="210"/>
                </a:lnTo>
                <a:lnTo>
                  <a:pt x="224" y="210"/>
                </a:lnTo>
                <a:lnTo>
                  <a:pt x="224" y="213"/>
                </a:lnTo>
                <a:lnTo>
                  <a:pt x="223" y="214"/>
                </a:lnTo>
                <a:lnTo>
                  <a:pt x="225" y="215"/>
                </a:lnTo>
                <a:lnTo>
                  <a:pt x="225" y="216"/>
                </a:lnTo>
                <a:lnTo>
                  <a:pt x="224" y="216"/>
                </a:lnTo>
                <a:lnTo>
                  <a:pt x="224" y="217"/>
                </a:lnTo>
                <a:lnTo>
                  <a:pt x="225" y="217"/>
                </a:lnTo>
                <a:lnTo>
                  <a:pt x="225" y="220"/>
                </a:lnTo>
                <a:lnTo>
                  <a:pt x="224" y="221"/>
                </a:lnTo>
                <a:lnTo>
                  <a:pt x="224" y="222"/>
                </a:lnTo>
                <a:lnTo>
                  <a:pt x="223" y="221"/>
                </a:lnTo>
                <a:lnTo>
                  <a:pt x="222" y="221"/>
                </a:lnTo>
                <a:lnTo>
                  <a:pt x="222" y="219"/>
                </a:lnTo>
                <a:lnTo>
                  <a:pt x="220" y="217"/>
                </a:lnTo>
                <a:lnTo>
                  <a:pt x="219" y="217"/>
                </a:lnTo>
                <a:lnTo>
                  <a:pt x="219" y="216"/>
                </a:lnTo>
                <a:lnTo>
                  <a:pt x="218" y="215"/>
                </a:lnTo>
                <a:lnTo>
                  <a:pt x="217" y="215"/>
                </a:lnTo>
                <a:lnTo>
                  <a:pt x="217" y="213"/>
                </a:lnTo>
                <a:lnTo>
                  <a:pt x="216" y="213"/>
                </a:lnTo>
                <a:lnTo>
                  <a:pt x="214" y="212"/>
                </a:lnTo>
                <a:lnTo>
                  <a:pt x="213" y="213"/>
                </a:lnTo>
                <a:lnTo>
                  <a:pt x="213" y="210"/>
                </a:lnTo>
                <a:lnTo>
                  <a:pt x="212" y="209"/>
                </a:lnTo>
                <a:lnTo>
                  <a:pt x="213" y="209"/>
                </a:lnTo>
                <a:lnTo>
                  <a:pt x="212" y="208"/>
                </a:lnTo>
                <a:lnTo>
                  <a:pt x="213" y="208"/>
                </a:lnTo>
                <a:lnTo>
                  <a:pt x="213" y="207"/>
                </a:lnTo>
                <a:lnTo>
                  <a:pt x="216" y="206"/>
                </a:lnTo>
                <a:close/>
                <a:moveTo>
                  <a:pt x="161" y="206"/>
                </a:moveTo>
                <a:lnTo>
                  <a:pt x="163" y="206"/>
                </a:lnTo>
                <a:lnTo>
                  <a:pt x="164" y="207"/>
                </a:lnTo>
                <a:lnTo>
                  <a:pt x="164" y="208"/>
                </a:lnTo>
                <a:lnTo>
                  <a:pt x="166" y="208"/>
                </a:lnTo>
                <a:lnTo>
                  <a:pt x="163" y="210"/>
                </a:lnTo>
                <a:lnTo>
                  <a:pt x="163" y="212"/>
                </a:lnTo>
                <a:lnTo>
                  <a:pt x="162" y="210"/>
                </a:lnTo>
                <a:lnTo>
                  <a:pt x="162" y="212"/>
                </a:lnTo>
                <a:lnTo>
                  <a:pt x="158" y="212"/>
                </a:lnTo>
                <a:lnTo>
                  <a:pt x="158" y="210"/>
                </a:lnTo>
                <a:lnTo>
                  <a:pt x="160" y="209"/>
                </a:lnTo>
                <a:lnTo>
                  <a:pt x="162" y="209"/>
                </a:lnTo>
                <a:lnTo>
                  <a:pt x="162" y="208"/>
                </a:lnTo>
                <a:lnTo>
                  <a:pt x="160" y="208"/>
                </a:lnTo>
                <a:lnTo>
                  <a:pt x="161" y="207"/>
                </a:lnTo>
                <a:lnTo>
                  <a:pt x="161" y="206"/>
                </a:lnTo>
                <a:close/>
                <a:moveTo>
                  <a:pt x="138" y="195"/>
                </a:moveTo>
                <a:lnTo>
                  <a:pt x="139" y="195"/>
                </a:lnTo>
                <a:lnTo>
                  <a:pt x="141" y="196"/>
                </a:lnTo>
                <a:lnTo>
                  <a:pt x="139" y="196"/>
                </a:lnTo>
                <a:lnTo>
                  <a:pt x="138" y="195"/>
                </a:lnTo>
                <a:close/>
                <a:moveTo>
                  <a:pt x="75" y="188"/>
                </a:moveTo>
                <a:lnTo>
                  <a:pt x="76" y="188"/>
                </a:lnTo>
                <a:lnTo>
                  <a:pt x="76" y="189"/>
                </a:lnTo>
                <a:lnTo>
                  <a:pt x="75" y="188"/>
                </a:lnTo>
                <a:close/>
                <a:moveTo>
                  <a:pt x="45" y="185"/>
                </a:moveTo>
                <a:lnTo>
                  <a:pt x="46" y="185"/>
                </a:lnTo>
                <a:lnTo>
                  <a:pt x="46" y="189"/>
                </a:lnTo>
                <a:lnTo>
                  <a:pt x="44" y="189"/>
                </a:lnTo>
                <a:lnTo>
                  <a:pt x="44" y="186"/>
                </a:lnTo>
                <a:lnTo>
                  <a:pt x="45" y="186"/>
                </a:lnTo>
                <a:lnTo>
                  <a:pt x="45" y="185"/>
                </a:lnTo>
                <a:close/>
                <a:moveTo>
                  <a:pt x="37" y="180"/>
                </a:moveTo>
                <a:lnTo>
                  <a:pt x="39" y="180"/>
                </a:lnTo>
                <a:lnTo>
                  <a:pt x="42" y="186"/>
                </a:lnTo>
                <a:lnTo>
                  <a:pt x="42" y="188"/>
                </a:lnTo>
                <a:lnTo>
                  <a:pt x="40" y="189"/>
                </a:lnTo>
                <a:lnTo>
                  <a:pt x="40" y="190"/>
                </a:lnTo>
                <a:lnTo>
                  <a:pt x="42" y="192"/>
                </a:lnTo>
                <a:lnTo>
                  <a:pt x="43" y="191"/>
                </a:lnTo>
                <a:lnTo>
                  <a:pt x="44" y="191"/>
                </a:lnTo>
                <a:lnTo>
                  <a:pt x="44" y="192"/>
                </a:lnTo>
                <a:lnTo>
                  <a:pt x="46" y="195"/>
                </a:lnTo>
                <a:lnTo>
                  <a:pt x="46" y="197"/>
                </a:lnTo>
                <a:lnTo>
                  <a:pt x="49" y="198"/>
                </a:lnTo>
                <a:lnTo>
                  <a:pt x="49" y="202"/>
                </a:lnTo>
                <a:lnTo>
                  <a:pt x="44" y="202"/>
                </a:lnTo>
                <a:lnTo>
                  <a:pt x="44" y="201"/>
                </a:lnTo>
                <a:lnTo>
                  <a:pt x="43" y="200"/>
                </a:lnTo>
                <a:lnTo>
                  <a:pt x="39" y="200"/>
                </a:lnTo>
                <a:lnTo>
                  <a:pt x="38" y="201"/>
                </a:lnTo>
                <a:lnTo>
                  <a:pt x="36" y="200"/>
                </a:lnTo>
                <a:lnTo>
                  <a:pt x="36" y="197"/>
                </a:lnTo>
                <a:lnTo>
                  <a:pt x="34" y="196"/>
                </a:lnTo>
                <a:lnTo>
                  <a:pt x="36" y="196"/>
                </a:lnTo>
                <a:lnTo>
                  <a:pt x="36" y="195"/>
                </a:lnTo>
                <a:lnTo>
                  <a:pt x="34" y="191"/>
                </a:lnTo>
                <a:lnTo>
                  <a:pt x="33" y="191"/>
                </a:lnTo>
                <a:lnTo>
                  <a:pt x="33" y="196"/>
                </a:lnTo>
                <a:lnTo>
                  <a:pt x="32" y="197"/>
                </a:lnTo>
                <a:lnTo>
                  <a:pt x="31" y="197"/>
                </a:lnTo>
                <a:lnTo>
                  <a:pt x="29" y="195"/>
                </a:lnTo>
                <a:lnTo>
                  <a:pt x="30" y="195"/>
                </a:lnTo>
                <a:lnTo>
                  <a:pt x="30" y="191"/>
                </a:lnTo>
                <a:lnTo>
                  <a:pt x="31" y="191"/>
                </a:lnTo>
                <a:lnTo>
                  <a:pt x="31" y="190"/>
                </a:lnTo>
                <a:lnTo>
                  <a:pt x="32" y="188"/>
                </a:lnTo>
                <a:lnTo>
                  <a:pt x="33" y="186"/>
                </a:lnTo>
                <a:lnTo>
                  <a:pt x="33" y="188"/>
                </a:lnTo>
                <a:lnTo>
                  <a:pt x="34" y="189"/>
                </a:lnTo>
                <a:lnTo>
                  <a:pt x="36" y="189"/>
                </a:lnTo>
                <a:lnTo>
                  <a:pt x="36" y="188"/>
                </a:lnTo>
                <a:lnTo>
                  <a:pt x="37" y="188"/>
                </a:lnTo>
                <a:lnTo>
                  <a:pt x="38" y="186"/>
                </a:lnTo>
                <a:lnTo>
                  <a:pt x="38" y="183"/>
                </a:lnTo>
                <a:lnTo>
                  <a:pt x="37" y="183"/>
                </a:lnTo>
                <a:lnTo>
                  <a:pt x="38" y="182"/>
                </a:lnTo>
                <a:lnTo>
                  <a:pt x="37" y="180"/>
                </a:lnTo>
                <a:close/>
                <a:moveTo>
                  <a:pt x="43" y="179"/>
                </a:moveTo>
                <a:lnTo>
                  <a:pt x="43" y="180"/>
                </a:lnTo>
                <a:lnTo>
                  <a:pt x="44" y="182"/>
                </a:lnTo>
                <a:lnTo>
                  <a:pt x="45" y="182"/>
                </a:lnTo>
                <a:lnTo>
                  <a:pt x="44" y="183"/>
                </a:lnTo>
                <a:lnTo>
                  <a:pt x="44" y="184"/>
                </a:lnTo>
                <a:lnTo>
                  <a:pt x="43" y="185"/>
                </a:lnTo>
                <a:lnTo>
                  <a:pt x="44" y="185"/>
                </a:lnTo>
                <a:lnTo>
                  <a:pt x="44" y="186"/>
                </a:lnTo>
                <a:lnTo>
                  <a:pt x="43" y="186"/>
                </a:lnTo>
                <a:lnTo>
                  <a:pt x="42" y="184"/>
                </a:lnTo>
                <a:lnTo>
                  <a:pt x="42" y="182"/>
                </a:lnTo>
                <a:lnTo>
                  <a:pt x="40" y="182"/>
                </a:lnTo>
                <a:lnTo>
                  <a:pt x="40" y="180"/>
                </a:lnTo>
                <a:lnTo>
                  <a:pt x="42" y="180"/>
                </a:lnTo>
                <a:lnTo>
                  <a:pt x="43" y="179"/>
                </a:lnTo>
                <a:close/>
                <a:moveTo>
                  <a:pt x="268" y="173"/>
                </a:moveTo>
                <a:lnTo>
                  <a:pt x="270" y="174"/>
                </a:lnTo>
                <a:lnTo>
                  <a:pt x="273" y="177"/>
                </a:lnTo>
                <a:lnTo>
                  <a:pt x="273" y="176"/>
                </a:lnTo>
                <a:lnTo>
                  <a:pt x="274" y="176"/>
                </a:lnTo>
                <a:lnTo>
                  <a:pt x="275" y="177"/>
                </a:lnTo>
                <a:lnTo>
                  <a:pt x="274" y="177"/>
                </a:lnTo>
                <a:lnTo>
                  <a:pt x="274" y="179"/>
                </a:lnTo>
                <a:lnTo>
                  <a:pt x="273" y="179"/>
                </a:lnTo>
                <a:lnTo>
                  <a:pt x="273" y="180"/>
                </a:lnTo>
                <a:lnTo>
                  <a:pt x="274" y="180"/>
                </a:lnTo>
                <a:lnTo>
                  <a:pt x="274" y="188"/>
                </a:lnTo>
                <a:lnTo>
                  <a:pt x="275" y="190"/>
                </a:lnTo>
                <a:lnTo>
                  <a:pt x="273" y="190"/>
                </a:lnTo>
                <a:lnTo>
                  <a:pt x="272" y="191"/>
                </a:lnTo>
                <a:lnTo>
                  <a:pt x="273" y="194"/>
                </a:lnTo>
                <a:lnTo>
                  <a:pt x="272" y="195"/>
                </a:lnTo>
                <a:lnTo>
                  <a:pt x="269" y="195"/>
                </a:lnTo>
                <a:lnTo>
                  <a:pt x="269" y="197"/>
                </a:lnTo>
                <a:lnTo>
                  <a:pt x="267" y="197"/>
                </a:lnTo>
                <a:lnTo>
                  <a:pt x="267" y="196"/>
                </a:lnTo>
                <a:lnTo>
                  <a:pt x="266" y="195"/>
                </a:lnTo>
                <a:lnTo>
                  <a:pt x="265" y="195"/>
                </a:lnTo>
                <a:lnTo>
                  <a:pt x="265" y="194"/>
                </a:lnTo>
                <a:lnTo>
                  <a:pt x="263" y="194"/>
                </a:lnTo>
                <a:lnTo>
                  <a:pt x="263" y="192"/>
                </a:lnTo>
                <a:lnTo>
                  <a:pt x="262" y="192"/>
                </a:lnTo>
                <a:lnTo>
                  <a:pt x="262" y="191"/>
                </a:lnTo>
                <a:lnTo>
                  <a:pt x="263" y="191"/>
                </a:lnTo>
                <a:lnTo>
                  <a:pt x="263" y="190"/>
                </a:lnTo>
                <a:lnTo>
                  <a:pt x="267" y="190"/>
                </a:lnTo>
                <a:lnTo>
                  <a:pt x="267" y="188"/>
                </a:lnTo>
                <a:lnTo>
                  <a:pt x="268" y="188"/>
                </a:lnTo>
                <a:lnTo>
                  <a:pt x="267" y="186"/>
                </a:lnTo>
                <a:lnTo>
                  <a:pt x="267" y="184"/>
                </a:lnTo>
                <a:lnTo>
                  <a:pt x="266" y="184"/>
                </a:lnTo>
                <a:lnTo>
                  <a:pt x="266" y="182"/>
                </a:lnTo>
                <a:lnTo>
                  <a:pt x="265" y="180"/>
                </a:lnTo>
                <a:lnTo>
                  <a:pt x="263" y="180"/>
                </a:lnTo>
                <a:lnTo>
                  <a:pt x="261" y="178"/>
                </a:lnTo>
                <a:lnTo>
                  <a:pt x="261" y="174"/>
                </a:lnTo>
                <a:lnTo>
                  <a:pt x="268" y="173"/>
                </a:lnTo>
                <a:close/>
                <a:moveTo>
                  <a:pt x="248" y="173"/>
                </a:moveTo>
                <a:lnTo>
                  <a:pt x="251" y="173"/>
                </a:lnTo>
                <a:lnTo>
                  <a:pt x="251" y="177"/>
                </a:lnTo>
                <a:lnTo>
                  <a:pt x="249" y="177"/>
                </a:lnTo>
                <a:lnTo>
                  <a:pt x="249" y="174"/>
                </a:lnTo>
                <a:lnTo>
                  <a:pt x="248" y="174"/>
                </a:lnTo>
                <a:lnTo>
                  <a:pt x="248" y="173"/>
                </a:lnTo>
                <a:close/>
                <a:moveTo>
                  <a:pt x="54" y="173"/>
                </a:moveTo>
                <a:lnTo>
                  <a:pt x="55" y="173"/>
                </a:lnTo>
                <a:lnTo>
                  <a:pt x="54" y="174"/>
                </a:lnTo>
                <a:lnTo>
                  <a:pt x="54" y="177"/>
                </a:lnTo>
                <a:lnTo>
                  <a:pt x="52" y="177"/>
                </a:lnTo>
                <a:lnTo>
                  <a:pt x="52" y="176"/>
                </a:lnTo>
                <a:lnTo>
                  <a:pt x="54" y="173"/>
                </a:lnTo>
                <a:close/>
                <a:moveTo>
                  <a:pt x="46" y="172"/>
                </a:moveTo>
                <a:lnTo>
                  <a:pt x="48" y="172"/>
                </a:lnTo>
                <a:lnTo>
                  <a:pt x="48" y="173"/>
                </a:lnTo>
                <a:lnTo>
                  <a:pt x="46" y="172"/>
                </a:lnTo>
                <a:close/>
                <a:moveTo>
                  <a:pt x="52" y="171"/>
                </a:moveTo>
                <a:lnTo>
                  <a:pt x="55" y="171"/>
                </a:lnTo>
                <a:lnTo>
                  <a:pt x="55" y="172"/>
                </a:lnTo>
                <a:lnTo>
                  <a:pt x="54" y="172"/>
                </a:lnTo>
                <a:lnTo>
                  <a:pt x="54" y="173"/>
                </a:lnTo>
                <a:lnTo>
                  <a:pt x="52" y="173"/>
                </a:lnTo>
                <a:lnTo>
                  <a:pt x="52" y="174"/>
                </a:lnTo>
                <a:lnTo>
                  <a:pt x="51" y="174"/>
                </a:lnTo>
                <a:lnTo>
                  <a:pt x="51" y="173"/>
                </a:lnTo>
                <a:lnTo>
                  <a:pt x="52" y="172"/>
                </a:lnTo>
                <a:lnTo>
                  <a:pt x="52" y="171"/>
                </a:lnTo>
                <a:close/>
                <a:moveTo>
                  <a:pt x="46" y="170"/>
                </a:moveTo>
                <a:lnTo>
                  <a:pt x="49" y="170"/>
                </a:lnTo>
                <a:lnTo>
                  <a:pt x="49" y="171"/>
                </a:lnTo>
                <a:lnTo>
                  <a:pt x="46" y="171"/>
                </a:lnTo>
                <a:lnTo>
                  <a:pt x="46" y="170"/>
                </a:lnTo>
                <a:close/>
                <a:moveTo>
                  <a:pt x="43" y="160"/>
                </a:moveTo>
                <a:lnTo>
                  <a:pt x="44" y="160"/>
                </a:lnTo>
                <a:lnTo>
                  <a:pt x="44" y="161"/>
                </a:lnTo>
                <a:lnTo>
                  <a:pt x="45" y="161"/>
                </a:lnTo>
                <a:lnTo>
                  <a:pt x="45" y="167"/>
                </a:lnTo>
                <a:lnTo>
                  <a:pt x="44" y="169"/>
                </a:lnTo>
                <a:lnTo>
                  <a:pt x="44" y="170"/>
                </a:lnTo>
                <a:lnTo>
                  <a:pt x="45" y="169"/>
                </a:lnTo>
                <a:lnTo>
                  <a:pt x="45" y="172"/>
                </a:lnTo>
                <a:lnTo>
                  <a:pt x="44" y="171"/>
                </a:lnTo>
                <a:lnTo>
                  <a:pt x="44" y="173"/>
                </a:lnTo>
                <a:lnTo>
                  <a:pt x="40" y="173"/>
                </a:lnTo>
                <a:lnTo>
                  <a:pt x="40" y="172"/>
                </a:lnTo>
                <a:lnTo>
                  <a:pt x="39" y="172"/>
                </a:lnTo>
                <a:lnTo>
                  <a:pt x="39" y="173"/>
                </a:lnTo>
                <a:lnTo>
                  <a:pt x="38" y="173"/>
                </a:lnTo>
                <a:lnTo>
                  <a:pt x="38" y="169"/>
                </a:lnTo>
                <a:lnTo>
                  <a:pt x="39" y="167"/>
                </a:lnTo>
                <a:lnTo>
                  <a:pt x="39" y="166"/>
                </a:lnTo>
                <a:lnTo>
                  <a:pt x="40" y="164"/>
                </a:lnTo>
                <a:lnTo>
                  <a:pt x="40" y="163"/>
                </a:lnTo>
                <a:lnTo>
                  <a:pt x="43" y="160"/>
                </a:lnTo>
                <a:close/>
                <a:moveTo>
                  <a:pt x="201" y="158"/>
                </a:moveTo>
                <a:lnTo>
                  <a:pt x="203" y="158"/>
                </a:lnTo>
                <a:lnTo>
                  <a:pt x="201" y="159"/>
                </a:lnTo>
                <a:lnTo>
                  <a:pt x="201" y="158"/>
                </a:lnTo>
                <a:close/>
                <a:moveTo>
                  <a:pt x="137" y="158"/>
                </a:moveTo>
                <a:lnTo>
                  <a:pt x="139" y="158"/>
                </a:lnTo>
                <a:lnTo>
                  <a:pt x="139" y="159"/>
                </a:lnTo>
                <a:lnTo>
                  <a:pt x="141" y="159"/>
                </a:lnTo>
                <a:lnTo>
                  <a:pt x="141" y="160"/>
                </a:lnTo>
                <a:lnTo>
                  <a:pt x="139" y="160"/>
                </a:lnTo>
                <a:lnTo>
                  <a:pt x="136" y="161"/>
                </a:lnTo>
                <a:lnTo>
                  <a:pt x="135" y="161"/>
                </a:lnTo>
                <a:lnTo>
                  <a:pt x="135" y="159"/>
                </a:lnTo>
                <a:lnTo>
                  <a:pt x="137" y="159"/>
                </a:lnTo>
                <a:lnTo>
                  <a:pt x="137" y="158"/>
                </a:lnTo>
                <a:close/>
                <a:moveTo>
                  <a:pt x="204" y="153"/>
                </a:moveTo>
                <a:lnTo>
                  <a:pt x="207" y="155"/>
                </a:lnTo>
                <a:lnTo>
                  <a:pt x="207" y="158"/>
                </a:lnTo>
                <a:lnTo>
                  <a:pt x="208" y="159"/>
                </a:lnTo>
                <a:lnTo>
                  <a:pt x="211" y="160"/>
                </a:lnTo>
                <a:lnTo>
                  <a:pt x="212" y="161"/>
                </a:lnTo>
                <a:lnTo>
                  <a:pt x="212" y="164"/>
                </a:lnTo>
                <a:lnTo>
                  <a:pt x="211" y="165"/>
                </a:lnTo>
                <a:lnTo>
                  <a:pt x="211" y="164"/>
                </a:lnTo>
                <a:lnTo>
                  <a:pt x="210" y="165"/>
                </a:lnTo>
                <a:lnTo>
                  <a:pt x="210" y="164"/>
                </a:lnTo>
                <a:lnTo>
                  <a:pt x="207" y="164"/>
                </a:lnTo>
                <a:lnTo>
                  <a:pt x="207" y="165"/>
                </a:lnTo>
                <a:lnTo>
                  <a:pt x="206" y="163"/>
                </a:lnTo>
                <a:lnTo>
                  <a:pt x="207" y="163"/>
                </a:lnTo>
                <a:lnTo>
                  <a:pt x="207" y="160"/>
                </a:lnTo>
                <a:lnTo>
                  <a:pt x="206" y="161"/>
                </a:lnTo>
                <a:lnTo>
                  <a:pt x="206" y="160"/>
                </a:lnTo>
                <a:lnTo>
                  <a:pt x="205" y="160"/>
                </a:lnTo>
                <a:lnTo>
                  <a:pt x="204" y="159"/>
                </a:lnTo>
                <a:lnTo>
                  <a:pt x="203" y="159"/>
                </a:lnTo>
                <a:lnTo>
                  <a:pt x="203" y="154"/>
                </a:lnTo>
                <a:lnTo>
                  <a:pt x="204" y="153"/>
                </a:lnTo>
                <a:close/>
                <a:moveTo>
                  <a:pt x="49" y="153"/>
                </a:moveTo>
                <a:lnTo>
                  <a:pt x="50" y="153"/>
                </a:lnTo>
                <a:lnTo>
                  <a:pt x="50" y="154"/>
                </a:lnTo>
                <a:lnTo>
                  <a:pt x="49" y="154"/>
                </a:lnTo>
                <a:lnTo>
                  <a:pt x="49" y="153"/>
                </a:lnTo>
                <a:close/>
                <a:moveTo>
                  <a:pt x="152" y="149"/>
                </a:moveTo>
                <a:lnTo>
                  <a:pt x="155" y="149"/>
                </a:lnTo>
                <a:lnTo>
                  <a:pt x="155" y="151"/>
                </a:lnTo>
                <a:lnTo>
                  <a:pt x="156" y="151"/>
                </a:lnTo>
                <a:lnTo>
                  <a:pt x="157" y="152"/>
                </a:lnTo>
                <a:lnTo>
                  <a:pt x="157" y="154"/>
                </a:lnTo>
                <a:lnTo>
                  <a:pt x="160" y="154"/>
                </a:lnTo>
                <a:lnTo>
                  <a:pt x="160" y="158"/>
                </a:lnTo>
                <a:lnTo>
                  <a:pt x="161" y="158"/>
                </a:lnTo>
                <a:lnTo>
                  <a:pt x="161" y="160"/>
                </a:lnTo>
                <a:lnTo>
                  <a:pt x="162" y="160"/>
                </a:lnTo>
                <a:lnTo>
                  <a:pt x="163" y="161"/>
                </a:lnTo>
                <a:lnTo>
                  <a:pt x="166" y="163"/>
                </a:lnTo>
                <a:lnTo>
                  <a:pt x="168" y="165"/>
                </a:lnTo>
                <a:lnTo>
                  <a:pt x="173" y="165"/>
                </a:lnTo>
                <a:lnTo>
                  <a:pt x="173" y="167"/>
                </a:lnTo>
                <a:lnTo>
                  <a:pt x="174" y="167"/>
                </a:lnTo>
                <a:lnTo>
                  <a:pt x="175" y="169"/>
                </a:lnTo>
                <a:lnTo>
                  <a:pt x="178" y="169"/>
                </a:lnTo>
                <a:lnTo>
                  <a:pt x="180" y="170"/>
                </a:lnTo>
                <a:lnTo>
                  <a:pt x="182" y="170"/>
                </a:lnTo>
                <a:lnTo>
                  <a:pt x="182" y="169"/>
                </a:lnTo>
                <a:lnTo>
                  <a:pt x="183" y="170"/>
                </a:lnTo>
                <a:lnTo>
                  <a:pt x="189" y="170"/>
                </a:lnTo>
                <a:lnTo>
                  <a:pt x="191" y="171"/>
                </a:lnTo>
                <a:lnTo>
                  <a:pt x="189" y="171"/>
                </a:lnTo>
                <a:lnTo>
                  <a:pt x="189" y="172"/>
                </a:lnTo>
                <a:lnTo>
                  <a:pt x="188" y="172"/>
                </a:lnTo>
                <a:lnTo>
                  <a:pt x="188" y="173"/>
                </a:lnTo>
                <a:lnTo>
                  <a:pt x="189" y="173"/>
                </a:lnTo>
                <a:lnTo>
                  <a:pt x="193" y="177"/>
                </a:lnTo>
                <a:lnTo>
                  <a:pt x="193" y="178"/>
                </a:lnTo>
                <a:lnTo>
                  <a:pt x="192" y="178"/>
                </a:lnTo>
                <a:lnTo>
                  <a:pt x="192" y="184"/>
                </a:lnTo>
                <a:lnTo>
                  <a:pt x="193" y="185"/>
                </a:lnTo>
                <a:lnTo>
                  <a:pt x="193" y="189"/>
                </a:lnTo>
                <a:lnTo>
                  <a:pt x="194" y="190"/>
                </a:lnTo>
                <a:lnTo>
                  <a:pt x="194" y="194"/>
                </a:lnTo>
                <a:lnTo>
                  <a:pt x="195" y="195"/>
                </a:lnTo>
                <a:lnTo>
                  <a:pt x="198" y="196"/>
                </a:lnTo>
                <a:lnTo>
                  <a:pt x="198" y="197"/>
                </a:lnTo>
                <a:lnTo>
                  <a:pt x="200" y="197"/>
                </a:lnTo>
                <a:lnTo>
                  <a:pt x="201" y="198"/>
                </a:lnTo>
                <a:lnTo>
                  <a:pt x="205" y="198"/>
                </a:lnTo>
                <a:lnTo>
                  <a:pt x="208" y="197"/>
                </a:lnTo>
                <a:lnTo>
                  <a:pt x="208" y="203"/>
                </a:lnTo>
                <a:lnTo>
                  <a:pt x="207" y="206"/>
                </a:lnTo>
                <a:lnTo>
                  <a:pt x="207" y="207"/>
                </a:lnTo>
                <a:lnTo>
                  <a:pt x="206" y="208"/>
                </a:lnTo>
                <a:lnTo>
                  <a:pt x="204" y="208"/>
                </a:lnTo>
                <a:lnTo>
                  <a:pt x="204" y="207"/>
                </a:lnTo>
                <a:lnTo>
                  <a:pt x="201" y="204"/>
                </a:lnTo>
                <a:lnTo>
                  <a:pt x="200" y="206"/>
                </a:lnTo>
                <a:lnTo>
                  <a:pt x="200" y="207"/>
                </a:lnTo>
                <a:lnTo>
                  <a:pt x="199" y="207"/>
                </a:lnTo>
                <a:lnTo>
                  <a:pt x="198" y="206"/>
                </a:lnTo>
                <a:lnTo>
                  <a:pt x="198" y="204"/>
                </a:lnTo>
                <a:lnTo>
                  <a:pt x="197" y="204"/>
                </a:lnTo>
                <a:lnTo>
                  <a:pt x="198" y="203"/>
                </a:lnTo>
                <a:lnTo>
                  <a:pt x="197" y="202"/>
                </a:lnTo>
                <a:lnTo>
                  <a:pt x="195" y="202"/>
                </a:lnTo>
                <a:lnTo>
                  <a:pt x="195" y="201"/>
                </a:lnTo>
                <a:lnTo>
                  <a:pt x="193" y="201"/>
                </a:lnTo>
                <a:lnTo>
                  <a:pt x="193" y="200"/>
                </a:lnTo>
                <a:lnTo>
                  <a:pt x="192" y="198"/>
                </a:lnTo>
                <a:lnTo>
                  <a:pt x="192" y="197"/>
                </a:lnTo>
                <a:lnTo>
                  <a:pt x="193" y="197"/>
                </a:lnTo>
                <a:lnTo>
                  <a:pt x="192" y="196"/>
                </a:lnTo>
                <a:lnTo>
                  <a:pt x="192" y="194"/>
                </a:lnTo>
                <a:lnTo>
                  <a:pt x="189" y="194"/>
                </a:lnTo>
                <a:lnTo>
                  <a:pt x="189" y="192"/>
                </a:lnTo>
                <a:lnTo>
                  <a:pt x="191" y="191"/>
                </a:lnTo>
                <a:lnTo>
                  <a:pt x="189" y="191"/>
                </a:lnTo>
                <a:lnTo>
                  <a:pt x="188" y="192"/>
                </a:lnTo>
                <a:lnTo>
                  <a:pt x="188" y="189"/>
                </a:lnTo>
                <a:lnTo>
                  <a:pt x="187" y="189"/>
                </a:lnTo>
                <a:lnTo>
                  <a:pt x="186" y="188"/>
                </a:lnTo>
                <a:lnTo>
                  <a:pt x="186" y="184"/>
                </a:lnTo>
                <a:lnTo>
                  <a:pt x="182" y="184"/>
                </a:lnTo>
                <a:lnTo>
                  <a:pt x="180" y="185"/>
                </a:lnTo>
                <a:lnTo>
                  <a:pt x="179" y="184"/>
                </a:lnTo>
                <a:lnTo>
                  <a:pt x="168" y="184"/>
                </a:lnTo>
                <a:lnTo>
                  <a:pt x="167" y="180"/>
                </a:lnTo>
                <a:lnTo>
                  <a:pt x="168" y="179"/>
                </a:lnTo>
                <a:lnTo>
                  <a:pt x="168" y="177"/>
                </a:lnTo>
                <a:lnTo>
                  <a:pt x="166" y="174"/>
                </a:lnTo>
                <a:lnTo>
                  <a:pt x="163" y="174"/>
                </a:lnTo>
                <a:lnTo>
                  <a:pt x="163" y="173"/>
                </a:lnTo>
                <a:lnTo>
                  <a:pt x="162" y="173"/>
                </a:lnTo>
                <a:lnTo>
                  <a:pt x="162" y="172"/>
                </a:lnTo>
                <a:lnTo>
                  <a:pt x="161" y="171"/>
                </a:lnTo>
                <a:lnTo>
                  <a:pt x="161" y="170"/>
                </a:lnTo>
                <a:lnTo>
                  <a:pt x="160" y="170"/>
                </a:lnTo>
                <a:lnTo>
                  <a:pt x="160" y="169"/>
                </a:lnTo>
                <a:lnTo>
                  <a:pt x="158" y="169"/>
                </a:lnTo>
                <a:lnTo>
                  <a:pt x="154" y="164"/>
                </a:lnTo>
                <a:lnTo>
                  <a:pt x="150" y="161"/>
                </a:lnTo>
                <a:lnTo>
                  <a:pt x="149" y="160"/>
                </a:lnTo>
                <a:lnTo>
                  <a:pt x="144" y="160"/>
                </a:lnTo>
                <a:lnTo>
                  <a:pt x="143" y="159"/>
                </a:lnTo>
                <a:lnTo>
                  <a:pt x="142" y="159"/>
                </a:lnTo>
                <a:lnTo>
                  <a:pt x="141" y="158"/>
                </a:lnTo>
                <a:lnTo>
                  <a:pt x="139" y="158"/>
                </a:lnTo>
                <a:lnTo>
                  <a:pt x="141" y="157"/>
                </a:lnTo>
                <a:lnTo>
                  <a:pt x="142" y="157"/>
                </a:lnTo>
                <a:lnTo>
                  <a:pt x="144" y="154"/>
                </a:lnTo>
                <a:lnTo>
                  <a:pt x="145" y="154"/>
                </a:lnTo>
                <a:lnTo>
                  <a:pt x="145" y="153"/>
                </a:lnTo>
                <a:lnTo>
                  <a:pt x="147" y="152"/>
                </a:lnTo>
                <a:lnTo>
                  <a:pt x="150" y="152"/>
                </a:lnTo>
                <a:lnTo>
                  <a:pt x="150" y="151"/>
                </a:lnTo>
                <a:lnTo>
                  <a:pt x="152" y="149"/>
                </a:lnTo>
                <a:close/>
                <a:moveTo>
                  <a:pt x="168" y="142"/>
                </a:moveTo>
                <a:lnTo>
                  <a:pt x="169" y="142"/>
                </a:lnTo>
                <a:lnTo>
                  <a:pt x="170" y="143"/>
                </a:lnTo>
                <a:lnTo>
                  <a:pt x="173" y="143"/>
                </a:lnTo>
                <a:lnTo>
                  <a:pt x="172" y="145"/>
                </a:lnTo>
                <a:lnTo>
                  <a:pt x="175" y="145"/>
                </a:lnTo>
                <a:lnTo>
                  <a:pt x="175" y="146"/>
                </a:lnTo>
                <a:lnTo>
                  <a:pt x="174" y="147"/>
                </a:lnTo>
                <a:lnTo>
                  <a:pt x="173" y="147"/>
                </a:lnTo>
                <a:lnTo>
                  <a:pt x="172" y="148"/>
                </a:lnTo>
                <a:lnTo>
                  <a:pt x="172" y="147"/>
                </a:lnTo>
                <a:lnTo>
                  <a:pt x="169" y="147"/>
                </a:lnTo>
                <a:lnTo>
                  <a:pt x="169" y="146"/>
                </a:lnTo>
                <a:lnTo>
                  <a:pt x="168" y="143"/>
                </a:lnTo>
                <a:lnTo>
                  <a:pt x="168" y="142"/>
                </a:lnTo>
                <a:close/>
                <a:moveTo>
                  <a:pt x="167" y="140"/>
                </a:moveTo>
                <a:lnTo>
                  <a:pt x="167" y="141"/>
                </a:lnTo>
                <a:lnTo>
                  <a:pt x="168" y="142"/>
                </a:lnTo>
                <a:lnTo>
                  <a:pt x="166" y="141"/>
                </a:lnTo>
                <a:lnTo>
                  <a:pt x="167" y="140"/>
                </a:lnTo>
                <a:close/>
                <a:moveTo>
                  <a:pt x="161" y="140"/>
                </a:moveTo>
                <a:lnTo>
                  <a:pt x="163" y="142"/>
                </a:lnTo>
                <a:lnTo>
                  <a:pt x="163" y="143"/>
                </a:lnTo>
                <a:lnTo>
                  <a:pt x="162" y="142"/>
                </a:lnTo>
                <a:lnTo>
                  <a:pt x="161" y="143"/>
                </a:lnTo>
                <a:lnTo>
                  <a:pt x="161" y="145"/>
                </a:lnTo>
                <a:lnTo>
                  <a:pt x="160" y="145"/>
                </a:lnTo>
                <a:lnTo>
                  <a:pt x="160" y="143"/>
                </a:lnTo>
                <a:lnTo>
                  <a:pt x="158" y="143"/>
                </a:lnTo>
                <a:lnTo>
                  <a:pt x="158" y="142"/>
                </a:lnTo>
                <a:lnTo>
                  <a:pt x="160" y="142"/>
                </a:lnTo>
                <a:lnTo>
                  <a:pt x="160" y="141"/>
                </a:lnTo>
                <a:lnTo>
                  <a:pt x="161" y="141"/>
                </a:lnTo>
                <a:lnTo>
                  <a:pt x="161" y="140"/>
                </a:lnTo>
                <a:close/>
                <a:moveTo>
                  <a:pt x="20" y="139"/>
                </a:moveTo>
                <a:lnTo>
                  <a:pt x="21" y="140"/>
                </a:lnTo>
                <a:lnTo>
                  <a:pt x="23" y="140"/>
                </a:lnTo>
                <a:lnTo>
                  <a:pt x="23" y="141"/>
                </a:lnTo>
                <a:lnTo>
                  <a:pt x="24" y="142"/>
                </a:lnTo>
                <a:lnTo>
                  <a:pt x="21" y="142"/>
                </a:lnTo>
                <a:lnTo>
                  <a:pt x="20" y="141"/>
                </a:lnTo>
                <a:lnTo>
                  <a:pt x="20" y="139"/>
                </a:lnTo>
                <a:close/>
                <a:moveTo>
                  <a:pt x="181" y="136"/>
                </a:moveTo>
                <a:lnTo>
                  <a:pt x="181" y="137"/>
                </a:lnTo>
                <a:lnTo>
                  <a:pt x="182" y="137"/>
                </a:lnTo>
                <a:lnTo>
                  <a:pt x="182" y="139"/>
                </a:lnTo>
                <a:lnTo>
                  <a:pt x="180" y="141"/>
                </a:lnTo>
                <a:lnTo>
                  <a:pt x="179" y="143"/>
                </a:lnTo>
                <a:lnTo>
                  <a:pt x="178" y="145"/>
                </a:lnTo>
                <a:lnTo>
                  <a:pt x="176" y="143"/>
                </a:lnTo>
                <a:lnTo>
                  <a:pt x="178" y="143"/>
                </a:lnTo>
                <a:lnTo>
                  <a:pt x="178" y="142"/>
                </a:lnTo>
                <a:lnTo>
                  <a:pt x="179" y="142"/>
                </a:lnTo>
                <a:lnTo>
                  <a:pt x="179" y="140"/>
                </a:lnTo>
                <a:lnTo>
                  <a:pt x="181" y="136"/>
                </a:lnTo>
                <a:close/>
                <a:moveTo>
                  <a:pt x="186" y="133"/>
                </a:moveTo>
                <a:lnTo>
                  <a:pt x="187" y="133"/>
                </a:lnTo>
                <a:lnTo>
                  <a:pt x="187" y="135"/>
                </a:lnTo>
                <a:lnTo>
                  <a:pt x="186" y="136"/>
                </a:lnTo>
                <a:lnTo>
                  <a:pt x="186" y="133"/>
                </a:lnTo>
                <a:close/>
                <a:moveTo>
                  <a:pt x="275" y="132"/>
                </a:moveTo>
                <a:lnTo>
                  <a:pt x="284" y="132"/>
                </a:lnTo>
                <a:lnTo>
                  <a:pt x="282" y="133"/>
                </a:lnTo>
                <a:lnTo>
                  <a:pt x="284" y="133"/>
                </a:lnTo>
                <a:lnTo>
                  <a:pt x="285" y="134"/>
                </a:lnTo>
                <a:lnTo>
                  <a:pt x="286" y="134"/>
                </a:lnTo>
                <a:lnTo>
                  <a:pt x="284" y="136"/>
                </a:lnTo>
                <a:lnTo>
                  <a:pt x="284" y="137"/>
                </a:lnTo>
                <a:lnTo>
                  <a:pt x="286" y="139"/>
                </a:lnTo>
                <a:lnTo>
                  <a:pt x="287" y="139"/>
                </a:lnTo>
                <a:lnTo>
                  <a:pt x="287" y="140"/>
                </a:lnTo>
                <a:lnTo>
                  <a:pt x="288" y="140"/>
                </a:lnTo>
                <a:lnTo>
                  <a:pt x="290" y="142"/>
                </a:lnTo>
                <a:lnTo>
                  <a:pt x="291" y="143"/>
                </a:lnTo>
                <a:lnTo>
                  <a:pt x="291" y="146"/>
                </a:lnTo>
                <a:lnTo>
                  <a:pt x="292" y="146"/>
                </a:lnTo>
                <a:lnTo>
                  <a:pt x="292" y="148"/>
                </a:lnTo>
                <a:lnTo>
                  <a:pt x="293" y="149"/>
                </a:lnTo>
                <a:lnTo>
                  <a:pt x="294" y="149"/>
                </a:lnTo>
                <a:lnTo>
                  <a:pt x="293" y="151"/>
                </a:lnTo>
                <a:lnTo>
                  <a:pt x="293" y="152"/>
                </a:lnTo>
                <a:lnTo>
                  <a:pt x="292" y="151"/>
                </a:lnTo>
                <a:lnTo>
                  <a:pt x="291" y="151"/>
                </a:lnTo>
                <a:lnTo>
                  <a:pt x="290" y="149"/>
                </a:lnTo>
                <a:lnTo>
                  <a:pt x="290" y="146"/>
                </a:lnTo>
                <a:lnTo>
                  <a:pt x="286" y="146"/>
                </a:lnTo>
                <a:lnTo>
                  <a:pt x="291" y="151"/>
                </a:lnTo>
                <a:lnTo>
                  <a:pt x="291" y="153"/>
                </a:lnTo>
                <a:lnTo>
                  <a:pt x="288" y="153"/>
                </a:lnTo>
                <a:lnTo>
                  <a:pt x="286" y="154"/>
                </a:lnTo>
                <a:lnTo>
                  <a:pt x="285" y="154"/>
                </a:lnTo>
                <a:lnTo>
                  <a:pt x="284" y="153"/>
                </a:lnTo>
                <a:lnTo>
                  <a:pt x="281" y="153"/>
                </a:lnTo>
                <a:lnTo>
                  <a:pt x="280" y="152"/>
                </a:lnTo>
                <a:lnTo>
                  <a:pt x="278" y="151"/>
                </a:lnTo>
                <a:lnTo>
                  <a:pt x="274" y="151"/>
                </a:lnTo>
                <a:lnTo>
                  <a:pt x="273" y="148"/>
                </a:lnTo>
                <a:lnTo>
                  <a:pt x="272" y="148"/>
                </a:lnTo>
                <a:lnTo>
                  <a:pt x="272" y="147"/>
                </a:lnTo>
                <a:lnTo>
                  <a:pt x="275" y="147"/>
                </a:lnTo>
                <a:lnTo>
                  <a:pt x="275" y="146"/>
                </a:lnTo>
                <a:lnTo>
                  <a:pt x="276" y="145"/>
                </a:lnTo>
                <a:lnTo>
                  <a:pt x="278" y="145"/>
                </a:lnTo>
                <a:lnTo>
                  <a:pt x="280" y="142"/>
                </a:lnTo>
                <a:lnTo>
                  <a:pt x="280" y="141"/>
                </a:lnTo>
                <a:lnTo>
                  <a:pt x="275" y="141"/>
                </a:lnTo>
                <a:lnTo>
                  <a:pt x="275" y="142"/>
                </a:lnTo>
                <a:lnTo>
                  <a:pt x="272" y="146"/>
                </a:lnTo>
                <a:lnTo>
                  <a:pt x="272" y="147"/>
                </a:lnTo>
                <a:lnTo>
                  <a:pt x="269" y="147"/>
                </a:lnTo>
                <a:lnTo>
                  <a:pt x="266" y="146"/>
                </a:lnTo>
                <a:lnTo>
                  <a:pt x="266" y="145"/>
                </a:lnTo>
                <a:lnTo>
                  <a:pt x="263" y="145"/>
                </a:lnTo>
                <a:lnTo>
                  <a:pt x="262" y="142"/>
                </a:lnTo>
                <a:lnTo>
                  <a:pt x="261" y="142"/>
                </a:lnTo>
                <a:lnTo>
                  <a:pt x="261" y="141"/>
                </a:lnTo>
                <a:lnTo>
                  <a:pt x="262" y="141"/>
                </a:lnTo>
                <a:lnTo>
                  <a:pt x="262" y="137"/>
                </a:lnTo>
                <a:lnTo>
                  <a:pt x="263" y="137"/>
                </a:lnTo>
                <a:lnTo>
                  <a:pt x="265" y="136"/>
                </a:lnTo>
                <a:lnTo>
                  <a:pt x="266" y="137"/>
                </a:lnTo>
                <a:lnTo>
                  <a:pt x="267" y="136"/>
                </a:lnTo>
                <a:lnTo>
                  <a:pt x="269" y="136"/>
                </a:lnTo>
                <a:lnTo>
                  <a:pt x="270" y="135"/>
                </a:lnTo>
                <a:lnTo>
                  <a:pt x="274" y="135"/>
                </a:lnTo>
                <a:lnTo>
                  <a:pt x="275" y="134"/>
                </a:lnTo>
                <a:lnTo>
                  <a:pt x="275" y="132"/>
                </a:lnTo>
                <a:close/>
                <a:moveTo>
                  <a:pt x="226" y="121"/>
                </a:moveTo>
                <a:lnTo>
                  <a:pt x="228" y="122"/>
                </a:lnTo>
                <a:lnTo>
                  <a:pt x="228" y="123"/>
                </a:lnTo>
                <a:lnTo>
                  <a:pt x="225" y="127"/>
                </a:lnTo>
                <a:lnTo>
                  <a:pt x="225" y="122"/>
                </a:lnTo>
                <a:lnTo>
                  <a:pt x="226" y="121"/>
                </a:lnTo>
                <a:close/>
                <a:moveTo>
                  <a:pt x="19" y="115"/>
                </a:moveTo>
                <a:lnTo>
                  <a:pt x="21" y="117"/>
                </a:lnTo>
                <a:lnTo>
                  <a:pt x="20" y="117"/>
                </a:lnTo>
                <a:lnTo>
                  <a:pt x="20" y="116"/>
                </a:lnTo>
                <a:lnTo>
                  <a:pt x="19" y="116"/>
                </a:lnTo>
                <a:lnTo>
                  <a:pt x="19" y="115"/>
                </a:lnTo>
                <a:close/>
                <a:moveTo>
                  <a:pt x="15" y="114"/>
                </a:moveTo>
                <a:lnTo>
                  <a:pt x="17" y="115"/>
                </a:lnTo>
                <a:lnTo>
                  <a:pt x="14" y="115"/>
                </a:lnTo>
                <a:lnTo>
                  <a:pt x="15" y="114"/>
                </a:lnTo>
                <a:close/>
                <a:moveTo>
                  <a:pt x="8" y="106"/>
                </a:moveTo>
                <a:lnTo>
                  <a:pt x="9" y="108"/>
                </a:lnTo>
                <a:lnTo>
                  <a:pt x="11" y="108"/>
                </a:lnTo>
                <a:lnTo>
                  <a:pt x="12" y="109"/>
                </a:lnTo>
                <a:lnTo>
                  <a:pt x="13" y="109"/>
                </a:lnTo>
                <a:lnTo>
                  <a:pt x="13" y="110"/>
                </a:lnTo>
                <a:lnTo>
                  <a:pt x="11" y="112"/>
                </a:lnTo>
                <a:lnTo>
                  <a:pt x="8" y="114"/>
                </a:lnTo>
                <a:lnTo>
                  <a:pt x="8" y="116"/>
                </a:lnTo>
                <a:lnTo>
                  <a:pt x="11" y="117"/>
                </a:lnTo>
                <a:lnTo>
                  <a:pt x="12" y="118"/>
                </a:lnTo>
                <a:lnTo>
                  <a:pt x="12" y="120"/>
                </a:lnTo>
                <a:lnTo>
                  <a:pt x="11" y="120"/>
                </a:lnTo>
                <a:lnTo>
                  <a:pt x="11" y="121"/>
                </a:lnTo>
                <a:lnTo>
                  <a:pt x="12" y="126"/>
                </a:lnTo>
                <a:lnTo>
                  <a:pt x="12" y="127"/>
                </a:lnTo>
                <a:lnTo>
                  <a:pt x="15" y="127"/>
                </a:lnTo>
                <a:lnTo>
                  <a:pt x="15" y="128"/>
                </a:lnTo>
                <a:lnTo>
                  <a:pt x="19" y="128"/>
                </a:lnTo>
                <a:lnTo>
                  <a:pt x="19" y="130"/>
                </a:lnTo>
                <a:lnTo>
                  <a:pt x="20" y="132"/>
                </a:lnTo>
                <a:lnTo>
                  <a:pt x="19" y="133"/>
                </a:lnTo>
                <a:lnTo>
                  <a:pt x="19" y="132"/>
                </a:lnTo>
                <a:lnTo>
                  <a:pt x="18" y="132"/>
                </a:lnTo>
                <a:lnTo>
                  <a:pt x="17" y="130"/>
                </a:lnTo>
                <a:lnTo>
                  <a:pt x="14" y="130"/>
                </a:lnTo>
                <a:lnTo>
                  <a:pt x="13" y="129"/>
                </a:lnTo>
                <a:lnTo>
                  <a:pt x="11" y="129"/>
                </a:lnTo>
                <a:lnTo>
                  <a:pt x="11" y="128"/>
                </a:lnTo>
                <a:lnTo>
                  <a:pt x="12" y="128"/>
                </a:lnTo>
                <a:lnTo>
                  <a:pt x="11" y="127"/>
                </a:lnTo>
                <a:lnTo>
                  <a:pt x="9" y="127"/>
                </a:lnTo>
                <a:lnTo>
                  <a:pt x="8" y="126"/>
                </a:lnTo>
                <a:lnTo>
                  <a:pt x="8" y="122"/>
                </a:lnTo>
                <a:lnTo>
                  <a:pt x="7" y="121"/>
                </a:lnTo>
                <a:lnTo>
                  <a:pt x="7" y="120"/>
                </a:lnTo>
                <a:lnTo>
                  <a:pt x="6" y="120"/>
                </a:lnTo>
                <a:lnTo>
                  <a:pt x="5" y="118"/>
                </a:lnTo>
                <a:lnTo>
                  <a:pt x="3" y="116"/>
                </a:lnTo>
                <a:lnTo>
                  <a:pt x="2" y="115"/>
                </a:lnTo>
                <a:lnTo>
                  <a:pt x="1" y="115"/>
                </a:lnTo>
                <a:lnTo>
                  <a:pt x="1" y="112"/>
                </a:lnTo>
                <a:lnTo>
                  <a:pt x="0" y="114"/>
                </a:lnTo>
                <a:lnTo>
                  <a:pt x="0" y="109"/>
                </a:lnTo>
                <a:lnTo>
                  <a:pt x="5" y="109"/>
                </a:lnTo>
                <a:lnTo>
                  <a:pt x="6" y="108"/>
                </a:lnTo>
                <a:lnTo>
                  <a:pt x="7" y="108"/>
                </a:lnTo>
                <a:lnTo>
                  <a:pt x="8" y="106"/>
                </a:lnTo>
                <a:close/>
                <a:moveTo>
                  <a:pt x="242" y="96"/>
                </a:moveTo>
                <a:lnTo>
                  <a:pt x="244" y="96"/>
                </a:lnTo>
                <a:lnTo>
                  <a:pt x="244" y="98"/>
                </a:lnTo>
                <a:lnTo>
                  <a:pt x="242" y="100"/>
                </a:lnTo>
                <a:lnTo>
                  <a:pt x="242" y="102"/>
                </a:lnTo>
                <a:lnTo>
                  <a:pt x="241" y="102"/>
                </a:lnTo>
                <a:lnTo>
                  <a:pt x="241" y="104"/>
                </a:lnTo>
                <a:lnTo>
                  <a:pt x="239" y="104"/>
                </a:lnTo>
                <a:lnTo>
                  <a:pt x="241" y="105"/>
                </a:lnTo>
                <a:lnTo>
                  <a:pt x="241" y="106"/>
                </a:lnTo>
                <a:lnTo>
                  <a:pt x="242" y="108"/>
                </a:lnTo>
                <a:lnTo>
                  <a:pt x="241" y="108"/>
                </a:lnTo>
                <a:lnTo>
                  <a:pt x="241" y="109"/>
                </a:lnTo>
                <a:lnTo>
                  <a:pt x="239" y="109"/>
                </a:lnTo>
                <a:lnTo>
                  <a:pt x="238" y="108"/>
                </a:lnTo>
                <a:lnTo>
                  <a:pt x="238" y="106"/>
                </a:lnTo>
                <a:lnTo>
                  <a:pt x="237" y="106"/>
                </a:lnTo>
                <a:lnTo>
                  <a:pt x="237" y="105"/>
                </a:lnTo>
                <a:lnTo>
                  <a:pt x="236" y="105"/>
                </a:lnTo>
                <a:lnTo>
                  <a:pt x="237" y="104"/>
                </a:lnTo>
                <a:lnTo>
                  <a:pt x="237" y="102"/>
                </a:lnTo>
                <a:lnTo>
                  <a:pt x="236" y="102"/>
                </a:lnTo>
                <a:lnTo>
                  <a:pt x="234" y="103"/>
                </a:lnTo>
                <a:lnTo>
                  <a:pt x="235" y="103"/>
                </a:lnTo>
                <a:lnTo>
                  <a:pt x="235" y="104"/>
                </a:lnTo>
                <a:lnTo>
                  <a:pt x="234" y="104"/>
                </a:lnTo>
                <a:lnTo>
                  <a:pt x="234" y="105"/>
                </a:lnTo>
                <a:lnTo>
                  <a:pt x="235" y="106"/>
                </a:lnTo>
                <a:lnTo>
                  <a:pt x="235" y="108"/>
                </a:lnTo>
                <a:lnTo>
                  <a:pt x="232" y="108"/>
                </a:lnTo>
                <a:lnTo>
                  <a:pt x="232" y="105"/>
                </a:lnTo>
                <a:lnTo>
                  <a:pt x="231" y="105"/>
                </a:lnTo>
                <a:lnTo>
                  <a:pt x="229" y="106"/>
                </a:lnTo>
                <a:lnTo>
                  <a:pt x="228" y="106"/>
                </a:lnTo>
                <a:lnTo>
                  <a:pt x="228" y="104"/>
                </a:lnTo>
                <a:lnTo>
                  <a:pt x="229" y="104"/>
                </a:lnTo>
                <a:lnTo>
                  <a:pt x="229" y="102"/>
                </a:lnTo>
                <a:lnTo>
                  <a:pt x="228" y="100"/>
                </a:lnTo>
                <a:lnTo>
                  <a:pt x="228" y="98"/>
                </a:lnTo>
                <a:lnTo>
                  <a:pt x="229" y="98"/>
                </a:lnTo>
                <a:lnTo>
                  <a:pt x="231" y="97"/>
                </a:lnTo>
                <a:lnTo>
                  <a:pt x="232" y="97"/>
                </a:lnTo>
                <a:lnTo>
                  <a:pt x="232" y="98"/>
                </a:lnTo>
                <a:lnTo>
                  <a:pt x="234" y="98"/>
                </a:lnTo>
                <a:lnTo>
                  <a:pt x="235" y="97"/>
                </a:lnTo>
                <a:lnTo>
                  <a:pt x="236" y="97"/>
                </a:lnTo>
                <a:lnTo>
                  <a:pt x="237" y="98"/>
                </a:lnTo>
                <a:lnTo>
                  <a:pt x="237" y="99"/>
                </a:lnTo>
                <a:lnTo>
                  <a:pt x="239" y="99"/>
                </a:lnTo>
                <a:lnTo>
                  <a:pt x="242" y="97"/>
                </a:lnTo>
                <a:lnTo>
                  <a:pt x="242" y="96"/>
                </a:lnTo>
                <a:close/>
                <a:moveTo>
                  <a:pt x="248" y="69"/>
                </a:moveTo>
                <a:lnTo>
                  <a:pt x="254" y="69"/>
                </a:lnTo>
                <a:lnTo>
                  <a:pt x="254" y="71"/>
                </a:lnTo>
                <a:lnTo>
                  <a:pt x="255" y="71"/>
                </a:lnTo>
                <a:lnTo>
                  <a:pt x="255" y="74"/>
                </a:lnTo>
                <a:lnTo>
                  <a:pt x="250" y="75"/>
                </a:lnTo>
                <a:lnTo>
                  <a:pt x="248" y="74"/>
                </a:lnTo>
                <a:lnTo>
                  <a:pt x="245" y="72"/>
                </a:lnTo>
                <a:lnTo>
                  <a:pt x="244" y="72"/>
                </a:lnTo>
                <a:lnTo>
                  <a:pt x="244" y="71"/>
                </a:lnTo>
                <a:lnTo>
                  <a:pt x="245" y="71"/>
                </a:lnTo>
                <a:lnTo>
                  <a:pt x="248" y="69"/>
                </a:lnTo>
                <a:close/>
                <a:moveTo>
                  <a:pt x="211" y="53"/>
                </a:moveTo>
                <a:lnTo>
                  <a:pt x="212" y="54"/>
                </a:lnTo>
                <a:lnTo>
                  <a:pt x="214" y="54"/>
                </a:lnTo>
                <a:lnTo>
                  <a:pt x="214" y="55"/>
                </a:lnTo>
                <a:lnTo>
                  <a:pt x="216" y="55"/>
                </a:lnTo>
                <a:lnTo>
                  <a:pt x="216" y="57"/>
                </a:lnTo>
                <a:lnTo>
                  <a:pt x="217" y="59"/>
                </a:lnTo>
                <a:lnTo>
                  <a:pt x="217" y="60"/>
                </a:lnTo>
                <a:lnTo>
                  <a:pt x="216" y="60"/>
                </a:lnTo>
                <a:lnTo>
                  <a:pt x="216" y="62"/>
                </a:lnTo>
                <a:lnTo>
                  <a:pt x="217" y="62"/>
                </a:lnTo>
                <a:lnTo>
                  <a:pt x="217" y="63"/>
                </a:lnTo>
                <a:lnTo>
                  <a:pt x="214" y="63"/>
                </a:lnTo>
                <a:lnTo>
                  <a:pt x="214" y="65"/>
                </a:lnTo>
                <a:lnTo>
                  <a:pt x="212" y="65"/>
                </a:lnTo>
                <a:lnTo>
                  <a:pt x="211" y="66"/>
                </a:lnTo>
                <a:lnTo>
                  <a:pt x="210" y="65"/>
                </a:lnTo>
                <a:lnTo>
                  <a:pt x="208" y="65"/>
                </a:lnTo>
                <a:lnTo>
                  <a:pt x="208" y="63"/>
                </a:lnTo>
                <a:lnTo>
                  <a:pt x="207" y="62"/>
                </a:lnTo>
                <a:lnTo>
                  <a:pt x="205" y="62"/>
                </a:lnTo>
                <a:lnTo>
                  <a:pt x="205" y="59"/>
                </a:lnTo>
                <a:lnTo>
                  <a:pt x="206" y="57"/>
                </a:lnTo>
                <a:lnTo>
                  <a:pt x="207" y="55"/>
                </a:lnTo>
                <a:lnTo>
                  <a:pt x="211" y="53"/>
                </a:lnTo>
                <a:close/>
                <a:moveTo>
                  <a:pt x="276" y="0"/>
                </a:moveTo>
                <a:lnTo>
                  <a:pt x="278" y="0"/>
                </a:lnTo>
                <a:lnTo>
                  <a:pt x="279" y="1"/>
                </a:lnTo>
                <a:lnTo>
                  <a:pt x="280" y="1"/>
                </a:lnTo>
                <a:lnTo>
                  <a:pt x="280" y="3"/>
                </a:lnTo>
                <a:lnTo>
                  <a:pt x="282" y="3"/>
                </a:lnTo>
                <a:lnTo>
                  <a:pt x="284" y="1"/>
                </a:lnTo>
                <a:lnTo>
                  <a:pt x="284" y="3"/>
                </a:lnTo>
                <a:lnTo>
                  <a:pt x="285" y="4"/>
                </a:lnTo>
                <a:lnTo>
                  <a:pt x="288" y="4"/>
                </a:lnTo>
                <a:lnTo>
                  <a:pt x="288" y="5"/>
                </a:lnTo>
                <a:lnTo>
                  <a:pt x="287" y="6"/>
                </a:lnTo>
                <a:lnTo>
                  <a:pt x="292" y="8"/>
                </a:lnTo>
                <a:lnTo>
                  <a:pt x="293" y="7"/>
                </a:lnTo>
                <a:lnTo>
                  <a:pt x="293" y="13"/>
                </a:lnTo>
                <a:lnTo>
                  <a:pt x="294" y="16"/>
                </a:lnTo>
                <a:lnTo>
                  <a:pt x="294" y="23"/>
                </a:lnTo>
                <a:lnTo>
                  <a:pt x="293" y="24"/>
                </a:lnTo>
                <a:lnTo>
                  <a:pt x="292" y="23"/>
                </a:lnTo>
                <a:lnTo>
                  <a:pt x="291" y="23"/>
                </a:lnTo>
                <a:lnTo>
                  <a:pt x="288" y="24"/>
                </a:lnTo>
                <a:lnTo>
                  <a:pt x="288" y="25"/>
                </a:lnTo>
                <a:lnTo>
                  <a:pt x="287" y="25"/>
                </a:lnTo>
                <a:lnTo>
                  <a:pt x="285" y="28"/>
                </a:lnTo>
                <a:lnTo>
                  <a:pt x="282" y="28"/>
                </a:lnTo>
                <a:lnTo>
                  <a:pt x="281" y="29"/>
                </a:lnTo>
                <a:lnTo>
                  <a:pt x="282" y="29"/>
                </a:lnTo>
                <a:lnTo>
                  <a:pt x="281" y="30"/>
                </a:lnTo>
                <a:lnTo>
                  <a:pt x="281" y="32"/>
                </a:lnTo>
                <a:lnTo>
                  <a:pt x="282" y="34"/>
                </a:lnTo>
                <a:lnTo>
                  <a:pt x="281" y="35"/>
                </a:lnTo>
                <a:lnTo>
                  <a:pt x="282" y="35"/>
                </a:lnTo>
                <a:lnTo>
                  <a:pt x="282" y="36"/>
                </a:lnTo>
                <a:lnTo>
                  <a:pt x="281" y="37"/>
                </a:lnTo>
                <a:lnTo>
                  <a:pt x="281" y="38"/>
                </a:lnTo>
                <a:lnTo>
                  <a:pt x="284" y="41"/>
                </a:lnTo>
                <a:lnTo>
                  <a:pt x="284" y="42"/>
                </a:lnTo>
                <a:lnTo>
                  <a:pt x="282" y="42"/>
                </a:lnTo>
                <a:lnTo>
                  <a:pt x="282" y="46"/>
                </a:lnTo>
                <a:lnTo>
                  <a:pt x="280" y="46"/>
                </a:lnTo>
                <a:lnTo>
                  <a:pt x="280" y="47"/>
                </a:lnTo>
                <a:lnTo>
                  <a:pt x="279" y="47"/>
                </a:lnTo>
                <a:lnTo>
                  <a:pt x="279" y="48"/>
                </a:lnTo>
                <a:lnTo>
                  <a:pt x="278" y="48"/>
                </a:lnTo>
                <a:lnTo>
                  <a:pt x="278" y="49"/>
                </a:lnTo>
                <a:lnTo>
                  <a:pt x="276" y="49"/>
                </a:lnTo>
                <a:lnTo>
                  <a:pt x="276" y="50"/>
                </a:lnTo>
                <a:lnTo>
                  <a:pt x="274" y="53"/>
                </a:lnTo>
                <a:lnTo>
                  <a:pt x="274" y="55"/>
                </a:lnTo>
                <a:lnTo>
                  <a:pt x="273" y="56"/>
                </a:lnTo>
                <a:lnTo>
                  <a:pt x="270" y="56"/>
                </a:lnTo>
                <a:lnTo>
                  <a:pt x="269" y="55"/>
                </a:lnTo>
                <a:lnTo>
                  <a:pt x="269" y="54"/>
                </a:lnTo>
                <a:lnTo>
                  <a:pt x="268" y="53"/>
                </a:lnTo>
                <a:lnTo>
                  <a:pt x="270" y="53"/>
                </a:lnTo>
                <a:lnTo>
                  <a:pt x="270" y="51"/>
                </a:lnTo>
                <a:lnTo>
                  <a:pt x="268" y="51"/>
                </a:lnTo>
                <a:lnTo>
                  <a:pt x="268" y="53"/>
                </a:lnTo>
                <a:lnTo>
                  <a:pt x="266" y="50"/>
                </a:lnTo>
                <a:lnTo>
                  <a:pt x="255" y="50"/>
                </a:lnTo>
                <a:lnTo>
                  <a:pt x="253" y="49"/>
                </a:lnTo>
                <a:lnTo>
                  <a:pt x="248" y="49"/>
                </a:lnTo>
                <a:lnTo>
                  <a:pt x="247" y="48"/>
                </a:lnTo>
                <a:lnTo>
                  <a:pt x="244" y="47"/>
                </a:lnTo>
                <a:lnTo>
                  <a:pt x="242" y="47"/>
                </a:lnTo>
                <a:lnTo>
                  <a:pt x="241" y="46"/>
                </a:lnTo>
                <a:lnTo>
                  <a:pt x="238" y="44"/>
                </a:lnTo>
                <a:lnTo>
                  <a:pt x="237" y="46"/>
                </a:lnTo>
                <a:lnTo>
                  <a:pt x="234" y="46"/>
                </a:lnTo>
                <a:lnTo>
                  <a:pt x="232" y="44"/>
                </a:lnTo>
                <a:lnTo>
                  <a:pt x="231" y="44"/>
                </a:lnTo>
                <a:lnTo>
                  <a:pt x="231" y="43"/>
                </a:lnTo>
                <a:lnTo>
                  <a:pt x="232" y="43"/>
                </a:lnTo>
                <a:lnTo>
                  <a:pt x="232" y="42"/>
                </a:lnTo>
                <a:lnTo>
                  <a:pt x="228" y="42"/>
                </a:lnTo>
                <a:lnTo>
                  <a:pt x="228" y="43"/>
                </a:lnTo>
                <a:lnTo>
                  <a:pt x="226" y="43"/>
                </a:lnTo>
                <a:lnTo>
                  <a:pt x="225" y="44"/>
                </a:lnTo>
                <a:lnTo>
                  <a:pt x="225" y="46"/>
                </a:lnTo>
                <a:lnTo>
                  <a:pt x="223" y="46"/>
                </a:lnTo>
                <a:lnTo>
                  <a:pt x="222" y="47"/>
                </a:lnTo>
                <a:lnTo>
                  <a:pt x="220" y="47"/>
                </a:lnTo>
                <a:lnTo>
                  <a:pt x="219" y="49"/>
                </a:lnTo>
                <a:lnTo>
                  <a:pt x="217" y="50"/>
                </a:lnTo>
                <a:lnTo>
                  <a:pt x="216" y="49"/>
                </a:lnTo>
                <a:lnTo>
                  <a:pt x="214" y="50"/>
                </a:lnTo>
                <a:lnTo>
                  <a:pt x="213" y="50"/>
                </a:lnTo>
                <a:lnTo>
                  <a:pt x="213" y="49"/>
                </a:lnTo>
                <a:lnTo>
                  <a:pt x="211" y="49"/>
                </a:lnTo>
                <a:lnTo>
                  <a:pt x="211" y="50"/>
                </a:lnTo>
                <a:lnTo>
                  <a:pt x="210" y="50"/>
                </a:lnTo>
                <a:lnTo>
                  <a:pt x="210" y="48"/>
                </a:lnTo>
                <a:lnTo>
                  <a:pt x="208" y="48"/>
                </a:lnTo>
                <a:lnTo>
                  <a:pt x="208" y="47"/>
                </a:lnTo>
                <a:lnTo>
                  <a:pt x="207" y="46"/>
                </a:lnTo>
                <a:lnTo>
                  <a:pt x="207" y="44"/>
                </a:lnTo>
                <a:lnTo>
                  <a:pt x="204" y="44"/>
                </a:lnTo>
                <a:lnTo>
                  <a:pt x="203" y="46"/>
                </a:lnTo>
                <a:lnTo>
                  <a:pt x="203" y="44"/>
                </a:lnTo>
                <a:lnTo>
                  <a:pt x="201" y="46"/>
                </a:lnTo>
                <a:lnTo>
                  <a:pt x="200" y="46"/>
                </a:lnTo>
                <a:lnTo>
                  <a:pt x="197" y="49"/>
                </a:lnTo>
                <a:lnTo>
                  <a:pt x="198" y="49"/>
                </a:lnTo>
                <a:lnTo>
                  <a:pt x="198" y="50"/>
                </a:lnTo>
                <a:lnTo>
                  <a:pt x="197" y="50"/>
                </a:lnTo>
                <a:lnTo>
                  <a:pt x="197" y="51"/>
                </a:lnTo>
                <a:lnTo>
                  <a:pt x="198" y="51"/>
                </a:lnTo>
                <a:lnTo>
                  <a:pt x="193" y="55"/>
                </a:lnTo>
                <a:lnTo>
                  <a:pt x="188" y="57"/>
                </a:lnTo>
                <a:lnTo>
                  <a:pt x="183" y="57"/>
                </a:lnTo>
                <a:lnTo>
                  <a:pt x="179" y="54"/>
                </a:lnTo>
                <a:lnTo>
                  <a:pt x="175" y="54"/>
                </a:lnTo>
                <a:lnTo>
                  <a:pt x="173" y="55"/>
                </a:lnTo>
                <a:lnTo>
                  <a:pt x="173" y="56"/>
                </a:lnTo>
                <a:lnTo>
                  <a:pt x="172" y="56"/>
                </a:lnTo>
                <a:lnTo>
                  <a:pt x="170" y="57"/>
                </a:lnTo>
                <a:lnTo>
                  <a:pt x="170" y="60"/>
                </a:lnTo>
                <a:lnTo>
                  <a:pt x="172" y="61"/>
                </a:lnTo>
                <a:lnTo>
                  <a:pt x="173" y="61"/>
                </a:lnTo>
                <a:lnTo>
                  <a:pt x="173" y="62"/>
                </a:lnTo>
                <a:lnTo>
                  <a:pt x="174" y="62"/>
                </a:lnTo>
                <a:lnTo>
                  <a:pt x="174" y="63"/>
                </a:lnTo>
                <a:lnTo>
                  <a:pt x="178" y="67"/>
                </a:lnTo>
                <a:lnTo>
                  <a:pt x="179" y="67"/>
                </a:lnTo>
                <a:lnTo>
                  <a:pt x="180" y="68"/>
                </a:lnTo>
                <a:lnTo>
                  <a:pt x="176" y="68"/>
                </a:lnTo>
                <a:lnTo>
                  <a:pt x="176" y="72"/>
                </a:lnTo>
                <a:lnTo>
                  <a:pt x="178" y="74"/>
                </a:lnTo>
                <a:lnTo>
                  <a:pt x="179" y="75"/>
                </a:lnTo>
                <a:lnTo>
                  <a:pt x="180" y="75"/>
                </a:lnTo>
                <a:lnTo>
                  <a:pt x="181" y="77"/>
                </a:lnTo>
                <a:lnTo>
                  <a:pt x="183" y="77"/>
                </a:lnTo>
                <a:lnTo>
                  <a:pt x="183" y="73"/>
                </a:lnTo>
                <a:lnTo>
                  <a:pt x="185" y="73"/>
                </a:lnTo>
                <a:lnTo>
                  <a:pt x="186" y="75"/>
                </a:lnTo>
                <a:lnTo>
                  <a:pt x="186" y="77"/>
                </a:lnTo>
                <a:lnTo>
                  <a:pt x="187" y="78"/>
                </a:lnTo>
                <a:lnTo>
                  <a:pt x="192" y="78"/>
                </a:lnTo>
                <a:lnTo>
                  <a:pt x="192" y="80"/>
                </a:lnTo>
                <a:lnTo>
                  <a:pt x="193" y="80"/>
                </a:lnTo>
                <a:lnTo>
                  <a:pt x="194" y="81"/>
                </a:lnTo>
                <a:lnTo>
                  <a:pt x="197" y="85"/>
                </a:lnTo>
                <a:lnTo>
                  <a:pt x="200" y="87"/>
                </a:lnTo>
                <a:lnTo>
                  <a:pt x="200" y="89"/>
                </a:lnTo>
                <a:lnTo>
                  <a:pt x="199" y="90"/>
                </a:lnTo>
                <a:lnTo>
                  <a:pt x="197" y="91"/>
                </a:lnTo>
                <a:lnTo>
                  <a:pt x="195" y="90"/>
                </a:lnTo>
                <a:lnTo>
                  <a:pt x="195" y="89"/>
                </a:lnTo>
                <a:lnTo>
                  <a:pt x="194" y="87"/>
                </a:lnTo>
                <a:lnTo>
                  <a:pt x="193" y="87"/>
                </a:lnTo>
                <a:lnTo>
                  <a:pt x="193" y="85"/>
                </a:lnTo>
                <a:lnTo>
                  <a:pt x="189" y="81"/>
                </a:lnTo>
                <a:lnTo>
                  <a:pt x="186" y="81"/>
                </a:lnTo>
                <a:lnTo>
                  <a:pt x="182" y="78"/>
                </a:lnTo>
                <a:lnTo>
                  <a:pt x="181" y="78"/>
                </a:lnTo>
                <a:lnTo>
                  <a:pt x="180" y="77"/>
                </a:lnTo>
                <a:lnTo>
                  <a:pt x="179" y="78"/>
                </a:lnTo>
                <a:lnTo>
                  <a:pt x="178" y="77"/>
                </a:lnTo>
                <a:lnTo>
                  <a:pt x="176" y="77"/>
                </a:lnTo>
                <a:lnTo>
                  <a:pt x="174" y="78"/>
                </a:lnTo>
                <a:lnTo>
                  <a:pt x="172" y="78"/>
                </a:lnTo>
                <a:lnTo>
                  <a:pt x="170" y="79"/>
                </a:lnTo>
                <a:lnTo>
                  <a:pt x="170" y="81"/>
                </a:lnTo>
                <a:lnTo>
                  <a:pt x="172" y="83"/>
                </a:lnTo>
                <a:lnTo>
                  <a:pt x="172" y="84"/>
                </a:lnTo>
                <a:lnTo>
                  <a:pt x="173" y="85"/>
                </a:lnTo>
                <a:lnTo>
                  <a:pt x="174" y="85"/>
                </a:lnTo>
                <a:lnTo>
                  <a:pt x="174" y="86"/>
                </a:lnTo>
                <a:lnTo>
                  <a:pt x="175" y="86"/>
                </a:lnTo>
                <a:lnTo>
                  <a:pt x="178" y="87"/>
                </a:lnTo>
                <a:lnTo>
                  <a:pt x="179" y="87"/>
                </a:lnTo>
                <a:lnTo>
                  <a:pt x="179" y="89"/>
                </a:lnTo>
                <a:lnTo>
                  <a:pt x="180" y="89"/>
                </a:lnTo>
                <a:lnTo>
                  <a:pt x="180" y="90"/>
                </a:lnTo>
                <a:lnTo>
                  <a:pt x="182" y="90"/>
                </a:lnTo>
                <a:lnTo>
                  <a:pt x="183" y="91"/>
                </a:lnTo>
                <a:lnTo>
                  <a:pt x="182" y="92"/>
                </a:lnTo>
                <a:lnTo>
                  <a:pt x="182" y="93"/>
                </a:lnTo>
                <a:lnTo>
                  <a:pt x="183" y="93"/>
                </a:lnTo>
                <a:lnTo>
                  <a:pt x="183" y="96"/>
                </a:lnTo>
                <a:lnTo>
                  <a:pt x="185" y="96"/>
                </a:lnTo>
                <a:lnTo>
                  <a:pt x="185" y="97"/>
                </a:lnTo>
                <a:lnTo>
                  <a:pt x="183" y="97"/>
                </a:lnTo>
                <a:lnTo>
                  <a:pt x="183" y="100"/>
                </a:lnTo>
                <a:lnTo>
                  <a:pt x="181" y="100"/>
                </a:lnTo>
                <a:lnTo>
                  <a:pt x="179" y="98"/>
                </a:lnTo>
                <a:lnTo>
                  <a:pt x="180" y="98"/>
                </a:lnTo>
                <a:lnTo>
                  <a:pt x="178" y="97"/>
                </a:lnTo>
                <a:lnTo>
                  <a:pt x="178" y="96"/>
                </a:lnTo>
                <a:lnTo>
                  <a:pt x="176" y="96"/>
                </a:lnTo>
                <a:lnTo>
                  <a:pt x="176" y="97"/>
                </a:lnTo>
                <a:lnTo>
                  <a:pt x="175" y="94"/>
                </a:lnTo>
                <a:lnTo>
                  <a:pt x="174" y="93"/>
                </a:lnTo>
                <a:lnTo>
                  <a:pt x="175" y="93"/>
                </a:lnTo>
                <a:lnTo>
                  <a:pt x="175" y="92"/>
                </a:lnTo>
                <a:lnTo>
                  <a:pt x="174" y="92"/>
                </a:lnTo>
                <a:lnTo>
                  <a:pt x="174" y="91"/>
                </a:lnTo>
                <a:lnTo>
                  <a:pt x="170" y="85"/>
                </a:lnTo>
                <a:lnTo>
                  <a:pt x="168" y="85"/>
                </a:lnTo>
                <a:lnTo>
                  <a:pt x="168" y="84"/>
                </a:lnTo>
                <a:lnTo>
                  <a:pt x="164" y="84"/>
                </a:lnTo>
                <a:lnTo>
                  <a:pt x="162" y="83"/>
                </a:lnTo>
                <a:lnTo>
                  <a:pt x="157" y="83"/>
                </a:lnTo>
                <a:lnTo>
                  <a:pt x="156" y="85"/>
                </a:lnTo>
                <a:lnTo>
                  <a:pt x="156" y="89"/>
                </a:lnTo>
                <a:lnTo>
                  <a:pt x="157" y="89"/>
                </a:lnTo>
                <a:lnTo>
                  <a:pt x="157" y="90"/>
                </a:lnTo>
                <a:lnTo>
                  <a:pt x="158" y="90"/>
                </a:lnTo>
                <a:lnTo>
                  <a:pt x="158" y="91"/>
                </a:lnTo>
                <a:lnTo>
                  <a:pt x="162" y="94"/>
                </a:lnTo>
                <a:lnTo>
                  <a:pt x="169" y="98"/>
                </a:lnTo>
                <a:lnTo>
                  <a:pt x="169" y="99"/>
                </a:lnTo>
                <a:lnTo>
                  <a:pt x="170" y="99"/>
                </a:lnTo>
                <a:lnTo>
                  <a:pt x="170" y="100"/>
                </a:lnTo>
                <a:lnTo>
                  <a:pt x="173" y="100"/>
                </a:lnTo>
                <a:lnTo>
                  <a:pt x="173" y="102"/>
                </a:lnTo>
                <a:lnTo>
                  <a:pt x="167" y="102"/>
                </a:lnTo>
                <a:lnTo>
                  <a:pt x="161" y="99"/>
                </a:lnTo>
                <a:lnTo>
                  <a:pt x="157" y="99"/>
                </a:lnTo>
                <a:lnTo>
                  <a:pt x="157" y="96"/>
                </a:lnTo>
                <a:lnTo>
                  <a:pt x="156" y="96"/>
                </a:lnTo>
                <a:lnTo>
                  <a:pt x="156" y="93"/>
                </a:lnTo>
                <a:lnTo>
                  <a:pt x="155" y="92"/>
                </a:lnTo>
                <a:lnTo>
                  <a:pt x="154" y="92"/>
                </a:lnTo>
                <a:lnTo>
                  <a:pt x="155" y="90"/>
                </a:lnTo>
                <a:lnTo>
                  <a:pt x="155" y="86"/>
                </a:lnTo>
                <a:lnTo>
                  <a:pt x="151" y="83"/>
                </a:lnTo>
                <a:lnTo>
                  <a:pt x="148" y="83"/>
                </a:lnTo>
                <a:lnTo>
                  <a:pt x="145" y="80"/>
                </a:lnTo>
                <a:lnTo>
                  <a:pt x="144" y="80"/>
                </a:lnTo>
                <a:lnTo>
                  <a:pt x="142" y="78"/>
                </a:lnTo>
                <a:lnTo>
                  <a:pt x="139" y="77"/>
                </a:lnTo>
                <a:lnTo>
                  <a:pt x="138" y="75"/>
                </a:lnTo>
                <a:lnTo>
                  <a:pt x="137" y="77"/>
                </a:lnTo>
                <a:lnTo>
                  <a:pt x="137" y="74"/>
                </a:lnTo>
                <a:lnTo>
                  <a:pt x="136" y="73"/>
                </a:lnTo>
                <a:lnTo>
                  <a:pt x="136" y="72"/>
                </a:lnTo>
                <a:lnTo>
                  <a:pt x="133" y="69"/>
                </a:lnTo>
                <a:lnTo>
                  <a:pt x="139" y="69"/>
                </a:lnTo>
                <a:lnTo>
                  <a:pt x="139" y="68"/>
                </a:lnTo>
                <a:lnTo>
                  <a:pt x="141" y="67"/>
                </a:lnTo>
                <a:lnTo>
                  <a:pt x="141" y="66"/>
                </a:lnTo>
                <a:lnTo>
                  <a:pt x="139" y="65"/>
                </a:lnTo>
                <a:lnTo>
                  <a:pt x="139" y="63"/>
                </a:lnTo>
                <a:lnTo>
                  <a:pt x="138" y="62"/>
                </a:lnTo>
                <a:lnTo>
                  <a:pt x="137" y="62"/>
                </a:lnTo>
                <a:lnTo>
                  <a:pt x="137" y="61"/>
                </a:lnTo>
                <a:lnTo>
                  <a:pt x="135" y="62"/>
                </a:lnTo>
                <a:lnTo>
                  <a:pt x="136" y="63"/>
                </a:lnTo>
                <a:lnTo>
                  <a:pt x="133" y="66"/>
                </a:lnTo>
                <a:lnTo>
                  <a:pt x="131" y="66"/>
                </a:lnTo>
                <a:lnTo>
                  <a:pt x="131" y="68"/>
                </a:lnTo>
                <a:lnTo>
                  <a:pt x="130" y="68"/>
                </a:lnTo>
                <a:lnTo>
                  <a:pt x="130" y="69"/>
                </a:lnTo>
                <a:lnTo>
                  <a:pt x="129" y="69"/>
                </a:lnTo>
                <a:lnTo>
                  <a:pt x="129" y="68"/>
                </a:lnTo>
                <a:lnTo>
                  <a:pt x="127" y="68"/>
                </a:lnTo>
                <a:lnTo>
                  <a:pt x="127" y="71"/>
                </a:lnTo>
                <a:lnTo>
                  <a:pt x="124" y="71"/>
                </a:lnTo>
                <a:lnTo>
                  <a:pt x="124" y="72"/>
                </a:lnTo>
                <a:lnTo>
                  <a:pt x="125" y="73"/>
                </a:lnTo>
                <a:lnTo>
                  <a:pt x="125" y="75"/>
                </a:lnTo>
                <a:lnTo>
                  <a:pt x="126" y="77"/>
                </a:lnTo>
                <a:lnTo>
                  <a:pt x="127" y="77"/>
                </a:lnTo>
                <a:lnTo>
                  <a:pt x="126" y="78"/>
                </a:lnTo>
                <a:lnTo>
                  <a:pt x="125" y="80"/>
                </a:lnTo>
                <a:lnTo>
                  <a:pt x="124" y="84"/>
                </a:lnTo>
                <a:lnTo>
                  <a:pt x="124" y="85"/>
                </a:lnTo>
                <a:lnTo>
                  <a:pt x="123" y="89"/>
                </a:lnTo>
                <a:lnTo>
                  <a:pt x="123" y="91"/>
                </a:lnTo>
                <a:lnTo>
                  <a:pt x="124" y="92"/>
                </a:lnTo>
                <a:lnTo>
                  <a:pt x="123" y="93"/>
                </a:lnTo>
                <a:lnTo>
                  <a:pt x="123" y="94"/>
                </a:lnTo>
                <a:lnTo>
                  <a:pt x="124" y="94"/>
                </a:lnTo>
                <a:lnTo>
                  <a:pt x="124" y="97"/>
                </a:lnTo>
                <a:lnTo>
                  <a:pt x="126" y="98"/>
                </a:lnTo>
                <a:lnTo>
                  <a:pt x="127" y="98"/>
                </a:lnTo>
                <a:lnTo>
                  <a:pt x="127" y="99"/>
                </a:lnTo>
                <a:lnTo>
                  <a:pt x="129" y="99"/>
                </a:lnTo>
                <a:lnTo>
                  <a:pt x="129" y="100"/>
                </a:lnTo>
                <a:lnTo>
                  <a:pt x="130" y="103"/>
                </a:lnTo>
                <a:lnTo>
                  <a:pt x="130" y="104"/>
                </a:lnTo>
                <a:lnTo>
                  <a:pt x="132" y="105"/>
                </a:lnTo>
                <a:lnTo>
                  <a:pt x="135" y="108"/>
                </a:lnTo>
                <a:lnTo>
                  <a:pt x="135" y="109"/>
                </a:lnTo>
                <a:lnTo>
                  <a:pt x="136" y="110"/>
                </a:lnTo>
                <a:lnTo>
                  <a:pt x="136" y="112"/>
                </a:lnTo>
                <a:lnTo>
                  <a:pt x="138" y="120"/>
                </a:lnTo>
                <a:lnTo>
                  <a:pt x="139" y="121"/>
                </a:lnTo>
                <a:lnTo>
                  <a:pt x="144" y="123"/>
                </a:lnTo>
                <a:lnTo>
                  <a:pt x="145" y="124"/>
                </a:lnTo>
                <a:lnTo>
                  <a:pt x="147" y="127"/>
                </a:lnTo>
                <a:lnTo>
                  <a:pt x="150" y="132"/>
                </a:lnTo>
                <a:lnTo>
                  <a:pt x="152" y="134"/>
                </a:lnTo>
                <a:lnTo>
                  <a:pt x="154" y="137"/>
                </a:lnTo>
                <a:lnTo>
                  <a:pt x="156" y="141"/>
                </a:lnTo>
                <a:lnTo>
                  <a:pt x="156" y="142"/>
                </a:lnTo>
                <a:lnTo>
                  <a:pt x="155" y="142"/>
                </a:lnTo>
                <a:lnTo>
                  <a:pt x="154" y="143"/>
                </a:lnTo>
                <a:lnTo>
                  <a:pt x="151" y="145"/>
                </a:lnTo>
                <a:lnTo>
                  <a:pt x="151" y="146"/>
                </a:lnTo>
                <a:lnTo>
                  <a:pt x="149" y="146"/>
                </a:lnTo>
                <a:lnTo>
                  <a:pt x="148" y="147"/>
                </a:lnTo>
                <a:lnTo>
                  <a:pt x="143" y="147"/>
                </a:lnTo>
                <a:lnTo>
                  <a:pt x="144" y="146"/>
                </a:lnTo>
                <a:lnTo>
                  <a:pt x="144" y="145"/>
                </a:lnTo>
                <a:lnTo>
                  <a:pt x="145" y="143"/>
                </a:lnTo>
                <a:lnTo>
                  <a:pt x="147" y="143"/>
                </a:lnTo>
                <a:lnTo>
                  <a:pt x="145" y="146"/>
                </a:lnTo>
                <a:lnTo>
                  <a:pt x="149" y="145"/>
                </a:lnTo>
                <a:lnTo>
                  <a:pt x="149" y="143"/>
                </a:lnTo>
                <a:lnTo>
                  <a:pt x="150" y="143"/>
                </a:lnTo>
                <a:lnTo>
                  <a:pt x="150" y="141"/>
                </a:lnTo>
                <a:lnTo>
                  <a:pt x="149" y="140"/>
                </a:lnTo>
                <a:lnTo>
                  <a:pt x="149" y="137"/>
                </a:lnTo>
                <a:lnTo>
                  <a:pt x="148" y="136"/>
                </a:lnTo>
                <a:lnTo>
                  <a:pt x="147" y="136"/>
                </a:lnTo>
                <a:lnTo>
                  <a:pt x="147" y="135"/>
                </a:lnTo>
                <a:lnTo>
                  <a:pt x="142" y="135"/>
                </a:lnTo>
                <a:lnTo>
                  <a:pt x="142" y="133"/>
                </a:lnTo>
                <a:lnTo>
                  <a:pt x="139" y="133"/>
                </a:lnTo>
                <a:lnTo>
                  <a:pt x="138" y="134"/>
                </a:lnTo>
                <a:lnTo>
                  <a:pt x="138" y="135"/>
                </a:lnTo>
                <a:lnTo>
                  <a:pt x="139" y="135"/>
                </a:lnTo>
                <a:lnTo>
                  <a:pt x="138" y="136"/>
                </a:lnTo>
                <a:lnTo>
                  <a:pt x="135" y="136"/>
                </a:lnTo>
                <a:lnTo>
                  <a:pt x="133" y="137"/>
                </a:lnTo>
                <a:lnTo>
                  <a:pt x="133" y="140"/>
                </a:lnTo>
                <a:lnTo>
                  <a:pt x="135" y="143"/>
                </a:lnTo>
                <a:lnTo>
                  <a:pt x="136" y="143"/>
                </a:lnTo>
                <a:lnTo>
                  <a:pt x="136" y="141"/>
                </a:lnTo>
                <a:lnTo>
                  <a:pt x="137" y="142"/>
                </a:lnTo>
                <a:lnTo>
                  <a:pt x="137" y="143"/>
                </a:lnTo>
                <a:lnTo>
                  <a:pt x="138" y="145"/>
                </a:lnTo>
                <a:lnTo>
                  <a:pt x="138" y="146"/>
                </a:lnTo>
                <a:lnTo>
                  <a:pt x="141" y="146"/>
                </a:lnTo>
                <a:lnTo>
                  <a:pt x="141" y="147"/>
                </a:lnTo>
                <a:lnTo>
                  <a:pt x="142" y="148"/>
                </a:lnTo>
                <a:lnTo>
                  <a:pt x="141" y="149"/>
                </a:lnTo>
                <a:lnTo>
                  <a:pt x="142" y="149"/>
                </a:lnTo>
                <a:lnTo>
                  <a:pt x="139" y="151"/>
                </a:lnTo>
                <a:lnTo>
                  <a:pt x="139" y="152"/>
                </a:lnTo>
                <a:lnTo>
                  <a:pt x="142" y="151"/>
                </a:lnTo>
                <a:lnTo>
                  <a:pt x="143" y="149"/>
                </a:lnTo>
                <a:lnTo>
                  <a:pt x="144" y="149"/>
                </a:lnTo>
                <a:lnTo>
                  <a:pt x="144" y="151"/>
                </a:lnTo>
                <a:lnTo>
                  <a:pt x="143" y="151"/>
                </a:lnTo>
                <a:lnTo>
                  <a:pt x="142" y="152"/>
                </a:lnTo>
                <a:lnTo>
                  <a:pt x="142" y="154"/>
                </a:lnTo>
                <a:lnTo>
                  <a:pt x="139" y="154"/>
                </a:lnTo>
                <a:lnTo>
                  <a:pt x="139" y="155"/>
                </a:lnTo>
                <a:lnTo>
                  <a:pt x="138" y="155"/>
                </a:lnTo>
                <a:lnTo>
                  <a:pt x="137" y="157"/>
                </a:lnTo>
                <a:lnTo>
                  <a:pt x="136" y="155"/>
                </a:lnTo>
                <a:lnTo>
                  <a:pt x="135" y="155"/>
                </a:lnTo>
                <a:lnTo>
                  <a:pt x="135" y="158"/>
                </a:lnTo>
                <a:lnTo>
                  <a:pt x="132" y="158"/>
                </a:lnTo>
                <a:lnTo>
                  <a:pt x="132" y="159"/>
                </a:lnTo>
                <a:lnTo>
                  <a:pt x="130" y="159"/>
                </a:lnTo>
                <a:lnTo>
                  <a:pt x="130" y="158"/>
                </a:lnTo>
                <a:lnTo>
                  <a:pt x="129" y="158"/>
                </a:lnTo>
                <a:lnTo>
                  <a:pt x="129" y="159"/>
                </a:lnTo>
                <a:lnTo>
                  <a:pt x="127" y="159"/>
                </a:lnTo>
                <a:lnTo>
                  <a:pt x="127" y="158"/>
                </a:lnTo>
                <a:lnTo>
                  <a:pt x="126" y="158"/>
                </a:lnTo>
                <a:lnTo>
                  <a:pt x="125" y="157"/>
                </a:lnTo>
                <a:lnTo>
                  <a:pt x="124" y="158"/>
                </a:lnTo>
                <a:lnTo>
                  <a:pt x="123" y="158"/>
                </a:lnTo>
                <a:lnTo>
                  <a:pt x="121" y="159"/>
                </a:lnTo>
                <a:lnTo>
                  <a:pt x="121" y="160"/>
                </a:lnTo>
                <a:lnTo>
                  <a:pt x="124" y="159"/>
                </a:lnTo>
                <a:lnTo>
                  <a:pt x="124" y="160"/>
                </a:lnTo>
                <a:lnTo>
                  <a:pt x="123" y="160"/>
                </a:lnTo>
                <a:lnTo>
                  <a:pt x="123" y="161"/>
                </a:lnTo>
                <a:lnTo>
                  <a:pt x="126" y="161"/>
                </a:lnTo>
                <a:lnTo>
                  <a:pt x="129" y="160"/>
                </a:lnTo>
                <a:lnTo>
                  <a:pt x="131" y="163"/>
                </a:lnTo>
                <a:lnTo>
                  <a:pt x="131" y="164"/>
                </a:lnTo>
                <a:lnTo>
                  <a:pt x="135" y="164"/>
                </a:lnTo>
                <a:lnTo>
                  <a:pt x="136" y="165"/>
                </a:lnTo>
                <a:lnTo>
                  <a:pt x="137" y="164"/>
                </a:lnTo>
                <a:lnTo>
                  <a:pt x="138" y="164"/>
                </a:lnTo>
                <a:lnTo>
                  <a:pt x="139" y="165"/>
                </a:lnTo>
                <a:lnTo>
                  <a:pt x="142" y="165"/>
                </a:lnTo>
                <a:lnTo>
                  <a:pt x="143" y="166"/>
                </a:lnTo>
                <a:lnTo>
                  <a:pt x="144" y="166"/>
                </a:lnTo>
                <a:lnTo>
                  <a:pt x="145" y="171"/>
                </a:lnTo>
                <a:lnTo>
                  <a:pt x="147" y="172"/>
                </a:lnTo>
                <a:lnTo>
                  <a:pt x="147" y="171"/>
                </a:lnTo>
                <a:lnTo>
                  <a:pt x="149" y="171"/>
                </a:lnTo>
                <a:lnTo>
                  <a:pt x="150" y="170"/>
                </a:lnTo>
                <a:lnTo>
                  <a:pt x="149" y="170"/>
                </a:lnTo>
                <a:lnTo>
                  <a:pt x="149" y="169"/>
                </a:lnTo>
                <a:lnTo>
                  <a:pt x="150" y="169"/>
                </a:lnTo>
                <a:lnTo>
                  <a:pt x="151" y="170"/>
                </a:lnTo>
                <a:lnTo>
                  <a:pt x="152" y="170"/>
                </a:lnTo>
                <a:lnTo>
                  <a:pt x="154" y="171"/>
                </a:lnTo>
                <a:lnTo>
                  <a:pt x="155" y="171"/>
                </a:lnTo>
                <a:lnTo>
                  <a:pt x="155" y="172"/>
                </a:lnTo>
                <a:lnTo>
                  <a:pt x="156" y="172"/>
                </a:lnTo>
                <a:lnTo>
                  <a:pt x="154" y="174"/>
                </a:lnTo>
                <a:lnTo>
                  <a:pt x="154" y="176"/>
                </a:lnTo>
                <a:lnTo>
                  <a:pt x="155" y="176"/>
                </a:lnTo>
                <a:lnTo>
                  <a:pt x="156" y="177"/>
                </a:lnTo>
                <a:lnTo>
                  <a:pt x="157" y="177"/>
                </a:lnTo>
                <a:lnTo>
                  <a:pt x="157" y="178"/>
                </a:lnTo>
                <a:lnTo>
                  <a:pt x="155" y="178"/>
                </a:lnTo>
                <a:lnTo>
                  <a:pt x="156" y="179"/>
                </a:lnTo>
                <a:lnTo>
                  <a:pt x="163" y="179"/>
                </a:lnTo>
                <a:lnTo>
                  <a:pt x="164" y="178"/>
                </a:lnTo>
                <a:lnTo>
                  <a:pt x="167" y="180"/>
                </a:lnTo>
                <a:lnTo>
                  <a:pt x="166" y="180"/>
                </a:lnTo>
                <a:lnTo>
                  <a:pt x="166" y="182"/>
                </a:lnTo>
                <a:lnTo>
                  <a:pt x="167" y="182"/>
                </a:lnTo>
                <a:lnTo>
                  <a:pt x="167" y="183"/>
                </a:lnTo>
                <a:lnTo>
                  <a:pt x="168" y="184"/>
                </a:lnTo>
                <a:lnTo>
                  <a:pt x="169" y="186"/>
                </a:lnTo>
                <a:lnTo>
                  <a:pt x="172" y="188"/>
                </a:lnTo>
                <a:lnTo>
                  <a:pt x="176" y="188"/>
                </a:lnTo>
                <a:lnTo>
                  <a:pt x="180" y="190"/>
                </a:lnTo>
                <a:lnTo>
                  <a:pt x="181" y="190"/>
                </a:lnTo>
                <a:lnTo>
                  <a:pt x="185" y="194"/>
                </a:lnTo>
                <a:lnTo>
                  <a:pt x="186" y="194"/>
                </a:lnTo>
                <a:lnTo>
                  <a:pt x="186" y="195"/>
                </a:lnTo>
                <a:lnTo>
                  <a:pt x="187" y="195"/>
                </a:lnTo>
                <a:lnTo>
                  <a:pt x="187" y="197"/>
                </a:lnTo>
                <a:lnTo>
                  <a:pt x="186" y="197"/>
                </a:lnTo>
                <a:lnTo>
                  <a:pt x="186" y="198"/>
                </a:lnTo>
                <a:lnTo>
                  <a:pt x="185" y="198"/>
                </a:lnTo>
                <a:lnTo>
                  <a:pt x="183" y="200"/>
                </a:lnTo>
                <a:lnTo>
                  <a:pt x="183" y="203"/>
                </a:lnTo>
                <a:lnTo>
                  <a:pt x="185" y="204"/>
                </a:lnTo>
                <a:lnTo>
                  <a:pt x="185" y="207"/>
                </a:lnTo>
                <a:lnTo>
                  <a:pt x="183" y="208"/>
                </a:lnTo>
                <a:lnTo>
                  <a:pt x="185" y="208"/>
                </a:lnTo>
                <a:lnTo>
                  <a:pt x="185" y="210"/>
                </a:lnTo>
                <a:lnTo>
                  <a:pt x="186" y="210"/>
                </a:lnTo>
                <a:lnTo>
                  <a:pt x="186" y="212"/>
                </a:lnTo>
                <a:lnTo>
                  <a:pt x="185" y="212"/>
                </a:lnTo>
                <a:lnTo>
                  <a:pt x="185" y="213"/>
                </a:lnTo>
                <a:lnTo>
                  <a:pt x="186" y="213"/>
                </a:lnTo>
                <a:lnTo>
                  <a:pt x="186" y="215"/>
                </a:lnTo>
                <a:lnTo>
                  <a:pt x="187" y="216"/>
                </a:lnTo>
                <a:lnTo>
                  <a:pt x="187" y="219"/>
                </a:lnTo>
                <a:lnTo>
                  <a:pt x="186" y="220"/>
                </a:lnTo>
                <a:lnTo>
                  <a:pt x="187" y="220"/>
                </a:lnTo>
                <a:lnTo>
                  <a:pt x="187" y="221"/>
                </a:lnTo>
                <a:lnTo>
                  <a:pt x="186" y="221"/>
                </a:lnTo>
                <a:lnTo>
                  <a:pt x="186" y="222"/>
                </a:lnTo>
                <a:lnTo>
                  <a:pt x="187" y="222"/>
                </a:lnTo>
                <a:lnTo>
                  <a:pt x="185" y="225"/>
                </a:lnTo>
                <a:lnTo>
                  <a:pt x="185" y="223"/>
                </a:lnTo>
                <a:lnTo>
                  <a:pt x="181" y="223"/>
                </a:lnTo>
                <a:lnTo>
                  <a:pt x="181" y="220"/>
                </a:lnTo>
                <a:lnTo>
                  <a:pt x="180" y="221"/>
                </a:lnTo>
                <a:lnTo>
                  <a:pt x="180" y="217"/>
                </a:lnTo>
                <a:lnTo>
                  <a:pt x="179" y="217"/>
                </a:lnTo>
                <a:lnTo>
                  <a:pt x="179" y="216"/>
                </a:lnTo>
                <a:lnTo>
                  <a:pt x="178" y="216"/>
                </a:lnTo>
                <a:lnTo>
                  <a:pt x="178" y="215"/>
                </a:lnTo>
                <a:lnTo>
                  <a:pt x="175" y="215"/>
                </a:lnTo>
                <a:lnTo>
                  <a:pt x="175" y="216"/>
                </a:lnTo>
                <a:lnTo>
                  <a:pt x="174" y="216"/>
                </a:lnTo>
                <a:lnTo>
                  <a:pt x="174" y="214"/>
                </a:lnTo>
                <a:lnTo>
                  <a:pt x="173" y="214"/>
                </a:lnTo>
                <a:lnTo>
                  <a:pt x="173" y="213"/>
                </a:lnTo>
                <a:lnTo>
                  <a:pt x="170" y="210"/>
                </a:lnTo>
                <a:lnTo>
                  <a:pt x="170" y="209"/>
                </a:lnTo>
                <a:lnTo>
                  <a:pt x="168" y="209"/>
                </a:lnTo>
                <a:lnTo>
                  <a:pt x="168" y="208"/>
                </a:lnTo>
                <a:lnTo>
                  <a:pt x="166" y="208"/>
                </a:lnTo>
                <a:lnTo>
                  <a:pt x="164" y="207"/>
                </a:lnTo>
                <a:lnTo>
                  <a:pt x="167" y="204"/>
                </a:lnTo>
                <a:lnTo>
                  <a:pt x="167" y="203"/>
                </a:lnTo>
                <a:lnTo>
                  <a:pt x="163" y="203"/>
                </a:lnTo>
                <a:lnTo>
                  <a:pt x="163" y="204"/>
                </a:lnTo>
                <a:lnTo>
                  <a:pt x="161" y="204"/>
                </a:lnTo>
                <a:lnTo>
                  <a:pt x="158" y="206"/>
                </a:lnTo>
                <a:lnTo>
                  <a:pt x="158" y="207"/>
                </a:lnTo>
                <a:lnTo>
                  <a:pt x="151" y="207"/>
                </a:lnTo>
                <a:lnTo>
                  <a:pt x="149" y="208"/>
                </a:lnTo>
                <a:lnTo>
                  <a:pt x="148" y="209"/>
                </a:lnTo>
                <a:lnTo>
                  <a:pt x="145" y="210"/>
                </a:lnTo>
                <a:lnTo>
                  <a:pt x="142" y="210"/>
                </a:lnTo>
                <a:lnTo>
                  <a:pt x="142" y="212"/>
                </a:lnTo>
                <a:lnTo>
                  <a:pt x="141" y="212"/>
                </a:lnTo>
                <a:lnTo>
                  <a:pt x="142" y="213"/>
                </a:lnTo>
                <a:lnTo>
                  <a:pt x="142" y="214"/>
                </a:lnTo>
                <a:lnTo>
                  <a:pt x="147" y="214"/>
                </a:lnTo>
                <a:lnTo>
                  <a:pt x="149" y="216"/>
                </a:lnTo>
                <a:lnTo>
                  <a:pt x="149" y="217"/>
                </a:lnTo>
                <a:lnTo>
                  <a:pt x="148" y="219"/>
                </a:lnTo>
                <a:lnTo>
                  <a:pt x="147" y="219"/>
                </a:lnTo>
                <a:lnTo>
                  <a:pt x="147" y="220"/>
                </a:lnTo>
                <a:lnTo>
                  <a:pt x="148" y="220"/>
                </a:lnTo>
                <a:lnTo>
                  <a:pt x="148" y="221"/>
                </a:lnTo>
                <a:lnTo>
                  <a:pt x="149" y="221"/>
                </a:lnTo>
                <a:lnTo>
                  <a:pt x="149" y="222"/>
                </a:lnTo>
                <a:lnTo>
                  <a:pt x="148" y="222"/>
                </a:lnTo>
                <a:lnTo>
                  <a:pt x="149" y="223"/>
                </a:lnTo>
                <a:lnTo>
                  <a:pt x="149" y="225"/>
                </a:lnTo>
                <a:lnTo>
                  <a:pt x="148" y="225"/>
                </a:lnTo>
                <a:lnTo>
                  <a:pt x="148" y="226"/>
                </a:lnTo>
                <a:lnTo>
                  <a:pt x="149" y="226"/>
                </a:lnTo>
                <a:lnTo>
                  <a:pt x="149" y="227"/>
                </a:lnTo>
                <a:lnTo>
                  <a:pt x="151" y="228"/>
                </a:lnTo>
                <a:lnTo>
                  <a:pt x="151" y="227"/>
                </a:lnTo>
                <a:lnTo>
                  <a:pt x="152" y="229"/>
                </a:lnTo>
                <a:lnTo>
                  <a:pt x="154" y="229"/>
                </a:lnTo>
                <a:lnTo>
                  <a:pt x="155" y="231"/>
                </a:lnTo>
                <a:lnTo>
                  <a:pt x="156" y="231"/>
                </a:lnTo>
                <a:lnTo>
                  <a:pt x="156" y="227"/>
                </a:lnTo>
                <a:lnTo>
                  <a:pt x="155" y="227"/>
                </a:lnTo>
                <a:lnTo>
                  <a:pt x="155" y="226"/>
                </a:lnTo>
                <a:lnTo>
                  <a:pt x="156" y="225"/>
                </a:lnTo>
                <a:lnTo>
                  <a:pt x="158" y="225"/>
                </a:lnTo>
                <a:lnTo>
                  <a:pt x="158" y="227"/>
                </a:lnTo>
                <a:lnTo>
                  <a:pt x="157" y="228"/>
                </a:lnTo>
                <a:lnTo>
                  <a:pt x="157" y="229"/>
                </a:lnTo>
                <a:lnTo>
                  <a:pt x="158" y="231"/>
                </a:lnTo>
                <a:lnTo>
                  <a:pt x="158" y="232"/>
                </a:lnTo>
                <a:lnTo>
                  <a:pt x="160" y="232"/>
                </a:lnTo>
                <a:lnTo>
                  <a:pt x="161" y="233"/>
                </a:lnTo>
                <a:lnTo>
                  <a:pt x="162" y="233"/>
                </a:lnTo>
                <a:lnTo>
                  <a:pt x="163" y="234"/>
                </a:lnTo>
                <a:lnTo>
                  <a:pt x="163" y="237"/>
                </a:lnTo>
                <a:lnTo>
                  <a:pt x="154" y="237"/>
                </a:lnTo>
                <a:lnTo>
                  <a:pt x="155" y="238"/>
                </a:lnTo>
                <a:lnTo>
                  <a:pt x="152" y="238"/>
                </a:lnTo>
                <a:lnTo>
                  <a:pt x="151" y="239"/>
                </a:lnTo>
                <a:lnTo>
                  <a:pt x="152" y="239"/>
                </a:lnTo>
                <a:lnTo>
                  <a:pt x="152" y="240"/>
                </a:lnTo>
                <a:lnTo>
                  <a:pt x="150" y="240"/>
                </a:lnTo>
                <a:lnTo>
                  <a:pt x="149" y="241"/>
                </a:lnTo>
                <a:lnTo>
                  <a:pt x="150" y="241"/>
                </a:lnTo>
                <a:lnTo>
                  <a:pt x="150" y="243"/>
                </a:lnTo>
                <a:lnTo>
                  <a:pt x="148" y="243"/>
                </a:lnTo>
                <a:lnTo>
                  <a:pt x="148" y="241"/>
                </a:lnTo>
                <a:lnTo>
                  <a:pt x="147" y="241"/>
                </a:lnTo>
                <a:lnTo>
                  <a:pt x="147" y="240"/>
                </a:lnTo>
                <a:lnTo>
                  <a:pt x="144" y="240"/>
                </a:lnTo>
                <a:lnTo>
                  <a:pt x="144" y="238"/>
                </a:lnTo>
                <a:lnTo>
                  <a:pt x="145" y="238"/>
                </a:lnTo>
                <a:lnTo>
                  <a:pt x="147" y="237"/>
                </a:lnTo>
                <a:lnTo>
                  <a:pt x="147" y="234"/>
                </a:lnTo>
                <a:lnTo>
                  <a:pt x="144" y="234"/>
                </a:lnTo>
                <a:lnTo>
                  <a:pt x="143" y="233"/>
                </a:lnTo>
                <a:lnTo>
                  <a:pt x="142" y="234"/>
                </a:lnTo>
                <a:lnTo>
                  <a:pt x="141" y="233"/>
                </a:lnTo>
                <a:lnTo>
                  <a:pt x="141" y="232"/>
                </a:lnTo>
                <a:lnTo>
                  <a:pt x="139" y="231"/>
                </a:lnTo>
                <a:lnTo>
                  <a:pt x="136" y="231"/>
                </a:lnTo>
                <a:lnTo>
                  <a:pt x="135" y="232"/>
                </a:lnTo>
                <a:lnTo>
                  <a:pt x="133" y="231"/>
                </a:lnTo>
                <a:lnTo>
                  <a:pt x="133" y="229"/>
                </a:lnTo>
                <a:lnTo>
                  <a:pt x="132" y="228"/>
                </a:lnTo>
                <a:lnTo>
                  <a:pt x="132" y="227"/>
                </a:lnTo>
                <a:lnTo>
                  <a:pt x="131" y="227"/>
                </a:lnTo>
                <a:lnTo>
                  <a:pt x="130" y="228"/>
                </a:lnTo>
                <a:lnTo>
                  <a:pt x="130" y="233"/>
                </a:lnTo>
                <a:lnTo>
                  <a:pt x="131" y="234"/>
                </a:lnTo>
                <a:lnTo>
                  <a:pt x="131" y="238"/>
                </a:lnTo>
                <a:lnTo>
                  <a:pt x="133" y="240"/>
                </a:lnTo>
                <a:lnTo>
                  <a:pt x="133" y="243"/>
                </a:lnTo>
                <a:lnTo>
                  <a:pt x="135" y="243"/>
                </a:lnTo>
                <a:lnTo>
                  <a:pt x="135" y="244"/>
                </a:lnTo>
                <a:lnTo>
                  <a:pt x="136" y="245"/>
                </a:lnTo>
                <a:lnTo>
                  <a:pt x="137" y="247"/>
                </a:lnTo>
                <a:lnTo>
                  <a:pt x="137" y="249"/>
                </a:lnTo>
                <a:lnTo>
                  <a:pt x="138" y="249"/>
                </a:lnTo>
                <a:lnTo>
                  <a:pt x="137" y="250"/>
                </a:lnTo>
                <a:lnTo>
                  <a:pt x="137" y="252"/>
                </a:lnTo>
                <a:lnTo>
                  <a:pt x="139" y="252"/>
                </a:lnTo>
                <a:lnTo>
                  <a:pt x="139" y="253"/>
                </a:lnTo>
                <a:lnTo>
                  <a:pt x="141" y="255"/>
                </a:lnTo>
                <a:lnTo>
                  <a:pt x="139" y="255"/>
                </a:lnTo>
                <a:lnTo>
                  <a:pt x="142" y="257"/>
                </a:lnTo>
                <a:lnTo>
                  <a:pt x="142" y="259"/>
                </a:lnTo>
                <a:lnTo>
                  <a:pt x="141" y="259"/>
                </a:lnTo>
                <a:lnTo>
                  <a:pt x="142" y="260"/>
                </a:lnTo>
                <a:lnTo>
                  <a:pt x="142" y="263"/>
                </a:lnTo>
                <a:lnTo>
                  <a:pt x="143" y="265"/>
                </a:lnTo>
                <a:lnTo>
                  <a:pt x="145" y="268"/>
                </a:lnTo>
                <a:lnTo>
                  <a:pt x="145" y="269"/>
                </a:lnTo>
                <a:lnTo>
                  <a:pt x="144" y="270"/>
                </a:lnTo>
                <a:lnTo>
                  <a:pt x="147" y="270"/>
                </a:lnTo>
                <a:lnTo>
                  <a:pt x="147" y="271"/>
                </a:lnTo>
                <a:lnTo>
                  <a:pt x="145" y="271"/>
                </a:lnTo>
                <a:lnTo>
                  <a:pt x="145" y="272"/>
                </a:lnTo>
                <a:lnTo>
                  <a:pt x="143" y="272"/>
                </a:lnTo>
                <a:lnTo>
                  <a:pt x="143" y="275"/>
                </a:lnTo>
                <a:lnTo>
                  <a:pt x="144" y="275"/>
                </a:lnTo>
                <a:lnTo>
                  <a:pt x="143" y="276"/>
                </a:lnTo>
                <a:lnTo>
                  <a:pt x="143" y="278"/>
                </a:lnTo>
                <a:lnTo>
                  <a:pt x="144" y="280"/>
                </a:lnTo>
                <a:lnTo>
                  <a:pt x="144" y="281"/>
                </a:lnTo>
                <a:lnTo>
                  <a:pt x="145" y="281"/>
                </a:lnTo>
                <a:lnTo>
                  <a:pt x="145" y="282"/>
                </a:lnTo>
                <a:lnTo>
                  <a:pt x="148" y="282"/>
                </a:lnTo>
                <a:lnTo>
                  <a:pt x="148" y="284"/>
                </a:lnTo>
                <a:lnTo>
                  <a:pt x="147" y="284"/>
                </a:lnTo>
                <a:lnTo>
                  <a:pt x="150" y="288"/>
                </a:lnTo>
                <a:lnTo>
                  <a:pt x="150" y="289"/>
                </a:lnTo>
                <a:lnTo>
                  <a:pt x="148" y="288"/>
                </a:lnTo>
                <a:lnTo>
                  <a:pt x="145" y="288"/>
                </a:lnTo>
                <a:lnTo>
                  <a:pt x="144" y="287"/>
                </a:lnTo>
                <a:lnTo>
                  <a:pt x="144" y="284"/>
                </a:lnTo>
                <a:lnTo>
                  <a:pt x="143" y="284"/>
                </a:lnTo>
                <a:lnTo>
                  <a:pt x="143" y="283"/>
                </a:lnTo>
                <a:lnTo>
                  <a:pt x="141" y="284"/>
                </a:lnTo>
                <a:lnTo>
                  <a:pt x="139" y="283"/>
                </a:lnTo>
                <a:lnTo>
                  <a:pt x="138" y="281"/>
                </a:lnTo>
                <a:lnTo>
                  <a:pt x="138" y="280"/>
                </a:lnTo>
                <a:lnTo>
                  <a:pt x="136" y="278"/>
                </a:lnTo>
                <a:lnTo>
                  <a:pt x="137" y="277"/>
                </a:lnTo>
                <a:lnTo>
                  <a:pt x="135" y="275"/>
                </a:lnTo>
                <a:lnTo>
                  <a:pt x="135" y="276"/>
                </a:lnTo>
                <a:lnTo>
                  <a:pt x="133" y="276"/>
                </a:lnTo>
                <a:lnTo>
                  <a:pt x="133" y="270"/>
                </a:lnTo>
                <a:lnTo>
                  <a:pt x="132" y="270"/>
                </a:lnTo>
                <a:lnTo>
                  <a:pt x="131" y="269"/>
                </a:lnTo>
                <a:lnTo>
                  <a:pt x="125" y="269"/>
                </a:lnTo>
                <a:lnTo>
                  <a:pt x="124" y="270"/>
                </a:lnTo>
                <a:lnTo>
                  <a:pt x="124" y="272"/>
                </a:lnTo>
                <a:lnTo>
                  <a:pt x="123" y="274"/>
                </a:lnTo>
                <a:lnTo>
                  <a:pt x="121" y="274"/>
                </a:lnTo>
                <a:lnTo>
                  <a:pt x="121" y="275"/>
                </a:lnTo>
                <a:lnTo>
                  <a:pt x="123" y="276"/>
                </a:lnTo>
                <a:lnTo>
                  <a:pt x="123" y="277"/>
                </a:lnTo>
                <a:lnTo>
                  <a:pt x="121" y="277"/>
                </a:lnTo>
                <a:lnTo>
                  <a:pt x="121" y="276"/>
                </a:lnTo>
                <a:lnTo>
                  <a:pt x="120" y="277"/>
                </a:lnTo>
                <a:lnTo>
                  <a:pt x="121" y="278"/>
                </a:lnTo>
                <a:lnTo>
                  <a:pt x="121" y="280"/>
                </a:lnTo>
                <a:lnTo>
                  <a:pt x="120" y="280"/>
                </a:lnTo>
                <a:lnTo>
                  <a:pt x="120" y="278"/>
                </a:lnTo>
                <a:lnTo>
                  <a:pt x="119" y="280"/>
                </a:lnTo>
                <a:lnTo>
                  <a:pt x="119" y="283"/>
                </a:lnTo>
                <a:lnTo>
                  <a:pt x="120" y="284"/>
                </a:lnTo>
                <a:lnTo>
                  <a:pt x="120" y="290"/>
                </a:lnTo>
                <a:lnTo>
                  <a:pt x="119" y="290"/>
                </a:lnTo>
                <a:lnTo>
                  <a:pt x="119" y="288"/>
                </a:lnTo>
                <a:lnTo>
                  <a:pt x="118" y="287"/>
                </a:lnTo>
                <a:lnTo>
                  <a:pt x="117" y="287"/>
                </a:lnTo>
                <a:lnTo>
                  <a:pt x="117" y="286"/>
                </a:lnTo>
                <a:lnTo>
                  <a:pt x="114" y="286"/>
                </a:lnTo>
                <a:lnTo>
                  <a:pt x="114" y="282"/>
                </a:lnTo>
                <a:lnTo>
                  <a:pt x="116" y="283"/>
                </a:lnTo>
                <a:lnTo>
                  <a:pt x="116" y="280"/>
                </a:lnTo>
                <a:lnTo>
                  <a:pt x="114" y="280"/>
                </a:lnTo>
                <a:lnTo>
                  <a:pt x="114" y="276"/>
                </a:lnTo>
                <a:lnTo>
                  <a:pt x="116" y="275"/>
                </a:lnTo>
                <a:lnTo>
                  <a:pt x="114" y="275"/>
                </a:lnTo>
                <a:lnTo>
                  <a:pt x="113" y="274"/>
                </a:lnTo>
                <a:lnTo>
                  <a:pt x="113" y="271"/>
                </a:lnTo>
                <a:lnTo>
                  <a:pt x="112" y="271"/>
                </a:lnTo>
                <a:lnTo>
                  <a:pt x="112" y="269"/>
                </a:lnTo>
                <a:lnTo>
                  <a:pt x="108" y="264"/>
                </a:lnTo>
                <a:lnTo>
                  <a:pt x="106" y="264"/>
                </a:lnTo>
                <a:lnTo>
                  <a:pt x="105" y="263"/>
                </a:lnTo>
                <a:lnTo>
                  <a:pt x="105" y="262"/>
                </a:lnTo>
                <a:lnTo>
                  <a:pt x="106" y="260"/>
                </a:lnTo>
                <a:lnTo>
                  <a:pt x="106" y="258"/>
                </a:lnTo>
                <a:lnTo>
                  <a:pt x="102" y="257"/>
                </a:lnTo>
                <a:lnTo>
                  <a:pt x="100" y="257"/>
                </a:lnTo>
                <a:lnTo>
                  <a:pt x="99" y="258"/>
                </a:lnTo>
                <a:lnTo>
                  <a:pt x="98" y="258"/>
                </a:lnTo>
                <a:lnTo>
                  <a:pt x="96" y="259"/>
                </a:lnTo>
                <a:lnTo>
                  <a:pt x="96" y="265"/>
                </a:lnTo>
                <a:lnTo>
                  <a:pt x="95" y="265"/>
                </a:lnTo>
                <a:lnTo>
                  <a:pt x="95" y="266"/>
                </a:lnTo>
                <a:lnTo>
                  <a:pt x="96" y="266"/>
                </a:lnTo>
                <a:lnTo>
                  <a:pt x="96" y="269"/>
                </a:lnTo>
                <a:lnTo>
                  <a:pt x="98" y="269"/>
                </a:lnTo>
                <a:lnTo>
                  <a:pt x="98" y="270"/>
                </a:lnTo>
                <a:lnTo>
                  <a:pt x="96" y="270"/>
                </a:lnTo>
                <a:lnTo>
                  <a:pt x="96" y="271"/>
                </a:lnTo>
                <a:lnTo>
                  <a:pt x="95" y="272"/>
                </a:lnTo>
                <a:lnTo>
                  <a:pt x="94" y="272"/>
                </a:lnTo>
                <a:lnTo>
                  <a:pt x="94" y="274"/>
                </a:lnTo>
                <a:lnTo>
                  <a:pt x="92" y="269"/>
                </a:lnTo>
                <a:lnTo>
                  <a:pt x="90" y="269"/>
                </a:lnTo>
                <a:lnTo>
                  <a:pt x="89" y="270"/>
                </a:lnTo>
                <a:lnTo>
                  <a:pt x="86" y="266"/>
                </a:lnTo>
                <a:lnTo>
                  <a:pt x="86" y="264"/>
                </a:lnTo>
                <a:lnTo>
                  <a:pt x="87" y="263"/>
                </a:lnTo>
                <a:lnTo>
                  <a:pt x="87" y="260"/>
                </a:lnTo>
                <a:lnTo>
                  <a:pt x="85" y="260"/>
                </a:lnTo>
                <a:lnTo>
                  <a:pt x="85" y="259"/>
                </a:lnTo>
                <a:lnTo>
                  <a:pt x="82" y="257"/>
                </a:lnTo>
                <a:lnTo>
                  <a:pt x="81" y="255"/>
                </a:lnTo>
                <a:lnTo>
                  <a:pt x="81" y="249"/>
                </a:lnTo>
                <a:lnTo>
                  <a:pt x="86" y="244"/>
                </a:lnTo>
                <a:lnTo>
                  <a:pt x="86" y="238"/>
                </a:lnTo>
                <a:lnTo>
                  <a:pt x="82" y="232"/>
                </a:lnTo>
                <a:lnTo>
                  <a:pt x="81" y="229"/>
                </a:lnTo>
                <a:lnTo>
                  <a:pt x="80" y="229"/>
                </a:lnTo>
                <a:lnTo>
                  <a:pt x="76" y="227"/>
                </a:lnTo>
                <a:lnTo>
                  <a:pt x="76" y="226"/>
                </a:lnTo>
                <a:lnTo>
                  <a:pt x="75" y="226"/>
                </a:lnTo>
                <a:lnTo>
                  <a:pt x="74" y="225"/>
                </a:lnTo>
                <a:lnTo>
                  <a:pt x="71" y="223"/>
                </a:lnTo>
                <a:lnTo>
                  <a:pt x="69" y="223"/>
                </a:lnTo>
                <a:lnTo>
                  <a:pt x="70" y="222"/>
                </a:lnTo>
                <a:lnTo>
                  <a:pt x="70" y="220"/>
                </a:lnTo>
                <a:lnTo>
                  <a:pt x="69" y="217"/>
                </a:lnTo>
                <a:lnTo>
                  <a:pt x="68" y="216"/>
                </a:lnTo>
                <a:lnTo>
                  <a:pt x="67" y="216"/>
                </a:lnTo>
                <a:lnTo>
                  <a:pt x="62" y="214"/>
                </a:lnTo>
                <a:lnTo>
                  <a:pt x="62" y="213"/>
                </a:lnTo>
                <a:lnTo>
                  <a:pt x="63" y="209"/>
                </a:lnTo>
                <a:lnTo>
                  <a:pt x="65" y="209"/>
                </a:lnTo>
                <a:lnTo>
                  <a:pt x="69" y="206"/>
                </a:lnTo>
                <a:lnTo>
                  <a:pt x="70" y="206"/>
                </a:lnTo>
                <a:lnTo>
                  <a:pt x="70" y="204"/>
                </a:lnTo>
                <a:lnTo>
                  <a:pt x="69" y="204"/>
                </a:lnTo>
                <a:lnTo>
                  <a:pt x="71" y="202"/>
                </a:lnTo>
                <a:lnTo>
                  <a:pt x="73" y="200"/>
                </a:lnTo>
                <a:lnTo>
                  <a:pt x="73" y="195"/>
                </a:lnTo>
                <a:lnTo>
                  <a:pt x="74" y="196"/>
                </a:lnTo>
                <a:lnTo>
                  <a:pt x="74" y="195"/>
                </a:lnTo>
                <a:lnTo>
                  <a:pt x="77" y="195"/>
                </a:lnTo>
                <a:lnTo>
                  <a:pt x="79" y="197"/>
                </a:lnTo>
                <a:lnTo>
                  <a:pt x="85" y="197"/>
                </a:lnTo>
                <a:lnTo>
                  <a:pt x="87" y="195"/>
                </a:lnTo>
                <a:lnTo>
                  <a:pt x="88" y="191"/>
                </a:lnTo>
                <a:lnTo>
                  <a:pt x="89" y="190"/>
                </a:lnTo>
                <a:lnTo>
                  <a:pt x="93" y="188"/>
                </a:lnTo>
                <a:lnTo>
                  <a:pt x="98" y="188"/>
                </a:lnTo>
                <a:lnTo>
                  <a:pt x="98" y="189"/>
                </a:lnTo>
                <a:lnTo>
                  <a:pt x="100" y="189"/>
                </a:lnTo>
                <a:lnTo>
                  <a:pt x="100" y="190"/>
                </a:lnTo>
                <a:lnTo>
                  <a:pt x="101" y="191"/>
                </a:lnTo>
                <a:lnTo>
                  <a:pt x="105" y="191"/>
                </a:lnTo>
                <a:lnTo>
                  <a:pt x="105" y="192"/>
                </a:lnTo>
                <a:lnTo>
                  <a:pt x="106" y="194"/>
                </a:lnTo>
                <a:lnTo>
                  <a:pt x="106" y="195"/>
                </a:lnTo>
                <a:lnTo>
                  <a:pt x="108" y="195"/>
                </a:lnTo>
                <a:lnTo>
                  <a:pt x="108" y="196"/>
                </a:lnTo>
                <a:lnTo>
                  <a:pt x="113" y="196"/>
                </a:lnTo>
                <a:lnTo>
                  <a:pt x="116" y="198"/>
                </a:lnTo>
                <a:lnTo>
                  <a:pt x="120" y="198"/>
                </a:lnTo>
                <a:lnTo>
                  <a:pt x="127" y="202"/>
                </a:lnTo>
                <a:lnTo>
                  <a:pt x="129" y="203"/>
                </a:lnTo>
                <a:lnTo>
                  <a:pt x="132" y="206"/>
                </a:lnTo>
                <a:lnTo>
                  <a:pt x="132" y="207"/>
                </a:lnTo>
                <a:lnTo>
                  <a:pt x="133" y="207"/>
                </a:lnTo>
                <a:lnTo>
                  <a:pt x="133" y="208"/>
                </a:lnTo>
                <a:lnTo>
                  <a:pt x="135" y="209"/>
                </a:lnTo>
                <a:lnTo>
                  <a:pt x="139" y="209"/>
                </a:lnTo>
                <a:lnTo>
                  <a:pt x="139" y="208"/>
                </a:lnTo>
                <a:lnTo>
                  <a:pt x="141" y="207"/>
                </a:lnTo>
                <a:lnTo>
                  <a:pt x="139" y="207"/>
                </a:lnTo>
                <a:lnTo>
                  <a:pt x="139" y="206"/>
                </a:lnTo>
                <a:lnTo>
                  <a:pt x="138" y="206"/>
                </a:lnTo>
                <a:lnTo>
                  <a:pt x="137" y="204"/>
                </a:lnTo>
                <a:lnTo>
                  <a:pt x="135" y="204"/>
                </a:lnTo>
                <a:lnTo>
                  <a:pt x="136" y="203"/>
                </a:lnTo>
                <a:lnTo>
                  <a:pt x="137" y="203"/>
                </a:lnTo>
                <a:lnTo>
                  <a:pt x="139" y="201"/>
                </a:lnTo>
                <a:lnTo>
                  <a:pt x="141" y="201"/>
                </a:lnTo>
                <a:lnTo>
                  <a:pt x="142" y="202"/>
                </a:lnTo>
                <a:lnTo>
                  <a:pt x="143" y="202"/>
                </a:lnTo>
                <a:lnTo>
                  <a:pt x="144" y="203"/>
                </a:lnTo>
                <a:lnTo>
                  <a:pt x="145" y="202"/>
                </a:lnTo>
                <a:lnTo>
                  <a:pt x="149" y="202"/>
                </a:lnTo>
                <a:lnTo>
                  <a:pt x="149" y="201"/>
                </a:lnTo>
                <a:lnTo>
                  <a:pt x="150" y="201"/>
                </a:lnTo>
                <a:lnTo>
                  <a:pt x="150" y="198"/>
                </a:lnTo>
                <a:lnTo>
                  <a:pt x="149" y="198"/>
                </a:lnTo>
                <a:lnTo>
                  <a:pt x="150" y="197"/>
                </a:lnTo>
                <a:lnTo>
                  <a:pt x="148" y="197"/>
                </a:lnTo>
                <a:lnTo>
                  <a:pt x="147" y="196"/>
                </a:lnTo>
                <a:lnTo>
                  <a:pt x="148" y="196"/>
                </a:lnTo>
                <a:lnTo>
                  <a:pt x="147" y="195"/>
                </a:lnTo>
                <a:lnTo>
                  <a:pt x="144" y="196"/>
                </a:lnTo>
                <a:lnTo>
                  <a:pt x="143" y="196"/>
                </a:lnTo>
                <a:lnTo>
                  <a:pt x="143" y="194"/>
                </a:lnTo>
                <a:lnTo>
                  <a:pt x="138" y="194"/>
                </a:lnTo>
                <a:lnTo>
                  <a:pt x="138" y="195"/>
                </a:lnTo>
                <a:lnTo>
                  <a:pt x="137" y="196"/>
                </a:lnTo>
                <a:lnTo>
                  <a:pt x="137" y="192"/>
                </a:lnTo>
                <a:lnTo>
                  <a:pt x="136" y="194"/>
                </a:lnTo>
                <a:lnTo>
                  <a:pt x="133" y="194"/>
                </a:lnTo>
                <a:lnTo>
                  <a:pt x="131" y="192"/>
                </a:lnTo>
                <a:lnTo>
                  <a:pt x="132" y="192"/>
                </a:lnTo>
                <a:lnTo>
                  <a:pt x="132" y="191"/>
                </a:lnTo>
                <a:lnTo>
                  <a:pt x="133" y="191"/>
                </a:lnTo>
                <a:lnTo>
                  <a:pt x="132" y="190"/>
                </a:lnTo>
                <a:lnTo>
                  <a:pt x="131" y="190"/>
                </a:lnTo>
                <a:lnTo>
                  <a:pt x="130" y="189"/>
                </a:lnTo>
                <a:lnTo>
                  <a:pt x="129" y="189"/>
                </a:lnTo>
                <a:lnTo>
                  <a:pt x="127" y="188"/>
                </a:lnTo>
                <a:lnTo>
                  <a:pt x="127" y="185"/>
                </a:lnTo>
                <a:lnTo>
                  <a:pt x="126" y="185"/>
                </a:lnTo>
                <a:lnTo>
                  <a:pt x="124" y="188"/>
                </a:lnTo>
                <a:lnTo>
                  <a:pt x="124" y="190"/>
                </a:lnTo>
                <a:lnTo>
                  <a:pt x="123" y="190"/>
                </a:lnTo>
                <a:lnTo>
                  <a:pt x="123" y="189"/>
                </a:lnTo>
                <a:lnTo>
                  <a:pt x="121" y="189"/>
                </a:lnTo>
                <a:lnTo>
                  <a:pt x="121" y="186"/>
                </a:lnTo>
                <a:lnTo>
                  <a:pt x="119" y="184"/>
                </a:lnTo>
                <a:lnTo>
                  <a:pt x="119" y="183"/>
                </a:lnTo>
                <a:lnTo>
                  <a:pt x="117" y="183"/>
                </a:lnTo>
                <a:lnTo>
                  <a:pt x="117" y="182"/>
                </a:lnTo>
                <a:lnTo>
                  <a:pt x="116" y="182"/>
                </a:lnTo>
                <a:lnTo>
                  <a:pt x="117" y="183"/>
                </a:lnTo>
                <a:lnTo>
                  <a:pt x="117" y="184"/>
                </a:lnTo>
                <a:lnTo>
                  <a:pt x="116" y="184"/>
                </a:lnTo>
                <a:lnTo>
                  <a:pt x="114" y="185"/>
                </a:lnTo>
                <a:lnTo>
                  <a:pt x="116" y="185"/>
                </a:lnTo>
                <a:lnTo>
                  <a:pt x="116" y="188"/>
                </a:lnTo>
                <a:lnTo>
                  <a:pt x="114" y="188"/>
                </a:lnTo>
                <a:lnTo>
                  <a:pt x="113" y="186"/>
                </a:lnTo>
                <a:lnTo>
                  <a:pt x="111" y="188"/>
                </a:lnTo>
                <a:lnTo>
                  <a:pt x="111" y="186"/>
                </a:lnTo>
                <a:lnTo>
                  <a:pt x="108" y="186"/>
                </a:lnTo>
                <a:lnTo>
                  <a:pt x="107" y="188"/>
                </a:lnTo>
                <a:lnTo>
                  <a:pt x="106" y="188"/>
                </a:lnTo>
                <a:lnTo>
                  <a:pt x="106" y="186"/>
                </a:lnTo>
                <a:lnTo>
                  <a:pt x="105" y="186"/>
                </a:lnTo>
                <a:lnTo>
                  <a:pt x="105" y="185"/>
                </a:lnTo>
                <a:lnTo>
                  <a:pt x="104" y="185"/>
                </a:lnTo>
                <a:lnTo>
                  <a:pt x="101" y="184"/>
                </a:lnTo>
                <a:lnTo>
                  <a:pt x="100" y="184"/>
                </a:lnTo>
                <a:lnTo>
                  <a:pt x="100" y="185"/>
                </a:lnTo>
                <a:lnTo>
                  <a:pt x="99" y="184"/>
                </a:lnTo>
                <a:lnTo>
                  <a:pt x="96" y="184"/>
                </a:lnTo>
                <a:lnTo>
                  <a:pt x="94" y="185"/>
                </a:lnTo>
                <a:lnTo>
                  <a:pt x="93" y="185"/>
                </a:lnTo>
                <a:lnTo>
                  <a:pt x="93" y="184"/>
                </a:lnTo>
                <a:lnTo>
                  <a:pt x="92" y="184"/>
                </a:lnTo>
                <a:lnTo>
                  <a:pt x="90" y="186"/>
                </a:lnTo>
                <a:lnTo>
                  <a:pt x="89" y="186"/>
                </a:lnTo>
                <a:lnTo>
                  <a:pt x="89" y="188"/>
                </a:lnTo>
                <a:lnTo>
                  <a:pt x="88" y="188"/>
                </a:lnTo>
                <a:lnTo>
                  <a:pt x="87" y="186"/>
                </a:lnTo>
                <a:lnTo>
                  <a:pt x="85" y="186"/>
                </a:lnTo>
                <a:lnTo>
                  <a:pt x="83" y="188"/>
                </a:lnTo>
                <a:lnTo>
                  <a:pt x="82" y="186"/>
                </a:lnTo>
                <a:lnTo>
                  <a:pt x="79" y="190"/>
                </a:lnTo>
                <a:lnTo>
                  <a:pt x="77" y="190"/>
                </a:lnTo>
                <a:lnTo>
                  <a:pt x="77" y="186"/>
                </a:lnTo>
                <a:lnTo>
                  <a:pt x="75" y="186"/>
                </a:lnTo>
                <a:lnTo>
                  <a:pt x="75" y="184"/>
                </a:lnTo>
                <a:lnTo>
                  <a:pt x="73" y="184"/>
                </a:lnTo>
                <a:lnTo>
                  <a:pt x="73" y="180"/>
                </a:lnTo>
                <a:lnTo>
                  <a:pt x="71" y="179"/>
                </a:lnTo>
                <a:lnTo>
                  <a:pt x="70" y="179"/>
                </a:lnTo>
                <a:lnTo>
                  <a:pt x="71" y="183"/>
                </a:lnTo>
                <a:lnTo>
                  <a:pt x="71" y="185"/>
                </a:lnTo>
                <a:lnTo>
                  <a:pt x="69" y="185"/>
                </a:lnTo>
                <a:lnTo>
                  <a:pt x="69" y="186"/>
                </a:lnTo>
                <a:lnTo>
                  <a:pt x="68" y="186"/>
                </a:lnTo>
                <a:lnTo>
                  <a:pt x="68" y="188"/>
                </a:lnTo>
                <a:lnTo>
                  <a:pt x="64" y="188"/>
                </a:lnTo>
                <a:lnTo>
                  <a:pt x="64" y="190"/>
                </a:lnTo>
                <a:lnTo>
                  <a:pt x="63" y="190"/>
                </a:lnTo>
                <a:lnTo>
                  <a:pt x="63" y="188"/>
                </a:lnTo>
                <a:lnTo>
                  <a:pt x="61" y="188"/>
                </a:lnTo>
                <a:lnTo>
                  <a:pt x="62" y="186"/>
                </a:lnTo>
                <a:lnTo>
                  <a:pt x="61" y="186"/>
                </a:lnTo>
                <a:lnTo>
                  <a:pt x="61" y="185"/>
                </a:lnTo>
                <a:lnTo>
                  <a:pt x="63" y="185"/>
                </a:lnTo>
                <a:lnTo>
                  <a:pt x="63" y="184"/>
                </a:lnTo>
                <a:lnTo>
                  <a:pt x="61" y="184"/>
                </a:lnTo>
                <a:lnTo>
                  <a:pt x="61" y="183"/>
                </a:lnTo>
                <a:lnTo>
                  <a:pt x="62" y="183"/>
                </a:lnTo>
                <a:lnTo>
                  <a:pt x="62" y="182"/>
                </a:lnTo>
                <a:lnTo>
                  <a:pt x="61" y="180"/>
                </a:lnTo>
                <a:lnTo>
                  <a:pt x="61" y="177"/>
                </a:lnTo>
                <a:lnTo>
                  <a:pt x="60" y="178"/>
                </a:lnTo>
                <a:lnTo>
                  <a:pt x="58" y="178"/>
                </a:lnTo>
                <a:lnTo>
                  <a:pt x="58" y="177"/>
                </a:lnTo>
                <a:lnTo>
                  <a:pt x="57" y="177"/>
                </a:lnTo>
                <a:lnTo>
                  <a:pt x="58" y="174"/>
                </a:lnTo>
                <a:lnTo>
                  <a:pt x="58" y="173"/>
                </a:lnTo>
                <a:lnTo>
                  <a:pt x="57" y="172"/>
                </a:lnTo>
                <a:lnTo>
                  <a:pt x="56" y="170"/>
                </a:lnTo>
                <a:lnTo>
                  <a:pt x="54" y="170"/>
                </a:lnTo>
                <a:lnTo>
                  <a:pt x="54" y="169"/>
                </a:lnTo>
                <a:lnTo>
                  <a:pt x="52" y="164"/>
                </a:lnTo>
                <a:lnTo>
                  <a:pt x="51" y="163"/>
                </a:lnTo>
                <a:lnTo>
                  <a:pt x="50" y="163"/>
                </a:lnTo>
                <a:lnTo>
                  <a:pt x="50" y="164"/>
                </a:lnTo>
                <a:lnTo>
                  <a:pt x="49" y="164"/>
                </a:lnTo>
                <a:lnTo>
                  <a:pt x="48" y="165"/>
                </a:lnTo>
                <a:lnTo>
                  <a:pt x="48" y="164"/>
                </a:lnTo>
                <a:lnTo>
                  <a:pt x="46" y="164"/>
                </a:lnTo>
                <a:lnTo>
                  <a:pt x="45" y="163"/>
                </a:lnTo>
                <a:lnTo>
                  <a:pt x="46" y="161"/>
                </a:lnTo>
                <a:lnTo>
                  <a:pt x="46" y="160"/>
                </a:lnTo>
                <a:lnTo>
                  <a:pt x="48" y="159"/>
                </a:lnTo>
                <a:lnTo>
                  <a:pt x="49" y="159"/>
                </a:lnTo>
                <a:lnTo>
                  <a:pt x="46" y="157"/>
                </a:lnTo>
                <a:lnTo>
                  <a:pt x="46" y="155"/>
                </a:lnTo>
                <a:lnTo>
                  <a:pt x="48" y="154"/>
                </a:lnTo>
                <a:lnTo>
                  <a:pt x="48" y="155"/>
                </a:lnTo>
                <a:lnTo>
                  <a:pt x="49" y="155"/>
                </a:lnTo>
                <a:lnTo>
                  <a:pt x="49" y="157"/>
                </a:lnTo>
                <a:lnTo>
                  <a:pt x="50" y="155"/>
                </a:lnTo>
                <a:lnTo>
                  <a:pt x="54" y="155"/>
                </a:lnTo>
                <a:lnTo>
                  <a:pt x="54" y="154"/>
                </a:lnTo>
                <a:lnTo>
                  <a:pt x="55" y="155"/>
                </a:lnTo>
                <a:lnTo>
                  <a:pt x="58" y="155"/>
                </a:lnTo>
                <a:lnTo>
                  <a:pt x="58" y="158"/>
                </a:lnTo>
                <a:lnTo>
                  <a:pt x="60" y="158"/>
                </a:lnTo>
                <a:lnTo>
                  <a:pt x="61" y="159"/>
                </a:lnTo>
                <a:lnTo>
                  <a:pt x="61" y="157"/>
                </a:lnTo>
                <a:lnTo>
                  <a:pt x="62" y="157"/>
                </a:lnTo>
                <a:lnTo>
                  <a:pt x="64" y="159"/>
                </a:lnTo>
                <a:lnTo>
                  <a:pt x="64" y="157"/>
                </a:lnTo>
                <a:lnTo>
                  <a:pt x="63" y="157"/>
                </a:lnTo>
                <a:lnTo>
                  <a:pt x="63" y="153"/>
                </a:lnTo>
                <a:lnTo>
                  <a:pt x="64" y="153"/>
                </a:lnTo>
                <a:lnTo>
                  <a:pt x="64" y="152"/>
                </a:lnTo>
                <a:lnTo>
                  <a:pt x="61" y="148"/>
                </a:lnTo>
                <a:lnTo>
                  <a:pt x="61" y="149"/>
                </a:lnTo>
                <a:lnTo>
                  <a:pt x="60" y="149"/>
                </a:lnTo>
                <a:lnTo>
                  <a:pt x="58" y="151"/>
                </a:lnTo>
                <a:lnTo>
                  <a:pt x="60" y="152"/>
                </a:lnTo>
                <a:lnTo>
                  <a:pt x="57" y="151"/>
                </a:lnTo>
                <a:lnTo>
                  <a:pt x="56" y="151"/>
                </a:lnTo>
                <a:lnTo>
                  <a:pt x="56" y="149"/>
                </a:lnTo>
                <a:lnTo>
                  <a:pt x="55" y="151"/>
                </a:lnTo>
                <a:lnTo>
                  <a:pt x="55" y="148"/>
                </a:lnTo>
                <a:lnTo>
                  <a:pt x="50" y="148"/>
                </a:lnTo>
                <a:lnTo>
                  <a:pt x="50" y="146"/>
                </a:lnTo>
                <a:lnTo>
                  <a:pt x="49" y="146"/>
                </a:lnTo>
                <a:lnTo>
                  <a:pt x="49" y="147"/>
                </a:lnTo>
                <a:lnTo>
                  <a:pt x="48" y="147"/>
                </a:lnTo>
                <a:lnTo>
                  <a:pt x="48" y="149"/>
                </a:lnTo>
                <a:lnTo>
                  <a:pt x="46" y="151"/>
                </a:lnTo>
                <a:lnTo>
                  <a:pt x="49" y="153"/>
                </a:lnTo>
                <a:lnTo>
                  <a:pt x="46" y="153"/>
                </a:lnTo>
                <a:lnTo>
                  <a:pt x="46" y="154"/>
                </a:lnTo>
                <a:lnTo>
                  <a:pt x="45" y="154"/>
                </a:lnTo>
                <a:lnTo>
                  <a:pt x="45" y="153"/>
                </a:lnTo>
                <a:lnTo>
                  <a:pt x="44" y="152"/>
                </a:lnTo>
                <a:lnTo>
                  <a:pt x="45" y="152"/>
                </a:lnTo>
                <a:lnTo>
                  <a:pt x="45" y="151"/>
                </a:lnTo>
                <a:lnTo>
                  <a:pt x="44" y="149"/>
                </a:lnTo>
                <a:lnTo>
                  <a:pt x="44" y="148"/>
                </a:lnTo>
                <a:lnTo>
                  <a:pt x="36" y="140"/>
                </a:lnTo>
                <a:lnTo>
                  <a:pt x="34" y="140"/>
                </a:lnTo>
                <a:lnTo>
                  <a:pt x="36" y="139"/>
                </a:lnTo>
                <a:lnTo>
                  <a:pt x="34" y="139"/>
                </a:lnTo>
                <a:lnTo>
                  <a:pt x="34" y="137"/>
                </a:lnTo>
                <a:lnTo>
                  <a:pt x="36" y="137"/>
                </a:lnTo>
                <a:lnTo>
                  <a:pt x="36" y="136"/>
                </a:lnTo>
                <a:lnTo>
                  <a:pt x="34" y="136"/>
                </a:lnTo>
                <a:lnTo>
                  <a:pt x="34" y="137"/>
                </a:lnTo>
                <a:lnTo>
                  <a:pt x="33" y="136"/>
                </a:lnTo>
                <a:lnTo>
                  <a:pt x="30" y="136"/>
                </a:lnTo>
                <a:lnTo>
                  <a:pt x="27" y="134"/>
                </a:lnTo>
                <a:lnTo>
                  <a:pt x="27" y="133"/>
                </a:lnTo>
                <a:lnTo>
                  <a:pt x="26" y="132"/>
                </a:lnTo>
                <a:lnTo>
                  <a:pt x="26" y="130"/>
                </a:lnTo>
                <a:lnTo>
                  <a:pt x="25" y="130"/>
                </a:lnTo>
                <a:lnTo>
                  <a:pt x="25" y="129"/>
                </a:lnTo>
                <a:lnTo>
                  <a:pt x="24" y="128"/>
                </a:lnTo>
                <a:lnTo>
                  <a:pt x="26" y="128"/>
                </a:lnTo>
                <a:lnTo>
                  <a:pt x="26" y="127"/>
                </a:lnTo>
                <a:lnTo>
                  <a:pt x="25" y="127"/>
                </a:lnTo>
                <a:lnTo>
                  <a:pt x="24" y="126"/>
                </a:lnTo>
                <a:lnTo>
                  <a:pt x="25" y="126"/>
                </a:lnTo>
                <a:lnTo>
                  <a:pt x="26" y="124"/>
                </a:lnTo>
                <a:lnTo>
                  <a:pt x="25" y="124"/>
                </a:lnTo>
                <a:lnTo>
                  <a:pt x="25" y="123"/>
                </a:lnTo>
                <a:lnTo>
                  <a:pt x="20" y="123"/>
                </a:lnTo>
                <a:lnTo>
                  <a:pt x="21" y="122"/>
                </a:lnTo>
                <a:lnTo>
                  <a:pt x="21" y="121"/>
                </a:lnTo>
                <a:lnTo>
                  <a:pt x="23" y="121"/>
                </a:lnTo>
                <a:lnTo>
                  <a:pt x="23" y="118"/>
                </a:lnTo>
                <a:lnTo>
                  <a:pt x="21" y="117"/>
                </a:lnTo>
                <a:lnTo>
                  <a:pt x="24" y="117"/>
                </a:lnTo>
                <a:lnTo>
                  <a:pt x="24" y="116"/>
                </a:lnTo>
                <a:lnTo>
                  <a:pt x="25" y="116"/>
                </a:lnTo>
                <a:lnTo>
                  <a:pt x="25" y="115"/>
                </a:lnTo>
                <a:lnTo>
                  <a:pt x="27" y="112"/>
                </a:lnTo>
                <a:lnTo>
                  <a:pt x="27" y="111"/>
                </a:lnTo>
                <a:lnTo>
                  <a:pt x="26" y="111"/>
                </a:lnTo>
                <a:lnTo>
                  <a:pt x="26" y="110"/>
                </a:lnTo>
                <a:lnTo>
                  <a:pt x="27" y="110"/>
                </a:lnTo>
                <a:lnTo>
                  <a:pt x="26" y="109"/>
                </a:lnTo>
                <a:lnTo>
                  <a:pt x="26" y="108"/>
                </a:lnTo>
                <a:lnTo>
                  <a:pt x="27" y="108"/>
                </a:lnTo>
                <a:lnTo>
                  <a:pt x="29" y="109"/>
                </a:lnTo>
                <a:lnTo>
                  <a:pt x="31" y="109"/>
                </a:lnTo>
                <a:lnTo>
                  <a:pt x="32" y="108"/>
                </a:lnTo>
                <a:lnTo>
                  <a:pt x="31" y="106"/>
                </a:lnTo>
                <a:lnTo>
                  <a:pt x="30" y="103"/>
                </a:lnTo>
                <a:lnTo>
                  <a:pt x="29" y="102"/>
                </a:lnTo>
                <a:lnTo>
                  <a:pt x="27" y="98"/>
                </a:lnTo>
                <a:lnTo>
                  <a:pt x="31" y="98"/>
                </a:lnTo>
                <a:lnTo>
                  <a:pt x="31" y="96"/>
                </a:lnTo>
                <a:lnTo>
                  <a:pt x="33" y="93"/>
                </a:lnTo>
                <a:lnTo>
                  <a:pt x="34" y="94"/>
                </a:lnTo>
                <a:lnTo>
                  <a:pt x="36" y="93"/>
                </a:lnTo>
                <a:lnTo>
                  <a:pt x="40" y="93"/>
                </a:lnTo>
                <a:lnTo>
                  <a:pt x="42" y="92"/>
                </a:lnTo>
                <a:lnTo>
                  <a:pt x="43" y="92"/>
                </a:lnTo>
                <a:lnTo>
                  <a:pt x="43" y="87"/>
                </a:lnTo>
                <a:lnTo>
                  <a:pt x="44" y="87"/>
                </a:lnTo>
                <a:lnTo>
                  <a:pt x="44" y="81"/>
                </a:lnTo>
                <a:lnTo>
                  <a:pt x="45" y="81"/>
                </a:lnTo>
                <a:lnTo>
                  <a:pt x="46" y="80"/>
                </a:lnTo>
                <a:lnTo>
                  <a:pt x="46" y="79"/>
                </a:lnTo>
                <a:lnTo>
                  <a:pt x="48" y="78"/>
                </a:lnTo>
                <a:lnTo>
                  <a:pt x="48" y="74"/>
                </a:lnTo>
                <a:lnTo>
                  <a:pt x="50" y="72"/>
                </a:lnTo>
                <a:lnTo>
                  <a:pt x="55" y="72"/>
                </a:lnTo>
                <a:lnTo>
                  <a:pt x="55" y="69"/>
                </a:lnTo>
                <a:lnTo>
                  <a:pt x="56" y="68"/>
                </a:lnTo>
                <a:lnTo>
                  <a:pt x="57" y="68"/>
                </a:lnTo>
                <a:lnTo>
                  <a:pt x="57" y="67"/>
                </a:lnTo>
                <a:lnTo>
                  <a:pt x="58" y="67"/>
                </a:lnTo>
                <a:lnTo>
                  <a:pt x="58" y="59"/>
                </a:lnTo>
                <a:lnTo>
                  <a:pt x="56" y="56"/>
                </a:lnTo>
                <a:lnTo>
                  <a:pt x="55" y="56"/>
                </a:lnTo>
                <a:lnTo>
                  <a:pt x="55" y="54"/>
                </a:lnTo>
                <a:lnTo>
                  <a:pt x="56" y="53"/>
                </a:lnTo>
                <a:lnTo>
                  <a:pt x="56" y="50"/>
                </a:lnTo>
                <a:lnTo>
                  <a:pt x="62" y="50"/>
                </a:lnTo>
                <a:lnTo>
                  <a:pt x="64" y="49"/>
                </a:lnTo>
                <a:lnTo>
                  <a:pt x="68" y="49"/>
                </a:lnTo>
                <a:lnTo>
                  <a:pt x="68" y="50"/>
                </a:lnTo>
                <a:lnTo>
                  <a:pt x="69" y="50"/>
                </a:lnTo>
                <a:lnTo>
                  <a:pt x="71" y="49"/>
                </a:lnTo>
                <a:lnTo>
                  <a:pt x="74" y="47"/>
                </a:lnTo>
                <a:lnTo>
                  <a:pt x="75" y="47"/>
                </a:lnTo>
                <a:lnTo>
                  <a:pt x="79" y="48"/>
                </a:lnTo>
                <a:lnTo>
                  <a:pt x="80" y="49"/>
                </a:lnTo>
                <a:lnTo>
                  <a:pt x="82" y="49"/>
                </a:lnTo>
                <a:lnTo>
                  <a:pt x="83" y="48"/>
                </a:lnTo>
                <a:lnTo>
                  <a:pt x="85" y="48"/>
                </a:lnTo>
                <a:lnTo>
                  <a:pt x="85" y="47"/>
                </a:lnTo>
                <a:lnTo>
                  <a:pt x="86" y="46"/>
                </a:lnTo>
                <a:lnTo>
                  <a:pt x="88" y="47"/>
                </a:lnTo>
                <a:lnTo>
                  <a:pt x="89" y="47"/>
                </a:lnTo>
                <a:lnTo>
                  <a:pt x="89" y="46"/>
                </a:lnTo>
                <a:lnTo>
                  <a:pt x="90" y="46"/>
                </a:lnTo>
                <a:lnTo>
                  <a:pt x="90" y="43"/>
                </a:lnTo>
                <a:lnTo>
                  <a:pt x="94" y="40"/>
                </a:lnTo>
                <a:lnTo>
                  <a:pt x="95" y="40"/>
                </a:lnTo>
                <a:lnTo>
                  <a:pt x="95" y="36"/>
                </a:lnTo>
                <a:lnTo>
                  <a:pt x="96" y="36"/>
                </a:lnTo>
                <a:lnTo>
                  <a:pt x="98" y="35"/>
                </a:lnTo>
                <a:lnTo>
                  <a:pt x="100" y="35"/>
                </a:lnTo>
                <a:lnTo>
                  <a:pt x="100" y="34"/>
                </a:lnTo>
                <a:lnTo>
                  <a:pt x="101" y="34"/>
                </a:lnTo>
                <a:lnTo>
                  <a:pt x="101" y="35"/>
                </a:lnTo>
                <a:lnTo>
                  <a:pt x="105" y="35"/>
                </a:lnTo>
                <a:lnTo>
                  <a:pt x="106" y="34"/>
                </a:lnTo>
                <a:lnTo>
                  <a:pt x="107" y="34"/>
                </a:lnTo>
                <a:lnTo>
                  <a:pt x="108" y="32"/>
                </a:lnTo>
                <a:lnTo>
                  <a:pt x="108" y="34"/>
                </a:lnTo>
                <a:lnTo>
                  <a:pt x="112" y="34"/>
                </a:lnTo>
                <a:lnTo>
                  <a:pt x="112" y="35"/>
                </a:lnTo>
                <a:lnTo>
                  <a:pt x="116" y="35"/>
                </a:lnTo>
                <a:lnTo>
                  <a:pt x="117" y="36"/>
                </a:lnTo>
                <a:lnTo>
                  <a:pt x="119" y="36"/>
                </a:lnTo>
                <a:lnTo>
                  <a:pt x="120" y="35"/>
                </a:lnTo>
                <a:lnTo>
                  <a:pt x="121" y="35"/>
                </a:lnTo>
                <a:lnTo>
                  <a:pt x="123" y="36"/>
                </a:lnTo>
                <a:lnTo>
                  <a:pt x="123" y="35"/>
                </a:lnTo>
                <a:lnTo>
                  <a:pt x="125" y="35"/>
                </a:lnTo>
                <a:lnTo>
                  <a:pt x="125" y="32"/>
                </a:lnTo>
                <a:lnTo>
                  <a:pt x="127" y="32"/>
                </a:lnTo>
                <a:lnTo>
                  <a:pt x="127" y="34"/>
                </a:lnTo>
                <a:lnTo>
                  <a:pt x="129" y="34"/>
                </a:lnTo>
                <a:lnTo>
                  <a:pt x="129" y="35"/>
                </a:lnTo>
                <a:lnTo>
                  <a:pt x="130" y="34"/>
                </a:lnTo>
                <a:lnTo>
                  <a:pt x="130" y="26"/>
                </a:lnTo>
                <a:lnTo>
                  <a:pt x="131" y="26"/>
                </a:lnTo>
                <a:lnTo>
                  <a:pt x="131" y="24"/>
                </a:lnTo>
                <a:lnTo>
                  <a:pt x="132" y="23"/>
                </a:lnTo>
                <a:lnTo>
                  <a:pt x="138" y="23"/>
                </a:lnTo>
                <a:lnTo>
                  <a:pt x="147" y="24"/>
                </a:lnTo>
                <a:lnTo>
                  <a:pt x="149" y="24"/>
                </a:lnTo>
                <a:lnTo>
                  <a:pt x="150" y="23"/>
                </a:lnTo>
                <a:lnTo>
                  <a:pt x="150" y="22"/>
                </a:lnTo>
                <a:lnTo>
                  <a:pt x="152" y="19"/>
                </a:lnTo>
                <a:lnTo>
                  <a:pt x="154" y="19"/>
                </a:lnTo>
                <a:lnTo>
                  <a:pt x="154" y="20"/>
                </a:lnTo>
                <a:lnTo>
                  <a:pt x="155" y="20"/>
                </a:lnTo>
                <a:lnTo>
                  <a:pt x="155" y="22"/>
                </a:lnTo>
                <a:lnTo>
                  <a:pt x="156" y="22"/>
                </a:lnTo>
                <a:lnTo>
                  <a:pt x="157" y="20"/>
                </a:lnTo>
                <a:lnTo>
                  <a:pt x="158" y="20"/>
                </a:lnTo>
                <a:lnTo>
                  <a:pt x="158" y="19"/>
                </a:lnTo>
                <a:lnTo>
                  <a:pt x="163" y="19"/>
                </a:lnTo>
                <a:lnTo>
                  <a:pt x="166" y="22"/>
                </a:lnTo>
                <a:lnTo>
                  <a:pt x="167" y="22"/>
                </a:lnTo>
                <a:lnTo>
                  <a:pt x="169" y="19"/>
                </a:lnTo>
                <a:lnTo>
                  <a:pt x="173" y="19"/>
                </a:lnTo>
                <a:lnTo>
                  <a:pt x="174" y="18"/>
                </a:lnTo>
                <a:lnTo>
                  <a:pt x="176" y="18"/>
                </a:lnTo>
                <a:lnTo>
                  <a:pt x="179" y="16"/>
                </a:lnTo>
                <a:lnTo>
                  <a:pt x="180" y="16"/>
                </a:lnTo>
                <a:lnTo>
                  <a:pt x="181" y="18"/>
                </a:lnTo>
                <a:lnTo>
                  <a:pt x="182" y="17"/>
                </a:lnTo>
                <a:lnTo>
                  <a:pt x="183" y="17"/>
                </a:lnTo>
                <a:lnTo>
                  <a:pt x="183" y="16"/>
                </a:lnTo>
                <a:lnTo>
                  <a:pt x="185" y="17"/>
                </a:lnTo>
                <a:lnTo>
                  <a:pt x="186" y="17"/>
                </a:lnTo>
                <a:lnTo>
                  <a:pt x="186" y="12"/>
                </a:lnTo>
                <a:lnTo>
                  <a:pt x="189" y="12"/>
                </a:lnTo>
                <a:lnTo>
                  <a:pt x="189" y="13"/>
                </a:lnTo>
                <a:lnTo>
                  <a:pt x="191" y="13"/>
                </a:lnTo>
                <a:lnTo>
                  <a:pt x="191" y="12"/>
                </a:lnTo>
                <a:lnTo>
                  <a:pt x="192" y="11"/>
                </a:lnTo>
                <a:lnTo>
                  <a:pt x="194" y="11"/>
                </a:lnTo>
                <a:lnTo>
                  <a:pt x="195" y="12"/>
                </a:lnTo>
                <a:lnTo>
                  <a:pt x="195" y="13"/>
                </a:lnTo>
                <a:lnTo>
                  <a:pt x="199" y="13"/>
                </a:lnTo>
                <a:lnTo>
                  <a:pt x="200" y="12"/>
                </a:lnTo>
                <a:lnTo>
                  <a:pt x="203" y="12"/>
                </a:lnTo>
                <a:lnTo>
                  <a:pt x="203" y="11"/>
                </a:lnTo>
                <a:lnTo>
                  <a:pt x="206" y="11"/>
                </a:lnTo>
                <a:lnTo>
                  <a:pt x="206" y="14"/>
                </a:lnTo>
                <a:lnTo>
                  <a:pt x="207" y="14"/>
                </a:lnTo>
                <a:lnTo>
                  <a:pt x="207" y="16"/>
                </a:lnTo>
                <a:lnTo>
                  <a:pt x="208" y="16"/>
                </a:lnTo>
                <a:lnTo>
                  <a:pt x="208" y="18"/>
                </a:lnTo>
                <a:lnTo>
                  <a:pt x="211" y="18"/>
                </a:lnTo>
                <a:lnTo>
                  <a:pt x="212" y="19"/>
                </a:lnTo>
                <a:lnTo>
                  <a:pt x="213" y="19"/>
                </a:lnTo>
                <a:lnTo>
                  <a:pt x="213" y="20"/>
                </a:lnTo>
                <a:lnTo>
                  <a:pt x="216" y="22"/>
                </a:lnTo>
                <a:lnTo>
                  <a:pt x="216" y="23"/>
                </a:lnTo>
                <a:lnTo>
                  <a:pt x="217" y="23"/>
                </a:lnTo>
                <a:lnTo>
                  <a:pt x="217" y="20"/>
                </a:lnTo>
                <a:lnTo>
                  <a:pt x="219" y="20"/>
                </a:lnTo>
                <a:lnTo>
                  <a:pt x="220" y="19"/>
                </a:lnTo>
                <a:lnTo>
                  <a:pt x="223" y="20"/>
                </a:lnTo>
                <a:lnTo>
                  <a:pt x="229" y="23"/>
                </a:lnTo>
                <a:lnTo>
                  <a:pt x="230" y="23"/>
                </a:lnTo>
                <a:lnTo>
                  <a:pt x="230" y="24"/>
                </a:lnTo>
                <a:lnTo>
                  <a:pt x="231" y="24"/>
                </a:lnTo>
                <a:lnTo>
                  <a:pt x="232" y="25"/>
                </a:lnTo>
                <a:lnTo>
                  <a:pt x="234" y="25"/>
                </a:lnTo>
                <a:lnTo>
                  <a:pt x="235" y="28"/>
                </a:lnTo>
                <a:lnTo>
                  <a:pt x="236" y="29"/>
                </a:lnTo>
                <a:lnTo>
                  <a:pt x="238" y="29"/>
                </a:lnTo>
                <a:lnTo>
                  <a:pt x="244" y="26"/>
                </a:lnTo>
                <a:lnTo>
                  <a:pt x="248" y="26"/>
                </a:lnTo>
                <a:lnTo>
                  <a:pt x="248" y="24"/>
                </a:lnTo>
                <a:lnTo>
                  <a:pt x="253" y="24"/>
                </a:lnTo>
                <a:lnTo>
                  <a:pt x="253" y="25"/>
                </a:lnTo>
                <a:lnTo>
                  <a:pt x="255" y="25"/>
                </a:lnTo>
                <a:lnTo>
                  <a:pt x="256" y="24"/>
                </a:lnTo>
                <a:lnTo>
                  <a:pt x="257" y="24"/>
                </a:lnTo>
                <a:lnTo>
                  <a:pt x="260" y="23"/>
                </a:lnTo>
                <a:lnTo>
                  <a:pt x="261" y="23"/>
                </a:lnTo>
                <a:lnTo>
                  <a:pt x="262" y="25"/>
                </a:lnTo>
                <a:lnTo>
                  <a:pt x="263" y="25"/>
                </a:lnTo>
                <a:lnTo>
                  <a:pt x="265" y="24"/>
                </a:lnTo>
                <a:lnTo>
                  <a:pt x="267" y="24"/>
                </a:lnTo>
                <a:lnTo>
                  <a:pt x="268" y="23"/>
                </a:lnTo>
                <a:lnTo>
                  <a:pt x="269" y="23"/>
                </a:lnTo>
                <a:lnTo>
                  <a:pt x="273" y="22"/>
                </a:lnTo>
                <a:lnTo>
                  <a:pt x="274" y="22"/>
                </a:lnTo>
                <a:lnTo>
                  <a:pt x="274" y="18"/>
                </a:lnTo>
                <a:lnTo>
                  <a:pt x="275" y="18"/>
                </a:lnTo>
                <a:lnTo>
                  <a:pt x="275" y="17"/>
                </a:lnTo>
                <a:lnTo>
                  <a:pt x="274" y="16"/>
                </a:lnTo>
                <a:lnTo>
                  <a:pt x="274" y="14"/>
                </a:lnTo>
                <a:lnTo>
                  <a:pt x="275" y="13"/>
                </a:lnTo>
                <a:lnTo>
                  <a:pt x="275" y="12"/>
                </a:lnTo>
                <a:lnTo>
                  <a:pt x="274" y="12"/>
                </a:lnTo>
                <a:lnTo>
                  <a:pt x="274" y="11"/>
                </a:lnTo>
                <a:lnTo>
                  <a:pt x="273" y="11"/>
                </a:lnTo>
                <a:lnTo>
                  <a:pt x="273" y="7"/>
                </a:lnTo>
                <a:lnTo>
                  <a:pt x="272" y="7"/>
                </a:lnTo>
                <a:lnTo>
                  <a:pt x="272" y="6"/>
                </a:lnTo>
                <a:lnTo>
                  <a:pt x="270" y="6"/>
                </a:lnTo>
                <a:lnTo>
                  <a:pt x="270" y="3"/>
                </a:lnTo>
                <a:lnTo>
                  <a:pt x="272" y="3"/>
                </a:lnTo>
                <a:lnTo>
                  <a:pt x="273" y="1"/>
                </a:lnTo>
                <a:lnTo>
                  <a:pt x="276" y="1"/>
                </a:lnTo>
                <a:lnTo>
                  <a:pt x="276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4" name="Freeform 39">
            <a:extLst>
              <a:ext uri="{FF2B5EF4-FFF2-40B4-BE49-F238E27FC236}">
                <a16:creationId xmlns:a16="http://schemas.microsoft.com/office/drawing/2014/main" id="{7A65B3C7-5F61-403C-A479-AF51987F8807}"/>
              </a:ext>
            </a:extLst>
          </p:cNvPr>
          <p:cNvSpPr>
            <a:spLocks noEditPoints="1"/>
          </p:cNvSpPr>
          <p:nvPr/>
        </p:nvSpPr>
        <p:spPr bwMode="auto">
          <a:xfrm>
            <a:off x="705731" y="3801872"/>
            <a:ext cx="633187" cy="992525"/>
          </a:xfrm>
          <a:custGeom>
            <a:avLst/>
            <a:gdLst/>
            <a:ahLst/>
            <a:cxnLst>
              <a:cxn ang="0">
                <a:pos x="260" y="596"/>
              </a:cxn>
              <a:cxn ang="0">
                <a:pos x="170" y="411"/>
              </a:cxn>
              <a:cxn ang="0">
                <a:pos x="180" y="337"/>
              </a:cxn>
              <a:cxn ang="0">
                <a:pos x="113" y="287"/>
              </a:cxn>
              <a:cxn ang="0">
                <a:pos x="123" y="319"/>
              </a:cxn>
              <a:cxn ang="0">
                <a:pos x="81" y="343"/>
              </a:cxn>
              <a:cxn ang="0">
                <a:pos x="30" y="335"/>
              </a:cxn>
              <a:cxn ang="0">
                <a:pos x="63" y="282"/>
              </a:cxn>
              <a:cxn ang="0">
                <a:pos x="150" y="229"/>
              </a:cxn>
              <a:cxn ang="0">
                <a:pos x="88" y="234"/>
              </a:cxn>
              <a:cxn ang="0">
                <a:pos x="111" y="212"/>
              </a:cxn>
              <a:cxn ang="0">
                <a:pos x="78" y="168"/>
              </a:cxn>
              <a:cxn ang="0">
                <a:pos x="98" y="184"/>
              </a:cxn>
              <a:cxn ang="0">
                <a:pos x="86" y="165"/>
              </a:cxn>
              <a:cxn ang="0">
                <a:pos x="86" y="130"/>
              </a:cxn>
              <a:cxn ang="0">
                <a:pos x="58" y="124"/>
              </a:cxn>
              <a:cxn ang="0">
                <a:pos x="56" y="88"/>
              </a:cxn>
              <a:cxn ang="0">
                <a:pos x="51" y="83"/>
              </a:cxn>
              <a:cxn ang="0">
                <a:pos x="109" y="131"/>
              </a:cxn>
              <a:cxn ang="0">
                <a:pos x="79" y="103"/>
              </a:cxn>
              <a:cxn ang="0">
                <a:pos x="61" y="75"/>
              </a:cxn>
              <a:cxn ang="0">
                <a:pos x="94" y="36"/>
              </a:cxn>
              <a:cxn ang="0">
                <a:pos x="81" y="61"/>
              </a:cxn>
              <a:cxn ang="0">
                <a:pos x="62" y="45"/>
              </a:cxn>
              <a:cxn ang="0">
                <a:pos x="236" y="3"/>
              </a:cxn>
              <a:cxn ang="0">
                <a:pos x="179" y="62"/>
              </a:cxn>
              <a:cxn ang="0">
                <a:pos x="186" y="92"/>
              </a:cxn>
              <a:cxn ang="0">
                <a:pos x="267" y="79"/>
              </a:cxn>
              <a:cxn ang="0">
                <a:pos x="248" y="174"/>
              </a:cxn>
              <a:cxn ang="0">
                <a:pos x="223" y="210"/>
              </a:cxn>
              <a:cxn ang="0">
                <a:pos x="299" y="273"/>
              </a:cxn>
              <a:cxn ang="0">
                <a:pos x="354" y="357"/>
              </a:cxn>
              <a:cxn ang="0">
                <a:pos x="370" y="427"/>
              </a:cxn>
              <a:cxn ang="0">
                <a:pos x="417" y="499"/>
              </a:cxn>
              <a:cxn ang="0">
                <a:pos x="381" y="534"/>
              </a:cxn>
              <a:cxn ang="0">
                <a:pos x="390" y="574"/>
              </a:cxn>
              <a:cxn ang="0">
                <a:pos x="298" y="580"/>
              </a:cxn>
              <a:cxn ang="0">
                <a:pos x="217" y="591"/>
              </a:cxn>
              <a:cxn ang="0">
                <a:pos x="178" y="607"/>
              </a:cxn>
              <a:cxn ang="0">
                <a:pos x="124" y="620"/>
              </a:cxn>
              <a:cxn ang="0">
                <a:pos x="185" y="552"/>
              </a:cxn>
              <a:cxn ang="0">
                <a:pos x="237" y="528"/>
              </a:cxn>
              <a:cxn ang="0">
                <a:pos x="178" y="516"/>
              </a:cxn>
              <a:cxn ang="0">
                <a:pos x="144" y="517"/>
              </a:cxn>
              <a:cxn ang="0">
                <a:pos x="197" y="458"/>
              </a:cxn>
              <a:cxn ang="0">
                <a:pos x="187" y="413"/>
              </a:cxn>
              <a:cxn ang="0">
                <a:pos x="238" y="378"/>
              </a:cxn>
              <a:cxn ang="0">
                <a:pos x="227" y="343"/>
              </a:cxn>
              <a:cxn ang="0">
                <a:pos x="200" y="295"/>
              </a:cxn>
              <a:cxn ang="0">
                <a:pos x="155" y="302"/>
              </a:cxn>
              <a:cxn ang="0">
                <a:pos x="157" y="223"/>
              </a:cxn>
              <a:cxn ang="0">
                <a:pos x="149" y="216"/>
              </a:cxn>
              <a:cxn ang="0">
                <a:pos x="132" y="236"/>
              </a:cxn>
              <a:cxn ang="0">
                <a:pos x="124" y="218"/>
              </a:cxn>
              <a:cxn ang="0">
                <a:pos x="134" y="175"/>
              </a:cxn>
              <a:cxn ang="0">
                <a:pos x="144" y="149"/>
              </a:cxn>
              <a:cxn ang="0">
                <a:pos x="113" y="152"/>
              </a:cxn>
              <a:cxn ang="0">
                <a:pos x="129" y="125"/>
              </a:cxn>
              <a:cxn ang="0">
                <a:pos x="117" y="88"/>
              </a:cxn>
              <a:cxn ang="0">
                <a:pos x="131" y="67"/>
              </a:cxn>
              <a:cxn ang="0">
                <a:pos x="136" y="36"/>
              </a:cxn>
              <a:cxn ang="0">
                <a:pos x="166" y="11"/>
              </a:cxn>
              <a:cxn ang="0">
                <a:pos x="221" y="5"/>
              </a:cxn>
            </a:cxnLst>
            <a:rect l="0" t="0" r="r" b="b"/>
            <a:pathLst>
              <a:path w="437" h="685">
                <a:moveTo>
                  <a:pt x="268" y="679"/>
                </a:moveTo>
                <a:lnTo>
                  <a:pt x="275" y="679"/>
                </a:lnTo>
                <a:lnTo>
                  <a:pt x="278" y="681"/>
                </a:lnTo>
                <a:lnTo>
                  <a:pt x="278" y="685"/>
                </a:lnTo>
                <a:lnTo>
                  <a:pt x="277" y="684"/>
                </a:lnTo>
                <a:lnTo>
                  <a:pt x="274" y="684"/>
                </a:lnTo>
                <a:lnTo>
                  <a:pt x="273" y="683"/>
                </a:lnTo>
                <a:lnTo>
                  <a:pt x="272" y="683"/>
                </a:lnTo>
                <a:lnTo>
                  <a:pt x="272" y="684"/>
                </a:lnTo>
                <a:lnTo>
                  <a:pt x="268" y="684"/>
                </a:lnTo>
                <a:lnTo>
                  <a:pt x="269" y="683"/>
                </a:lnTo>
                <a:lnTo>
                  <a:pt x="268" y="682"/>
                </a:lnTo>
                <a:lnTo>
                  <a:pt x="268" y="679"/>
                </a:lnTo>
                <a:close/>
                <a:moveTo>
                  <a:pt x="262" y="668"/>
                </a:moveTo>
                <a:lnTo>
                  <a:pt x="263" y="668"/>
                </a:lnTo>
                <a:lnTo>
                  <a:pt x="263" y="669"/>
                </a:lnTo>
                <a:lnTo>
                  <a:pt x="262" y="670"/>
                </a:lnTo>
                <a:lnTo>
                  <a:pt x="262" y="668"/>
                </a:lnTo>
                <a:close/>
                <a:moveTo>
                  <a:pt x="256" y="663"/>
                </a:moveTo>
                <a:lnTo>
                  <a:pt x="257" y="664"/>
                </a:lnTo>
                <a:lnTo>
                  <a:pt x="256" y="665"/>
                </a:lnTo>
                <a:lnTo>
                  <a:pt x="256" y="668"/>
                </a:lnTo>
                <a:lnTo>
                  <a:pt x="255" y="669"/>
                </a:lnTo>
                <a:lnTo>
                  <a:pt x="250" y="669"/>
                </a:lnTo>
                <a:lnTo>
                  <a:pt x="250" y="668"/>
                </a:lnTo>
                <a:lnTo>
                  <a:pt x="252" y="668"/>
                </a:lnTo>
                <a:lnTo>
                  <a:pt x="250" y="666"/>
                </a:lnTo>
                <a:lnTo>
                  <a:pt x="253" y="666"/>
                </a:lnTo>
                <a:lnTo>
                  <a:pt x="254" y="664"/>
                </a:lnTo>
                <a:lnTo>
                  <a:pt x="255" y="664"/>
                </a:lnTo>
                <a:lnTo>
                  <a:pt x="256" y="663"/>
                </a:lnTo>
                <a:close/>
                <a:moveTo>
                  <a:pt x="269" y="650"/>
                </a:moveTo>
                <a:lnTo>
                  <a:pt x="271" y="650"/>
                </a:lnTo>
                <a:lnTo>
                  <a:pt x="271" y="651"/>
                </a:lnTo>
                <a:lnTo>
                  <a:pt x="269" y="651"/>
                </a:lnTo>
                <a:lnTo>
                  <a:pt x="269" y="650"/>
                </a:lnTo>
                <a:close/>
                <a:moveTo>
                  <a:pt x="271" y="648"/>
                </a:moveTo>
                <a:lnTo>
                  <a:pt x="272" y="648"/>
                </a:lnTo>
                <a:lnTo>
                  <a:pt x="272" y="650"/>
                </a:lnTo>
                <a:lnTo>
                  <a:pt x="271" y="650"/>
                </a:lnTo>
                <a:lnTo>
                  <a:pt x="271" y="648"/>
                </a:lnTo>
                <a:close/>
                <a:moveTo>
                  <a:pt x="97" y="635"/>
                </a:moveTo>
                <a:lnTo>
                  <a:pt x="98" y="635"/>
                </a:lnTo>
                <a:lnTo>
                  <a:pt x="98" y="638"/>
                </a:lnTo>
                <a:lnTo>
                  <a:pt x="97" y="636"/>
                </a:lnTo>
                <a:lnTo>
                  <a:pt x="97" y="635"/>
                </a:lnTo>
                <a:close/>
                <a:moveTo>
                  <a:pt x="95" y="634"/>
                </a:moveTo>
                <a:lnTo>
                  <a:pt x="97" y="634"/>
                </a:lnTo>
                <a:lnTo>
                  <a:pt x="95" y="635"/>
                </a:lnTo>
                <a:lnTo>
                  <a:pt x="95" y="634"/>
                </a:lnTo>
                <a:close/>
                <a:moveTo>
                  <a:pt x="259" y="592"/>
                </a:moveTo>
                <a:lnTo>
                  <a:pt x="260" y="593"/>
                </a:lnTo>
                <a:lnTo>
                  <a:pt x="260" y="596"/>
                </a:lnTo>
                <a:lnTo>
                  <a:pt x="259" y="596"/>
                </a:lnTo>
                <a:lnTo>
                  <a:pt x="259" y="592"/>
                </a:lnTo>
                <a:close/>
                <a:moveTo>
                  <a:pt x="306" y="580"/>
                </a:moveTo>
                <a:lnTo>
                  <a:pt x="309" y="580"/>
                </a:lnTo>
                <a:lnTo>
                  <a:pt x="315" y="583"/>
                </a:lnTo>
                <a:lnTo>
                  <a:pt x="317" y="583"/>
                </a:lnTo>
                <a:lnTo>
                  <a:pt x="317" y="584"/>
                </a:lnTo>
                <a:lnTo>
                  <a:pt x="318" y="585"/>
                </a:lnTo>
                <a:lnTo>
                  <a:pt x="318" y="586"/>
                </a:lnTo>
                <a:lnTo>
                  <a:pt x="316" y="586"/>
                </a:lnTo>
                <a:lnTo>
                  <a:pt x="316" y="587"/>
                </a:lnTo>
                <a:lnTo>
                  <a:pt x="315" y="589"/>
                </a:lnTo>
                <a:lnTo>
                  <a:pt x="314" y="589"/>
                </a:lnTo>
                <a:lnTo>
                  <a:pt x="314" y="591"/>
                </a:lnTo>
                <a:lnTo>
                  <a:pt x="309" y="592"/>
                </a:lnTo>
                <a:lnTo>
                  <a:pt x="308" y="592"/>
                </a:lnTo>
                <a:lnTo>
                  <a:pt x="302" y="589"/>
                </a:lnTo>
                <a:lnTo>
                  <a:pt x="302" y="587"/>
                </a:lnTo>
                <a:lnTo>
                  <a:pt x="300" y="587"/>
                </a:lnTo>
                <a:lnTo>
                  <a:pt x="299" y="586"/>
                </a:lnTo>
                <a:lnTo>
                  <a:pt x="298" y="587"/>
                </a:lnTo>
                <a:lnTo>
                  <a:pt x="297" y="587"/>
                </a:lnTo>
                <a:lnTo>
                  <a:pt x="298" y="586"/>
                </a:lnTo>
                <a:lnTo>
                  <a:pt x="299" y="584"/>
                </a:lnTo>
                <a:lnTo>
                  <a:pt x="303" y="583"/>
                </a:lnTo>
                <a:lnTo>
                  <a:pt x="303" y="584"/>
                </a:lnTo>
                <a:lnTo>
                  <a:pt x="304" y="584"/>
                </a:lnTo>
                <a:lnTo>
                  <a:pt x="305" y="583"/>
                </a:lnTo>
                <a:lnTo>
                  <a:pt x="306" y="580"/>
                </a:lnTo>
                <a:close/>
                <a:moveTo>
                  <a:pt x="322" y="577"/>
                </a:moveTo>
                <a:lnTo>
                  <a:pt x="323" y="577"/>
                </a:lnTo>
                <a:lnTo>
                  <a:pt x="323" y="579"/>
                </a:lnTo>
                <a:lnTo>
                  <a:pt x="319" y="579"/>
                </a:lnTo>
                <a:lnTo>
                  <a:pt x="322" y="577"/>
                </a:lnTo>
                <a:close/>
                <a:moveTo>
                  <a:pt x="411" y="496"/>
                </a:moveTo>
                <a:lnTo>
                  <a:pt x="414" y="497"/>
                </a:lnTo>
                <a:lnTo>
                  <a:pt x="414" y="498"/>
                </a:lnTo>
                <a:lnTo>
                  <a:pt x="416" y="498"/>
                </a:lnTo>
                <a:lnTo>
                  <a:pt x="415" y="497"/>
                </a:lnTo>
                <a:lnTo>
                  <a:pt x="412" y="496"/>
                </a:lnTo>
                <a:lnTo>
                  <a:pt x="411" y="496"/>
                </a:lnTo>
                <a:close/>
                <a:moveTo>
                  <a:pt x="404" y="430"/>
                </a:moveTo>
                <a:lnTo>
                  <a:pt x="405" y="430"/>
                </a:lnTo>
                <a:lnTo>
                  <a:pt x="404" y="430"/>
                </a:lnTo>
                <a:close/>
                <a:moveTo>
                  <a:pt x="166" y="405"/>
                </a:moveTo>
                <a:lnTo>
                  <a:pt x="167" y="405"/>
                </a:lnTo>
                <a:lnTo>
                  <a:pt x="167" y="406"/>
                </a:lnTo>
                <a:lnTo>
                  <a:pt x="168" y="405"/>
                </a:lnTo>
                <a:lnTo>
                  <a:pt x="168" y="406"/>
                </a:lnTo>
                <a:lnTo>
                  <a:pt x="169" y="407"/>
                </a:lnTo>
                <a:lnTo>
                  <a:pt x="169" y="408"/>
                </a:lnTo>
                <a:lnTo>
                  <a:pt x="170" y="410"/>
                </a:lnTo>
                <a:lnTo>
                  <a:pt x="170" y="411"/>
                </a:lnTo>
                <a:lnTo>
                  <a:pt x="169" y="411"/>
                </a:lnTo>
                <a:lnTo>
                  <a:pt x="169" y="410"/>
                </a:lnTo>
                <a:lnTo>
                  <a:pt x="168" y="408"/>
                </a:lnTo>
                <a:lnTo>
                  <a:pt x="166" y="408"/>
                </a:lnTo>
                <a:lnTo>
                  <a:pt x="165" y="406"/>
                </a:lnTo>
                <a:lnTo>
                  <a:pt x="166" y="405"/>
                </a:lnTo>
                <a:close/>
                <a:moveTo>
                  <a:pt x="176" y="398"/>
                </a:moveTo>
                <a:lnTo>
                  <a:pt x="180" y="399"/>
                </a:lnTo>
                <a:lnTo>
                  <a:pt x="182" y="399"/>
                </a:lnTo>
                <a:lnTo>
                  <a:pt x="182" y="402"/>
                </a:lnTo>
                <a:lnTo>
                  <a:pt x="185" y="402"/>
                </a:lnTo>
                <a:lnTo>
                  <a:pt x="185" y="406"/>
                </a:lnTo>
                <a:lnTo>
                  <a:pt x="186" y="406"/>
                </a:lnTo>
                <a:lnTo>
                  <a:pt x="186" y="407"/>
                </a:lnTo>
                <a:lnTo>
                  <a:pt x="187" y="407"/>
                </a:lnTo>
                <a:lnTo>
                  <a:pt x="188" y="406"/>
                </a:lnTo>
                <a:lnTo>
                  <a:pt x="192" y="406"/>
                </a:lnTo>
                <a:lnTo>
                  <a:pt x="192" y="407"/>
                </a:lnTo>
                <a:lnTo>
                  <a:pt x="190" y="411"/>
                </a:lnTo>
                <a:lnTo>
                  <a:pt x="188" y="411"/>
                </a:lnTo>
                <a:lnTo>
                  <a:pt x="187" y="412"/>
                </a:lnTo>
                <a:lnTo>
                  <a:pt x="186" y="412"/>
                </a:lnTo>
                <a:lnTo>
                  <a:pt x="185" y="413"/>
                </a:lnTo>
                <a:lnTo>
                  <a:pt x="185" y="415"/>
                </a:lnTo>
                <a:lnTo>
                  <a:pt x="182" y="417"/>
                </a:lnTo>
                <a:lnTo>
                  <a:pt x="180" y="419"/>
                </a:lnTo>
                <a:lnTo>
                  <a:pt x="179" y="419"/>
                </a:lnTo>
                <a:lnTo>
                  <a:pt x="178" y="418"/>
                </a:lnTo>
                <a:lnTo>
                  <a:pt x="178" y="419"/>
                </a:lnTo>
                <a:lnTo>
                  <a:pt x="176" y="419"/>
                </a:lnTo>
                <a:lnTo>
                  <a:pt x="176" y="417"/>
                </a:lnTo>
                <a:lnTo>
                  <a:pt x="178" y="417"/>
                </a:lnTo>
                <a:lnTo>
                  <a:pt x="178" y="414"/>
                </a:lnTo>
                <a:lnTo>
                  <a:pt x="176" y="415"/>
                </a:lnTo>
                <a:lnTo>
                  <a:pt x="176" y="417"/>
                </a:lnTo>
                <a:lnTo>
                  <a:pt x="175" y="417"/>
                </a:lnTo>
                <a:lnTo>
                  <a:pt x="174" y="415"/>
                </a:lnTo>
                <a:lnTo>
                  <a:pt x="173" y="415"/>
                </a:lnTo>
                <a:lnTo>
                  <a:pt x="173" y="413"/>
                </a:lnTo>
                <a:lnTo>
                  <a:pt x="172" y="412"/>
                </a:lnTo>
                <a:lnTo>
                  <a:pt x="170" y="410"/>
                </a:lnTo>
                <a:lnTo>
                  <a:pt x="170" y="400"/>
                </a:lnTo>
                <a:lnTo>
                  <a:pt x="176" y="398"/>
                </a:lnTo>
                <a:close/>
                <a:moveTo>
                  <a:pt x="178" y="327"/>
                </a:moveTo>
                <a:lnTo>
                  <a:pt x="179" y="327"/>
                </a:lnTo>
                <a:lnTo>
                  <a:pt x="179" y="328"/>
                </a:lnTo>
                <a:lnTo>
                  <a:pt x="178" y="331"/>
                </a:lnTo>
                <a:lnTo>
                  <a:pt x="179" y="332"/>
                </a:lnTo>
                <a:lnTo>
                  <a:pt x="179" y="334"/>
                </a:lnTo>
                <a:lnTo>
                  <a:pt x="180" y="334"/>
                </a:lnTo>
                <a:lnTo>
                  <a:pt x="181" y="335"/>
                </a:lnTo>
                <a:lnTo>
                  <a:pt x="181" y="337"/>
                </a:lnTo>
                <a:lnTo>
                  <a:pt x="180" y="337"/>
                </a:lnTo>
                <a:lnTo>
                  <a:pt x="180" y="338"/>
                </a:lnTo>
                <a:lnTo>
                  <a:pt x="179" y="339"/>
                </a:lnTo>
                <a:lnTo>
                  <a:pt x="179" y="340"/>
                </a:lnTo>
                <a:lnTo>
                  <a:pt x="178" y="341"/>
                </a:lnTo>
                <a:lnTo>
                  <a:pt x="178" y="343"/>
                </a:lnTo>
                <a:lnTo>
                  <a:pt x="170" y="350"/>
                </a:lnTo>
                <a:lnTo>
                  <a:pt x="169" y="350"/>
                </a:lnTo>
                <a:lnTo>
                  <a:pt x="169" y="351"/>
                </a:lnTo>
                <a:lnTo>
                  <a:pt x="168" y="353"/>
                </a:lnTo>
                <a:lnTo>
                  <a:pt x="168" y="352"/>
                </a:lnTo>
                <a:lnTo>
                  <a:pt x="166" y="352"/>
                </a:lnTo>
                <a:lnTo>
                  <a:pt x="165" y="351"/>
                </a:lnTo>
                <a:lnTo>
                  <a:pt x="163" y="351"/>
                </a:lnTo>
                <a:lnTo>
                  <a:pt x="162" y="352"/>
                </a:lnTo>
                <a:lnTo>
                  <a:pt x="161" y="352"/>
                </a:lnTo>
                <a:lnTo>
                  <a:pt x="161" y="351"/>
                </a:lnTo>
                <a:lnTo>
                  <a:pt x="162" y="351"/>
                </a:lnTo>
                <a:lnTo>
                  <a:pt x="162" y="350"/>
                </a:lnTo>
                <a:lnTo>
                  <a:pt x="163" y="347"/>
                </a:lnTo>
                <a:lnTo>
                  <a:pt x="163" y="344"/>
                </a:lnTo>
                <a:lnTo>
                  <a:pt x="165" y="343"/>
                </a:lnTo>
                <a:lnTo>
                  <a:pt x="165" y="341"/>
                </a:lnTo>
                <a:lnTo>
                  <a:pt x="169" y="337"/>
                </a:lnTo>
                <a:lnTo>
                  <a:pt x="170" y="332"/>
                </a:lnTo>
                <a:lnTo>
                  <a:pt x="173" y="330"/>
                </a:lnTo>
                <a:lnTo>
                  <a:pt x="178" y="327"/>
                </a:lnTo>
                <a:close/>
                <a:moveTo>
                  <a:pt x="201" y="294"/>
                </a:moveTo>
                <a:lnTo>
                  <a:pt x="203" y="294"/>
                </a:lnTo>
                <a:lnTo>
                  <a:pt x="203" y="295"/>
                </a:lnTo>
                <a:lnTo>
                  <a:pt x="201" y="295"/>
                </a:lnTo>
                <a:lnTo>
                  <a:pt x="201" y="294"/>
                </a:lnTo>
                <a:close/>
                <a:moveTo>
                  <a:pt x="88" y="266"/>
                </a:moveTo>
                <a:lnTo>
                  <a:pt x="89" y="266"/>
                </a:lnTo>
                <a:lnTo>
                  <a:pt x="91" y="267"/>
                </a:lnTo>
                <a:lnTo>
                  <a:pt x="92" y="267"/>
                </a:lnTo>
                <a:lnTo>
                  <a:pt x="94" y="266"/>
                </a:lnTo>
                <a:lnTo>
                  <a:pt x="95" y="266"/>
                </a:lnTo>
                <a:lnTo>
                  <a:pt x="99" y="269"/>
                </a:lnTo>
                <a:lnTo>
                  <a:pt x="103" y="269"/>
                </a:lnTo>
                <a:lnTo>
                  <a:pt x="103" y="267"/>
                </a:lnTo>
                <a:lnTo>
                  <a:pt x="105" y="269"/>
                </a:lnTo>
                <a:lnTo>
                  <a:pt x="106" y="269"/>
                </a:lnTo>
                <a:lnTo>
                  <a:pt x="106" y="270"/>
                </a:lnTo>
                <a:lnTo>
                  <a:pt x="109" y="272"/>
                </a:lnTo>
                <a:lnTo>
                  <a:pt x="109" y="276"/>
                </a:lnTo>
                <a:lnTo>
                  <a:pt x="107" y="277"/>
                </a:lnTo>
                <a:lnTo>
                  <a:pt x="107" y="279"/>
                </a:lnTo>
                <a:lnTo>
                  <a:pt x="110" y="279"/>
                </a:lnTo>
                <a:lnTo>
                  <a:pt x="111" y="281"/>
                </a:lnTo>
                <a:lnTo>
                  <a:pt x="111" y="283"/>
                </a:lnTo>
                <a:lnTo>
                  <a:pt x="110" y="285"/>
                </a:lnTo>
                <a:lnTo>
                  <a:pt x="112" y="285"/>
                </a:lnTo>
                <a:lnTo>
                  <a:pt x="113" y="287"/>
                </a:lnTo>
                <a:lnTo>
                  <a:pt x="113" y="288"/>
                </a:lnTo>
                <a:lnTo>
                  <a:pt x="114" y="289"/>
                </a:lnTo>
                <a:lnTo>
                  <a:pt x="114" y="290"/>
                </a:lnTo>
                <a:lnTo>
                  <a:pt x="117" y="292"/>
                </a:lnTo>
                <a:lnTo>
                  <a:pt x="117" y="294"/>
                </a:lnTo>
                <a:lnTo>
                  <a:pt x="118" y="295"/>
                </a:lnTo>
                <a:lnTo>
                  <a:pt x="118" y="297"/>
                </a:lnTo>
                <a:lnTo>
                  <a:pt x="119" y="298"/>
                </a:lnTo>
                <a:lnTo>
                  <a:pt x="120" y="298"/>
                </a:lnTo>
                <a:lnTo>
                  <a:pt x="118" y="296"/>
                </a:lnTo>
                <a:lnTo>
                  <a:pt x="119" y="295"/>
                </a:lnTo>
                <a:lnTo>
                  <a:pt x="120" y="295"/>
                </a:lnTo>
                <a:lnTo>
                  <a:pt x="123" y="297"/>
                </a:lnTo>
                <a:lnTo>
                  <a:pt x="123" y="302"/>
                </a:lnTo>
                <a:lnTo>
                  <a:pt x="122" y="303"/>
                </a:lnTo>
                <a:lnTo>
                  <a:pt x="122" y="304"/>
                </a:lnTo>
                <a:lnTo>
                  <a:pt x="120" y="304"/>
                </a:lnTo>
                <a:lnTo>
                  <a:pt x="117" y="306"/>
                </a:lnTo>
                <a:lnTo>
                  <a:pt x="114" y="308"/>
                </a:lnTo>
                <a:lnTo>
                  <a:pt x="113" y="310"/>
                </a:lnTo>
                <a:lnTo>
                  <a:pt x="113" y="313"/>
                </a:lnTo>
                <a:lnTo>
                  <a:pt x="114" y="313"/>
                </a:lnTo>
                <a:lnTo>
                  <a:pt x="116" y="312"/>
                </a:lnTo>
                <a:lnTo>
                  <a:pt x="116" y="310"/>
                </a:lnTo>
                <a:lnTo>
                  <a:pt x="117" y="310"/>
                </a:lnTo>
                <a:lnTo>
                  <a:pt x="119" y="308"/>
                </a:lnTo>
                <a:lnTo>
                  <a:pt x="128" y="308"/>
                </a:lnTo>
                <a:lnTo>
                  <a:pt x="129" y="309"/>
                </a:lnTo>
                <a:lnTo>
                  <a:pt x="130" y="309"/>
                </a:lnTo>
                <a:lnTo>
                  <a:pt x="130" y="314"/>
                </a:lnTo>
                <a:lnTo>
                  <a:pt x="131" y="315"/>
                </a:lnTo>
                <a:lnTo>
                  <a:pt x="132" y="315"/>
                </a:lnTo>
                <a:lnTo>
                  <a:pt x="132" y="320"/>
                </a:lnTo>
                <a:lnTo>
                  <a:pt x="134" y="321"/>
                </a:lnTo>
                <a:lnTo>
                  <a:pt x="134" y="324"/>
                </a:lnTo>
                <a:lnTo>
                  <a:pt x="132" y="326"/>
                </a:lnTo>
                <a:lnTo>
                  <a:pt x="132" y="330"/>
                </a:lnTo>
                <a:lnTo>
                  <a:pt x="131" y="330"/>
                </a:lnTo>
                <a:lnTo>
                  <a:pt x="131" y="331"/>
                </a:lnTo>
                <a:lnTo>
                  <a:pt x="132" y="331"/>
                </a:lnTo>
                <a:lnTo>
                  <a:pt x="130" y="333"/>
                </a:lnTo>
                <a:lnTo>
                  <a:pt x="130" y="332"/>
                </a:lnTo>
                <a:lnTo>
                  <a:pt x="129" y="331"/>
                </a:lnTo>
                <a:lnTo>
                  <a:pt x="129" y="330"/>
                </a:lnTo>
                <a:lnTo>
                  <a:pt x="128" y="328"/>
                </a:lnTo>
                <a:lnTo>
                  <a:pt x="128" y="326"/>
                </a:lnTo>
                <a:lnTo>
                  <a:pt x="129" y="325"/>
                </a:lnTo>
                <a:lnTo>
                  <a:pt x="129" y="320"/>
                </a:lnTo>
                <a:lnTo>
                  <a:pt x="124" y="315"/>
                </a:lnTo>
                <a:lnTo>
                  <a:pt x="123" y="315"/>
                </a:lnTo>
                <a:lnTo>
                  <a:pt x="123" y="318"/>
                </a:lnTo>
                <a:lnTo>
                  <a:pt x="122" y="318"/>
                </a:lnTo>
                <a:lnTo>
                  <a:pt x="123" y="319"/>
                </a:lnTo>
                <a:lnTo>
                  <a:pt x="125" y="319"/>
                </a:lnTo>
                <a:lnTo>
                  <a:pt x="125" y="320"/>
                </a:lnTo>
                <a:lnTo>
                  <a:pt x="124" y="320"/>
                </a:lnTo>
                <a:lnTo>
                  <a:pt x="125" y="321"/>
                </a:lnTo>
                <a:lnTo>
                  <a:pt x="125" y="325"/>
                </a:lnTo>
                <a:lnTo>
                  <a:pt x="124" y="328"/>
                </a:lnTo>
                <a:lnTo>
                  <a:pt x="124" y="330"/>
                </a:lnTo>
                <a:lnTo>
                  <a:pt x="122" y="332"/>
                </a:lnTo>
                <a:lnTo>
                  <a:pt x="124" y="331"/>
                </a:lnTo>
                <a:lnTo>
                  <a:pt x="125" y="330"/>
                </a:lnTo>
                <a:lnTo>
                  <a:pt x="128" y="330"/>
                </a:lnTo>
                <a:lnTo>
                  <a:pt x="129" y="331"/>
                </a:lnTo>
                <a:lnTo>
                  <a:pt x="129" y="335"/>
                </a:lnTo>
                <a:lnTo>
                  <a:pt x="128" y="337"/>
                </a:lnTo>
                <a:lnTo>
                  <a:pt x="126" y="339"/>
                </a:lnTo>
                <a:lnTo>
                  <a:pt x="125" y="338"/>
                </a:lnTo>
                <a:lnTo>
                  <a:pt x="125" y="340"/>
                </a:lnTo>
                <a:lnTo>
                  <a:pt x="124" y="340"/>
                </a:lnTo>
                <a:lnTo>
                  <a:pt x="123" y="339"/>
                </a:lnTo>
                <a:lnTo>
                  <a:pt x="119" y="339"/>
                </a:lnTo>
                <a:lnTo>
                  <a:pt x="117" y="340"/>
                </a:lnTo>
                <a:lnTo>
                  <a:pt x="116" y="340"/>
                </a:lnTo>
                <a:lnTo>
                  <a:pt x="116" y="346"/>
                </a:lnTo>
                <a:lnTo>
                  <a:pt x="114" y="349"/>
                </a:lnTo>
                <a:lnTo>
                  <a:pt x="114" y="350"/>
                </a:lnTo>
                <a:lnTo>
                  <a:pt x="113" y="350"/>
                </a:lnTo>
                <a:lnTo>
                  <a:pt x="109" y="355"/>
                </a:lnTo>
                <a:lnTo>
                  <a:pt x="106" y="355"/>
                </a:lnTo>
                <a:lnTo>
                  <a:pt x="105" y="353"/>
                </a:lnTo>
                <a:lnTo>
                  <a:pt x="106" y="353"/>
                </a:lnTo>
                <a:lnTo>
                  <a:pt x="103" y="352"/>
                </a:lnTo>
                <a:lnTo>
                  <a:pt x="103" y="351"/>
                </a:lnTo>
                <a:lnTo>
                  <a:pt x="101" y="350"/>
                </a:lnTo>
                <a:lnTo>
                  <a:pt x="95" y="350"/>
                </a:lnTo>
                <a:lnTo>
                  <a:pt x="95" y="349"/>
                </a:lnTo>
                <a:lnTo>
                  <a:pt x="94" y="350"/>
                </a:lnTo>
                <a:lnTo>
                  <a:pt x="94" y="352"/>
                </a:lnTo>
                <a:lnTo>
                  <a:pt x="93" y="352"/>
                </a:lnTo>
                <a:lnTo>
                  <a:pt x="92" y="353"/>
                </a:lnTo>
                <a:lnTo>
                  <a:pt x="91" y="352"/>
                </a:lnTo>
                <a:lnTo>
                  <a:pt x="89" y="352"/>
                </a:lnTo>
                <a:lnTo>
                  <a:pt x="86" y="353"/>
                </a:lnTo>
                <a:lnTo>
                  <a:pt x="85" y="353"/>
                </a:lnTo>
                <a:lnTo>
                  <a:pt x="83" y="355"/>
                </a:lnTo>
                <a:lnTo>
                  <a:pt x="83" y="353"/>
                </a:lnTo>
                <a:lnTo>
                  <a:pt x="82" y="352"/>
                </a:lnTo>
                <a:lnTo>
                  <a:pt x="81" y="352"/>
                </a:lnTo>
                <a:lnTo>
                  <a:pt x="82" y="350"/>
                </a:lnTo>
                <a:lnTo>
                  <a:pt x="81" y="349"/>
                </a:lnTo>
                <a:lnTo>
                  <a:pt x="83" y="346"/>
                </a:lnTo>
                <a:lnTo>
                  <a:pt x="82" y="345"/>
                </a:lnTo>
                <a:lnTo>
                  <a:pt x="82" y="344"/>
                </a:lnTo>
                <a:lnTo>
                  <a:pt x="81" y="343"/>
                </a:lnTo>
                <a:lnTo>
                  <a:pt x="80" y="343"/>
                </a:lnTo>
                <a:lnTo>
                  <a:pt x="79" y="344"/>
                </a:lnTo>
                <a:lnTo>
                  <a:pt x="78" y="343"/>
                </a:lnTo>
                <a:lnTo>
                  <a:pt x="76" y="343"/>
                </a:lnTo>
                <a:lnTo>
                  <a:pt x="75" y="341"/>
                </a:lnTo>
                <a:lnTo>
                  <a:pt x="75" y="339"/>
                </a:lnTo>
                <a:lnTo>
                  <a:pt x="73" y="337"/>
                </a:lnTo>
                <a:lnTo>
                  <a:pt x="74" y="335"/>
                </a:lnTo>
                <a:lnTo>
                  <a:pt x="74" y="334"/>
                </a:lnTo>
                <a:lnTo>
                  <a:pt x="73" y="333"/>
                </a:lnTo>
                <a:lnTo>
                  <a:pt x="73" y="332"/>
                </a:lnTo>
                <a:lnTo>
                  <a:pt x="72" y="332"/>
                </a:lnTo>
                <a:lnTo>
                  <a:pt x="72" y="331"/>
                </a:lnTo>
                <a:lnTo>
                  <a:pt x="70" y="330"/>
                </a:lnTo>
                <a:lnTo>
                  <a:pt x="68" y="328"/>
                </a:lnTo>
                <a:lnTo>
                  <a:pt x="67" y="327"/>
                </a:lnTo>
                <a:lnTo>
                  <a:pt x="66" y="327"/>
                </a:lnTo>
                <a:lnTo>
                  <a:pt x="64" y="328"/>
                </a:lnTo>
                <a:lnTo>
                  <a:pt x="62" y="332"/>
                </a:lnTo>
                <a:lnTo>
                  <a:pt x="61" y="333"/>
                </a:lnTo>
                <a:lnTo>
                  <a:pt x="60" y="333"/>
                </a:lnTo>
                <a:lnTo>
                  <a:pt x="60" y="335"/>
                </a:lnTo>
                <a:lnTo>
                  <a:pt x="58" y="335"/>
                </a:lnTo>
                <a:lnTo>
                  <a:pt x="60" y="337"/>
                </a:lnTo>
                <a:lnTo>
                  <a:pt x="60" y="338"/>
                </a:lnTo>
                <a:lnTo>
                  <a:pt x="62" y="339"/>
                </a:lnTo>
                <a:lnTo>
                  <a:pt x="61" y="339"/>
                </a:lnTo>
                <a:lnTo>
                  <a:pt x="61" y="340"/>
                </a:lnTo>
                <a:lnTo>
                  <a:pt x="60" y="341"/>
                </a:lnTo>
                <a:lnTo>
                  <a:pt x="58" y="341"/>
                </a:lnTo>
                <a:lnTo>
                  <a:pt x="56" y="344"/>
                </a:lnTo>
                <a:lnTo>
                  <a:pt x="57" y="344"/>
                </a:lnTo>
                <a:lnTo>
                  <a:pt x="57" y="345"/>
                </a:lnTo>
                <a:lnTo>
                  <a:pt x="56" y="345"/>
                </a:lnTo>
                <a:lnTo>
                  <a:pt x="56" y="347"/>
                </a:lnTo>
                <a:lnTo>
                  <a:pt x="55" y="349"/>
                </a:lnTo>
                <a:lnTo>
                  <a:pt x="55" y="345"/>
                </a:lnTo>
                <a:lnTo>
                  <a:pt x="54" y="346"/>
                </a:lnTo>
                <a:lnTo>
                  <a:pt x="55" y="349"/>
                </a:lnTo>
                <a:lnTo>
                  <a:pt x="51" y="349"/>
                </a:lnTo>
                <a:lnTo>
                  <a:pt x="51" y="347"/>
                </a:lnTo>
                <a:lnTo>
                  <a:pt x="50" y="347"/>
                </a:lnTo>
                <a:lnTo>
                  <a:pt x="50" y="346"/>
                </a:lnTo>
                <a:lnTo>
                  <a:pt x="49" y="346"/>
                </a:lnTo>
                <a:lnTo>
                  <a:pt x="48" y="347"/>
                </a:lnTo>
                <a:lnTo>
                  <a:pt x="42" y="347"/>
                </a:lnTo>
                <a:lnTo>
                  <a:pt x="42" y="345"/>
                </a:lnTo>
                <a:lnTo>
                  <a:pt x="41" y="345"/>
                </a:lnTo>
                <a:lnTo>
                  <a:pt x="38" y="343"/>
                </a:lnTo>
                <a:lnTo>
                  <a:pt x="32" y="343"/>
                </a:lnTo>
                <a:lnTo>
                  <a:pt x="31" y="341"/>
                </a:lnTo>
                <a:lnTo>
                  <a:pt x="31" y="337"/>
                </a:lnTo>
                <a:lnTo>
                  <a:pt x="30" y="335"/>
                </a:lnTo>
                <a:lnTo>
                  <a:pt x="27" y="335"/>
                </a:lnTo>
                <a:lnTo>
                  <a:pt x="26" y="334"/>
                </a:lnTo>
                <a:lnTo>
                  <a:pt x="26" y="333"/>
                </a:lnTo>
                <a:lnTo>
                  <a:pt x="25" y="331"/>
                </a:lnTo>
                <a:lnTo>
                  <a:pt x="23" y="331"/>
                </a:lnTo>
                <a:lnTo>
                  <a:pt x="22" y="330"/>
                </a:lnTo>
                <a:lnTo>
                  <a:pt x="20" y="327"/>
                </a:lnTo>
                <a:lnTo>
                  <a:pt x="19" y="326"/>
                </a:lnTo>
                <a:lnTo>
                  <a:pt x="19" y="324"/>
                </a:lnTo>
                <a:lnTo>
                  <a:pt x="22" y="322"/>
                </a:lnTo>
                <a:lnTo>
                  <a:pt x="23" y="322"/>
                </a:lnTo>
                <a:lnTo>
                  <a:pt x="23" y="321"/>
                </a:lnTo>
                <a:lnTo>
                  <a:pt x="24" y="320"/>
                </a:lnTo>
                <a:lnTo>
                  <a:pt x="24" y="319"/>
                </a:lnTo>
                <a:lnTo>
                  <a:pt x="25" y="318"/>
                </a:lnTo>
                <a:lnTo>
                  <a:pt x="29" y="319"/>
                </a:lnTo>
                <a:lnTo>
                  <a:pt x="30" y="319"/>
                </a:lnTo>
                <a:lnTo>
                  <a:pt x="32" y="318"/>
                </a:lnTo>
                <a:lnTo>
                  <a:pt x="36" y="314"/>
                </a:lnTo>
                <a:lnTo>
                  <a:pt x="38" y="313"/>
                </a:lnTo>
                <a:lnTo>
                  <a:pt x="38" y="312"/>
                </a:lnTo>
                <a:lnTo>
                  <a:pt x="37" y="312"/>
                </a:lnTo>
                <a:lnTo>
                  <a:pt x="36" y="313"/>
                </a:lnTo>
                <a:lnTo>
                  <a:pt x="35" y="313"/>
                </a:lnTo>
                <a:lnTo>
                  <a:pt x="33" y="312"/>
                </a:lnTo>
                <a:lnTo>
                  <a:pt x="33" y="310"/>
                </a:lnTo>
                <a:lnTo>
                  <a:pt x="32" y="312"/>
                </a:lnTo>
                <a:lnTo>
                  <a:pt x="31" y="310"/>
                </a:lnTo>
                <a:lnTo>
                  <a:pt x="31" y="309"/>
                </a:lnTo>
                <a:lnTo>
                  <a:pt x="30" y="309"/>
                </a:lnTo>
                <a:lnTo>
                  <a:pt x="29" y="308"/>
                </a:lnTo>
                <a:lnTo>
                  <a:pt x="30" y="307"/>
                </a:lnTo>
                <a:lnTo>
                  <a:pt x="29" y="307"/>
                </a:lnTo>
                <a:lnTo>
                  <a:pt x="31" y="306"/>
                </a:lnTo>
                <a:lnTo>
                  <a:pt x="32" y="304"/>
                </a:lnTo>
                <a:lnTo>
                  <a:pt x="33" y="306"/>
                </a:lnTo>
                <a:lnTo>
                  <a:pt x="37" y="306"/>
                </a:lnTo>
                <a:lnTo>
                  <a:pt x="39" y="303"/>
                </a:lnTo>
                <a:lnTo>
                  <a:pt x="44" y="303"/>
                </a:lnTo>
                <a:lnTo>
                  <a:pt x="44" y="300"/>
                </a:lnTo>
                <a:lnTo>
                  <a:pt x="49" y="295"/>
                </a:lnTo>
                <a:lnTo>
                  <a:pt x="49" y="289"/>
                </a:lnTo>
                <a:lnTo>
                  <a:pt x="50" y="289"/>
                </a:lnTo>
                <a:lnTo>
                  <a:pt x="50" y="284"/>
                </a:lnTo>
                <a:lnTo>
                  <a:pt x="51" y="282"/>
                </a:lnTo>
                <a:lnTo>
                  <a:pt x="52" y="282"/>
                </a:lnTo>
                <a:lnTo>
                  <a:pt x="55" y="281"/>
                </a:lnTo>
                <a:lnTo>
                  <a:pt x="56" y="281"/>
                </a:lnTo>
                <a:lnTo>
                  <a:pt x="56" y="279"/>
                </a:lnTo>
                <a:lnTo>
                  <a:pt x="57" y="279"/>
                </a:lnTo>
                <a:lnTo>
                  <a:pt x="57" y="281"/>
                </a:lnTo>
                <a:lnTo>
                  <a:pt x="62" y="281"/>
                </a:lnTo>
                <a:lnTo>
                  <a:pt x="63" y="282"/>
                </a:lnTo>
                <a:lnTo>
                  <a:pt x="64" y="281"/>
                </a:lnTo>
                <a:lnTo>
                  <a:pt x="66" y="281"/>
                </a:lnTo>
                <a:lnTo>
                  <a:pt x="67" y="279"/>
                </a:lnTo>
                <a:lnTo>
                  <a:pt x="67" y="277"/>
                </a:lnTo>
                <a:lnTo>
                  <a:pt x="68" y="276"/>
                </a:lnTo>
                <a:lnTo>
                  <a:pt x="68" y="275"/>
                </a:lnTo>
                <a:lnTo>
                  <a:pt x="69" y="275"/>
                </a:lnTo>
                <a:lnTo>
                  <a:pt x="69" y="270"/>
                </a:lnTo>
                <a:lnTo>
                  <a:pt x="70" y="270"/>
                </a:lnTo>
                <a:lnTo>
                  <a:pt x="72" y="271"/>
                </a:lnTo>
                <a:lnTo>
                  <a:pt x="78" y="271"/>
                </a:lnTo>
                <a:lnTo>
                  <a:pt x="82" y="269"/>
                </a:lnTo>
                <a:lnTo>
                  <a:pt x="86" y="269"/>
                </a:lnTo>
                <a:lnTo>
                  <a:pt x="88" y="266"/>
                </a:lnTo>
                <a:close/>
                <a:moveTo>
                  <a:pt x="98" y="261"/>
                </a:moveTo>
                <a:lnTo>
                  <a:pt x="103" y="261"/>
                </a:lnTo>
                <a:lnTo>
                  <a:pt x="103" y="264"/>
                </a:lnTo>
                <a:lnTo>
                  <a:pt x="101" y="264"/>
                </a:lnTo>
                <a:lnTo>
                  <a:pt x="101" y="263"/>
                </a:lnTo>
                <a:lnTo>
                  <a:pt x="98" y="263"/>
                </a:lnTo>
                <a:lnTo>
                  <a:pt x="98" y="261"/>
                </a:lnTo>
                <a:close/>
                <a:moveTo>
                  <a:pt x="140" y="230"/>
                </a:moveTo>
                <a:lnTo>
                  <a:pt x="141" y="230"/>
                </a:lnTo>
                <a:lnTo>
                  <a:pt x="143" y="232"/>
                </a:lnTo>
                <a:lnTo>
                  <a:pt x="145" y="234"/>
                </a:lnTo>
                <a:lnTo>
                  <a:pt x="145" y="235"/>
                </a:lnTo>
                <a:lnTo>
                  <a:pt x="147" y="240"/>
                </a:lnTo>
                <a:lnTo>
                  <a:pt x="148" y="242"/>
                </a:lnTo>
                <a:lnTo>
                  <a:pt x="148" y="245"/>
                </a:lnTo>
                <a:lnTo>
                  <a:pt x="147" y="245"/>
                </a:lnTo>
                <a:lnTo>
                  <a:pt x="147" y="246"/>
                </a:lnTo>
                <a:lnTo>
                  <a:pt x="148" y="246"/>
                </a:lnTo>
                <a:lnTo>
                  <a:pt x="149" y="247"/>
                </a:lnTo>
                <a:lnTo>
                  <a:pt x="148" y="247"/>
                </a:lnTo>
                <a:lnTo>
                  <a:pt x="148" y="248"/>
                </a:lnTo>
                <a:lnTo>
                  <a:pt x="149" y="249"/>
                </a:lnTo>
                <a:lnTo>
                  <a:pt x="149" y="251"/>
                </a:lnTo>
                <a:lnTo>
                  <a:pt x="148" y="252"/>
                </a:lnTo>
                <a:lnTo>
                  <a:pt x="143" y="252"/>
                </a:lnTo>
                <a:lnTo>
                  <a:pt x="141" y="251"/>
                </a:lnTo>
                <a:lnTo>
                  <a:pt x="140" y="251"/>
                </a:lnTo>
                <a:lnTo>
                  <a:pt x="137" y="248"/>
                </a:lnTo>
                <a:lnTo>
                  <a:pt x="137" y="244"/>
                </a:lnTo>
                <a:lnTo>
                  <a:pt x="136" y="242"/>
                </a:lnTo>
                <a:lnTo>
                  <a:pt x="136" y="241"/>
                </a:lnTo>
                <a:lnTo>
                  <a:pt x="135" y="239"/>
                </a:lnTo>
                <a:lnTo>
                  <a:pt x="136" y="236"/>
                </a:lnTo>
                <a:lnTo>
                  <a:pt x="136" y="235"/>
                </a:lnTo>
                <a:lnTo>
                  <a:pt x="137" y="233"/>
                </a:lnTo>
                <a:lnTo>
                  <a:pt x="138" y="232"/>
                </a:lnTo>
                <a:lnTo>
                  <a:pt x="140" y="232"/>
                </a:lnTo>
                <a:lnTo>
                  <a:pt x="140" y="230"/>
                </a:lnTo>
                <a:close/>
                <a:moveTo>
                  <a:pt x="150" y="229"/>
                </a:moveTo>
                <a:lnTo>
                  <a:pt x="151" y="229"/>
                </a:lnTo>
                <a:lnTo>
                  <a:pt x="151" y="230"/>
                </a:lnTo>
                <a:lnTo>
                  <a:pt x="150" y="230"/>
                </a:lnTo>
                <a:lnTo>
                  <a:pt x="150" y="229"/>
                </a:lnTo>
                <a:close/>
                <a:moveTo>
                  <a:pt x="143" y="216"/>
                </a:moveTo>
                <a:lnTo>
                  <a:pt x="145" y="216"/>
                </a:lnTo>
                <a:lnTo>
                  <a:pt x="148" y="218"/>
                </a:lnTo>
                <a:lnTo>
                  <a:pt x="149" y="218"/>
                </a:lnTo>
                <a:lnTo>
                  <a:pt x="149" y="221"/>
                </a:lnTo>
                <a:lnTo>
                  <a:pt x="150" y="221"/>
                </a:lnTo>
                <a:lnTo>
                  <a:pt x="150" y="223"/>
                </a:lnTo>
                <a:lnTo>
                  <a:pt x="151" y="224"/>
                </a:lnTo>
                <a:lnTo>
                  <a:pt x="151" y="228"/>
                </a:lnTo>
                <a:lnTo>
                  <a:pt x="150" y="229"/>
                </a:lnTo>
                <a:lnTo>
                  <a:pt x="147" y="226"/>
                </a:lnTo>
                <a:lnTo>
                  <a:pt x="147" y="222"/>
                </a:lnTo>
                <a:lnTo>
                  <a:pt x="144" y="221"/>
                </a:lnTo>
                <a:lnTo>
                  <a:pt x="144" y="218"/>
                </a:lnTo>
                <a:lnTo>
                  <a:pt x="143" y="217"/>
                </a:lnTo>
                <a:lnTo>
                  <a:pt x="143" y="216"/>
                </a:lnTo>
                <a:close/>
                <a:moveTo>
                  <a:pt x="103" y="215"/>
                </a:moveTo>
                <a:lnTo>
                  <a:pt x="105" y="215"/>
                </a:lnTo>
                <a:lnTo>
                  <a:pt x="105" y="222"/>
                </a:lnTo>
                <a:lnTo>
                  <a:pt x="106" y="224"/>
                </a:lnTo>
                <a:lnTo>
                  <a:pt x="106" y="227"/>
                </a:lnTo>
                <a:lnTo>
                  <a:pt x="107" y="227"/>
                </a:lnTo>
                <a:lnTo>
                  <a:pt x="107" y="230"/>
                </a:lnTo>
                <a:lnTo>
                  <a:pt x="109" y="230"/>
                </a:lnTo>
                <a:lnTo>
                  <a:pt x="109" y="234"/>
                </a:lnTo>
                <a:lnTo>
                  <a:pt x="107" y="234"/>
                </a:lnTo>
                <a:lnTo>
                  <a:pt x="107" y="235"/>
                </a:lnTo>
                <a:lnTo>
                  <a:pt x="106" y="236"/>
                </a:lnTo>
                <a:lnTo>
                  <a:pt x="105" y="236"/>
                </a:lnTo>
                <a:lnTo>
                  <a:pt x="104" y="238"/>
                </a:lnTo>
                <a:lnTo>
                  <a:pt x="100" y="238"/>
                </a:lnTo>
                <a:lnTo>
                  <a:pt x="100" y="240"/>
                </a:lnTo>
                <a:lnTo>
                  <a:pt x="99" y="241"/>
                </a:lnTo>
                <a:lnTo>
                  <a:pt x="97" y="241"/>
                </a:lnTo>
                <a:lnTo>
                  <a:pt x="97" y="238"/>
                </a:lnTo>
                <a:lnTo>
                  <a:pt x="99" y="235"/>
                </a:lnTo>
                <a:lnTo>
                  <a:pt x="99" y="233"/>
                </a:lnTo>
                <a:lnTo>
                  <a:pt x="98" y="232"/>
                </a:lnTo>
                <a:lnTo>
                  <a:pt x="97" y="232"/>
                </a:lnTo>
                <a:lnTo>
                  <a:pt x="97" y="230"/>
                </a:lnTo>
                <a:lnTo>
                  <a:pt x="98" y="228"/>
                </a:lnTo>
                <a:lnTo>
                  <a:pt x="99" y="227"/>
                </a:lnTo>
                <a:lnTo>
                  <a:pt x="98" y="226"/>
                </a:lnTo>
                <a:lnTo>
                  <a:pt x="95" y="226"/>
                </a:lnTo>
                <a:lnTo>
                  <a:pt x="95" y="227"/>
                </a:lnTo>
                <a:lnTo>
                  <a:pt x="94" y="229"/>
                </a:lnTo>
                <a:lnTo>
                  <a:pt x="92" y="232"/>
                </a:lnTo>
                <a:lnTo>
                  <a:pt x="91" y="234"/>
                </a:lnTo>
                <a:lnTo>
                  <a:pt x="88" y="234"/>
                </a:lnTo>
                <a:lnTo>
                  <a:pt x="88" y="233"/>
                </a:lnTo>
                <a:lnTo>
                  <a:pt x="89" y="232"/>
                </a:lnTo>
                <a:lnTo>
                  <a:pt x="88" y="230"/>
                </a:lnTo>
                <a:lnTo>
                  <a:pt x="89" y="229"/>
                </a:lnTo>
                <a:lnTo>
                  <a:pt x="91" y="227"/>
                </a:lnTo>
                <a:lnTo>
                  <a:pt x="89" y="226"/>
                </a:lnTo>
                <a:lnTo>
                  <a:pt x="91" y="224"/>
                </a:lnTo>
                <a:lnTo>
                  <a:pt x="91" y="221"/>
                </a:lnTo>
                <a:lnTo>
                  <a:pt x="95" y="218"/>
                </a:lnTo>
                <a:lnTo>
                  <a:pt x="97" y="218"/>
                </a:lnTo>
                <a:lnTo>
                  <a:pt x="95" y="221"/>
                </a:lnTo>
                <a:lnTo>
                  <a:pt x="95" y="223"/>
                </a:lnTo>
                <a:lnTo>
                  <a:pt x="97" y="223"/>
                </a:lnTo>
                <a:lnTo>
                  <a:pt x="97" y="222"/>
                </a:lnTo>
                <a:lnTo>
                  <a:pt x="98" y="220"/>
                </a:lnTo>
                <a:lnTo>
                  <a:pt x="101" y="216"/>
                </a:lnTo>
                <a:lnTo>
                  <a:pt x="103" y="216"/>
                </a:lnTo>
                <a:lnTo>
                  <a:pt x="103" y="215"/>
                </a:lnTo>
                <a:close/>
                <a:moveTo>
                  <a:pt x="103" y="201"/>
                </a:moveTo>
                <a:lnTo>
                  <a:pt x="104" y="201"/>
                </a:lnTo>
                <a:lnTo>
                  <a:pt x="104" y="202"/>
                </a:lnTo>
                <a:lnTo>
                  <a:pt x="103" y="204"/>
                </a:lnTo>
                <a:lnTo>
                  <a:pt x="103" y="206"/>
                </a:lnTo>
                <a:lnTo>
                  <a:pt x="101" y="208"/>
                </a:lnTo>
                <a:lnTo>
                  <a:pt x="99" y="208"/>
                </a:lnTo>
                <a:lnTo>
                  <a:pt x="99" y="205"/>
                </a:lnTo>
                <a:lnTo>
                  <a:pt x="101" y="203"/>
                </a:lnTo>
                <a:lnTo>
                  <a:pt x="101" y="202"/>
                </a:lnTo>
                <a:lnTo>
                  <a:pt x="103" y="202"/>
                </a:lnTo>
                <a:lnTo>
                  <a:pt x="103" y="201"/>
                </a:lnTo>
                <a:close/>
                <a:moveTo>
                  <a:pt x="122" y="198"/>
                </a:moveTo>
                <a:lnTo>
                  <a:pt x="123" y="198"/>
                </a:lnTo>
                <a:lnTo>
                  <a:pt x="123" y="202"/>
                </a:lnTo>
                <a:lnTo>
                  <a:pt x="120" y="204"/>
                </a:lnTo>
                <a:lnTo>
                  <a:pt x="119" y="208"/>
                </a:lnTo>
                <a:lnTo>
                  <a:pt x="116" y="215"/>
                </a:lnTo>
                <a:lnTo>
                  <a:pt x="114" y="218"/>
                </a:lnTo>
                <a:lnTo>
                  <a:pt x="113" y="220"/>
                </a:lnTo>
                <a:lnTo>
                  <a:pt x="112" y="220"/>
                </a:lnTo>
                <a:lnTo>
                  <a:pt x="112" y="223"/>
                </a:lnTo>
                <a:lnTo>
                  <a:pt x="111" y="224"/>
                </a:lnTo>
                <a:lnTo>
                  <a:pt x="111" y="226"/>
                </a:lnTo>
                <a:lnTo>
                  <a:pt x="109" y="226"/>
                </a:lnTo>
                <a:lnTo>
                  <a:pt x="107" y="224"/>
                </a:lnTo>
                <a:lnTo>
                  <a:pt x="106" y="222"/>
                </a:lnTo>
                <a:lnTo>
                  <a:pt x="106" y="216"/>
                </a:lnTo>
                <a:lnTo>
                  <a:pt x="107" y="216"/>
                </a:lnTo>
                <a:lnTo>
                  <a:pt x="110" y="214"/>
                </a:lnTo>
                <a:lnTo>
                  <a:pt x="113" y="212"/>
                </a:lnTo>
                <a:lnTo>
                  <a:pt x="114" y="211"/>
                </a:lnTo>
                <a:lnTo>
                  <a:pt x="113" y="211"/>
                </a:lnTo>
                <a:lnTo>
                  <a:pt x="112" y="212"/>
                </a:lnTo>
                <a:lnTo>
                  <a:pt x="111" y="212"/>
                </a:lnTo>
                <a:lnTo>
                  <a:pt x="110" y="211"/>
                </a:lnTo>
                <a:lnTo>
                  <a:pt x="111" y="209"/>
                </a:lnTo>
                <a:lnTo>
                  <a:pt x="112" y="208"/>
                </a:lnTo>
                <a:lnTo>
                  <a:pt x="113" y="205"/>
                </a:lnTo>
                <a:lnTo>
                  <a:pt x="116" y="204"/>
                </a:lnTo>
                <a:lnTo>
                  <a:pt x="122" y="198"/>
                </a:lnTo>
                <a:close/>
                <a:moveTo>
                  <a:pt x="123" y="195"/>
                </a:moveTo>
                <a:lnTo>
                  <a:pt x="124" y="196"/>
                </a:lnTo>
                <a:lnTo>
                  <a:pt x="123" y="197"/>
                </a:lnTo>
                <a:lnTo>
                  <a:pt x="122" y="197"/>
                </a:lnTo>
                <a:lnTo>
                  <a:pt x="120" y="198"/>
                </a:lnTo>
                <a:lnTo>
                  <a:pt x="120" y="197"/>
                </a:lnTo>
                <a:lnTo>
                  <a:pt x="123" y="195"/>
                </a:lnTo>
                <a:close/>
                <a:moveTo>
                  <a:pt x="125" y="190"/>
                </a:moveTo>
                <a:lnTo>
                  <a:pt x="126" y="190"/>
                </a:lnTo>
                <a:lnTo>
                  <a:pt x="126" y="192"/>
                </a:lnTo>
                <a:lnTo>
                  <a:pt x="125" y="193"/>
                </a:lnTo>
                <a:lnTo>
                  <a:pt x="125" y="195"/>
                </a:lnTo>
                <a:lnTo>
                  <a:pt x="124" y="193"/>
                </a:lnTo>
                <a:lnTo>
                  <a:pt x="124" y="192"/>
                </a:lnTo>
                <a:lnTo>
                  <a:pt x="125" y="191"/>
                </a:lnTo>
                <a:lnTo>
                  <a:pt x="125" y="190"/>
                </a:lnTo>
                <a:close/>
                <a:moveTo>
                  <a:pt x="129" y="178"/>
                </a:moveTo>
                <a:lnTo>
                  <a:pt x="131" y="178"/>
                </a:lnTo>
                <a:lnTo>
                  <a:pt x="129" y="180"/>
                </a:lnTo>
                <a:lnTo>
                  <a:pt x="128" y="180"/>
                </a:lnTo>
                <a:lnTo>
                  <a:pt x="128" y="179"/>
                </a:lnTo>
                <a:lnTo>
                  <a:pt x="129" y="178"/>
                </a:lnTo>
                <a:close/>
                <a:moveTo>
                  <a:pt x="99" y="172"/>
                </a:moveTo>
                <a:lnTo>
                  <a:pt x="101" y="172"/>
                </a:lnTo>
                <a:lnTo>
                  <a:pt x="103" y="173"/>
                </a:lnTo>
                <a:lnTo>
                  <a:pt x="103" y="174"/>
                </a:lnTo>
                <a:lnTo>
                  <a:pt x="100" y="174"/>
                </a:lnTo>
                <a:lnTo>
                  <a:pt x="99" y="173"/>
                </a:lnTo>
                <a:lnTo>
                  <a:pt x="99" y="172"/>
                </a:lnTo>
                <a:close/>
                <a:moveTo>
                  <a:pt x="78" y="168"/>
                </a:moveTo>
                <a:lnTo>
                  <a:pt x="79" y="168"/>
                </a:lnTo>
                <a:lnTo>
                  <a:pt x="79" y="171"/>
                </a:lnTo>
                <a:lnTo>
                  <a:pt x="76" y="171"/>
                </a:lnTo>
                <a:lnTo>
                  <a:pt x="76" y="172"/>
                </a:lnTo>
                <a:lnTo>
                  <a:pt x="75" y="173"/>
                </a:lnTo>
                <a:lnTo>
                  <a:pt x="73" y="173"/>
                </a:lnTo>
                <a:lnTo>
                  <a:pt x="73" y="177"/>
                </a:lnTo>
                <a:lnTo>
                  <a:pt x="72" y="177"/>
                </a:lnTo>
                <a:lnTo>
                  <a:pt x="69" y="175"/>
                </a:lnTo>
                <a:lnTo>
                  <a:pt x="69" y="174"/>
                </a:lnTo>
                <a:lnTo>
                  <a:pt x="68" y="173"/>
                </a:lnTo>
                <a:lnTo>
                  <a:pt x="68" y="172"/>
                </a:lnTo>
                <a:lnTo>
                  <a:pt x="69" y="171"/>
                </a:lnTo>
                <a:lnTo>
                  <a:pt x="73" y="171"/>
                </a:lnTo>
                <a:lnTo>
                  <a:pt x="74" y="169"/>
                </a:lnTo>
                <a:lnTo>
                  <a:pt x="75" y="169"/>
                </a:lnTo>
                <a:lnTo>
                  <a:pt x="78" y="168"/>
                </a:lnTo>
                <a:close/>
                <a:moveTo>
                  <a:pt x="104" y="160"/>
                </a:moveTo>
                <a:lnTo>
                  <a:pt x="105" y="160"/>
                </a:lnTo>
                <a:lnTo>
                  <a:pt x="107" y="161"/>
                </a:lnTo>
                <a:lnTo>
                  <a:pt x="107" y="162"/>
                </a:lnTo>
                <a:lnTo>
                  <a:pt x="109" y="162"/>
                </a:lnTo>
                <a:lnTo>
                  <a:pt x="110" y="165"/>
                </a:lnTo>
                <a:lnTo>
                  <a:pt x="111" y="168"/>
                </a:lnTo>
                <a:lnTo>
                  <a:pt x="111" y="169"/>
                </a:lnTo>
                <a:lnTo>
                  <a:pt x="116" y="169"/>
                </a:lnTo>
                <a:lnTo>
                  <a:pt x="117" y="171"/>
                </a:lnTo>
                <a:lnTo>
                  <a:pt x="119" y="171"/>
                </a:lnTo>
                <a:lnTo>
                  <a:pt x="119" y="172"/>
                </a:lnTo>
                <a:lnTo>
                  <a:pt x="120" y="173"/>
                </a:lnTo>
                <a:lnTo>
                  <a:pt x="122" y="173"/>
                </a:lnTo>
                <a:lnTo>
                  <a:pt x="123" y="174"/>
                </a:lnTo>
                <a:lnTo>
                  <a:pt x="123" y="175"/>
                </a:lnTo>
                <a:lnTo>
                  <a:pt x="125" y="175"/>
                </a:lnTo>
                <a:lnTo>
                  <a:pt x="124" y="178"/>
                </a:lnTo>
                <a:lnTo>
                  <a:pt x="124" y="177"/>
                </a:lnTo>
                <a:lnTo>
                  <a:pt x="123" y="177"/>
                </a:lnTo>
                <a:lnTo>
                  <a:pt x="123" y="178"/>
                </a:lnTo>
                <a:lnTo>
                  <a:pt x="124" y="178"/>
                </a:lnTo>
                <a:lnTo>
                  <a:pt x="124" y="180"/>
                </a:lnTo>
                <a:lnTo>
                  <a:pt x="122" y="180"/>
                </a:lnTo>
                <a:lnTo>
                  <a:pt x="122" y="178"/>
                </a:lnTo>
                <a:lnTo>
                  <a:pt x="120" y="178"/>
                </a:lnTo>
                <a:lnTo>
                  <a:pt x="120" y="180"/>
                </a:lnTo>
                <a:lnTo>
                  <a:pt x="119" y="181"/>
                </a:lnTo>
                <a:lnTo>
                  <a:pt x="123" y="181"/>
                </a:lnTo>
                <a:lnTo>
                  <a:pt x="123" y="183"/>
                </a:lnTo>
                <a:lnTo>
                  <a:pt x="122" y="183"/>
                </a:lnTo>
                <a:lnTo>
                  <a:pt x="118" y="186"/>
                </a:lnTo>
                <a:lnTo>
                  <a:pt x="116" y="186"/>
                </a:lnTo>
                <a:lnTo>
                  <a:pt x="114" y="185"/>
                </a:lnTo>
                <a:lnTo>
                  <a:pt x="116" y="185"/>
                </a:lnTo>
                <a:lnTo>
                  <a:pt x="116" y="183"/>
                </a:lnTo>
                <a:lnTo>
                  <a:pt x="114" y="183"/>
                </a:lnTo>
                <a:lnTo>
                  <a:pt x="114" y="184"/>
                </a:lnTo>
                <a:lnTo>
                  <a:pt x="113" y="184"/>
                </a:lnTo>
                <a:lnTo>
                  <a:pt x="113" y="185"/>
                </a:lnTo>
                <a:lnTo>
                  <a:pt x="112" y="185"/>
                </a:lnTo>
                <a:lnTo>
                  <a:pt x="109" y="186"/>
                </a:lnTo>
                <a:lnTo>
                  <a:pt x="107" y="187"/>
                </a:lnTo>
                <a:lnTo>
                  <a:pt x="105" y="187"/>
                </a:lnTo>
                <a:lnTo>
                  <a:pt x="104" y="189"/>
                </a:lnTo>
                <a:lnTo>
                  <a:pt x="99" y="189"/>
                </a:lnTo>
                <a:lnTo>
                  <a:pt x="99" y="190"/>
                </a:lnTo>
                <a:lnTo>
                  <a:pt x="97" y="190"/>
                </a:lnTo>
                <a:lnTo>
                  <a:pt x="95" y="189"/>
                </a:lnTo>
                <a:lnTo>
                  <a:pt x="95" y="187"/>
                </a:lnTo>
                <a:lnTo>
                  <a:pt x="94" y="187"/>
                </a:lnTo>
                <a:lnTo>
                  <a:pt x="94" y="184"/>
                </a:lnTo>
                <a:lnTo>
                  <a:pt x="98" y="184"/>
                </a:lnTo>
                <a:lnTo>
                  <a:pt x="98" y="185"/>
                </a:lnTo>
                <a:lnTo>
                  <a:pt x="99" y="185"/>
                </a:lnTo>
                <a:lnTo>
                  <a:pt x="99" y="186"/>
                </a:lnTo>
                <a:lnTo>
                  <a:pt x="100" y="186"/>
                </a:lnTo>
                <a:lnTo>
                  <a:pt x="100" y="185"/>
                </a:lnTo>
                <a:lnTo>
                  <a:pt x="99" y="185"/>
                </a:lnTo>
                <a:lnTo>
                  <a:pt x="100" y="184"/>
                </a:lnTo>
                <a:lnTo>
                  <a:pt x="101" y="185"/>
                </a:lnTo>
                <a:lnTo>
                  <a:pt x="103" y="184"/>
                </a:lnTo>
                <a:lnTo>
                  <a:pt x="104" y="184"/>
                </a:lnTo>
                <a:lnTo>
                  <a:pt x="109" y="181"/>
                </a:lnTo>
                <a:lnTo>
                  <a:pt x="109" y="180"/>
                </a:lnTo>
                <a:lnTo>
                  <a:pt x="107" y="180"/>
                </a:lnTo>
                <a:lnTo>
                  <a:pt x="105" y="183"/>
                </a:lnTo>
                <a:lnTo>
                  <a:pt x="103" y="183"/>
                </a:lnTo>
                <a:lnTo>
                  <a:pt x="101" y="181"/>
                </a:lnTo>
                <a:lnTo>
                  <a:pt x="101" y="180"/>
                </a:lnTo>
                <a:lnTo>
                  <a:pt x="104" y="178"/>
                </a:lnTo>
                <a:lnTo>
                  <a:pt x="104" y="177"/>
                </a:lnTo>
                <a:lnTo>
                  <a:pt x="105" y="175"/>
                </a:lnTo>
                <a:lnTo>
                  <a:pt x="106" y="175"/>
                </a:lnTo>
                <a:lnTo>
                  <a:pt x="109" y="174"/>
                </a:lnTo>
                <a:lnTo>
                  <a:pt x="110" y="174"/>
                </a:lnTo>
                <a:lnTo>
                  <a:pt x="110" y="172"/>
                </a:lnTo>
                <a:lnTo>
                  <a:pt x="109" y="172"/>
                </a:lnTo>
                <a:lnTo>
                  <a:pt x="106" y="173"/>
                </a:lnTo>
                <a:lnTo>
                  <a:pt x="105" y="173"/>
                </a:lnTo>
                <a:lnTo>
                  <a:pt x="105" y="174"/>
                </a:lnTo>
                <a:lnTo>
                  <a:pt x="104" y="173"/>
                </a:lnTo>
                <a:lnTo>
                  <a:pt x="104" y="172"/>
                </a:lnTo>
                <a:lnTo>
                  <a:pt x="101" y="169"/>
                </a:lnTo>
                <a:lnTo>
                  <a:pt x="97" y="169"/>
                </a:lnTo>
                <a:lnTo>
                  <a:pt x="97" y="168"/>
                </a:lnTo>
                <a:lnTo>
                  <a:pt x="95" y="168"/>
                </a:lnTo>
                <a:lnTo>
                  <a:pt x="98" y="166"/>
                </a:lnTo>
                <a:lnTo>
                  <a:pt x="97" y="166"/>
                </a:lnTo>
                <a:lnTo>
                  <a:pt x="97" y="163"/>
                </a:lnTo>
                <a:lnTo>
                  <a:pt x="98" y="163"/>
                </a:lnTo>
                <a:lnTo>
                  <a:pt x="99" y="162"/>
                </a:lnTo>
                <a:lnTo>
                  <a:pt x="99" y="163"/>
                </a:lnTo>
                <a:lnTo>
                  <a:pt x="100" y="163"/>
                </a:lnTo>
                <a:lnTo>
                  <a:pt x="100" y="161"/>
                </a:lnTo>
                <a:lnTo>
                  <a:pt x="101" y="161"/>
                </a:lnTo>
                <a:lnTo>
                  <a:pt x="104" y="160"/>
                </a:lnTo>
                <a:close/>
                <a:moveTo>
                  <a:pt x="88" y="158"/>
                </a:moveTo>
                <a:lnTo>
                  <a:pt x="91" y="158"/>
                </a:lnTo>
                <a:lnTo>
                  <a:pt x="91" y="159"/>
                </a:lnTo>
                <a:lnTo>
                  <a:pt x="89" y="159"/>
                </a:lnTo>
                <a:lnTo>
                  <a:pt x="89" y="161"/>
                </a:lnTo>
                <a:lnTo>
                  <a:pt x="88" y="161"/>
                </a:lnTo>
                <a:lnTo>
                  <a:pt x="88" y="162"/>
                </a:lnTo>
                <a:lnTo>
                  <a:pt x="87" y="162"/>
                </a:lnTo>
                <a:lnTo>
                  <a:pt x="86" y="165"/>
                </a:lnTo>
                <a:lnTo>
                  <a:pt x="83" y="166"/>
                </a:lnTo>
                <a:lnTo>
                  <a:pt x="81" y="166"/>
                </a:lnTo>
                <a:lnTo>
                  <a:pt x="81" y="167"/>
                </a:lnTo>
                <a:lnTo>
                  <a:pt x="80" y="166"/>
                </a:lnTo>
                <a:lnTo>
                  <a:pt x="80" y="165"/>
                </a:lnTo>
                <a:lnTo>
                  <a:pt x="81" y="165"/>
                </a:lnTo>
                <a:lnTo>
                  <a:pt x="85" y="161"/>
                </a:lnTo>
                <a:lnTo>
                  <a:pt x="85" y="160"/>
                </a:lnTo>
                <a:lnTo>
                  <a:pt x="86" y="159"/>
                </a:lnTo>
                <a:lnTo>
                  <a:pt x="87" y="159"/>
                </a:lnTo>
                <a:lnTo>
                  <a:pt x="88" y="158"/>
                </a:lnTo>
                <a:close/>
                <a:moveTo>
                  <a:pt x="129" y="156"/>
                </a:moveTo>
                <a:lnTo>
                  <a:pt x="125" y="158"/>
                </a:lnTo>
                <a:lnTo>
                  <a:pt x="128" y="158"/>
                </a:lnTo>
                <a:lnTo>
                  <a:pt x="129" y="156"/>
                </a:lnTo>
                <a:close/>
                <a:moveTo>
                  <a:pt x="94" y="129"/>
                </a:moveTo>
                <a:lnTo>
                  <a:pt x="97" y="129"/>
                </a:lnTo>
                <a:lnTo>
                  <a:pt x="99" y="131"/>
                </a:lnTo>
                <a:lnTo>
                  <a:pt x="99" y="135"/>
                </a:lnTo>
                <a:lnTo>
                  <a:pt x="98" y="137"/>
                </a:lnTo>
                <a:lnTo>
                  <a:pt x="97" y="137"/>
                </a:lnTo>
                <a:lnTo>
                  <a:pt x="95" y="138"/>
                </a:lnTo>
                <a:lnTo>
                  <a:pt x="94" y="137"/>
                </a:lnTo>
                <a:lnTo>
                  <a:pt x="94" y="136"/>
                </a:lnTo>
                <a:lnTo>
                  <a:pt x="91" y="132"/>
                </a:lnTo>
                <a:lnTo>
                  <a:pt x="94" y="129"/>
                </a:lnTo>
                <a:close/>
                <a:moveTo>
                  <a:pt x="49" y="129"/>
                </a:moveTo>
                <a:lnTo>
                  <a:pt x="50" y="129"/>
                </a:lnTo>
                <a:lnTo>
                  <a:pt x="50" y="130"/>
                </a:lnTo>
                <a:lnTo>
                  <a:pt x="49" y="131"/>
                </a:lnTo>
                <a:lnTo>
                  <a:pt x="50" y="132"/>
                </a:lnTo>
                <a:lnTo>
                  <a:pt x="51" y="132"/>
                </a:lnTo>
                <a:lnTo>
                  <a:pt x="51" y="135"/>
                </a:lnTo>
                <a:lnTo>
                  <a:pt x="50" y="135"/>
                </a:lnTo>
                <a:lnTo>
                  <a:pt x="50" y="136"/>
                </a:lnTo>
                <a:lnTo>
                  <a:pt x="49" y="136"/>
                </a:lnTo>
                <a:lnTo>
                  <a:pt x="49" y="137"/>
                </a:lnTo>
                <a:lnTo>
                  <a:pt x="48" y="137"/>
                </a:lnTo>
                <a:lnTo>
                  <a:pt x="48" y="138"/>
                </a:lnTo>
                <a:lnTo>
                  <a:pt x="45" y="137"/>
                </a:lnTo>
                <a:lnTo>
                  <a:pt x="44" y="137"/>
                </a:lnTo>
                <a:lnTo>
                  <a:pt x="44" y="136"/>
                </a:lnTo>
                <a:lnTo>
                  <a:pt x="47" y="134"/>
                </a:lnTo>
                <a:lnTo>
                  <a:pt x="45" y="134"/>
                </a:lnTo>
                <a:lnTo>
                  <a:pt x="45" y="132"/>
                </a:lnTo>
                <a:lnTo>
                  <a:pt x="47" y="131"/>
                </a:lnTo>
                <a:lnTo>
                  <a:pt x="48" y="131"/>
                </a:lnTo>
                <a:lnTo>
                  <a:pt x="49" y="129"/>
                </a:lnTo>
                <a:close/>
                <a:moveTo>
                  <a:pt x="86" y="128"/>
                </a:moveTo>
                <a:lnTo>
                  <a:pt x="87" y="128"/>
                </a:lnTo>
                <a:lnTo>
                  <a:pt x="88" y="129"/>
                </a:lnTo>
                <a:lnTo>
                  <a:pt x="87" y="130"/>
                </a:lnTo>
                <a:lnTo>
                  <a:pt x="86" y="130"/>
                </a:lnTo>
                <a:lnTo>
                  <a:pt x="85" y="129"/>
                </a:lnTo>
                <a:lnTo>
                  <a:pt x="86" y="128"/>
                </a:lnTo>
                <a:close/>
                <a:moveTo>
                  <a:pt x="131" y="124"/>
                </a:moveTo>
                <a:lnTo>
                  <a:pt x="130" y="125"/>
                </a:lnTo>
                <a:lnTo>
                  <a:pt x="135" y="125"/>
                </a:lnTo>
                <a:lnTo>
                  <a:pt x="135" y="124"/>
                </a:lnTo>
                <a:lnTo>
                  <a:pt x="131" y="124"/>
                </a:lnTo>
                <a:close/>
                <a:moveTo>
                  <a:pt x="110" y="109"/>
                </a:moveTo>
                <a:lnTo>
                  <a:pt x="112" y="109"/>
                </a:lnTo>
                <a:lnTo>
                  <a:pt x="113" y="110"/>
                </a:lnTo>
                <a:lnTo>
                  <a:pt x="113" y="111"/>
                </a:lnTo>
                <a:lnTo>
                  <a:pt x="111" y="111"/>
                </a:lnTo>
                <a:lnTo>
                  <a:pt x="110" y="110"/>
                </a:lnTo>
                <a:lnTo>
                  <a:pt x="110" y="109"/>
                </a:lnTo>
                <a:close/>
                <a:moveTo>
                  <a:pt x="103" y="101"/>
                </a:moveTo>
                <a:lnTo>
                  <a:pt x="101" y="103"/>
                </a:lnTo>
                <a:lnTo>
                  <a:pt x="103" y="103"/>
                </a:lnTo>
                <a:lnTo>
                  <a:pt x="103" y="101"/>
                </a:lnTo>
                <a:close/>
                <a:moveTo>
                  <a:pt x="52" y="101"/>
                </a:moveTo>
                <a:lnTo>
                  <a:pt x="56" y="104"/>
                </a:lnTo>
                <a:lnTo>
                  <a:pt x="56" y="105"/>
                </a:lnTo>
                <a:lnTo>
                  <a:pt x="55" y="104"/>
                </a:lnTo>
                <a:lnTo>
                  <a:pt x="55" y="105"/>
                </a:lnTo>
                <a:lnTo>
                  <a:pt x="56" y="105"/>
                </a:lnTo>
                <a:lnTo>
                  <a:pt x="57" y="106"/>
                </a:lnTo>
                <a:lnTo>
                  <a:pt x="58" y="106"/>
                </a:lnTo>
                <a:lnTo>
                  <a:pt x="58" y="107"/>
                </a:lnTo>
                <a:lnTo>
                  <a:pt x="56" y="107"/>
                </a:lnTo>
                <a:lnTo>
                  <a:pt x="52" y="104"/>
                </a:lnTo>
                <a:lnTo>
                  <a:pt x="52" y="103"/>
                </a:lnTo>
                <a:lnTo>
                  <a:pt x="51" y="104"/>
                </a:lnTo>
                <a:lnTo>
                  <a:pt x="51" y="105"/>
                </a:lnTo>
                <a:lnTo>
                  <a:pt x="52" y="106"/>
                </a:lnTo>
                <a:lnTo>
                  <a:pt x="54" y="106"/>
                </a:lnTo>
                <a:lnTo>
                  <a:pt x="55" y="107"/>
                </a:lnTo>
                <a:lnTo>
                  <a:pt x="56" y="107"/>
                </a:lnTo>
                <a:lnTo>
                  <a:pt x="58" y="110"/>
                </a:lnTo>
                <a:lnTo>
                  <a:pt x="60" y="110"/>
                </a:lnTo>
                <a:lnTo>
                  <a:pt x="60" y="111"/>
                </a:lnTo>
                <a:lnTo>
                  <a:pt x="58" y="111"/>
                </a:lnTo>
                <a:lnTo>
                  <a:pt x="57" y="112"/>
                </a:lnTo>
                <a:lnTo>
                  <a:pt x="57" y="115"/>
                </a:lnTo>
                <a:lnTo>
                  <a:pt x="56" y="116"/>
                </a:lnTo>
                <a:lnTo>
                  <a:pt x="52" y="115"/>
                </a:lnTo>
                <a:lnTo>
                  <a:pt x="55" y="116"/>
                </a:lnTo>
                <a:lnTo>
                  <a:pt x="56" y="117"/>
                </a:lnTo>
                <a:lnTo>
                  <a:pt x="56" y="118"/>
                </a:lnTo>
                <a:lnTo>
                  <a:pt x="57" y="119"/>
                </a:lnTo>
                <a:lnTo>
                  <a:pt x="56" y="120"/>
                </a:lnTo>
                <a:lnTo>
                  <a:pt x="56" y="123"/>
                </a:lnTo>
                <a:lnTo>
                  <a:pt x="57" y="123"/>
                </a:lnTo>
                <a:lnTo>
                  <a:pt x="57" y="124"/>
                </a:lnTo>
                <a:lnTo>
                  <a:pt x="58" y="124"/>
                </a:lnTo>
                <a:lnTo>
                  <a:pt x="57" y="125"/>
                </a:lnTo>
                <a:lnTo>
                  <a:pt x="52" y="125"/>
                </a:lnTo>
                <a:lnTo>
                  <a:pt x="51" y="124"/>
                </a:lnTo>
                <a:lnTo>
                  <a:pt x="51" y="123"/>
                </a:lnTo>
                <a:lnTo>
                  <a:pt x="50" y="119"/>
                </a:lnTo>
                <a:lnTo>
                  <a:pt x="50" y="117"/>
                </a:lnTo>
                <a:lnTo>
                  <a:pt x="49" y="116"/>
                </a:lnTo>
                <a:lnTo>
                  <a:pt x="49" y="113"/>
                </a:lnTo>
                <a:lnTo>
                  <a:pt x="50" y="112"/>
                </a:lnTo>
                <a:lnTo>
                  <a:pt x="50" y="110"/>
                </a:lnTo>
                <a:lnTo>
                  <a:pt x="51" y="110"/>
                </a:lnTo>
                <a:lnTo>
                  <a:pt x="51" y="109"/>
                </a:lnTo>
                <a:lnTo>
                  <a:pt x="50" y="106"/>
                </a:lnTo>
                <a:lnTo>
                  <a:pt x="50" y="103"/>
                </a:lnTo>
                <a:lnTo>
                  <a:pt x="52" y="101"/>
                </a:lnTo>
                <a:close/>
                <a:moveTo>
                  <a:pt x="51" y="95"/>
                </a:moveTo>
                <a:lnTo>
                  <a:pt x="56" y="95"/>
                </a:lnTo>
                <a:lnTo>
                  <a:pt x="56" y="97"/>
                </a:lnTo>
                <a:lnTo>
                  <a:pt x="58" y="97"/>
                </a:lnTo>
                <a:lnTo>
                  <a:pt x="60" y="98"/>
                </a:lnTo>
                <a:lnTo>
                  <a:pt x="56" y="98"/>
                </a:lnTo>
                <a:lnTo>
                  <a:pt x="57" y="99"/>
                </a:lnTo>
                <a:lnTo>
                  <a:pt x="58" y="99"/>
                </a:lnTo>
                <a:lnTo>
                  <a:pt x="58" y="100"/>
                </a:lnTo>
                <a:lnTo>
                  <a:pt x="55" y="101"/>
                </a:lnTo>
                <a:lnTo>
                  <a:pt x="54" y="101"/>
                </a:lnTo>
                <a:lnTo>
                  <a:pt x="51" y="99"/>
                </a:lnTo>
                <a:lnTo>
                  <a:pt x="50" y="99"/>
                </a:lnTo>
                <a:lnTo>
                  <a:pt x="50" y="97"/>
                </a:lnTo>
                <a:lnTo>
                  <a:pt x="51" y="95"/>
                </a:lnTo>
                <a:close/>
                <a:moveTo>
                  <a:pt x="109" y="94"/>
                </a:moveTo>
                <a:lnTo>
                  <a:pt x="111" y="94"/>
                </a:lnTo>
                <a:lnTo>
                  <a:pt x="111" y="95"/>
                </a:lnTo>
                <a:lnTo>
                  <a:pt x="109" y="100"/>
                </a:lnTo>
                <a:lnTo>
                  <a:pt x="109" y="103"/>
                </a:lnTo>
                <a:lnTo>
                  <a:pt x="110" y="104"/>
                </a:lnTo>
                <a:lnTo>
                  <a:pt x="110" y="107"/>
                </a:lnTo>
                <a:lnTo>
                  <a:pt x="107" y="107"/>
                </a:lnTo>
                <a:lnTo>
                  <a:pt x="107" y="106"/>
                </a:lnTo>
                <a:lnTo>
                  <a:pt x="106" y="106"/>
                </a:lnTo>
                <a:lnTo>
                  <a:pt x="106" y="105"/>
                </a:lnTo>
                <a:lnTo>
                  <a:pt x="107" y="99"/>
                </a:lnTo>
                <a:lnTo>
                  <a:pt x="107" y="98"/>
                </a:lnTo>
                <a:lnTo>
                  <a:pt x="109" y="98"/>
                </a:lnTo>
                <a:lnTo>
                  <a:pt x="109" y="94"/>
                </a:lnTo>
                <a:close/>
                <a:moveTo>
                  <a:pt x="111" y="88"/>
                </a:moveTo>
                <a:lnTo>
                  <a:pt x="112" y="88"/>
                </a:lnTo>
                <a:lnTo>
                  <a:pt x="111" y="92"/>
                </a:lnTo>
                <a:lnTo>
                  <a:pt x="111" y="93"/>
                </a:lnTo>
                <a:lnTo>
                  <a:pt x="110" y="92"/>
                </a:lnTo>
                <a:lnTo>
                  <a:pt x="111" y="91"/>
                </a:lnTo>
                <a:lnTo>
                  <a:pt x="111" y="88"/>
                </a:lnTo>
                <a:close/>
                <a:moveTo>
                  <a:pt x="56" y="88"/>
                </a:moveTo>
                <a:lnTo>
                  <a:pt x="55" y="91"/>
                </a:lnTo>
                <a:lnTo>
                  <a:pt x="57" y="91"/>
                </a:lnTo>
                <a:lnTo>
                  <a:pt x="57" y="88"/>
                </a:lnTo>
                <a:lnTo>
                  <a:pt x="56" y="88"/>
                </a:lnTo>
                <a:close/>
                <a:moveTo>
                  <a:pt x="54" y="80"/>
                </a:moveTo>
                <a:lnTo>
                  <a:pt x="54" y="81"/>
                </a:lnTo>
                <a:lnTo>
                  <a:pt x="56" y="82"/>
                </a:lnTo>
                <a:lnTo>
                  <a:pt x="56" y="81"/>
                </a:lnTo>
                <a:lnTo>
                  <a:pt x="57" y="81"/>
                </a:lnTo>
                <a:lnTo>
                  <a:pt x="58" y="80"/>
                </a:lnTo>
                <a:lnTo>
                  <a:pt x="61" y="80"/>
                </a:lnTo>
                <a:lnTo>
                  <a:pt x="61" y="81"/>
                </a:lnTo>
                <a:lnTo>
                  <a:pt x="60" y="82"/>
                </a:lnTo>
                <a:lnTo>
                  <a:pt x="64" y="82"/>
                </a:lnTo>
                <a:lnTo>
                  <a:pt x="64" y="85"/>
                </a:lnTo>
                <a:lnTo>
                  <a:pt x="63" y="86"/>
                </a:lnTo>
                <a:lnTo>
                  <a:pt x="62" y="85"/>
                </a:lnTo>
                <a:lnTo>
                  <a:pt x="61" y="85"/>
                </a:lnTo>
                <a:lnTo>
                  <a:pt x="61" y="83"/>
                </a:lnTo>
                <a:lnTo>
                  <a:pt x="60" y="83"/>
                </a:lnTo>
                <a:lnTo>
                  <a:pt x="60" y="86"/>
                </a:lnTo>
                <a:lnTo>
                  <a:pt x="61" y="86"/>
                </a:lnTo>
                <a:lnTo>
                  <a:pt x="61" y="87"/>
                </a:lnTo>
                <a:lnTo>
                  <a:pt x="63" y="87"/>
                </a:lnTo>
                <a:lnTo>
                  <a:pt x="61" y="89"/>
                </a:lnTo>
                <a:lnTo>
                  <a:pt x="58" y="89"/>
                </a:lnTo>
                <a:lnTo>
                  <a:pt x="58" y="91"/>
                </a:lnTo>
                <a:lnTo>
                  <a:pt x="62" y="91"/>
                </a:lnTo>
                <a:lnTo>
                  <a:pt x="62" y="92"/>
                </a:lnTo>
                <a:lnTo>
                  <a:pt x="61" y="93"/>
                </a:lnTo>
                <a:lnTo>
                  <a:pt x="58" y="93"/>
                </a:lnTo>
                <a:lnTo>
                  <a:pt x="57" y="94"/>
                </a:lnTo>
                <a:lnTo>
                  <a:pt x="57" y="93"/>
                </a:lnTo>
                <a:lnTo>
                  <a:pt x="55" y="94"/>
                </a:lnTo>
                <a:lnTo>
                  <a:pt x="55" y="93"/>
                </a:lnTo>
                <a:lnTo>
                  <a:pt x="54" y="93"/>
                </a:lnTo>
                <a:lnTo>
                  <a:pt x="54" y="91"/>
                </a:lnTo>
                <a:lnTo>
                  <a:pt x="52" y="91"/>
                </a:lnTo>
                <a:lnTo>
                  <a:pt x="50" y="88"/>
                </a:lnTo>
                <a:lnTo>
                  <a:pt x="49" y="88"/>
                </a:lnTo>
                <a:lnTo>
                  <a:pt x="49" y="89"/>
                </a:lnTo>
                <a:lnTo>
                  <a:pt x="48" y="89"/>
                </a:lnTo>
                <a:lnTo>
                  <a:pt x="48" y="88"/>
                </a:lnTo>
                <a:lnTo>
                  <a:pt x="47" y="88"/>
                </a:lnTo>
                <a:lnTo>
                  <a:pt x="44" y="87"/>
                </a:lnTo>
                <a:lnTo>
                  <a:pt x="47" y="85"/>
                </a:lnTo>
                <a:lnTo>
                  <a:pt x="47" y="83"/>
                </a:lnTo>
                <a:lnTo>
                  <a:pt x="48" y="81"/>
                </a:lnTo>
                <a:lnTo>
                  <a:pt x="49" y="82"/>
                </a:lnTo>
                <a:lnTo>
                  <a:pt x="51" y="81"/>
                </a:lnTo>
                <a:lnTo>
                  <a:pt x="51" y="82"/>
                </a:lnTo>
                <a:lnTo>
                  <a:pt x="50" y="82"/>
                </a:lnTo>
                <a:lnTo>
                  <a:pt x="51" y="83"/>
                </a:lnTo>
                <a:lnTo>
                  <a:pt x="52" y="82"/>
                </a:lnTo>
                <a:lnTo>
                  <a:pt x="54" y="80"/>
                </a:lnTo>
                <a:close/>
                <a:moveTo>
                  <a:pt x="95" y="79"/>
                </a:moveTo>
                <a:lnTo>
                  <a:pt x="97" y="79"/>
                </a:lnTo>
                <a:lnTo>
                  <a:pt x="100" y="82"/>
                </a:lnTo>
                <a:lnTo>
                  <a:pt x="100" y="83"/>
                </a:lnTo>
                <a:lnTo>
                  <a:pt x="103" y="86"/>
                </a:lnTo>
                <a:lnTo>
                  <a:pt x="103" y="87"/>
                </a:lnTo>
                <a:lnTo>
                  <a:pt x="104" y="87"/>
                </a:lnTo>
                <a:lnTo>
                  <a:pt x="104" y="101"/>
                </a:lnTo>
                <a:lnTo>
                  <a:pt x="105" y="101"/>
                </a:lnTo>
                <a:lnTo>
                  <a:pt x="105" y="103"/>
                </a:lnTo>
                <a:lnTo>
                  <a:pt x="104" y="104"/>
                </a:lnTo>
                <a:lnTo>
                  <a:pt x="104" y="105"/>
                </a:lnTo>
                <a:lnTo>
                  <a:pt x="105" y="106"/>
                </a:lnTo>
                <a:lnTo>
                  <a:pt x="105" y="107"/>
                </a:lnTo>
                <a:lnTo>
                  <a:pt x="106" y="107"/>
                </a:lnTo>
                <a:lnTo>
                  <a:pt x="105" y="109"/>
                </a:lnTo>
                <a:lnTo>
                  <a:pt x="104" y="109"/>
                </a:lnTo>
                <a:lnTo>
                  <a:pt x="104" y="110"/>
                </a:lnTo>
                <a:lnTo>
                  <a:pt x="107" y="109"/>
                </a:lnTo>
                <a:lnTo>
                  <a:pt x="107" y="110"/>
                </a:lnTo>
                <a:lnTo>
                  <a:pt x="109" y="110"/>
                </a:lnTo>
                <a:lnTo>
                  <a:pt x="107" y="111"/>
                </a:lnTo>
                <a:lnTo>
                  <a:pt x="106" y="111"/>
                </a:lnTo>
                <a:lnTo>
                  <a:pt x="106" y="112"/>
                </a:lnTo>
                <a:lnTo>
                  <a:pt x="107" y="112"/>
                </a:lnTo>
                <a:lnTo>
                  <a:pt x="109" y="111"/>
                </a:lnTo>
                <a:lnTo>
                  <a:pt x="110" y="111"/>
                </a:lnTo>
                <a:lnTo>
                  <a:pt x="111" y="112"/>
                </a:lnTo>
                <a:lnTo>
                  <a:pt x="113" y="112"/>
                </a:lnTo>
                <a:lnTo>
                  <a:pt x="113" y="115"/>
                </a:lnTo>
                <a:lnTo>
                  <a:pt x="114" y="115"/>
                </a:lnTo>
                <a:lnTo>
                  <a:pt x="116" y="113"/>
                </a:lnTo>
                <a:lnTo>
                  <a:pt x="117" y="113"/>
                </a:lnTo>
                <a:lnTo>
                  <a:pt x="118" y="112"/>
                </a:lnTo>
                <a:lnTo>
                  <a:pt x="120" y="112"/>
                </a:lnTo>
                <a:lnTo>
                  <a:pt x="122" y="113"/>
                </a:lnTo>
                <a:lnTo>
                  <a:pt x="125" y="113"/>
                </a:lnTo>
                <a:lnTo>
                  <a:pt x="124" y="115"/>
                </a:lnTo>
                <a:lnTo>
                  <a:pt x="124" y="117"/>
                </a:lnTo>
                <a:lnTo>
                  <a:pt x="123" y="118"/>
                </a:lnTo>
                <a:lnTo>
                  <a:pt x="122" y="120"/>
                </a:lnTo>
                <a:lnTo>
                  <a:pt x="119" y="120"/>
                </a:lnTo>
                <a:lnTo>
                  <a:pt x="118" y="123"/>
                </a:lnTo>
                <a:lnTo>
                  <a:pt x="118" y="124"/>
                </a:lnTo>
                <a:lnTo>
                  <a:pt x="117" y="124"/>
                </a:lnTo>
                <a:lnTo>
                  <a:pt x="117" y="125"/>
                </a:lnTo>
                <a:lnTo>
                  <a:pt x="116" y="125"/>
                </a:lnTo>
                <a:lnTo>
                  <a:pt x="116" y="126"/>
                </a:lnTo>
                <a:lnTo>
                  <a:pt x="112" y="130"/>
                </a:lnTo>
                <a:lnTo>
                  <a:pt x="112" y="131"/>
                </a:lnTo>
                <a:lnTo>
                  <a:pt x="109" y="131"/>
                </a:lnTo>
                <a:lnTo>
                  <a:pt x="109" y="129"/>
                </a:lnTo>
                <a:lnTo>
                  <a:pt x="110" y="126"/>
                </a:lnTo>
                <a:lnTo>
                  <a:pt x="110" y="124"/>
                </a:lnTo>
                <a:lnTo>
                  <a:pt x="111" y="124"/>
                </a:lnTo>
                <a:lnTo>
                  <a:pt x="111" y="123"/>
                </a:lnTo>
                <a:lnTo>
                  <a:pt x="112" y="122"/>
                </a:lnTo>
                <a:lnTo>
                  <a:pt x="117" y="119"/>
                </a:lnTo>
                <a:lnTo>
                  <a:pt x="110" y="119"/>
                </a:lnTo>
                <a:lnTo>
                  <a:pt x="110" y="118"/>
                </a:lnTo>
                <a:lnTo>
                  <a:pt x="109" y="117"/>
                </a:lnTo>
                <a:lnTo>
                  <a:pt x="109" y="119"/>
                </a:lnTo>
                <a:lnTo>
                  <a:pt x="107" y="120"/>
                </a:lnTo>
                <a:lnTo>
                  <a:pt x="109" y="120"/>
                </a:lnTo>
                <a:lnTo>
                  <a:pt x="107" y="122"/>
                </a:lnTo>
                <a:lnTo>
                  <a:pt x="107" y="123"/>
                </a:lnTo>
                <a:lnTo>
                  <a:pt x="105" y="123"/>
                </a:lnTo>
                <a:lnTo>
                  <a:pt x="105" y="118"/>
                </a:lnTo>
                <a:lnTo>
                  <a:pt x="103" y="118"/>
                </a:lnTo>
                <a:lnTo>
                  <a:pt x="103" y="119"/>
                </a:lnTo>
                <a:lnTo>
                  <a:pt x="97" y="120"/>
                </a:lnTo>
                <a:lnTo>
                  <a:pt x="97" y="119"/>
                </a:lnTo>
                <a:lnTo>
                  <a:pt x="98" y="118"/>
                </a:lnTo>
                <a:lnTo>
                  <a:pt x="95" y="118"/>
                </a:lnTo>
                <a:lnTo>
                  <a:pt x="95" y="119"/>
                </a:lnTo>
                <a:lnTo>
                  <a:pt x="94" y="117"/>
                </a:lnTo>
                <a:lnTo>
                  <a:pt x="94" y="116"/>
                </a:lnTo>
                <a:lnTo>
                  <a:pt x="95" y="115"/>
                </a:lnTo>
                <a:lnTo>
                  <a:pt x="93" y="115"/>
                </a:lnTo>
                <a:lnTo>
                  <a:pt x="91" y="112"/>
                </a:lnTo>
                <a:lnTo>
                  <a:pt x="91" y="111"/>
                </a:lnTo>
                <a:lnTo>
                  <a:pt x="89" y="110"/>
                </a:lnTo>
                <a:lnTo>
                  <a:pt x="89" y="109"/>
                </a:lnTo>
                <a:lnTo>
                  <a:pt x="92" y="107"/>
                </a:lnTo>
                <a:lnTo>
                  <a:pt x="93" y="107"/>
                </a:lnTo>
                <a:lnTo>
                  <a:pt x="95" y="110"/>
                </a:lnTo>
                <a:lnTo>
                  <a:pt x="97" y="110"/>
                </a:lnTo>
                <a:lnTo>
                  <a:pt x="97" y="109"/>
                </a:lnTo>
                <a:lnTo>
                  <a:pt x="93" y="107"/>
                </a:lnTo>
                <a:lnTo>
                  <a:pt x="93" y="106"/>
                </a:lnTo>
                <a:lnTo>
                  <a:pt x="91" y="106"/>
                </a:lnTo>
                <a:lnTo>
                  <a:pt x="91" y="104"/>
                </a:lnTo>
                <a:lnTo>
                  <a:pt x="89" y="104"/>
                </a:lnTo>
                <a:lnTo>
                  <a:pt x="89" y="103"/>
                </a:lnTo>
                <a:lnTo>
                  <a:pt x="88" y="104"/>
                </a:lnTo>
                <a:lnTo>
                  <a:pt x="88" y="101"/>
                </a:lnTo>
                <a:lnTo>
                  <a:pt x="87" y="101"/>
                </a:lnTo>
                <a:lnTo>
                  <a:pt x="87" y="103"/>
                </a:lnTo>
                <a:lnTo>
                  <a:pt x="86" y="103"/>
                </a:lnTo>
                <a:lnTo>
                  <a:pt x="86" y="107"/>
                </a:lnTo>
                <a:lnTo>
                  <a:pt x="81" y="106"/>
                </a:lnTo>
                <a:lnTo>
                  <a:pt x="80" y="105"/>
                </a:lnTo>
                <a:lnTo>
                  <a:pt x="80" y="104"/>
                </a:lnTo>
                <a:lnTo>
                  <a:pt x="79" y="103"/>
                </a:lnTo>
                <a:lnTo>
                  <a:pt x="79" y="101"/>
                </a:lnTo>
                <a:lnTo>
                  <a:pt x="78" y="99"/>
                </a:lnTo>
                <a:lnTo>
                  <a:pt x="76" y="98"/>
                </a:lnTo>
                <a:lnTo>
                  <a:pt x="79" y="98"/>
                </a:lnTo>
                <a:lnTo>
                  <a:pt x="79" y="93"/>
                </a:lnTo>
                <a:lnTo>
                  <a:pt x="80" y="93"/>
                </a:lnTo>
                <a:lnTo>
                  <a:pt x="82" y="97"/>
                </a:lnTo>
                <a:lnTo>
                  <a:pt x="82" y="98"/>
                </a:lnTo>
                <a:lnTo>
                  <a:pt x="83" y="99"/>
                </a:lnTo>
                <a:lnTo>
                  <a:pt x="85" y="99"/>
                </a:lnTo>
                <a:lnTo>
                  <a:pt x="83" y="98"/>
                </a:lnTo>
                <a:lnTo>
                  <a:pt x="85" y="97"/>
                </a:lnTo>
                <a:lnTo>
                  <a:pt x="83" y="95"/>
                </a:lnTo>
                <a:lnTo>
                  <a:pt x="83" y="93"/>
                </a:lnTo>
                <a:lnTo>
                  <a:pt x="85" y="93"/>
                </a:lnTo>
                <a:lnTo>
                  <a:pt x="86" y="94"/>
                </a:lnTo>
                <a:lnTo>
                  <a:pt x="86" y="93"/>
                </a:lnTo>
                <a:lnTo>
                  <a:pt x="83" y="91"/>
                </a:lnTo>
                <a:lnTo>
                  <a:pt x="82" y="91"/>
                </a:lnTo>
                <a:lnTo>
                  <a:pt x="82" y="89"/>
                </a:lnTo>
                <a:lnTo>
                  <a:pt x="83" y="88"/>
                </a:lnTo>
                <a:lnTo>
                  <a:pt x="83" y="87"/>
                </a:lnTo>
                <a:lnTo>
                  <a:pt x="82" y="87"/>
                </a:lnTo>
                <a:lnTo>
                  <a:pt x="82" y="86"/>
                </a:lnTo>
                <a:lnTo>
                  <a:pt x="83" y="86"/>
                </a:lnTo>
                <a:lnTo>
                  <a:pt x="86" y="88"/>
                </a:lnTo>
                <a:lnTo>
                  <a:pt x="86" y="91"/>
                </a:lnTo>
                <a:lnTo>
                  <a:pt x="87" y="91"/>
                </a:lnTo>
                <a:lnTo>
                  <a:pt x="88" y="92"/>
                </a:lnTo>
                <a:lnTo>
                  <a:pt x="89" y="92"/>
                </a:lnTo>
                <a:lnTo>
                  <a:pt x="89" y="93"/>
                </a:lnTo>
                <a:lnTo>
                  <a:pt x="92" y="93"/>
                </a:lnTo>
                <a:lnTo>
                  <a:pt x="91" y="95"/>
                </a:lnTo>
                <a:lnTo>
                  <a:pt x="92" y="95"/>
                </a:lnTo>
                <a:lnTo>
                  <a:pt x="92" y="94"/>
                </a:lnTo>
                <a:lnTo>
                  <a:pt x="93" y="93"/>
                </a:lnTo>
                <a:lnTo>
                  <a:pt x="97" y="98"/>
                </a:lnTo>
                <a:lnTo>
                  <a:pt x="97" y="94"/>
                </a:lnTo>
                <a:lnTo>
                  <a:pt x="93" y="91"/>
                </a:lnTo>
                <a:lnTo>
                  <a:pt x="93" y="89"/>
                </a:lnTo>
                <a:lnTo>
                  <a:pt x="94" y="88"/>
                </a:lnTo>
                <a:lnTo>
                  <a:pt x="94" y="87"/>
                </a:lnTo>
                <a:lnTo>
                  <a:pt x="93" y="87"/>
                </a:lnTo>
                <a:lnTo>
                  <a:pt x="93" y="85"/>
                </a:lnTo>
                <a:lnTo>
                  <a:pt x="92" y="83"/>
                </a:lnTo>
                <a:lnTo>
                  <a:pt x="92" y="82"/>
                </a:lnTo>
                <a:lnTo>
                  <a:pt x="93" y="82"/>
                </a:lnTo>
                <a:lnTo>
                  <a:pt x="95" y="80"/>
                </a:lnTo>
                <a:lnTo>
                  <a:pt x="95" y="79"/>
                </a:lnTo>
                <a:close/>
                <a:moveTo>
                  <a:pt x="61" y="75"/>
                </a:moveTo>
                <a:lnTo>
                  <a:pt x="61" y="77"/>
                </a:lnTo>
                <a:lnTo>
                  <a:pt x="58" y="77"/>
                </a:lnTo>
                <a:lnTo>
                  <a:pt x="61" y="75"/>
                </a:lnTo>
                <a:close/>
                <a:moveTo>
                  <a:pt x="0" y="69"/>
                </a:moveTo>
                <a:lnTo>
                  <a:pt x="2" y="69"/>
                </a:lnTo>
                <a:lnTo>
                  <a:pt x="1" y="70"/>
                </a:lnTo>
                <a:lnTo>
                  <a:pt x="0" y="70"/>
                </a:lnTo>
                <a:lnTo>
                  <a:pt x="0" y="69"/>
                </a:lnTo>
                <a:close/>
                <a:moveTo>
                  <a:pt x="67" y="61"/>
                </a:moveTo>
                <a:lnTo>
                  <a:pt x="68" y="62"/>
                </a:lnTo>
                <a:lnTo>
                  <a:pt x="68" y="63"/>
                </a:lnTo>
                <a:lnTo>
                  <a:pt x="66" y="63"/>
                </a:lnTo>
                <a:lnTo>
                  <a:pt x="66" y="64"/>
                </a:lnTo>
                <a:lnTo>
                  <a:pt x="64" y="64"/>
                </a:lnTo>
                <a:lnTo>
                  <a:pt x="64" y="63"/>
                </a:lnTo>
                <a:lnTo>
                  <a:pt x="67" y="61"/>
                </a:lnTo>
                <a:close/>
                <a:moveTo>
                  <a:pt x="136" y="60"/>
                </a:moveTo>
                <a:lnTo>
                  <a:pt x="136" y="61"/>
                </a:lnTo>
                <a:lnTo>
                  <a:pt x="135" y="61"/>
                </a:lnTo>
                <a:lnTo>
                  <a:pt x="136" y="60"/>
                </a:lnTo>
                <a:close/>
                <a:moveTo>
                  <a:pt x="81" y="50"/>
                </a:moveTo>
                <a:lnTo>
                  <a:pt x="81" y="51"/>
                </a:lnTo>
                <a:lnTo>
                  <a:pt x="83" y="51"/>
                </a:lnTo>
                <a:lnTo>
                  <a:pt x="85" y="50"/>
                </a:lnTo>
                <a:lnTo>
                  <a:pt x="81" y="50"/>
                </a:lnTo>
                <a:close/>
                <a:moveTo>
                  <a:pt x="73" y="37"/>
                </a:moveTo>
                <a:lnTo>
                  <a:pt x="74" y="38"/>
                </a:lnTo>
                <a:lnTo>
                  <a:pt x="73" y="38"/>
                </a:lnTo>
                <a:lnTo>
                  <a:pt x="73" y="37"/>
                </a:lnTo>
                <a:close/>
                <a:moveTo>
                  <a:pt x="73" y="34"/>
                </a:moveTo>
                <a:lnTo>
                  <a:pt x="74" y="34"/>
                </a:lnTo>
                <a:lnTo>
                  <a:pt x="76" y="37"/>
                </a:lnTo>
                <a:lnTo>
                  <a:pt x="76" y="38"/>
                </a:lnTo>
                <a:lnTo>
                  <a:pt x="74" y="38"/>
                </a:lnTo>
                <a:lnTo>
                  <a:pt x="74" y="37"/>
                </a:lnTo>
                <a:lnTo>
                  <a:pt x="73" y="37"/>
                </a:lnTo>
                <a:lnTo>
                  <a:pt x="73" y="34"/>
                </a:lnTo>
                <a:close/>
                <a:moveTo>
                  <a:pt x="99" y="14"/>
                </a:moveTo>
                <a:lnTo>
                  <a:pt x="100" y="14"/>
                </a:lnTo>
                <a:lnTo>
                  <a:pt x="101" y="17"/>
                </a:lnTo>
                <a:lnTo>
                  <a:pt x="101" y="19"/>
                </a:lnTo>
                <a:lnTo>
                  <a:pt x="103" y="20"/>
                </a:lnTo>
                <a:lnTo>
                  <a:pt x="103" y="21"/>
                </a:lnTo>
                <a:lnTo>
                  <a:pt x="101" y="23"/>
                </a:lnTo>
                <a:lnTo>
                  <a:pt x="100" y="25"/>
                </a:lnTo>
                <a:lnTo>
                  <a:pt x="101" y="26"/>
                </a:lnTo>
                <a:lnTo>
                  <a:pt x="103" y="26"/>
                </a:lnTo>
                <a:lnTo>
                  <a:pt x="103" y="27"/>
                </a:lnTo>
                <a:lnTo>
                  <a:pt x="101" y="27"/>
                </a:lnTo>
                <a:lnTo>
                  <a:pt x="99" y="30"/>
                </a:lnTo>
                <a:lnTo>
                  <a:pt x="99" y="31"/>
                </a:lnTo>
                <a:lnTo>
                  <a:pt x="98" y="32"/>
                </a:lnTo>
                <a:lnTo>
                  <a:pt x="98" y="33"/>
                </a:lnTo>
                <a:lnTo>
                  <a:pt x="97" y="33"/>
                </a:lnTo>
                <a:lnTo>
                  <a:pt x="97" y="36"/>
                </a:lnTo>
                <a:lnTo>
                  <a:pt x="94" y="36"/>
                </a:lnTo>
                <a:lnTo>
                  <a:pt x="97" y="38"/>
                </a:lnTo>
                <a:lnTo>
                  <a:pt x="98" y="38"/>
                </a:lnTo>
                <a:lnTo>
                  <a:pt x="101" y="34"/>
                </a:lnTo>
                <a:lnTo>
                  <a:pt x="103" y="34"/>
                </a:lnTo>
                <a:lnTo>
                  <a:pt x="103" y="37"/>
                </a:lnTo>
                <a:lnTo>
                  <a:pt x="101" y="38"/>
                </a:lnTo>
                <a:lnTo>
                  <a:pt x="101" y="39"/>
                </a:lnTo>
                <a:lnTo>
                  <a:pt x="100" y="39"/>
                </a:lnTo>
                <a:lnTo>
                  <a:pt x="100" y="40"/>
                </a:lnTo>
                <a:lnTo>
                  <a:pt x="99" y="40"/>
                </a:lnTo>
                <a:lnTo>
                  <a:pt x="98" y="39"/>
                </a:lnTo>
                <a:lnTo>
                  <a:pt x="95" y="39"/>
                </a:lnTo>
                <a:lnTo>
                  <a:pt x="93" y="38"/>
                </a:lnTo>
                <a:lnTo>
                  <a:pt x="94" y="40"/>
                </a:lnTo>
                <a:lnTo>
                  <a:pt x="94" y="44"/>
                </a:lnTo>
                <a:lnTo>
                  <a:pt x="91" y="44"/>
                </a:lnTo>
                <a:lnTo>
                  <a:pt x="89" y="46"/>
                </a:lnTo>
                <a:lnTo>
                  <a:pt x="88" y="46"/>
                </a:lnTo>
                <a:lnTo>
                  <a:pt x="87" y="48"/>
                </a:lnTo>
                <a:lnTo>
                  <a:pt x="83" y="48"/>
                </a:lnTo>
                <a:lnTo>
                  <a:pt x="83" y="49"/>
                </a:lnTo>
                <a:lnTo>
                  <a:pt x="85" y="49"/>
                </a:lnTo>
                <a:lnTo>
                  <a:pt x="91" y="48"/>
                </a:lnTo>
                <a:lnTo>
                  <a:pt x="92" y="46"/>
                </a:lnTo>
                <a:lnTo>
                  <a:pt x="93" y="46"/>
                </a:lnTo>
                <a:lnTo>
                  <a:pt x="93" y="48"/>
                </a:lnTo>
                <a:lnTo>
                  <a:pt x="94" y="49"/>
                </a:lnTo>
                <a:lnTo>
                  <a:pt x="94" y="51"/>
                </a:lnTo>
                <a:lnTo>
                  <a:pt x="95" y="51"/>
                </a:lnTo>
                <a:lnTo>
                  <a:pt x="93" y="54"/>
                </a:lnTo>
                <a:lnTo>
                  <a:pt x="93" y="55"/>
                </a:lnTo>
                <a:lnTo>
                  <a:pt x="92" y="55"/>
                </a:lnTo>
                <a:lnTo>
                  <a:pt x="88" y="54"/>
                </a:lnTo>
                <a:lnTo>
                  <a:pt x="87" y="54"/>
                </a:lnTo>
                <a:lnTo>
                  <a:pt x="87" y="55"/>
                </a:lnTo>
                <a:lnTo>
                  <a:pt x="88" y="55"/>
                </a:lnTo>
                <a:lnTo>
                  <a:pt x="91" y="57"/>
                </a:lnTo>
                <a:lnTo>
                  <a:pt x="89" y="58"/>
                </a:lnTo>
                <a:lnTo>
                  <a:pt x="89" y="60"/>
                </a:lnTo>
                <a:lnTo>
                  <a:pt x="87" y="60"/>
                </a:lnTo>
                <a:lnTo>
                  <a:pt x="87" y="61"/>
                </a:lnTo>
                <a:lnTo>
                  <a:pt x="86" y="62"/>
                </a:lnTo>
                <a:lnTo>
                  <a:pt x="85" y="61"/>
                </a:lnTo>
                <a:lnTo>
                  <a:pt x="85" y="60"/>
                </a:lnTo>
                <a:lnTo>
                  <a:pt x="83" y="58"/>
                </a:lnTo>
                <a:lnTo>
                  <a:pt x="83" y="62"/>
                </a:lnTo>
                <a:lnTo>
                  <a:pt x="81" y="60"/>
                </a:lnTo>
                <a:lnTo>
                  <a:pt x="80" y="57"/>
                </a:lnTo>
                <a:lnTo>
                  <a:pt x="80" y="52"/>
                </a:lnTo>
                <a:lnTo>
                  <a:pt x="78" y="55"/>
                </a:lnTo>
                <a:lnTo>
                  <a:pt x="79" y="57"/>
                </a:lnTo>
                <a:lnTo>
                  <a:pt x="81" y="60"/>
                </a:lnTo>
                <a:lnTo>
                  <a:pt x="81" y="61"/>
                </a:lnTo>
                <a:lnTo>
                  <a:pt x="80" y="61"/>
                </a:lnTo>
                <a:lnTo>
                  <a:pt x="82" y="63"/>
                </a:lnTo>
                <a:lnTo>
                  <a:pt x="82" y="64"/>
                </a:lnTo>
                <a:lnTo>
                  <a:pt x="79" y="63"/>
                </a:lnTo>
                <a:lnTo>
                  <a:pt x="76" y="63"/>
                </a:lnTo>
                <a:lnTo>
                  <a:pt x="76" y="64"/>
                </a:lnTo>
                <a:lnTo>
                  <a:pt x="79" y="67"/>
                </a:lnTo>
                <a:lnTo>
                  <a:pt x="79" y="68"/>
                </a:lnTo>
                <a:lnTo>
                  <a:pt x="78" y="69"/>
                </a:lnTo>
                <a:lnTo>
                  <a:pt x="76" y="69"/>
                </a:lnTo>
                <a:lnTo>
                  <a:pt x="74" y="68"/>
                </a:lnTo>
                <a:lnTo>
                  <a:pt x="74" y="72"/>
                </a:lnTo>
                <a:lnTo>
                  <a:pt x="73" y="72"/>
                </a:lnTo>
                <a:lnTo>
                  <a:pt x="73" y="73"/>
                </a:lnTo>
                <a:lnTo>
                  <a:pt x="72" y="74"/>
                </a:lnTo>
                <a:lnTo>
                  <a:pt x="69" y="75"/>
                </a:lnTo>
                <a:lnTo>
                  <a:pt x="69" y="76"/>
                </a:lnTo>
                <a:lnTo>
                  <a:pt x="68" y="76"/>
                </a:lnTo>
                <a:lnTo>
                  <a:pt x="67" y="73"/>
                </a:lnTo>
                <a:lnTo>
                  <a:pt x="66" y="73"/>
                </a:lnTo>
                <a:lnTo>
                  <a:pt x="63" y="70"/>
                </a:lnTo>
                <a:lnTo>
                  <a:pt x="63" y="69"/>
                </a:lnTo>
                <a:lnTo>
                  <a:pt x="62" y="68"/>
                </a:lnTo>
                <a:lnTo>
                  <a:pt x="64" y="68"/>
                </a:lnTo>
                <a:lnTo>
                  <a:pt x="64" y="69"/>
                </a:lnTo>
                <a:lnTo>
                  <a:pt x="68" y="67"/>
                </a:lnTo>
                <a:lnTo>
                  <a:pt x="68" y="66"/>
                </a:lnTo>
                <a:lnTo>
                  <a:pt x="72" y="66"/>
                </a:lnTo>
                <a:lnTo>
                  <a:pt x="69" y="63"/>
                </a:lnTo>
                <a:lnTo>
                  <a:pt x="72" y="62"/>
                </a:lnTo>
                <a:lnTo>
                  <a:pt x="74" y="62"/>
                </a:lnTo>
                <a:lnTo>
                  <a:pt x="74" y="60"/>
                </a:lnTo>
                <a:lnTo>
                  <a:pt x="72" y="60"/>
                </a:lnTo>
                <a:lnTo>
                  <a:pt x="70" y="58"/>
                </a:lnTo>
                <a:lnTo>
                  <a:pt x="66" y="58"/>
                </a:lnTo>
                <a:lnTo>
                  <a:pt x="66" y="57"/>
                </a:lnTo>
                <a:lnTo>
                  <a:pt x="64" y="57"/>
                </a:lnTo>
                <a:lnTo>
                  <a:pt x="63" y="56"/>
                </a:lnTo>
                <a:lnTo>
                  <a:pt x="63" y="55"/>
                </a:lnTo>
                <a:lnTo>
                  <a:pt x="64" y="55"/>
                </a:lnTo>
                <a:lnTo>
                  <a:pt x="64" y="54"/>
                </a:lnTo>
                <a:lnTo>
                  <a:pt x="66" y="54"/>
                </a:lnTo>
                <a:lnTo>
                  <a:pt x="66" y="52"/>
                </a:lnTo>
                <a:lnTo>
                  <a:pt x="68" y="52"/>
                </a:lnTo>
                <a:lnTo>
                  <a:pt x="70" y="50"/>
                </a:lnTo>
                <a:lnTo>
                  <a:pt x="67" y="51"/>
                </a:lnTo>
                <a:lnTo>
                  <a:pt x="66" y="51"/>
                </a:lnTo>
                <a:lnTo>
                  <a:pt x="66" y="50"/>
                </a:lnTo>
                <a:lnTo>
                  <a:pt x="67" y="49"/>
                </a:lnTo>
                <a:lnTo>
                  <a:pt x="64" y="50"/>
                </a:lnTo>
                <a:lnTo>
                  <a:pt x="63" y="48"/>
                </a:lnTo>
                <a:lnTo>
                  <a:pt x="63" y="45"/>
                </a:lnTo>
                <a:lnTo>
                  <a:pt x="62" y="45"/>
                </a:lnTo>
                <a:lnTo>
                  <a:pt x="62" y="44"/>
                </a:lnTo>
                <a:lnTo>
                  <a:pt x="63" y="43"/>
                </a:lnTo>
                <a:lnTo>
                  <a:pt x="63" y="40"/>
                </a:lnTo>
                <a:lnTo>
                  <a:pt x="66" y="40"/>
                </a:lnTo>
                <a:lnTo>
                  <a:pt x="67" y="39"/>
                </a:lnTo>
                <a:lnTo>
                  <a:pt x="66" y="39"/>
                </a:lnTo>
                <a:lnTo>
                  <a:pt x="66" y="36"/>
                </a:lnTo>
                <a:lnTo>
                  <a:pt x="67" y="36"/>
                </a:lnTo>
                <a:lnTo>
                  <a:pt x="68" y="37"/>
                </a:lnTo>
                <a:lnTo>
                  <a:pt x="72" y="37"/>
                </a:lnTo>
                <a:lnTo>
                  <a:pt x="72" y="38"/>
                </a:lnTo>
                <a:lnTo>
                  <a:pt x="70" y="38"/>
                </a:lnTo>
                <a:lnTo>
                  <a:pt x="70" y="39"/>
                </a:lnTo>
                <a:lnTo>
                  <a:pt x="72" y="40"/>
                </a:lnTo>
                <a:lnTo>
                  <a:pt x="72" y="43"/>
                </a:lnTo>
                <a:lnTo>
                  <a:pt x="73" y="44"/>
                </a:lnTo>
                <a:lnTo>
                  <a:pt x="73" y="45"/>
                </a:lnTo>
                <a:lnTo>
                  <a:pt x="74" y="46"/>
                </a:lnTo>
                <a:lnTo>
                  <a:pt x="74" y="44"/>
                </a:lnTo>
                <a:lnTo>
                  <a:pt x="73" y="44"/>
                </a:lnTo>
                <a:lnTo>
                  <a:pt x="73" y="39"/>
                </a:lnTo>
                <a:lnTo>
                  <a:pt x="75" y="39"/>
                </a:lnTo>
                <a:lnTo>
                  <a:pt x="76" y="38"/>
                </a:lnTo>
                <a:lnTo>
                  <a:pt x="79" y="40"/>
                </a:lnTo>
                <a:lnTo>
                  <a:pt x="79" y="42"/>
                </a:lnTo>
                <a:lnTo>
                  <a:pt x="80" y="39"/>
                </a:lnTo>
                <a:lnTo>
                  <a:pt x="79" y="39"/>
                </a:lnTo>
                <a:lnTo>
                  <a:pt x="79" y="38"/>
                </a:lnTo>
                <a:lnTo>
                  <a:pt x="78" y="37"/>
                </a:lnTo>
                <a:lnTo>
                  <a:pt x="76" y="37"/>
                </a:lnTo>
                <a:lnTo>
                  <a:pt x="76" y="34"/>
                </a:lnTo>
                <a:lnTo>
                  <a:pt x="75" y="34"/>
                </a:lnTo>
                <a:lnTo>
                  <a:pt x="75" y="33"/>
                </a:lnTo>
                <a:lnTo>
                  <a:pt x="76" y="33"/>
                </a:lnTo>
                <a:lnTo>
                  <a:pt x="76" y="32"/>
                </a:lnTo>
                <a:lnTo>
                  <a:pt x="75" y="32"/>
                </a:lnTo>
                <a:lnTo>
                  <a:pt x="80" y="27"/>
                </a:lnTo>
                <a:lnTo>
                  <a:pt x="82" y="27"/>
                </a:lnTo>
                <a:lnTo>
                  <a:pt x="83" y="26"/>
                </a:lnTo>
                <a:lnTo>
                  <a:pt x="86" y="25"/>
                </a:lnTo>
                <a:lnTo>
                  <a:pt x="87" y="25"/>
                </a:lnTo>
                <a:lnTo>
                  <a:pt x="88" y="24"/>
                </a:lnTo>
                <a:lnTo>
                  <a:pt x="95" y="18"/>
                </a:lnTo>
                <a:lnTo>
                  <a:pt x="99" y="14"/>
                </a:lnTo>
                <a:close/>
                <a:moveTo>
                  <a:pt x="221" y="0"/>
                </a:moveTo>
                <a:lnTo>
                  <a:pt x="222" y="1"/>
                </a:lnTo>
                <a:lnTo>
                  <a:pt x="222" y="2"/>
                </a:lnTo>
                <a:lnTo>
                  <a:pt x="227" y="2"/>
                </a:lnTo>
                <a:lnTo>
                  <a:pt x="228" y="1"/>
                </a:lnTo>
                <a:lnTo>
                  <a:pt x="230" y="3"/>
                </a:lnTo>
                <a:lnTo>
                  <a:pt x="231" y="3"/>
                </a:lnTo>
                <a:lnTo>
                  <a:pt x="234" y="2"/>
                </a:lnTo>
                <a:lnTo>
                  <a:pt x="236" y="3"/>
                </a:lnTo>
                <a:lnTo>
                  <a:pt x="235" y="5"/>
                </a:lnTo>
                <a:lnTo>
                  <a:pt x="235" y="8"/>
                </a:lnTo>
                <a:lnTo>
                  <a:pt x="234" y="8"/>
                </a:lnTo>
                <a:lnTo>
                  <a:pt x="234" y="9"/>
                </a:lnTo>
                <a:lnTo>
                  <a:pt x="231" y="12"/>
                </a:lnTo>
                <a:lnTo>
                  <a:pt x="231" y="15"/>
                </a:lnTo>
                <a:lnTo>
                  <a:pt x="232" y="17"/>
                </a:lnTo>
                <a:lnTo>
                  <a:pt x="234" y="17"/>
                </a:lnTo>
                <a:lnTo>
                  <a:pt x="234" y="19"/>
                </a:lnTo>
                <a:lnTo>
                  <a:pt x="232" y="21"/>
                </a:lnTo>
                <a:lnTo>
                  <a:pt x="231" y="25"/>
                </a:lnTo>
                <a:lnTo>
                  <a:pt x="229" y="29"/>
                </a:lnTo>
                <a:lnTo>
                  <a:pt x="227" y="31"/>
                </a:lnTo>
                <a:lnTo>
                  <a:pt x="225" y="31"/>
                </a:lnTo>
                <a:lnTo>
                  <a:pt x="222" y="33"/>
                </a:lnTo>
                <a:lnTo>
                  <a:pt x="221" y="33"/>
                </a:lnTo>
                <a:lnTo>
                  <a:pt x="217" y="37"/>
                </a:lnTo>
                <a:lnTo>
                  <a:pt x="217" y="39"/>
                </a:lnTo>
                <a:lnTo>
                  <a:pt x="215" y="42"/>
                </a:lnTo>
                <a:lnTo>
                  <a:pt x="205" y="49"/>
                </a:lnTo>
                <a:lnTo>
                  <a:pt x="203" y="51"/>
                </a:lnTo>
                <a:lnTo>
                  <a:pt x="201" y="51"/>
                </a:lnTo>
                <a:lnTo>
                  <a:pt x="201" y="52"/>
                </a:lnTo>
                <a:lnTo>
                  <a:pt x="200" y="54"/>
                </a:lnTo>
                <a:lnTo>
                  <a:pt x="200" y="55"/>
                </a:lnTo>
                <a:lnTo>
                  <a:pt x="199" y="56"/>
                </a:lnTo>
                <a:lnTo>
                  <a:pt x="198" y="56"/>
                </a:lnTo>
                <a:lnTo>
                  <a:pt x="196" y="57"/>
                </a:lnTo>
                <a:lnTo>
                  <a:pt x="194" y="58"/>
                </a:lnTo>
                <a:lnTo>
                  <a:pt x="194" y="60"/>
                </a:lnTo>
                <a:lnTo>
                  <a:pt x="193" y="60"/>
                </a:lnTo>
                <a:lnTo>
                  <a:pt x="193" y="58"/>
                </a:lnTo>
                <a:lnTo>
                  <a:pt x="192" y="58"/>
                </a:lnTo>
                <a:lnTo>
                  <a:pt x="191" y="57"/>
                </a:lnTo>
                <a:lnTo>
                  <a:pt x="191" y="60"/>
                </a:lnTo>
                <a:lnTo>
                  <a:pt x="193" y="60"/>
                </a:lnTo>
                <a:lnTo>
                  <a:pt x="193" y="61"/>
                </a:lnTo>
                <a:lnTo>
                  <a:pt x="194" y="61"/>
                </a:lnTo>
                <a:lnTo>
                  <a:pt x="194" y="63"/>
                </a:lnTo>
                <a:lnTo>
                  <a:pt x="193" y="64"/>
                </a:lnTo>
                <a:lnTo>
                  <a:pt x="194" y="66"/>
                </a:lnTo>
                <a:lnTo>
                  <a:pt x="193" y="66"/>
                </a:lnTo>
                <a:lnTo>
                  <a:pt x="192" y="64"/>
                </a:lnTo>
                <a:lnTo>
                  <a:pt x="191" y="64"/>
                </a:lnTo>
                <a:lnTo>
                  <a:pt x="191" y="66"/>
                </a:lnTo>
                <a:lnTo>
                  <a:pt x="190" y="66"/>
                </a:lnTo>
                <a:lnTo>
                  <a:pt x="190" y="67"/>
                </a:lnTo>
                <a:lnTo>
                  <a:pt x="188" y="67"/>
                </a:lnTo>
                <a:lnTo>
                  <a:pt x="186" y="66"/>
                </a:lnTo>
                <a:lnTo>
                  <a:pt x="185" y="64"/>
                </a:lnTo>
                <a:lnTo>
                  <a:pt x="181" y="66"/>
                </a:lnTo>
                <a:lnTo>
                  <a:pt x="179" y="63"/>
                </a:lnTo>
                <a:lnTo>
                  <a:pt x="179" y="62"/>
                </a:lnTo>
                <a:lnTo>
                  <a:pt x="178" y="62"/>
                </a:lnTo>
                <a:lnTo>
                  <a:pt x="180" y="66"/>
                </a:lnTo>
                <a:lnTo>
                  <a:pt x="181" y="67"/>
                </a:lnTo>
                <a:lnTo>
                  <a:pt x="182" y="67"/>
                </a:lnTo>
                <a:lnTo>
                  <a:pt x="185" y="66"/>
                </a:lnTo>
                <a:lnTo>
                  <a:pt x="187" y="68"/>
                </a:lnTo>
                <a:lnTo>
                  <a:pt x="188" y="68"/>
                </a:lnTo>
                <a:lnTo>
                  <a:pt x="188" y="67"/>
                </a:lnTo>
                <a:lnTo>
                  <a:pt x="191" y="69"/>
                </a:lnTo>
                <a:lnTo>
                  <a:pt x="192" y="69"/>
                </a:lnTo>
                <a:lnTo>
                  <a:pt x="194" y="67"/>
                </a:lnTo>
                <a:lnTo>
                  <a:pt x="197" y="68"/>
                </a:lnTo>
                <a:lnTo>
                  <a:pt x="197" y="69"/>
                </a:lnTo>
                <a:lnTo>
                  <a:pt x="198" y="70"/>
                </a:lnTo>
                <a:lnTo>
                  <a:pt x="203" y="66"/>
                </a:lnTo>
                <a:lnTo>
                  <a:pt x="204" y="67"/>
                </a:lnTo>
                <a:lnTo>
                  <a:pt x="204" y="68"/>
                </a:lnTo>
                <a:lnTo>
                  <a:pt x="203" y="68"/>
                </a:lnTo>
                <a:lnTo>
                  <a:pt x="197" y="76"/>
                </a:lnTo>
                <a:lnTo>
                  <a:pt x="196" y="79"/>
                </a:lnTo>
                <a:lnTo>
                  <a:pt x="193" y="79"/>
                </a:lnTo>
                <a:lnTo>
                  <a:pt x="193" y="76"/>
                </a:lnTo>
                <a:lnTo>
                  <a:pt x="192" y="75"/>
                </a:lnTo>
                <a:lnTo>
                  <a:pt x="191" y="76"/>
                </a:lnTo>
                <a:lnTo>
                  <a:pt x="187" y="79"/>
                </a:lnTo>
                <a:lnTo>
                  <a:pt x="187" y="80"/>
                </a:lnTo>
                <a:lnTo>
                  <a:pt x="181" y="80"/>
                </a:lnTo>
                <a:lnTo>
                  <a:pt x="181" y="82"/>
                </a:lnTo>
                <a:lnTo>
                  <a:pt x="180" y="82"/>
                </a:lnTo>
                <a:lnTo>
                  <a:pt x="180" y="83"/>
                </a:lnTo>
                <a:lnTo>
                  <a:pt x="178" y="86"/>
                </a:lnTo>
                <a:lnTo>
                  <a:pt x="176" y="86"/>
                </a:lnTo>
                <a:lnTo>
                  <a:pt x="176" y="88"/>
                </a:lnTo>
                <a:lnTo>
                  <a:pt x="178" y="87"/>
                </a:lnTo>
                <a:lnTo>
                  <a:pt x="179" y="87"/>
                </a:lnTo>
                <a:lnTo>
                  <a:pt x="179" y="86"/>
                </a:lnTo>
                <a:lnTo>
                  <a:pt x="180" y="85"/>
                </a:lnTo>
                <a:lnTo>
                  <a:pt x="182" y="83"/>
                </a:lnTo>
                <a:lnTo>
                  <a:pt x="184" y="81"/>
                </a:lnTo>
                <a:lnTo>
                  <a:pt x="187" y="81"/>
                </a:lnTo>
                <a:lnTo>
                  <a:pt x="190" y="82"/>
                </a:lnTo>
                <a:lnTo>
                  <a:pt x="191" y="81"/>
                </a:lnTo>
                <a:lnTo>
                  <a:pt x="193" y="80"/>
                </a:lnTo>
                <a:lnTo>
                  <a:pt x="194" y="80"/>
                </a:lnTo>
                <a:lnTo>
                  <a:pt x="193" y="82"/>
                </a:lnTo>
                <a:lnTo>
                  <a:pt x="191" y="85"/>
                </a:lnTo>
                <a:lnTo>
                  <a:pt x="190" y="87"/>
                </a:lnTo>
                <a:lnTo>
                  <a:pt x="190" y="88"/>
                </a:lnTo>
                <a:lnTo>
                  <a:pt x="187" y="88"/>
                </a:lnTo>
                <a:lnTo>
                  <a:pt x="186" y="89"/>
                </a:lnTo>
                <a:lnTo>
                  <a:pt x="187" y="91"/>
                </a:lnTo>
                <a:lnTo>
                  <a:pt x="185" y="91"/>
                </a:lnTo>
                <a:lnTo>
                  <a:pt x="186" y="92"/>
                </a:lnTo>
                <a:lnTo>
                  <a:pt x="184" y="94"/>
                </a:lnTo>
                <a:lnTo>
                  <a:pt x="185" y="95"/>
                </a:lnTo>
                <a:lnTo>
                  <a:pt x="186" y="95"/>
                </a:lnTo>
                <a:lnTo>
                  <a:pt x="188" y="93"/>
                </a:lnTo>
                <a:lnTo>
                  <a:pt x="190" y="93"/>
                </a:lnTo>
                <a:lnTo>
                  <a:pt x="190" y="92"/>
                </a:lnTo>
                <a:lnTo>
                  <a:pt x="191" y="91"/>
                </a:lnTo>
                <a:lnTo>
                  <a:pt x="192" y="91"/>
                </a:lnTo>
                <a:lnTo>
                  <a:pt x="193" y="89"/>
                </a:lnTo>
                <a:lnTo>
                  <a:pt x="192" y="89"/>
                </a:lnTo>
                <a:lnTo>
                  <a:pt x="191" y="87"/>
                </a:lnTo>
                <a:lnTo>
                  <a:pt x="201" y="87"/>
                </a:lnTo>
                <a:lnTo>
                  <a:pt x="207" y="82"/>
                </a:lnTo>
                <a:lnTo>
                  <a:pt x="210" y="81"/>
                </a:lnTo>
                <a:lnTo>
                  <a:pt x="210" y="82"/>
                </a:lnTo>
                <a:lnTo>
                  <a:pt x="209" y="83"/>
                </a:lnTo>
                <a:lnTo>
                  <a:pt x="211" y="83"/>
                </a:lnTo>
                <a:lnTo>
                  <a:pt x="211" y="81"/>
                </a:lnTo>
                <a:lnTo>
                  <a:pt x="212" y="81"/>
                </a:lnTo>
                <a:lnTo>
                  <a:pt x="213" y="82"/>
                </a:lnTo>
                <a:lnTo>
                  <a:pt x="213" y="81"/>
                </a:lnTo>
                <a:lnTo>
                  <a:pt x="215" y="81"/>
                </a:lnTo>
                <a:lnTo>
                  <a:pt x="215" y="80"/>
                </a:lnTo>
                <a:lnTo>
                  <a:pt x="216" y="79"/>
                </a:lnTo>
                <a:lnTo>
                  <a:pt x="216" y="77"/>
                </a:lnTo>
                <a:lnTo>
                  <a:pt x="217" y="77"/>
                </a:lnTo>
                <a:lnTo>
                  <a:pt x="218" y="76"/>
                </a:lnTo>
                <a:lnTo>
                  <a:pt x="219" y="76"/>
                </a:lnTo>
                <a:lnTo>
                  <a:pt x="224" y="77"/>
                </a:lnTo>
                <a:lnTo>
                  <a:pt x="228" y="79"/>
                </a:lnTo>
                <a:lnTo>
                  <a:pt x="232" y="81"/>
                </a:lnTo>
                <a:lnTo>
                  <a:pt x="236" y="81"/>
                </a:lnTo>
                <a:lnTo>
                  <a:pt x="240" y="79"/>
                </a:lnTo>
                <a:lnTo>
                  <a:pt x="247" y="79"/>
                </a:lnTo>
                <a:lnTo>
                  <a:pt x="247" y="80"/>
                </a:lnTo>
                <a:lnTo>
                  <a:pt x="248" y="80"/>
                </a:lnTo>
                <a:lnTo>
                  <a:pt x="248" y="79"/>
                </a:lnTo>
                <a:lnTo>
                  <a:pt x="249" y="79"/>
                </a:lnTo>
                <a:lnTo>
                  <a:pt x="249" y="80"/>
                </a:lnTo>
                <a:lnTo>
                  <a:pt x="250" y="79"/>
                </a:lnTo>
                <a:lnTo>
                  <a:pt x="254" y="80"/>
                </a:lnTo>
                <a:lnTo>
                  <a:pt x="255" y="80"/>
                </a:lnTo>
                <a:lnTo>
                  <a:pt x="256" y="81"/>
                </a:lnTo>
                <a:lnTo>
                  <a:pt x="257" y="80"/>
                </a:lnTo>
                <a:lnTo>
                  <a:pt x="259" y="80"/>
                </a:lnTo>
                <a:lnTo>
                  <a:pt x="260" y="81"/>
                </a:lnTo>
                <a:lnTo>
                  <a:pt x="262" y="81"/>
                </a:lnTo>
                <a:lnTo>
                  <a:pt x="263" y="80"/>
                </a:lnTo>
                <a:lnTo>
                  <a:pt x="265" y="81"/>
                </a:lnTo>
                <a:lnTo>
                  <a:pt x="265" y="80"/>
                </a:lnTo>
                <a:lnTo>
                  <a:pt x="266" y="80"/>
                </a:lnTo>
                <a:lnTo>
                  <a:pt x="266" y="79"/>
                </a:lnTo>
                <a:lnTo>
                  <a:pt x="267" y="79"/>
                </a:lnTo>
                <a:lnTo>
                  <a:pt x="269" y="80"/>
                </a:lnTo>
                <a:lnTo>
                  <a:pt x="269" y="81"/>
                </a:lnTo>
                <a:lnTo>
                  <a:pt x="271" y="80"/>
                </a:lnTo>
                <a:lnTo>
                  <a:pt x="273" y="79"/>
                </a:lnTo>
                <a:lnTo>
                  <a:pt x="279" y="79"/>
                </a:lnTo>
                <a:lnTo>
                  <a:pt x="279" y="80"/>
                </a:lnTo>
                <a:lnTo>
                  <a:pt x="280" y="81"/>
                </a:lnTo>
                <a:lnTo>
                  <a:pt x="281" y="80"/>
                </a:lnTo>
                <a:lnTo>
                  <a:pt x="283" y="81"/>
                </a:lnTo>
                <a:lnTo>
                  <a:pt x="286" y="86"/>
                </a:lnTo>
                <a:lnTo>
                  <a:pt x="286" y="89"/>
                </a:lnTo>
                <a:lnTo>
                  <a:pt x="287" y="91"/>
                </a:lnTo>
                <a:lnTo>
                  <a:pt x="287" y="93"/>
                </a:lnTo>
                <a:lnTo>
                  <a:pt x="288" y="94"/>
                </a:lnTo>
                <a:lnTo>
                  <a:pt x="287" y="95"/>
                </a:lnTo>
                <a:lnTo>
                  <a:pt x="288" y="97"/>
                </a:lnTo>
                <a:lnTo>
                  <a:pt x="287" y="98"/>
                </a:lnTo>
                <a:lnTo>
                  <a:pt x="286" y="100"/>
                </a:lnTo>
                <a:lnTo>
                  <a:pt x="285" y="101"/>
                </a:lnTo>
                <a:lnTo>
                  <a:pt x="285" y="103"/>
                </a:lnTo>
                <a:lnTo>
                  <a:pt x="279" y="109"/>
                </a:lnTo>
                <a:lnTo>
                  <a:pt x="275" y="119"/>
                </a:lnTo>
                <a:lnTo>
                  <a:pt x="275" y="123"/>
                </a:lnTo>
                <a:lnTo>
                  <a:pt x="277" y="123"/>
                </a:lnTo>
                <a:lnTo>
                  <a:pt x="277" y="124"/>
                </a:lnTo>
                <a:lnTo>
                  <a:pt x="275" y="125"/>
                </a:lnTo>
                <a:lnTo>
                  <a:pt x="272" y="131"/>
                </a:lnTo>
                <a:lnTo>
                  <a:pt x="271" y="135"/>
                </a:lnTo>
                <a:lnTo>
                  <a:pt x="271" y="141"/>
                </a:lnTo>
                <a:lnTo>
                  <a:pt x="269" y="142"/>
                </a:lnTo>
                <a:lnTo>
                  <a:pt x="269" y="143"/>
                </a:lnTo>
                <a:lnTo>
                  <a:pt x="266" y="147"/>
                </a:lnTo>
                <a:lnTo>
                  <a:pt x="265" y="149"/>
                </a:lnTo>
                <a:lnTo>
                  <a:pt x="262" y="152"/>
                </a:lnTo>
                <a:lnTo>
                  <a:pt x="261" y="152"/>
                </a:lnTo>
                <a:lnTo>
                  <a:pt x="261" y="153"/>
                </a:lnTo>
                <a:lnTo>
                  <a:pt x="260" y="154"/>
                </a:lnTo>
                <a:lnTo>
                  <a:pt x="260" y="158"/>
                </a:lnTo>
                <a:lnTo>
                  <a:pt x="259" y="158"/>
                </a:lnTo>
                <a:lnTo>
                  <a:pt x="259" y="159"/>
                </a:lnTo>
                <a:lnTo>
                  <a:pt x="257" y="160"/>
                </a:lnTo>
                <a:lnTo>
                  <a:pt x="257" y="161"/>
                </a:lnTo>
                <a:lnTo>
                  <a:pt x="259" y="161"/>
                </a:lnTo>
                <a:lnTo>
                  <a:pt x="259" y="162"/>
                </a:lnTo>
                <a:lnTo>
                  <a:pt x="257" y="162"/>
                </a:lnTo>
                <a:lnTo>
                  <a:pt x="257" y="163"/>
                </a:lnTo>
                <a:lnTo>
                  <a:pt x="256" y="165"/>
                </a:lnTo>
                <a:lnTo>
                  <a:pt x="256" y="166"/>
                </a:lnTo>
                <a:lnTo>
                  <a:pt x="253" y="168"/>
                </a:lnTo>
                <a:lnTo>
                  <a:pt x="252" y="171"/>
                </a:lnTo>
                <a:lnTo>
                  <a:pt x="250" y="171"/>
                </a:lnTo>
                <a:lnTo>
                  <a:pt x="249" y="172"/>
                </a:lnTo>
                <a:lnTo>
                  <a:pt x="248" y="174"/>
                </a:lnTo>
                <a:lnTo>
                  <a:pt x="244" y="174"/>
                </a:lnTo>
                <a:lnTo>
                  <a:pt x="234" y="175"/>
                </a:lnTo>
                <a:lnTo>
                  <a:pt x="231" y="178"/>
                </a:lnTo>
                <a:lnTo>
                  <a:pt x="227" y="181"/>
                </a:lnTo>
                <a:lnTo>
                  <a:pt x="224" y="183"/>
                </a:lnTo>
                <a:lnTo>
                  <a:pt x="227" y="183"/>
                </a:lnTo>
                <a:lnTo>
                  <a:pt x="229" y="181"/>
                </a:lnTo>
                <a:lnTo>
                  <a:pt x="230" y="181"/>
                </a:lnTo>
                <a:lnTo>
                  <a:pt x="238" y="177"/>
                </a:lnTo>
                <a:lnTo>
                  <a:pt x="240" y="175"/>
                </a:lnTo>
                <a:lnTo>
                  <a:pt x="242" y="175"/>
                </a:lnTo>
                <a:lnTo>
                  <a:pt x="243" y="177"/>
                </a:lnTo>
                <a:lnTo>
                  <a:pt x="244" y="177"/>
                </a:lnTo>
                <a:lnTo>
                  <a:pt x="244" y="181"/>
                </a:lnTo>
                <a:lnTo>
                  <a:pt x="243" y="183"/>
                </a:lnTo>
                <a:lnTo>
                  <a:pt x="244" y="183"/>
                </a:lnTo>
                <a:lnTo>
                  <a:pt x="244" y="184"/>
                </a:lnTo>
                <a:lnTo>
                  <a:pt x="246" y="184"/>
                </a:lnTo>
                <a:lnTo>
                  <a:pt x="246" y="185"/>
                </a:lnTo>
                <a:lnTo>
                  <a:pt x="250" y="185"/>
                </a:lnTo>
                <a:lnTo>
                  <a:pt x="253" y="186"/>
                </a:lnTo>
                <a:lnTo>
                  <a:pt x="253" y="187"/>
                </a:lnTo>
                <a:lnTo>
                  <a:pt x="254" y="189"/>
                </a:lnTo>
                <a:lnTo>
                  <a:pt x="252" y="191"/>
                </a:lnTo>
                <a:lnTo>
                  <a:pt x="252" y="192"/>
                </a:lnTo>
                <a:lnTo>
                  <a:pt x="250" y="193"/>
                </a:lnTo>
                <a:lnTo>
                  <a:pt x="248" y="193"/>
                </a:lnTo>
                <a:lnTo>
                  <a:pt x="246" y="196"/>
                </a:lnTo>
                <a:lnTo>
                  <a:pt x="243" y="196"/>
                </a:lnTo>
                <a:lnTo>
                  <a:pt x="238" y="193"/>
                </a:lnTo>
                <a:lnTo>
                  <a:pt x="238" y="195"/>
                </a:lnTo>
                <a:lnTo>
                  <a:pt x="237" y="195"/>
                </a:lnTo>
                <a:lnTo>
                  <a:pt x="237" y="196"/>
                </a:lnTo>
                <a:lnTo>
                  <a:pt x="235" y="197"/>
                </a:lnTo>
                <a:lnTo>
                  <a:pt x="230" y="202"/>
                </a:lnTo>
                <a:lnTo>
                  <a:pt x="230" y="204"/>
                </a:lnTo>
                <a:lnTo>
                  <a:pt x="229" y="205"/>
                </a:lnTo>
                <a:lnTo>
                  <a:pt x="225" y="205"/>
                </a:lnTo>
                <a:lnTo>
                  <a:pt x="225" y="206"/>
                </a:lnTo>
                <a:lnTo>
                  <a:pt x="224" y="206"/>
                </a:lnTo>
                <a:lnTo>
                  <a:pt x="222" y="208"/>
                </a:lnTo>
                <a:lnTo>
                  <a:pt x="218" y="208"/>
                </a:lnTo>
                <a:lnTo>
                  <a:pt x="212" y="205"/>
                </a:lnTo>
                <a:lnTo>
                  <a:pt x="207" y="206"/>
                </a:lnTo>
                <a:lnTo>
                  <a:pt x="203" y="202"/>
                </a:lnTo>
                <a:lnTo>
                  <a:pt x="201" y="202"/>
                </a:lnTo>
                <a:lnTo>
                  <a:pt x="206" y="206"/>
                </a:lnTo>
                <a:lnTo>
                  <a:pt x="206" y="208"/>
                </a:lnTo>
                <a:lnTo>
                  <a:pt x="207" y="208"/>
                </a:lnTo>
                <a:lnTo>
                  <a:pt x="207" y="209"/>
                </a:lnTo>
                <a:lnTo>
                  <a:pt x="212" y="209"/>
                </a:lnTo>
                <a:lnTo>
                  <a:pt x="219" y="210"/>
                </a:lnTo>
                <a:lnTo>
                  <a:pt x="223" y="210"/>
                </a:lnTo>
                <a:lnTo>
                  <a:pt x="223" y="211"/>
                </a:lnTo>
                <a:lnTo>
                  <a:pt x="224" y="211"/>
                </a:lnTo>
                <a:lnTo>
                  <a:pt x="231" y="212"/>
                </a:lnTo>
                <a:lnTo>
                  <a:pt x="232" y="214"/>
                </a:lnTo>
                <a:lnTo>
                  <a:pt x="236" y="214"/>
                </a:lnTo>
                <a:lnTo>
                  <a:pt x="238" y="212"/>
                </a:lnTo>
                <a:lnTo>
                  <a:pt x="241" y="210"/>
                </a:lnTo>
                <a:lnTo>
                  <a:pt x="241" y="209"/>
                </a:lnTo>
                <a:lnTo>
                  <a:pt x="242" y="209"/>
                </a:lnTo>
                <a:lnTo>
                  <a:pt x="242" y="206"/>
                </a:lnTo>
                <a:lnTo>
                  <a:pt x="244" y="205"/>
                </a:lnTo>
                <a:lnTo>
                  <a:pt x="253" y="205"/>
                </a:lnTo>
                <a:lnTo>
                  <a:pt x="254" y="208"/>
                </a:lnTo>
                <a:lnTo>
                  <a:pt x="255" y="208"/>
                </a:lnTo>
                <a:lnTo>
                  <a:pt x="254" y="209"/>
                </a:lnTo>
                <a:lnTo>
                  <a:pt x="254" y="210"/>
                </a:lnTo>
                <a:lnTo>
                  <a:pt x="256" y="210"/>
                </a:lnTo>
                <a:lnTo>
                  <a:pt x="256" y="209"/>
                </a:lnTo>
                <a:lnTo>
                  <a:pt x="257" y="209"/>
                </a:lnTo>
                <a:lnTo>
                  <a:pt x="257" y="210"/>
                </a:lnTo>
                <a:lnTo>
                  <a:pt x="260" y="211"/>
                </a:lnTo>
                <a:lnTo>
                  <a:pt x="261" y="211"/>
                </a:lnTo>
                <a:lnTo>
                  <a:pt x="263" y="214"/>
                </a:lnTo>
                <a:lnTo>
                  <a:pt x="266" y="215"/>
                </a:lnTo>
                <a:lnTo>
                  <a:pt x="272" y="216"/>
                </a:lnTo>
                <a:lnTo>
                  <a:pt x="273" y="216"/>
                </a:lnTo>
                <a:lnTo>
                  <a:pt x="273" y="218"/>
                </a:lnTo>
                <a:lnTo>
                  <a:pt x="274" y="218"/>
                </a:lnTo>
                <a:lnTo>
                  <a:pt x="275" y="220"/>
                </a:lnTo>
                <a:lnTo>
                  <a:pt x="278" y="224"/>
                </a:lnTo>
                <a:lnTo>
                  <a:pt x="278" y="226"/>
                </a:lnTo>
                <a:lnTo>
                  <a:pt x="284" y="233"/>
                </a:lnTo>
                <a:lnTo>
                  <a:pt x="285" y="234"/>
                </a:lnTo>
                <a:lnTo>
                  <a:pt x="285" y="235"/>
                </a:lnTo>
                <a:lnTo>
                  <a:pt x="286" y="236"/>
                </a:lnTo>
                <a:lnTo>
                  <a:pt x="286" y="238"/>
                </a:lnTo>
                <a:lnTo>
                  <a:pt x="287" y="236"/>
                </a:lnTo>
                <a:lnTo>
                  <a:pt x="288" y="236"/>
                </a:lnTo>
                <a:lnTo>
                  <a:pt x="288" y="238"/>
                </a:lnTo>
                <a:lnTo>
                  <a:pt x="290" y="239"/>
                </a:lnTo>
                <a:lnTo>
                  <a:pt x="291" y="239"/>
                </a:lnTo>
                <a:lnTo>
                  <a:pt x="294" y="241"/>
                </a:lnTo>
                <a:lnTo>
                  <a:pt x="294" y="245"/>
                </a:lnTo>
                <a:lnTo>
                  <a:pt x="296" y="246"/>
                </a:lnTo>
                <a:lnTo>
                  <a:pt x="294" y="247"/>
                </a:lnTo>
                <a:lnTo>
                  <a:pt x="296" y="247"/>
                </a:lnTo>
                <a:lnTo>
                  <a:pt x="296" y="258"/>
                </a:lnTo>
                <a:lnTo>
                  <a:pt x="297" y="260"/>
                </a:lnTo>
                <a:lnTo>
                  <a:pt x="297" y="265"/>
                </a:lnTo>
                <a:lnTo>
                  <a:pt x="299" y="267"/>
                </a:lnTo>
                <a:lnTo>
                  <a:pt x="298" y="269"/>
                </a:lnTo>
                <a:lnTo>
                  <a:pt x="299" y="269"/>
                </a:lnTo>
                <a:lnTo>
                  <a:pt x="299" y="273"/>
                </a:lnTo>
                <a:lnTo>
                  <a:pt x="300" y="275"/>
                </a:lnTo>
                <a:lnTo>
                  <a:pt x="300" y="278"/>
                </a:lnTo>
                <a:lnTo>
                  <a:pt x="302" y="278"/>
                </a:lnTo>
                <a:lnTo>
                  <a:pt x="302" y="279"/>
                </a:lnTo>
                <a:lnTo>
                  <a:pt x="303" y="282"/>
                </a:lnTo>
                <a:lnTo>
                  <a:pt x="303" y="284"/>
                </a:lnTo>
                <a:lnTo>
                  <a:pt x="304" y="284"/>
                </a:lnTo>
                <a:lnTo>
                  <a:pt x="304" y="285"/>
                </a:lnTo>
                <a:lnTo>
                  <a:pt x="305" y="287"/>
                </a:lnTo>
                <a:lnTo>
                  <a:pt x="305" y="290"/>
                </a:lnTo>
                <a:lnTo>
                  <a:pt x="306" y="290"/>
                </a:lnTo>
                <a:lnTo>
                  <a:pt x="305" y="291"/>
                </a:lnTo>
                <a:lnTo>
                  <a:pt x="309" y="301"/>
                </a:lnTo>
                <a:lnTo>
                  <a:pt x="309" y="303"/>
                </a:lnTo>
                <a:lnTo>
                  <a:pt x="311" y="304"/>
                </a:lnTo>
                <a:lnTo>
                  <a:pt x="311" y="306"/>
                </a:lnTo>
                <a:lnTo>
                  <a:pt x="314" y="306"/>
                </a:lnTo>
                <a:lnTo>
                  <a:pt x="314" y="307"/>
                </a:lnTo>
                <a:lnTo>
                  <a:pt x="312" y="307"/>
                </a:lnTo>
                <a:lnTo>
                  <a:pt x="314" y="308"/>
                </a:lnTo>
                <a:lnTo>
                  <a:pt x="314" y="310"/>
                </a:lnTo>
                <a:lnTo>
                  <a:pt x="312" y="312"/>
                </a:lnTo>
                <a:lnTo>
                  <a:pt x="314" y="312"/>
                </a:lnTo>
                <a:lnTo>
                  <a:pt x="314" y="313"/>
                </a:lnTo>
                <a:lnTo>
                  <a:pt x="315" y="313"/>
                </a:lnTo>
                <a:lnTo>
                  <a:pt x="315" y="310"/>
                </a:lnTo>
                <a:lnTo>
                  <a:pt x="316" y="312"/>
                </a:lnTo>
                <a:lnTo>
                  <a:pt x="317" y="312"/>
                </a:lnTo>
                <a:lnTo>
                  <a:pt x="319" y="313"/>
                </a:lnTo>
                <a:lnTo>
                  <a:pt x="321" y="314"/>
                </a:lnTo>
                <a:lnTo>
                  <a:pt x="330" y="316"/>
                </a:lnTo>
                <a:lnTo>
                  <a:pt x="340" y="322"/>
                </a:lnTo>
                <a:lnTo>
                  <a:pt x="341" y="324"/>
                </a:lnTo>
                <a:lnTo>
                  <a:pt x="341" y="327"/>
                </a:lnTo>
                <a:lnTo>
                  <a:pt x="343" y="328"/>
                </a:lnTo>
                <a:lnTo>
                  <a:pt x="345" y="330"/>
                </a:lnTo>
                <a:lnTo>
                  <a:pt x="345" y="332"/>
                </a:lnTo>
                <a:lnTo>
                  <a:pt x="346" y="333"/>
                </a:lnTo>
                <a:lnTo>
                  <a:pt x="346" y="338"/>
                </a:lnTo>
                <a:lnTo>
                  <a:pt x="347" y="338"/>
                </a:lnTo>
                <a:lnTo>
                  <a:pt x="347" y="339"/>
                </a:lnTo>
                <a:lnTo>
                  <a:pt x="348" y="339"/>
                </a:lnTo>
                <a:lnTo>
                  <a:pt x="349" y="340"/>
                </a:lnTo>
                <a:lnTo>
                  <a:pt x="350" y="340"/>
                </a:lnTo>
                <a:lnTo>
                  <a:pt x="352" y="341"/>
                </a:lnTo>
                <a:lnTo>
                  <a:pt x="352" y="344"/>
                </a:lnTo>
                <a:lnTo>
                  <a:pt x="353" y="345"/>
                </a:lnTo>
                <a:lnTo>
                  <a:pt x="359" y="347"/>
                </a:lnTo>
                <a:lnTo>
                  <a:pt x="360" y="349"/>
                </a:lnTo>
                <a:lnTo>
                  <a:pt x="356" y="351"/>
                </a:lnTo>
                <a:lnTo>
                  <a:pt x="355" y="352"/>
                </a:lnTo>
                <a:lnTo>
                  <a:pt x="354" y="356"/>
                </a:lnTo>
                <a:lnTo>
                  <a:pt x="354" y="357"/>
                </a:lnTo>
                <a:lnTo>
                  <a:pt x="355" y="362"/>
                </a:lnTo>
                <a:lnTo>
                  <a:pt x="356" y="364"/>
                </a:lnTo>
                <a:lnTo>
                  <a:pt x="368" y="382"/>
                </a:lnTo>
                <a:lnTo>
                  <a:pt x="370" y="384"/>
                </a:lnTo>
                <a:lnTo>
                  <a:pt x="368" y="387"/>
                </a:lnTo>
                <a:lnTo>
                  <a:pt x="367" y="388"/>
                </a:lnTo>
                <a:lnTo>
                  <a:pt x="368" y="386"/>
                </a:lnTo>
                <a:lnTo>
                  <a:pt x="368" y="384"/>
                </a:lnTo>
                <a:lnTo>
                  <a:pt x="367" y="384"/>
                </a:lnTo>
                <a:lnTo>
                  <a:pt x="365" y="382"/>
                </a:lnTo>
                <a:lnTo>
                  <a:pt x="364" y="382"/>
                </a:lnTo>
                <a:lnTo>
                  <a:pt x="362" y="383"/>
                </a:lnTo>
                <a:lnTo>
                  <a:pt x="358" y="383"/>
                </a:lnTo>
                <a:lnTo>
                  <a:pt x="358" y="382"/>
                </a:lnTo>
                <a:lnTo>
                  <a:pt x="352" y="376"/>
                </a:lnTo>
                <a:lnTo>
                  <a:pt x="350" y="376"/>
                </a:lnTo>
                <a:lnTo>
                  <a:pt x="345" y="377"/>
                </a:lnTo>
                <a:lnTo>
                  <a:pt x="340" y="377"/>
                </a:lnTo>
                <a:lnTo>
                  <a:pt x="339" y="376"/>
                </a:lnTo>
                <a:lnTo>
                  <a:pt x="335" y="376"/>
                </a:lnTo>
                <a:lnTo>
                  <a:pt x="333" y="378"/>
                </a:lnTo>
                <a:lnTo>
                  <a:pt x="334" y="378"/>
                </a:lnTo>
                <a:lnTo>
                  <a:pt x="335" y="377"/>
                </a:lnTo>
                <a:lnTo>
                  <a:pt x="337" y="377"/>
                </a:lnTo>
                <a:lnTo>
                  <a:pt x="340" y="378"/>
                </a:lnTo>
                <a:lnTo>
                  <a:pt x="340" y="380"/>
                </a:lnTo>
                <a:lnTo>
                  <a:pt x="341" y="380"/>
                </a:lnTo>
                <a:lnTo>
                  <a:pt x="342" y="378"/>
                </a:lnTo>
                <a:lnTo>
                  <a:pt x="350" y="377"/>
                </a:lnTo>
                <a:lnTo>
                  <a:pt x="352" y="377"/>
                </a:lnTo>
                <a:lnTo>
                  <a:pt x="352" y="380"/>
                </a:lnTo>
                <a:lnTo>
                  <a:pt x="355" y="384"/>
                </a:lnTo>
                <a:lnTo>
                  <a:pt x="356" y="384"/>
                </a:lnTo>
                <a:lnTo>
                  <a:pt x="358" y="387"/>
                </a:lnTo>
                <a:lnTo>
                  <a:pt x="360" y="387"/>
                </a:lnTo>
                <a:lnTo>
                  <a:pt x="361" y="388"/>
                </a:lnTo>
                <a:lnTo>
                  <a:pt x="362" y="390"/>
                </a:lnTo>
                <a:lnTo>
                  <a:pt x="367" y="394"/>
                </a:lnTo>
                <a:lnTo>
                  <a:pt x="370" y="394"/>
                </a:lnTo>
                <a:lnTo>
                  <a:pt x="370" y="395"/>
                </a:lnTo>
                <a:lnTo>
                  <a:pt x="371" y="395"/>
                </a:lnTo>
                <a:lnTo>
                  <a:pt x="371" y="398"/>
                </a:lnTo>
                <a:lnTo>
                  <a:pt x="372" y="399"/>
                </a:lnTo>
                <a:lnTo>
                  <a:pt x="373" y="399"/>
                </a:lnTo>
                <a:lnTo>
                  <a:pt x="373" y="400"/>
                </a:lnTo>
                <a:lnTo>
                  <a:pt x="374" y="401"/>
                </a:lnTo>
                <a:lnTo>
                  <a:pt x="374" y="402"/>
                </a:lnTo>
                <a:lnTo>
                  <a:pt x="378" y="412"/>
                </a:lnTo>
                <a:lnTo>
                  <a:pt x="378" y="418"/>
                </a:lnTo>
                <a:lnTo>
                  <a:pt x="377" y="421"/>
                </a:lnTo>
                <a:lnTo>
                  <a:pt x="375" y="423"/>
                </a:lnTo>
                <a:lnTo>
                  <a:pt x="374" y="423"/>
                </a:lnTo>
                <a:lnTo>
                  <a:pt x="370" y="427"/>
                </a:lnTo>
                <a:lnTo>
                  <a:pt x="366" y="432"/>
                </a:lnTo>
                <a:lnTo>
                  <a:pt x="366" y="433"/>
                </a:lnTo>
                <a:lnTo>
                  <a:pt x="364" y="433"/>
                </a:lnTo>
                <a:lnTo>
                  <a:pt x="364" y="436"/>
                </a:lnTo>
                <a:lnTo>
                  <a:pt x="367" y="436"/>
                </a:lnTo>
                <a:lnTo>
                  <a:pt x="368" y="437"/>
                </a:lnTo>
                <a:lnTo>
                  <a:pt x="371" y="437"/>
                </a:lnTo>
                <a:lnTo>
                  <a:pt x="372" y="441"/>
                </a:lnTo>
                <a:lnTo>
                  <a:pt x="373" y="442"/>
                </a:lnTo>
                <a:lnTo>
                  <a:pt x="378" y="442"/>
                </a:lnTo>
                <a:lnTo>
                  <a:pt x="379" y="444"/>
                </a:lnTo>
                <a:lnTo>
                  <a:pt x="379" y="443"/>
                </a:lnTo>
                <a:lnTo>
                  <a:pt x="380" y="441"/>
                </a:lnTo>
                <a:lnTo>
                  <a:pt x="381" y="439"/>
                </a:lnTo>
                <a:lnTo>
                  <a:pt x="381" y="437"/>
                </a:lnTo>
                <a:lnTo>
                  <a:pt x="383" y="436"/>
                </a:lnTo>
                <a:lnTo>
                  <a:pt x="383" y="433"/>
                </a:lnTo>
                <a:lnTo>
                  <a:pt x="385" y="431"/>
                </a:lnTo>
                <a:lnTo>
                  <a:pt x="387" y="430"/>
                </a:lnTo>
                <a:lnTo>
                  <a:pt x="391" y="430"/>
                </a:lnTo>
                <a:lnTo>
                  <a:pt x="391" y="429"/>
                </a:lnTo>
                <a:lnTo>
                  <a:pt x="392" y="429"/>
                </a:lnTo>
                <a:lnTo>
                  <a:pt x="393" y="430"/>
                </a:lnTo>
                <a:lnTo>
                  <a:pt x="399" y="430"/>
                </a:lnTo>
                <a:lnTo>
                  <a:pt x="402" y="431"/>
                </a:lnTo>
                <a:lnTo>
                  <a:pt x="405" y="431"/>
                </a:lnTo>
                <a:lnTo>
                  <a:pt x="405" y="430"/>
                </a:lnTo>
                <a:lnTo>
                  <a:pt x="417" y="432"/>
                </a:lnTo>
                <a:lnTo>
                  <a:pt x="422" y="436"/>
                </a:lnTo>
                <a:lnTo>
                  <a:pt x="433" y="443"/>
                </a:lnTo>
                <a:lnTo>
                  <a:pt x="434" y="445"/>
                </a:lnTo>
                <a:lnTo>
                  <a:pt x="435" y="447"/>
                </a:lnTo>
                <a:lnTo>
                  <a:pt x="435" y="450"/>
                </a:lnTo>
                <a:lnTo>
                  <a:pt x="436" y="453"/>
                </a:lnTo>
                <a:lnTo>
                  <a:pt x="436" y="461"/>
                </a:lnTo>
                <a:lnTo>
                  <a:pt x="437" y="463"/>
                </a:lnTo>
                <a:lnTo>
                  <a:pt x="437" y="464"/>
                </a:lnTo>
                <a:lnTo>
                  <a:pt x="436" y="468"/>
                </a:lnTo>
                <a:lnTo>
                  <a:pt x="436" y="470"/>
                </a:lnTo>
                <a:lnTo>
                  <a:pt x="433" y="478"/>
                </a:lnTo>
                <a:lnTo>
                  <a:pt x="432" y="479"/>
                </a:lnTo>
                <a:lnTo>
                  <a:pt x="432" y="485"/>
                </a:lnTo>
                <a:lnTo>
                  <a:pt x="430" y="487"/>
                </a:lnTo>
                <a:lnTo>
                  <a:pt x="430" y="491"/>
                </a:lnTo>
                <a:lnTo>
                  <a:pt x="429" y="492"/>
                </a:lnTo>
                <a:lnTo>
                  <a:pt x="427" y="493"/>
                </a:lnTo>
                <a:lnTo>
                  <a:pt x="426" y="494"/>
                </a:lnTo>
                <a:lnTo>
                  <a:pt x="426" y="493"/>
                </a:lnTo>
                <a:lnTo>
                  <a:pt x="424" y="494"/>
                </a:lnTo>
                <a:lnTo>
                  <a:pt x="424" y="496"/>
                </a:lnTo>
                <a:lnTo>
                  <a:pt x="420" y="500"/>
                </a:lnTo>
                <a:lnTo>
                  <a:pt x="420" y="501"/>
                </a:lnTo>
                <a:lnTo>
                  <a:pt x="417" y="499"/>
                </a:lnTo>
                <a:lnTo>
                  <a:pt x="417" y="500"/>
                </a:lnTo>
                <a:lnTo>
                  <a:pt x="414" y="500"/>
                </a:lnTo>
                <a:lnTo>
                  <a:pt x="412" y="499"/>
                </a:lnTo>
                <a:lnTo>
                  <a:pt x="411" y="499"/>
                </a:lnTo>
                <a:lnTo>
                  <a:pt x="409" y="500"/>
                </a:lnTo>
                <a:lnTo>
                  <a:pt x="416" y="501"/>
                </a:lnTo>
                <a:lnTo>
                  <a:pt x="417" y="500"/>
                </a:lnTo>
                <a:lnTo>
                  <a:pt x="417" y="501"/>
                </a:lnTo>
                <a:lnTo>
                  <a:pt x="414" y="505"/>
                </a:lnTo>
                <a:lnTo>
                  <a:pt x="414" y="506"/>
                </a:lnTo>
                <a:lnTo>
                  <a:pt x="417" y="506"/>
                </a:lnTo>
                <a:lnTo>
                  <a:pt x="417" y="507"/>
                </a:lnTo>
                <a:lnTo>
                  <a:pt x="415" y="510"/>
                </a:lnTo>
                <a:lnTo>
                  <a:pt x="412" y="511"/>
                </a:lnTo>
                <a:lnTo>
                  <a:pt x="411" y="512"/>
                </a:lnTo>
                <a:lnTo>
                  <a:pt x="406" y="512"/>
                </a:lnTo>
                <a:lnTo>
                  <a:pt x="406" y="511"/>
                </a:lnTo>
                <a:lnTo>
                  <a:pt x="404" y="509"/>
                </a:lnTo>
                <a:lnTo>
                  <a:pt x="404" y="510"/>
                </a:lnTo>
                <a:lnTo>
                  <a:pt x="402" y="511"/>
                </a:lnTo>
                <a:lnTo>
                  <a:pt x="401" y="512"/>
                </a:lnTo>
                <a:lnTo>
                  <a:pt x="401" y="513"/>
                </a:lnTo>
                <a:lnTo>
                  <a:pt x="399" y="515"/>
                </a:lnTo>
                <a:lnTo>
                  <a:pt x="398" y="515"/>
                </a:lnTo>
                <a:lnTo>
                  <a:pt x="398" y="516"/>
                </a:lnTo>
                <a:lnTo>
                  <a:pt x="397" y="515"/>
                </a:lnTo>
                <a:lnTo>
                  <a:pt x="396" y="515"/>
                </a:lnTo>
                <a:lnTo>
                  <a:pt x="393" y="516"/>
                </a:lnTo>
                <a:lnTo>
                  <a:pt x="392" y="516"/>
                </a:lnTo>
                <a:lnTo>
                  <a:pt x="393" y="517"/>
                </a:lnTo>
                <a:lnTo>
                  <a:pt x="395" y="517"/>
                </a:lnTo>
                <a:lnTo>
                  <a:pt x="395" y="518"/>
                </a:lnTo>
                <a:lnTo>
                  <a:pt x="396" y="517"/>
                </a:lnTo>
                <a:lnTo>
                  <a:pt x="399" y="516"/>
                </a:lnTo>
                <a:lnTo>
                  <a:pt x="401" y="516"/>
                </a:lnTo>
                <a:lnTo>
                  <a:pt x="402" y="515"/>
                </a:lnTo>
                <a:lnTo>
                  <a:pt x="403" y="516"/>
                </a:lnTo>
                <a:lnTo>
                  <a:pt x="403" y="522"/>
                </a:lnTo>
                <a:lnTo>
                  <a:pt x="402" y="522"/>
                </a:lnTo>
                <a:lnTo>
                  <a:pt x="402" y="523"/>
                </a:lnTo>
                <a:lnTo>
                  <a:pt x="403" y="523"/>
                </a:lnTo>
                <a:lnTo>
                  <a:pt x="402" y="525"/>
                </a:lnTo>
                <a:lnTo>
                  <a:pt x="399" y="527"/>
                </a:lnTo>
                <a:lnTo>
                  <a:pt x="397" y="529"/>
                </a:lnTo>
                <a:lnTo>
                  <a:pt x="390" y="529"/>
                </a:lnTo>
                <a:lnTo>
                  <a:pt x="390" y="530"/>
                </a:lnTo>
                <a:lnTo>
                  <a:pt x="385" y="530"/>
                </a:lnTo>
                <a:lnTo>
                  <a:pt x="383" y="531"/>
                </a:lnTo>
                <a:lnTo>
                  <a:pt x="381" y="531"/>
                </a:lnTo>
                <a:lnTo>
                  <a:pt x="381" y="534"/>
                </a:lnTo>
                <a:lnTo>
                  <a:pt x="380" y="534"/>
                </a:lnTo>
                <a:lnTo>
                  <a:pt x="379" y="535"/>
                </a:lnTo>
                <a:lnTo>
                  <a:pt x="381" y="534"/>
                </a:lnTo>
                <a:lnTo>
                  <a:pt x="383" y="534"/>
                </a:lnTo>
                <a:lnTo>
                  <a:pt x="383" y="533"/>
                </a:lnTo>
                <a:lnTo>
                  <a:pt x="385" y="531"/>
                </a:lnTo>
                <a:lnTo>
                  <a:pt x="392" y="533"/>
                </a:lnTo>
                <a:lnTo>
                  <a:pt x="393" y="534"/>
                </a:lnTo>
                <a:lnTo>
                  <a:pt x="393" y="535"/>
                </a:lnTo>
                <a:lnTo>
                  <a:pt x="390" y="535"/>
                </a:lnTo>
                <a:lnTo>
                  <a:pt x="389" y="536"/>
                </a:lnTo>
                <a:lnTo>
                  <a:pt x="387" y="536"/>
                </a:lnTo>
                <a:lnTo>
                  <a:pt x="386" y="537"/>
                </a:lnTo>
                <a:lnTo>
                  <a:pt x="387" y="539"/>
                </a:lnTo>
                <a:lnTo>
                  <a:pt x="392" y="539"/>
                </a:lnTo>
                <a:lnTo>
                  <a:pt x="392" y="536"/>
                </a:lnTo>
                <a:lnTo>
                  <a:pt x="393" y="536"/>
                </a:lnTo>
                <a:lnTo>
                  <a:pt x="393" y="537"/>
                </a:lnTo>
                <a:lnTo>
                  <a:pt x="395" y="535"/>
                </a:lnTo>
                <a:lnTo>
                  <a:pt x="396" y="535"/>
                </a:lnTo>
                <a:lnTo>
                  <a:pt x="401" y="536"/>
                </a:lnTo>
                <a:lnTo>
                  <a:pt x="401" y="537"/>
                </a:lnTo>
                <a:lnTo>
                  <a:pt x="402" y="537"/>
                </a:lnTo>
                <a:lnTo>
                  <a:pt x="402" y="539"/>
                </a:lnTo>
                <a:lnTo>
                  <a:pt x="403" y="539"/>
                </a:lnTo>
                <a:lnTo>
                  <a:pt x="403" y="540"/>
                </a:lnTo>
                <a:lnTo>
                  <a:pt x="402" y="541"/>
                </a:lnTo>
                <a:lnTo>
                  <a:pt x="397" y="540"/>
                </a:lnTo>
                <a:lnTo>
                  <a:pt x="396" y="540"/>
                </a:lnTo>
                <a:lnTo>
                  <a:pt x="395" y="539"/>
                </a:lnTo>
                <a:lnTo>
                  <a:pt x="395" y="540"/>
                </a:lnTo>
                <a:lnTo>
                  <a:pt x="396" y="541"/>
                </a:lnTo>
                <a:lnTo>
                  <a:pt x="404" y="541"/>
                </a:lnTo>
                <a:lnTo>
                  <a:pt x="409" y="540"/>
                </a:lnTo>
                <a:lnTo>
                  <a:pt x="423" y="539"/>
                </a:lnTo>
                <a:lnTo>
                  <a:pt x="424" y="539"/>
                </a:lnTo>
                <a:lnTo>
                  <a:pt x="423" y="541"/>
                </a:lnTo>
                <a:lnTo>
                  <a:pt x="423" y="542"/>
                </a:lnTo>
                <a:lnTo>
                  <a:pt x="421" y="542"/>
                </a:lnTo>
                <a:lnTo>
                  <a:pt x="421" y="544"/>
                </a:lnTo>
                <a:lnTo>
                  <a:pt x="422" y="546"/>
                </a:lnTo>
                <a:lnTo>
                  <a:pt x="422" y="553"/>
                </a:lnTo>
                <a:lnTo>
                  <a:pt x="421" y="555"/>
                </a:lnTo>
                <a:lnTo>
                  <a:pt x="421" y="556"/>
                </a:lnTo>
                <a:lnTo>
                  <a:pt x="417" y="558"/>
                </a:lnTo>
                <a:lnTo>
                  <a:pt x="415" y="558"/>
                </a:lnTo>
                <a:lnTo>
                  <a:pt x="412" y="560"/>
                </a:lnTo>
                <a:lnTo>
                  <a:pt x="408" y="560"/>
                </a:lnTo>
                <a:lnTo>
                  <a:pt x="406" y="562"/>
                </a:lnTo>
                <a:lnTo>
                  <a:pt x="404" y="565"/>
                </a:lnTo>
                <a:lnTo>
                  <a:pt x="404" y="571"/>
                </a:lnTo>
                <a:lnTo>
                  <a:pt x="403" y="571"/>
                </a:lnTo>
                <a:lnTo>
                  <a:pt x="399" y="570"/>
                </a:lnTo>
                <a:lnTo>
                  <a:pt x="397" y="568"/>
                </a:lnTo>
                <a:lnTo>
                  <a:pt x="395" y="570"/>
                </a:lnTo>
                <a:lnTo>
                  <a:pt x="390" y="574"/>
                </a:lnTo>
                <a:lnTo>
                  <a:pt x="380" y="577"/>
                </a:lnTo>
                <a:lnTo>
                  <a:pt x="378" y="577"/>
                </a:lnTo>
                <a:lnTo>
                  <a:pt x="378" y="579"/>
                </a:lnTo>
                <a:lnTo>
                  <a:pt x="375" y="579"/>
                </a:lnTo>
                <a:lnTo>
                  <a:pt x="374" y="582"/>
                </a:lnTo>
                <a:lnTo>
                  <a:pt x="372" y="582"/>
                </a:lnTo>
                <a:lnTo>
                  <a:pt x="370" y="580"/>
                </a:lnTo>
                <a:lnTo>
                  <a:pt x="367" y="580"/>
                </a:lnTo>
                <a:lnTo>
                  <a:pt x="366" y="579"/>
                </a:lnTo>
                <a:lnTo>
                  <a:pt x="364" y="579"/>
                </a:lnTo>
                <a:lnTo>
                  <a:pt x="355" y="577"/>
                </a:lnTo>
                <a:lnTo>
                  <a:pt x="352" y="577"/>
                </a:lnTo>
                <a:lnTo>
                  <a:pt x="346" y="578"/>
                </a:lnTo>
                <a:lnTo>
                  <a:pt x="339" y="578"/>
                </a:lnTo>
                <a:lnTo>
                  <a:pt x="333" y="580"/>
                </a:lnTo>
                <a:lnTo>
                  <a:pt x="330" y="580"/>
                </a:lnTo>
                <a:lnTo>
                  <a:pt x="330" y="583"/>
                </a:lnTo>
                <a:lnTo>
                  <a:pt x="329" y="583"/>
                </a:lnTo>
                <a:lnTo>
                  <a:pt x="324" y="580"/>
                </a:lnTo>
                <a:lnTo>
                  <a:pt x="324" y="579"/>
                </a:lnTo>
                <a:lnTo>
                  <a:pt x="325" y="579"/>
                </a:lnTo>
                <a:lnTo>
                  <a:pt x="327" y="578"/>
                </a:lnTo>
                <a:lnTo>
                  <a:pt x="325" y="577"/>
                </a:lnTo>
                <a:lnTo>
                  <a:pt x="324" y="577"/>
                </a:lnTo>
                <a:lnTo>
                  <a:pt x="324" y="576"/>
                </a:lnTo>
                <a:lnTo>
                  <a:pt x="319" y="576"/>
                </a:lnTo>
                <a:lnTo>
                  <a:pt x="319" y="578"/>
                </a:lnTo>
                <a:lnTo>
                  <a:pt x="318" y="579"/>
                </a:lnTo>
                <a:lnTo>
                  <a:pt x="316" y="579"/>
                </a:lnTo>
                <a:lnTo>
                  <a:pt x="317" y="578"/>
                </a:lnTo>
                <a:lnTo>
                  <a:pt x="317" y="577"/>
                </a:lnTo>
                <a:lnTo>
                  <a:pt x="318" y="576"/>
                </a:lnTo>
                <a:lnTo>
                  <a:pt x="317" y="574"/>
                </a:lnTo>
                <a:lnTo>
                  <a:pt x="315" y="576"/>
                </a:lnTo>
                <a:lnTo>
                  <a:pt x="314" y="576"/>
                </a:lnTo>
                <a:lnTo>
                  <a:pt x="315" y="577"/>
                </a:lnTo>
                <a:lnTo>
                  <a:pt x="316" y="577"/>
                </a:lnTo>
                <a:lnTo>
                  <a:pt x="316" y="579"/>
                </a:lnTo>
                <a:lnTo>
                  <a:pt x="312" y="579"/>
                </a:lnTo>
                <a:lnTo>
                  <a:pt x="312" y="578"/>
                </a:lnTo>
                <a:lnTo>
                  <a:pt x="310" y="576"/>
                </a:lnTo>
                <a:lnTo>
                  <a:pt x="308" y="576"/>
                </a:lnTo>
                <a:lnTo>
                  <a:pt x="308" y="574"/>
                </a:lnTo>
                <a:lnTo>
                  <a:pt x="306" y="573"/>
                </a:lnTo>
                <a:lnTo>
                  <a:pt x="302" y="571"/>
                </a:lnTo>
                <a:lnTo>
                  <a:pt x="308" y="577"/>
                </a:lnTo>
                <a:lnTo>
                  <a:pt x="308" y="578"/>
                </a:lnTo>
                <a:lnTo>
                  <a:pt x="306" y="579"/>
                </a:lnTo>
                <a:lnTo>
                  <a:pt x="304" y="579"/>
                </a:lnTo>
                <a:lnTo>
                  <a:pt x="304" y="580"/>
                </a:lnTo>
                <a:lnTo>
                  <a:pt x="300" y="580"/>
                </a:lnTo>
                <a:lnTo>
                  <a:pt x="300" y="582"/>
                </a:lnTo>
                <a:lnTo>
                  <a:pt x="298" y="580"/>
                </a:lnTo>
                <a:lnTo>
                  <a:pt x="297" y="584"/>
                </a:lnTo>
                <a:lnTo>
                  <a:pt x="296" y="583"/>
                </a:lnTo>
                <a:lnTo>
                  <a:pt x="291" y="583"/>
                </a:lnTo>
                <a:lnTo>
                  <a:pt x="288" y="584"/>
                </a:lnTo>
                <a:lnTo>
                  <a:pt x="287" y="584"/>
                </a:lnTo>
                <a:lnTo>
                  <a:pt x="286" y="583"/>
                </a:lnTo>
                <a:lnTo>
                  <a:pt x="285" y="583"/>
                </a:lnTo>
                <a:lnTo>
                  <a:pt x="284" y="584"/>
                </a:lnTo>
                <a:lnTo>
                  <a:pt x="283" y="584"/>
                </a:lnTo>
                <a:lnTo>
                  <a:pt x="281" y="585"/>
                </a:lnTo>
                <a:lnTo>
                  <a:pt x="281" y="584"/>
                </a:lnTo>
                <a:lnTo>
                  <a:pt x="278" y="584"/>
                </a:lnTo>
                <a:lnTo>
                  <a:pt x="278" y="583"/>
                </a:lnTo>
                <a:lnTo>
                  <a:pt x="277" y="583"/>
                </a:lnTo>
                <a:lnTo>
                  <a:pt x="275" y="585"/>
                </a:lnTo>
                <a:lnTo>
                  <a:pt x="277" y="585"/>
                </a:lnTo>
                <a:lnTo>
                  <a:pt x="277" y="584"/>
                </a:lnTo>
                <a:lnTo>
                  <a:pt x="279" y="586"/>
                </a:lnTo>
                <a:lnTo>
                  <a:pt x="280" y="586"/>
                </a:lnTo>
                <a:lnTo>
                  <a:pt x="281" y="587"/>
                </a:lnTo>
                <a:lnTo>
                  <a:pt x="280" y="589"/>
                </a:lnTo>
                <a:lnTo>
                  <a:pt x="281" y="589"/>
                </a:lnTo>
                <a:lnTo>
                  <a:pt x="280" y="590"/>
                </a:lnTo>
                <a:lnTo>
                  <a:pt x="280" y="591"/>
                </a:lnTo>
                <a:lnTo>
                  <a:pt x="279" y="592"/>
                </a:lnTo>
                <a:lnTo>
                  <a:pt x="275" y="592"/>
                </a:lnTo>
                <a:lnTo>
                  <a:pt x="272" y="590"/>
                </a:lnTo>
                <a:lnTo>
                  <a:pt x="265" y="590"/>
                </a:lnTo>
                <a:lnTo>
                  <a:pt x="262" y="589"/>
                </a:lnTo>
                <a:lnTo>
                  <a:pt x="260" y="589"/>
                </a:lnTo>
                <a:lnTo>
                  <a:pt x="260" y="590"/>
                </a:lnTo>
                <a:lnTo>
                  <a:pt x="259" y="591"/>
                </a:lnTo>
                <a:lnTo>
                  <a:pt x="259" y="592"/>
                </a:lnTo>
                <a:lnTo>
                  <a:pt x="249" y="585"/>
                </a:lnTo>
                <a:lnTo>
                  <a:pt x="242" y="583"/>
                </a:lnTo>
                <a:lnTo>
                  <a:pt x="238" y="583"/>
                </a:lnTo>
                <a:lnTo>
                  <a:pt x="238" y="584"/>
                </a:lnTo>
                <a:lnTo>
                  <a:pt x="234" y="584"/>
                </a:lnTo>
                <a:lnTo>
                  <a:pt x="231" y="586"/>
                </a:lnTo>
                <a:lnTo>
                  <a:pt x="230" y="586"/>
                </a:lnTo>
                <a:lnTo>
                  <a:pt x="230" y="585"/>
                </a:lnTo>
                <a:lnTo>
                  <a:pt x="229" y="585"/>
                </a:lnTo>
                <a:lnTo>
                  <a:pt x="228" y="586"/>
                </a:lnTo>
                <a:lnTo>
                  <a:pt x="225" y="586"/>
                </a:lnTo>
                <a:lnTo>
                  <a:pt x="225" y="587"/>
                </a:lnTo>
                <a:lnTo>
                  <a:pt x="224" y="589"/>
                </a:lnTo>
                <a:lnTo>
                  <a:pt x="221" y="590"/>
                </a:lnTo>
                <a:lnTo>
                  <a:pt x="218" y="590"/>
                </a:lnTo>
                <a:lnTo>
                  <a:pt x="218" y="589"/>
                </a:lnTo>
                <a:lnTo>
                  <a:pt x="217" y="587"/>
                </a:lnTo>
                <a:lnTo>
                  <a:pt x="218" y="590"/>
                </a:lnTo>
                <a:lnTo>
                  <a:pt x="218" y="591"/>
                </a:lnTo>
                <a:lnTo>
                  <a:pt x="217" y="591"/>
                </a:lnTo>
                <a:lnTo>
                  <a:pt x="217" y="592"/>
                </a:lnTo>
                <a:lnTo>
                  <a:pt x="216" y="593"/>
                </a:lnTo>
                <a:lnTo>
                  <a:pt x="216" y="595"/>
                </a:lnTo>
                <a:lnTo>
                  <a:pt x="215" y="597"/>
                </a:lnTo>
                <a:lnTo>
                  <a:pt x="215" y="598"/>
                </a:lnTo>
                <a:lnTo>
                  <a:pt x="216" y="601"/>
                </a:lnTo>
                <a:lnTo>
                  <a:pt x="213" y="601"/>
                </a:lnTo>
                <a:lnTo>
                  <a:pt x="213" y="604"/>
                </a:lnTo>
                <a:lnTo>
                  <a:pt x="216" y="604"/>
                </a:lnTo>
                <a:lnTo>
                  <a:pt x="216" y="605"/>
                </a:lnTo>
                <a:lnTo>
                  <a:pt x="215" y="605"/>
                </a:lnTo>
                <a:lnTo>
                  <a:pt x="215" y="608"/>
                </a:lnTo>
                <a:lnTo>
                  <a:pt x="213" y="609"/>
                </a:lnTo>
                <a:lnTo>
                  <a:pt x="213" y="608"/>
                </a:lnTo>
                <a:lnTo>
                  <a:pt x="212" y="608"/>
                </a:lnTo>
                <a:lnTo>
                  <a:pt x="212" y="609"/>
                </a:lnTo>
                <a:lnTo>
                  <a:pt x="211" y="610"/>
                </a:lnTo>
                <a:lnTo>
                  <a:pt x="210" y="610"/>
                </a:lnTo>
                <a:lnTo>
                  <a:pt x="210" y="611"/>
                </a:lnTo>
                <a:lnTo>
                  <a:pt x="209" y="613"/>
                </a:lnTo>
                <a:lnTo>
                  <a:pt x="209" y="616"/>
                </a:lnTo>
                <a:lnTo>
                  <a:pt x="206" y="617"/>
                </a:lnTo>
                <a:lnTo>
                  <a:pt x="205" y="617"/>
                </a:lnTo>
                <a:lnTo>
                  <a:pt x="204" y="616"/>
                </a:lnTo>
                <a:lnTo>
                  <a:pt x="203" y="617"/>
                </a:lnTo>
                <a:lnTo>
                  <a:pt x="201" y="616"/>
                </a:lnTo>
                <a:lnTo>
                  <a:pt x="199" y="613"/>
                </a:lnTo>
                <a:lnTo>
                  <a:pt x="197" y="610"/>
                </a:lnTo>
                <a:lnTo>
                  <a:pt x="194" y="610"/>
                </a:lnTo>
                <a:lnTo>
                  <a:pt x="194" y="611"/>
                </a:lnTo>
                <a:lnTo>
                  <a:pt x="191" y="611"/>
                </a:lnTo>
                <a:lnTo>
                  <a:pt x="191" y="610"/>
                </a:lnTo>
                <a:lnTo>
                  <a:pt x="190" y="609"/>
                </a:lnTo>
                <a:lnTo>
                  <a:pt x="190" y="607"/>
                </a:lnTo>
                <a:lnTo>
                  <a:pt x="187" y="607"/>
                </a:lnTo>
                <a:lnTo>
                  <a:pt x="187" y="605"/>
                </a:lnTo>
                <a:lnTo>
                  <a:pt x="186" y="604"/>
                </a:lnTo>
                <a:lnTo>
                  <a:pt x="186" y="603"/>
                </a:lnTo>
                <a:lnTo>
                  <a:pt x="187" y="602"/>
                </a:lnTo>
                <a:lnTo>
                  <a:pt x="185" y="602"/>
                </a:lnTo>
                <a:lnTo>
                  <a:pt x="185" y="605"/>
                </a:lnTo>
                <a:lnTo>
                  <a:pt x="182" y="605"/>
                </a:lnTo>
                <a:lnTo>
                  <a:pt x="182" y="607"/>
                </a:lnTo>
                <a:lnTo>
                  <a:pt x="185" y="605"/>
                </a:lnTo>
                <a:lnTo>
                  <a:pt x="186" y="607"/>
                </a:lnTo>
                <a:lnTo>
                  <a:pt x="185" y="607"/>
                </a:lnTo>
                <a:lnTo>
                  <a:pt x="186" y="608"/>
                </a:lnTo>
                <a:lnTo>
                  <a:pt x="186" y="610"/>
                </a:lnTo>
                <a:lnTo>
                  <a:pt x="185" y="610"/>
                </a:lnTo>
                <a:lnTo>
                  <a:pt x="185" y="608"/>
                </a:lnTo>
                <a:lnTo>
                  <a:pt x="184" y="608"/>
                </a:lnTo>
                <a:lnTo>
                  <a:pt x="180" y="607"/>
                </a:lnTo>
                <a:lnTo>
                  <a:pt x="178" y="607"/>
                </a:lnTo>
                <a:lnTo>
                  <a:pt x="175" y="609"/>
                </a:lnTo>
                <a:lnTo>
                  <a:pt x="173" y="609"/>
                </a:lnTo>
                <a:lnTo>
                  <a:pt x="167" y="610"/>
                </a:lnTo>
                <a:lnTo>
                  <a:pt x="166" y="610"/>
                </a:lnTo>
                <a:lnTo>
                  <a:pt x="166" y="609"/>
                </a:lnTo>
                <a:lnTo>
                  <a:pt x="162" y="609"/>
                </a:lnTo>
                <a:lnTo>
                  <a:pt x="162" y="611"/>
                </a:lnTo>
                <a:lnTo>
                  <a:pt x="161" y="613"/>
                </a:lnTo>
                <a:lnTo>
                  <a:pt x="161" y="616"/>
                </a:lnTo>
                <a:lnTo>
                  <a:pt x="157" y="616"/>
                </a:lnTo>
                <a:lnTo>
                  <a:pt x="156" y="617"/>
                </a:lnTo>
                <a:lnTo>
                  <a:pt x="154" y="619"/>
                </a:lnTo>
                <a:lnTo>
                  <a:pt x="151" y="622"/>
                </a:lnTo>
                <a:lnTo>
                  <a:pt x="151" y="619"/>
                </a:lnTo>
                <a:lnTo>
                  <a:pt x="150" y="619"/>
                </a:lnTo>
                <a:lnTo>
                  <a:pt x="150" y="620"/>
                </a:lnTo>
                <a:lnTo>
                  <a:pt x="149" y="621"/>
                </a:lnTo>
                <a:lnTo>
                  <a:pt x="150" y="622"/>
                </a:lnTo>
                <a:lnTo>
                  <a:pt x="149" y="622"/>
                </a:lnTo>
                <a:lnTo>
                  <a:pt x="149" y="623"/>
                </a:lnTo>
                <a:lnTo>
                  <a:pt x="148" y="625"/>
                </a:lnTo>
                <a:lnTo>
                  <a:pt x="148" y="626"/>
                </a:lnTo>
                <a:lnTo>
                  <a:pt x="149" y="626"/>
                </a:lnTo>
                <a:lnTo>
                  <a:pt x="149" y="628"/>
                </a:lnTo>
                <a:lnTo>
                  <a:pt x="148" y="630"/>
                </a:lnTo>
                <a:lnTo>
                  <a:pt x="145" y="630"/>
                </a:lnTo>
                <a:lnTo>
                  <a:pt x="144" y="632"/>
                </a:lnTo>
                <a:lnTo>
                  <a:pt x="144" y="634"/>
                </a:lnTo>
                <a:lnTo>
                  <a:pt x="143" y="634"/>
                </a:lnTo>
                <a:lnTo>
                  <a:pt x="143" y="633"/>
                </a:lnTo>
                <a:lnTo>
                  <a:pt x="142" y="632"/>
                </a:lnTo>
                <a:lnTo>
                  <a:pt x="142" y="629"/>
                </a:lnTo>
                <a:lnTo>
                  <a:pt x="140" y="627"/>
                </a:lnTo>
                <a:lnTo>
                  <a:pt x="140" y="626"/>
                </a:lnTo>
                <a:lnTo>
                  <a:pt x="138" y="626"/>
                </a:lnTo>
                <a:lnTo>
                  <a:pt x="134" y="623"/>
                </a:lnTo>
                <a:lnTo>
                  <a:pt x="132" y="623"/>
                </a:lnTo>
                <a:lnTo>
                  <a:pt x="132" y="622"/>
                </a:lnTo>
                <a:lnTo>
                  <a:pt x="131" y="622"/>
                </a:lnTo>
                <a:lnTo>
                  <a:pt x="130" y="623"/>
                </a:lnTo>
                <a:lnTo>
                  <a:pt x="129" y="623"/>
                </a:lnTo>
                <a:lnTo>
                  <a:pt x="129" y="625"/>
                </a:lnTo>
                <a:lnTo>
                  <a:pt x="130" y="626"/>
                </a:lnTo>
                <a:lnTo>
                  <a:pt x="128" y="628"/>
                </a:lnTo>
                <a:lnTo>
                  <a:pt x="123" y="628"/>
                </a:lnTo>
                <a:lnTo>
                  <a:pt x="122" y="626"/>
                </a:lnTo>
                <a:lnTo>
                  <a:pt x="123" y="626"/>
                </a:lnTo>
                <a:lnTo>
                  <a:pt x="123" y="625"/>
                </a:lnTo>
                <a:lnTo>
                  <a:pt x="122" y="623"/>
                </a:lnTo>
                <a:lnTo>
                  <a:pt x="122" y="622"/>
                </a:lnTo>
                <a:lnTo>
                  <a:pt x="123" y="622"/>
                </a:lnTo>
                <a:lnTo>
                  <a:pt x="123" y="621"/>
                </a:lnTo>
                <a:lnTo>
                  <a:pt x="124" y="620"/>
                </a:lnTo>
                <a:lnTo>
                  <a:pt x="125" y="620"/>
                </a:lnTo>
                <a:lnTo>
                  <a:pt x="128" y="619"/>
                </a:lnTo>
                <a:lnTo>
                  <a:pt x="130" y="616"/>
                </a:lnTo>
                <a:lnTo>
                  <a:pt x="131" y="616"/>
                </a:lnTo>
                <a:lnTo>
                  <a:pt x="132" y="619"/>
                </a:lnTo>
                <a:lnTo>
                  <a:pt x="134" y="619"/>
                </a:lnTo>
                <a:lnTo>
                  <a:pt x="135" y="617"/>
                </a:lnTo>
                <a:lnTo>
                  <a:pt x="135" y="616"/>
                </a:lnTo>
                <a:lnTo>
                  <a:pt x="136" y="616"/>
                </a:lnTo>
                <a:lnTo>
                  <a:pt x="136" y="615"/>
                </a:lnTo>
                <a:lnTo>
                  <a:pt x="138" y="615"/>
                </a:lnTo>
                <a:lnTo>
                  <a:pt x="143" y="609"/>
                </a:lnTo>
                <a:lnTo>
                  <a:pt x="145" y="608"/>
                </a:lnTo>
                <a:lnTo>
                  <a:pt x="145" y="604"/>
                </a:lnTo>
                <a:lnTo>
                  <a:pt x="147" y="604"/>
                </a:lnTo>
                <a:lnTo>
                  <a:pt x="150" y="603"/>
                </a:lnTo>
                <a:lnTo>
                  <a:pt x="150" y="598"/>
                </a:lnTo>
                <a:lnTo>
                  <a:pt x="151" y="597"/>
                </a:lnTo>
                <a:lnTo>
                  <a:pt x="151" y="596"/>
                </a:lnTo>
                <a:lnTo>
                  <a:pt x="153" y="595"/>
                </a:lnTo>
                <a:lnTo>
                  <a:pt x="154" y="595"/>
                </a:lnTo>
                <a:lnTo>
                  <a:pt x="154" y="593"/>
                </a:lnTo>
                <a:lnTo>
                  <a:pt x="155" y="595"/>
                </a:lnTo>
                <a:lnTo>
                  <a:pt x="155" y="596"/>
                </a:lnTo>
                <a:lnTo>
                  <a:pt x="156" y="597"/>
                </a:lnTo>
                <a:lnTo>
                  <a:pt x="159" y="597"/>
                </a:lnTo>
                <a:lnTo>
                  <a:pt x="159" y="596"/>
                </a:lnTo>
                <a:lnTo>
                  <a:pt x="156" y="596"/>
                </a:lnTo>
                <a:lnTo>
                  <a:pt x="155" y="595"/>
                </a:lnTo>
                <a:lnTo>
                  <a:pt x="155" y="592"/>
                </a:lnTo>
                <a:lnTo>
                  <a:pt x="161" y="592"/>
                </a:lnTo>
                <a:lnTo>
                  <a:pt x="161" y="591"/>
                </a:lnTo>
                <a:lnTo>
                  <a:pt x="162" y="590"/>
                </a:lnTo>
                <a:lnTo>
                  <a:pt x="162" y="586"/>
                </a:lnTo>
                <a:lnTo>
                  <a:pt x="163" y="586"/>
                </a:lnTo>
                <a:lnTo>
                  <a:pt x="167" y="584"/>
                </a:lnTo>
                <a:lnTo>
                  <a:pt x="167" y="583"/>
                </a:lnTo>
                <a:lnTo>
                  <a:pt x="169" y="580"/>
                </a:lnTo>
                <a:lnTo>
                  <a:pt x="170" y="578"/>
                </a:lnTo>
                <a:lnTo>
                  <a:pt x="170" y="572"/>
                </a:lnTo>
                <a:lnTo>
                  <a:pt x="172" y="568"/>
                </a:lnTo>
                <a:lnTo>
                  <a:pt x="172" y="564"/>
                </a:lnTo>
                <a:lnTo>
                  <a:pt x="176" y="564"/>
                </a:lnTo>
                <a:lnTo>
                  <a:pt x="178" y="565"/>
                </a:lnTo>
                <a:lnTo>
                  <a:pt x="181" y="565"/>
                </a:lnTo>
                <a:lnTo>
                  <a:pt x="185" y="561"/>
                </a:lnTo>
                <a:lnTo>
                  <a:pt x="185" y="560"/>
                </a:lnTo>
                <a:lnTo>
                  <a:pt x="186" y="560"/>
                </a:lnTo>
                <a:lnTo>
                  <a:pt x="185" y="559"/>
                </a:lnTo>
                <a:lnTo>
                  <a:pt x="185" y="556"/>
                </a:lnTo>
                <a:lnTo>
                  <a:pt x="184" y="555"/>
                </a:lnTo>
                <a:lnTo>
                  <a:pt x="185" y="555"/>
                </a:lnTo>
                <a:lnTo>
                  <a:pt x="185" y="552"/>
                </a:lnTo>
                <a:lnTo>
                  <a:pt x="187" y="550"/>
                </a:lnTo>
                <a:lnTo>
                  <a:pt x="196" y="550"/>
                </a:lnTo>
                <a:lnTo>
                  <a:pt x="197" y="549"/>
                </a:lnTo>
                <a:lnTo>
                  <a:pt x="201" y="549"/>
                </a:lnTo>
                <a:lnTo>
                  <a:pt x="203" y="548"/>
                </a:lnTo>
                <a:lnTo>
                  <a:pt x="204" y="548"/>
                </a:lnTo>
                <a:lnTo>
                  <a:pt x="210" y="549"/>
                </a:lnTo>
                <a:lnTo>
                  <a:pt x="212" y="549"/>
                </a:lnTo>
                <a:lnTo>
                  <a:pt x="218" y="550"/>
                </a:lnTo>
                <a:lnTo>
                  <a:pt x="221" y="553"/>
                </a:lnTo>
                <a:lnTo>
                  <a:pt x="225" y="552"/>
                </a:lnTo>
                <a:lnTo>
                  <a:pt x="228" y="552"/>
                </a:lnTo>
                <a:lnTo>
                  <a:pt x="230" y="550"/>
                </a:lnTo>
                <a:lnTo>
                  <a:pt x="232" y="552"/>
                </a:lnTo>
                <a:lnTo>
                  <a:pt x="234" y="550"/>
                </a:lnTo>
                <a:lnTo>
                  <a:pt x="235" y="550"/>
                </a:lnTo>
                <a:lnTo>
                  <a:pt x="235" y="552"/>
                </a:lnTo>
                <a:lnTo>
                  <a:pt x="236" y="550"/>
                </a:lnTo>
                <a:lnTo>
                  <a:pt x="236" y="544"/>
                </a:lnTo>
                <a:lnTo>
                  <a:pt x="235" y="543"/>
                </a:lnTo>
                <a:lnTo>
                  <a:pt x="237" y="543"/>
                </a:lnTo>
                <a:lnTo>
                  <a:pt x="237" y="541"/>
                </a:lnTo>
                <a:lnTo>
                  <a:pt x="238" y="540"/>
                </a:lnTo>
                <a:lnTo>
                  <a:pt x="237" y="539"/>
                </a:lnTo>
                <a:lnTo>
                  <a:pt x="240" y="539"/>
                </a:lnTo>
                <a:lnTo>
                  <a:pt x="241" y="537"/>
                </a:lnTo>
                <a:lnTo>
                  <a:pt x="244" y="533"/>
                </a:lnTo>
                <a:lnTo>
                  <a:pt x="246" y="531"/>
                </a:lnTo>
                <a:lnTo>
                  <a:pt x="248" y="531"/>
                </a:lnTo>
                <a:lnTo>
                  <a:pt x="249" y="530"/>
                </a:lnTo>
                <a:lnTo>
                  <a:pt x="253" y="524"/>
                </a:lnTo>
                <a:lnTo>
                  <a:pt x="254" y="523"/>
                </a:lnTo>
                <a:lnTo>
                  <a:pt x="254" y="522"/>
                </a:lnTo>
                <a:lnTo>
                  <a:pt x="255" y="522"/>
                </a:lnTo>
                <a:lnTo>
                  <a:pt x="255" y="521"/>
                </a:lnTo>
                <a:lnTo>
                  <a:pt x="257" y="518"/>
                </a:lnTo>
                <a:lnTo>
                  <a:pt x="259" y="516"/>
                </a:lnTo>
                <a:lnTo>
                  <a:pt x="260" y="516"/>
                </a:lnTo>
                <a:lnTo>
                  <a:pt x="261" y="515"/>
                </a:lnTo>
                <a:lnTo>
                  <a:pt x="262" y="515"/>
                </a:lnTo>
                <a:lnTo>
                  <a:pt x="262" y="512"/>
                </a:lnTo>
                <a:lnTo>
                  <a:pt x="260" y="515"/>
                </a:lnTo>
                <a:lnTo>
                  <a:pt x="259" y="515"/>
                </a:lnTo>
                <a:lnTo>
                  <a:pt x="254" y="519"/>
                </a:lnTo>
                <a:lnTo>
                  <a:pt x="253" y="519"/>
                </a:lnTo>
                <a:lnTo>
                  <a:pt x="250" y="523"/>
                </a:lnTo>
                <a:lnTo>
                  <a:pt x="248" y="525"/>
                </a:lnTo>
                <a:lnTo>
                  <a:pt x="247" y="525"/>
                </a:lnTo>
                <a:lnTo>
                  <a:pt x="244" y="527"/>
                </a:lnTo>
                <a:lnTo>
                  <a:pt x="244" y="528"/>
                </a:lnTo>
                <a:lnTo>
                  <a:pt x="238" y="528"/>
                </a:lnTo>
                <a:lnTo>
                  <a:pt x="237" y="527"/>
                </a:lnTo>
                <a:lnTo>
                  <a:pt x="237" y="528"/>
                </a:lnTo>
                <a:lnTo>
                  <a:pt x="236" y="529"/>
                </a:lnTo>
                <a:lnTo>
                  <a:pt x="234" y="530"/>
                </a:lnTo>
                <a:lnTo>
                  <a:pt x="231" y="533"/>
                </a:lnTo>
                <a:lnTo>
                  <a:pt x="230" y="533"/>
                </a:lnTo>
                <a:lnTo>
                  <a:pt x="230" y="534"/>
                </a:lnTo>
                <a:lnTo>
                  <a:pt x="229" y="534"/>
                </a:lnTo>
                <a:lnTo>
                  <a:pt x="229" y="535"/>
                </a:lnTo>
                <a:lnTo>
                  <a:pt x="230" y="536"/>
                </a:lnTo>
                <a:lnTo>
                  <a:pt x="229" y="537"/>
                </a:lnTo>
                <a:lnTo>
                  <a:pt x="229" y="539"/>
                </a:lnTo>
                <a:lnTo>
                  <a:pt x="228" y="537"/>
                </a:lnTo>
                <a:lnTo>
                  <a:pt x="224" y="539"/>
                </a:lnTo>
                <a:lnTo>
                  <a:pt x="213" y="539"/>
                </a:lnTo>
                <a:lnTo>
                  <a:pt x="213" y="537"/>
                </a:lnTo>
                <a:lnTo>
                  <a:pt x="209" y="533"/>
                </a:lnTo>
                <a:lnTo>
                  <a:pt x="206" y="533"/>
                </a:lnTo>
                <a:lnTo>
                  <a:pt x="205" y="531"/>
                </a:lnTo>
                <a:lnTo>
                  <a:pt x="205" y="529"/>
                </a:lnTo>
                <a:lnTo>
                  <a:pt x="204" y="528"/>
                </a:lnTo>
                <a:lnTo>
                  <a:pt x="204" y="527"/>
                </a:lnTo>
                <a:lnTo>
                  <a:pt x="201" y="524"/>
                </a:lnTo>
                <a:lnTo>
                  <a:pt x="201" y="523"/>
                </a:lnTo>
                <a:lnTo>
                  <a:pt x="196" y="523"/>
                </a:lnTo>
                <a:lnTo>
                  <a:pt x="194" y="524"/>
                </a:lnTo>
                <a:lnTo>
                  <a:pt x="194" y="525"/>
                </a:lnTo>
                <a:lnTo>
                  <a:pt x="196" y="527"/>
                </a:lnTo>
                <a:lnTo>
                  <a:pt x="192" y="527"/>
                </a:lnTo>
                <a:lnTo>
                  <a:pt x="192" y="528"/>
                </a:lnTo>
                <a:lnTo>
                  <a:pt x="191" y="528"/>
                </a:lnTo>
                <a:lnTo>
                  <a:pt x="191" y="527"/>
                </a:lnTo>
                <a:lnTo>
                  <a:pt x="188" y="527"/>
                </a:lnTo>
                <a:lnTo>
                  <a:pt x="188" y="528"/>
                </a:lnTo>
                <a:lnTo>
                  <a:pt x="186" y="528"/>
                </a:lnTo>
                <a:lnTo>
                  <a:pt x="186" y="529"/>
                </a:lnTo>
                <a:lnTo>
                  <a:pt x="185" y="529"/>
                </a:lnTo>
                <a:lnTo>
                  <a:pt x="182" y="528"/>
                </a:lnTo>
                <a:lnTo>
                  <a:pt x="181" y="527"/>
                </a:lnTo>
                <a:lnTo>
                  <a:pt x="182" y="525"/>
                </a:lnTo>
                <a:lnTo>
                  <a:pt x="182" y="523"/>
                </a:lnTo>
                <a:lnTo>
                  <a:pt x="184" y="523"/>
                </a:lnTo>
                <a:lnTo>
                  <a:pt x="184" y="522"/>
                </a:lnTo>
                <a:lnTo>
                  <a:pt x="185" y="522"/>
                </a:lnTo>
                <a:lnTo>
                  <a:pt x="185" y="523"/>
                </a:lnTo>
                <a:lnTo>
                  <a:pt x="186" y="522"/>
                </a:lnTo>
                <a:lnTo>
                  <a:pt x="191" y="522"/>
                </a:lnTo>
                <a:lnTo>
                  <a:pt x="191" y="519"/>
                </a:lnTo>
                <a:lnTo>
                  <a:pt x="190" y="519"/>
                </a:lnTo>
                <a:lnTo>
                  <a:pt x="190" y="521"/>
                </a:lnTo>
                <a:lnTo>
                  <a:pt x="188" y="519"/>
                </a:lnTo>
                <a:lnTo>
                  <a:pt x="186" y="518"/>
                </a:lnTo>
                <a:lnTo>
                  <a:pt x="185" y="519"/>
                </a:lnTo>
                <a:lnTo>
                  <a:pt x="181" y="519"/>
                </a:lnTo>
                <a:lnTo>
                  <a:pt x="178" y="516"/>
                </a:lnTo>
                <a:lnTo>
                  <a:pt x="180" y="516"/>
                </a:lnTo>
                <a:lnTo>
                  <a:pt x="180" y="515"/>
                </a:lnTo>
                <a:lnTo>
                  <a:pt x="179" y="515"/>
                </a:lnTo>
                <a:lnTo>
                  <a:pt x="179" y="512"/>
                </a:lnTo>
                <a:lnTo>
                  <a:pt x="178" y="512"/>
                </a:lnTo>
                <a:lnTo>
                  <a:pt x="178" y="513"/>
                </a:lnTo>
                <a:lnTo>
                  <a:pt x="176" y="513"/>
                </a:lnTo>
                <a:lnTo>
                  <a:pt x="176" y="512"/>
                </a:lnTo>
                <a:lnTo>
                  <a:pt x="175" y="512"/>
                </a:lnTo>
                <a:lnTo>
                  <a:pt x="175" y="513"/>
                </a:lnTo>
                <a:lnTo>
                  <a:pt x="176" y="515"/>
                </a:lnTo>
                <a:lnTo>
                  <a:pt x="175" y="515"/>
                </a:lnTo>
                <a:lnTo>
                  <a:pt x="173" y="516"/>
                </a:lnTo>
                <a:lnTo>
                  <a:pt x="170" y="515"/>
                </a:lnTo>
                <a:lnTo>
                  <a:pt x="169" y="515"/>
                </a:lnTo>
                <a:lnTo>
                  <a:pt x="167" y="516"/>
                </a:lnTo>
                <a:lnTo>
                  <a:pt x="166" y="516"/>
                </a:lnTo>
                <a:lnTo>
                  <a:pt x="166" y="518"/>
                </a:lnTo>
                <a:lnTo>
                  <a:pt x="165" y="518"/>
                </a:lnTo>
                <a:lnTo>
                  <a:pt x="165" y="521"/>
                </a:lnTo>
                <a:lnTo>
                  <a:pt x="163" y="521"/>
                </a:lnTo>
                <a:lnTo>
                  <a:pt x="162" y="522"/>
                </a:lnTo>
                <a:lnTo>
                  <a:pt x="156" y="522"/>
                </a:lnTo>
                <a:lnTo>
                  <a:pt x="156" y="523"/>
                </a:lnTo>
                <a:lnTo>
                  <a:pt x="155" y="524"/>
                </a:lnTo>
                <a:lnTo>
                  <a:pt x="154" y="524"/>
                </a:lnTo>
                <a:lnTo>
                  <a:pt x="151" y="523"/>
                </a:lnTo>
                <a:lnTo>
                  <a:pt x="150" y="523"/>
                </a:lnTo>
                <a:lnTo>
                  <a:pt x="150" y="521"/>
                </a:lnTo>
                <a:lnTo>
                  <a:pt x="148" y="519"/>
                </a:lnTo>
                <a:lnTo>
                  <a:pt x="147" y="519"/>
                </a:lnTo>
                <a:lnTo>
                  <a:pt x="147" y="518"/>
                </a:lnTo>
                <a:lnTo>
                  <a:pt x="150" y="519"/>
                </a:lnTo>
                <a:lnTo>
                  <a:pt x="150" y="518"/>
                </a:lnTo>
                <a:lnTo>
                  <a:pt x="153" y="518"/>
                </a:lnTo>
                <a:lnTo>
                  <a:pt x="155" y="517"/>
                </a:lnTo>
                <a:lnTo>
                  <a:pt x="157" y="517"/>
                </a:lnTo>
                <a:lnTo>
                  <a:pt x="157" y="516"/>
                </a:lnTo>
                <a:lnTo>
                  <a:pt x="159" y="517"/>
                </a:lnTo>
                <a:lnTo>
                  <a:pt x="159" y="516"/>
                </a:lnTo>
                <a:lnTo>
                  <a:pt x="157" y="515"/>
                </a:lnTo>
                <a:lnTo>
                  <a:pt x="157" y="512"/>
                </a:lnTo>
                <a:lnTo>
                  <a:pt x="160" y="511"/>
                </a:lnTo>
                <a:lnTo>
                  <a:pt x="159" y="511"/>
                </a:lnTo>
                <a:lnTo>
                  <a:pt x="157" y="512"/>
                </a:lnTo>
                <a:lnTo>
                  <a:pt x="156" y="512"/>
                </a:lnTo>
                <a:lnTo>
                  <a:pt x="156" y="516"/>
                </a:lnTo>
                <a:lnTo>
                  <a:pt x="153" y="517"/>
                </a:lnTo>
                <a:lnTo>
                  <a:pt x="151" y="517"/>
                </a:lnTo>
                <a:lnTo>
                  <a:pt x="145" y="516"/>
                </a:lnTo>
                <a:lnTo>
                  <a:pt x="145" y="518"/>
                </a:lnTo>
                <a:lnTo>
                  <a:pt x="144" y="518"/>
                </a:lnTo>
                <a:lnTo>
                  <a:pt x="144" y="517"/>
                </a:lnTo>
                <a:lnTo>
                  <a:pt x="142" y="516"/>
                </a:lnTo>
                <a:lnTo>
                  <a:pt x="143" y="515"/>
                </a:lnTo>
                <a:lnTo>
                  <a:pt x="144" y="515"/>
                </a:lnTo>
                <a:lnTo>
                  <a:pt x="144" y="513"/>
                </a:lnTo>
                <a:lnTo>
                  <a:pt x="147" y="513"/>
                </a:lnTo>
                <a:lnTo>
                  <a:pt x="148" y="512"/>
                </a:lnTo>
                <a:lnTo>
                  <a:pt x="148" y="511"/>
                </a:lnTo>
                <a:lnTo>
                  <a:pt x="147" y="510"/>
                </a:lnTo>
                <a:lnTo>
                  <a:pt x="147" y="506"/>
                </a:lnTo>
                <a:lnTo>
                  <a:pt x="145" y="507"/>
                </a:lnTo>
                <a:lnTo>
                  <a:pt x="145" y="506"/>
                </a:lnTo>
                <a:lnTo>
                  <a:pt x="143" y="506"/>
                </a:lnTo>
                <a:lnTo>
                  <a:pt x="143" y="505"/>
                </a:lnTo>
                <a:lnTo>
                  <a:pt x="142" y="506"/>
                </a:lnTo>
                <a:lnTo>
                  <a:pt x="140" y="506"/>
                </a:lnTo>
                <a:lnTo>
                  <a:pt x="140" y="503"/>
                </a:lnTo>
                <a:lnTo>
                  <a:pt x="142" y="503"/>
                </a:lnTo>
                <a:lnTo>
                  <a:pt x="144" y="500"/>
                </a:lnTo>
                <a:lnTo>
                  <a:pt x="147" y="500"/>
                </a:lnTo>
                <a:lnTo>
                  <a:pt x="148" y="499"/>
                </a:lnTo>
                <a:lnTo>
                  <a:pt x="148" y="497"/>
                </a:lnTo>
                <a:lnTo>
                  <a:pt x="149" y="497"/>
                </a:lnTo>
                <a:lnTo>
                  <a:pt x="149" y="496"/>
                </a:lnTo>
                <a:lnTo>
                  <a:pt x="151" y="496"/>
                </a:lnTo>
                <a:lnTo>
                  <a:pt x="154" y="497"/>
                </a:lnTo>
                <a:lnTo>
                  <a:pt x="155" y="497"/>
                </a:lnTo>
                <a:lnTo>
                  <a:pt x="156" y="496"/>
                </a:lnTo>
                <a:lnTo>
                  <a:pt x="159" y="496"/>
                </a:lnTo>
                <a:lnTo>
                  <a:pt x="159" y="493"/>
                </a:lnTo>
                <a:lnTo>
                  <a:pt x="161" y="493"/>
                </a:lnTo>
                <a:lnTo>
                  <a:pt x="163" y="491"/>
                </a:lnTo>
                <a:lnTo>
                  <a:pt x="163" y="490"/>
                </a:lnTo>
                <a:lnTo>
                  <a:pt x="165" y="490"/>
                </a:lnTo>
                <a:lnTo>
                  <a:pt x="166" y="491"/>
                </a:lnTo>
                <a:lnTo>
                  <a:pt x="166" y="488"/>
                </a:lnTo>
                <a:lnTo>
                  <a:pt x="167" y="487"/>
                </a:lnTo>
                <a:lnTo>
                  <a:pt x="173" y="488"/>
                </a:lnTo>
                <a:lnTo>
                  <a:pt x="173" y="487"/>
                </a:lnTo>
                <a:lnTo>
                  <a:pt x="174" y="486"/>
                </a:lnTo>
                <a:lnTo>
                  <a:pt x="175" y="486"/>
                </a:lnTo>
                <a:lnTo>
                  <a:pt x="179" y="482"/>
                </a:lnTo>
                <a:lnTo>
                  <a:pt x="181" y="482"/>
                </a:lnTo>
                <a:lnTo>
                  <a:pt x="186" y="478"/>
                </a:lnTo>
                <a:lnTo>
                  <a:pt x="188" y="474"/>
                </a:lnTo>
                <a:lnTo>
                  <a:pt x="190" y="472"/>
                </a:lnTo>
                <a:lnTo>
                  <a:pt x="190" y="470"/>
                </a:lnTo>
                <a:lnTo>
                  <a:pt x="191" y="468"/>
                </a:lnTo>
                <a:lnTo>
                  <a:pt x="191" y="464"/>
                </a:lnTo>
                <a:lnTo>
                  <a:pt x="192" y="463"/>
                </a:lnTo>
                <a:lnTo>
                  <a:pt x="192" y="461"/>
                </a:lnTo>
                <a:lnTo>
                  <a:pt x="194" y="461"/>
                </a:lnTo>
                <a:lnTo>
                  <a:pt x="197" y="460"/>
                </a:lnTo>
                <a:lnTo>
                  <a:pt x="197" y="458"/>
                </a:lnTo>
                <a:lnTo>
                  <a:pt x="196" y="458"/>
                </a:lnTo>
                <a:lnTo>
                  <a:pt x="193" y="460"/>
                </a:lnTo>
                <a:lnTo>
                  <a:pt x="191" y="460"/>
                </a:lnTo>
                <a:lnTo>
                  <a:pt x="190" y="456"/>
                </a:lnTo>
                <a:lnTo>
                  <a:pt x="188" y="455"/>
                </a:lnTo>
                <a:lnTo>
                  <a:pt x="190" y="454"/>
                </a:lnTo>
                <a:lnTo>
                  <a:pt x="190" y="453"/>
                </a:lnTo>
                <a:lnTo>
                  <a:pt x="191" y="450"/>
                </a:lnTo>
                <a:lnTo>
                  <a:pt x="192" y="450"/>
                </a:lnTo>
                <a:lnTo>
                  <a:pt x="192" y="449"/>
                </a:lnTo>
                <a:lnTo>
                  <a:pt x="194" y="447"/>
                </a:lnTo>
                <a:lnTo>
                  <a:pt x="193" y="447"/>
                </a:lnTo>
                <a:lnTo>
                  <a:pt x="192" y="448"/>
                </a:lnTo>
                <a:lnTo>
                  <a:pt x="188" y="443"/>
                </a:lnTo>
                <a:lnTo>
                  <a:pt x="188" y="441"/>
                </a:lnTo>
                <a:lnTo>
                  <a:pt x="190" y="439"/>
                </a:lnTo>
                <a:lnTo>
                  <a:pt x="190" y="438"/>
                </a:lnTo>
                <a:lnTo>
                  <a:pt x="188" y="437"/>
                </a:lnTo>
                <a:lnTo>
                  <a:pt x="188" y="436"/>
                </a:lnTo>
                <a:lnTo>
                  <a:pt x="192" y="433"/>
                </a:lnTo>
                <a:lnTo>
                  <a:pt x="185" y="433"/>
                </a:lnTo>
                <a:lnTo>
                  <a:pt x="181" y="435"/>
                </a:lnTo>
                <a:lnTo>
                  <a:pt x="180" y="436"/>
                </a:lnTo>
                <a:lnTo>
                  <a:pt x="176" y="436"/>
                </a:lnTo>
                <a:lnTo>
                  <a:pt x="173" y="439"/>
                </a:lnTo>
                <a:lnTo>
                  <a:pt x="173" y="441"/>
                </a:lnTo>
                <a:lnTo>
                  <a:pt x="174" y="442"/>
                </a:lnTo>
                <a:lnTo>
                  <a:pt x="173" y="442"/>
                </a:lnTo>
                <a:lnTo>
                  <a:pt x="173" y="443"/>
                </a:lnTo>
                <a:lnTo>
                  <a:pt x="172" y="443"/>
                </a:lnTo>
                <a:lnTo>
                  <a:pt x="172" y="442"/>
                </a:lnTo>
                <a:lnTo>
                  <a:pt x="170" y="442"/>
                </a:lnTo>
                <a:lnTo>
                  <a:pt x="169" y="441"/>
                </a:lnTo>
                <a:lnTo>
                  <a:pt x="168" y="441"/>
                </a:lnTo>
                <a:lnTo>
                  <a:pt x="168" y="442"/>
                </a:lnTo>
                <a:lnTo>
                  <a:pt x="163" y="442"/>
                </a:lnTo>
                <a:lnTo>
                  <a:pt x="163" y="443"/>
                </a:lnTo>
                <a:lnTo>
                  <a:pt x="162" y="443"/>
                </a:lnTo>
                <a:lnTo>
                  <a:pt x="162" y="441"/>
                </a:lnTo>
                <a:lnTo>
                  <a:pt x="169" y="433"/>
                </a:lnTo>
                <a:lnTo>
                  <a:pt x="169" y="432"/>
                </a:lnTo>
                <a:lnTo>
                  <a:pt x="172" y="432"/>
                </a:lnTo>
                <a:lnTo>
                  <a:pt x="176" y="427"/>
                </a:lnTo>
                <a:lnTo>
                  <a:pt x="179" y="426"/>
                </a:lnTo>
                <a:lnTo>
                  <a:pt x="179" y="425"/>
                </a:lnTo>
                <a:lnTo>
                  <a:pt x="180" y="424"/>
                </a:lnTo>
                <a:lnTo>
                  <a:pt x="180" y="420"/>
                </a:lnTo>
                <a:lnTo>
                  <a:pt x="181" y="420"/>
                </a:lnTo>
                <a:lnTo>
                  <a:pt x="181" y="419"/>
                </a:lnTo>
                <a:lnTo>
                  <a:pt x="184" y="417"/>
                </a:lnTo>
                <a:lnTo>
                  <a:pt x="185" y="417"/>
                </a:lnTo>
                <a:lnTo>
                  <a:pt x="185" y="415"/>
                </a:lnTo>
                <a:lnTo>
                  <a:pt x="187" y="413"/>
                </a:lnTo>
                <a:lnTo>
                  <a:pt x="187" y="412"/>
                </a:lnTo>
                <a:lnTo>
                  <a:pt x="190" y="412"/>
                </a:lnTo>
                <a:lnTo>
                  <a:pt x="191" y="411"/>
                </a:lnTo>
                <a:lnTo>
                  <a:pt x="191" y="412"/>
                </a:lnTo>
                <a:lnTo>
                  <a:pt x="192" y="412"/>
                </a:lnTo>
                <a:lnTo>
                  <a:pt x="193" y="411"/>
                </a:lnTo>
                <a:lnTo>
                  <a:pt x="194" y="411"/>
                </a:lnTo>
                <a:lnTo>
                  <a:pt x="196" y="410"/>
                </a:lnTo>
                <a:lnTo>
                  <a:pt x="200" y="407"/>
                </a:lnTo>
                <a:lnTo>
                  <a:pt x="201" y="407"/>
                </a:lnTo>
                <a:lnTo>
                  <a:pt x="199" y="405"/>
                </a:lnTo>
                <a:lnTo>
                  <a:pt x="199" y="404"/>
                </a:lnTo>
                <a:lnTo>
                  <a:pt x="200" y="405"/>
                </a:lnTo>
                <a:lnTo>
                  <a:pt x="201" y="405"/>
                </a:lnTo>
                <a:lnTo>
                  <a:pt x="203" y="406"/>
                </a:lnTo>
                <a:lnTo>
                  <a:pt x="203" y="405"/>
                </a:lnTo>
                <a:lnTo>
                  <a:pt x="204" y="406"/>
                </a:lnTo>
                <a:lnTo>
                  <a:pt x="205" y="406"/>
                </a:lnTo>
                <a:lnTo>
                  <a:pt x="205" y="407"/>
                </a:lnTo>
                <a:lnTo>
                  <a:pt x="212" y="407"/>
                </a:lnTo>
                <a:lnTo>
                  <a:pt x="221" y="404"/>
                </a:lnTo>
                <a:lnTo>
                  <a:pt x="224" y="404"/>
                </a:lnTo>
                <a:lnTo>
                  <a:pt x="225" y="405"/>
                </a:lnTo>
                <a:lnTo>
                  <a:pt x="225" y="406"/>
                </a:lnTo>
                <a:lnTo>
                  <a:pt x="231" y="410"/>
                </a:lnTo>
                <a:lnTo>
                  <a:pt x="231" y="411"/>
                </a:lnTo>
                <a:lnTo>
                  <a:pt x="232" y="411"/>
                </a:lnTo>
                <a:lnTo>
                  <a:pt x="232" y="407"/>
                </a:lnTo>
                <a:lnTo>
                  <a:pt x="230" y="405"/>
                </a:lnTo>
                <a:lnTo>
                  <a:pt x="229" y="402"/>
                </a:lnTo>
                <a:lnTo>
                  <a:pt x="229" y="400"/>
                </a:lnTo>
                <a:lnTo>
                  <a:pt x="230" y="399"/>
                </a:lnTo>
                <a:lnTo>
                  <a:pt x="232" y="399"/>
                </a:lnTo>
                <a:lnTo>
                  <a:pt x="234" y="398"/>
                </a:lnTo>
                <a:lnTo>
                  <a:pt x="235" y="398"/>
                </a:lnTo>
                <a:lnTo>
                  <a:pt x="236" y="399"/>
                </a:lnTo>
                <a:lnTo>
                  <a:pt x="238" y="405"/>
                </a:lnTo>
                <a:lnTo>
                  <a:pt x="240" y="406"/>
                </a:lnTo>
                <a:lnTo>
                  <a:pt x="240" y="407"/>
                </a:lnTo>
                <a:lnTo>
                  <a:pt x="246" y="407"/>
                </a:lnTo>
                <a:lnTo>
                  <a:pt x="247" y="406"/>
                </a:lnTo>
                <a:lnTo>
                  <a:pt x="247" y="404"/>
                </a:lnTo>
                <a:lnTo>
                  <a:pt x="246" y="404"/>
                </a:lnTo>
                <a:lnTo>
                  <a:pt x="246" y="405"/>
                </a:lnTo>
                <a:lnTo>
                  <a:pt x="241" y="405"/>
                </a:lnTo>
                <a:lnTo>
                  <a:pt x="240" y="404"/>
                </a:lnTo>
                <a:lnTo>
                  <a:pt x="238" y="401"/>
                </a:lnTo>
                <a:lnTo>
                  <a:pt x="237" y="400"/>
                </a:lnTo>
                <a:lnTo>
                  <a:pt x="232" y="389"/>
                </a:lnTo>
                <a:lnTo>
                  <a:pt x="232" y="387"/>
                </a:lnTo>
                <a:lnTo>
                  <a:pt x="235" y="382"/>
                </a:lnTo>
                <a:lnTo>
                  <a:pt x="237" y="378"/>
                </a:lnTo>
                <a:lnTo>
                  <a:pt x="238" y="378"/>
                </a:lnTo>
                <a:lnTo>
                  <a:pt x="238" y="377"/>
                </a:lnTo>
                <a:lnTo>
                  <a:pt x="240" y="376"/>
                </a:lnTo>
                <a:lnTo>
                  <a:pt x="237" y="376"/>
                </a:lnTo>
                <a:lnTo>
                  <a:pt x="235" y="374"/>
                </a:lnTo>
                <a:lnTo>
                  <a:pt x="234" y="371"/>
                </a:lnTo>
                <a:lnTo>
                  <a:pt x="235" y="365"/>
                </a:lnTo>
                <a:lnTo>
                  <a:pt x="234" y="364"/>
                </a:lnTo>
                <a:lnTo>
                  <a:pt x="236" y="362"/>
                </a:lnTo>
                <a:lnTo>
                  <a:pt x="240" y="361"/>
                </a:lnTo>
                <a:lnTo>
                  <a:pt x="241" y="361"/>
                </a:lnTo>
                <a:lnTo>
                  <a:pt x="242" y="359"/>
                </a:lnTo>
                <a:lnTo>
                  <a:pt x="242" y="358"/>
                </a:lnTo>
                <a:lnTo>
                  <a:pt x="243" y="357"/>
                </a:lnTo>
                <a:lnTo>
                  <a:pt x="243" y="356"/>
                </a:lnTo>
                <a:lnTo>
                  <a:pt x="242" y="357"/>
                </a:lnTo>
                <a:lnTo>
                  <a:pt x="241" y="357"/>
                </a:lnTo>
                <a:lnTo>
                  <a:pt x="240" y="355"/>
                </a:lnTo>
                <a:lnTo>
                  <a:pt x="242" y="352"/>
                </a:lnTo>
                <a:lnTo>
                  <a:pt x="242" y="351"/>
                </a:lnTo>
                <a:lnTo>
                  <a:pt x="243" y="351"/>
                </a:lnTo>
                <a:lnTo>
                  <a:pt x="244" y="350"/>
                </a:lnTo>
                <a:lnTo>
                  <a:pt x="244" y="347"/>
                </a:lnTo>
                <a:lnTo>
                  <a:pt x="243" y="345"/>
                </a:lnTo>
                <a:lnTo>
                  <a:pt x="243" y="344"/>
                </a:lnTo>
                <a:lnTo>
                  <a:pt x="242" y="343"/>
                </a:lnTo>
                <a:lnTo>
                  <a:pt x="243" y="343"/>
                </a:lnTo>
                <a:lnTo>
                  <a:pt x="246" y="340"/>
                </a:lnTo>
                <a:lnTo>
                  <a:pt x="244" y="339"/>
                </a:lnTo>
                <a:lnTo>
                  <a:pt x="244" y="341"/>
                </a:lnTo>
                <a:lnTo>
                  <a:pt x="243" y="341"/>
                </a:lnTo>
                <a:lnTo>
                  <a:pt x="241" y="343"/>
                </a:lnTo>
                <a:lnTo>
                  <a:pt x="241" y="344"/>
                </a:lnTo>
                <a:lnTo>
                  <a:pt x="240" y="344"/>
                </a:lnTo>
                <a:lnTo>
                  <a:pt x="240" y="345"/>
                </a:lnTo>
                <a:lnTo>
                  <a:pt x="238" y="346"/>
                </a:lnTo>
                <a:lnTo>
                  <a:pt x="237" y="346"/>
                </a:lnTo>
                <a:lnTo>
                  <a:pt x="236" y="345"/>
                </a:lnTo>
                <a:lnTo>
                  <a:pt x="236" y="341"/>
                </a:lnTo>
                <a:lnTo>
                  <a:pt x="235" y="341"/>
                </a:lnTo>
                <a:lnTo>
                  <a:pt x="235" y="343"/>
                </a:lnTo>
                <a:lnTo>
                  <a:pt x="234" y="344"/>
                </a:lnTo>
                <a:lnTo>
                  <a:pt x="234" y="345"/>
                </a:lnTo>
                <a:lnTo>
                  <a:pt x="232" y="347"/>
                </a:lnTo>
                <a:lnTo>
                  <a:pt x="230" y="350"/>
                </a:lnTo>
                <a:lnTo>
                  <a:pt x="230" y="352"/>
                </a:lnTo>
                <a:lnTo>
                  <a:pt x="229" y="350"/>
                </a:lnTo>
                <a:lnTo>
                  <a:pt x="227" y="350"/>
                </a:lnTo>
                <a:lnTo>
                  <a:pt x="227" y="345"/>
                </a:lnTo>
                <a:lnTo>
                  <a:pt x="225" y="345"/>
                </a:lnTo>
                <a:lnTo>
                  <a:pt x="228" y="344"/>
                </a:lnTo>
                <a:lnTo>
                  <a:pt x="228" y="338"/>
                </a:lnTo>
                <a:lnTo>
                  <a:pt x="227" y="338"/>
                </a:lnTo>
                <a:lnTo>
                  <a:pt x="227" y="343"/>
                </a:lnTo>
                <a:lnTo>
                  <a:pt x="223" y="343"/>
                </a:lnTo>
                <a:lnTo>
                  <a:pt x="221" y="339"/>
                </a:lnTo>
                <a:lnTo>
                  <a:pt x="219" y="338"/>
                </a:lnTo>
                <a:lnTo>
                  <a:pt x="219" y="332"/>
                </a:lnTo>
                <a:lnTo>
                  <a:pt x="218" y="332"/>
                </a:lnTo>
                <a:lnTo>
                  <a:pt x="216" y="328"/>
                </a:lnTo>
                <a:lnTo>
                  <a:pt x="216" y="327"/>
                </a:lnTo>
                <a:lnTo>
                  <a:pt x="211" y="322"/>
                </a:lnTo>
                <a:lnTo>
                  <a:pt x="211" y="321"/>
                </a:lnTo>
                <a:lnTo>
                  <a:pt x="210" y="320"/>
                </a:lnTo>
                <a:lnTo>
                  <a:pt x="210" y="319"/>
                </a:lnTo>
                <a:lnTo>
                  <a:pt x="211" y="319"/>
                </a:lnTo>
                <a:lnTo>
                  <a:pt x="211" y="316"/>
                </a:lnTo>
                <a:lnTo>
                  <a:pt x="212" y="310"/>
                </a:lnTo>
                <a:lnTo>
                  <a:pt x="215" y="307"/>
                </a:lnTo>
                <a:lnTo>
                  <a:pt x="215" y="304"/>
                </a:lnTo>
                <a:lnTo>
                  <a:pt x="216" y="304"/>
                </a:lnTo>
                <a:lnTo>
                  <a:pt x="218" y="302"/>
                </a:lnTo>
                <a:lnTo>
                  <a:pt x="218" y="300"/>
                </a:lnTo>
                <a:lnTo>
                  <a:pt x="219" y="295"/>
                </a:lnTo>
                <a:lnTo>
                  <a:pt x="221" y="292"/>
                </a:lnTo>
                <a:lnTo>
                  <a:pt x="221" y="291"/>
                </a:lnTo>
                <a:lnTo>
                  <a:pt x="222" y="291"/>
                </a:lnTo>
                <a:lnTo>
                  <a:pt x="223" y="292"/>
                </a:lnTo>
                <a:lnTo>
                  <a:pt x="224" y="292"/>
                </a:lnTo>
                <a:lnTo>
                  <a:pt x="225" y="291"/>
                </a:lnTo>
                <a:lnTo>
                  <a:pt x="223" y="290"/>
                </a:lnTo>
                <a:lnTo>
                  <a:pt x="224" y="289"/>
                </a:lnTo>
                <a:lnTo>
                  <a:pt x="228" y="288"/>
                </a:lnTo>
                <a:lnTo>
                  <a:pt x="229" y="289"/>
                </a:lnTo>
                <a:lnTo>
                  <a:pt x="231" y="289"/>
                </a:lnTo>
                <a:lnTo>
                  <a:pt x="235" y="288"/>
                </a:lnTo>
                <a:lnTo>
                  <a:pt x="232" y="288"/>
                </a:lnTo>
                <a:lnTo>
                  <a:pt x="234" y="287"/>
                </a:lnTo>
                <a:lnTo>
                  <a:pt x="235" y="287"/>
                </a:lnTo>
                <a:lnTo>
                  <a:pt x="235" y="285"/>
                </a:lnTo>
                <a:lnTo>
                  <a:pt x="234" y="285"/>
                </a:lnTo>
                <a:lnTo>
                  <a:pt x="230" y="287"/>
                </a:lnTo>
                <a:lnTo>
                  <a:pt x="217" y="285"/>
                </a:lnTo>
                <a:lnTo>
                  <a:pt x="215" y="285"/>
                </a:lnTo>
                <a:lnTo>
                  <a:pt x="215" y="287"/>
                </a:lnTo>
                <a:lnTo>
                  <a:pt x="212" y="284"/>
                </a:lnTo>
                <a:lnTo>
                  <a:pt x="212" y="292"/>
                </a:lnTo>
                <a:lnTo>
                  <a:pt x="211" y="294"/>
                </a:lnTo>
                <a:lnTo>
                  <a:pt x="207" y="292"/>
                </a:lnTo>
                <a:lnTo>
                  <a:pt x="206" y="292"/>
                </a:lnTo>
                <a:lnTo>
                  <a:pt x="205" y="295"/>
                </a:lnTo>
                <a:lnTo>
                  <a:pt x="203" y="294"/>
                </a:lnTo>
                <a:lnTo>
                  <a:pt x="201" y="292"/>
                </a:lnTo>
                <a:lnTo>
                  <a:pt x="201" y="294"/>
                </a:lnTo>
                <a:lnTo>
                  <a:pt x="200" y="294"/>
                </a:lnTo>
                <a:lnTo>
                  <a:pt x="201" y="295"/>
                </a:lnTo>
                <a:lnTo>
                  <a:pt x="200" y="295"/>
                </a:lnTo>
                <a:lnTo>
                  <a:pt x="200" y="296"/>
                </a:lnTo>
                <a:lnTo>
                  <a:pt x="201" y="297"/>
                </a:lnTo>
                <a:lnTo>
                  <a:pt x="199" y="298"/>
                </a:lnTo>
                <a:lnTo>
                  <a:pt x="196" y="301"/>
                </a:lnTo>
                <a:lnTo>
                  <a:pt x="192" y="301"/>
                </a:lnTo>
                <a:lnTo>
                  <a:pt x="192" y="296"/>
                </a:lnTo>
                <a:lnTo>
                  <a:pt x="191" y="297"/>
                </a:lnTo>
                <a:lnTo>
                  <a:pt x="191" y="301"/>
                </a:lnTo>
                <a:lnTo>
                  <a:pt x="190" y="301"/>
                </a:lnTo>
                <a:lnTo>
                  <a:pt x="187" y="300"/>
                </a:lnTo>
                <a:lnTo>
                  <a:pt x="185" y="297"/>
                </a:lnTo>
                <a:lnTo>
                  <a:pt x="186" y="294"/>
                </a:lnTo>
                <a:lnTo>
                  <a:pt x="184" y="296"/>
                </a:lnTo>
                <a:lnTo>
                  <a:pt x="182" y="296"/>
                </a:lnTo>
                <a:lnTo>
                  <a:pt x="180" y="295"/>
                </a:lnTo>
                <a:lnTo>
                  <a:pt x="179" y="294"/>
                </a:lnTo>
                <a:lnTo>
                  <a:pt x="179" y="292"/>
                </a:lnTo>
                <a:lnTo>
                  <a:pt x="178" y="291"/>
                </a:lnTo>
                <a:lnTo>
                  <a:pt x="176" y="291"/>
                </a:lnTo>
                <a:lnTo>
                  <a:pt x="176" y="296"/>
                </a:lnTo>
                <a:lnTo>
                  <a:pt x="178" y="297"/>
                </a:lnTo>
                <a:lnTo>
                  <a:pt x="179" y="297"/>
                </a:lnTo>
                <a:lnTo>
                  <a:pt x="180" y="298"/>
                </a:lnTo>
                <a:lnTo>
                  <a:pt x="180" y="300"/>
                </a:lnTo>
                <a:lnTo>
                  <a:pt x="179" y="300"/>
                </a:lnTo>
                <a:lnTo>
                  <a:pt x="179" y="301"/>
                </a:lnTo>
                <a:lnTo>
                  <a:pt x="180" y="302"/>
                </a:lnTo>
                <a:lnTo>
                  <a:pt x="179" y="303"/>
                </a:lnTo>
                <a:lnTo>
                  <a:pt x="179" y="304"/>
                </a:lnTo>
                <a:lnTo>
                  <a:pt x="180" y="306"/>
                </a:lnTo>
                <a:lnTo>
                  <a:pt x="179" y="307"/>
                </a:lnTo>
                <a:lnTo>
                  <a:pt x="179" y="308"/>
                </a:lnTo>
                <a:lnTo>
                  <a:pt x="178" y="308"/>
                </a:lnTo>
                <a:lnTo>
                  <a:pt x="176" y="307"/>
                </a:lnTo>
                <a:lnTo>
                  <a:pt x="175" y="307"/>
                </a:lnTo>
                <a:lnTo>
                  <a:pt x="175" y="306"/>
                </a:lnTo>
                <a:lnTo>
                  <a:pt x="173" y="306"/>
                </a:lnTo>
                <a:lnTo>
                  <a:pt x="170" y="302"/>
                </a:lnTo>
                <a:lnTo>
                  <a:pt x="169" y="301"/>
                </a:lnTo>
                <a:lnTo>
                  <a:pt x="165" y="297"/>
                </a:lnTo>
                <a:lnTo>
                  <a:pt x="162" y="297"/>
                </a:lnTo>
                <a:lnTo>
                  <a:pt x="161" y="296"/>
                </a:lnTo>
                <a:lnTo>
                  <a:pt x="161" y="295"/>
                </a:lnTo>
                <a:lnTo>
                  <a:pt x="160" y="294"/>
                </a:lnTo>
                <a:lnTo>
                  <a:pt x="157" y="294"/>
                </a:lnTo>
                <a:lnTo>
                  <a:pt x="157" y="295"/>
                </a:lnTo>
                <a:lnTo>
                  <a:pt x="156" y="295"/>
                </a:lnTo>
                <a:lnTo>
                  <a:pt x="155" y="296"/>
                </a:lnTo>
                <a:lnTo>
                  <a:pt x="155" y="297"/>
                </a:lnTo>
                <a:lnTo>
                  <a:pt x="154" y="297"/>
                </a:lnTo>
                <a:lnTo>
                  <a:pt x="154" y="301"/>
                </a:lnTo>
                <a:lnTo>
                  <a:pt x="155" y="301"/>
                </a:lnTo>
                <a:lnTo>
                  <a:pt x="155" y="302"/>
                </a:lnTo>
                <a:lnTo>
                  <a:pt x="156" y="304"/>
                </a:lnTo>
                <a:lnTo>
                  <a:pt x="156" y="306"/>
                </a:lnTo>
                <a:lnTo>
                  <a:pt x="157" y="307"/>
                </a:lnTo>
                <a:lnTo>
                  <a:pt x="157" y="310"/>
                </a:lnTo>
                <a:lnTo>
                  <a:pt x="155" y="310"/>
                </a:lnTo>
                <a:lnTo>
                  <a:pt x="154" y="309"/>
                </a:lnTo>
                <a:lnTo>
                  <a:pt x="154" y="304"/>
                </a:lnTo>
                <a:lnTo>
                  <a:pt x="153" y="304"/>
                </a:lnTo>
                <a:lnTo>
                  <a:pt x="153" y="302"/>
                </a:lnTo>
                <a:lnTo>
                  <a:pt x="150" y="300"/>
                </a:lnTo>
                <a:lnTo>
                  <a:pt x="147" y="295"/>
                </a:lnTo>
                <a:lnTo>
                  <a:pt x="145" y="294"/>
                </a:lnTo>
                <a:lnTo>
                  <a:pt x="144" y="290"/>
                </a:lnTo>
                <a:lnTo>
                  <a:pt x="144" y="284"/>
                </a:lnTo>
                <a:lnTo>
                  <a:pt x="145" y="283"/>
                </a:lnTo>
                <a:lnTo>
                  <a:pt x="147" y="283"/>
                </a:lnTo>
                <a:lnTo>
                  <a:pt x="147" y="282"/>
                </a:lnTo>
                <a:lnTo>
                  <a:pt x="148" y="283"/>
                </a:lnTo>
                <a:lnTo>
                  <a:pt x="148" y="284"/>
                </a:lnTo>
                <a:lnTo>
                  <a:pt x="149" y="284"/>
                </a:lnTo>
                <a:lnTo>
                  <a:pt x="149" y="289"/>
                </a:lnTo>
                <a:lnTo>
                  <a:pt x="150" y="290"/>
                </a:lnTo>
                <a:lnTo>
                  <a:pt x="150" y="291"/>
                </a:lnTo>
                <a:lnTo>
                  <a:pt x="151" y="291"/>
                </a:lnTo>
                <a:lnTo>
                  <a:pt x="153" y="290"/>
                </a:lnTo>
                <a:lnTo>
                  <a:pt x="153" y="289"/>
                </a:lnTo>
                <a:lnTo>
                  <a:pt x="151" y="287"/>
                </a:lnTo>
                <a:lnTo>
                  <a:pt x="150" y="285"/>
                </a:lnTo>
                <a:lnTo>
                  <a:pt x="150" y="279"/>
                </a:lnTo>
                <a:lnTo>
                  <a:pt x="151" y="278"/>
                </a:lnTo>
                <a:lnTo>
                  <a:pt x="151" y="273"/>
                </a:lnTo>
                <a:lnTo>
                  <a:pt x="153" y="273"/>
                </a:lnTo>
                <a:lnTo>
                  <a:pt x="157" y="269"/>
                </a:lnTo>
                <a:lnTo>
                  <a:pt x="157" y="266"/>
                </a:lnTo>
                <a:lnTo>
                  <a:pt x="159" y="264"/>
                </a:lnTo>
                <a:lnTo>
                  <a:pt x="159" y="260"/>
                </a:lnTo>
                <a:lnTo>
                  <a:pt x="161" y="258"/>
                </a:lnTo>
                <a:lnTo>
                  <a:pt x="161" y="257"/>
                </a:lnTo>
                <a:lnTo>
                  <a:pt x="162" y="257"/>
                </a:lnTo>
                <a:lnTo>
                  <a:pt x="162" y="254"/>
                </a:lnTo>
                <a:lnTo>
                  <a:pt x="163" y="252"/>
                </a:lnTo>
                <a:lnTo>
                  <a:pt x="167" y="251"/>
                </a:lnTo>
                <a:lnTo>
                  <a:pt x="168" y="249"/>
                </a:lnTo>
                <a:lnTo>
                  <a:pt x="168" y="246"/>
                </a:lnTo>
                <a:lnTo>
                  <a:pt x="166" y="244"/>
                </a:lnTo>
                <a:lnTo>
                  <a:pt x="166" y="241"/>
                </a:lnTo>
                <a:lnTo>
                  <a:pt x="163" y="239"/>
                </a:lnTo>
                <a:lnTo>
                  <a:pt x="161" y="238"/>
                </a:lnTo>
                <a:lnTo>
                  <a:pt x="160" y="238"/>
                </a:lnTo>
                <a:lnTo>
                  <a:pt x="160" y="236"/>
                </a:lnTo>
                <a:lnTo>
                  <a:pt x="155" y="232"/>
                </a:lnTo>
                <a:lnTo>
                  <a:pt x="157" y="229"/>
                </a:lnTo>
                <a:lnTo>
                  <a:pt x="157" y="223"/>
                </a:lnTo>
                <a:lnTo>
                  <a:pt x="156" y="220"/>
                </a:lnTo>
                <a:lnTo>
                  <a:pt x="156" y="216"/>
                </a:lnTo>
                <a:lnTo>
                  <a:pt x="159" y="214"/>
                </a:lnTo>
                <a:lnTo>
                  <a:pt x="160" y="214"/>
                </a:lnTo>
                <a:lnTo>
                  <a:pt x="161" y="212"/>
                </a:lnTo>
                <a:lnTo>
                  <a:pt x="163" y="215"/>
                </a:lnTo>
                <a:lnTo>
                  <a:pt x="165" y="215"/>
                </a:lnTo>
                <a:lnTo>
                  <a:pt x="165" y="214"/>
                </a:lnTo>
                <a:lnTo>
                  <a:pt x="166" y="215"/>
                </a:lnTo>
                <a:lnTo>
                  <a:pt x="173" y="216"/>
                </a:lnTo>
                <a:lnTo>
                  <a:pt x="174" y="215"/>
                </a:lnTo>
                <a:lnTo>
                  <a:pt x="169" y="214"/>
                </a:lnTo>
                <a:lnTo>
                  <a:pt x="168" y="214"/>
                </a:lnTo>
                <a:lnTo>
                  <a:pt x="166" y="212"/>
                </a:lnTo>
                <a:lnTo>
                  <a:pt x="162" y="209"/>
                </a:lnTo>
                <a:lnTo>
                  <a:pt x="161" y="209"/>
                </a:lnTo>
                <a:lnTo>
                  <a:pt x="161" y="208"/>
                </a:lnTo>
                <a:lnTo>
                  <a:pt x="160" y="206"/>
                </a:lnTo>
                <a:lnTo>
                  <a:pt x="160" y="204"/>
                </a:lnTo>
                <a:lnTo>
                  <a:pt x="159" y="204"/>
                </a:lnTo>
                <a:lnTo>
                  <a:pt x="159" y="206"/>
                </a:lnTo>
                <a:lnTo>
                  <a:pt x="161" y="209"/>
                </a:lnTo>
                <a:lnTo>
                  <a:pt x="161" y="211"/>
                </a:lnTo>
                <a:lnTo>
                  <a:pt x="159" y="211"/>
                </a:lnTo>
                <a:lnTo>
                  <a:pt x="157" y="210"/>
                </a:lnTo>
                <a:lnTo>
                  <a:pt x="157" y="205"/>
                </a:lnTo>
                <a:lnTo>
                  <a:pt x="162" y="196"/>
                </a:lnTo>
                <a:lnTo>
                  <a:pt x="162" y="195"/>
                </a:lnTo>
                <a:lnTo>
                  <a:pt x="161" y="196"/>
                </a:lnTo>
                <a:lnTo>
                  <a:pt x="159" y="201"/>
                </a:lnTo>
                <a:lnTo>
                  <a:pt x="159" y="202"/>
                </a:lnTo>
                <a:lnTo>
                  <a:pt x="157" y="202"/>
                </a:lnTo>
                <a:lnTo>
                  <a:pt x="157" y="197"/>
                </a:lnTo>
                <a:lnTo>
                  <a:pt x="155" y="197"/>
                </a:lnTo>
                <a:lnTo>
                  <a:pt x="156" y="198"/>
                </a:lnTo>
                <a:lnTo>
                  <a:pt x="156" y="211"/>
                </a:lnTo>
                <a:lnTo>
                  <a:pt x="155" y="210"/>
                </a:lnTo>
                <a:lnTo>
                  <a:pt x="154" y="210"/>
                </a:lnTo>
                <a:lnTo>
                  <a:pt x="156" y="212"/>
                </a:lnTo>
                <a:lnTo>
                  <a:pt x="155" y="214"/>
                </a:lnTo>
                <a:lnTo>
                  <a:pt x="155" y="215"/>
                </a:lnTo>
                <a:lnTo>
                  <a:pt x="154" y="216"/>
                </a:lnTo>
                <a:lnTo>
                  <a:pt x="154" y="218"/>
                </a:lnTo>
                <a:lnTo>
                  <a:pt x="153" y="220"/>
                </a:lnTo>
                <a:lnTo>
                  <a:pt x="151" y="220"/>
                </a:lnTo>
                <a:lnTo>
                  <a:pt x="150" y="218"/>
                </a:lnTo>
                <a:lnTo>
                  <a:pt x="149" y="216"/>
                </a:lnTo>
                <a:lnTo>
                  <a:pt x="149" y="212"/>
                </a:lnTo>
                <a:lnTo>
                  <a:pt x="148" y="210"/>
                </a:lnTo>
                <a:lnTo>
                  <a:pt x="147" y="210"/>
                </a:lnTo>
                <a:lnTo>
                  <a:pt x="147" y="211"/>
                </a:lnTo>
                <a:lnTo>
                  <a:pt x="148" y="215"/>
                </a:lnTo>
                <a:lnTo>
                  <a:pt x="149" y="216"/>
                </a:lnTo>
                <a:lnTo>
                  <a:pt x="148" y="217"/>
                </a:lnTo>
                <a:lnTo>
                  <a:pt x="144" y="215"/>
                </a:lnTo>
                <a:lnTo>
                  <a:pt x="144" y="212"/>
                </a:lnTo>
                <a:lnTo>
                  <a:pt x="143" y="214"/>
                </a:lnTo>
                <a:lnTo>
                  <a:pt x="143" y="216"/>
                </a:lnTo>
                <a:lnTo>
                  <a:pt x="142" y="218"/>
                </a:lnTo>
                <a:lnTo>
                  <a:pt x="143" y="220"/>
                </a:lnTo>
                <a:lnTo>
                  <a:pt x="143" y="222"/>
                </a:lnTo>
                <a:lnTo>
                  <a:pt x="141" y="221"/>
                </a:lnTo>
                <a:lnTo>
                  <a:pt x="140" y="221"/>
                </a:lnTo>
                <a:lnTo>
                  <a:pt x="138" y="218"/>
                </a:lnTo>
                <a:lnTo>
                  <a:pt x="138" y="217"/>
                </a:lnTo>
                <a:lnTo>
                  <a:pt x="137" y="217"/>
                </a:lnTo>
                <a:lnTo>
                  <a:pt x="137" y="215"/>
                </a:lnTo>
                <a:lnTo>
                  <a:pt x="138" y="215"/>
                </a:lnTo>
                <a:lnTo>
                  <a:pt x="138" y="212"/>
                </a:lnTo>
                <a:lnTo>
                  <a:pt x="137" y="210"/>
                </a:lnTo>
                <a:lnTo>
                  <a:pt x="138" y="209"/>
                </a:lnTo>
                <a:lnTo>
                  <a:pt x="143" y="201"/>
                </a:lnTo>
                <a:lnTo>
                  <a:pt x="148" y="198"/>
                </a:lnTo>
                <a:lnTo>
                  <a:pt x="149" y="195"/>
                </a:lnTo>
                <a:lnTo>
                  <a:pt x="151" y="192"/>
                </a:lnTo>
                <a:lnTo>
                  <a:pt x="153" y="192"/>
                </a:lnTo>
                <a:lnTo>
                  <a:pt x="155" y="191"/>
                </a:lnTo>
                <a:lnTo>
                  <a:pt x="155" y="190"/>
                </a:lnTo>
                <a:lnTo>
                  <a:pt x="153" y="191"/>
                </a:lnTo>
                <a:lnTo>
                  <a:pt x="150" y="191"/>
                </a:lnTo>
                <a:lnTo>
                  <a:pt x="150" y="192"/>
                </a:lnTo>
                <a:lnTo>
                  <a:pt x="149" y="192"/>
                </a:lnTo>
                <a:lnTo>
                  <a:pt x="149" y="193"/>
                </a:lnTo>
                <a:lnTo>
                  <a:pt x="148" y="196"/>
                </a:lnTo>
                <a:lnTo>
                  <a:pt x="148" y="197"/>
                </a:lnTo>
                <a:lnTo>
                  <a:pt x="142" y="201"/>
                </a:lnTo>
                <a:lnTo>
                  <a:pt x="138" y="205"/>
                </a:lnTo>
                <a:lnTo>
                  <a:pt x="137" y="205"/>
                </a:lnTo>
                <a:lnTo>
                  <a:pt x="137" y="208"/>
                </a:lnTo>
                <a:lnTo>
                  <a:pt x="136" y="209"/>
                </a:lnTo>
                <a:lnTo>
                  <a:pt x="134" y="209"/>
                </a:lnTo>
                <a:lnTo>
                  <a:pt x="132" y="214"/>
                </a:lnTo>
                <a:lnTo>
                  <a:pt x="134" y="214"/>
                </a:lnTo>
                <a:lnTo>
                  <a:pt x="135" y="215"/>
                </a:lnTo>
                <a:lnTo>
                  <a:pt x="135" y="218"/>
                </a:lnTo>
                <a:lnTo>
                  <a:pt x="136" y="220"/>
                </a:lnTo>
                <a:lnTo>
                  <a:pt x="135" y="220"/>
                </a:lnTo>
                <a:lnTo>
                  <a:pt x="137" y="222"/>
                </a:lnTo>
                <a:lnTo>
                  <a:pt x="138" y="224"/>
                </a:lnTo>
                <a:lnTo>
                  <a:pt x="138" y="227"/>
                </a:lnTo>
                <a:lnTo>
                  <a:pt x="137" y="228"/>
                </a:lnTo>
                <a:lnTo>
                  <a:pt x="136" y="228"/>
                </a:lnTo>
                <a:lnTo>
                  <a:pt x="134" y="230"/>
                </a:lnTo>
                <a:lnTo>
                  <a:pt x="134" y="232"/>
                </a:lnTo>
                <a:lnTo>
                  <a:pt x="132" y="233"/>
                </a:lnTo>
                <a:lnTo>
                  <a:pt x="132" y="236"/>
                </a:lnTo>
                <a:lnTo>
                  <a:pt x="131" y="236"/>
                </a:lnTo>
                <a:lnTo>
                  <a:pt x="131" y="239"/>
                </a:lnTo>
                <a:lnTo>
                  <a:pt x="132" y="240"/>
                </a:lnTo>
                <a:lnTo>
                  <a:pt x="132" y="241"/>
                </a:lnTo>
                <a:lnTo>
                  <a:pt x="131" y="242"/>
                </a:lnTo>
                <a:lnTo>
                  <a:pt x="131" y="245"/>
                </a:lnTo>
                <a:lnTo>
                  <a:pt x="130" y="246"/>
                </a:lnTo>
                <a:lnTo>
                  <a:pt x="130" y="248"/>
                </a:lnTo>
                <a:lnTo>
                  <a:pt x="129" y="251"/>
                </a:lnTo>
                <a:lnTo>
                  <a:pt x="129" y="252"/>
                </a:lnTo>
                <a:lnTo>
                  <a:pt x="128" y="252"/>
                </a:lnTo>
                <a:lnTo>
                  <a:pt x="129" y="253"/>
                </a:lnTo>
                <a:lnTo>
                  <a:pt x="129" y="254"/>
                </a:lnTo>
                <a:lnTo>
                  <a:pt x="130" y="255"/>
                </a:lnTo>
                <a:lnTo>
                  <a:pt x="130" y="258"/>
                </a:lnTo>
                <a:lnTo>
                  <a:pt x="129" y="260"/>
                </a:lnTo>
                <a:lnTo>
                  <a:pt x="128" y="260"/>
                </a:lnTo>
                <a:lnTo>
                  <a:pt x="126" y="261"/>
                </a:lnTo>
                <a:lnTo>
                  <a:pt x="123" y="261"/>
                </a:lnTo>
                <a:lnTo>
                  <a:pt x="122" y="263"/>
                </a:lnTo>
                <a:lnTo>
                  <a:pt x="119" y="263"/>
                </a:lnTo>
                <a:lnTo>
                  <a:pt x="119" y="261"/>
                </a:lnTo>
                <a:lnTo>
                  <a:pt x="118" y="258"/>
                </a:lnTo>
                <a:lnTo>
                  <a:pt x="118" y="254"/>
                </a:lnTo>
                <a:lnTo>
                  <a:pt x="119" y="254"/>
                </a:lnTo>
                <a:lnTo>
                  <a:pt x="122" y="252"/>
                </a:lnTo>
                <a:lnTo>
                  <a:pt x="122" y="241"/>
                </a:lnTo>
                <a:lnTo>
                  <a:pt x="123" y="240"/>
                </a:lnTo>
                <a:lnTo>
                  <a:pt x="124" y="236"/>
                </a:lnTo>
                <a:lnTo>
                  <a:pt x="124" y="235"/>
                </a:lnTo>
                <a:lnTo>
                  <a:pt x="123" y="234"/>
                </a:lnTo>
                <a:lnTo>
                  <a:pt x="125" y="233"/>
                </a:lnTo>
                <a:lnTo>
                  <a:pt x="126" y="232"/>
                </a:lnTo>
                <a:lnTo>
                  <a:pt x="126" y="229"/>
                </a:lnTo>
                <a:lnTo>
                  <a:pt x="129" y="227"/>
                </a:lnTo>
                <a:lnTo>
                  <a:pt x="131" y="226"/>
                </a:lnTo>
                <a:lnTo>
                  <a:pt x="132" y="223"/>
                </a:lnTo>
                <a:lnTo>
                  <a:pt x="132" y="221"/>
                </a:lnTo>
                <a:lnTo>
                  <a:pt x="129" y="226"/>
                </a:lnTo>
                <a:lnTo>
                  <a:pt x="126" y="228"/>
                </a:lnTo>
                <a:lnTo>
                  <a:pt x="126" y="227"/>
                </a:lnTo>
                <a:lnTo>
                  <a:pt x="125" y="226"/>
                </a:lnTo>
                <a:lnTo>
                  <a:pt x="124" y="226"/>
                </a:lnTo>
                <a:lnTo>
                  <a:pt x="124" y="221"/>
                </a:lnTo>
                <a:lnTo>
                  <a:pt x="125" y="218"/>
                </a:lnTo>
                <a:lnTo>
                  <a:pt x="126" y="217"/>
                </a:lnTo>
                <a:lnTo>
                  <a:pt x="126" y="216"/>
                </a:lnTo>
                <a:lnTo>
                  <a:pt x="128" y="216"/>
                </a:lnTo>
                <a:lnTo>
                  <a:pt x="128" y="215"/>
                </a:lnTo>
                <a:lnTo>
                  <a:pt x="126" y="215"/>
                </a:lnTo>
                <a:lnTo>
                  <a:pt x="125" y="217"/>
                </a:lnTo>
                <a:lnTo>
                  <a:pt x="124" y="217"/>
                </a:lnTo>
                <a:lnTo>
                  <a:pt x="124" y="218"/>
                </a:lnTo>
                <a:lnTo>
                  <a:pt x="123" y="218"/>
                </a:lnTo>
                <a:lnTo>
                  <a:pt x="123" y="216"/>
                </a:lnTo>
                <a:lnTo>
                  <a:pt x="128" y="209"/>
                </a:lnTo>
                <a:lnTo>
                  <a:pt x="128" y="206"/>
                </a:lnTo>
                <a:lnTo>
                  <a:pt x="126" y="206"/>
                </a:lnTo>
                <a:lnTo>
                  <a:pt x="126" y="208"/>
                </a:lnTo>
                <a:lnTo>
                  <a:pt x="125" y="208"/>
                </a:lnTo>
                <a:lnTo>
                  <a:pt x="125" y="209"/>
                </a:lnTo>
                <a:lnTo>
                  <a:pt x="124" y="211"/>
                </a:lnTo>
                <a:lnTo>
                  <a:pt x="124" y="214"/>
                </a:lnTo>
                <a:lnTo>
                  <a:pt x="123" y="215"/>
                </a:lnTo>
                <a:lnTo>
                  <a:pt x="122" y="214"/>
                </a:lnTo>
                <a:lnTo>
                  <a:pt x="123" y="214"/>
                </a:lnTo>
                <a:lnTo>
                  <a:pt x="123" y="211"/>
                </a:lnTo>
                <a:lnTo>
                  <a:pt x="124" y="208"/>
                </a:lnTo>
                <a:lnTo>
                  <a:pt x="128" y="203"/>
                </a:lnTo>
                <a:lnTo>
                  <a:pt x="130" y="203"/>
                </a:lnTo>
                <a:lnTo>
                  <a:pt x="129" y="202"/>
                </a:lnTo>
                <a:lnTo>
                  <a:pt x="129" y="199"/>
                </a:lnTo>
                <a:lnTo>
                  <a:pt x="130" y="197"/>
                </a:lnTo>
                <a:lnTo>
                  <a:pt x="130" y="196"/>
                </a:lnTo>
                <a:lnTo>
                  <a:pt x="129" y="196"/>
                </a:lnTo>
                <a:lnTo>
                  <a:pt x="129" y="197"/>
                </a:lnTo>
                <a:lnTo>
                  <a:pt x="126" y="199"/>
                </a:lnTo>
                <a:lnTo>
                  <a:pt x="126" y="198"/>
                </a:lnTo>
                <a:lnTo>
                  <a:pt x="128" y="196"/>
                </a:lnTo>
                <a:lnTo>
                  <a:pt x="128" y="195"/>
                </a:lnTo>
                <a:lnTo>
                  <a:pt x="129" y="193"/>
                </a:lnTo>
                <a:lnTo>
                  <a:pt x="129" y="192"/>
                </a:lnTo>
                <a:lnTo>
                  <a:pt x="130" y="191"/>
                </a:lnTo>
                <a:lnTo>
                  <a:pt x="131" y="191"/>
                </a:lnTo>
                <a:lnTo>
                  <a:pt x="131" y="190"/>
                </a:lnTo>
                <a:lnTo>
                  <a:pt x="129" y="190"/>
                </a:lnTo>
                <a:lnTo>
                  <a:pt x="128" y="191"/>
                </a:lnTo>
                <a:lnTo>
                  <a:pt x="126" y="190"/>
                </a:lnTo>
                <a:lnTo>
                  <a:pt x="128" y="187"/>
                </a:lnTo>
                <a:lnTo>
                  <a:pt x="128" y="186"/>
                </a:lnTo>
                <a:lnTo>
                  <a:pt x="126" y="186"/>
                </a:lnTo>
                <a:lnTo>
                  <a:pt x="126" y="189"/>
                </a:lnTo>
                <a:lnTo>
                  <a:pt x="125" y="189"/>
                </a:lnTo>
                <a:lnTo>
                  <a:pt x="125" y="185"/>
                </a:lnTo>
                <a:lnTo>
                  <a:pt x="128" y="185"/>
                </a:lnTo>
                <a:lnTo>
                  <a:pt x="129" y="184"/>
                </a:lnTo>
                <a:lnTo>
                  <a:pt x="129" y="183"/>
                </a:lnTo>
                <a:lnTo>
                  <a:pt x="130" y="184"/>
                </a:lnTo>
                <a:lnTo>
                  <a:pt x="131" y="184"/>
                </a:lnTo>
                <a:lnTo>
                  <a:pt x="134" y="183"/>
                </a:lnTo>
                <a:lnTo>
                  <a:pt x="129" y="183"/>
                </a:lnTo>
                <a:lnTo>
                  <a:pt x="130" y="180"/>
                </a:lnTo>
                <a:lnTo>
                  <a:pt x="130" y="179"/>
                </a:lnTo>
                <a:lnTo>
                  <a:pt x="132" y="179"/>
                </a:lnTo>
                <a:lnTo>
                  <a:pt x="131" y="178"/>
                </a:lnTo>
                <a:lnTo>
                  <a:pt x="134" y="175"/>
                </a:lnTo>
                <a:lnTo>
                  <a:pt x="138" y="175"/>
                </a:lnTo>
                <a:lnTo>
                  <a:pt x="142" y="177"/>
                </a:lnTo>
                <a:lnTo>
                  <a:pt x="143" y="175"/>
                </a:lnTo>
                <a:lnTo>
                  <a:pt x="144" y="175"/>
                </a:lnTo>
                <a:lnTo>
                  <a:pt x="145" y="173"/>
                </a:lnTo>
                <a:lnTo>
                  <a:pt x="145" y="172"/>
                </a:lnTo>
                <a:lnTo>
                  <a:pt x="148" y="169"/>
                </a:lnTo>
                <a:lnTo>
                  <a:pt x="148" y="168"/>
                </a:lnTo>
                <a:lnTo>
                  <a:pt x="149" y="167"/>
                </a:lnTo>
                <a:lnTo>
                  <a:pt x="148" y="167"/>
                </a:lnTo>
                <a:lnTo>
                  <a:pt x="148" y="168"/>
                </a:lnTo>
                <a:lnTo>
                  <a:pt x="147" y="171"/>
                </a:lnTo>
                <a:lnTo>
                  <a:pt x="145" y="172"/>
                </a:lnTo>
                <a:lnTo>
                  <a:pt x="145" y="173"/>
                </a:lnTo>
                <a:lnTo>
                  <a:pt x="144" y="174"/>
                </a:lnTo>
                <a:lnTo>
                  <a:pt x="143" y="174"/>
                </a:lnTo>
                <a:lnTo>
                  <a:pt x="142" y="175"/>
                </a:lnTo>
                <a:lnTo>
                  <a:pt x="137" y="174"/>
                </a:lnTo>
                <a:lnTo>
                  <a:pt x="136" y="175"/>
                </a:lnTo>
                <a:lnTo>
                  <a:pt x="136" y="174"/>
                </a:lnTo>
                <a:lnTo>
                  <a:pt x="135" y="172"/>
                </a:lnTo>
                <a:lnTo>
                  <a:pt x="134" y="172"/>
                </a:lnTo>
                <a:lnTo>
                  <a:pt x="134" y="173"/>
                </a:lnTo>
                <a:lnTo>
                  <a:pt x="132" y="174"/>
                </a:lnTo>
                <a:lnTo>
                  <a:pt x="134" y="169"/>
                </a:lnTo>
                <a:lnTo>
                  <a:pt x="135" y="169"/>
                </a:lnTo>
                <a:lnTo>
                  <a:pt x="136" y="171"/>
                </a:lnTo>
                <a:lnTo>
                  <a:pt x="137" y="171"/>
                </a:lnTo>
                <a:lnTo>
                  <a:pt x="137" y="169"/>
                </a:lnTo>
                <a:lnTo>
                  <a:pt x="140" y="168"/>
                </a:lnTo>
                <a:lnTo>
                  <a:pt x="137" y="168"/>
                </a:lnTo>
                <a:lnTo>
                  <a:pt x="137" y="169"/>
                </a:lnTo>
                <a:lnTo>
                  <a:pt x="136" y="169"/>
                </a:lnTo>
                <a:lnTo>
                  <a:pt x="135" y="168"/>
                </a:lnTo>
                <a:lnTo>
                  <a:pt x="135" y="167"/>
                </a:lnTo>
                <a:lnTo>
                  <a:pt x="136" y="167"/>
                </a:lnTo>
                <a:lnTo>
                  <a:pt x="136" y="166"/>
                </a:lnTo>
                <a:lnTo>
                  <a:pt x="138" y="161"/>
                </a:lnTo>
                <a:lnTo>
                  <a:pt x="140" y="161"/>
                </a:lnTo>
                <a:lnTo>
                  <a:pt x="138" y="160"/>
                </a:lnTo>
                <a:lnTo>
                  <a:pt x="140" y="159"/>
                </a:lnTo>
                <a:lnTo>
                  <a:pt x="142" y="159"/>
                </a:lnTo>
                <a:lnTo>
                  <a:pt x="143" y="158"/>
                </a:lnTo>
                <a:lnTo>
                  <a:pt x="147" y="158"/>
                </a:lnTo>
                <a:lnTo>
                  <a:pt x="148" y="156"/>
                </a:lnTo>
                <a:lnTo>
                  <a:pt x="151" y="156"/>
                </a:lnTo>
                <a:lnTo>
                  <a:pt x="153" y="155"/>
                </a:lnTo>
                <a:lnTo>
                  <a:pt x="145" y="156"/>
                </a:lnTo>
                <a:lnTo>
                  <a:pt x="142" y="155"/>
                </a:lnTo>
                <a:lnTo>
                  <a:pt x="142" y="154"/>
                </a:lnTo>
                <a:lnTo>
                  <a:pt x="147" y="149"/>
                </a:lnTo>
                <a:lnTo>
                  <a:pt x="147" y="148"/>
                </a:lnTo>
                <a:lnTo>
                  <a:pt x="144" y="149"/>
                </a:lnTo>
                <a:lnTo>
                  <a:pt x="144" y="150"/>
                </a:lnTo>
                <a:lnTo>
                  <a:pt x="143" y="152"/>
                </a:lnTo>
                <a:lnTo>
                  <a:pt x="142" y="152"/>
                </a:lnTo>
                <a:lnTo>
                  <a:pt x="142" y="154"/>
                </a:lnTo>
                <a:lnTo>
                  <a:pt x="140" y="156"/>
                </a:lnTo>
                <a:lnTo>
                  <a:pt x="138" y="156"/>
                </a:lnTo>
                <a:lnTo>
                  <a:pt x="137" y="158"/>
                </a:lnTo>
                <a:lnTo>
                  <a:pt x="137" y="159"/>
                </a:lnTo>
                <a:lnTo>
                  <a:pt x="136" y="160"/>
                </a:lnTo>
                <a:lnTo>
                  <a:pt x="135" y="160"/>
                </a:lnTo>
                <a:lnTo>
                  <a:pt x="134" y="161"/>
                </a:lnTo>
                <a:lnTo>
                  <a:pt x="134" y="162"/>
                </a:lnTo>
                <a:lnTo>
                  <a:pt x="132" y="162"/>
                </a:lnTo>
                <a:lnTo>
                  <a:pt x="131" y="163"/>
                </a:lnTo>
                <a:lnTo>
                  <a:pt x="130" y="166"/>
                </a:lnTo>
                <a:lnTo>
                  <a:pt x="124" y="172"/>
                </a:lnTo>
                <a:lnTo>
                  <a:pt x="123" y="172"/>
                </a:lnTo>
                <a:lnTo>
                  <a:pt x="123" y="171"/>
                </a:lnTo>
                <a:lnTo>
                  <a:pt x="122" y="171"/>
                </a:lnTo>
                <a:lnTo>
                  <a:pt x="120" y="169"/>
                </a:lnTo>
                <a:lnTo>
                  <a:pt x="119" y="169"/>
                </a:lnTo>
                <a:lnTo>
                  <a:pt x="120" y="168"/>
                </a:lnTo>
                <a:lnTo>
                  <a:pt x="120" y="166"/>
                </a:lnTo>
                <a:lnTo>
                  <a:pt x="118" y="168"/>
                </a:lnTo>
                <a:lnTo>
                  <a:pt x="116" y="168"/>
                </a:lnTo>
                <a:lnTo>
                  <a:pt x="110" y="162"/>
                </a:lnTo>
                <a:lnTo>
                  <a:pt x="110" y="160"/>
                </a:lnTo>
                <a:lnTo>
                  <a:pt x="114" y="160"/>
                </a:lnTo>
                <a:lnTo>
                  <a:pt x="117" y="162"/>
                </a:lnTo>
                <a:lnTo>
                  <a:pt x="117" y="161"/>
                </a:lnTo>
                <a:lnTo>
                  <a:pt x="116" y="161"/>
                </a:lnTo>
                <a:lnTo>
                  <a:pt x="116" y="160"/>
                </a:lnTo>
                <a:lnTo>
                  <a:pt x="120" y="156"/>
                </a:lnTo>
                <a:lnTo>
                  <a:pt x="124" y="158"/>
                </a:lnTo>
                <a:lnTo>
                  <a:pt x="122" y="156"/>
                </a:lnTo>
                <a:lnTo>
                  <a:pt x="120" y="155"/>
                </a:lnTo>
                <a:lnTo>
                  <a:pt x="116" y="158"/>
                </a:lnTo>
                <a:lnTo>
                  <a:pt x="114" y="159"/>
                </a:lnTo>
                <a:lnTo>
                  <a:pt x="113" y="159"/>
                </a:lnTo>
                <a:lnTo>
                  <a:pt x="112" y="158"/>
                </a:lnTo>
                <a:lnTo>
                  <a:pt x="109" y="158"/>
                </a:lnTo>
                <a:lnTo>
                  <a:pt x="106" y="156"/>
                </a:lnTo>
                <a:lnTo>
                  <a:pt x="105" y="156"/>
                </a:lnTo>
                <a:lnTo>
                  <a:pt x="103" y="159"/>
                </a:lnTo>
                <a:lnTo>
                  <a:pt x="100" y="156"/>
                </a:lnTo>
                <a:lnTo>
                  <a:pt x="100" y="154"/>
                </a:lnTo>
                <a:lnTo>
                  <a:pt x="101" y="153"/>
                </a:lnTo>
                <a:lnTo>
                  <a:pt x="103" y="153"/>
                </a:lnTo>
                <a:lnTo>
                  <a:pt x="109" y="152"/>
                </a:lnTo>
                <a:lnTo>
                  <a:pt x="110" y="152"/>
                </a:lnTo>
                <a:lnTo>
                  <a:pt x="111" y="150"/>
                </a:lnTo>
                <a:lnTo>
                  <a:pt x="112" y="150"/>
                </a:lnTo>
                <a:lnTo>
                  <a:pt x="113" y="152"/>
                </a:lnTo>
                <a:lnTo>
                  <a:pt x="116" y="153"/>
                </a:lnTo>
                <a:lnTo>
                  <a:pt x="116" y="150"/>
                </a:lnTo>
                <a:lnTo>
                  <a:pt x="117" y="150"/>
                </a:lnTo>
                <a:lnTo>
                  <a:pt x="117" y="149"/>
                </a:lnTo>
                <a:lnTo>
                  <a:pt x="118" y="149"/>
                </a:lnTo>
                <a:lnTo>
                  <a:pt x="120" y="150"/>
                </a:lnTo>
                <a:lnTo>
                  <a:pt x="119" y="149"/>
                </a:lnTo>
                <a:lnTo>
                  <a:pt x="118" y="149"/>
                </a:lnTo>
                <a:lnTo>
                  <a:pt x="117" y="148"/>
                </a:lnTo>
                <a:lnTo>
                  <a:pt x="116" y="148"/>
                </a:lnTo>
                <a:lnTo>
                  <a:pt x="116" y="147"/>
                </a:lnTo>
                <a:lnTo>
                  <a:pt x="117" y="146"/>
                </a:lnTo>
                <a:lnTo>
                  <a:pt x="120" y="146"/>
                </a:lnTo>
                <a:lnTo>
                  <a:pt x="123" y="144"/>
                </a:lnTo>
                <a:lnTo>
                  <a:pt x="124" y="143"/>
                </a:lnTo>
                <a:lnTo>
                  <a:pt x="122" y="143"/>
                </a:lnTo>
                <a:lnTo>
                  <a:pt x="122" y="144"/>
                </a:lnTo>
                <a:lnTo>
                  <a:pt x="119" y="144"/>
                </a:lnTo>
                <a:lnTo>
                  <a:pt x="119" y="143"/>
                </a:lnTo>
                <a:lnTo>
                  <a:pt x="120" y="142"/>
                </a:lnTo>
                <a:lnTo>
                  <a:pt x="119" y="141"/>
                </a:lnTo>
                <a:lnTo>
                  <a:pt x="114" y="142"/>
                </a:lnTo>
                <a:lnTo>
                  <a:pt x="113" y="142"/>
                </a:lnTo>
                <a:lnTo>
                  <a:pt x="114" y="141"/>
                </a:lnTo>
                <a:lnTo>
                  <a:pt x="116" y="141"/>
                </a:lnTo>
                <a:lnTo>
                  <a:pt x="114" y="140"/>
                </a:lnTo>
                <a:lnTo>
                  <a:pt x="116" y="138"/>
                </a:lnTo>
                <a:lnTo>
                  <a:pt x="116" y="137"/>
                </a:lnTo>
                <a:lnTo>
                  <a:pt x="117" y="135"/>
                </a:lnTo>
                <a:lnTo>
                  <a:pt x="117" y="134"/>
                </a:lnTo>
                <a:lnTo>
                  <a:pt x="119" y="131"/>
                </a:lnTo>
                <a:lnTo>
                  <a:pt x="122" y="131"/>
                </a:lnTo>
                <a:lnTo>
                  <a:pt x="122" y="132"/>
                </a:lnTo>
                <a:lnTo>
                  <a:pt x="124" y="135"/>
                </a:lnTo>
                <a:lnTo>
                  <a:pt x="128" y="135"/>
                </a:lnTo>
                <a:lnTo>
                  <a:pt x="130" y="134"/>
                </a:lnTo>
                <a:lnTo>
                  <a:pt x="130" y="132"/>
                </a:lnTo>
                <a:lnTo>
                  <a:pt x="129" y="134"/>
                </a:lnTo>
                <a:lnTo>
                  <a:pt x="124" y="134"/>
                </a:lnTo>
                <a:lnTo>
                  <a:pt x="124" y="132"/>
                </a:lnTo>
                <a:lnTo>
                  <a:pt x="123" y="132"/>
                </a:lnTo>
                <a:lnTo>
                  <a:pt x="123" y="130"/>
                </a:lnTo>
                <a:lnTo>
                  <a:pt x="119" y="130"/>
                </a:lnTo>
                <a:lnTo>
                  <a:pt x="119" y="129"/>
                </a:lnTo>
                <a:lnTo>
                  <a:pt x="118" y="129"/>
                </a:lnTo>
                <a:lnTo>
                  <a:pt x="119" y="128"/>
                </a:lnTo>
                <a:lnTo>
                  <a:pt x="120" y="125"/>
                </a:lnTo>
                <a:lnTo>
                  <a:pt x="122" y="124"/>
                </a:lnTo>
                <a:lnTo>
                  <a:pt x="124" y="124"/>
                </a:lnTo>
                <a:lnTo>
                  <a:pt x="125" y="123"/>
                </a:lnTo>
                <a:lnTo>
                  <a:pt x="125" y="124"/>
                </a:lnTo>
                <a:lnTo>
                  <a:pt x="128" y="125"/>
                </a:lnTo>
                <a:lnTo>
                  <a:pt x="129" y="125"/>
                </a:lnTo>
                <a:lnTo>
                  <a:pt x="128" y="123"/>
                </a:lnTo>
                <a:lnTo>
                  <a:pt x="124" y="122"/>
                </a:lnTo>
                <a:lnTo>
                  <a:pt x="123" y="120"/>
                </a:lnTo>
                <a:lnTo>
                  <a:pt x="125" y="118"/>
                </a:lnTo>
                <a:lnTo>
                  <a:pt x="125" y="116"/>
                </a:lnTo>
                <a:lnTo>
                  <a:pt x="126" y="113"/>
                </a:lnTo>
                <a:lnTo>
                  <a:pt x="128" y="112"/>
                </a:lnTo>
                <a:lnTo>
                  <a:pt x="129" y="112"/>
                </a:lnTo>
                <a:lnTo>
                  <a:pt x="131" y="115"/>
                </a:lnTo>
                <a:lnTo>
                  <a:pt x="134" y="116"/>
                </a:lnTo>
                <a:lnTo>
                  <a:pt x="135" y="116"/>
                </a:lnTo>
                <a:lnTo>
                  <a:pt x="135" y="115"/>
                </a:lnTo>
                <a:lnTo>
                  <a:pt x="132" y="115"/>
                </a:lnTo>
                <a:lnTo>
                  <a:pt x="132" y="113"/>
                </a:lnTo>
                <a:lnTo>
                  <a:pt x="131" y="112"/>
                </a:lnTo>
                <a:lnTo>
                  <a:pt x="131" y="111"/>
                </a:lnTo>
                <a:lnTo>
                  <a:pt x="134" y="109"/>
                </a:lnTo>
                <a:lnTo>
                  <a:pt x="131" y="109"/>
                </a:lnTo>
                <a:lnTo>
                  <a:pt x="131" y="110"/>
                </a:lnTo>
                <a:lnTo>
                  <a:pt x="130" y="111"/>
                </a:lnTo>
                <a:lnTo>
                  <a:pt x="129" y="111"/>
                </a:lnTo>
                <a:lnTo>
                  <a:pt x="128" y="112"/>
                </a:lnTo>
                <a:lnTo>
                  <a:pt x="126" y="112"/>
                </a:lnTo>
                <a:lnTo>
                  <a:pt x="125" y="111"/>
                </a:lnTo>
                <a:lnTo>
                  <a:pt x="122" y="111"/>
                </a:lnTo>
                <a:lnTo>
                  <a:pt x="122" y="110"/>
                </a:lnTo>
                <a:lnTo>
                  <a:pt x="123" y="107"/>
                </a:lnTo>
                <a:lnTo>
                  <a:pt x="124" y="106"/>
                </a:lnTo>
                <a:lnTo>
                  <a:pt x="125" y="106"/>
                </a:lnTo>
                <a:lnTo>
                  <a:pt x="125" y="107"/>
                </a:lnTo>
                <a:lnTo>
                  <a:pt x="126" y="106"/>
                </a:lnTo>
                <a:lnTo>
                  <a:pt x="131" y="105"/>
                </a:lnTo>
                <a:lnTo>
                  <a:pt x="134" y="100"/>
                </a:lnTo>
                <a:lnTo>
                  <a:pt x="132" y="100"/>
                </a:lnTo>
                <a:lnTo>
                  <a:pt x="129" y="104"/>
                </a:lnTo>
                <a:lnTo>
                  <a:pt x="129" y="105"/>
                </a:lnTo>
                <a:lnTo>
                  <a:pt x="126" y="105"/>
                </a:lnTo>
                <a:lnTo>
                  <a:pt x="125" y="104"/>
                </a:lnTo>
                <a:lnTo>
                  <a:pt x="126" y="104"/>
                </a:lnTo>
                <a:lnTo>
                  <a:pt x="126" y="101"/>
                </a:lnTo>
                <a:lnTo>
                  <a:pt x="125" y="101"/>
                </a:lnTo>
                <a:lnTo>
                  <a:pt x="122" y="105"/>
                </a:lnTo>
                <a:lnTo>
                  <a:pt x="122" y="106"/>
                </a:lnTo>
                <a:lnTo>
                  <a:pt x="118" y="106"/>
                </a:lnTo>
                <a:lnTo>
                  <a:pt x="117" y="103"/>
                </a:lnTo>
                <a:lnTo>
                  <a:pt x="118" y="103"/>
                </a:lnTo>
                <a:lnTo>
                  <a:pt x="118" y="101"/>
                </a:lnTo>
                <a:lnTo>
                  <a:pt x="117" y="101"/>
                </a:lnTo>
                <a:lnTo>
                  <a:pt x="117" y="99"/>
                </a:lnTo>
                <a:lnTo>
                  <a:pt x="116" y="98"/>
                </a:lnTo>
                <a:lnTo>
                  <a:pt x="116" y="89"/>
                </a:lnTo>
                <a:lnTo>
                  <a:pt x="117" y="89"/>
                </a:lnTo>
                <a:lnTo>
                  <a:pt x="117" y="88"/>
                </a:lnTo>
                <a:lnTo>
                  <a:pt x="119" y="88"/>
                </a:lnTo>
                <a:lnTo>
                  <a:pt x="123" y="92"/>
                </a:lnTo>
                <a:lnTo>
                  <a:pt x="123" y="93"/>
                </a:lnTo>
                <a:lnTo>
                  <a:pt x="125" y="93"/>
                </a:lnTo>
                <a:lnTo>
                  <a:pt x="124" y="92"/>
                </a:lnTo>
                <a:lnTo>
                  <a:pt x="130" y="92"/>
                </a:lnTo>
                <a:lnTo>
                  <a:pt x="130" y="91"/>
                </a:lnTo>
                <a:lnTo>
                  <a:pt x="129" y="89"/>
                </a:lnTo>
                <a:lnTo>
                  <a:pt x="125" y="89"/>
                </a:lnTo>
                <a:lnTo>
                  <a:pt x="124" y="91"/>
                </a:lnTo>
                <a:lnTo>
                  <a:pt x="123" y="89"/>
                </a:lnTo>
                <a:lnTo>
                  <a:pt x="123" y="88"/>
                </a:lnTo>
                <a:lnTo>
                  <a:pt x="122" y="88"/>
                </a:lnTo>
                <a:lnTo>
                  <a:pt x="122" y="87"/>
                </a:lnTo>
                <a:lnTo>
                  <a:pt x="120" y="85"/>
                </a:lnTo>
                <a:lnTo>
                  <a:pt x="119" y="83"/>
                </a:lnTo>
                <a:lnTo>
                  <a:pt x="118" y="83"/>
                </a:lnTo>
                <a:lnTo>
                  <a:pt x="118" y="81"/>
                </a:lnTo>
                <a:lnTo>
                  <a:pt x="119" y="80"/>
                </a:lnTo>
                <a:lnTo>
                  <a:pt x="118" y="80"/>
                </a:lnTo>
                <a:lnTo>
                  <a:pt x="118" y="79"/>
                </a:lnTo>
                <a:lnTo>
                  <a:pt x="120" y="77"/>
                </a:lnTo>
                <a:lnTo>
                  <a:pt x="123" y="80"/>
                </a:lnTo>
                <a:lnTo>
                  <a:pt x="123" y="79"/>
                </a:lnTo>
                <a:lnTo>
                  <a:pt x="124" y="77"/>
                </a:lnTo>
                <a:lnTo>
                  <a:pt x="123" y="77"/>
                </a:lnTo>
                <a:lnTo>
                  <a:pt x="123" y="76"/>
                </a:lnTo>
                <a:lnTo>
                  <a:pt x="122" y="76"/>
                </a:lnTo>
                <a:lnTo>
                  <a:pt x="118" y="75"/>
                </a:lnTo>
                <a:lnTo>
                  <a:pt x="118" y="67"/>
                </a:lnTo>
                <a:lnTo>
                  <a:pt x="120" y="64"/>
                </a:lnTo>
                <a:lnTo>
                  <a:pt x="122" y="64"/>
                </a:lnTo>
                <a:lnTo>
                  <a:pt x="123" y="66"/>
                </a:lnTo>
                <a:lnTo>
                  <a:pt x="124" y="66"/>
                </a:lnTo>
                <a:lnTo>
                  <a:pt x="123" y="67"/>
                </a:lnTo>
                <a:lnTo>
                  <a:pt x="124" y="68"/>
                </a:lnTo>
                <a:lnTo>
                  <a:pt x="124" y="72"/>
                </a:lnTo>
                <a:lnTo>
                  <a:pt x="125" y="73"/>
                </a:lnTo>
                <a:lnTo>
                  <a:pt x="126" y="73"/>
                </a:lnTo>
                <a:lnTo>
                  <a:pt x="125" y="72"/>
                </a:lnTo>
                <a:lnTo>
                  <a:pt x="128" y="72"/>
                </a:lnTo>
                <a:lnTo>
                  <a:pt x="128" y="68"/>
                </a:lnTo>
                <a:lnTo>
                  <a:pt x="124" y="64"/>
                </a:lnTo>
                <a:lnTo>
                  <a:pt x="125" y="63"/>
                </a:lnTo>
                <a:lnTo>
                  <a:pt x="124" y="63"/>
                </a:lnTo>
                <a:lnTo>
                  <a:pt x="125" y="62"/>
                </a:lnTo>
                <a:lnTo>
                  <a:pt x="125" y="61"/>
                </a:lnTo>
                <a:lnTo>
                  <a:pt x="126" y="61"/>
                </a:lnTo>
                <a:lnTo>
                  <a:pt x="128" y="62"/>
                </a:lnTo>
                <a:lnTo>
                  <a:pt x="129" y="62"/>
                </a:lnTo>
                <a:lnTo>
                  <a:pt x="129" y="63"/>
                </a:lnTo>
                <a:lnTo>
                  <a:pt x="130" y="66"/>
                </a:lnTo>
                <a:lnTo>
                  <a:pt x="131" y="67"/>
                </a:lnTo>
                <a:lnTo>
                  <a:pt x="132" y="67"/>
                </a:lnTo>
                <a:lnTo>
                  <a:pt x="132" y="66"/>
                </a:lnTo>
                <a:lnTo>
                  <a:pt x="134" y="66"/>
                </a:lnTo>
                <a:lnTo>
                  <a:pt x="134" y="62"/>
                </a:lnTo>
                <a:lnTo>
                  <a:pt x="135" y="62"/>
                </a:lnTo>
                <a:lnTo>
                  <a:pt x="136" y="63"/>
                </a:lnTo>
                <a:lnTo>
                  <a:pt x="137" y="63"/>
                </a:lnTo>
                <a:lnTo>
                  <a:pt x="140" y="66"/>
                </a:lnTo>
                <a:lnTo>
                  <a:pt x="143" y="67"/>
                </a:lnTo>
                <a:lnTo>
                  <a:pt x="141" y="64"/>
                </a:lnTo>
                <a:lnTo>
                  <a:pt x="136" y="62"/>
                </a:lnTo>
                <a:lnTo>
                  <a:pt x="136" y="61"/>
                </a:lnTo>
                <a:lnTo>
                  <a:pt x="137" y="60"/>
                </a:lnTo>
                <a:lnTo>
                  <a:pt x="138" y="62"/>
                </a:lnTo>
                <a:lnTo>
                  <a:pt x="143" y="62"/>
                </a:lnTo>
                <a:lnTo>
                  <a:pt x="143" y="63"/>
                </a:lnTo>
                <a:lnTo>
                  <a:pt x="145" y="64"/>
                </a:lnTo>
                <a:lnTo>
                  <a:pt x="147" y="66"/>
                </a:lnTo>
                <a:lnTo>
                  <a:pt x="148" y="68"/>
                </a:lnTo>
                <a:lnTo>
                  <a:pt x="149" y="68"/>
                </a:lnTo>
                <a:lnTo>
                  <a:pt x="149" y="67"/>
                </a:lnTo>
                <a:lnTo>
                  <a:pt x="143" y="61"/>
                </a:lnTo>
                <a:lnTo>
                  <a:pt x="144" y="60"/>
                </a:lnTo>
                <a:lnTo>
                  <a:pt x="144" y="58"/>
                </a:lnTo>
                <a:lnTo>
                  <a:pt x="143" y="58"/>
                </a:lnTo>
                <a:lnTo>
                  <a:pt x="143" y="57"/>
                </a:lnTo>
                <a:lnTo>
                  <a:pt x="141" y="57"/>
                </a:lnTo>
                <a:lnTo>
                  <a:pt x="140" y="56"/>
                </a:lnTo>
                <a:lnTo>
                  <a:pt x="138" y="54"/>
                </a:lnTo>
                <a:lnTo>
                  <a:pt x="137" y="54"/>
                </a:lnTo>
                <a:lnTo>
                  <a:pt x="136" y="52"/>
                </a:lnTo>
                <a:lnTo>
                  <a:pt x="134" y="52"/>
                </a:lnTo>
                <a:lnTo>
                  <a:pt x="135" y="51"/>
                </a:lnTo>
                <a:lnTo>
                  <a:pt x="135" y="50"/>
                </a:lnTo>
                <a:lnTo>
                  <a:pt x="134" y="48"/>
                </a:lnTo>
                <a:lnTo>
                  <a:pt x="134" y="46"/>
                </a:lnTo>
                <a:lnTo>
                  <a:pt x="136" y="48"/>
                </a:lnTo>
                <a:lnTo>
                  <a:pt x="137" y="50"/>
                </a:lnTo>
                <a:lnTo>
                  <a:pt x="137" y="49"/>
                </a:lnTo>
                <a:lnTo>
                  <a:pt x="140" y="49"/>
                </a:lnTo>
                <a:lnTo>
                  <a:pt x="141" y="48"/>
                </a:lnTo>
                <a:lnTo>
                  <a:pt x="141" y="46"/>
                </a:lnTo>
                <a:lnTo>
                  <a:pt x="140" y="45"/>
                </a:lnTo>
                <a:lnTo>
                  <a:pt x="141" y="45"/>
                </a:lnTo>
                <a:lnTo>
                  <a:pt x="141" y="44"/>
                </a:lnTo>
                <a:lnTo>
                  <a:pt x="140" y="44"/>
                </a:lnTo>
                <a:lnTo>
                  <a:pt x="141" y="43"/>
                </a:lnTo>
                <a:lnTo>
                  <a:pt x="140" y="43"/>
                </a:lnTo>
                <a:lnTo>
                  <a:pt x="140" y="40"/>
                </a:lnTo>
                <a:lnTo>
                  <a:pt x="138" y="40"/>
                </a:lnTo>
                <a:lnTo>
                  <a:pt x="138" y="38"/>
                </a:lnTo>
                <a:lnTo>
                  <a:pt x="137" y="38"/>
                </a:lnTo>
                <a:lnTo>
                  <a:pt x="136" y="36"/>
                </a:lnTo>
                <a:lnTo>
                  <a:pt x="136" y="33"/>
                </a:lnTo>
                <a:lnTo>
                  <a:pt x="138" y="36"/>
                </a:lnTo>
                <a:lnTo>
                  <a:pt x="141" y="36"/>
                </a:lnTo>
                <a:lnTo>
                  <a:pt x="143" y="33"/>
                </a:lnTo>
                <a:lnTo>
                  <a:pt x="144" y="34"/>
                </a:lnTo>
                <a:lnTo>
                  <a:pt x="145" y="34"/>
                </a:lnTo>
                <a:lnTo>
                  <a:pt x="145" y="33"/>
                </a:lnTo>
                <a:lnTo>
                  <a:pt x="148" y="33"/>
                </a:lnTo>
                <a:lnTo>
                  <a:pt x="149" y="34"/>
                </a:lnTo>
                <a:lnTo>
                  <a:pt x="151" y="34"/>
                </a:lnTo>
                <a:lnTo>
                  <a:pt x="155" y="37"/>
                </a:lnTo>
                <a:lnTo>
                  <a:pt x="153" y="34"/>
                </a:lnTo>
                <a:lnTo>
                  <a:pt x="155" y="34"/>
                </a:lnTo>
                <a:lnTo>
                  <a:pt x="155" y="33"/>
                </a:lnTo>
                <a:lnTo>
                  <a:pt x="151" y="33"/>
                </a:lnTo>
                <a:lnTo>
                  <a:pt x="150" y="34"/>
                </a:lnTo>
                <a:lnTo>
                  <a:pt x="147" y="31"/>
                </a:lnTo>
                <a:lnTo>
                  <a:pt x="147" y="30"/>
                </a:lnTo>
                <a:lnTo>
                  <a:pt x="145" y="29"/>
                </a:lnTo>
                <a:lnTo>
                  <a:pt x="145" y="27"/>
                </a:lnTo>
                <a:lnTo>
                  <a:pt x="144" y="27"/>
                </a:lnTo>
                <a:lnTo>
                  <a:pt x="144" y="26"/>
                </a:lnTo>
                <a:lnTo>
                  <a:pt x="145" y="26"/>
                </a:lnTo>
                <a:lnTo>
                  <a:pt x="145" y="21"/>
                </a:lnTo>
                <a:lnTo>
                  <a:pt x="147" y="21"/>
                </a:lnTo>
                <a:lnTo>
                  <a:pt x="147" y="23"/>
                </a:lnTo>
                <a:lnTo>
                  <a:pt x="149" y="24"/>
                </a:lnTo>
                <a:lnTo>
                  <a:pt x="151" y="24"/>
                </a:lnTo>
                <a:lnTo>
                  <a:pt x="150" y="23"/>
                </a:lnTo>
                <a:lnTo>
                  <a:pt x="150" y="21"/>
                </a:lnTo>
                <a:lnTo>
                  <a:pt x="148" y="21"/>
                </a:lnTo>
                <a:lnTo>
                  <a:pt x="148" y="20"/>
                </a:lnTo>
                <a:lnTo>
                  <a:pt x="150" y="19"/>
                </a:lnTo>
                <a:lnTo>
                  <a:pt x="151" y="19"/>
                </a:lnTo>
                <a:lnTo>
                  <a:pt x="148" y="15"/>
                </a:lnTo>
                <a:lnTo>
                  <a:pt x="148" y="13"/>
                </a:lnTo>
                <a:lnTo>
                  <a:pt x="150" y="12"/>
                </a:lnTo>
                <a:lnTo>
                  <a:pt x="150" y="11"/>
                </a:lnTo>
                <a:lnTo>
                  <a:pt x="151" y="9"/>
                </a:lnTo>
                <a:lnTo>
                  <a:pt x="151" y="5"/>
                </a:lnTo>
                <a:lnTo>
                  <a:pt x="153" y="5"/>
                </a:lnTo>
                <a:lnTo>
                  <a:pt x="157" y="6"/>
                </a:lnTo>
                <a:lnTo>
                  <a:pt x="159" y="6"/>
                </a:lnTo>
                <a:lnTo>
                  <a:pt x="160" y="7"/>
                </a:lnTo>
                <a:lnTo>
                  <a:pt x="160" y="13"/>
                </a:lnTo>
                <a:lnTo>
                  <a:pt x="161" y="12"/>
                </a:lnTo>
                <a:lnTo>
                  <a:pt x="161" y="8"/>
                </a:lnTo>
                <a:lnTo>
                  <a:pt x="162" y="7"/>
                </a:lnTo>
                <a:lnTo>
                  <a:pt x="161" y="6"/>
                </a:lnTo>
                <a:lnTo>
                  <a:pt x="163" y="8"/>
                </a:lnTo>
                <a:lnTo>
                  <a:pt x="165" y="8"/>
                </a:lnTo>
                <a:lnTo>
                  <a:pt x="166" y="9"/>
                </a:lnTo>
                <a:lnTo>
                  <a:pt x="166" y="11"/>
                </a:lnTo>
                <a:lnTo>
                  <a:pt x="167" y="11"/>
                </a:lnTo>
                <a:lnTo>
                  <a:pt x="166" y="12"/>
                </a:lnTo>
                <a:lnTo>
                  <a:pt x="166" y="13"/>
                </a:lnTo>
                <a:lnTo>
                  <a:pt x="165" y="14"/>
                </a:lnTo>
                <a:lnTo>
                  <a:pt x="163" y="17"/>
                </a:lnTo>
                <a:lnTo>
                  <a:pt x="162" y="18"/>
                </a:lnTo>
                <a:lnTo>
                  <a:pt x="162" y="19"/>
                </a:lnTo>
                <a:lnTo>
                  <a:pt x="163" y="19"/>
                </a:lnTo>
                <a:lnTo>
                  <a:pt x="166" y="15"/>
                </a:lnTo>
                <a:lnTo>
                  <a:pt x="166" y="14"/>
                </a:lnTo>
                <a:lnTo>
                  <a:pt x="167" y="14"/>
                </a:lnTo>
                <a:lnTo>
                  <a:pt x="169" y="12"/>
                </a:lnTo>
                <a:lnTo>
                  <a:pt x="169" y="8"/>
                </a:lnTo>
                <a:lnTo>
                  <a:pt x="173" y="8"/>
                </a:lnTo>
                <a:lnTo>
                  <a:pt x="174" y="9"/>
                </a:lnTo>
                <a:lnTo>
                  <a:pt x="176" y="11"/>
                </a:lnTo>
                <a:lnTo>
                  <a:pt x="176" y="13"/>
                </a:lnTo>
                <a:lnTo>
                  <a:pt x="174" y="15"/>
                </a:lnTo>
                <a:lnTo>
                  <a:pt x="174" y="17"/>
                </a:lnTo>
                <a:lnTo>
                  <a:pt x="173" y="19"/>
                </a:lnTo>
                <a:lnTo>
                  <a:pt x="174" y="19"/>
                </a:lnTo>
                <a:lnTo>
                  <a:pt x="176" y="17"/>
                </a:lnTo>
                <a:lnTo>
                  <a:pt x="176" y="14"/>
                </a:lnTo>
                <a:lnTo>
                  <a:pt x="178" y="13"/>
                </a:lnTo>
                <a:lnTo>
                  <a:pt x="180" y="12"/>
                </a:lnTo>
                <a:lnTo>
                  <a:pt x="181" y="11"/>
                </a:lnTo>
                <a:lnTo>
                  <a:pt x="184" y="13"/>
                </a:lnTo>
                <a:lnTo>
                  <a:pt x="185" y="13"/>
                </a:lnTo>
                <a:lnTo>
                  <a:pt x="184" y="12"/>
                </a:lnTo>
                <a:lnTo>
                  <a:pt x="185" y="12"/>
                </a:lnTo>
                <a:lnTo>
                  <a:pt x="185" y="11"/>
                </a:lnTo>
                <a:lnTo>
                  <a:pt x="187" y="11"/>
                </a:lnTo>
                <a:lnTo>
                  <a:pt x="187" y="9"/>
                </a:lnTo>
                <a:lnTo>
                  <a:pt x="191" y="9"/>
                </a:lnTo>
                <a:lnTo>
                  <a:pt x="192" y="8"/>
                </a:lnTo>
                <a:lnTo>
                  <a:pt x="192" y="7"/>
                </a:lnTo>
                <a:lnTo>
                  <a:pt x="193" y="7"/>
                </a:lnTo>
                <a:lnTo>
                  <a:pt x="194" y="8"/>
                </a:lnTo>
                <a:lnTo>
                  <a:pt x="194" y="9"/>
                </a:lnTo>
                <a:lnTo>
                  <a:pt x="196" y="8"/>
                </a:lnTo>
                <a:lnTo>
                  <a:pt x="199" y="9"/>
                </a:lnTo>
                <a:lnTo>
                  <a:pt x="203" y="8"/>
                </a:lnTo>
                <a:lnTo>
                  <a:pt x="204" y="8"/>
                </a:lnTo>
                <a:lnTo>
                  <a:pt x="207" y="6"/>
                </a:lnTo>
                <a:lnTo>
                  <a:pt x="209" y="5"/>
                </a:lnTo>
                <a:lnTo>
                  <a:pt x="213" y="5"/>
                </a:lnTo>
                <a:lnTo>
                  <a:pt x="213" y="7"/>
                </a:lnTo>
                <a:lnTo>
                  <a:pt x="215" y="6"/>
                </a:lnTo>
                <a:lnTo>
                  <a:pt x="217" y="6"/>
                </a:lnTo>
                <a:lnTo>
                  <a:pt x="219" y="7"/>
                </a:lnTo>
                <a:lnTo>
                  <a:pt x="221" y="7"/>
                </a:lnTo>
                <a:lnTo>
                  <a:pt x="222" y="5"/>
                </a:lnTo>
                <a:lnTo>
                  <a:pt x="221" y="5"/>
                </a:lnTo>
                <a:lnTo>
                  <a:pt x="221" y="3"/>
                </a:lnTo>
                <a:lnTo>
                  <a:pt x="219" y="3"/>
                </a:lnTo>
                <a:lnTo>
                  <a:pt x="219" y="1"/>
                </a:lnTo>
                <a:lnTo>
                  <a:pt x="221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5" name="Freeform 40">
            <a:extLst>
              <a:ext uri="{FF2B5EF4-FFF2-40B4-BE49-F238E27FC236}">
                <a16:creationId xmlns:a16="http://schemas.microsoft.com/office/drawing/2014/main" id="{A6B3338F-1BB5-4A83-9C77-8CE2DB21F25D}"/>
              </a:ext>
            </a:extLst>
          </p:cNvPr>
          <p:cNvSpPr>
            <a:spLocks noEditPoints="1"/>
          </p:cNvSpPr>
          <p:nvPr/>
        </p:nvSpPr>
        <p:spPr bwMode="auto">
          <a:xfrm>
            <a:off x="1021600" y="3538165"/>
            <a:ext cx="163731" cy="257911"/>
          </a:xfrm>
          <a:custGeom>
            <a:avLst/>
            <a:gdLst/>
            <a:ahLst/>
            <a:cxnLst>
              <a:cxn ang="0">
                <a:pos x="22" y="171"/>
              </a:cxn>
              <a:cxn ang="0">
                <a:pos x="17" y="170"/>
              </a:cxn>
              <a:cxn ang="0">
                <a:pos x="11" y="171"/>
              </a:cxn>
              <a:cxn ang="0">
                <a:pos x="0" y="164"/>
              </a:cxn>
              <a:cxn ang="0">
                <a:pos x="32" y="147"/>
              </a:cxn>
              <a:cxn ang="0">
                <a:pos x="16" y="153"/>
              </a:cxn>
              <a:cxn ang="0">
                <a:pos x="23" y="158"/>
              </a:cxn>
              <a:cxn ang="0">
                <a:pos x="26" y="159"/>
              </a:cxn>
              <a:cxn ang="0">
                <a:pos x="28" y="163"/>
              </a:cxn>
              <a:cxn ang="0">
                <a:pos x="17" y="160"/>
              </a:cxn>
              <a:cxn ang="0">
                <a:pos x="9" y="157"/>
              </a:cxn>
              <a:cxn ang="0">
                <a:pos x="4" y="158"/>
              </a:cxn>
              <a:cxn ang="0">
                <a:pos x="37" y="146"/>
              </a:cxn>
              <a:cxn ang="0">
                <a:pos x="35" y="145"/>
              </a:cxn>
              <a:cxn ang="0">
                <a:pos x="19" y="145"/>
              </a:cxn>
              <a:cxn ang="0">
                <a:pos x="29" y="136"/>
              </a:cxn>
              <a:cxn ang="0">
                <a:pos x="26" y="142"/>
              </a:cxn>
              <a:cxn ang="0">
                <a:pos x="23" y="135"/>
              </a:cxn>
              <a:cxn ang="0">
                <a:pos x="36" y="138"/>
              </a:cxn>
              <a:cxn ang="0">
                <a:pos x="34" y="136"/>
              </a:cxn>
              <a:cxn ang="0">
                <a:pos x="38" y="130"/>
              </a:cxn>
              <a:cxn ang="0">
                <a:pos x="16" y="129"/>
              </a:cxn>
              <a:cxn ang="0">
                <a:pos x="24" y="134"/>
              </a:cxn>
              <a:cxn ang="0">
                <a:pos x="17" y="132"/>
              </a:cxn>
              <a:cxn ang="0">
                <a:pos x="75" y="114"/>
              </a:cxn>
              <a:cxn ang="0">
                <a:pos x="88" y="64"/>
              </a:cxn>
              <a:cxn ang="0">
                <a:pos x="100" y="59"/>
              </a:cxn>
              <a:cxn ang="0">
                <a:pos x="105" y="42"/>
              </a:cxn>
              <a:cxn ang="0">
                <a:pos x="111" y="19"/>
              </a:cxn>
              <a:cxn ang="0">
                <a:pos x="106" y="23"/>
              </a:cxn>
              <a:cxn ang="0">
                <a:pos x="90" y="29"/>
              </a:cxn>
              <a:cxn ang="0">
                <a:pos x="87" y="39"/>
              </a:cxn>
              <a:cxn ang="0">
                <a:pos x="93" y="31"/>
              </a:cxn>
              <a:cxn ang="0">
                <a:pos x="93" y="39"/>
              </a:cxn>
              <a:cxn ang="0">
                <a:pos x="101" y="35"/>
              </a:cxn>
              <a:cxn ang="0">
                <a:pos x="97" y="45"/>
              </a:cxn>
              <a:cxn ang="0">
                <a:pos x="96" y="49"/>
              </a:cxn>
              <a:cxn ang="0">
                <a:pos x="94" y="58"/>
              </a:cxn>
              <a:cxn ang="0">
                <a:pos x="94" y="64"/>
              </a:cxn>
              <a:cxn ang="0">
                <a:pos x="94" y="73"/>
              </a:cxn>
              <a:cxn ang="0">
                <a:pos x="92" y="84"/>
              </a:cxn>
              <a:cxn ang="0">
                <a:pos x="90" y="77"/>
              </a:cxn>
              <a:cxn ang="0">
                <a:pos x="92" y="64"/>
              </a:cxn>
              <a:cxn ang="0">
                <a:pos x="92" y="53"/>
              </a:cxn>
              <a:cxn ang="0">
                <a:pos x="87" y="53"/>
              </a:cxn>
              <a:cxn ang="0">
                <a:pos x="84" y="60"/>
              </a:cxn>
              <a:cxn ang="0">
                <a:pos x="81" y="52"/>
              </a:cxn>
              <a:cxn ang="0">
                <a:pos x="75" y="47"/>
              </a:cxn>
              <a:cxn ang="0">
                <a:pos x="82" y="46"/>
              </a:cxn>
              <a:cxn ang="0">
                <a:pos x="88" y="43"/>
              </a:cxn>
              <a:cxn ang="0">
                <a:pos x="85" y="34"/>
              </a:cxn>
              <a:cxn ang="0">
                <a:pos x="78" y="33"/>
              </a:cxn>
              <a:cxn ang="0">
                <a:pos x="86" y="29"/>
              </a:cxn>
              <a:cxn ang="0">
                <a:pos x="87" y="21"/>
              </a:cxn>
              <a:cxn ang="0">
                <a:pos x="104" y="13"/>
              </a:cxn>
              <a:cxn ang="0">
                <a:pos x="101" y="18"/>
              </a:cxn>
              <a:cxn ang="0">
                <a:pos x="99" y="30"/>
              </a:cxn>
              <a:cxn ang="0">
                <a:pos x="97" y="17"/>
              </a:cxn>
              <a:cxn ang="0">
                <a:pos x="107" y="5"/>
              </a:cxn>
              <a:cxn ang="0">
                <a:pos x="113" y="4"/>
              </a:cxn>
              <a:cxn ang="0">
                <a:pos x="105" y="15"/>
              </a:cxn>
              <a:cxn ang="0">
                <a:pos x="106" y="4"/>
              </a:cxn>
            </a:cxnLst>
            <a:rect l="0" t="0" r="r" b="b"/>
            <a:pathLst>
              <a:path w="113" h="178">
                <a:moveTo>
                  <a:pt x="12" y="171"/>
                </a:moveTo>
                <a:lnTo>
                  <a:pt x="13" y="172"/>
                </a:lnTo>
                <a:lnTo>
                  <a:pt x="12" y="173"/>
                </a:lnTo>
                <a:lnTo>
                  <a:pt x="10" y="173"/>
                </a:lnTo>
                <a:lnTo>
                  <a:pt x="12" y="171"/>
                </a:lnTo>
                <a:close/>
                <a:moveTo>
                  <a:pt x="20" y="169"/>
                </a:moveTo>
                <a:lnTo>
                  <a:pt x="23" y="169"/>
                </a:lnTo>
                <a:lnTo>
                  <a:pt x="23" y="171"/>
                </a:lnTo>
                <a:lnTo>
                  <a:pt x="22" y="171"/>
                </a:lnTo>
                <a:lnTo>
                  <a:pt x="22" y="177"/>
                </a:lnTo>
                <a:lnTo>
                  <a:pt x="20" y="178"/>
                </a:lnTo>
                <a:lnTo>
                  <a:pt x="19" y="176"/>
                </a:lnTo>
                <a:lnTo>
                  <a:pt x="19" y="173"/>
                </a:lnTo>
                <a:lnTo>
                  <a:pt x="18" y="171"/>
                </a:lnTo>
                <a:lnTo>
                  <a:pt x="19" y="172"/>
                </a:lnTo>
                <a:lnTo>
                  <a:pt x="19" y="171"/>
                </a:lnTo>
                <a:lnTo>
                  <a:pt x="17" y="171"/>
                </a:lnTo>
                <a:lnTo>
                  <a:pt x="17" y="170"/>
                </a:lnTo>
                <a:lnTo>
                  <a:pt x="18" y="170"/>
                </a:lnTo>
                <a:lnTo>
                  <a:pt x="20" y="169"/>
                </a:lnTo>
                <a:close/>
                <a:moveTo>
                  <a:pt x="4" y="162"/>
                </a:moveTo>
                <a:lnTo>
                  <a:pt x="6" y="164"/>
                </a:lnTo>
                <a:lnTo>
                  <a:pt x="9" y="164"/>
                </a:lnTo>
                <a:lnTo>
                  <a:pt x="10" y="168"/>
                </a:lnTo>
                <a:lnTo>
                  <a:pt x="10" y="169"/>
                </a:lnTo>
                <a:lnTo>
                  <a:pt x="11" y="170"/>
                </a:lnTo>
                <a:lnTo>
                  <a:pt x="11" y="171"/>
                </a:lnTo>
                <a:lnTo>
                  <a:pt x="10" y="171"/>
                </a:lnTo>
                <a:lnTo>
                  <a:pt x="7" y="173"/>
                </a:lnTo>
                <a:lnTo>
                  <a:pt x="5" y="173"/>
                </a:lnTo>
                <a:lnTo>
                  <a:pt x="5" y="171"/>
                </a:lnTo>
                <a:lnTo>
                  <a:pt x="4" y="170"/>
                </a:lnTo>
                <a:lnTo>
                  <a:pt x="3" y="168"/>
                </a:lnTo>
                <a:lnTo>
                  <a:pt x="3" y="166"/>
                </a:lnTo>
                <a:lnTo>
                  <a:pt x="0" y="166"/>
                </a:lnTo>
                <a:lnTo>
                  <a:pt x="0" y="164"/>
                </a:lnTo>
                <a:lnTo>
                  <a:pt x="1" y="164"/>
                </a:lnTo>
                <a:lnTo>
                  <a:pt x="1" y="163"/>
                </a:lnTo>
                <a:lnTo>
                  <a:pt x="4" y="162"/>
                </a:lnTo>
                <a:close/>
                <a:moveTo>
                  <a:pt x="32" y="147"/>
                </a:moveTo>
                <a:lnTo>
                  <a:pt x="34" y="147"/>
                </a:lnTo>
                <a:lnTo>
                  <a:pt x="34" y="148"/>
                </a:lnTo>
                <a:lnTo>
                  <a:pt x="32" y="150"/>
                </a:lnTo>
                <a:lnTo>
                  <a:pt x="31" y="148"/>
                </a:lnTo>
                <a:lnTo>
                  <a:pt x="32" y="147"/>
                </a:lnTo>
                <a:close/>
                <a:moveTo>
                  <a:pt x="6" y="144"/>
                </a:moveTo>
                <a:lnTo>
                  <a:pt x="11" y="144"/>
                </a:lnTo>
                <a:lnTo>
                  <a:pt x="13" y="146"/>
                </a:lnTo>
                <a:lnTo>
                  <a:pt x="16" y="146"/>
                </a:lnTo>
                <a:lnTo>
                  <a:pt x="16" y="148"/>
                </a:lnTo>
                <a:lnTo>
                  <a:pt x="18" y="150"/>
                </a:lnTo>
                <a:lnTo>
                  <a:pt x="18" y="151"/>
                </a:lnTo>
                <a:lnTo>
                  <a:pt x="16" y="152"/>
                </a:lnTo>
                <a:lnTo>
                  <a:pt x="16" y="153"/>
                </a:lnTo>
                <a:lnTo>
                  <a:pt x="13" y="156"/>
                </a:lnTo>
                <a:lnTo>
                  <a:pt x="14" y="157"/>
                </a:lnTo>
                <a:lnTo>
                  <a:pt x="17" y="157"/>
                </a:lnTo>
                <a:lnTo>
                  <a:pt x="17" y="156"/>
                </a:lnTo>
                <a:lnTo>
                  <a:pt x="18" y="154"/>
                </a:lnTo>
                <a:lnTo>
                  <a:pt x="19" y="156"/>
                </a:lnTo>
                <a:lnTo>
                  <a:pt x="22" y="156"/>
                </a:lnTo>
                <a:lnTo>
                  <a:pt x="23" y="157"/>
                </a:lnTo>
                <a:lnTo>
                  <a:pt x="23" y="158"/>
                </a:lnTo>
                <a:lnTo>
                  <a:pt x="25" y="158"/>
                </a:lnTo>
                <a:lnTo>
                  <a:pt x="25" y="157"/>
                </a:lnTo>
                <a:lnTo>
                  <a:pt x="28" y="157"/>
                </a:lnTo>
                <a:lnTo>
                  <a:pt x="28" y="158"/>
                </a:lnTo>
                <a:lnTo>
                  <a:pt x="25" y="160"/>
                </a:lnTo>
                <a:lnTo>
                  <a:pt x="25" y="162"/>
                </a:lnTo>
                <a:lnTo>
                  <a:pt x="28" y="162"/>
                </a:lnTo>
                <a:lnTo>
                  <a:pt x="28" y="160"/>
                </a:lnTo>
                <a:lnTo>
                  <a:pt x="26" y="159"/>
                </a:lnTo>
                <a:lnTo>
                  <a:pt x="28" y="159"/>
                </a:lnTo>
                <a:lnTo>
                  <a:pt x="29" y="158"/>
                </a:lnTo>
                <a:lnTo>
                  <a:pt x="30" y="158"/>
                </a:lnTo>
                <a:lnTo>
                  <a:pt x="30" y="159"/>
                </a:lnTo>
                <a:lnTo>
                  <a:pt x="31" y="159"/>
                </a:lnTo>
                <a:lnTo>
                  <a:pt x="31" y="162"/>
                </a:lnTo>
                <a:lnTo>
                  <a:pt x="30" y="162"/>
                </a:lnTo>
                <a:lnTo>
                  <a:pt x="30" y="163"/>
                </a:lnTo>
                <a:lnTo>
                  <a:pt x="28" y="163"/>
                </a:lnTo>
                <a:lnTo>
                  <a:pt x="26" y="165"/>
                </a:lnTo>
                <a:lnTo>
                  <a:pt x="25" y="165"/>
                </a:lnTo>
                <a:lnTo>
                  <a:pt x="22" y="164"/>
                </a:lnTo>
                <a:lnTo>
                  <a:pt x="20" y="163"/>
                </a:lnTo>
                <a:lnTo>
                  <a:pt x="19" y="160"/>
                </a:lnTo>
                <a:lnTo>
                  <a:pt x="19" y="159"/>
                </a:lnTo>
                <a:lnTo>
                  <a:pt x="18" y="159"/>
                </a:lnTo>
                <a:lnTo>
                  <a:pt x="18" y="160"/>
                </a:lnTo>
                <a:lnTo>
                  <a:pt x="17" y="160"/>
                </a:lnTo>
                <a:lnTo>
                  <a:pt x="16" y="162"/>
                </a:lnTo>
                <a:lnTo>
                  <a:pt x="16" y="160"/>
                </a:lnTo>
                <a:lnTo>
                  <a:pt x="14" y="160"/>
                </a:lnTo>
                <a:lnTo>
                  <a:pt x="16" y="162"/>
                </a:lnTo>
                <a:lnTo>
                  <a:pt x="13" y="162"/>
                </a:lnTo>
                <a:lnTo>
                  <a:pt x="13" y="163"/>
                </a:lnTo>
                <a:lnTo>
                  <a:pt x="10" y="163"/>
                </a:lnTo>
                <a:lnTo>
                  <a:pt x="9" y="162"/>
                </a:lnTo>
                <a:lnTo>
                  <a:pt x="9" y="157"/>
                </a:lnTo>
                <a:lnTo>
                  <a:pt x="10" y="156"/>
                </a:lnTo>
                <a:lnTo>
                  <a:pt x="10" y="154"/>
                </a:lnTo>
                <a:lnTo>
                  <a:pt x="9" y="154"/>
                </a:lnTo>
                <a:lnTo>
                  <a:pt x="9" y="156"/>
                </a:lnTo>
                <a:lnTo>
                  <a:pt x="7" y="154"/>
                </a:lnTo>
                <a:lnTo>
                  <a:pt x="7" y="158"/>
                </a:lnTo>
                <a:lnTo>
                  <a:pt x="6" y="159"/>
                </a:lnTo>
                <a:lnTo>
                  <a:pt x="6" y="160"/>
                </a:lnTo>
                <a:lnTo>
                  <a:pt x="4" y="158"/>
                </a:lnTo>
                <a:lnTo>
                  <a:pt x="3" y="154"/>
                </a:lnTo>
                <a:lnTo>
                  <a:pt x="4" y="152"/>
                </a:lnTo>
                <a:lnTo>
                  <a:pt x="4" y="148"/>
                </a:lnTo>
                <a:lnTo>
                  <a:pt x="6" y="144"/>
                </a:lnTo>
                <a:close/>
                <a:moveTo>
                  <a:pt x="35" y="142"/>
                </a:moveTo>
                <a:lnTo>
                  <a:pt x="35" y="144"/>
                </a:lnTo>
                <a:lnTo>
                  <a:pt x="36" y="144"/>
                </a:lnTo>
                <a:lnTo>
                  <a:pt x="36" y="146"/>
                </a:lnTo>
                <a:lnTo>
                  <a:pt x="37" y="146"/>
                </a:lnTo>
                <a:lnTo>
                  <a:pt x="37" y="147"/>
                </a:lnTo>
                <a:lnTo>
                  <a:pt x="38" y="148"/>
                </a:lnTo>
                <a:lnTo>
                  <a:pt x="38" y="150"/>
                </a:lnTo>
                <a:lnTo>
                  <a:pt x="36" y="150"/>
                </a:lnTo>
                <a:lnTo>
                  <a:pt x="35" y="148"/>
                </a:lnTo>
                <a:lnTo>
                  <a:pt x="35" y="147"/>
                </a:lnTo>
                <a:lnTo>
                  <a:pt x="34" y="147"/>
                </a:lnTo>
                <a:lnTo>
                  <a:pt x="35" y="146"/>
                </a:lnTo>
                <a:lnTo>
                  <a:pt x="35" y="145"/>
                </a:lnTo>
                <a:lnTo>
                  <a:pt x="32" y="144"/>
                </a:lnTo>
                <a:lnTo>
                  <a:pt x="35" y="142"/>
                </a:lnTo>
                <a:close/>
                <a:moveTo>
                  <a:pt x="14" y="140"/>
                </a:moveTo>
                <a:lnTo>
                  <a:pt x="17" y="140"/>
                </a:lnTo>
                <a:lnTo>
                  <a:pt x="17" y="141"/>
                </a:lnTo>
                <a:lnTo>
                  <a:pt x="19" y="140"/>
                </a:lnTo>
                <a:lnTo>
                  <a:pt x="20" y="141"/>
                </a:lnTo>
                <a:lnTo>
                  <a:pt x="19" y="142"/>
                </a:lnTo>
                <a:lnTo>
                  <a:pt x="19" y="145"/>
                </a:lnTo>
                <a:lnTo>
                  <a:pt x="18" y="146"/>
                </a:lnTo>
                <a:lnTo>
                  <a:pt x="17" y="145"/>
                </a:lnTo>
                <a:lnTo>
                  <a:pt x="14" y="145"/>
                </a:lnTo>
                <a:lnTo>
                  <a:pt x="13" y="142"/>
                </a:lnTo>
                <a:lnTo>
                  <a:pt x="13" y="141"/>
                </a:lnTo>
                <a:lnTo>
                  <a:pt x="14" y="140"/>
                </a:lnTo>
                <a:close/>
                <a:moveTo>
                  <a:pt x="28" y="135"/>
                </a:moveTo>
                <a:lnTo>
                  <a:pt x="29" y="135"/>
                </a:lnTo>
                <a:lnTo>
                  <a:pt x="29" y="136"/>
                </a:lnTo>
                <a:lnTo>
                  <a:pt x="30" y="136"/>
                </a:lnTo>
                <a:lnTo>
                  <a:pt x="30" y="139"/>
                </a:lnTo>
                <a:lnTo>
                  <a:pt x="29" y="140"/>
                </a:lnTo>
                <a:lnTo>
                  <a:pt x="29" y="144"/>
                </a:lnTo>
                <a:lnTo>
                  <a:pt x="30" y="144"/>
                </a:lnTo>
                <a:lnTo>
                  <a:pt x="29" y="145"/>
                </a:lnTo>
                <a:lnTo>
                  <a:pt x="28" y="145"/>
                </a:lnTo>
                <a:lnTo>
                  <a:pt x="28" y="142"/>
                </a:lnTo>
                <a:lnTo>
                  <a:pt x="26" y="142"/>
                </a:lnTo>
                <a:lnTo>
                  <a:pt x="26" y="141"/>
                </a:lnTo>
                <a:lnTo>
                  <a:pt x="25" y="141"/>
                </a:lnTo>
                <a:lnTo>
                  <a:pt x="25" y="140"/>
                </a:lnTo>
                <a:lnTo>
                  <a:pt x="28" y="140"/>
                </a:lnTo>
                <a:lnTo>
                  <a:pt x="28" y="135"/>
                </a:lnTo>
                <a:close/>
                <a:moveTo>
                  <a:pt x="23" y="135"/>
                </a:moveTo>
                <a:lnTo>
                  <a:pt x="24" y="135"/>
                </a:lnTo>
                <a:lnTo>
                  <a:pt x="23" y="136"/>
                </a:lnTo>
                <a:lnTo>
                  <a:pt x="23" y="135"/>
                </a:lnTo>
                <a:close/>
                <a:moveTo>
                  <a:pt x="43" y="130"/>
                </a:moveTo>
                <a:lnTo>
                  <a:pt x="44" y="132"/>
                </a:lnTo>
                <a:lnTo>
                  <a:pt x="44" y="133"/>
                </a:lnTo>
                <a:lnTo>
                  <a:pt x="41" y="133"/>
                </a:lnTo>
                <a:lnTo>
                  <a:pt x="41" y="134"/>
                </a:lnTo>
                <a:lnTo>
                  <a:pt x="39" y="136"/>
                </a:lnTo>
                <a:lnTo>
                  <a:pt x="38" y="136"/>
                </a:lnTo>
                <a:lnTo>
                  <a:pt x="38" y="135"/>
                </a:lnTo>
                <a:lnTo>
                  <a:pt x="36" y="138"/>
                </a:lnTo>
                <a:lnTo>
                  <a:pt x="36" y="136"/>
                </a:lnTo>
                <a:lnTo>
                  <a:pt x="35" y="136"/>
                </a:lnTo>
                <a:lnTo>
                  <a:pt x="32" y="139"/>
                </a:lnTo>
                <a:lnTo>
                  <a:pt x="32" y="140"/>
                </a:lnTo>
                <a:lnTo>
                  <a:pt x="31" y="140"/>
                </a:lnTo>
                <a:lnTo>
                  <a:pt x="31" y="138"/>
                </a:lnTo>
                <a:lnTo>
                  <a:pt x="32" y="138"/>
                </a:lnTo>
                <a:lnTo>
                  <a:pt x="32" y="136"/>
                </a:lnTo>
                <a:lnTo>
                  <a:pt x="34" y="136"/>
                </a:lnTo>
                <a:lnTo>
                  <a:pt x="34" y="135"/>
                </a:lnTo>
                <a:lnTo>
                  <a:pt x="35" y="135"/>
                </a:lnTo>
                <a:lnTo>
                  <a:pt x="35" y="134"/>
                </a:lnTo>
                <a:lnTo>
                  <a:pt x="37" y="134"/>
                </a:lnTo>
                <a:lnTo>
                  <a:pt x="39" y="132"/>
                </a:lnTo>
                <a:lnTo>
                  <a:pt x="42" y="132"/>
                </a:lnTo>
                <a:lnTo>
                  <a:pt x="43" y="130"/>
                </a:lnTo>
                <a:close/>
                <a:moveTo>
                  <a:pt x="37" y="130"/>
                </a:moveTo>
                <a:lnTo>
                  <a:pt x="38" y="130"/>
                </a:lnTo>
                <a:lnTo>
                  <a:pt x="38" y="132"/>
                </a:lnTo>
                <a:lnTo>
                  <a:pt x="36" y="134"/>
                </a:lnTo>
                <a:lnTo>
                  <a:pt x="36" y="133"/>
                </a:lnTo>
                <a:lnTo>
                  <a:pt x="35" y="132"/>
                </a:lnTo>
                <a:lnTo>
                  <a:pt x="36" y="132"/>
                </a:lnTo>
                <a:lnTo>
                  <a:pt x="37" y="130"/>
                </a:lnTo>
                <a:close/>
                <a:moveTo>
                  <a:pt x="16" y="128"/>
                </a:moveTo>
                <a:lnTo>
                  <a:pt x="17" y="129"/>
                </a:lnTo>
                <a:lnTo>
                  <a:pt x="16" y="129"/>
                </a:lnTo>
                <a:lnTo>
                  <a:pt x="16" y="128"/>
                </a:lnTo>
                <a:close/>
                <a:moveTo>
                  <a:pt x="19" y="126"/>
                </a:moveTo>
                <a:lnTo>
                  <a:pt x="20" y="127"/>
                </a:lnTo>
                <a:lnTo>
                  <a:pt x="20" y="129"/>
                </a:lnTo>
                <a:lnTo>
                  <a:pt x="19" y="129"/>
                </a:lnTo>
                <a:lnTo>
                  <a:pt x="22" y="130"/>
                </a:lnTo>
                <a:lnTo>
                  <a:pt x="23" y="130"/>
                </a:lnTo>
                <a:lnTo>
                  <a:pt x="24" y="133"/>
                </a:lnTo>
                <a:lnTo>
                  <a:pt x="24" y="134"/>
                </a:lnTo>
                <a:lnTo>
                  <a:pt x="25" y="134"/>
                </a:lnTo>
                <a:lnTo>
                  <a:pt x="25" y="135"/>
                </a:lnTo>
                <a:lnTo>
                  <a:pt x="24" y="135"/>
                </a:lnTo>
                <a:lnTo>
                  <a:pt x="20" y="132"/>
                </a:lnTo>
                <a:lnTo>
                  <a:pt x="19" y="132"/>
                </a:lnTo>
                <a:lnTo>
                  <a:pt x="19" y="134"/>
                </a:lnTo>
                <a:lnTo>
                  <a:pt x="18" y="134"/>
                </a:lnTo>
                <a:lnTo>
                  <a:pt x="18" y="133"/>
                </a:lnTo>
                <a:lnTo>
                  <a:pt x="17" y="132"/>
                </a:lnTo>
                <a:lnTo>
                  <a:pt x="17" y="129"/>
                </a:lnTo>
                <a:lnTo>
                  <a:pt x="19" y="127"/>
                </a:lnTo>
                <a:lnTo>
                  <a:pt x="19" y="126"/>
                </a:lnTo>
                <a:close/>
                <a:moveTo>
                  <a:pt x="76" y="110"/>
                </a:moveTo>
                <a:lnTo>
                  <a:pt x="78" y="110"/>
                </a:lnTo>
                <a:lnTo>
                  <a:pt x="78" y="113"/>
                </a:lnTo>
                <a:lnTo>
                  <a:pt x="76" y="113"/>
                </a:lnTo>
                <a:lnTo>
                  <a:pt x="76" y="114"/>
                </a:lnTo>
                <a:lnTo>
                  <a:pt x="75" y="114"/>
                </a:lnTo>
                <a:lnTo>
                  <a:pt x="75" y="111"/>
                </a:lnTo>
                <a:lnTo>
                  <a:pt x="76" y="110"/>
                </a:lnTo>
                <a:close/>
                <a:moveTo>
                  <a:pt x="88" y="64"/>
                </a:moveTo>
                <a:lnTo>
                  <a:pt x="90" y="64"/>
                </a:lnTo>
                <a:lnTo>
                  <a:pt x="90" y="67"/>
                </a:lnTo>
                <a:lnTo>
                  <a:pt x="87" y="70"/>
                </a:lnTo>
                <a:lnTo>
                  <a:pt x="87" y="68"/>
                </a:lnTo>
                <a:lnTo>
                  <a:pt x="88" y="67"/>
                </a:lnTo>
                <a:lnTo>
                  <a:pt x="88" y="64"/>
                </a:lnTo>
                <a:close/>
                <a:moveTo>
                  <a:pt x="56" y="60"/>
                </a:moveTo>
                <a:lnTo>
                  <a:pt x="59" y="60"/>
                </a:lnTo>
                <a:lnTo>
                  <a:pt x="59" y="62"/>
                </a:lnTo>
                <a:lnTo>
                  <a:pt x="57" y="62"/>
                </a:lnTo>
                <a:lnTo>
                  <a:pt x="56" y="61"/>
                </a:lnTo>
                <a:lnTo>
                  <a:pt x="56" y="60"/>
                </a:lnTo>
                <a:close/>
                <a:moveTo>
                  <a:pt x="97" y="58"/>
                </a:moveTo>
                <a:lnTo>
                  <a:pt x="99" y="58"/>
                </a:lnTo>
                <a:lnTo>
                  <a:pt x="100" y="59"/>
                </a:lnTo>
                <a:lnTo>
                  <a:pt x="100" y="62"/>
                </a:lnTo>
                <a:lnTo>
                  <a:pt x="99" y="64"/>
                </a:lnTo>
                <a:lnTo>
                  <a:pt x="98" y="62"/>
                </a:lnTo>
                <a:lnTo>
                  <a:pt x="98" y="60"/>
                </a:lnTo>
                <a:lnTo>
                  <a:pt x="97" y="59"/>
                </a:lnTo>
                <a:lnTo>
                  <a:pt x="97" y="58"/>
                </a:lnTo>
                <a:close/>
                <a:moveTo>
                  <a:pt x="106" y="40"/>
                </a:moveTo>
                <a:lnTo>
                  <a:pt x="106" y="41"/>
                </a:lnTo>
                <a:lnTo>
                  <a:pt x="105" y="42"/>
                </a:lnTo>
                <a:lnTo>
                  <a:pt x="104" y="45"/>
                </a:lnTo>
                <a:lnTo>
                  <a:pt x="101" y="45"/>
                </a:lnTo>
                <a:lnTo>
                  <a:pt x="101" y="42"/>
                </a:lnTo>
                <a:lnTo>
                  <a:pt x="103" y="42"/>
                </a:lnTo>
                <a:lnTo>
                  <a:pt x="103" y="41"/>
                </a:lnTo>
                <a:lnTo>
                  <a:pt x="105" y="41"/>
                </a:lnTo>
                <a:lnTo>
                  <a:pt x="106" y="40"/>
                </a:lnTo>
                <a:close/>
                <a:moveTo>
                  <a:pt x="105" y="19"/>
                </a:moveTo>
                <a:lnTo>
                  <a:pt x="111" y="19"/>
                </a:lnTo>
                <a:lnTo>
                  <a:pt x="111" y="21"/>
                </a:lnTo>
                <a:lnTo>
                  <a:pt x="113" y="21"/>
                </a:lnTo>
                <a:lnTo>
                  <a:pt x="113" y="23"/>
                </a:lnTo>
                <a:lnTo>
                  <a:pt x="112" y="24"/>
                </a:lnTo>
                <a:lnTo>
                  <a:pt x="111" y="23"/>
                </a:lnTo>
                <a:lnTo>
                  <a:pt x="109" y="23"/>
                </a:lnTo>
                <a:lnTo>
                  <a:pt x="109" y="24"/>
                </a:lnTo>
                <a:lnTo>
                  <a:pt x="107" y="24"/>
                </a:lnTo>
                <a:lnTo>
                  <a:pt x="106" y="23"/>
                </a:lnTo>
                <a:lnTo>
                  <a:pt x="105" y="19"/>
                </a:lnTo>
                <a:close/>
                <a:moveTo>
                  <a:pt x="90" y="18"/>
                </a:moveTo>
                <a:lnTo>
                  <a:pt x="91" y="19"/>
                </a:lnTo>
                <a:lnTo>
                  <a:pt x="91" y="22"/>
                </a:lnTo>
                <a:lnTo>
                  <a:pt x="90" y="23"/>
                </a:lnTo>
                <a:lnTo>
                  <a:pt x="90" y="27"/>
                </a:lnTo>
                <a:lnTo>
                  <a:pt x="88" y="28"/>
                </a:lnTo>
                <a:lnTo>
                  <a:pt x="88" y="29"/>
                </a:lnTo>
                <a:lnTo>
                  <a:pt x="90" y="29"/>
                </a:lnTo>
                <a:lnTo>
                  <a:pt x="88" y="31"/>
                </a:lnTo>
                <a:lnTo>
                  <a:pt x="90" y="31"/>
                </a:lnTo>
                <a:lnTo>
                  <a:pt x="90" y="30"/>
                </a:lnTo>
                <a:lnTo>
                  <a:pt x="91" y="31"/>
                </a:lnTo>
                <a:lnTo>
                  <a:pt x="90" y="33"/>
                </a:lnTo>
                <a:lnTo>
                  <a:pt x="90" y="34"/>
                </a:lnTo>
                <a:lnTo>
                  <a:pt x="88" y="34"/>
                </a:lnTo>
                <a:lnTo>
                  <a:pt x="88" y="37"/>
                </a:lnTo>
                <a:lnTo>
                  <a:pt x="87" y="39"/>
                </a:lnTo>
                <a:lnTo>
                  <a:pt x="90" y="39"/>
                </a:lnTo>
                <a:lnTo>
                  <a:pt x="90" y="36"/>
                </a:lnTo>
                <a:lnTo>
                  <a:pt x="91" y="36"/>
                </a:lnTo>
                <a:lnTo>
                  <a:pt x="93" y="35"/>
                </a:lnTo>
                <a:lnTo>
                  <a:pt x="91" y="34"/>
                </a:lnTo>
                <a:lnTo>
                  <a:pt x="91" y="31"/>
                </a:lnTo>
                <a:lnTo>
                  <a:pt x="92" y="31"/>
                </a:lnTo>
                <a:lnTo>
                  <a:pt x="92" y="33"/>
                </a:lnTo>
                <a:lnTo>
                  <a:pt x="93" y="31"/>
                </a:lnTo>
                <a:lnTo>
                  <a:pt x="93" y="30"/>
                </a:lnTo>
                <a:lnTo>
                  <a:pt x="94" y="31"/>
                </a:lnTo>
                <a:lnTo>
                  <a:pt x="94" y="33"/>
                </a:lnTo>
                <a:lnTo>
                  <a:pt x="96" y="33"/>
                </a:lnTo>
                <a:lnTo>
                  <a:pt x="96" y="36"/>
                </a:lnTo>
                <a:lnTo>
                  <a:pt x="94" y="36"/>
                </a:lnTo>
                <a:lnTo>
                  <a:pt x="94" y="37"/>
                </a:lnTo>
                <a:lnTo>
                  <a:pt x="93" y="37"/>
                </a:lnTo>
                <a:lnTo>
                  <a:pt x="93" y="39"/>
                </a:lnTo>
                <a:lnTo>
                  <a:pt x="94" y="39"/>
                </a:lnTo>
                <a:lnTo>
                  <a:pt x="94" y="37"/>
                </a:lnTo>
                <a:lnTo>
                  <a:pt x="96" y="37"/>
                </a:lnTo>
                <a:lnTo>
                  <a:pt x="97" y="39"/>
                </a:lnTo>
                <a:lnTo>
                  <a:pt x="98" y="39"/>
                </a:lnTo>
                <a:lnTo>
                  <a:pt x="98" y="36"/>
                </a:lnTo>
                <a:lnTo>
                  <a:pt x="99" y="36"/>
                </a:lnTo>
                <a:lnTo>
                  <a:pt x="99" y="35"/>
                </a:lnTo>
                <a:lnTo>
                  <a:pt x="101" y="35"/>
                </a:lnTo>
                <a:lnTo>
                  <a:pt x="100" y="36"/>
                </a:lnTo>
                <a:lnTo>
                  <a:pt x="98" y="40"/>
                </a:lnTo>
                <a:lnTo>
                  <a:pt x="98" y="41"/>
                </a:lnTo>
                <a:lnTo>
                  <a:pt x="99" y="40"/>
                </a:lnTo>
                <a:lnTo>
                  <a:pt x="100" y="40"/>
                </a:lnTo>
                <a:lnTo>
                  <a:pt x="100" y="42"/>
                </a:lnTo>
                <a:lnTo>
                  <a:pt x="99" y="42"/>
                </a:lnTo>
                <a:lnTo>
                  <a:pt x="96" y="43"/>
                </a:lnTo>
                <a:lnTo>
                  <a:pt x="97" y="45"/>
                </a:lnTo>
                <a:lnTo>
                  <a:pt x="98" y="45"/>
                </a:lnTo>
                <a:lnTo>
                  <a:pt x="99" y="46"/>
                </a:lnTo>
                <a:lnTo>
                  <a:pt x="98" y="48"/>
                </a:lnTo>
                <a:lnTo>
                  <a:pt x="97" y="48"/>
                </a:lnTo>
                <a:lnTo>
                  <a:pt x="97" y="49"/>
                </a:lnTo>
                <a:lnTo>
                  <a:pt x="99" y="49"/>
                </a:lnTo>
                <a:lnTo>
                  <a:pt x="97" y="52"/>
                </a:lnTo>
                <a:lnTo>
                  <a:pt x="96" y="52"/>
                </a:lnTo>
                <a:lnTo>
                  <a:pt x="96" y="49"/>
                </a:lnTo>
                <a:lnTo>
                  <a:pt x="94" y="49"/>
                </a:lnTo>
                <a:lnTo>
                  <a:pt x="94" y="52"/>
                </a:lnTo>
                <a:lnTo>
                  <a:pt x="93" y="53"/>
                </a:lnTo>
                <a:lnTo>
                  <a:pt x="96" y="53"/>
                </a:lnTo>
                <a:lnTo>
                  <a:pt x="94" y="54"/>
                </a:lnTo>
                <a:lnTo>
                  <a:pt x="94" y="55"/>
                </a:lnTo>
                <a:lnTo>
                  <a:pt x="96" y="54"/>
                </a:lnTo>
                <a:lnTo>
                  <a:pt x="94" y="56"/>
                </a:lnTo>
                <a:lnTo>
                  <a:pt x="94" y="58"/>
                </a:lnTo>
                <a:lnTo>
                  <a:pt x="96" y="56"/>
                </a:lnTo>
                <a:lnTo>
                  <a:pt x="97" y="56"/>
                </a:lnTo>
                <a:lnTo>
                  <a:pt x="96" y="59"/>
                </a:lnTo>
                <a:lnTo>
                  <a:pt x="98" y="60"/>
                </a:lnTo>
                <a:lnTo>
                  <a:pt x="97" y="60"/>
                </a:lnTo>
                <a:lnTo>
                  <a:pt x="97" y="61"/>
                </a:lnTo>
                <a:lnTo>
                  <a:pt x="96" y="61"/>
                </a:lnTo>
                <a:lnTo>
                  <a:pt x="96" y="62"/>
                </a:lnTo>
                <a:lnTo>
                  <a:pt x="94" y="64"/>
                </a:lnTo>
                <a:lnTo>
                  <a:pt x="94" y="65"/>
                </a:lnTo>
                <a:lnTo>
                  <a:pt x="96" y="65"/>
                </a:lnTo>
                <a:lnTo>
                  <a:pt x="94" y="66"/>
                </a:lnTo>
                <a:lnTo>
                  <a:pt x="94" y="67"/>
                </a:lnTo>
                <a:lnTo>
                  <a:pt x="96" y="67"/>
                </a:lnTo>
                <a:lnTo>
                  <a:pt x="96" y="70"/>
                </a:lnTo>
                <a:lnTo>
                  <a:pt x="93" y="70"/>
                </a:lnTo>
                <a:lnTo>
                  <a:pt x="93" y="71"/>
                </a:lnTo>
                <a:lnTo>
                  <a:pt x="94" y="73"/>
                </a:lnTo>
                <a:lnTo>
                  <a:pt x="94" y="74"/>
                </a:lnTo>
                <a:lnTo>
                  <a:pt x="93" y="74"/>
                </a:lnTo>
                <a:lnTo>
                  <a:pt x="92" y="73"/>
                </a:lnTo>
                <a:lnTo>
                  <a:pt x="92" y="79"/>
                </a:lnTo>
                <a:lnTo>
                  <a:pt x="91" y="79"/>
                </a:lnTo>
                <a:lnTo>
                  <a:pt x="92" y="80"/>
                </a:lnTo>
                <a:lnTo>
                  <a:pt x="92" y="82"/>
                </a:lnTo>
                <a:lnTo>
                  <a:pt x="91" y="83"/>
                </a:lnTo>
                <a:lnTo>
                  <a:pt x="92" y="84"/>
                </a:lnTo>
                <a:lnTo>
                  <a:pt x="92" y="85"/>
                </a:lnTo>
                <a:lnTo>
                  <a:pt x="91" y="85"/>
                </a:lnTo>
                <a:lnTo>
                  <a:pt x="91" y="84"/>
                </a:lnTo>
                <a:lnTo>
                  <a:pt x="90" y="84"/>
                </a:lnTo>
                <a:lnTo>
                  <a:pt x="90" y="82"/>
                </a:lnTo>
                <a:lnTo>
                  <a:pt x="87" y="82"/>
                </a:lnTo>
                <a:lnTo>
                  <a:pt x="87" y="78"/>
                </a:lnTo>
                <a:lnTo>
                  <a:pt x="88" y="77"/>
                </a:lnTo>
                <a:lnTo>
                  <a:pt x="90" y="77"/>
                </a:lnTo>
                <a:lnTo>
                  <a:pt x="88" y="76"/>
                </a:lnTo>
                <a:lnTo>
                  <a:pt x="88" y="74"/>
                </a:lnTo>
                <a:lnTo>
                  <a:pt x="90" y="74"/>
                </a:lnTo>
                <a:lnTo>
                  <a:pt x="88" y="73"/>
                </a:lnTo>
                <a:lnTo>
                  <a:pt x="90" y="72"/>
                </a:lnTo>
                <a:lnTo>
                  <a:pt x="90" y="71"/>
                </a:lnTo>
                <a:lnTo>
                  <a:pt x="91" y="66"/>
                </a:lnTo>
                <a:lnTo>
                  <a:pt x="91" y="65"/>
                </a:lnTo>
                <a:lnTo>
                  <a:pt x="92" y="64"/>
                </a:lnTo>
                <a:lnTo>
                  <a:pt x="92" y="61"/>
                </a:lnTo>
                <a:lnTo>
                  <a:pt x="91" y="60"/>
                </a:lnTo>
                <a:lnTo>
                  <a:pt x="91" y="59"/>
                </a:lnTo>
                <a:lnTo>
                  <a:pt x="92" y="58"/>
                </a:lnTo>
                <a:lnTo>
                  <a:pt x="90" y="58"/>
                </a:lnTo>
                <a:lnTo>
                  <a:pt x="90" y="56"/>
                </a:lnTo>
                <a:lnTo>
                  <a:pt x="91" y="54"/>
                </a:lnTo>
                <a:lnTo>
                  <a:pt x="91" y="53"/>
                </a:lnTo>
                <a:lnTo>
                  <a:pt x="92" y="53"/>
                </a:lnTo>
                <a:lnTo>
                  <a:pt x="92" y="52"/>
                </a:lnTo>
                <a:lnTo>
                  <a:pt x="91" y="52"/>
                </a:lnTo>
                <a:lnTo>
                  <a:pt x="90" y="53"/>
                </a:lnTo>
                <a:lnTo>
                  <a:pt x="88" y="55"/>
                </a:lnTo>
                <a:lnTo>
                  <a:pt x="88" y="54"/>
                </a:lnTo>
                <a:lnTo>
                  <a:pt x="87" y="52"/>
                </a:lnTo>
                <a:lnTo>
                  <a:pt x="86" y="50"/>
                </a:lnTo>
                <a:lnTo>
                  <a:pt x="86" y="52"/>
                </a:lnTo>
                <a:lnTo>
                  <a:pt x="87" y="53"/>
                </a:lnTo>
                <a:lnTo>
                  <a:pt x="87" y="54"/>
                </a:lnTo>
                <a:lnTo>
                  <a:pt x="88" y="55"/>
                </a:lnTo>
                <a:lnTo>
                  <a:pt x="87" y="56"/>
                </a:lnTo>
                <a:lnTo>
                  <a:pt x="87" y="55"/>
                </a:lnTo>
                <a:lnTo>
                  <a:pt x="86" y="55"/>
                </a:lnTo>
                <a:lnTo>
                  <a:pt x="86" y="58"/>
                </a:lnTo>
                <a:lnTo>
                  <a:pt x="85" y="58"/>
                </a:lnTo>
                <a:lnTo>
                  <a:pt x="85" y="59"/>
                </a:lnTo>
                <a:lnTo>
                  <a:pt x="84" y="60"/>
                </a:lnTo>
                <a:lnTo>
                  <a:pt x="82" y="59"/>
                </a:lnTo>
                <a:lnTo>
                  <a:pt x="81" y="59"/>
                </a:lnTo>
                <a:lnTo>
                  <a:pt x="81" y="58"/>
                </a:lnTo>
                <a:lnTo>
                  <a:pt x="80" y="56"/>
                </a:lnTo>
                <a:lnTo>
                  <a:pt x="81" y="55"/>
                </a:lnTo>
                <a:lnTo>
                  <a:pt x="82" y="55"/>
                </a:lnTo>
                <a:lnTo>
                  <a:pt x="84" y="54"/>
                </a:lnTo>
                <a:lnTo>
                  <a:pt x="82" y="54"/>
                </a:lnTo>
                <a:lnTo>
                  <a:pt x="81" y="52"/>
                </a:lnTo>
                <a:lnTo>
                  <a:pt x="81" y="54"/>
                </a:lnTo>
                <a:lnTo>
                  <a:pt x="80" y="55"/>
                </a:lnTo>
                <a:lnTo>
                  <a:pt x="80" y="53"/>
                </a:lnTo>
                <a:lnTo>
                  <a:pt x="79" y="54"/>
                </a:lnTo>
                <a:lnTo>
                  <a:pt x="76" y="54"/>
                </a:lnTo>
                <a:lnTo>
                  <a:pt x="76" y="53"/>
                </a:lnTo>
                <a:lnTo>
                  <a:pt x="74" y="53"/>
                </a:lnTo>
                <a:lnTo>
                  <a:pt x="74" y="47"/>
                </a:lnTo>
                <a:lnTo>
                  <a:pt x="75" y="47"/>
                </a:lnTo>
                <a:lnTo>
                  <a:pt x="76" y="46"/>
                </a:lnTo>
                <a:lnTo>
                  <a:pt x="78" y="46"/>
                </a:lnTo>
                <a:lnTo>
                  <a:pt x="78" y="47"/>
                </a:lnTo>
                <a:lnTo>
                  <a:pt x="79" y="48"/>
                </a:lnTo>
                <a:lnTo>
                  <a:pt x="80" y="48"/>
                </a:lnTo>
                <a:lnTo>
                  <a:pt x="79" y="47"/>
                </a:lnTo>
                <a:lnTo>
                  <a:pt x="80" y="47"/>
                </a:lnTo>
                <a:lnTo>
                  <a:pt x="80" y="46"/>
                </a:lnTo>
                <a:lnTo>
                  <a:pt x="82" y="46"/>
                </a:lnTo>
                <a:lnTo>
                  <a:pt x="84" y="47"/>
                </a:lnTo>
                <a:lnTo>
                  <a:pt x="84" y="46"/>
                </a:lnTo>
                <a:lnTo>
                  <a:pt x="86" y="46"/>
                </a:lnTo>
                <a:lnTo>
                  <a:pt x="87" y="47"/>
                </a:lnTo>
                <a:lnTo>
                  <a:pt x="87" y="48"/>
                </a:lnTo>
                <a:lnTo>
                  <a:pt x="88" y="48"/>
                </a:lnTo>
                <a:lnTo>
                  <a:pt x="88" y="47"/>
                </a:lnTo>
                <a:lnTo>
                  <a:pt x="87" y="46"/>
                </a:lnTo>
                <a:lnTo>
                  <a:pt x="88" y="43"/>
                </a:lnTo>
                <a:lnTo>
                  <a:pt x="90" y="42"/>
                </a:lnTo>
                <a:lnTo>
                  <a:pt x="88" y="41"/>
                </a:lnTo>
                <a:lnTo>
                  <a:pt x="88" y="40"/>
                </a:lnTo>
                <a:lnTo>
                  <a:pt x="87" y="40"/>
                </a:lnTo>
                <a:lnTo>
                  <a:pt x="87" y="41"/>
                </a:lnTo>
                <a:lnTo>
                  <a:pt x="86" y="41"/>
                </a:lnTo>
                <a:lnTo>
                  <a:pt x="86" y="37"/>
                </a:lnTo>
                <a:lnTo>
                  <a:pt x="85" y="37"/>
                </a:lnTo>
                <a:lnTo>
                  <a:pt x="85" y="34"/>
                </a:lnTo>
                <a:lnTo>
                  <a:pt x="84" y="31"/>
                </a:lnTo>
                <a:lnTo>
                  <a:pt x="84" y="33"/>
                </a:lnTo>
                <a:lnTo>
                  <a:pt x="82" y="34"/>
                </a:lnTo>
                <a:lnTo>
                  <a:pt x="81" y="33"/>
                </a:lnTo>
                <a:lnTo>
                  <a:pt x="82" y="33"/>
                </a:lnTo>
                <a:lnTo>
                  <a:pt x="82" y="31"/>
                </a:lnTo>
                <a:lnTo>
                  <a:pt x="80" y="31"/>
                </a:lnTo>
                <a:lnTo>
                  <a:pt x="79" y="33"/>
                </a:lnTo>
                <a:lnTo>
                  <a:pt x="78" y="33"/>
                </a:lnTo>
                <a:lnTo>
                  <a:pt x="76" y="31"/>
                </a:lnTo>
                <a:lnTo>
                  <a:pt x="78" y="30"/>
                </a:lnTo>
                <a:lnTo>
                  <a:pt x="78" y="29"/>
                </a:lnTo>
                <a:lnTo>
                  <a:pt x="80" y="29"/>
                </a:lnTo>
                <a:lnTo>
                  <a:pt x="80" y="25"/>
                </a:lnTo>
                <a:lnTo>
                  <a:pt x="81" y="25"/>
                </a:lnTo>
                <a:lnTo>
                  <a:pt x="81" y="27"/>
                </a:lnTo>
                <a:lnTo>
                  <a:pt x="85" y="30"/>
                </a:lnTo>
                <a:lnTo>
                  <a:pt x="86" y="29"/>
                </a:lnTo>
                <a:lnTo>
                  <a:pt x="84" y="29"/>
                </a:lnTo>
                <a:lnTo>
                  <a:pt x="84" y="27"/>
                </a:lnTo>
                <a:lnTo>
                  <a:pt x="82" y="27"/>
                </a:lnTo>
                <a:lnTo>
                  <a:pt x="84" y="25"/>
                </a:lnTo>
                <a:lnTo>
                  <a:pt x="84" y="24"/>
                </a:lnTo>
                <a:lnTo>
                  <a:pt x="86" y="23"/>
                </a:lnTo>
                <a:lnTo>
                  <a:pt x="85" y="23"/>
                </a:lnTo>
                <a:lnTo>
                  <a:pt x="85" y="21"/>
                </a:lnTo>
                <a:lnTo>
                  <a:pt x="87" y="21"/>
                </a:lnTo>
                <a:lnTo>
                  <a:pt x="88" y="22"/>
                </a:lnTo>
                <a:lnTo>
                  <a:pt x="90" y="22"/>
                </a:lnTo>
                <a:lnTo>
                  <a:pt x="90" y="18"/>
                </a:lnTo>
                <a:close/>
                <a:moveTo>
                  <a:pt x="99" y="10"/>
                </a:moveTo>
                <a:lnTo>
                  <a:pt x="100" y="11"/>
                </a:lnTo>
                <a:lnTo>
                  <a:pt x="101" y="10"/>
                </a:lnTo>
                <a:lnTo>
                  <a:pt x="103" y="10"/>
                </a:lnTo>
                <a:lnTo>
                  <a:pt x="103" y="13"/>
                </a:lnTo>
                <a:lnTo>
                  <a:pt x="104" y="13"/>
                </a:lnTo>
                <a:lnTo>
                  <a:pt x="103" y="15"/>
                </a:lnTo>
                <a:lnTo>
                  <a:pt x="104" y="17"/>
                </a:lnTo>
                <a:lnTo>
                  <a:pt x="104" y="18"/>
                </a:lnTo>
                <a:lnTo>
                  <a:pt x="103" y="18"/>
                </a:lnTo>
                <a:lnTo>
                  <a:pt x="101" y="17"/>
                </a:lnTo>
                <a:lnTo>
                  <a:pt x="101" y="16"/>
                </a:lnTo>
                <a:lnTo>
                  <a:pt x="100" y="16"/>
                </a:lnTo>
                <a:lnTo>
                  <a:pt x="100" y="17"/>
                </a:lnTo>
                <a:lnTo>
                  <a:pt x="101" y="18"/>
                </a:lnTo>
                <a:lnTo>
                  <a:pt x="103" y="21"/>
                </a:lnTo>
                <a:lnTo>
                  <a:pt x="100" y="21"/>
                </a:lnTo>
                <a:lnTo>
                  <a:pt x="100" y="22"/>
                </a:lnTo>
                <a:lnTo>
                  <a:pt x="101" y="22"/>
                </a:lnTo>
                <a:lnTo>
                  <a:pt x="101" y="23"/>
                </a:lnTo>
                <a:lnTo>
                  <a:pt x="103" y="24"/>
                </a:lnTo>
                <a:lnTo>
                  <a:pt x="101" y="25"/>
                </a:lnTo>
                <a:lnTo>
                  <a:pt x="101" y="30"/>
                </a:lnTo>
                <a:lnTo>
                  <a:pt x="99" y="30"/>
                </a:lnTo>
                <a:lnTo>
                  <a:pt x="99" y="29"/>
                </a:lnTo>
                <a:lnTo>
                  <a:pt x="98" y="29"/>
                </a:lnTo>
                <a:lnTo>
                  <a:pt x="98" y="30"/>
                </a:lnTo>
                <a:lnTo>
                  <a:pt x="99" y="30"/>
                </a:lnTo>
                <a:lnTo>
                  <a:pt x="99" y="31"/>
                </a:lnTo>
                <a:lnTo>
                  <a:pt x="97" y="30"/>
                </a:lnTo>
                <a:lnTo>
                  <a:pt x="96" y="28"/>
                </a:lnTo>
                <a:lnTo>
                  <a:pt x="96" y="18"/>
                </a:lnTo>
                <a:lnTo>
                  <a:pt x="97" y="17"/>
                </a:lnTo>
                <a:lnTo>
                  <a:pt x="97" y="21"/>
                </a:lnTo>
                <a:lnTo>
                  <a:pt x="98" y="21"/>
                </a:lnTo>
                <a:lnTo>
                  <a:pt x="98" y="11"/>
                </a:lnTo>
                <a:lnTo>
                  <a:pt x="99" y="10"/>
                </a:lnTo>
                <a:close/>
                <a:moveTo>
                  <a:pt x="107" y="0"/>
                </a:moveTo>
                <a:lnTo>
                  <a:pt x="109" y="0"/>
                </a:lnTo>
                <a:lnTo>
                  <a:pt x="109" y="4"/>
                </a:lnTo>
                <a:lnTo>
                  <a:pt x="107" y="4"/>
                </a:lnTo>
                <a:lnTo>
                  <a:pt x="107" y="5"/>
                </a:lnTo>
                <a:lnTo>
                  <a:pt x="109" y="5"/>
                </a:lnTo>
                <a:lnTo>
                  <a:pt x="109" y="4"/>
                </a:lnTo>
                <a:lnTo>
                  <a:pt x="110" y="2"/>
                </a:lnTo>
                <a:lnTo>
                  <a:pt x="110" y="0"/>
                </a:lnTo>
                <a:lnTo>
                  <a:pt x="111" y="0"/>
                </a:lnTo>
                <a:lnTo>
                  <a:pt x="111" y="2"/>
                </a:lnTo>
                <a:lnTo>
                  <a:pt x="112" y="2"/>
                </a:lnTo>
                <a:lnTo>
                  <a:pt x="112" y="3"/>
                </a:lnTo>
                <a:lnTo>
                  <a:pt x="113" y="4"/>
                </a:lnTo>
                <a:lnTo>
                  <a:pt x="111" y="6"/>
                </a:lnTo>
                <a:lnTo>
                  <a:pt x="111" y="7"/>
                </a:lnTo>
                <a:lnTo>
                  <a:pt x="110" y="7"/>
                </a:lnTo>
                <a:lnTo>
                  <a:pt x="111" y="9"/>
                </a:lnTo>
                <a:lnTo>
                  <a:pt x="110" y="11"/>
                </a:lnTo>
                <a:lnTo>
                  <a:pt x="109" y="11"/>
                </a:lnTo>
                <a:lnTo>
                  <a:pt x="110" y="12"/>
                </a:lnTo>
                <a:lnTo>
                  <a:pt x="110" y="15"/>
                </a:lnTo>
                <a:lnTo>
                  <a:pt x="105" y="15"/>
                </a:lnTo>
                <a:lnTo>
                  <a:pt x="104" y="13"/>
                </a:lnTo>
                <a:lnTo>
                  <a:pt x="104" y="11"/>
                </a:lnTo>
                <a:lnTo>
                  <a:pt x="105" y="11"/>
                </a:lnTo>
                <a:lnTo>
                  <a:pt x="105" y="9"/>
                </a:lnTo>
                <a:lnTo>
                  <a:pt x="106" y="7"/>
                </a:lnTo>
                <a:lnTo>
                  <a:pt x="106" y="6"/>
                </a:lnTo>
                <a:lnTo>
                  <a:pt x="105" y="5"/>
                </a:lnTo>
                <a:lnTo>
                  <a:pt x="105" y="4"/>
                </a:lnTo>
                <a:lnTo>
                  <a:pt x="106" y="4"/>
                </a:lnTo>
                <a:lnTo>
                  <a:pt x="106" y="3"/>
                </a:lnTo>
                <a:lnTo>
                  <a:pt x="107" y="3"/>
                </a:lnTo>
                <a:lnTo>
                  <a:pt x="107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6" name="Freeform 41">
            <a:extLst>
              <a:ext uri="{FF2B5EF4-FFF2-40B4-BE49-F238E27FC236}">
                <a16:creationId xmlns:a16="http://schemas.microsoft.com/office/drawing/2014/main" id="{F041F72A-3EC1-4040-A09A-6B8272DC693F}"/>
              </a:ext>
            </a:extLst>
          </p:cNvPr>
          <p:cNvSpPr>
            <a:spLocks noEditPoints="1"/>
          </p:cNvSpPr>
          <p:nvPr/>
        </p:nvSpPr>
        <p:spPr bwMode="auto">
          <a:xfrm>
            <a:off x="1589584" y="4206126"/>
            <a:ext cx="559291" cy="762143"/>
          </a:xfrm>
          <a:custGeom>
            <a:avLst/>
            <a:gdLst/>
            <a:ahLst/>
            <a:cxnLst>
              <a:cxn ang="0">
                <a:pos x="96" y="98"/>
              </a:cxn>
              <a:cxn ang="0">
                <a:pos x="85" y="92"/>
              </a:cxn>
              <a:cxn ang="0">
                <a:pos x="319" y="59"/>
              </a:cxn>
              <a:cxn ang="0">
                <a:pos x="277" y="51"/>
              </a:cxn>
              <a:cxn ang="0">
                <a:pos x="220" y="40"/>
              </a:cxn>
              <a:cxn ang="0">
                <a:pos x="125" y="43"/>
              </a:cxn>
              <a:cxn ang="0">
                <a:pos x="332" y="55"/>
              </a:cxn>
              <a:cxn ang="0">
                <a:pos x="313" y="45"/>
              </a:cxn>
              <a:cxn ang="0">
                <a:pos x="322" y="42"/>
              </a:cxn>
              <a:cxn ang="0">
                <a:pos x="305" y="41"/>
              </a:cxn>
              <a:cxn ang="0">
                <a:pos x="313" y="30"/>
              </a:cxn>
              <a:cxn ang="0">
                <a:pos x="148" y="19"/>
              </a:cxn>
              <a:cxn ang="0">
                <a:pos x="174" y="28"/>
              </a:cxn>
              <a:cxn ang="0">
                <a:pos x="181" y="53"/>
              </a:cxn>
              <a:cxn ang="0">
                <a:pos x="212" y="71"/>
              </a:cxn>
              <a:cxn ang="0">
                <a:pos x="237" y="78"/>
              </a:cxn>
              <a:cxn ang="0">
                <a:pos x="271" y="58"/>
              </a:cxn>
              <a:cxn ang="0">
                <a:pos x="288" y="48"/>
              </a:cxn>
              <a:cxn ang="0">
                <a:pos x="314" y="61"/>
              </a:cxn>
              <a:cxn ang="0">
                <a:pos x="333" y="76"/>
              </a:cxn>
              <a:cxn ang="0">
                <a:pos x="345" y="82"/>
              </a:cxn>
              <a:cxn ang="0">
                <a:pos x="334" y="65"/>
              </a:cxn>
              <a:cxn ang="0">
                <a:pos x="352" y="97"/>
              </a:cxn>
              <a:cxn ang="0">
                <a:pos x="360" y="134"/>
              </a:cxn>
              <a:cxn ang="0">
                <a:pos x="370" y="185"/>
              </a:cxn>
              <a:cxn ang="0">
                <a:pos x="375" y="246"/>
              </a:cxn>
              <a:cxn ang="0">
                <a:pos x="373" y="298"/>
              </a:cxn>
              <a:cxn ang="0">
                <a:pos x="353" y="294"/>
              </a:cxn>
              <a:cxn ang="0">
                <a:pos x="313" y="314"/>
              </a:cxn>
              <a:cxn ang="0">
                <a:pos x="273" y="336"/>
              </a:cxn>
              <a:cxn ang="0">
                <a:pos x="270" y="349"/>
              </a:cxn>
              <a:cxn ang="0">
                <a:pos x="284" y="384"/>
              </a:cxn>
              <a:cxn ang="0">
                <a:pos x="321" y="421"/>
              </a:cxn>
              <a:cxn ang="0">
                <a:pos x="329" y="447"/>
              </a:cxn>
              <a:cxn ang="0">
                <a:pos x="291" y="476"/>
              </a:cxn>
              <a:cxn ang="0">
                <a:pos x="292" y="506"/>
              </a:cxn>
              <a:cxn ang="0">
                <a:pos x="268" y="501"/>
              </a:cxn>
              <a:cxn ang="0">
                <a:pos x="216" y="518"/>
              </a:cxn>
              <a:cxn ang="0">
                <a:pos x="192" y="513"/>
              </a:cxn>
              <a:cxn ang="0">
                <a:pos x="173" y="512"/>
              </a:cxn>
              <a:cxn ang="0">
                <a:pos x="123" y="500"/>
              </a:cxn>
              <a:cxn ang="0">
                <a:pos x="111" y="503"/>
              </a:cxn>
              <a:cxn ang="0">
                <a:pos x="74" y="508"/>
              </a:cxn>
              <a:cxn ang="0">
                <a:pos x="78" y="461"/>
              </a:cxn>
              <a:cxn ang="0">
                <a:pos x="85" y="415"/>
              </a:cxn>
              <a:cxn ang="0">
                <a:pos x="49" y="410"/>
              </a:cxn>
              <a:cxn ang="0">
                <a:pos x="21" y="380"/>
              </a:cxn>
              <a:cxn ang="0">
                <a:pos x="11" y="353"/>
              </a:cxn>
              <a:cxn ang="0">
                <a:pos x="15" y="320"/>
              </a:cxn>
              <a:cxn ang="0">
                <a:pos x="5" y="288"/>
              </a:cxn>
              <a:cxn ang="0">
                <a:pos x="10" y="243"/>
              </a:cxn>
              <a:cxn ang="0">
                <a:pos x="22" y="230"/>
              </a:cxn>
              <a:cxn ang="0">
                <a:pos x="43" y="207"/>
              </a:cxn>
              <a:cxn ang="0">
                <a:pos x="50" y="162"/>
              </a:cxn>
              <a:cxn ang="0">
                <a:pos x="54" y="109"/>
              </a:cxn>
              <a:cxn ang="0">
                <a:pos x="102" y="120"/>
              </a:cxn>
              <a:cxn ang="0">
                <a:pos x="112" y="95"/>
              </a:cxn>
              <a:cxn ang="0">
                <a:pos x="168" y="110"/>
              </a:cxn>
              <a:cxn ang="0">
                <a:pos x="131" y="77"/>
              </a:cxn>
              <a:cxn ang="0">
                <a:pos x="121" y="56"/>
              </a:cxn>
              <a:cxn ang="0">
                <a:pos x="118" y="19"/>
              </a:cxn>
              <a:cxn ang="0">
                <a:pos x="106" y="3"/>
              </a:cxn>
            </a:cxnLst>
            <a:rect l="0" t="0" r="r" b="b"/>
            <a:pathLst>
              <a:path w="386" h="526">
                <a:moveTo>
                  <a:pt x="111" y="117"/>
                </a:moveTo>
                <a:lnTo>
                  <a:pt x="111" y="122"/>
                </a:lnTo>
                <a:lnTo>
                  <a:pt x="112" y="123"/>
                </a:lnTo>
                <a:lnTo>
                  <a:pt x="112" y="122"/>
                </a:lnTo>
                <a:lnTo>
                  <a:pt x="111" y="117"/>
                </a:lnTo>
                <a:close/>
                <a:moveTo>
                  <a:pt x="37" y="105"/>
                </a:moveTo>
                <a:lnTo>
                  <a:pt x="40" y="105"/>
                </a:lnTo>
                <a:lnTo>
                  <a:pt x="40" y="107"/>
                </a:lnTo>
                <a:lnTo>
                  <a:pt x="36" y="107"/>
                </a:lnTo>
                <a:lnTo>
                  <a:pt x="36" y="109"/>
                </a:lnTo>
                <a:lnTo>
                  <a:pt x="35" y="109"/>
                </a:lnTo>
                <a:lnTo>
                  <a:pt x="35" y="108"/>
                </a:lnTo>
                <a:lnTo>
                  <a:pt x="34" y="108"/>
                </a:lnTo>
                <a:lnTo>
                  <a:pt x="34" y="107"/>
                </a:lnTo>
                <a:lnTo>
                  <a:pt x="35" y="107"/>
                </a:lnTo>
                <a:lnTo>
                  <a:pt x="37" y="105"/>
                </a:lnTo>
                <a:close/>
                <a:moveTo>
                  <a:pt x="50" y="99"/>
                </a:moveTo>
                <a:lnTo>
                  <a:pt x="52" y="101"/>
                </a:lnTo>
                <a:lnTo>
                  <a:pt x="43" y="102"/>
                </a:lnTo>
                <a:lnTo>
                  <a:pt x="44" y="101"/>
                </a:lnTo>
                <a:lnTo>
                  <a:pt x="50" y="99"/>
                </a:lnTo>
                <a:close/>
                <a:moveTo>
                  <a:pt x="96" y="97"/>
                </a:moveTo>
                <a:lnTo>
                  <a:pt x="98" y="97"/>
                </a:lnTo>
                <a:lnTo>
                  <a:pt x="97" y="98"/>
                </a:lnTo>
                <a:lnTo>
                  <a:pt x="96" y="98"/>
                </a:lnTo>
                <a:lnTo>
                  <a:pt x="96" y="97"/>
                </a:lnTo>
                <a:close/>
                <a:moveTo>
                  <a:pt x="65" y="97"/>
                </a:moveTo>
                <a:lnTo>
                  <a:pt x="67" y="97"/>
                </a:lnTo>
                <a:lnTo>
                  <a:pt x="66" y="98"/>
                </a:lnTo>
                <a:lnTo>
                  <a:pt x="65" y="97"/>
                </a:lnTo>
                <a:close/>
                <a:moveTo>
                  <a:pt x="56" y="97"/>
                </a:moveTo>
                <a:lnTo>
                  <a:pt x="63" y="97"/>
                </a:lnTo>
                <a:lnTo>
                  <a:pt x="63" y="98"/>
                </a:lnTo>
                <a:lnTo>
                  <a:pt x="61" y="98"/>
                </a:lnTo>
                <a:lnTo>
                  <a:pt x="55" y="99"/>
                </a:lnTo>
                <a:lnTo>
                  <a:pt x="54" y="98"/>
                </a:lnTo>
                <a:lnTo>
                  <a:pt x="56" y="97"/>
                </a:lnTo>
                <a:close/>
                <a:moveTo>
                  <a:pt x="68" y="95"/>
                </a:moveTo>
                <a:lnTo>
                  <a:pt x="74" y="95"/>
                </a:lnTo>
                <a:lnTo>
                  <a:pt x="74" y="96"/>
                </a:lnTo>
                <a:lnTo>
                  <a:pt x="69" y="96"/>
                </a:lnTo>
                <a:lnTo>
                  <a:pt x="69" y="97"/>
                </a:lnTo>
                <a:lnTo>
                  <a:pt x="68" y="97"/>
                </a:lnTo>
                <a:lnTo>
                  <a:pt x="68" y="95"/>
                </a:lnTo>
                <a:close/>
                <a:moveTo>
                  <a:pt x="78" y="93"/>
                </a:moveTo>
                <a:lnTo>
                  <a:pt x="83" y="93"/>
                </a:lnTo>
                <a:lnTo>
                  <a:pt x="81" y="95"/>
                </a:lnTo>
                <a:lnTo>
                  <a:pt x="77" y="95"/>
                </a:lnTo>
                <a:lnTo>
                  <a:pt x="78" y="93"/>
                </a:lnTo>
                <a:close/>
                <a:moveTo>
                  <a:pt x="85" y="92"/>
                </a:moveTo>
                <a:lnTo>
                  <a:pt x="87" y="92"/>
                </a:lnTo>
                <a:lnTo>
                  <a:pt x="88" y="93"/>
                </a:lnTo>
                <a:lnTo>
                  <a:pt x="85" y="93"/>
                </a:lnTo>
                <a:lnTo>
                  <a:pt x="85" y="92"/>
                </a:lnTo>
                <a:close/>
                <a:moveTo>
                  <a:pt x="236" y="76"/>
                </a:moveTo>
                <a:lnTo>
                  <a:pt x="237" y="77"/>
                </a:lnTo>
                <a:lnTo>
                  <a:pt x="236" y="80"/>
                </a:lnTo>
                <a:lnTo>
                  <a:pt x="236" y="78"/>
                </a:lnTo>
                <a:lnTo>
                  <a:pt x="235" y="78"/>
                </a:lnTo>
                <a:lnTo>
                  <a:pt x="235" y="80"/>
                </a:lnTo>
                <a:lnTo>
                  <a:pt x="234" y="80"/>
                </a:lnTo>
                <a:lnTo>
                  <a:pt x="233" y="79"/>
                </a:lnTo>
                <a:lnTo>
                  <a:pt x="236" y="76"/>
                </a:lnTo>
                <a:close/>
                <a:moveTo>
                  <a:pt x="242" y="71"/>
                </a:moveTo>
                <a:lnTo>
                  <a:pt x="240" y="73"/>
                </a:lnTo>
                <a:lnTo>
                  <a:pt x="240" y="72"/>
                </a:lnTo>
                <a:lnTo>
                  <a:pt x="242" y="71"/>
                </a:lnTo>
                <a:close/>
                <a:moveTo>
                  <a:pt x="243" y="70"/>
                </a:moveTo>
                <a:lnTo>
                  <a:pt x="242" y="71"/>
                </a:lnTo>
                <a:lnTo>
                  <a:pt x="243" y="70"/>
                </a:lnTo>
                <a:close/>
                <a:moveTo>
                  <a:pt x="316" y="58"/>
                </a:moveTo>
                <a:lnTo>
                  <a:pt x="316" y="60"/>
                </a:lnTo>
                <a:lnTo>
                  <a:pt x="317" y="60"/>
                </a:lnTo>
                <a:lnTo>
                  <a:pt x="317" y="59"/>
                </a:lnTo>
                <a:lnTo>
                  <a:pt x="319" y="59"/>
                </a:lnTo>
                <a:lnTo>
                  <a:pt x="320" y="60"/>
                </a:lnTo>
                <a:lnTo>
                  <a:pt x="320" y="61"/>
                </a:lnTo>
                <a:lnTo>
                  <a:pt x="316" y="61"/>
                </a:lnTo>
                <a:lnTo>
                  <a:pt x="315" y="60"/>
                </a:lnTo>
                <a:lnTo>
                  <a:pt x="315" y="59"/>
                </a:lnTo>
                <a:lnTo>
                  <a:pt x="316" y="58"/>
                </a:lnTo>
                <a:close/>
                <a:moveTo>
                  <a:pt x="330" y="55"/>
                </a:moveTo>
                <a:lnTo>
                  <a:pt x="332" y="55"/>
                </a:lnTo>
                <a:lnTo>
                  <a:pt x="332" y="56"/>
                </a:lnTo>
                <a:lnTo>
                  <a:pt x="329" y="56"/>
                </a:lnTo>
                <a:lnTo>
                  <a:pt x="330" y="55"/>
                </a:lnTo>
                <a:close/>
                <a:moveTo>
                  <a:pt x="308" y="55"/>
                </a:moveTo>
                <a:lnTo>
                  <a:pt x="309" y="56"/>
                </a:lnTo>
                <a:lnTo>
                  <a:pt x="308" y="56"/>
                </a:lnTo>
                <a:lnTo>
                  <a:pt x="308" y="55"/>
                </a:lnTo>
                <a:close/>
                <a:moveTo>
                  <a:pt x="277" y="52"/>
                </a:moveTo>
                <a:lnTo>
                  <a:pt x="277" y="53"/>
                </a:lnTo>
                <a:lnTo>
                  <a:pt x="276" y="53"/>
                </a:lnTo>
                <a:lnTo>
                  <a:pt x="277" y="52"/>
                </a:lnTo>
                <a:close/>
                <a:moveTo>
                  <a:pt x="277" y="51"/>
                </a:moveTo>
                <a:lnTo>
                  <a:pt x="277" y="52"/>
                </a:lnTo>
                <a:lnTo>
                  <a:pt x="277" y="51"/>
                </a:lnTo>
                <a:close/>
                <a:moveTo>
                  <a:pt x="278" y="49"/>
                </a:moveTo>
                <a:lnTo>
                  <a:pt x="278" y="51"/>
                </a:lnTo>
                <a:lnTo>
                  <a:pt x="277" y="51"/>
                </a:lnTo>
                <a:lnTo>
                  <a:pt x="278" y="49"/>
                </a:lnTo>
                <a:close/>
                <a:moveTo>
                  <a:pt x="282" y="42"/>
                </a:moveTo>
                <a:lnTo>
                  <a:pt x="282" y="43"/>
                </a:lnTo>
                <a:lnTo>
                  <a:pt x="284" y="46"/>
                </a:lnTo>
                <a:lnTo>
                  <a:pt x="297" y="46"/>
                </a:lnTo>
                <a:lnTo>
                  <a:pt x="298" y="47"/>
                </a:lnTo>
                <a:lnTo>
                  <a:pt x="297" y="48"/>
                </a:lnTo>
                <a:lnTo>
                  <a:pt x="296" y="48"/>
                </a:lnTo>
                <a:lnTo>
                  <a:pt x="291" y="47"/>
                </a:lnTo>
                <a:lnTo>
                  <a:pt x="288" y="47"/>
                </a:lnTo>
                <a:lnTo>
                  <a:pt x="288" y="48"/>
                </a:lnTo>
                <a:lnTo>
                  <a:pt x="286" y="48"/>
                </a:lnTo>
                <a:lnTo>
                  <a:pt x="285" y="47"/>
                </a:lnTo>
                <a:lnTo>
                  <a:pt x="285" y="48"/>
                </a:lnTo>
                <a:lnTo>
                  <a:pt x="284" y="48"/>
                </a:lnTo>
                <a:lnTo>
                  <a:pt x="284" y="49"/>
                </a:lnTo>
                <a:lnTo>
                  <a:pt x="283" y="49"/>
                </a:lnTo>
                <a:lnTo>
                  <a:pt x="282" y="51"/>
                </a:lnTo>
                <a:lnTo>
                  <a:pt x="280" y="51"/>
                </a:lnTo>
                <a:lnTo>
                  <a:pt x="280" y="49"/>
                </a:lnTo>
                <a:lnTo>
                  <a:pt x="278" y="49"/>
                </a:lnTo>
                <a:lnTo>
                  <a:pt x="278" y="48"/>
                </a:lnTo>
                <a:lnTo>
                  <a:pt x="280" y="43"/>
                </a:lnTo>
                <a:lnTo>
                  <a:pt x="282" y="42"/>
                </a:lnTo>
                <a:close/>
                <a:moveTo>
                  <a:pt x="220" y="40"/>
                </a:moveTo>
                <a:lnTo>
                  <a:pt x="222" y="40"/>
                </a:lnTo>
                <a:lnTo>
                  <a:pt x="226" y="41"/>
                </a:lnTo>
                <a:lnTo>
                  <a:pt x="228" y="43"/>
                </a:lnTo>
                <a:lnTo>
                  <a:pt x="230" y="48"/>
                </a:lnTo>
                <a:lnTo>
                  <a:pt x="226" y="47"/>
                </a:lnTo>
                <a:lnTo>
                  <a:pt x="224" y="48"/>
                </a:lnTo>
                <a:lnTo>
                  <a:pt x="222" y="48"/>
                </a:lnTo>
                <a:lnTo>
                  <a:pt x="221" y="47"/>
                </a:lnTo>
                <a:lnTo>
                  <a:pt x="222" y="46"/>
                </a:lnTo>
                <a:lnTo>
                  <a:pt x="221" y="46"/>
                </a:lnTo>
                <a:lnTo>
                  <a:pt x="221" y="45"/>
                </a:lnTo>
                <a:lnTo>
                  <a:pt x="220" y="45"/>
                </a:lnTo>
                <a:lnTo>
                  <a:pt x="220" y="46"/>
                </a:lnTo>
                <a:lnTo>
                  <a:pt x="218" y="46"/>
                </a:lnTo>
                <a:lnTo>
                  <a:pt x="218" y="45"/>
                </a:lnTo>
                <a:lnTo>
                  <a:pt x="217" y="45"/>
                </a:lnTo>
                <a:lnTo>
                  <a:pt x="218" y="41"/>
                </a:lnTo>
                <a:lnTo>
                  <a:pt x="220" y="40"/>
                </a:lnTo>
                <a:close/>
                <a:moveTo>
                  <a:pt x="128" y="40"/>
                </a:moveTo>
                <a:lnTo>
                  <a:pt x="131" y="40"/>
                </a:lnTo>
                <a:lnTo>
                  <a:pt x="131" y="41"/>
                </a:lnTo>
                <a:lnTo>
                  <a:pt x="128" y="45"/>
                </a:lnTo>
                <a:lnTo>
                  <a:pt x="125" y="45"/>
                </a:lnTo>
                <a:lnTo>
                  <a:pt x="124" y="43"/>
                </a:lnTo>
                <a:lnTo>
                  <a:pt x="125" y="43"/>
                </a:lnTo>
                <a:lnTo>
                  <a:pt x="125" y="42"/>
                </a:lnTo>
                <a:lnTo>
                  <a:pt x="124" y="42"/>
                </a:lnTo>
                <a:lnTo>
                  <a:pt x="127" y="41"/>
                </a:lnTo>
                <a:lnTo>
                  <a:pt x="128" y="40"/>
                </a:lnTo>
                <a:close/>
                <a:moveTo>
                  <a:pt x="119" y="37"/>
                </a:moveTo>
                <a:lnTo>
                  <a:pt x="119" y="40"/>
                </a:lnTo>
                <a:lnTo>
                  <a:pt x="118" y="42"/>
                </a:lnTo>
                <a:lnTo>
                  <a:pt x="116" y="42"/>
                </a:lnTo>
                <a:lnTo>
                  <a:pt x="116" y="40"/>
                </a:lnTo>
                <a:lnTo>
                  <a:pt x="117" y="39"/>
                </a:lnTo>
                <a:lnTo>
                  <a:pt x="119" y="37"/>
                </a:lnTo>
                <a:close/>
                <a:moveTo>
                  <a:pt x="327" y="35"/>
                </a:moveTo>
                <a:lnTo>
                  <a:pt x="330" y="39"/>
                </a:lnTo>
                <a:lnTo>
                  <a:pt x="329" y="41"/>
                </a:lnTo>
                <a:lnTo>
                  <a:pt x="327" y="42"/>
                </a:lnTo>
                <a:lnTo>
                  <a:pt x="326" y="43"/>
                </a:lnTo>
                <a:lnTo>
                  <a:pt x="326" y="47"/>
                </a:lnTo>
                <a:lnTo>
                  <a:pt x="327" y="47"/>
                </a:lnTo>
                <a:lnTo>
                  <a:pt x="327" y="48"/>
                </a:lnTo>
                <a:lnTo>
                  <a:pt x="328" y="48"/>
                </a:lnTo>
                <a:lnTo>
                  <a:pt x="330" y="49"/>
                </a:lnTo>
                <a:lnTo>
                  <a:pt x="332" y="52"/>
                </a:lnTo>
                <a:lnTo>
                  <a:pt x="333" y="53"/>
                </a:lnTo>
                <a:lnTo>
                  <a:pt x="333" y="54"/>
                </a:lnTo>
                <a:lnTo>
                  <a:pt x="332" y="55"/>
                </a:lnTo>
                <a:lnTo>
                  <a:pt x="332" y="54"/>
                </a:lnTo>
                <a:lnTo>
                  <a:pt x="328" y="54"/>
                </a:lnTo>
                <a:lnTo>
                  <a:pt x="329" y="53"/>
                </a:lnTo>
                <a:lnTo>
                  <a:pt x="322" y="53"/>
                </a:lnTo>
                <a:lnTo>
                  <a:pt x="322" y="54"/>
                </a:lnTo>
                <a:lnTo>
                  <a:pt x="320" y="55"/>
                </a:lnTo>
                <a:lnTo>
                  <a:pt x="319" y="56"/>
                </a:lnTo>
                <a:lnTo>
                  <a:pt x="319" y="58"/>
                </a:lnTo>
                <a:lnTo>
                  <a:pt x="315" y="58"/>
                </a:lnTo>
                <a:lnTo>
                  <a:pt x="315" y="59"/>
                </a:lnTo>
                <a:lnTo>
                  <a:pt x="311" y="59"/>
                </a:lnTo>
                <a:lnTo>
                  <a:pt x="310" y="58"/>
                </a:lnTo>
                <a:lnTo>
                  <a:pt x="310" y="56"/>
                </a:lnTo>
                <a:lnTo>
                  <a:pt x="309" y="56"/>
                </a:lnTo>
                <a:lnTo>
                  <a:pt x="309" y="55"/>
                </a:lnTo>
                <a:lnTo>
                  <a:pt x="307" y="54"/>
                </a:lnTo>
                <a:lnTo>
                  <a:pt x="307" y="52"/>
                </a:lnTo>
                <a:lnTo>
                  <a:pt x="308" y="51"/>
                </a:lnTo>
                <a:lnTo>
                  <a:pt x="313" y="51"/>
                </a:lnTo>
                <a:lnTo>
                  <a:pt x="311" y="49"/>
                </a:lnTo>
                <a:lnTo>
                  <a:pt x="311" y="48"/>
                </a:lnTo>
                <a:lnTo>
                  <a:pt x="310" y="47"/>
                </a:lnTo>
                <a:lnTo>
                  <a:pt x="308" y="47"/>
                </a:lnTo>
                <a:lnTo>
                  <a:pt x="310" y="45"/>
                </a:lnTo>
                <a:lnTo>
                  <a:pt x="313" y="45"/>
                </a:lnTo>
                <a:lnTo>
                  <a:pt x="313" y="43"/>
                </a:lnTo>
                <a:lnTo>
                  <a:pt x="311" y="42"/>
                </a:lnTo>
                <a:lnTo>
                  <a:pt x="311" y="41"/>
                </a:lnTo>
                <a:lnTo>
                  <a:pt x="309" y="41"/>
                </a:lnTo>
                <a:lnTo>
                  <a:pt x="308" y="40"/>
                </a:lnTo>
                <a:lnTo>
                  <a:pt x="308" y="39"/>
                </a:lnTo>
                <a:lnTo>
                  <a:pt x="309" y="39"/>
                </a:lnTo>
                <a:lnTo>
                  <a:pt x="311" y="37"/>
                </a:lnTo>
                <a:lnTo>
                  <a:pt x="313" y="37"/>
                </a:lnTo>
                <a:lnTo>
                  <a:pt x="313" y="39"/>
                </a:lnTo>
                <a:lnTo>
                  <a:pt x="314" y="39"/>
                </a:lnTo>
                <a:lnTo>
                  <a:pt x="314" y="40"/>
                </a:lnTo>
                <a:lnTo>
                  <a:pt x="315" y="40"/>
                </a:lnTo>
                <a:lnTo>
                  <a:pt x="314" y="39"/>
                </a:lnTo>
                <a:lnTo>
                  <a:pt x="315" y="37"/>
                </a:lnTo>
                <a:lnTo>
                  <a:pt x="315" y="36"/>
                </a:lnTo>
                <a:lnTo>
                  <a:pt x="317" y="36"/>
                </a:lnTo>
                <a:lnTo>
                  <a:pt x="316" y="37"/>
                </a:lnTo>
                <a:lnTo>
                  <a:pt x="316" y="40"/>
                </a:lnTo>
                <a:lnTo>
                  <a:pt x="317" y="40"/>
                </a:lnTo>
                <a:lnTo>
                  <a:pt x="317" y="39"/>
                </a:lnTo>
                <a:lnTo>
                  <a:pt x="319" y="39"/>
                </a:lnTo>
                <a:lnTo>
                  <a:pt x="319" y="41"/>
                </a:lnTo>
                <a:lnTo>
                  <a:pt x="320" y="42"/>
                </a:lnTo>
                <a:lnTo>
                  <a:pt x="322" y="42"/>
                </a:lnTo>
                <a:lnTo>
                  <a:pt x="323" y="41"/>
                </a:lnTo>
                <a:lnTo>
                  <a:pt x="323" y="39"/>
                </a:lnTo>
                <a:lnTo>
                  <a:pt x="322" y="39"/>
                </a:lnTo>
                <a:lnTo>
                  <a:pt x="322" y="37"/>
                </a:lnTo>
                <a:lnTo>
                  <a:pt x="323" y="37"/>
                </a:lnTo>
                <a:lnTo>
                  <a:pt x="323" y="36"/>
                </a:lnTo>
                <a:lnTo>
                  <a:pt x="322" y="37"/>
                </a:lnTo>
                <a:lnTo>
                  <a:pt x="320" y="37"/>
                </a:lnTo>
                <a:lnTo>
                  <a:pt x="320" y="36"/>
                </a:lnTo>
                <a:lnTo>
                  <a:pt x="321" y="36"/>
                </a:lnTo>
                <a:lnTo>
                  <a:pt x="327" y="35"/>
                </a:lnTo>
                <a:close/>
                <a:moveTo>
                  <a:pt x="317" y="34"/>
                </a:moveTo>
                <a:lnTo>
                  <a:pt x="319" y="34"/>
                </a:lnTo>
                <a:lnTo>
                  <a:pt x="319" y="35"/>
                </a:lnTo>
                <a:lnTo>
                  <a:pt x="320" y="36"/>
                </a:lnTo>
                <a:lnTo>
                  <a:pt x="319" y="36"/>
                </a:lnTo>
                <a:lnTo>
                  <a:pt x="317" y="35"/>
                </a:lnTo>
                <a:lnTo>
                  <a:pt x="317" y="34"/>
                </a:lnTo>
                <a:close/>
                <a:moveTo>
                  <a:pt x="307" y="34"/>
                </a:moveTo>
                <a:lnTo>
                  <a:pt x="308" y="34"/>
                </a:lnTo>
                <a:lnTo>
                  <a:pt x="308" y="35"/>
                </a:lnTo>
                <a:lnTo>
                  <a:pt x="307" y="35"/>
                </a:lnTo>
                <a:lnTo>
                  <a:pt x="307" y="39"/>
                </a:lnTo>
                <a:lnTo>
                  <a:pt x="305" y="40"/>
                </a:lnTo>
                <a:lnTo>
                  <a:pt x="305" y="41"/>
                </a:lnTo>
                <a:lnTo>
                  <a:pt x="304" y="41"/>
                </a:lnTo>
                <a:lnTo>
                  <a:pt x="305" y="36"/>
                </a:lnTo>
                <a:lnTo>
                  <a:pt x="305" y="35"/>
                </a:lnTo>
                <a:lnTo>
                  <a:pt x="307" y="34"/>
                </a:lnTo>
                <a:close/>
                <a:moveTo>
                  <a:pt x="317" y="28"/>
                </a:moveTo>
                <a:lnTo>
                  <a:pt x="319" y="28"/>
                </a:lnTo>
                <a:lnTo>
                  <a:pt x="320" y="29"/>
                </a:lnTo>
                <a:lnTo>
                  <a:pt x="320" y="30"/>
                </a:lnTo>
                <a:lnTo>
                  <a:pt x="319" y="30"/>
                </a:lnTo>
                <a:lnTo>
                  <a:pt x="317" y="31"/>
                </a:lnTo>
                <a:lnTo>
                  <a:pt x="317" y="34"/>
                </a:lnTo>
                <a:lnTo>
                  <a:pt x="316" y="34"/>
                </a:lnTo>
                <a:lnTo>
                  <a:pt x="316" y="35"/>
                </a:lnTo>
                <a:lnTo>
                  <a:pt x="315" y="35"/>
                </a:lnTo>
                <a:lnTo>
                  <a:pt x="315" y="36"/>
                </a:lnTo>
                <a:lnTo>
                  <a:pt x="314" y="37"/>
                </a:lnTo>
                <a:lnTo>
                  <a:pt x="313" y="37"/>
                </a:lnTo>
                <a:lnTo>
                  <a:pt x="311" y="36"/>
                </a:lnTo>
                <a:lnTo>
                  <a:pt x="313" y="35"/>
                </a:lnTo>
                <a:lnTo>
                  <a:pt x="313" y="34"/>
                </a:lnTo>
                <a:lnTo>
                  <a:pt x="314" y="33"/>
                </a:lnTo>
                <a:lnTo>
                  <a:pt x="314" y="31"/>
                </a:lnTo>
                <a:lnTo>
                  <a:pt x="311" y="31"/>
                </a:lnTo>
                <a:lnTo>
                  <a:pt x="311" y="30"/>
                </a:lnTo>
                <a:lnTo>
                  <a:pt x="313" y="30"/>
                </a:lnTo>
                <a:lnTo>
                  <a:pt x="317" y="28"/>
                </a:lnTo>
                <a:close/>
                <a:moveTo>
                  <a:pt x="104" y="28"/>
                </a:moveTo>
                <a:lnTo>
                  <a:pt x="106" y="31"/>
                </a:lnTo>
                <a:lnTo>
                  <a:pt x="108" y="33"/>
                </a:lnTo>
                <a:lnTo>
                  <a:pt x="104" y="33"/>
                </a:lnTo>
                <a:lnTo>
                  <a:pt x="104" y="31"/>
                </a:lnTo>
                <a:lnTo>
                  <a:pt x="103" y="30"/>
                </a:lnTo>
                <a:lnTo>
                  <a:pt x="104" y="28"/>
                </a:lnTo>
                <a:close/>
                <a:moveTo>
                  <a:pt x="110" y="23"/>
                </a:moveTo>
                <a:lnTo>
                  <a:pt x="114" y="23"/>
                </a:lnTo>
                <a:lnTo>
                  <a:pt x="116" y="25"/>
                </a:lnTo>
                <a:lnTo>
                  <a:pt x="115" y="27"/>
                </a:lnTo>
                <a:lnTo>
                  <a:pt x="115" y="28"/>
                </a:lnTo>
                <a:lnTo>
                  <a:pt x="110" y="28"/>
                </a:lnTo>
                <a:lnTo>
                  <a:pt x="108" y="27"/>
                </a:lnTo>
                <a:lnTo>
                  <a:pt x="108" y="24"/>
                </a:lnTo>
                <a:lnTo>
                  <a:pt x="109" y="24"/>
                </a:lnTo>
                <a:lnTo>
                  <a:pt x="110" y="23"/>
                </a:lnTo>
                <a:close/>
                <a:moveTo>
                  <a:pt x="124" y="12"/>
                </a:moveTo>
                <a:lnTo>
                  <a:pt x="129" y="12"/>
                </a:lnTo>
                <a:lnTo>
                  <a:pt x="131" y="15"/>
                </a:lnTo>
                <a:lnTo>
                  <a:pt x="141" y="16"/>
                </a:lnTo>
                <a:lnTo>
                  <a:pt x="142" y="17"/>
                </a:lnTo>
                <a:lnTo>
                  <a:pt x="142" y="19"/>
                </a:lnTo>
                <a:lnTo>
                  <a:pt x="148" y="19"/>
                </a:lnTo>
                <a:lnTo>
                  <a:pt x="148" y="18"/>
                </a:lnTo>
                <a:lnTo>
                  <a:pt x="149" y="18"/>
                </a:lnTo>
                <a:lnTo>
                  <a:pt x="149" y="19"/>
                </a:lnTo>
                <a:lnTo>
                  <a:pt x="152" y="19"/>
                </a:lnTo>
                <a:lnTo>
                  <a:pt x="154" y="18"/>
                </a:lnTo>
                <a:lnTo>
                  <a:pt x="155" y="17"/>
                </a:lnTo>
                <a:lnTo>
                  <a:pt x="156" y="17"/>
                </a:lnTo>
                <a:lnTo>
                  <a:pt x="156" y="16"/>
                </a:lnTo>
                <a:lnTo>
                  <a:pt x="158" y="15"/>
                </a:lnTo>
                <a:lnTo>
                  <a:pt x="158" y="18"/>
                </a:lnTo>
                <a:lnTo>
                  <a:pt x="162" y="18"/>
                </a:lnTo>
                <a:lnTo>
                  <a:pt x="164" y="19"/>
                </a:lnTo>
                <a:lnTo>
                  <a:pt x="165" y="19"/>
                </a:lnTo>
                <a:lnTo>
                  <a:pt x="167" y="22"/>
                </a:lnTo>
                <a:lnTo>
                  <a:pt x="167" y="23"/>
                </a:lnTo>
                <a:lnTo>
                  <a:pt x="168" y="23"/>
                </a:lnTo>
                <a:lnTo>
                  <a:pt x="171" y="22"/>
                </a:lnTo>
                <a:lnTo>
                  <a:pt x="171" y="21"/>
                </a:lnTo>
                <a:lnTo>
                  <a:pt x="173" y="22"/>
                </a:lnTo>
                <a:lnTo>
                  <a:pt x="173" y="23"/>
                </a:lnTo>
                <a:lnTo>
                  <a:pt x="174" y="25"/>
                </a:lnTo>
                <a:lnTo>
                  <a:pt x="174" y="27"/>
                </a:lnTo>
                <a:lnTo>
                  <a:pt x="175" y="27"/>
                </a:lnTo>
                <a:lnTo>
                  <a:pt x="175" y="28"/>
                </a:lnTo>
                <a:lnTo>
                  <a:pt x="174" y="28"/>
                </a:lnTo>
                <a:lnTo>
                  <a:pt x="173" y="27"/>
                </a:lnTo>
                <a:lnTo>
                  <a:pt x="173" y="28"/>
                </a:lnTo>
                <a:lnTo>
                  <a:pt x="172" y="28"/>
                </a:lnTo>
                <a:lnTo>
                  <a:pt x="172" y="29"/>
                </a:lnTo>
                <a:lnTo>
                  <a:pt x="174" y="29"/>
                </a:lnTo>
                <a:lnTo>
                  <a:pt x="175" y="30"/>
                </a:lnTo>
                <a:lnTo>
                  <a:pt x="175" y="29"/>
                </a:lnTo>
                <a:lnTo>
                  <a:pt x="177" y="29"/>
                </a:lnTo>
                <a:lnTo>
                  <a:pt x="177" y="36"/>
                </a:lnTo>
                <a:lnTo>
                  <a:pt x="175" y="37"/>
                </a:lnTo>
                <a:lnTo>
                  <a:pt x="175" y="40"/>
                </a:lnTo>
                <a:lnTo>
                  <a:pt x="174" y="40"/>
                </a:lnTo>
                <a:lnTo>
                  <a:pt x="172" y="42"/>
                </a:lnTo>
                <a:lnTo>
                  <a:pt x="170" y="43"/>
                </a:lnTo>
                <a:lnTo>
                  <a:pt x="168" y="43"/>
                </a:lnTo>
                <a:lnTo>
                  <a:pt x="170" y="45"/>
                </a:lnTo>
                <a:lnTo>
                  <a:pt x="180" y="42"/>
                </a:lnTo>
                <a:lnTo>
                  <a:pt x="181" y="42"/>
                </a:lnTo>
                <a:lnTo>
                  <a:pt x="184" y="45"/>
                </a:lnTo>
                <a:lnTo>
                  <a:pt x="183" y="46"/>
                </a:lnTo>
                <a:lnTo>
                  <a:pt x="183" y="51"/>
                </a:lnTo>
                <a:lnTo>
                  <a:pt x="180" y="51"/>
                </a:lnTo>
                <a:lnTo>
                  <a:pt x="181" y="52"/>
                </a:lnTo>
                <a:lnTo>
                  <a:pt x="180" y="52"/>
                </a:lnTo>
                <a:lnTo>
                  <a:pt x="181" y="53"/>
                </a:lnTo>
                <a:lnTo>
                  <a:pt x="181" y="54"/>
                </a:lnTo>
                <a:lnTo>
                  <a:pt x="183" y="53"/>
                </a:lnTo>
                <a:lnTo>
                  <a:pt x="184" y="51"/>
                </a:lnTo>
                <a:lnTo>
                  <a:pt x="184" y="48"/>
                </a:lnTo>
                <a:lnTo>
                  <a:pt x="186" y="48"/>
                </a:lnTo>
                <a:lnTo>
                  <a:pt x="187" y="47"/>
                </a:lnTo>
                <a:lnTo>
                  <a:pt x="187" y="46"/>
                </a:lnTo>
                <a:lnTo>
                  <a:pt x="190" y="46"/>
                </a:lnTo>
                <a:lnTo>
                  <a:pt x="191" y="47"/>
                </a:lnTo>
                <a:lnTo>
                  <a:pt x="201" y="52"/>
                </a:lnTo>
                <a:lnTo>
                  <a:pt x="204" y="55"/>
                </a:lnTo>
                <a:lnTo>
                  <a:pt x="208" y="55"/>
                </a:lnTo>
                <a:lnTo>
                  <a:pt x="211" y="52"/>
                </a:lnTo>
                <a:lnTo>
                  <a:pt x="212" y="52"/>
                </a:lnTo>
                <a:lnTo>
                  <a:pt x="215" y="51"/>
                </a:lnTo>
                <a:lnTo>
                  <a:pt x="217" y="51"/>
                </a:lnTo>
                <a:lnTo>
                  <a:pt x="218" y="52"/>
                </a:lnTo>
                <a:lnTo>
                  <a:pt x="222" y="49"/>
                </a:lnTo>
                <a:lnTo>
                  <a:pt x="223" y="51"/>
                </a:lnTo>
                <a:lnTo>
                  <a:pt x="221" y="52"/>
                </a:lnTo>
                <a:lnTo>
                  <a:pt x="221" y="64"/>
                </a:lnTo>
                <a:lnTo>
                  <a:pt x="220" y="64"/>
                </a:lnTo>
                <a:lnTo>
                  <a:pt x="220" y="65"/>
                </a:lnTo>
                <a:lnTo>
                  <a:pt x="215" y="68"/>
                </a:lnTo>
                <a:lnTo>
                  <a:pt x="212" y="71"/>
                </a:lnTo>
                <a:lnTo>
                  <a:pt x="209" y="71"/>
                </a:lnTo>
                <a:lnTo>
                  <a:pt x="206" y="74"/>
                </a:lnTo>
                <a:lnTo>
                  <a:pt x="208" y="76"/>
                </a:lnTo>
                <a:lnTo>
                  <a:pt x="208" y="77"/>
                </a:lnTo>
                <a:lnTo>
                  <a:pt x="209" y="78"/>
                </a:lnTo>
                <a:lnTo>
                  <a:pt x="211" y="78"/>
                </a:lnTo>
                <a:lnTo>
                  <a:pt x="212" y="79"/>
                </a:lnTo>
                <a:lnTo>
                  <a:pt x="212" y="80"/>
                </a:lnTo>
                <a:lnTo>
                  <a:pt x="215" y="80"/>
                </a:lnTo>
                <a:lnTo>
                  <a:pt x="217" y="78"/>
                </a:lnTo>
                <a:lnTo>
                  <a:pt x="220" y="77"/>
                </a:lnTo>
                <a:lnTo>
                  <a:pt x="226" y="77"/>
                </a:lnTo>
                <a:lnTo>
                  <a:pt x="226" y="79"/>
                </a:lnTo>
                <a:lnTo>
                  <a:pt x="228" y="79"/>
                </a:lnTo>
                <a:lnTo>
                  <a:pt x="227" y="82"/>
                </a:lnTo>
                <a:lnTo>
                  <a:pt x="228" y="83"/>
                </a:lnTo>
                <a:lnTo>
                  <a:pt x="229" y="83"/>
                </a:lnTo>
                <a:lnTo>
                  <a:pt x="232" y="80"/>
                </a:lnTo>
                <a:lnTo>
                  <a:pt x="232" y="82"/>
                </a:lnTo>
                <a:lnTo>
                  <a:pt x="233" y="83"/>
                </a:lnTo>
                <a:lnTo>
                  <a:pt x="234" y="83"/>
                </a:lnTo>
                <a:lnTo>
                  <a:pt x="236" y="85"/>
                </a:lnTo>
                <a:lnTo>
                  <a:pt x="236" y="83"/>
                </a:lnTo>
                <a:lnTo>
                  <a:pt x="237" y="82"/>
                </a:lnTo>
                <a:lnTo>
                  <a:pt x="237" y="78"/>
                </a:lnTo>
                <a:lnTo>
                  <a:pt x="239" y="77"/>
                </a:lnTo>
                <a:lnTo>
                  <a:pt x="239" y="76"/>
                </a:lnTo>
                <a:lnTo>
                  <a:pt x="241" y="76"/>
                </a:lnTo>
                <a:lnTo>
                  <a:pt x="242" y="73"/>
                </a:lnTo>
                <a:lnTo>
                  <a:pt x="243" y="73"/>
                </a:lnTo>
                <a:lnTo>
                  <a:pt x="243" y="70"/>
                </a:lnTo>
                <a:lnTo>
                  <a:pt x="245" y="67"/>
                </a:lnTo>
                <a:lnTo>
                  <a:pt x="246" y="67"/>
                </a:lnTo>
                <a:lnTo>
                  <a:pt x="248" y="66"/>
                </a:lnTo>
                <a:lnTo>
                  <a:pt x="252" y="67"/>
                </a:lnTo>
                <a:lnTo>
                  <a:pt x="261" y="65"/>
                </a:lnTo>
                <a:lnTo>
                  <a:pt x="262" y="64"/>
                </a:lnTo>
                <a:lnTo>
                  <a:pt x="264" y="66"/>
                </a:lnTo>
                <a:lnTo>
                  <a:pt x="262" y="68"/>
                </a:lnTo>
                <a:lnTo>
                  <a:pt x="262" y="70"/>
                </a:lnTo>
                <a:lnTo>
                  <a:pt x="264" y="71"/>
                </a:lnTo>
                <a:lnTo>
                  <a:pt x="264" y="66"/>
                </a:lnTo>
                <a:lnTo>
                  <a:pt x="265" y="66"/>
                </a:lnTo>
                <a:lnTo>
                  <a:pt x="265" y="65"/>
                </a:lnTo>
                <a:lnTo>
                  <a:pt x="264" y="65"/>
                </a:lnTo>
                <a:lnTo>
                  <a:pt x="265" y="62"/>
                </a:lnTo>
                <a:lnTo>
                  <a:pt x="266" y="62"/>
                </a:lnTo>
                <a:lnTo>
                  <a:pt x="267" y="60"/>
                </a:lnTo>
                <a:lnTo>
                  <a:pt x="268" y="60"/>
                </a:lnTo>
                <a:lnTo>
                  <a:pt x="271" y="58"/>
                </a:lnTo>
                <a:lnTo>
                  <a:pt x="273" y="56"/>
                </a:lnTo>
                <a:lnTo>
                  <a:pt x="276" y="53"/>
                </a:lnTo>
                <a:lnTo>
                  <a:pt x="276" y="55"/>
                </a:lnTo>
                <a:lnTo>
                  <a:pt x="274" y="55"/>
                </a:lnTo>
                <a:lnTo>
                  <a:pt x="274" y="56"/>
                </a:lnTo>
                <a:lnTo>
                  <a:pt x="276" y="58"/>
                </a:lnTo>
                <a:lnTo>
                  <a:pt x="274" y="59"/>
                </a:lnTo>
                <a:lnTo>
                  <a:pt x="277" y="60"/>
                </a:lnTo>
                <a:lnTo>
                  <a:pt x="278" y="60"/>
                </a:lnTo>
                <a:lnTo>
                  <a:pt x="278" y="59"/>
                </a:lnTo>
                <a:lnTo>
                  <a:pt x="277" y="59"/>
                </a:lnTo>
                <a:lnTo>
                  <a:pt x="277" y="56"/>
                </a:lnTo>
                <a:lnTo>
                  <a:pt x="278" y="56"/>
                </a:lnTo>
                <a:lnTo>
                  <a:pt x="278" y="55"/>
                </a:lnTo>
                <a:lnTo>
                  <a:pt x="279" y="55"/>
                </a:lnTo>
                <a:lnTo>
                  <a:pt x="279" y="54"/>
                </a:lnTo>
                <a:lnTo>
                  <a:pt x="280" y="53"/>
                </a:lnTo>
                <a:lnTo>
                  <a:pt x="283" y="52"/>
                </a:lnTo>
                <a:lnTo>
                  <a:pt x="282" y="52"/>
                </a:lnTo>
                <a:lnTo>
                  <a:pt x="282" y="51"/>
                </a:lnTo>
                <a:lnTo>
                  <a:pt x="284" y="51"/>
                </a:lnTo>
                <a:lnTo>
                  <a:pt x="284" y="52"/>
                </a:lnTo>
                <a:lnTo>
                  <a:pt x="285" y="51"/>
                </a:lnTo>
                <a:lnTo>
                  <a:pt x="288" y="49"/>
                </a:lnTo>
                <a:lnTo>
                  <a:pt x="288" y="48"/>
                </a:lnTo>
                <a:lnTo>
                  <a:pt x="290" y="48"/>
                </a:lnTo>
                <a:lnTo>
                  <a:pt x="289" y="49"/>
                </a:lnTo>
                <a:lnTo>
                  <a:pt x="290" y="49"/>
                </a:lnTo>
                <a:lnTo>
                  <a:pt x="290" y="51"/>
                </a:lnTo>
                <a:lnTo>
                  <a:pt x="292" y="51"/>
                </a:lnTo>
                <a:lnTo>
                  <a:pt x="293" y="52"/>
                </a:lnTo>
                <a:lnTo>
                  <a:pt x="296" y="52"/>
                </a:lnTo>
                <a:lnTo>
                  <a:pt x="297" y="51"/>
                </a:lnTo>
                <a:lnTo>
                  <a:pt x="297" y="49"/>
                </a:lnTo>
                <a:lnTo>
                  <a:pt x="298" y="48"/>
                </a:lnTo>
                <a:lnTo>
                  <a:pt x="301" y="47"/>
                </a:lnTo>
                <a:lnTo>
                  <a:pt x="302" y="46"/>
                </a:lnTo>
                <a:lnTo>
                  <a:pt x="303" y="47"/>
                </a:lnTo>
                <a:lnTo>
                  <a:pt x="302" y="47"/>
                </a:lnTo>
                <a:lnTo>
                  <a:pt x="302" y="48"/>
                </a:lnTo>
                <a:lnTo>
                  <a:pt x="303" y="49"/>
                </a:lnTo>
                <a:lnTo>
                  <a:pt x="305" y="51"/>
                </a:lnTo>
                <a:lnTo>
                  <a:pt x="304" y="53"/>
                </a:lnTo>
                <a:lnTo>
                  <a:pt x="307" y="55"/>
                </a:lnTo>
                <a:lnTo>
                  <a:pt x="307" y="58"/>
                </a:lnTo>
                <a:lnTo>
                  <a:pt x="309" y="58"/>
                </a:lnTo>
                <a:lnTo>
                  <a:pt x="309" y="59"/>
                </a:lnTo>
                <a:lnTo>
                  <a:pt x="311" y="60"/>
                </a:lnTo>
                <a:lnTo>
                  <a:pt x="313" y="60"/>
                </a:lnTo>
                <a:lnTo>
                  <a:pt x="314" y="61"/>
                </a:lnTo>
                <a:lnTo>
                  <a:pt x="315" y="64"/>
                </a:lnTo>
                <a:lnTo>
                  <a:pt x="316" y="65"/>
                </a:lnTo>
                <a:lnTo>
                  <a:pt x="315" y="65"/>
                </a:lnTo>
                <a:lnTo>
                  <a:pt x="315" y="66"/>
                </a:lnTo>
                <a:lnTo>
                  <a:pt x="316" y="66"/>
                </a:lnTo>
                <a:lnTo>
                  <a:pt x="317" y="65"/>
                </a:lnTo>
                <a:lnTo>
                  <a:pt x="319" y="66"/>
                </a:lnTo>
                <a:lnTo>
                  <a:pt x="317" y="66"/>
                </a:lnTo>
                <a:lnTo>
                  <a:pt x="317" y="67"/>
                </a:lnTo>
                <a:lnTo>
                  <a:pt x="320" y="67"/>
                </a:lnTo>
                <a:lnTo>
                  <a:pt x="320" y="68"/>
                </a:lnTo>
                <a:lnTo>
                  <a:pt x="321" y="70"/>
                </a:lnTo>
                <a:lnTo>
                  <a:pt x="321" y="71"/>
                </a:lnTo>
                <a:lnTo>
                  <a:pt x="322" y="71"/>
                </a:lnTo>
                <a:lnTo>
                  <a:pt x="322" y="68"/>
                </a:lnTo>
                <a:lnTo>
                  <a:pt x="327" y="68"/>
                </a:lnTo>
                <a:lnTo>
                  <a:pt x="328" y="67"/>
                </a:lnTo>
                <a:lnTo>
                  <a:pt x="330" y="66"/>
                </a:lnTo>
                <a:lnTo>
                  <a:pt x="330" y="67"/>
                </a:lnTo>
                <a:lnTo>
                  <a:pt x="332" y="67"/>
                </a:lnTo>
                <a:lnTo>
                  <a:pt x="335" y="71"/>
                </a:lnTo>
                <a:lnTo>
                  <a:pt x="335" y="72"/>
                </a:lnTo>
                <a:lnTo>
                  <a:pt x="334" y="73"/>
                </a:lnTo>
                <a:lnTo>
                  <a:pt x="334" y="74"/>
                </a:lnTo>
                <a:lnTo>
                  <a:pt x="333" y="76"/>
                </a:lnTo>
                <a:lnTo>
                  <a:pt x="334" y="77"/>
                </a:lnTo>
                <a:lnTo>
                  <a:pt x="335" y="77"/>
                </a:lnTo>
                <a:lnTo>
                  <a:pt x="335" y="78"/>
                </a:lnTo>
                <a:lnTo>
                  <a:pt x="336" y="79"/>
                </a:lnTo>
                <a:lnTo>
                  <a:pt x="338" y="79"/>
                </a:lnTo>
                <a:lnTo>
                  <a:pt x="338" y="82"/>
                </a:lnTo>
                <a:lnTo>
                  <a:pt x="340" y="82"/>
                </a:lnTo>
                <a:lnTo>
                  <a:pt x="340" y="84"/>
                </a:lnTo>
                <a:lnTo>
                  <a:pt x="339" y="84"/>
                </a:lnTo>
                <a:lnTo>
                  <a:pt x="335" y="88"/>
                </a:lnTo>
                <a:lnTo>
                  <a:pt x="336" y="89"/>
                </a:lnTo>
                <a:lnTo>
                  <a:pt x="336" y="88"/>
                </a:lnTo>
                <a:lnTo>
                  <a:pt x="338" y="86"/>
                </a:lnTo>
                <a:lnTo>
                  <a:pt x="339" y="86"/>
                </a:lnTo>
                <a:lnTo>
                  <a:pt x="340" y="85"/>
                </a:lnTo>
                <a:lnTo>
                  <a:pt x="341" y="85"/>
                </a:lnTo>
                <a:lnTo>
                  <a:pt x="341" y="83"/>
                </a:lnTo>
                <a:lnTo>
                  <a:pt x="340" y="80"/>
                </a:lnTo>
                <a:lnTo>
                  <a:pt x="340" y="78"/>
                </a:lnTo>
                <a:lnTo>
                  <a:pt x="341" y="78"/>
                </a:lnTo>
                <a:lnTo>
                  <a:pt x="342" y="79"/>
                </a:lnTo>
                <a:lnTo>
                  <a:pt x="342" y="82"/>
                </a:lnTo>
                <a:lnTo>
                  <a:pt x="344" y="80"/>
                </a:lnTo>
                <a:lnTo>
                  <a:pt x="345" y="80"/>
                </a:lnTo>
                <a:lnTo>
                  <a:pt x="345" y="82"/>
                </a:lnTo>
                <a:lnTo>
                  <a:pt x="346" y="79"/>
                </a:lnTo>
                <a:lnTo>
                  <a:pt x="346" y="78"/>
                </a:lnTo>
                <a:lnTo>
                  <a:pt x="344" y="76"/>
                </a:lnTo>
                <a:lnTo>
                  <a:pt x="344" y="74"/>
                </a:lnTo>
                <a:lnTo>
                  <a:pt x="342" y="74"/>
                </a:lnTo>
                <a:lnTo>
                  <a:pt x="342" y="73"/>
                </a:lnTo>
                <a:lnTo>
                  <a:pt x="340" y="73"/>
                </a:lnTo>
                <a:lnTo>
                  <a:pt x="340" y="77"/>
                </a:lnTo>
                <a:lnTo>
                  <a:pt x="339" y="77"/>
                </a:lnTo>
                <a:lnTo>
                  <a:pt x="338" y="78"/>
                </a:lnTo>
                <a:lnTo>
                  <a:pt x="338" y="77"/>
                </a:lnTo>
                <a:lnTo>
                  <a:pt x="339" y="76"/>
                </a:lnTo>
                <a:lnTo>
                  <a:pt x="338" y="74"/>
                </a:lnTo>
                <a:lnTo>
                  <a:pt x="336" y="76"/>
                </a:lnTo>
                <a:lnTo>
                  <a:pt x="335" y="76"/>
                </a:lnTo>
                <a:lnTo>
                  <a:pt x="335" y="77"/>
                </a:lnTo>
                <a:lnTo>
                  <a:pt x="334" y="77"/>
                </a:lnTo>
                <a:lnTo>
                  <a:pt x="334" y="74"/>
                </a:lnTo>
                <a:lnTo>
                  <a:pt x="335" y="72"/>
                </a:lnTo>
                <a:lnTo>
                  <a:pt x="336" y="71"/>
                </a:lnTo>
                <a:lnTo>
                  <a:pt x="335" y="70"/>
                </a:lnTo>
                <a:lnTo>
                  <a:pt x="334" y="67"/>
                </a:lnTo>
                <a:lnTo>
                  <a:pt x="333" y="67"/>
                </a:lnTo>
                <a:lnTo>
                  <a:pt x="334" y="66"/>
                </a:lnTo>
                <a:lnTo>
                  <a:pt x="334" y="65"/>
                </a:lnTo>
                <a:lnTo>
                  <a:pt x="335" y="65"/>
                </a:lnTo>
                <a:lnTo>
                  <a:pt x="336" y="66"/>
                </a:lnTo>
                <a:lnTo>
                  <a:pt x="338" y="68"/>
                </a:lnTo>
                <a:lnTo>
                  <a:pt x="338" y="70"/>
                </a:lnTo>
                <a:lnTo>
                  <a:pt x="339" y="71"/>
                </a:lnTo>
                <a:lnTo>
                  <a:pt x="344" y="73"/>
                </a:lnTo>
                <a:lnTo>
                  <a:pt x="345" y="73"/>
                </a:lnTo>
                <a:lnTo>
                  <a:pt x="352" y="82"/>
                </a:lnTo>
                <a:lnTo>
                  <a:pt x="352" y="84"/>
                </a:lnTo>
                <a:lnTo>
                  <a:pt x="351" y="85"/>
                </a:lnTo>
                <a:lnTo>
                  <a:pt x="352" y="85"/>
                </a:lnTo>
                <a:lnTo>
                  <a:pt x="352" y="86"/>
                </a:lnTo>
                <a:lnTo>
                  <a:pt x="347" y="88"/>
                </a:lnTo>
                <a:lnTo>
                  <a:pt x="346" y="88"/>
                </a:lnTo>
                <a:lnTo>
                  <a:pt x="346" y="86"/>
                </a:lnTo>
                <a:lnTo>
                  <a:pt x="344" y="89"/>
                </a:lnTo>
                <a:lnTo>
                  <a:pt x="338" y="89"/>
                </a:lnTo>
                <a:lnTo>
                  <a:pt x="338" y="90"/>
                </a:lnTo>
                <a:lnTo>
                  <a:pt x="339" y="91"/>
                </a:lnTo>
                <a:lnTo>
                  <a:pt x="340" y="91"/>
                </a:lnTo>
                <a:lnTo>
                  <a:pt x="342" y="93"/>
                </a:lnTo>
                <a:lnTo>
                  <a:pt x="345" y="95"/>
                </a:lnTo>
                <a:lnTo>
                  <a:pt x="345" y="96"/>
                </a:lnTo>
                <a:lnTo>
                  <a:pt x="348" y="96"/>
                </a:lnTo>
                <a:lnTo>
                  <a:pt x="352" y="97"/>
                </a:lnTo>
                <a:lnTo>
                  <a:pt x="353" y="96"/>
                </a:lnTo>
                <a:lnTo>
                  <a:pt x="353" y="95"/>
                </a:lnTo>
                <a:lnTo>
                  <a:pt x="354" y="95"/>
                </a:lnTo>
                <a:lnTo>
                  <a:pt x="354" y="96"/>
                </a:lnTo>
                <a:lnTo>
                  <a:pt x="355" y="97"/>
                </a:lnTo>
                <a:lnTo>
                  <a:pt x="354" y="97"/>
                </a:lnTo>
                <a:lnTo>
                  <a:pt x="353" y="98"/>
                </a:lnTo>
                <a:lnTo>
                  <a:pt x="353" y="99"/>
                </a:lnTo>
                <a:lnTo>
                  <a:pt x="354" y="99"/>
                </a:lnTo>
                <a:lnTo>
                  <a:pt x="354" y="103"/>
                </a:lnTo>
                <a:lnTo>
                  <a:pt x="355" y="104"/>
                </a:lnTo>
                <a:lnTo>
                  <a:pt x="357" y="107"/>
                </a:lnTo>
                <a:lnTo>
                  <a:pt x="357" y="113"/>
                </a:lnTo>
                <a:lnTo>
                  <a:pt x="358" y="115"/>
                </a:lnTo>
                <a:lnTo>
                  <a:pt x="358" y="116"/>
                </a:lnTo>
                <a:lnTo>
                  <a:pt x="359" y="117"/>
                </a:lnTo>
                <a:lnTo>
                  <a:pt x="359" y="121"/>
                </a:lnTo>
                <a:lnTo>
                  <a:pt x="360" y="126"/>
                </a:lnTo>
                <a:lnTo>
                  <a:pt x="360" y="129"/>
                </a:lnTo>
                <a:lnTo>
                  <a:pt x="361" y="129"/>
                </a:lnTo>
                <a:lnTo>
                  <a:pt x="361" y="131"/>
                </a:lnTo>
                <a:lnTo>
                  <a:pt x="363" y="132"/>
                </a:lnTo>
                <a:lnTo>
                  <a:pt x="361" y="133"/>
                </a:lnTo>
                <a:lnTo>
                  <a:pt x="361" y="134"/>
                </a:lnTo>
                <a:lnTo>
                  <a:pt x="360" y="134"/>
                </a:lnTo>
                <a:lnTo>
                  <a:pt x="360" y="135"/>
                </a:lnTo>
                <a:lnTo>
                  <a:pt x="359" y="136"/>
                </a:lnTo>
                <a:lnTo>
                  <a:pt x="360" y="138"/>
                </a:lnTo>
                <a:lnTo>
                  <a:pt x="360" y="140"/>
                </a:lnTo>
                <a:lnTo>
                  <a:pt x="359" y="144"/>
                </a:lnTo>
                <a:lnTo>
                  <a:pt x="358" y="145"/>
                </a:lnTo>
                <a:lnTo>
                  <a:pt x="357" y="147"/>
                </a:lnTo>
                <a:lnTo>
                  <a:pt x="352" y="150"/>
                </a:lnTo>
                <a:lnTo>
                  <a:pt x="350" y="152"/>
                </a:lnTo>
                <a:lnTo>
                  <a:pt x="350" y="153"/>
                </a:lnTo>
                <a:lnTo>
                  <a:pt x="351" y="156"/>
                </a:lnTo>
                <a:lnTo>
                  <a:pt x="351" y="158"/>
                </a:lnTo>
                <a:lnTo>
                  <a:pt x="350" y="158"/>
                </a:lnTo>
                <a:lnTo>
                  <a:pt x="348" y="159"/>
                </a:lnTo>
                <a:lnTo>
                  <a:pt x="351" y="162"/>
                </a:lnTo>
                <a:lnTo>
                  <a:pt x="353" y="162"/>
                </a:lnTo>
                <a:lnTo>
                  <a:pt x="355" y="164"/>
                </a:lnTo>
                <a:lnTo>
                  <a:pt x="360" y="168"/>
                </a:lnTo>
                <a:lnTo>
                  <a:pt x="361" y="171"/>
                </a:lnTo>
                <a:lnTo>
                  <a:pt x="363" y="171"/>
                </a:lnTo>
                <a:lnTo>
                  <a:pt x="364" y="174"/>
                </a:lnTo>
                <a:lnTo>
                  <a:pt x="367" y="175"/>
                </a:lnTo>
                <a:lnTo>
                  <a:pt x="371" y="178"/>
                </a:lnTo>
                <a:lnTo>
                  <a:pt x="370" y="181"/>
                </a:lnTo>
                <a:lnTo>
                  <a:pt x="370" y="185"/>
                </a:lnTo>
                <a:lnTo>
                  <a:pt x="366" y="189"/>
                </a:lnTo>
                <a:lnTo>
                  <a:pt x="366" y="191"/>
                </a:lnTo>
                <a:lnTo>
                  <a:pt x="367" y="195"/>
                </a:lnTo>
                <a:lnTo>
                  <a:pt x="369" y="197"/>
                </a:lnTo>
                <a:lnTo>
                  <a:pt x="369" y="199"/>
                </a:lnTo>
                <a:lnTo>
                  <a:pt x="370" y="199"/>
                </a:lnTo>
                <a:lnTo>
                  <a:pt x="371" y="200"/>
                </a:lnTo>
                <a:lnTo>
                  <a:pt x="372" y="200"/>
                </a:lnTo>
                <a:lnTo>
                  <a:pt x="373" y="201"/>
                </a:lnTo>
                <a:lnTo>
                  <a:pt x="373" y="208"/>
                </a:lnTo>
                <a:lnTo>
                  <a:pt x="372" y="209"/>
                </a:lnTo>
                <a:lnTo>
                  <a:pt x="376" y="213"/>
                </a:lnTo>
                <a:lnTo>
                  <a:pt x="375" y="214"/>
                </a:lnTo>
                <a:lnTo>
                  <a:pt x="375" y="217"/>
                </a:lnTo>
                <a:lnTo>
                  <a:pt x="373" y="218"/>
                </a:lnTo>
                <a:lnTo>
                  <a:pt x="373" y="222"/>
                </a:lnTo>
                <a:lnTo>
                  <a:pt x="372" y="224"/>
                </a:lnTo>
                <a:lnTo>
                  <a:pt x="372" y="225"/>
                </a:lnTo>
                <a:lnTo>
                  <a:pt x="369" y="228"/>
                </a:lnTo>
                <a:lnTo>
                  <a:pt x="369" y="232"/>
                </a:lnTo>
                <a:lnTo>
                  <a:pt x="371" y="234"/>
                </a:lnTo>
                <a:lnTo>
                  <a:pt x="371" y="238"/>
                </a:lnTo>
                <a:lnTo>
                  <a:pt x="372" y="238"/>
                </a:lnTo>
                <a:lnTo>
                  <a:pt x="375" y="240"/>
                </a:lnTo>
                <a:lnTo>
                  <a:pt x="375" y="246"/>
                </a:lnTo>
                <a:lnTo>
                  <a:pt x="373" y="248"/>
                </a:lnTo>
                <a:lnTo>
                  <a:pt x="373" y="250"/>
                </a:lnTo>
                <a:lnTo>
                  <a:pt x="375" y="251"/>
                </a:lnTo>
                <a:lnTo>
                  <a:pt x="377" y="252"/>
                </a:lnTo>
                <a:lnTo>
                  <a:pt x="378" y="252"/>
                </a:lnTo>
                <a:lnTo>
                  <a:pt x="379" y="254"/>
                </a:lnTo>
                <a:lnTo>
                  <a:pt x="380" y="254"/>
                </a:lnTo>
                <a:lnTo>
                  <a:pt x="382" y="255"/>
                </a:lnTo>
                <a:lnTo>
                  <a:pt x="383" y="255"/>
                </a:lnTo>
                <a:lnTo>
                  <a:pt x="384" y="256"/>
                </a:lnTo>
                <a:lnTo>
                  <a:pt x="384" y="264"/>
                </a:lnTo>
                <a:lnTo>
                  <a:pt x="386" y="267"/>
                </a:lnTo>
                <a:lnTo>
                  <a:pt x="386" y="271"/>
                </a:lnTo>
                <a:lnTo>
                  <a:pt x="385" y="273"/>
                </a:lnTo>
                <a:lnTo>
                  <a:pt x="385" y="279"/>
                </a:lnTo>
                <a:lnTo>
                  <a:pt x="384" y="279"/>
                </a:lnTo>
                <a:lnTo>
                  <a:pt x="384" y="281"/>
                </a:lnTo>
                <a:lnTo>
                  <a:pt x="382" y="286"/>
                </a:lnTo>
                <a:lnTo>
                  <a:pt x="380" y="292"/>
                </a:lnTo>
                <a:lnTo>
                  <a:pt x="378" y="293"/>
                </a:lnTo>
                <a:lnTo>
                  <a:pt x="378" y="295"/>
                </a:lnTo>
                <a:lnTo>
                  <a:pt x="377" y="297"/>
                </a:lnTo>
                <a:lnTo>
                  <a:pt x="377" y="299"/>
                </a:lnTo>
                <a:lnTo>
                  <a:pt x="375" y="299"/>
                </a:lnTo>
                <a:lnTo>
                  <a:pt x="373" y="298"/>
                </a:lnTo>
                <a:lnTo>
                  <a:pt x="371" y="297"/>
                </a:lnTo>
                <a:lnTo>
                  <a:pt x="370" y="297"/>
                </a:lnTo>
                <a:lnTo>
                  <a:pt x="370" y="293"/>
                </a:lnTo>
                <a:lnTo>
                  <a:pt x="371" y="292"/>
                </a:lnTo>
                <a:lnTo>
                  <a:pt x="370" y="292"/>
                </a:lnTo>
                <a:lnTo>
                  <a:pt x="370" y="291"/>
                </a:lnTo>
                <a:lnTo>
                  <a:pt x="367" y="292"/>
                </a:lnTo>
                <a:lnTo>
                  <a:pt x="367" y="286"/>
                </a:lnTo>
                <a:lnTo>
                  <a:pt x="365" y="286"/>
                </a:lnTo>
                <a:lnTo>
                  <a:pt x="365" y="285"/>
                </a:lnTo>
                <a:lnTo>
                  <a:pt x="359" y="285"/>
                </a:lnTo>
                <a:lnTo>
                  <a:pt x="359" y="283"/>
                </a:lnTo>
                <a:lnTo>
                  <a:pt x="355" y="283"/>
                </a:lnTo>
                <a:lnTo>
                  <a:pt x="354" y="285"/>
                </a:lnTo>
                <a:lnTo>
                  <a:pt x="354" y="286"/>
                </a:lnTo>
                <a:lnTo>
                  <a:pt x="353" y="287"/>
                </a:lnTo>
                <a:lnTo>
                  <a:pt x="355" y="287"/>
                </a:lnTo>
                <a:lnTo>
                  <a:pt x="357" y="288"/>
                </a:lnTo>
                <a:lnTo>
                  <a:pt x="355" y="288"/>
                </a:lnTo>
                <a:lnTo>
                  <a:pt x="355" y="289"/>
                </a:lnTo>
                <a:lnTo>
                  <a:pt x="357" y="291"/>
                </a:lnTo>
                <a:lnTo>
                  <a:pt x="360" y="291"/>
                </a:lnTo>
                <a:lnTo>
                  <a:pt x="359" y="293"/>
                </a:lnTo>
                <a:lnTo>
                  <a:pt x="358" y="294"/>
                </a:lnTo>
                <a:lnTo>
                  <a:pt x="353" y="294"/>
                </a:lnTo>
                <a:lnTo>
                  <a:pt x="352" y="295"/>
                </a:lnTo>
                <a:lnTo>
                  <a:pt x="352" y="297"/>
                </a:lnTo>
                <a:lnTo>
                  <a:pt x="345" y="299"/>
                </a:lnTo>
                <a:lnTo>
                  <a:pt x="341" y="299"/>
                </a:lnTo>
                <a:lnTo>
                  <a:pt x="341" y="300"/>
                </a:lnTo>
                <a:lnTo>
                  <a:pt x="339" y="300"/>
                </a:lnTo>
                <a:lnTo>
                  <a:pt x="339" y="304"/>
                </a:lnTo>
                <a:lnTo>
                  <a:pt x="338" y="304"/>
                </a:lnTo>
                <a:lnTo>
                  <a:pt x="336" y="305"/>
                </a:lnTo>
                <a:lnTo>
                  <a:pt x="334" y="304"/>
                </a:lnTo>
                <a:lnTo>
                  <a:pt x="333" y="305"/>
                </a:lnTo>
                <a:lnTo>
                  <a:pt x="324" y="305"/>
                </a:lnTo>
                <a:lnTo>
                  <a:pt x="323" y="306"/>
                </a:lnTo>
                <a:lnTo>
                  <a:pt x="323" y="310"/>
                </a:lnTo>
                <a:lnTo>
                  <a:pt x="322" y="310"/>
                </a:lnTo>
                <a:lnTo>
                  <a:pt x="322" y="311"/>
                </a:lnTo>
                <a:lnTo>
                  <a:pt x="321" y="312"/>
                </a:lnTo>
                <a:lnTo>
                  <a:pt x="321" y="313"/>
                </a:lnTo>
                <a:lnTo>
                  <a:pt x="320" y="313"/>
                </a:lnTo>
                <a:lnTo>
                  <a:pt x="317" y="311"/>
                </a:lnTo>
                <a:lnTo>
                  <a:pt x="316" y="311"/>
                </a:lnTo>
                <a:lnTo>
                  <a:pt x="315" y="312"/>
                </a:lnTo>
                <a:lnTo>
                  <a:pt x="315" y="313"/>
                </a:lnTo>
                <a:lnTo>
                  <a:pt x="314" y="314"/>
                </a:lnTo>
                <a:lnTo>
                  <a:pt x="313" y="314"/>
                </a:lnTo>
                <a:lnTo>
                  <a:pt x="313" y="313"/>
                </a:lnTo>
                <a:lnTo>
                  <a:pt x="311" y="313"/>
                </a:lnTo>
                <a:lnTo>
                  <a:pt x="310" y="318"/>
                </a:lnTo>
                <a:lnTo>
                  <a:pt x="309" y="318"/>
                </a:lnTo>
                <a:lnTo>
                  <a:pt x="308" y="319"/>
                </a:lnTo>
                <a:lnTo>
                  <a:pt x="302" y="319"/>
                </a:lnTo>
                <a:lnTo>
                  <a:pt x="302" y="324"/>
                </a:lnTo>
                <a:lnTo>
                  <a:pt x="301" y="324"/>
                </a:lnTo>
                <a:lnTo>
                  <a:pt x="299" y="325"/>
                </a:lnTo>
                <a:lnTo>
                  <a:pt x="298" y="325"/>
                </a:lnTo>
                <a:lnTo>
                  <a:pt x="293" y="323"/>
                </a:lnTo>
                <a:lnTo>
                  <a:pt x="292" y="324"/>
                </a:lnTo>
                <a:lnTo>
                  <a:pt x="290" y="324"/>
                </a:lnTo>
                <a:lnTo>
                  <a:pt x="289" y="325"/>
                </a:lnTo>
                <a:lnTo>
                  <a:pt x="289" y="326"/>
                </a:lnTo>
                <a:lnTo>
                  <a:pt x="280" y="326"/>
                </a:lnTo>
                <a:lnTo>
                  <a:pt x="279" y="328"/>
                </a:lnTo>
                <a:lnTo>
                  <a:pt x="279" y="330"/>
                </a:lnTo>
                <a:lnTo>
                  <a:pt x="278" y="330"/>
                </a:lnTo>
                <a:lnTo>
                  <a:pt x="277" y="331"/>
                </a:lnTo>
                <a:lnTo>
                  <a:pt x="276" y="331"/>
                </a:lnTo>
                <a:lnTo>
                  <a:pt x="274" y="334"/>
                </a:lnTo>
                <a:lnTo>
                  <a:pt x="274" y="335"/>
                </a:lnTo>
                <a:lnTo>
                  <a:pt x="273" y="335"/>
                </a:lnTo>
                <a:lnTo>
                  <a:pt x="273" y="336"/>
                </a:lnTo>
                <a:lnTo>
                  <a:pt x="272" y="337"/>
                </a:lnTo>
                <a:lnTo>
                  <a:pt x="272" y="342"/>
                </a:lnTo>
                <a:lnTo>
                  <a:pt x="271" y="342"/>
                </a:lnTo>
                <a:lnTo>
                  <a:pt x="271" y="340"/>
                </a:lnTo>
                <a:lnTo>
                  <a:pt x="270" y="338"/>
                </a:lnTo>
                <a:lnTo>
                  <a:pt x="270" y="337"/>
                </a:lnTo>
                <a:lnTo>
                  <a:pt x="268" y="337"/>
                </a:lnTo>
                <a:lnTo>
                  <a:pt x="268" y="336"/>
                </a:lnTo>
                <a:lnTo>
                  <a:pt x="270" y="336"/>
                </a:lnTo>
                <a:lnTo>
                  <a:pt x="270" y="335"/>
                </a:lnTo>
                <a:lnTo>
                  <a:pt x="267" y="335"/>
                </a:lnTo>
                <a:lnTo>
                  <a:pt x="266" y="334"/>
                </a:lnTo>
                <a:lnTo>
                  <a:pt x="266" y="331"/>
                </a:lnTo>
                <a:lnTo>
                  <a:pt x="262" y="331"/>
                </a:lnTo>
                <a:lnTo>
                  <a:pt x="264" y="332"/>
                </a:lnTo>
                <a:lnTo>
                  <a:pt x="264" y="336"/>
                </a:lnTo>
                <a:lnTo>
                  <a:pt x="262" y="336"/>
                </a:lnTo>
                <a:lnTo>
                  <a:pt x="262" y="337"/>
                </a:lnTo>
                <a:lnTo>
                  <a:pt x="265" y="338"/>
                </a:lnTo>
                <a:lnTo>
                  <a:pt x="266" y="340"/>
                </a:lnTo>
                <a:lnTo>
                  <a:pt x="266" y="341"/>
                </a:lnTo>
                <a:lnTo>
                  <a:pt x="267" y="341"/>
                </a:lnTo>
                <a:lnTo>
                  <a:pt x="267" y="346"/>
                </a:lnTo>
                <a:lnTo>
                  <a:pt x="270" y="348"/>
                </a:lnTo>
                <a:lnTo>
                  <a:pt x="270" y="349"/>
                </a:lnTo>
                <a:lnTo>
                  <a:pt x="276" y="353"/>
                </a:lnTo>
                <a:lnTo>
                  <a:pt x="277" y="353"/>
                </a:lnTo>
                <a:lnTo>
                  <a:pt x="278" y="354"/>
                </a:lnTo>
                <a:lnTo>
                  <a:pt x="279" y="354"/>
                </a:lnTo>
                <a:lnTo>
                  <a:pt x="279" y="356"/>
                </a:lnTo>
                <a:lnTo>
                  <a:pt x="280" y="357"/>
                </a:lnTo>
                <a:lnTo>
                  <a:pt x="282" y="357"/>
                </a:lnTo>
                <a:lnTo>
                  <a:pt x="282" y="360"/>
                </a:lnTo>
                <a:lnTo>
                  <a:pt x="280" y="361"/>
                </a:lnTo>
                <a:lnTo>
                  <a:pt x="280" y="362"/>
                </a:lnTo>
                <a:lnTo>
                  <a:pt x="278" y="365"/>
                </a:lnTo>
                <a:lnTo>
                  <a:pt x="278" y="367"/>
                </a:lnTo>
                <a:lnTo>
                  <a:pt x="276" y="368"/>
                </a:lnTo>
                <a:lnTo>
                  <a:pt x="276" y="371"/>
                </a:lnTo>
                <a:lnTo>
                  <a:pt x="277" y="372"/>
                </a:lnTo>
                <a:lnTo>
                  <a:pt x="278" y="372"/>
                </a:lnTo>
                <a:lnTo>
                  <a:pt x="278" y="373"/>
                </a:lnTo>
                <a:lnTo>
                  <a:pt x="279" y="373"/>
                </a:lnTo>
                <a:lnTo>
                  <a:pt x="280" y="374"/>
                </a:lnTo>
                <a:lnTo>
                  <a:pt x="280" y="378"/>
                </a:lnTo>
                <a:lnTo>
                  <a:pt x="282" y="378"/>
                </a:lnTo>
                <a:lnTo>
                  <a:pt x="283" y="379"/>
                </a:lnTo>
                <a:lnTo>
                  <a:pt x="283" y="383"/>
                </a:lnTo>
                <a:lnTo>
                  <a:pt x="284" y="383"/>
                </a:lnTo>
                <a:lnTo>
                  <a:pt x="284" y="384"/>
                </a:lnTo>
                <a:lnTo>
                  <a:pt x="285" y="384"/>
                </a:lnTo>
                <a:lnTo>
                  <a:pt x="285" y="387"/>
                </a:lnTo>
                <a:lnTo>
                  <a:pt x="286" y="389"/>
                </a:lnTo>
                <a:lnTo>
                  <a:pt x="286" y="390"/>
                </a:lnTo>
                <a:lnTo>
                  <a:pt x="288" y="390"/>
                </a:lnTo>
                <a:lnTo>
                  <a:pt x="290" y="392"/>
                </a:lnTo>
                <a:lnTo>
                  <a:pt x="291" y="394"/>
                </a:lnTo>
                <a:lnTo>
                  <a:pt x="292" y="396"/>
                </a:lnTo>
                <a:lnTo>
                  <a:pt x="296" y="397"/>
                </a:lnTo>
                <a:lnTo>
                  <a:pt x="296" y="396"/>
                </a:lnTo>
                <a:lnTo>
                  <a:pt x="299" y="396"/>
                </a:lnTo>
                <a:lnTo>
                  <a:pt x="299" y="397"/>
                </a:lnTo>
                <a:lnTo>
                  <a:pt x="301" y="398"/>
                </a:lnTo>
                <a:lnTo>
                  <a:pt x="302" y="398"/>
                </a:lnTo>
                <a:lnTo>
                  <a:pt x="302" y="399"/>
                </a:lnTo>
                <a:lnTo>
                  <a:pt x="303" y="402"/>
                </a:lnTo>
                <a:lnTo>
                  <a:pt x="304" y="402"/>
                </a:lnTo>
                <a:lnTo>
                  <a:pt x="308" y="408"/>
                </a:lnTo>
                <a:lnTo>
                  <a:pt x="308" y="409"/>
                </a:lnTo>
                <a:lnTo>
                  <a:pt x="309" y="410"/>
                </a:lnTo>
                <a:lnTo>
                  <a:pt x="314" y="410"/>
                </a:lnTo>
                <a:lnTo>
                  <a:pt x="314" y="411"/>
                </a:lnTo>
                <a:lnTo>
                  <a:pt x="317" y="415"/>
                </a:lnTo>
                <a:lnTo>
                  <a:pt x="317" y="417"/>
                </a:lnTo>
                <a:lnTo>
                  <a:pt x="321" y="421"/>
                </a:lnTo>
                <a:lnTo>
                  <a:pt x="322" y="421"/>
                </a:lnTo>
                <a:lnTo>
                  <a:pt x="322" y="420"/>
                </a:lnTo>
                <a:lnTo>
                  <a:pt x="324" y="420"/>
                </a:lnTo>
                <a:lnTo>
                  <a:pt x="326" y="421"/>
                </a:lnTo>
                <a:lnTo>
                  <a:pt x="327" y="421"/>
                </a:lnTo>
                <a:lnTo>
                  <a:pt x="327" y="422"/>
                </a:lnTo>
                <a:lnTo>
                  <a:pt x="328" y="423"/>
                </a:lnTo>
                <a:lnTo>
                  <a:pt x="328" y="424"/>
                </a:lnTo>
                <a:lnTo>
                  <a:pt x="329" y="424"/>
                </a:lnTo>
                <a:lnTo>
                  <a:pt x="329" y="426"/>
                </a:lnTo>
                <a:lnTo>
                  <a:pt x="332" y="426"/>
                </a:lnTo>
                <a:lnTo>
                  <a:pt x="333" y="427"/>
                </a:lnTo>
                <a:lnTo>
                  <a:pt x="335" y="432"/>
                </a:lnTo>
                <a:lnTo>
                  <a:pt x="336" y="432"/>
                </a:lnTo>
                <a:lnTo>
                  <a:pt x="334" y="435"/>
                </a:lnTo>
                <a:lnTo>
                  <a:pt x="335" y="435"/>
                </a:lnTo>
                <a:lnTo>
                  <a:pt x="335" y="436"/>
                </a:lnTo>
                <a:lnTo>
                  <a:pt x="336" y="436"/>
                </a:lnTo>
                <a:lnTo>
                  <a:pt x="335" y="437"/>
                </a:lnTo>
                <a:lnTo>
                  <a:pt x="335" y="442"/>
                </a:lnTo>
                <a:lnTo>
                  <a:pt x="334" y="445"/>
                </a:lnTo>
                <a:lnTo>
                  <a:pt x="333" y="445"/>
                </a:lnTo>
                <a:lnTo>
                  <a:pt x="332" y="446"/>
                </a:lnTo>
                <a:lnTo>
                  <a:pt x="332" y="447"/>
                </a:lnTo>
                <a:lnTo>
                  <a:pt x="329" y="447"/>
                </a:lnTo>
                <a:lnTo>
                  <a:pt x="329" y="446"/>
                </a:lnTo>
                <a:lnTo>
                  <a:pt x="328" y="446"/>
                </a:lnTo>
                <a:lnTo>
                  <a:pt x="328" y="445"/>
                </a:lnTo>
                <a:lnTo>
                  <a:pt x="323" y="443"/>
                </a:lnTo>
                <a:lnTo>
                  <a:pt x="322" y="443"/>
                </a:lnTo>
                <a:lnTo>
                  <a:pt x="321" y="445"/>
                </a:lnTo>
                <a:lnTo>
                  <a:pt x="320" y="445"/>
                </a:lnTo>
                <a:lnTo>
                  <a:pt x="320" y="447"/>
                </a:lnTo>
                <a:lnTo>
                  <a:pt x="321" y="447"/>
                </a:lnTo>
                <a:lnTo>
                  <a:pt x="321" y="448"/>
                </a:lnTo>
                <a:lnTo>
                  <a:pt x="320" y="449"/>
                </a:lnTo>
                <a:lnTo>
                  <a:pt x="320" y="455"/>
                </a:lnTo>
                <a:lnTo>
                  <a:pt x="315" y="460"/>
                </a:lnTo>
                <a:lnTo>
                  <a:pt x="313" y="461"/>
                </a:lnTo>
                <a:lnTo>
                  <a:pt x="307" y="463"/>
                </a:lnTo>
                <a:lnTo>
                  <a:pt x="303" y="464"/>
                </a:lnTo>
                <a:lnTo>
                  <a:pt x="299" y="467"/>
                </a:lnTo>
                <a:lnTo>
                  <a:pt x="298" y="467"/>
                </a:lnTo>
                <a:lnTo>
                  <a:pt x="296" y="469"/>
                </a:lnTo>
                <a:lnTo>
                  <a:pt x="295" y="469"/>
                </a:lnTo>
                <a:lnTo>
                  <a:pt x="295" y="470"/>
                </a:lnTo>
                <a:lnTo>
                  <a:pt x="291" y="473"/>
                </a:lnTo>
                <a:lnTo>
                  <a:pt x="290" y="473"/>
                </a:lnTo>
                <a:lnTo>
                  <a:pt x="290" y="475"/>
                </a:lnTo>
                <a:lnTo>
                  <a:pt x="291" y="476"/>
                </a:lnTo>
                <a:lnTo>
                  <a:pt x="291" y="477"/>
                </a:lnTo>
                <a:lnTo>
                  <a:pt x="295" y="479"/>
                </a:lnTo>
                <a:lnTo>
                  <a:pt x="295" y="483"/>
                </a:lnTo>
                <a:lnTo>
                  <a:pt x="296" y="483"/>
                </a:lnTo>
                <a:lnTo>
                  <a:pt x="298" y="485"/>
                </a:lnTo>
                <a:lnTo>
                  <a:pt x="299" y="489"/>
                </a:lnTo>
                <a:lnTo>
                  <a:pt x="301" y="490"/>
                </a:lnTo>
                <a:lnTo>
                  <a:pt x="298" y="495"/>
                </a:lnTo>
                <a:lnTo>
                  <a:pt x="298" y="496"/>
                </a:lnTo>
                <a:lnTo>
                  <a:pt x="297" y="497"/>
                </a:lnTo>
                <a:lnTo>
                  <a:pt x="297" y="498"/>
                </a:lnTo>
                <a:lnTo>
                  <a:pt x="299" y="500"/>
                </a:lnTo>
                <a:lnTo>
                  <a:pt x="301" y="500"/>
                </a:lnTo>
                <a:lnTo>
                  <a:pt x="302" y="498"/>
                </a:lnTo>
                <a:lnTo>
                  <a:pt x="304" y="501"/>
                </a:lnTo>
                <a:lnTo>
                  <a:pt x="304" y="506"/>
                </a:lnTo>
                <a:lnTo>
                  <a:pt x="303" y="507"/>
                </a:lnTo>
                <a:lnTo>
                  <a:pt x="303" y="513"/>
                </a:lnTo>
                <a:lnTo>
                  <a:pt x="302" y="514"/>
                </a:lnTo>
                <a:lnTo>
                  <a:pt x="298" y="514"/>
                </a:lnTo>
                <a:lnTo>
                  <a:pt x="296" y="513"/>
                </a:lnTo>
                <a:lnTo>
                  <a:pt x="295" y="510"/>
                </a:lnTo>
                <a:lnTo>
                  <a:pt x="295" y="509"/>
                </a:lnTo>
                <a:lnTo>
                  <a:pt x="292" y="509"/>
                </a:lnTo>
                <a:lnTo>
                  <a:pt x="292" y="506"/>
                </a:lnTo>
                <a:lnTo>
                  <a:pt x="293" y="506"/>
                </a:lnTo>
                <a:lnTo>
                  <a:pt x="291" y="503"/>
                </a:lnTo>
                <a:lnTo>
                  <a:pt x="291" y="502"/>
                </a:lnTo>
                <a:lnTo>
                  <a:pt x="289" y="501"/>
                </a:lnTo>
                <a:lnTo>
                  <a:pt x="286" y="501"/>
                </a:lnTo>
                <a:lnTo>
                  <a:pt x="285" y="502"/>
                </a:lnTo>
                <a:lnTo>
                  <a:pt x="284" y="502"/>
                </a:lnTo>
                <a:lnTo>
                  <a:pt x="282" y="504"/>
                </a:lnTo>
                <a:lnTo>
                  <a:pt x="280" y="504"/>
                </a:lnTo>
                <a:lnTo>
                  <a:pt x="279" y="503"/>
                </a:lnTo>
                <a:lnTo>
                  <a:pt x="278" y="503"/>
                </a:lnTo>
                <a:lnTo>
                  <a:pt x="278" y="502"/>
                </a:lnTo>
                <a:lnTo>
                  <a:pt x="277" y="501"/>
                </a:lnTo>
                <a:lnTo>
                  <a:pt x="277" y="500"/>
                </a:lnTo>
                <a:lnTo>
                  <a:pt x="274" y="501"/>
                </a:lnTo>
                <a:lnTo>
                  <a:pt x="272" y="500"/>
                </a:lnTo>
                <a:lnTo>
                  <a:pt x="271" y="501"/>
                </a:lnTo>
                <a:lnTo>
                  <a:pt x="268" y="501"/>
                </a:lnTo>
                <a:lnTo>
                  <a:pt x="268" y="498"/>
                </a:lnTo>
                <a:lnTo>
                  <a:pt x="270" y="498"/>
                </a:lnTo>
                <a:lnTo>
                  <a:pt x="270" y="497"/>
                </a:lnTo>
                <a:lnTo>
                  <a:pt x="268" y="498"/>
                </a:lnTo>
                <a:lnTo>
                  <a:pt x="267" y="498"/>
                </a:lnTo>
                <a:lnTo>
                  <a:pt x="267" y="501"/>
                </a:lnTo>
                <a:lnTo>
                  <a:pt x="268" y="501"/>
                </a:lnTo>
                <a:lnTo>
                  <a:pt x="268" y="503"/>
                </a:lnTo>
                <a:lnTo>
                  <a:pt x="266" y="506"/>
                </a:lnTo>
                <a:lnTo>
                  <a:pt x="253" y="506"/>
                </a:lnTo>
                <a:lnTo>
                  <a:pt x="252" y="507"/>
                </a:lnTo>
                <a:lnTo>
                  <a:pt x="243" y="507"/>
                </a:lnTo>
                <a:lnTo>
                  <a:pt x="242" y="508"/>
                </a:lnTo>
                <a:lnTo>
                  <a:pt x="241" y="508"/>
                </a:lnTo>
                <a:lnTo>
                  <a:pt x="241" y="510"/>
                </a:lnTo>
                <a:lnTo>
                  <a:pt x="240" y="512"/>
                </a:lnTo>
                <a:lnTo>
                  <a:pt x="234" y="512"/>
                </a:lnTo>
                <a:lnTo>
                  <a:pt x="233" y="514"/>
                </a:lnTo>
                <a:lnTo>
                  <a:pt x="234" y="514"/>
                </a:lnTo>
                <a:lnTo>
                  <a:pt x="234" y="515"/>
                </a:lnTo>
                <a:lnTo>
                  <a:pt x="233" y="515"/>
                </a:lnTo>
                <a:lnTo>
                  <a:pt x="233" y="516"/>
                </a:lnTo>
                <a:lnTo>
                  <a:pt x="229" y="516"/>
                </a:lnTo>
                <a:lnTo>
                  <a:pt x="229" y="518"/>
                </a:lnTo>
                <a:lnTo>
                  <a:pt x="228" y="519"/>
                </a:lnTo>
                <a:lnTo>
                  <a:pt x="226" y="519"/>
                </a:lnTo>
                <a:lnTo>
                  <a:pt x="226" y="516"/>
                </a:lnTo>
                <a:lnTo>
                  <a:pt x="224" y="516"/>
                </a:lnTo>
                <a:lnTo>
                  <a:pt x="222" y="519"/>
                </a:lnTo>
                <a:lnTo>
                  <a:pt x="216" y="519"/>
                </a:lnTo>
                <a:lnTo>
                  <a:pt x="215" y="518"/>
                </a:lnTo>
                <a:lnTo>
                  <a:pt x="216" y="518"/>
                </a:lnTo>
                <a:lnTo>
                  <a:pt x="216" y="516"/>
                </a:lnTo>
                <a:lnTo>
                  <a:pt x="215" y="516"/>
                </a:lnTo>
                <a:lnTo>
                  <a:pt x="214" y="514"/>
                </a:lnTo>
                <a:lnTo>
                  <a:pt x="211" y="513"/>
                </a:lnTo>
                <a:lnTo>
                  <a:pt x="212" y="512"/>
                </a:lnTo>
                <a:lnTo>
                  <a:pt x="211" y="510"/>
                </a:lnTo>
                <a:lnTo>
                  <a:pt x="210" y="510"/>
                </a:lnTo>
                <a:lnTo>
                  <a:pt x="208" y="512"/>
                </a:lnTo>
                <a:lnTo>
                  <a:pt x="206" y="512"/>
                </a:lnTo>
                <a:lnTo>
                  <a:pt x="206" y="510"/>
                </a:lnTo>
                <a:lnTo>
                  <a:pt x="201" y="508"/>
                </a:lnTo>
                <a:lnTo>
                  <a:pt x="199" y="508"/>
                </a:lnTo>
                <a:lnTo>
                  <a:pt x="199" y="509"/>
                </a:lnTo>
                <a:lnTo>
                  <a:pt x="198" y="510"/>
                </a:lnTo>
                <a:lnTo>
                  <a:pt x="196" y="510"/>
                </a:lnTo>
                <a:lnTo>
                  <a:pt x="195" y="509"/>
                </a:lnTo>
                <a:lnTo>
                  <a:pt x="193" y="509"/>
                </a:lnTo>
                <a:lnTo>
                  <a:pt x="195" y="508"/>
                </a:lnTo>
                <a:lnTo>
                  <a:pt x="195" y="507"/>
                </a:lnTo>
                <a:lnTo>
                  <a:pt x="193" y="507"/>
                </a:lnTo>
                <a:lnTo>
                  <a:pt x="192" y="508"/>
                </a:lnTo>
                <a:lnTo>
                  <a:pt x="192" y="509"/>
                </a:lnTo>
                <a:lnTo>
                  <a:pt x="193" y="509"/>
                </a:lnTo>
                <a:lnTo>
                  <a:pt x="193" y="510"/>
                </a:lnTo>
                <a:lnTo>
                  <a:pt x="192" y="513"/>
                </a:lnTo>
                <a:lnTo>
                  <a:pt x="193" y="513"/>
                </a:lnTo>
                <a:lnTo>
                  <a:pt x="193" y="519"/>
                </a:lnTo>
                <a:lnTo>
                  <a:pt x="192" y="520"/>
                </a:lnTo>
                <a:lnTo>
                  <a:pt x="191" y="520"/>
                </a:lnTo>
                <a:lnTo>
                  <a:pt x="190" y="521"/>
                </a:lnTo>
                <a:lnTo>
                  <a:pt x="190" y="522"/>
                </a:lnTo>
                <a:lnTo>
                  <a:pt x="186" y="526"/>
                </a:lnTo>
                <a:lnTo>
                  <a:pt x="181" y="526"/>
                </a:lnTo>
                <a:lnTo>
                  <a:pt x="181" y="525"/>
                </a:lnTo>
                <a:lnTo>
                  <a:pt x="183" y="525"/>
                </a:lnTo>
                <a:lnTo>
                  <a:pt x="183" y="523"/>
                </a:lnTo>
                <a:lnTo>
                  <a:pt x="184" y="521"/>
                </a:lnTo>
                <a:lnTo>
                  <a:pt x="184" y="520"/>
                </a:lnTo>
                <a:lnTo>
                  <a:pt x="179" y="520"/>
                </a:lnTo>
                <a:lnTo>
                  <a:pt x="179" y="521"/>
                </a:lnTo>
                <a:lnTo>
                  <a:pt x="178" y="521"/>
                </a:lnTo>
                <a:lnTo>
                  <a:pt x="178" y="519"/>
                </a:lnTo>
                <a:lnTo>
                  <a:pt x="177" y="518"/>
                </a:lnTo>
                <a:lnTo>
                  <a:pt x="178" y="518"/>
                </a:lnTo>
                <a:lnTo>
                  <a:pt x="178" y="516"/>
                </a:lnTo>
                <a:lnTo>
                  <a:pt x="175" y="513"/>
                </a:lnTo>
                <a:lnTo>
                  <a:pt x="175" y="514"/>
                </a:lnTo>
                <a:lnTo>
                  <a:pt x="174" y="514"/>
                </a:lnTo>
                <a:lnTo>
                  <a:pt x="174" y="513"/>
                </a:lnTo>
                <a:lnTo>
                  <a:pt x="173" y="512"/>
                </a:lnTo>
                <a:lnTo>
                  <a:pt x="173" y="509"/>
                </a:lnTo>
                <a:lnTo>
                  <a:pt x="172" y="510"/>
                </a:lnTo>
                <a:lnTo>
                  <a:pt x="171" y="510"/>
                </a:lnTo>
                <a:lnTo>
                  <a:pt x="168" y="509"/>
                </a:lnTo>
                <a:lnTo>
                  <a:pt x="168" y="510"/>
                </a:lnTo>
                <a:lnTo>
                  <a:pt x="167" y="509"/>
                </a:lnTo>
                <a:lnTo>
                  <a:pt x="167" y="507"/>
                </a:lnTo>
                <a:lnTo>
                  <a:pt x="165" y="507"/>
                </a:lnTo>
                <a:lnTo>
                  <a:pt x="162" y="509"/>
                </a:lnTo>
                <a:lnTo>
                  <a:pt x="162" y="510"/>
                </a:lnTo>
                <a:lnTo>
                  <a:pt x="155" y="510"/>
                </a:lnTo>
                <a:lnTo>
                  <a:pt x="145" y="503"/>
                </a:lnTo>
                <a:lnTo>
                  <a:pt x="142" y="502"/>
                </a:lnTo>
                <a:lnTo>
                  <a:pt x="139" y="502"/>
                </a:lnTo>
                <a:lnTo>
                  <a:pt x="134" y="501"/>
                </a:lnTo>
                <a:lnTo>
                  <a:pt x="133" y="501"/>
                </a:lnTo>
                <a:lnTo>
                  <a:pt x="131" y="502"/>
                </a:lnTo>
                <a:lnTo>
                  <a:pt x="128" y="502"/>
                </a:lnTo>
                <a:lnTo>
                  <a:pt x="127" y="501"/>
                </a:lnTo>
                <a:lnTo>
                  <a:pt x="125" y="501"/>
                </a:lnTo>
                <a:lnTo>
                  <a:pt x="127" y="500"/>
                </a:lnTo>
                <a:lnTo>
                  <a:pt x="125" y="500"/>
                </a:lnTo>
                <a:lnTo>
                  <a:pt x="124" y="498"/>
                </a:lnTo>
                <a:lnTo>
                  <a:pt x="123" y="498"/>
                </a:lnTo>
                <a:lnTo>
                  <a:pt x="123" y="500"/>
                </a:lnTo>
                <a:lnTo>
                  <a:pt x="121" y="500"/>
                </a:lnTo>
                <a:lnTo>
                  <a:pt x="121" y="498"/>
                </a:lnTo>
                <a:lnTo>
                  <a:pt x="119" y="498"/>
                </a:lnTo>
                <a:lnTo>
                  <a:pt x="121" y="497"/>
                </a:lnTo>
                <a:lnTo>
                  <a:pt x="121" y="496"/>
                </a:lnTo>
                <a:lnTo>
                  <a:pt x="119" y="496"/>
                </a:lnTo>
                <a:lnTo>
                  <a:pt x="119" y="495"/>
                </a:lnTo>
                <a:lnTo>
                  <a:pt x="118" y="495"/>
                </a:lnTo>
                <a:lnTo>
                  <a:pt x="118" y="494"/>
                </a:lnTo>
                <a:lnTo>
                  <a:pt x="117" y="494"/>
                </a:lnTo>
                <a:lnTo>
                  <a:pt x="117" y="496"/>
                </a:lnTo>
                <a:lnTo>
                  <a:pt x="116" y="496"/>
                </a:lnTo>
                <a:lnTo>
                  <a:pt x="116" y="494"/>
                </a:lnTo>
                <a:lnTo>
                  <a:pt x="114" y="494"/>
                </a:lnTo>
                <a:lnTo>
                  <a:pt x="114" y="495"/>
                </a:lnTo>
                <a:lnTo>
                  <a:pt x="110" y="495"/>
                </a:lnTo>
                <a:lnTo>
                  <a:pt x="110" y="496"/>
                </a:lnTo>
                <a:lnTo>
                  <a:pt x="109" y="497"/>
                </a:lnTo>
                <a:lnTo>
                  <a:pt x="109" y="498"/>
                </a:lnTo>
                <a:lnTo>
                  <a:pt x="108" y="500"/>
                </a:lnTo>
                <a:lnTo>
                  <a:pt x="106" y="500"/>
                </a:lnTo>
                <a:lnTo>
                  <a:pt x="108" y="501"/>
                </a:lnTo>
                <a:lnTo>
                  <a:pt x="108" y="502"/>
                </a:lnTo>
                <a:lnTo>
                  <a:pt x="109" y="503"/>
                </a:lnTo>
                <a:lnTo>
                  <a:pt x="111" y="503"/>
                </a:lnTo>
                <a:lnTo>
                  <a:pt x="112" y="502"/>
                </a:lnTo>
                <a:lnTo>
                  <a:pt x="116" y="502"/>
                </a:lnTo>
                <a:lnTo>
                  <a:pt x="116" y="503"/>
                </a:lnTo>
                <a:lnTo>
                  <a:pt x="115" y="503"/>
                </a:lnTo>
                <a:lnTo>
                  <a:pt x="115" y="507"/>
                </a:lnTo>
                <a:lnTo>
                  <a:pt x="112" y="504"/>
                </a:lnTo>
                <a:lnTo>
                  <a:pt x="111" y="504"/>
                </a:lnTo>
                <a:lnTo>
                  <a:pt x="110" y="506"/>
                </a:lnTo>
                <a:lnTo>
                  <a:pt x="110" y="507"/>
                </a:lnTo>
                <a:lnTo>
                  <a:pt x="103" y="507"/>
                </a:lnTo>
                <a:lnTo>
                  <a:pt x="103" y="504"/>
                </a:lnTo>
                <a:lnTo>
                  <a:pt x="98" y="504"/>
                </a:lnTo>
                <a:lnTo>
                  <a:pt x="98" y="506"/>
                </a:lnTo>
                <a:lnTo>
                  <a:pt x="97" y="506"/>
                </a:lnTo>
                <a:lnTo>
                  <a:pt x="96" y="507"/>
                </a:lnTo>
                <a:lnTo>
                  <a:pt x="94" y="507"/>
                </a:lnTo>
                <a:lnTo>
                  <a:pt x="94" y="508"/>
                </a:lnTo>
                <a:lnTo>
                  <a:pt x="86" y="508"/>
                </a:lnTo>
                <a:lnTo>
                  <a:pt x="86" y="507"/>
                </a:lnTo>
                <a:lnTo>
                  <a:pt x="84" y="507"/>
                </a:lnTo>
                <a:lnTo>
                  <a:pt x="83" y="506"/>
                </a:lnTo>
                <a:lnTo>
                  <a:pt x="83" y="507"/>
                </a:lnTo>
                <a:lnTo>
                  <a:pt x="80" y="509"/>
                </a:lnTo>
                <a:lnTo>
                  <a:pt x="75" y="509"/>
                </a:lnTo>
                <a:lnTo>
                  <a:pt x="74" y="508"/>
                </a:lnTo>
                <a:lnTo>
                  <a:pt x="75" y="508"/>
                </a:lnTo>
                <a:lnTo>
                  <a:pt x="77" y="506"/>
                </a:lnTo>
                <a:lnTo>
                  <a:pt x="75" y="506"/>
                </a:lnTo>
                <a:lnTo>
                  <a:pt x="73" y="507"/>
                </a:lnTo>
                <a:lnTo>
                  <a:pt x="73" y="504"/>
                </a:lnTo>
                <a:lnTo>
                  <a:pt x="72" y="502"/>
                </a:lnTo>
                <a:lnTo>
                  <a:pt x="71" y="502"/>
                </a:lnTo>
                <a:lnTo>
                  <a:pt x="71" y="501"/>
                </a:lnTo>
                <a:lnTo>
                  <a:pt x="69" y="501"/>
                </a:lnTo>
                <a:lnTo>
                  <a:pt x="69" y="498"/>
                </a:lnTo>
                <a:lnTo>
                  <a:pt x="71" y="498"/>
                </a:lnTo>
                <a:lnTo>
                  <a:pt x="71" y="491"/>
                </a:lnTo>
                <a:lnTo>
                  <a:pt x="72" y="491"/>
                </a:lnTo>
                <a:lnTo>
                  <a:pt x="72" y="488"/>
                </a:lnTo>
                <a:lnTo>
                  <a:pt x="73" y="488"/>
                </a:lnTo>
                <a:lnTo>
                  <a:pt x="73" y="484"/>
                </a:lnTo>
                <a:lnTo>
                  <a:pt x="74" y="483"/>
                </a:lnTo>
                <a:lnTo>
                  <a:pt x="74" y="480"/>
                </a:lnTo>
                <a:lnTo>
                  <a:pt x="73" y="477"/>
                </a:lnTo>
                <a:lnTo>
                  <a:pt x="73" y="472"/>
                </a:lnTo>
                <a:lnTo>
                  <a:pt x="74" y="471"/>
                </a:lnTo>
                <a:lnTo>
                  <a:pt x="74" y="470"/>
                </a:lnTo>
                <a:lnTo>
                  <a:pt x="77" y="466"/>
                </a:lnTo>
                <a:lnTo>
                  <a:pt x="78" y="465"/>
                </a:lnTo>
                <a:lnTo>
                  <a:pt x="78" y="461"/>
                </a:lnTo>
                <a:lnTo>
                  <a:pt x="80" y="459"/>
                </a:lnTo>
                <a:lnTo>
                  <a:pt x="80" y="458"/>
                </a:lnTo>
                <a:lnTo>
                  <a:pt x="79" y="457"/>
                </a:lnTo>
                <a:lnTo>
                  <a:pt x="79" y="455"/>
                </a:lnTo>
                <a:lnTo>
                  <a:pt x="80" y="453"/>
                </a:lnTo>
                <a:lnTo>
                  <a:pt x="80" y="451"/>
                </a:lnTo>
                <a:lnTo>
                  <a:pt x="81" y="449"/>
                </a:lnTo>
                <a:lnTo>
                  <a:pt x="81" y="448"/>
                </a:lnTo>
                <a:lnTo>
                  <a:pt x="83" y="448"/>
                </a:lnTo>
                <a:lnTo>
                  <a:pt x="83" y="442"/>
                </a:lnTo>
                <a:lnTo>
                  <a:pt x="84" y="439"/>
                </a:lnTo>
                <a:lnTo>
                  <a:pt x="85" y="439"/>
                </a:lnTo>
                <a:lnTo>
                  <a:pt x="88" y="435"/>
                </a:lnTo>
                <a:lnTo>
                  <a:pt x="88" y="433"/>
                </a:lnTo>
                <a:lnTo>
                  <a:pt x="91" y="433"/>
                </a:lnTo>
                <a:lnTo>
                  <a:pt x="92" y="432"/>
                </a:lnTo>
                <a:lnTo>
                  <a:pt x="92" y="430"/>
                </a:lnTo>
                <a:lnTo>
                  <a:pt x="94" y="429"/>
                </a:lnTo>
                <a:lnTo>
                  <a:pt x="97" y="423"/>
                </a:lnTo>
                <a:lnTo>
                  <a:pt x="98" y="421"/>
                </a:lnTo>
                <a:lnTo>
                  <a:pt x="99" y="420"/>
                </a:lnTo>
                <a:lnTo>
                  <a:pt x="98" y="420"/>
                </a:lnTo>
                <a:lnTo>
                  <a:pt x="94" y="418"/>
                </a:lnTo>
                <a:lnTo>
                  <a:pt x="87" y="415"/>
                </a:lnTo>
                <a:lnTo>
                  <a:pt x="85" y="415"/>
                </a:lnTo>
                <a:lnTo>
                  <a:pt x="81" y="414"/>
                </a:lnTo>
                <a:lnTo>
                  <a:pt x="80" y="414"/>
                </a:lnTo>
                <a:lnTo>
                  <a:pt x="79" y="415"/>
                </a:lnTo>
                <a:lnTo>
                  <a:pt x="74" y="415"/>
                </a:lnTo>
                <a:lnTo>
                  <a:pt x="74" y="414"/>
                </a:lnTo>
                <a:lnTo>
                  <a:pt x="73" y="412"/>
                </a:lnTo>
                <a:lnTo>
                  <a:pt x="71" y="412"/>
                </a:lnTo>
                <a:lnTo>
                  <a:pt x="71" y="411"/>
                </a:lnTo>
                <a:lnTo>
                  <a:pt x="69" y="411"/>
                </a:lnTo>
                <a:lnTo>
                  <a:pt x="68" y="410"/>
                </a:lnTo>
                <a:lnTo>
                  <a:pt x="68" y="408"/>
                </a:lnTo>
                <a:lnTo>
                  <a:pt x="67" y="408"/>
                </a:lnTo>
                <a:lnTo>
                  <a:pt x="66" y="406"/>
                </a:lnTo>
                <a:lnTo>
                  <a:pt x="63" y="406"/>
                </a:lnTo>
                <a:lnTo>
                  <a:pt x="63" y="408"/>
                </a:lnTo>
                <a:lnTo>
                  <a:pt x="62" y="408"/>
                </a:lnTo>
                <a:lnTo>
                  <a:pt x="62" y="409"/>
                </a:lnTo>
                <a:lnTo>
                  <a:pt x="61" y="409"/>
                </a:lnTo>
                <a:lnTo>
                  <a:pt x="60" y="410"/>
                </a:lnTo>
                <a:lnTo>
                  <a:pt x="54" y="410"/>
                </a:lnTo>
                <a:lnTo>
                  <a:pt x="54" y="409"/>
                </a:lnTo>
                <a:lnTo>
                  <a:pt x="52" y="408"/>
                </a:lnTo>
                <a:lnTo>
                  <a:pt x="52" y="409"/>
                </a:lnTo>
                <a:lnTo>
                  <a:pt x="50" y="410"/>
                </a:lnTo>
                <a:lnTo>
                  <a:pt x="49" y="410"/>
                </a:lnTo>
                <a:lnTo>
                  <a:pt x="49" y="405"/>
                </a:lnTo>
                <a:lnTo>
                  <a:pt x="48" y="405"/>
                </a:lnTo>
                <a:lnTo>
                  <a:pt x="46" y="404"/>
                </a:lnTo>
                <a:lnTo>
                  <a:pt x="41" y="404"/>
                </a:lnTo>
                <a:lnTo>
                  <a:pt x="41" y="405"/>
                </a:lnTo>
                <a:lnTo>
                  <a:pt x="42" y="406"/>
                </a:lnTo>
                <a:lnTo>
                  <a:pt x="41" y="408"/>
                </a:lnTo>
                <a:lnTo>
                  <a:pt x="37" y="408"/>
                </a:lnTo>
                <a:lnTo>
                  <a:pt x="36" y="406"/>
                </a:lnTo>
                <a:lnTo>
                  <a:pt x="36" y="403"/>
                </a:lnTo>
                <a:lnTo>
                  <a:pt x="35" y="404"/>
                </a:lnTo>
                <a:lnTo>
                  <a:pt x="35" y="403"/>
                </a:lnTo>
                <a:lnTo>
                  <a:pt x="34" y="402"/>
                </a:lnTo>
                <a:lnTo>
                  <a:pt x="34" y="399"/>
                </a:lnTo>
                <a:lnTo>
                  <a:pt x="30" y="397"/>
                </a:lnTo>
                <a:lnTo>
                  <a:pt x="30" y="396"/>
                </a:lnTo>
                <a:lnTo>
                  <a:pt x="29" y="396"/>
                </a:lnTo>
                <a:lnTo>
                  <a:pt x="30" y="394"/>
                </a:lnTo>
                <a:lnTo>
                  <a:pt x="30" y="393"/>
                </a:lnTo>
                <a:lnTo>
                  <a:pt x="28" y="392"/>
                </a:lnTo>
                <a:lnTo>
                  <a:pt x="28" y="390"/>
                </a:lnTo>
                <a:lnTo>
                  <a:pt x="27" y="389"/>
                </a:lnTo>
                <a:lnTo>
                  <a:pt x="23" y="387"/>
                </a:lnTo>
                <a:lnTo>
                  <a:pt x="21" y="387"/>
                </a:lnTo>
                <a:lnTo>
                  <a:pt x="21" y="380"/>
                </a:lnTo>
                <a:lnTo>
                  <a:pt x="23" y="378"/>
                </a:lnTo>
                <a:lnTo>
                  <a:pt x="23" y="377"/>
                </a:lnTo>
                <a:lnTo>
                  <a:pt x="24" y="377"/>
                </a:lnTo>
                <a:lnTo>
                  <a:pt x="24" y="375"/>
                </a:lnTo>
                <a:lnTo>
                  <a:pt x="23" y="375"/>
                </a:lnTo>
                <a:lnTo>
                  <a:pt x="23" y="374"/>
                </a:lnTo>
                <a:lnTo>
                  <a:pt x="24" y="374"/>
                </a:lnTo>
                <a:lnTo>
                  <a:pt x="27" y="372"/>
                </a:lnTo>
                <a:lnTo>
                  <a:pt x="27" y="368"/>
                </a:lnTo>
                <a:lnTo>
                  <a:pt x="28" y="366"/>
                </a:lnTo>
                <a:lnTo>
                  <a:pt x="27" y="366"/>
                </a:lnTo>
                <a:lnTo>
                  <a:pt x="25" y="365"/>
                </a:lnTo>
                <a:lnTo>
                  <a:pt x="22" y="365"/>
                </a:lnTo>
                <a:lnTo>
                  <a:pt x="21" y="363"/>
                </a:lnTo>
                <a:lnTo>
                  <a:pt x="21" y="362"/>
                </a:lnTo>
                <a:lnTo>
                  <a:pt x="18" y="362"/>
                </a:lnTo>
                <a:lnTo>
                  <a:pt x="18" y="361"/>
                </a:lnTo>
                <a:lnTo>
                  <a:pt x="17" y="361"/>
                </a:lnTo>
                <a:lnTo>
                  <a:pt x="16" y="360"/>
                </a:lnTo>
                <a:lnTo>
                  <a:pt x="15" y="356"/>
                </a:lnTo>
                <a:lnTo>
                  <a:pt x="13" y="355"/>
                </a:lnTo>
                <a:lnTo>
                  <a:pt x="13" y="356"/>
                </a:lnTo>
                <a:lnTo>
                  <a:pt x="12" y="355"/>
                </a:lnTo>
                <a:lnTo>
                  <a:pt x="12" y="354"/>
                </a:lnTo>
                <a:lnTo>
                  <a:pt x="11" y="353"/>
                </a:lnTo>
                <a:lnTo>
                  <a:pt x="11" y="349"/>
                </a:lnTo>
                <a:lnTo>
                  <a:pt x="10" y="349"/>
                </a:lnTo>
                <a:lnTo>
                  <a:pt x="11" y="348"/>
                </a:lnTo>
                <a:lnTo>
                  <a:pt x="10" y="348"/>
                </a:lnTo>
                <a:lnTo>
                  <a:pt x="11" y="346"/>
                </a:lnTo>
                <a:lnTo>
                  <a:pt x="11" y="341"/>
                </a:lnTo>
                <a:lnTo>
                  <a:pt x="13" y="341"/>
                </a:lnTo>
                <a:lnTo>
                  <a:pt x="13" y="338"/>
                </a:lnTo>
                <a:lnTo>
                  <a:pt x="12" y="338"/>
                </a:lnTo>
                <a:lnTo>
                  <a:pt x="12" y="337"/>
                </a:lnTo>
                <a:lnTo>
                  <a:pt x="13" y="337"/>
                </a:lnTo>
                <a:lnTo>
                  <a:pt x="15" y="336"/>
                </a:lnTo>
                <a:lnTo>
                  <a:pt x="17" y="335"/>
                </a:lnTo>
                <a:lnTo>
                  <a:pt x="17" y="334"/>
                </a:lnTo>
                <a:lnTo>
                  <a:pt x="18" y="332"/>
                </a:lnTo>
                <a:lnTo>
                  <a:pt x="22" y="332"/>
                </a:lnTo>
                <a:lnTo>
                  <a:pt x="22" y="330"/>
                </a:lnTo>
                <a:lnTo>
                  <a:pt x="21" y="328"/>
                </a:lnTo>
                <a:lnTo>
                  <a:pt x="21" y="323"/>
                </a:lnTo>
                <a:lnTo>
                  <a:pt x="19" y="322"/>
                </a:lnTo>
                <a:lnTo>
                  <a:pt x="19" y="320"/>
                </a:lnTo>
                <a:lnTo>
                  <a:pt x="18" y="320"/>
                </a:lnTo>
                <a:lnTo>
                  <a:pt x="17" y="319"/>
                </a:lnTo>
                <a:lnTo>
                  <a:pt x="16" y="320"/>
                </a:lnTo>
                <a:lnTo>
                  <a:pt x="15" y="320"/>
                </a:lnTo>
                <a:lnTo>
                  <a:pt x="15" y="319"/>
                </a:lnTo>
                <a:lnTo>
                  <a:pt x="13" y="319"/>
                </a:lnTo>
                <a:lnTo>
                  <a:pt x="15" y="318"/>
                </a:lnTo>
                <a:lnTo>
                  <a:pt x="13" y="318"/>
                </a:lnTo>
                <a:lnTo>
                  <a:pt x="13" y="316"/>
                </a:lnTo>
                <a:lnTo>
                  <a:pt x="17" y="312"/>
                </a:lnTo>
                <a:lnTo>
                  <a:pt x="13" y="312"/>
                </a:lnTo>
                <a:lnTo>
                  <a:pt x="13" y="311"/>
                </a:lnTo>
                <a:lnTo>
                  <a:pt x="12" y="310"/>
                </a:lnTo>
                <a:lnTo>
                  <a:pt x="13" y="310"/>
                </a:lnTo>
                <a:lnTo>
                  <a:pt x="10" y="306"/>
                </a:lnTo>
                <a:lnTo>
                  <a:pt x="10" y="305"/>
                </a:lnTo>
                <a:lnTo>
                  <a:pt x="6" y="305"/>
                </a:lnTo>
                <a:lnTo>
                  <a:pt x="6" y="301"/>
                </a:lnTo>
                <a:lnTo>
                  <a:pt x="5" y="301"/>
                </a:lnTo>
                <a:lnTo>
                  <a:pt x="5" y="300"/>
                </a:lnTo>
                <a:lnTo>
                  <a:pt x="6" y="299"/>
                </a:lnTo>
                <a:lnTo>
                  <a:pt x="6" y="297"/>
                </a:lnTo>
                <a:lnTo>
                  <a:pt x="7" y="297"/>
                </a:lnTo>
                <a:lnTo>
                  <a:pt x="9" y="295"/>
                </a:lnTo>
                <a:lnTo>
                  <a:pt x="9" y="292"/>
                </a:lnTo>
                <a:lnTo>
                  <a:pt x="7" y="292"/>
                </a:lnTo>
                <a:lnTo>
                  <a:pt x="6" y="291"/>
                </a:lnTo>
                <a:lnTo>
                  <a:pt x="6" y="288"/>
                </a:lnTo>
                <a:lnTo>
                  <a:pt x="5" y="288"/>
                </a:lnTo>
                <a:lnTo>
                  <a:pt x="4" y="287"/>
                </a:lnTo>
                <a:lnTo>
                  <a:pt x="3" y="287"/>
                </a:lnTo>
                <a:lnTo>
                  <a:pt x="1" y="288"/>
                </a:lnTo>
                <a:lnTo>
                  <a:pt x="0" y="288"/>
                </a:lnTo>
                <a:lnTo>
                  <a:pt x="0" y="283"/>
                </a:lnTo>
                <a:lnTo>
                  <a:pt x="1" y="282"/>
                </a:lnTo>
                <a:lnTo>
                  <a:pt x="3" y="283"/>
                </a:lnTo>
                <a:lnTo>
                  <a:pt x="4" y="283"/>
                </a:lnTo>
                <a:lnTo>
                  <a:pt x="5" y="281"/>
                </a:lnTo>
                <a:lnTo>
                  <a:pt x="10" y="277"/>
                </a:lnTo>
                <a:lnTo>
                  <a:pt x="12" y="276"/>
                </a:lnTo>
                <a:lnTo>
                  <a:pt x="11" y="275"/>
                </a:lnTo>
                <a:lnTo>
                  <a:pt x="12" y="274"/>
                </a:lnTo>
                <a:lnTo>
                  <a:pt x="10" y="275"/>
                </a:lnTo>
                <a:lnTo>
                  <a:pt x="9" y="274"/>
                </a:lnTo>
                <a:lnTo>
                  <a:pt x="9" y="270"/>
                </a:lnTo>
                <a:lnTo>
                  <a:pt x="10" y="269"/>
                </a:lnTo>
                <a:lnTo>
                  <a:pt x="10" y="268"/>
                </a:lnTo>
                <a:lnTo>
                  <a:pt x="12" y="264"/>
                </a:lnTo>
                <a:lnTo>
                  <a:pt x="13" y="263"/>
                </a:lnTo>
                <a:lnTo>
                  <a:pt x="15" y="263"/>
                </a:lnTo>
                <a:lnTo>
                  <a:pt x="15" y="251"/>
                </a:lnTo>
                <a:lnTo>
                  <a:pt x="12" y="250"/>
                </a:lnTo>
                <a:lnTo>
                  <a:pt x="10" y="245"/>
                </a:lnTo>
                <a:lnTo>
                  <a:pt x="10" y="243"/>
                </a:lnTo>
                <a:lnTo>
                  <a:pt x="7" y="242"/>
                </a:lnTo>
                <a:lnTo>
                  <a:pt x="6" y="240"/>
                </a:lnTo>
                <a:lnTo>
                  <a:pt x="7" y="238"/>
                </a:lnTo>
                <a:lnTo>
                  <a:pt x="6" y="238"/>
                </a:lnTo>
                <a:lnTo>
                  <a:pt x="5" y="237"/>
                </a:lnTo>
                <a:lnTo>
                  <a:pt x="4" y="237"/>
                </a:lnTo>
                <a:lnTo>
                  <a:pt x="4" y="236"/>
                </a:lnTo>
                <a:lnTo>
                  <a:pt x="5" y="234"/>
                </a:lnTo>
                <a:lnTo>
                  <a:pt x="5" y="233"/>
                </a:lnTo>
                <a:lnTo>
                  <a:pt x="3" y="231"/>
                </a:lnTo>
                <a:lnTo>
                  <a:pt x="4" y="230"/>
                </a:lnTo>
                <a:lnTo>
                  <a:pt x="6" y="230"/>
                </a:lnTo>
                <a:lnTo>
                  <a:pt x="7" y="228"/>
                </a:lnTo>
                <a:lnTo>
                  <a:pt x="12" y="228"/>
                </a:lnTo>
                <a:lnTo>
                  <a:pt x="11" y="226"/>
                </a:lnTo>
                <a:lnTo>
                  <a:pt x="10" y="226"/>
                </a:lnTo>
                <a:lnTo>
                  <a:pt x="11" y="225"/>
                </a:lnTo>
                <a:lnTo>
                  <a:pt x="12" y="226"/>
                </a:lnTo>
                <a:lnTo>
                  <a:pt x="15" y="227"/>
                </a:lnTo>
                <a:lnTo>
                  <a:pt x="17" y="227"/>
                </a:lnTo>
                <a:lnTo>
                  <a:pt x="18" y="228"/>
                </a:lnTo>
                <a:lnTo>
                  <a:pt x="19" y="228"/>
                </a:lnTo>
                <a:lnTo>
                  <a:pt x="21" y="230"/>
                </a:lnTo>
                <a:lnTo>
                  <a:pt x="21" y="231"/>
                </a:lnTo>
                <a:lnTo>
                  <a:pt x="22" y="230"/>
                </a:lnTo>
                <a:lnTo>
                  <a:pt x="23" y="230"/>
                </a:lnTo>
                <a:lnTo>
                  <a:pt x="22" y="227"/>
                </a:lnTo>
                <a:lnTo>
                  <a:pt x="25" y="228"/>
                </a:lnTo>
                <a:lnTo>
                  <a:pt x="27" y="228"/>
                </a:lnTo>
                <a:lnTo>
                  <a:pt x="29" y="226"/>
                </a:lnTo>
                <a:lnTo>
                  <a:pt x="32" y="225"/>
                </a:lnTo>
                <a:lnTo>
                  <a:pt x="37" y="225"/>
                </a:lnTo>
                <a:lnTo>
                  <a:pt x="38" y="224"/>
                </a:lnTo>
                <a:lnTo>
                  <a:pt x="40" y="221"/>
                </a:lnTo>
                <a:lnTo>
                  <a:pt x="41" y="221"/>
                </a:lnTo>
                <a:lnTo>
                  <a:pt x="41" y="220"/>
                </a:lnTo>
                <a:lnTo>
                  <a:pt x="40" y="220"/>
                </a:lnTo>
                <a:lnTo>
                  <a:pt x="40" y="219"/>
                </a:lnTo>
                <a:lnTo>
                  <a:pt x="38" y="218"/>
                </a:lnTo>
                <a:lnTo>
                  <a:pt x="36" y="217"/>
                </a:lnTo>
                <a:lnTo>
                  <a:pt x="35" y="217"/>
                </a:lnTo>
                <a:lnTo>
                  <a:pt x="35" y="214"/>
                </a:lnTo>
                <a:lnTo>
                  <a:pt x="36" y="214"/>
                </a:lnTo>
                <a:lnTo>
                  <a:pt x="36" y="213"/>
                </a:lnTo>
                <a:lnTo>
                  <a:pt x="37" y="212"/>
                </a:lnTo>
                <a:lnTo>
                  <a:pt x="37" y="211"/>
                </a:lnTo>
                <a:lnTo>
                  <a:pt x="41" y="211"/>
                </a:lnTo>
                <a:lnTo>
                  <a:pt x="42" y="209"/>
                </a:lnTo>
                <a:lnTo>
                  <a:pt x="42" y="208"/>
                </a:lnTo>
                <a:lnTo>
                  <a:pt x="43" y="207"/>
                </a:lnTo>
                <a:lnTo>
                  <a:pt x="46" y="206"/>
                </a:lnTo>
                <a:lnTo>
                  <a:pt x="47" y="203"/>
                </a:lnTo>
                <a:lnTo>
                  <a:pt x="48" y="203"/>
                </a:lnTo>
                <a:lnTo>
                  <a:pt x="49" y="202"/>
                </a:lnTo>
                <a:lnTo>
                  <a:pt x="49" y="197"/>
                </a:lnTo>
                <a:lnTo>
                  <a:pt x="50" y="195"/>
                </a:lnTo>
                <a:lnTo>
                  <a:pt x="50" y="193"/>
                </a:lnTo>
                <a:lnTo>
                  <a:pt x="49" y="191"/>
                </a:lnTo>
                <a:lnTo>
                  <a:pt x="47" y="187"/>
                </a:lnTo>
                <a:lnTo>
                  <a:pt x="47" y="188"/>
                </a:lnTo>
                <a:lnTo>
                  <a:pt x="41" y="188"/>
                </a:lnTo>
                <a:lnTo>
                  <a:pt x="37" y="187"/>
                </a:lnTo>
                <a:lnTo>
                  <a:pt x="36" y="187"/>
                </a:lnTo>
                <a:lnTo>
                  <a:pt x="35" y="185"/>
                </a:lnTo>
                <a:lnTo>
                  <a:pt x="35" y="181"/>
                </a:lnTo>
                <a:lnTo>
                  <a:pt x="37" y="179"/>
                </a:lnTo>
                <a:lnTo>
                  <a:pt x="36" y="178"/>
                </a:lnTo>
                <a:lnTo>
                  <a:pt x="36" y="175"/>
                </a:lnTo>
                <a:lnTo>
                  <a:pt x="37" y="175"/>
                </a:lnTo>
                <a:lnTo>
                  <a:pt x="38" y="174"/>
                </a:lnTo>
                <a:lnTo>
                  <a:pt x="42" y="174"/>
                </a:lnTo>
                <a:lnTo>
                  <a:pt x="44" y="175"/>
                </a:lnTo>
                <a:lnTo>
                  <a:pt x="49" y="175"/>
                </a:lnTo>
                <a:lnTo>
                  <a:pt x="50" y="174"/>
                </a:lnTo>
                <a:lnTo>
                  <a:pt x="50" y="162"/>
                </a:lnTo>
                <a:lnTo>
                  <a:pt x="52" y="160"/>
                </a:lnTo>
                <a:lnTo>
                  <a:pt x="52" y="159"/>
                </a:lnTo>
                <a:lnTo>
                  <a:pt x="55" y="153"/>
                </a:lnTo>
                <a:lnTo>
                  <a:pt x="56" y="151"/>
                </a:lnTo>
                <a:lnTo>
                  <a:pt x="56" y="140"/>
                </a:lnTo>
                <a:lnTo>
                  <a:pt x="55" y="140"/>
                </a:lnTo>
                <a:lnTo>
                  <a:pt x="55" y="139"/>
                </a:lnTo>
                <a:lnTo>
                  <a:pt x="56" y="136"/>
                </a:lnTo>
                <a:lnTo>
                  <a:pt x="56" y="132"/>
                </a:lnTo>
                <a:lnTo>
                  <a:pt x="59" y="129"/>
                </a:lnTo>
                <a:lnTo>
                  <a:pt x="57" y="128"/>
                </a:lnTo>
                <a:lnTo>
                  <a:pt x="60" y="126"/>
                </a:lnTo>
                <a:lnTo>
                  <a:pt x="61" y="126"/>
                </a:lnTo>
                <a:lnTo>
                  <a:pt x="63" y="127"/>
                </a:lnTo>
                <a:lnTo>
                  <a:pt x="62" y="126"/>
                </a:lnTo>
                <a:lnTo>
                  <a:pt x="61" y="126"/>
                </a:lnTo>
                <a:lnTo>
                  <a:pt x="52" y="125"/>
                </a:lnTo>
                <a:lnTo>
                  <a:pt x="50" y="125"/>
                </a:lnTo>
                <a:lnTo>
                  <a:pt x="49" y="122"/>
                </a:lnTo>
                <a:lnTo>
                  <a:pt x="49" y="116"/>
                </a:lnTo>
                <a:lnTo>
                  <a:pt x="50" y="114"/>
                </a:lnTo>
                <a:lnTo>
                  <a:pt x="50" y="113"/>
                </a:lnTo>
                <a:lnTo>
                  <a:pt x="53" y="113"/>
                </a:lnTo>
                <a:lnTo>
                  <a:pt x="54" y="111"/>
                </a:lnTo>
                <a:lnTo>
                  <a:pt x="54" y="109"/>
                </a:lnTo>
                <a:lnTo>
                  <a:pt x="53" y="109"/>
                </a:lnTo>
                <a:lnTo>
                  <a:pt x="52" y="108"/>
                </a:lnTo>
                <a:lnTo>
                  <a:pt x="57" y="102"/>
                </a:lnTo>
                <a:lnTo>
                  <a:pt x="61" y="101"/>
                </a:lnTo>
                <a:lnTo>
                  <a:pt x="67" y="99"/>
                </a:lnTo>
                <a:lnTo>
                  <a:pt x="68" y="99"/>
                </a:lnTo>
                <a:lnTo>
                  <a:pt x="68" y="101"/>
                </a:lnTo>
                <a:lnTo>
                  <a:pt x="69" y="101"/>
                </a:lnTo>
                <a:lnTo>
                  <a:pt x="75" y="99"/>
                </a:lnTo>
                <a:lnTo>
                  <a:pt x="88" y="98"/>
                </a:lnTo>
                <a:lnTo>
                  <a:pt x="92" y="98"/>
                </a:lnTo>
                <a:lnTo>
                  <a:pt x="92" y="102"/>
                </a:lnTo>
                <a:lnTo>
                  <a:pt x="94" y="107"/>
                </a:lnTo>
                <a:lnTo>
                  <a:pt x="96" y="107"/>
                </a:lnTo>
                <a:lnTo>
                  <a:pt x="96" y="109"/>
                </a:lnTo>
                <a:lnTo>
                  <a:pt x="97" y="109"/>
                </a:lnTo>
                <a:lnTo>
                  <a:pt x="98" y="110"/>
                </a:lnTo>
                <a:lnTo>
                  <a:pt x="96" y="113"/>
                </a:lnTo>
                <a:lnTo>
                  <a:pt x="93" y="113"/>
                </a:lnTo>
                <a:lnTo>
                  <a:pt x="93" y="116"/>
                </a:lnTo>
                <a:lnTo>
                  <a:pt x="94" y="116"/>
                </a:lnTo>
                <a:lnTo>
                  <a:pt x="94" y="117"/>
                </a:lnTo>
                <a:lnTo>
                  <a:pt x="97" y="117"/>
                </a:lnTo>
                <a:lnTo>
                  <a:pt x="99" y="120"/>
                </a:lnTo>
                <a:lnTo>
                  <a:pt x="102" y="120"/>
                </a:lnTo>
                <a:lnTo>
                  <a:pt x="104" y="115"/>
                </a:lnTo>
                <a:lnTo>
                  <a:pt x="104" y="113"/>
                </a:lnTo>
                <a:lnTo>
                  <a:pt x="103" y="111"/>
                </a:lnTo>
                <a:lnTo>
                  <a:pt x="100" y="111"/>
                </a:lnTo>
                <a:lnTo>
                  <a:pt x="100" y="107"/>
                </a:lnTo>
                <a:lnTo>
                  <a:pt x="102" y="107"/>
                </a:lnTo>
                <a:lnTo>
                  <a:pt x="102" y="105"/>
                </a:lnTo>
                <a:lnTo>
                  <a:pt x="105" y="105"/>
                </a:lnTo>
                <a:lnTo>
                  <a:pt x="106" y="107"/>
                </a:lnTo>
                <a:lnTo>
                  <a:pt x="106" y="108"/>
                </a:lnTo>
                <a:lnTo>
                  <a:pt x="109" y="109"/>
                </a:lnTo>
                <a:lnTo>
                  <a:pt x="112" y="110"/>
                </a:lnTo>
                <a:lnTo>
                  <a:pt x="114" y="110"/>
                </a:lnTo>
                <a:lnTo>
                  <a:pt x="114" y="111"/>
                </a:lnTo>
                <a:lnTo>
                  <a:pt x="112" y="111"/>
                </a:lnTo>
                <a:lnTo>
                  <a:pt x="112" y="113"/>
                </a:lnTo>
                <a:lnTo>
                  <a:pt x="111" y="115"/>
                </a:lnTo>
                <a:lnTo>
                  <a:pt x="114" y="113"/>
                </a:lnTo>
                <a:lnTo>
                  <a:pt x="115" y="110"/>
                </a:lnTo>
                <a:lnTo>
                  <a:pt x="114" y="107"/>
                </a:lnTo>
                <a:lnTo>
                  <a:pt x="112" y="107"/>
                </a:lnTo>
                <a:lnTo>
                  <a:pt x="112" y="104"/>
                </a:lnTo>
                <a:lnTo>
                  <a:pt x="111" y="103"/>
                </a:lnTo>
                <a:lnTo>
                  <a:pt x="111" y="98"/>
                </a:lnTo>
                <a:lnTo>
                  <a:pt x="112" y="95"/>
                </a:lnTo>
                <a:lnTo>
                  <a:pt x="114" y="90"/>
                </a:lnTo>
                <a:lnTo>
                  <a:pt x="115" y="88"/>
                </a:lnTo>
                <a:lnTo>
                  <a:pt x="116" y="86"/>
                </a:lnTo>
                <a:lnTo>
                  <a:pt x="117" y="86"/>
                </a:lnTo>
                <a:lnTo>
                  <a:pt x="118" y="85"/>
                </a:lnTo>
                <a:lnTo>
                  <a:pt x="122" y="89"/>
                </a:lnTo>
                <a:lnTo>
                  <a:pt x="123" y="89"/>
                </a:lnTo>
                <a:lnTo>
                  <a:pt x="127" y="90"/>
                </a:lnTo>
                <a:lnTo>
                  <a:pt x="129" y="90"/>
                </a:lnTo>
                <a:lnTo>
                  <a:pt x="131" y="89"/>
                </a:lnTo>
                <a:lnTo>
                  <a:pt x="134" y="90"/>
                </a:lnTo>
                <a:lnTo>
                  <a:pt x="134" y="89"/>
                </a:lnTo>
                <a:lnTo>
                  <a:pt x="137" y="88"/>
                </a:lnTo>
                <a:lnTo>
                  <a:pt x="145" y="88"/>
                </a:lnTo>
                <a:lnTo>
                  <a:pt x="146" y="89"/>
                </a:lnTo>
                <a:lnTo>
                  <a:pt x="149" y="96"/>
                </a:lnTo>
                <a:lnTo>
                  <a:pt x="153" y="99"/>
                </a:lnTo>
                <a:lnTo>
                  <a:pt x="153" y="101"/>
                </a:lnTo>
                <a:lnTo>
                  <a:pt x="154" y="102"/>
                </a:lnTo>
                <a:lnTo>
                  <a:pt x="156" y="107"/>
                </a:lnTo>
                <a:lnTo>
                  <a:pt x="158" y="107"/>
                </a:lnTo>
                <a:lnTo>
                  <a:pt x="158" y="108"/>
                </a:lnTo>
                <a:lnTo>
                  <a:pt x="160" y="108"/>
                </a:lnTo>
                <a:lnTo>
                  <a:pt x="165" y="110"/>
                </a:lnTo>
                <a:lnTo>
                  <a:pt x="168" y="110"/>
                </a:lnTo>
                <a:lnTo>
                  <a:pt x="167" y="109"/>
                </a:lnTo>
                <a:lnTo>
                  <a:pt x="166" y="109"/>
                </a:lnTo>
                <a:lnTo>
                  <a:pt x="162" y="108"/>
                </a:lnTo>
                <a:lnTo>
                  <a:pt x="160" y="108"/>
                </a:lnTo>
                <a:lnTo>
                  <a:pt x="156" y="104"/>
                </a:lnTo>
                <a:lnTo>
                  <a:pt x="155" y="102"/>
                </a:lnTo>
                <a:lnTo>
                  <a:pt x="155" y="98"/>
                </a:lnTo>
                <a:lnTo>
                  <a:pt x="153" y="97"/>
                </a:lnTo>
                <a:lnTo>
                  <a:pt x="152" y="97"/>
                </a:lnTo>
                <a:lnTo>
                  <a:pt x="150" y="96"/>
                </a:lnTo>
                <a:lnTo>
                  <a:pt x="150" y="93"/>
                </a:lnTo>
                <a:lnTo>
                  <a:pt x="149" y="91"/>
                </a:lnTo>
                <a:lnTo>
                  <a:pt x="149" y="90"/>
                </a:lnTo>
                <a:lnTo>
                  <a:pt x="148" y="90"/>
                </a:lnTo>
                <a:lnTo>
                  <a:pt x="146" y="88"/>
                </a:lnTo>
                <a:lnTo>
                  <a:pt x="143" y="86"/>
                </a:lnTo>
                <a:lnTo>
                  <a:pt x="142" y="86"/>
                </a:lnTo>
                <a:lnTo>
                  <a:pt x="136" y="85"/>
                </a:lnTo>
                <a:lnTo>
                  <a:pt x="133" y="85"/>
                </a:lnTo>
                <a:lnTo>
                  <a:pt x="130" y="84"/>
                </a:lnTo>
                <a:lnTo>
                  <a:pt x="129" y="83"/>
                </a:lnTo>
                <a:lnTo>
                  <a:pt x="125" y="76"/>
                </a:lnTo>
                <a:lnTo>
                  <a:pt x="128" y="74"/>
                </a:lnTo>
                <a:lnTo>
                  <a:pt x="129" y="74"/>
                </a:lnTo>
                <a:lnTo>
                  <a:pt x="131" y="77"/>
                </a:lnTo>
                <a:lnTo>
                  <a:pt x="133" y="76"/>
                </a:lnTo>
                <a:lnTo>
                  <a:pt x="133" y="74"/>
                </a:lnTo>
                <a:lnTo>
                  <a:pt x="134" y="73"/>
                </a:lnTo>
                <a:lnTo>
                  <a:pt x="134" y="71"/>
                </a:lnTo>
                <a:lnTo>
                  <a:pt x="131" y="68"/>
                </a:lnTo>
                <a:lnTo>
                  <a:pt x="131" y="67"/>
                </a:lnTo>
                <a:lnTo>
                  <a:pt x="129" y="67"/>
                </a:lnTo>
                <a:lnTo>
                  <a:pt x="128" y="68"/>
                </a:lnTo>
                <a:lnTo>
                  <a:pt x="127" y="68"/>
                </a:lnTo>
                <a:lnTo>
                  <a:pt x="125" y="67"/>
                </a:lnTo>
                <a:lnTo>
                  <a:pt x="125" y="65"/>
                </a:lnTo>
                <a:lnTo>
                  <a:pt x="124" y="65"/>
                </a:lnTo>
                <a:lnTo>
                  <a:pt x="125" y="64"/>
                </a:lnTo>
                <a:lnTo>
                  <a:pt x="125" y="62"/>
                </a:lnTo>
                <a:lnTo>
                  <a:pt x="127" y="61"/>
                </a:lnTo>
                <a:lnTo>
                  <a:pt x="125" y="60"/>
                </a:lnTo>
                <a:lnTo>
                  <a:pt x="127" y="59"/>
                </a:lnTo>
                <a:lnTo>
                  <a:pt x="129" y="59"/>
                </a:lnTo>
                <a:lnTo>
                  <a:pt x="129" y="58"/>
                </a:lnTo>
                <a:lnTo>
                  <a:pt x="130" y="58"/>
                </a:lnTo>
                <a:lnTo>
                  <a:pt x="130" y="56"/>
                </a:lnTo>
                <a:lnTo>
                  <a:pt x="131" y="55"/>
                </a:lnTo>
                <a:lnTo>
                  <a:pt x="130" y="55"/>
                </a:lnTo>
                <a:lnTo>
                  <a:pt x="129" y="56"/>
                </a:lnTo>
                <a:lnTo>
                  <a:pt x="121" y="56"/>
                </a:lnTo>
                <a:lnTo>
                  <a:pt x="119" y="59"/>
                </a:lnTo>
                <a:lnTo>
                  <a:pt x="116" y="55"/>
                </a:lnTo>
                <a:lnTo>
                  <a:pt x="116" y="53"/>
                </a:lnTo>
                <a:lnTo>
                  <a:pt x="117" y="52"/>
                </a:lnTo>
                <a:lnTo>
                  <a:pt x="119" y="52"/>
                </a:lnTo>
                <a:lnTo>
                  <a:pt x="118" y="51"/>
                </a:lnTo>
                <a:lnTo>
                  <a:pt x="117" y="52"/>
                </a:lnTo>
                <a:lnTo>
                  <a:pt x="117" y="49"/>
                </a:lnTo>
                <a:lnTo>
                  <a:pt x="118" y="48"/>
                </a:lnTo>
                <a:lnTo>
                  <a:pt x="118" y="49"/>
                </a:lnTo>
                <a:lnTo>
                  <a:pt x="122" y="48"/>
                </a:lnTo>
                <a:lnTo>
                  <a:pt x="128" y="48"/>
                </a:lnTo>
                <a:lnTo>
                  <a:pt x="130" y="46"/>
                </a:lnTo>
                <a:lnTo>
                  <a:pt x="133" y="45"/>
                </a:lnTo>
                <a:lnTo>
                  <a:pt x="133" y="40"/>
                </a:lnTo>
                <a:lnTo>
                  <a:pt x="128" y="35"/>
                </a:lnTo>
                <a:lnTo>
                  <a:pt x="128" y="34"/>
                </a:lnTo>
                <a:lnTo>
                  <a:pt x="125" y="34"/>
                </a:lnTo>
                <a:lnTo>
                  <a:pt x="127" y="33"/>
                </a:lnTo>
                <a:lnTo>
                  <a:pt x="125" y="29"/>
                </a:lnTo>
                <a:lnTo>
                  <a:pt x="124" y="28"/>
                </a:lnTo>
                <a:lnTo>
                  <a:pt x="123" y="28"/>
                </a:lnTo>
                <a:lnTo>
                  <a:pt x="119" y="24"/>
                </a:lnTo>
                <a:lnTo>
                  <a:pt x="119" y="22"/>
                </a:lnTo>
                <a:lnTo>
                  <a:pt x="118" y="19"/>
                </a:lnTo>
                <a:lnTo>
                  <a:pt x="118" y="18"/>
                </a:lnTo>
                <a:lnTo>
                  <a:pt x="117" y="17"/>
                </a:lnTo>
                <a:lnTo>
                  <a:pt x="118" y="15"/>
                </a:lnTo>
                <a:lnTo>
                  <a:pt x="118" y="13"/>
                </a:lnTo>
                <a:lnTo>
                  <a:pt x="122" y="13"/>
                </a:lnTo>
                <a:lnTo>
                  <a:pt x="124" y="12"/>
                </a:lnTo>
                <a:close/>
                <a:moveTo>
                  <a:pt x="108" y="0"/>
                </a:moveTo>
                <a:lnTo>
                  <a:pt x="110" y="2"/>
                </a:lnTo>
                <a:lnTo>
                  <a:pt x="108" y="2"/>
                </a:lnTo>
                <a:lnTo>
                  <a:pt x="109" y="3"/>
                </a:lnTo>
                <a:lnTo>
                  <a:pt x="109" y="4"/>
                </a:lnTo>
                <a:lnTo>
                  <a:pt x="106" y="5"/>
                </a:lnTo>
                <a:lnTo>
                  <a:pt x="105" y="6"/>
                </a:lnTo>
                <a:lnTo>
                  <a:pt x="105" y="11"/>
                </a:lnTo>
                <a:lnTo>
                  <a:pt x="106" y="13"/>
                </a:lnTo>
                <a:lnTo>
                  <a:pt x="111" y="13"/>
                </a:lnTo>
                <a:lnTo>
                  <a:pt x="110" y="15"/>
                </a:lnTo>
                <a:lnTo>
                  <a:pt x="104" y="15"/>
                </a:lnTo>
                <a:lnTo>
                  <a:pt x="103" y="16"/>
                </a:lnTo>
                <a:lnTo>
                  <a:pt x="103" y="24"/>
                </a:lnTo>
                <a:lnTo>
                  <a:pt x="102" y="23"/>
                </a:lnTo>
                <a:lnTo>
                  <a:pt x="102" y="21"/>
                </a:lnTo>
                <a:lnTo>
                  <a:pt x="103" y="13"/>
                </a:lnTo>
                <a:lnTo>
                  <a:pt x="103" y="12"/>
                </a:lnTo>
                <a:lnTo>
                  <a:pt x="106" y="3"/>
                </a:lnTo>
                <a:lnTo>
                  <a:pt x="108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7" name="Freeform 42">
            <a:extLst>
              <a:ext uri="{FF2B5EF4-FFF2-40B4-BE49-F238E27FC236}">
                <a16:creationId xmlns:a16="http://schemas.microsoft.com/office/drawing/2014/main" id="{DD39FE47-B0F5-4309-BD6A-963BB899DE4F}"/>
              </a:ext>
            </a:extLst>
          </p:cNvPr>
          <p:cNvSpPr>
            <a:spLocks/>
          </p:cNvSpPr>
          <p:nvPr/>
        </p:nvSpPr>
        <p:spPr bwMode="auto">
          <a:xfrm>
            <a:off x="3676058" y="5289933"/>
            <a:ext cx="410050" cy="210097"/>
          </a:xfrm>
          <a:custGeom>
            <a:avLst/>
            <a:gdLst/>
            <a:ahLst/>
            <a:cxnLst>
              <a:cxn ang="0">
                <a:pos x="26" y="2"/>
              </a:cxn>
              <a:cxn ang="0">
                <a:pos x="43" y="12"/>
              </a:cxn>
              <a:cxn ang="0">
                <a:pos x="60" y="17"/>
              </a:cxn>
              <a:cxn ang="0">
                <a:pos x="73" y="22"/>
              </a:cxn>
              <a:cxn ang="0">
                <a:pos x="103" y="20"/>
              </a:cxn>
              <a:cxn ang="0">
                <a:pos x="112" y="24"/>
              </a:cxn>
              <a:cxn ang="0">
                <a:pos x="126" y="30"/>
              </a:cxn>
              <a:cxn ang="0">
                <a:pos x="143" y="41"/>
              </a:cxn>
              <a:cxn ang="0">
                <a:pos x="161" y="48"/>
              </a:cxn>
              <a:cxn ang="0">
                <a:pos x="161" y="57"/>
              </a:cxn>
              <a:cxn ang="0">
                <a:pos x="169" y="56"/>
              </a:cxn>
              <a:cxn ang="0">
                <a:pos x="181" y="50"/>
              </a:cxn>
              <a:cxn ang="0">
                <a:pos x="200" y="51"/>
              </a:cxn>
              <a:cxn ang="0">
                <a:pos x="204" y="50"/>
              </a:cxn>
              <a:cxn ang="0">
                <a:pos x="217" y="50"/>
              </a:cxn>
              <a:cxn ang="0">
                <a:pos x="229" y="61"/>
              </a:cxn>
              <a:cxn ang="0">
                <a:pos x="237" y="78"/>
              </a:cxn>
              <a:cxn ang="0">
                <a:pos x="250" y="90"/>
              </a:cxn>
              <a:cxn ang="0">
                <a:pos x="256" y="91"/>
              </a:cxn>
              <a:cxn ang="0">
                <a:pos x="266" y="94"/>
              </a:cxn>
              <a:cxn ang="0">
                <a:pos x="266" y="105"/>
              </a:cxn>
              <a:cxn ang="0">
                <a:pos x="263" y="113"/>
              </a:cxn>
              <a:cxn ang="0">
                <a:pos x="269" y="121"/>
              </a:cxn>
              <a:cxn ang="0">
                <a:pos x="280" y="128"/>
              </a:cxn>
              <a:cxn ang="0">
                <a:pos x="280" y="141"/>
              </a:cxn>
              <a:cxn ang="0">
                <a:pos x="272" y="142"/>
              </a:cxn>
              <a:cxn ang="0">
                <a:pos x="253" y="137"/>
              </a:cxn>
              <a:cxn ang="0">
                <a:pos x="241" y="129"/>
              </a:cxn>
              <a:cxn ang="0">
                <a:pos x="228" y="123"/>
              </a:cxn>
              <a:cxn ang="0">
                <a:pos x="210" y="131"/>
              </a:cxn>
              <a:cxn ang="0">
                <a:pos x="205" y="134"/>
              </a:cxn>
              <a:cxn ang="0">
                <a:pos x="192" y="137"/>
              </a:cxn>
              <a:cxn ang="0">
                <a:pos x="187" y="137"/>
              </a:cxn>
              <a:cxn ang="0">
                <a:pos x="178" y="134"/>
              </a:cxn>
              <a:cxn ang="0">
                <a:pos x="170" y="137"/>
              </a:cxn>
              <a:cxn ang="0">
                <a:pos x="151" y="140"/>
              </a:cxn>
              <a:cxn ang="0">
                <a:pos x="141" y="136"/>
              </a:cxn>
              <a:cxn ang="0">
                <a:pos x="131" y="133"/>
              </a:cxn>
              <a:cxn ang="0">
                <a:pos x="130" y="128"/>
              </a:cxn>
              <a:cxn ang="0">
                <a:pos x="122" y="119"/>
              </a:cxn>
              <a:cxn ang="0">
                <a:pos x="118" y="117"/>
              </a:cxn>
              <a:cxn ang="0">
                <a:pos x="109" y="118"/>
              </a:cxn>
              <a:cxn ang="0">
                <a:pos x="93" y="119"/>
              </a:cxn>
              <a:cxn ang="0">
                <a:pos x="78" y="123"/>
              </a:cxn>
              <a:cxn ang="0">
                <a:pos x="72" y="119"/>
              </a:cxn>
              <a:cxn ang="0">
                <a:pos x="72" y="110"/>
              </a:cxn>
              <a:cxn ang="0">
                <a:pos x="73" y="87"/>
              </a:cxn>
              <a:cxn ang="0">
                <a:pos x="64" y="54"/>
              </a:cxn>
              <a:cxn ang="0">
                <a:pos x="49" y="45"/>
              </a:cxn>
              <a:cxn ang="0">
                <a:pos x="37" y="30"/>
              </a:cxn>
              <a:cxn ang="0">
                <a:pos x="16" y="24"/>
              </a:cxn>
              <a:cxn ang="0">
                <a:pos x="11" y="16"/>
              </a:cxn>
              <a:cxn ang="0">
                <a:pos x="1" y="11"/>
              </a:cxn>
              <a:cxn ang="0">
                <a:pos x="7" y="0"/>
              </a:cxn>
            </a:cxnLst>
            <a:rect l="0" t="0" r="r" b="b"/>
            <a:pathLst>
              <a:path w="283" h="145">
                <a:moveTo>
                  <a:pt x="7" y="0"/>
                </a:moveTo>
                <a:lnTo>
                  <a:pt x="11" y="0"/>
                </a:lnTo>
                <a:lnTo>
                  <a:pt x="20" y="4"/>
                </a:lnTo>
                <a:lnTo>
                  <a:pt x="23" y="5"/>
                </a:lnTo>
                <a:lnTo>
                  <a:pt x="24" y="4"/>
                </a:lnTo>
                <a:lnTo>
                  <a:pt x="26" y="2"/>
                </a:lnTo>
                <a:lnTo>
                  <a:pt x="29" y="2"/>
                </a:lnTo>
                <a:lnTo>
                  <a:pt x="30" y="4"/>
                </a:lnTo>
                <a:lnTo>
                  <a:pt x="32" y="5"/>
                </a:lnTo>
                <a:lnTo>
                  <a:pt x="36" y="6"/>
                </a:lnTo>
                <a:lnTo>
                  <a:pt x="37" y="7"/>
                </a:lnTo>
                <a:lnTo>
                  <a:pt x="43" y="12"/>
                </a:lnTo>
                <a:lnTo>
                  <a:pt x="50" y="12"/>
                </a:lnTo>
                <a:lnTo>
                  <a:pt x="51" y="13"/>
                </a:lnTo>
                <a:lnTo>
                  <a:pt x="53" y="13"/>
                </a:lnTo>
                <a:lnTo>
                  <a:pt x="55" y="14"/>
                </a:lnTo>
                <a:lnTo>
                  <a:pt x="60" y="14"/>
                </a:lnTo>
                <a:lnTo>
                  <a:pt x="60" y="17"/>
                </a:lnTo>
                <a:lnTo>
                  <a:pt x="61" y="17"/>
                </a:lnTo>
                <a:lnTo>
                  <a:pt x="63" y="18"/>
                </a:lnTo>
                <a:lnTo>
                  <a:pt x="67" y="22"/>
                </a:lnTo>
                <a:lnTo>
                  <a:pt x="69" y="22"/>
                </a:lnTo>
                <a:lnTo>
                  <a:pt x="72" y="20"/>
                </a:lnTo>
                <a:lnTo>
                  <a:pt x="73" y="22"/>
                </a:lnTo>
                <a:lnTo>
                  <a:pt x="82" y="22"/>
                </a:lnTo>
                <a:lnTo>
                  <a:pt x="85" y="23"/>
                </a:lnTo>
                <a:lnTo>
                  <a:pt x="88" y="23"/>
                </a:lnTo>
                <a:lnTo>
                  <a:pt x="92" y="22"/>
                </a:lnTo>
                <a:lnTo>
                  <a:pt x="93" y="20"/>
                </a:lnTo>
                <a:lnTo>
                  <a:pt x="103" y="20"/>
                </a:lnTo>
                <a:lnTo>
                  <a:pt x="105" y="22"/>
                </a:lnTo>
                <a:lnTo>
                  <a:pt x="107" y="24"/>
                </a:lnTo>
                <a:lnTo>
                  <a:pt x="110" y="25"/>
                </a:lnTo>
                <a:lnTo>
                  <a:pt x="111" y="26"/>
                </a:lnTo>
                <a:lnTo>
                  <a:pt x="112" y="25"/>
                </a:lnTo>
                <a:lnTo>
                  <a:pt x="112" y="24"/>
                </a:lnTo>
                <a:lnTo>
                  <a:pt x="120" y="24"/>
                </a:lnTo>
                <a:lnTo>
                  <a:pt x="123" y="26"/>
                </a:lnTo>
                <a:lnTo>
                  <a:pt x="124" y="26"/>
                </a:lnTo>
                <a:lnTo>
                  <a:pt x="128" y="27"/>
                </a:lnTo>
                <a:lnTo>
                  <a:pt x="128" y="29"/>
                </a:lnTo>
                <a:lnTo>
                  <a:pt x="126" y="30"/>
                </a:lnTo>
                <a:lnTo>
                  <a:pt x="126" y="31"/>
                </a:lnTo>
                <a:lnTo>
                  <a:pt x="128" y="31"/>
                </a:lnTo>
                <a:lnTo>
                  <a:pt x="134" y="37"/>
                </a:lnTo>
                <a:lnTo>
                  <a:pt x="135" y="37"/>
                </a:lnTo>
                <a:lnTo>
                  <a:pt x="136" y="38"/>
                </a:lnTo>
                <a:lnTo>
                  <a:pt x="143" y="41"/>
                </a:lnTo>
                <a:lnTo>
                  <a:pt x="148" y="42"/>
                </a:lnTo>
                <a:lnTo>
                  <a:pt x="149" y="42"/>
                </a:lnTo>
                <a:lnTo>
                  <a:pt x="151" y="43"/>
                </a:lnTo>
                <a:lnTo>
                  <a:pt x="155" y="47"/>
                </a:lnTo>
                <a:lnTo>
                  <a:pt x="159" y="48"/>
                </a:lnTo>
                <a:lnTo>
                  <a:pt x="161" y="48"/>
                </a:lnTo>
                <a:lnTo>
                  <a:pt x="161" y="51"/>
                </a:lnTo>
                <a:lnTo>
                  <a:pt x="159" y="53"/>
                </a:lnTo>
                <a:lnTo>
                  <a:pt x="157" y="54"/>
                </a:lnTo>
                <a:lnTo>
                  <a:pt x="157" y="55"/>
                </a:lnTo>
                <a:lnTo>
                  <a:pt x="159" y="56"/>
                </a:lnTo>
                <a:lnTo>
                  <a:pt x="161" y="57"/>
                </a:lnTo>
                <a:lnTo>
                  <a:pt x="165" y="57"/>
                </a:lnTo>
                <a:lnTo>
                  <a:pt x="167" y="60"/>
                </a:lnTo>
                <a:lnTo>
                  <a:pt x="168" y="60"/>
                </a:lnTo>
                <a:lnTo>
                  <a:pt x="168" y="59"/>
                </a:lnTo>
                <a:lnTo>
                  <a:pt x="169" y="57"/>
                </a:lnTo>
                <a:lnTo>
                  <a:pt x="169" y="56"/>
                </a:lnTo>
                <a:lnTo>
                  <a:pt x="172" y="56"/>
                </a:lnTo>
                <a:lnTo>
                  <a:pt x="175" y="55"/>
                </a:lnTo>
                <a:lnTo>
                  <a:pt x="178" y="55"/>
                </a:lnTo>
                <a:lnTo>
                  <a:pt x="179" y="54"/>
                </a:lnTo>
                <a:lnTo>
                  <a:pt x="180" y="51"/>
                </a:lnTo>
                <a:lnTo>
                  <a:pt x="181" y="50"/>
                </a:lnTo>
                <a:lnTo>
                  <a:pt x="186" y="50"/>
                </a:lnTo>
                <a:lnTo>
                  <a:pt x="190" y="48"/>
                </a:lnTo>
                <a:lnTo>
                  <a:pt x="194" y="48"/>
                </a:lnTo>
                <a:lnTo>
                  <a:pt x="197" y="49"/>
                </a:lnTo>
                <a:lnTo>
                  <a:pt x="198" y="49"/>
                </a:lnTo>
                <a:lnTo>
                  <a:pt x="200" y="51"/>
                </a:lnTo>
                <a:lnTo>
                  <a:pt x="200" y="53"/>
                </a:lnTo>
                <a:lnTo>
                  <a:pt x="201" y="55"/>
                </a:lnTo>
                <a:lnTo>
                  <a:pt x="201" y="56"/>
                </a:lnTo>
                <a:lnTo>
                  <a:pt x="203" y="56"/>
                </a:lnTo>
                <a:lnTo>
                  <a:pt x="203" y="53"/>
                </a:lnTo>
                <a:lnTo>
                  <a:pt x="204" y="50"/>
                </a:lnTo>
                <a:lnTo>
                  <a:pt x="205" y="49"/>
                </a:lnTo>
                <a:lnTo>
                  <a:pt x="205" y="48"/>
                </a:lnTo>
                <a:lnTo>
                  <a:pt x="207" y="48"/>
                </a:lnTo>
                <a:lnTo>
                  <a:pt x="212" y="51"/>
                </a:lnTo>
                <a:lnTo>
                  <a:pt x="216" y="51"/>
                </a:lnTo>
                <a:lnTo>
                  <a:pt x="217" y="50"/>
                </a:lnTo>
                <a:lnTo>
                  <a:pt x="219" y="53"/>
                </a:lnTo>
                <a:lnTo>
                  <a:pt x="223" y="57"/>
                </a:lnTo>
                <a:lnTo>
                  <a:pt x="224" y="59"/>
                </a:lnTo>
                <a:lnTo>
                  <a:pt x="224" y="60"/>
                </a:lnTo>
                <a:lnTo>
                  <a:pt x="225" y="61"/>
                </a:lnTo>
                <a:lnTo>
                  <a:pt x="229" y="61"/>
                </a:lnTo>
                <a:lnTo>
                  <a:pt x="231" y="60"/>
                </a:lnTo>
                <a:lnTo>
                  <a:pt x="234" y="60"/>
                </a:lnTo>
                <a:lnTo>
                  <a:pt x="241" y="62"/>
                </a:lnTo>
                <a:lnTo>
                  <a:pt x="243" y="65"/>
                </a:lnTo>
                <a:lnTo>
                  <a:pt x="242" y="66"/>
                </a:lnTo>
                <a:lnTo>
                  <a:pt x="237" y="78"/>
                </a:lnTo>
                <a:lnTo>
                  <a:pt x="241" y="81"/>
                </a:lnTo>
                <a:lnTo>
                  <a:pt x="246" y="84"/>
                </a:lnTo>
                <a:lnTo>
                  <a:pt x="249" y="85"/>
                </a:lnTo>
                <a:lnTo>
                  <a:pt x="249" y="86"/>
                </a:lnTo>
                <a:lnTo>
                  <a:pt x="250" y="88"/>
                </a:lnTo>
                <a:lnTo>
                  <a:pt x="250" y="90"/>
                </a:lnTo>
                <a:lnTo>
                  <a:pt x="253" y="90"/>
                </a:lnTo>
                <a:lnTo>
                  <a:pt x="253" y="88"/>
                </a:lnTo>
                <a:lnTo>
                  <a:pt x="254" y="88"/>
                </a:lnTo>
                <a:lnTo>
                  <a:pt x="254" y="90"/>
                </a:lnTo>
                <a:lnTo>
                  <a:pt x="256" y="90"/>
                </a:lnTo>
                <a:lnTo>
                  <a:pt x="256" y="91"/>
                </a:lnTo>
                <a:lnTo>
                  <a:pt x="258" y="92"/>
                </a:lnTo>
                <a:lnTo>
                  <a:pt x="259" y="92"/>
                </a:lnTo>
                <a:lnTo>
                  <a:pt x="261" y="91"/>
                </a:lnTo>
                <a:lnTo>
                  <a:pt x="263" y="91"/>
                </a:lnTo>
                <a:lnTo>
                  <a:pt x="265" y="92"/>
                </a:lnTo>
                <a:lnTo>
                  <a:pt x="266" y="94"/>
                </a:lnTo>
                <a:lnTo>
                  <a:pt x="267" y="94"/>
                </a:lnTo>
                <a:lnTo>
                  <a:pt x="269" y="96"/>
                </a:lnTo>
                <a:lnTo>
                  <a:pt x="271" y="96"/>
                </a:lnTo>
                <a:lnTo>
                  <a:pt x="272" y="97"/>
                </a:lnTo>
                <a:lnTo>
                  <a:pt x="271" y="100"/>
                </a:lnTo>
                <a:lnTo>
                  <a:pt x="266" y="105"/>
                </a:lnTo>
                <a:lnTo>
                  <a:pt x="263" y="104"/>
                </a:lnTo>
                <a:lnTo>
                  <a:pt x="262" y="105"/>
                </a:lnTo>
                <a:lnTo>
                  <a:pt x="261" y="108"/>
                </a:lnTo>
                <a:lnTo>
                  <a:pt x="261" y="110"/>
                </a:lnTo>
                <a:lnTo>
                  <a:pt x="262" y="112"/>
                </a:lnTo>
                <a:lnTo>
                  <a:pt x="263" y="113"/>
                </a:lnTo>
                <a:lnTo>
                  <a:pt x="263" y="112"/>
                </a:lnTo>
                <a:lnTo>
                  <a:pt x="265" y="112"/>
                </a:lnTo>
                <a:lnTo>
                  <a:pt x="266" y="115"/>
                </a:lnTo>
                <a:lnTo>
                  <a:pt x="266" y="118"/>
                </a:lnTo>
                <a:lnTo>
                  <a:pt x="267" y="119"/>
                </a:lnTo>
                <a:lnTo>
                  <a:pt x="269" y="121"/>
                </a:lnTo>
                <a:lnTo>
                  <a:pt x="271" y="122"/>
                </a:lnTo>
                <a:lnTo>
                  <a:pt x="273" y="123"/>
                </a:lnTo>
                <a:lnTo>
                  <a:pt x="277" y="125"/>
                </a:lnTo>
                <a:lnTo>
                  <a:pt x="279" y="127"/>
                </a:lnTo>
                <a:lnTo>
                  <a:pt x="279" y="128"/>
                </a:lnTo>
                <a:lnTo>
                  <a:pt x="280" y="128"/>
                </a:lnTo>
                <a:lnTo>
                  <a:pt x="281" y="129"/>
                </a:lnTo>
                <a:lnTo>
                  <a:pt x="283" y="131"/>
                </a:lnTo>
                <a:lnTo>
                  <a:pt x="283" y="134"/>
                </a:lnTo>
                <a:lnTo>
                  <a:pt x="281" y="135"/>
                </a:lnTo>
                <a:lnTo>
                  <a:pt x="280" y="137"/>
                </a:lnTo>
                <a:lnTo>
                  <a:pt x="280" y="141"/>
                </a:lnTo>
                <a:lnTo>
                  <a:pt x="279" y="142"/>
                </a:lnTo>
                <a:lnTo>
                  <a:pt x="275" y="142"/>
                </a:lnTo>
                <a:lnTo>
                  <a:pt x="275" y="143"/>
                </a:lnTo>
                <a:lnTo>
                  <a:pt x="274" y="145"/>
                </a:lnTo>
                <a:lnTo>
                  <a:pt x="273" y="145"/>
                </a:lnTo>
                <a:lnTo>
                  <a:pt x="272" y="142"/>
                </a:lnTo>
                <a:lnTo>
                  <a:pt x="271" y="142"/>
                </a:lnTo>
                <a:lnTo>
                  <a:pt x="268" y="141"/>
                </a:lnTo>
                <a:lnTo>
                  <a:pt x="263" y="136"/>
                </a:lnTo>
                <a:lnTo>
                  <a:pt x="258" y="136"/>
                </a:lnTo>
                <a:lnTo>
                  <a:pt x="256" y="137"/>
                </a:lnTo>
                <a:lnTo>
                  <a:pt x="253" y="137"/>
                </a:lnTo>
                <a:lnTo>
                  <a:pt x="246" y="135"/>
                </a:lnTo>
                <a:lnTo>
                  <a:pt x="244" y="134"/>
                </a:lnTo>
                <a:lnTo>
                  <a:pt x="243" y="134"/>
                </a:lnTo>
                <a:lnTo>
                  <a:pt x="242" y="133"/>
                </a:lnTo>
                <a:lnTo>
                  <a:pt x="241" y="130"/>
                </a:lnTo>
                <a:lnTo>
                  <a:pt x="241" y="129"/>
                </a:lnTo>
                <a:lnTo>
                  <a:pt x="243" y="129"/>
                </a:lnTo>
                <a:lnTo>
                  <a:pt x="243" y="128"/>
                </a:lnTo>
                <a:lnTo>
                  <a:pt x="240" y="128"/>
                </a:lnTo>
                <a:lnTo>
                  <a:pt x="234" y="125"/>
                </a:lnTo>
                <a:lnTo>
                  <a:pt x="231" y="123"/>
                </a:lnTo>
                <a:lnTo>
                  <a:pt x="228" y="123"/>
                </a:lnTo>
                <a:lnTo>
                  <a:pt x="225" y="122"/>
                </a:lnTo>
                <a:lnTo>
                  <a:pt x="222" y="122"/>
                </a:lnTo>
                <a:lnTo>
                  <a:pt x="216" y="128"/>
                </a:lnTo>
                <a:lnTo>
                  <a:pt x="212" y="130"/>
                </a:lnTo>
                <a:lnTo>
                  <a:pt x="211" y="131"/>
                </a:lnTo>
                <a:lnTo>
                  <a:pt x="210" y="131"/>
                </a:lnTo>
                <a:lnTo>
                  <a:pt x="210" y="133"/>
                </a:lnTo>
                <a:lnTo>
                  <a:pt x="207" y="133"/>
                </a:lnTo>
                <a:lnTo>
                  <a:pt x="204" y="131"/>
                </a:lnTo>
                <a:lnTo>
                  <a:pt x="203" y="133"/>
                </a:lnTo>
                <a:lnTo>
                  <a:pt x="204" y="134"/>
                </a:lnTo>
                <a:lnTo>
                  <a:pt x="205" y="134"/>
                </a:lnTo>
                <a:lnTo>
                  <a:pt x="205" y="135"/>
                </a:lnTo>
                <a:lnTo>
                  <a:pt x="194" y="135"/>
                </a:lnTo>
                <a:lnTo>
                  <a:pt x="194" y="136"/>
                </a:lnTo>
                <a:lnTo>
                  <a:pt x="193" y="136"/>
                </a:lnTo>
                <a:lnTo>
                  <a:pt x="193" y="137"/>
                </a:lnTo>
                <a:lnTo>
                  <a:pt x="192" y="137"/>
                </a:lnTo>
                <a:lnTo>
                  <a:pt x="192" y="136"/>
                </a:lnTo>
                <a:lnTo>
                  <a:pt x="191" y="135"/>
                </a:lnTo>
                <a:lnTo>
                  <a:pt x="191" y="136"/>
                </a:lnTo>
                <a:lnTo>
                  <a:pt x="190" y="136"/>
                </a:lnTo>
                <a:lnTo>
                  <a:pt x="188" y="137"/>
                </a:lnTo>
                <a:lnTo>
                  <a:pt x="187" y="137"/>
                </a:lnTo>
                <a:lnTo>
                  <a:pt x="187" y="136"/>
                </a:lnTo>
                <a:lnTo>
                  <a:pt x="185" y="135"/>
                </a:lnTo>
                <a:lnTo>
                  <a:pt x="184" y="135"/>
                </a:lnTo>
                <a:lnTo>
                  <a:pt x="182" y="136"/>
                </a:lnTo>
                <a:lnTo>
                  <a:pt x="180" y="136"/>
                </a:lnTo>
                <a:lnTo>
                  <a:pt x="178" y="134"/>
                </a:lnTo>
                <a:lnTo>
                  <a:pt x="176" y="134"/>
                </a:lnTo>
                <a:lnTo>
                  <a:pt x="176" y="136"/>
                </a:lnTo>
                <a:lnTo>
                  <a:pt x="175" y="136"/>
                </a:lnTo>
                <a:lnTo>
                  <a:pt x="174" y="137"/>
                </a:lnTo>
                <a:lnTo>
                  <a:pt x="172" y="136"/>
                </a:lnTo>
                <a:lnTo>
                  <a:pt x="170" y="137"/>
                </a:lnTo>
                <a:lnTo>
                  <a:pt x="168" y="137"/>
                </a:lnTo>
                <a:lnTo>
                  <a:pt x="167" y="139"/>
                </a:lnTo>
                <a:lnTo>
                  <a:pt x="162" y="139"/>
                </a:lnTo>
                <a:lnTo>
                  <a:pt x="160" y="141"/>
                </a:lnTo>
                <a:lnTo>
                  <a:pt x="157" y="141"/>
                </a:lnTo>
                <a:lnTo>
                  <a:pt x="151" y="140"/>
                </a:lnTo>
                <a:lnTo>
                  <a:pt x="149" y="140"/>
                </a:lnTo>
                <a:lnTo>
                  <a:pt x="147" y="141"/>
                </a:lnTo>
                <a:lnTo>
                  <a:pt x="145" y="141"/>
                </a:lnTo>
                <a:lnTo>
                  <a:pt x="147" y="140"/>
                </a:lnTo>
                <a:lnTo>
                  <a:pt x="143" y="136"/>
                </a:lnTo>
                <a:lnTo>
                  <a:pt x="141" y="136"/>
                </a:lnTo>
                <a:lnTo>
                  <a:pt x="137" y="137"/>
                </a:lnTo>
                <a:lnTo>
                  <a:pt x="136" y="137"/>
                </a:lnTo>
                <a:lnTo>
                  <a:pt x="135" y="135"/>
                </a:lnTo>
                <a:lnTo>
                  <a:pt x="135" y="134"/>
                </a:lnTo>
                <a:lnTo>
                  <a:pt x="132" y="134"/>
                </a:lnTo>
                <a:lnTo>
                  <a:pt x="131" y="133"/>
                </a:lnTo>
                <a:lnTo>
                  <a:pt x="134" y="131"/>
                </a:lnTo>
                <a:lnTo>
                  <a:pt x="135" y="131"/>
                </a:lnTo>
                <a:lnTo>
                  <a:pt x="135" y="130"/>
                </a:lnTo>
                <a:lnTo>
                  <a:pt x="134" y="130"/>
                </a:lnTo>
                <a:lnTo>
                  <a:pt x="132" y="129"/>
                </a:lnTo>
                <a:lnTo>
                  <a:pt x="130" y="128"/>
                </a:lnTo>
                <a:lnTo>
                  <a:pt x="128" y="125"/>
                </a:lnTo>
                <a:lnTo>
                  <a:pt x="126" y="125"/>
                </a:lnTo>
                <a:lnTo>
                  <a:pt x="125" y="123"/>
                </a:lnTo>
                <a:lnTo>
                  <a:pt x="125" y="122"/>
                </a:lnTo>
                <a:lnTo>
                  <a:pt x="124" y="122"/>
                </a:lnTo>
                <a:lnTo>
                  <a:pt x="122" y="119"/>
                </a:lnTo>
                <a:lnTo>
                  <a:pt x="120" y="119"/>
                </a:lnTo>
                <a:lnTo>
                  <a:pt x="120" y="121"/>
                </a:lnTo>
                <a:lnTo>
                  <a:pt x="119" y="121"/>
                </a:lnTo>
                <a:lnTo>
                  <a:pt x="117" y="118"/>
                </a:lnTo>
                <a:lnTo>
                  <a:pt x="118" y="118"/>
                </a:lnTo>
                <a:lnTo>
                  <a:pt x="118" y="117"/>
                </a:lnTo>
                <a:lnTo>
                  <a:pt x="119" y="117"/>
                </a:lnTo>
                <a:lnTo>
                  <a:pt x="119" y="115"/>
                </a:lnTo>
                <a:lnTo>
                  <a:pt x="113" y="113"/>
                </a:lnTo>
                <a:lnTo>
                  <a:pt x="111" y="115"/>
                </a:lnTo>
                <a:lnTo>
                  <a:pt x="109" y="115"/>
                </a:lnTo>
                <a:lnTo>
                  <a:pt x="109" y="118"/>
                </a:lnTo>
                <a:lnTo>
                  <a:pt x="105" y="122"/>
                </a:lnTo>
                <a:lnTo>
                  <a:pt x="105" y="123"/>
                </a:lnTo>
                <a:lnTo>
                  <a:pt x="104" y="123"/>
                </a:lnTo>
                <a:lnTo>
                  <a:pt x="97" y="119"/>
                </a:lnTo>
                <a:lnTo>
                  <a:pt x="94" y="121"/>
                </a:lnTo>
                <a:lnTo>
                  <a:pt x="93" y="119"/>
                </a:lnTo>
                <a:lnTo>
                  <a:pt x="86" y="119"/>
                </a:lnTo>
                <a:lnTo>
                  <a:pt x="82" y="118"/>
                </a:lnTo>
                <a:lnTo>
                  <a:pt x="81" y="119"/>
                </a:lnTo>
                <a:lnTo>
                  <a:pt x="80" y="119"/>
                </a:lnTo>
                <a:lnTo>
                  <a:pt x="79" y="122"/>
                </a:lnTo>
                <a:lnTo>
                  <a:pt x="78" y="123"/>
                </a:lnTo>
                <a:lnTo>
                  <a:pt x="76" y="123"/>
                </a:lnTo>
                <a:lnTo>
                  <a:pt x="75" y="122"/>
                </a:lnTo>
                <a:lnTo>
                  <a:pt x="74" y="122"/>
                </a:lnTo>
                <a:lnTo>
                  <a:pt x="73" y="121"/>
                </a:lnTo>
                <a:lnTo>
                  <a:pt x="73" y="119"/>
                </a:lnTo>
                <a:lnTo>
                  <a:pt x="72" y="119"/>
                </a:lnTo>
                <a:lnTo>
                  <a:pt x="72" y="121"/>
                </a:lnTo>
                <a:lnTo>
                  <a:pt x="69" y="121"/>
                </a:lnTo>
                <a:lnTo>
                  <a:pt x="64" y="118"/>
                </a:lnTo>
                <a:lnTo>
                  <a:pt x="68" y="113"/>
                </a:lnTo>
                <a:lnTo>
                  <a:pt x="69" y="111"/>
                </a:lnTo>
                <a:lnTo>
                  <a:pt x="72" y="110"/>
                </a:lnTo>
                <a:lnTo>
                  <a:pt x="72" y="109"/>
                </a:lnTo>
                <a:lnTo>
                  <a:pt x="74" y="105"/>
                </a:lnTo>
                <a:lnTo>
                  <a:pt x="74" y="103"/>
                </a:lnTo>
                <a:lnTo>
                  <a:pt x="75" y="102"/>
                </a:lnTo>
                <a:lnTo>
                  <a:pt x="75" y="91"/>
                </a:lnTo>
                <a:lnTo>
                  <a:pt x="73" y="87"/>
                </a:lnTo>
                <a:lnTo>
                  <a:pt x="72" y="85"/>
                </a:lnTo>
                <a:lnTo>
                  <a:pt x="70" y="85"/>
                </a:lnTo>
                <a:lnTo>
                  <a:pt x="70" y="79"/>
                </a:lnTo>
                <a:lnTo>
                  <a:pt x="68" y="70"/>
                </a:lnTo>
                <a:lnTo>
                  <a:pt x="66" y="68"/>
                </a:lnTo>
                <a:lnTo>
                  <a:pt x="64" y="54"/>
                </a:lnTo>
                <a:lnTo>
                  <a:pt x="63" y="51"/>
                </a:lnTo>
                <a:lnTo>
                  <a:pt x="61" y="49"/>
                </a:lnTo>
                <a:lnTo>
                  <a:pt x="56" y="47"/>
                </a:lnTo>
                <a:lnTo>
                  <a:pt x="55" y="47"/>
                </a:lnTo>
                <a:lnTo>
                  <a:pt x="55" y="45"/>
                </a:lnTo>
                <a:lnTo>
                  <a:pt x="49" y="45"/>
                </a:lnTo>
                <a:lnTo>
                  <a:pt x="48" y="43"/>
                </a:lnTo>
                <a:lnTo>
                  <a:pt x="47" y="39"/>
                </a:lnTo>
                <a:lnTo>
                  <a:pt x="44" y="36"/>
                </a:lnTo>
                <a:lnTo>
                  <a:pt x="44" y="35"/>
                </a:lnTo>
                <a:lnTo>
                  <a:pt x="39" y="35"/>
                </a:lnTo>
                <a:lnTo>
                  <a:pt x="37" y="30"/>
                </a:lnTo>
                <a:lnTo>
                  <a:pt x="33" y="29"/>
                </a:lnTo>
                <a:lnTo>
                  <a:pt x="25" y="29"/>
                </a:lnTo>
                <a:lnTo>
                  <a:pt x="23" y="26"/>
                </a:lnTo>
                <a:lnTo>
                  <a:pt x="20" y="26"/>
                </a:lnTo>
                <a:lnTo>
                  <a:pt x="18" y="24"/>
                </a:lnTo>
                <a:lnTo>
                  <a:pt x="16" y="24"/>
                </a:lnTo>
                <a:lnTo>
                  <a:pt x="14" y="25"/>
                </a:lnTo>
                <a:lnTo>
                  <a:pt x="13" y="24"/>
                </a:lnTo>
                <a:lnTo>
                  <a:pt x="13" y="23"/>
                </a:lnTo>
                <a:lnTo>
                  <a:pt x="12" y="22"/>
                </a:lnTo>
                <a:lnTo>
                  <a:pt x="12" y="18"/>
                </a:lnTo>
                <a:lnTo>
                  <a:pt x="11" y="16"/>
                </a:lnTo>
                <a:lnTo>
                  <a:pt x="10" y="16"/>
                </a:lnTo>
                <a:lnTo>
                  <a:pt x="8" y="14"/>
                </a:lnTo>
                <a:lnTo>
                  <a:pt x="6" y="14"/>
                </a:lnTo>
                <a:lnTo>
                  <a:pt x="5" y="12"/>
                </a:lnTo>
                <a:lnTo>
                  <a:pt x="2" y="12"/>
                </a:lnTo>
                <a:lnTo>
                  <a:pt x="1" y="11"/>
                </a:lnTo>
                <a:lnTo>
                  <a:pt x="0" y="11"/>
                </a:lnTo>
                <a:lnTo>
                  <a:pt x="0" y="10"/>
                </a:lnTo>
                <a:lnTo>
                  <a:pt x="4" y="2"/>
                </a:lnTo>
                <a:lnTo>
                  <a:pt x="4" y="1"/>
                </a:lnTo>
                <a:lnTo>
                  <a:pt x="5" y="1"/>
                </a:lnTo>
                <a:lnTo>
                  <a:pt x="7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8" name="Freeform 43">
            <a:extLst>
              <a:ext uri="{FF2B5EF4-FFF2-40B4-BE49-F238E27FC236}">
                <a16:creationId xmlns:a16="http://schemas.microsoft.com/office/drawing/2014/main" id="{199F0E7B-D976-4D6F-B0AB-14E611407D58}"/>
              </a:ext>
            </a:extLst>
          </p:cNvPr>
          <p:cNvSpPr>
            <a:spLocks noEditPoints="1"/>
          </p:cNvSpPr>
          <p:nvPr/>
        </p:nvSpPr>
        <p:spPr bwMode="auto">
          <a:xfrm>
            <a:off x="918724" y="4611829"/>
            <a:ext cx="896894" cy="862120"/>
          </a:xfrm>
          <a:custGeom>
            <a:avLst/>
            <a:gdLst/>
            <a:ahLst/>
            <a:cxnLst>
              <a:cxn ang="0">
                <a:pos x="613" y="561"/>
              </a:cxn>
              <a:cxn ang="0">
                <a:pos x="600" y="590"/>
              </a:cxn>
              <a:cxn ang="0">
                <a:pos x="582" y="574"/>
              </a:cxn>
              <a:cxn ang="0">
                <a:pos x="585" y="555"/>
              </a:cxn>
              <a:cxn ang="0">
                <a:pos x="581" y="533"/>
              </a:cxn>
              <a:cxn ang="0">
                <a:pos x="610" y="501"/>
              </a:cxn>
              <a:cxn ang="0">
                <a:pos x="167" y="329"/>
              </a:cxn>
              <a:cxn ang="0">
                <a:pos x="151" y="309"/>
              </a:cxn>
              <a:cxn ang="0">
                <a:pos x="87" y="242"/>
              </a:cxn>
              <a:cxn ang="0">
                <a:pos x="3" y="172"/>
              </a:cxn>
              <a:cxn ang="0">
                <a:pos x="330" y="20"/>
              </a:cxn>
              <a:cxn ang="0">
                <a:pos x="363" y="40"/>
              </a:cxn>
              <a:cxn ang="0">
                <a:pos x="391" y="64"/>
              </a:cxn>
              <a:cxn ang="0">
                <a:pos x="422" y="77"/>
              </a:cxn>
              <a:cxn ang="0">
                <a:pos x="453" y="104"/>
              </a:cxn>
              <a:cxn ang="0">
                <a:pos x="493" y="116"/>
              </a:cxn>
              <a:cxn ang="0">
                <a:pos x="529" y="126"/>
              </a:cxn>
              <a:cxn ang="0">
                <a:pos x="546" y="162"/>
              </a:cxn>
              <a:cxn ang="0">
                <a:pos x="534" y="222"/>
              </a:cxn>
              <a:cxn ang="0">
                <a:pos x="509" y="236"/>
              </a:cxn>
              <a:cxn ang="0">
                <a:pos x="487" y="272"/>
              </a:cxn>
              <a:cxn ang="0">
                <a:pos x="468" y="316"/>
              </a:cxn>
              <a:cxn ang="0">
                <a:pos x="506" y="318"/>
              </a:cxn>
              <a:cxn ang="0">
                <a:pos x="518" y="362"/>
              </a:cxn>
              <a:cxn ang="0">
                <a:pos x="509" y="393"/>
              </a:cxn>
              <a:cxn ang="0">
                <a:pos x="524" y="435"/>
              </a:cxn>
              <a:cxn ang="0">
                <a:pos x="525" y="462"/>
              </a:cxn>
              <a:cxn ang="0">
                <a:pos x="497" y="484"/>
              </a:cxn>
              <a:cxn ang="0">
                <a:pos x="474" y="497"/>
              </a:cxn>
              <a:cxn ang="0">
                <a:pos x="442" y="487"/>
              </a:cxn>
              <a:cxn ang="0">
                <a:pos x="423" y="478"/>
              </a:cxn>
              <a:cxn ang="0">
                <a:pos x="385" y="469"/>
              </a:cxn>
              <a:cxn ang="0">
                <a:pos x="348" y="529"/>
              </a:cxn>
              <a:cxn ang="0">
                <a:pos x="305" y="537"/>
              </a:cxn>
              <a:cxn ang="0">
                <a:pos x="264" y="518"/>
              </a:cxn>
              <a:cxn ang="0">
                <a:pos x="219" y="518"/>
              </a:cxn>
              <a:cxn ang="0">
                <a:pos x="183" y="504"/>
              </a:cxn>
              <a:cxn ang="0">
                <a:pos x="155" y="487"/>
              </a:cxn>
              <a:cxn ang="0">
                <a:pos x="157" y="454"/>
              </a:cxn>
              <a:cxn ang="0">
                <a:pos x="183" y="365"/>
              </a:cxn>
              <a:cxn ang="0">
                <a:pos x="164" y="338"/>
              </a:cxn>
              <a:cxn ang="0">
                <a:pos x="169" y="316"/>
              </a:cxn>
              <a:cxn ang="0">
                <a:pos x="139" y="289"/>
              </a:cxn>
              <a:cxn ang="0">
                <a:pos x="122" y="253"/>
              </a:cxn>
              <a:cxn ang="0">
                <a:pos x="114" y="247"/>
              </a:cxn>
              <a:cxn ang="0">
                <a:pos x="103" y="230"/>
              </a:cxn>
              <a:cxn ang="0">
                <a:pos x="91" y="223"/>
              </a:cxn>
              <a:cxn ang="0">
                <a:pos x="81" y="222"/>
              </a:cxn>
              <a:cxn ang="0">
                <a:pos x="51" y="209"/>
              </a:cxn>
              <a:cxn ang="0">
                <a:pos x="20" y="199"/>
              </a:cxn>
              <a:cxn ang="0">
                <a:pos x="23" y="179"/>
              </a:cxn>
              <a:cxn ang="0">
                <a:pos x="20" y="179"/>
              </a:cxn>
              <a:cxn ang="0">
                <a:pos x="33" y="157"/>
              </a:cxn>
              <a:cxn ang="0">
                <a:pos x="60" y="156"/>
              </a:cxn>
              <a:cxn ang="0">
                <a:pos x="87" y="148"/>
              </a:cxn>
              <a:cxn ang="0">
                <a:pos x="118" y="157"/>
              </a:cxn>
              <a:cxn ang="0">
                <a:pos x="131" y="159"/>
              </a:cxn>
              <a:cxn ang="0">
                <a:pos x="150" y="135"/>
              </a:cxn>
              <a:cxn ang="0">
                <a:pos x="137" y="104"/>
              </a:cxn>
              <a:cxn ang="0">
                <a:pos x="161" y="101"/>
              </a:cxn>
              <a:cxn ang="0">
                <a:pos x="236" y="107"/>
              </a:cxn>
              <a:cxn ang="0">
                <a:pos x="279" y="60"/>
              </a:cxn>
              <a:cxn ang="0">
                <a:pos x="306" y="5"/>
              </a:cxn>
            </a:cxnLst>
            <a:rect l="0" t="0" r="r" b="b"/>
            <a:pathLst>
              <a:path w="619" h="595">
                <a:moveTo>
                  <a:pt x="299" y="531"/>
                </a:moveTo>
                <a:lnTo>
                  <a:pt x="298" y="533"/>
                </a:lnTo>
                <a:lnTo>
                  <a:pt x="299" y="534"/>
                </a:lnTo>
                <a:lnTo>
                  <a:pt x="300" y="534"/>
                </a:lnTo>
                <a:lnTo>
                  <a:pt x="300" y="533"/>
                </a:lnTo>
                <a:lnTo>
                  <a:pt x="299" y="531"/>
                </a:lnTo>
                <a:close/>
                <a:moveTo>
                  <a:pt x="613" y="500"/>
                </a:moveTo>
                <a:lnTo>
                  <a:pt x="613" y="501"/>
                </a:lnTo>
                <a:lnTo>
                  <a:pt x="615" y="501"/>
                </a:lnTo>
                <a:lnTo>
                  <a:pt x="615" y="504"/>
                </a:lnTo>
                <a:lnTo>
                  <a:pt x="616" y="505"/>
                </a:lnTo>
                <a:lnTo>
                  <a:pt x="616" y="513"/>
                </a:lnTo>
                <a:lnTo>
                  <a:pt x="615" y="518"/>
                </a:lnTo>
                <a:lnTo>
                  <a:pt x="615" y="524"/>
                </a:lnTo>
                <a:lnTo>
                  <a:pt x="616" y="524"/>
                </a:lnTo>
                <a:lnTo>
                  <a:pt x="616" y="527"/>
                </a:lnTo>
                <a:lnTo>
                  <a:pt x="617" y="527"/>
                </a:lnTo>
                <a:lnTo>
                  <a:pt x="617" y="525"/>
                </a:lnTo>
                <a:lnTo>
                  <a:pt x="618" y="527"/>
                </a:lnTo>
                <a:lnTo>
                  <a:pt x="618" y="538"/>
                </a:lnTo>
                <a:lnTo>
                  <a:pt x="619" y="541"/>
                </a:lnTo>
                <a:lnTo>
                  <a:pt x="619" y="553"/>
                </a:lnTo>
                <a:lnTo>
                  <a:pt x="618" y="553"/>
                </a:lnTo>
                <a:lnTo>
                  <a:pt x="617" y="554"/>
                </a:lnTo>
                <a:lnTo>
                  <a:pt x="617" y="555"/>
                </a:lnTo>
                <a:lnTo>
                  <a:pt x="616" y="556"/>
                </a:lnTo>
                <a:lnTo>
                  <a:pt x="613" y="560"/>
                </a:lnTo>
                <a:lnTo>
                  <a:pt x="613" y="561"/>
                </a:lnTo>
                <a:lnTo>
                  <a:pt x="612" y="561"/>
                </a:lnTo>
                <a:lnTo>
                  <a:pt x="612" y="577"/>
                </a:lnTo>
                <a:lnTo>
                  <a:pt x="611" y="578"/>
                </a:lnTo>
                <a:lnTo>
                  <a:pt x="611" y="579"/>
                </a:lnTo>
                <a:lnTo>
                  <a:pt x="610" y="579"/>
                </a:lnTo>
                <a:lnTo>
                  <a:pt x="610" y="580"/>
                </a:lnTo>
                <a:lnTo>
                  <a:pt x="608" y="580"/>
                </a:lnTo>
                <a:lnTo>
                  <a:pt x="608" y="581"/>
                </a:lnTo>
                <a:lnTo>
                  <a:pt x="611" y="581"/>
                </a:lnTo>
                <a:lnTo>
                  <a:pt x="610" y="583"/>
                </a:lnTo>
                <a:lnTo>
                  <a:pt x="610" y="584"/>
                </a:lnTo>
                <a:lnTo>
                  <a:pt x="609" y="584"/>
                </a:lnTo>
                <a:lnTo>
                  <a:pt x="608" y="585"/>
                </a:lnTo>
                <a:lnTo>
                  <a:pt x="608" y="586"/>
                </a:lnTo>
                <a:lnTo>
                  <a:pt x="606" y="586"/>
                </a:lnTo>
                <a:lnTo>
                  <a:pt x="608" y="587"/>
                </a:lnTo>
                <a:lnTo>
                  <a:pt x="605" y="590"/>
                </a:lnTo>
                <a:lnTo>
                  <a:pt x="605" y="591"/>
                </a:lnTo>
                <a:lnTo>
                  <a:pt x="606" y="591"/>
                </a:lnTo>
                <a:lnTo>
                  <a:pt x="606" y="592"/>
                </a:lnTo>
                <a:lnTo>
                  <a:pt x="605" y="593"/>
                </a:lnTo>
                <a:lnTo>
                  <a:pt x="605" y="595"/>
                </a:lnTo>
                <a:lnTo>
                  <a:pt x="604" y="595"/>
                </a:lnTo>
                <a:lnTo>
                  <a:pt x="603" y="593"/>
                </a:lnTo>
                <a:lnTo>
                  <a:pt x="600" y="593"/>
                </a:lnTo>
                <a:lnTo>
                  <a:pt x="599" y="592"/>
                </a:lnTo>
                <a:lnTo>
                  <a:pt x="600" y="591"/>
                </a:lnTo>
                <a:lnTo>
                  <a:pt x="600" y="590"/>
                </a:lnTo>
                <a:lnTo>
                  <a:pt x="599" y="590"/>
                </a:lnTo>
                <a:lnTo>
                  <a:pt x="598" y="589"/>
                </a:lnTo>
                <a:lnTo>
                  <a:pt x="599" y="589"/>
                </a:lnTo>
                <a:lnTo>
                  <a:pt x="599" y="587"/>
                </a:lnTo>
                <a:lnTo>
                  <a:pt x="598" y="589"/>
                </a:lnTo>
                <a:lnTo>
                  <a:pt x="596" y="589"/>
                </a:lnTo>
                <a:lnTo>
                  <a:pt x="596" y="587"/>
                </a:lnTo>
                <a:lnTo>
                  <a:pt x="592" y="587"/>
                </a:lnTo>
                <a:lnTo>
                  <a:pt x="592" y="586"/>
                </a:lnTo>
                <a:lnTo>
                  <a:pt x="591" y="586"/>
                </a:lnTo>
                <a:lnTo>
                  <a:pt x="591" y="585"/>
                </a:lnTo>
                <a:lnTo>
                  <a:pt x="590" y="585"/>
                </a:lnTo>
                <a:lnTo>
                  <a:pt x="588" y="584"/>
                </a:lnTo>
                <a:lnTo>
                  <a:pt x="587" y="584"/>
                </a:lnTo>
                <a:lnTo>
                  <a:pt x="587" y="581"/>
                </a:lnTo>
                <a:lnTo>
                  <a:pt x="586" y="581"/>
                </a:lnTo>
                <a:lnTo>
                  <a:pt x="587" y="580"/>
                </a:lnTo>
                <a:lnTo>
                  <a:pt x="587" y="579"/>
                </a:lnTo>
                <a:lnTo>
                  <a:pt x="588" y="579"/>
                </a:lnTo>
                <a:lnTo>
                  <a:pt x="591" y="578"/>
                </a:lnTo>
                <a:lnTo>
                  <a:pt x="591" y="577"/>
                </a:lnTo>
                <a:lnTo>
                  <a:pt x="592" y="577"/>
                </a:lnTo>
                <a:lnTo>
                  <a:pt x="592" y="576"/>
                </a:lnTo>
                <a:lnTo>
                  <a:pt x="587" y="576"/>
                </a:lnTo>
                <a:lnTo>
                  <a:pt x="586" y="574"/>
                </a:lnTo>
                <a:lnTo>
                  <a:pt x="586" y="573"/>
                </a:lnTo>
                <a:lnTo>
                  <a:pt x="584" y="574"/>
                </a:lnTo>
                <a:lnTo>
                  <a:pt x="582" y="574"/>
                </a:lnTo>
                <a:lnTo>
                  <a:pt x="584" y="573"/>
                </a:lnTo>
                <a:lnTo>
                  <a:pt x="581" y="573"/>
                </a:lnTo>
                <a:lnTo>
                  <a:pt x="582" y="572"/>
                </a:lnTo>
                <a:lnTo>
                  <a:pt x="584" y="572"/>
                </a:lnTo>
                <a:lnTo>
                  <a:pt x="584" y="570"/>
                </a:lnTo>
                <a:lnTo>
                  <a:pt x="585" y="570"/>
                </a:lnTo>
                <a:lnTo>
                  <a:pt x="586" y="568"/>
                </a:lnTo>
                <a:lnTo>
                  <a:pt x="586" y="567"/>
                </a:lnTo>
                <a:lnTo>
                  <a:pt x="587" y="567"/>
                </a:lnTo>
                <a:lnTo>
                  <a:pt x="586" y="566"/>
                </a:lnTo>
                <a:lnTo>
                  <a:pt x="587" y="565"/>
                </a:lnTo>
                <a:lnTo>
                  <a:pt x="587" y="564"/>
                </a:lnTo>
                <a:lnTo>
                  <a:pt x="586" y="564"/>
                </a:lnTo>
                <a:lnTo>
                  <a:pt x="586" y="562"/>
                </a:lnTo>
                <a:lnTo>
                  <a:pt x="585" y="562"/>
                </a:lnTo>
                <a:lnTo>
                  <a:pt x="584" y="564"/>
                </a:lnTo>
                <a:lnTo>
                  <a:pt x="580" y="564"/>
                </a:lnTo>
                <a:lnTo>
                  <a:pt x="579" y="565"/>
                </a:lnTo>
                <a:lnTo>
                  <a:pt x="579" y="564"/>
                </a:lnTo>
                <a:lnTo>
                  <a:pt x="580" y="562"/>
                </a:lnTo>
                <a:lnTo>
                  <a:pt x="579" y="562"/>
                </a:lnTo>
                <a:lnTo>
                  <a:pt x="578" y="560"/>
                </a:lnTo>
                <a:lnTo>
                  <a:pt x="581" y="560"/>
                </a:lnTo>
                <a:lnTo>
                  <a:pt x="581" y="558"/>
                </a:lnTo>
                <a:lnTo>
                  <a:pt x="584" y="558"/>
                </a:lnTo>
                <a:lnTo>
                  <a:pt x="584" y="556"/>
                </a:lnTo>
                <a:lnTo>
                  <a:pt x="585" y="556"/>
                </a:lnTo>
                <a:lnTo>
                  <a:pt x="585" y="555"/>
                </a:lnTo>
                <a:lnTo>
                  <a:pt x="584" y="555"/>
                </a:lnTo>
                <a:lnTo>
                  <a:pt x="584" y="553"/>
                </a:lnTo>
                <a:lnTo>
                  <a:pt x="581" y="553"/>
                </a:lnTo>
                <a:lnTo>
                  <a:pt x="581" y="552"/>
                </a:lnTo>
                <a:lnTo>
                  <a:pt x="578" y="552"/>
                </a:lnTo>
                <a:lnTo>
                  <a:pt x="579" y="550"/>
                </a:lnTo>
                <a:lnTo>
                  <a:pt x="578" y="550"/>
                </a:lnTo>
                <a:lnTo>
                  <a:pt x="578" y="546"/>
                </a:lnTo>
                <a:lnTo>
                  <a:pt x="577" y="546"/>
                </a:lnTo>
                <a:lnTo>
                  <a:pt x="577" y="544"/>
                </a:lnTo>
                <a:lnTo>
                  <a:pt x="581" y="544"/>
                </a:lnTo>
                <a:lnTo>
                  <a:pt x="581" y="543"/>
                </a:lnTo>
                <a:lnTo>
                  <a:pt x="582" y="543"/>
                </a:lnTo>
                <a:lnTo>
                  <a:pt x="582" y="542"/>
                </a:lnTo>
                <a:lnTo>
                  <a:pt x="581" y="542"/>
                </a:lnTo>
                <a:lnTo>
                  <a:pt x="580" y="541"/>
                </a:lnTo>
                <a:lnTo>
                  <a:pt x="579" y="541"/>
                </a:lnTo>
                <a:lnTo>
                  <a:pt x="579" y="540"/>
                </a:lnTo>
                <a:lnTo>
                  <a:pt x="580" y="540"/>
                </a:lnTo>
                <a:lnTo>
                  <a:pt x="579" y="538"/>
                </a:lnTo>
                <a:lnTo>
                  <a:pt x="577" y="540"/>
                </a:lnTo>
                <a:lnTo>
                  <a:pt x="577" y="537"/>
                </a:lnTo>
                <a:lnTo>
                  <a:pt x="578" y="537"/>
                </a:lnTo>
                <a:lnTo>
                  <a:pt x="578" y="536"/>
                </a:lnTo>
                <a:lnTo>
                  <a:pt x="579" y="537"/>
                </a:lnTo>
                <a:lnTo>
                  <a:pt x="579" y="535"/>
                </a:lnTo>
                <a:lnTo>
                  <a:pt x="581" y="535"/>
                </a:lnTo>
                <a:lnTo>
                  <a:pt x="581" y="533"/>
                </a:lnTo>
                <a:lnTo>
                  <a:pt x="582" y="531"/>
                </a:lnTo>
                <a:lnTo>
                  <a:pt x="581" y="531"/>
                </a:lnTo>
                <a:lnTo>
                  <a:pt x="581" y="530"/>
                </a:lnTo>
                <a:lnTo>
                  <a:pt x="582" y="529"/>
                </a:lnTo>
                <a:lnTo>
                  <a:pt x="584" y="529"/>
                </a:lnTo>
                <a:lnTo>
                  <a:pt x="584" y="527"/>
                </a:lnTo>
                <a:lnTo>
                  <a:pt x="587" y="527"/>
                </a:lnTo>
                <a:lnTo>
                  <a:pt x="587" y="524"/>
                </a:lnTo>
                <a:lnTo>
                  <a:pt x="588" y="524"/>
                </a:lnTo>
                <a:lnTo>
                  <a:pt x="592" y="523"/>
                </a:lnTo>
                <a:lnTo>
                  <a:pt x="597" y="522"/>
                </a:lnTo>
                <a:lnTo>
                  <a:pt x="598" y="521"/>
                </a:lnTo>
                <a:lnTo>
                  <a:pt x="598" y="519"/>
                </a:lnTo>
                <a:lnTo>
                  <a:pt x="600" y="517"/>
                </a:lnTo>
                <a:lnTo>
                  <a:pt x="605" y="517"/>
                </a:lnTo>
                <a:lnTo>
                  <a:pt x="606" y="518"/>
                </a:lnTo>
                <a:lnTo>
                  <a:pt x="608" y="518"/>
                </a:lnTo>
                <a:lnTo>
                  <a:pt x="608" y="521"/>
                </a:lnTo>
                <a:lnTo>
                  <a:pt x="610" y="518"/>
                </a:lnTo>
                <a:lnTo>
                  <a:pt x="610" y="512"/>
                </a:lnTo>
                <a:lnTo>
                  <a:pt x="609" y="512"/>
                </a:lnTo>
                <a:lnTo>
                  <a:pt x="609" y="511"/>
                </a:lnTo>
                <a:lnTo>
                  <a:pt x="610" y="510"/>
                </a:lnTo>
                <a:lnTo>
                  <a:pt x="610" y="506"/>
                </a:lnTo>
                <a:lnTo>
                  <a:pt x="611" y="506"/>
                </a:lnTo>
                <a:lnTo>
                  <a:pt x="611" y="505"/>
                </a:lnTo>
                <a:lnTo>
                  <a:pt x="610" y="504"/>
                </a:lnTo>
                <a:lnTo>
                  <a:pt x="610" y="501"/>
                </a:lnTo>
                <a:lnTo>
                  <a:pt x="612" y="501"/>
                </a:lnTo>
                <a:lnTo>
                  <a:pt x="613" y="500"/>
                </a:lnTo>
                <a:close/>
                <a:moveTo>
                  <a:pt x="478" y="500"/>
                </a:moveTo>
                <a:lnTo>
                  <a:pt x="480" y="500"/>
                </a:lnTo>
                <a:lnTo>
                  <a:pt x="480" y="501"/>
                </a:lnTo>
                <a:lnTo>
                  <a:pt x="479" y="501"/>
                </a:lnTo>
                <a:lnTo>
                  <a:pt x="479" y="503"/>
                </a:lnTo>
                <a:lnTo>
                  <a:pt x="478" y="503"/>
                </a:lnTo>
                <a:lnTo>
                  <a:pt x="476" y="501"/>
                </a:lnTo>
                <a:lnTo>
                  <a:pt x="478" y="501"/>
                </a:lnTo>
                <a:lnTo>
                  <a:pt x="478" y="500"/>
                </a:lnTo>
                <a:close/>
                <a:moveTo>
                  <a:pt x="473" y="499"/>
                </a:moveTo>
                <a:lnTo>
                  <a:pt x="475" y="499"/>
                </a:lnTo>
                <a:lnTo>
                  <a:pt x="473" y="500"/>
                </a:lnTo>
                <a:lnTo>
                  <a:pt x="473" y="499"/>
                </a:lnTo>
                <a:close/>
                <a:moveTo>
                  <a:pt x="414" y="468"/>
                </a:moveTo>
                <a:lnTo>
                  <a:pt x="416" y="470"/>
                </a:lnTo>
                <a:lnTo>
                  <a:pt x="416" y="469"/>
                </a:lnTo>
                <a:lnTo>
                  <a:pt x="414" y="468"/>
                </a:lnTo>
                <a:close/>
                <a:moveTo>
                  <a:pt x="163" y="405"/>
                </a:moveTo>
                <a:lnTo>
                  <a:pt x="163" y="407"/>
                </a:lnTo>
                <a:lnTo>
                  <a:pt x="163" y="405"/>
                </a:lnTo>
                <a:close/>
                <a:moveTo>
                  <a:pt x="157" y="321"/>
                </a:moveTo>
                <a:lnTo>
                  <a:pt x="158" y="321"/>
                </a:lnTo>
                <a:lnTo>
                  <a:pt x="162" y="325"/>
                </a:lnTo>
                <a:lnTo>
                  <a:pt x="164" y="325"/>
                </a:lnTo>
                <a:lnTo>
                  <a:pt x="164" y="328"/>
                </a:lnTo>
                <a:lnTo>
                  <a:pt x="167" y="329"/>
                </a:lnTo>
                <a:lnTo>
                  <a:pt x="167" y="333"/>
                </a:lnTo>
                <a:lnTo>
                  <a:pt x="165" y="334"/>
                </a:lnTo>
                <a:lnTo>
                  <a:pt x="165" y="335"/>
                </a:lnTo>
                <a:lnTo>
                  <a:pt x="164" y="335"/>
                </a:lnTo>
                <a:lnTo>
                  <a:pt x="164" y="333"/>
                </a:lnTo>
                <a:lnTo>
                  <a:pt x="163" y="332"/>
                </a:lnTo>
                <a:lnTo>
                  <a:pt x="161" y="328"/>
                </a:lnTo>
                <a:lnTo>
                  <a:pt x="159" y="328"/>
                </a:lnTo>
                <a:lnTo>
                  <a:pt x="158" y="327"/>
                </a:lnTo>
                <a:lnTo>
                  <a:pt x="158" y="323"/>
                </a:lnTo>
                <a:lnTo>
                  <a:pt x="157" y="321"/>
                </a:lnTo>
                <a:close/>
                <a:moveTo>
                  <a:pt x="152" y="308"/>
                </a:moveTo>
                <a:lnTo>
                  <a:pt x="153" y="308"/>
                </a:lnTo>
                <a:lnTo>
                  <a:pt x="153" y="309"/>
                </a:lnTo>
                <a:lnTo>
                  <a:pt x="155" y="309"/>
                </a:lnTo>
                <a:lnTo>
                  <a:pt x="153" y="310"/>
                </a:lnTo>
                <a:lnTo>
                  <a:pt x="156" y="310"/>
                </a:lnTo>
                <a:lnTo>
                  <a:pt x="157" y="312"/>
                </a:lnTo>
                <a:lnTo>
                  <a:pt x="161" y="312"/>
                </a:lnTo>
                <a:lnTo>
                  <a:pt x="162" y="313"/>
                </a:lnTo>
                <a:lnTo>
                  <a:pt x="163" y="313"/>
                </a:lnTo>
                <a:lnTo>
                  <a:pt x="163" y="314"/>
                </a:lnTo>
                <a:lnTo>
                  <a:pt x="162" y="315"/>
                </a:lnTo>
                <a:lnTo>
                  <a:pt x="162" y="314"/>
                </a:lnTo>
                <a:lnTo>
                  <a:pt x="159" y="314"/>
                </a:lnTo>
                <a:lnTo>
                  <a:pt x="156" y="312"/>
                </a:lnTo>
                <a:lnTo>
                  <a:pt x="152" y="312"/>
                </a:lnTo>
                <a:lnTo>
                  <a:pt x="151" y="309"/>
                </a:lnTo>
                <a:lnTo>
                  <a:pt x="150" y="309"/>
                </a:lnTo>
                <a:lnTo>
                  <a:pt x="152" y="308"/>
                </a:lnTo>
                <a:close/>
                <a:moveTo>
                  <a:pt x="115" y="279"/>
                </a:moveTo>
                <a:lnTo>
                  <a:pt x="118" y="279"/>
                </a:lnTo>
                <a:lnTo>
                  <a:pt x="119" y="280"/>
                </a:lnTo>
                <a:lnTo>
                  <a:pt x="120" y="280"/>
                </a:lnTo>
                <a:lnTo>
                  <a:pt x="120" y="282"/>
                </a:lnTo>
                <a:lnTo>
                  <a:pt x="116" y="282"/>
                </a:lnTo>
                <a:lnTo>
                  <a:pt x="115" y="280"/>
                </a:lnTo>
                <a:lnTo>
                  <a:pt x="115" y="279"/>
                </a:lnTo>
                <a:close/>
                <a:moveTo>
                  <a:pt x="124" y="265"/>
                </a:moveTo>
                <a:lnTo>
                  <a:pt x="125" y="265"/>
                </a:lnTo>
                <a:lnTo>
                  <a:pt x="126" y="266"/>
                </a:lnTo>
                <a:lnTo>
                  <a:pt x="126" y="269"/>
                </a:lnTo>
                <a:lnTo>
                  <a:pt x="125" y="269"/>
                </a:lnTo>
                <a:lnTo>
                  <a:pt x="125" y="267"/>
                </a:lnTo>
                <a:lnTo>
                  <a:pt x="124" y="265"/>
                </a:lnTo>
                <a:close/>
                <a:moveTo>
                  <a:pt x="120" y="261"/>
                </a:moveTo>
                <a:lnTo>
                  <a:pt x="124" y="261"/>
                </a:lnTo>
                <a:lnTo>
                  <a:pt x="124" y="265"/>
                </a:lnTo>
                <a:lnTo>
                  <a:pt x="121" y="265"/>
                </a:lnTo>
                <a:lnTo>
                  <a:pt x="120" y="264"/>
                </a:lnTo>
                <a:lnTo>
                  <a:pt x="120" y="261"/>
                </a:lnTo>
                <a:close/>
                <a:moveTo>
                  <a:pt x="78" y="239"/>
                </a:moveTo>
                <a:lnTo>
                  <a:pt x="80" y="239"/>
                </a:lnTo>
                <a:lnTo>
                  <a:pt x="82" y="240"/>
                </a:lnTo>
                <a:lnTo>
                  <a:pt x="84" y="242"/>
                </a:lnTo>
                <a:lnTo>
                  <a:pt x="87" y="242"/>
                </a:lnTo>
                <a:lnTo>
                  <a:pt x="87" y="245"/>
                </a:lnTo>
                <a:lnTo>
                  <a:pt x="82" y="245"/>
                </a:lnTo>
                <a:lnTo>
                  <a:pt x="80" y="243"/>
                </a:lnTo>
                <a:lnTo>
                  <a:pt x="80" y="241"/>
                </a:lnTo>
                <a:lnTo>
                  <a:pt x="78" y="240"/>
                </a:lnTo>
                <a:lnTo>
                  <a:pt x="78" y="239"/>
                </a:lnTo>
                <a:close/>
                <a:moveTo>
                  <a:pt x="84" y="229"/>
                </a:moveTo>
                <a:lnTo>
                  <a:pt x="84" y="234"/>
                </a:lnTo>
                <a:lnTo>
                  <a:pt x="83" y="232"/>
                </a:lnTo>
                <a:lnTo>
                  <a:pt x="83" y="230"/>
                </a:lnTo>
                <a:lnTo>
                  <a:pt x="84" y="229"/>
                </a:lnTo>
                <a:close/>
                <a:moveTo>
                  <a:pt x="99" y="224"/>
                </a:moveTo>
                <a:lnTo>
                  <a:pt x="101" y="224"/>
                </a:lnTo>
                <a:lnTo>
                  <a:pt x="102" y="226"/>
                </a:lnTo>
                <a:lnTo>
                  <a:pt x="101" y="226"/>
                </a:lnTo>
                <a:lnTo>
                  <a:pt x="99" y="224"/>
                </a:lnTo>
                <a:close/>
                <a:moveTo>
                  <a:pt x="41" y="206"/>
                </a:moveTo>
                <a:lnTo>
                  <a:pt x="41" y="208"/>
                </a:lnTo>
                <a:lnTo>
                  <a:pt x="43" y="208"/>
                </a:lnTo>
                <a:lnTo>
                  <a:pt x="41" y="206"/>
                </a:lnTo>
                <a:close/>
                <a:moveTo>
                  <a:pt x="38" y="180"/>
                </a:moveTo>
                <a:lnTo>
                  <a:pt x="35" y="183"/>
                </a:lnTo>
                <a:lnTo>
                  <a:pt x="39" y="181"/>
                </a:lnTo>
                <a:lnTo>
                  <a:pt x="38" y="181"/>
                </a:lnTo>
                <a:lnTo>
                  <a:pt x="38" y="180"/>
                </a:lnTo>
                <a:close/>
                <a:moveTo>
                  <a:pt x="2" y="169"/>
                </a:moveTo>
                <a:lnTo>
                  <a:pt x="3" y="171"/>
                </a:lnTo>
                <a:lnTo>
                  <a:pt x="3" y="172"/>
                </a:lnTo>
                <a:lnTo>
                  <a:pt x="0" y="172"/>
                </a:lnTo>
                <a:lnTo>
                  <a:pt x="2" y="169"/>
                </a:lnTo>
                <a:close/>
                <a:moveTo>
                  <a:pt x="85" y="149"/>
                </a:moveTo>
                <a:lnTo>
                  <a:pt x="84" y="150"/>
                </a:lnTo>
                <a:lnTo>
                  <a:pt x="84" y="153"/>
                </a:lnTo>
                <a:lnTo>
                  <a:pt x="84" y="150"/>
                </a:lnTo>
                <a:lnTo>
                  <a:pt x="85" y="150"/>
                </a:lnTo>
                <a:lnTo>
                  <a:pt x="85" y="149"/>
                </a:lnTo>
                <a:close/>
                <a:moveTo>
                  <a:pt x="88" y="148"/>
                </a:moveTo>
                <a:lnTo>
                  <a:pt x="89" y="148"/>
                </a:lnTo>
                <a:lnTo>
                  <a:pt x="89" y="149"/>
                </a:lnTo>
                <a:lnTo>
                  <a:pt x="88" y="149"/>
                </a:lnTo>
                <a:lnTo>
                  <a:pt x="88" y="148"/>
                </a:lnTo>
                <a:close/>
                <a:moveTo>
                  <a:pt x="323" y="0"/>
                </a:moveTo>
                <a:lnTo>
                  <a:pt x="323" y="1"/>
                </a:lnTo>
                <a:lnTo>
                  <a:pt x="324" y="5"/>
                </a:lnTo>
                <a:lnTo>
                  <a:pt x="324" y="6"/>
                </a:lnTo>
                <a:lnTo>
                  <a:pt x="326" y="8"/>
                </a:lnTo>
                <a:lnTo>
                  <a:pt x="326" y="11"/>
                </a:lnTo>
                <a:lnTo>
                  <a:pt x="325" y="12"/>
                </a:lnTo>
                <a:lnTo>
                  <a:pt x="325" y="17"/>
                </a:lnTo>
                <a:lnTo>
                  <a:pt x="326" y="17"/>
                </a:lnTo>
                <a:lnTo>
                  <a:pt x="326" y="18"/>
                </a:lnTo>
                <a:lnTo>
                  <a:pt x="327" y="19"/>
                </a:lnTo>
                <a:lnTo>
                  <a:pt x="329" y="18"/>
                </a:lnTo>
                <a:lnTo>
                  <a:pt x="329" y="19"/>
                </a:lnTo>
                <a:lnTo>
                  <a:pt x="330" y="19"/>
                </a:lnTo>
                <a:lnTo>
                  <a:pt x="330" y="20"/>
                </a:lnTo>
                <a:lnTo>
                  <a:pt x="332" y="21"/>
                </a:lnTo>
                <a:lnTo>
                  <a:pt x="332" y="24"/>
                </a:lnTo>
                <a:lnTo>
                  <a:pt x="333" y="25"/>
                </a:lnTo>
                <a:lnTo>
                  <a:pt x="337" y="26"/>
                </a:lnTo>
                <a:lnTo>
                  <a:pt x="338" y="26"/>
                </a:lnTo>
                <a:lnTo>
                  <a:pt x="339" y="24"/>
                </a:lnTo>
                <a:lnTo>
                  <a:pt x="341" y="23"/>
                </a:lnTo>
                <a:lnTo>
                  <a:pt x="342" y="23"/>
                </a:lnTo>
                <a:lnTo>
                  <a:pt x="346" y="20"/>
                </a:lnTo>
                <a:lnTo>
                  <a:pt x="348" y="20"/>
                </a:lnTo>
                <a:lnTo>
                  <a:pt x="349" y="21"/>
                </a:lnTo>
                <a:lnTo>
                  <a:pt x="349" y="23"/>
                </a:lnTo>
                <a:lnTo>
                  <a:pt x="350" y="24"/>
                </a:lnTo>
                <a:lnTo>
                  <a:pt x="350" y="25"/>
                </a:lnTo>
                <a:lnTo>
                  <a:pt x="351" y="25"/>
                </a:lnTo>
                <a:lnTo>
                  <a:pt x="352" y="26"/>
                </a:lnTo>
                <a:lnTo>
                  <a:pt x="352" y="31"/>
                </a:lnTo>
                <a:lnTo>
                  <a:pt x="354" y="34"/>
                </a:lnTo>
                <a:lnTo>
                  <a:pt x="354" y="37"/>
                </a:lnTo>
                <a:lnTo>
                  <a:pt x="355" y="38"/>
                </a:lnTo>
                <a:lnTo>
                  <a:pt x="355" y="39"/>
                </a:lnTo>
                <a:lnTo>
                  <a:pt x="357" y="39"/>
                </a:lnTo>
                <a:lnTo>
                  <a:pt x="357" y="40"/>
                </a:lnTo>
                <a:lnTo>
                  <a:pt x="358" y="39"/>
                </a:lnTo>
                <a:lnTo>
                  <a:pt x="361" y="39"/>
                </a:lnTo>
                <a:lnTo>
                  <a:pt x="361" y="38"/>
                </a:lnTo>
                <a:lnTo>
                  <a:pt x="363" y="38"/>
                </a:lnTo>
                <a:lnTo>
                  <a:pt x="363" y="40"/>
                </a:lnTo>
                <a:lnTo>
                  <a:pt x="368" y="40"/>
                </a:lnTo>
                <a:lnTo>
                  <a:pt x="369" y="42"/>
                </a:lnTo>
                <a:lnTo>
                  <a:pt x="369" y="43"/>
                </a:lnTo>
                <a:lnTo>
                  <a:pt x="370" y="45"/>
                </a:lnTo>
                <a:lnTo>
                  <a:pt x="370" y="51"/>
                </a:lnTo>
                <a:lnTo>
                  <a:pt x="372" y="52"/>
                </a:lnTo>
                <a:lnTo>
                  <a:pt x="373" y="52"/>
                </a:lnTo>
                <a:lnTo>
                  <a:pt x="373" y="51"/>
                </a:lnTo>
                <a:lnTo>
                  <a:pt x="374" y="50"/>
                </a:lnTo>
                <a:lnTo>
                  <a:pt x="374" y="49"/>
                </a:lnTo>
                <a:lnTo>
                  <a:pt x="376" y="49"/>
                </a:lnTo>
                <a:lnTo>
                  <a:pt x="377" y="50"/>
                </a:lnTo>
                <a:lnTo>
                  <a:pt x="380" y="50"/>
                </a:lnTo>
                <a:lnTo>
                  <a:pt x="380" y="51"/>
                </a:lnTo>
                <a:lnTo>
                  <a:pt x="381" y="51"/>
                </a:lnTo>
                <a:lnTo>
                  <a:pt x="383" y="50"/>
                </a:lnTo>
                <a:lnTo>
                  <a:pt x="386" y="50"/>
                </a:lnTo>
                <a:lnTo>
                  <a:pt x="388" y="52"/>
                </a:lnTo>
                <a:lnTo>
                  <a:pt x="389" y="52"/>
                </a:lnTo>
                <a:lnTo>
                  <a:pt x="389" y="55"/>
                </a:lnTo>
                <a:lnTo>
                  <a:pt x="391" y="56"/>
                </a:lnTo>
                <a:lnTo>
                  <a:pt x="391" y="55"/>
                </a:lnTo>
                <a:lnTo>
                  <a:pt x="393" y="55"/>
                </a:lnTo>
                <a:lnTo>
                  <a:pt x="393" y="57"/>
                </a:lnTo>
                <a:lnTo>
                  <a:pt x="392" y="57"/>
                </a:lnTo>
                <a:lnTo>
                  <a:pt x="392" y="58"/>
                </a:lnTo>
                <a:lnTo>
                  <a:pt x="391" y="58"/>
                </a:lnTo>
                <a:lnTo>
                  <a:pt x="391" y="64"/>
                </a:lnTo>
                <a:lnTo>
                  <a:pt x="392" y="63"/>
                </a:lnTo>
                <a:lnTo>
                  <a:pt x="392" y="64"/>
                </a:lnTo>
                <a:lnTo>
                  <a:pt x="393" y="67"/>
                </a:lnTo>
                <a:lnTo>
                  <a:pt x="394" y="68"/>
                </a:lnTo>
                <a:lnTo>
                  <a:pt x="393" y="68"/>
                </a:lnTo>
                <a:lnTo>
                  <a:pt x="393" y="69"/>
                </a:lnTo>
                <a:lnTo>
                  <a:pt x="392" y="69"/>
                </a:lnTo>
                <a:lnTo>
                  <a:pt x="391" y="70"/>
                </a:lnTo>
                <a:lnTo>
                  <a:pt x="391" y="74"/>
                </a:lnTo>
                <a:lnTo>
                  <a:pt x="393" y="75"/>
                </a:lnTo>
                <a:lnTo>
                  <a:pt x="397" y="75"/>
                </a:lnTo>
                <a:lnTo>
                  <a:pt x="403" y="76"/>
                </a:lnTo>
                <a:lnTo>
                  <a:pt x="405" y="76"/>
                </a:lnTo>
                <a:lnTo>
                  <a:pt x="412" y="73"/>
                </a:lnTo>
                <a:lnTo>
                  <a:pt x="413" y="73"/>
                </a:lnTo>
                <a:lnTo>
                  <a:pt x="413" y="67"/>
                </a:lnTo>
                <a:lnTo>
                  <a:pt x="418" y="62"/>
                </a:lnTo>
                <a:lnTo>
                  <a:pt x="419" y="62"/>
                </a:lnTo>
                <a:lnTo>
                  <a:pt x="419" y="63"/>
                </a:lnTo>
                <a:lnTo>
                  <a:pt x="422" y="62"/>
                </a:lnTo>
                <a:lnTo>
                  <a:pt x="422" y="67"/>
                </a:lnTo>
                <a:lnTo>
                  <a:pt x="420" y="67"/>
                </a:lnTo>
                <a:lnTo>
                  <a:pt x="419" y="68"/>
                </a:lnTo>
                <a:lnTo>
                  <a:pt x="419" y="70"/>
                </a:lnTo>
                <a:lnTo>
                  <a:pt x="418" y="74"/>
                </a:lnTo>
                <a:lnTo>
                  <a:pt x="418" y="76"/>
                </a:lnTo>
                <a:lnTo>
                  <a:pt x="420" y="76"/>
                </a:lnTo>
                <a:lnTo>
                  <a:pt x="422" y="77"/>
                </a:lnTo>
                <a:lnTo>
                  <a:pt x="422" y="79"/>
                </a:lnTo>
                <a:lnTo>
                  <a:pt x="420" y="80"/>
                </a:lnTo>
                <a:lnTo>
                  <a:pt x="420" y="86"/>
                </a:lnTo>
                <a:lnTo>
                  <a:pt x="426" y="86"/>
                </a:lnTo>
                <a:lnTo>
                  <a:pt x="429" y="88"/>
                </a:lnTo>
                <a:lnTo>
                  <a:pt x="430" y="88"/>
                </a:lnTo>
                <a:lnTo>
                  <a:pt x="431" y="89"/>
                </a:lnTo>
                <a:lnTo>
                  <a:pt x="432" y="92"/>
                </a:lnTo>
                <a:lnTo>
                  <a:pt x="433" y="92"/>
                </a:lnTo>
                <a:lnTo>
                  <a:pt x="433" y="93"/>
                </a:lnTo>
                <a:lnTo>
                  <a:pt x="435" y="93"/>
                </a:lnTo>
                <a:lnTo>
                  <a:pt x="437" y="92"/>
                </a:lnTo>
                <a:lnTo>
                  <a:pt x="438" y="92"/>
                </a:lnTo>
                <a:lnTo>
                  <a:pt x="438" y="93"/>
                </a:lnTo>
                <a:lnTo>
                  <a:pt x="439" y="94"/>
                </a:lnTo>
                <a:lnTo>
                  <a:pt x="439" y="98"/>
                </a:lnTo>
                <a:lnTo>
                  <a:pt x="441" y="98"/>
                </a:lnTo>
                <a:lnTo>
                  <a:pt x="441" y="97"/>
                </a:lnTo>
                <a:lnTo>
                  <a:pt x="442" y="97"/>
                </a:lnTo>
                <a:lnTo>
                  <a:pt x="443" y="98"/>
                </a:lnTo>
                <a:lnTo>
                  <a:pt x="444" y="98"/>
                </a:lnTo>
                <a:lnTo>
                  <a:pt x="445" y="101"/>
                </a:lnTo>
                <a:lnTo>
                  <a:pt x="447" y="103"/>
                </a:lnTo>
                <a:lnTo>
                  <a:pt x="445" y="104"/>
                </a:lnTo>
                <a:lnTo>
                  <a:pt x="447" y="105"/>
                </a:lnTo>
                <a:lnTo>
                  <a:pt x="448" y="105"/>
                </a:lnTo>
                <a:lnTo>
                  <a:pt x="449" y="104"/>
                </a:lnTo>
                <a:lnTo>
                  <a:pt x="453" y="104"/>
                </a:lnTo>
                <a:lnTo>
                  <a:pt x="453" y="103"/>
                </a:lnTo>
                <a:lnTo>
                  <a:pt x="454" y="101"/>
                </a:lnTo>
                <a:lnTo>
                  <a:pt x="455" y="103"/>
                </a:lnTo>
                <a:lnTo>
                  <a:pt x="457" y="103"/>
                </a:lnTo>
                <a:lnTo>
                  <a:pt x="457" y="101"/>
                </a:lnTo>
                <a:lnTo>
                  <a:pt x="459" y="101"/>
                </a:lnTo>
                <a:lnTo>
                  <a:pt x="460" y="103"/>
                </a:lnTo>
                <a:lnTo>
                  <a:pt x="462" y="104"/>
                </a:lnTo>
                <a:lnTo>
                  <a:pt x="462" y="105"/>
                </a:lnTo>
                <a:lnTo>
                  <a:pt x="463" y="105"/>
                </a:lnTo>
                <a:lnTo>
                  <a:pt x="466" y="106"/>
                </a:lnTo>
                <a:lnTo>
                  <a:pt x="467" y="107"/>
                </a:lnTo>
                <a:lnTo>
                  <a:pt x="467" y="109"/>
                </a:lnTo>
                <a:lnTo>
                  <a:pt x="472" y="109"/>
                </a:lnTo>
                <a:lnTo>
                  <a:pt x="473" y="107"/>
                </a:lnTo>
                <a:lnTo>
                  <a:pt x="473" y="106"/>
                </a:lnTo>
                <a:lnTo>
                  <a:pt x="475" y="106"/>
                </a:lnTo>
                <a:lnTo>
                  <a:pt x="475" y="105"/>
                </a:lnTo>
                <a:lnTo>
                  <a:pt x="480" y="105"/>
                </a:lnTo>
                <a:lnTo>
                  <a:pt x="481" y="107"/>
                </a:lnTo>
                <a:lnTo>
                  <a:pt x="486" y="107"/>
                </a:lnTo>
                <a:lnTo>
                  <a:pt x="490" y="109"/>
                </a:lnTo>
                <a:lnTo>
                  <a:pt x="491" y="110"/>
                </a:lnTo>
                <a:lnTo>
                  <a:pt x="491" y="112"/>
                </a:lnTo>
                <a:lnTo>
                  <a:pt x="493" y="113"/>
                </a:lnTo>
                <a:lnTo>
                  <a:pt x="493" y="114"/>
                </a:lnTo>
                <a:lnTo>
                  <a:pt x="492" y="116"/>
                </a:lnTo>
                <a:lnTo>
                  <a:pt x="493" y="116"/>
                </a:lnTo>
                <a:lnTo>
                  <a:pt x="493" y="117"/>
                </a:lnTo>
                <a:lnTo>
                  <a:pt x="497" y="119"/>
                </a:lnTo>
                <a:lnTo>
                  <a:pt x="497" y="122"/>
                </a:lnTo>
                <a:lnTo>
                  <a:pt x="498" y="123"/>
                </a:lnTo>
                <a:lnTo>
                  <a:pt x="498" y="124"/>
                </a:lnTo>
                <a:lnTo>
                  <a:pt x="499" y="123"/>
                </a:lnTo>
                <a:lnTo>
                  <a:pt x="499" y="126"/>
                </a:lnTo>
                <a:lnTo>
                  <a:pt x="500" y="128"/>
                </a:lnTo>
                <a:lnTo>
                  <a:pt x="504" y="128"/>
                </a:lnTo>
                <a:lnTo>
                  <a:pt x="505" y="126"/>
                </a:lnTo>
                <a:lnTo>
                  <a:pt x="504" y="125"/>
                </a:lnTo>
                <a:lnTo>
                  <a:pt x="504" y="124"/>
                </a:lnTo>
                <a:lnTo>
                  <a:pt x="509" y="124"/>
                </a:lnTo>
                <a:lnTo>
                  <a:pt x="511" y="125"/>
                </a:lnTo>
                <a:lnTo>
                  <a:pt x="512" y="125"/>
                </a:lnTo>
                <a:lnTo>
                  <a:pt x="512" y="130"/>
                </a:lnTo>
                <a:lnTo>
                  <a:pt x="513" y="130"/>
                </a:lnTo>
                <a:lnTo>
                  <a:pt x="515" y="129"/>
                </a:lnTo>
                <a:lnTo>
                  <a:pt x="515" y="128"/>
                </a:lnTo>
                <a:lnTo>
                  <a:pt x="517" y="129"/>
                </a:lnTo>
                <a:lnTo>
                  <a:pt x="517" y="130"/>
                </a:lnTo>
                <a:lnTo>
                  <a:pt x="523" y="130"/>
                </a:lnTo>
                <a:lnTo>
                  <a:pt x="524" y="129"/>
                </a:lnTo>
                <a:lnTo>
                  <a:pt x="525" y="129"/>
                </a:lnTo>
                <a:lnTo>
                  <a:pt x="525" y="128"/>
                </a:lnTo>
                <a:lnTo>
                  <a:pt x="526" y="128"/>
                </a:lnTo>
                <a:lnTo>
                  <a:pt x="526" y="126"/>
                </a:lnTo>
                <a:lnTo>
                  <a:pt x="529" y="126"/>
                </a:lnTo>
                <a:lnTo>
                  <a:pt x="530" y="128"/>
                </a:lnTo>
                <a:lnTo>
                  <a:pt x="531" y="128"/>
                </a:lnTo>
                <a:lnTo>
                  <a:pt x="531" y="130"/>
                </a:lnTo>
                <a:lnTo>
                  <a:pt x="532" y="131"/>
                </a:lnTo>
                <a:lnTo>
                  <a:pt x="534" y="131"/>
                </a:lnTo>
                <a:lnTo>
                  <a:pt x="534" y="132"/>
                </a:lnTo>
                <a:lnTo>
                  <a:pt x="536" y="132"/>
                </a:lnTo>
                <a:lnTo>
                  <a:pt x="537" y="134"/>
                </a:lnTo>
                <a:lnTo>
                  <a:pt x="537" y="135"/>
                </a:lnTo>
                <a:lnTo>
                  <a:pt x="542" y="135"/>
                </a:lnTo>
                <a:lnTo>
                  <a:pt x="543" y="134"/>
                </a:lnTo>
                <a:lnTo>
                  <a:pt x="544" y="134"/>
                </a:lnTo>
                <a:lnTo>
                  <a:pt x="548" y="135"/>
                </a:lnTo>
                <a:lnTo>
                  <a:pt x="550" y="135"/>
                </a:lnTo>
                <a:lnTo>
                  <a:pt x="557" y="138"/>
                </a:lnTo>
                <a:lnTo>
                  <a:pt x="561" y="140"/>
                </a:lnTo>
                <a:lnTo>
                  <a:pt x="562" y="140"/>
                </a:lnTo>
                <a:lnTo>
                  <a:pt x="561" y="141"/>
                </a:lnTo>
                <a:lnTo>
                  <a:pt x="560" y="143"/>
                </a:lnTo>
                <a:lnTo>
                  <a:pt x="557" y="149"/>
                </a:lnTo>
                <a:lnTo>
                  <a:pt x="555" y="150"/>
                </a:lnTo>
                <a:lnTo>
                  <a:pt x="555" y="152"/>
                </a:lnTo>
                <a:lnTo>
                  <a:pt x="554" y="153"/>
                </a:lnTo>
                <a:lnTo>
                  <a:pt x="551" y="153"/>
                </a:lnTo>
                <a:lnTo>
                  <a:pt x="551" y="155"/>
                </a:lnTo>
                <a:lnTo>
                  <a:pt x="548" y="159"/>
                </a:lnTo>
                <a:lnTo>
                  <a:pt x="547" y="159"/>
                </a:lnTo>
                <a:lnTo>
                  <a:pt x="546" y="162"/>
                </a:lnTo>
                <a:lnTo>
                  <a:pt x="546" y="168"/>
                </a:lnTo>
                <a:lnTo>
                  <a:pt x="544" y="168"/>
                </a:lnTo>
                <a:lnTo>
                  <a:pt x="544" y="169"/>
                </a:lnTo>
                <a:lnTo>
                  <a:pt x="543" y="171"/>
                </a:lnTo>
                <a:lnTo>
                  <a:pt x="543" y="173"/>
                </a:lnTo>
                <a:lnTo>
                  <a:pt x="542" y="175"/>
                </a:lnTo>
                <a:lnTo>
                  <a:pt x="542" y="177"/>
                </a:lnTo>
                <a:lnTo>
                  <a:pt x="543" y="178"/>
                </a:lnTo>
                <a:lnTo>
                  <a:pt x="543" y="179"/>
                </a:lnTo>
                <a:lnTo>
                  <a:pt x="541" y="181"/>
                </a:lnTo>
                <a:lnTo>
                  <a:pt x="541" y="185"/>
                </a:lnTo>
                <a:lnTo>
                  <a:pt x="540" y="186"/>
                </a:lnTo>
                <a:lnTo>
                  <a:pt x="537" y="190"/>
                </a:lnTo>
                <a:lnTo>
                  <a:pt x="537" y="191"/>
                </a:lnTo>
                <a:lnTo>
                  <a:pt x="536" y="192"/>
                </a:lnTo>
                <a:lnTo>
                  <a:pt x="536" y="197"/>
                </a:lnTo>
                <a:lnTo>
                  <a:pt x="537" y="200"/>
                </a:lnTo>
                <a:lnTo>
                  <a:pt x="537" y="203"/>
                </a:lnTo>
                <a:lnTo>
                  <a:pt x="536" y="204"/>
                </a:lnTo>
                <a:lnTo>
                  <a:pt x="536" y="208"/>
                </a:lnTo>
                <a:lnTo>
                  <a:pt x="535" y="208"/>
                </a:lnTo>
                <a:lnTo>
                  <a:pt x="535" y="211"/>
                </a:lnTo>
                <a:lnTo>
                  <a:pt x="534" y="211"/>
                </a:lnTo>
                <a:lnTo>
                  <a:pt x="534" y="218"/>
                </a:lnTo>
                <a:lnTo>
                  <a:pt x="532" y="218"/>
                </a:lnTo>
                <a:lnTo>
                  <a:pt x="532" y="221"/>
                </a:lnTo>
                <a:lnTo>
                  <a:pt x="534" y="221"/>
                </a:lnTo>
                <a:lnTo>
                  <a:pt x="534" y="222"/>
                </a:lnTo>
                <a:lnTo>
                  <a:pt x="535" y="222"/>
                </a:lnTo>
                <a:lnTo>
                  <a:pt x="536" y="224"/>
                </a:lnTo>
                <a:lnTo>
                  <a:pt x="536" y="227"/>
                </a:lnTo>
                <a:lnTo>
                  <a:pt x="535" y="227"/>
                </a:lnTo>
                <a:lnTo>
                  <a:pt x="534" y="228"/>
                </a:lnTo>
                <a:lnTo>
                  <a:pt x="531" y="229"/>
                </a:lnTo>
                <a:lnTo>
                  <a:pt x="532" y="230"/>
                </a:lnTo>
                <a:lnTo>
                  <a:pt x="532" y="232"/>
                </a:lnTo>
                <a:lnTo>
                  <a:pt x="531" y="232"/>
                </a:lnTo>
                <a:lnTo>
                  <a:pt x="531" y="233"/>
                </a:lnTo>
                <a:lnTo>
                  <a:pt x="529" y="233"/>
                </a:lnTo>
                <a:lnTo>
                  <a:pt x="529" y="236"/>
                </a:lnTo>
                <a:lnTo>
                  <a:pt x="523" y="236"/>
                </a:lnTo>
                <a:lnTo>
                  <a:pt x="522" y="238"/>
                </a:lnTo>
                <a:lnTo>
                  <a:pt x="520" y="238"/>
                </a:lnTo>
                <a:lnTo>
                  <a:pt x="520" y="236"/>
                </a:lnTo>
                <a:lnTo>
                  <a:pt x="519" y="236"/>
                </a:lnTo>
                <a:lnTo>
                  <a:pt x="518" y="235"/>
                </a:lnTo>
                <a:lnTo>
                  <a:pt x="519" y="233"/>
                </a:lnTo>
                <a:lnTo>
                  <a:pt x="512" y="233"/>
                </a:lnTo>
                <a:lnTo>
                  <a:pt x="512" y="232"/>
                </a:lnTo>
                <a:lnTo>
                  <a:pt x="511" y="233"/>
                </a:lnTo>
                <a:lnTo>
                  <a:pt x="510" y="233"/>
                </a:lnTo>
                <a:lnTo>
                  <a:pt x="510" y="234"/>
                </a:lnTo>
                <a:lnTo>
                  <a:pt x="511" y="234"/>
                </a:lnTo>
                <a:lnTo>
                  <a:pt x="511" y="235"/>
                </a:lnTo>
                <a:lnTo>
                  <a:pt x="510" y="236"/>
                </a:lnTo>
                <a:lnTo>
                  <a:pt x="509" y="236"/>
                </a:lnTo>
                <a:lnTo>
                  <a:pt x="509" y="238"/>
                </a:lnTo>
                <a:lnTo>
                  <a:pt x="506" y="240"/>
                </a:lnTo>
                <a:lnTo>
                  <a:pt x="506" y="241"/>
                </a:lnTo>
                <a:lnTo>
                  <a:pt x="511" y="241"/>
                </a:lnTo>
                <a:lnTo>
                  <a:pt x="511" y="240"/>
                </a:lnTo>
                <a:lnTo>
                  <a:pt x="513" y="242"/>
                </a:lnTo>
                <a:lnTo>
                  <a:pt x="512" y="243"/>
                </a:lnTo>
                <a:lnTo>
                  <a:pt x="511" y="243"/>
                </a:lnTo>
                <a:lnTo>
                  <a:pt x="511" y="245"/>
                </a:lnTo>
                <a:lnTo>
                  <a:pt x="510" y="245"/>
                </a:lnTo>
                <a:lnTo>
                  <a:pt x="510" y="248"/>
                </a:lnTo>
                <a:lnTo>
                  <a:pt x="506" y="249"/>
                </a:lnTo>
                <a:lnTo>
                  <a:pt x="505" y="252"/>
                </a:lnTo>
                <a:lnTo>
                  <a:pt x="505" y="253"/>
                </a:lnTo>
                <a:lnTo>
                  <a:pt x="501" y="255"/>
                </a:lnTo>
                <a:lnTo>
                  <a:pt x="500" y="255"/>
                </a:lnTo>
                <a:lnTo>
                  <a:pt x="500" y="257"/>
                </a:lnTo>
                <a:lnTo>
                  <a:pt x="499" y="258"/>
                </a:lnTo>
                <a:lnTo>
                  <a:pt x="498" y="258"/>
                </a:lnTo>
                <a:lnTo>
                  <a:pt x="498" y="260"/>
                </a:lnTo>
                <a:lnTo>
                  <a:pt x="494" y="264"/>
                </a:lnTo>
                <a:lnTo>
                  <a:pt x="490" y="265"/>
                </a:lnTo>
                <a:lnTo>
                  <a:pt x="488" y="266"/>
                </a:lnTo>
                <a:lnTo>
                  <a:pt x="487" y="269"/>
                </a:lnTo>
                <a:lnTo>
                  <a:pt x="487" y="270"/>
                </a:lnTo>
                <a:lnTo>
                  <a:pt x="488" y="270"/>
                </a:lnTo>
                <a:lnTo>
                  <a:pt x="488" y="272"/>
                </a:lnTo>
                <a:lnTo>
                  <a:pt x="487" y="272"/>
                </a:lnTo>
                <a:lnTo>
                  <a:pt x="487" y="278"/>
                </a:lnTo>
                <a:lnTo>
                  <a:pt x="486" y="279"/>
                </a:lnTo>
                <a:lnTo>
                  <a:pt x="485" y="279"/>
                </a:lnTo>
                <a:lnTo>
                  <a:pt x="484" y="280"/>
                </a:lnTo>
                <a:lnTo>
                  <a:pt x="484" y="282"/>
                </a:lnTo>
                <a:lnTo>
                  <a:pt x="480" y="283"/>
                </a:lnTo>
                <a:lnTo>
                  <a:pt x="474" y="289"/>
                </a:lnTo>
                <a:lnTo>
                  <a:pt x="474" y="290"/>
                </a:lnTo>
                <a:lnTo>
                  <a:pt x="475" y="291"/>
                </a:lnTo>
                <a:lnTo>
                  <a:pt x="474" y="292"/>
                </a:lnTo>
                <a:lnTo>
                  <a:pt x="473" y="295"/>
                </a:lnTo>
                <a:lnTo>
                  <a:pt x="472" y="296"/>
                </a:lnTo>
                <a:lnTo>
                  <a:pt x="472" y="298"/>
                </a:lnTo>
                <a:lnTo>
                  <a:pt x="474" y="300"/>
                </a:lnTo>
                <a:lnTo>
                  <a:pt x="474" y="301"/>
                </a:lnTo>
                <a:lnTo>
                  <a:pt x="475" y="302"/>
                </a:lnTo>
                <a:lnTo>
                  <a:pt x="474" y="304"/>
                </a:lnTo>
                <a:lnTo>
                  <a:pt x="474" y="306"/>
                </a:lnTo>
                <a:lnTo>
                  <a:pt x="473" y="306"/>
                </a:lnTo>
                <a:lnTo>
                  <a:pt x="473" y="309"/>
                </a:lnTo>
                <a:lnTo>
                  <a:pt x="470" y="309"/>
                </a:lnTo>
                <a:lnTo>
                  <a:pt x="468" y="310"/>
                </a:lnTo>
                <a:lnTo>
                  <a:pt x="467" y="312"/>
                </a:lnTo>
                <a:lnTo>
                  <a:pt x="467" y="313"/>
                </a:lnTo>
                <a:lnTo>
                  <a:pt x="468" y="313"/>
                </a:lnTo>
                <a:lnTo>
                  <a:pt x="468" y="315"/>
                </a:lnTo>
                <a:lnTo>
                  <a:pt x="467" y="316"/>
                </a:lnTo>
                <a:lnTo>
                  <a:pt x="468" y="316"/>
                </a:lnTo>
                <a:lnTo>
                  <a:pt x="470" y="315"/>
                </a:lnTo>
                <a:lnTo>
                  <a:pt x="472" y="315"/>
                </a:lnTo>
                <a:lnTo>
                  <a:pt x="474" y="316"/>
                </a:lnTo>
                <a:lnTo>
                  <a:pt x="481" y="309"/>
                </a:lnTo>
                <a:lnTo>
                  <a:pt x="481" y="308"/>
                </a:lnTo>
                <a:lnTo>
                  <a:pt x="479" y="308"/>
                </a:lnTo>
                <a:lnTo>
                  <a:pt x="479" y="306"/>
                </a:lnTo>
                <a:lnTo>
                  <a:pt x="478" y="306"/>
                </a:lnTo>
                <a:lnTo>
                  <a:pt x="479" y="304"/>
                </a:lnTo>
                <a:lnTo>
                  <a:pt x="479" y="303"/>
                </a:lnTo>
                <a:lnTo>
                  <a:pt x="480" y="302"/>
                </a:lnTo>
                <a:lnTo>
                  <a:pt x="482" y="301"/>
                </a:lnTo>
                <a:lnTo>
                  <a:pt x="484" y="300"/>
                </a:lnTo>
                <a:lnTo>
                  <a:pt x="486" y="300"/>
                </a:lnTo>
                <a:lnTo>
                  <a:pt x="490" y="297"/>
                </a:lnTo>
                <a:lnTo>
                  <a:pt x="492" y="296"/>
                </a:lnTo>
                <a:lnTo>
                  <a:pt x="495" y="296"/>
                </a:lnTo>
                <a:lnTo>
                  <a:pt x="501" y="298"/>
                </a:lnTo>
                <a:lnTo>
                  <a:pt x="503" y="300"/>
                </a:lnTo>
                <a:lnTo>
                  <a:pt x="503" y="301"/>
                </a:lnTo>
                <a:lnTo>
                  <a:pt x="500" y="303"/>
                </a:lnTo>
                <a:lnTo>
                  <a:pt x="501" y="304"/>
                </a:lnTo>
                <a:lnTo>
                  <a:pt x="503" y="307"/>
                </a:lnTo>
                <a:lnTo>
                  <a:pt x="504" y="308"/>
                </a:lnTo>
                <a:lnTo>
                  <a:pt x="501" y="313"/>
                </a:lnTo>
                <a:lnTo>
                  <a:pt x="501" y="316"/>
                </a:lnTo>
                <a:lnTo>
                  <a:pt x="505" y="316"/>
                </a:lnTo>
                <a:lnTo>
                  <a:pt x="506" y="318"/>
                </a:lnTo>
                <a:lnTo>
                  <a:pt x="505" y="319"/>
                </a:lnTo>
                <a:lnTo>
                  <a:pt x="505" y="321"/>
                </a:lnTo>
                <a:lnTo>
                  <a:pt x="507" y="321"/>
                </a:lnTo>
                <a:lnTo>
                  <a:pt x="511" y="325"/>
                </a:lnTo>
                <a:lnTo>
                  <a:pt x="511" y="327"/>
                </a:lnTo>
                <a:lnTo>
                  <a:pt x="512" y="328"/>
                </a:lnTo>
                <a:lnTo>
                  <a:pt x="512" y="329"/>
                </a:lnTo>
                <a:lnTo>
                  <a:pt x="511" y="329"/>
                </a:lnTo>
                <a:lnTo>
                  <a:pt x="511" y="331"/>
                </a:lnTo>
                <a:lnTo>
                  <a:pt x="507" y="334"/>
                </a:lnTo>
                <a:lnTo>
                  <a:pt x="506" y="334"/>
                </a:lnTo>
                <a:lnTo>
                  <a:pt x="505" y="333"/>
                </a:lnTo>
                <a:lnTo>
                  <a:pt x="505" y="334"/>
                </a:lnTo>
                <a:lnTo>
                  <a:pt x="503" y="334"/>
                </a:lnTo>
                <a:lnTo>
                  <a:pt x="503" y="341"/>
                </a:lnTo>
                <a:lnTo>
                  <a:pt x="505" y="344"/>
                </a:lnTo>
                <a:lnTo>
                  <a:pt x="506" y="344"/>
                </a:lnTo>
                <a:lnTo>
                  <a:pt x="507" y="345"/>
                </a:lnTo>
                <a:lnTo>
                  <a:pt x="510" y="346"/>
                </a:lnTo>
                <a:lnTo>
                  <a:pt x="510" y="353"/>
                </a:lnTo>
                <a:lnTo>
                  <a:pt x="511" y="353"/>
                </a:lnTo>
                <a:lnTo>
                  <a:pt x="512" y="355"/>
                </a:lnTo>
                <a:lnTo>
                  <a:pt x="515" y="356"/>
                </a:lnTo>
                <a:lnTo>
                  <a:pt x="515" y="358"/>
                </a:lnTo>
                <a:lnTo>
                  <a:pt x="516" y="358"/>
                </a:lnTo>
                <a:lnTo>
                  <a:pt x="516" y="359"/>
                </a:lnTo>
                <a:lnTo>
                  <a:pt x="518" y="359"/>
                </a:lnTo>
                <a:lnTo>
                  <a:pt x="518" y="362"/>
                </a:lnTo>
                <a:lnTo>
                  <a:pt x="517" y="363"/>
                </a:lnTo>
                <a:lnTo>
                  <a:pt x="516" y="365"/>
                </a:lnTo>
                <a:lnTo>
                  <a:pt x="516" y="369"/>
                </a:lnTo>
                <a:lnTo>
                  <a:pt x="513" y="371"/>
                </a:lnTo>
                <a:lnTo>
                  <a:pt x="511" y="371"/>
                </a:lnTo>
                <a:lnTo>
                  <a:pt x="510" y="372"/>
                </a:lnTo>
                <a:lnTo>
                  <a:pt x="509" y="372"/>
                </a:lnTo>
                <a:lnTo>
                  <a:pt x="509" y="374"/>
                </a:lnTo>
                <a:lnTo>
                  <a:pt x="507" y="375"/>
                </a:lnTo>
                <a:lnTo>
                  <a:pt x="506" y="375"/>
                </a:lnTo>
                <a:lnTo>
                  <a:pt x="506" y="376"/>
                </a:lnTo>
                <a:lnTo>
                  <a:pt x="505" y="377"/>
                </a:lnTo>
                <a:lnTo>
                  <a:pt x="503" y="376"/>
                </a:lnTo>
                <a:lnTo>
                  <a:pt x="501" y="375"/>
                </a:lnTo>
                <a:lnTo>
                  <a:pt x="500" y="375"/>
                </a:lnTo>
                <a:lnTo>
                  <a:pt x="499" y="376"/>
                </a:lnTo>
                <a:lnTo>
                  <a:pt x="497" y="376"/>
                </a:lnTo>
                <a:lnTo>
                  <a:pt x="494" y="378"/>
                </a:lnTo>
                <a:lnTo>
                  <a:pt x="495" y="380"/>
                </a:lnTo>
                <a:lnTo>
                  <a:pt x="495" y="381"/>
                </a:lnTo>
                <a:lnTo>
                  <a:pt x="497" y="382"/>
                </a:lnTo>
                <a:lnTo>
                  <a:pt x="497" y="383"/>
                </a:lnTo>
                <a:lnTo>
                  <a:pt x="499" y="383"/>
                </a:lnTo>
                <a:lnTo>
                  <a:pt x="500" y="386"/>
                </a:lnTo>
                <a:lnTo>
                  <a:pt x="500" y="390"/>
                </a:lnTo>
                <a:lnTo>
                  <a:pt x="501" y="392"/>
                </a:lnTo>
                <a:lnTo>
                  <a:pt x="505" y="393"/>
                </a:lnTo>
                <a:lnTo>
                  <a:pt x="509" y="393"/>
                </a:lnTo>
                <a:lnTo>
                  <a:pt x="511" y="394"/>
                </a:lnTo>
                <a:lnTo>
                  <a:pt x="511" y="396"/>
                </a:lnTo>
                <a:lnTo>
                  <a:pt x="512" y="398"/>
                </a:lnTo>
                <a:lnTo>
                  <a:pt x="512" y="400"/>
                </a:lnTo>
                <a:lnTo>
                  <a:pt x="513" y="402"/>
                </a:lnTo>
                <a:lnTo>
                  <a:pt x="513" y="404"/>
                </a:lnTo>
                <a:lnTo>
                  <a:pt x="511" y="402"/>
                </a:lnTo>
                <a:lnTo>
                  <a:pt x="509" y="405"/>
                </a:lnTo>
                <a:lnTo>
                  <a:pt x="509" y="407"/>
                </a:lnTo>
                <a:lnTo>
                  <a:pt x="507" y="409"/>
                </a:lnTo>
                <a:lnTo>
                  <a:pt x="505" y="412"/>
                </a:lnTo>
                <a:lnTo>
                  <a:pt x="504" y="412"/>
                </a:lnTo>
                <a:lnTo>
                  <a:pt x="505" y="414"/>
                </a:lnTo>
                <a:lnTo>
                  <a:pt x="505" y="415"/>
                </a:lnTo>
                <a:lnTo>
                  <a:pt x="507" y="418"/>
                </a:lnTo>
                <a:lnTo>
                  <a:pt x="506" y="419"/>
                </a:lnTo>
                <a:lnTo>
                  <a:pt x="506" y="423"/>
                </a:lnTo>
                <a:lnTo>
                  <a:pt x="507" y="424"/>
                </a:lnTo>
                <a:lnTo>
                  <a:pt x="507" y="426"/>
                </a:lnTo>
                <a:lnTo>
                  <a:pt x="509" y="426"/>
                </a:lnTo>
                <a:lnTo>
                  <a:pt x="510" y="427"/>
                </a:lnTo>
                <a:lnTo>
                  <a:pt x="510" y="429"/>
                </a:lnTo>
                <a:lnTo>
                  <a:pt x="511" y="430"/>
                </a:lnTo>
                <a:lnTo>
                  <a:pt x="513" y="430"/>
                </a:lnTo>
                <a:lnTo>
                  <a:pt x="516" y="431"/>
                </a:lnTo>
                <a:lnTo>
                  <a:pt x="517" y="431"/>
                </a:lnTo>
                <a:lnTo>
                  <a:pt x="522" y="435"/>
                </a:lnTo>
                <a:lnTo>
                  <a:pt x="524" y="435"/>
                </a:lnTo>
                <a:lnTo>
                  <a:pt x="524" y="436"/>
                </a:lnTo>
                <a:lnTo>
                  <a:pt x="528" y="436"/>
                </a:lnTo>
                <a:lnTo>
                  <a:pt x="535" y="435"/>
                </a:lnTo>
                <a:lnTo>
                  <a:pt x="536" y="435"/>
                </a:lnTo>
                <a:lnTo>
                  <a:pt x="537" y="433"/>
                </a:lnTo>
                <a:lnTo>
                  <a:pt x="538" y="433"/>
                </a:lnTo>
                <a:lnTo>
                  <a:pt x="538" y="436"/>
                </a:lnTo>
                <a:lnTo>
                  <a:pt x="541" y="438"/>
                </a:lnTo>
                <a:lnTo>
                  <a:pt x="541" y="439"/>
                </a:lnTo>
                <a:lnTo>
                  <a:pt x="538" y="442"/>
                </a:lnTo>
                <a:lnTo>
                  <a:pt x="538" y="444"/>
                </a:lnTo>
                <a:lnTo>
                  <a:pt x="537" y="445"/>
                </a:lnTo>
                <a:lnTo>
                  <a:pt x="535" y="447"/>
                </a:lnTo>
                <a:lnTo>
                  <a:pt x="534" y="448"/>
                </a:lnTo>
                <a:lnTo>
                  <a:pt x="532" y="450"/>
                </a:lnTo>
                <a:lnTo>
                  <a:pt x="531" y="451"/>
                </a:lnTo>
                <a:lnTo>
                  <a:pt x="531" y="452"/>
                </a:lnTo>
                <a:lnTo>
                  <a:pt x="532" y="456"/>
                </a:lnTo>
                <a:lnTo>
                  <a:pt x="531" y="456"/>
                </a:lnTo>
                <a:lnTo>
                  <a:pt x="531" y="457"/>
                </a:lnTo>
                <a:lnTo>
                  <a:pt x="530" y="457"/>
                </a:lnTo>
                <a:lnTo>
                  <a:pt x="530" y="458"/>
                </a:lnTo>
                <a:lnTo>
                  <a:pt x="529" y="457"/>
                </a:lnTo>
                <a:lnTo>
                  <a:pt x="528" y="457"/>
                </a:lnTo>
                <a:lnTo>
                  <a:pt x="526" y="458"/>
                </a:lnTo>
                <a:lnTo>
                  <a:pt x="526" y="460"/>
                </a:lnTo>
                <a:lnTo>
                  <a:pt x="525" y="461"/>
                </a:lnTo>
                <a:lnTo>
                  <a:pt x="525" y="462"/>
                </a:lnTo>
                <a:lnTo>
                  <a:pt x="524" y="462"/>
                </a:lnTo>
                <a:lnTo>
                  <a:pt x="523" y="461"/>
                </a:lnTo>
                <a:lnTo>
                  <a:pt x="522" y="462"/>
                </a:lnTo>
                <a:lnTo>
                  <a:pt x="520" y="462"/>
                </a:lnTo>
                <a:lnTo>
                  <a:pt x="520" y="464"/>
                </a:lnTo>
                <a:lnTo>
                  <a:pt x="519" y="464"/>
                </a:lnTo>
                <a:lnTo>
                  <a:pt x="519" y="463"/>
                </a:lnTo>
                <a:lnTo>
                  <a:pt x="518" y="463"/>
                </a:lnTo>
                <a:lnTo>
                  <a:pt x="517" y="464"/>
                </a:lnTo>
                <a:lnTo>
                  <a:pt x="517" y="470"/>
                </a:lnTo>
                <a:lnTo>
                  <a:pt x="516" y="469"/>
                </a:lnTo>
                <a:lnTo>
                  <a:pt x="513" y="469"/>
                </a:lnTo>
                <a:lnTo>
                  <a:pt x="513" y="470"/>
                </a:lnTo>
                <a:lnTo>
                  <a:pt x="510" y="470"/>
                </a:lnTo>
                <a:lnTo>
                  <a:pt x="509" y="472"/>
                </a:lnTo>
                <a:lnTo>
                  <a:pt x="509" y="473"/>
                </a:lnTo>
                <a:lnTo>
                  <a:pt x="510" y="473"/>
                </a:lnTo>
                <a:lnTo>
                  <a:pt x="507" y="475"/>
                </a:lnTo>
                <a:lnTo>
                  <a:pt x="507" y="476"/>
                </a:lnTo>
                <a:lnTo>
                  <a:pt x="505" y="476"/>
                </a:lnTo>
                <a:lnTo>
                  <a:pt x="505" y="478"/>
                </a:lnTo>
                <a:lnTo>
                  <a:pt x="500" y="478"/>
                </a:lnTo>
                <a:lnTo>
                  <a:pt x="500" y="480"/>
                </a:lnTo>
                <a:lnTo>
                  <a:pt x="499" y="480"/>
                </a:lnTo>
                <a:lnTo>
                  <a:pt x="499" y="481"/>
                </a:lnTo>
                <a:lnTo>
                  <a:pt x="498" y="481"/>
                </a:lnTo>
                <a:lnTo>
                  <a:pt x="497" y="482"/>
                </a:lnTo>
                <a:lnTo>
                  <a:pt x="497" y="484"/>
                </a:lnTo>
                <a:lnTo>
                  <a:pt x="495" y="485"/>
                </a:lnTo>
                <a:lnTo>
                  <a:pt x="494" y="485"/>
                </a:lnTo>
                <a:lnTo>
                  <a:pt x="494" y="486"/>
                </a:lnTo>
                <a:lnTo>
                  <a:pt x="499" y="486"/>
                </a:lnTo>
                <a:lnTo>
                  <a:pt x="498" y="487"/>
                </a:lnTo>
                <a:lnTo>
                  <a:pt x="498" y="488"/>
                </a:lnTo>
                <a:lnTo>
                  <a:pt x="497" y="488"/>
                </a:lnTo>
                <a:lnTo>
                  <a:pt x="498" y="490"/>
                </a:lnTo>
                <a:lnTo>
                  <a:pt x="497" y="491"/>
                </a:lnTo>
                <a:lnTo>
                  <a:pt x="495" y="491"/>
                </a:lnTo>
                <a:lnTo>
                  <a:pt x="494" y="492"/>
                </a:lnTo>
                <a:lnTo>
                  <a:pt x="494" y="491"/>
                </a:lnTo>
                <a:lnTo>
                  <a:pt x="492" y="491"/>
                </a:lnTo>
                <a:lnTo>
                  <a:pt x="492" y="492"/>
                </a:lnTo>
                <a:lnTo>
                  <a:pt x="491" y="493"/>
                </a:lnTo>
                <a:lnTo>
                  <a:pt x="486" y="493"/>
                </a:lnTo>
                <a:lnTo>
                  <a:pt x="485" y="494"/>
                </a:lnTo>
                <a:lnTo>
                  <a:pt x="485" y="497"/>
                </a:lnTo>
                <a:lnTo>
                  <a:pt x="484" y="497"/>
                </a:lnTo>
                <a:lnTo>
                  <a:pt x="481" y="494"/>
                </a:lnTo>
                <a:lnTo>
                  <a:pt x="479" y="494"/>
                </a:lnTo>
                <a:lnTo>
                  <a:pt x="478" y="495"/>
                </a:lnTo>
                <a:lnTo>
                  <a:pt x="476" y="495"/>
                </a:lnTo>
                <a:lnTo>
                  <a:pt x="476" y="497"/>
                </a:lnTo>
                <a:lnTo>
                  <a:pt x="475" y="498"/>
                </a:lnTo>
                <a:lnTo>
                  <a:pt x="475" y="499"/>
                </a:lnTo>
                <a:lnTo>
                  <a:pt x="474" y="498"/>
                </a:lnTo>
                <a:lnTo>
                  <a:pt x="474" y="497"/>
                </a:lnTo>
                <a:lnTo>
                  <a:pt x="470" y="497"/>
                </a:lnTo>
                <a:lnTo>
                  <a:pt x="469" y="495"/>
                </a:lnTo>
                <a:lnTo>
                  <a:pt x="467" y="495"/>
                </a:lnTo>
                <a:lnTo>
                  <a:pt x="467" y="494"/>
                </a:lnTo>
                <a:lnTo>
                  <a:pt x="464" y="494"/>
                </a:lnTo>
                <a:lnTo>
                  <a:pt x="464" y="495"/>
                </a:lnTo>
                <a:lnTo>
                  <a:pt x="466" y="497"/>
                </a:lnTo>
                <a:lnTo>
                  <a:pt x="467" y="497"/>
                </a:lnTo>
                <a:lnTo>
                  <a:pt x="467" y="498"/>
                </a:lnTo>
                <a:lnTo>
                  <a:pt x="463" y="498"/>
                </a:lnTo>
                <a:lnTo>
                  <a:pt x="463" y="499"/>
                </a:lnTo>
                <a:lnTo>
                  <a:pt x="461" y="499"/>
                </a:lnTo>
                <a:lnTo>
                  <a:pt x="460" y="498"/>
                </a:lnTo>
                <a:lnTo>
                  <a:pt x="460" y="497"/>
                </a:lnTo>
                <a:lnTo>
                  <a:pt x="461" y="497"/>
                </a:lnTo>
                <a:lnTo>
                  <a:pt x="461" y="495"/>
                </a:lnTo>
                <a:lnTo>
                  <a:pt x="460" y="495"/>
                </a:lnTo>
                <a:lnTo>
                  <a:pt x="460" y="494"/>
                </a:lnTo>
                <a:lnTo>
                  <a:pt x="459" y="494"/>
                </a:lnTo>
                <a:lnTo>
                  <a:pt x="456" y="493"/>
                </a:lnTo>
                <a:lnTo>
                  <a:pt x="456" y="492"/>
                </a:lnTo>
                <a:lnTo>
                  <a:pt x="455" y="491"/>
                </a:lnTo>
                <a:lnTo>
                  <a:pt x="454" y="491"/>
                </a:lnTo>
                <a:lnTo>
                  <a:pt x="454" y="492"/>
                </a:lnTo>
                <a:lnTo>
                  <a:pt x="451" y="492"/>
                </a:lnTo>
                <a:lnTo>
                  <a:pt x="449" y="490"/>
                </a:lnTo>
                <a:lnTo>
                  <a:pt x="442" y="490"/>
                </a:lnTo>
                <a:lnTo>
                  <a:pt x="442" y="487"/>
                </a:lnTo>
                <a:lnTo>
                  <a:pt x="443" y="486"/>
                </a:lnTo>
                <a:lnTo>
                  <a:pt x="442" y="486"/>
                </a:lnTo>
                <a:lnTo>
                  <a:pt x="442" y="485"/>
                </a:lnTo>
                <a:lnTo>
                  <a:pt x="441" y="482"/>
                </a:lnTo>
                <a:lnTo>
                  <a:pt x="439" y="481"/>
                </a:lnTo>
                <a:lnTo>
                  <a:pt x="437" y="482"/>
                </a:lnTo>
                <a:lnTo>
                  <a:pt x="429" y="482"/>
                </a:lnTo>
                <a:lnTo>
                  <a:pt x="428" y="481"/>
                </a:lnTo>
                <a:lnTo>
                  <a:pt x="428" y="478"/>
                </a:lnTo>
                <a:lnTo>
                  <a:pt x="433" y="478"/>
                </a:lnTo>
                <a:lnTo>
                  <a:pt x="436" y="475"/>
                </a:lnTo>
                <a:lnTo>
                  <a:pt x="436" y="473"/>
                </a:lnTo>
                <a:lnTo>
                  <a:pt x="435" y="473"/>
                </a:lnTo>
                <a:lnTo>
                  <a:pt x="433" y="474"/>
                </a:lnTo>
                <a:lnTo>
                  <a:pt x="432" y="474"/>
                </a:lnTo>
                <a:lnTo>
                  <a:pt x="432" y="473"/>
                </a:lnTo>
                <a:lnTo>
                  <a:pt x="431" y="472"/>
                </a:lnTo>
                <a:lnTo>
                  <a:pt x="431" y="470"/>
                </a:lnTo>
                <a:lnTo>
                  <a:pt x="429" y="470"/>
                </a:lnTo>
                <a:lnTo>
                  <a:pt x="429" y="469"/>
                </a:lnTo>
                <a:lnTo>
                  <a:pt x="428" y="469"/>
                </a:lnTo>
                <a:lnTo>
                  <a:pt x="428" y="473"/>
                </a:lnTo>
                <a:lnTo>
                  <a:pt x="430" y="475"/>
                </a:lnTo>
                <a:lnTo>
                  <a:pt x="428" y="478"/>
                </a:lnTo>
                <a:lnTo>
                  <a:pt x="426" y="478"/>
                </a:lnTo>
                <a:lnTo>
                  <a:pt x="424" y="476"/>
                </a:lnTo>
                <a:lnTo>
                  <a:pt x="423" y="476"/>
                </a:lnTo>
                <a:lnTo>
                  <a:pt x="423" y="478"/>
                </a:lnTo>
                <a:lnTo>
                  <a:pt x="420" y="478"/>
                </a:lnTo>
                <a:lnTo>
                  <a:pt x="420" y="479"/>
                </a:lnTo>
                <a:lnTo>
                  <a:pt x="422" y="480"/>
                </a:lnTo>
                <a:lnTo>
                  <a:pt x="423" y="480"/>
                </a:lnTo>
                <a:lnTo>
                  <a:pt x="420" y="482"/>
                </a:lnTo>
                <a:lnTo>
                  <a:pt x="420" y="480"/>
                </a:lnTo>
                <a:lnTo>
                  <a:pt x="418" y="479"/>
                </a:lnTo>
                <a:lnTo>
                  <a:pt x="417" y="478"/>
                </a:lnTo>
                <a:lnTo>
                  <a:pt x="416" y="475"/>
                </a:lnTo>
                <a:lnTo>
                  <a:pt x="416" y="478"/>
                </a:lnTo>
                <a:lnTo>
                  <a:pt x="417" y="479"/>
                </a:lnTo>
                <a:lnTo>
                  <a:pt x="418" y="479"/>
                </a:lnTo>
                <a:lnTo>
                  <a:pt x="419" y="480"/>
                </a:lnTo>
                <a:lnTo>
                  <a:pt x="419" y="481"/>
                </a:lnTo>
                <a:lnTo>
                  <a:pt x="410" y="481"/>
                </a:lnTo>
                <a:lnTo>
                  <a:pt x="408" y="480"/>
                </a:lnTo>
                <a:lnTo>
                  <a:pt x="408" y="479"/>
                </a:lnTo>
                <a:lnTo>
                  <a:pt x="410" y="479"/>
                </a:lnTo>
                <a:lnTo>
                  <a:pt x="410" y="476"/>
                </a:lnTo>
                <a:lnTo>
                  <a:pt x="408" y="476"/>
                </a:lnTo>
                <a:lnTo>
                  <a:pt x="406" y="475"/>
                </a:lnTo>
                <a:lnTo>
                  <a:pt x="392" y="475"/>
                </a:lnTo>
                <a:lnTo>
                  <a:pt x="392" y="474"/>
                </a:lnTo>
                <a:lnTo>
                  <a:pt x="391" y="474"/>
                </a:lnTo>
                <a:lnTo>
                  <a:pt x="389" y="472"/>
                </a:lnTo>
                <a:lnTo>
                  <a:pt x="391" y="470"/>
                </a:lnTo>
                <a:lnTo>
                  <a:pt x="389" y="469"/>
                </a:lnTo>
                <a:lnTo>
                  <a:pt x="385" y="469"/>
                </a:lnTo>
                <a:lnTo>
                  <a:pt x="382" y="470"/>
                </a:lnTo>
                <a:lnTo>
                  <a:pt x="374" y="478"/>
                </a:lnTo>
                <a:lnTo>
                  <a:pt x="369" y="480"/>
                </a:lnTo>
                <a:lnTo>
                  <a:pt x="368" y="481"/>
                </a:lnTo>
                <a:lnTo>
                  <a:pt x="364" y="486"/>
                </a:lnTo>
                <a:lnTo>
                  <a:pt x="363" y="486"/>
                </a:lnTo>
                <a:lnTo>
                  <a:pt x="362" y="485"/>
                </a:lnTo>
                <a:lnTo>
                  <a:pt x="358" y="485"/>
                </a:lnTo>
                <a:lnTo>
                  <a:pt x="356" y="486"/>
                </a:lnTo>
                <a:lnTo>
                  <a:pt x="351" y="491"/>
                </a:lnTo>
                <a:lnTo>
                  <a:pt x="351" y="492"/>
                </a:lnTo>
                <a:lnTo>
                  <a:pt x="350" y="492"/>
                </a:lnTo>
                <a:lnTo>
                  <a:pt x="350" y="493"/>
                </a:lnTo>
                <a:lnTo>
                  <a:pt x="349" y="494"/>
                </a:lnTo>
                <a:lnTo>
                  <a:pt x="348" y="494"/>
                </a:lnTo>
                <a:lnTo>
                  <a:pt x="348" y="495"/>
                </a:lnTo>
                <a:lnTo>
                  <a:pt x="346" y="497"/>
                </a:lnTo>
                <a:lnTo>
                  <a:pt x="346" y="499"/>
                </a:lnTo>
                <a:lnTo>
                  <a:pt x="345" y="500"/>
                </a:lnTo>
                <a:lnTo>
                  <a:pt x="345" y="501"/>
                </a:lnTo>
                <a:lnTo>
                  <a:pt x="344" y="504"/>
                </a:lnTo>
                <a:lnTo>
                  <a:pt x="344" y="505"/>
                </a:lnTo>
                <a:lnTo>
                  <a:pt x="345" y="506"/>
                </a:lnTo>
                <a:lnTo>
                  <a:pt x="345" y="507"/>
                </a:lnTo>
                <a:lnTo>
                  <a:pt x="344" y="510"/>
                </a:lnTo>
                <a:lnTo>
                  <a:pt x="344" y="528"/>
                </a:lnTo>
                <a:lnTo>
                  <a:pt x="346" y="528"/>
                </a:lnTo>
                <a:lnTo>
                  <a:pt x="348" y="529"/>
                </a:lnTo>
                <a:lnTo>
                  <a:pt x="349" y="529"/>
                </a:lnTo>
                <a:lnTo>
                  <a:pt x="349" y="531"/>
                </a:lnTo>
                <a:lnTo>
                  <a:pt x="350" y="533"/>
                </a:lnTo>
                <a:lnTo>
                  <a:pt x="350" y="534"/>
                </a:lnTo>
                <a:lnTo>
                  <a:pt x="349" y="535"/>
                </a:lnTo>
                <a:lnTo>
                  <a:pt x="346" y="535"/>
                </a:lnTo>
                <a:lnTo>
                  <a:pt x="345" y="534"/>
                </a:lnTo>
                <a:lnTo>
                  <a:pt x="344" y="534"/>
                </a:lnTo>
                <a:lnTo>
                  <a:pt x="344" y="533"/>
                </a:lnTo>
                <a:lnTo>
                  <a:pt x="338" y="533"/>
                </a:lnTo>
                <a:lnTo>
                  <a:pt x="338" y="534"/>
                </a:lnTo>
                <a:lnTo>
                  <a:pt x="336" y="534"/>
                </a:lnTo>
                <a:lnTo>
                  <a:pt x="335" y="535"/>
                </a:lnTo>
                <a:lnTo>
                  <a:pt x="330" y="535"/>
                </a:lnTo>
                <a:lnTo>
                  <a:pt x="330" y="536"/>
                </a:lnTo>
                <a:lnTo>
                  <a:pt x="327" y="537"/>
                </a:lnTo>
                <a:lnTo>
                  <a:pt x="327" y="538"/>
                </a:lnTo>
                <a:lnTo>
                  <a:pt x="329" y="540"/>
                </a:lnTo>
                <a:lnTo>
                  <a:pt x="326" y="540"/>
                </a:lnTo>
                <a:lnTo>
                  <a:pt x="324" y="538"/>
                </a:lnTo>
                <a:lnTo>
                  <a:pt x="323" y="538"/>
                </a:lnTo>
                <a:lnTo>
                  <a:pt x="323" y="540"/>
                </a:lnTo>
                <a:lnTo>
                  <a:pt x="320" y="540"/>
                </a:lnTo>
                <a:lnTo>
                  <a:pt x="317" y="536"/>
                </a:lnTo>
                <a:lnTo>
                  <a:pt x="313" y="535"/>
                </a:lnTo>
                <a:lnTo>
                  <a:pt x="306" y="535"/>
                </a:lnTo>
                <a:lnTo>
                  <a:pt x="305" y="536"/>
                </a:lnTo>
                <a:lnTo>
                  <a:pt x="305" y="537"/>
                </a:lnTo>
                <a:lnTo>
                  <a:pt x="304" y="537"/>
                </a:lnTo>
                <a:lnTo>
                  <a:pt x="304" y="538"/>
                </a:lnTo>
                <a:lnTo>
                  <a:pt x="300" y="538"/>
                </a:lnTo>
                <a:lnTo>
                  <a:pt x="299" y="537"/>
                </a:lnTo>
                <a:lnTo>
                  <a:pt x="298" y="535"/>
                </a:lnTo>
                <a:lnTo>
                  <a:pt x="298" y="534"/>
                </a:lnTo>
                <a:lnTo>
                  <a:pt x="295" y="534"/>
                </a:lnTo>
                <a:lnTo>
                  <a:pt x="293" y="531"/>
                </a:lnTo>
                <a:lnTo>
                  <a:pt x="289" y="531"/>
                </a:lnTo>
                <a:lnTo>
                  <a:pt x="288" y="530"/>
                </a:lnTo>
                <a:lnTo>
                  <a:pt x="288" y="528"/>
                </a:lnTo>
                <a:lnTo>
                  <a:pt x="289" y="527"/>
                </a:lnTo>
                <a:lnTo>
                  <a:pt x="290" y="527"/>
                </a:lnTo>
                <a:lnTo>
                  <a:pt x="290" y="525"/>
                </a:lnTo>
                <a:lnTo>
                  <a:pt x="288" y="525"/>
                </a:lnTo>
                <a:lnTo>
                  <a:pt x="288" y="524"/>
                </a:lnTo>
                <a:lnTo>
                  <a:pt x="283" y="523"/>
                </a:lnTo>
                <a:lnTo>
                  <a:pt x="281" y="522"/>
                </a:lnTo>
                <a:lnTo>
                  <a:pt x="277" y="522"/>
                </a:lnTo>
                <a:lnTo>
                  <a:pt x="277" y="524"/>
                </a:lnTo>
                <a:lnTo>
                  <a:pt x="276" y="525"/>
                </a:lnTo>
                <a:lnTo>
                  <a:pt x="276" y="524"/>
                </a:lnTo>
                <a:lnTo>
                  <a:pt x="275" y="522"/>
                </a:lnTo>
                <a:lnTo>
                  <a:pt x="274" y="521"/>
                </a:lnTo>
                <a:lnTo>
                  <a:pt x="274" y="519"/>
                </a:lnTo>
                <a:lnTo>
                  <a:pt x="273" y="519"/>
                </a:lnTo>
                <a:lnTo>
                  <a:pt x="273" y="518"/>
                </a:lnTo>
                <a:lnTo>
                  <a:pt x="264" y="518"/>
                </a:lnTo>
                <a:lnTo>
                  <a:pt x="263" y="517"/>
                </a:lnTo>
                <a:lnTo>
                  <a:pt x="263" y="516"/>
                </a:lnTo>
                <a:lnTo>
                  <a:pt x="262" y="515"/>
                </a:lnTo>
                <a:lnTo>
                  <a:pt x="257" y="515"/>
                </a:lnTo>
                <a:lnTo>
                  <a:pt x="256" y="513"/>
                </a:lnTo>
                <a:lnTo>
                  <a:pt x="254" y="513"/>
                </a:lnTo>
                <a:lnTo>
                  <a:pt x="252" y="512"/>
                </a:lnTo>
                <a:lnTo>
                  <a:pt x="250" y="511"/>
                </a:lnTo>
                <a:lnTo>
                  <a:pt x="244" y="511"/>
                </a:lnTo>
                <a:lnTo>
                  <a:pt x="244" y="513"/>
                </a:lnTo>
                <a:lnTo>
                  <a:pt x="243" y="515"/>
                </a:lnTo>
                <a:lnTo>
                  <a:pt x="244" y="516"/>
                </a:lnTo>
                <a:lnTo>
                  <a:pt x="243" y="516"/>
                </a:lnTo>
                <a:lnTo>
                  <a:pt x="243" y="517"/>
                </a:lnTo>
                <a:lnTo>
                  <a:pt x="244" y="517"/>
                </a:lnTo>
                <a:lnTo>
                  <a:pt x="244" y="519"/>
                </a:lnTo>
                <a:lnTo>
                  <a:pt x="232" y="519"/>
                </a:lnTo>
                <a:lnTo>
                  <a:pt x="231" y="518"/>
                </a:lnTo>
                <a:lnTo>
                  <a:pt x="230" y="518"/>
                </a:lnTo>
                <a:lnTo>
                  <a:pt x="230" y="519"/>
                </a:lnTo>
                <a:lnTo>
                  <a:pt x="228" y="521"/>
                </a:lnTo>
                <a:lnTo>
                  <a:pt x="227" y="521"/>
                </a:lnTo>
                <a:lnTo>
                  <a:pt x="227" y="519"/>
                </a:lnTo>
                <a:lnTo>
                  <a:pt x="226" y="518"/>
                </a:lnTo>
                <a:lnTo>
                  <a:pt x="225" y="518"/>
                </a:lnTo>
                <a:lnTo>
                  <a:pt x="223" y="517"/>
                </a:lnTo>
                <a:lnTo>
                  <a:pt x="221" y="518"/>
                </a:lnTo>
                <a:lnTo>
                  <a:pt x="219" y="518"/>
                </a:lnTo>
                <a:lnTo>
                  <a:pt x="215" y="519"/>
                </a:lnTo>
                <a:lnTo>
                  <a:pt x="212" y="519"/>
                </a:lnTo>
                <a:lnTo>
                  <a:pt x="212" y="518"/>
                </a:lnTo>
                <a:lnTo>
                  <a:pt x="211" y="518"/>
                </a:lnTo>
                <a:lnTo>
                  <a:pt x="211" y="517"/>
                </a:lnTo>
                <a:lnTo>
                  <a:pt x="209" y="516"/>
                </a:lnTo>
                <a:lnTo>
                  <a:pt x="209" y="513"/>
                </a:lnTo>
                <a:lnTo>
                  <a:pt x="208" y="513"/>
                </a:lnTo>
                <a:lnTo>
                  <a:pt x="207" y="515"/>
                </a:lnTo>
                <a:lnTo>
                  <a:pt x="203" y="511"/>
                </a:lnTo>
                <a:lnTo>
                  <a:pt x="202" y="511"/>
                </a:lnTo>
                <a:lnTo>
                  <a:pt x="202" y="512"/>
                </a:lnTo>
                <a:lnTo>
                  <a:pt x="201" y="512"/>
                </a:lnTo>
                <a:lnTo>
                  <a:pt x="201" y="511"/>
                </a:lnTo>
                <a:lnTo>
                  <a:pt x="199" y="513"/>
                </a:lnTo>
                <a:lnTo>
                  <a:pt x="196" y="513"/>
                </a:lnTo>
                <a:lnTo>
                  <a:pt x="194" y="512"/>
                </a:lnTo>
                <a:lnTo>
                  <a:pt x="193" y="515"/>
                </a:lnTo>
                <a:lnTo>
                  <a:pt x="192" y="515"/>
                </a:lnTo>
                <a:lnTo>
                  <a:pt x="192" y="513"/>
                </a:lnTo>
                <a:lnTo>
                  <a:pt x="190" y="513"/>
                </a:lnTo>
                <a:lnTo>
                  <a:pt x="190" y="512"/>
                </a:lnTo>
                <a:lnTo>
                  <a:pt x="189" y="510"/>
                </a:lnTo>
                <a:lnTo>
                  <a:pt x="188" y="510"/>
                </a:lnTo>
                <a:lnTo>
                  <a:pt x="187" y="509"/>
                </a:lnTo>
                <a:lnTo>
                  <a:pt x="184" y="509"/>
                </a:lnTo>
                <a:lnTo>
                  <a:pt x="184" y="505"/>
                </a:lnTo>
                <a:lnTo>
                  <a:pt x="183" y="504"/>
                </a:lnTo>
                <a:lnTo>
                  <a:pt x="180" y="505"/>
                </a:lnTo>
                <a:lnTo>
                  <a:pt x="176" y="505"/>
                </a:lnTo>
                <a:lnTo>
                  <a:pt x="175" y="504"/>
                </a:lnTo>
                <a:lnTo>
                  <a:pt x="172" y="503"/>
                </a:lnTo>
                <a:lnTo>
                  <a:pt x="171" y="503"/>
                </a:lnTo>
                <a:lnTo>
                  <a:pt x="170" y="501"/>
                </a:lnTo>
                <a:lnTo>
                  <a:pt x="168" y="501"/>
                </a:lnTo>
                <a:lnTo>
                  <a:pt x="167" y="500"/>
                </a:lnTo>
                <a:lnTo>
                  <a:pt x="164" y="499"/>
                </a:lnTo>
                <a:lnTo>
                  <a:pt x="162" y="499"/>
                </a:lnTo>
                <a:lnTo>
                  <a:pt x="162" y="498"/>
                </a:lnTo>
                <a:lnTo>
                  <a:pt x="161" y="498"/>
                </a:lnTo>
                <a:lnTo>
                  <a:pt x="161" y="495"/>
                </a:lnTo>
                <a:lnTo>
                  <a:pt x="159" y="495"/>
                </a:lnTo>
                <a:lnTo>
                  <a:pt x="159" y="497"/>
                </a:lnTo>
                <a:lnTo>
                  <a:pt x="158" y="498"/>
                </a:lnTo>
                <a:lnTo>
                  <a:pt x="158" y="500"/>
                </a:lnTo>
                <a:lnTo>
                  <a:pt x="157" y="500"/>
                </a:lnTo>
                <a:lnTo>
                  <a:pt x="156" y="499"/>
                </a:lnTo>
                <a:lnTo>
                  <a:pt x="155" y="499"/>
                </a:lnTo>
                <a:lnTo>
                  <a:pt x="153" y="498"/>
                </a:lnTo>
                <a:lnTo>
                  <a:pt x="153" y="497"/>
                </a:lnTo>
                <a:lnTo>
                  <a:pt x="156" y="494"/>
                </a:lnTo>
                <a:lnTo>
                  <a:pt x="157" y="492"/>
                </a:lnTo>
                <a:lnTo>
                  <a:pt x="157" y="487"/>
                </a:lnTo>
                <a:lnTo>
                  <a:pt x="156" y="486"/>
                </a:lnTo>
                <a:lnTo>
                  <a:pt x="155" y="486"/>
                </a:lnTo>
                <a:lnTo>
                  <a:pt x="155" y="487"/>
                </a:lnTo>
                <a:lnTo>
                  <a:pt x="152" y="486"/>
                </a:lnTo>
                <a:lnTo>
                  <a:pt x="151" y="485"/>
                </a:lnTo>
                <a:lnTo>
                  <a:pt x="150" y="485"/>
                </a:lnTo>
                <a:lnTo>
                  <a:pt x="150" y="486"/>
                </a:lnTo>
                <a:lnTo>
                  <a:pt x="149" y="487"/>
                </a:lnTo>
                <a:lnTo>
                  <a:pt x="146" y="487"/>
                </a:lnTo>
                <a:lnTo>
                  <a:pt x="146" y="485"/>
                </a:lnTo>
                <a:lnTo>
                  <a:pt x="145" y="484"/>
                </a:lnTo>
                <a:lnTo>
                  <a:pt x="144" y="485"/>
                </a:lnTo>
                <a:lnTo>
                  <a:pt x="141" y="485"/>
                </a:lnTo>
                <a:lnTo>
                  <a:pt x="141" y="482"/>
                </a:lnTo>
                <a:lnTo>
                  <a:pt x="140" y="482"/>
                </a:lnTo>
                <a:lnTo>
                  <a:pt x="140" y="480"/>
                </a:lnTo>
                <a:lnTo>
                  <a:pt x="141" y="480"/>
                </a:lnTo>
                <a:lnTo>
                  <a:pt x="143" y="479"/>
                </a:lnTo>
                <a:lnTo>
                  <a:pt x="146" y="479"/>
                </a:lnTo>
                <a:lnTo>
                  <a:pt x="146" y="478"/>
                </a:lnTo>
                <a:lnTo>
                  <a:pt x="147" y="476"/>
                </a:lnTo>
                <a:lnTo>
                  <a:pt x="149" y="476"/>
                </a:lnTo>
                <a:lnTo>
                  <a:pt x="149" y="475"/>
                </a:lnTo>
                <a:lnTo>
                  <a:pt x="150" y="474"/>
                </a:lnTo>
                <a:lnTo>
                  <a:pt x="150" y="473"/>
                </a:lnTo>
                <a:lnTo>
                  <a:pt x="152" y="470"/>
                </a:lnTo>
                <a:lnTo>
                  <a:pt x="152" y="469"/>
                </a:lnTo>
                <a:lnTo>
                  <a:pt x="153" y="468"/>
                </a:lnTo>
                <a:lnTo>
                  <a:pt x="153" y="466"/>
                </a:lnTo>
                <a:lnTo>
                  <a:pt x="155" y="463"/>
                </a:lnTo>
                <a:lnTo>
                  <a:pt x="157" y="454"/>
                </a:lnTo>
                <a:lnTo>
                  <a:pt x="158" y="450"/>
                </a:lnTo>
                <a:lnTo>
                  <a:pt x="159" y="443"/>
                </a:lnTo>
                <a:lnTo>
                  <a:pt x="163" y="418"/>
                </a:lnTo>
                <a:lnTo>
                  <a:pt x="163" y="411"/>
                </a:lnTo>
                <a:lnTo>
                  <a:pt x="164" y="409"/>
                </a:lnTo>
                <a:lnTo>
                  <a:pt x="164" y="408"/>
                </a:lnTo>
                <a:lnTo>
                  <a:pt x="165" y="406"/>
                </a:lnTo>
                <a:lnTo>
                  <a:pt x="165" y="405"/>
                </a:lnTo>
                <a:lnTo>
                  <a:pt x="171" y="405"/>
                </a:lnTo>
                <a:lnTo>
                  <a:pt x="171" y="401"/>
                </a:lnTo>
                <a:lnTo>
                  <a:pt x="168" y="399"/>
                </a:lnTo>
                <a:lnTo>
                  <a:pt x="168" y="398"/>
                </a:lnTo>
                <a:lnTo>
                  <a:pt x="167" y="398"/>
                </a:lnTo>
                <a:lnTo>
                  <a:pt x="167" y="399"/>
                </a:lnTo>
                <a:lnTo>
                  <a:pt x="165" y="399"/>
                </a:lnTo>
                <a:lnTo>
                  <a:pt x="164" y="402"/>
                </a:lnTo>
                <a:lnTo>
                  <a:pt x="163" y="405"/>
                </a:lnTo>
                <a:lnTo>
                  <a:pt x="165" y="377"/>
                </a:lnTo>
                <a:lnTo>
                  <a:pt x="167" y="368"/>
                </a:lnTo>
                <a:lnTo>
                  <a:pt x="168" y="355"/>
                </a:lnTo>
                <a:lnTo>
                  <a:pt x="170" y="351"/>
                </a:lnTo>
                <a:lnTo>
                  <a:pt x="170" y="350"/>
                </a:lnTo>
                <a:lnTo>
                  <a:pt x="171" y="350"/>
                </a:lnTo>
                <a:lnTo>
                  <a:pt x="171" y="353"/>
                </a:lnTo>
                <a:lnTo>
                  <a:pt x="172" y="355"/>
                </a:lnTo>
                <a:lnTo>
                  <a:pt x="177" y="357"/>
                </a:lnTo>
                <a:lnTo>
                  <a:pt x="182" y="363"/>
                </a:lnTo>
                <a:lnTo>
                  <a:pt x="183" y="365"/>
                </a:lnTo>
                <a:lnTo>
                  <a:pt x="184" y="366"/>
                </a:lnTo>
                <a:lnTo>
                  <a:pt x="184" y="370"/>
                </a:lnTo>
                <a:lnTo>
                  <a:pt x="186" y="376"/>
                </a:lnTo>
                <a:lnTo>
                  <a:pt x="187" y="380"/>
                </a:lnTo>
                <a:lnTo>
                  <a:pt x="193" y="386"/>
                </a:lnTo>
                <a:lnTo>
                  <a:pt x="193" y="384"/>
                </a:lnTo>
                <a:lnTo>
                  <a:pt x="192" y="383"/>
                </a:lnTo>
                <a:lnTo>
                  <a:pt x="194" y="383"/>
                </a:lnTo>
                <a:lnTo>
                  <a:pt x="193" y="382"/>
                </a:lnTo>
                <a:lnTo>
                  <a:pt x="190" y="381"/>
                </a:lnTo>
                <a:lnTo>
                  <a:pt x="188" y="378"/>
                </a:lnTo>
                <a:lnTo>
                  <a:pt x="188" y="376"/>
                </a:lnTo>
                <a:lnTo>
                  <a:pt x="186" y="365"/>
                </a:lnTo>
                <a:lnTo>
                  <a:pt x="186" y="363"/>
                </a:lnTo>
                <a:lnTo>
                  <a:pt x="184" y="359"/>
                </a:lnTo>
                <a:lnTo>
                  <a:pt x="183" y="357"/>
                </a:lnTo>
                <a:lnTo>
                  <a:pt x="182" y="356"/>
                </a:lnTo>
                <a:lnTo>
                  <a:pt x="181" y="353"/>
                </a:lnTo>
                <a:lnTo>
                  <a:pt x="175" y="350"/>
                </a:lnTo>
                <a:lnTo>
                  <a:pt x="175" y="349"/>
                </a:lnTo>
                <a:lnTo>
                  <a:pt x="174" y="347"/>
                </a:lnTo>
                <a:lnTo>
                  <a:pt x="172" y="347"/>
                </a:lnTo>
                <a:lnTo>
                  <a:pt x="169" y="344"/>
                </a:lnTo>
                <a:lnTo>
                  <a:pt x="168" y="344"/>
                </a:lnTo>
                <a:lnTo>
                  <a:pt x="165" y="341"/>
                </a:lnTo>
                <a:lnTo>
                  <a:pt x="164" y="343"/>
                </a:lnTo>
                <a:lnTo>
                  <a:pt x="163" y="341"/>
                </a:lnTo>
                <a:lnTo>
                  <a:pt x="164" y="338"/>
                </a:lnTo>
                <a:lnTo>
                  <a:pt x="164" y="337"/>
                </a:lnTo>
                <a:lnTo>
                  <a:pt x="167" y="335"/>
                </a:lnTo>
                <a:lnTo>
                  <a:pt x="170" y="339"/>
                </a:lnTo>
                <a:lnTo>
                  <a:pt x="171" y="339"/>
                </a:lnTo>
                <a:lnTo>
                  <a:pt x="171" y="340"/>
                </a:lnTo>
                <a:lnTo>
                  <a:pt x="175" y="341"/>
                </a:lnTo>
                <a:lnTo>
                  <a:pt x="174" y="340"/>
                </a:lnTo>
                <a:lnTo>
                  <a:pt x="170" y="338"/>
                </a:lnTo>
                <a:lnTo>
                  <a:pt x="169" y="335"/>
                </a:lnTo>
                <a:lnTo>
                  <a:pt x="168" y="335"/>
                </a:lnTo>
                <a:lnTo>
                  <a:pt x="168" y="332"/>
                </a:lnTo>
                <a:lnTo>
                  <a:pt x="169" y="332"/>
                </a:lnTo>
                <a:lnTo>
                  <a:pt x="169" y="331"/>
                </a:lnTo>
                <a:lnTo>
                  <a:pt x="170" y="331"/>
                </a:lnTo>
                <a:lnTo>
                  <a:pt x="171" y="329"/>
                </a:lnTo>
                <a:lnTo>
                  <a:pt x="171" y="328"/>
                </a:lnTo>
                <a:lnTo>
                  <a:pt x="170" y="328"/>
                </a:lnTo>
                <a:lnTo>
                  <a:pt x="170" y="327"/>
                </a:lnTo>
                <a:lnTo>
                  <a:pt x="171" y="326"/>
                </a:lnTo>
                <a:lnTo>
                  <a:pt x="170" y="326"/>
                </a:lnTo>
                <a:lnTo>
                  <a:pt x="170" y="325"/>
                </a:lnTo>
                <a:lnTo>
                  <a:pt x="169" y="323"/>
                </a:lnTo>
                <a:lnTo>
                  <a:pt x="171" y="323"/>
                </a:lnTo>
                <a:lnTo>
                  <a:pt x="171" y="321"/>
                </a:lnTo>
                <a:lnTo>
                  <a:pt x="170" y="321"/>
                </a:lnTo>
                <a:lnTo>
                  <a:pt x="170" y="318"/>
                </a:lnTo>
                <a:lnTo>
                  <a:pt x="168" y="318"/>
                </a:lnTo>
                <a:lnTo>
                  <a:pt x="169" y="316"/>
                </a:lnTo>
                <a:lnTo>
                  <a:pt x="168" y="316"/>
                </a:lnTo>
                <a:lnTo>
                  <a:pt x="168" y="315"/>
                </a:lnTo>
                <a:lnTo>
                  <a:pt x="165" y="315"/>
                </a:lnTo>
                <a:lnTo>
                  <a:pt x="165" y="313"/>
                </a:lnTo>
                <a:lnTo>
                  <a:pt x="167" y="313"/>
                </a:lnTo>
                <a:lnTo>
                  <a:pt x="165" y="312"/>
                </a:lnTo>
                <a:lnTo>
                  <a:pt x="169" y="308"/>
                </a:lnTo>
                <a:lnTo>
                  <a:pt x="169" y="306"/>
                </a:lnTo>
                <a:lnTo>
                  <a:pt x="168" y="304"/>
                </a:lnTo>
                <a:lnTo>
                  <a:pt x="167" y="304"/>
                </a:lnTo>
                <a:lnTo>
                  <a:pt x="164" y="306"/>
                </a:lnTo>
                <a:lnTo>
                  <a:pt x="165" y="307"/>
                </a:lnTo>
                <a:lnTo>
                  <a:pt x="164" y="307"/>
                </a:lnTo>
                <a:lnTo>
                  <a:pt x="162" y="304"/>
                </a:lnTo>
                <a:lnTo>
                  <a:pt x="159" y="304"/>
                </a:lnTo>
                <a:lnTo>
                  <a:pt x="158" y="303"/>
                </a:lnTo>
                <a:lnTo>
                  <a:pt x="155" y="303"/>
                </a:lnTo>
                <a:lnTo>
                  <a:pt x="155" y="301"/>
                </a:lnTo>
                <a:lnTo>
                  <a:pt x="152" y="298"/>
                </a:lnTo>
                <a:lnTo>
                  <a:pt x="147" y="298"/>
                </a:lnTo>
                <a:lnTo>
                  <a:pt x="147" y="297"/>
                </a:lnTo>
                <a:lnTo>
                  <a:pt x="145" y="296"/>
                </a:lnTo>
                <a:lnTo>
                  <a:pt x="144" y="295"/>
                </a:lnTo>
                <a:lnTo>
                  <a:pt x="141" y="295"/>
                </a:lnTo>
                <a:lnTo>
                  <a:pt x="141" y="294"/>
                </a:lnTo>
                <a:lnTo>
                  <a:pt x="140" y="292"/>
                </a:lnTo>
                <a:lnTo>
                  <a:pt x="140" y="294"/>
                </a:lnTo>
                <a:lnTo>
                  <a:pt x="139" y="289"/>
                </a:lnTo>
                <a:lnTo>
                  <a:pt x="139" y="288"/>
                </a:lnTo>
                <a:lnTo>
                  <a:pt x="138" y="288"/>
                </a:lnTo>
                <a:lnTo>
                  <a:pt x="138" y="285"/>
                </a:lnTo>
                <a:lnTo>
                  <a:pt x="137" y="285"/>
                </a:lnTo>
                <a:lnTo>
                  <a:pt x="137" y="284"/>
                </a:lnTo>
                <a:lnTo>
                  <a:pt x="136" y="284"/>
                </a:lnTo>
                <a:lnTo>
                  <a:pt x="136" y="282"/>
                </a:lnTo>
                <a:lnTo>
                  <a:pt x="133" y="282"/>
                </a:lnTo>
                <a:lnTo>
                  <a:pt x="133" y="280"/>
                </a:lnTo>
                <a:lnTo>
                  <a:pt x="132" y="278"/>
                </a:lnTo>
                <a:lnTo>
                  <a:pt x="128" y="275"/>
                </a:lnTo>
                <a:lnTo>
                  <a:pt x="126" y="275"/>
                </a:lnTo>
                <a:lnTo>
                  <a:pt x="126" y="269"/>
                </a:lnTo>
                <a:lnTo>
                  <a:pt x="127" y="269"/>
                </a:lnTo>
                <a:lnTo>
                  <a:pt x="127" y="267"/>
                </a:lnTo>
                <a:lnTo>
                  <a:pt x="128" y="266"/>
                </a:lnTo>
                <a:lnTo>
                  <a:pt x="130" y="266"/>
                </a:lnTo>
                <a:lnTo>
                  <a:pt x="130" y="265"/>
                </a:lnTo>
                <a:lnTo>
                  <a:pt x="131" y="263"/>
                </a:lnTo>
                <a:lnTo>
                  <a:pt x="131" y="261"/>
                </a:lnTo>
                <a:lnTo>
                  <a:pt x="132" y="261"/>
                </a:lnTo>
                <a:lnTo>
                  <a:pt x="132" y="259"/>
                </a:lnTo>
                <a:lnTo>
                  <a:pt x="131" y="258"/>
                </a:lnTo>
                <a:lnTo>
                  <a:pt x="127" y="255"/>
                </a:lnTo>
                <a:lnTo>
                  <a:pt x="122" y="255"/>
                </a:lnTo>
                <a:lnTo>
                  <a:pt x="121" y="254"/>
                </a:lnTo>
                <a:lnTo>
                  <a:pt x="122" y="254"/>
                </a:lnTo>
                <a:lnTo>
                  <a:pt x="122" y="253"/>
                </a:lnTo>
                <a:lnTo>
                  <a:pt x="125" y="253"/>
                </a:lnTo>
                <a:lnTo>
                  <a:pt x="125" y="246"/>
                </a:lnTo>
                <a:lnTo>
                  <a:pt x="126" y="246"/>
                </a:lnTo>
                <a:lnTo>
                  <a:pt x="130" y="245"/>
                </a:lnTo>
                <a:lnTo>
                  <a:pt x="132" y="245"/>
                </a:lnTo>
                <a:lnTo>
                  <a:pt x="134" y="246"/>
                </a:lnTo>
                <a:lnTo>
                  <a:pt x="136" y="246"/>
                </a:lnTo>
                <a:lnTo>
                  <a:pt x="136" y="247"/>
                </a:lnTo>
                <a:lnTo>
                  <a:pt x="137" y="248"/>
                </a:lnTo>
                <a:lnTo>
                  <a:pt x="139" y="248"/>
                </a:lnTo>
                <a:lnTo>
                  <a:pt x="140" y="249"/>
                </a:lnTo>
                <a:lnTo>
                  <a:pt x="140" y="248"/>
                </a:lnTo>
                <a:lnTo>
                  <a:pt x="138" y="247"/>
                </a:lnTo>
                <a:lnTo>
                  <a:pt x="136" y="245"/>
                </a:lnTo>
                <a:lnTo>
                  <a:pt x="133" y="245"/>
                </a:lnTo>
                <a:lnTo>
                  <a:pt x="133" y="243"/>
                </a:lnTo>
                <a:lnTo>
                  <a:pt x="125" y="243"/>
                </a:lnTo>
                <a:lnTo>
                  <a:pt x="124" y="245"/>
                </a:lnTo>
                <a:lnTo>
                  <a:pt x="124" y="246"/>
                </a:lnTo>
                <a:lnTo>
                  <a:pt x="122" y="246"/>
                </a:lnTo>
                <a:lnTo>
                  <a:pt x="121" y="247"/>
                </a:lnTo>
                <a:lnTo>
                  <a:pt x="120" y="247"/>
                </a:lnTo>
                <a:lnTo>
                  <a:pt x="120" y="248"/>
                </a:lnTo>
                <a:lnTo>
                  <a:pt x="119" y="248"/>
                </a:lnTo>
                <a:lnTo>
                  <a:pt x="115" y="245"/>
                </a:lnTo>
                <a:lnTo>
                  <a:pt x="115" y="246"/>
                </a:lnTo>
                <a:lnTo>
                  <a:pt x="114" y="246"/>
                </a:lnTo>
                <a:lnTo>
                  <a:pt x="114" y="247"/>
                </a:lnTo>
                <a:lnTo>
                  <a:pt x="113" y="247"/>
                </a:lnTo>
                <a:lnTo>
                  <a:pt x="108" y="245"/>
                </a:lnTo>
                <a:lnTo>
                  <a:pt x="108" y="243"/>
                </a:lnTo>
                <a:lnTo>
                  <a:pt x="109" y="245"/>
                </a:lnTo>
                <a:lnTo>
                  <a:pt x="113" y="245"/>
                </a:lnTo>
                <a:lnTo>
                  <a:pt x="113" y="243"/>
                </a:lnTo>
                <a:lnTo>
                  <a:pt x="112" y="242"/>
                </a:lnTo>
                <a:lnTo>
                  <a:pt x="112" y="241"/>
                </a:lnTo>
                <a:lnTo>
                  <a:pt x="110" y="241"/>
                </a:lnTo>
                <a:lnTo>
                  <a:pt x="109" y="240"/>
                </a:lnTo>
                <a:lnTo>
                  <a:pt x="108" y="240"/>
                </a:lnTo>
                <a:lnTo>
                  <a:pt x="112" y="238"/>
                </a:lnTo>
                <a:lnTo>
                  <a:pt x="115" y="238"/>
                </a:lnTo>
                <a:lnTo>
                  <a:pt x="115" y="236"/>
                </a:lnTo>
                <a:lnTo>
                  <a:pt x="113" y="236"/>
                </a:lnTo>
                <a:lnTo>
                  <a:pt x="113" y="235"/>
                </a:lnTo>
                <a:lnTo>
                  <a:pt x="110" y="235"/>
                </a:lnTo>
                <a:lnTo>
                  <a:pt x="112" y="234"/>
                </a:lnTo>
                <a:lnTo>
                  <a:pt x="110" y="233"/>
                </a:lnTo>
                <a:lnTo>
                  <a:pt x="112" y="233"/>
                </a:lnTo>
                <a:lnTo>
                  <a:pt x="114" y="232"/>
                </a:lnTo>
                <a:lnTo>
                  <a:pt x="110" y="230"/>
                </a:lnTo>
                <a:lnTo>
                  <a:pt x="106" y="230"/>
                </a:lnTo>
                <a:lnTo>
                  <a:pt x="107" y="229"/>
                </a:lnTo>
                <a:lnTo>
                  <a:pt x="106" y="229"/>
                </a:lnTo>
                <a:lnTo>
                  <a:pt x="106" y="232"/>
                </a:lnTo>
                <a:lnTo>
                  <a:pt x="105" y="230"/>
                </a:lnTo>
                <a:lnTo>
                  <a:pt x="103" y="230"/>
                </a:lnTo>
                <a:lnTo>
                  <a:pt x="103" y="232"/>
                </a:lnTo>
                <a:lnTo>
                  <a:pt x="99" y="232"/>
                </a:lnTo>
                <a:lnTo>
                  <a:pt x="97" y="233"/>
                </a:lnTo>
                <a:lnTo>
                  <a:pt x="97" y="232"/>
                </a:lnTo>
                <a:lnTo>
                  <a:pt x="96" y="232"/>
                </a:lnTo>
                <a:lnTo>
                  <a:pt x="95" y="230"/>
                </a:lnTo>
                <a:lnTo>
                  <a:pt x="95" y="229"/>
                </a:lnTo>
                <a:lnTo>
                  <a:pt x="94" y="229"/>
                </a:lnTo>
                <a:lnTo>
                  <a:pt x="93" y="228"/>
                </a:lnTo>
                <a:lnTo>
                  <a:pt x="95" y="228"/>
                </a:lnTo>
                <a:lnTo>
                  <a:pt x="96" y="229"/>
                </a:lnTo>
                <a:lnTo>
                  <a:pt x="97" y="229"/>
                </a:lnTo>
                <a:lnTo>
                  <a:pt x="97" y="228"/>
                </a:lnTo>
                <a:lnTo>
                  <a:pt x="99" y="229"/>
                </a:lnTo>
                <a:lnTo>
                  <a:pt x="100" y="229"/>
                </a:lnTo>
                <a:lnTo>
                  <a:pt x="101" y="228"/>
                </a:lnTo>
                <a:lnTo>
                  <a:pt x="102" y="226"/>
                </a:lnTo>
                <a:lnTo>
                  <a:pt x="102" y="224"/>
                </a:lnTo>
                <a:lnTo>
                  <a:pt x="101" y="224"/>
                </a:lnTo>
                <a:lnTo>
                  <a:pt x="100" y="223"/>
                </a:lnTo>
                <a:lnTo>
                  <a:pt x="99" y="223"/>
                </a:lnTo>
                <a:lnTo>
                  <a:pt x="97" y="224"/>
                </a:lnTo>
                <a:lnTo>
                  <a:pt x="95" y="224"/>
                </a:lnTo>
                <a:lnTo>
                  <a:pt x="95" y="226"/>
                </a:lnTo>
                <a:lnTo>
                  <a:pt x="91" y="226"/>
                </a:lnTo>
                <a:lnTo>
                  <a:pt x="91" y="224"/>
                </a:lnTo>
                <a:lnTo>
                  <a:pt x="93" y="223"/>
                </a:lnTo>
                <a:lnTo>
                  <a:pt x="91" y="223"/>
                </a:lnTo>
                <a:lnTo>
                  <a:pt x="90" y="222"/>
                </a:lnTo>
                <a:lnTo>
                  <a:pt x="90" y="226"/>
                </a:lnTo>
                <a:lnTo>
                  <a:pt x="91" y="226"/>
                </a:lnTo>
                <a:lnTo>
                  <a:pt x="91" y="227"/>
                </a:lnTo>
                <a:lnTo>
                  <a:pt x="93" y="228"/>
                </a:lnTo>
                <a:lnTo>
                  <a:pt x="91" y="228"/>
                </a:lnTo>
                <a:lnTo>
                  <a:pt x="90" y="227"/>
                </a:lnTo>
                <a:lnTo>
                  <a:pt x="89" y="227"/>
                </a:lnTo>
                <a:lnTo>
                  <a:pt x="89" y="226"/>
                </a:lnTo>
                <a:lnTo>
                  <a:pt x="88" y="226"/>
                </a:lnTo>
                <a:lnTo>
                  <a:pt x="89" y="227"/>
                </a:lnTo>
                <a:lnTo>
                  <a:pt x="85" y="227"/>
                </a:lnTo>
                <a:lnTo>
                  <a:pt x="84" y="226"/>
                </a:lnTo>
                <a:lnTo>
                  <a:pt x="84" y="227"/>
                </a:lnTo>
                <a:lnTo>
                  <a:pt x="81" y="223"/>
                </a:lnTo>
                <a:lnTo>
                  <a:pt x="81" y="222"/>
                </a:lnTo>
                <a:lnTo>
                  <a:pt x="82" y="221"/>
                </a:lnTo>
                <a:lnTo>
                  <a:pt x="84" y="220"/>
                </a:lnTo>
                <a:lnTo>
                  <a:pt x="84" y="218"/>
                </a:lnTo>
                <a:lnTo>
                  <a:pt x="83" y="218"/>
                </a:lnTo>
                <a:lnTo>
                  <a:pt x="83" y="217"/>
                </a:lnTo>
                <a:lnTo>
                  <a:pt x="82" y="217"/>
                </a:lnTo>
                <a:lnTo>
                  <a:pt x="82" y="216"/>
                </a:lnTo>
                <a:lnTo>
                  <a:pt x="81" y="217"/>
                </a:lnTo>
                <a:lnTo>
                  <a:pt x="82" y="217"/>
                </a:lnTo>
                <a:lnTo>
                  <a:pt x="82" y="220"/>
                </a:lnTo>
                <a:lnTo>
                  <a:pt x="81" y="220"/>
                </a:lnTo>
                <a:lnTo>
                  <a:pt x="81" y="222"/>
                </a:lnTo>
                <a:lnTo>
                  <a:pt x="80" y="222"/>
                </a:lnTo>
                <a:lnTo>
                  <a:pt x="78" y="221"/>
                </a:lnTo>
                <a:lnTo>
                  <a:pt x="77" y="221"/>
                </a:lnTo>
                <a:lnTo>
                  <a:pt x="75" y="218"/>
                </a:lnTo>
                <a:lnTo>
                  <a:pt x="75" y="217"/>
                </a:lnTo>
                <a:lnTo>
                  <a:pt x="76" y="217"/>
                </a:lnTo>
                <a:lnTo>
                  <a:pt x="76" y="216"/>
                </a:lnTo>
                <a:lnTo>
                  <a:pt x="77" y="215"/>
                </a:lnTo>
                <a:lnTo>
                  <a:pt x="77" y="214"/>
                </a:lnTo>
                <a:lnTo>
                  <a:pt x="76" y="215"/>
                </a:lnTo>
                <a:lnTo>
                  <a:pt x="76" y="216"/>
                </a:lnTo>
                <a:lnTo>
                  <a:pt x="74" y="217"/>
                </a:lnTo>
                <a:lnTo>
                  <a:pt x="74" y="218"/>
                </a:lnTo>
                <a:lnTo>
                  <a:pt x="70" y="220"/>
                </a:lnTo>
                <a:lnTo>
                  <a:pt x="70" y="218"/>
                </a:lnTo>
                <a:lnTo>
                  <a:pt x="68" y="216"/>
                </a:lnTo>
                <a:lnTo>
                  <a:pt x="68" y="215"/>
                </a:lnTo>
                <a:lnTo>
                  <a:pt x="63" y="215"/>
                </a:lnTo>
                <a:lnTo>
                  <a:pt x="62" y="214"/>
                </a:lnTo>
                <a:lnTo>
                  <a:pt x="59" y="214"/>
                </a:lnTo>
                <a:lnTo>
                  <a:pt x="59" y="212"/>
                </a:lnTo>
                <a:lnTo>
                  <a:pt x="57" y="214"/>
                </a:lnTo>
                <a:lnTo>
                  <a:pt x="53" y="214"/>
                </a:lnTo>
                <a:lnTo>
                  <a:pt x="53" y="212"/>
                </a:lnTo>
                <a:lnTo>
                  <a:pt x="52" y="211"/>
                </a:lnTo>
                <a:lnTo>
                  <a:pt x="52" y="210"/>
                </a:lnTo>
                <a:lnTo>
                  <a:pt x="51" y="210"/>
                </a:lnTo>
                <a:lnTo>
                  <a:pt x="51" y="209"/>
                </a:lnTo>
                <a:lnTo>
                  <a:pt x="49" y="206"/>
                </a:lnTo>
                <a:lnTo>
                  <a:pt x="47" y="206"/>
                </a:lnTo>
                <a:lnTo>
                  <a:pt x="49" y="208"/>
                </a:lnTo>
                <a:lnTo>
                  <a:pt x="47" y="209"/>
                </a:lnTo>
                <a:lnTo>
                  <a:pt x="46" y="209"/>
                </a:lnTo>
                <a:lnTo>
                  <a:pt x="46" y="210"/>
                </a:lnTo>
                <a:lnTo>
                  <a:pt x="45" y="209"/>
                </a:lnTo>
                <a:lnTo>
                  <a:pt x="41" y="209"/>
                </a:lnTo>
                <a:lnTo>
                  <a:pt x="40" y="210"/>
                </a:lnTo>
                <a:lnTo>
                  <a:pt x="40" y="209"/>
                </a:lnTo>
                <a:lnTo>
                  <a:pt x="39" y="209"/>
                </a:lnTo>
                <a:lnTo>
                  <a:pt x="40" y="210"/>
                </a:lnTo>
                <a:lnTo>
                  <a:pt x="39" y="210"/>
                </a:lnTo>
                <a:lnTo>
                  <a:pt x="39" y="211"/>
                </a:lnTo>
                <a:lnTo>
                  <a:pt x="40" y="211"/>
                </a:lnTo>
                <a:lnTo>
                  <a:pt x="38" y="214"/>
                </a:lnTo>
                <a:lnTo>
                  <a:pt x="32" y="212"/>
                </a:lnTo>
                <a:lnTo>
                  <a:pt x="32" y="211"/>
                </a:lnTo>
                <a:lnTo>
                  <a:pt x="33" y="211"/>
                </a:lnTo>
                <a:lnTo>
                  <a:pt x="33" y="209"/>
                </a:lnTo>
                <a:lnTo>
                  <a:pt x="32" y="208"/>
                </a:lnTo>
                <a:lnTo>
                  <a:pt x="32" y="206"/>
                </a:lnTo>
                <a:lnTo>
                  <a:pt x="31" y="205"/>
                </a:lnTo>
                <a:lnTo>
                  <a:pt x="28" y="202"/>
                </a:lnTo>
                <a:lnTo>
                  <a:pt x="25" y="199"/>
                </a:lnTo>
                <a:lnTo>
                  <a:pt x="23" y="200"/>
                </a:lnTo>
                <a:lnTo>
                  <a:pt x="22" y="199"/>
                </a:lnTo>
                <a:lnTo>
                  <a:pt x="20" y="199"/>
                </a:lnTo>
                <a:lnTo>
                  <a:pt x="16" y="198"/>
                </a:lnTo>
                <a:lnTo>
                  <a:pt x="18" y="197"/>
                </a:lnTo>
                <a:lnTo>
                  <a:pt x="19" y="197"/>
                </a:lnTo>
                <a:lnTo>
                  <a:pt x="32" y="193"/>
                </a:lnTo>
                <a:lnTo>
                  <a:pt x="34" y="195"/>
                </a:lnTo>
                <a:lnTo>
                  <a:pt x="35" y="193"/>
                </a:lnTo>
                <a:lnTo>
                  <a:pt x="35" y="191"/>
                </a:lnTo>
                <a:lnTo>
                  <a:pt x="34" y="190"/>
                </a:lnTo>
                <a:lnTo>
                  <a:pt x="34" y="187"/>
                </a:lnTo>
                <a:lnTo>
                  <a:pt x="32" y="187"/>
                </a:lnTo>
                <a:lnTo>
                  <a:pt x="32" y="186"/>
                </a:lnTo>
                <a:lnTo>
                  <a:pt x="31" y="186"/>
                </a:lnTo>
                <a:lnTo>
                  <a:pt x="28" y="185"/>
                </a:lnTo>
                <a:lnTo>
                  <a:pt x="27" y="185"/>
                </a:lnTo>
                <a:lnTo>
                  <a:pt x="26" y="186"/>
                </a:lnTo>
                <a:lnTo>
                  <a:pt x="26" y="189"/>
                </a:lnTo>
                <a:lnTo>
                  <a:pt x="25" y="190"/>
                </a:lnTo>
                <a:lnTo>
                  <a:pt x="23" y="190"/>
                </a:lnTo>
                <a:lnTo>
                  <a:pt x="23" y="189"/>
                </a:lnTo>
                <a:lnTo>
                  <a:pt x="25" y="187"/>
                </a:lnTo>
                <a:lnTo>
                  <a:pt x="23" y="187"/>
                </a:lnTo>
                <a:lnTo>
                  <a:pt x="23" y="184"/>
                </a:lnTo>
                <a:lnTo>
                  <a:pt x="21" y="184"/>
                </a:lnTo>
                <a:lnTo>
                  <a:pt x="21" y="183"/>
                </a:lnTo>
                <a:lnTo>
                  <a:pt x="23" y="183"/>
                </a:lnTo>
                <a:lnTo>
                  <a:pt x="23" y="181"/>
                </a:lnTo>
                <a:lnTo>
                  <a:pt x="22" y="181"/>
                </a:lnTo>
                <a:lnTo>
                  <a:pt x="23" y="179"/>
                </a:lnTo>
                <a:lnTo>
                  <a:pt x="25" y="179"/>
                </a:lnTo>
                <a:lnTo>
                  <a:pt x="25" y="181"/>
                </a:lnTo>
                <a:lnTo>
                  <a:pt x="26" y="183"/>
                </a:lnTo>
                <a:lnTo>
                  <a:pt x="29" y="181"/>
                </a:lnTo>
                <a:lnTo>
                  <a:pt x="29" y="183"/>
                </a:lnTo>
                <a:lnTo>
                  <a:pt x="32" y="183"/>
                </a:lnTo>
                <a:lnTo>
                  <a:pt x="33" y="181"/>
                </a:lnTo>
                <a:lnTo>
                  <a:pt x="35" y="181"/>
                </a:lnTo>
                <a:lnTo>
                  <a:pt x="35" y="180"/>
                </a:lnTo>
                <a:lnTo>
                  <a:pt x="34" y="180"/>
                </a:lnTo>
                <a:lnTo>
                  <a:pt x="34" y="179"/>
                </a:lnTo>
                <a:lnTo>
                  <a:pt x="35" y="179"/>
                </a:lnTo>
                <a:lnTo>
                  <a:pt x="35" y="178"/>
                </a:lnTo>
                <a:lnTo>
                  <a:pt x="34" y="179"/>
                </a:lnTo>
                <a:lnTo>
                  <a:pt x="28" y="179"/>
                </a:lnTo>
                <a:lnTo>
                  <a:pt x="31" y="177"/>
                </a:lnTo>
                <a:lnTo>
                  <a:pt x="31" y="175"/>
                </a:lnTo>
                <a:lnTo>
                  <a:pt x="33" y="174"/>
                </a:lnTo>
                <a:lnTo>
                  <a:pt x="34" y="174"/>
                </a:lnTo>
                <a:lnTo>
                  <a:pt x="35" y="173"/>
                </a:lnTo>
                <a:lnTo>
                  <a:pt x="33" y="174"/>
                </a:lnTo>
                <a:lnTo>
                  <a:pt x="32" y="174"/>
                </a:lnTo>
                <a:lnTo>
                  <a:pt x="29" y="175"/>
                </a:lnTo>
                <a:lnTo>
                  <a:pt x="28" y="175"/>
                </a:lnTo>
                <a:lnTo>
                  <a:pt x="25" y="178"/>
                </a:lnTo>
                <a:lnTo>
                  <a:pt x="23" y="178"/>
                </a:lnTo>
                <a:lnTo>
                  <a:pt x="22" y="179"/>
                </a:lnTo>
                <a:lnTo>
                  <a:pt x="20" y="179"/>
                </a:lnTo>
                <a:lnTo>
                  <a:pt x="19" y="178"/>
                </a:lnTo>
                <a:lnTo>
                  <a:pt x="18" y="178"/>
                </a:lnTo>
                <a:lnTo>
                  <a:pt x="18" y="179"/>
                </a:lnTo>
                <a:lnTo>
                  <a:pt x="15" y="179"/>
                </a:lnTo>
                <a:lnTo>
                  <a:pt x="14" y="178"/>
                </a:lnTo>
                <a:lnTo>
                  <a:pt x="14" y="177"/>
                </a:lnTo>
                <a:lnTo>
                  <a:pt x="15" y="177"/>
                </a:lnTo>
                <a:lnTo>
                  <a:pt x="14" y="174"/>
                </a:lnTo>
                <a:lnTo>
                  <a:pt x="14" y="172"/>
                </a:lnTo>
                <a:lnTo>
                  <a:pt x="15" y="171"/>
                </a:lnTo>
                <a:lnTo>
                  <a:pt x="14" y="169"/>
                </a:lnTo>
                <a:lnTo>
                  <a:pt x="15" y="168"/>
                </a:lnTo>
                <a:lnTo>
                  <a:pt x="16" y="166"/>
                </a:lnTo>
                <a:lnTo>
                  <a:pt x="16" y="165"/>
                </a:lnTo>
                <a:lnTo>
                  <a:pt x="18" y="165"/>
                </a:lnTo>
                <a:lnTo>
                  <a:pt x="19" y="163"/>
                </a:lnTo>
                <a:lnTo>
                  <a:pt x="20" y="163"/>
                </a:lnTo>
                <a:lnTo>
                  <a:pt x="21" y="165"/>
                </a:lnTo>
                <a:lnTo>
                  <a:pt x="22" y="165"/>
                </a:lnTo>
                <a:lnTo>
                  <a:pt x="22" y="163"/>
                </a:lnTo>
                <a:lnTo>
                  <a:pt x="21" y="162"/>
                </a:lnTo>
                <a:lnTo>
                  <a:pt x="23" y="162"/>
                </a:lnTo>
                <a:lnTo>
                  <a:pt x="23" y="161"/>
                </a:lnTo>
                <a:lnTo>
                  <a:pt x="27" y="161"/>
                </a:lnTo>
                <a:lnTo>
                  <a:pt x="29" y="160"/>
                </a:lnTo>
                <a:lnTo>
                  <a:pt x="29" y="159"/>
                </a:lnTo>
                <a:lnTo>
                  <a:pt x="32" y="159"/>
                </a:lnTo>
                <a:lnTo>
                  <a:pt x="33" y="157"/>
                </a:lnTo>
                <a:lnTo>
                  <a:pt x="34" y="157"/>
                </a:lnTo>
                <a:lnTo>
                  <a:pt x="34" y="160"/>
                </a:lnTo>
                <a:lnTo>
                  <a:pt x="35" y="160"/>
                </a:lnTo>
                <a:lnTo>
                  <a:pt x="37" y="159"/>
                </a:lnTo>
                <a:lnTo>
                  <a:pt x="38" y="159"/>
                </a:lnTo>
                <a:lnTo>
                  <a:pt x="39" y="160"/>
                </a:lnTo>
                <a:lnTo>
                  <a:pt x="39" y="157"/>
                </a:lnTo>
                <a:lnTo>
                  <a:pt x="40" y="156"/>
                </a:lnTo>
                <a:lnTo>
                  <a:pt x="44" y="156"/>
                </a:lnTo>
                <a:lnTo>
                  <a:pt x="44" y="157"/>
                </a:lnTo>
                <a:lnTo>
                  <a:pt x="45" y="157"/>
                </a:lnTo>
                <a:lnTo>
                  <a:pt x="45" y="155"/>
                </a:lnTo>
                <a:lnTo>
                  <a:pt x="47" y="155"/>
                </a:lnTo>
                <a:lnTo>
                  <a:pt x="49" y="154"/>
                </a:lnTo>
                <a:lnTo>
                  <a:pt x="49" y="157"/>
                </a:lnTo>
                <a:lnTo>
                  <a:pt x="50" y="157"/>
                </a:lnTo>
                <a:lnTo>
                  <a:pt x="49" y="159"/>
                </a:lnTo>
                <a:lnTo>
                  <a:pt x="50" y="159"/>
                </a:lnTo>
                <a:lnTo>
                  <a:pt x="50" y="157"/>
                </a:lnTo>
                <a:lnTo>
                  <a:pt x="52" y="157"/>
                </a:lnTo>
                <a:lnTo>
                  <a:pt x="51" y="159"/>
                </a:lnTo>
                <a:lnTo>
                  <a:pt x="52" y="159"/>
                </a:lnTo>
                <a:lnTo>
                  <a:pt x="53" y="160"/>
                </a:lnTo>
                <a:lnTo>
                  <a:pt x="53" y="157"/>
                </a:lnTo>
                <a:lnTo>
                  <a:pt x="54" y="159"/>
                </a:lnTo>
                <a:lnTo>
                  <a:pt x="54" y="155"/>
                </a:lnTo>
                <a:lnTo>
                  <a:pt x="59" y="155"/>
                </a:lnTo>
                <a:lnTo>
                  <a:pt x="60" y="156"/>
                </a:lnTo>
                <a:lnTo>
                  <a:pt x="63" y="156"/>
                </a:lnTo>
                <a:lnTo>
                  <a:pt x="63" y="157"/>
                </a:lnTo>
                <a:lnTo>
                  <a:pt x="65" y="157"/>
                </a:lnTo>
                <a:lnTo>
                  <a:pt x="65" y="154"/>
                </a:lnTo>
                <a:lnTo>
                  <a:pt x="66" y="154"/>
                </a:lnTo>
                <a:lnTo>
                  <a:pt x="65" y="152"/>
                </a:lnTo>
                <a:lnTo>
                  <a:pt x="65" y="150"/>
                </a:lnTo>
                <a:lnTo>
                  <a:pt x="68" y="148"/>
                </a:lnTo>
                <a:lnTo>
                  <a:pt x="68" y="147"/>
                </a:lnTo>
                <a:lnTo>
                  <a:pt x="69" y="148"/>
                </a:lnTo>
                <a:lnTo>
                  <a:pt x="71" y="148"/>
                </a:lnTo>
                <a:lnTo>
                  <a:pt x="71" y="149"/>
                </a:lnTo>
                <a:lnTo>
                  <a:pt x="74" y="149"/>
                </a:lnTo>
                <a:lnTo>
                  <a:pt x="74" y="148"/>
                </a:lnTo>
                <a:lnTo>
                  <a:pt x="77" y="147"/>
                </a:lnTo>
                <a:lnTo>
                  <a:pt x="78" y="147"/>
                </a:lnTo>
                <a:lnTo>
                  <a:pt x="80" y="146"/>
                </a:lnTo>
                <a:lnTo>
                  <a:pt x="81" y="146"/>
                </a:lnTo>
                <a:lnTo>
                  <a:pt x="81" y="149"/>
                </a:lnTo>
                <a:lnTo>
                  <a:pt x="80" y="149"/>
                </a:lnTo>
                <a:lnTo>
                  <a:pt x="80" y="150"/>
                </a:lnTo>
                <a:lnTo>
                  <a:pt x="81" y="149"/>
                </a:lnTo>
                <a:lnTo>
                  <a:pt x="82" y="147"/>
                </a:lnTo>
                <a:lnTo>
                  <a:pt x="83" y="147"/>
                </a:lnTo>
                <a:lnTo>
                  <a:pt x="83" y="146"/>
                </a:lnTo>
                <a:lnTo>
                  <a:pt x="85" y="146"/>
                </a:lnTo>
                <a:lnTo>
                  <a:pt x="85" y="148"/>
                </a:lnTo>
                <a:lnTo>
                  <a:pt x="87" y="148"/>
                </a:lnTo>
                <a:lnTo>
                  <a:pt x="88" y="149"/>
                </a:lnTo>
                <a:lnTo>
                  <a:pt x="88" y="152"/>
                </a:lnTo>
                <a:lnTo>
                  <a:pt x="93" y="152"/>
                </a:lnTo>
                <a:lnTo>
                  <a:pt x="93" y="154"/>
                </a:lnTo>
                <a:lnTo>
                  <a:pt x="91" y="154"/>
                </a:lnTo>
                <a:lnTo>
                  <a:pt x="96" y="159"/>
                </a:lnTo>
                <a:lnTo>
                  <a:pt x="97" y="161"/>
                </a:lnTo>
                <a:lnTo>
                  <a:pt x="97" y="163"/>
                </a:lnTo>
                <a:lnTo>
                  <a:pt x="99" y="163"/>
                </a:lnTo>
                <a:lnTo>
                  <a:pt x="101" y="165"/>
                </a:lnTo>
                <a:lnTo>
                  <a:pt x="101" y="167"/>
                </a:lnTo>
                <a:lnTo>
                  <a:pt x="102" y="167"/>
                </a:lnTo>
                <a:lnTo>
                  <a:pt x="102" y="168"/>
                </a:lnTo>
                <a:lnTo>
                  <a:pt x="103" y="168"/>
                </a:lnTo>
                <a:lnTo>
                  <a:pt x="103" y="167"/>
                </a:lnTo>
                <a:lnTo>
                  <a:pt x="105" y="167"/>
                </a:lnTo>
                <a:lnTo>
                  <a:pt x="106" y="166"/>
                </a:lnTo>
                <a:lnTo>
                  <a:pt x="107" y="163"/>
                </a:lnTo>
                <a:lnTo>
                  <a:pt x="108" y="163"/>
                </a:lnTo>
                <a:lnTo>
                  <a:pt x="109" y="162"/>
                </a:lnTo>
                <a:lnTo>
                  <a:pt x="112" y="161"/>
                </a:lnTo>
                <a:lnTo>
                  <a:pt x="112" y="160"/>
                </a:lnTo>
                <a:lnTo>
                  <a:pt x="110" y="160"/>
                </a:lnTo>
                <a:lnTo>
                  <a:pt x="113" y="159"/>
                </a:lnTo>
                <a:lnTo>
                  <a:pt x="114" y="159"/>
                </a:lnTo>
                <a:lnTo>
                  <a:pt x="114" y="160"/>
                </a:lnTo>
                <a:lnTo>
                  <a:pt x="115" y="160"/>
                </a:lnTo>
                <a:lnTo>
                  <a:pt x="118" y="157"/>
                </a:lnTo>
                <a:lnTo>
                  <a:pt x="118" y="156"/>
                </a:lnTo>
                <a:lnTo>
                  <a:pt x="119" y="157"/>
                </a:lnTo>
                <a:lnTo>
                  <a:pt x="120" y="157"/>
                </a:lnTo>
                <a:lnTo>
                  <a:pt x="120" y="159"/>
                </a:lnTo>
                <a:lnTo>
                  <a:pt x="119" y="159"/>
                </a:lnTo>
                <a:lnTo>
                  <a:pt x="119" y="160"/>
                </a:lnTo>
                <a:lnTo>
                  <a:pt x="118" y="161"/>
                </a:lnTo>
                <a:lnTo>
                  <a:pt x="119" y="161"/>
                </a:lnTo>
                <a:lnTo>
                  <a:pt x="120" y="160"/>
                </a:lnTo>
                <a:lnTo>
                  <a:pt x="121" y="160"/>
                </a:lnTo>
                <a:lnTo>
                  <a:pt x="121" y="161"/>
                </a:lnTo>
                <a:lnTo>
                  <a:pt x="122" y="162"/>
                </a:lnTo>
                <a:lnTo>
                  <a:pt x="122" y="163"/>
                </a:lnTo>
                <a:lnTo>
                  <a:pt x="125" y="163"/>
                </a:lnTo>
                <a:lnTo>
                  <a:pt x="125" y="161"/>
                </a:lnTo>
                <a:lnTo>
                  <a:pt x="126" y="161"/>
                </a:lnTo>
                <a:lnTo>
                  <a:pt x="126" y="160"/>
                </a:lnTo>
                <a:lnTo>
                  <a:pt x="130" y="160"/>
                </a:lnTo>
                <a:lnTo>
                  <a:pt x="131" y="161"/>
                </a:lnTo>
                <a:lnTo>
                  <a:pt x="131" y="165"/>
                </a:lnTo>
                <a:lnTo>
                  <a:pt x="132" y="166"/>
                </a:lnTo>
                <a:lnTo>
                  <a:pt x="132" y="168"/>
                </a:lnTo>
                <a:lnTo>
                  <a:pt x="133" y="168"/>
                </a:lnTo>
                <a:lnTo>
                  <a:pt x="134" y="167"/>
                </a:lnTo>
                <a:lnTo>
                  <a:pt x="132" y="165"/>
                </a:lnTo>
                <a:lnTo>
                  <a:pt x="132" y="162"/>
                </a:lnTo>
                <a:lnTo>
                  <a:pt x="131" y="161"/>
                </a:lnTo>
                <a:lnTo>
                  <a:pt x="131" y="159"/>
                </a:lnTo>
                <a:lnTo>
                  <a:pt x="132" y="159"/>
                </a:lnTo>
                <a:lnTo>
                  <a:pt x="132" y="156"/>
                </a:lnTo>
                <a:lnTo>
                  <a:pt x="134" y="156"/>
                </a:lnTo>
                <a:lnTo>
                  <a:pt x="138" y="155"/>
                </a:lnTo>
                <a:lnTo>
                  <a:pt x="138" y="161"/>
                </a:lnTo>
                <a:lnTo>
                  <a:pt x="140" y="161"/>
                </a:lnTo>
                <a:lnTo>
                  <a:pt x="143" y="162"/>
                </a:lnTo>
                <a:lnTo>
                  <a:pt x="146" y="161"/>
                </a:lnTo>
                <a:lnTo>
                  <a:pt x="149" y="160"/>
                </a:lnTo>
                <a:lnTo>
                  <a:pt x="158" y="160"/>
                </a:lnTo>
                <a:lnTo>
                  <a:pt x="158" y="159"/>
                </a:lnTo>
                <a:lnTo>
                  <a:pt x="155" y="159"/>
                </a:lnTo>
                <a:lnTo>
                  <a:pt x="155" y="157"/>
                </a:lnTo>
                <a:lnTo>
                  <a:pt x="153" y="157"/>
                </a:lnTo>
                <a:lnTo>
                  <a:pt x="152" y="156"/>
                </a:lnTo>
                <a:lnTo>
                  <a:pt x="152" y="155"/>
                </a:lnTo>
                <a:lnTo>
                  <a:pt x="150" y="153"/>
                </a:lnTo>
                <a:lnTo>
                  <a:pt x="150" y="148"/>
                </a:lnTo>
                <a:lnTo>
                  <a:pt x="149" y="147"/>
                </a:lnTo>
                <a:lnTo>
                  <a:pt x="150" y="146"/>
                </a:lnTo>
                <a:lnTo>
                  <a:pt x="150" y="142"/>
                </a:lnTo>
                <a:lnTo>
                  <a:pt x="151" y="142"/>
                </a:lnTo>
                <a:lnTo>
                  <a:pt x="151" y="141"/>
                </a:lnTo>
                <a:lnTo>
                  <a:pt x="150" y="141"/>
                </a:lnTo>
                <a:lnTo>
                  <a:pt x="150" y="140"/>
                </a:lnTo>
                <a:lnTo>
                  <a:pt x="151" y="136"/>
                </a:lnTo>
                <a:lnTo>
                  <a:pt x="151" y="135"/>
                </a:lnTo>
                <a:lnTo>
                  <a:pt x="150" y="135"/>
                </a:lnTo>
                <a:lnTo>
                  <a:pt x="150" y="136"/>
                </a:lnTo>
                <a:lnTo>
                  <a:pt x="149" y="136"/>
                </a:lnTo>
                <a:lnTo>
                  <a:pt x="149" y="129"/>
                </a:lnTo>
                <a:lnTo>
                  <a:pt x="150" y="128"/>
                </a:lnTo>
                <a:lnTo>
                  <a:pt x="149" y="128"/>
                </a:lnTo>
                <a:lnTo>
                  <a:pt x="149" y="124"/>
                </a:lnTo>
                <a:lnTo>
                  <a:pt x="147" y="123"/>
                </a:lnTo>
                <a:lnTo>
                  <a:pt x="150" y="123"/>
                </a:lnTo>
                <a:lnTo>
                  <a:pt x="149" y="122"/>
                </a:lnTo>
                <a:lnTo>
                  <a:pt x="147" y="122"/>
                </a:lnTo>
                <a:lnTo>
                  <a:pt x="147" y="123"/>
                </a:lnTo>
                <a:lnTo>
                  <a:pt x="146" y="122"/>
                </a:lnTo>
                <a:lnTo>
                  <a:pt x="146" y="118"/>
                </a:lnTo>
                <a:lnTo>
                  <a:pt x="145" y="118"/>
                </a:lnTo>
                <a:lnTo>
                  <a:pt x="144" y="117"/>
                </a:lnTo>
                <a:lnTo>
                  <a:pt x="144" y="116"/>
                </a:lnTo>
                <a:lnTo>
                  <a:pt x="145" y="116"/>
                </a:lnTo>
                <a:lnTo>
                  <a:pt x="144" y="114"/>
                </a:lnTo>
                <a:lnTo>
                  <a:pt x="144" y="116"/>
                </a:lnTo>
                <a:lnTo>
                  <a:pt x="141" y="113"/>
                </a:lnTo>
                <a:lnTo>
                  <a:pt x="141" y="112"/>
                </a:lnTo>
                <a:lnTo>
                  <a:pt x="140" y="112"/>
                </a:lnTo>
                <a:lnTo>
                  <a:pt x="140" y="113"/>
                </a:lnTo>
                <a:lnTo>
                  <a:pt x="139" y="113"/>
                </a:lnTo>
                <a:lnTo>
                  <a:pt x="139" y="107"/>
                </a:lnTo>
                <a:lnTo>
                  <a:pt x="138" y="106"/>
                </a:lnTo>
                <a:lnTo>
                  <a:pt x="138" y="105"/>
                </a:lnTo>
                <a:lnTo>
                  <a:pt x="137" y="104"/>
                </a:lnTo>
                <a:lnTo>
                  <a:pt x="137" y="101"/>
                </a:lnTo>
                <a:lnTo>
                  <a:pt x="138" y="101"/>
                </a:lnTo>
                <a:lnTo>
                  <a:pt x="138" y="94"/>
                </a:lnTo>
                <a:lnTo>
                  <a:pt x="136" y="94"/>
                </a:lnTo>
                <a:lnTo>
                  <a:pt x="134" y="93"/>
                </a:lnTo>
                <a:lnTo>
                  <a:pt x="134" y="91"/>
                </a:lnTo>
                <a:lnTo>
                  <a:pt x="139" y="91"/>
                </a:lnTo>
                <a:lnTo>
                  <a:pt x="139" y="92"/>
                </a:lnTo>
                <a:lnTo>
                  <a:pt x="140" y="92"/>
                </a:lnTo>
                <a:lnTo>
                  <a:pt x="141" y="93"/>
                </a:lnTo>
                <a:lnTo>
                  <a:pt x="144" y="93"/>
                </a:lnTo>
                <a:lnTo>
                  <a:pt x="147" y="94"/>
                </a:lnTo>
                <a:lnTo>
                  <a:pt x="147" y="95"/>
                </a:lnTo>
                <a:lnTo>
                  <a:pt x="149" y="95"/>
                </a:lnTo>
                <a:lnTo>
                  <a:pt x="149" y="94"/>
                </a:lnTo>
                <a:lnTo>
                  <a:pt x="153" y="94"/>
                </a:lnTo>
                <a:lnTo>
                  <a:pt x="153" y="92"/>
                </a:lnTo>
                <a:lnTo>
                  <a:pt x="155" y="92"/>
                </a:lnTo>
                <a:lnTo>
                  <a:pt x="157" y="91"/>
                </a:lnTo>
                <a:lnTo>
                  <a:pt x="162" y="92"/>
                </a:lnTo>
                <a:lnTo>
                  <a:pt x="163" y="92"/>
                </a:lnTo>
                <a:lnTo>
                  <a:pt x="163" y="94"/>
                </a:lnTo>
                <a:lnTo>
                  <a:pt x="164" y="95"/>
                </a:lnTo>
                <a:lnTo>
                  <a:pt x="164" y="97"/>
                </a:lnTo>
                <a:lnTo>
                  <a:pt x="163" y="98"/>
                </a:lnTo>
                <a:lnTo>
                  <a:pt x="163" y="99"/>
                </a:lnTo>
                <a:lnTo>
                  <a:pt x="161" y="99"/>
                </a:lnTo>
                <a:lnTo>
                  <a:pt x="161" y="101"/>
                </a:lnTo>
                <a:lnTo>
                  <a:pt x="162" y="103"/>
                </a:lnTo>
                <a:lnTo>
                  <a:pt x="162" y="104"/>
                </a:lnTo>
                <a:lnTo>
                  <a:pt x="163" y="105"/>
                </a:lnTo>
                <a:lnTo>
                  <a:pt x="167" y="110"/>
                </a:lnTo>
                <a:lnTo>
                  <a:pt x="167" y="113"/>
                </a:lnTo>
                <a:lnTo>
                  <a:pt x="168" y="113"/>
                </a:lnTo>
                <a:lnTo>
                  <a:pt x="168" y="114"/>
                </a:lnTo>
                <a:lnTo>
                  <a:pt x="169" y="114"/>
                </a:lnTo>
                <a:lnTo>
                  <a:pt x="169" y="112"/>
                </a:lnTo>
                <a:lnTo>
                  <a:pt x="170" y="112"/>
                </a:lnTo>
                <a:lnTo>
                  <a:pt x="171" y="111"/>
                </a:lnTo>
                <a:lnTo>
                  <a:pt x="181" y="113"/>
                </a:lnTo>
                <a:lnTo>
                  <a:pt x="188" y="114"/>
                </a:lnTo>
                <a:lnTo>
                  <a:pt x="199" y="114"/>
                </a:lnTo>
                <a:lnTo>
                  <a:pt x="200" y="116"/>
                </a:lnTo>
                <a:lnTo>
                  <a:pt x="201" y="116"/>
                </a:lnTo>
                <a:lnTo>
                  <a:pt x="202" y="117"/>
                </a:lnTo>
                <a:lnTo>
                  <a:pt x="207" y="119"/>
                </a:lnTo>
                <a:lnTo>
                  <a:pt x="208" y="118"/>
                </a:lnTo>
                <a:lnTo>
                  <a:pt x="214" y="117"/>
                </a:lnTo>
                <a:lnTo>
                  <a:pt x="217" y="116"/>
                </a:lnTo>
                <a:lnTo>
                  <a:pt x="218" y="114"/>
                </a:lnTo>
                <a:lnTo>
                  <a:pt x="219" y="114"/>
                </a:lnTo>
                <a:lnTo>
                  <a:pt x="220" y="112"/>
                </a:lnTo>
                <a:lnTo>
                  <a:pt x="223" y="110"/>
                </a:lnTo>
                <a:lnTo>
                  <a:pt x="228" y="109"/>
                </a:lnTo>
                <a:lnTo>
                  <a:pt x="233" y="107"/>
                </a:lnTo>
                <a:lnTo>
                  <a:pt x="236" y="107"/>
                </a:lnTo>
                <a:lnTo>
                  <a:pt x="236" y="106"/>
                </a:lnTo>
                <a:lnTo>
                  <a:pt x="237" y="105"/>
                </a:lnTo>
                <a:lnTo>
                  <a:pt x="233" y="107"/>
                </a:lnTo>
                <a:lnTo>
                  <a:pt x="227" y="107"/>
                </a:lnTo>
                <a:lnTo>
                  <a:pt x="224" y="106"/>
                </a:lnTo>
                <a:lnTo>
                  <a:pt x="221" y="106"/>
                </a:lnTo>
                <a:lnTo>
                  <a:pt x="220" y="105"/>
                </a:lnTo>
                <a:lnTo>
                  <a:pt x="220" y="104"/>
                </a:lnTo>
                <a:lnTo>
                  <a:pt x="219" y="104"/>
                </a:lnTo>
                <a:lnTo>
                  <a:pt x="219" y="103"/>
                </a:lnTo>
                <a:lnTo>
                  <a:pt x="221" y="98"/>
                </a:lnTo>
                <a:lnTo>
                  <a:pt x="224" y="92"/>
                </a:lnTo>
                <a:lnTo>
                  <a:pt x="226" y="89"/>
                </a:lnTo>
                <a:lnTo>
                  <a:pt x="227" y="89"/>
                </a:lnTo>
                <a:lnTo>
                  <a:pt x="232" y="87"/>
                </a:lnTo>
                <a:lnTo>
                  <a:pt x="233" y="86"/>
                </a:lnTo>
                <a:lnTo>
                  <a:pt x="238" y="83"/>
                </a:lnTo>
                <a:lnTo>
                  <a:pt x="239" y="82"/>
                </a:lnTo>
                <a:lnTo>
                  <a:pt x="244" y="80"/>
                </a:lnTo>
                <a:lnTo>
                  <a:pt x="248" y="80"/>
                </a:lnTo>
                <a:lnTo>
                  <a:pt x="265" y="75"/>
                </a:lnTo>
                <a:lnTo>
                  <a:pt x="267" y="74"/>
                </a:lnTo>
                <a:lnTo>
                  <a:pt x="268" y="74"/>
                </a:lnTo>
                <a:lnTo>
                  <a:pt x="269" y="71"/>
                </a:lnTo>
                <a:lnTo>
                  <a:pt x="275" y="67"/>
                </a:lnTo>
                <a:lnTo>
                  <a:pt x="277" y="64"/>
                </a:lnTo>
                <a:lnTo>
                  <a:pt x="277" y="63"/>
                </a:lnTo>
                <a:lnTo>
                  <a:pt x="279" y="60"/>
                </a:lnTo>
                <a:lnTo>
                  <a:pt x="280" y="58"/>
                </a:lnTo>
                <a:lnTo>
                  <a:pt x="282" y="58"/>
                </a:lnTo>
                <a:lnTo>
                  <a:pt x="286" y="60"/>
                </a:lnTo>
                <a:lnTo>
                  <a:pt x="286" y="57"/>
                </a:lnTo>
                <a:lnTo>
                  <a:pt x="283" y="57"/>
                </a:lnTo>
                <a:lnTo>
                  <a:pt x="283" y="55"/>
                </a:lnTo>
                <a:lnTo>
                  <a:pt x="281" y="55"/>
                </a:lnTo>
                <a:lnTo>
                  <a:pt x="281" y="49"/>
                </a:lnTo>
                <a:lnTo>
                  <a:pt x="282" y="48"/>
                </a:lnTo>
                <a:lnTo>
                  <a:pt x="283" y="48"/>
                </a:lnTo>
                <a:lnTo>
                  <a:pt x="282" y="45"/>
                </a:lnTo>
                <a:lnTo>
                  <a:pt x="282" y="37"/>
                </a:lnTo>
                <a:lnTo>
                  <a:pt x="283" y="36"/>
                </a:lnTo>
                <a:lnTo>
                  <a:pt x="283" y="34"/>
                </a:lnTo>
                <a:lnTo>
                  <a:pt x="282" y="33"/>
                </a:lnTo>
                <a:lnTo>
                  <a:pt x="282" y="25"/>
                </a:lnTo>
                <a:lnTo>
                  <a:pt x="283" y="23"/>
                </a:lnTo>
                <a:lnTo>
                  <a:pt x="283" y="15"/>
                </a:lnTo>
                <a:lnTo>
                  <a:pt x="282" y="15"/>
                </a:lnTo>
                <a:lnTo>
                  <a:pt x="282" y="14"/>
                </a:lnTo>
                <a:lnTo>
                  <a:pt x="285" y="14"/>
                </a:lnTo>
                <a:lnTo>
                  <a:pt x="286" y="13"/>
                </a:lnTo>
                <a:lnTo>
                  <a:pt x="287" y="13"/>
                </a:lnTo>
                <a:lnTo>
                  <a:pt x="288" y="11"/>
                </a:lnTo>
                <a:lnTo>
                  <a:pt x="289" y="9"/>
                </a:lnTo>
                <a:lnTo>
                  <a:pt x="296" y="6"/>
                </a:lnTo>
                <a:lnTo>
                  <a:pt x="299" y="6"/>
                </a:lnTo>
                <a:lnTo>
                  <a:pt x="306" y="5"/>
                </a:lnTo>
                <a:lnTo>
                  <a:pt x="313" y="2"/>
                </a:lnTo>
                <a:lnTo>
                  <a:pt x="317" y="2"/>
                </a:lnTo>
                <a:lnTo>
                  <a:pt x="320" y="1"/>
                </a:lnTo>
                <a:lnTo>
                  <a:pt x="321" y="1"/>
                </a:lnTo>
                <a:lnTo>
                  <a:pt x="323" y="0"/>
                </a:lnTo>
                <a:close/>
              </a:path>
            </a:pathLst>
          </a:custGeom>
          <a:solidFill>
            <a:schemeClr val="accent5">
              <a:lumMod val="95000"/>
            </a:schemeClr>
          </a:soli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9" name="Freeform 44">
            <a:extLst>
              <a:ext uri="{FF2B5EF4-FFF2-40B4-BE49-F238E27FC236}">
                <a16:creationId xmlns:a16="http://schemas.microsoft.com/office/drawing/2014/main" id="{745F5522-2508-49C7-A8C0-52B663368871}"/>
              </a:ext>
            </a:extLst>
          </p:cNvPr>
          <p:cNvSpPr>
            <a:spLocks noEditPoints="1"/>
          </p:cNvSpPr>
          <p:nvPr/>
        </p:nvSpPr>
        <p:spPr bwMode="auto">
          <a:xfrm>
            <a:off x="2424174" y="2163120"/>
            <a:ext cx="737511" cy="1504000"/>
          </a:xfrm>
          <a:custGeom>
            <a:avLst/>
            <a:gdLst/>
            <a:ahLst/>
            <a:cxnLst>
              <a:cxn ang="0">
                <a:pos x="39" y="1022"/>
              </a:cxn>
              <a:cxn ang="0">
                <a:pos x="40" y="1019"/>
              </a:cxn>
              <a:cxn ang="0">
                <a:pos x="27" y="1022"/>
              </a:cxn>
              <a:cxn ang="0">
                <a:pos x="32" y="1013"/>
              </a:cxn>
              <a:cxn ang="0">
                <a:pos x="98" y="1009"/>
              </a:cxn>
              <a:cxn ang="0">
                <a:pos x="77" y="1007"/>
              </a:cxn>
              <a:cxn ang="0">
                <a:pos x="89" y="1001"/>
              </a:cxn>
              <a:cxn ang="0">
                <a:pos x="259" y="1004"/>
              </a:cxn>
              <a:cxn ang="0">
                <a:pos x="125" y="1022"/>
              </a:cxn>
              <a:cxn ang="0">
                <a:pos x="111" y="995"/>
              </a:cxn>
              <a:cxn ang="0">
                <a:pos x="51" y="995"/>
              </a:cxn>
              <a:cxn ang="0">
                <a:pos x="26" y="994"/>
              </a:cxn>
              <a:cxn ang="0">
                <a:pos x="21" y="1003"/>
              </a:cxn>
              <a:cxn ang="0">
                <a:pos x="11" y="996"/>
              </a:cxn>
              <a:cxn ang="0">
                <a:pos x="296" y="989"/>
              </a:cxn>
              <a:cxn ang="0">
                <a:pos x="66" y="982"/>
              </a:cxn>
              <a:cxn ang="0">
                <a:pos x="74" y="977"/>
              </a:cxn>
              <a:cxn ang="0">
                <a:pos x="76" y="939"/>
              </a:cxn>
              <a:cxn ang="0">
                <a:pos x="69" y="731"/>
              </a:cxn>
              <a:cxn ang="0">
                <a:pos x="104" y="730"/>
              </a:cxn>
              <a:cxn ang="0">
                <a:pos x="73" y="725"/>
              </a:cxn>
              <a:cxn ang="0">
                <a:pos x="234" y="558"/>
              </a:cxn>
              <a:cxn ang="0">
                <a:pos x="379" y="36"/>
              </a:cxn>
              <a:cxn ang="0">
                <a:pos x="428" y="265"/>
              </a:cxn>
              <a:cxn ang="0">
                <a:pos x="443" y="470"/>
              </a:cxn>
              <a:cxn ang="0">
                <a:pos x="430" y="579"/>
              </a:cxn>
              <a:cxn ang="0">
                <a:pos x="466" y="647"/>
              </a:cxn>
              <a:cxn ang="0">
                <a:pos x="502" y="780"/>
              </a:cxn>
              <a:cxn ang="0">
                <a:pos x="412" y="909"/>
              </a:cxn>
              <a:cxn ang="0">
                <a:pos x="343" y="979"/>
              </a:cxn>
              <a:cxn ang="0">
                <a:pos x="317" y="978"/>
              </a:cxn>
              <a:cxn ang="0">
                <a:pos x="306" y="973"/>
              </a:cxn>
              <a:cxn ang="0">
                <a:pos x="279" y="994"/>
              </a:cxn>
              <a:cxn ang="0">
                <a:pos x="260" y="994"/>
              </a:cxn>
              <a:cxn ang="0">
                <a:pos x="230" y="1009"/>
              </a:cxn>
              <a:cxn ang="0">
                <a:pos x="205" y="1020"/>
              </a:cxn>
              <a:cxn ang="0">
                <a:pos x="166" y="1026"/>
              </a:cxn>
              <a:cxn ang="0">
                <a:pos x="161" y="1020"/>
              </a:cxn>
              <a:cxn ang="0">
                <a:pos x="142" y="1007"/>
              </a:cxn>
              <a:cxn ang="0">
                <a:pos x="125" y="988"/>
              </a:cxn>
              <a:cxn ang="0">
                <a:pos x="89" y="980"/>
              </a:cxn>
              <a:cxn ang="0">
                <a:pos x="77" y="945"/>
              </a:cxn>
              <a:cxn ang="0">
                <a:pos x="85" y="911"/>
              </a:cxn>
              <a:cxn ang="0">
                <a:pos x="82" y="869"/>
              </a:cxn>
              <a:cxn ang="0">
                <a:pos x="75" y="817"/>
              </a:cxn>
              <a:cxn ang="0">
                <a:pos x="70" y="776"/>
              </a:cxn>
              <a:cxn ang="0">
                <a:pos x="85" y="738"/>
              </a:cxn>
              <a:cxn ang="0">
                <a:pos x="118" y="731"/>
              </a:cxn>
              <a:cxn ang="0">
                <a:pos x="127" y="696"/>
              </a:cxn>
              <a:cxn ang="0">
                <a:pos x="148" y="683"/>
              </a:cxn>
              <a:cxn ang="0">
                <a:pos x="186" y="636"/>
              </a:cxn>
              <a:cxn ang="0">
                <a:pos x="212" y="583"/>
              </a:cxn>
              <a:cxn ang="0">
                <a:pos x="250" y="568"/>
              </a:cxn>
              <a:cxn ang="0">
                <a:pos x="236" y="505"/>
              </a:cxn>
              <a:cxn ang="0">
                <a:pos x="203" y="482"/>
              </a:cxn>
              <a:cxn ang="0">
                <a:pos x="181" y="406"/>
              </a:cxn>
              <a:cxn ang="0">
                <a:pos x="179" y="315"/>
              </a:cxn>
              <a:cxn ang="0">
                <a:pos x="151" y="216"/>
              </a:cxn>
              <a:cxn ang="0">
                <a:pos x="82" y="166"/>
              </a:cxn>
              <a:cxn ang="0">
                <a:pos x="112" y="135"/>
              </a:cxn>
              <a:cxn ang="0">
                <a:pos x="231" y="175"/>
              </a:cxn>
              <a:cxn ang="0">
                <a:pos x="267" y="80"/>
              </a:cxn>
              <a:cxn ang="0">
                <a:pos x="329" y="18"/>
              </a:cxn>
            </a:cxnLst>
            <a:rect l="0" t="0" r="r" b="b"/>
            <a:pathLst>
              <a:path w="509" h="1038">
                <a:moveTo>
                  <a:pt x="126" y="1032"/>
                </a:moveTo>
                <a:lnTo>
                  <a:pt x="126" y="1033"/>
                </a:lnTo>
                <a:lnTo>
                  <a:pt x="124" y="1034"/>
                </a:lnTo>
                <a:lnTo>
                  <a:pt x="123" y="1034"/>
                </a:lnTo>
                <a:lnTo>
                  <a:pt x="123" y="1033"/>
                </a:lnTo>
                <a:lnTo>
                  <a:pt x="125" y="1033"/>
                </a:lnTo>
                <a:lnTo>
                  <a:pt x="126" y="1032"/>
                </a:lnTo>
                <a:close/>
                <a:moveTo>
                  <a:pt x="57" y="1027"/>
                </a:moveTo>
                <a:lnTo>
                  <a:pt x="60" y="1027"/>
                </a:lnTo>
                <a:lnTo>
                  <a:pt x="60" y="1029"/>
                </a:lnTo>
                <a:lnTo>
                  <a:pt x="57" y="1029"/>
                </a:lnTo>
                <a:lnTo>
                  <a:pt x="57" y="1027"/>
                </a:lnTo>
                <a:close/>
                <a:moveTo>
                  <a:pt x="60" y="1026"/>
                </a:moveTo>
                <a:lnTo>
                  <a:pt x="63" y="1026"/>
                </a:lnTo>
                <a:lnTo>
                  <a:pt x="63" y="1027"/>
                </a:lnTo>
                <a:lnTo>
                  <a:pt x="62" y="1027"/>
                </a:lnTo>
                <a:lnTo>
                  <a:pt x="63" y="1028"/>
                </a:lnTo>
                <a:lnTo>
                  <a:pt x="62" y="1028"/>
                </a:lnTo>
                <a:lnTo>
                  <a:pt x="60" y="1027"/>
                </a:lnTo>
                <a:lnTo>
                  <a:pt x="60" y="1026"/>
                </a:lnTo>
                <a:close/>
                <a:moveTo>
                  <a:pt x="185" y="1023"/>
                </a:moveTo>
                <a:lnTo>
                  <a:pt x="186" y="1025"/>
                </a:lnTo>
                <a:lnTo>
                  <a:pt x="186" y="1026"/>
                </a:lnTo>
                <a:lnTo>
                  <a:pt x="184" y="1026"/>
                </a:lnTo>
                <a:lnTo>
                  <a:pt x="184" y="1025"/>
                </a:lnTo>
                <a:lnTo>
                  <a:pt x="185" y="1023"/>
                </a:lnTo>
                <a:close/>
                <a:moveTo>
                  <a:pt x="131" y="1022"/>
                </a:moveTo>
                <a:lnTo>
                  <a:pt x="131" y="1023"/>
                </a:lnTo>
                <a:lnTo>
                  <a:pt x="130" y="1023"/>
                </a:lnTo>
                <a:lnTo>
                  <a:pt x="131" y="1022"/>
                </a:lnTo>
                <a:close/>
                <a:moveTo>
                  <a:pt x="35" y="1020"/>
                </a:moveTo>
                <a:lnTo>
                  <a:pt x="36" y="1020"/>
                </a:lnTo>
                <a:lnTo>
                  <a:pt x="38" y="1021"/>
                </a:lnTo>
                <a:lnTo>
                  <a:pt x="39" y="1021"/>
                </a:lnTo>
                <a:lnTo>
                  <a:pt x="39" y="1022"/>
                </a:lnTo>
                <a:lnTo>
                  <a:pt x="38" y="1023"/>
                </a:lnTo>
                <a:lnTo>
                  <a:pt x="35" y="1023"/>
                </a:lnTo>
                <a:lnTo>
                  <a:pt x="35" y="1025"/>
                </a:lnTo>
                <a:lnTo>
                  <a:pt x="33" y="1026"/>
                </a:lnTo>
                <a:lnTo>
                  <a:pt x="32" y="1026"/>
                </a:lnTo>
                <a:lnTo>
                  <a:pt x="32" y="1023"/>
                </a:lnTo>
                <a:lnTo>
                  <a:pt x="33" y="1022"/>
                </a:lnTo>
                <a:lnTo>
                  <a:pt x="35" y="1020"/>
                </a:lnTo>
                <a:close/>
                <a:moveTo>
                  <a:pt x="142" y="1019"/>
                </a:moveTo>
                <a:lnTo>
                  <a:pt x="143" y="1019"/>
                </a:lnTo>
                <a:lnTo>
                  <a:pt x="143" y="1020"/>
                </a:lnTo>
                <a:lnTo>
                  <a:pt x="142" y="1021"/>
                </a:lnTo>
                <a:lnTo>
                  <a:pt x="141" y="1020"/>
                </a:lnTo>
                <a:lnTo>
                  <a:pt x="142" y="1019"/>
                </a:lnTo>
                <a:close/>
                <a:moveTo>
                  <a:pt x="43" y="1017"/>
                </a:moveTo>
                <a:lnTo>
                  <a:pt x="46" y="1017"/>
                </a:lnTo>
                <a:lnTo>
                  <a:pt x="46" y="1021"/>
                </a:lnTo>
                <a:lnTo>
                  <a:pt x="45" y="1021"/>
                </a:lnTo>
                <a:lnTo>
                  <a:pt x="44" y="1020"/>
                </a:lnTo>
                <a:lnTo>
                  <a:pt x="44" y="1021"/>
                </a:lnTo>
                <a:lnTo>
                  <a:pt x="42" y="1021"/>
                </a:lnTo>
                <a:lnTo>
                  <a:pt x="42" y="1020"/>
                </a:lnTo>
                <a:lnTo>
                  <a:pt x="43" y="1019"/>
                </a:lnTo>
                <a:lnTo>
                  <a:pt x="43" y="1017"/>
                </a:lnTo>
                <a:close/>
                <a:moveTo>
                  <a:pt x="142" y="1016"/>
                </a:moveTo>
                <a:lnTo>
                  <a:pt x="144" y="1016"/>
                </a:lnTo>
                <a:lnTo>
                  <a:pt x="144" y="1017"/>
                </a:lnTo>
                <a:lnTo>
                  <a:pt x="143" y="1019"/>
                </a:lnTo>
                <a:lnTo>
                  <a:pt x="143" y="1017"/>
                </a:lnTo>
                <a:lnTo>
                  <a:pt x="142" y="1017"/>
                </a:lnTo>
                <a:lnTo>
                  <a:pt x="142" y="1016"/>
                </a:lnTo>
                <a:close/>
                <a:moveTo>
                  <a:pt x="42" y="1016"/>
                </a:moveTo>
                <a:lnTo>
                  <a:pt x="43" y="1016"/>
                </a:lnTo>
                <a:lnTo>
                  <a:pt x="43" y="1019"/>
                </a:lnTo>
                <a:lnTo>
                  <a:pt x="40" y="1019"/>
                </a:lnTo>
                <a:lnTo>
                  <a:pt x="40" y="1017"/>
                </a:lnTo>
                <a:lnTo>
                  <a:pt x="42" y="1016"/>
                </a:lnTo>
                <a:close/>
                <a:moveTo>
                  <a:pt x="39" y="1016"/>
                </a:moveTo>
                <a:lnTo>
                  <a:pt x="40" y="1016"/>
                </a:lnTo>
                <a:lnTo>
                  <a:pt x="39" y="1019"/>
                </a:lnTo>
                <a:lnTo>
                  <a:pt x="39" y="1020"/>
                </a:lnTo>
                <a:lnTo>
                  <a:pt x="37" y="1020"/>
                </a:lnTo>
                <a:lnTo>
                  <a:pt x="38" y="1019"/>
                </a:lnTo>
                <a:lnTo>
                  <a:pt x="38" y="1017"/>
                </a:lnTo>
                <a:lnTo>
                  <a:pt x="39" y="1016"/>
                </a:lnTo>
                <a:close/>
                <a:moveTo>
                  <a:pt x="120" y="1015"/>
                </a:moveTo>
                <a:lnTo>
                  <a:pt x="122" y="1015"/>
                </a:lnTo>
                <a:lnTo>
                  <a:pt x="122" y="1017"/>
                </a:lnTo>
                <a:lnTo>
                  <a:pt x="123" y="1017"/>
                </a:lnTo>
                <a:lnTo>
                  <a:pt x="122" y="1015"/>
                </a:lnTo>
                <a:lnTo>
                  <a:pt x="123" y="1015"/>
                </a:lnTo>
                <a:lnTo>
                  <a:pt x="124" y="1016"/>
                </a:lnTo>
                <a:lnTo>
                  <a:pt x="124" y="1022"/>
                </a:lnTo>
                <a:lnTo>
                  <a:pt x="123" y="1021"/>
                </a:lnTo>
                <a:lnTo>
                  <a:pt x="122" y="1021"/>
                </a:lnTo>
                <a:lnTo>
                  <a:pt x="122" y="1022"/>
                </a:lnTo>
                <a:lnTo>
                  <a:pt x="120" y="1021"/>
                </a:lnTo>
                <a:lnTo>
                  <a:pt x="120" y="1015"/>
                </a:lnTo>
                <a:close/>
                <a:moveTo>
                  <a:pt x="214" y="1014"/>
                </a:moveTo>
                <a:lnTo>
                  <a:pt x="216" y="1014"/>
                </a:lnTo>
                <a:lnTo>
                  <a:pt x="214" y="1014"/>
                </a:lnTo>
                <a:close/>
                <a:moveTo>
                  <a:pt x="25" y="1014"/>
                </a:moveTo>
                <a:lnTo>
                  <a:pt x="26" y="1015"/>
                </a:lnTo>
                <a:lnTo>
                  <a:pt x="27" y="1015"/>
                </a:lnTo>
                <a:lnTo>
                  <a:pt x="29" y="1016"/>
                </a:lnTo>
                <a:lnTo>
                  <a:pt x="30" y="1019"/>
                </a:lnTo>
                <a:lnTo>
                  <a:pt x="30" y="1022"/>
                </a:lnTo>
                <a:lnTo>
                  <a:pt x="29" y="1023"/>
                </a:lnTo>
                <a:lnTo>
                  <a:pt x="29" y="1022"/>
                </a:lnTo>
                <a:lnTo>
                  <a:pt x="27" y="1022"/>
                </a:lnTo>
                <a:lnTo>
                  <a:pt x="26" y="1023"/>
                </a:lnTo>
                <a:lnTo>
                  <a:pt x="25" y="1022"/>
                </a:lnTo>
                <a:lnTo>
                  <a:pt x="26" y="1021"/>
                </a:lnTo>
                <a:lnTo>
                  <a:pt x="25" y="1020"/>
                </a:lnTo>
                <a:lnTo>
                  <a:pt x="24" y="1020"/>
                </a:lnTo>
                <a:lnTo>
                  <a:pt x="24" y="1019"/>
                </a:lnTo>
                <a:lnTo>
                  <a:pt x="21" y="1019"/>
                </a:lnTo>
                <a:lnTo>
                  <a:pt x="23" y="1016"/>
                </a:lnTo>
                <a:lnTo>
                  <a:pt x="24" y="1016"/>
                </a:lnTo>
                <a:lnTo>
                  <a:pt x="25" y="1014"/>
                </a:lnTo>
                <a:close/>
                <a:moveTo>
                  <a:pt x="143" y="1011"/>
                </a:moveTo>
                <a:lnTo>
                  <a:pt x="145" y="1011"/>
                </a:lnTo>
                <a:lnTo>
                  <a:pt x="145" y="1015"/>
                </a:lnTo>
                <a:lnTo>
                  <a:pt x="141" y="1015"/>
                </a:lnTo>
                <a:lnTo>
                  <a:pt x="142" y="1014"/>
                </a:lnTo>
                <a:lnTo>
                  <a:pt x="142" y="1013"/>
                </a:lnTo>
                <a:lnTo>
                  <a:pt x="143" y="1011"/>
                </a:lnTo>
                <a:close/>
                <a:moveTo>
                  <a:pt x="102" y="1010"/>
                </a:moveTo>
                <a:lnTo>
                  <a:pt x="104" y="1010"/>
                </a:lnTo>
                <a:lnTo>
                  <a:pt x="105" y="1011"/>
                </a:lnTo>
                <a:lnTo>
                  <a:pt x="106" y="1011"/>
                </a:lnTo>
                <a:lnTo>
                  <a:pt x="106" y="1013"/>
                </a:lnTo>
                <a:lnTo>
                  <a:pt x="102" y="1013"/>
                </a:lnTo>
                <a:lnTo>
                  <a:pt x="102" y="1010"/>
                </a:lnTo>
                <a:close/>
                <a:moveTo>
                  <a:pt x="48" y="1009"/>
                </a:moveTo>
                <a:lnTo>
                  <a:pt x="49" y="1009"/>
                </a:lnTo>
                <a:lnTo>
                  <a:pt x="49" y="1010"/>
                </a:lnTo>
                <a:lnTo>
                  <a:pt x="50" y="1010"/>
                </a:lnTo>
                <a:lnTo>
                  <a:pt x="50" y="1013"/>
                </a:lnTo>
                <a:lnTo>
                  <a:pt x="49" y="1013"/>
                </a:lnTo>
                <a:lnTo>
                  <a:pt x="48" y="1010"/>
                </a:lnTo>
                <a:lnTo>
                  <a:pt x="48" y="1009"/>
                </a:lnTo>
                <a:close/>
                <a:moveTo>
                  <a:pt x="30" y="1009"/>
                </a:moveTo>
                <a:lnTo>
                  <a:pt x="31" y="1011"/>
                </a:lnTo>
                <a:lnTo>
                  <a:pt x="32" y="1013"/>
                </a:lnTo>
                <a:lnTo>
                  <a:pt x="32" y="1011"/>
                </a:lnTo>
                <a:lnTo>
                  <a:pt x="31" y="1010"/>
                </a:lnTo>
                <a:lnTo>
                  <a:pt x="31" y="1009"/>
                </a:lnTo>
                <a:lnTo>
                  <a:pt x="33" y="1011"/>
                </a:lnTo>
                <a:lnTo>
                  <a:pt x="33" y="1013"/>
                </a:lnTo>
                <a:lnTo>
                  <a:pt x="32" y="1015"/>
                </a:lnTo>
                <a:lnTo>
                  <a:pt x="32" y="1016"/>
                </a:lnTo>
                <a:lnTo>
                  <a:pt x="31" y="1016"/>
                </a:lnTo>
                <a:lnTo>
                  <a:pt x="31" y="1015"/>
                </a:lnTo>
                <a:lnTo>
                  <a:pt x="30" y="1015"/>
                </a:lnTo>
                <a:lnTo>
                  <a:pt x="29" y="1013"/>
                </a:lnTo>
                <a:lnTo>
                  <a:pt x="30" y="1011"/>
                </a:lnTo>
                <a:lnTo>
                  <a:pt x="30" y="1009"/>
                </a:lnTo>
                <a:close/>
                <a:moveTo>
                  <a:pt x="86" y="1008"/>
                </a:moveTo>
                <a:lnTo>
                  <a:pt x="89" y="1008"/>
                </a:lnTo>
                <a:lnTo>
                  <a:pt x="91" y="1009"/>
                </a:lnTo>
                <a:lnTo>
                  <a:pt x="89" y="1010"/>
                </a:lnTo>
                <a:lnTo>
                  <a:pt x="89" y="1013"/>
                </a:lnTo>
                <a:lnTo>
                  <a:pt x="87" y="1013"/>
                </a:lnTo>
                <a:lnTo>
                  <a:pt x="86" y="1014"/>
                </a:lnTo>
                <a:lnTo>
                  <a:pt x="85" y="1014"/>
                </a:lnTo>
                <a:lnTo>
                  <a:pt x="85" y="1013"/>
                </a:lnTo>
                <a:lnTo>
                  <a:pt x="83" y="1013"/>
                </a:lnTo>
                <a:lnTo>
                  <a:pt x="85" y="1011"/>
                </a:lnTo>
                <a:lnTo>
                  <a:pt x="87" y="1011"/>
                </a:lnTo>
                <a:lnTo>
                  <a:pt x="86" y="1010"/>
                </a:lnTo>
                <a:lnTo>
                  <a:pt x="83" y="1010"/>
                </a:lnTo>
                <a:lnTo>
                  <a:pt x="86" y="1008"/>
                </a:lnTo>
                <a:close/>
                <a:moveTo>
                  <a:pt x="94" y="1005"/>
                </a:moveTo>
                <a:lnTo>
                  <a:pt x="99" y="1005"/>
                </a:lnTo>
                <a:lnTo>
                  <a:pt x="100" y="1007"/>
                </a:lnTo>
                <a:lnTo>
                  <a:pt x="99" y="1007"/>
                </a:lnTo>
                <a:lnTo>
                  <a:pt x="99" y="1008"/>
                </a:lnTo>
                <a:lnTo>
                  <a:pt x="100" y="1009"/>
                </a:lnTo>
                <a:lnTo>
                  <a:pt x="98" y="1009"/>
                </a:lnTo>
                <a:lnTo>
                  <a:pt x="96" y="1010"/>
                </a:lnTo>
                <a:lnTo>
                  <a:pt x="96" y="1011"/>
                </a:lnTo>
                <a:lnTo>
                  <a:pt x="94" y="1013"/>
                </a:lnTo>
                <a:lnTo>
                  <a:pt x="93" y="1013"/>
                </a:lnTo>
                <a:lnTo>
                  <a:pt x="92" y="1011"/>
                </a:lnTo>
                <a:lnTo>
                  <a:pt x="93" y="1011"/>
                </a:lnTo>
                <a:lnTo>
                  <a:pt x="93" y="1007"/>
                </a:lnTo>
                <a:lnTo>
                  <a:pt x="94" y="1005"/>
                </a:lnTo>
                <a:close/>
                <a:moveTo>
                  <a:pt x="122" y="1004"/>
                </a:moveTo>
                <a:lnTo>
                  <a:pt x="122" y="1005"/>
                </a:lnTo>
                <a:lnTo>
                  <a:pt x="119" y="1008"/>
                </a:lnTo>
                <a:lnTo>
                  <a:pt x="119" y="1009"/>
                </a:lnTo>
                <a:lnTo>
                  <a:pt x="118" y="1009"/>
                </a:lnTo>
                <a:lnTo>
                  <a:pt x="118" y="1005"/>
                </a:lnTo>
                <a:lnTo>
                  <a:pt x="122" y="1004"/>
                </a:lnTo>
                <a:close/>
                <a:moveTo>
                  <a:pt x="106" y="1004"/>
                </a:moveTo>
                <a:lnTo>
                  <a:pt x="107" y="1004"/>
                </a:lnTo>
                <a:lnTo>
                  <a:pt x="108" y="1005"/>
                </a:lnTo>
                <a:lnTo>
                  <a:pt x="106" y="1008"/>
                </a:lnTo>
                <a:lnTo>
                  <a:pt x="107" y="1009"/>
                </a:lnTo>
                <a:lnTo>
                  <a:pt x="106" y="1010"/>
                </a:lnTo>
                <a:lnTo>
                  <a:pt x="104" y="1010"/>
                </a:lnTo>
                <a:lnTo>
                  <a:pt x="102" y="1009"/>
                </a:lnTo>
                <a:lnTo>
                  <a:pt x="102" y="1007"/>
                </a:lnTo>
                <a:lnTo>
                  <a:pt x="105" y="1005"/>
                </a:lnTo>
                <a:lnTo>
                  <a:pt x="106" y="1004"/>
                </a:lnTo>
                <a:close/>
                <a:moveTo>
                  <a:pt x="75" y="1004"/>
                </a:moveTo>
                <a:lnTo>
                  <a:pt x="77" y="1004"/>
                </a:lnTo>
                <a:lnTo>
                  <a:pt x="79" y="1005"/>
                </a:lnTo>
                <a:lnTo>
                  <a:pt x="82" y="1005"/>
                </a:lnTo>
                <a:lnTo>
                  <a:pt x="82" y="1007"/>
                </a:lnTo>
                <a:lnTo>
                  <a:pt x="80" y="1007"/>
                </a:lnTo>
                <a:lnTo>
                  <a:pt x="80" y="1008"/>
                </a:lnTo>
                <a:lnTo>
                  <a:pt x="79" y="1008"/>
                </a:lnTo>
                <a:lnTo>
                  <a:pt x="77" y="1007"/>
                </a:lnTo>
                <a:lnTo>
                  <a:pt x="75" y="1007"/>
                </a:lnTo>
                <a:lnTo>
                  <a:pt x="75" y="1005"/>
                </a:lnTo>
                <a:lnTo>
                  <a:pt x="74" y="1005"/>
                </a:lnTo>
                <a:lnTo>
                  <a:pt x="75" y="1004"/>
                </a:lnTo>
                <a:close/>
                <a:moveTo>
                  <a:pt x="267" y="1003"/>
                </a:moveTo>
                <a:lnTo>
                  <a:pt x="268" y="1003"/>
                </a:lnTo>
                <a:lnTo>
                  <a:pt x="268" y="1005"/>
                </a:lnTo>
                <a:lnTo>
                  <a:pt x="266" y="1005"/>
                </a:lnTo>
                <a:lnTo>
                  <a:pt x="266" y="1004"/>
                </a:lnTo>
                <a:lnTo>
                  <a:pt x="267" y="1003"/>
                </a:lnTo>
                <a:close/>
                <a:moveTo>
                  <a:pt x="124" y="1003"/>
                </a:moveTo>
                <a:lnTo>
                  <a:pt x="125" y="1003"/>
                </a:lnTo>
                <a:lnTo>
                  <a:pt x="124" y="1005"/>
                </a:lnTo>
                <a:lnTo>
                  <a:pt x="124" y="1003"/>
                </a:lnTo>
                <a:close/>
                <a:moveTo>
                  <a:pt x="24" y="1003"/>
                </a:moveTo>
                <a:lnTo>
                  <a:pt x="24" y="1005"/>
                </a:lnTo>
                <a:lnTo>
                  <a:pt x="23" y="1005"/>
                </a:lnTo>
                <a:lnTo>
                  <a:pt x="24" y="1003"/>
                </a:lnTo>
                <a:close/>
                <a:moveTo>
                  <a:pt x="50" y="1002"/>
                </a:moveTo>
                <a:lnTo>
                  <a:pt x="50" y="1003"/>
                </a:lnTo>
                <a:lnTo>
                  <a:pt x="51" y="1004"/>
                </a:lnTo>
                <a:lnTo>
                  <a:pt x="51" y="1005"/>
                </a:lnTo>
                <a:lnTo>
                  <a:pt x="49" y="1005"/>
                </a:lnTo>
                <a:lnTo>
                  <a:pt x="49" y="1003"/>
                </a:lnTo>
                <a:lnTo>
                  <a:pt x="50" y="1002"/>
                </a:lnTo>
                <a:close/>
                <a:moveTo>
                  <a:pt x="116" y="1001"/>
                </a:moveTo>
                <a:lnTo>
                  <a:pt x="118" y="1001"/>
                </a:lnTo>
                <a:lnTo>
                  <a:pt x="118" y="1003"/>
                </a:lnTo>
                <a:lnTo>
                  <a:pt x="117" y="1005"/>
                </a:lnTo>
                <a:lnTo>
                  <a:pt x="114" y="1007"/>
                </a:lnTo>
                <a:lnTo>
                  <a:pt x="114" y="1003"/>
                </a:lnTo>
                <a:lnTo>
                  <a:pt x="116" y="1001"/>
                </a:lnTo>
                <a:close/>
                <a:moveTo>
                  <a:pt x="88" y="999"/>
                </a:moveTo>
                <a:lnTo>
                  <a:pt x="88" y="1001"/>
                </a:lnTo>
                <a:lnTo>
                  <a:pt x="89" y="1001"/>
                </a:lnTo>
                <a:lnTo>
                  <a:pt x="88" y="1002"/>
                </a:lnTo>
                <a:lnTo>
                  <a:pt x="88" y="1003"/>
                </a:lnTo>
                <a:lnTo>
                  <a:pt x="87" y="1003"/>
                </a:lnTo>
                <a:lnTo>
                  <a:pt x="87" y="1001"/>
                </a:lnTo>
                <a:lnTo>
                  <a:pt x="88" y="999"/>
                </a:lnTo>
                <a:close/>
                <a:moveTo>
                  <a:pt x="36" y="999"/>
                </a:moveTo>
                <a:lnTo>
                  <a:pt x="39" y="999"/>
                </a:lnTo>
                <a:lnTo>
                  <a:pt x="39" y="1001"/>
                </a:lnTo>
                <a:lnTo>
                  <a:pt x="37" y="1005"/>
                </a:lnTo>
                <a:lnTo>
                  <a:pt x="37" y="1002"/>
                </a:lnTo>
                <a:lnTo>
                  <a:pt x="36" y="1003"/>
                </a:lnTo>
                <a:lnTo>
                  <a:pt x="36" y="999"/>
                </a:lnTo>
                <a:close/>
                <a:moveTo>
                  <a:pt x="4" y="999"/>
                </a:moveTo>
                <a:lnTo>
                  <a:pt x="6" y="1002"/>
                </a:lnTo>
                <a:lnTo>
                  <a:pt x="6" y="1004"/>
                </a:lnTo>
                <a:lnTo>
                  <a:pt x="7" y="1005"/>
                </a:lnTo>
                <a:lnTo>
                  <a:pt x="7" y="1009"/>
                </a:lnTo>
                <a:lnTo>
                  <a:pt x="6" y="1009"/>
                </a:lnTo>
                <a:lnTo>
                  <a:pt x="5" y="1008"/>
                </a:lnTo>
                <a:lnTo>
                  <a:pt x="5" y="1005"/>
                </a:lnTo>
                <a:lnTo>
                  <a:pt x="4" y="1005"/>
                </a:lnTo>
                <a:lnTo>
                  <a:pt x="4" y="1010"/>
                </a:lnTo>
                <a:lnTo>
                  <a:pt x="2" y="1011"/>
                </a:lnTo>
                <a:lnTo>
                  <a:pt x="1" y="1010"/>
                </a:lnTo>
                <a:lnTo>
                  <a:pt x="1" y="1009"/>
                </a:lnTo>
                <a:lnTo>
                  <a:pt x="0" y="1008"/>
                </a:lnTo>
                <a:lnTo>
                  <a:pt x="0" y="1005"/>
                </a:lnTo>
                <a:lnTo>
                  <a:pt x="1" y="1005"/>
                </a:lnTo>
                <a:lnTo>
                  <a:pt x="1" y="1002"/>
                </a:lnTo>
                <a:lnTo>
                  <a:pt x="4" y="999"/>
                </a:lnTo>
                <a:close/>
                <a:moveTo>
                  <a:pt x="256" y="997"/>
                </a:moveTo>
                <a:lnTo>
                  <a:pt x="257" y="997"/>
                </a:lnTo>
                <a:lnTo>
                  <a:pt x="261" y="1001"/>
                </a:lnTo>
                <a:lnTo>
                  <a:pt x="259" y="1003"/>
                </a:lnTo>
                <a:lnTo>
                  <a:pt x="259" y="1004"/>
                </a:lnTo>
                <a:lnTo>
                  <a:pt x="257" y="1004"/>
                </a:lnTo>
                <a:lnTo>
                  <a:pt x="257" y="1002"/>
                </a:lnTo>
                <a:lnTo>
                  <a:pt x="256" y="1002"/>
                </a:lnTo>
                <a:lnTo>
                  <a:pt x="256" y="999"/>
                </a:lnTo>
                <a:lnTo>
                  <a:pt x="255" y="998"/>
                </a:lnTo>
                <a:lnTo>
                  <a:pt x="256" y="997"/>
                </a:lnTo>
                <a:close/>
                <a:moveTo>
                  <a:pt x="143" y="997"/>
                </a:moveTo>
                <a:lnTo>
                  <a:pt x="145" y="997"/>
                </a:lnTo>
                <a:lnTo>
                  <a:pt x="145" y="999"/>
                </a:lnTo>
                <a:lnTo>
                  <a:pt x="144" y="999"/>
                </a:lnTo>
                <a:lnTo>
                  <a:pt x="143" y="1001"/>
                </a:lnTo>
                <a:lnTo>
                  <a:pt x="143" y="1002"/>
                </a:lnTo>
                <a:lnTo>
                  <a:pt x="142" y="1003"/>
                </a:lnTo>
                <a:lnTo>
                  <a:pt x="142" y="1004"/>
                </a:lnTo>
                <a:lnTo>
                  <a:pt x="141" y="1004"/>
                </a:lnTo>
                <a:lnTo>
                  <a:pt x="141" y="1008"/>
                </a:lnTo>
                <a:lnTo>
                  <a:pt x="139" y="1008"/>
                </a:lnTo>
                <a:lnTo>
                  <a:pt x="141" y="1009"/>
                </a:lnTo>
                <a:lnTo>
                  <a:pt x="141" y="1013"/>
                </a:lnTo>
                <a:lnTo>
                  <a:pt x="139" y="1015"/>
                </a:lnTo>
                <a:lnTo>
                  <a:pt x="136" y="1017"/>
                </a:lnTo>
                <a:lnTo>
                  <a:pt x="136" y="1019"/>
                </a:lnTo>
                <a:lnTo>
                  <a:pt x="137" y="1019"/>
                </a:lnTo>
                <a:lnTo>
                  <a:pt x="137" y="1020"/>
                </a:lnTo>
                <a:lnTo>
                  <a:pt x="136" y="1021"/>
                </a:lnTo>
                <a:lnTo>
                  <a:pt x="135" y="1021"/>
                </a:lnTo>
                <a:lnTo>
                  <a:pt x="133" y="1022"/>
                </a:lnTo>
                <a:lnTo>
                  <a:pt x="133" y="1021"/>
                </a:lnTo>
                <a:lnTo>
                  <a:pt x="132" y="1019"/>
                </a:lnTo>
                <a:lnTo>
                  <a:pt x="132" y="1020"/>
                </a:lnTo>
                <a:lnTo>
                  <a:pt x="131" y="1022"/>
                </a:lnTo>
                <a:lnTo>
                  <a:pt x="130" y="1021"/>
                </a:lnTo>
                <a:lnTo>
                  <a:pt x="130" y="1019"/>
                </a:lnTo>
                <a:lnTo>
                  <a:pt x="127" y="1021"/>
                </a:lnTo>
                <a:lnTo>
                  <a:pt x="125" y="1022"/>
                </a:lnTo>
                <a:lnTo>
                  <a:pt x="125" y="1014"/>
                </a:lnTo>
                <a:lnTo>
                  <a:pt x="124" y="1013"/>
                </a:lnTo>
                <a:lnTo>
                  <a:pt x="123" y="1013"/>
                </a:lnTo>
                <a:lnTo>
                  <a:pt x="125" y="1010"/>
                </a:lnTo>
                <a:lnTo>
                  <a:pt x="130" y="1010"/>
                </a:lnTo>
                <a:lnTo>
                  <a:pt x="123" y="1009"/>
                </a:lnTo>
                <a:lnTo>
                  <a:pt x="123" y="1008"/>
                </a:lnTo>
                <a:lnTo>
                  <a:pt x="124" y="1005"/>
                </a:lnTo>
                <a:lnTo>
                  <a:pt x="125" y="1007"/>
                </a:lnTo>
                <a:lnTo>
                  <a:pt x="129" y="1005"/>
                </a:lnTo>
                <a:lnTo>
                  <a:pt x="131" y="1004"/>
                </a:lnTo>
                <a:lnTo>
                  <a:pt x="139" y="1003"/>
                </a:lnTo>
                <a:lnTo>
                  <a:pt x="141" y="1002"/>
                </a:lnTo>
                <a:lnTo>
                  <a:pt x="143" y="997"/>
                </a:lnTo>
                <a:close/>
                <a:moveTo>
                  <a:pt x="54" y="997"/>
                </a:moveTo>
                <a:lnTo>
                  <a:pt x="55" y="997"/>
                </a:lnTo>
                <a:lnTo>
                  <a:pt x="55" y="998"/>
                </a:lnTo>
                <a:lnTo>
                  <a:pt x="56" y="999"/>
                </a:lnTo>
                <a:lnTo>
                  <a:pt x="57" y="999"/>
                </a:lnTo>
                <a:lnTo>
                  <a:pt x="57" y="1001"/>
                </a:lnTo>
                <a:lnTo>
                  <a:pt x="55" y="1001"/>
                </a:lnTo>
                <a:lnTo>
                  <a:pt x="55" y="1002"/>
                </a:lnTo>
                <a:lnTo>
                  <a:pt x="54" y="1002"/>
                </a:lnTo>
                <a:lnTo>
                  <a:pt x="54" y="997"/>
                </a:lnTo>
                <a:close/>
                <a:moveTo>
                  <a:pt x="100" y="996"/>
                </a:moveTo>
                <a:lnTo>
                  <a:pt x="104" y="996"/>
                </a:lnTo>
                <a:lnTo>
                  <a:pt x="104" y="997"/>
                </a:lnTo>
                <a:lnTo>
                  <a:pt x="105" y="997"/>
                </a:lnTo>
                <a:lnTo>
                  <a:pt x="104" y="998"/>
                </a:lnTo>
                <a:lnTo>
                  <a:pt x="101" y="998"/>
                </a:lnTo>
                <a:lnTo>
                  <a:pt x="101" y="997"/>
                </a:lnTo>
                <a:lnTo>
                  <a:pt x="100" y="997"/>
                </a:lnTo>
                <a:lnTo>
                  <a:pt x="100" y="996"/>
                </a:lnTo>
                <a:close/>
                <a:moveTo>
                  <a:pt x="110" y="995"/>
                </a:moveTo>
                <a:lnTo>
                  <a:pt x="111" y="995"/>
                </a:lnTo>
                <a:lnTo>
                  <a:pt x="116" y="996"/>
                </a:lnTo>
                <a:lnTo>
                  <a:pt x="119" y="997"/>
                </a:lnTo>
                <a:lnTo>
                  <a:pt x="119" y="999"/>
                </a:lnTo>
                <a:lnTo>
                  <a:pt x="118" y="999"/>
                </a:lnTo>
                <a:lnTo>
                  <a:pt x="118" y="998"/>
                </a:lnTo>
                <a:lnTo>
                  <a:pt x="117" y="999"/>
                </a:lnTo>
                <a:lnTo>
                  <a:pt x="116" y="999"/>
                </a:lnTo>
                <a:lnTo>
                  <a:pt x="114" y="1001"/>
                </a:lnTo>
                <a:lnTo>
                  <a:pt x="113" y="1001"/>
                </a:lnTo>
                <a:lnTo>
                  <a:pt x="114" y="999"/>
                </a:lnTo>
                <a:lnTo>
                  <a:pt x="113" y="998"/>
                </a:lnTo>
                <a:lnTo>
                  <a:pt x="112" y="999"/>
                </a:lnTo>
                <a:lnTo>
                  <a:pt x="111" y="999"/>
                </a:lnTo>
                <a:lnTo>
                  <a:pt x="110" y="998"/>
                </a:lnTo>
                <a:lnTo>
                  <a:pt x="108" y="999"/>
                </a:lnTo>
                <a:lnTo>
                  <a:pt x="108" y="996"/>
                </a:lnTo>
                <a:lnTo>
                  <a:pt x="110" y="995"/>
                </a:lnTo>
                <a:close/>
                <a:moveTo>
                  <a:pt x="122" y="991"/>
                </a:moveTo>
                <a:lnTo>
                  <a:pt x="122" y="992"/>
                </a:lnTo>
                <a:lnTo>
                  <a:pt x="123" y="994"/>
                </a:lnTo>
                <a:lnTo>
                  <a:pt x="125" y="994"/>
                </a:lnTo>
                <a:lnTo>
                  <a:pt x="125" y="995"/>
                </a:lnTo>
                <a:lnTo>
                  <a:pt x="124" y="996"/>
                </a:lnTo>
                <a:lnTo>
                  <a:pt x="123" y="996"/>
                </a:lnTo>
                <a:lnTo>
                  <a:pt x="122" y="997"/>
                </a:lnTo>
                <a:lnTo>
                  <a:pt x="120" y="997"/>
                </a:lnTo>
                <a:lnTo>
                  <a:pt x="122" y="996"/>
                </a:lnTo>
                <a:lnTo>
                  <a:pt x="122" y="995"/>
                </a:lnTo>
                <a:lnTo>
                  <a:pt x="118" y="995"/>
                </a:lnTo>
                <a:lnTo>
                  <a:pt x="122" y="991"/>
                </a:lnTo>
                <a:close/>
                <a:moveTo>
                  <a:pt x="52" y="991"/>
                </a:moveTo>
                <a:lnTo>
                  <a:pt x="54" y="991"/>
                </a:lnTo>
                <a:lnTo>
                  <a:pt x="54" y="995"/>
                </a:lnTo>
                <a:lnTo>
                  <a:pt x="52" y="996"/>
                </a:lnTo>
                <a:lnTo>
                  <a:pt x="51" y="995"/>
                </a:lnTo>
                <a:lnTo>
                  <a:pt x="51" y="994"/>
                </a:lnTo>
                <a:lnTo>
                  <a:pt x="52" y="992"/>
                </a:lnTo>
                <a:lnTo>
                  <a:pt x="52" y="991"/>
                </a:lnTo>
                <a:close/>
                <a:moveTo>
                  <a:pt x="116" y="990"/>
                </a:moveTo>
                <a:lnTo>
                  <a:pt x="117" y="990"/>
                </a:lnTo>
                <a:lnTo>
                  <a:pt x="118" y="991"/>
                </a:lnTo>
                <a:lnTo>
                  <a:pt x="117" y="991"/>
                </a:lnTo>
                <a:lnTo>
                  <a:pt x="113" y="992"/>
                </a:lnTo>
                <a:lnTo>
                  <a:pt x="112" y="992"/>
                </a:lnTo>
                <a:lnTo>
                  <a:pt x="112" y="991"/>
                </a:lnTo>
                <a:lnTo>
                  <a:pt x="116" y="990"/>
                </a:lnTo>
                <a:close/>
                <a:moveTo>
                  <a:pt x="111" y="990"/>
                </a:moveTo>
                <a:lnTo>
                  <a:pt x="114" y="990"/>
                </a:lnTo>
                <a:lnTo>
                  <a:pt x="110" y="992"/>
                </a:lnTo>
                <a:lnTo>
                  <a:pt x="111" y="990"/>
                </a:lnTo>
                <a:close/>
                <a:moveTo>
                  <a:pt x="76" y="989"/>
                </a:moveTo>
                <a:lnTo>
                  <a:pt x="77" y="989"/>
                </a:lnTo>
                <a:lnTo>
                  <a:pt x="77" y="991"/>
                </a:lnTo>
                <a:lnTo>
                  <a:pt x="76" y="991"/>
                </a:lnTo>
                <a:lnTo>
                  <a:pt x="75" y="990"/>
                </a:lnTo>
                <a:lnTo>
                  <a:pt x="76" y="989"/>
                </a:lnTo>
                <a:close/>
                <a:moveTo>
                  <a:pt x="14" y="988"/>
                </a:moveTo>
                <a:lnTo>
                  <a:pt x="17" y="988"/>
                </a:lnTo>
                <a:lnTo>
                  <a:pt x="17" y="989"/>
                </a:lnTo>
                <a:lnTo>
                  <a:pt x="18" y="990"/>
                </a:lnTo>
                <a:lnTo>
                  <a:pt x="18" y="991"/>
                </a:lnTo>
                <a:lnTo>
                  <a:pt x="20" y="991"/>
                </a:lnTo>
                <a:lnTo>
                  <a:pt x="23" y="994"/>
                </a:lnTo>
                <a:lnTo>
                  <a:pt x="21" y="992"/>
                </a:lnTo>
                <a:lnTo>
                  <a:pt x="21" y="991"/>
                </a:lnTo>
                <a:lnTo>
                  <a:pt x="23" y="991"/>
                </a:lnTo>
                <a:lnTo>
                  <a:pt x="24" y="992"/>
                </a:lnTo>
                <a:lnTo>
                  <a:pt x="25" y="991"/>
                </a:lnTo>
                <a:lnTo>
                  <a:pt x="25" y="992"/>
                </a:lnTo>
                <a:lnTo>
                  <a:pt x="26" y="994"/>
                </a:lnTo>
                <a:lnTo>
                  <a:pt x="29" y="995"/>
                </a:lnTo>
                <a:lnTo>
                  <a:pt x="29" y="997"/>
                </a:lnTo>
                <a:lnTo>
                  <a:pt x="30" y="997"/>
                </a:lnTo>
                <a:lnTo>
                  <a:pt x="31" y="998"/>
                </a:lnTo>
                <a:lnTo>
                  <a:pt x="32" y="998"/>
                </a:lnTo>
                <a:lnTo>
                  <a:pt x="31" y="1001"/>
                </a:lnTo>
                <a:lnTo>
                  <a:pt x="31" y="1002"/>
                </a:lnTo>
                <a:lnTo>
                  <a:pt x="30" y="1003"/>
                </a:lnTo>
                <a:lnTo>
                  <a:pt x="30" y="1005"/>
                </a:lnTo>
                <a:lnTo>
                  <a:pt x="29" y="1005"/>
                </a:lnTo>
                <a:lnTo>
                  <a:pt x="29" y="1008"/>
                </a:lnTo>
                <a:lnTo>
                  <a:pt x="27" y="1008"/>
                </a:lnTo>
                <a:lnTo>
                  <a:pt x="27" y="1007"/>
                </a:lnTo>
                <a:lnTo>
                  <a:pt x="25" y="1007"/>
                </a:lnTo>
                <a:lnTo>
                  <a:pt x="25" y="1003"/>
                </a:lnTo>
                <a:lnTo>
                  <a:pt x="26" y="1002"/>
                </a:lnTo>
                <a:lnTo>
                  <a:pt x="29" y="1002"/>
                </a:lnTo>
                <a:lnTo>
                  <a:pt x="29" y="1001"/>
                </a:lnTo>
                <a:lnTo>
                  <a:pt x="27" y="1001"/>
                </a:lnTo>
                <a:lnTo>
                  <a:pt x="25" y="1002"/>
                </a:lnTo>
                <a:lnTo>
                  <a:pt x="24" y="1003"/>
                </a:lnTo>
                <a:lnTo>
                  <a:pt x="23" y="1003"/>
                </a:lnTo>
                <a:lnTo>
                  <a:pt x="23" y="1002"/>
                </a:lnTo>
                <a:lnTo>
                  <a:pt x="21" y="1001"/>
                </a:lnTo>
                <a:lnTo>
                  <a:pt x="23" y="998"/>
                </a:lnTo>
                <a:lnTo>
                  <a:pt x="23" y="997"/>
                </a:lnTo>
                <a:lnTo>
                  <a:pt x="24" y="996"/>
                </a:lnTo>
                <a:lnTo>
                  <a:pt x="21" y="995"/>
                </a:lnTo>
                <a:lnTo>
                  <a:pt x="21" y="996"/>
                </a:lnTo>
                <a:lnTo>
                  <a:pt x="23" y="997"/>
                </a:lnTo>
                <a:lnTo>
                  <a:pt x="21" y="998"/>
                </a:lnTo>
                <a:lnTo>
                  <a:pt x="21" y="999"/>
                </a:lnTo>
                <a:lnTo>
                  <a:pt x="20" y="998"/>
                </a:lnTo>
                <a:lnTo>
                  <a:pt x="20" y="1002"/>
                </a:lnTo>
                <a:lnTo>
                  <a:pt x="21" y="1003"/>
                </a:lnTo>
                <a:lnTo>
                  <a:pt x="23" y="1003"/>
                </a:lnTo>
                <a:lnTo>
                  <a:pt x="21" y="1004"/>
                </a:lnTo>
                <a:lnTo>
                  <a:pt x="21" y="1007"/>
                </a:lnTo>
                <a:lnTo>
                  <a:pt x="19" y="1005"/>
                </a:lnTo>
                <a:lnTo>
                  <a:pt x="19" y="1003"/>
                </a:lnTo>
                <a:lnTo>
                  <a:pt x="17" y="1003"/>
                </a:lnTo>
                <a:lnTo>
                  <a:pt x="18" y="1004"/>
                </a:lnTo>
                <a:lnTo>
                  <a:pt x="18" y="1007"/>
                </a:lnTo>
                <a:lnTo>
                  <a:pt x="20" y="1007"/>
                </a:lnTo>
                <a:lnTo>
                  <a:pt x="20" y="1008"/>
                </a:lnTo>
                <a:lnTo>
                  <a:pt x="23" y="1008"/>
                </a:lnTo>
                <a:lnTo>
                  <a:pt x="23" y="1015"/>
                </a:lnTo>
                <a:lnTo>
                  <a:pt x="21" y="1014"/>
                </a:lnTo>
                <a:lnTo>
                  <a:pt x="19" y="1014"/>
                </a:lnTo>
                <a:lnTo>
                  <a:pt x="19" y="1017"/>
                </a:lnTo>
                <a:lnTo>
                  <a:pt x="18" y="1017"/>
                </a:lnTo>
                <a:lnTo>
                  <a:pt x="18" y="1014"/>
                </a:lnTo>
                <a:lnTo>
                  <a:pt x="15" y="1014"/>
                </a:lnTo>
                <a:lnTo>
                  <a:pt x="15" y="1015"/>
                </a:lnTo>
                <a:lnTo>
                  <a:pt x="13" y="1015"/>
                </a:lnTo>
                <a:lnTo>
                  <a:pt x="13" y="1014"/>
                </a:lnTo>
                <a:lnTo>
                  <a:pt x="12" y="1014"/>
                </a:lnTo>
                <a:lnTo>
                  <a:pt x="11" y="1015"/>
                </a:lnTo>
                <a:lnTo>
                  <a:pt x="11" y="1014"/>
                </a:lnTo>
                <a:lnTo>
                  <a:pt x="8" y="1009"/>
                </a:lnTo>
                <a:lnTo>
                  <a:pt x="8" y="1008"/>
                </a:lnTo>
                <a:lnTo>
                  <a:pt x="7" y="1005"/>
                </a:lnTo>
                <a:lnTo>
                  <a:pt x="7" y="1003"/>
                </a:lnTo>
                <a:lnTo>
                  <a:pt x="6" y="999"/>
                </a:lnTo>
                <a:lnTo>
                  <a:pt x="7" y="999"/>
                </a:lnTo>
                <a:lnTo>
                  <a:pt x="8" y="1001"/>
                </a:lnTo>
                <a:lnTo>
                  <a:pt x="8" y="998"/>
                </a:lnTo>
                <a:lnTo>
                  <a:pt x="9" y="998"/>
                </a:lnTo>
                <a:lnTo>
                  <a:pt x="11" y="997"/>
                </a:lnTo>
                <a:lnTo>
                  <a:pt x="11" y="996"/>
                </a:lnTo>
                <a:lnTo>
                  <a:pt x="12" y="996"/>
                </a:lnTo>
                <a:lnTo>
                  <a:pt x="12" y="998"/>
                </a:lnTo>
                <a:lnTo>
                  <a:pt x="11" y="1001"/>
                </a:lnTo>
                <a:lnTo>
                  <a:pt x="11" y="1002"/>
                </a:lnTo>
                <a:lnTo>
                  <a:pt x="12" y="1002"/>
                </a:lnTo>
                <a:lnTo>
                  <a:pt x="12" y="1005"/>
                </a:lnTo>
                <a:lnTo>
                  <a:pt x="13" y="1005"/>
                </a:lnTo>
                <a:lnTo>
                  <a:pt x="13" y="1002"/>
                </a:lnTo>
                <a:lnTo>
                  <a:pt x="14" y="1003"/>
                </a:lnTo>
                <a:lnTo>
                  <a:pt x="14" y="1001"/>
                </a:lnTo>
                <a:lnTo>
                  <a:pt x="15" y="999"/>
                </a:lnTo>
                <a:lnTo>
                  <a:pt x="15" y="997"/>
                </a:lnTo>
                <a:lnTo>
                  <a:pt x="17" y="996"/>
                </a:lnTo>
                <a:lnTo>
                  <a:pt x="17" y="998"/>
                </a:lnTo>
                <a:lnTo>
                  <a:pt x="18" y="998"/>
                </a:lnTo>
                <a:lnTo>
                  <a:pt x="18" y="995"/>
                </a:lnTo>
                <a:lnTo>
                  <a:pt x="17" y="995"/>
                </a:lnTo>
                <a:lnTo>
                  <a:pt x="17" y="992"/>
                </a:lnTo>
                <a:lnTo>
                  <a:pt x="15" y="992"/>
                </a:lnTo>
                <a:lnTo>
                  <a:pt x="15" y="995"/>
                </a:lnTo>
                <a:lnTo>
                  <a:pt x="14" y="995"/>
                </a:lnTo>
                <a:lnTo>
                  <a:pt x="14" y="994"/>
                </a:lnTo>
                <a:lnTo>
                  <a:pt x="13" y="992"/>
                </a:lnTo>
                <a:lnTo>
                  <a:pt x="12" y="992"/>
                </a:lnTo>
                <a:lnTo>
                  <a:pt x="12" y="991"/>
                </a:lnTo>
                <a:lnTo>
                  <a:pt x="13" y="990"/>
                </a:lnTo>
                <a:lnTo>
                  <a:pt x="13" y="989"/>
                </a:lnTo>
                <a:lnTo>
                  <a:pt x="14" y="988"/>
                </a:lnTo>
                <a:close/>
                <a:moveTo>
                  <a:pt x="299" y="984"/>
                </a:moveTo>
                <a:lnTo>
                  <a:pt x="301" y="985"/>
                </a:lnTo>
                <a:lnTo>
                  <a:pt x="301" y="986"/>
                </a:lnTo>
                <a:lnTo>
                  <a:pt x="300" y="986"/>
                </a:lnTo>
                <a:lnTo>
                  <a:pt x="298" y="988"/>
                </a:lnTo>
                <a:lnTo>
                  <a:pt x="297" y="990"/>
                </a:lnTo>
                <a:lnTo>
                  <a:pt x="296" y="989"/>
                </a:lnTo>
                <a:lnTo>
                  <a:pt x="296" y="986"/>
                </a:lnTo>
                <a:lnTo>
                  <a:pt x="298" y="986"/>
                </a:lnTo>
                <a:lnTo>
                  <a:pt x="298" y="985"/>
                </a:lnTo>
                <a:lnTo>
                  <a:pt x="299" y="984"/>
                </a:lnTo>
                <a:close/>
                <a:moveTo>
                  <a:pt x="98" y="982"/>
                </a:moveTo>
                <a:lnTo>
                  <a:pt x="100" y="984"/>
                </a:lnTo>
                <a:lnTo>
                  <a:pt x="101" y="984"/>
                </a:lnTo>
                <a:lnTo>
                  <a:pt x="101" y="985"/>
                </a:lnTo>
                <a:lnTo>
                  <a:pt x="102" y="986"/>
                </a:lnTo>
                <a:lnTo>
                  <a:pt x="102" y="989"/>
                </a:lnTo>
                <a:lnTo>
                  <a:pt x="101" y="988"/>
                </a:lnTo>
                <a:lnTo>
                  <a:pt x="101" y="989"/>
                </a:lnTo>
                <a:lnTo>
                  <a:pt x="102" y="990"/>
                </a:lnTo>
                <a:lnTo>
                  <a:pt x="102" y="991"/>
                </a:lnTo>
                <a:lnTo>
                  <a:pt x="104" y="990"/>
                </a:lnTo>
                <a:lnTo>
                  <a:pt x="105" y="991"/>
                </a:lnTo>
                <a:lnTo>
                  <a:pt x="104" y="992"/>
                </a:lnTo>
                <a:lnTo>
                  <a:pt x="105" y="992"/>
                </a:lnTo>
                <a:lnTo>
                  <a:pt x="105" y="994"/>
                </a:lnTo>
                <a:lnTo>
                  <a:pt x="101" y="994"/>
                </a:lnTo>
                <a:lnTo>
                  <a:pt x="101" y="992"/>
                </a:lnTo>
                <a:lnTo>
                  <a:pt x="100" y="992"/>
                </a:lnTo>
                <a:lnTo>
                  <a:pt x="98" y="991"/>
                </a:lnTo>
                <a:lnTo>
                  <a:pt x="96" y="990"/>
                </a:lnTo>
                <a:lnTo>
                  <a:pt x="96" y="988"/>
                </a:lnTo>
                <a:lnTo>
                  <a:pt x="99" y="988"/>
                </a:lnTo>
                <a:lnTo>
                  <a:pt x="99" y="986"/>
                </a:lnTo>
                <a:lnTo>
                  <a:pt x="96" y="984"/>
                </a:lnTo>
                <a:lnTo>
                  <a:pt x="96" y="983"/>
                </a:lnTo>
                <a:lnTo>
                  <a:pt x="98" y="982"/>
                </a:lnTo>
                <a:close/>
                <a:moveTo>
                  <a:pt x="66" y="982"/>
                </a:moveTo>
                <a:lnTo>
                  <a:pt x="67" y="982"/>
                </a:lnTo>
                <a:lnTo>
                  <a:pt x="67" y="984"/>
                </a:lnTo>
                <a:lnTo>
                  <a:pt x="66" y="983"/>
                </a:lnTo>
                <a:lnTo>
                  <a:pt x="66" y="982"/>
                </a:lnTo>
                <a:close/>
                <a:moveTo>
                  <a:pt x="94" y="977"/>
                </a:moveTo>
                <a:lnTo>
                  <a:pt x="95" y="977"/>
                </a:lnTo>
                <a:lnTo>
                  <a:pt x="95" y="978"/>
                </a:lnTo>
                <a:lnTo>
                  <a:pt x="94" y="979"/>
                </a:lnTo>
                <a:lnTo>
                  <a:pt x="94" y="980"/>
                </a:lnTo>
                <a:lnTo>
                  <a:pt x="93" y="982"/>
                </a:lnTo>
                <a:lnTo>
                  <a:pt x="93" y="983"/>
                </a:lnTo>
                <a:lnTo>
                  <a:pt x="92" y="983"/>
                </a:lnTo>
                <a:lnTo>
                  <a:pt x="92" y="980"/>
                </a:lnTo>
                <a:lnTo>
                  <a:pt x="93" y="979"/>
                </a:lnTo>
                <a:lnTo>
                  <a:pt x="94" y="977"/>
                </a:lnTo>
                <a:close/>
                <a:moveTo>
                  <a:pt x="77" y="974"/>
                </a:moveTo>
                <a:lnTo>
                  <a:pt x="80" y="974"/>
                </a:lnTo>
                <a:lnTo>
                  <a:pt x="80" y="976"/>
                </a:lnTo>
                <a:lnTo>
                  <a:pt x="82" y="976"/>
                </a:lnTo>
                <a:lnTo>
                  <a:pt x="83" y="977"/>
                </a:lnTo>
                <a:lnTo>
                  <a:pt x="82" y="977"/>
                </a:lnTo>
                <a:lnTo>
                  <a:pt x="82" y="980"/>
                </a:lnTo>
                <a:lnTo>
                  <a:pt x="81" y="980"/>
                </a:lnTo>
                <a:lnTo>
                  <a:pt x="82" y="982"/>
                </a:lnTo>
                <a:lnTo>
                  <a:pt x="81" y="982"/>
                </a:lnTo>
                <a:lnTo>
                  <a:pt x="79" y="979"/>
                </a:lnTo>
                <a:lnTo>
                  <a:pt x="79" y="977"/>
                </a:lnTo>
                <a:lnTo>
                  <a:pt x="77" y="977"/>
                </a:lnTo>
                <a:lnTo>
                  <a:pt x="77" y="978"/>
                </a:lnTo>
                <a:lnTo>
                  <a:pt x="76" y="977"/>
                </a:lnTo>
                <a:lnTo>
                  <a:pt x="76" y="976"/>
                </a:lnTo>
                <a:lnTo>
                  <a:pt x="77" y="974"/>
                </a:lnTo>
                <a:close/>
                <a:moveTo>
                  <a:pt x="73" y="974"/>
                </a:moveTo>
                <a:lnTo>
                  <a:pt x="74" y="974"/>
                </a:lnTo>
                <a:lnTo>
                  <a:pt x="75" y="976"/>
                </a:lnTo>
                <a:lnTo>
                  <a:pt x="76" y="978"/>
                </a:lnTo>
                <a:lnTo>
                  <a:pt x="76" y="980"/>
                </a:lnTo>
                <a:lnTo>
                  <a:pt x="74" y="980"/>
                </a:lnTo>
                <a:lnTo>
                  <a:pt x="74" y="977"/>
                </a:lnTo>
                <a:lnTo>
                  <a:pt x="73" y="976"/>
                </a:lnTo>
                <a:lnTo>
                  <a:pt x="73" y="974"/>
                </a:lnTo>
                <a:close/>
                <a:moveTo>
                  <a:pt x="86" y="973"/>
                </a:moveTo>
                <a:lnTo>
                  <a:pt x="87" y="974"/>
                </a:lnTo>
                <a:lnTo>
                  <a:pt x="87" y="973"/>
                </a:lnTo>
                <a:lnTo>
                  <a:pt x="86" y="973"/>
                </a:lnTo>
                <a:close/>
                <a:moveTo>
                  <a:pt x="74" y="967"/>
                </a:moveTo>
                <a:lnTo>
                  <a:pt x="75" y="968"/>
                </a:lnTo>
                <a:lnTo>
                  <a:pt x="75" y="973"/>
                </a:lnTo>
                <a:lnTo>
                  <a:pt x="74" y="972"/>
                </a:lnTo>
                <a:lnTo>
                  <a:pt x="73" y="972"/>
                </a:lnTo>
                <a:lnTo>
                  <a:pt x="73" y="971"/>
                </a:lnTo>
                <a:lnTo>
                  <a:pt x="71" y="970"/>
                </a:lnTo>
                <a:lnTo>
                  <a:pt x="74" y="967"/>
                </a:lnTo>
                <a:close/>
                <a:moveTo>
                  <a:pt x="70" y="948"/>
                </a:moveTo>
                <a:lnTo>
                  <a:pt x="73" y="948"/>
                </a:lnTo>
                <a:lnTo>
                  <a:pt x="73" y="949"/>
                </a:lnTo>
                <a:lnTo>
                  <a:pt x="74" y="949"/>
                </a:lnTo>
                <a:lnTo>
                  <a:pt x="74" y="951"/>
                </a:lnTo>
                <a:lnTo>
                  <a:pt x="71" y="949"/>
                </a:lnTo>
                <a:lnTo>
                  <a:pt x="70" y="948"/>
                </a:lnTo>
                <a:close/>
                <a:moveTo>
                  <a:pt x="73" y="945"/>
                </a:moveTo>
                <a:lnTo>
                  <a:pt x="75" y="946"/>
                </a:lnTo>
                <a:lnTo>
                  <a:pt x="74" y="947"/>
                </a:lnTo>
                <a:lnTo>
                  <a:pt x="73" y="947"/>
                </a:lnTo>
                <a:lnTo>
                  <a:pt x="73" y="946"/>
                </a:lnTo>
                <a:lnTo>
                  <a:pt x="71" y="946"/>
                </a:lnTo>
                <a:lnTo>
                  <a:pt x="73" y="945"/>
                </a:lnTo>
                <a:close/>
                <a:moveTo>
                  <a:pt x="75" y="943"/>
                </a:moveTo>
                <a:lnTo>
                  <a:pt x="76" y="943"/>
                </a:lnTo>
                <a:lnTo>
                  <a:pt x="76" y="947"/>
                </a:lnTo>
                <a:lnTo>
                  <a:pt x="75" y="947"/>
                </a:lnTo>
                <a:lnTo>
                  <a:pt x="75" y="943"/>
                </a:lnTo>
                <a:close/>
                <a:moveTo>
                  <a:pt x="74" y="939"/>
                </a:moveTo>
                <a:lnTo>
                  <a:pt x="76" y="939"/>
                </a:lnTo>
                <a:lnTo>
                  <a:pt x="76" y="940"/>
                </a:lnTo>
                <a:lnTo>
                  <a:pt x="79" y="942"/>
                </a:lnTo>
                <a:lnTo>
                  <a:pt x="77" y="943"/>
                </a:lnTo>
                <a:lnTo>
                  <a:pt x="76" y="943"/>
                </a:lnTo>
                <a:lnTo>
                  <a:pt x="75" y="941"/>
                </a:lnTo>
                <a:lnTo>
                  <a:pt x="73" y="941"/>
                </a:lnTo>
                <a:lnTo>
                  <a:pt x="74" y="939"/>
                </a:lnTo>
                <a:close/>
                <a:moveTo>
                  <a:pt x="77" y="918"/>
                </a:moveTo>
                <a:lnTo>
                  <a:pt x="79" y="918"/>
                </a:lnTo>
                <a:lnTo>
                  <a:pt x="81" y="921"/>
                </a:lnTo>
                <a:lnTo>
                  <a:pt x="77" y="921"/>
                </a:lnTo>
                <a:lnTo>
                  <a:pt x="77" y="918"/>
                </a:lnTo>
                <a:close/>
                <a:moveTo>
                  <a:pt x="79" y="917"/>
                </a:moveTo>
                <a:lnTo>
                  <a:pt x="80" y="918"/>
                </a:lnTo>
                <a:lnTo>
                  <a:pt x="79" y="918"/>
                </a:lnTo>
                <a:lnTo>
                  <a:pt x="79" y="917"/>
                </a:lnTo>
                <a:close/>
                <a:moveTo>
                  <a:pt x="83" y="880"/>
                </a:moveTo>
                <a:lnTo>
                  <a:pt x="85" y="880"/>
                </a:lnTo>
                <a:lnTo>
                  <a:pt x="85" y="881"/>
                </a:lnTo>
                <a:lnTo>
                  <a:pt x="83" y="881"/>
                </a:lnTo>
                <a:lnTo>
                  <a:pt x="83" y="880"/>
                </a:lnTo>
                <a:close/>
                <a:moveTo>
                  <a:pt x="68" y="756"/>
                </a:moveTo>
                <a:lnTo>
                  <a:pt x="70" y="756"/>
                </a:lnTo>
                <a:lnTo>
                  <a:pt x="71" y="757"/>
                </a:lnTo>
                <a:lnTo>
                  <a:pt x="71" y="758"/>
                </a:lnTo>
                <a:lnTo>
                  <a:pt x="73" y="759"/>
                </a:lnTo>
                <a:lnTo>
                  <a:pt x="73" y="761"/>
                </a:lnTo>
                <a:lnTo>
                  <a:pt x="70" y="761"/>
                </a:lnTo>
                <a:lnTo>
                  <a:pt x="70" y="762"/>
                </a:lnTo>
                <a:lnTo>
                  <a:pt x="69" y="761"/>
                </a:lnTo>
                <a:lnTo>
                  <a:pt x="69" y="757"/>
                </a:lnTo>
                <a:lnTo>
                  <a:pt x="68" y="756"/>
                </a:lnTo>
                <a:close/>
                <a:moveTo>
                  <a:pt x="67" y="730"/>
                </a:moveTo>
                <a:lnTo>
                  <a:pt x="68" y="731"/>
                </a:lnTo>
                <a:lnTo>
                  <a:pt x="69" y="731"/>
                </a:lnTo>
                <a:lnTo>
                  <a:pt x="71" y="730"/>
                </a:lnTo>
                <a:lnTo>
                  <a:pt x="73" y="730"/>
                </a:lnTo>
                <a:lnTo>
                  <a:pt x="73" y="731"/>
                </a:lnTo>
                <a:lnTo>
                  <a:pt x="71" y="732"/>
                </a:lnTo>
                <a:lnTo>
                  <a:pt x="71" y="736"/>
                </a:lnTo>
                <a:lnTo>
                  <a:pt x="74" y="736"/>
                </a:lnTo>
                <a:lnTo>
                  <a:pt x="75" y="737"/>
                </a:lnTo>
                <a:lnTo>
                  <a:pt x="75" y="734"/>
                </a:lnTo>
                <a:lnTo>
                  <a:pt x="77" y="732"/>
                </a:lnTo>
                <a:lnTo>
                  <a:pt x="80" y="732"/>
                </a:lnTo>
                <a:lnTo>
                  <a:pt x="81" y="733"/>
                </a:lnTo>
                <a:lnTo>
                  <a:pt x="81" y="738"/>
                </a:lnTo>
                <a:lnTo>
                  <a:pt x="79" y="738"/>
                </a:lnTo>
                <a:lnTo>
                  <a:pt x="79" y="737"/>
                </a:lnTo>
                <a:lnTo>
                  <a:pt x="75" y="739"/>
                </a:lnTo>
                <a:lnTo>
                  <a:pt x="75" y="740"/>
                </a:lnTo>
                <a:lnTo>
                  <a:pt x="76" y="740"/>
                </a:lnTo>
                <a:lnTo>
                  <a:pt x="76" y="741"/>
                </a:lnTo>
                <a:lnTo>
                  <a:pt x="75" y="741"/>
                </a:lnTo>
                <a:lnTo>
                  <a:pt x="73" y="743"/>
                </a:lnTo>
                <a:lnTo>
                  <a:pt x="73" y="740"/>
                </a:lnTo>
                <a:lnTo>
                  <a:pt x="71" y="739"/>
                </a:lnTo>
                <a:lnTo>
                  <a:pt x="71" y="738"/>
                </a:lnTo>
                <a:lnTo>
                  <a:pt x="70" y="739"/>
                </a:lnTo>
                <a:lnTo>
                  <a:pt x="69" y="739"/>
                </a:lnTo>
                <a:lnTo>
                  <a:pt x="69" y="737"/>
                </a:lnTo>
                <a:lnTo>
                  <a:pt x="67" y="734"/>
                </a:lnTo>
                <a:lnTo>
                  <a:pt x="67" y="730"/>
                </a:lnTo>
                <a:close/>
                <a:moveTo>
                  <a:pt x="106" y="726"/>
                </a:moveTo>
                <a:lnTo>
                  <a:pt x="107" y="728"/>
                </a:lnTo>
                <a:lnTo>
                  <a:pt x="107" y="730"/>
                </a:lnTo>
                <a:lnTo>
                  <a:pt x="106" y="731"/>
                </a:lnTo>
                <a:lnTo>
                  <a:pt x="105" y="730"/>
                </a:lnTo>
                <a:lnTo>
                  <a:pt x="105" y="731"/>
                </a:lnTo>
                <a:lnTo>
                  <a:pt x="104" y="730"/>
                </a:lnTo>
                <a:lnTo>
                  <a:pt x="104" y="728"/>
                </a:lnTo>
                <a:lnTo>
                  <a:pt x="105" y="727"/>
                </a:lnTo>
                <a:lnTo>
                  <a:pt x="106" y="727"/>
                </a:lnTo>
                <a:lnTo>
                  <a:pt x="106" y="726"/>
                </a:lnTo>
                <a:close/>
                <a:moveTo>
                  <a:pt x="114" y="725"/>
                </a:moveTo>
                <a:lnTo>
                  <a:pt x="116" y="725"/>
                </a:lnTo>
                <a:lnTo>
                  <a:pt x="116" y="728"/>
                </a:lnTo>
                <a:lnTo>
                  <a:pt x="114" y="730"/>
                </a:lnTo>
                <a:lnTo>
                  <a:pt x="114" y="731"/>
                </a:lnTo>
                <a:lnTo>
                  <a:pt x="113" y="731"/>
                </a:lnTo>
                <a:lnTo>
                  <a:pt x="112" y="730"/>
                </a:lnTo>
                <a:lnTo>
                  <a:pt x="111" y="730"/>
                </a:lnTo>
                <a:lnTo>
                  <a:pt x="112" y="731"/>
                </a:lnTo>
                <a:lnTo>
                  <a:pt x="112" y="732"/>
                </a:lnTo>
                <a:lnTo>
                  <a:pt x="111" y="732"/>
                </a:lnTo>
                <a:lnTo>
                  <a:pt x="111" y="733"/>
                </a:lnTo>
                <a:lnTo>
                  <a:pt x="108" y="732"/>
                </a:lnTo>
                <a:lnTo>
                  <a:pt x="108" y="726"/>
                </a:lnTo>
                <a:lnTo>
                  <a:pt x="111" y="726"/>
                </a:lnTo>
                <a:lnTo>
                  <a:pt x="111" y="727"/>
                </a:lnTo>
                <a:lnTo>
                  <a:pt x="112" y="727"/>
                </a:lnTo>
                <a:lnTo>
                  <a:pt x="112" y="726"/>
                </a:lnTo>
                <a:lnTo>
                  <a:pt x="113" y="726"/>
                </a:lnTo>
                <a:lnTo>
                  <a:pt x="113" y="727"/>
                </a:lnTo>
                <a:lnTo>
                  <a:pt x="114" y="726"/>
                </a:lnTo>
                <a:lnTo>
                  <a:pt x="114" y="725"/>
                </a:lnTo>
                <a:close/>
                <a:moveTo>
                  <a:pt x="76" y="722"/>
                </a:moveTo>
                <a:lnTo>
                  <a:pt x="77" y="722"/>
                </a:lnTo>
                <a:lnTo>
                  <a:pt x="79" y="724"/>
                </a:lnTo>
                <a:lnTo>
                  <a:pt x="79" y="727"/>
                </a:lnTo>
                <a:lnTo>
                  <a:pt x="76" y="730"/>
                </a:lnTo>
                <a:lnTo>
                  <a:pt x="76" y="727"/>
                </a:lnTo>
                <a:lnTo>
                  <a:pt x="75" y="728"/>
                </a:lnTo>
                <a:lnTo>
                  <a:pt x="73" y="726"/>
                </a:lnTo>
                <a:lnTo>
                  <a:pt x="73" y="725"/>
                </a:lnTo>
                <a:lnTo>
                  <a:pt x="75" y="725"/>
                </a:lnTo>
                <a:lnTo>
                  <a:pt x="76" y="722"/>
                </a:lnTo>
                <a:close/>
                <a:moveTo>
                  <a:pt x="105" y="720"/>
                </a:moveTo>
                <a:lnTo>
                  <a:pt x="110" y="720"/>
                </a:lnTo>
                <a:lnTo>
                  <a:pt x="110" y="721"/>
                </a:lnTo>
                <a:lnTo>
                  <a:pt x="108" y="721"/>
                </a:lnTo>
                <a:lnTo>
                  <a:pt x="108" y="722"/>
                </a:lnTo>
                <a:lnTo>
                  <a:pt x="106" y="722"/>
                </a:lnTo>
                <a:lnTo>
                  <a:pt x="105" y="724"/>
                </a:lnTo>
                <a:lnTo>
                  <a:pt x="105" y="725"/>
                </a:lnTo>
                <a:lnTo>
                  <a:pt x="102" y="725"/>
                </a:lnTo>
                <a:lnTo>
                  <a:pt x="104" y="724"/>
                </a:lnTo>
                <a:lnTo>
                  <a:pt x="104" y="721"/>
                </a:lnTo>
                <a:lnTo>
                  <a:pt x="105" y="721"/>
                </a:lnTo>
                <a:lnTo>
                  <a:pt x="105" y="720"/>
                </a:lnTo>
                <a:close/>
                <a:moveTo>
                  <a:pt x="136" y="682"/>
                </a:moveTo>
                <a:lnTo>
                  <a:pt x="138" y="682"/>
                </a:lnTo>
                <a:lnTo>
                  <a:pt x="138" y="683"/>
                </a:lnTo>
                <a:lnTo>
                  <a:pt x="139" y="683"/>
                </a:lnTo>
                <a:lnTo>
                  <a:pt x="139" y="687"/>
                </a:lnTo>
                <a:lnTo>
                  <a:pt x="138" y="687"/>
                </a:lnTo>
                <a:lnTo>
                  <a:pt x="138" y="688"/>
                </a:lnTo>
                <a:lnTo>
                  <a:pt x="136" y="688"/>
                </a:lnTo>
                <a:lnTo>
                  <a:pt x="135" y="687"/>
                </a:lnTo>
                <a:lnTo>
                  <a:pt x="135" y="685"/>
                </a:lnTo>
                <a:lnTo>
                  <a:pt x="133" y="684"/>
                </a:lnTo>
                <a:lnTo>
                  <a:pt x="135" y="684"/>
                </a:lnTo>
                <a:lnTo>
                  <a:pt x="135" y="683"/>
                </a:lnTo>
                <a:lnTo>
                  <a:pt x="136" y="683"/>
                </a:lnTo>
                <a:lnTo>
                  <a:pt x="136" y="682"/>
                </a:lnTo>
                <a:close/>
                <a:moveTo>
                  <a:pt x="225" y="554"/>
                </a:moveTo>
                <a:lnTo>
                  <a:pt x="228" y="556"/>
                </a:lnTo>
                <a:lnTo>
                  <a:pt x="226" y="556"/>
                </a:lnTo>
                <a:lnTo>
                  <a:pt x="226" y="558"/>
                </a:lnTo>
                <a:lnTo>
                  <a:pt x="234" y="558"/>
                </a:lnTo>
                <a:lnTo>
                  <a:pt x="235" y="559"/>
                </a:lnTo>
                <a:lnTo>
                  <a:pt x="232" y="560"/>
                </a:lnTo>
                <a:lnTo>
                  <a:pt x="230" y="560"/>
                </a:lnTo>
                <a:lnTo>
                  <a:pt x="226" y="559"/>
                </a:lnTo>
                <a:lnTo>
                  <a:pt x="224" y="559"/>
                </a:lnTo>
                <a:lnTo>
                  <a:pt x="223" y="561"/>
                </a:lnTo>
                <a:lnTo>
                  <a:pt x="220" y="564"/>
                </a:lnTo>
                <a:lnTo>
                  <a:pt x="222" y="566"/>
                </a:lnTo>
                <a:lnTo>
                  <a:pt x="224" y="566"/>
                </a:lnTo>
                <a:lnTo>
                  <a:pt x="224" y="567"/>
                </a:lnTo>
                <a:lnTo>
                  <a:pt x="222" y="567"/>
                </a:lnTo>
                <a:lnTo>
                  <a:pt x="222" y="568"/>
                </a:lnTo>
                <a:lnTo>
                  <a:pt x="219" y="568"/>
                </a:lnTo>
                <a:lnTo>
                  <a:pt x="219" y="565"/>
                </a:lnTo>
                <a:lnTo>
                  <a:pt x="218" y="564"/>
                </a:lnTo>
                <a:lnTo>
                  <a:pt x="217" y="566"/>
                </a:lnTo>
                <a:lnTo>
                  <a:pt x="216" y="567"/>
                </a:lnTo>
                <a:lnTo>
                  <a:pt x="214" y="565"/>
                </a:lnTo>
                <a:lnTo>
                  <a:pt x="214" y="562"/>
                </a:lnTo>
                <a:lnTo>
                  <a:pt x="213" y="561"/>
                </a:lnTo>
                <a:lnTo>
                  <a:pt x="213" y="560"/>
                </a:lnTo>
                <a:lnTo>
                  <a:pt x="214" y="559"/>
                </a:lnTo>
                <a:lnTo>
                  <a:pt x="217" y="555"/>
                </a:lnTo>
                <a:lnTo>
                  <a:pt x="220" y="555"/>
                </a:lnTo>
                <a:lnTo>
                  <a:pt x="225" y="554"/>
                </a:lnTo>
                <a:close/>
                <a:moveTo>
                  <a:pt x="353" y="0"/>
                </a:moveTo>
                <a:lnTo>
                  <a:pt x="355" y="2"/>
                </a:lnTo>
                <a:lnTo>
                  <a:pt x="358" y="8"/>
                </a:lnTo>
                <a:lnTo>
                  <a:pt x="366" y="22"/>
                </a:lnTo>
                <a:lnTo>
                  <a:pt x="366" y="24"/>
                </a:lnTo>
                <a:lnTo>
                  <a:pt x="374" y="27"/>
                </a:lnTo>
                <a:lnTo>
                  <a:pt x="374" y="31"/>
                </a:lnTo>
                <a:lnTo>
                  <a:pt x="375" y="33"/>
                </a:lnTo>
                <a:lnTo>
                  <a:pt x="377" y="34"/>
                </a:lnTo>
                <a:lnTo>
                  <a:pt x="379" y="36"/>
                </a:lnTo>
                <a:lnTo>
                  <a:pt x="392" y="43"/>
                </a:lnTo>
                <a:lnTo>
                  <a:pt x="406" y="49"/>
                </a:lnTo>
                <a:lnTo>
                  <a:pt x="406" y="50"/>
                </a:lnTo>
                <a:lnTo>
                  <a:pt x="409" y="60"/>
                </a:lnTo>
                <a:lnTo>
                  <a:pt x="415" y="75"/>
                </a:lnTo>
                <a:lnTo>
                  <a:pt x="410" y="86"/>
                </a:lnTo>
                <a:lnTo>
                  <a:pt x="394" y="105"/>
                </a:lnTo>
                <a:lnTo>
                  <a:pt x="394" y="108"/>
                </a:lnTo>
                <a:lnTo>
                  <a:pt x="393" y="117"/>
                </a:lnTo>
                <a:lnTo>
                  <a:pt x="393" y="120"/>
                </a:lnTo>
                <a:lnTo>
                  <a:pt x="398" y="126"/>
                </a:lnTo>
                <a:lnTo>
                  <a:pt x="393" y="132"/>
                </a:lnTo>
                <a:lnTo>
                  <a:pt x="389" y="134"/>
                </a:lnTo>
                <a:lnTo>
                  <a:pt x="378" y="142"/>
                </a:lnTo>
                <a:lnTo>
                  <a:pt x="375" y="142"/>
                </a:lnTo>
                <a:lnTo>
                  <a:pt x="375" y="144"/>
                </a:lnTo>
                <a:lnTo>
                  <a:pt x="377" y="145"/>
                </a:lnTo>
                <a:lnTo>
                  <a:pt x="389" y="145"/>
                </a:lnTo>
                <a:lnTo>
                  <a:pt x="392" y="149"/>
                </a:lnTo>
                <a:lnTo>
                  <a:pt x="390" y="159"/>
                </a:lnTo>
                <a:lnTo>
                  <a:pt x="389" y="162"/>
                </a:lnTo>
                <a:lnTo>
                  <a:pt x="378" y="184"/>
                </a:lnTo>
                <a:lnTo>
                  <a:pt x="377" y="185"/>
                </a:lnTo>
                <a:lnTo>
                  <a:pt x="377" y="186"/>
                </a:lnTo>
                <a:lnTo>
                  <a:pt x="378" y="190"/>
                </a:lnTo>
                <a:lnTo>
                  <a:pt x="379" y="192"/>
                </a:lnTo>
                <a:lnTo>
                  <a:pt x="386" y="222"/>
                </a:lnTo>
                <a:lnTo>
                  <a:pt x="387" y="224"/>
                </a:lnTo>
                <a:lnTo>
                  <a:pt x="389" y="226"/>
                </a:lnTo>
                <a:lnTo>
                  <a:pt x="400" y="230"/>
                </a:lnTo>
                <a:lnTo>
                  <a:pt x="414" y="236"/>
                </a:lnTo>
                <a:lnTo>
                  <a:pt x="416" y="239"/>
                </a:lnTo>
                <a:lnTo>
                  <a:pt x="419" y="246"/>
                </a:lnTo>
                <a:lnTo>
                  <a:pt x="421" y="249"/>
                </a:lnTo>
                <a:lnTo>
                  <a:pt x="428" y="265"/>
                </a:lnTo>
                <a:lnTo>
                  <a:pt x="430" y="269"/>
                </a:lnTo>
                <a:lnTo>
                  <a:pt x="443" y="280"/>
                </a:lnTo>
                <a:lnTo>
                  <a:pt x="442" y="282"/>
                </a:lnTo>
                <a:lnTo>
                  <a:pt x="442" y="283"/>
                </a:lnTo>
                <a:lnTo>
                  <a:pt x="441" y="284"/>
                </a:lnTo>
                <a:lnTo>
                  <a:pt x="441" y="294"/>
                </a:lnTo>
                <a:lnTo>
                  <a:pt x="440" y="298"/>
                </a:lnTo>
                <a:lnTo>
                  <a:pt x="439" y="300"/>
                </a:lnTo>
                <a:lnTo>
                  <a:pt x="422" y="323"/>
                </a:lnTo>
                <a:lnTo>
                  <a:pt x="422" y="326"/>
                </a:lnTo>
                <a:lnTo>
                  <a:pt x="421" y="327"/>
                </a:lnTo>
                <a:lnTo>
                  <a:pt x="421" y="328"/>
                </a:lnTo>
                <a:lnTo>
                  <a:pt x="418" y="331"/>
                </a:lnTo>
                <a:lnTo>
                  <a:pt x="405" y="357"/>
                </a:lnTo>
                <a:lnTo>
                  <a:pt x="403" y="365"/>
                </a:lnTo>
                <a:lnTo>
                  <a:pt x="404" y="374"/>
                </a:lnTo>
                <a:lnTo>
                  <a:pt x="414" y="390"/>
                </a:lnTo>
                <a:lnTo>
                  <a:pt x="416" y="396"/>
                </a:lnTo>
                <a:lnTo>
                  <a:pt x="417" y="398"/>
                </a:lnTo>
                <a:lnTo>
                  <a:pt x="417" y="401"/>
                </a:lnTo>
                <a:lnTo>
                  <a:pt x="418" y="402"/>
                </a:lnTo>
                <a:lnTo>
                  <a:pt x="423" y="411"/>
                </a:lnTo>
                <a:lnTo>
                  <a:pt x="423" y="417"/>
                </a:lnTo>
                <a:lnTo>
                  <a:pt x="424" y="418"/>
                </a:lnTo>
                <a:lnTo>
                  <a:pt x="424" y="423"/>
                </a:lnTo>
                <a:lnTo>
                  <a:pt x="425" y="425"/>
                </a:lnTo>
                <a:lnTo>
                  <a:pt x="428" y="431"/>
                </a:lnTo>
                <a:lnTo>
                  <a:pt x="434" y="443"/>
                </a:lnTo>
                <a:lnTo>
                  <a:pt x="437" y="448"/>
                </a:lnTo>
                <a:lnTo>
                  <a:pt x="439" y="450"/>
                </a:lnTo>
                <a:lnTo>
                  <a:pt x="440" y="455"/>
                </a:lnTo>
                <a:lnTo>
                  <a:pt x="441" y="462"/>
                </a:lnTo>
                <a:lnTo>
                  <a:pt x="441" y="464"/>
                </a:lnTo>
                <a:lnTo>
                  <a:pt x="442" y="469"/>
                </a:lnTo>
                <a:lnTo>
                  <a:pt x="443" y="470"/>
                </a:lnTo>
                <a:lnTo>
                  <a:pt x="446" y="480"/>
                </a:lnTo>
                <a:lnTo>
                  <a:pt x="446" y="482"/>
                </a:lnTo>
                <a:lnTo>
                  <a:pt x="447" y="492"/>
                </a:lnTo>
                <a:lnTo>
                  <a:pt x="448" y="494"/>
                </a:lnTo>
                <a:lnTo>
                  <a:pt x="447" y="497"/>
                </a:lnTo>
                <a:lnTo>
                  <a:pt x="446" y="497"/>
                </a:lnTo>
                <a:lnTo>
                  <a:pt x="443" y="494"/>
                </a:lnTo>
                <a:lnTo>
                  <a:pt x="433" y="498"/>
                </a:lnTo>
                <a:lnTo>
                  <a:pt x="430" y="500"/>
                </a:lnTo>
                <a:lnTo>
                  <a:pt x="431" y="501"/>
                </a:lnTo>
                <a:lnTo>
                  <a:pt x="435" y="504"/>
                </a:lnTo>
                <a:lnTo>
                  <a:pt x="436" y="506"/>
                </a:lnTo>
                <a:lnTo>
                  <a:pt x="435" y="507"/>
                </a:lnTo>
                <a:lnTo>
                  <a:pt x="431" y="512"/>
                </a:lnTo>
                <a:lnTo>
                  <a:pt x="431" y="513"/>
                </a:lnTo>
                <a:lnTo>
                  <a:pt x="430" y="518"/>
                </a:lnTo>
                <a:lnTo>
                  <a:pt x="431" y="527"/>
                </a:lnTo>
                <a:lnTo>
                  <a:pt x="431" y="530"/>
                </a:lnTo>
                <a:lnTo>
                  <a:pt x="427" y="536"/>
                </a:lnTo>
                <a:lnTo>
                  <a:pt x="425" y="540"/>
                </a:lnTo>
                <a:lnTo>
                  <a:pt x="427" y="542"/>
                </a:lnTo>
                <a:lnTo>
                  <a:pt x="433" y="542"/>
                </a:lnTo>
                <a:lnTo>
                  <a:pt x="436" y="543"/>
                </a:lnTo>
                <a:lnTo>
                  <a:pt x="436" y="547"/>
                </a:lnTo>
                <a:lnTo>
                  <a:pt x="435" y="548"/>
                </a:lnTo>
                <a:lnTo>
                  <a:pt x="435" y="550"/>
                </a:lnTo>
                <a:lnTo>
                  <a:pt x="436" y="550"/>
                </a:lnTo>
                <a:lnTo>
                  <a:pt x="436" y="553"/>
                </a:lnTo>
                <a:lnTo>
                  <a:pt x="435" y="554"/>
                </a:lnTo>
                <a:lnTo>
                  <a:pt x="429" y="555"/>
                </a:lnTo>
                <a:lnTo>
                  <a:pt x="427" y="558"/>
                </a:lnTo>
                <a:lnTo>
                  <a:pt x="425" y="560"/>
                </a:lnTo>
                <a:lnTo>
                  <a:pt x="425" y="565"/>
                </a:lnTo>
                <a:lnTo>
                  <a:pt x="427" y="573"/>
                </a:lnTo>
                <a:lnTo>
                  <a:pt x="430" y="579"/>
                </a:lnTo>
                <a:lnTo>
                  <a:pt x="434" y="584"/>
                </a:lnTo>
                <a:lnTo>
                  <a:pt x="437" y="585"/>
                </a:lnTo>
                <a:lnTo>
                  <a:pt x="446" y="585"/>
                </a:lnTo>
                <a:lnTo>
                  <a:pt x="447" y="586"/>
                </a:lnTo>
                <a:lnTo>
                  <a:pt x="448" y="586"/>
                </a:lnTo>
                <a:lnTo>
                  <a:pt x="448" y="587"/>
                </a:lnTo>
                <a:lnTo>
                  <a:pt x="447" y="589"/>
                </a:lnTo>
                <a:lnTo>
                  <a:pt x="447" y="591"/>
                </a:lnTo>
                <a:lnTo>
                  <a:pt x="448" y="592"/>
                </a:lnTo>
                <a:lnTo>
                  <a:pt x="448" y="593"/>
                </a:lnTo>
                <a:lnTo>
                  <a:pt x="449" y="595"/>
                </a:lnTo>
                <a:lnTo>
                  <a:pt x="450" y="597"/>
                </a:lnTo>
                <a:lnTo>
                  <a:pt x="450" y="599"/>
                </a:lnTo>
                <a:lnTo>
                  <a:pt x="448" y="602"/>
                </a:lnTo>
                <a:lnTo>
                  <a:pt x="441" y="605"/>
                </a:lnTo>
                <a:lnTo>
                  <a:pt x="441" y="609"/>
                </a:lnTo>
                <a:lnTo>
                  <a:pt x="442" y="609"/>
                </a:lnTo>
                <a:lnTo>
                  <a:pt x="442" y="612"/>
                </a:lnTo>
                <a:lnTo>
                  <a:pt x="445" y="614"/>
                </a:lnTo>
                <a:lnTo>
                  <a:pt x="446" y="616"/>
                </a:lnTo>
                <a:lnTo>
                  <a:pt x="446" y="618"/>
                </a:lnTo>
                <a:lnTo>
                  <a:pt x="445" y="621"/>
                </a:lnTo>
                <a:lnTo>
                  <a:pt x="445" y="624"/>
                </a:lnTo>
                <a:lnTo>
                  <a:pt x="447" y="627"/>
                </a:lnTo>
                <a:lnTo>
                  <a:pt x="449" y="628"/>
                </a:lnTo>
                <a:lnTo>
                  <a:pt x="456" y="630"/>
                </a:lnTo>
                <a:lnTo>
                  <a:pt x="460" y="634"/>
                </a:lnTo>
                <a:lnTo>
                  <a:pt x="460" y="636"/>
                </a:lnTo>
                <a:lnTo>
                  <a:pt x="461" y="638"/>
                </a:lnTo>
                <a:lnTo>
                  <a:pt x="464" y="638"/>
                </a:lnTo>
                <a:lnTo>
                  <a:pt x="466" y="640"/>
                </a:lnTo>
                <a:lnTo>
                  <a:pt x="466" y="642"/>
                </a:lnTo>
                <a:lnTo>
                  <a:pt x="465" y="645"/>
                </a:lnTo>
                <a:lnTo>
                  <a:pt x="465" y="646"/>
                </a:lnTo>
                <a:lnTo>
                  <a:pt x="466" y="647"/>
                </a:lnTo>
                <a:lnTo>
                  <a:pt x="466" y="650"/>
                </a:lnTo>
                <a:lnTo>
                  <a:pt x="467" y="653"/>
                </a:lnTo>
                <a:lnTo>
                  <a:pt x="467" y="657"/>
                </a:lnTo>
                <a:lnTo>
                  <a:pt x="466" y="659"/>
                </a:lnTo>
                <a:lnTo>
                  <a:pt x="464" y="663"/>
                </a:lnTo>
                <a:lnTo>
                  <a:pt x="456" y="671"/>
                </a:lnTo>
                <a:lnTo>
                  <a:pt x="454" y="678"/>
                </a:lnTo>
                <a:lnTo>
                  <a:pt x="452" y="682"/>
                </a:lnTo>
                <a:lnTo>
                  <a:pt x="445" y="684"/>
                </a:lnTo>
                <a:lnTo>
                  <a:pt x="442" y="685"/>
                </a:lnTo>
                <a:lnTo>
                  <a:pt x="442" y="689"/>
                </a:lnTo>
                <a:lnTo>
                  <a:pt x="453" y="702"/>
                </a:lnTo>
                <a:lnTo>
                  <a:pt x="459" y="706"/>
                </a:lnTo>
                <a:lnTo>
                  <a:pt x="461" y="710"/>
                </a:lnTo>
                <a:lnTo>
                  <a:pt x="464" y="713"/>
                </a:lnTo>
                <a:lnTo>
                  <a:pt x="477" y="721"/>
                </a:lnTo>
                <a:lnTo>
                  <a:pt x="484" y="730"/>
                </a:lnTo>
                <a:lnTo>
                  <a:pt x="492" y="736"/>
                </a:lnTo>
                <a:lnTo>
                  <a:pt x="495" y="738"/>
                </a:lnTo>
                <a:lnTo>
                  <a:pt x="495" y="744"/>
                </a:lnTo>
                <a:lnTo>
                  <a:pt x="496" y="745"/>
                </a:lnTo>
                <a:lnTo>
                  <a:pt x="496" y="746"/>
                </a:lnTo>
                <a:lnTo>
                  <a:pt x="497" y="749"/>
                </a:lnTo>
                <a:lnTo>
                  <a:pt x="499" y="750"/>
                </a:lnTo>
                <a:lnTo>
                  <a:pt x="501" y="752"/>
                </a:lnTo>
                <a:lnTo>
                  <a:pt x="504" y="756"/>
                </a:lnTo>
                <a:lnTo>
                  <a:pt x="504" y="757"/>
                </a:lnTo>
                <a:lnTo>
                  <a:pt x="505" y="757"/>
                </a:lnTo>
                <a:lnTo>
                  <a:pt x="507" y="759"/>
                </a:lnTo>
                <a:lnTo>
                  <a:pt x="507" y="762"/>
                </a:lnTo>
                <a:lnTo>
                  <a:pt x="508" y="764"/>
                </a:lnTo>
                <a:lnTo>
                  <a:pt x="509" y="765"/>
                </a:lnTo>
                <a:lnTo>
                  <a:pt x="505" y="773"/>
                </a:lnTo>
                <a:lnTo>
                  <a:pt x="503" y="776"/>
                </a:lnTo>
                <a:lnTo>
                  <a:pt x="502" y="780"/>
                </a:lnTo>
                <a:lnTo>
                  <a:pt x="501" y="788"/>
                </a:lnTo>
                <a:lnTo>
                  <a:pt x="499" y="790"/>
                </a:lnTo>
                <a:lnTo>
                  <a:pt x="498" y="794"/>
                </a:lnTo>
                <a:lnTo>
                  <a:pt x="497" y="795"/>
                </a:lnTo>
                <a:lnTo>
                  <a:pt x="496" y="800"/>
                </a:lnTo>
                <a:lnTo>
                  <a:pt x="495" y="802"/>
                </a:lnTo>
                <a:lnTo>
                  <a:pt x="495" y="804"/>
                </a:lnTo>
                <a:lnTo>
                  <a:pt x="492" y="805"/>
                </a:lnTo>
                <a:lnTo>
                  <a:pt x="491" y="805"/>
                </a:lnTo>
                <a:lnTo>
                  <a:pt x="491" y="806"/>
                </a:lnTo>
                <a:lnTo>
                  <a:pt x="490" y="808"/>
                </a:lnTo>
                <a:lnTo>
                  <a:pt x="484" y="816"/>
                </a:lnTo>
                <a:lnTo>
                  <a:pt x="484" y="817"/>
                </a:lnTo>
                <a:lnTo>
                  <a:pt x="483" y="819"/>
                </a:lnTo>
                <a:lnTo>
                  <a:pt x="481" y="820"/>
                </a:lnTo>
                <a:lnTo>
                  <a:pt x="481" y="822"/>
                </a:lnTo>
                <a:lnTo>
                  <a:pt x="472" y="829"/>
                </a:lnTo>
                <a:lnTo>
                  <a:pt x="471" y="830"/>
                </a:lnTo>
                <a:lnTo>
                  <a:pt x="470" y="830"/>
                </a:lnTo>
                <a:lnTo>
                  <a:pt x="470" y="831"/>
                </a:lnTo>
                <a:lnTo>
                  <a:pt x="468" y="833"/>
                </a:lnTo>
                <a:lnTo>
                  <a:pt x="462" y="842"/>
                </a:lnTo>
                <a:lnTo>
                  <a:pt x="456" y="848"/>
                </a:lnTo>
                <a:lnTo>
                  <a:pt x="449" y="861"/>
                </a:lnTo>
                <a:lnTo>
                  <a:pt x="442" y="872"/>
                </a:lnTo>
                <a:lnTo>
                  <a:pt x="435" y="879"/>
                </a:lnTo>
                <a:lnTo>
                  <a:pt x="434" y="882"/>
                </a:lnTo>
                <a:lnTo>
                  <a:pt x="434" y="884"/>
                </a:lnTo>
                <a:lnTo>
                  <a:pt x="428" y="891"/>
                </a:lnTo>
                <a:lnTo>
                  <a:pt x="423" y="893"/>
                </a:lnTo>
                <a:lnTo>
                  <a:pt x="422" y="894"/>
                </a:lnTo>
                <a:lnTo>
                  <a:pt x="422" y="896"/>
                </a:lnTo>
                <a:lnTo>
                  <a:pt x="419" y="900"/>
                </a:lnTo>
                <a:lnTo>
                  <a:pt x="414" y="906"/>
                </a:lnTo>
                <a:lnTo>
                  <a:pt x="412" y="909"/>
                </a:lnTo>
                <a:lnTo>
                  <a:pt x="412" y="910"/>
                </a:lnTo>
                <a:lnTo>
                  <a:pt x="411" y="911"/>
                </a:lnTo>
                <a:lnTo>
                  <a:pt x="409" y="915"/>
                </a:lnTo>
                <a:lnTo>
                  <a:pt x="406" y="917"/>
                </a:lnTo>
                <a:lnTo>
                  <a:pt x="399" y="922"/>
                </a:lnTo>
                <a:lnTo>
                  <a:pt x="397" y="923"/>
                </a:lnTo>
                <a:lnTo>
                  <a:pt x="394" y="927"/>
                </a:lnTo>
                <a:lnTo>
                  <a:pt x="392" y="928"/>
                </a:lnTo>
                <a:lnTo>
                  <a:pt x="390" y="930"/>
                </a:lnTo>
                <a:lnTo>
                  <a:pt x="387" y="934"/>
                </a:lnTo>
                <a:lnTo>
                  <a:pt x="386" y="935"/>
                </a:lnTo>
                <a:lnTo>
                  <a:pt x="386" y="937"/>
                </a:lnTo>
                <a:lnTo>
                  <a:pt x="384" y="940"/>
                </a:lnTo>
                <a:lnTo>
                  <a:pt x="380" y="941"/>
                </a:lnTo>
                <a:lnTo>
                  <a:pt x="373" y="948"/>
                </a:lnTo>
                <a:lnTo>
                  <a:pt x="368" y="954"/>
                </a:lnTo>
                <a:lnTo>
                  <a:pt x="365" y="958"/>
                </a:lnTo>
                <a:lnTo>
                  <a:pt x="359" y="965"/>
                </a:lnTo>
                <a:lnTo>
                  <a:pt x="358" y="966"/>
                </a:lnTo>
                <a:lnTo>
                  <a:pt x="354" y="971"/>
                </a:lnTo>
                <a:lnTo>
                  <a:pt x="350" y="974"/>
                </a:lnTo>
                <a:lnTo>
                  <a:pt x="349" y="974"/>
                </a:lnTo>
                <a:lnTo>
                  <a:pt x="349" y="973"/>
                </a:lnTo>
                <a:lnTo>
                  <a:pt x="348" y="972"/>
                </a:lnTo>
                <a:lnTo>
                  <a:pt x="347" y="973"/>
                </a:lnTo>
                <a:lnTo>
                  <a:pt x="348" y="973"/>
                </a:lnTo>
                <a:lnTo>
                  <a:pt x="348" y="974"/>
                </a:lnTo>
                <a:lnTo>
                  <a:pt x="347" y="974"/>
                </a:lnTo>
                <a:lnTo>
                  <a:pt x="347" y="977"/>
                </a:lnTo>
                <a:lnTo>
                  <a:pt x="348" y="978"/>
                </a:lnTo>
                <a:lnTo>
                  <a:pt x="347" y="978"/>
                </a:lnTo>
                <a:lnTo>
                  <a:pt x="348" y="979"/>
                </a:lnTo>
                <a:lnTo>
                  <a:pt x="347" y="980"/>
                </a:lnTo>
                <a:lnTo>
                  <a:pt x="343" y="980"/>
                </a:lnTo>
                <a:lnTo>
                  <a:pt x="343" y="979"/>
                </a:lnTo>
                <a:lnTo>
                  <a:pt x="344" y="978"/>
                </a:lnTo>
                <a:lnTo>
                  <a:pt x="346" y="978"/>
                </a:lnTo>
                <a:lnTo>
                  <a:pt x="343" y="977"/>
                </a:lnTo>
                <a:lnTo>
                  <a:pt x="343" y="978"/>
                </a:lnTo>
                <a:lnTo>
                  <a:pt x="342" y="978"/>
                </a:lnTo>
                <a:lnTo>
                  <a:pt x="342" y="980"/>
                </a:lnTo>
                <a:lnTo>
                  <a:pt x="343" y="982"/>
                </a:lnTo>
                <a:lnTo>
                  <a:pt x="341" y="982"/>
                </a:lnTo>
                <a:lnTo>
                  <a:pt x="337" y="978"/>
                </a:lnTo>
                <a:lnTo>
                  <a:pt x="336" y="979"/>
                </a:lnTo>
                <a:lnTo>
                  <a:pt x="337" y="980"/>
                </a:lnTo>
                <a:lnTo>
                  <a:pt x="336" y="980"/>
                </a:lnTo>
                <a:lnTo>
                  <a:pt x="336" y="982"/>
                </a:lnTo>
                <a:lnTo>
                  <a:pt x="337" y="982"/>
                </a:lnTo>
                <a:lnTo>
                  <a:pt x="337" y="983"/>
                </a:lnTo>
                <a:lnTo>
                  <a:pt x="335" y="983"/>
                </a:lnTo>
                <a:lnTo>
                  <a:pt x="331" y="979"/>
                </a:lnTo>
                <a:lnTo>
                  <a:pt x="327" y="979"/>
                </a:lnTo>
                <a:lnTo>
                  <a:pt x="325" y="978"/>
                </a:lnTo>
                <a:lnTo>
                  <a:pt x="325" y="977"/>
                </a:lnTo>
                <a:lnTo>
                  <a:pt x="329" y="977"/>
                </a:lnTo>
                <a:lnTo>
                  <a:pt x="328" y="976"/>
                </a:lnTo>
                <a:lnTo>
                  <a:pt x="325" y="974"/>
                </a:lnTo>
                <a:lnTo>
                  <a:pt x="325" y="972"/>
                </a:lnTo>
                <a:lnTo>
                  <a:pt x="324" y="972"/>
                </a:lnTo>
                <a:lnTo>
                  <a:pt x="324" y="978"/>
                </a:lnTo>
                <a:lnTo>
                  <a:pt x="323" y="977"/>
                </a:lnTo>
                <a:lnTo>
                  <a:pt x="322" y="977"/>
                </a:lnTo>
                <a:lnTo>
                  <a:pt x="322" y="976"/>
                </a:lnTo>
                <a:lnTo>
                  <a:pt x="321" y="976"/>
                </a:lnTo>
                <a:lnTo>
                  <a:pt x="321" y="977"/>
                </a:lnTo>
                <a:lnTo>
                  <a:pt x="319" y="977"/>
                </a:lnTo>
                <a:lnTo>
                  <a:pt x="318" y="976"/>
                </a:lnTo>
                <a:lnTo>
                  <a:pt x="317" y="976"/>
                </a:lnTo>
                <a:lnTo>
                  <a:pt x="317" y="978"/>
                </a:lnTo>
                <a:lnTo>
                  <a:pt x="316" y="980"/>
                </a:lnTo>
                <a:lnTo>
                  <a:pt x="313" y="980"/>
                </a:lnTo>
                <a:lnTo>
                  <a:pt x="315" y="982"/>
                </a:lnTo>
                <a:lnTo>
                  <a:pt x="315" y="984"/>
                </a:lnTo>
                <a:lnTo>
                  <a:pt x="313" y="982"/>
                </a:lnTo>
                <a:lnTo>
                  <a:pt x="312" y="982"/>
                </a:lnTo>
                <a:lnTo>
                  <a:pt x="309" y="983"/>
                </a:lnTo>
                <a:lnTo>
                  <a:pt x="307" y="983"/>
                </a:lnTo>
                <a:lnTo>
                  <a:pt x="307" y="982"/>
                </a:lnTo>
                <a:lnTo>
                  <a:pt x="309" y="980"/>
                </a:lnTo>
                <a:lnTo>
                  <a:pt x="306" y="980"/>
                </a:lnTo>
                <a:lnTo>
                  <a:pt x="306" y="982"/>
                </a:lnTo>
                <a:lnTo>
                  <a:pt x="305" y="982"/>
                </a:lnTo>
                <a:lnTo>
                  <a:pt x="305" y="985"/>
                </a:lnTo>
                <a:lnTo>
                  <a:pt x="304" y="985"/>
                </a:lnTo>
                <a:lnTo>
                  <a:pt x="304" y="986"/>
                </a:lnTo>
                <a:lnTo>
                  <a:pt x="303" y="986"/>
                </a:lnTo>
                <a:lnTo>
                  <a:pt x="303" y="985"/>
                </a:lnTo>
                <a:lnTo>
                  <a:pt x="301" y="984"/>
                </a:lnTo>
                <a:lnTo>
                  <a:pt x="300" y="984"/>
                </a:lnTo>
                <a:lnTo>
                  <a:pt x="300" y="983"/>
                </a:lnTo>
                <a:lnTo>
                  <a:pt x="299" y="984"/>
                </a:lnTo>
                <a:lnTo>
                  <a:pt x="298" y="984"/>
                </a:lnTo>
                <a:lnTo>
                  <a:pt x="298" y="985"/>
                </a:lnTo>
                <a:lnTo>
                  <a:pt x="297" y="985"/>
                </a:lnTo>
                <a:lnTo>
                  <a:pt x="297" y="984"/>
                </a:lnTo>
                <a:lnTo>
                  <a:pt x="294" y="982"/>
                </a:lnTo>
                <a:lnTo>
                  <a:pt x="294" y="979"/>
                </a:lnTo>
                <a:lnTo>
                  <a:pt x="296" y="979"/>
                </a:lnTo>
                <a:lnTo>
                  <a:pt x="297" y="978"/>
                </a:lnTo>
                <a:lnTo>
                  <a:pt x="298" y="976"/>
                </a:lnTo>
                <a:lnTo>
                  <a:pt x="298" y="972"/>
                </a:lnTo>
                <a:lnTo>
                  <a:pt x="300" y="970"/>
                </a:lnTo>
                <a:lnTo>
                  <a:pt x="301" y="970"/>
                </a:lnTo>
                <a:lnTo>
                  <a:pt x="306" y="973"/>
                </a:lnTo>
                <a:lnTo>
                  <a:pt x="305" y="970"/>
                </a:lnTo>
                <a:lnTo>
                  <a:pt x="304" y="967"/>
                </a:lnTo>
                <a:lnTo>
                  <a:pt x="301" y="966"/>
                </a:lnTo>
                <a:lnTo>
                  <a:pt x="299" y="968"/>
                </a:lnTo>
                <a:lnTo>
                  <a:pt x="297" y="972"/>
                </a:lnTo>
                <a:lnTo>
                  <a:pt x="293" y="979"/>
                </a:lnTo>
                <a:lnTo>
                  <a:pt x="293" y="982"/>
                </a:lnTo>
                <a:lnTo>
                  <a:pt x="294" y="984"/>
                </a:lnTo>
                <a:lnTo>
                  <a:pt x="293" y="985"/>
                </a:lnTo>
                <a:lnTo>
                  <a:pt x="293" y="986"/>
                </a:lnTo>
                <a:lnTo>
                  <a:pt x="292" y="986"/>
                </a:lnTo>
                <a:lnTo>
                  <a:pt x="292" y="989"/>
                </a:lnTo>
                <a:lnTo>
                  <a:pt x="290" y="986"/>
                </a:lnTo>
                <a:lnTo>
                  <a:pt x="290" y="989"/>
                </a:lnTo>
                <a:lnTo>
                  <a:pt x="288" y="989"/>
                </a:lnTo>
                <a:lnTo>
                  <a:pt x="288" y="990"/>
                </a:lnTo>
                <a:lnTo>
                  <a:pt x="287" y="989"/>
                </a:lnTo>
                <a:lnTo>
                  <a:pt x="287" y="988"/>
                </a:lnTo>
                <a:lnTo>
                  <a:pt x="286" y="986"/>
                </a:lnTo>
                <a:lnTo>
                  <a:pt x="286" y="985"/>
                </a:lnTo>
                <a:lnTo>
                  <a:pt x="285" y="984"/>
                </a:lnTo>
                <a:lnTo>
                  <a:pt x="284" y="984"/>
                </a:lnTo>
                <a:lnTo>
                  <a:pt x="284" y="986"/>
                </a:lnTo>
                <a:lnTo>
                  <a:pt x="286" y="988"/>
                </a:lnTo>
                <a:lnTo>
                  <a:pt x="280" y="988"/>
                </a:lnTo>
                <a:lnTo>
                  <a:pt x="278" y="986"/>
                </a:lnTo>
                <a:lnTo>
                  <a:pt x="272" y="980"/>
                </a:lnTo>
                <a:lnTo>
                  <a:pt x="271" y="980"/>
                </a:lnTo>
                <a:lnTo>
                  <a:pt x="271" y="982"/>
                </a:lnTo>
                <a:lnTo>
                  <a:pt x="273" y="983"/>
                </a:lnTo>
                <a:lnTo>
                  <a:pt x="275" y="985"/>
                </a:lnTo>
                <a:lnTo>
                  <a:pt x="275" y="988"/>
                </a:lnTo>
                <a:lnTo>
                  <a:pt x="274" y="988"/>
                </a:lnTo>
                <a:lnTo>
                  <a:pt x="274" y="989"/>
                </a:lnTo>
                <a:lnTo>
                  <a:pt x="279" y="994"/>
                </a:lnTo>
                <a:lnTo>
                  <a:pt x="279" y="995"/>
                </a:lnTo>
                <a:lnTo>
                  <a:pt x="278" y="996"/>
                </a:lnTo>
                <a:lnTo>
                  <a:pt x="275" y="996"/>
                </a:lnTo>
                <a:lnTo>
                  <a:pt x="275" y="995"/>
                </a:lnTo>
                <a:lnTo>
                  <a:pt x="274" y="992"/>
                </a:lnTo>
                <a:lnTo>
                  <a:pt x="274" y="991"/>
                </a:lnTo>
                <a:lnTo>
                  <a:pt x="272" y="991"/>
                </a:lnTo>
                <a:lnTo>
                  <a:pt x="268" y="988"/>
                </a:lnTo>
                <a:lnTo>
                  <a:pt x="267" y="988"/>
                </a:lnTo>
                <a:lnTo>
                  <a:pt x="269" y="990"/>
                </a:lnTo>
                <a:lnTo>
                  <a:pt x="269" y="991"/>
                </a:lnTo>
                <a:lnTo>
                  <a:pt x="271" y="991"/>
                </a:lnTo>
                <a:lnTo>
                  <a:pt x="271" y="994"/>
                </a:lnTo>
                <a:lnTo>
                  <a:pt x="269" y="995"/>
                </a:lnTo>
                <a:lnTo>
                  <a:pt x="269" y="997"/>
                </a:lnTo>
                <a:lnTo>
                  <a:pt x="271" y="999"/>
                </a:lnTo>
                <a:lnTo>
                  <a:pt x="271" y="1001"/>
                </a:lnTo>
                <a:lnTo>
                  <a:pt x="269" y="1001"/>
                </a:lnTo>
                <a:lnTo>
                  <a:pt x="268" y="999"/>
                </a:lnTo>
                <a:lnTo>
                  <a:pt x="268" y="998"/>
                </a:lnTo>
                <a:lnTo>
                  <a:pt x="267" y="997"/>
                </a:lnTo>
                <a:lnTo>
                  <a:pt x="266" y="997"/>
                </a:lnTo>
                <a:lnTo>
                  <a:pt x="265" y="995"/>
                </a:lnTo>
                <a:lnTo>
                  <a:pt x="263" y="995"/>
                </a:lnTo>
                <a:lnTo>
                  <a:pt x="263" y="997"/>
                </a:lnTo>
                <a:lnTo>
                  <a:pt x="265" y="998"/>
                </a:lnTo>
                <a:lnTo>
                  <a:pt x="267" y="999"/>
                </a:lnTo>
                <a:lnTo>
                  <a:pt x="265" y="1001"/>
                </a:lnTo>
                <a:lnTo>
                  <a:pt x="263" y="1002"/>
                </a:lnTo>
                <a:lnTo>
                  <a:pt x="262" y="1001"/>
                </a:lnTo>
                <a:lnTo>
                  <a:pt x="260" y="997"/>
                </a:lnTo>
                <a:lnTo>
                  <a:pt x="259" y="996"/>
                </a:lnTo>
                <a:lnTo>
                  <a:pt x="259" y="995"/>
                </a:lnTo>
                <a:lnTo>
                  <a:pt x="260" y="995"/>
                </a:lnTo>
                <a:lnTo>
                  <a:pt x="260" y="994"/>
                </a:lnTo>
                <a:lnTo>
                  <a:pt x="259" y="994"/>
                </a:lnTo>
                <a:lnTo>
                  <a:pt x="259" y="992"/>
                </a:lnTo>
                <a:lnTo>
                  <a:pt x="261" y="992"/>
                </a:lnTo>
                <a:lnTo>
                  <a:pt x="261" y="991"/>
                </a:lnTo>
                <a:lnTo>
                  <a:pt x="259" y="991"/>
                </a:lnTo>
                <a:lnTo>
                  <a:pt x="259" y="992"/>
                </a:lnTo>
                <a:lnTo>
                  <a:pt x="257" y="994"/>
                </a:lnTo>
                <a:lnTo>
                  <a:pt x="254" y="994"/>
                </a:lnTo>
                <a:lnTo>
                  <a:pt x="254" y="995"/>
                </a:lnTo>
                <a:lnTo>
                  <a:pt x="255" y="995"/>
                </a:lnTo>
                <a:lnTo>
                  <a:pt x="255" y="998"/>
                </a:lnTo>
                <a:lnTo>
                  <a:pt x="254" y="998"/>
                </a:lnTo>
                <a:lnTo>
                  <a:pt x="254" y="1001"/>
                </a:lnTo>
                <a:lnTo>
                  <a:pt x="247" y="1001"/>
                </a:lnTo>
                <a:lnTo>
                  <a:pt x="247" y="999"/>
                </a:lnTo>
                <a:lnTo>
                  <a:pt x="245" y="998"/>
                </a:lnTo>
                <a:lnTo>
                  <a:pt x="245" y="1001"/>
                </a:lnTo>
                <a:lnTo>
                  <a:pt x="240" y="1001"/>
                </a:lnTo>
                <a:lnTo>
                  <a:pt x="240" y="1003"/>
                </a:lnTo>
                <a:lnTo>
                  <a:pt x="238" y="1002"/>
                </a:lnTo>
                <a:lnTo>
                  <a:pt x="238" y="1003"/>
                </a:lnTo>
                <a:lnTo>
                  <a:pt x="240" y="1004"/>
                </a:lnTo>
                <a:lnTo>
                  <a:pt x="240" y="1007"/>
                </a:lnTo>
                <a:lnTo>
                  <a:pt x="236" y="1007"/>
                </a:lnTo>
                <a:lnTo>
                  <a:pt x="236" y="1005"/>
                </a:lnTo>
                <a:lnTo>
                  <a:pt x="234" y="1008"/>
                </a:lnTo>
                <a:lnTo>
                  <a:pt x="235" y="1008"/>
                </a:lnTo>
                <a:lnTo>
                  <a:pt x="235" y="1009"/>
                </a:lnTo>
                <a:lnTo>
                  <a:pt x="232" y="1009"/>
                </a:lnTo>
                <a:lnTo>
                  <a:pt x="231" y="1008"/>
                </a:lnTo>
                <a:lnTo>
                  <a:pt x="232" y="1008"/>
                </a:lnTo>
                <a:lnTo>
                  <a:pt x="232" y="1004"/>
                </a:lnTo>
                <a:lnTo>
                  <a:pt x="231" y="1004"/>
                </a:lnTo>
                <a:lnTo>
                  <a:pt x="231" y="1005"/>
                </a:lnTo>
                <a:lnTo>
                  <a:pt x="230" y="1009"/>
                </a:lnTo>
                <a:lnTo>
                  <a:pt x="230" y="1010"/>
                </a:lnTo>
                <a:lnTo>
                  <a:pt x="225" y="1010"/>
                </a:lnTo>
                <a:lnTo>
                  <a:pt x="225" y="1009"/>
                </a:lnTo>
                <a:lnTo>
                  <a:pt x="226" y="1008"/>
                </a:lnTo>
                <a:lnTo>
                  <a:pt x="226" y="1007"/>
                </a:lnTo>
                <a:lnTo>
                  <a:pt x="225" y="1005"/>
                </a:lnTo>
                <a:lnTo>
                  <a:pt x="224" y="1005"/>
                </a:lnTo>
                <a:lnTo>
                  <a:pt x="224" y="1009"/>
                </a:lnTo>
                <a:lnTo>
                  <a:pt x="223" y="1009"/>
                </a:lnTo>
                <a:lnTo>
                  <a:pt x="222" y="1010"/>
                </a:lnTo>
                <a:lnTo>
                  <a:pt x="218" y="1010"/>
                </a:lnTo>
                <a:lnTo>
                  <a:pt x="218" y="1014"/>
                </a:lnTo>
                <a:lnTo>
                  <a:pt x="217" y="1014"/>
                </a:lnTo>
                <a:lnTo>
                  <a:pt x="217" y="1011"/>
                </a:lnTo>
                <a:lnTo>
                  <a:pt x="216" y="1010"/>
                </a:lnTo>
                <a:lnTo>
                  <a:pt x="213" y="1009"/>
                </a:lnTo>
                <a:lnTo>
                  <a:pt x="212" y="1009"/>
                </a:lnTo>
                <a:lnTo>
                  <a:pt x="213" y="1010"/>
                </a:lnTo>
                <a:lnTo>
                  <a:pt x="214" y="1010"/>
                </a:lnTo>
                <a:lnTo>
                  <a:pt x="214" y="1013"/>
                </a:lnTo>
                <a:lnTo>
                  <a:pt x="213" y="1013"/>
                </a:lnTo>
                <a:lnTo>
                  <a:pt x="212" y="1014"/>
                </a:lnTo>
                <a:lnTo>
                  <a:pt x="212" y="1015"/>
                </a:lnTo>
                <a:lnTo>
                  <a:pt x="214" y="1014"/>
                </a:lnTo>
                <a:lnTo>
                  <a:pt x="214" y="1015"/>
                </a:lnTo>
                <a:lnTo>
                  <a:pt x="213" y="1015"/>
                </a:lnTo>
                <a:lnTo>
                  <a:pt x="214" y="1016"/>
                </a:lnTo>
                <a:lnTo>
                  <a:pt x="210" y="1021"/>
                </a:lnTo>
                <a:lnTo>
                  <a:pt x="210" y="1022"/>
                </a:lnTo>
                <a:lnTo>
                  <a:pt x="207" y="1022"/>
                </a:lnTo>
                <a:lnTo>
                  <a:pt x="207" y="1021"/>
                </a:lnTo>
                <a:lnTo>
                  <a:pt x="209" y="1019"/>
                </a:lnTo>
                <a:lnTo>
                  <a:pt x="209" y="1017"/>
                </a:lnTo>
                <a:lnTo>
                  <a:pt x="205" y="1021"/>
                </a:lnTo>
                <a:lnTo>
                  <a:pt x="205" y="1020"/>
                </a:lnTo>
                <a:lnTo>
                  <a:pt x="203" y="1022"/>
                </a:lnTo>
                <a:lnTo>
                  <a:pt x="203" y="1021"/>
                </a:lnTo>
                <a:lnTo>
                  <a:pt x="205" y="1019"/>
                </a:lnTo>
                <a:lnTo>
                  <a:pt x="205" y="1015"/>
                </a:lnTo>
                <a:lnTo>
                  <a:pt x="203" y="1015"/>
                </a:lnTo>
                <a:lnTo>
                  <a:pt x="203" y="1016"/>
                </a:lnTo>
                <a:lnTo>
                  <a:pt x="201" y="1016"/>
                </a:lnTo>
                <a:lnTo>
                  <a:pt x="201" y="1017"/>
                </a:lnTo>
                <a:lnTo>
                  <a:pt x="200" y="1019"/>
                </a:lnTo>
                <a:lnTo>
                  <a:pt x="198" y="1017"/>
                </a:lnTo>
                <a:lnTo>
                  <a:pt x="197" y="1017"/>
                </a:lnTo>
                <a:lnTo>
                  <a:pt x="197" y="1019"/>
                </a:lnTo>
                <a:lnTo>
                  <a:pt x="198" y="1020"/>
                </a:lnTo>
                <a:lnTo>
                  <a:pt x="195" y="1020"/>
                </a:lnTo>
                <a:lnTo>
                  <a:pt x="194" y="1019"/>
                </a:lnTo>
                <a:lnTo>
                  <a:pt x="192" y="1020"/>
                </a:lnTo>
                <a:lnTo>
                  <a:pt x="191" y="1021"/>
                </a:lnTo>
                <a:lnTo>
                  <a:pt x="189" y="1021"/>
                </a:lnTo>
                <a:lnTo>
                  <a:pt x="189" y="1020"/>
                </a:lnTo>
                <a:lnTo>
                  <a:pt x="191" y="1019"/>
                </a:lnTo>
                <a:lnTo>
                  <a:pt x="189" y="1019"/>
                </a:lnTo>
                <a:lnTo>
                  <a:pt x="188" y="1020"/>
                </a:lnTo>
                <a:lnTo>
                  <a:pt x="188" y="1021"/>
                </a:lnTo>
                <a:lnTo>
                  <a:pt x="187" y="1021"/>
                </a:lnTo>
                <a:lnTo>
                  <a:pt x="187" y="1022"/>
                </a:lnTo>
                <a:lnTo>
                  <a:pt x="185" y="1022"/>
                </a:lnTo>
                <a:lnTo>
                  <a:pt x="181" y="1026"/>
                </a:lnTo>
                <a:lnTo>
                  <a:pt x="180" y="1025"/>
                </a:lnTo>
                <a:lnTo>
                  <a:pt x="173" y="1026"/>
                </a:lnTo>
                <a:lnTo>
                  <a:pt x="173" y="1025"/>
                </a:lnTo>
                <a:lnTo>
                  <a:pt x="172" y="1025"/>
                </a:lnTo>
                <a:lnTo>
                  <a:pt x="172" y="1023"/>
                </a:lnTo>
                <a:lnTo>
                  <a:pt x="168" y="1025"/>
                </a:lnTo>
                <a:lnTo>
                  <a:pt x="167" y="1026"/>
                </a:lnTo>
                <a:lnTo>
                  <a:pt x="166" y="1026"/>
                </a:lnTo>
                <a:lnTo>
                  <a:pt x="166" y="1025"/>
                </a:lnTo>
                <a:lnTo>
                  <a:pt x="168" y="1021"/>
                </a:lnTo>
                <a:lnTo>
                  <a:pt x="168" y="1020"/>
                </a:lnTo>
                <a:lnTo>
                  <a:pt x="170" y="1020"/>
                </a:lnTo>
                <a:lnTo>
                  <a:pt x="170" y="1015"/>
                </a:lnTo>
                <a:lnTo>
                  <a:pt x="169" y="1016"/>
                </a:lnTo>
                <a:lnTo>
                  <a:pt x="168" y="1016"/>
                </a:lnTo>
                <a:lnTo>
                  <a:pt x="168" y="1019"/>
                </a:lnTo>
                <a:lnTo>
                  <a:pt x="167" y="1019"/>
                </a:lnTo>
                <a:lnTo>
                  <a:pt x="167" y="1020"/>
                </a:lnTo>
                <a:lnTo>
                  <a:pt x="166" y="1021"/>
                </a:lnTo>
                <a:lnTo>
                  <a:pt x="166" y="1023"/>
                </a:lnTo>
                <a:lnTo>
                  <a:pt x="164" y="1023"/>
                </a:lnTo>
                <a:lnTo>
                  <a:pt x="164" y="1025"/>
                </a:lnTo>
                <a:lnTo>
                  <a:pt x="163" y="1027"/>
                </a:lnTo>
                <a:lnTo>
                  <a:pt x="161" y="1028"/>
                </a:lnTo>
                <a:lnTo>
                  <a:pt x="157" y="1031"/>
                </a:lnTo>
                <a:lnTo>
                  <a:pt x="157" y="1034"/>
                </a:lnTo>
                <a:lnTo>
                  <a:pt x="158" y="1034"/>
                </a:lnTo>
                <a:lnTo>
                  <a:pt x="158" y="1035"/>
                </a:lnTo>
                <a:lnTo>
                  <a:pt x="150" y="1036"/>
                </a:lnTo>
                <a:lnTo>
                  <a:pt x="147" y="1036"/>
                </a:lnTo>
                <a:lnTo>
                  <a:pt x="145" y="1038"/>
                </a:lnTo>
                <a:lnTo>
                  <a:pt x="143" y="1038"/>
                </a:lnTo>
                <a:lnTo>
                  <a:pt x="143" y="1036"/>
                </a:lnTo>
                <a:lnTo>
                  <a:pt x="145" y="1034"/>
                </a:lnTo>
                <a:lnTo>
                  <a:pt x="147" y="1034"/>
                </a:lnTo>
                <a:lnTo>
                  <a:pt x="153" y="1032"/>
                </a:lnTo>
                <a:lnTo>
                  <a:pt x="155" y="1032"/>
                </a:lnTo>
                <a:lnTo>
                  <a:pt x="154" y="1029"/>
                </a:lnTo>
                <a:lnTo>
                  <a:pt x="157" y="1029"/>
                </a:lnTo>
                <a:lnTo>
                  <a:pt x="157" y="1028"/>
                </a:lnTo>
                <a:lnTo>
                  <a:pt x="160" y="1026"/>
                </a:lnTo>
                <a:lnTo>
                  <a:pt x="161" y="1023"/>
                </a:lnTo>
                <a:lnTo>
                  <a:pt x="161" y="1020"/>
                </a:lnTo>
                <a:lnTo>
                  <a:pt x="157" y="1026"/>
                </a:lnTo>
                <a:lnTo>
                  <a:pt x="157" y="1028"/>
                </a:lnTo>
                <a:lnTo>
                  <a:pt x="156" y="1028"/>
                </a:lnTo>
                <a:lnTo>
                  <a:pt x="156" y="1026"/>
                </a:lnTo>
                <a:lnTo>
                  <a:pt x="155" y="1026"/>
                </a:lnTo>
                <a:lnTo>
                  <a:pt x="155" y="1027"/>
                </a:lnTo>
                <a:lnTo>
                  <a:pt x="153" y="1027"/>
                </a:lnTo>
                <a:lnTo>
                  <a:pt x="153" y="1028"/>
                </a:lnTo>
                <a:lnTo>
                  <a:pt x="151" y="1028"/>
                </a:lnTo>
                <a:lnTo>
                  <a:pt x="151" y="1027"/>
                </a:lnTo>
                <a:lnTo>
                  <a:pt x="153" y="1025"/>
                </a:lnTo>
                <a:lnTo>
                  <a:pt x="153" y="1023"/>
                </a:lnTo>
                <a:lnTo>
                  <a:pt x="156" y="1022"/>
                </a:lnTo>
                <a:lnTo>
                  <a:pt x="156" y="1021"/>
                </a:lnTo>
                <a:lnTo>
                  <a:pt x="157" y="1019"/>
                </a:lnTo>
                <a:lnTo>
                  <a:pt x="158" y="1019"/>
                </a:lnTo>
                <a:lnTo>
                  <a:pt x="156" y="1017"/>
                </a:lnTo>
                <a:lnTo>
                  <a:pt x="151" y="1019"/>
                </a:lnTo>
                <a:lnTo>
                  <a:pt x="149" y="1019"/>
                </a:lnTo>
                <a:lnTo>
                  <a:pt x="148" y="1017"/>
                </a:lnTo>
                <a:lnTo>
                  <a:pt x="148" y="1016"/>
                </a:lnTo>
                <a:lnTo>
                  <a:pt x="147" y="1015"/>
                </a:lnTo>
                <a:lnTo>
                  <a:pt x="148" y="1014"/>
                </a:lnTo>
                <a:lnTo>
                  <a:pt x="149" y="1011"/>
                </a:lnTo>
                <a:lnTo>
                  <a:pt x="149" y="1010"/>
                </a:lnTo>
                <a:lnTo>
                  <a:pt x="148" y="1011"/>
                </a:lnTo>
                <a:lnTo>
                  <a:pt x="148" y="1013"/>
                </a:lnTo>
                <a:lnTo>
                  <a:pt x="147" y="1014"/>
                </a:lnTo>
                <a:lnTo>
                  <a:pt x="147" y="1013"/>
                </a:lnTo>
                <a:lnTo>
                  <a:pt x="145" y="1011"/>
                </a:lnTo>
                <a:lnTo>
                  <a:pt x="143" y="1010"/>
                </a:lnTo>
                <a:lnTo>
                  <a:pt x="143" y="1009"/>
                </a:lnTo>
                <a:lnTo>
                  <a:pt x="142" y="1009"/>
                </a:lnTo>
                <a:lnTo>
                  <a:pt x="143" y="1008"/>
                </a:lnTo>
                <a:lnTo>
                  <a:pt x="142" y="1007"/>
                </a:lnTo>
                <a:lnTo>
                  <a:pt x="144" y="1002"/>
                </a:lnTo>
                <a:lnTo>
                  <a:pt x="149" y="997"/>
                </a:lnTo>
                <a:lnTo>
                  <a:pt x="149" y="994"/>
                </a:lnTo>
                <a:lnTo>
                  <a:pt x="150" y="994"/>
                </a:lnTo>
                <a:lnTo>
                  <a:pt x="151" y="992"/>
                </a:lnTo>
                <a:lnTo>
                  <a:pt x="150" y="991"/>
                </a:lnTo>
                <a:lnTo>
                  <a:pt x="149" y="992"/>
                </a:lnTo>
                <a:lnTo>
                  <a:pt x="148" y="995"/>
                </a:lnTo>
                <a:lnTo>
                  <a:pt x="148" y="996"/>
                </a:lnTo>
                <a:lnTo>
                  <a:pt x="145" y="995"/>
                </a:lnTo>
                <a:lnTo>
                  <a:pt x="142" y="996"/>
                </a:lnTo>
                <a:lnTo>
                  <a:pt x="136" y="1002"/>
                </a:lnTo>
                <a:lnTo>
                  <a:pt x="131" y="1003"/>
                </a:lnTo>
                <a:lnTo>
                  <a:pt x="129" y="1004"/>
                </a:lnTo>
                <a:lnTo>
                  <a:pt x="127" y="1004"/>
                </a:lnTo>
                <a:lnTo>
                  <a:pt x="130" y="1002"/>
                </a:lnTo>
                <a:lnTo>
                  <a:pt x="129" y="1002"/>
                </a:lnTo>
                <a:lnTo>
                  <a:pt x="130" y="999"/>
                </a:lnTo>
                <a:lnTo>
                  <a:pt x="131" y="999"/>
                </a:lnTo>
                <a:lnTo>
                  <a:pt x="132" y="998"/>
                </a:lnTo>
                <a:lnTo>
                  <a:pt x="130" y="998"/>
                </a:lnTo>
                <a:lnTo>
                  <a:pt x="130" y="999"/>
                </a:lnTo>
                <a:lnTo>
                  <a:pt x="127" y="1001"/>
                </a:lnTo>
                <a:lnTo>
                  <a:pt x="124" y="1001"/>
                </a:lnTo>
                <a:lnTo>
                  <a:pt x="125" y="999"/>
                </a:lnTo>
                <a:lnTo>
                  <a:pt x="125" y="998"/>
                </a:lnTo>
                <a:lnTo>
                  <a:pt x="126" y="997"/>
                </a:lnTo>
                <a:lnTo>
                  <a:pt x="126" y="996"/>
                </a:lnTo>
                <a:lnTo>
                  <a:pt x="129" y="994"/>
                </a:lnTo>
                <a:lnTo>
                  <a:pt x="130" y="991"/>
                </a:lnTo>
                <a:lnTo>
                  <a:pt x="132" y="989"/>
                </a:lnTo>
                <a:lnTo>
                  <a:pt x="131" y="988"/>
                </a:lnTo>
                <a:lnTo>
                  <a:pt x="130" y="990"/>
                </a:lnTo>
                <a:lnTo>
                  <a:pt x="125" y="990"/>
                </a:lnTo>
                <a:lnTo>
                  <a:pt x="125" y="988"/>
                </a:lnTo>
                <a:lnTo>
                  <a:pt x="119" y="990"/>
                </a:lnTo>
                <a:lnTo>
                  <a:pt x="118" y="990"/>
                </a:lnTo>
                <a:lnTo>
                  <a:pt x="113" y="985"/>
                </a:lnTo>
                <a:lnTo>
                  <a:pt x="110" y="985"/>
                </a:lnTo>
                <a:lnTo>
                  <a:pt x="110" y="983"/>
                </a:lnTo>
                <a:lnTo>
                  <a:pt x="108" y="984"/>
                </a:lnTo>
                <a:lnTo>
                  <a:pt x="108" y="985"/>
                </a:lnTo>
                <a:lnTo>
                  <a:pt x="107" y="985"/>
                </a:lnTo>
                <a:lnTo>
                  <a:pt x="106" y="983"/>
                </a:lnTo>
                <a:lnTo>
                  <a:pt x="106" y="982"/>
                </a:lnTo>
                <a:lnTo>
                  <a:pt x="105" y="982"/>
                </a:lnTo>
                <a:lnTo>
                  <a:pt x="105" y="980"/>
                </a:lnTo>
                <a:lnTo>
                  <a:pt x="102" y="980"/>
                </a:lnTo>
                <a:lnTo>
                  <a:pt x="102" y="977"/>
                </a:lnTo>
                <a:lnTo>
                  <a:pt x="99" y="977"/>
                </a:lnTo>
                <a:lnTo>
                  <a:pt x="99" y="979"/>
                </a:lnTo>
                <a:lnTo>
                  <a:pt x="100" y="982"/>
                </a:lnTo>
                <a:lnTo>
                  <a:pt x="98" y="980"/>
                </a:lnTo>
                <a:lnTo>
                  <a:pt x="96" y="980"/>
                </a:lnTo>
                <a:lnTo>
                  <a:pt x="96" y="973"/>
                </a:lnTo>
                <a:lnTo>
                  <a:pt x="98" y="972"/>
                </a:lnTo>
                <a:lnTo>
                  <a:pt x="99" y="972"/>
                </a:lnTo>
                <a:lnTo>
                  <a:pt x="98" y="971"/>
                </a:lnTo>
                <a:lnTo>
                  <a:pt x="98" y="970"/>
                </a:lnTo>
                <a:lnTo>
                  <a:pt x="99" y="968"/>
                </a:lnTo>
                <a:lnTo>
                  <a:pt x="95" y="971"/>
                </a:lnTo>
                <a:lnTo>
                  <a:pt x="95" y="972"/>
                </a:lnTo>
                <a:lnTo>
                  <a:pt x="94" y="972"/>
                </a:lnTo>
                <a:lnTo>
                  <a:pt x="92" y="973"/>
                </a:lnTo>
                <a:lnTo>
                  <a:pt x="91" y="973"/>
                </a:lnTo>
                <a:lnTo>
                  <a:pt x="91" y="974"/>
                </a:lnTo>
                <a:lnTo>
                  <a:pt x="92" y="976"/>
                </a:lnTo>
                <a:lnTo>
                  <a:pt x="91" y="977"/>
                </a:lnTo>
                <a:lnTo>
                  <a:pt x="91" y="979"/>
                </a:lnTo>
                <a:lnTo>
                  <a:pt x="89" y="980"/>
                </a:lnTo>
                <a:lnTo>
                  <a:pt x="87" y="980"/>
                </a:lnTo>
                <a:lnTo>
                  <a:pt x="88" y="979"/>
                </a:lnTo>
                <a:lnTo>
                  <a:pt x="87" y="977"/>
                </a:lnTo>
                <a:lnTo>
                  <a:pt x="85" y="973"/>
                </a:lnTo>
                <a:lnTo>
                  <a:pt x="81" y="973"/>
                </a:lnTo>
                <a:lnTo>
                  <a:pt x="81" y="970"/>
                </a:lnTo>
                <a:lnTo>
                  <a:pt x="82" y="971"/>
                </a:lnTo>
                <a:lnTo>
                  <a:pt x="82" y="970"/>
                </a:lnTo>
                <a:lnTo>
                  <a:pt x="80" y="967"/>
                </a:lnTo>
                <a:lnTo>
                  <a:pt x="79" y="967"/>
                </a:lnTo>
                <a:lnTo>
                  <a:pt x="79" y="965"/>
                </a:lnTo>
                <a:lnTo>
                  <a:pt x="77" y="964"/>
                </a:lnTo>
                <a:lnTo>
                  <a:pt x="77" y="962"/>
                </a:lnTo>
                <a:lnTo>
                  <a:pt x="81" y="964"/>
                </a:lnTo>
                <a:lnTo>
                  <a:pt x="82" y="962"/>
                </a:lnTo>
                <a:lnTo>
                  <a:pt x="81" y="962"/>
                </a:lnTo>
                <a:lnTo>
                  <a:pt x="81" y="960"/>
                </a:lnTo>
                <a:lnTo>
                  <a:pt x="82" y="960"/>
                </a:lnTo>
                <a:lnTo>
                  <a:pt x="82" y="959"/>
                </a:lnTo>
                <a:lnTo>
                  <a:pt x="80" y="959"/>
                </a:lnTo>
                <a:lnTo>
                  <a:pt x="80" y="956"/>
                </a:lnTo>
                <a:lnTo>
                  <a:pt x="81" y="956"/>
                </a:lnTo>
                <a:lnTo>
                  <a:pt x="80" y="955"/>
                </a:lnTo>
                <a:lnTo>
                  <a:pt x="79" y="955"/>
                </a:lnTo>
                <a:lnTo>
                  <a:pt x="79" y="952"/>
                </a:lnTo>
                <a:lnTo>
                  <a:pt x="77" y="953"/>
                </a:lnTo>
                <a:lnTo>
                  <a:pt x="77" y="952"/>
                </a:lnTo>
                <a:lnTo>
                  <a:pt x="76" y="951"/>
                </a:lnTo>
                <a:lnTo>
                  <a:pt x="77" y="949"/>
                </a:lnTo>
                <a:lnTo>
                  <a:pt x="76" y="948"/>
                </a:lnTo>
                <a:lnTo>
                  <a:pt x="80" y="948"/>
                </a:lnTo>
                <a:lnTo>
                  <a:pt x="81" y="947"/>
                </a:lnTo>
                <a:lnTo>
                  <a:pt x="79" y="947"/>
                </a:lnTo>
                <a:lnTo>
                  <a:pt x="79" y="946"/>
                </a:lnTo>
                <a:lnTo>
                  <a:pt x="77" y="945"/>
                </a:lnTo>
                <a:lnTo>
                  <a:pt x="79" y="945"/>
                </a:lnTo>
                <a:lnTo>
                  <a:pt x="79" y="943"/>
                </a:lnTo>
                <a:lnTo>
                  <a:pt x="80" y="943"/>
                </a:lnTo>
                <a:lnTo>
                  <a:pt x="80" y="945"/>
                </a:lnTo>
                <a:lnTo>
                  <a:pt x="81" y="945"/>
                </a:lnTo>
                <a:lnTo>
                  <a:pt x="81" y="942"/>
                </a:lnTo>
                <a:lnTo>
                  <a:pt x="80" y="942"/>
                </a:lnTo>
                <a:lnTo>
                  <a:pt x="80" y="941"/>
                </a:lnTo>
                <a:lnTo>
                  <a:pt x="79" y="941"/>
                </a:lnTo>
                <a:lnTo>
                  <a:pt x="79" y="940"/>
                </a:lnTo>
                <a:lnTo>
                  <a:pt x="77" y="936"/>
                </a:lnTo>
                <a:lnTo>
                  <a:pt x="76" y="935"/>
                </a:lnTo>
                <a:lnTo>
                  <a:pt x="77" y="934"/>
                </a:lnTo>
                <a:lnTo>
                  <a:pt x="75" y="931"/>
                </a:lnTo>
                <a:lnTo>
                  <a:pt x="76" y="931"/>
                </a:lnTo>
                <a:lnTo>
                  <a:pt x="79" y="933"/>
                </a:lnTo>
                <a:lnTo>
                  <a:pt x="80" y="933"/>
                </a:lnTo>
                <a:lnTo>
                  <a:pt x="80" y="931"/>
                </a:lnTo>
                <a:lnTo>
                  <a:pt x="79" y="931"/>
                </a:lnTo>
                <a:lnTo>
                  <a:pt x="80" y="930"/>
                </a:lnTo>
                <a:lnTo>
                  <a:pt x="82" y="931"/>
                </a:lnTo>
                <a:lnTo>
                  <a:pt x="83" y="931"/>
                </a:lnTo>
                <a:lnTo>
                  <a:pt x="82" y="930"/>
                </a:lnTo>
                <a:lnTo>
                  <a:pt x="82" y="921"/>
                </a:lnTo>
                <a:lnTo>
                  <a:pt x="85" y="921"/>
                </a:lnTo>
                <a:lnTo>
                  <a:pt x="85" y="919"/>
                </a:lnTo>
                <a:lnTo>
                  <a:pt x="83" y="919"/>
                </a:lnTo>
                <a:lnTo>
                  <a:pt x="85" y="918"/>
                </a:lnTo>
                <a:lnTo>
                  <a:pt x="87" y="918"/>
                </a:lnTo>
                <a:lnTo>
                  <a:pt x="86" y="916"/>
                </a:lnTo>
                <a:lnTo>
                  <a:pt x="85" y="916"/>
                </a:lnTo>
                <a:lnTo>
                  <a:pt x="83" y="915"/>
                </a:lnTo>
                <a:lnTo>
                  <a:pt x="83" y="913"/>
                </a:lnTo>
                <a:lnTo>
                  <a:pt x="85" y="913"/>
                </a:lnTo>
                <a:lnTo>
                  <a:pt x="85" y="911"/>
                </a:lnTo>
                <a:lnTo>
                  <a:pt x="86" y="911"/>
                </a:lnTo>
                <a:lnTo>
                  <a:pt x="86" y="905"/>
                </a:lnTo>
                <a:lnTo>
                  <a:pt x="85" y="903"/>
                </a:lnTo>
                <a:lnTo>
                  <a:pt x="85" y="902"/>
                </a:lnTo>
                <a:lnTo>
                  <a:pt x="82" y="902"/>
                </a:lnTo>
                <a:lnTo>
                  <a:pt x="82" y="900"/>
                </a:lnTo>
                <a:lnTo>
                  <a:pt x="86" y="900"/>
                </a:lnTo>
                <a:lnTo>
                  <a:pt x="87" y="899"/>
                </a:lnTo>
                <a:lnTo>
                  <a:pt x="87" y="898"/>
                </a:lnTo>
                <a:lnTo>
                  <a:pt x="85" y="896"/>
                </a:lnTo>
                <a:lnTo>
                  <a:pt x="81" y="894"/>
                </a:lnTo>
                <a:lnTo>
                  <a:pt x="81" y="893"/>
                </a:lnTo>
                <a:lnTo>
                  <a:pt x="87" y="894"/>
                </a:lnTo>
                <a:lnTo>
                  <a:pt x="88" y="893"/>
                </a:lnTo>
                <a:lnTo>
                  <a:pt x="87" y="891"/>
                </a:lnTo>
                <a:lnTo>
                  <a:pt x="85" y="891"/>
                </a:lnTo>
                <a:lnTo>
                  <a:pt x="82" y="888"/>
                </a:lnTo>
                <a:lnTo>
                  <a:pt x="82" y="886"/>
                </a:lnTo>
                <a:lnTo>
                  <a:pt x="85" y="886"/>
                </a:lnTo>
                <a:lnTo>
                  <a:pt x="92" y="890"/>
                </a:lnTo>
                <a:lnTo>
                  <a:pt x="93" y="891"/>
                </a:lnTo>
                <a:lnTo>
                  <a:pt x="93" y="890"/>
                </a:lnTo>
                <a:lnTo>
                  <a:pt x="91" y="887"/>
                </a:lnTo>
                <a:lnTo>
                  <a:pt x="89" y="885"/>
                </a:lnTo>
                <a:lnTo>
                  <a:pt x="88" y="881"/>
                </a:lnTo>
                <a:lnTo>
                  <a:pt x="87" y="880"/>
                </a:lnTo>
                <a:lnTo>
                  <a:pt x="86" y="880"/>
                </a:lnTo>
                <a:lnTo>
                  <a:pt x="86" y="876"/>
                </a:lnTo>
                <a:lnTo>
                  <a:pt x="85" y="874"/>
                </a:lnTo>
                <a:lnTo>
                  <a:pt x="86" y="874"/>
                </a:lnTo>
                <a:lnTo>
                  <a:pt x="87" y="875"/>
                </a:lnTo>
                <a:lnTo>
                  <a:pt x="88" y="875"/>
                </a:lnTo>
                <a:lnTo>
                  <a:pt x="87" y="873"/>
                </a:lnTo>
                <a:lnTo>
                  <a:pt x="83" y="872"/>
                </a:lnTo>
                <a:lnTo>
                  <a:pt x="82" y="869"/>
                </a:lnTo>
                <a:lnTo>
                  <a:pt x="83" y="868"/>
                </a:lnTo>
                <a:lnTo>
                  <a:pt x="83" y="865"/>
                </a:lnTo>
                <a:lnTo>
                  <a:pt x="82" y="863"/>
                </a:lnTo>
                <a:lnTo>
                  <a:pt x="82" y="862"/>
                </a:lnTo>
                <a:lnTo>
                  <a:pt x="81" y="860"/>
                </a:lnTo>
                <a:lnTo>
                  <a:pt x="80" y="859"/>
                </a:lnTo>
                <a:lnTo>
                  <a:pt x="80" y="856"/>
                </a:lnTo>
                <a:lnTo>
                  <a:pt x="81" y="856"/>
                </a:lnTo>
                <a:lnTo>
                  <a:pt x="80" y="855"/>
                </a:lnTo>
                <a:lnTo>
                  <a:pt x="80" y="854"/>
                </a:lnTo>
                <a:lnTo>
                  <a:pt x="79" y="854"/>
                </a:lnTo>
                <a:lnTo>
                  <a:pt x="79" y="853"/>
                </a:lnTo>
                <a:lnTo>
                  <a:pt x="76" y="854"/>
                </a:lnTo>
                <a:lnTo>
                  <a:pt x="76" y="853"/>
                </a:lnTo>
                <a:lnTo>
                  <a:pt x="75" y="853"/>
                </a:lnTo>
                <a:lnTo>
                  <a:pt x="75" y="849"/>
                </a:lnTo>
                <a:lnTo>
                  <a:pt x="73" y="849"/>
                </a:lnTo>
                <a:lnTo>
                  <a:pt x="75" y="843"/>
                </a:lnTo>
                <a:lnTo>
                  <a:pt x="75" y="836"/>
                </a:lnTo>
                <a:lnTo>
                  <a:pt x="76" y="838"/>
                </a:lnTo>
                <a:lnTo>
                  <a:pt x="76" y="835"/>
                </a:lnTo>
                <a:lnTo>
                  <a:pt x="77" y="833"/>
                </a:lnTo>
                <a:lnTo>
                  <a:pt x="76" y="833"/>
                </a:lnTo>
                <a:lnTo>
                  <a:pt x="79" y="831"/>
                </a:lnTo>
                <a:lnTo>
                  <a:pt x="79" y="830"/>
                </a:lnTo>
                <a:lnTo>
                  <a:pt x="80" y="829"/>
                </a:lnTo>
                <a:lnTo>
                  <a:pt x="77" y="826"/>
                </a:lnTo>
                <a:lnTo>
                  <a:pt x="79" y="824"/>
                </a:lnTo>
                <a:lnTo>
                  <a:pt x="77" y="824"/>
                </a:lnTo>
                <a:lnTo>
                  <a:pt x="77" y="826"/>
                </a:lnTo>
                <a:lnTo>
                  <a:pt x="76" y="826"/>
                </a:lnTo>
                <a:lnTo>
                  <a:pt x="76" y="823"/>
                </a:lnTo>
                <a:lnTo>
                  <a:pt x="77" y="822"/>
                </a:lnTo>
                <a:lnTo>
                  <a:pt x="77" y="816"/>
                </a:lnTo>
                <a:lnTo>
                  <a:pt x="75" y="817"/>
                </a:lnTo>
                <a:lnTo>
                  <a:pt x="74" y="816"/>
                </a:lnTo>
                <a:lnTo>
                  <a:pt x="74" y="813"/>
                </a:lnTo>
                <a:lnTo>
                  <a:pt x="75" y="812"/>
                </a:lnTo>
                <a:lnTo>
                  <a:pt x="74" y="811"/>
                </a:lnTo>
                <a:lnTo>
                  <a:pt x="71" y="816"/>
                </a:lnTo>
                <a:lnTo>
                  <a:pt x="71" y="812"/>
                </a:lnTo>
                <a:lnTo>
                  <a:pt x="70" y="812"/>
                </a:lnTo>
                <a:lnTo>
                  <a:pt x="71" y="811"/>
                </a:lnTo>
                <a:lnTo>
                  <a:pt x="71" y="810"/>
                </a:lnTo>
                <a:lnTo>
                  <a:pt x="70" y="810"/>
                </a:lnTo>
                <a:lnTo>
                  <a:pt x="69" y="811"/>
                </a:lnTo>
                <a:lnTo>
                  <a:pt x="68" y="810"/>
                </a:lnTo>
                <a:lnTo>
                  <a:pt x="69" y="807"/>
                </a:lnTo>
                <a:lnTo>
                  <a:pt x="69" y="806"/>
                </a:lnTo>
                <a:lnTo>
                  <a:pt x="68" y="806"/>
                </a:lnTo>
                <a:lnTo>
                  <a:pt x="68" y="801"/>
                </a:lnTo>
                <a:lnTo>
                  <a:pt x="69" y="800"/>
                </a:lnTo>
                <a:lnTo>
                  <a:pt x="69" y="799"/>
                </a:lnTo>
                <a:lnTo>
                  <a:pt x="68" y="798"/>
                </a:lnTo>
                <a:lnTo>
                  <a:pt x="71" y="794"/>
                </a:lnTo>
                <a:lnTo>
                  <a:pt x="71" y="793"/>
                </a:lnTo>
                <a:lnTo>
                  <a:pt x="68" y="793"/>
                </a:lnTo>
                <a:lnTo>
                  <a:pt x="68" y="790"/>
                </a:lnTo>
                <a:lnTo>
                  <a:pt x="67" y="792"/>
                </a:lnTo>
                <a:lnTo>
                  <a:pt x="66" y="794"/>
                </a:lnTo>
                <a:lnTo>
                  <a:pt x="66" y="792"/>
                </a:lnTo>
                <a:lnTo>
                  <a:pt x="67" y="788"/>
                </a:lnTo>
                <a:lnTo>
                  <a:pt x="67" y="786"/>
                </a:lnTo>
                <a:lnTo>
                  <a:pt x="70" y="782"/>
                </a:lnTo>
                <a:lnTo>
                  <a:pt x="70" y="781"/>
                </a:lnTo>
                <a:lnTo>
                  <a:pt x="69" y="781"/>
                </a:lnTo>
                <a:lnTo>
                  <a:pt x="68" y="780"/>
                </a:lnTo>
                <a:lnTo>
                  <a:pt x="68" y="776"/>
                </a:lnTo>
                <a:lnTo>
                  <a:pt x="69" y="775"/>
                </a:lnTo>
                <a:lnTo>
                  <a:pt x="70" y="776"/>
                </a:lnTo>
                <a:lnTo>
                  <a:pt x="71" y="776"/>
                </a:lnTo>
                <a:lnTo>
                  <a:pt x="71" y="774"/>
                </a:lnTo>
                <a:lnTo>
                  <a:pt x="73" y="771"/>
                </a:lnTo>
                <a:lnTo>
                  <a:pt x="73" y="768"/>
                </a:lnTo>
                <a:lnTo>
                  <a:pt x="74" y="768"/>
                </a:lnTo>
                <a:lnTo>
                  <a:pt x="77" y="770"/>
                </a:lnTo>
                <a:lnTo>
                  <a:pt x="77" y="769"/>
                </a:lnTo>
                <a:lnTo>
                  <a:pt x="79" y="769"/>
                </a:lnTo>
                <a:lnTo>
                  <a:pt x="79" y="768"/>
                </a:lnTo>
                <a:lnTo>
                  <a:pt x="80" y="768"/>
                </a:lnTo>
                <a:lnTo>
                  <a:pt x="80" y="764"/>
                </a:lnTo>
                <a:lnTo>
                  <a:pt x="81" y="762"/>
                </a:lnTo>
                <a:lnTo>
                  <a:pt x="82" y="761"/>
                </a:lnTo>
                <a:lnTo>
                  <a:pt x="82" y="753"/>
                </a:lnTo>
                <a:lnTo>
                  <a:pt x="81" y="753"/>
                </a:lnTo>
                <a:lnTo>
                  <a:pt x="81" y="752"/>
                </a:lnTo>
                <a:lnTo>
                  <a:pt x="83" y="752"/>
                </a:lnTo>
                <a:lnTo>
                  <a:pt x="83" y="750"/>
                </a:lnTo>
                <a:lnTo>
                  <a:pt x="85" y="750"/>
                </a:lnTo>
                <a:lnTo>
                  <a:pt x="88" y="753"/>
                </a:lnTo>
                <a:lnTo>
                  <a:pt x="89" y="753"/>
                </a:lnTo>
                <a:lnTo>
                  <a:pt x="91" y="755"/>
                </a:lnTo>
                <a:lnTo>
                  <a:pt x="92" y="753"/>
                </a:lnTo>
                <a:lnTo>
                  <a:pt x="91" y="751"/>
                </a:lnTo>
                <a:lnTo>
                  <a:pt x="87" y="749"/>
                </a:lnTo>
                <a:lnTo>
                  <a:pt x="87" y="747"/>
                </a:lnTo>
                <a:lnTo>
                  <a:pt x="86" y="746"/>
                </a:lnTo>
                <a:lnTo>
                  <a:pt x="87" y="745"/>
                </a:lnTo>
                <a:lnTo>
                  <a:pt x="86" y="745"/>
                </a:lnTo>
                <a:lnTo>
                  <a:pt x="85" y="744"/>
                </a:lnTo>
                <a:lnTo>
                  <a:pt x="85" y="740"/>
                </a:lnTo>
                <a:lnTo>
                  <a:pt x="86" y="740"/>
                </a:lnTo>
                <a:lnTo>
                  <a:pt x="86" y="739"/>
                </a:lnTo>
                <a:lnTo>
                  <a:pt x="85" y="739"/>
                </a:lnTo>
                <a:lnTo>
                  <a:pt x="85" y="738"/>
                </a:lnTo>
                <a:lnTo>
                  <a:pt x="83" y="737"/>
                </a:lnTo>
                <a:lnTo>
                  <a:pt x="86" y="734"/>
                </a:lnTo>
                <a:lnTo>
                  <a:pt x="87" y="734"/>
                </a:lnTo>
                <a:lnTo>
                  <a:pt x="91" y="738"/>
                </a:lnTo>
                <a:lnTo>
                  <a:pt x="91" y="736"/>
                </a:lnTo>
                <a:lnTo>
                  <a:pt x="92" y="737"/>
                </a:lnTo>
                <a:lnTo>
                  <a:pt x="93" y="737"/>
                </a:lnTo>
                <a:lnTo>
                  <a:pt x="94" y="738"/>
                </a:lnTo>
                <a:lnTo>
                  <a:pt x="95" y="737"/>
                </a:lnTo>
                <a:lnTo>
                  <a:pt x="94" y="737"/>
                </a:lnTo>
                <a:lnTo>
                  <a:pt x="93" y="736"/>
                </a:lnTo>
                <a:lnTo>
                  <a:pt x="95" y="733"/>
                </a:lnTo>
                <a:lnTo>
                  <a:pt x="96" y="734"/>
                </a:lnTo>
                <a:lnTo>
                  <a:pt x="98" y="733"/>
                </a:lnTo>
                <a:lnTo>
                  <a:pt x="100" y="732"/>
                </a:lnTo>
                <a:lnTo>
                  <a:pt x="101" y="732"/>
                </a:lnTo>
                <a:lnTo>
                  <a:pt x="100" y="733"/>
                </a:lnTo>
                <a:lnTo>
                  <a:pt x="100" y="739"/>
                </a:lnTo>
                <a:lnTo>
                  <a:pt x="101" y="740"/>
                </a:lnTo>
                <a:lnTo>
                  <a:pt x="105" y="743"/>
                </a:lnTo>
                <a:lnTo>
                  <a:pt x="104" y="740"/>
                </a:lnTo>
                <a:lnTo>
                  <a:pt x="104" y="739"/>
                </a:lnTo>
                <a:lnTo>
                  <a:pt x="105" y="738"/>
                </a:lnTo>
                <a:lnTo>
                  <a:pt x="105" y="737"/>
                </a:lnTo>
                <a:lnTo>
                  <a:pt x="106" y="736"/>
                </a:lnTo>
                <a:lnTo>
                  <a:pt x="106" y="734"/>
                </a:lnTo>
                <a:lnTo>
                  <a:pt x="107" y="733"/>
                </a:lnTo>
                <a:lnTo>
                  <a:pt x="107" y="734"/>
                </a:lnTo>
                <a:lnTo>
                  <a:pt x="108" y="736"/>
                </a:lnTo>
                <a:lnTo>
                  <a:pt x="110" y="734"/>
                </a:lnTo>
                <a:lnTo>
                  <a:pt x="113" y="734"/>
                </a:lnTo>
                <a:lnTo>
                  <a:pt x="116" y="731"/>
                </a:lnTo>
                <a:lnTo>
                  <a:pt x="117" y="730"/>
                </a:lnTo>
                <a:lnTo>
                  <a:pt x="117" y="728"/>
                </a:lnTo>
                <a:lnTo>
                  <a:pt x="118" y="731"/>
                </a:lnTo>
                <a:lnTo>
                  <a:pt x="119" y="730"/>
                </a:lnTo>
                <a:lnTo>
                  <a:pt x="120" y="727"/>
                </a:lnTo>
                <a:lnTo>
                  <a:pt x="120" y="724"/>
                </a:lnTo>
                <a:lnTo>
                  <a:pt x="118" y="721"/>
                </a:lnTo>
                <a:lnTo>
                  <a:pt x="116" y="718"/>
                </a:lnTo>
                <a:lnTo>
                  <a:pt x="114" y="718"/>
                </a:lnTo>
                <a:lnTo>
                  <a:pt x="114" y="716"/>
                </a:lnTo>
                <a:lnTo>
                  <a:pt x="113" y="715"/>
                </a:lnTo>
                <a:lnTo>
                  <a:pt x="113" y="713"/>
                </a:lnTo>
                <a:lnTo>
                  <a:pt x="114" y="712"/>
                </a:lnTo>
                <a:lnTo>
                  <a:pt x="116" y="712"/>
                </a:lnTo>
                <a:lnTo>
                  <a:pt x="117" y="714"/>
                </a:lnTo>
                <a:lnTo>
                  <a:pt x="119" y="716"/>
                </a:lnTo>
                <a:lnTo>
                  <a:pt x="120" y="716"/>
                </a:lnTo>
                <a:lnTo>
                  <a:pt x="122" y="718"/>
                </a:lnTo>
                <a:lnTo>
                  <a:pt x="119" y="713"/>
                </a:lnTo>
                <a:lnTo>
                  <a:pt x="117" y="710"/>
                </a:lnTo>
                <a:lnTo>
                  <a:pt x="117" y="707"/>
                </a:lnTo>
                <a:lnTo>
                  <a:pt x="119" y="707"/>
                </a:lnTo>
                <a:lnTo>
                  <a:pt x="119" y="710"/>
                </a:lnTo>
                <a:lnTo>
                  <a:pt x="122" y="710"/>
                </a:lnTo>
                <a:lnTo>
                  <a:pt x="122" y="714"/>
                </a:lnTo>
                <a:lnTo>
                  <a:pt x="124" y="712"/>
                </a:lnTo>
                <a:lnTo>
                  <a:pt x="123" y="710"/>
                </a:lnTo>
                <a:lnTo>
                  <a:pt x="124" y="709"/>
                </a:lnTo>
                <a:lnTo>
                  <a:pt x="124" y="708"/>
                </a:lnTo>
                <a:lnTo>
                  <a:pt x="125" y="704"/>
                </a:lnTo>
                <a:lnTo>
                  <a:pt x="125" y="703"/>
                </a:lnTo>
                <a:lnTo>
                  <a:pt x="126" y="702"/>
                </a:lnTo>
                <a:lnTo>
                  <a:pt x="126" y="701"/>
                </a:lnTo>
                <a:lnTo>
                  <a:pt x="129" y="702"/>
                </a:lnTo>
                <a:lnTo>
                  <a:pt x="127" y="701"/>
                </a:lnTo>
                <a:lnTo>
                  <a:pt x="126" y="697"/>
                </a:lnTo>
                <a:lnTo>
                  <a:pt x="126" y="696"/>
                </a:lnTo>
                <a:lnTo>
                  <a:pt x="127" y="696"/>
                </a:lnTo>
                <a:lnTo>
                  <a:pt x="127" y="695"/>
                </a:lnTo>
                <a:lnTo>
                  <a:pt x="130" y="695"/>
                </a:lnTo>
                <a:lnTo>
                  <a:pt x="130" y="690"/>
                </a:lnTo>
                <a:lnTo>
                  <a:pt x="131" y="690"/>
                </a:lnTo>
                <a:lnTo>
                  <a:pt x="131" y="691"/>
                </a:lnTo>
                <a:lnTo>
                  <a:pt x="132" y="691"/>
                </a:lnTo>
                <a:lnTo>
                  <a:pt x="132" y="690"/>
                </a:lnTo>
                <a:lnTo>
                  <a:pt x="133" y="690"/>
                </a:lnTo>
                <a:lnTo>
                  <a:pt x="135" y="691"/>
                </a:lnTo>
                <a:lnTo>
                  <a:pt x="135" y="695"/>
                </a:lnTo>
                <a:lnTo>
                  <a:pt x="136" y="697"/>
                </a:lnTo>
                <a:lnTo>
                  <a:pt x="138" y="697"/>
                </a:lnTo>
                <a:lnTo>
                  <a:pt x="138" y="696"/>
                </a:lnTo>
                <a:lnTo>
                  <a:pt x="139" y="696"/>
                </a:lnTo>
                <a:lnTo>
                  <a:pt x="141" y="695"/>
                </a:lnTo>
                <a:lnTo>
                  <a:pt x="141" y="693"/>
                </a:lnTo>
                <a:lnTo>
                  <a:pt x="142" y="691"/>
                </a:lnTo>
                <a:lnTo>
                  <a:pt x="143" y="691"/>
                </a:lnTo>
                <a:lnTo>
                  <a:pt x="143" y="689"/>
                </a:lnTo>
                <a:lnTo>
                  <a:pt x="141" y="688"/>
                </a:lnTo>
                <a:lnTo>
                  <a:pt x="143" y="688"/>
                </a:lnTo>
                <a:lnTo>
                  <a:pt x="142" y="687"/>
                </a:lnTo>
                <a:lnTo>
                  <a:pt x="142" y="685"/>
                </a:lnTo>
                <a:lnTo>
                  <a:pt x="143" y="687"/>
                </a:lnTo>
                <a:lnTo>
                  <a:pt x="144" y="687"/>
                </a:lnTo>
                <a:lnTo>
                  <a:pt x="144" y="684"/>
                </a:lnTo>
                <a:lnTo>
                  <a:pt x="143" y="683"/>
                </a:lnTo>
                <a:lnTo>
                  <a:pt x="143" y="682"/>
                </a:lnTo>
                <a:lnTo>
                  <a:pt x="144" y="681"/>
                </a:lnTo>
                <a:lnTo>
                  <a:pt x="145" y="681"/>
                </a:lnTo>
                <a:lnTo>
                  <a:pt x="145" y="682"/>
                </a:lnTo>
                <a:lnTo>
                  <a:pt x="147" y="683"/>
                </a:lnTo>
                <a:lnTo>
                  <a:pt x="147" y="684"/>
                </a:lnTo>
                <a:lnTo>
                  <a:pt x="148" y="684"/>
                </a:lnTo>
                <a:lnTo>
                  <a:pt x="148" y="683"/>
                </a:lnTo>
                <a:lnTo>
                  <a:pt x="147" y="682"/>
                </a:lnTo>
                <a:lnTo>
                  <a:pt x="147" y="679"/>
                </a:lnTo>
                <a:lnTo>
                  <a:pt x="150" y="676"/>
                </a:lnTo>
                <a:lnTo>
                  <a:pt x="153" y="676"/>
                </a:lnTo>
                <a:lnTo>
                  <a:pt x="154" y="675"/>
                </a:lnTo>
                <a:lnTo>
                  <a:pt x="154" y="672"/>
                </a:lnTo>
                <a:lnTo>
                  <a:pt x="160" y="672"/>
                </a:lnTo>
                <a:lnTo>
                  <a:pt x="161" y="670"/>
                </a:lnTo>
                <a:lnTo>
                  <a:pt x="162" y="671"/>
                </a:lnTo>
                <a:lnTo>
                  <a:pt x="163" y="671"/>
                </a:lnTo>
                <a:lnTo>
                  <a:pt x="164" y="670"/>
                </a:lnTo>
                <a:lnTo>
                  <a:pt x="164" y="669"/>
                </a:lnTo>
                <a:lnTo>
                  <a:pt x="163" y="667"/>
                </a:lnTo>
                <a:lnTo>
                  <a:pt x="163" y="657"/>
                </a:lnTo>
                <a:lnTo>
                  <a:pt x="167" y="657"/>
                </a:lnTo>
                <a:lnTo>
                  <a:pt x="167" y="658"/>
                </a:lnTo>
                <a:lnTo>
                  <a:pt x="170" y="658"/>
                </a:lnTo>
                <a:lnTo>
                  <a:pt x="173" y="659"/>
                </a:lnTo>
                <a:lnTo>
                  <a:pt x="174" y="658"/>
                </a:lnTo>
                <a:lnTo>
                  <a:pt x="172" y="653"/>
                </a:lnTo>
                <a:lnTo>
                  <a:pt x="172" y="651"/>
                </a:lnTo>
                <a:lnTo>
                  <a:pt x="173" y="652"/>
                </a:lnTo>
                <a:lnTo>
                  <a:pt x="174" y="651"/>
                </a:lnTo>
                <a:lnTo>
                  <a:pt x="174" y="650"/>
                </a:lnTo>
                <a:lnTo>
                  <a:pt x="175" y="650"/>
                </a:lnTo>
                <a:lnTo>
                  <a:pt x="175" y="647"/>
                </a:lnTo>
                <a:lnTo>
                  <a:pt x="176" y="647"/>
                </a:lnTo>
                <a:lnTo>
                  <a:pt x="178" y="646"/>
                </a:lnTo>
                <a:lnTo>
                  <a:pt x="178" y="641"/>
                </a:lnTo>
                <a:lnTo>
                  <a:pt x="180" y="641"/>
                </a:lnTo>
                <a:lnTo>
                  <a:pt x="182" y="640"/>
                </a:lnTo>
                <a:lnTo>
                  <a:pt x="182" y="639"/>
                </a:lnTo>
                <a:lnTo>
                  <a:pt x="184" y="635"/>
                </a:lnTo>
                <a:lnTo>
                  <a:pt x="185" y="636"/>
                </a:lnTo>
                <a:lnTo>
                  <a:pt x="186" y="636"/>
                </a:lnTo>
                <a:lnTo>
                  <a:pt x="187" y="638"/>
                </a:lnTo>
                <a:lnTo>
                  <a:pt x="187" y="636"/>
                </a:lnTo>
                <a:lnTo>
                  <a:pt x="186" y="635"/>
                </a:lnTo>
                <a:lnTo>
                  <a:pt x="186" y="634"/>
                </a:lnTo>
                <a:lnTo>
                  <a:pt x="187" y="633"/>
                </a:lnTo>
                <a:lnTo>
                  <a:pt x="187" y="630"/>
                </a:lnTo>
                <a:lnTo>
                  <a:pt x="188" y="629"/>
                </a:lnTo>
                <a:lnTo>
                  <a:pt x="188" y="628"/>
                </a:lnTo>
                <a:lnTo>
                  <a:pt x="189" y="624"/>
                </a:lnTo>
                <a:lnTo>
                  <a:pt x="189" y="623"/>
                </a:lnTo>
                <a:lnTo>
                  <a:pt x="191" y="623"/>
                </a:lnTo>
                <a:lnTo>
                  <a:pt x="193" y="621"/>
                </a:lnTo>
                <a:lnTo>
                  <a:pt x="193" y="620"/>
                </a:lnTo>
                <a:lnTo>
                  <a:pt x="194" y="620"/>
                </a:lnTo>
                <a:lnTo>
                  <a:pt x="194" y="618"/>
                </a:lnTo>
                <a:lnTo>
                  <a:pt x="195" y="618"/>
                </a:lnTo>
                <a:lnTo>
                  <a:pt x="197" y="617"/>
                </a:lnTo>
                <a:lnTo>
                  <a:pt x="199" y="617"/>
                </a:lnTo>
                <a:lnTo>
                  <a:pt x="198" y="616"/>
                </a:lnTo>
                <a:lnTo>
                  <a:pt x="199" y="615"/>
                </a:lnTo>
                <a:lnTo>
                  <a:pt x="199" y="614"/>
                </a:lnTo>
                <a:lnTo>
                  <a:pt x="200" y="615"/>
                </a:lnTo>
                <a:lnTo>
                  <a:pt x="201" y="614"/>
                </a:lnTo>
                <a:lnTo>
                  <a:pt x="201" y="611"/>
                </a:lnTo>
                <a:lnTo>
                  <a:pt x="203" y="611"/>
                </a:lnTo>
                <a:lnTo>
                  <a:pt x="204" y="610"/>
                </a:lnTo>
                <a:lnTo>
                  <a:pt x="205" y="608"/>
                </a:lnTo>
                <a:lnTo>
                  <a:pt x="205" y="602"/>
                </a:lnTo>
                <a:lnTo>
                  <a:pt x="206" y="601"/>
                </a:lnTo>
                <a:lnTo>
                  <a:pt x="207" y="598"/>
                </a:lnTo>
                <a:lnTo>
                  <a:pt x="207" y="596"/>
                </a:lnTo>
                <a:lnTo>
                  <a:pt x="212" y="591"/>
                </a:lnTo>
                <a:lnTo>
                  <a:pt x="212" y="587"/>
                </a:lnTo>
                <a:lnTo>
                  <a:pt x="214" y="585"/>
                </a:lnTo>
                <a:lnTo>
                  <a:pt x="212" y="583"/>
                </a:lnTo>
                <a:lnTo>
                  <a:pt x="214" y="583"/>
                </a:lnTo>
                <a:lnTo>
                  <a:pt x="217" y="585"/>
                </a:lnTo>
                <a:lnTo>
                  <a:pt x="218" y="585"/>
                </a:lnTo>
                <a:lnTo>
                  <a:pt x="218" y="580"/>
                </a:lnTo>
                <a:lnTo>
                  <a:pt x="220" y="580"/>
                </a:lnTo>
                <a:lnTo>
                  <a:pt x="220" y="578"/>
                </a:lnTo>
                <a:lnTo>
                  <a:pt x="222" y="577"/>
                </a:lnTo>
                <a:lnTo>
                  <a:pt x="228" y="577"/>
                </a:lnTo>
                <a:lnTo>
                  <a:pt x="235" y="572"/>
                </a:lnTo>
                <a:lnTo>
                  <a:pt x="236" y="572"/>
                </a:lnTo>
                <a:lnTo>
                  <a:pt x="237" y="573"/>
                </a:lnTo>
                <a:lnTo>
                  <a:pt x="237" y="574"/>
                </a:lnTo>
                <a:lnTo>
                  <a:pt x="238" y="575"/>
                </a:lnTo>
                <a:lnTo>
                  <a:pt x="238" y="574"/>
                </a:lnTo>
                <a:lnTo>
                  <a:pt x="240" y="575"/>
                </a:lnTo>
                <a:lnTo>
                  <a:pt x="240" y="578"/>
                </a:lnTo>
                <a:lnTo>
                  <a:pt x="242" y="580"/>
                </a:lnTo>
                <a:lnTo>
                  <a:pt x="241" y="581"/>
                </a:lnTo>
                <a:lnTo>
                  <a:pt x="243" y="581"/>
                </a:lnTo>
                <a:lnTo>
                  <a:pt x="247" y="580"/>
                </a:lnTo>
                <a:lnTo>
                  <a:pt x="247" y="572"/>
                </a:lnTo>
                <a:lnTo>
                  <a:pt x="245" y="573"/>
                </a:lnTo>
                <a:lnTo>
                  <a:pt x="244" y="573"/>
                </a:lnTo>
                <a:lnTo>
                  <a:pt x="243" y="571"/>
                </a:lnTo>
                <a:lnTo>
                  <a:pt x="242" y="571"/>
                </a:lnTo>
                <a:lnTo>
                  <a:pt x="241" y="570"/>
                </a:lnTo>
                <a:lnTo>
                  <a:pt x="240" y="567"/>
                </a:lnTo>
                <a:lnTo>
                  <a:pt x="240" y="566"/>
                </a:lnTo>
                <a:lnTo>
                  <a:pt x="241" y="566"/>
                </a:lnTo>
                <a:lnTo>
                  <a:pt x="241" y="565"/>
                </a:lnTo>
                <a:lnTo>
                  <a:pt x="245" y="565"/>
                </a:lnTo>
                <a:lnTo>
                  <a:pt x="245" y="566"/>
                </a:lnTo>
                <a:lnTo>
                  <a:pt x="248" y="567"/>
                </a:lnTo>
                <a:lnTo>
                  <a:pt x="249" y="568"/>
                </a:lnTo>
                <a:lnTo>
                  <a:pt x="250" y="568"/>
                </a:lnTo>
                <a:lnTo>
                  <a:pt x="250" y="566"/>
                </a:lnTo>
                <a:lnTo>
                  <a:pt x="249" y="565"/>
                </a:lnTo>
                <a:lnTo>
                  <a:pt x="249" y="560"/>
                </a:lnTo>
                <a:lnTo>
                  <a:pt x="248" y="559"/>
                </a:lnTo>
                <a:lnTo>
                  <a:pt x="248" y="555"/>
                </a:lnTo>
                <a:lnTo>
                  <a:pt x="245" y="553"/>
                </a:lnTo>
                <a:lnTo>
                  <a:pt x="241" y="552"/>
                </a:lnTo>
                <a:lnTo>
                  <a:pt x="241" y="548"/>
                </a:lnTo>
                <a:lnTo>
                  <a:pt x="243" y="546"/>
                </a:lnTo>
                <a:lnTo>
                  <a:pt x="243" y="544"/>
                </a:lnTo>
                <a:lnTo>
                  <a:pt x="244" y="543"/>
                </a:lnTo>
                <a:lnTo>
                  <a:pt x="243" y="541"/>
                </a:lnTo>
                <a:lnTo>
                  <a:pt x="244" y="542"/>
                </a:lnTo>
                <a:lnTo>
                  <a:pt x="244" y="541"/>
                </a:lnTo>
                <a:lnTo>
                  <a:pt x="245" y="541"/>
                </a:lnTo>
                <a:lnTo>
                  <a:pt x="244" y="540"/>
                </a:lnTo>
                <a:lnTo>
                  <a:pt x="244" y="538"/>
                </a:lnTo>
                <a:lnTo>
                  <a:pt x="245" y="538"/>
                </a:lnTo>
                <a:lnTo>
                  <a:pt x="244" y="537"/>
                </a:lnTo>
                <a:lnTo>
                  <a:pt x="243" y="537"/>
                </a:lnTo>
                <a:lnTo>
                  <a:pt x="244" y="536"/>
                </a:lnTo>
                <a:lnTo>
                  <a:pt x="244" y="534"/>
                </a:lnTo>
                <a:lnTo>
                  <a:pt x="245" y="531"/>
                </a:lnTo>
                <a:lnTo>
                  <a:pt x="244" y="530"/>
                </a:lnTo>
                <a:lnTo>
                  <a:pt x="245" y="530"/>
                </a:lnTo>
                <a:lnTo>
                  <a:pt x="245" y="529"/>
                </a:lnTo>
                <a:lnTo>
                  <a:pt x="243" y="525"/>
                </a:lnTo>
                <a:lnTo>
                  <a:pt x="244" y="525"/>
                </a:lnTo>
                <a:lnTo>
                  <a:pt x="247" y="523"/>
                </a:lnTo>
                <a:lnTo>
                  <a:pt x="247" y="515"/>
                </a:lnTo>
                <a:lnTo>
                  <a:pt x="245" y="512"/>
                </a:lnTo>
                <a:lnTo>
                  <a:pt x="240" y="506"/>
                </a:lnTo>
                <a:lnTo>
                  <a:pt x="238" y="506"/>
                </a:lnTo>
                <a:lnTo>
                  <a:pt x="238" y="507"/>
                </a:lnTo>
                <a:lnTo>
                  <a:pt x="236" y="505"/>
                </a:lnTo>
                <a:lnTo>
                  <a:pt x="236" y="504"/>
                </a:lnTo>
                <a:lnTo>
                  <a:pt x="235" y="503"/>
                </a:lnTo>
                <a:lnTo>
                  <a:pt x="235" y="501"/>
                </a:lnTo>
                <a:lnTo>
                  <a:pt x="234" y="501"/>
                </a:lnTo>
                <a:lnTo>
                  <a:pt x="232" y="500"/>
                </a:lnTo>
                <a:lnTo>
                  <a:pt x="229" y="500"/>
                </a:lnTo>
                <a:lnTo>
                  <a:pt x="228" y="498"/>
                </a:lnTo>
                <a:lnTo>
                  <a:pt x="225" y="497"/>
                </a:lnTo>
                <a:lnTo>
                  <a:pt x="223" y="497"/>
                </a:lnTo>
                <a:lnTo>
                  <a:pt x="220" y="498"/>
                </a:lnTo>
                <a:lnTo>
                  <a:pt x="219" y="499"/>
                </a:lnTo>
                <a:lnTo>
                  <a:pt x="218" y="499"/>
                </a:lnTo>
                <a:lnTo>
                  <a:pt x="218" y="493"/>
                </a:lnTo>
                <a:lnTo>
                  <a:pt x="217" y="493"/>
                </a:lnTo>
                <a:lnTo>
                  <a:pt x="214" y="492"/>
                </a:lnTo>
                <a:lnTo>
                  <a:pt x="214" y="491"/>
                </a:lnTo>
                <a:lnTo>
                  <a:pt x="213" y="489"/>
                </a:lnTo>
                <a:lnTo>
                  <a:pt x="213" y="481"/>
                </a:lnTo>
                <a:lnTo>
                  <a:pt x="217" y="474"/>
                </a:lnTo>
                <a:lnTo>
                  <a:pt x="218" y="473"/>
                </a:lnTo>
                <a:lnTo>
                  <a:pt x="219" y="473"/>
                </a:lnTo>
                <a:lnTo>
                  <a:pt x="219" y="472"/>
                </a:lnTo>
                <a:lnTo>
                  <a:pt x="217" y="473"/>
                </a:lnTo>
                <a:lnTo>
                  <a:pt x="216" y="473"/>
                </a:lnTo>
                <a:lnTo>
                  <a:pt x="216" y="475"/>
                </a:lnTo>
                <a:lnTo>
                  <a:pt x="214" y="476"/>
                </a:lnTo>
                <a:lnTo>
                  <a:pt x="212" y="481"/>
                </a:lnTo>
                <a:lnTo>
                  <a:pt x="211" y="482"/>
                </a:lnTo>
                <a:lnTo>
                  <a:pt x="209" y="482"/>
                </a:lnTo>
                <a:lnTo>
                  <a:pt x="207" y="484"/>
                </a:lnTo>
                <a:lnTo>
                  <a:pt x="207" y="485"/>
                </a:lnTo>
                <a:lnTo>
                  <a:pt x="206" y="486"/>
                </a:lnTo>
                <a:lnTo>
                  <a:pt x="205" y="485"/>
                </a:lnTo>
                <a:lnTo>
                  <a:pt x="204" y="482"/>
                </a:lnTo>
                <a:lnTo>
                  <a:pt x="203" y="482"/>
                </a:lnTo>
                <a:lnTo>
                  <a:pt x="201" y="481"/>
                </a:lnTo>
                <a:lnTo>
                  <a:pt x="199" y="480"/>
                </a:lnTo>
                <a:lnTo>
                  <a:pt x="200" y="481"/>
                </a:lnTo>
                <a:lnTo>
                  <a:pt x="200" y="485"/>
                </a:lnTo>
                <a:lnTo>
                  <a:pt x="198" y="485"/>
                </a:lnTo>
                <a:lnTo>
                  <a:pt x="198" y="484"/>
                </a:lnTo>
                <a:lnTo>
                  <a:pt x="197" y="482"/>
                </a:lnTo>
                <a:lnTo>
                  <a:pt x="197" y="478"/>
                </a:lnTo>
                <a:lnTo>
                  <a:pt x="194" y="475"/>
                </a:lnTo>
                <a:lnTo>
                  <a:pt x="194" y="472"/>
                </a:lnTo>
                <a:lnTo>
                  <a:pt x="192" y="467"/>
                </a:lnTo>
                <a:lnTo>
                  <a:pt x="192" y="463"/>
                </a:lnTo>
                <a:lnTo>
                  <a:pt x="191" y="458"/>
                </a:lnTo>
                <a:lnTo>
                  <a:pt x="191" y="456"/>
                </a:lnTo>
                <a:lnTo>
                  <a:pt x="189" y="456"/>
                </a:lnTo>
                <a:lnTo>
                  <a:pt x="189" y="455"/>
                </a:lnTo>
                <a:lnTo>
                  <a:pt x="188" y="454"/>
                </a:lnTo>
                <a:lnTo>
                  <a:pt x="186" y="446"/>
                </a:lnTo>
                <a:lnTo>
                  <a:pt x="185" y="445"/>
                </a:lnTo>
                <a:lnTo>
                  <a:pt x="180" y="443"/>
                </a:lnTo>
                <a:lnTo>
                  <a:pt x="178" y="441"/>
                </a:lnTo>
                <a:lnTo>
                  <a:pt x="176" y="435"/>
                </a:lnTo>
                <a:lnTo>
                  <a:pt x="176" y="432"/>
                </a:lnTo>
                <a:lnTo>
                  <a:pt x="175" y="430"/>
                </a:lnTo>
                <a:lnTo>
                  <a:pt x="175" y="426"/>
                </a:lnTo>
                <a:lnTo>
                  <a:pt x="176" y="425"/>
                </a:lnTo>
                <a:lnTo>
                  <a:pt x="176" y="424"/>
                </a:lnTo>
                <a:lnTo>
                  <a:pt x="175" y="421"/>
                </a:lnTo>
                <a:lnTo>
                  <a:pt x="175" y="417"/>
                </a:lnTo>
                <a:lnTo>
                  <a:pt x="174" y="415"/>
                </a:lnTo>
                <a:lnTo>
                  <a:pt x="175" y="413"/>
                </a:lnTo>
                <a:lnTo>
                  <a:pt x="178" y="411"/>
                </a:lnTo>
                <a:lnTo>
                  <a:pt x="179" y="411"/>
                </a:lnTo>
                <a:lnTo>
                  <a:pt x="179" y="408"/>
                </a:lnTo>
                <a:lnTo>
                  <a:pt x="181" y="406"/>
                </a:lnTo>
                <a:lnTo>
                  <a:pt x="181" y="405"/>
                </a:lnTo>
                <a:lnTo>
                  <a:pt x="184" y="403"/>
                </a:lnTo>
                <a:lnTo>
                  <a:pt x="185" y="402"/>
                </a:lnTo>
                <a:lnTo>
                  <a:pt x="185" y="392"/>
                </a:lnTo>
                <a:lnTo>
                  <a:pt x="186" y="389"/>
                </a:lnTo>
                <a:lnTo>
                  <a:pt x="186" y="387"/>
                </a:lnTo>
                <a:lnTo>
                  <a:pt x="185" y="383"/>
                </a:lnTo>
                <a:lnTo>
                  <a:pt x="185" y="382"/>
                </a:lnTo>
                <a:lnTo>
                  <a:pt x="186" y="380"/>
                </a:lnTo>
                <a:lnTo>
                  <a:pt x="187" y="378"/>
                </a:lnTo>
                <a:lnTo>
                  <a:pt x="188" y="378"/>
                </a:lnTo>
                <a:lnTo>
                  <a:pt x="189" y="377"/>
                </a:lnTo>
                <a:lnTo>
                  <a:pt x="189" y="376"/>
                </a:lnTo>
                <a:lnTo>
                  <a:pt x="188" y="370"/>
                </a:lnTo>
                <a:lnTo>
                  <a:pt x="187" y="368"/>
                </a:lnTo>
                <a:lnTo>
                  <a:pt x="186" y="366"/>
                </a:lnTo>
                <a:lnTo>
                  <a:pt x="185" y="364"/>
                </a:lnTo>
                <a:lnTo>
                  <a:pt x="182" y="358"/>
                </a:lnTo>
                <a:lnTo>
                  <a:pt x="180" y="356"/>
                </a:lnTo>
                <a:lnTo>
                  <a:pt x="179" y="356"/>
                </a:lnTo>
                <a:lnTo>
                  <a:pt x="178" y="353"/>
                </a:lnTo>
                <a:lnTo>
                  <a:pt x="176" y="350"/>
                </a:lnTo>
                <a:lnTo>
                  <a:pt x="175" y="349"/>
                </a:lnTo>
                <a:lnTo>
                  <a:pt x="175" y="344"/>
                </a:lnTo>
                <a:lnTo>
                  <a:pt x="174" y="341"/>
                </a:lnTo>
                <a:lnTo>
                  <a:pt x="172" y="339"/>
                </a:lnTo>
                <a:lnTo>
                  <a:pt x="172" y="337"/>
                </a:lnTo>
                <a:lnTo>
                  <a:pt x="173" y="335"/>
                </a:lnTo>
                <a:lnTo>
                  <a:pt x="173" y="327"/>
                </a:lnTo>
                <a:lnTo>
                  <a:pt x="174" y="326"/>
                </a:lnTo>
                <a:lnTo>
                  <a:pt x="179" y="325"/>
                </a:lnTo>
                <a:lnTo>
                  <a:pt x="180" y="322"/>
                </a:lnTo>
                <a:lnTo>
                  <a:pt x="180" y="319"/>
                </a:lnTo>
                <a:lnTo>
                  <a:pt x="179" y="317"/>
                </a:lnTo>
                <a:lnTo>
                  <a:pt x="179" y="315"/>
                </a:lnTo>
                <a:lnTo>
                  <a:pt x="180" y="313"/>
                </a:lnTo>
                <a:lnTo>
                  <a:pt x="180" y="310"/>
                </a:lnTo>
                <a:lnTo>
                  <a:pt x="179" y="309"/>
                </a:lnTo>
                <a:lnTo>
                  <a:pt x="175" y="308"/>
                </a:lnTo>
                <a:lnTo>
                  <a:pt x="173" y="307"/>
                </a:lnTo>
                <a:lnTo>
                  <a:pt x="168" y="307"/>
                </a:lnTo>
                <a:lnTo>
                  <a:pt x="166" y="306"/>
                </a:lnTo>
                <a:lnTo>
                  <a:pt x="166" y="301"/>
                </a:lnTo>
                <a:lnTo>
                  <a:pt x="168" y="296"/>
                </a:lnTo>
                <a:lnTo>
                  <a:pt x="167" y="295"/>
                </a:lnTo>
                <a:lnTo>
                  <a:pt x="168" y="294"/>
                </a:lnTo>
                <a:lnTo>
                  <a:pt x="170" y="292"/>
                </a:lnTo>
                <a:lnTo>
                  <a:pt x="170" y="288"/>
                </a:lnTo>
                <a:lnTo>
                  <a:pt x="169" y="284"/>
                </a:lnTo>
                <a:lnTo>
                  <a:pt x="169" y="283"/>
                </a:lnTo>
                <a:lnTo>
                  <a:pt x="168" y="278"/>
                </a:lnTo>
                <a:lnTo>
                  <a:pt x="168" y="259"/>
                </a:lnTo>
                <a:lnTo>
                  <a:pt x="169" y="258"/>
                </a:lnTo>
                <a:lnTo>
                  <a:pt x="173" y="257"/>
                </a:lnTo>
                <a:lnTo>
                  <a:pt x="174" y="255"/>
                </a:lnTo>
                <a:lnTo>
                  <a:pt x="175" y="253"/>
                </a:lnTo>
                <a:lnTo>
                  <a:pt x="175" y="251"/>
                </a:lnTo>
                <a:lnTo>
                  <a:pt x="174" y="249"/>
                </a:lnTo>
                <a:lnTo>
                  <a:pt x="172" y="248"/>
                </a:lnTo>
                <a:lnTo>
                  <a:pt x="168" y="243"/>
                </a:lnTo>
                <a:lnTo>
                  <a:pt x="167" y="242"/>
                </a:lnTo>
                <a:lnTo>
                  <a:pt x="163" y="240"/>
                </a:lnTo>
                <a:lnTo>
                  <a:pt x="163" y="237"/>
                </a:lnTo>
                <a:lnTo>
                  <a:pt x="161" y="230"/>
                </a:lnTo>
                <a:lnTo>
                  <a:pt x="161" y="229"/>
                </a:lnTo>
                <a:lnTo>
                  <a:pt x="158" y="229"/>
                </a:lnTo>
                <a:lnTo>
                  <a:pt x="155" y="231"/>
                </a:lnTo>
                <a:lnTo>
                  <a:pt x="154" y="230"/>
                </a:lnTo>
                <a:lnTo>
                  <a:pt x="154" y="218"/>
                </a:lnTo>
                <a:lnTo>
                  <a:pt x="151" y="216"/>
                </a:lnTo>
                <a:lnTo>
                  <a:pt x="151" y="215"/>
                </a:lnTo>
                <a:lnTo>
                  <a:pt x="150" y="215"/>
                </a:lnTo>
                <a:lnTo>
                  <a:pt x="150" y="212"/>
                </a:lnTo>
                <a:lnTo>
                  <a:pt x="149" y="211"/>
                </a:lnTo>
                <a:lnTo>
                  <a:pt x="143" y="208"/>
                </a:lnTo>
                <a:lnTo>
                  <a:pt x="142" y="205"/>
                </a:lnTo>
                <a:lnTo>
                  <a:pt x="141" y="202"/>
                </a:lnTo>
                <a:lnTo>
                  <a:pt x="139" y="200"/>
                </a:lnTo>
                <a:lnTo>
                  <a:pt x="137" y="202"/>
                </a:lnTo>
                <a:lnTo>
                  <a:pt x="136" y="200"/>
                </a:lnTo>
                <a:lnTo>
                  <a:pt x="135" y="198"/>
                </a:lnTo>
                <a:lnTo>
                  <a:pt x="133" y="197"/>
                </a:lnTo>
                <a:lnTo>
                  <a:pt x="131" y="197"/>
                </a:lnTo>
                <a:lnTo>
                  <a:pt x="129" y="196"/>
                </a:lnTo>
                <a:lnTo>
                  <a:pt x="127" y="196"/>
                </a:lnTo>
                <a:lnTo>
                  <a:pt x="124" y="193"/>
                </a:lnTo>
                <a:lnTo>
                  <a:pt x="120" y="193"/>
                </a:lnTo>
                <a:lnTo>
                  <a:pt x="122" y="192"/>
                </a:lnTo>
                <a:lnTo>
                  <a:pt x="120" y="192"/>
                </a:lnTo>
                <a:lnTo>
                  <a:pt x="118" y="191"/>
                </a:lnTo>
                <a:lnTo>
                  <a:pt x="108" y="191"/>
                </a:lnTo>
                <a:lnTo>
                  <a:pt x="107" y="190"/>
                </a:lnTo>
                <a:lnTo>
                  <a:pt x="107" y="187"/>
                </a:lnTo>
                <a:lnTo>
                  <a:pt x="106" y="187"/>
                </a:lnTo>
                <a:lnTo>
                  <a:pt x="106" y="186"/>
                </a:lnTo>
                <a:lnTo>
                  <a:pt x="104" y="184"/>
                </a:lnTo>
                <a:lnTo>
                  <a:pt x="104" y="183"/>
                </a:lnTo>
                <a:lnTo>
                  <a:pt x="101" y="180"/>
                </a:lnTo>
                <a:lnTo>
                  <a:pt x="94" y="178"/>
                </a:lnTo>
                <a:lnTo>
                  <a:pt x="93" y="174"/>
                </a:lnTo>
                <a:lnTo>
                  <a:pt x="91" y="173"/>
                </a:lnTo>
                <a:lnTo>
                  <a:pt x="87" y="169"/>
                </a:lnTo>
                <a:lnTo>
                  <a:pt x="83" y="168"/>
                </a:lnTo>
                <a:lnTo>
                  <a:pt x="82" y="167"/>
                </a:lnTo>
                <a:lnTo>
                  <a:pt x="82" y="166"/>
                </a:lnTo>
                <a:lnTo>
                  <a:pt x="81" y="162"/>
                </a:lnTo>
                <a:lnTo>
                  <a:pt x="81" y="161"/>
                </a:lnTo>
                <a:lnTo>
                  <a:pt x="80" y="160"/>
                </a:lnTo>
                <a:lnTo>
                  <a:pt x="80" y="159"/>
                </a:lnTo>
                <a:lnTo>
                  <a:pt x="75" y="159"/>
                </a:lnTo>
                <a:lnTo>
                  <a:pt x="75" y="156"/>
                </a:lnTo>
                <a:lnTo>
                  <a:pt x="73" y="151"/>
                </a:lnTo>
                <a:lnTo>
                  <a:pt x="69" y="149"/>
                </a:lnTo>
                <a:lnTo>
                  <a:pt x="66" y="145"/>
                </a:lnTo>
                <a:lnTo>
                  <a:pt x="60" y="142"/>
                </a:lnTo>
                <a:lnTo>
                  <a:pt x="58" y="141"/>
                </a:lnTo>
                <a:lnTo>
                  <a:pt x="58" y="138"/>
                </a:lnTo>
                <a:lnTo>
                  <a:pt x="60" y="138"/>
                </a:lnTo>
                <a:lnTo>
                  <a:pt x="61" y="136"/>
                </a:lnTo>
                <a:lnTo>
                  <a:pt x="61" y="134"/>
                </a:lnTo>
                <a:lnTo>
                  <a:pt x="60" y="132"/>
                </a:lnTo>
                <a:lnTo>
                  <a:pt x="57" y="131"/>
                </a:lnTo>
                <a:lnTo>
                  <a:pt x="55" y="129"/>
                </a:lnTo>
                <a:lnTo>
                  <a:pt x="49" y="128"/>
                </a:lnTo>
                <a:lnTo>
                  <a:pt x="48" y="125"/>
                </a:lnTo>
                <a:lnTo>
                  <a:pt x="51" y="118"/>
                </a:lnTo>
                <a:lnTo>
                  <a:pt x="52" y="118"/>
                </a:lnTo>
                <a:lnTo>
                  <a:pt x="64" y="125"/>
                </a:lnTo>
                <a:lnTo>
                  <a:pt x="67" y="125"/>
                </a:lnTo>
                <a:lnTo>
                  <a:pt x="69" y="119"/>
                </a:lnTo>
                <a:lnTo>
                  <a:pt x="64" y="108"/>
                </a:lnTo>
                <a:lnTo>
                  <a:pt x="66" y="105"/>
                </a:lnTo>
                <a:lnTo>
                  <a:pt x="67" y="103"/>
                </a:lnTo>
                <a:lnTo>
                  <a:pt x="67" y="101"/>
                </a:lnTo>
                <a:lnTo>
                  <a:pt x="76" y="95"/>
                </a:lnTo>
                <a:lnTo>
                  <a:pt x="89" y="98"/>
                </a:lnTo>
                <a:lnTo>
                  <a:pt x="91" y="99"/>
                </a:lnTo>
                <a:lnTo>
                  <a:pt x="102" y="123"/>
                </a:lnTo>
                <a:lnTo>
                  <a:pt x="106" y="129"/>
                </a:lnTo>
                <a:lnTo>
                  <a:pt x="112" y="135"/>
                </a:lnTo>
                <a:lnTo>
                  <a:pt x="112" y="137"/>
                </a:lnTo>
                <a:lnTo>
                  <a:pt x="113" y="140"/>
                </a:lnTo>
                <a:lnTo>
                  <a:pt x="113" y="141"/>
                </a:lnTo>
                <a:lnTo>
                  <a:pt x="117" y="147"/>
                </a:lnTo>
                <a:lnTo>
                  <a:pt x="120" y="149"/>
                </a:lnTo>
                <a:lnTo>
                  <a:pt x="120" y="150"/>
                </a:lnTo>
                <a:lnTo>
                  <a:pt x="122" y="161"/>
                </a:lnTo>
                <a:lnTo>
                  <a:pt x="123" y="163"/>
                </a:lnTo>
                <a:lnTo>
                  <a:pt x="127" y="162"/>
                </a:lnTo>
                <a:lnTo>
                  <a:pt x="130" y="162"/>
                </a:lnTo>
                <a:lnTo>
                  <a:pt x="141" y="168"/>
                </a:lnTo>
                <a:lnTo>
                  <a:pt x="148" y="167"/>
                </a:lnTo>
                <a:lnTo>
                  <a:pt x="150" y="167"/>
                </a:lnTo>
                <a:lnTo>
                  <a:pt x="151" y="168"/>
                </a:lnTo>
                <a:lnTo>
                  <a:pt x="155" y="174"/>
                </a:lnTo>
                <a:lnTo>
                  <a:pt x="156" y="174"/>
                </a:lnTo>
                <a:lnTo>
                  <a:pt x="168" y="167"/>
                </a:lnTo>
                <a:lnTo>
                  <a:pt x="174" y="166"/>
                </a:lnTo>
                <a:lnTo>
                  <a:pt x="179" y="163"/>
                </a:lnTo>
                <a:lnTo>
                  <a:pt x="181" y="154"/>
                </a:lnTo>
                <a:lnTo>
                  <a:pt x="184" y="151"/>
                </a:lnTo>
                <a:lnTo>
                  <a:pt x="187" y="151"/>
                </a:lnTo>
                <a:lnTo>
                  <a:pt x="195" y="156"/>
                </a:lnTo>
                <a:lnTo>
                  <a:pt x="197" y="159"/>
                </a:lnTo>
                <a:lnTo>
                  <a:pt x="198" y="160"/>
                </a:lnTo>
                <a:lnTo>
                  <a:pt x="204" y="165"/>
                </a:lnTo>
                <a:lnTo>
                  <a:pt x="210" y="166"/>
                </a:lnTo>
                <a:lnTo>
                  <a:pt x="218" y="169"/>
                </a:lnTo>
                <a:lnTo>
                  <a:pt x="222" y="172"/>
                </a:lnTo>
                <a:lnTo>
                  <a:pt x="224" y="178"/>
                </a:lnTo>
                <a:lnTo>
                  <a:pt x="226" y="181"/>
                </a:lnTo>
                <a:lnTo>
                  <a:pt x="226" y="183"/>
                </a:lnTo>
                <a:lnTo>
                  <a:pt x="229" y="180"/>
                </a:lnTo>
                <a:lnTo>
                  <a:pt x="229" y="178"/>
                </a:lnTo>
                <a:lnTo>
                  <a:pt x="231" y="175"/>
                </a:lnTo>
                <a:lnTo>
                  <a:pt x="232" y="175"/>
                </a:lnTo>
                <a:lnTo>
                  <a:pt x="235" y="173"/>
                </a:lnTo>
                <a:lnTo>
                  <a:pt x="236" y="173"/>
                </a:lnTo>
                <a:lnTo>
                  <a:pt x="237" y="172"/>
                </a:lnTo>
                <a:lnTo>
                  <a:pt x="238" y="169"/>
                </a:lnTo>
                <a:lnTo>
                  <a:pt x="237" y="168"/>
                </a:lnTo>
                <a:lnTo>
                  <a:pt x="237" y="167"/>
                </a:lnTo>
                <a:lnTo>
                  <a:pt x="238" y="166"/>
                </a:lnTo>
                <a:lnTo>
                  <a:pt x="238" y="155"/>
                </a:lnTo>
                <a:lnTo>
                  <a:pt x="241" y="151"/>
                </a:lnTo>
                <a:lnTo>
                  <a:pt x="248" y="144"/>
                </a:lnTo>
                <a:lnTo>
                  <a:pt x="250" y="143"/>
                </a:lnTo>
                <a:lnTo>
                  <a:pt x="251" y="143"/>
                </a:lnTo>
                <a:lnTo>
                  <a:pt x="257" y="145"/>
                </a:lnTo>
                <a:lnTo>
                  <a:pt x="260" y="143"/>
                </a:lnTo>
                <a:lnTo>
                  <a:pt x="260" y="141"/>
                </a:lnTo>
                <a:lnTo>
                  <a:pt x="261" y="138"/>
                </a:lnTo>
                <a:lnTo>
                  <a:pt x="263" y="136"/>
                </a:lnTo>
                <a:lnTo>
                  <a:pt x="263" y="132"/>
                </a:lnTo>
                <a:lnTo>
                  <a:pt x="266" y="131"/>
                </a:lnTo>
                <a:lnTo>
                  <a:pt x="266" y="128"/>
                </a:lnTo>
                <a:lnTo>
                  <a:pt x="265" y="128"/>
                </a:lnTo>
                <a:lnTo>
                  <a:pt x="265" y="125"/>
                </a:lnTo>
                <a:lnTo>
                  <a:pt x="263" y="123"/>
                </a:lnTo>
                <a:lnTo>
                  <a:pt x="263" y="116"/>
                </a:lnTo>
                <a:lnTo>
                  <a:pt x="265" y="116"/>
                </a:lnTo>
                <a:lnTo>
                  <a:pt x="265" y="113"/>
                </a:lnTo>
                <a:lnTo>
                  <a:pt x="263" y="111"/>
                </a:lnTo>
                <a:lnTo>
                  <a:pt x="262" y="107"/>
                </a:lnTo>
                <a:lnTo>
                  <a:pt x="263" y="104"/>
                </a:lnTo>
                <a:lnTo>
                  <a:pt x="265" y="94"/>
                </a:lnTo>
                <a:lnTo>
                  <a:pt x="265" y="93"/>
                </a:lnTo>
                <a:lnTo>
                  <a:pt x="268" y="86"/>
                </a:lnTo>
                <a:lnTo>
                  <a:pt x="268" y="85"/>
                </a:lnTo>
                <a:lnTo>
                  <a:pt x="267" y="80"/>
                </a:lnTo>
                <a:lnTo>
                  <a:pt x="268" y="77"/>
                </a:lnTo>
                <a:lnTo>
                  <a:pt x="269" y="76"/>
                </a:lnTo>
                <a:lnTo>
                  <a:pt x="269" y="71"/>
                </a:lnTo>
                <a:lnTo>
                  <a:pt x="271" y="70"/>
                </a:lnTo>
                <a:lnTo>
                  <a:pt x="269" y="69"/>
                </a:lnTo>
                <a:lnTo>
                  <a:pt x="269" y="67"/>
                </a:lnTo>
                <a:lnTo>
                  <a:pt x="272" y="64"/>
                </a:lnTo>
                <a:lnTo>
                  <a:pt x="274" y="60"/>
                </a:lnTo>
                <a:lnTo>
                  <a:pt x="274" y="57"/>
                </a:lnTo>
                <a:lnTo>
                  <a:pt x="273" y="55"/>
                </a:lnTo>
                <a:lnTo>
                  <a:pt x="273" y="54"/>
                </a:lnTo>
                <a:lnTo>
                  <a:pt x="272" y="52"/>
                </a:lnTo>
                <a:lnTo>
                  <a:pt x="273" y="51"/>
                </a:lnTo>
                <a:lnTo>
                  <a:pt x="273" y="49"/>
                </a:lnTo>
                <a:lnTo>
                  <a:pt x="275" y="46"/>
                </a:lnTo>
                <a:lnTo>
                  <a:pt x="281" y="45"/>
                </a:lnTo>
                <a:lnTo>
                  <a:pt x="282" y="44"/>
                </a:lnTo>
                <a:lnTo>
                  <a:pt x="282" y="43"/>
                </a:lnTo>
                <a:lnTo>
                  <a:pt x="284" y="43"/>
                </a:lnTo>
                <a:lnTo>
                  <a:pt x="285" y="39"/>
                </a:lnTo>
                <a:lnTo>
                  <a:pt x="287" y="34"/>
                </a:lnTo>
                <a:lnTo>
                  <a:pt x="292" y="30"/>
                </a:lnTo>
                <a:lnTo>
                  <a:pt x="293" y="27"/>
                </a:lnTo>
                <a:lnTo>
                  <a:pt x="292" y="25"/>
                </a:lnTo>
                <a:lnTo>
                  <a:pt x="293" y="24"/>
                </a:lnTo>
                <a:lnTo>
                  <a:pt x="296" y="19"/>
                </a:lnTo>
                <a:lnTo>
                  <a:pt x="297" y="19"/>
                </a:lnTo>
                <a:lnTo>
                  <a:pt x="304" y="18"/>
                </a:lnTo>
                <a:lnTo>
                  <a:pt x="306" y="18"/>
                </a:lnTo>
                <a:lnTo>
                  <a:pt x="310" y="17"/>
                </a:lnTo>
                <a:lnTo>
                  <a:pt x="315" y="19"/>
                </a:lnTo>
                <a:lnTo>
                  <a:pt x="317" y="19"/>
                </a:lnTo>
                <a:lnTo>
                  <a:pt x="319" y="21"/>
                </a:lnTo>
                <a:lnTo>
                  <a:pt x="321" y="21"/>
                </a:lnTo>
                <a:lnTo>
                  <a:pt x="329" y="18"/>
                </a:lnTo>
                <a:lnTo>
                  <a:pt x="331" y="15"/>
                </a:lnTo>
                <a:lnTo>
                  <a:pt x="330" y="15"/>
                </a:lnTo>
                <a:lnTo>
                  <a:pt x="330" y="13"/>
                </a:lnTo>
                <a:lnTo>
                  <a:pt x="332" y="13"/>
                </a:lnTo>
                <a:lnTo>
                  <a:pt x="335" y="9"/>
                </a:lnTo>
                <a:lnTo>
                  <a:pt x="340" y="7"/>
                </a:lnTo>
                <a:lnTo>
                  <a:pt x="340" y="5"/>
                </a:lnTo>
                <a:lnTo>
                  <a:pt x="342" y="2"/>
                </a:lnTo>
                <a:lnTo>
                  <a:pt x="344" y="1"/>
                </a:lnTo>
                <a:lnTo>
                  <a:pt x="349" y="2"/>
                </a:lnTo>
                <a:lnTo>
                  <a:pt x="353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0" name="Freeform 45">
            <a:extLst>
              <a:ext uri="{FF2B5EF4-FFF2-40B4-BE49-F238E27FC236}">
                <a16:creationId xmlns:a16="http://schemas.microsoft.com/office/drawing/2014/main" id="{3351E3B9-FF33-482D-9202-14D5B031BA16}"/>
              </a:ext>
            </a:extLst>
          </p:cNvPr>
          <p:cNvSpPr>
            <a:spLocks noEditPoints="1"/>
          </p:cNvSpPr>
          <p:nvPr/>
        </p:nvSpPr>
        <p:spPr bwMode="auto">
          <a:xfrm>
            <a:off x="765137" y="3339659"/>
            <a:ext cx="82590" cy="130405"/>
          </a:xfrm>
          <a:custGeom>
            <a:avLst/>
            <a:gdLst/>
            <a:ahLst/>
            <a:cxnLst>
              <a:cxn ang="0">
                <a:pos x="41" y="90"/>
              </a:cxn>
              <a:cxn ang="0">
                <a:pos x="38" y="85"/>
              </a:cxn>
              <a:cxn ang="0">
                <a:pos x="35" y="84"/>
              </a:cxn>
              <a:cxn ang="0">
                <a:pos x="32" y="69"/>
              </a:cxn>
              <a:cxn ang="0">
                <a:pos x="39" y="74"/>
              </a:cxn>
              <a:cxn ang="0">
                <a:pos x="37" y="76"/>
              </a:cxn>
              <a:cxn ang="0">
                <a:pos x="40" y="82"/>
              </a:cxn>
              <a:cxn ang="0">
                <a:pos x="32" y="80"/>
              </a:cxn>
              <a:cxn ang="0">
                <a:pos x="28" y="70"/>
              </a:cxn>
              <a:cxn ang="0">
                <a:pos x="31" y="67"/>
              </a:cxn>
              <a:cxn ang="0">
                <a:pos x="37" y="45"/>
              </a:cxn>
              <a:cxn ang="0">
                <a:pos x="41" y="50"/>
              </a:cxn>
              <a:cxn ang="0">
                <a:pos x="40" y="58"/>
              </a:cxn>
              <a:cxn ang="0">
                <a:pos x="32" y="50"/>
              </a:cxn>
              <a:cxn ang="0">
                <a:pos x="2" y="25"/>
              </a:cxn>
              <a:cxn ang="0">
                <a:pos x="1" y="25"/>
              </a:cxn>
              <a:cxn ang="0">
                <a:pos x="21" y="25"/>
              </a:cxn>
              <a:cxn ang="0">
                <a:pos x="20" y="31"/>
              </a:cxn>
              <a:cxn ang="0">
                <a:pos x="17" y="30"/>
              </a:cxn>
              <a:cxn ang="0">
                <a:pos x="10" y="30"/>
              </a:cxn>
              <a:cxn ang="0">
                <a:pos x="9" y="26"/>
              </a:cxn>
              <a:cxn ang="0">
                <a:pos x="13" y="24"/>
              </a:cxn>
              <a:cxn ang="0">
                <a:pos x="57" y="8"/>
              </a:cxn>
              <a:cxn ang="0">
                <a:pos x="52" y="11"/>
              </a:cxn>
              <a:cxn ang="0">
                <a:pos x="22" y="8"/>
              </a:cxn>
              <a:cxn ang="0">
                <a:pos x="28" y="19"/>
              </a:cxn>
              <a:cxn ang="0">
                <a:pos x="34" y="26"/>
              </a:cxn>
              <a:cxn ang="0">
                <a:pos x="38" y="31"/>
              </a:cxn>
              <a:cxn ang="0">
                <a:pos x="39" y="41"/>
              </a:cxn>
              <a:cxn ang="0">
                <a:pos x="29" y="31"/>
              </a:cxn>
              <a:cxn ang="0">
                <a:pos x="26" y="25"/>
              </a:cxn>
              <a:cxn ang="0">
                <a:pos x="19" y="23"/>
              </a:cxn>
              <a:cxn ang="0">
                <a:pos x="17" y="18"/>
              </a:cxn>
              <a:cxn ang="0">
                <a:pos x="19" y="7"/>
              </a:cxn>
              <a:cxn ang="0">
                <a:pos x="31" y="8"/>
              </a:cxn>
              <a:cxn ang="0">
                <a:pos x="33" y="10"/>
              </a:cxn>
              <a:cxn ang="0">
                <a:pos x="38" y="13"/>
              </a:cxn>
              <a:cxn ang="0">
                <a:pos x="38" y="18"/>
              </a:cxn>
              <a:cxn ang="0">
                <a:pos x="41" y="23"/>
              </a:cxn>
              <a:cxn ang="0">
                <a:pos x="39" y="27"/>
              </a:cxn>
              <a:cxn ang="0">
                <a:pos x="34" y="18"/>
              </a:cxn>
              <a:cxn ang="0">
                <a:pos x="33" y="21"/>
              </a:cxn>
              <a:cxn ang="0">
                <a:pos x="26" y="14"/>
              </a:cxn>
              <a:cxn ang="0">
                <a:pos x="27" y="6"/>
              </a:cxn>
              <a:cxn ang="0">
                <a:pos x="52" y="12"/>
              </a:cxn>
              <a:cxn ang="0">
                <a:pos x="47" y="13"/>
              </a:cxn>
              <a:cxn ang="0">
                <a:pos x="51" y="19"/>
              </a:cxn>
              <a:cxn ang="0">
                <a:pos x="47" y="18"/>
              </a:cxn>
              <a:cxn ang="0">
                <a:pos x="45" y="13"/>
              </a:cxn>
              <a:cxn ang="0">
                <a:pos x="46" y="2"/>
              </a:cxn>
              <a:cxn ang="0">
                <a:pos x="44" y="10"/>
              </a:cxn>
              <a:cxn ang="0">
                <a:pos x="41" y="10"/>
              </a:cxn>
              <a:cxn ang="0">
                <a:pos x="38" y="6"/>
              </a:cxn>
              <a:cxn ang="0">
                <a:pos x="39" y="12"/>
              </a:cxn>
              <a:cxn ang="0">
                <a:pos x="35" y="4"/>
              </a:cxn>
              <a:cxn ang="0">
                <a:pos x="48" y="4"/>
              </a:cxn>
              <a:cxn ang="0">
                <a:pos x="52" y="6"/>
              </a:cxn>
              <a:cxn ang="0">
                <a:pos x="46" y="2"/>
              </a:cxn>
            </a:cxnLst>
            <a:rect l="0" t="0" r="r" b="b"/>
            <a:pathLst>
              <a:path w="57" h="90">
                <a:moveTo>
                  <a:pt x="38" y="84"/>
                </a:moveTo>
                <a:lnTo>
                  <a:pt x="40" y="84"/>
                </a:lnTo>
                <a:lnTo>
                  <a:pt x="40" y="86"/>
                </a:lnTo>
                <a:lnTo>
                  <a:pt x="41" y="87"/>
                </a:lnTo>
                <a:lnTo>
                  <a:pt x="41" y="90"/>
                </a:lnTo>
                <a:lnTo>
                  <a:pt x="40" y="90"/>
                </a:lnTo>
                <a:lnTo>
                  <a:pt x="39" y="88"/>
                </a:lnTo>
                <a:lnTo>
                  <a:pt x="38" y="86"/>
                </a:lnTo>
                <a:lnTo>
                  <a:pt x="37" y="85"/>
                </a:lnTo>
                <a:lnTo>
                  <a:pt x="38" y="85"/>
                </a:lnTo>
                <a:lnTo>
                  <a:pt x="38" y="84"/>
                </a:lnTo>
                <a:close/>
                <a:moveTo>
                  <a:pt x="35" y="84"/>
                </a:moveTo>
                <a:lnTo>
                  <a:pt x="37" y="84"/>
                </a:lnTo>
                <a:lnTo>
                  <a:pt x="37" y="85"/>
                </a:lnTo>
                <a:lnTo>
                  <a:pt x="35" y="84"/>
                </a:lnTo>
                <a:close/>
                <a:moveTo>
                  <a:pt x="31" y="67"/>
                </a:moveTo>
                <a:lnTo>
                  <a:pt x="32" y="68"/>
                </a:lnTo>
                <a:lnTo>
                  <a:pt x="31" y="68"/>
                </a:lnTo>
                <a:lnTo>
                  <a:pt x="31" y="69"/>
                </a:lnTo>
                <a:lnTo>
                  <a:pt x="32" y="69"/>
                </a:lnTo>
                <a:lnTo>
                  <a:pt x="31" y="72"/>
                </a:lnTo>
                <a:lnTo>
                  <a:pt x="34" y="72"/>
                </a:lnTo>
                <a:lnTo>
                  <a:pt x="35" y="73"/>
                </a:lnTo>
                <a:lnTo>
                  <a:pt x="38" y="73"/>
                </a:lnTo>
                <a:lnTo>
                  <a:pt x="39" y="74"/>
                </a:lnTo>
                <a:lnTo>
                  <a:pt x="39" y="75"/>
                </a:lnTo>
                <a:lnTo>
                  <a:pt x="38" y="76"/>
                </a:lnTo>
                <a:lnTo>
                  <a:pt x="37" y="75"/>
                </a:lnTo>
                <a:lnTo>
                  <a:pt x="35" y="75"/>
                </a:lnTo>
                <a:lnTo>
                  <a:pt x="37" y="76"/>
                </a:lnTo>
                <a:lnTo>
                  <a:pt x="37" y="78"/>
                </a:lnTo>
                <a:lnTo>
                  <a:pt x="39" y="78"/>
                </a:lnTo>
                <a:lnTo>
                  <a:pt x="39" y="80"/>
                </a:lnTo>
                <a:lnTo>
                  <a:pt x="40" y="81"/>
                </a:lnTo>
                <a:lnTo>
                  <a:pt x="40" y="82"/>
                </a:lnTo>
                <a:lnTo>
                  <a:pt x="38" y="82"/>
                </a:lnTo>
                <a:lnTo>
                  <a:pt x="37" y="84"/>
                </a:lnTo>
                <a:lnTo>
                  <a:pt x="35" y="82"/>
                </a:lnTo>
                <a:lnTo>
                  <a:pt x="35" y="84"/>
                </a:lnTo>
                <a:lnTo>
                  <a:pt x="32" y="80"/>
                </a:lnTo>
                <a:lnTo>
                  <a:pt x="32" y="78"/>
                </a:lnTo>
                <a:lnTo>
                  <a:pt x="31" y="76"/>
                </a:lnTo>
                <a:lnTo>
                  <a:pt x="29" y="74"/>
                </a:lnTo>
                <a:lnTo>
                  <a:pt x="29" y="72"/>
                </a:lnTo>
                <a:lnTo>
                  <a:pt x="28" y="70"/>
                </a:lnTo>
                <a:lnTo>
                  <a:pt x="28" y="69"/>
                </a:lnTo>
                <a:lnTo>
                  <a:pt x="29" y="69"/>
                </a:lnTo>
                <a:lnTo>
                  <a:pt x="29" y="68"/>
                </a:lnTo>
                <a:lnTo>
                  <a:pt x="28" y="68"/>
                </a:lnTo>
                <a:lnTo>
                  <a:pt x="31" y="67"/>
                </a:lnTo>
                <a:close/>
                <a:moveTo>
                  <a:pt x="31" y="44"/>
                </a:moveTo>
                <a:lnTo>
                  <a:pt x="33" y="44"/>
                </a:lnTo>
                <a:lnTo>
                  <a:pt x="34" y="45"/>
                </a:lnTo>
                <a:lnTo>
                  <a:pt x="35" y="44"/>
                </a:lnTo>
                <a:lnTo>
                  <a:pt x="37" y="45"/>
                </a:lnTo>
                <a:lnTo>
                  <a:pt x="37" y="47"/>
                </a:lnTo>
                <a:lnTo>
                  <a:pt x="38" y="47"/>
                </a:lnTo>
                <a:lnTo>
                  <a:pt x="40" y="48"/>
                </a:lnTo>
                <a:lnTo>
                  <a:pt x="41" y="48"/>
                </a:lnTo>
                <a:lnTo>
                  <a:pt x="41" y="50"/>
                </a:lnTo>
                <a:lnTo>
                  <a:pt x="42" y="51"/>
                </a:lnTo>
                <a:lnTo>
                  <a:pt x="42" y="57"/>
                </a:lnTo>
                <a:lnTo>
                  <a:pt x="41" y="57"/>
                </a:lnTo>
                <a:lnTo>
                  <a:pt x="41" y="58"/>
                </a:lnTo>
                <a:lnTo>
                  <a:pt x="40" y="58"/>
                </a:lnTo>
                <a:lnTo>
                  <a:pt x="38" y="53"/>
                </a:lnTo>
                <a:lnTo>
                  <a:pt x="38" y="51"/>
                </a:lnTo>
                <a:lnTo>
                  <a:pt x="33" y="51"/>
                </a:lnTo>
                <a:lnTo>
                  <a:pt x="33" y="50"/>
                </a:lnTo>
                <a:lnTo>
                  <a:pt x="32" y="50"/>
                </a:lnTo>
                <a:lnTo>
                  <a:pt x="32" y="48"/>
                </a:lnTo>
                <a:lnTo>
                  <a:pt x="31" y="45"/>
                </a:lnTo>
                <a:lnTo>
                  <a:pt x="31" y="44"/>
                </a:lnTo>
                <a:close/>
                <a:moveTo>
                  <a:pt x="1" y="25"/>
                </a:moveTo>
                <a:lnTo>
                  <a:pt x="2" y="25"/>
                </a:lnTo>
                <a:lnTo>
                  <a:pt x="3" y="26"/>
                </a:lnTo>
                <a:lnTo>
                  <a:pt x="4" y="26"/>
                </a:lnTo>
                <a:lnTo>
                  <a:pt x="3" y="27"/>
                </a:lnTo>
                <a:lnTo>
                  <a:pt x="0" y="26"/>
                </a:lnTo>
                <a:lnTo>
                  <a:pt x="1" y="25"/>
                </a:lnTo>
                <a:close/>
                <a:moveTo>
                  <a:pt x="15" y="21"/>
                </a:moveTo>
                <a:lnTo>
                  <a:pt x="17" y="21"/>
                </a:lnTo>
                <a:lnTo>
                  <a:pt x="17" y="23"/>
                </a:lnTo>
                <a:lnTo>
                  <a:pt x="19" y="23"/>
                </a:lnTo>
                <a:lnTo>
                  <a:pt x="21" y="25"/>
                </a:lnTo>
                <a:lnTo>
                  <a:pt x="21" y="26"/>
                </a:lnTo>
                <a:lnTo>
                  <a:pt x="25" y="26"/>
                </a:lnTo>
                <a:lnTo>
                  <a:pt x="25" y="30"/>
                </a:lnTo>
                <a:lnTo>
                  <a:pt x="23" y="31"/>
                </a:lnTo>
                <a:lnTo>
                  <a:pt x="20" y="31"/>
                </a:lnTo>
                <a:lnTo>
                  <a:pt x="20" y="32"/>
                </a:lnTo>
                <a:lnTo>
                  <a:pt x="21" y="32"/>
                </a:lnTo>
                <a:lnTo>
                  <a:pt x="19" y="33"/>
                </a:lnTo>
                <a:lnTo>
                  <a:pt x="19" y="31"/>
                </a:lnTo>
                <a:lnTo>
                  <a:pt x="17" y="30"/>
                </a:lnTo>
                <a:lnTo>
                  <a:pt x="17" y="32"/>
                </a:lnTo>
                <a:lnTo>
                  <a:pt x="15" y="31"/>
                </a:lnTo>
                <a:lnTo>
                  <a:pt x="13" y="31"/>
                </a:lnTo>
                <a:lnTo>
                  <a:pt x="11" y="30"/>
                </a:lnTo>
                <a:lnTo>
                  <a:pt x="10" y="30"/>
                </a:lnTo>
                <a:lnTo>
                  <a:pt x="10" y="29"/>
                </a:lnTo>
                <a:lnTo>
                  <a:pt x="14" y="29"/>
                </a:lnTo>
                <a:lnTo>
                  <a:pt x="13" y="27"/>
                </a:lnTo>
                <a:lnTo>
                  <a:pt x="10" y="27"/>
                </a:lnTo>
                <a:lnTo>
                  <a:pt x="9" y="26"/>
                </a:lnTo>
                <a:lnTo>
                  <a:pt x="8" y="24"/>
                </a:lnTo>
                <a:lnTo>
                  <a:pt x="8" y="23"/>
                </a:lnTo>
                <a:lnTo>
                  <a:pt x="9" y="23"/>
                </a:lnTo>
                <a:lnTo>
                  <a:pt x="10" y="24"/>
                </a:lnTo>
                <a:lnTo>
                  <a:pt x="13" y="24"/>
                </a:lnTo>
                <a:lnTo>
                  <a:pt x="13" y="23"/>
                </a:lnTo>
                <a:lnTo>
                  <a:pt x="14" y="23"/>
                </a:lnTo>
                <a:lnTo>
                  <a:pt x="15" y="21"/>
                </a:lnTo>
                <a:close/>
                <a:moveTo>
                  <a:pt x="56" y="8"/>
                </a:moveTo>
                <a:lnTo>
                  <a:pt x="57" y="8"/>
                </a:lnTo>
                <a:lnTo>
                  <a:pt x="56" y="11"/>
                </a:lnTo>
                <a:lnTo>
                  <a:pt x="56" y="13"/>
                </a:lnTo>
                <a:lnTo>
                  <a:pt x="53" y="13"/>
                </a:lnTo>
                <a:lnTo>
                  <a:pt x="53" y="12"/>
                </a:lnTo>
                <a:lnTo>
                  <a:pt x="52" y="11"/>
                </a:lnTo>
                <a:lnTo>
                  <a:pt x="53" y="10"/>
                </a:lnTo>
                <a:lnTo>
                  <a:pt x="56" y="8"/>
                </a:lnTo>
                <a:close/>
                <a:moveTo>
                  <a:pt x="19" y="7"/>
                </a:moveTo>
                <a:lnTo>
                  <a:pt x="19" y="8"/>
                </a:lnTo>
                <a:lnTo>
                  <a:pt x="22" y="8"/>
                </a:lnTo>
                <a:lnTo>
                  <a:pt x="25" y="11"/>
                </a:lnTo>
                <a:lnTo>
                  <a:pt x="25" y="13"/>
                </a:lnTo>
                <a:lnTo>
                  <a:pt x="27" y="17"/>
                </a:lnTo>
                <a:lnTo>
                  <a:pt x="27" y="19"/>
                </a:lnTo>
                <a:lnTo>
                  <a:pt x="28" y="19"/>
                </a:lnTo>
                <a:lnTo>
                  <a:pt x="31" y="21"/>
                </a:lnTo>
                <a:lnTo>
                  <a:pt x="33" y="23"/>
                </a:lnTo>
                <a:lnTo>
                  <a:pt x="33" y="25"/>
                </a:lnTo>
                <a:lnTo>
                  <a:pt x="32" y="26"/>
                </a:lnTo>
                <a:lnTo>
                  <a:pt x="34" y="26"/>
                </a:lnTo>
                <a:lnTo>
                  <a:pt x="35" y="27"/>
                </a:lnTo>
                <a:lnTo>
                  <a:pt x="35" y="30"/>
                </a:lnTo>
                <a:lnTo>
                  <a:pt x="33" y="30"/>
                </a:lnTo>
                <a:lnTo>
                  <a:pt x="33" y="31"/>
                </a:lnTo>
                <a:lnTo>
                  <a:pt x="38" y="31"/>
                </a:lnTo>
                <a:lnTo>
                  <a:pt x="39" y="32"/>
                </a:lnTo>
                <a:lnTo>
                  <a:pt x="38" y="33"/>
                </a:lnTo>
                <a:lnTo>
                  <a:pt x="38" y="37"/>
                </a:lnTo>
                <a:lnTo>
                  <a:pt x="39" y="37"/>
                </a:lnTo>
                <a:lnTo>
                  <a:pt x="39" y="41"/>
                </a:lnTo>
                <a:lnTo>
                  <a:pt x="38" y="42"/>
                </a:lnTo>
                <a:lnTo>
                  <a:pt x="37" y="39"/>
                </a:lnTo>
                <a:lnTo>
                  <a:pt x="33" y="36"/>
                </a:lnTo>
                <a:lnTo>
                  <a:pt x="31" y="32"/>
                </a:lnTo>
                <a:lnTo>
                  <a:pt x="29" y="31"/>
                </a:lnTo>
                <a:lnTo>
                  <a:pt x="28" y="31"/>
                </a:lnTo>
                <a:lnTo>
                  <a:pt x="28" y="27"/>
                </a:lnTo>
                <a:lnTo>
                  <a:pt x="27" y="27"/>
                </a:lnTo>
                <a:lnTo>
                  <a:pt x="27" y="26"/>
                </a:lnTo>
                <a:lnTo>
                  <a:pt x="26" y="25"/>
                </a:lnTo>
                <a:lnTo>
                  <a:pt x="22" y="25"/>
                </a:lnTo>
                <a:lnTo>
                  <a:pt x="21" y="24"/>
                </a:lnTo>
                <a:lnTo>
                  <a:pt x="21" y="21"/>
                </a:lnTo>
                <a:lnTo>
                  <a:pt x="20" y="21"/>
                </a:lnTo>
                <a:lnTo>
                  <a:pt x="19" y="23"/>
                </a:lnTo>
                <a:lnTo>
                  <a:pt x="19" y="21"/>
                </a:lnTo>
                <a:lnTo>
                  <a:pt x="17" y="20"/>
                </a:lnTo>
                <a:lnTo>
                  <a:pt x="16" y="20"/>
                </a:lnTo>
                <a:lnTo>
                  <a:pt x="16" y="18"/>
                </a:lnTo>
                <a:lnTo>
                  <a:pt x="17" y="18"/>
                </a:lnTo>
                <a:lnTo>
                  <a:pt x="17" y="14"/>
                </a:lnTo>
                <a:lnTo>
                  <a:pt x="19" y="14"/>
                </a:lnTo>
                <a:lnTo>
                  <a:pt x="17" y="13"/>
                </a:lnTo>
                <a:lnTo>
                  <a:pt x="17" y="11"/>
                </a:lnTo>
                <a:lnTo>
                  <a:pt x="19" y="7"/>
                </a:lnTo>
                <a:close/>
                <a:moveTo>
                  <a:pt x="29" y="5"/>
                </a:moveTo>
                <a:lnTo>
                  <a:pt x="29" y="6"/>
                </a:lnTo>
                <a:lnTo>
                  <a:pt x="31" y="6"/>
                </a:lnTo>
                <a:lnTo>
                  <a:pt x="32" y="7"/>
                </a:lnTo>
                <a:lnTo>
                  <a:pt x="31" y="8"/>
                </a:lnTo>
                <a:lnTo>
                  <a:pt x="29" y="8"/>
                </a:lnTo>
                <a:lnTo>
                  <a:pt x="29" y="13"/>
                </a:lnTo>
                <a:lnTo>
                  <a:pt x="31" y="14"/>
                </a:lnTo>
                <a:lnTo>
                  <a:pt x="31" y="11"/>
                </a:lnTo>
                <a:lnTo>
                  <a:pt x="33" y="10"/>
                </a:lnTo>
                <a:lnTo>
                  <a:pt x="34" y="10"/>
                </a:lnTo>
                <a:lnTo>
                  <a:pt x="35" y="11"/>
                </a:lnTo>
                <a:lnTo>
                  <a:pt x="34" y="11"/>
                </a:lnTo>
                <a:lnTo>
                  <a:pt x="38" y="12"/>
                </a:lnTo>
                <a:lnTo>
                  <a:pt x="38" y="13"/>
                </a:lnTo>
                <a:lnTo>
                  <a:pt x="37" y="14"/>
                </a:lnTo>
                <a:lnTo>
                  <a:pt x="37" y="15"/>
                </a:lnTo>
                <a:lnTo>
                  <a:pt x="39" y="15"/>
                </a:lnTo>
                <a:lnTo>
                  <a:pt x="44" y="18"/>
                </a:lnTo>
                <a:lnTo>
                  <a:pt x="38" y="18"/>
                </a:lnTo>
                <a:lnTo>
                  <a:pt x="38" y="19"/>
                </a:lnTo>
                <a:lnTo>
                  <a:pt x="44" y="21"/>
                </a:lnTo>
                <a:lnTo>
                  <a:pt x="45" y="24"/>
                </a:lnTo>
                <a:lnTo>
                  <a:pt x="42" y="23"/>
                </a:lnTo>
                <a:lnTo>
                  <a:pt x="41" y="23"/>
                </a:lnTo>
                <a:lnTo>
                  <a:pt x="44" y="25"/>
                </a:lnTo>
                <a:lnTo>
                  <a:pt x="44" y="26"/>
                </a:lnTo>
                <a:lnTo>
                  <a:pt x="41" y="26"/>
                </a:lnTo>
                <a:lnTo>
                  <a:pt x="41" y="30"/>
                </a:lnTo>
                <a:lnTo>
                  <a:pt x="39" y="27"/>
                </a:lnTo>
                <a:lnTo>
                  <a:pt x="39" y="23"/>
                </a:lnTo>
                <a:lnTo>
                  <a:pt x="38" y="21"/>
                </a:lnTo>
                <a:lnTo>
                  <a:pt x="37" y="19"/>
                </a:lnTo>
                <a:lnTo>
                  <a:pt x="35" y="18"/>
                </a:lnTo>
                <a:lnTo>
                  <a:pt x="34" y="18"/>
                </a:lnTo>
                <a:lnTo>
                  <a:pt x="37" y="20"/>
                </a:lnTo>
                <a:lnTo>
                  <a:pt x="38" y="23"/>
                </a:lnTo>
                <a:lnTo>
                  <a:pt x="38" y="26"/>
                </a:lnTo>
                <a:lnTo>
                  <a:pt x="35" y="25"/>
                </a:lnTo>
                <a:lnTo>
                  <a:pt x="33" y="21"/>
                </a:lnTo>
                <a:lnTo>
                  <a:pt x="31" y="21"/>
                </a:lnTo>
                <a:lnTo>
                  <a:pt x="31" y="20"/>
                </a:lnTo>
                <a:lnTo>
                  <a:pt x="29" y="19"/>
                </a:lnTo>
                <a:lnTo>
                  <a:pt x="28" y="19"/>
                </a:lnTo>
                <a:lnTo>
                  <a:pt x="26" y="14"/>
                </a:lnTo>
                <a:lnTo>
                  <a:pt x="25" y="10"/>
                </a:lnTo>
                <a:lnTo>
                  <a:pt x="23" y="8"/>
                </a:lnTo>
                <a:lnTo>
                  <a:pt x="23" y="7"/>
                </a:lnTo>
                <a:lnTo>
                  <a:pt x="26" y="7"/>
                </a:lnTo>
                <a:lnTo>
                  <a:pt x="27" y="6"/>
                </a:lnTo>
                <a:lnTo>
                  <a:pt x="29" y="5"/>
                </a:lnTo>
                <a:close/>
                <a:moveTo>
                  <a:pt x="46" y="2"/>
                </a:moveTo>
                <a:lnTo>
                  <a:pt x="48" y="10"/>
                </a:lnTo>
                <a:lnTo>
                  <a:pt x="50" y="11"/>
                </a:lnTo>
                <a:lnTo>
                  <a:pt x="52" y="12"/>
                </a:lnTo>
                <a:lnTo>
                  <a:pt x="52" y="13"/>
                </a:lnTo>
                <a:lnTo>
                  <a:pt x="51" y="14"/>
                </a:lnTo>
                <a:lnTo>
                  <a:pt x="48" y="13"/>
                </a:lnTo>
                <a:lnTo>
                  <a:pt x="48" y="12"/>
                </a:lnTo>
                <a:lnTo>
                  <a:pt x="47" y="13"/>
                </a:lnTo>
                <a:lnTo>
                  <a:pt x="50" y="15"/>
                </a:lnTo>
                <a:lnTo>
                  <a:pt x="51" y="15"/>
                </a:lnTo>
                <a:lnTo>
                  <a:pt x="51" y="18"/>
                </a:lnTo>
                <a:lnTo>
                  <a:pt x="52" y="18"/>
                </a:lnTo>
                <a:lnTo>
                  <a:pt x="51" y="19"/>
                </a:lnTo>
                <a:lnTo>
                  <a:pt x="50" y="19"/>
                </a:lnTo>
                <a:lnTo>
                  <a:pt x="48" y="18"/>
                </a:lnTo>
                <a:lnTo>
                  <a:pt x="47" y="15"/>
                </a:lnTo>
                <a:lnTo>
                  <a:pt x="46" y="15"/>
                </a:lnTo>
                <a:lnTo>
                  <a:pt x="47" y="18"/>
                </a:lnTo>
                <a:lnTo>
                  <a:pt x="47" y="20"/>
                </a:lnTo>
                <a:lnTo>
                  <a:pt x="46" y="19"/>
                </a:lnTo>
                <a:lnTo>
                  <a:pt x="46" y="18"/>
                </a:lnTo>
                <a:lnTo>
                  <a:pt x="44" y="15"/>
                </a:lnTo>
                <a:lnTo>
                  <a:pt x="45" y="13"/>
                </a:lnTo>
                <a:lnTo>
                  <a:pt x="46" y="13"/>
                </a:lnTo>
                <a:lnTo>
                  <a:pt x="46" y="8"/>
                </a:lnTo>
                <a:lnTo>
                  <a:pt x="45" y="6"/>
                </a:lnTo>
                <a:lnTo>
                  <a:pt x="45" y="4"/>
                </a:lnTo>
                <a:lnTo>
                  <a:pt x="46" y="2"/>
                </a:lnTo>
                <a:close/>
                <a:moveTo>
                  <a:pt x="40" y="2"/>
                </a:moveTo>
                <a:lnTo>
                  <a:pt x="41" y="2"/>
                </a:lnTo>
                <a:lnTo>
                  <a:pt x="41" y="4"/>
                </a:lnTo>
                <a:lnTo>
                  <a:pt x="44" y="8"/>
                </a:lnTo>
                <a:lnTo>
                  <a:pt x="44" y="10"/>
                </a:lnTo>
                <a:lnTo>
                  <a:pt x="45" y="11"/>
                </a:lnTo>
                <a:lnTo>
                  <a:pt x="45" y="12"/>
                </a:lnTo>
                <a:lnTo>
                  <a:pt x="42" y="12"/>
                </a:lnTo>
                <a:lnTo>
                  <a:pt x="42" y="11"/>
                </a:lnTo>
                <a:lnTo>
                  <a:pt x="41" y="10"/>
                </a:lnTo>
                <a:lnTo>
                  <a:pt x="40" y="7"/>
                </a:lnTo>
                <a:lnTo>
                  <a:pt x="40" y="2"/>
                </a:lnTo>
                <a:close/>
                <a:moveTo>
                  <a:pt x="35" y="1"/>
                </a:moveTo>
                <a:lnTo>
                  <a:pt x="37" y="2"/>
                </a:lnTo>
                <a:lnTo>
                  <a:pt x="38" y="6"/>
                </a:lnTo>
                <a:lnTo>
                  <a:pt x="41" y="12"/>
                </a:lnTo>
                <a:lnTo>
                  <a:pt x="41" y="14"/>
                </a:lnTo>
                <a:lnTo>
                  <a:pt x="40" y="14"/>
                </a:lnTo>
                <a:lnTo>
                  <a:pt x="40" y="13"/>
                </a:lnTo>
                <a:lnTo>
                  <a:pt x="39" y="12"/>
                </a:lnTo>
                <a:lnTo>
                  <a:pt x="39" y="10"/>
                </a:lnTo>
                <a:lnTo>
                  <a:pt x="38" y="8"/>
                </a:lnTo>
                <a:lnTo>
                  <a:pt x="37" y="6"/>
                </a:lnTo>
                <a:lnTo>
                  <a:pt x="37" y="5"/>
                </a:lnTo>
                <a:lnTo>
                  <a:pt x="35" y="4"/>
                </a:lnTo>
                <a:lnTo>
                  <a:pt x="35" y="1"/>
                </a:lnTo>
                <a:close/>
                <a:moveTo>
                  <a:pt x="45" y="0"/>
                </a:moveTo>
                <a:lnTo>
                  <a:pt x="47" y="0"/>
                </a:lnTo>
                <a:lnTo>
                  <a:pt x="48" y="1"/>
                </a:lnTo>
                <a:lnTo>
                  <a:pt x="48" y="4"/>
                </a:lnTo>
                <a:lnTo>
                  <a:pt x="50" y="5"/>
                </a:lnTo>
                <a:lnTo>
                  <a:pt x="50" y="7"/>
                </a:lnTo>
                <a:lnTo>
                  <a:pt x="51" y="7"/>
                </a:lnTo>
                <a:lnTo>
                  <a:pt x="51" y="6"/>
                </a:lnTo>
                <a:lnTo>
                  <a:pt x="52" y="6"/>
                </a:lnTo>
                <a:lnTo>
                  <a:pt x="52" y="10"/>
                </a:lnTo>
                <a:lnTo>
                  <a:pt x="51" y="10"/>
                </a:lnTo>
                <a:lnTo>
                  <a:pt x="47" y="6"/>
                </a:lnTo>
                <a:lnTo>
                  <a:pt x="47" y="5"/>
                </a:lnTo>
                <a:lnTo>
                  <a:pt x="46" y="2"/>
                </a:lnTo>
                <a:lnTo>
                  <a:pt x="46" y="1"/>
                </a:lnTo>
                <a:lnTo>
                  <a:pt x="45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1" name="Freeform 46">
            <a:extLst>
              <a:ext uri="{FF2B5EF4-FFF2-40B4-BE49-F238E27FC236}">
                <a16:creationId xmlns:a16="http://schemas.microsoft.com/office/drawing/2014/main" id="{E25BA9FF-BAB8-4C17-82C8-83BA79532316}"/>
              </a:ext>
            </a:extLst>
          </p:cNvPr>
          <p:cNvSpPr>
            <a:spLocks noEditPoints="1"/>
          </p:cNvSpPr>
          <p:nvPr/>
        </p:nvSpPr>
        <p:spPr bwMode="auto">
          <a:xfrm>
            <a:off x="2566170" y="3684507"/>
            <a:ext cx="389765" cy="253565"/>
          </a:xfrm>
          <a:custGeom>
            <a:avLst/>
            <a:gdLst/>
            <a:ahLst/>
            <a:cxnLst>
              <a:cxn ang="0">
                <a:pos x="91" y="127"/>
              </a:cxn>
              <a:cxn ang="0">
                <a:pos x="34" y="89"/>
              </a:cxn>
              <a:cxn ang="0">
                <a:pos x="55" y="93"/>
              </a:cxn>
              <a:cxn ang="0">
                <a:pos x="58" y="100"/>
              </a:cxn>
              <a:cxn ang="0">
                <a:pos x="53" y="105"/>
              </a:cxn>
              <a:cxn ang="0">
                <a:pos x="41" y="114"/>
              </a:cxn>
              <a:cxn ang="0">
                <a:pos x="31" y="115"/>
              </a:cxn>
              <a:cxn ang="0">
                <a:pos x="18" y="129"/>
              </a:cxn>
              <a:cxn ang="0">
                <a:pos x="6" y="137"/>
              </a:cxn>
              <a:cxn ang="0">
                <a:pos x="15" y="124"/>
              </a:cxn>
              <a:cxn ang="0">
                <a:pos x="3" y="111"/>
              </a:cxn>
              <a:cxn ang="0">
                <a:pos x="4" y="101"/>
              </a:cxn>
              <a:cxn ang="0">
                <a:pos x="10" y="99"/>
              </a:cxn>
              <a:cxn ang="0">
                <a:pos x="21" y="89"/>
              </a:cxn>
              <a:cxn ang="0">
                <a:pos x="66" y="92"/>
              </a:cxn>
              <a:cxn ang="0">
                <a:pos x="55" y="86"/>
              </a:cxn>
              <a:cxn ang="0">
                <a:pos x="65" y="52"/>
              </a:cxn>
              <a:cxn ang="0">
                <a:pos x="56" y="57"/>
              </a:cxn>
              <a:cxn ang="0">
                <a:pos x="35" y="49"/>
              </a:cxn>
              <a:cxn ang="0">
                <a:pos x="49" y="62"/>
              </a:cxn>
              <a:cxn ang="0">
                <a:pos x="46" y="68"/>
              </a:cxn>
              <a:cxn ang="0">
                <a:pos x="40" y="71"/>
              </a:cxn>
              <a:cxn ang="0">
                <a:pos x="28" y="80"/>
              </a:cxn>
              <a:cxn ang="0">
                <a:pos x="22" y="64"/>
              </a:cxn>
              <a:cxn ang="0">
                <a:pos x="28" y="53"/>
              </a:cxn>
              <a:cxn ang="0">
                <a:pos x="112" y="7"/>
              </a:cxn>
              <a:cxn ang="0">
                <a:pos x="165" y="4"/>
              </a:cxn>
              <a:cxn ang="0">
                <a:pos x="171" y="4"/>
              </a:cxn>
              <a:cxn ang="0">
                <a:pos x="192" y="8"/>
              </a:cxn>
              <a:cxn ang="0">
                <a:pos x="214" y="18"/>
              </a:cxn>
              <a:cxn ang="0">
                <a:pos x="261" y="20"/>
              </a:cxn>
              <a:cxn ang="0">
                <a:pos x="268" y="27"/>
              </a:cxn>
              <a:cxn ang="0">
                <a:pos x="257" y="35"/>
              </a:cxn>
              <a:cxn ang="0">
                <a:pos x="237" y="80"/>
              </a:cxn>
              <a:cxn ang="0">
                <a:pos x="245" y="138"/>
              </a:cxn>
              <a:cxn ang="0">
                <a:pos x="239" y="154"/>
              </a:cxn>
              <a:cxn ang="0">
                <a:pos x="232" y="168"/>
              </a:cxn>
              <a:cxn ang="0">
                <a:pos x="214" y="167"/>
              </a:cxn>
              <a:cxn ang="0">
                <a:pos x="200" y="174"/>
              </a:cxn>
              <a:cxn ang="0">
                <a:pos x="181" y="157"/>
              </a:cxn>
              <a:cxn ang="0">
                <a:pos x="164" y="144"/>
              </a:cxn>
              <a:cxn ang="0">
                <a:pos x="150" y="133"/>
              </a:cxn>
              <a:cxn ang="0">
                <a:pos x="143" y="137"/>
              </a:cxn>
              <a:cxn ang="0">
                <a:pos x="126" y="137"/>
              </a:cxn>
              <a:cxn ang="0">
                <a:pos x="107" y="145"/>
              </a:cxn>
              <a:cxn ang="0">
                <a:pos x="112" y="113"/>
              </a:cxn>
              <a:cxn ang="0">
                <a:pos x="103" y="110"/>
              </a:cxn>
              <a:cxn ang="0">
                <a:pos x="95" y="114"/>
              </a:cxn>
              <a:cxn ang="0">
                <a:pos x="80" y="102"/>
              </a:cxn>
              <a:cxn ang="0">
                <a:pos x="72" y="88"/>
              </a:cxn>
              <a:cxn ang="0">
                <a:pos x="72" y="77"/>
              </a:cxn>
              <a:cxn ang="0">
                <a:pos x="83" y="74"/>
              </a:cxn>
              <a:cxn ang="0">
                <a:pos x="74" y="70"/>
              </a:cxn>
              <a:cxn ang="0">
                <a:pos x="68" y="59"/>
              </a:cxn>
              <a:cxn ang="0">
                <a:pos x="74" y="56"/>
              </a:cxn>
              <a:cxn ang="0">
                <a:pos x="72" y="47"/>
              </a:cxn>
              <a:cxn ang="0">
                <a:pos x="82" y="34"/>
              </a:cxn>
              <a:cxn ang="0">
                <a:pos x="96" y="32"/>
              </a:cxn>
              <a:cxn ang="0">
                <a:pos x="101" y="20"/>
              </a:cxn>
              <a:cxn ang="0">
                <a:pos x="116" y="16"/>
              </a:cxn>
              <a:cxn ang="0">
                <a:pos x="124" y="18"/>
              </a:cxn>
              <a:cxn ang="0">
                <a:pos x="132" y="13"/>
              </a:cxn>
              <a:cxn ang="0">
                <a:pos x="153" y="10"/>
              </a:cxn>
            </a:cxnLst>
            <a:rect l="0" t="0" r="r" b="b"/>
            <a:pathLst>
              <a:path w="269" h="175">
                <a:moveTo>
                  <a:pt x="58" y="150"/>
                </a:moveTo>
                <a:lnTo>
                  <a:pt x="60" y="150"/>
                </a:lnTo>
                <a:lnTo>
                  <a:pt x="60" y="153"/>
                </a:lnTo>
                <a:lnTo>
                  <a:pt x="59" y="153"/>
                </a:lnTo>
                <a:lnTo>
                  <a:pt x="58" y="151"/>
                </a:lnTo>
                <a:lnTo>
                  <a:pt x="58" y="150"/>
                </a:lnTo>
                <a:close/>
                <a:moveTo>
                  <a:pt x="90" y="123"/>
                </a:moveTo>
                <a:lnTo>
                  <a:pt x="93" y="124"/>
                </a:lnTo>
                <a:lnTo>
                  <a:pt x="93" y="125"/>
                </a:lnTo>
                <a:lnTo>
                  <a:pt x="91" y="127"/>
                </a:lnTo>
                <a:lnTo>
                  <a:pt x="90" y="127"/>
                </a:lnTo>
                <a:lnTo>
                  <a:pt x="89" y="126"/>
                </a:lnTo>
                <a:lnTo>
                  <a:pt x="89" y="124"/>
                </a:lnTo>
                <a:lnTo>
                  <a:pt x="90" y="123"/>
                </a:lnTo>
                <a:close/>
                <a:moveTo>
                  <a:pt x="32" y="84"/>
                </a:moveTo>
                <a:lnTo>
                  <a:pt x="32" y="86"/>
                </a:lnTo>
                <a:lnTo>
                  <a:pt x="33" y="87"/>
                </a:lnTo>
                <a:lnTo>
                  <a:pt x="33" y="88"/>
                </a:lnTo>
                <a:lnTo>
                  <a:pt x="34" y="88"/>
                </a:lnTo>
                <a:lnTo>
                  <a:pt x="34" y="89"/>
                </a:lnTo>
                <a:lnTo>
                  <a:pt x="35" y="88"/>
                </a:lnTo>
                <a:lnTo>
                  <a:pt x="39" y="88"/>
                </a:lnTo>
                <a:lnTo>
                  <a:pt x="41" y="86"/>
                </a:lnTo>
                <a:lnTo>
                  <a:pt x="43" y="87"/>
                </a:lnTo>
                <a:lnTo>
                  <a:pt x="45" y="86"/>
                </a:lnTo>
                <a:lnTo>
                  <a:pt x="46" y="86"/>
                </a:lnTo>
                <a:lnTo>
                  <a:pt x="49" y="88"/>
                </a:lnTo>
                <a:lnTo>
                  <a:pt x="53" y="90"/>
                </a:lnTo>
                <a:lnTo>
                  <a:pt x="55" y="92"/>
                </a:lnTo>
                <a:lnTo>
                  <a:pt x="55" y="93"/>
                </a:lnTo>
                <a:lnTo>
                  <a:pt x="57" y="95"/>
                </a:lnTo>
                <a:lnTo>
                  <a:pt x="60" y="95"/>
                </a:lnTo>
                <a:lnTo>
                  <a:pt x="63" y="98"/>
                </a:lnTo>
                <a:lnTo>
                  <a:pt x="63" y="100"/>
                </a:lnTo>
                <a:lnTo>
                  <a:pt x="60" y="99"/>
                </a:lnTo>
                <a:lnTo>
                  <a:pt x="59" y="99"/>
                </a:lnTo>
                <a:lnTo>
                  <a:pt x="60" y="100"/>
                </a:lnTo>
                <a:lnTo>
                  <a:pt x="60" y="101"/>
                </a:lnTo>
                <a:lnTo>
                  <a:pt x="59" y="100"/>
                </a:lnTo>
                <a:lnTo>
                  <a:pt x="58" y="100"/>
                </a:lnTo>
                <a:lnTo>
                  <a:pt x="58" y="99"/>
                </a:lnTo>
                <a:lnTo>
                  <a:pt x="57" y="99"/>
                </a:lnTo>
                <a:lnTo>
                  <a:pt x="57" y="98"/>
                </a:lnTo>
                <a:lnTo>
                  <a:pt x="56" y="98"/>
                </a:lnTo>
                <a:lnTo>
                  <a:pt x="56" y="100"/>
                </a:lnTo>
                <a:lnTo>
                  <a:pt x="55" y="101"/>
                </a:lnTo>
                <a:lnTo>
                  <a:pt x="53" y="101"/>
                </a:lnTo>
                <a:lnTo>
                  <a:pt x="52" y="102"/>
                </a:lnTo>
                <a:lnTo>
                  <a:pt x="53" y="102"/>
                </a:lnTo>
                <a:lnTo>
                  <a:pt x="53" y="105"/>
                </a:lnTo>
                <a:lnTo>
                  <a:pt x="52" y="105"/>
                </a:lnTo>
                <a:lnTo>
                  <a:pt x="50" y="107"/>
                </a:lnTo>
                <a:lnTo>
                  <a:pt x="49" y="105"/>
                </a:lnTo>
                <a:lnTo>
                  <a:pt x="47" y="105"/>
                </a:lnTo>
                <a:lnTo>
                  <a:pt x="47" y="106"/>
                </a:lnTo>
                <a:lnTo>
                  <a:pt x="49" y="107"/>
                </a:lnTo>
                <a:lnTo>
                  <a:pt x="44" y="112"/>
                </a:lnTo>
                <a:lnTo>
                  <a:pt x="43" y="112"/>
                </a:lnTo>
                <a:lnTo>
                  <a:pt x="41" y="113"/>
                </a:lnTo>
                <a:lnTo>
                  <a:pt x="41" y="114"/>
                </a:lnTo>
                <a:lnTo>
                  <a:pt x="38" y="114"/>
                </a:lnTo>
                <a:lnTo>
                  <a:pt x="37" y="115"/>
                </a:lnTo>
                <a:lnTo>
                  <a:pt x="39" y="117"/>
                </a:lnTo>
                <a:lnTo>
                  <a:pt x="38" y="118"/>
                </a:lnTo>
                <a:lnTo>
                  <a:pt x="35" y="118"/>
                </a:lnTo>
                <a:lnTo>
                  <a:pt x="34" y="117"/>
                </a:lnTo>
                <a:lnTo>
                  <a:pt x="34" y="115"/>
                </a:lnTo>
                <a:lnTo>
                  <a:pt x="32" y="115"/>
                </a:lnTo>
                <a:lnTo>
                  <a:pt x="31" y="117"/>
                </a:lnTo>
                <a:lnTo>
                  <a:pt x="31" y="115"/>
                </a:lnTo>
                <a:lnTo>
                  <a:pt x="29" y="115"/>
                </a:lnTo>
                <a:lnTo>
                  <a:pt x="29" y="118"/>
                </a:lnTo>
                <a:lnTo>
                  <a:pt x="28" y="118"/>
                </a:lnTo>
                <a:lnTo>
                  <a:pt x="28" y="117"/>
                </a:lnTo>
                <a:lnTo>
                  <a:pt x="26" y="117"/>
                </a:lnTo>
                <a:lnTo>
                  <a:pt x="26" y="118"/>
                </a:lnTo>
                <a:lnTo>
                  <a:pt x="22" y="118"/>
                </a:lnTo>
                <a:lnTo>
                  <a:pt x="19" y="121"/>
                </a:lnTo>
                <a:lnTo>
                  <a:pt x="19" y="126"/>
                </a:lnTo>
                <a:lnTo>
                  <a:pt x="18" y="129"/>
                </a:lnTo>
                <a:lnTo>
                  <a:pt x="16" y="132"/>
                </a:lnTo>
                <a:lnTo>
                  <a:pt x="16" y="133"/>
                </a:lnTo>
                <a:lnTo>
                  <a:pt x="15" y="133"/>
                </a:lnTo>
                <a:lnTo>
                  <a:pt x="15" y="137"/>
                </a:lnTo>
                <a:lnTo>
                  <a:pt x="9" y="143"/>
                </a:lnTo>
                <a:lnTo>
                  <a:pt x="8" y="143"/>
                </a:lnTo>
                <a:lnTo>
                  <a:pt x="7" y="141"/>
                </a:lnTo>
                <a:lnTo>
                  <a:pt x="7" y="138"/>
                </a:lnTo>
                <a:lnTo>
                  <a:pt x="6" y="138"/>
                </a:lnTo>
                <a:lnTo>
                  <a:pt x="6" y="137"/>
                </a:lnTo>
                <a:lnTo>
                  <a:pt x="7" y="137"/>
                </a:lnTo>
                <a:lnTo>
                  <a:pt x="8" y="135"/>
                </a:lnTo>
                <a:lnTo>
                  <a:pt x="9" y="131"/>
                </a:lnTo>
                <a:lnTo>
                  <a:pt x="10" y="130"/>
                </a:lnTo>
                <a:lnTo>
                  <a:pt x="10" y="129"/>
                </a:lnTo>
                <a:lnTo>
                  <a:pt x="12" y="129"/>
                </a:lnTo>
                <a:lnTo>
                  <a:pt x="13" y="130"/>
                </a:lnTo>
                <a:lnTo>
                  <a:pt x="14" y="129"/>
                </a:lnTo>
                <a:lnTo>
                  <a:pt x="14" y="126"/>
                </a:lnTo>
                <a:lnTo>
                  <a:pt x="15" y="124"/>
                </a:lnTo>
                <a:lnTo>
                  <a:pt x="15" y="123"/>
                </a:lnTo>
                <a:lnTo>
                  <a:pt x="13" y="123"/>
                </a:lnTo>
                <a:lnTo>
                  <a:pt x="10" y="121"/>
                </a:lnTo>
                <a:lnTo>
                  <a:pt x="9" y="121"/>
                </a:lnTo>
                <a:lnTo>
                  <a:pt x="8" y="117"/>
                </a:lnTo>
                <a:lnTo>
                  <a:pt x="4" y="117"/>
                </a:lnTo>
                <a:lnTo>
                  <a:pt x="1" y="113"/>
                </a:lnTo>
                <a:lnTo>
                  <a:pt x="1" y="111"/>
                </a:lnTo>
                <a:lnTo>
                  <a:pt x="3" y="112"/>
                </a:lnTo>
                <a:lnTo>
                  <a:pt x="3" y="111"/>
                </a:lnTo>
                <a:lnTo>
                  <a:pt x="2" y="110"/>
                </a:lnTo>
                <a:lnTo>
                  <a:pt x="2" y="108"/>
                </a:lnTo>
                <a:lnTo>
                  <a:pt x="3" y="108"/>
                </a:lnTo>
                <a:lnTo>
                  <a:pt x="4" y="110"/>
                </a:lnTo>
                <a:lnTo>
                  <a:pt x="4" y="111"/>
                </a:lnTo>
                <a:lnTo>
                  <a:pt x="6" y="110"/>
                </a:lnTo>
                <a:lnTo>
                  <a:pt x="6" y="107"/>
                </a:lnTo>
                <a:lnTo>
                  <a:pt x="7" y="107"/>
                </a:lnTo>
                <a:lnTo>
                  <a:pt x="7" y="105"/>
                </a:lnTo>
                <a:lnTo>
                  <a:pt x="4" y="101"/>
                </a:lnTo>
                <a:lnTo>
                  <a:pt x="4" y="100"/>
                </a:lnTo>
                <a:lnTo>
                  <a:pt x="0" y="95"/>
                </a:lnTo>
                <a:lnTo>
                  <a:pt x="2" y="96"/>
                </a:lnTo>
                <a:lnTo>
                  <a:pt x="3" y="96"/>
                </a:lnTo>
                <a:lnTo>
                  <a:pt x="3" y="95"/>
                </a:lnTo>
                <a:lnTo>
                  <a:pt x="4" y="94"/>
                </a:lnTo>
                <a:lnTo>
                  <a:pt x="6" y="94"/>
                </a:lnTo>
                <a:lnTo>
                  <a:pt x="7" y="95"/>
                </a:lnTo>
                <a:lnTo>
                  <a:pt x="8" y="95"/>
                </a:lnTo>
                <a:lnTo>
                  <a:pt x="10" y="99"/>
                </a:lnTo>
                <a:lnTo>
                  <a:pt x="10" y="102"/>
                </a:lnTo>
                <a:lnTo>
                  <a:pt x="12" y="101"/>
                </a:lnTo>
                <a:lnTo>
                  <a:pt x="12" y="96"/>
                </a:lnTo>
                <a:lnTo>
                  <a:pt x="15" y="93"/>
                </a:lnTo>
                <a:lnTo>
                  <a:pt x="15" y="92"/>
                </a:lnTo>
                <a:lnTo>
                  <a:pt x="16" y="92"/>
                </a:lnTo>
                <a:lnTo>
                  <a:pt x="16" y="95"/>
                </a:lnTo>
                <a:lnTo>
                  <a:pt x="19" y="95"/>
                </a:lnTo>
                <a:lnTo>
                  <a:pt x="19" y="90"/>
                </a:lnTo>
                <a:lnTo>
                  <a:pt x="21" y="89"/>
                </a:lnTo>
                <a:lnTo>
                  <a:pt x="27" y="88"/>
                </a:lnTo>
                <a:lnTo>
                  <a:pt x="31" y="86"/>
                </a:lnTo>
                <a:lnTo>
                  <a:pt x="32" y="84"/>
                </a:lnTo>
                <a:close/>
                <a:moveTo>
                  <a:pt x="56" y="81"/>
                </a:moveTo>
                <a:lnTo>
                  <a:pt x="58" y="81"/>
                </a:lnTo>
                <a:lnTo>
                  <a:pt x="62" y="82"/>
                </a:lnTo>
                <a:lnTo>
                  <a:pt x="64" y="84"/>
                </a:lnTo>
                <a:lnTo>
                  <a:pt x="64" y="88"/>
                </a:lnTo>
                <a:lnTo>
                  <a:pt x="66" y="90"/>
                </a:lnTo>
                <a:lnTo>
                  <a:pt x="66" y="92"/>
                </a:lnTo>
                <a:lnTo>
                  <a:pt x="65" y="92"/>
                </a:lnTo>
                <a:lnTo>
                  <a:pt x="65" y="93"/>
                </a:lnTo>
                <a:lnTo>
                  <a:pt x="63" y="93"/>
                </a:lnTo>
                <a:lnTo>
                  <a:pt x="63" y="92"/>
                </a:lnTo>
                <a:lnTo>
                  <a:pt x="60" y="92"/>
                </a:lnTo>
                <a:lnTo>
                  <a:pt x="59" y="93"/>
                </a:lnTo>
                <a:lnTo>
                  <a:pt x="55" y="89"/>
                </a:lnTo>
                <a:lnTo>
                  <a:pt x="52" y="87"/>
                </a:lnTo>
                <a:lnTo>
                  <a:pt x="52" y="86"/>
                </a:lnTo>
                <a:lnTo>
                  <a:pt x="55" y="86"/>
                </a:lnTo>
                <a:lnTo>
                  <a:pt x="55" y="82"/>
                </a:lnTo>
                <a:lnTo>
                  <a:pt x="56" y="81"/>
                </a:lnTo>
                <a:close/>
                <a:moveTo>
                  <a:pt x="26" y="56"/>
                </a:moveTo>
                <a:lnTo>
                  <a:pt x="27" y="57"/>
                </a:lnTo>
                <a:lnTo>
                  <a:pt x="26" y="57"/>
                </a:lnTo>
                <a:lnTo>
                  <a:pt x="26" y="56"/>
                </a:lnTo>
                <a:close/>
                <a:moveTo>
                  <a:pt x="56" y="51"/>
                </a:moveTo>
                <a:lnTo>
                  <a:pt x="58" y="51"/>
                </a:lnTo>
                <a:lnTo>
                  <a:pt x="60" y="52"/>
                </a:lnTo>
                <a:lnTo>
                  <a:pt x="65" y="52"/>
                </a:lnTo>
                <a:lnTo>
                  <a:pt x="65" y="55"/>
                </a:lnTo>
                <a:lnTo>
                  <a:pt x="66" y="56"/>
                </a:lnTo>
                <a:lnTo>
                  <a:pt x="65" y="57"/>
                </a:lnTo>
                <a:lnTo>
                  <a:pt x="64" y="57"/>
                </a:lnTo>
                <a:lnTo>
                  <a:pt x="64" y="56"/>
                </a:lnTo>
                <a:lnTo>
                  <a:pt x="63" y="57"/>
                </a:lnTo>
                <a:lnTo>
                  <a:pt x="59" y="57"/>
                </a:lnTo>
                <a:lnTo>
                  <a:pt x="59" y="56"/>
                </a:lnTo>
                <a:lnTo>
                  <a:pt x="57" y="58"/>
                </a:lnTo>
                <a:lnTo>
                  <a:pt x="56" y="57"/>
                </a:lnTo>
                <a:lnTo>
                  <a:pt x="55" y="53"/>
                </a:lnTo>
                <a:lnTo>
                  <a:pt x="55" y="52"/>
                </a:lnTo>
                <a:lnTo>
                  <a:pt x="56" y="51"/>
                </a:lnTo>
                <a:close/>
                <a:moveTo>
                  <a:pt x="74" y="49"/>
                </a:moveTo>
                <a:lnTo>
                  <a:pt x="74" y="50"/>
                </a:lnTo>
                <a:lnTo>
                  <a:pt x="76" y="51"/>
                </a:lnTo>
                <a:lnTo>
                  <a:pt x="74" y="49"/>
                </a:lnTo>
                <a:close/>
                <a:moveTo>
                  <a:pt x="32" y="47"/>
                </a:moveTo>
                <a:lnTo>
                  <a:pt x="34" y="47"/>
                </a:lnTo>
                <a:lnTo>
                  <a:pt x="35" y="49"/>
                </a:lnTo>
                <a:lnTo>
                  <a:pt x="37" y="49"/>
                </a:lnTo>
                <a:lnTo>
                  <a:pt x="38" y="50"/>
                </a:lnTo>
                <a:lnTo>
                  <a:pt x="37" y="52"/>
                </a:lnTo>
                <a:lnTo>
                  <a:pt x="37" y="53"/>
                </a:lnTo>
                <a:lnTo>
                  <a:pt x="38" y="55"/>
                </a:lnTo>
                <a:lnTo>
                  <a:pt x="43" y="55"/>
                </a:lnTo>
                <a:lnTo>
                  <a:pt x="46" y="56"/>
                </a:lnTo>
                <a:lnTo>
                  <a:pt x="47" y="57"/>
                </a:lnTo>
                <a:lnTo>
                  <a:pt x="47" y="61"/>
                </a:lnTo>
                <a:lnTo>
                  <a:pt x="49" y="62"/>
                </a:lnTo>
                <a:lnTo>
                  <a:pt x="49" y="63"/>
                </a:lnTo>
                <a:lnTo>
                  <a:pt x="50" y="63"/>
                </a:lnTo>
                <a:lnTo>
                  <a:pt x="50" y="67"/>
                </a:lnTo>
                <a:lnTo>
                  <a:pt x="51" y="67"/>
                </a:lnTo>
                <a:lnTo>
                  <a:pt x="51" y="69"/>
                </a:lnTo>
                <a:lnTo>
                  <a:pt x="50" y="69"/>
                </a:lnTo>
                <a:lnTo>
                  <a:pt x="49" y="68"/>
                </a:lnTo>
                <a:lnTo>
                  <a:pt x="47" y="68"/>
                </a:lnTo>
                <a:lnTo>
                  <a:pt x="47" y="69"/>
                </a:lnTo>
                <a:lnTo>
                  <a:pt x="46" y="68"/>
                </a:lnTo>
                <a:lnTo>
                  <a:pt x="46" y="69"/>
                </a:lnTo>
                <a:lnTo>
                  <a:pt x="44" y="69"/>
                </a:lnTo>
                <a:lnTo>
                  <a:pt x="44" y="70"/>
                </a:lnTo>
                <a:lnTo>
                  <a:pt x="45" y="70"/>
                </a:lnTo>
                <a:lnTo>
                  <a:pt x="45" y="72"/>
                </a:lnTo>
                <a:lnTo>
                  <a:pt x="44" y="72"/>
                </a:lnTo>
                <a:lnTo>
                  <a:pt x="43" y="74"/>
                </a:lnTo>
                <a:lnTo>
                  <a:pt x="41" y="74"/>
                </a:lnTo>
                <a:lnTo>
                  <a:pt x="40" y="72"/>
                </a:lnTo>
                <a:lnTo>
                  <a:pt x="40" y="71"/>
                </a:lnTo>
                <a:lnTo>
                  <a:pt x="41" y="70"/>
                </a:lnTo>
                <a:lnTo>
                  <a:pt x="43" y="70"/>
                </a:lnTo>
                <a:lnTo>
                  <a:pt x="41" y="69"/>
                </a:lnTo>
                <a:lnTo>
                  <a:pt x="40" y="69"/>
                </a:lnTo>
                <a:lnTo>
                  <a:pt x="38" y="71"/>
                </a:lnTo>
                <a:lnTo>
                  <a:pt x="38" y="72"/>
                </a:lnTo>
                <a:lnTo>
                  <a:pt x="34" y="80"/>
                </a:lnTo>
                <a:lnTo>
                  <a:pt x="33" y="81"/>
                </a:lnTo>
                <a:lnTo>
                  <a:pt x="31" y="81"/>
                </a:lnTo>
                <a:lnTo>
                  <a:pt x="28" y="80"/>
                </a:lnTo>
                <a:lnTo>
                  <a:pt x="27" y="78"/>
                </a:lnTo>
                <a:lnTo>
                  <a:pt x="27" y="77"/>
                </a:lnTo>
                <a:lnTo>
                  <a:pt x="28" y="76"/>
                </a:lnTo>
                <a:lnTo>
                  <a:pt x="27" y="76"/>
                </a:lnTo>
                <a:lnTo>
                  <a:pt x="27" y="74"/>
                </a:lnTo>
                <a:lnTo>
                  <a:pt x="26" y="72"/>
                </a:lnTo>
                <a:lnTo>
                  <a:pt x="26" y="68"/>
                </a:lnTo>
                <a:lnTo>
                  <a:pt x="25" y="67"/>
                </a:lnTo>
                <a:lnTo>
                  <a:pt x="24" y="64"/>
                </a:lnTo>
                <a:lnTo>
                  <a:pt x="22" y="64"/>
                </a:lnTo>
                <a:lnTo>
                  <a:pt x="21" y="63"/>
                </a:lnTo>
                <a:lnTo>
                  <a:pt x="20" y="64"/>
                </a:lnTo>
                <a:lnTo>
                  <a:pt x="15" y="64"/>
                </a:lnTo>
                <a:lnTo>
                  <a:pt x="9" y="61"/>
                </a:lnTo>
                <a:lnTo>
                  <a:pt x="9" y="59"/>
                </a:lnTo>
                <a:lnTo>
                  <a:pt x="12" y="58"/>
                </a:lnTo>
                <a:lnTo>
                  <a:pt x="14" y="59"/>
                </a:lnTo>
                <a:lnTo>
                  <a:pt x="27" y="57"/>
                </a:lnTo>
                <a:lnTo>
                  <a:pt x="28" y="57"/>
                </a:lnTo>
                <a:lnTo>
                  <a:pt x="28" y="53"/>
                </a:lnTo>
                <a:lnTo>
                  <a:pt x="29" y="53"/>
                </a:lnTo>
                <a:lnTo>
                  <a:pt x="32" y="51"/>
                </a:lnTo>
                <a:lnTo>
                  <a:pt x="32" y="47"/>
                </a:lnTo>
                <a:close/>
                <a:moveTo>
                  <a:pt x="113" y="6"/>
                </a:moveTo>
                <a:lnTo>
                  <a:pt x="114" y="7"/>
                </a:lnTo>
                <a:lnTo>
                  <a:pt x="115" y="9"/>
                </a:lnTo>
                <a:lnTo>
                  <a:pt x="114" y="9"/>
                </a:lnTo>
                <a:lnTo>
                  <a:pt x="113" y="10"/>
                </a:lnTo>
                <a:lnTo>
                  <a:pt x="112" y="9"/>
                </a:lnTo>
                <a:lnTo>
                  <a:pt x="112" y="7"/>
                </a:lnTo>
                <a:lnTo>
                  <a:pt x="113" y="6"/>
                </a:lnTo>
                <a:close/>
                <a:moveTo>
                  <a:pt x="156" y="0"/>
                </a:moveTo>
                <a:lnTo>
                  <a:pt x="157" y="0"/>
                </a:lnTo>
                <a:lnTo>
                  <a:pt x="158" y="3"/>
                </a:lnTo>
                <a:lnTo>
                  <a:pt x="159" y="4"/>
                </a:lnTo>
                <a:lnTo>
                  <a:pt x="161" y="4"/>
                </a:lnTo>
                <a:lnTo>
                  <a:pt x="162" y="7"/>
                </a:lnTo>
                <a:lnTo>
                  <a:pt x="163" y="8"/>
                </a:lnTo>
                <a:lnTo>
                  <a:pt x="165" y="8"/>
                </a:lnTo>
                <a:lnTo>
                  <a:pt x="165" y="4"/>
                </a:lnTo>
                <a:lnTo>
                  <a:pt x="164" y="4"/>
                </a:lnTo>
                <a:lnTo>
                  <a:pt x="164" y="0"/>
                </a:lnTo>
                <a:lnTo>
                  <a:pt x="165" y="0"/>
                </a:lnTo>
                <a:lnTo>
                  <a:pt x="168" y="2"/>
                </a:lnTo>
                <a:lnTo>
                  <a:pt x="168" y="3"/>
                </a:lnTo>
                <a:lnTo>
                  <a:pt x="169" y="4"/>
                </a:lnTo>
                <a:lnTo>
                  <a:pt x="169" y="7"/>
                </a:lnTo>
                <a:lnTo>
                  <a:pt x="170" y="8"/>
                </a:lnTo>
                <a:lnTo>
                  <a:pt x="173" y="6"/>
                </a:lnTo>
                <a:lnTo>
                  <a:pt x="171" y="4"/>
                </a:lnTo>
                <a:lnTo>
                  <a:pt x="173" y="3"/>
                </a:lnTo>
                <a:lnTo>
                  <a:pt x="174" y="3"/>
                </a:lnTo>
                <a:lnTo>
                  <a:pt x="175" y="6"/>
                </a:lnTo>
                <a:lnTo>
                  <a:pt x="176" y="6"/>
                </a:lnTo>
                <a:lnTo>
                  <a:pt x="176" y="3"/>
                </a:lnTo>
                <a:lnTo>
                  <a:pt x="178" y="3"/>
                </a:lnTo>
                <a:lnTo>
                  <a:pt x="181" y="6"/>
                </a:lnTo>
                <a:lnTo>
                  <a:pt x="181" y="7"/>
                </a:lnTo>
                <a:lnTo>
                  <a:pt x="190" y="7"/>
                </a:lnTo>
                <a:lnTo>
                  <a:pt x="192" y="8"/>
                </a:lnTo>
                <a:lnTo>
                  <a:pt x="196" y="10"/>
                </a:lnTo>
                <a:lnTo>
                  <a:pt x="199" y="10"/>
                </a:lnTo>
                <a:lnTo>
                  <a:pt x="199" y="12"/>
                </a:lnTo>
                <a:lnTo>
                  <a:pt x="201" y="9"/>
                </a:lnTo>
                <a:lnTo>
                  <a:pt x="203" y="9"/>
                </a:lnTo>
                <a:lnTo>
                  <a:pt x="206" y="10"/>
                </a:lnTo>
                <a:lnTo>
                  <a:pt x="208" y="13"/>
                </a:lnTo>
                <a:lnTo>
                  <a:pt x="211" y="14"/>
                </a:lnTo>
                <a:lnTo>
                  <a:pt x="212" y="16"/>
                </a:lnTo>
                <a:lnTo>
                  <a:pt x="214" y="18"/>
                </a:lnTo>
                <a:lnTo>
                  <a:pt x="215" y="19"/>
                </a:lnTo>
                <a:lnTo>
                  <a:pt x="217" y="19"/>
                </a:lnTo>
                <a:lnTo>
                  <a:pt x="224" y="20"/>
                </a:lnTo>
                <a:lnTo>
                  <a:pt x="231" y="19"/>
                </a:lnTo>
                <a:lnTo>
                  <a:pt x="237" y="19"/>
                </a:lnTo>
                <a:lnTo>
                  <a:pt x="243" y="21"/>
                </a:lnTo>
                <a:lnTo>
                  <a:pt x="250" y="21"/>
                </a:lnTo>
                <a:lnTo>
                  <a:pt x="256" y="24"/>
                </a:lnTo>
                <a:lnTo>
                  <a:pt x="258" y="22"/>
                </a:lnTo>
                <a:lnTo>
                  <a:pt x="261" y="20"/>
                </a:lnTo>
                <a:lnTo>
                  <a:pt x="262" y="18"/>
                </a:lnTo>
                <a:lnTo>
                  <a:pt x="263" y="19"/>
                </a:lnTo>
                <a:lnTo>
                  <a:pt x="265" y="20"/>
                </a:lnTo>
                <a:lnTo>
                  <a:pt x="265" y="21"/>
                </a:lnTo>
                <a:lnTo>
                  <a:pt x="267" y="24"/>
                </a:lnTo>
                <a:lnTo>
                  <a:pt x="268" y="24"/>
                </a:lnTo>
                <a:lnTo>
                  <a:pt x="268" y="25"/>
                </a:lnTo>
                <a:lnTo>
                  <a:pt x="269" y="26"/>
                </a:lnTo>
                <a:lnTo>
                  <a:pt x="269" y="27"/>
                </a:lnTo>
                <a:lnTo>
                  <a:pt x="268" y="27"/>
                </a:lnTo>
                <a:lnTo>
                  <a:pt x="267" y="28"/>
                </a:lnTo>
                <a:lnTo>
                  <a:pt x="263" y="28"/>
                </a:lnTo>
                <a:lnTo>
                  <a:pt x="262" y="29"/>
                </a:lnTo>
                <a:lnTo>
                  <a:pt x="264" y="31"/>
                </a:lnTo>
                <a:lnTo>
                  <a:pt x="265" y="31"/>
                </a:lnTo>
                <a:lnTo>
                  <a:pt x="264" y="32"/>
                </a:lnTo>
                <a:lnTo>
                  <a:pt x="260" y="32"/>
                </a:lnTo>
                <a:lnTo>
                  <a:pt x="257" y="33"/>
                </a:lnTo>
                <a:lnTo>
                  <a:pt x="256" y="34"/>
                </a:lnTo>
                <a:lnTo>
                  <a:pt x="257" y="35"/>
                </a:lnTo>
                <a:lnTo>
                  <a:pt x="256" y="37"/>
                </a:lnTo>
                <a:lnTo>
                  <a:pt x="255" y="44"/>
                </a:lnTo>
                <a:lnTo>
                  <a:pt x="252" y="50"/>
                </a:lnTo>
                <a:lnTo>
                  <a:pt x="251" y="52"/>
                </a:lnTo>
                <a:lnTo>
                  <a:pt x="249" y="56"/>
                </a:lnTo>
                <a:lnTo>
                  <a:pt x="249" y="57"/>
                </a:lnTo>
                <a:lnTo>
                  <a:pt x="244" y="62"/>
                </a:lnTo>
                <a:lnTo>
                  <a:pt x="238" y="67"/>
                </a:lnTo>
                <a:lnTo>
                  <a:pt x="236" y="76"/>
                </a:lnTo>
                <a:lnTo>
                  <a:pt x="237" y="80"/>
                </a:lnTo>
                <a:lnTo>
                  <a:pt x="237" y="84"/>
                </a:lnTo>
                <a:lnTo>
                  <a:pt x="239" y="94"/>
                </a:lnTo>
                <a:lnTo>
                  <a:pt x="242" y="106"/>
                </a:lnTo>
                <a:lnTo>
                  <a:pt x="238" y="112"/>
                </a:lnTo>
                <a:lnTo>
                  <a:pt x="238" y="119"/>
                </a:lnTo>
                <a:lnTo>
                  <a:pt x="240" y="124"/>
                </a:lnTo>
                <a:lnTo>
                  <a:pt x="242" y="127"/>
                </a:lnTo>
                <a:lnTo>
                  <a:pt x="244" y="130"/>
                </a:lnTo>
                <a:lnTo>
                  <a:pt x="244" y="137"/>
                </a:lnTo>
                <a:lnTo>
                  <a:pt x="245" y="138"/>
                </a:lnTo>
                <a:lnTo>
                  <a:pt x="245" y="144"/>
                </a:lnTo>
                <a:lnTo>
                  <a:pt x="250" y="147"/>
                </a:lnTo>
                <a:lnTo>
                  <a:pt x="251" y="149"/>
                </a:lnTo>
                <a:lnTo>
                  <a:pt x="250" y="149"/>
                </a:lnTo>
                <a:lnTo>
                  <a:pt x="249" y="150"/>
                </a:lnTo>
                <a:lnTo>
                  <a:pt x="246" y="151"/>
                </a:lnTo>
                <a:lnTo>
                  <a:pt x="240" y="153"/>
                </a:lnTo>
                <a:lnTo>
                  <a:pt x="239" y="153"/>
                </a:lnTo>
                <a:lnTo>
                  <a:pt x="240" y="154"/>
                </a:lnTo>
                <a:lnTo>
                  <a:pt x="239" y="154"/>
                </a:lnTo>
                <a:lnTo>
                  <a:pt x="238" y="155"/>
                </a:lnTo>
                <a:lnTo>
                  <a:pt x="238" y="160"/>
                </a:lnTo>
                <a:lnTo>
                  <a:pt x="237" y="161"/>
                </a:lnTo>
                <a:lnTo>
                  <a:pt x="233" y="162"/>
                </a:lnTo>
                <a:lnTo>
                  <a:pt x="233" y="163"/>
                </a:lnTo>
                <a:lnTo>
                  <a:pt x="232" y="163"/>
                </a:lnTo>
                <a:lnTo>
                  <a:pt x="232" y="164"/>
                </a:lnTo>
                <a:lnTo>
                  <a:pt x="233" y="166"/>
                </a:lnTo>
                <a:lnTo>
                  <a:pt x="233" y="168"/>
                </a:lnTo>
                <a:lnTo>
                  <a:pt x="232" y="168"/>
                </a:lnTo>
                <a:lnTo>
                  <a:pt x="232" y="169"/>
                </a:lnTo>
                <a:lnTo>
                  <a:pt x="231" y="169"/>
                </a:lnTo>
                <a:lnTo>
                  <a:pt x="231" y="174"/>
                </a:lnTo>
                <a:lnTo>
                  <a:pt x="230" y="175"/>
                </a:lnTo>
                <a:lnTo>
                  <a:pt x="224" y="173"/>
                </a:lnTo>
                <a:lnTo>
                  <a:pt x="220" y="173"/>
                </a:lnTo>
                <a:lnTo>
                  <a:pt x="218" y="170"/>
                </a:lnTo>
                <a:lnTo>
                  <a:pt x="217" y="168"/>
                </a:lnTo>
                <a:lnTo>
                  <a:pt x="215" y="168"/>
                </a:lnTo>
                <a:lnTo>
                  <a:pt x="214" y="167"/>
                </a:lnTo>
                <a:lnTo>
                  <a:pt x="212" y="167"/>
                </a:lnTo>
                <a:lnTo>
                  <a:pt x="211" y="166"/>
                </a:lnTo>
                <a:lnTo>
                  <a:pt x="211" y="167"/>
                </a:lnTo>
                <a:lnTo>
                  <a:pt x="209" y="168"/>
                </a:lnTo>
                <a:lnTo>
                  <a:pt x="209" y="169"/>
                </a:lnTo>
                <a:lnTo>
                  <a:pt x="208" y="169"/>
                </a:lnTo>
                <a:lnTo>
                  <a:pt x="208" y="170"/>
                </a:lnTo>
                <a:lnTo>
                  <a:pt x="202" y="170"/>
                </a:lnTo>
                <a:lnTo>
                  <a:pt x="200" y="173"/>
                </a:lnTo>
                <a:lnTo>
                  <a:pt x="200" y="174"/>
                </a:lnTo>
                <a:lnTo>
                  <a:pt x="196" y="174"/>
                </a:lnTo>
                <a:lnTo>
                  <a:pt x="195" y="175"/>
                </a:lnTo>
                <a:lnTo>
                  <a:pt x="194" y="174"/>
                </a:lnTo>
                <a:lnTo>
                  <a:pt x="193" y="172"/>
                </a:lnTo>
                <a:lnTo>
                  <a:pt x="193" y="170"/>
                </a:lnTo>
                <a:lnTo>
                  <a:pt x="189" y="169"/>
                </a:lnTo>
                <a:lnTo>
                  <a:pt x="187" y="168"/>
                </a:lnTo>
                <a:lnTo>
                  <a:pt x="186" y="166"/>
                </a:lnTo>
                <a:lnTo>
                  <a:pt x="182" y="160"/>
                </a:lnTo>
                <a:lnTo>
                  <a:pt x="181" y="157"/>
                </a:lnTo>
                <a:lnTo>
                  <a:pt x="176" y="154"/>
                </a:lnTo>
                <a:lnTo>
                  <a:pt x="175" y="153"/>
                </a:lnTo>
                <a:lnTo>
                  <a:pt x="175" y="150"/>
                </a:lnTo>
                <a:lnTo>
                  <a:pt x="176" y="150"/>
                </a:lnTo>
                <a:lnTo>
                  <a:pt x="176" y="149"/>
                </a:lnTo>
                <a:lnTo>
                  <a:pt x="175" y="149"/>
                </a:lnTo>
                <a:lnTo>
                  <a:pt x="175" y="148"/>
                </a:lnTo>
                <a:lnTo>
                  <a:pt x="167" y="148"/>
                </a:lnTo>
                <a:lnTo>
                  <a:pt x="165" y="147"/>
                </a:lnTo>
                <a:lnTo>
                  <a:pt x="164" y="144"/>
                </a:lnTo>
                <a:lnTo>
                  <a:pt x="164" y="143"/>
                </a:lnTo>
                <a:lnTo>
                  <a:pt x="163" y="142"/>
                </a:lnTo>
                <a:lnTo>
                  <a:pt x="162" y="142"/>
                </a:lnTo>
                <a:lnTo>
                  <a:pt x="161" y="143"/>
                </a:lnTo>
                <a:lnTo>
                  <a:pt x="158" y="143"/>
                </a:lnTo>
                <a:lnTo>
                  <a:pt x="156" y="141"/>
                </a:lnTo>
                <a:lnTo>
                  <a:pt x="156" y="138"/>
                </a:lnTo>
                <a:lnTo>
                  <a:pt x="153" y="138"/>
                </a:lnTo>
                <a:lnTo>
                  <a:pt x="152" y="137"/>
                </a:lnTo>
                <a:lnTo>
                  <a:pt x="150" y="133"/>
                </a:lnTo>
                <a:lnTo>
                  <a:pt x="147" y="132"/>
                </a:lnTo>
                <a:lnTo>
                  <a:pt x="147" y="133"/>
                </a:lnTo>
                <a:lnTo>
                  <a:pt x="146" y="132"/>
                </a:lnTo>
                <a:lnTo>
                  <a:pt x="146" y="131"/>
                </a:lnTo>
                <a:lnTo>
                  <a:pt x="145" y="130"/>
                </a:lnTo>
                <a:lnTo>
                  <a:pt x="144" y="130"/>
                </a:lnTo>
                <a:lnTo>
                  <a:pt x="144" y="131"/>
                </a:lnTo>
                <a:lnTo>
                  <a:pt x="145" y="133"/>
                </a:lnTo>
                <a:lnTo>
                  <a:pt x="145" y="135"/>
                </a:lnTo>
                <a:lnTo>
                  <a:pt x="143" y="137"/>
                </a:lnTo>
                <a:lnTo>
                  <a:pt x="142" y="137"/>
                </a:lnTo>
                <a:lnTo>
                  <a:pt x="142" y="136"/>
                </a:lnTo>
                <a:lnTo>
                  <a:pt x="140" y="135"/>
                </a:lnTo>
                <a:lnTo>
                  <a:pt x="140" y="131"/>
                </a:lnTo>
                <a:lnTo>
                  <a:pt x="139" y="130"/>
                </a:lnTo>
                <a:lnTo>
                  <a:pt x="136" y="130"/>
                </a:lnTo>
                <a:lnTo>
                  <a:pt x="131" y="135"/>
                </a:lnTo>
                <a:lnTo>
                  <a:pt x="127" y="135"/>
                </a:lnTo>
                <a:lnTo>
                  <a:pt x="126" y="136"/>
                </a:lnTo>
                <a:lnTo>
                  <a:pt x="126" y="137"/>
                </a:lnTo>
                <a:lnTo>
                  <a:pt x="124" y="137"/>
                </a:lnTo>
                <a:lnTo>
                  <a:pt x="122" y="136"/>
                </a:lnTo>
                <a:lnTo>
                  <a:pt x="121" y="136"/>
                </a:lnTo>
                <a:lnTo>
                  <a:pt x="120" y="138"/>
                </a:lnTo>
                <a:lnTo>
                  <a:pt x="119" y="139"/>
                </a:lnTo>
                <a:lnTo>
                  <a:pt x="113" y="139"/>
                </a:lnTo>
                <a:lnTo>
                  <a:pt x="111" y="141"/>
                </a:lnTo>
                <a:lnTo>
                  <a:pt x="108" y="143"/>
                </a:lnTo>
                <a:lnTo>
                  <a:pt x="108" y="144"/>
                </a:lnTo>
                <a:lnTo>
                  <a:pt x="107" y="145"/>
                </a:lnTo>
                <a:lnTo>
                  <a:pt x="103" y="145"/>
                </a:lnTo>
                <a:lnTo>
                  <a:pt x="103" y="144"/>
                </a:lnTo>
                <a:lnTo>
                  <a:pt x="105" y="144"/>
                </a:lnTo>
                <a:lnTo>
                  <a:pt x="105" y="141"/>
                </a:lnTo>
                <a:lnTo>
                  <a:pt x="107" y="136"/>
                </a:lnTo>
                <a:lnTo>
                  <a:pt x="107" y="133"/>
                </a:lnTo>
                <a:lnTo>
                  <a:pt x="109" y="130"/>
                </a:lnTo>
                <a:lnTo>
                  <a:pt x="111" y="129"/>
                </a:lnTo>
                <a:lnTo>
                  <a:pt x="111" y="114"/>
                </a:lnTo>
                <a:lnTo>
                  <a:pt x="112" y="113"/>
                </a:lnTo>
                <a:lnTo>
                  <a:pt x="113" y="113"/>
                </a:lnTo>
                <a:lnTo>
                  <a:pt x="114" y="112"/>
                </a:lnTo>
                <a:lnTo>
                  <a:pt x="115" y="110"/>
                </a:lnTo>
                <a:lnTo>
                  <a:pt x="109" y="104"/>
                </a:lnTo>
                <a:lnTo>
                  <a:pt x="108" y="104"/>
                </a:lnTo>
                <a:lnTo>
                  <a:pt x="107" y="102"/>
                </a:lnTo>
                <a:lnTo>
                  <a:pt x="105" y="104"/>
                </a:lnTo>
                <a:lnTo>
                  <a:pt x="105" y="105"/>
                </a:lnTo>
                <a:lnTo>
                  <a:pt x="103" y="106"/>
                </a:lnTo>
                <a:lnTo>
                  <a:pt x="103" y="110"/>
                </a:lnTo>
                <a:lnTo>
                  <a:pt x="102" y="112"/>
                </a:lnTo>
                <a:lnTo>
                  <a:pt x="101" y="112"/>
                </a:lnTo>
                <a:lnTo>
                  <a:pt x="101" y="113"/>
                </a:lnTo>
                <a:lnTo>
                  <a:pt x="100" y="113"/>
                </a:lnTo>
                <a:lnTo>
                  <a:pt x="99" y="112"/>
                </a:lnTo>
                <a:lnTo>
                  <a:pt x="97" y="112"/>
                </a:lnTo>
                <a:lnTo>
                  <a:pt x="97" y="113"/>
                </a:lnTo>
                <a:lnTo>
                  <a:pt x="96" y="114"/>
                </a:lnTo>
                <a:lnTo>
                  <a:pt x="96" y="115"/>
                </a:lnTo>
                <a:lnTo>
                  <a:pt x="95" y="114"/>
                </a:lnTo>
                <a:lnTo>
                  <a:pt x="94" y="112"/>
                </a:lnTo>
                <a:lnTo>
                  <a:pt x="91" y="111"/>
                </a:lnTo>
                <a:lnTo>
                  <a:pt x="90" y="108"/>
                </a:lnTo>
                <a:lnTo>
                  <a:pt x="88" y="107"/>
                </a:lnTo>
                <a:lnTo>
                  <a:pt x="84" y="107"/>
                </a:lnTo>
                <a:lnTo>
                  <a:pt x="84" y="106"/>
                </a:lnTo>
                <a:lnTo>
                  <a:pt x="82" y="106"/>
                </a:lnTo>
                <a:lnTo>
                  <a:pt x="81" y="107"/>
                </a:lnTo>
                <a:lnTo>
                  <a:pt x="80" y="106"/>
                </a:lnTo>
                <a:lnTo>
                  <a:pt x="80" y="102"/>
                </a:lnTo>
                <a:lnTo>
                  <a:pt x="78" y="101"/>
                </a:lnTo>
                <a:lnTo>
                  <a:pt x="78" y="100"/>
                </a:lnTo>
                <a:lnTo>
                  <a:pt x="77" y="99"/>
                </a:lnTo>
                <a:lnTo>
                  <a:pt x="78" y="96"/>
                </a:lnTo>
                <a:lnTo>
                  <a:pt x="78" y="92"/>
                </a:lnTo>
                <a:lnTo>
                  <a:pt x="75" y="92"/>
                </a:lnTo>
                <a:lnTo>
                  <a:pt x="74" y="90"/>
                </a:lnTo>
                <a:lnTo>
                  <a:pt x="74" y="88"/>
                </a:lnTo>
                <a:lnTo>
                  <a:pt x="72" y="87"/>
                </a:lnTo>
                <a:lnTo>
                  <a:pt x="72" y="88"/>
                </a:lnTo>
                <a:lnTo>
                  <a:pt x="71" y="88"/>
                </a:lnTo>
                <a:lnTo>
                  <a:pt x="71" y="89"/>
                </a:lnTo>
                <a:lnTo>
                  <a:pt x="70" y="89"/>
                </a:lnTo>
                <a:lnTo>
                  <a:pt x="70" y="87"/>
                </a:lnTo>
                <a:lnTo>
                  <a:pt x="71" y="87"/>
                </a:lnTo>
                <a:lnTo>
                  <a:pt x="71" y="84"/>
                </a:lnTo>
                <a:lnTo>
                  <a:pt x="70" y="82"/>
                </a:lnTo>
                <a:lnTo>
                  <a:pt x="70" y="78"/>
                </a:lnTo>
                <a:lnTo>
                  <a:pt x="71" y="77"/>
                </a:lnTo>
                <a:lnTo>
                  <a:pt x="72" y="77"/>
                </a:lnTo>
                <a:lnTo>
                  <a:pt x="72" y="76"/>
                </a:lnTo>
                <a:lnTo>
                  <a:pt x="71" y="75"/>
                </a:lnTo>
                <a:lnTo>
                  <a:pt x="72" y="74"/>
                </a:lnTo>
                <a:lnTo>
                  <a:pt x="75" y="75"/>
                </a:lnTo>
                <a:lnTo>
                  <a:pt x="76" y="75"/>
                </a:lnTo>
                <a:lnTo>
                  <a:pt x="77" y="74"/>
                </a:lnTo>
                <a:lnTo>
                  <a:pt x="80" y="74"/>
                </a:lnTo>
                <a:lnTo>
                  <a:pt x="82" y="75"/>
                </a:lnTo>
                <a:lnTo>
                  <a:pt x="83" y="75"/>
                </a:lnTo>
                <a:lnTo>
                  <a:pt x="83" y="74"/>
                </a:lnTo>
                <a:lnTo>
                  <a:pt x="82" y="72"/>
                </a:lnTo>
                <a:lnTo>
                  <a:pt x="83" y="71"/>
                </a:lnTo>
                <a:lnTo>
                  <a:pt x="84" y="71"/>
                </a:lnTo>
                <a:lnTo>
                  <a:pt x="86" y="72"/>
                </a:lnTo>
                <a:lnTo>
                  <a:pt x="87" y="72"/>
                </a:lnTo>
                <a:lnTo>
                  <a:pt x="84" y="70"/>
                </a:lnTo>
                <a:lnTo>
                  <a:pt x="83" y="70"/>
                </a:lnTo>
                <a:lnTo>
                  <a:pt x="82" y="71"/>
                </a:lnTo>
                <a:lnTo>
                  <a:pt x="81" y="70"/>
                </a:lnTo>
                <a:lnTo>
                  <a:pt x="74" y="70"/>
                </a:lnTo>
                <a:lnTo>
                  <a:pt x="74" y="71"/>
                </a:lnTo>
                <a:lnTo>
                  <a:pt x="70" y="71"/>
                </a:lnTo>
                <a:lnTo>
                  <a:pt x="68" y="72"/>
                </a:lnTo>
                <a:lnTo>
                  <a:pt x="69" y="69"/>
                </a:lnTo>
                <a:lnTo>
                  <a:pt x="71" y="69"/>
                </a:lnTo>
                <a:lnTo>
                  <a:pt x="72" y="68"/>
                </a:lnTo>
                <a:lnTo>
                  <a:pt x="69" y="64"/>
                </a:lnTo>
                <a:lnTo>
                  <a:pt x="69" y="63"/>
                </a:lnTo>
                <a:lnTo>
                  <a:pt x="68" y="61"/>
                </a:lnTo>
                <a:lnTo>
                  <a:pt x="68" y="59"/>
                </a:lnTo>
                <a:lnTo>
                  <a:pt x="69" y="58"/>
                </a:lnTo>
                <a:lnTo>
                  <a:pt x="71" y="58"/>
                </a:lnTo>
                <a:lnTo>
                  <a:pt x="72" y="57"/>
                </a:lnTo>
                <a:lnTo>
                  <a:pt x="75" y="57"/>
                </a:lnTo>
                <a:lnTo>
                  <a:pt x="76" y="56"/>
                </a:lnTo>
                <a:lnTo>
                  <a:pt x="76" y="52"/>
                </a:lnTo>
                <a:lnTo>
                  <a:pt x="75" y="52"/>
                </a:lnTo>
                <a:lnTo>
                  <a:pt x="75" y="53"/>
                </a:lnTo>
                <a:lnTo>
                  <a:pt x="74" y="53"/>
                </a:lnTo>
                <a:lnTo>
                  <a:pt x="74" y="56"/>
                </a:lnTo>
                <a:lnTo>
                  <a:pt x="72" y="56"/>
                </a:lnTo>
                <a:lnTo>
                  <a:pt x="72" y="55"/>
                </a:lnTo>
                <a:lnTo>
                  <a:pt x="69" y="53"/>
                </a:lnTo>
                <a:lnTo>
                  <a:pt x="68" y="51"/>
                </a:lnTo>
                <a:lnTo>
                  <a:pt x="69" y="51"/>
                </a:lnTo>
                <a:lnTo>
                  <a:pt x="68" y="50"/>
                </a:lnTo>
                <a:lnTo>
                  <a:pt x="69" y="49"/>
                </a:lnTo>
                <a:lnTo>
                  <a:pt x="70" y="46"/>
                </a:lnTo>
                <a:lnTo>
                  <a:pt x="71" y="46"/>
                </a:lnTo>
                <a:lnTo>
                  <a:pt x="72" y="47"/>
                </a:lnTo>
                <a:lnTo>
                  <a:pt x="72" y="43"/>
                </a:lnTo>
                <a:lnTo>
                  <a:pt x="70" y="35"/>
                </a:lnTo>
                <a:lnTo>
                  <a:pt x="72" y="34"/>
                </a:lnTo>
                <a:lnTo>
                  <a:pt x="75" y="34"/>
                </a:lnTo>
                <a:lnTo>
                  <a:pt x="76" y="33"/>
                </a:lnTo>
                <a:lnTo>
                  <a:pt x="77" y="33"/>
                </a:lnTo>
                <a:lnTo>
                  <a:pt x="77" y="32"/>
                </a:lnTo>
                <a:lnTo>
                  <a:pt x="78" y="32"/>
                </a:lnTo>
                <a:lnTo>
                  <a:pt x="81" y="34"/>
                </a:lnTo>
                <a:lnTo>
                  <a:pt x="82" y="34"/>
                </a:lnTo>
                <a:lnTo>
                  <a:pt x="82" y="32"/>
                </a:lnTo>
                <a:lnTo>
                  <a:pt x="81" y="32"/>
                </a:lnTo>
                <a:lnTo>
                  <a:pt x="82" y="31"/>
                </a:lnTo>
                <a:lnTo>
                  <a:pt x="82" y="29"/>
                </a:lnTo>
                <a:lnTo>
                  <a:pt x="86" y="29"/>
                </a:lnTo>
                <a:lnTo>
                  <a:pt x="88" y="31"/>
                </a:lnTo>
                <a:lnTo>
                  <a:pt x="90" y="31"/>
                </a:lnTo>
                <a:lnTo>
                  <a:pt x="91" y="29"/>
                </a:lnTo>
                <a:lnTo>
                  <a:pt x="94" y="29"/>
                </a:lnTo>
                <a:lnTo>
                  <a:pt x="96" y="32"/>
                </a:lnTo>
                <a:lnTo>
                  <a:pt x="96" y="28"/>
                </a:lnTo>
                <a:lnTo>
                  <a:pt x="94" y="25"/>
                </a:lnTo>
                <a:lnTo>
                  <a:pt x="94" y="21"/>
                </a:lnTo>
                <a:lnTo>
                  <a:pt x="96" y="21"/>
                </a:lnTo>
                <a:lnTo>
                  <a:pt x="100" y="25"/>
                </a:lnTo>
                <a:lnTo>
                  <a:pt x="102" y="25"/>
                </a:lnTo>
                <a:lnTo>
                  <a:pt x="102" y="24"/>
                </a:lnTo>
                <a:lnTo>
                  <a:pt x="101" y="21"/>
                </a:lnTo>
                <a:lnTo>
                  <a:pt x="100" y="21"/>
                </a:lnTo>
                <a:lnTo>
                  <a:pt x="101" y="20"/>
                </a:lnTo>
                <a:lnTo>
                  <a:pt x="105" y="20"/>
                </a:lnTo>
                <a:lnTo>
                  <a:pt x="106" y="19"/>
                </a:lnTo>
                <a:lnTo>
                  <a:pt x="107" y="15"/>
                </a:lnTo>
                <a:lnTo>
                  <a:pt x="109" y="14"/>
                </a:lnTo>
                <a:lnTo>
                  <a:pt x="111" y="14"/>
                </a:lnTo>
                <a:lnTo>
                  <a:pt x="112" y="15"/>
                </a:lnTo>
                <a:lnTo>
                  <a:pt x="113" y="18"/>
                </a:lnTo>
                <a:lnTo>
                  <a:pt x="114" y="18"/>
                </a:lnTo>
                <a:lnTo>
                  <a:pt x="115" y="16"/>
                </a:lnTo>
                <a:lnTo>
                  <a:pt x="116" y="16"/>
                </a:lnTo>
                <a:lnTo>
                  <a:pt x="119" y="18"/>
                </a:lnTo>
                <a:lnTo>
                  <a:pt x="120" y="18"/>
                </a:lnTo>
                <a:lnTo>
                  <a:pt x="120" y="16"/>
                </a:lnTo>
                <a:lnTo>
                  <a:pt x="119" y="16"/>
                </a:lnTo>
                <a:lnTo>
                  <a:pt x="119" y="15"/>
                </a:lnTo>
                <a:lnTo>
                  <a:pt x="120" y="15"/>
                </a:lnTo>
                <a:lnTo>
                  <a:pt x="121" y="14"/>
                </a:lnTo>
                <a:lnTo>
                  <a:pt x="121" y="13"/>
                </a:lnTo>
                <a:lnTo>
                  <a:pt x="124" y="15"/>
                </a:lnTo>
                <a:lnTo>
                  <a:pt x="124" y="18"/>
                </a:lnTo>
                <a:lnTo>
                  <a:pt x="125" y="18"/>
                </a:lnTo>
                <a:lnTo>
                  <a:pt x="126" y="16"/>
                </a:lnTo>
                <a:lnTo>
                  <a:pt x="127" y="14"/>
                </a:lnTo>
                <a:lnTo>
                  <a:pt x="127" y="12"/>
                </a:lnTo>
                <a:lnTo>
                  <a:pt x="126" y="12"/>
                </a:lnTo>
                <a:lnTo>
                  <a:pt x="126" y="8"/>
                </a:lnTo>
                <a:lnTo>
                  <a:pt x="127" y="7"/>
                </a:lnTo>
                <a:lnTo>
                  <a:pt x="128" y="8"/>
                </a:lnTo>
                <a:lnTo>
                  <a:pt x="131" y="12"/>
                </a:lnTo>
                <a:lnTo>
                  <a:pt x="132" y="13"/>
                </a:lnTo>
                <a:lnTo>
                  <a:pt x="136" y="12"/>
                </a:lnTo>
                <a:lnTo>
                  <a:pt x="137" y="12"/>
                </a:lnTo>
                <a:lnTo>
                  <a:pt x="138" y="13"/>
                </a:lnTo>
                <a:lnTo>
                  <a:pt x="140" y="13"/>
                </a:lnTo>
                <a:lnTo>
                  <a:pt x="139" y="10"/>
                </a:lnTo>
                <a:lnTo>
                  <a:pt x="142" y="10"/>
                </a:lnTo>
                <a:lnTo>
                  <a:pt x="143" y="12"/>
                </a:lnTo>
                <a:lnTo>
                  <a:pt x="152" y="14"/>
                </a:lnTo>
                <a:lnTo>
                  <a:pt x="152" y="12"/>
                </a:lnTo>
                <a:lnTo>
                  <a:pt x="153" y="10"/>
                </a:lnTo>
                <a:lnTo>
                  <a:pt x="158" y="10"/>
                </a:lnTo>
                <a:lnTo>
                  <a:pt x="158" y="9"/>
                </a:lnTo>
                <a:lnTo>
                  <a:pt x="157" y="9"/>
                </a:lnTo>
                <a:lnTo>
                  <a:pt x="156" y="8"/>
                </a:lnTo>
                <a:lnTo>
                  <a:pt x="156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2" name="Freeform 47">
            <a:extLst>
              <a:ext uri="{FF2B5EF4-FFF2-40B4-BE49-F238E27FC236}">
                <a16:creationId xmlns:a16="http://schemas.microsoft.com/office/drawing/2014/main" id="{76113421-F370-4F97-8985-153B486F0A73}"/>
              </a:ext>
            </a:extLst>
          </p:cNvPr>
          <p:cNvSpPr>
            <a:spLocks noEditPoints="1"/>
          </p:cNvSpPr>
          <p:nvPr/>
        </p:nvSpPr>
        <p:spPr bwMode="auto">
          <a:xfrm>
            <a:off x="1725785" y="3910542"/>
            <a:ext cx="431784" cy="349195"/>
          </a:xfrm>
          <a:custGeom>
            <a:avLst/>
            <a:gdLst/>
            <a:ahLst/>
            <a:cxnLst>
              <a:cxn ang="0">
                <a:pos x="101" y="217"/>
              </a:cxn>
              <a:cxn ang="0">
                <a:pos x="186" y="213"/>
              </a:cxn>
              <a:cxn ang="0">
                <a:pos x="176" y="204"/>
              </a:cxn>
              <a:cxn ang="0">
                <a:pos x="71" y="210"/>
              </a:cxn>
              <a:cxn ang="0">
                <a:pos x="23" y="198"/>
              </a:cxn>
              <a:cxn ang="0">
                <a:pos x="117" y="206"/>
              </a:cxn>
              <a:cxn ang="0">
                <a:pos x="20" y="203"/>
              </a:cxn>
              <a:cxn ang="0">
                <a:pos x="296" y="206"/>
              </a:cxn>
              <a:cxn ang="0">
                <a:pos x="68" y="176"/>
              </a:cxn>
              <a:cxn ang="0">
                <a:pos x="102" y="169"/>
              </a:cxn>
              <a:cxn ang="0">
                <a:pos x="111" y="171"/>
              </a:cxn>
              <a:cxn ang="0">
                <a:pos x="115" y="196"/>
              </a:cxn>
              <a:cxn ang="0">
                <a:pos x="87" y="198"/>
              </a:cxn>
              <a:cxn ang="0">
                <a:pos x="73" y="180"/>
              </a:cxn>
              <a:cxn ang="0">
                <a:pos x="190" y="167"/>
              </a:cxn>
              <a:cxn ang="0">
                <a:pos x="108" y="151"/>
              </a:cxn>
              <a:cxn ang="0">
                <a:pos x="183" y="127"/>
              </a:cxn>
              <a:cxn ang="0">
                <a:pos x="186" y="163"/>
              </a:cxn>
              <a:cxn ang="0">
                <a:pos x="170" y="197"/>
              </a:cxn>
              <a:cxn ang="0">
                <a:pos x="163" y="209"/>
              </a:cxn>
              <a:cxn ang="0">
                <a:pos x="164" y="240"/>
              </a:cxn>
              <a:cxn ang="0">
                <a:pos x="142" y="237"/>
              </a:cxn>
              <a:cxn ang="0">
                <a:pos x="140" y="219"/>
              </a:cxn>
              <a:cxn ang="0">
                <a:pos x="153" y="213"/>
              </a:cxn>
              <a:cxn ang="0">
                <a:pos x="153" y="194"/>
              </a:cxn>
              <a:cxn ang="0">
                <a:pos x="132" y="184"/>
              </a:cxn>
              <a:cxn ang="0">
                <a:pos x="127" y="163"/>
              </a:cxn>
              <a:cxn ang="0">
                <a:pos x="139" y="153"/>
              </a:cxn>
              <a:cxn ang="0">
                <a:pos x="153" y="142"/>
              </a:cxn>
              <a:cxn ang="0">
                <a:pos x="155" y="160"/>
              </a:cxn>
              <a:cxn ang="0">
                <a:pos x="161" y="160"/>
              </a:cxn>
              <a:cxn ang="0">
                <a:pos x="45" y="85"/>
              </a:cxn>
              <a:cxn ang="0">
                <a:pos x="147" y="83"/>
              </a:cxn>
              <a:cxn ang="0">
                <a:pos x="33" y="69"/>
              </a:cxn>
              <a:cxn ang="0">
                <a:pos x="20" y="74"/>
              </a:cxn>
              <a:cxn ang="0">
                <a:pos x="79" y="54"/>
              </a:cxn>
              <a:cxn ang="0">
                <a:pos x="127" y="38"/>
              </a:cxn>
              <a:cxn ang="0">
                <a:pos x="99" y="13"/>
              </a:cxn>
              <a:cxn ang="0">
                <a:pos x="95" y="81"/>
              </a:cxn>
              <a:cxn ang="0">
                <a:pos x="96" y="90"/>
              </a:cxn>
              <a:cxn ang="0">
                <a:pos x="109" y="117"/>
              </a:cxn>
              <a:cxn ang="0">
                <a:pos x="101" y="114"/>
              </a:cxn>
              <a:cxn ang="0">
                <a:pos x="89" y="143"/>
              </a:cxn>
              <a:cxn ang="0">
                <a:pos x="76" y="158"/>
              </a:cxn>
              <a:cxn ang="0">
                <a:pos x="60" y="173"/>
              </a:cxn>
              <a:cxn ang="0">
                <a:pos x="61" y="196"/>
              </a:cxn>
              <a:cxn ang="0">
                <a:pos x="70" y="210"/>
              </a:cxn>
              <a:cxn ang="0">
                <a:pos x="60" y="219"/>
              </a:cxn>
              <a:cxn ang="0">
                <a:pos x="24" y="203"/>
              </a:cxn>
              <a:cxn ang="0">
                <a:pos x="8" y="171"/>
              </a:cxn>
              <a:cxn ang="0">
                <a:pos x="9" y="146"/>
              </a:cxn>
              <a:cxn ang="0">
                <a:pos x="5" y="85"/>
              </a:cxn>
              <a:cxn ang="0">
                <a:pos x="28" y="92"/>
              </a:cxn>
              <a:cxn ang="0">
                <a:pos x="43" y="77"/>
              </a:cxn>
              <a:cxn ang="0">
                <a:pos x="49" y="92"/>
              </a:cxn>
              <a:cxn ang="0">
                <a:pos x="48" y="80"/>
              </a:cxn>
              <a:cxn ang="0">
                <a:pos x="64" y="61"/>
              </a:cxn>
              <a:cxn ang="0">
                <a:pos x="48" y="57"/>
              </a:cxn>
              <a:cxn ang="0">
                <a:pos x="25" y="62"/>
              </a:cxn>
              <a:cxn ang="0">
                <a:pos x="17" y="84"/>
              </a:cxn>
              <a:cxn ang="0">
                <a:pos x="16" y="57"/>
              </a:cxn>
              <a:cxn ang="0">
                <a:pos x="79" y="12"/>
              </a:cxn>
            </a:cxnLst>
            <a:rect l="0" t="0" r="r" b="b"/>
            <a:pathLst>
              <a:path w="298" h="241">
                <a:moveTo>
                  <a:pt x="77" y="216"/>
                </a:moveTo>
                <a:lnTo>
                  <a:pt x="79" y="219"/>
                </a:lnTo>
                <a:lnTo>
                  <a:pt x="80" y="219"/>
                </a:lnTo>
                <a:lnTo>
                  <a:pt x="79" y="220"/>
                </a:lnTo>
                <a:lnTo>
                  <a:pt x="78" y="219"/>
                </a:lnTo>
                <a:lnTo>
                  <a:pt x="77" y="219"/>
                </a:lnTo>
                <a:lnTo>
                  <a:pt x="76" y="217"/>
                </a:lnTo>
                <a:lnTo>
                  <a:pt x="77" y="216"/>
                </a:lnTo>
                <a:close/>
                <a:moveTo>
                  <a:pt x="89" y="212"/>
                </a:moveTo>
                <a:lnTo>
                  <a:pt x="90" y="212"/>
                </a:lnTo>
                <a:lnTo>
                  <a:pt x="93" y="214"/>
                </a:lnTo>
                <a:lnTo>
                  <a:pt x="95" y="215"/>
                </a:lnTo>
                <a:lnTo>
                  <a:pt x="95" y="216"/>
                </a:lnTo>
                <a:lnTo>
                  <a:pt x="96" y="216"/>
                </a:lnTo>
                <a:lnTo>
                  <a:pt x="96" y="217"/>
                </a:lnTo>
                <a:lnTo>
                  <a:pt x="97" y="217"/>
                </a:lnTo>
                <a:lnTo>
                  <a:pt x="97" y="215"/>
                </a:lnTo>
                <a:lnTo>
                  <a:pt x="98" y="216"/>
                </a:lnTo>
                <a:lnTo>
                  <a:pt x="98" y="219"/>
                </a:lnTo>
                <a:lnTo>
                  <a:pt x="101" y="219"/>
                </a:lnTo>
                <a:lnTo>
                  <a:pt x="101" y="217"/>
                </a:lnTo>
                <a:lnTo>
                  <a:pt x="102" y="217"/>
                </a:lnTo>
                <a:lnTo>
                  <a:pt x="102" y="220"/>
                </a:lnTo>
                <a:lnTo>
                  <a:pt x="103" y="220"/>
                </a:lnTo>
                <a:lnTo>
                  <a:pt x="99" y="221"/>
                </a:lnTo>
                <a:lnTo>
                  <a:pt x="98" y="222"/>
                </a:lnTo>
                <a:lnTo>
                  <a:pt x="97" y="222"/>
                </a:lnTo>
                <a:lnTo>
                  <a:pt x="90" y="214"/>
                </a:lnTo>
                <a:lnTo>
                  <a:pt x="89" y="212"/>
                </a:lnTo>
                <a:close/>
                <a:moveTo>
                  <a:pt x="154" y="204"/>
                </a:moveTo>
                <a:lnTo>
                  <a:pt x="155" y="206"/>
                </a:lnTo>
                <a:lnTo>
                  <a:pt x="154" y="206"/>
                </a:lnTo>
                <a:lnTo>
                  <a:pt x="154" y="204"/>
                </a:lnTo>
                <a:close/>
                <a:moveTo>
                  <a:pt x="176" y="204"/>
                </a:moveTo>
                <a:lnTo>
                  <a:pt x="177" y="204"/>
                </a:lnTo>
                <a:lnTo>
                  <a:pt x="178" y="207"/>
                </a:lnTo>
                <a:lnTo>
                  <a:pt x="183" y="207"/>
                </a:lnTo>
                <a:lnTo>
                  <a:pt x="186" y="208"/>
                </a:lnTo>
                <a:lnTo>
                  <a:pt x="188" y="209"/>
                </a:lnTo>
                <a:lnTo>
                  <a:pt x="189" y="212"/>
                </a:lnTo>
                <a:lnTo>
                  <a:pt x="189" y="213"/>
                </a:lnTo>
                <a:lnTo>
                  <a:pt x="186" y="213"/>
                </a:lnTo>
                <a:lnTo>
                  <a:pt x="182" y="212"/>
                </a:lnTo>
                <a:lnTo>
                  <a:pt x="180" y="213"/>
                </a:lnTo>
                <a:lnTo>
                  <a:pt x="178" y="213"/>
                </a:lnTo>
                <a:lnTo>
                  <a:pt x="177" y="214"/>
                </a:lnTo>
                <a:lnTo>
                  <a:pt x="174" y="217"/>
                </a:lnTo>
                <a:lnTo>
                  <a:pt x="173" y="217"/>
                </a:lnTo>
                <a:lnTo>
                  <a:pt x="170" y="216"/>
                </a:lnTo>
                <a:lnTo>
                  <a:pt x="170" y="215"/>
                </a:lnTo>
                <a:lnTo>
                  <a:pt x="171" y="215"/>
                </a:lnTo>
                <a:lnTo>
                  <a:pt x="171" y="213"/>
                </a:lnTo>
                <a:lnTo>
                  <a:pt x="172" y="212"/>
                </a:lnTo>
                <a:lnTo>
                  <a:pt x="173" y="212"/>
                </a:lnTo>
                <a:lnTo>
                  <a:pt x="173" y="210"/>
                </a:lnTo>
                <a:lnTo>
                  <a:pt x="174" y="210"/>
                </a:lnTo>
                <a:lnTo>
                  <a:pt x="174" y="212"/>
                </a:lnTo>
                <a:lnTo>
                  <a:pt x="176" y="212"/>
                </a:lnTo>
                <a:lnTo>
                  <a:pt x="177" y="210"/>
                </a:lnTo>
                <a:lnTo>
                  <a:pt x="177" y="208"/>
                </a:lnTo>
                <a:lnTo>
                  <a:pt x="178" y="208"/>
                </a:lnTo>
                <a:lnTo>
                  <a:pt x="176" y="206"/>
                </a:lnTo>
                <a:lnTo>
                  <a:pt x="176" y="204"/>
                </a:lnTo>
                <a:close/>
                <a:moveTo>
                  <a:pt x="153" y="204"/>
                </a:moveTo>
                <a:lnTo>
                  <a:pt x="154" y="204"/>
                </a:lnTo>
                <a:lnTo>
                  <a:pt x="153" y="204"/>
                </a:lnTo>
                <a:close/>
                <a:moveTo>
                  <a:pt x="68" y="203"/>
                </a:moveTo>
                <a:lnTo>
                  <a:pt x="72" y="203"/>
                </a:lnTo>
                <a:lnTo>
                  <a:pt x="74" y="207"/>
                </a:lnTo>
                <a:lnTo>
                  <a:pt x="76" y="207"/>
                </a:lnTo>
                <a:lnTo>
                  <a:pt x="78" y="208"/>
                </a:lnTo>
                <a:lnTo>
                  <a:pt x="79" y="208"/>
                </a:lnTo>
                <a:lnTo>
                  <a:pt x="80" y="209"/>
                </a:lnTo>
                <a:lnTo>
                  <a:pt x="81" y="212"/>
                </a:lnTo>
                <a:lnTo>
                  <a:pt x="81" y="213"/>
                </a:lnTo>
                <a:lnTo>
                  <a:pt x="84" y="217"/>
                </a:lnTo>
                <a:lnTo>
                  <a:pt x="83" y="219"/>
                </a:lnTo>
                <a:lnTo>
                  <a:pt x="80" y="219"/>
                </a:lnTo>
                <a:lnTo>
                  <a:pt x="77" y="215"/>
                </a:lnTo>
                <a:lnTo>
                  <a:pt x="76" y="215"/>
                </a:lnTo>
                <a:lnTo>
                  <a:pt x="76" y="216"/>
                </a:lnTo>
                <a:lnTo>
                  <a:pt x="73" y="216"/>
                </a:lnTo>
                <a:lnTo>
                  <a:pt x="71" y="214"/>
                </a:lnTo>
                <a:lnTo>
                  <a:pt x="71" y="210"/>
                </a:lnTo>
                <a:lnTo>
                  <a:pt x="73" y="213"/>
                </a:lnTo>
                <a:lnTo>
                  <a:pt x="74" y="213"/>
                </a:lnTo>
                <a:lnTo>
                  <a:pt x="74" y="212"/>
                </a:lnTo>
                <a:lnTo>
                  <a:pt x="72" y="210"/>
                </a:lnTo>
                <a:lnTo>
                  <a:pt x="72" y="208"/>
                </a:lnTo>
                <a:lnTo>
                  <a:pt x="67" y="208"/>
                </a:lnTo>
                <a:lnTo>
                  <a:pt x="67" y="207"/>
                </a:lnTo>
                <a:lnTo>
                  <a:pt x="68" y="206"/>
                </a:lnTo>
                <a:lnTo>
                  <a:pt x="65" y="206"/>
                </a:lnTo>
                <a:lnTo>
                  <a:pt x="68" y="203"/>
                </a:lnTo>
                <a:close/>
                <a:moveTo>
                  <a:pt x="149" y="202"/>
                </a:moveTo>
                <a:lnTo>
                  <a:pt x="152" y="203"/>
                </a:lnTo>
                <a:lnTo>
                  <a:pt x="153" y="204"/>
                </a:lnTo>
                <a:lnTo>
                  <a:pt x="151" y="204"/>
                </a:lnTo>
                <a:lnTo>
                  <a:pt x="149" y="203"/>
                </a:lnTo>
                <a:lnTo>
                  <a:pt x="149" y="202"/>
                </a:lnTo>
                <a:close/>
                <a:moveTo>
                  <a:pt x="23" y="198"/>
                </a:moveTo>
                <a:lnTo>
                  <a:pt x="24" y="200"/>
                </a:lnTo>
                <a:lnTo>
                  <a:pt x="23" y="198"/>
                </a:lnTo>
                <a:close/>
                <a:moveTo>
                  <a:pt x="21" y="198"/>
                </a:moveTo>
                <a:lnTo>
                  <a:pt x="23" y="198"/>
                </a:lnTo>
                <a:lnTo>
                  <a:pt x="21" y="198"/>
                </a:lnTo>
                <a:close/>
                <a:moveTo>
                  <a:pt x="121" y="197"/>
                </a:moveTo>
                <a:lnTo>
                  <a:pt x="121" y="198"/>
                </a:lnTo>
                <a:lnTo>
                  <a:pt x="120" y="207"/>
                </a:lnTo>
                <a:lnTo>
                  <a:pt x="116" y="214"/>
                </a:lnTo>
                <a:lnTo>
                  <a:pt x="112" y="227"/>
                </a:lnTo>
                <a:lnTo>
                  <a:pt x="111" y="228"/>
                </a:lnTo>
                <a:lnTo>
                  <a:pt x="110" y="228"/>
                </a:lnTo>
                <a:lnTo>
                  <a:pt x="109" y="223"/>
                </a:lnTo>
                <a:lnTo>
                  <a:pt x="108" y="223"/>
                </a:lnTo>
                <a:lnTo>
                  <a:pt x="108" y="222"/>
                </a:lnTo>
                <a:lnTo>
                  <a:pt x="107" y="221"/>
                </a:lnTo>
                <a:lnTo>
                  <a:pt x="108" y="221"/>
                </a:lnTo>
                <a:lnTo>
                  <a:pt x="109" y="220"/>
                </a:lnTo>
                <a:lnTo>
                  <a:pt x="109" y="217"/>
                </a:lnTo>
                <a:lnTo>
                  <a:pt x="111" y="217"/>
                </a:lnTo>
                <a:lnTo>
                  <a:pt x="111" y="216"/>
                </a:lnTo>
                <a:lnTo>
                  <a:pt x="110" y="216"/>
                </a:lnTo>
                <a:lnTo>
                  <a:pt x="110" y="214"/>
                </a:lnTo>
                <a:lnTo>
                  <a:pt x="115" y="209"/>
                </a:lnTo>
                <a:lnTo>
                  <a:pt x="117" y="206"/>
                </a:lnTo>
                <a:lnTo>
                  <a:pt x="117" y="204"/>
                </a:lnTo>
                <a:lnTo>
                  <a:pt x="118" y="201"/>
                </a:lnTo>
                <a:lnTo>
                  <a:pt x="121" y="197"/>
                </a:lnTo>
                <a:close/>
                <a:moveTo>
                  <a:pt x="80" y="196"/>
                </a:moveTo>
                <a:lnTo>
                  <a:pt x="81" y="198"/>
                </a:lnTo>
                <a:lnTo>
                  <a:pt x="81" y="200"/>
                </a:lnTo>
                <a:lnTo>
                  <a:pt x="80" y="200"/>
                </a:lnTo>
                <a:lnTo>
                  <a:pt x="80" y="196"/>
                </a:lnTo>
                <a:close/>
                <a:moveTo>
                  <a:pt x="80" y="195"/>
                </a:moveTo>
                <a:lnTo>
                  <a:pt x="80" y="196"/>
                </a:lnTo>
                <a:lnTo>
                  <a:pt x="79" y="196"/>
                </a:lnTo>
                <a:lnTo>
                  <a:pt x="80" y="195"/>
                </a:lnTo>
                <a:close/>
                <a:moveTo>
                  <a:pt x="17" y="195"/>
                </a:moveTo>
                <a:lnTo>
                  <a:pt x="21" y="195"/>
                </a:lnTo>
                <a:lnTo>
                  <a:pt x="22" y="196"/>
                </a:lnTo>
                <a:lnTo>
                  <a:pt x="21" y="196"/>
                </a:lnTo>
                <a:lnTo>
                  <a:pt x="20" y="197"/>
                </a:lnTo>
                <a:lnTo>
                  <a:pt x="20" y="198"/>
                </a:lnTo>
                <a:lnTo>
                  <a:pt x="21" y="198"/>
                </a:lnTo>
                <a:lnTo>
                  <a:pt x="20" y="200"/>
                </a:lnTo>
                <a:lnTo>
                  <a:pt x="20" y="203"/>
                </a:lnTo>
                <a:lnTo>
                  <a:pt x="18" y="203"/>
                </a:lnTo>
                <a:lnTo>
                  <a:pt x="18" y="204"/>
                </a:lnTo>
                <a:lnTo>
                  <a:pt x="17" y="204"/>
                </a:lnTo>
                <a:lnTo>
                  <a:pt x="16" y="203"/>
                </a:lnTo>
                <a:lnTo>
                  <a:pt x="16" y="196"/>
                </a:lnTo>
                <a:lnTo>
                  <a:pt x="17" y="195"/>
                </a:lnTo>
                <a:close/>
                <a:moveTo>
                  <a:pt x="282" y="186"/>
                </a:moveTo>
                <a:lnTo>
                  <a:pt x="284" y="189"/>
                </a:lnTo>
                <a:lnTo>
                  <a:pt x="284" y="190"/>
                </a:lnTo>
                <a:lnTo>
                  <a:pt x="285" y="191"/>
                </a:lnTo>
                <a:lnTo>
                  <a:pt x="288" y="192"/>
                </a:lnTo>
                <a:lnTo>
                  <a:pt x="289" y="194"/>
                </a:lnTo>
                <a:lnTo>
                  <a:pt x="291" y="194"/>
                </a:lnTo>
                <a:lnTo>
                  <a:pt x="291" y="195"/>
                </a:lnTo>
                <a:lnTo>
                  <a:pt x="295" y="198"/>
                </a:lnTo>
                <a:lnTo>
                  <a:pt x="297" y="198"/>
                </a:lnTo>
                <a:lnTo>
                  <a:pt x="298" y="200"/>
                </a:lnTo>
                <a:lnTo>
                  <a:pt x="297" y="201"/>
                </a:lnTo>
                <a:lnTo>
                  <a:pt x="298" y="202"/>
                </a:lnTo>
                <a:lnTo>
                  <a:pt x="298" y="203"/>
                </a:lnTo>
                <a:lnTo>
                  <a:pt x="296" y="206"/>
                </a:lnTo>
                <a:lnTo>
                  <a:pt x="296" y="209"/>
                </a:lnTo>
                <a:lnTo>
                  <a:pt x="295" y="210"/>
                </a:lnTo>
                <a:lnTo>
                  <a:pt x="292" y="209"/>
                </a:lnTo>
                <a:lnTo>
                  <a:pt x="291" y="209"/>
                </a:lnTo>
                <a:lnTo>
                  <a:pt x="289" y="208"/>
                </a:lnTo>
                <a:lnTo>
                  <a:pt x="285" y="207"/>
                </a:lnTo>
                <a:lnTo>
                  <a:pt x="283" y="206"/>
                </a:lnTo>
                <a:lnTo>
                  <a:pt x="279" y="203"/>
                </a:lnTo>
                <a:lnTo>
                  <a:pt x="278" y="202"/>
                </a:lnTo>
                <a:lnTo>
                  <a:pt x="279" y="201"/>
                </a:lnTo>
                <a:lnTo>
                  <a:pt x="279" y="191"/>
                </a:lnTo>
                <a:lnTo>
                  <a:pt x="281" y="190"/>
                </a:lnTo>
                <a:lnTo>
                  <a:pt x="281" y="189"/>
                </a:lnTo>
                <a:lnTo>
                  <a:pt x="282" y="188"/>
                </a:lnTo>
                <a:lnTo>
                  <a:pt x="282" y="186"/>
                </a:lnTo>
                <a:close/>
                <a:moveTo>
                  <a:pt x="68" y="174"/>
                </a:moveTo>
                <a:lnTo>
                  <a:pt x="70" y="176"/>
                </a:lnTo>
                <a:lnTo>
                  <a:pt x="71" y="176"/>
                </a:lnTo>
                <a:lnTo>
                  <a:pt x="72" y="177"/>
                </a:lnTo>
                <a:lnTo>
                  <a:pt x="70" y="177"/>
                </a:lnTo>
                <a:lnTo>
                  <a:pt x="68" y="176"/>
                </a:lnTo>
                <a:lnTo>
                  <a:pt x="68" y="174"/>
                </a:lnTo>
                <a:close/>
                <a:moveTo>
                  <a:pt x="12" y="174"/>
                </a:moveTo>
                <a:lnTo>
                  <a:pt x="14" y="174"/>
                </a:lnTo>
                <a:lnTo>
                  <a:pt x="14" y="177"/>
                </a:lnTo>
                <a:lnTo>
                  <a:pt x="16" y="177"/>
                </a:lnTo>
                <a:lnTo>
                  <a:pt x="16" y="183"/>
                </a:lnTo>
                <a:lnTo>
                  <a:pt x="17" y="184"/>
                </a:lnTo>
                <a:lnTo>
                  <a:pt x="16" y="184"/>
                </a:lnTo>
                <a:lnTo>
                  <a:pt x="14" y="182"/>
                </a:lnTo>
                <a:lnTo>
                  <a:pt x="12" y="177"/>
                </a:lnTo>
                <a:lnTo>
                  <a:pt x="12" y="174"/>
                </a:lnTo>
                <a:close/>
                <a:moveTo>
                  <a:pt x="92" y="164"/>
                </a:moveTo>
                <a:lnTo>
                  <a:pt x="92" y="166"/>
                </a:lnTo>
                <a:lnTo>
                  <a:pt x="93" y="166"/>
                </a:lnTo>
                <a:lnTo>
                  <a:pt x="93" y="164"/>
                </a:lnTo>
                <a:lnTo>
                  <a:pt x="95" y="164"/>
                </a:lnTo>
                <a:lnTo>
                  <a:pt x="98" y="166"/>
                </a:lnTo>
                <a:lnTo>
                  <a:pt x="98" y="167"/>
                </a:lnTo>
                <a:lnTo>
                  <a:pt x="99" y="167"/>
                </a:lnTo>
                <a:lnTo>
                  <a:pt x="99" y="169"/>
                </a:lnTo>
                <a:lnTo>
                  <a:pt x="102" y="169"/>
                </a:lnTo>
                <a:lnTo>
                  <a:pt x="103" y="170"/>
                </a:lnTo>
                <a:lnTo>
                  <a:pt x="101" y="170"/>
                </a:lnTo>
                <a:lnTo>
                  <a:pt x="101" y="171"/>
                </a:lnTo>
                <a:lnTo>
                  <a:pt x="102" y="172"/>
                </a:lnTo>
                <a:lnTo>
                  <a:pt x="98" y="176"/>
                </a:lnTo>
                <a:lnTo>
                  <a:pt x="99" y="177"/>
                </a:lnTo>
                <a:lnTo>
                  <a:pt x="101" y="177"/>
                </a:lnTo>
                <a:lnTo>
                  <a:pt x="102" y="174"/>
                </a:lnTo>
                <a:lnTo>
                  <a:pt x="105" y="173"/>
                </a:lnTo>
                <a:lnTo>
                  <a:pt x="107" y="173"/>
                </a:lnTo>
                <a:lnTo>
                  <a:pt x="107" y="172"/>
                </a:lnTo>
                <a:lnTo>
                  <a:pt x="105" y="171"/>
                </a:lnTo>
                <a:lnTo>
                  <a:pt x="105" y="170"/>
                </a:lnTo>
                <a:lnTo>
                  <a:pt x="107" y="171"/>
                </a:lnTo>
                <a:lnTo>
                  <a:pt x="107" y="164"/>
                </a:lnTo>
                <a:lnTo>
                  <a:pt x="108" y="164"/>
                </a:lnTo>
                <a:lnTo>
                  <a:pt x="109" y="165"/>
                </a:lnTo>
                <a:lnTo>
                  <a:pt x="110" y="169"/>
                </a:lnTo>
                <a:lnTo>
                  <a:pt x="110" y="170"/>
                </a:lnTo>
                <a:lnTo>
                  <a:pt x="111" y="170"/>
                </a:lnTo>
                <a:lnTo>
                  <a:pt x="111" y="171"/>
                </a:lnTo>
                <a:lnTo>
                  <a:pt x="112" y="172"/>
                </a:lnTo>
                <a:lnTo>
                  <a:pt x="112" y="173"/>
                </a:lnTo>
                <a:lnTo>
                  <a:pt x="111" y="173"/>
                </a:lnTo>
                <a:lnTo>
                  <a:pt x="109" y="176"/>
                </a:lnTo>
                <a:lnTo>
                  <a:pt x="105" y="174"/>
                </a:lnTo>
                <a:lnTo>
                  <a:pt x="105" y="176"/>
                </a:lnTo>
                <a:lnTo>
                  <a:pt x="104" y="176"/>
                </a:lnTo>
                <a:lnTo>
                  <a:pt x="104" y="177"/>
                </a:lnTo>
                <a:lnTo>
                  <a:pt x="105" y="177"/>
                </a:lnTo>
                <a:lnTo>
                  <a:pt x="105" y="176"/>
                </a:lnTo>
                <a:lnTo>
                  <a:pt x="110" y="176"/>
                </a:lnTo>
                <a:lnTo>
                  <a:pt x="110" y="177"/>
                </a:lnTo>
                <a:lnTo>
                  <a:pt x="115" y="183"/>
                </a:lnTo>
                <a:lnTo>
                  <a:pt x="116" y="186"/>
                </a:lnTo>
                <a:lnTo>
                  <a:pt x="116" y="188"/>
                </a:lnTo>
                <a:lnTo>
                  <a:pt x="115" y="188"/>
                </a:lnTo>
                <a:lnTo>
                  <a:pt x="115" y="186"/>
                </a:lnTo>
                <a:lnTo>
                  <a:pt x="114" y="186"/>
                </a:lnTo>
                <a:lnTo>
                  <a:pt x="114" y="189"/>
                </a:lnTo>
                <a:lnTo>
                  <a:pt x="115" y="191"/>
                </a:lnTo>
                <a:lnTo>
                  <a:pt x="115" y="196"/>
                </a:lnTo>
                <a:lnTo>
                  <a:pt x="114" y="197"/>
                </a:lnTo>
                <a:lnTo>
                  <a:pt x="114" y="200"/>
                </a:lnTo>
                <a:lnTo>
                  <a:pt x="112" y="202"/>
                </a:lnTo>
                <a:lnTo>
                  <a:pt x="112" y="203"/>
                </a:lnTo>
                <a:lnTo>
                  <a:pt x="111" y="204"/>
                </a:lnTo>
                <a:lnTo>
                  <a:pt x="107" y="204"/>
                </a:lnTo>
                <a:lnTo>
                  <a:pt x="104" y="207"/>
                </a:lnTo>
                <a:lnTo>
                  <a:pt x="103" y="207"/>
                </a:lnTo>
                <a:lnTo>
                  <a:pt x="101" y="206"/>
                </a:lnTo>
                <a:lnTo>
                  <a:pt x="97" y="206"/>
                </a:lnTo>
                <a:lnTo>
                  <a:pt x="97" y="204"/>
                </a:lnTo>
                <a:lnTo>
                  <a:pt x="95" y="204"/>
                </a:lnTo>
                <a:lnTo>
                  <a:pt x="91" y="202"/>
                </a:lnTo>
                <a:lnTo>
                  <a:pt x="90" y="202"/>
                </a:lnTo>
                <a:lnTo>
                  <a:pt x="89" y="203"/>
                </a:lnTo>
                <a:lnTo>
                  <a:pt x="89" y="204"/>
                </a:lnTo>
                <a:lnTo>
                  <a:pt x="86" y="202"/>
                </a:lnTo>
                <a:lnTo>
                  <a:pt x="84" y="203"/>
                </a:lnTo>
                <a:lnTo>
                  <a:pt x="84" y="202"/>
                </a:lnTo>
                <a:lnTo>
                  <a:pt x="87" y="200"/>
                </a:lnTo>
                <a:lnTo>
                  <a:pt x="87" y="198"/>
                </a:lnTo>
                <a:lnTo>
                  <a:pt x="86" y="198"/>
                </a:lnTo>
                <a:lnTo>
                  <a:pt x="86" y="197"/>
                </a:lnTo>
                <a:lnTo>
                  <a:pt x="85" y="196"/>
                </a:lnTo>
                <a:lnTo>
                  <a:pt x="85" y="195"/>
                </a:lnTo>
                <a:lnTo>
                  <a:pt x="84" y="196"/>
                </a:lnTo>
                <a:lnTo>
                  <a:pt x="83" y="196"/>
                </a:lnTo>
                <a:lnTo>
                  <a:pt x="81" y="195"/>
                </a:lnTo>
                <a:lnTo>
                  <a:pt x="80" y="195"/>
                </a:lnTo>
                <a:lnTo>
                  <a:pt x="80" y="194"/>
                </a:lnTo>
                <a:lnTo>
                  <a:pt x="79" y="194"/>
                </a:lnTo>
                <a:lnTo>
                  <a:pt x="78" y="192"/>
                </a:lnTo>
                <a:lnTo>
                  <a:pt x="77" y="192"/>
                </a:lnTo>
                <a:lnTo>
                  <a:pt x="77" y="191"/>
                </a:lnTo>
                <a:lnTo>
                  <a:pt x="76" y="190"/>
                </a:lnTo>
                <a:lnTo>
                  <a:pt x="77" y="189"/>
                </a:lnTo>
                <a:lnTo>
                  <a:pt x="77" y="188"/>
                </a:lnTo>
                <a:lnTo>
                  <a:pt x="76" y="186"/>
                </a:lnTo>
                <a:lnTo>
                  <a:pt x="76" y="183"/>
                </a:lnTo>
                <a:lnTo>
                  <a:pt x="72" y="183"/>
                </a:lnTo>
                <a:lnTo>
                  <a:pt x="72" y="180"/>
                </a:lnTo>
                <a:lnTo>
                  <a:pt x="73" y="180"/>
                </a:lnTo>
                <a:lnTo>
                  <a:pt x="74" y="179"/>
                </a:lnTo>
                <a:lnTo>
                  <a:pt x="73" y="179"/>
                </a:lnTo>
                <a:lnTo>
                  <a:pt x="73" y="177"/>
                </a:lnTo>
                <a:lnTo>
                  <a:pt x="68" y="173"/>
                </a:lnTo>
                <a:lnTo>
                  <a:pt x="67" y="172"/>
                </a:lnTo>
                <a:lnTo>
                  <a:pt x="68" y="172"/>
                </a:lnTo>
                <a:lnTo>
                  <a:pt x="68" y="171"/>
                </a:lnTo>
                <a:lnTo>
                  <a:pt x="71" y="169"/>
                </a:lnTo>
                <a:lnTo>
                  <a:pt x="73" y="169"/>
                </a:lnTo>
                <a:lnTo>
                  <a:pt x="73" y="170"/>
                </a:lnTo>
                <a:lnTo>
                  <a:pt x="76" y="172"/>
                </a:lnTo>
                <a:lnTo>
                  <a:pt x="90" y="165"/>
                </a:lnTo>
                <a:lnTo>
                  <a:pt x="91" y="165"/>
                </a:lnTo>
                <a:lnTo>
                  <a:pt x="92" y="164"/>
                </a:lnTo>
                <a:close/>
                <a:moveTo>
                  <a:pt x="190" y="158"/>
                </a:moveTo>
                <a:lnTo>
                  <a:pt x="191" y="158"/>
                </a:lnTo>
                <a:lnTo>
                  <a:pt x="194" y="165"/>
                </a:lnTo>
                <a:lnTo>
                  <a:pt x="192" y="166"/>
                </a:lnTo>
                <a:lnTo>
                  <a:pt x="191" y="166"/>
                </a:lnTo>
                <a:lnTo>
                  <a:pt x="191" y="167"/>
                </a:lnTo>
                <a:lnTo>
                  <a:pt x="190" y="167"/>
                </a:lnTo>
                <a:lnTo>
                  <a:pt x="190" y="169"/>
                </a:lnTo>
                <a:lnTo>
                  <a:pt x="189" y="169"/>
                </a:lnTo>
                <a:lnTo>
                  <a:pt x="188" y="167"/>
                </a:lnTo>
                <a:lnTo>
                  <a:pt x="188" y="163"/>
                </a:lnTo>
                <a:lnTo>
                  <a:pt x="190" y="160"/>
                </a:lnTo>
                <a:lnTo>
                  <a:pt x="190" y="158"/>
                </a:lnTo>
                <a:close/>
                <a:moveTo>
                  <a:pt x="165" y="158"/>
                </a:moveTo>
                <a:lnTo>
                  <a:pt x="166" y="158"/>
                </a:lnTo>
                <a:lnTo>
                  <a:pt x="167" y="159"/>
                </a:lnTo>
                <a:lnTo>
                  <a:pt x="165" y="159"/>
                </a:lnTo>
                <a:lnTo>
                  <a:pt x="165" y="158"/>
                </a:lnTo>
                <a:close/>
                <a:moveTo>
                  <a:pt x="105" y="140"/>
                </a:moveTo>
                <a:lnTo>
                  <a:pt x="107" y="140"/>
                </a:lnTo>
                <a:lnTo>
                  <a:pt x="108" y="141"/>
                </a:lnTo>
                <a:lnTo>
                  <a:pt x="107" y="141"/>
                </a:lnTo>
                <a:lnTo>
                  <a:pt x="107" y="143"/>
                </a:lnTo>
                <a:lnTo>
                  <a:pt x="108" y="145"/>
                </a:lnTo>
                <a:lnTo>
                  <a:pt x="109" y="143"/>
                </a:lnTo>
                <a:lnTo>
                  <a:pt x="109" y="145"/>
                </a:lnTo>
                <a:lnTo>
                  <a:pt x="108" y="146"/>
                </a:lnTo>
                <a:lnTo>
                  <a:pt x="108" y="151"/>
                </a:lnTo>
                <a:lnTo>
                  <a:pt x="105" y="153"/>
                </a:lnTo>
                <a:lnTo>
                  <a:pt x="104" y="153"/>
                </a:lnTo>
                <a:lnTo>
                  <a:pt x="103" y="151"/>
                </a:lnTo>
                <a:lnTo>
                  <a:pt x="103" y="146"/>
                </a:lnTo>
                <a:lnTo>
                  <a:pt x="104" y="146"/>
                </a:lnTo>
                <a:lnTo>
                  <a:pt x="104" y="145"/>
                </a:lnTo>
                <a:lnTo>
                  <a:pt x="105" y="143"/>
                </a:lnTo>
                <a:lnTo>
                  <a:pt x="105" y="140"/>
                </a:lnTo>
                <a:close/>
                <a:moveTo>
                  <a:pt x="103" y="135"/>
                </a:moveTo>
                <a:lnTo>
                  <a:pt x="104" y="135"/>
                </a:lnTo>
                <a:lnTo>
                  <a:pt x="104" y="139"/>
                </a:lnTo>
                <a:lnTo>
                  <a:pt x="105" y="140"/>
                </a:lnTo>
                <a:lnTo>
                  <a:pt x="103" y="140"/>
                </a:lnTo>
                <a:lnTo>
                  <a:pt x="103" y="135"/>
                </a:lnTo>
                <a:close/>
                <a:moveTo>
                  <a:pt x="2" y="134"/>
                </a:moveTo>
                <a:lnTo>
                  <a:pt x="3" y="135"/>
                </a:lnTo>
                <a:lnTo>
                  <a:pt x="2" y="135"/>
                </a:lnTo>
                <a:lnTo>
                  <a:pt x="2" y="134"/>
                </a:lnTo>
                <a:close/>
                <a:moveTo>
                  <a:pt x="176" y="126"/>
                </a:moveTo>
                <a:lnTo>
                  <a:pt x="179" y="126"/>
                </a:lnTo>
                <a:lnTo>
                  <a:pt x="183" y="127"/>
                </a:lnTo>
                <a:lnTo>
                  <a:pt x="185" y="127"/>
                </a:lnTo>
                <a:lnTo>
                  <a:pt x="188" y="129"/>
                </a:lnTo>
                <a:lnTo>
                  <a:pt x="189" y="129"/>
                </a:lnTo>
                <a:lnTo>
                  <a:pt x="191" y="131"/>
                </a:lnTo>
                <a:lnTo>
                  <a:pt x="191" y="133"/>
                </a:lnTo>
                <a:lnTo>
                  <a:pt x="189" y="135"/>
                </a:lnTo>
                <a:lnTo>
                  <a:pt x="189" y="136"/>
                </a:lnTo>
                <a:lnTo>
                  <a:pt x="188" y="140"/>
                </a:lnTo>
                <a:lnTo>
                  <a:pt x="186" y="140"/>
                </a:lnTo>
                <a:lnTo>
                  <a:pt x="186" y="141"/>
                </a:lnTo>
                <a:lnTo>
                  <a:pt x="189" y="143"/>
                </a:lnTo>
                <a:lnTo>
                  <a:pt x="189" y="146"/>
                </a:lnTo>
                <a:lnTo>
                  <a:pt x="190" y="148"/>
                </a:lnTo>
                <a:lnTo>
                  <a:pt x="190" y="149"/>
                </a:lnTo>
                <a:lnTo>
                  <a:pt x="191" y="151"/>
                </a:lnTo>
                <a:lnTo>
                  <a:pt x="190" y="151"/>
                </a:lnTo>
                <a:lnTo>
                  <a:pt x="190" y="155"/>
                </a:lnTo>
                <a:lnTo>
                  <a:pt x="191" y="157"/>
                </a:lnTo>
                <a:lnTo>
                  <a:pt x="190" y="158"/>
                </a:lnTo>
                <a:lnTo>
                  <a:pt x="188" y="161"/>
                </a:lnTo>
                <a:lnTo>
                  <a:pt x="186" y="163"/>
                </a:lnTo>
                <a:lnTo>
                  <a:pt x="186" y="164"/>
                </a:lnTo>
                <a:lnTo>
                  <a:pt x="185" y="164"/>
                </a:lnTo>
                <a:lnTo>
                  <a:pt x="185" y="165"/>
                </a:lnTo>
                <a:lnTo>
                  <a:pt x="184" y="164"/>
                </a:lnTo>
                <a:lnTo>
                  <a:pt x="183" y="164"/>
                </a:lnTo>
                <a:lnTo>
                  <a:pt x="179" y="165"/>
                </a:lnTo>
                <a:lnTo>
                  <a:pt x="176" y="169"/>
                </a:lnTo>
                <a:lnTo>
                  <a:pt x="173" y="173"/>
                </a:lnTo>
                <a:lnTo>
                  <a:pt x="174" y="177"/>
                </a:lnTo>
                <a:lnTo>
                  <a:pt x="177" y="179"/>
                </a:lnTo>
                <a:lnTo>
                  <a:pt x="180" y="179"/>
                </a:lnTo>
                <a:lnTo>
                  <a:pt x="184" y="183"/>
                </a:lnTo>
                <a:lnTo>
                  <a:pt x="184" y="186"/>
                </a:lnTo>
                <a:lnTo>
                  <a:pt x="185" y="188"/>
                </a:lnTo>
                <a:lnTo>
                  <a:pt x="184" y="189"/>
                </a:lnTo>
                <a:lnTo>
                  <a:pt x="182" y="190"/>
                </a:lnTo>
                <a:lnTo>
                  <a:pt x="173" y="192"/>
                </a:lnTo>
                <a:lnTo>
                  <a:pt x="172" y="194"/>
                </a:lnTo>
                <a:lnTo>
                  <a:pt x="171" y="194"/>
                </a:lnTo>
                <a:lnTo>
                  <a:pt x="171" y="195"/>
                </a:lnTo>
                <a:lnTo>
                  <a:pt x="170" y="197"/>
                </a:lnTo>
                <a:lnTo>
                  <a:pt x="170" y="198"/>
                </a:lnTo>
                <a:lnTo>
                  <a:pt x="168" y="198"/>
                </a:lnTo>
                <a:lnTo>
                  <a:pt x="168" y="196"/>
                </a:lnTo>
                <a:lnTo>
                  <a:pt x="166" y="196"/>
                </a:lnTo>
                <a:lnTo>
                  <a:pt x="166" y="198"/>
                </a:lnTo>
                <a:lnTo>
                  <a:pt x="167" y="198"/>
                </a:lnTo>
                <a:lnTo>
                  <a:pt x="171" y="200"/>
                </a:lnTo>
                <a:lnTo>
                  <a:pt x="172" y="200"/>
                </a:lnTo>
                <a:lnTo>
                  <a:pt x="173" y="202"/>
                </a:lnTo>
                <a:lnTo>
                  <a:pt x="172" y="202"/>
                </a:lnTo>
                <a:lnTo>
                  <a:pt x="172" y="203"/>
                </a:lnTo>
                <a:lnTo>
                  <a:pt x="171" y="203"/>
                </a:lnTo>
                <a:lnTo>
                  <a:pt x="170" y="204"/>
                </a:lnTo>
                <a:lnTo>
                  <a:pt x="171" y="204"/>
                </a:lnTo>
                <a:lnTo>
                  <a:pt x="172" y="208"/>
                </a:lnTo>
                <a:lnTo>
                  <a:pt x="172" y="209"/>
                </a:lnTo>
                <a:lnTo>
                  <a:pt x="171" y="210"/>
                </a:lnTo>
                <a:lnTo>
                  <a:pt x="168" y="210"/>
                </a:lnTo>
                <a:lnTo>
                  <a:pt x="167" y="212"/>
                </a:lnTo>
                <a:lnTo>
                  <a:pt x="165" y="212"/>
                </a:lnTo>
                <a:lnTo>
                  <a:pt x="163" y="209"/>
                </a:lnTo>
                <a:lnTo>
                  <a:pt x="161" y="209"/>
                </a:lnTo>
                <a:lnTo>
                  <a:pt x="161" y="212"/>
                </a:lnTo>
                <a:lnTo>
                  <a:pt x="160" y="213"/>
                </a:lnTo>
                <a:lnTo>
                  <a:pt x="160" y="214"/>
                </a:lnTo>
                <a:lnTo>
                  <a:pt x="161" y="215"/>
                </a:lnTo>
                <a:lnTo>
                  <a:pt x="163" y="215"/>
                </a:lnTo>
                <a:lnTo>
                  <a:pt x="163" y="214"/>
                </a:lnTo>
                <a:lnTo>
                  <a:pt x="164" y="213"/>
                </a:lnTo>
                <a:lnTo>
                  <a:pt x="164" y="214"/>
                </a:lnTo>
                <a:lnTo>
                  <a:pt x="167" y="217"/>
                </a:lnTo>
                <a:lnTo>
                  <a:pt x="168" y="216"/>
                </a:lnTo>
                <a:lnTo>
                  <a:pt x="170" y="216"/>
                </a:lnTo>
                <a:lnTo>
                  <a:pt x="170" y="217"/>
                </a:lnTo>
                <a:lnTo>
                  <a:pt x="171" y="219"/>
                </a:lnTo>
                <a:lnTo>
                  <a:pt x="172" y="221"/>
                </a:lnTo>
                <a:lnTo>
                  <a:pt x="168" y="225"/>
                </a:lnTo>
                <a:lnTo>
                  <a:pt x="166" y="228"/>
                </a:lnTo>
                <a:lnTo>
                  <a:pt x="166" y="229"/>
                </a:lnTo>
                <a:lnTo>
                  <a:pt x="165" y="231"/>
                </a:lnTo>
                <a:lnTo>
                  <a:pt x="164" y="231"/>
                </a:lnTo>
                <a:lnTo>
                  <a:pt x="164" y="240"/>
                </a:lnTo>
                <a:lnTo>
                  <a:pt x="163" y="241"/>
                </a:lnTo>
                <a:lnTo>
                  <a:pt x="163" y="239"/>
                </a:lnTo>
                <a:lnTo>
                  <a:pt x="161" y="238"/>
                </a:lnTo>
                <a:lnTo>
                  <a:pt x="160" y="235"/>
                </a:lnTo>
                <a:lnTo>
                  <a:pt x="160" y="232"/>
                </a:lnTo>
                <a:lnTo>
                  <a:pt x="161" y="229"/>
                </a:lnTo>
                <a:lnTo>
                  <a:pt x="160" y="229"/>
                </a:lnTo>
                <a:lnTo>
                  <a:pt x="160" y="227"/>
                </a:lnTo>
                <a:lnTo>
                  <a:pt x="159" y="227"/>
                </a:lnTo>
                <a:lnTo>
                  <a:pt x="159" y="229"/>
                </a:lnTo>
                <a:lnTo>
                  <a:pt x="158" y="229"/>
                </a:lnTo>
                <a:lnTo>
                  <a:pt x="157" y="231"/>
                </a:lnTo>
                <a:lnTo>
                  <a:pt x="159" y="232"/>
                </a:lnTo>
                <a:lnTo>
                  <a:pt x="159" y="233"/>
                </a:lnTo>
                <a:lnTo>
                  <a:pt x="158" y="234"/>
                </a:lnTo>
                <a:lnTo>
                  <a:pt x="155" y="235"/>
                </a:lnTo>
                <a:lnTo>
                  <a:pt x="148" y="234"/>
                </a:lnTo>
                <a:lnTo>
                  <a:pt x="147" y="234"/>
                </a:lnTo>
                <a:lnTo>
                  <a:pt x="145" y="235"/>
                </a:lnTo>
                <a:lnTo>
                  <a:pt x="143" y="237"/>
                </a:lnTo>
                <a:lnTo>
                  <a:pt x="142" y="237"/>
                </a:lnTo>
                <a:lnTo>
                  <a:pt x="135" y="232"/>
                </a:lnTo>
                <a:lnTo>
                  <a:pt x="130" y="229"/>
                </a:lnTo>
                <a:lnTo>
                  <a:pt x="129" y="228"/>
                </a:lnTo>
                <a:lnTo>
                  <a:pt x="127" y="227"/>
                </a:lnTo>
                <a:lnTo>
                  <a:pt x="124" y="227"/>
                </a:lnTo>
                <a:lnTo>
                  <a:pt x="123" y="226"/>
                </a:lnTo>
                <a:lnTo>
                  <a:pt x="123" y="223"/>
                </a:lnTo>
                <a:lnTo>
                  <a:pt x="127" y="223"/>
                </a:lnTo>
                <a:lnTo>
                  <a:pt x="128" y="221"/>
                </a:lnTo>
                <a:lnTo>
                  <a:pt x="127" y="221"/>
                </a:lnTo>
                <a:lnTo>
                  <a:pt x="124" y="219"/>
                </a:lnTo>
                <a:lnTo>
                  <a:pt x="124" y="215"/>
                </a:lnTo>
                <a:lnTo>
                  <a:pt x="126" y="213"/>
                </a:lnTo>
                <a:lnTo>
                  <a:pt x="127" y="214"/>
                </a:lnTo>
                <a:lnTo>
                  <a:pt x="133" y="213"/>
                </a:lnTo>
                <a:lnTo>
                  <a:pt x="134" y="213"/>
                </a:lnTo>
                <a:lnTo>
                  <a:pt x="136" y="214"/>
                </a:lnTo>
                <a:lnTo>
                  <a:pt x="136" y="215"/>
                </a:lnTo>
                <a:lnTo>
                  <a:pt x="138" y="215"/>
                </a:lnTo>
                <a:lnTo>
                  <a:pt x="139" y="217"/>
                </a:lnTo>
                <a:lnTo>
                  <a:pt x="140" y="219"/>
                </a:lnTo>
                <a:lnTo>
                  <a:pt x="141" y="219"/>
                </a:lnTo>
                <a:lnTo>
                  <a:pt x="148" y="223"/>
                </a:lnTo>
                <a:lnTo>
                  <a:pt x="148" y="222"/>
                </a:lnTo>
                <a:lnTo>
                  <a:pt x="147" y="221"/>
                </a:lnTo>
                <a:lnTo>
                  <a:pt x="147" y="220"/>
                </a:lnTo>
                <a:lnTo>
                  <a:pt x="149" y="220"/>
                </a:lnTo>
                <a:lnTo>
                  <a:pt x="151" y="219"/>
                </a:lnTo>
                <a:lnTo>
                  <a:pt x="151" y="215"/>
                </a:lnTo>
                <a:lnTo>
                  <a:pt x="154" y="219"/>
                </a:lnTo>
                <a:lnTo>
                  <a:pt x="154" y="220"/>
                </a:lnTo>
                <a:lnTo>
                  <a:pt x="155" y="221"/>
                </a:lnTo>
                <a:lnTo>
                  <a:pt x="157" y="221"/>
                </a:lnTo>
                <a:lnTo>
                  <a:pt x="155" y="222"/>
                </a:lnTo>
                <a:lnTo>
                  <a:pt x="159" y="226"/>
                </a:lnTo>
                <a:lnTo>
                  <a:pt x="159" y="225"/>
                </a:lnTo>
                <a:lnTo>
                  <a:pt x="157" y="223"/>
                </a:lnTo>
                <a:lnTo>
                  <a:pt x="157" y="221"/>
                </a:lnTo>
                <a:lnTo>
                  <a:pt x="154" y="219"/>
                </a:lnTo>
                <a:lnTo>
                  <a:pt x="154" y="214"/>
                </a:lnTo>
                <a:lnTo>
                  <a:pt x="153" y="214"/>
                </a:lnTo>
                <a:lnTo>
                  <a:pt x="153" y="213"/>
                </a:lnTo>
                <a:lnTo>
                  <a:pt x="154" y="212"/>
                </a:lnTo>
                <a:lnTo>
                  <a:pt x="155" y="212"/>
                </a:lnTo>
                <a:lnTo>
                  <a:pt x="157" y="213"/>
                </a:lnTo>
                <a:lnTo>
                  <a:pt x="158" y="213"/>
                </a:lnTo>
                <a:lnTo>
                  <a:pt x="159" y="212"/>
                </a:lnTo>
                <a:lnTo>
                  <a:pt x="160" y="212"/>
                </a:lnTo>
                <a:lnTo>
                  <a:pt x="160" y="210"/>
                </a:lnTo>
                <a:lnTo>
                  <a:pt x="159" y="208"/>
                </a:lnTo>
                <a:lnTo>
                  <a:pt x="159" y="207"/>
                </a:lnTo>
                <a:lnTo>
                  <a:pt x="155" y="206"/>
                </a:lnTo>
                <a:lnTo>
                  <a:pt x="158" y="206"/>
                </a:lnTo>
                <a:lnTo>
                  <a:pt x="154" y="202"/>
                </a:lnTo>
                <a:lnTo>
                  <a:pt x="153" y="200"/>
                </a:lnTo>
                <a:lnTo>
                  <a:pt x="158" y="200"/>
                </a:lnTo>
                <a:lnTo>
                  <a:pt x="157" y="198"/>
                </a:lnTo>
                <a:lnTo>
                  <a:pt x="157" y="197"/>
                </a:lnTo>
                <a:lnTo>
                  <a:pt x="154" y="198"/>
                </a:lnTo>
                <a:lnTo>
                  <a:pt x="153" y="197"/>
                </a:lnTo>
                <a:lnTo>
                  <a:pt x="154" y="196"/>
                </a:lnTo>
                <a:lnTo>
                  <a:pt x="154" y="195"/>
                </a:lnTo>
                <a:lnTo>
                  <a:pt x="153" y="194"/>
                </a:lnTo>
                <a:lnTo>
                  <a:pt x="152" y="194"/>
                </a:lnTo>
                <a:lnTo>
                  <a:pt x="152" y="195"/>
                </a:lnTo>
                <a:lnTo>
                  <a:pt x="151" y="196"/>
                </a:lnTo>
                <a:lnTo>
                  <a:pt x="149" y="196"/>
                </a:lnTo>
                <a:lnTo>
                  <a:pt x="148" y="195"/>
                </a:lnTo>
                <a:lnTo>
                  <a:pt x="145" y="195"/>
                </a:lnTo>
                <a:lnTo>
                  <a:pt x="145" y="194"/>
                </a:lnTo>
                <a:lnTo>
                  <a:pt x="143" y="195"/>
                </a:lnTo>
                <a:lnTo>
                  <a:pt x="141" y="192"/>
                </a:lnTo>
                <a:lnTo>
                  <a:pt x="140" y="194"/>
                </a:lnTo>
                <a:lnTo>
                  <a:pt x="135" y="194"/>
                </a:lnTo>
                <a:lnTo>
                  <a:pt x="135" y="195"/>
                </a:lnTo>
                <a:lnTo>
                  <a:pt x="134" y="195"/>
                </a:lnTo>
                <a:lnTo>
                  <a:pt x="134" y="194"/>
                </a:lnTo>
                <a:lnTo>
                  <a:pt x="133" y="191"/>
                </a:lnTo>
                <a:lnTo>
                  <a:pt x="134" y="192"/>
                </a:lnTo>
                <a:lnTo>
                  <a:pt x="135" y="191"/>
                </a:lnTo>
                <a:lnTo>
                  <a:pt x="133" y="191"/>
                </a:lnTo>
                <a:lnTo>
                  <a:pt x="133" y="188"/>
                </a:lnTo>
                <a:lnTo>
                  <a:pt x="130" y="185"/>
                </a:lnTo>
                <a:lnTo>
                  <a:pt x="132" y="184"/>
                </a:lnTo>
                <a:lnTo>
                  <a:pt x="130" y="183"/>
                </a:lnTo>
                <a:lnTo>
                  <a:pt x="129" y="183"/>
                </a:lnTo>
                <a:lnTo>
                  <a:pt x="129" y="184"/>
                </a:lnTo>
                <a:lnTo>
                  <a:pt x="128" y="184"/>
                </a:lnTo>
                <a:lnTo>
                  <a:pt x="128" y="185"/>
                </a:lnTo>
                <a:lnTo>
                  <a:pt x="127" y="184"/>
                </a:lnTo>
                <a:lnTo>
                  <a:pt x="127" y="182"/>
                </a:lnTo>
                <a:lnTo>
                  <a:pt x="128" y="183"/>
                </a:lnTo>
                <a:lnTo>
                  <a:pt x="130" y="180"/>
                </a:lnTo>
                <a:lnTo>
                  <a:pt x="132" y="180"/>
                </a:lnTo>
                <a:lnTo>
                  <a:pt x="132" y="176"/>
                </a:lnTo>
                <a:lnTo>
                  <a:pt x="130" y="173"/>
                </a:lnTo>
                <a:lnTo>
                  <a:pt x="130" y="172"/>
                </a:lnTo>
                <a:lnTo>
                  <a:pt x="129" y="171"/>
                </a:lnTo>
                <a:lnTo>
                  <a:pt x="128" y="171"/>
                </a:lnTo>
                <a:lnTo>
                  <a:pt x="127" y="172"/>
                </a:lnTo>
                <a:lnTo>
                  <a:pt x="127" y="170"/>
                </a:lnTo>
                <a:lnTo>
                  <a:pt x="128" y="170"/>
                </a:lnTo>
                <a:lnTo>
                  <a:pt x="129" y="169"/>
                </a:lnTo>
                <a:lnTo>
                  <a:pt x="129" y="165"/>
                </a:lnTo>
                <a:lnTo>
                  <a:pt x="127" y="163"/>
                </a:lnTo>
                <a:lnTo>
                  <a:pt x="124" y="161"/>
                </a:lnTo>
                <a:lnTo>
                  <a:pt x="120" y="160"/>
                </a:lnTo>
                <a:lnTo>
                  <a:pt x="127" y="160"/>
                </a:lnTo>
                <a:lnTo>
                  <a:pt x="126" y="159"/>
                </a:lnTo>
                <a:lnTo>
                  <a:pt x="123" y="158"/>
                </a:lnTo>
                <a:lnTo>
                  <a:pt x="122" y="158"/>
                </a:lnTo>
                <a:lnTo>
                  <a:pt x="122" y="155"/>
                </a:lnTo>
                <a:lnTo>
                  <a:pt x="118" y="155"/>
                </a:lnTo>
                <a:lnTo>
                  <a:pt x="117" y="154"/>
                </a:lnTo>
                <a:lnTo>
                  <a:pt x="124" y="155"/>
                </a:lnTo>
                <a:lnTo>
                  <a:pt x="126" y="155"/>
                </a:lnTo>
                <a:lnTo>
                  <a:pt x="128" y="154"/>
                </a:lnTo>
                <a:lnTo>
                  <a:pt x="132" y="158"/>
                </a:lnTo>
                <a:lnTo>
                  <a:pt x="133" y="157"/>
                </a:lnTo>
                <a:lnTo>
                  <a:pt x="130" y="155"/>
                </a:lnTo>
                <a:lnTo>
                  <a:pt x="132" y="154"/>
                </a:lnTo>
                <a:lnTo>
                  <a:pt x="132" y="155"/>
                </a:lnTo>
                <a:lnTo>
                  <a:pt x="134" y="155"/>
                </a:lnTo>
                <a:lnTo>
                  <a:pt x="136" y="154"/>
                </a:lnTo>
                <a:lnTo>
                  <a:pt x="138" y="153"/>
                </a:lnTo>
                <a:lnTo>
                  <a:pt x="139" y="153"/>
                </a:lnTo>
                <a:lnTo>
                  <a:pt x="139" y="148"/>
                </a:lnTo>
                <a:lnTo>
                  <a:pt x="140" y="148"/>
                </a:lnTo>
                <a:lnTo>
                  <a:pt x="142" y="146"/>
                </a:lnTo>
                <a:lnTo>
                  <a:pt x="143" y="147"/>
                </a:lnTo>
                <a:lnTo>
                  <a:pt x="145" y="145"/>
                </a:lnTo>
                <a:lnTo>
                  <a:pt x="145" y="142"/>
                </a:lnTo>
                <a:lnTo>
                  <a:pt x="143" y="139"/>
                </a:lnTo>
                <a:lnTo>
                  <a:pt x="139" y="139"/>
                </a:lnTo>
                <a:lnTo>
                  <a:pt x="136" y="137"/>
                </a:lnTo>
                <a:lnTo>
                  <a:pt x="135" y="136"/>
                </a:lnTo>
                <a:lnTo>
                  <a:pt x="135" y="135"/>
                </a:lnTo>
                <a:lnTo>
                  <a:pt x="140" y="137"/>
                </a:lnTo>
                <a:lnTo>
                  <a:pt x="141" y="137"/>
                </a:lnTo>
                <a:lnTo>
                  <a:pt x="147" y="139"/>
                </a:lnTo>
                <a:lnTo>
                  <a:pt x="153" y="139"/>
                </a:lnTo>
                <a:lnTo>
                  <a:pt x="154" y="137"/>
                </a:lnTo>
                <a:lnTo>
                  <a:pt x="155" y="137"/>
                </a:lnTo>
                <a:lnTo>
                  <a:pt x="155" y="139"/>
                </a:lnTo>
                <a:lnTo>
                  <a:pt x="154" y="140"/>
                </a:lnTo>
                <a:lnTo>
                  <a:pt x="154" y="142"/>
                </a:lnTo>
                <a:lnTo>
                  <a:pt x="153" y="142"/>
                </a:lnTo>
                <a:lnTo>
                  <a:pt x="153" y="141"/>
                </a:lnTo>
                <a:lnTo>
                  <a:pt x="152" y="141"/>
                </a:lnTo>
                <a:lnTo>
                  <a:pt x="151" y="142"/>
                </a:lnTo>
                <a:lnTo>
                  <a:pt x="153" y="146"/>
                </a:lnTo>
                <a:lnTo>
                  <a:pt x="154" y="147"/>
                </a:lnTo>
                <a:lnTo>
                  <a:pt x="153" y="149"/>
                </a:lnTo>
                <a:lnTo>
                  <a:pt x="152" y="148"/>
                </a:lnTo>
                <a:lnTo>
                  <a:pt x="149" y="151"/>
                </a:lnTo>
                <a:lnTo>
                  <a:pt x="148" y="151"/>
                </a:lnTo>
                <a:lnTo>
                  <a:pt x="149" y="152"/>
                </a:lnTo>
                <a:lnTo>
                  <a:pt x="152" y="151"/>
                </a:lnTo>
                <a:lnTo>
                  <a:pt x="153" y="151"/>
                </a:lnTo>
                <a:lnTo>
                  <a:pt x="153" y="149"/>
                </a:lnTo>
                <a:lnTo>
                  <a:pt x="155" y="152"/>
                </a:lnTo>
                <a:lnTo>
                  <a:pt x="155" y="154"/>
                </a:lnTo>
                <a:lnTo>
                  <a:pt x="151" y="154"/>
                </a:lnTo>
                <a:lnTo>
                  <a:pt x="151" y="155"/>
                </a:lnTo>
                <a:lnTo>
                  <a:pt x="155" y="155"/>
                </a:lnTo>
                <a:lnTo>
                  <a:pt x="157" y="158"/>
                </a:lnTo>
                <a:lnTo>
                  <a:pt x="157" y="159"/>
                </a:lnTo>
                <a:lnTo>
                  <a:pt x="155" y="160"/>
                </a:lnTo>
                <a:lnTo>
                  <a:pt x="157" y="160"/>
                </a:lnTo>
                <a:lnTo>
                  <a:pt x="158" y="159"/>
                </a:lnTo>
                <a:lnTo>
                  <a:pt x="159" y="155"/>
                </a:lnTo>
                <a:lnTo>
                  <a:pt x="159" y="151"/>
                </a:lnTo>
                <a:lnTo>
                  <a:pt x="161" y="148"/>
                </a:lnTo>
                <a:lnTo>
                  <a:pt x="163" y="148"/>
                </a:lnTo>
                <a:lnTo>
                  <a:pt x="164" y="146"/>
                </a:lnTo>
                <a:lnTo>
                  <a:pt x="161" y="141"/>
                </a:lnTo>
                <a:lnTo>
                  <a:pt x="161" y="140"/>
                </a:lnTo>
                <a:lnTo>
                  <a:pt x="163" y="140"/>
                </a:lnTo>
                <a:lnTo>
                  <a:pt x="165" y="142"/>
                </a:lnTo>
                <a:lnTo>
                  <a:pt x="165" y="146"/>
                </a:lnTo>
                <a:lnTo>
                  <a:pt x="166" y="146"/>
                </a:lnTo>
                <a:lnTo>
                  <a:pt x="166" y="148"/>
                </a:lnTo>
                <a:lnTo>
                  <a:pt x="167" y="152"/>
                </a:lnTo>
                <a:lnTo>
                  <a:pt x="167" y="154"/>
                </a:lnTo>
                <a:lnTo>
                  <a:pt x="166" y="157"/>
                </a:lnTo>
                <a:lnTo>
                  <a:pt x="165" y="155"/>
                </a:lnTo>
                <a:lnTo>
                  <a:pt x="164" y="155"/>
                </a:lnTo>
                <a:lnTo>
                  <a:pt x="164" y="158"/>
                </a:lnTo>
                <a:lnTo>
                  <a:pt x="161" y="160"/>
                </a:lnTo>
                <a:lnTo>
                  <a:pt x="164" y="160"/>
                </a:lnTo>
                <a:lnTo>
                  <a:pt x="165" y="159"/>
                </a:lnTo>
                <a:lnTo>
                  <a:pt x="167" y="161"/>
                </a:lnTo>
                <a:lnTo>
                  <a:pt x="170" y="157"/>
                </a:lnTo>
                <a:lnTo>
                  <a:pt x="170" y="155"/>
                </a:lnTo>
                <a:lnTo>
                  <a:pt x="167" y="147"/>
                </a:lnTo>
                <a:lnTo>
                  <a:pt x="167" y="143"/>
                </a:lnTo>
                <a:lnTo>
                  <a:pt x="166" y="139"/>
                </a:lnTo>
                <a:lnTo>
                  <a:pt x="165" y="137"/>
                </a:lnTo>
                <a:lnTo>
                  <a:pt x="164" y="137"/>
                </a:lnTo>
                <a:lnTo>
                  <a:pt x="159" y="140"/>
                </a:lnTo>
                <a:lnTo>
                  <a:pt x="159" y="136"/>
                </a:lnTo>
                <a:lnTo>
                  <a:pt x="166" y="133"/>
                </a:lnTo>
                <a:lnTo>
                  <a:pt x="172" y="127"/>
                </a:lnTo>
                <a:lnTo>
                  <a:pt x="176" y="126"/>
                </a:lnTo>
                <a:close/>
                <a:moveTo>
                  <a:pt x="89" y="98"/>
                </a:moveTo>
                <a:lnTo>
                  <a:pt x="89" y="99"/>
                </a:lnTo>
                <a:lnTo>
                  <a:pt x="90" y="99"/>
                </a:lnTo>
                <a:lnTo>
                  <a:pt x="90" y="98"/>
                </a:lnTo>
                <a:lnTo>
                  <a:pt x="89" y="98"/>
                </a:lnTo>
                <a:close/>
                <a:moveTo>
                  <a:pt x="45" y="85"/>
                </a:moveTo>
                <a:lnTo>
                  <a:pt x="46" y="85"/>
                </a:lnTo>
                <a:lnTo>
                  <a:pt x="45" y="86"/>
                </a:lnTo>
                <a:lnTo>
                  <a:pt x="45" y="85"/>
                </a:lnTo>
                <a:close/>
                <a:moveTo>
                  <a:pt x="86" y="80"/>
                </a:moveTo>
                <a:lnTo>
                  <a:pt x="85" y="81"/>
                </a:lnTo>
                <a:lnTo>
                  <a:pt x="84" y="81"/>
                </a:lnTo>
                <a:lnTo>
                  <a:pt x="81" y="83"/>
                </a:lnTo>
                <a:lnTo>
                  <a:pt x="79" y="85"/>
                </a:lnTo>
                <a:lnTo>
                  <a:pt x="73" y="86"/>
                </a:lnTo>
                <a:lnTo>
                  <a:pt x="74" y="86"/>
                </a:lnTo>
                <a:lnTo>
                  <a:pt x="81" y="85"/>
                </a:lnTo>
                <a:lnTo>
                  <a:pt x="83" y="84"/>
                </a:lnTo>
                <a:lnTo>
                  <a:pt x="83" y="83"/>
                </a:lnTo>
                <a:lnTo>
                  <a:pt x="86" y="83"/>
                </a:lnTo>
                <a:lnTo>
                  <a:pt x="86" y="80"/>
                </a:lnTo>
                <a:close/>
                <a:moveTo>
                  <a:pt x="151" y="79"/>
                </a:moveTo>
                <a:lnTo>
                  <a:pt x="151" y="80"/>
                </a:lnTo>
                <a:lnTo>
                  <a:pt x="149" y="80"/>
                </a:lnTo>
                <a:lnTo>
                  <a:pt x="148" y="81"/>
                </a:lnTo>
                <a:lnTo>
                  <a:pt x="148" y="83"/>
                </a:lnTo>
                <a:lnTo>
                  <a:pt x="147" y="83"/>
                </a:lnTo>
                <a:lnTo>
                  <a:pt x="147" y="84"/>
                </a:lnTo>
                <a:lnTo>
                  <a:pt x="146" y="84"/>
                </a:lnTo>
                <a:lnTo>
                  <a:pt x="145" y="83"/>
                </a:lnTo>
                <a:lnTo>
                  <a:pt x="145" y="80"/>
                </a:lnTo>
                <a:lnTo>
                  <a:pt x="148" y="80"/>
                </a:lnTo>
                <a:lnTo>
                  <a:pt x="151" y="79"/>
                </a:lnTo>
                <a:close/>
                <a:moveTo>
                  <a:pt x="6" y="75"/>
                </a:moveTo>
                <a:lnTo>
                  <a:pt x="8" y="79"/>
                </a:lnTo>
                <a:lnTo>
                  <a:pt x="8" y="81"/>
                </a:lnTo>
                <a:lnTo>
                  <a:pt x="6" y="81"/>
                </a:lnTo>
                <a:lnTo>
                  <a:pt x="6" y="75"/>
                </a:lnTo>
                <a:close/>
                <a:moveTo>
                  <a:pt x="33" y="61"/>
                </a:moveTo>
                <a:lnTo>
                  <a:pt x="34" y="62"/>
                </a:lnTo>
                <a:lnTo>
                  <a:pt x="35" y="61"/>
                </a:lnTo>
                <a:lnTo>
                  <a:pt x="35" y="68"/>
                </a:lnTo>
                <a:lnTo>
                  <a:pt x="34" y="68"/>
                </a:lnTo>
                <a:lnTo>
                  <a:pt x="34" y="67"/>
                </a:lnTo>
                <a:lnTo>
                  <a:pt x="33" y="67"/>
                </a:lnTo>
                <a:lnTo>
                  <a:pt x="31" y="68"/>
                </a:lnTo>
                <a:lnTo>
                  <a:pt x="31" y="69"/>
                </a:lnTo>
                <a:lnTo>
                  <a:pt x="33" y="69"/>
                </a:lnTo>
                <a:lnTo>
                  <a:pt x="33" y="73"/>
                </a:lnTo>
                <a:lnTo>
                  <a:pt x="34" y="73"/>
                </a:lnTo>
                <a:lnTo>
                  <a:pt x="34" y="74"/>
                </a:lnTo>
                <a:lnTo>
                  <a:pt x="33" y="74"/>
                </a:lnTo>
                <a:lnTo>
                  <a:pt x="33" y="75"/>
                </a:lnTo>
                <a:lnTo>
                  <a:pt x="31" y="77"/>
                </a:lnTo>
                <a:lnTo>
                  <a:pt x="31" y="78"/>
                </a:lnTo>
                <a:lnTo>
                  <a:pt x="29" y="80"/>
                </a:lnTo>
                <a:lnTo>
                  <a:pt x="29" y="81"/>
                </a:lnTo>
                <a:lnTo>
                  <a:pt x="25" y="83"/>
                </a:lnTo>
                <a:lnTo>
                  <a:pt x="24" y="84"/>
                </a:lnTo>
                <a:lnTo>
                  <a:pt x="24" y="83"/>
                </a:lnTo>
                <a:lnTo>
                  <a:pt x="23" y="80"/>
                </a:lnTo>
                <a:lnTo>
                  <a:pt x="22" y="80"/>
                </a:lnTo>
                <a:lnTo>
                  <a:pt x="21" y="79"/>
                </a:lnTo>
                <a:lnTo>
                  <a:pt x="21" y="78"/>
                </a:lnTo>
                <a:lnTo>
                  <a:pt x="20" y="78"/>
                </a:lnTo>
                <a:lnTo>
                  <a:pt x="18" y="79"/>
                </a:lnTo>
                <a:lnTo>
                  <a:pt x="18" y="77"/>
                </a:lnTo>
                <a:lnTo>
                  <a:pt x="20" y="77"/>
                </a:lnTo>
                <a:lnTo>
                  <a:pt x="20" y="74"/>
                </a:lnTo>
                <a:lnTo>
                  <a:pt x="21" y="74"/>
                </a:lnTo>
                <a:lnTo>
                  <a:pt x="23" y="73"/>
                </a:lnTo>
                <a:lnTo>
                  <a:pt x="24" y="72"/>
                </a:lnTo>
                <a:lnTo>
                  <a:pt x="23" y="72"/>
                </a:lnTo>
                <a:lnTo>
                  <a:pt x="23" y="71"/>
                </a:lnTo>
                <a:lnTo>
                  <a:pt x="24" y="69"/>
                </a:lnTo>
                <a:lnTo>
                  <a:pt x="24" y="67"/>
                </a:lnTo>
                <a:lnTo>
                  <a:pt x="25" y="67"/>
                </a:lnTo>
                <a:lnTo>
                  <a:pt x="27" y="66"/>
                </a:lnTo>
                <a:lnTo>
                  <a:pt x="29" y="66"/>
                </a:lnTo>
                <a:lnTo>
                  <a:pt x="30" y="65"/>
                </a:lnTo>
                <a:lnTo>
                  <a:pt x="30" y="66"/>
                </a:lnTo>
                <a:lnTo>
                  <a:pt x="31" y="65"/>
                </a:lnTo>
                <a:lnTo>
                  <a:pt x="33" y="61"/>
                </a:lnTo>
                <a:close/>
                <a:moveTo>
                  <a:pt x="35" y="60"/>
                </a:moveTo>
                <a:lnTo>
                  <a:pt x="36" y="60"/>
                </a:lnTo>
                <a:lnTo>
                  <a:pt x="35" y="61"/>
                </a:lnTo>
                <a:lnTo>
                  <a:pt x="35" y="60"/>
                </a:lnTo>
                <a:close/>
                <a:moveTo>
                  <a:pt x="80" y="51"/>
                </a:moveTo>
                <a:lnTo>
                  <a:pt x="79" y="53"/>
                </a:lnTo>
                <a:lnTo>
                  <a:pt x="79" y="54"/>
                </a:lnTo>
                <a:lnTo>
                  <a:pt x="79" y="53"/>
                </a:lnTo>
                <a:lnTo>
                  <a:pt x="80" y="53"/>
                </a:lnTo>
                <a:lnTo>
                  <a:pt x="81" y="51"/>
                </a:lnTo>
                <a:lnTo>
                  <a:pt x="81" y="53"/>
                </a:lnTo>
                <a:lnTo>
                  <a:pt x="86" y="56"/>
                </a:lnTo>
                <a:lnTo>
                  <a:pt x="89" y="59"/>
                </a:lnTo>
                <a:lnTo>
                  <a:pt x="91" y="59"/>
                </a:lnTo>
                <a:lnTo>
                  <a:pt x="87" y="56"/>
                </a:lnTo>
                <a:lnTo>
                  <a:pt x="85" y="54"/>
                </a:lnTo>
                <a:lnTo>
                  <a:pt x="83" y="53"/>
                </a:lnTo>
                <a:lnTo>
                  <a:pt x="81" y="51"/>
                </a:lnTo>
                <a:lnTo>
                  <a:pt x="80" y="51"/>
                </a:lnTo>
                <a:close/>
                <a:moveTo>
                  <a:pt x="129" y="32"/>
                </a:moveTo>
                <a:lnTo>
                  <a:pt x="130" y="32"/>
                </a:lnTo>
                <a:lnTo>
                  <a:pt x="132" y="34"/>
                </a:lnTo>
                <a:lnTo>
                  <a:pt x="132" y="36"/>
                </a:lnTo>
                <a:lnTo>
                  <a:pt x="130" y="35"/>
                </a:lnTo>
                <a:lnTo>
                  <a:pt x="129" y="35"/>
                </a:lnTo>
                <a:lnTo>
                  <a:pt x="126" y="36"/>
                </a:lnTo>
                <a:lnTo>
                  <a:pt x="127" y="36"/>
                </a:lnTo>
                <a:lnTo>
                  <a:pt x="127" y="38"/>
                </a:lnTo>
                <a:lnTo>
                  <a:pt x="126" y="40"/>
                </a:lnTo>
                <a:lnTo>
                  <a:pt x="126" y="41"/>
                </a:lnTo>
                <a:lnTo>
                  <a:pt x="124" y="42"/>
                </a:lnTo>
                <a:lnTo>
                  <a:pt x="124" y="43"/>
                </a:lnTo>
                <a:lnTo>
                  <a:pt x="123" y="43"/>
                </a:lnTo>
                <a:lnTo>
                  <a:pt x="120" y="40"/>
                </a:lnTo>
                <a:lnTo>
                  <a:pt x="118" y="40"/>
                </a:lnTo>
                <a:lnTo>
                  <a:pt x="117" y="38"/>
                </a:lnTo>
                <a:lnTo>
                  <a:pt x="117" y="37"/>
                </a:lnTo>
                <a:lnTo>
                  <a:pt x="118" y="37"/>
                </a:lnTo>
                <a:lnTo>
                  <a:pt x="121" y="35"/>
                </a:lnTo>
                <a:lnTo>
                  <a:pt x="123" y="35"/>
                </a:lnTo>
                <a:lnTo>
                  <a:pt x="124" y="34"/>
                </a:lnTo>
                <a:lnTo>
                  <a:pt x="127" y="34"/>
                </a:lnTo>
                <a:lnTo>
                  <a:pt x="129" y="32"/>
                </a:lnTo>
                <a:close/>
                <a:moveTo>
                  <a:pt x="104" y="0"/>
                </a:moveTo>
                <a:lnTo>
                  <a:pt x="108" y="0"/>
                </a:lnTo>
                <a:lnTo>
                  <a:pt x="105" y="1"/>
                </a:lnTo>
                <a:lnTo>
                  <a:pt x="104" y="4"/>
                </a:lnTo>
                <a:lnTo>
                  <a:pt x="101" y="8"/>
                </a:lnTo>
                <a:lnTo>
                  <a:pt x="99" y="13"/>
                </a:lnTo>
                <a:lnTo>
                  <a:pt x="102" y="20"/>
                </a:lnTo>
                <a:lnTo>
                  <a:pt x="104" y="24"/>
                </a:lnTo>
                <a:lnTo>
                  <a:pt x="103" y="28"/>
                </a:lnTo>
                <a:lnTo>
                  <a:pt x="103" y="32"/>
                </a:lnTo>
                <a:lnTo>
                  <a:pt x="104" y="40"/>
                </a:lnTo>
                <a:lnTo>
                  <a:pt x="99" y="44"/>
                </a:lnTo>
                <a:lnTo>
                  <a:pt x="97" y="49"/>
                </a:lnTo>
                <a:lnTo>
                  <a:pt x="97" y="53"/>
                </a:lnTo>
                <a:lnTo>
                  <a:pt x="96" y="56"/>
                </a:lnTo>
                <a:lnTo>
                  <a:pt x="96" y="57"/>
                </a:lnTo>
                <a:lnTo>
                  <a:pt x="95" y="59"/>
                </a:lnTo>
                <a:lnTo>
                  <a:pt x="93" y="59"/>
                </a:lnTo>
                <a:lnTo>
                  <a:pt x="95" y="60"/>
                </a:lnTo>
                <a:lnTo>
                  <a:pt x="92" y="62"/>
                </a:lnTo>
                <a:lnTo>
                  <a:pt x="92" y="67"/>
                </a:lnTo>
                <a:lnTo>
                  <a:pt x="93" y="71"/>
                </a:lnTo>
                <a:lnTo>
                  <a:pt x="93" y="75"/>
                </a:lnTo>
                <a:lnTo>
                  <a:pt x="95" y="79"/>
                </a:lnTo>
                <a:lnTo>
                  <a:pt x="95" y="80"/>
                </a:lnTo>
                <a:lnTo>
                  <a:pt x="96" y="80"/>
                </a:lnTo>
                <a:lnTo>
                  <a:pt x="95" y="81"/>
                </a:lnTo>
                <a:lnTo>
                  <a:pt x="93" y="80"/>
                </a:lnTo>
                <a:lnTo>
                  <a:pt x="90" y="80"/>
                </a:lnTo>
                <a:lnTo>
                  <a:pt x="90" y="81"/>
                </a:lnTo>
                <a:lnTo>
                  <a:pt x="89" y="80"/>
                </a:lnTo>
                <a:lnTo>
                  <a:pt x="87" y="80"/>
                </a:lnTo>
                <a:lnTo>
                  <a:pt x="89" y="81"/>
                </a:lnTo>
                <a:lnTo>
                  <a:pt x="89" y="83"/>
                </a:lnTo>
                <a:lnTo>
                  <a:pt x="92" y="83"/>
                </a:lnTo>
                <a:lnTo>
                  <a:pt x="93" y="81"/>
                </a:lnTo>
                <a:lnTo>
                  <a:pt x="95" y="81"/>
                </a:lnTo>
                <a:lnTo>
                  <a:pt x="96" y="83"/>
                </a:lnTo>
                <a:lnTo>
                  <a:pt x="96" y="87"/>
                </a:lnTo>
                <a:lnTo>
                  <a:pt x="92" y="90"/>
                </a:lnTo>
                <a:lnTo>
                  <a:pt x="90" y="92"/>
                </a:lnTo>
                <a:lnTo>
                  <a:pt x="90" y="96"/>
                </a:lnTo>
                <a:lnTo>
                  <a:pt x="91" y="93"/>
                </a:lnTo>
                <a:lnTo>
                  <a:pt x="91" y="92"/>
                </a:lnTo>
                <a:lnTo>
                  <a:pt x="92" y="91"/>
                </a:lnTo>
                <a:lnTo>
                  <a:pt x="95" y="90"/>
                </a:lnTo>
                <a:lnTo>
                  <a:pt x="95" y="88"/>
                </a:lnTo>
                <a:lnTo>
                  <a:pt x="96" y="90"/>
                </a:lnTo>
                <a:lnTo>
                  <a:pt x="96" y="92"/>
                </a:lnTo>
                <a:lnTo>
                  <a:pt x="97" y="93"/>
                </a:lnTo>
                <a:lnTo>
                  <a:pt x="101" y="96"/>
                </a:lnTo>
                <a:lnTo>
                  <a:pt x="104" y="96"/>
                </a:lnTo>
                <a:lnTo>
                  <a:pt x="114" y="94"/>
                </a:lnTo>
                <a:lnTo>
                  <a:pt x="117" y="94"/>
                </a:lnTo>
                <a:lnTo>
                  <a:pt x="117" y="96"/>
                </a:lnTo>
                <a:lnTo>
                  <a:pt x="118" y="98"/>
                </a:lnTo>
                <a:lnTo>
                  <a:pt x="122" y="100"/>
                </a:lnTo>
                <a:lnTo>
                  <a:pt x="122" y="102"/>
                </a:lnTo>
                <a:lnTo>
                  <a:pt x="121" y="102"/>
                </a:lnTo>
                <a:lnTo>
                  <a:pt x="120" y="104"/>
                </a:lnTo>
                <a:lnTo>
                  <a:pt x="120" y="110"/>
                </a:lnTo>
                <a:lnTo>
                  <a:pt x="112" y="117"/>
                </a:lnTo>
                <a:lnTo>
                  <a:pt x="112" y="123"/>
                </a:lnTo>
                <a:lnTo>
                  <a:pt x="110" y="123"/>
                </a:lnTo>
                <a:lnTo>
                  <a:pt x="108" y="121"/>
                </a:lnTo>
                <a:lnTo>
                  <a:pt x="109" y="121"/>
                </a:lnTo>
                <a:lnTo>
                  <a:pt x="110" y="120"/>
                </a:lnTo>
                <a:lnTo>
                  <a:pt x="110" y="118"/>
                </a:lnTo>
                <a:lnTo>
                  <a:pt x="109" y="117"/>
                </a:lnTo>
                <a:lnTo>
                  <a:pt x="108" y="117"/>
                </a:lnTo>
                <a:lnTo>
                  <a:pt x="104" y="121"/>
                </a:lnTo>
                <a:lnTo>
                  <a:pt x="104" y="123"/>
                </a:lnTo>
                <a:lnTo>
                  <a:pt x="105" y="126"/>
                </a:lnTo>
                <a:lnTo>
                  <a:pt x="105" y="127"/>
                </a:lnTo>
                <a:lnTo>
                  <a:pt x="102" y="127"/>
                </a:lnTo>
                <a:lnTo>
                  <a:pt x="102" y="124"/>
                </a:lnTo>
                <a:lnTo>
                  <a:pt x="103" y="123"/>
                </a:lnTo>
                <a:lnTo>
                  <a:pt x="103" y="122"/>
                </a:lnTo>
                <a:lnTo>
                  <a:pt x="97" y="122"/>
                </a:lnTo>
                <a:lnTo>
                  <a:pt x="97" y="121"/>
                </a:lnTo>
                <a:lnTo>
                  <a:pt x="96" y="120"/>
                </a:lnTo>
                <a:lnTo>
                  <a:pt x="97" y="120"/>
                </a:lnTo>
                <a:lnTo>
                  <a:pt x="98" y="118"/>
                </a:lnTo>
                <a:lnTo>
                  <a:pt x="99" y="118"/>
                </a:lnTo>
                <a:lnTo>
                  <a:pt x="101" y="120"/>
                </a:lnTo>
                <a:lnTo>
                  <a:pt x="102" y="118"/>
                </a:lnTo>
                <a:lnTo>
                  <a:pt x="101" y="117"/>
                </a:lnTo>
                <a:lnTo>
                  <a:pt x="101" y="116"/>
                </a:lnTo>
                <a:lnTo>
                  <a:pt x="102" y="114"/>
                </a:lnTo>
                <a:lnTo>
                  <a:pt x="101" y="114"/>
                </a:lnTo>
                <a:lnTo>
                  <a:pt x="101" y="112"/>
                </a:lnTo>
                <a:lnTo>
                  <a:pt x="98" y="112"/>
                </a:lnTo>
                <a:lnTo>
                  <a:pt x="98" y="114"/>
                </a:lnTo>
                <a:lnTo>
                  <a:pt x="97" y="114"/>
                </a:lnTo>
                <a:lnTo>
                  <a:pt x="97" y="115"/>
                </a:lnTo>
                <a:lnTo>
                  <a:pt x="96" y="115"/>
                </a:lnTo>
                <a:lnTo>
                  <a:pt x="95" y="117"/>
                </a:lnTo>
                <a:lnTo>
                  <a:pt x="95" y="118"/>
                </a:lnTo>
                <a:lnTo>
                  <a:pt x="90" y="123"/>
                </a:lnTo>
                <a:lnTo>
                  <a:pt x="90" y="124"/>
                </a:lnTo>
                <a:lnTo>
                  <a:pt x="92" y="127"/>
                </a:lnTo>
                <a:lnTo>
                  <a:pt x="92" y="130"/>
                </a:lnTo>
                <a:lnTo>
                  <a:pt x="91" y="131"/>
                </a:lnTo>
                <a:lnTo>
                  <a:pt x="91" y="133"/>
                </a:lnTo>
                <a:lnTo>
                  <a:pt x="92" y="133"/>
                </a:lnTo>
                <a:lnTo>
                  <a:pt x="92" y="134"/>
                </a:lnTo>
                <a:lnTo>
                  <a:pt x="91" y="136"/>
                </a:lnTo>
                <a:lnTo>
                  <a:pt x="91" y="141"/>
                </a:lnTo>
                <a:lnTo>
                  <a:pt x="90" y="142"/>
                </a:lnTo>
                <a:lnTo>
                  <a:pt x="90" y="143"/>
                </a:lnTo>
                <a:lnTo>
                  <a:pt x="89" y="143"/>
                </a:lnTo>
                <a:lnTo>
                  <a:pt x="89" y="146"/>
                </a:lnTo>
                <a:lnTo>
                  <a:pt x="90" y="146"/>
                </a:lnTo>
                <a:lnTo>
                  <a:pt x="89" y="147"/>
                </a:lnTo>
                <a:lnTo>
                  <a:pt x="87" y="147"/>
                </a:lnTo>
                <a:lnTo>
                  <a:pt x="86" y="146"/>
                </a:lnTo>
                <a:lnTo>
                  <a:pt x="86" y="143"/>
                </a:lnTo>
                <a:lnTo>
                  <a:pt x="80" y="143"/>
                </a:lnTo>
                <a:lnTo>
                  <a:pt x="80" y="145"/>
                </a:lnTo>
                <a:lnTo>
                  <a:pt x="79" y="146"/>
                </a:lnTo>
                <a:lnTo>
                  <a:pt x="76" y="146"/>
                </a:lnTo>
                <a:lnTo>
                  <a:pt x="77" y="147"/>
                </a:lnTo>
                <a:lnTo>
                  <a:pt x="83" y="148"/>
                </a:lnTo>
                <a:lnTo>
                  <a:pt x="83" y="149"/>
                </a:lnTo>
                <a:lnTo>
                  <a:pt x="81" y="151"/>
                </a:lnTo>
                <a:lnTo>
                  <a:pt x="81" y="153"/>
                </a:lnTo>
                <a:lnTo>
                  <a:pt x="84" y="153"/>
                </a:lnTo>
                <a:lnTo>
                  <a:pt x="84" y="154"/>
                </a:lnTo>
                <a:lnTo>
                  <a:pt x="81" y="154"/>
                </a:lnTo>
                <a:lnTo>
                  <a:pt x="81" y="158"/>
                </a:lnTo>
                <a:lnTo>
                  <a:pt x="80" y="157"/>
                </a:lnTo>
                <a:lnTo>
                  <a:pt x="76" y="158"/>
                </a:lnTo>
                <a:lnTo>
                  <a:pt x="73" y="159"/>
                </a:lnTo>
                <a:lnTo>
                  <a:pt x="72" y="159"/>
                </a:lnTo>
                <a:lnTo>
                  <a:pt x="70" y="158"/>
                </a:lnTo>
                <a:lnTo>
                  <a:pt x="68" y="157"/>
                </a:lnTo>
                <a:lnTo>
                  <a:pt x="62" y="157"/>
                </a:lnTo>
                <a:lnTo>
                  <a:pt x="62" y="158"/>
                </a:lnTo>
                <a:lnTo>
                  <a:pt x="66" y="158"/>
                </a:lnTo>
                <a:lnTo>
                  <a:pt x="70" y="161"/>
                </a:lnTo>
                <a:lnTo>
                  <a:pt x="70" y="163"/>
                </a:lnTo>
                <a:lnTo>
                  <a:pt x="74" y="163"/>
                </a:lnTo>
                <a:lnTo>
                  <a:pt x="74" y="164"/>
                </a:lnTo>
                <a:lnTo>
                  <a:pt x="72" y="165"/>
                </a:lnTo>
                <a:lnTo>
                  <a:pt x="71" y="167"/>
                </a:lnTo>
                <a:lnTo>
                  <a:pt x="68" y="167"/>
                </a:lnTo>
                <a:lnTo>
                  <a:pt x="68" y="170"/>
                </a:lnTo>
                <a:lnTo>
                  <a:pt x="66" y="170"/>
                </a:lnTo>
                <a:lnTo>
                  <a:pt x="65" y="171"/>
                </a:lnTo>
                <a:lnTo>
                  <a:pt x="62" y="171"/>
                </a:lnTo>
                <a:lnTo>
                  <a:pt x="62" y="172"/>
                </a:lnTo>
                <a:lnTo>
                  <a:pt x="60" y="172"/>
                </a:lnTo>
                <a:lnTo>
                  <a:pt x="60" y="173"/>
                </a:lnTo>
                <a:lnTo>
                  <a:pt x="64" y="173"/>
                </a:lnTo>
                <a:lnTo>
                  <a:pt x="64" y="172"/>
                </a:lnTo>
                <a:lnTo>
                  <a:pt x="66" y="174"/>
                </a:lnTo>
                <a:lnTo>
                  <a:pt x="67" y="174"/>
                </a:lnTo>
                <a:lnTo>
                  <a:pt x="66" y="176"/>
                </a:lnTo>
                <a:lnTo>
                  <a:pt x="66" y="177"/>
                </a:lnTo>
                <a:lnTo>
                  <a:pt x="64" y="177"/>
                </a:lnTo>
                <a:lnTo>
                  <a:pt x="64" y="179"/>
                </a:lnTo>
                <a:lnTo>
                  <a:pt x="65" y="180"/>
                </a:lnTo>
                <a:lnTo>
                  <a:pt x="64" y="180"/>
                </a:lnTo>
                <a:lnTo>
                  <a:pt x="64" y="182"/>
                </a:lnTo>
                <a:lnTo>
                  <a:pt x="66" y="184"/>
                </a:lnTo>
                <a:lnTo>
                  <a:pt x="66" y="186"/>
                </a:lnTo>
                <a:lnTo>
                  <a:pt x="67" y="189"/>
                </a:lnTo>
                <a:lnTo>
                  <a:pt x="68" y="189"/>
                </a:lnTo>
                <a:lnTo>
                  <a:pt x="68" y="192"/>
                </a:lnTo>
                <a:lnTo>
                  <a:pt x="67" y="194"/>
                </a:lnTo>
                <a:lnTo>
                  <a:pt x="67" y="195"/>
                </a:lnTo>
                <a:lnTo>
                  <a:pt x="62" y="195"/>
                </a:lnTo>
                <a:lnTo>
                  <a:pt x="62" y="196"/>
                </a:lnTo>
                <a:lnTo>
                  <a:pt x="61" y="196"/>
                </a:lnTo>
                <a:lnTo>
                  <a:pt x="61" y="197"/>
                </a:lnTo>
                <a:lnTo>
                  <a:pt x="59" y="197"/>
                </a:lnTo>
                <a:lnTo>
                  <a:pt x="59" y="198"/>
                </a:lnTo>
                <a:lnTo>
                  <a:pt x="60" y="198"/>
                </a:lnTo>
                <a:lnTo>
                  <a:pt x="60" y="200"/>
                </a:lnTo>
                <a:lnTo>
                  <a:pt x="58" y="200"/>
                </a:lnTo>
                <a:lnTo>
                  <a:pt x="59" y="201"/>
                </a:lnTo>
                <a:lnTo>
                  <a:pt x="61" y="201"/>
                </a:lnTo>
                <a:lnTo>
                  <a:pt x="61" y="202"/>
                </a:lnTo>
                <a:lnTo>
                  <a:pt x="62" y="203"/>
                </a:lnTo>
                <a:lnTo>
                  <a:pt x="60" y="206"/>
                </a:lnTo>
                <a:lnTo>
                  <a:pt x="58" y="206"/>
                </a:lnTo>
                <a:lnTo>
                  <a:pt x="56" y="207"/>
                </a:lnTo>
                <a:lnTo>
                  <a:pt x="58" y="208"/>
                </a:lnTo>
                <a:lnTo>
                  <a:pt x="60" y="207"/>
                </a:lnTo>
                <a:lnTo>
                  <a:pt x="62" y="207"/>
                </a:lnTo>
                <a:lnTo>
                  <a:pt x="62" y="206"/>
                </a:lnTo>
                <a:lnTo>
                  <a:pt x="64" y="206"/>
                </a:lnTo>
                <a:lnTo>
                  <a:pt x="67" y="209"/>
                </a:lnTo>
                <a:lnTo>
                  <a:pt x="70" y="209"/>
                </a:lnTo>
                <a:lnTo>
                  <a:pt x="70" y="210"/>
                </a:lnTo>
                <a:lnTo>
                  <a:pt x="71" y="216"/>
                </a:lnTo>
                <a:lnTo>
                  <a:pt x="71" y="217"/>
                </a:lnTo>
                <a:lnTo>
                  <a:pt x="70" y="217"/>
                </a:lnTo>
                <a:lnTo>
                  <a:pt x="70" y="216"/>
                </a:lnTo>
                <a:lnTo>
                  <a:pt x="68" y="216"/>
                </a:lnTo>
                <a:lnTo>
                  <a:pt x="68" y="217"/>
                </a:lnTo>
                <a:lnTo>
                  <a:pt x="71" y="220"/>
                </a:lnTo>
                <a:lnTo>
                  <a:pt x="71" y="221"/>
                </a:lnTo>
                <a:lnTo>
                  <a:pt x="70" y="221"/>
                </a:lnTo>
                <a:lnTo>
                  <a:pt x="68" y="220"/>
                </a:lnTo>
                <a:lnTo>
                  <a:pt x="66" y="220"/>
                </a:lnTo>
                <a:lnTo>
                  <a:pt x="65" y="219"/>
                </a:lnTo>
                <a:lnTo>
                  <a:pt x="66" y="219"/>
                </a:lnTo>
                <a:lnTo>
                  <a:pt x="65" y="217"/>
                </a:lnTo>
                <a:lnTo>
                  <a:pt x="65" y="216"/>
                </a:lnTo>
                <a:lnTo>
                  <a:pt x="66" y="215"/>
                </a:lnTo>
                <a:lnTo>
                  <a:pt x="65" y="214"/>
                </a:lnTo>
                <a:lnTo>
                  <a:pt x="62" y="216"/>
                </a:lnTo>
                <a:lnTo>
                  <a:pt x="62" y="217"/>
                </a:lnTo>
                <a:lnTo>
                  <a:pt x="61" y="219"/>
                </a:lnTo>
                <a:lnTo>
                  <a:pt x="60" y="219"/>
                </a:lnTo>
                <a:lnTo>
                  <a:pt x="58" y="221"/>
                </a:lnTo>
                <a:lnTo>
                  <a:pt x="58" y="223"/>
                </a:lnTo>
                <a:lnTo>
                  <a:pt x="55" y="223"/>
                </a:lnTo>
                <a:lnTo>
                  <a:pt x="55" y="222"/>
                </a:lnTo>
                <a:lnTo>
                  <a:pt x="54" y="222"/>
                </a:lnTo>
                <a:lnTo>
                  <a:pt x="54" y="223"/>
                </a:lnTo>
                <a:lnTo>
                  <a:pt x="48" y="223"/>
                </a:lnTo>
                <a:lnTo>
                  <a:pt x="48" y="221"/>
                </a:lnTo>
                <a:lnTo>
                  <a:pt x="47" y="220"/>
                </a:lnTo>
                <a:lnTo>
                  <a:pt x="37" y="219"/>
                </a:lnTo>
                <a:lnTo>
                  <a:pt x="35" y="216"/>
                </a:lnTo>
                <a:lnTo>
                  <a:pt x="30" y="216"/>
                </a:lnTo>
                <a:lnTo>
                  <a:pt x="28" y="217"/>
                </a:lnTo>
                <a:lnTo>
                  <a:pt x="24" y="217"/>
                </a:lnTo>
                <a:lnTo>
                  <a:pt x="24" y="215"/>
                </a:lnTo>
                <a:lnTo>
                  <a:pt x="25" y="213"/>
                </a:lnTo>
                <a:lnTo>
                  <a:pt x="24" y="212"/>
                </a:lnTo>
                <a:lnTo>
                  <a:pt x="24" y="209"/>
                </a:lnTo>
                <a:lnTo>
                  <a:pt x="23" y="208"/>
                </a:lnTo>
                <a:lnTo>
                  <a:pt x="23" y="206"/>
                </a:lnTo>
                <a:lnTo>
                  <a:pt x="24" y="203"/>
                </a:lnTo>
                <a:lnTo>
                  <a:pt x="24" y="202"/>
                </a:lnTo>
                <a:lnTo>
                  <a:pt x="25" y="200"/>
                </a:lnTo>
                <a:lnTo>
                  <a:pt x="24" y="200"/>
                </a:lnTo>
                <a:lnTo>
                  <a:pt x="25" y="198"/>
                </a:lnTo>
                <a:lnTo>
                  <a:pt x="25" y="197"/>
                </a:lnTo>
                <a:lnTo>
                  <a:pt x="24" y="195"/>
                </a:lnTo>
                <a:lnTo>
                  <a:pt x="24" y="183"/>
                </a:lnTo>
                <a:lnTo>
                  <a:pt x="23" y="180"/>
                </a:lnTo>
                <a:lnTo>
                  <a:pt x="23" y="177"/>
                </a:lnTo>
                <a:lnTo>
                  <a:pt x="22" y="176"/>
                </a:lnTo>
                <a:lnTo>
                  <a:pt x="17" y="176"/>
                </a:lnTo>
                <a:lnTo>
                  <a:pt x="15" y="174"/>
                </a:lnTo>
                <a:lnTo>
                  <a:pt x="14" y="173"/>
                </a:lnTo>
                <a:lnTo>
                  <a:pt x="10" y="167"/>
                </a:lnTo>
                <a:lnTo>
                  <a:pt x="10" y="166"/>
                </a:lnTo>
                <a:lnTo>
                  <a:pt x="8" y="166"/>
                </a:lnTo>
                <a:lnTo>
                  <a:pt x="8" y="167"/>
                </a:lnTo>
                <a:lnTo>
                  <a:pt x="6" y="169"/>
                </a:lnTo>
                <a:lnTo>
                  <a:pt x="8" y="170"/>
                </a:lnTo>
                <a:lnTo>
                  <a:pt x="6" y="171"/>
                </a:lnTo>
                <a:lnTo>
                  <a:pt x="8" y="171"/>
                </a:lnTo>
                <a:lnTo>
                  <a:pt x="10" y="173"/>
                </a:lnTo>
                <a:lnTo>
                  <a:pt x="10" y="174"/>
                </a:lnTo>
                <a:lnTo>
                  <a:pt x="5" y="171"/>
                </a:lnTo>
                <a:lnTo>
                  <a:pt x="4" y="170"/>
                </a:lnTo>
                <a:lnTo>
                  <a:pt x="2" y="170"/>
                </a:lnTo>
                <a:lnTo>
                  <a:pt x="0" y="169"/>
                </a:lnTo>
                <a:lnTo>
                  <a:pt x="0" y="167"/>
                </a:lnTo>
                <a:lnTo>
                  <a:pt x="3" y="161"/>
                </a:lnTo>
                <a:lnTo>
                  <a:pt x="4" y="158"/>
                </a:lnTo>
                <a:lnTo>
                  <a:pt x="4" y="152"/>
                </a:lnTo>
                <a:lnTo>
                  <a:pt x="2" y="137"/>
                </a:lnTo>
                <a:lnTo>
                  <a:pt x="2" y="135"/>
                </a:lnTo>
                <a:lnTo>
                  <a:pt x="3" y="136"/>
                </a:lnTo>
                <a:lnTo>
                  <a:pt x="4" y="142"/>
                </a:lnTo>
                <a:lnTo>
                  <a:pt x="4" y="145"/>
                </a:lnTo>
                <a:lnTo>
                  <a:pt x="5" y="145"/>
                </a:lnTo>
                <a:lnTo>
                  <a:pt x="5" y="146"/>
                </a:lnTo>
                <a:lnTo>
                  <a:pt x="4" y="147"/>
                </a:lnTo>
                <a:lnTo>
                  <a:pt x="4" y="148"/>
                </a:lnTo>
                <a:lnTo>
                  <a:pt x="5" y="149"/>
                </a:lnTo>
                <a:lnTo>
                  <a:pt x="9" y="146"/>
                </a:lnTo>
                <a:lnTo>
                  <a:pt x="10" y="146"/>
                </a:lnTo>
                <a:lnTo>
                  <a:pt x="12" y="143"/>
                </a:lnTo>
                <a:lnTo>
                  <a:pt x="14" y="141"/>
                </a:lnTo>
                <a:lnTo>
                  <a:pt x="12" y="140"/>
                </a:lnTo>
                <a:lnTo>
                  <a:pt x="12" y="139"/>
                </a:lnTo>
                <a:lnTo>
                  <a:pt x="10" y="136"/>
                </a:lnTo>
                <a:lnTo>
                  <a:pt x="10" y="130"/>
                </a:lnTo>
                <a:lnTo>
                  <a:pt x="9" y="129"/>
                </a:lnTo>
                <a:lnTo>
                  <a:pt x="4" y="127"/>
                </a:lnTo>
                <a:lnTo>
                  <a:pt x="3" y="127"/>
                </a:lnTo>
                <a:lnTo>
                  <a:pt x="3" y="131"/>
                </a:lnTo>
                <a:lnTo>
                  <a:pt x="2" y="134"/>
                </a:lnTo>
                <a:lnTo>
                  <a:pt x="0" y="133"/>
                </a:lnTo>
                <a:lnTo>
                  <a:pt x="0" y="126"/>
                </a:lnTo>
                <a:lnTo>
                  <a:pt x="2" y="121"/>
                </a:lnTo>
                <a:lnTo>
                  <a:pt x="2" y="90"/>
                </a:lnTo>
                <a:lnTo>
                  <a:pt x="4" y="84"/>
                </a:lnTo>
                <a:lnTo>
                  <a:pt x="5" y="81"/>
                </a:lnTo>
                <a:lnTo>
                  <a:pt x="6" y="81"/>
                </a:lnTo>
                <a:lnTo>
                  <a:pt x="6" y="83"/>
                </a:lnTo>
                <a:lnTo>
                  <a:pt x="5" y="85"/>
                </a:lnTo>
                <a:lnTo>
                  <a:pt x="5" y="86"/>
                </a:lnTo>
                <a:lnTo>
                  <a:pt x="6" y="86"/>
                </a:lnTo>
                <a:lnTo>
                  <a:pt x="6" y="88"/>
                </a:lnTo>
                <a:lnTo>
                  <a:pt x="9" y="88"/>
                </a:lnTo>
                <a:lnTo>
                  <a:pt x="9" y="92"/>
                </a:lnTo>
                <a:lnTo>
                  <a:pt x="10" y="92"/>
                </a:lnTo>
                <a:lnTo>
                  <a:pt x="10" y="91"/>
                </a:lnTo>
                <a:lnTo>
                  <a:pt x="15" y="91"/>
                </a:lnTo>
                <a:lnTo>
                  <a:pt x="16" y="92"/>
                </a:lnTo>
                <a:lnTo>
                  <a:pt x="18" y="93"/>
                </a:lnTo>
                <a:lnTo>
                  <a:pt x="20" y="92"/>
                </a:lnTo>
                <a:lnTo>
                  <a:pt x="20" y="91"/>
                </a:lnTo>
                <a:lnTo>
                  <a:pt x="21" y="91"/>
                </a:lnTo>
                <a:lnTo>
                  <a:pt x="22" y="94"/>
                </a:lnTo>
                <a:lnTo>
                  <a:pt x="22" y="97"/>
                </a:lnTo>
                <a:lnTo>
                  <a:pt x="23" y="97"/>
                </a:lnTo>
                <a:lnTo>
                  <a:pt x="23" y="98"/>
                </a:lnTo>
                <a:lnTo>
                  <a:pt x="24" y="99"/>
                </a:lnTo>
                <a:lnTo>
                  <a:pt x="27" y="98"/>
                </a:lnTo>
                <a:lnTo>
                  <a:pt x="28" y="98"/>
                </a:lnTo>
                <a:lnTo>
                  <a:pt x="28" y="92"/>
                </a:lnTo>
                <a:lnTo>
                  <a:pt x="29" y="92"/>
                </a:lnTo>
                <a:lnTo>
                  <a:pt x="27" y="90"/>
                </a:lnTo>
                <a:lnTo>
                  <a:pt x="27" y="88"/>
                </a:lnTo>
                <a:lnTo>
                  <a:pt x="25" y="88"/>
                </a:lnTo>
                <a:lnTo>
                  <a:pt x="25" y="86"/>
                </a:lnTo>
                <a:lnTo>
                  <a:pt x="28" y="86"/>
                </a:lnTo>
                <a:lnTo>
                  <a:pt x="30" y="81"/>
                </a:lnTo>
                <a:lnTo>
                  <a:pt x="35" y="81"/>
                </a:lnTo>
                <a:lnTo>
                  <a:pt x="35" y="80"/>
                </a:lnTo>
                <a:lnTo>
                  <a:pt x="31" y="80"/>
                </a:lnTo>
                <a:lnTo>
                  <a:pt x="33" y="79"/>
                </a:lnTo>
                <a:lnTo>
                  <a:pt x="33" y="78"/>
                </a:lnTo>
                <a:lnTo>
                  <a:pt x="35" y="75"/>
                </a:lnTo>
                <a:lnTo>
                  <a:pt x="36" y="73"/>
                </a:lnTo>
                <a:lnTo>
                  <a:pt x="39" y="73"/>
                </a:lnTo>
                <a:lnTo>
                  <a:pt x="39" y="74"/>
                </a:lnTo>
                <a:lnTo>
                  <a:pt x="40" y="74"/>
                </a:lnTo>
                <a:lnTo>
                  <a:pt x="40" y="73"/>
                </a:lnTo>
                <a:lnTo>
                  <a:pt x="42" y="73"/>
                </a:lnTo>
                <a:lnTo>
                  <a:pt x="43" y="74"/>
                </a:lnTo>
                <a:lnTo>
                  <a:pt x="43" y="77"/>
                </a:lnTo>
                <a:lnTo>
                  <a:pt x="46" y="79"/>
                </a:lnTo>
                <a:lnTo>
                  <a:pt x="46" y="81"/>
                </a:lnTo>
                <a:lnTo>
                  <a:pt x="45" y="81"/>
                </a:lnTo>
                <a:lnTo>
                  <a:pt x="42" y="84"/>
                </a:lnTo>
                <a:lnTo>
                  <a:pt x="43" y="85"/>
                </a:lnTo>
                <a:lnTo>
                  <a:pt x="42" y="85"/>
                </a:lnTo>
                <a:lnTo>
                  <a:pt x="41" y="86"/>
                </a:lnTo>
                <a:lnTo>
                  <a:pt x="41" y="92"/>
                </a:lnTo>
                <a:lnTo>
                  <a:pt x="42" y="92"/>
                </a:lnTo>
                <a:lnTo>
                  <a:pt x="42" y="91"/>
                </a:lnTo>
                <a:lnTo>
                  <a:pt x="43" y="88"/>
                </a:lnTo>
                <a:lnTo>
                  <a:pt x="46" y="88"/>
                </a:lnTo>
                <a:lnTo>
                  <a:pt x="45" y="87"/>
                </a:lnTo>
                <a:lnTo>
                  <a:pt x="45" y="86"/>
                </a:lnTo>
                <a:lnTo>
                  <a:pt x="48" y="86"/>
                </a:lnTo>
                <a:lnTo>
                  <a:pt x="49" y="87"/>
                </a:lnTo>
                <a:lnTo>
                  <a:pt x="49" y="86"/>
                </a:lnTo>
                <a:lnTo>
                  <a:pt x="51" y="86"/>
                </a:lnTo>
                <a:lnTo>
                  <a:pt x="51" y="88"/>
                </a:lnTo>
                <a:lnTo>
                  <a:pt x="49" y="90"/>
                </a:lnTo>
                <a:lnTo>
                  <a:pt x="49" y="92"/>
                </a:lnTo>
                <a:lnTo>
                  <a:pt x="51" y="92"/>
                </a:lnTo>
                <a:lnTo>
                  <a:pt x="51" y="93"/>
                </a:lnTo>
                <a:lnTo>
                  <a:pt x="52" y="93"/>
                </a:lnTo>
                <a:lnTo>
                  <a:pt x="52" y="94"/>
                </a:lnTo>
                <a:lnTo>
                  <a:pt x="53" y="94"/>
                </a:lnTo>
                <a:lnTo>
                  <a:pt x="53" y="93"/>
                </a:lnTo>
                <a:lnTo>
                  <a:pt x="54" y="93"/>
                </a:lnTo>
                <a:lnTo>
                  <a:pt x="54" y="92"/>
                </a:lnTo>
                <a:lnTo>
                  <a:pt x="53" y="91"/>
                </a:lnTo>
                <a:lnTo>
                  <a:pt x="52" y="92"/>
                </a:lnTo>
                <a:lnTo>
                  <a:pt x="51" y="92"/>
                </a:lnTo>
                <a:lnTo>
                  <a:pt x="52" y="91"/>
                </a:lnTo>
                <a:lnTo>
                  <a:pt x="52" y="86"/>
                </a:lnTo>
                <a:lnTo>
                  <a:pt x="53" y="84"/>
                </a:lnTo>
                <a:lnTo>
                  <a:pt x="52" y="81"/>
                </a:lnTo>
                <a:lnTo>
                  <a:pt x="51" y="81"/>
                </a:lnTo>
                <a:lnTo>
                  <a:pt x="48" y="83"/>
                </a:lnTo>
                <a:lnTo>
                  <a:pt x="47" y="84"/>
                </a:lnTo>
                <a:lnTo>
                  <a:pt x="46" y="84"/>
                </a:lnTo>
                <a:lnTo>
                  <a:pt x="46" y="81"/>
                </a:lnTo>
                <a:lnTo>
                  <a:pt x="48" y="80"/>
                </a:lnTo>
                <a:lnTo>
                  <a:pt x="48" y="79"/>
                </a:lnTo>
                <a:lnTo>
                  <a:pt x="49" y="78"/>
                </a:lnTo>
                <a:lnTo>
                  <a:pt x="48" y="77"/>
                </a:lnTo>
                <a:lnTo>
                  <a:pt x="47" y="77"/>
                </a:lnTo>
                <a:lnTo>
                  <a:pt x="47" y="75"/>
                </a:lnTo>
                <a:lnTo>
                  <a:pt x="46" y="74"/>
                </a:lnTo>
                <a:lnTo>
                  <a:pt x="46" y="72"/>
                </a:lnTo>
                <a:lnTo>
                  <a:pt x="48" y="69"/>
                </a:lnTo>
                <a:lnTo>
                  <a:pt x="47" y="68"/>
                </a:lnTo>
                <a:lnTo>
                  <a:pt x="47" y="67"/>
                </a:lnTo>
                <a:lnTo>
                  <a:pt x="46" y="67"/>
                </a:lnTo>
                <a:lnTo>
                  <a:pt x="46" y="65"/>
                </a:lnTo>
                <a:lnTo>
                  <a:pt x="49" y="61"/>
                </a:lnTo>
                <a:lnTo>
                  <a:pt x="49" y="60"/>
                </a:lnTo>
                <a:lnTo>
                  <a:pt x="51" y="60"/>
                </a:lnTo>
                <a:lnTo>
                  <a:pt x="51" y="59"/>
                </a:lnTo>
                <a:lnTo>
                  <a:pt x="58" y="56"/>
                </a:lnTo>
                <a:lnTo>
                  <a:pt x="59" y="56"/>
                </a:lnTo>
                <a:lnTo>
                  <a:pt x="64" y="59"/>
                </a:lnTo>
                <a:lnTo>
                  <a:pt x="62" y="60"/>
                </a:lnTo>
                <a:lnTo>
                  <a:pt x="64" y="61"/>
                </a:lnTo>
                <a:lnTo>
                  <a:pt x="65" y="61"/>
                </a:lnTo>
                <a:lnTo>
                  <a:pt x="65" y="60"/>
                </a:lnTo>
                <a:lnTo>
                  <a:pt x="66" y="57"/>
                </a:lnTo>
                <a:lnTo>
                  <a:pt x="67" y="56"/>
                </a:lnTo>
                <a:lnTo>
                  <a:pt x="67" y="55"/>
                </a:lnTo>
                <a:lnTo>
                  <a:pt x="70" y="55"/>
                </a:lnTo>
                <a:lnTo>
                  <a:pt x="71" y="54"/>
                </a:lnTo>
                <a:lnTo>
                  <a:pt x="77" y="54"/>
                </a:lnTo>
                <a:lnTo>
                  <a:pt x="74" y="51"/>
                </a:lnTo>
                <a:lnTo>
                  <a:pt x="73" y="51"/>
                </a:lnTo>
                <a:lnTo>
                  <a:pt x="73" y="50"/>
                </a:lnTo>
                <a:lnTo>
                  <a:pt x="72" y="50"/>
                </a:lnTo>
                <a:lnTo>
                  <a:pt x="71" y="53"/>
                </a:lnTo>
                <a:lnTo>
                  <a:pt x="70" y="53"/>
                </a:lnTo>
                <a:lnTo>
                  <a:pt x="68" y="54"/>
                </a:lnTo>
                <a:lnTo>
                  <a:pt x="68" y="53"/>
                </a:lnTo>
                <a:lnTo>
                  <a:pt x="66" y="53"/>
                </a:lnTo>
                <a:lnTo>
                  <a:pt x="64" y="55"/>
                </a:lnTo>
                <a:lnTo>
                  <a:pt x="60" y="55"/>
                </a:lnTo>
                <a:lnTo>
                  <a:pt x="49" y="59"/>
                </a:lnTo>
                <a:lnTo>
                  <a:pt x="48" y="57"/>
                </a:lnTo>
                <a:lnTo>
                  <a:pt x="43" y="54"/>
                </a:lnTo>
                <a:lnTo>
                  <a:pt x="43" y="55"/>
                </a:lnTo>
                <a:lnTo>
                  <a:pt x="42" y="56"/>
                </a:lnTo>
                <a:lnTo>
                  <a:pt x="41" y="56"/>
                </a:lnTo>
                <a:lnTo>
                  <a:pt x="41" y="57"/>
                </a:lnTo>
                <a:lnTo>
                  <a:pt x="40" y="57"/>
                </a:lnTo>
                <a:lnTo>
                  <a:pt x="40" y="56"/>
                </a:lnTo>
                <a:lnTo>
                  <a:pt x="37" y="56"/>
                </a:lnTo>
                <a:lnTo>
                  <a:pt x="37" y="57"/>
                </a:lnTo>
                <a:lnTo>
                  <a:pt x="36" y="57"/>
                </a:lnTo>
                <a:lnTo>
                  <a:pt x="35" y="59"/>
                </a:lnTo>
                <a:lnTo>
                  <a:pt x="35" y="60"/>
                </a:lnTo>
                <a:lnTo>
                  <a:pt x="34" y="59"/>
                </a:lnTo>
                <a:lnTo>
                  <a:pt x="34" y="57"/>
                </a:lnTo>
                <a:lnTo>
                  <a:pt x="33" y="59"/>
                </a:lnTo>
                <a:lnTo>
                  <a:pt x="31" y="59"/>
                </a:lnTo>
                <a:lnTo>
                  <a:pt x="33" y="60"/>
                </a:lnTo>
                <a:lnTo>
                  <a:pt x="30" y="61"/>
                </a:lnTo>
                <a:lnTo>
                  <a:pt x="29" y="62"/>
                </a:lnTo>
                <a:lnTo>
                  <a:pt x="27" y="61"/>
                </a:lnTo>
                <a:lnTo>
                  <a:pt x="25" y="62"/>
                </a:lnTo>
                <a:lnTo>
                  <a:pt x="24" y="62"/>
                </a:lnTo>
                <a:lnTo>
                  <a:pt x="24" y="65"/>
                </a:lnTo>
                <a:lnTo>
                  <a:pt x="23" y="66"/>
                </a:lnTo>
                <a:lnTo>
                  <a:pt x="23" y="67"/>
                </a:lnTo>
                <a:lnTo>
                  <a:pt x="22" y="68"/>
                </a:lnTo>
                <a:lnTo>
                  <a:pt x="22" y="71"/>
                </a:lnTo>
                <a:lnTo>
                  <a:pt x="21" y="73"/>
                </a:lnTo>
                <a:lnTo>
                  <a:pt x="18" y="73"/>
                </a:lnTo>
                <a:lnTo>
                  <a:pt x="18" y="74"/>
                </a:lnTo>
                <a:lnTo>
                  <a:pt x="17" y="74"/>
                </a:lnTo>
                <a:lnTo>
                  <a:pt x="17" y="80"/>
                </a:lnTo>
                <a:lnTo>
                  <a:pt x="18" y="80"/>
                </a:lnTo>
                <a:lnTo>
                  <a:pt x="20" y="81"/>
                </a:lnTo>
                <a:lnTo>
                  <a:pt x="18" y="81"/>
                </a:lnTo>
                <a:lnTo>
                  <a:pt x="18" y="83"/>
                </a:lnTo>
                <a:lnTo>
                  <a:pt x="17" y="83"/>
                </a:lnTo>
                <a:lnTo>
                  <a:pt x="16" y="81"/>
                </a:lnTo>
                <a:lnTo>
                  <a:pt x="15" y="81"/>
                </a:lnTo>
                <a:lnTo>
                  <a:pt x="15" y="83"/>
                </a:lnTo>
                <a:lnTo>
                  <a:pt x="16" y="83"/>
                </a:lnTo>
                <a:lnTo>
                  <a:pt x="17" y="84"/>
                </a:lnTo>
                <a:lnTo>
                  <a:pt x="21" y="83"/>
                </a:lnTo>
                <a:lnTo>
                  <a:pt x="22" y="83"/>
                </a:lnTo>
                <a:lnTo>
                  <a:pt x="21" y="85"/>
                </a:lnTo>
                <a:lnTo>
                  <a:pt x="22" y="86"/>
                </a:lnTo>
                <a:lnTo>
                  <a:pt x="22" y="88"/>
                </a:lnTo>
                <a:lnTo>
                  <a:pt x="20" y="88"/>
                </a:lnTo>
                <a:lnTo>
                  <a:pt x="20" y="90"/>
                </a:lnTo>
                <a:lnTo>
                  <a:pt x="17" y="87"/>
                </a:lnTo>
                <a:lnTo>
                  <a:pt x="17" y="86"/>
                </a:lnTo>
                <a:lnTo>
                  <a:pt x="15" y="84"/>
                </a:lnTo>
                <a:lnTo>
                  <a:pt x="14" y="84"/>
                </a:lnTo>
                <a:lnTo>
                  <a:pt x="12" y="83"/>
                </a:lnTo>
                <a:lnTo>
                  <a:pt x="11" y="83"/>
                </a:lnTo>
                <a:lnTo>
                  <a:pt x="10" y="81"/>
                </a:lnTo>
                <a:lnTo>
                  <a:pt x="10" y="77"/>
                </a:lnTo>
                <a:lnTo>
                  <a:pt x="9" y="77"/>
                </a:lnTo>
                <a:lnTo>
                  <a:pt x="8" y="75"/>
                </a:lnTo>
                <a:lnTo>
                  <a:pt x="6" y="75"/>
                </a:lnTo>
                <a:lnTo>
                  <a:pt x="6" y="73"/>
                </a:lnTo>
                <a:lnTo>
                  <a:pt x="8" y="71"/>
                </a:lnTo>
                <a:lnTo>
                  <a:pt x="16" y="57"/>
                </a:lnTo>
                <a:lnTo>
                  <a:pt x="17" y="56"/>
                </a:lnTo>
                <a:lnTo>
                  <a:pt x="21" y="50"/>
                </a:lnTo>
                <a:lnTo>
                  <a:pt x="23" y="49"/>
                </a:lnTo>
                <a:lnTo>
                  <a:pt x="24" y="49"/>
                </a:lnTo>
                <a:lnTo>
                  <a:pt x="28" y="50"/>
                </a:lnTo>
                <a:lnTo>
                  <a:pt x="29" y="50"/>
                </a:lnTo>
                <a:lnTo>
                  <a:pt x="34" y="49"/>
                </a:lnTo>
                <a:lnTo>
                  <a:pt x="35" y="48"/>
                </a:lnTo>
                <a:lnTo>
                  <a:pt x="37" y="47"/>
                </a:lnTo>
                <a:lnTo>
                  <a:pt x="37" y="45"/>
                </a:lnTo>
                <a:lnTo>
                  <a:pt x="48" y="48"/>
                </a:lnTo>
                <a:lnTo>
                  <a:pt x="52" y="47"/>
                </a:lnTo>
                <a:lnTo>
                  <a:pt x="56" y="45"/>
                </a:lnTo>
                <a:lnTo>
                  <a:pt x="60" y="43"/>
                </a:lnTo>
                <a:lnTo>
                  <a:pt x="62" y="40"/>
                </a:lnTo>
                <a:lnTo>
                  <a:pt x="72" y="23"/>
                </a:lnTo>
                <a:lnTo>
                  <a:pt x="73" y="20"/>
                </a:lnTo>
                <a:lnTo>
                  <a:pt x="77" y="17"/>
                </a:lnTo>
                <a:lnTo>
                  <a:pt x="78" y="14"/>
                </a:lnTo>
                <a:lnTo>
                  <a:pt x="78" y="13"/>
                </a:lnTo>
                <a:lnTo>
                  <a:pt x="79" y="12"/>
                </a:lnTo>
                <a:lnTo>
                  <a:pt x="85" y="12"/>
                </a:lnTo>
                <a:lnTo>
                  <a:pt x="92" y="10"/>
                </a:lnTo>
                <a:lnTo>
                  <a:pt x="96" y="7"/>
                </a:lnTo>
                <a:lnTo>
                  <a:pt x="101" y="2"/>
                </a:lnTo>
                <a:lnTo>
                  <a:pt x="104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3" name="Freeform 48">
            <a:extLst>
              <a:ext uri="{FF2B5EF4-FFF2-40B4-BE49-F238E27FC236}">
                <a16:creationId xmlns:a16="http://schemas.microsoft.com/office/drawing/2014/main" id="{271F7506-24D6-4FB2-B28C-A15247BF389B}"/>
              </a:ext>
            </a:extLst>
          </p:cNvPr>
          <p:cNvSpPr>
            <a:spLocks/>
          </p:cNvSpPr>
          <p:nvPr/>
        </p:nvSpPr>
        <p:spPr bwMode="auto">
          <a:xfrm>
            <a:off x="1969206" y="4616176"/>
            <a:ext cx="412948" cy="236178"/>
          </a:xfrm>
          <a:custGeom>
            <a:avLst/>
            <a:gdLst/>
            <a:ahLst/>
            <a:cxnLst>
              <a:cxn ang="0">
                <a:pos x="108" y="8"/>
              </a:cxn>
              <a:cxn ang="0">
                <a:pos x="115" y="16"/>
              </a:cxn>
              <a:cxn ang="0">
                <a:pos x="123" y="2"/>
              </a:cxn>
              <a:cxn ang="0">
                <a:pos x="130" y="4"/>
              </a:cxn>
              <a:cxn ang="0">
                <a:pos x="136" y="14"/>
              </a:cxn>
              <a:cxn ang="0">
                <a:pos x="152" y="20"/>
              </a:cxn>
              <a:cxn ang="0">
                <a:pos x="164" y="24"/>
              </a:cxn>
              <a:cxn ang="0">
                <a:pos x="170" y="27"/>
              </a:cxn>
              <a:cxn ang="0">
                <a:pos x="184" y="31"/>
              </a:cxn>
              <a:cxn ang="0">
                <a:pos x="176" y="39"/>
              </a:cxn>
              <a:cxn ang="0">
                <a:pos x="182" y="48"/>
              </a:cxn>
              <a:cxn ang="0">
                <a:pos x="192" y="63"/>
              </a:cxn>
              <a:cxn ang="0">
                <a:pos x="207" y="54"/>
              </a:cxn>
              <a:cxn ang="0">
                <a:pos x="205" y="49"/>
              </a:cxn>
              <a:cxn ang="0">
                <a:pos x="208" y="42"/>
              </a:cxn>
              <a:cxn ang="0">
                <a:pos x="222" y="48"/>
              </a:cxn>
              <a:cxn ang="0">
                <a:pos x="235" y="52"/>
              </a:cxn>
              <a:cxn ang="0">
                <a:pos x="239" y="57"/>
              </a:cxn>
              <a:cxn ang="0">
                <a:pos x="240" y="65"/>
              </a:cxn>
              <a:cxn ang="0">
                <a:pos x="251" y="67"/>
              </a:cxn>
              <a:cxn ang="0">
                <a:pos x="260" y="72"/>
              </a:cxn>
              <a:cxn ang="0">
                <a:pos x="266" y="73"/>
              </a:cxn>
              <a:cxn ang="0">
                <a:pos x="276" y="79"/>
              </a:cxn>
              <a:cxn ang="0">
                <a:pos x="281" y="90"/>
              </a:cxn>
              <a:cxn ang="0">
                <a:pos x="285" y="101"/>
              </a:cxn>
              <a:cxn ang="0">
                <a:pos x="272" y="103"/>
              </a:cxn>
              <a:cxn ang="0">
                <a:pos x="256" y="121"/>
              </a:cxn>
              <a:cxn ang="0">
                <a:pos x="245" y="139"/>
              </a:cxn>
              <a:cxn ang="0">
                <a:pos x="226" y="145"/>
              </a:cxn>
              <a:cxn ang="0">
                <a:pos x="210" y="149"/>
              </a:cxn>
              <a:cxn ang="0">
                <a:pos x="201" y="152"/>
              </a:cxn>
              <a:cxn ang="0">
                <a:pos x="189" y="146"/>
              </a:cxn>
              <a:cxn ang="0">
                <a:pos x="167" y="150"/>
              </a:cxn>
              <a:cxn ang="0">
                <a:pos x="155" y="144"/>
              </a:cxn>
              <a:cxn ang="0">
                <a:pos x="139" y="135"/>
              </a:cxn>
              <a:cxn ang="0">
                <a:pos x="127" y="134"/>
              </a:cxn>
              <a:cxn ang="0">
                <a:pos x="122" y="149"/>
              </a:cxn>
              <a:cxn ang="0">
                <a:pos x="110" y="162"/>
              </a:cxn>
              <a:cxn ang="0">
                <a:pos x="99" y="160"/>
              </a:cxn>
              <a:cxn ang="0">
                <a:pos x="83" y="159"/>
              </a:cxn>
              <a:cxn ang="0">
                <a:pos x="80" y="153"/>
              </a:cxn>
              <a:cxn ang="0">
                <a:pos x="70" y="143"/>
              </a:cxn>
              <a:cxn ang="0">
                <a:pos x="62" y="137"/>
              </a:cxn>
              <a:cxn ang="0">
                <a:pos x="47" y="127"/>
              </a:cxn>
              <a:cxn ang="0">
                <a:pos x="37" y="114"/>
              </a:cxn>
              <a:cxn ang="0">
                <a:pos x="24" y="107"/>
              </a:cxn>
              <a:cxn ang="0">
                <a:pos x="20" y="95"/>
              </a:cxn>
              <a:cxn ang="0">
                <a:pos x="14" y="85"/>
              </a:cxn>
              <a:cxn ang="0">
                <a:pos x="17" y="73"/>
              </a:cxn>
              <a:cxn ang="0">
                <a:pos x="5" y="58"/>
              </a:cxn>
              <a:cxn ang="0">
                <a:pos x="0" y="48"/>
              </a:cxn>
              <a:cxn ang="0">
                <a:pos x="8" y="54"/>
              </a:cxn>
              <a:cxn ang="0">
                <a:pos x="12" y="52"/>
              </a:cxn>
              <a:cxn ang="0">
                <a:pos x="27" y="43"/>
              </a:cxn>
              <a:cxn ang="0">
                <a:pos x="40" y="41"/>
              </a:cxn>
              <a:cxn ang="0">
                <a:pos x="52" y="31"/>
              </a:cxn>
              <a:cxn ang="0">
                <a:pos x="60" y="28"/>
              </a:cxn>
              <a:cxn ang="0">
                <a:pos x="76" y="21"/>
              </a:cxn>
              <a:cxn ang="0">
                <a:pos x="91" y="11"/>
              </a:cxn>
              <a:cxn ang="0">
                <a:pos x="93" y="4"/>
              </a:cxn>
            </a:cxnLst>
            <a:rect l="0" t="0" r="r" b="b"/>
            <a:pathLst>
              <a:path w="285" h="163">
                <a:moveTo>
                  <a:pt x="93" y="0"/>
                </a:moveTo>
                <a:lnTo>
                  <a:pt x="97" y="0"/>
                </a:lnTo>
                <a:lnTo>
                  <a:pt x="97" y="2"/>
                </a:lnTo>
                <a:lnTo>
                  <a:pt x="103" y="2"/>
                </a:lnTo>
                <a:lnTo>
                  <a:pt x="103" y="3"/>
                </a:lnTo>
                <a:lnTo>
                  <a:pt x="105" y="3"/>
                </a:lnTo>
                <a:lnTo>
                  <a:pt x="105" y="9"/>
                </a:lnTo>
                <a:lnTo>
                  <a:pt x="108" y="8"/>
                </a:lnTo>
                <a:lnTo>
                  <a:pt x="108" y="9"/>
                </a:lnTo>
                <a:lnTo>
                  <a:pt x="109" y="9"/>
                </a:lnTo>
                <a:lnTo>
                  <a:pt x="108" y="10"/>
                </a:lnTo>
                <a:lnTo>
                  <a:pt x="108" y="14"/>
                </a:lnTo>
                <a:lnTo>
                  <a:pt x="109" y="14"/>
                </a:lnTo>
                <a:lnTo>
                  <a:pt x="111" y="15"/>
                </a:lnTo>
                <a:lnTo>
                  <a:pt x="113" y="16"/>
                </a:lnTo>
                <a:lnTo>
                  <a:pt x="115" y="16"/>
                </a:lnTo>
                <a:lnTo>
                  <a:pt x="115" y="14"/>
                </a:lnTo>
                <a:lnTo>
                  <a:pt x="116" y="12"/>
                </a:lnTo>
                <a:lnTo>
                  <a:pt x="123" y="12"/>
                </a:lnTo>
                <a:lnTo>
                  <a:pt x="123" y="5"/>
                </a:lnTo>
                <a:lnTo>
                  <a:pt x="122" y="4"/>
                </a:lnTo>
                <a:lnTo>
                  <a:pt x="122" y="3"/>
                </a:lnTo>
                <a:lnTo>
                  <a:pt x="123" y="3"/>
                </a:lnTo>
                <a:lnTo>
                  <a:pt x="123" y="2"/>
                </a:lnTo>
                <a:lnTo>
                  <a:pt x="124" y="2"/>
                </a:lnTo>
                <a:lnTo>
                  <a:pt x="124" y="3"/>
                </a:lnTo>
                <a:lnTo>
                  <a:pt x="127" y="3"/>
                </a:lnTo>
                <a:lnTo>
                  <a:pt x="128" y="4"/>
                </a:lnTo>
                <a:lnTo>
                  <a:pt x="129" y="4"/>
                </a:lnTo>
                <a:lnTo>
                  <a:pt x="129" y="3"/>
                </a:lnTo>
                <a:lnTo>
                  <a:pt x="130" y="2"/>
                </a:lnTo>
                <a:lnTo>
                  <a:pt x="130" y="4"/>
                </a:lnTo>
                <a:lnTo>
                  <a:pt x="133" y="4"/>
                </a:lnTo>
                <a:lnTo>
                  <a:pt x="135" y="6"/>
                </a:lnTo>
                <a:lnTo>
                  <a:pt x="135" y="8"/>
                </a:lnTo>
                <a:lnTo>
                  <a:pt x="134" y="9"/>
                </a:lnTo>
                <a:lnTo>
                  <a:pt x="135" y="10"/>
                </a:lnTo>
                <a:lnTo>
                  <a:pt x="135" y="12"/>
                </a:lnTo>
                <a:lnTo>
                  <a:pt x="136" y="12"/>
                </a:lnTo>
                <a:lnTo>
                  <a:pt x="136" y="14"/>
                </a:lnTo>
                <a:lnTo>
                  <a:pt x="139" y="14"/>
                </a:lnTo>
                <a:lnTo>
                  <a:pt x="139" y="18"/>
                </a:lnTo>
                <a:lnTo>
                  <a:pt x="140" y="18"/>
                </a:lnTo>
                <a:lnTo>
                  <a:pt x="140" y="17"/>
                </a:lnTo>
                <a:lnTo>
                  <a:pt x="141" y="16"/>
                </a:lnTo>
                <a:lnTo>
                  <a:pt x="142" y="16"/>
                </a:lnTo>
                <a:lnTo>
                  <a:pt x="151" y="20"/>
                </a:lnTo>
                <a:lnTo>
                  <a:pt x="152" y="20"/>
                </a:lnTo>
                <a:lnTo>
                  <a:pt x="152" y="21"/>
                </a:lnTo>
                <a:lnTo>
                  <a:pt x="153" y="21"/>
                </a:lnTo>
                <a:lnTo>
                  <a:pt x="157" y="20"/>
                </a:lnTo>
                <a:lnTo>
                  <a:pt x="158" y="21"/>
                </a:lnTo>
                <a:lnTo>
                  <a:pt x="159" y="24"/>
                </a:lnTo>
                <a:lnTo>
                  <a:pt x="161" y="24"/>
                </a:lnTo>
                <a:lnTo>
                  <a:pt x="164" y="23"/>
                </a:lnTo>
                <a:lnTo>
                  <a:pt x="164" y="24"/>
                </a:lnTo>
                <a:lnTo>
                  <a:pt x="165" y="24"/>
                </a:lnTo>
                <a:lnTo>
                  <a:pt x="165" y="25"/>
                </a:lnTo>
                <a:lnTo>
                  <a:pt x="166" y="27"/>
                </a:lnTo>
                <a:lnTo>
                  <a:pt x="166" y="28"/>
                </a:lnTo>
                <a:lnTo>
                  <a:pt x="165" y="28"/>
                </a:lnTo>
                <a:lnTo>
                  <a:pt x="165" y="29"/>
                </a:lnTo>
                <a:lnTo>
                  <a:pt x="167" y="29"/>
                </a:lnTo>
                <a:lnTo>
                  <a:pt x="170" y="27"/>
                </a:lnTo>
                <a:lnTo>
                  <a:pt x="171" y="27"/>
                </a:lnTo>
                <a:lnTo>
                  <a:pt x="173" y="28"/>
                </a:lnTo>
                <a:lnTo>
                  <a:pt x="175" y="28"/>
                </a:lnTo>
                <a:lnTo>
                  <a:pt x="175" y="27"/>
                </a:lnTo>
                <a:lnTo>
                  <a:pt x="176" y="25"/>
                </a:lnTo>
                <a:lnTo>
                  <a:pt x="179" y="25"/>
                </a:lnTo>
                <a:lnTo>
                  <a:pt x="184" y="30"/>
                </a:lnTo>
                <a:lnTo>
                  <a:pt x="184" y="31"/>
                </a:lnTo>
                <a:lnTo>
                  <a:pt x="183" y="33"/>
                </a:lnTo>
                <a:lnTo>
                  <a:pt x="183" y="35"/>
                </a:lnTo>
                <a:lnTo>
                  <a:pt x="182" y="35"/>
                </a:lnTo>
                <a:lnTo>
                  <a:pt x="182" y="36"/>
                </a:lnTo>
                <a:lnTo>
                  <a:pt x="178" y="36"/>
                </a:lnTo>
                <a:lnTo>
                  <a:pt x="178" y="37"/>
                </a:lnTo>
                <a:lnTo>
                  <a:pt x="177" y="39"/>
                </a:lnTo>
                <a:lnTo>
                  <a:pt x="176" y="39"/>
                </a:lnTo>
                <a:lnTo>
                  <a:pt x="176" y="40"/>
                </a:lnTo>
                <a:lnTo>
                  <a:pt x="175" y="40"/>
                </a:lnTo>
                <a:lnTo>
                  <a:pt x="175" y="42"/>
                </a:lnTo>
                <a:lnTo>
                  <a:pt x="176" y="42"/>
                </a:lnTo>
                <a:lnTo>
                  <a:pt x="177" y="45"/>
                </a:lnTo>
                <a:lnTo>
                  <a:pt x="180" y="45"/>
                </a:lnTo>
                <a:lnTo>
                  <a:pt x="180" y="47"/>
                </a:lnTo>
                <a:lnTo>
                  <a:pt x="182" y="48"/>
                </a:lnTo>
                <a:lnTo>
                  <a:pt x="184" y="49"/>
                </a:lnTo>
                <a:lnTo>
                  <a:pt x="185" y="51"/>
                </a:lnTo>
                <a:lnTo>
                  <a:pt x="186" y="53"/>
                </a:lnTo>
                <a:lnTo>
                  <a:pt x="189" y="55"/>
                </a:lnTo>
                <a:lnTo>
                  <a:pt x="189" y="57"/>
                </a:lnTo>
                <a:lnTo>
                  <a:pt x="190" y="59"/>
                </a:lnTo>
                <a:lnTo>
                  <a:pt x="190" y="60"/>
                </a:lnTo>
                <a:lnTo>
                  <a:pt x="192" y="63"/>
                </a:lnTo>
                <a:lnTo>
                  <a:pt x="196" y="63"/>
                </a:lnTo>
                <a:lnTo>
                  <a:pt x="198" y="60"/>
                </a:lnTo>
                <a:lnTo>
                  <a:pt x="198" y="59"/>
                </a:lnTo>
                <a:lnTo>
                  <a:pt x="201" y="57"/>
                </a:lnTo>
                <a:lnTo>
                  <a:pt x="203" y="57"/>
                </a:lnTo>
                <a:lnTo>
                  <a:pt x="204" y="55"/>
                </a:lnTo>
                <a:lnTo>
                  <a:pt x="207" y="55"/>
                </a:lnTo>
                <a:lnTo>
                  <a:pt x="207" y="54"/>
                </a:lnTo>
                <a:lnTo>
                  <a:pt x="208" y="54"/>
                </a:lnTo>
                <a:lnTo>
                  <a:pt x="208" y="55"/>
                </a:lnTo>
                <a:lnTo>
                  <a:pt x="209" y="55"/>
                </a:lnTo>
                <a:lnTo>
                  <a:pt x="209" y="54"/>
                </a:lnTo>
                <a:lnTo>
                  <a:pt x="208" y="53"/>
                </a:lnTo>
                <a:lnTo>
                  <a:pt x="208" y="51"/>
                </a:lnTo>
                <a:lnTo>
                  <a:pt x="207" y="49"/>
                </a:lnTo>
                <a:lnTo>
                  <a:pt x="205" y="49"/>
                </a:lnTo>
                <a:lnTo>
                  <a:pt x="205" y="48"/>
                </a:lnTo>
                <a:lnTo>
                  <a:pt x="204" y="47"/>
                </a:lnTo>
                <a:lnTo>
                  <a:pt x="204" y="45"/>
                </a:lnTo>
                <a:lnTo>
                  <a:pt x="203" y="42"/>
                </a:lnTo>
                <a:lnTo>
                  <a:pt x="202" y="41"/>
                </a:lnTo>
                <a:lnTo>
                  <a:pt x="205" y="41"/>
                </a:lnTo>
                <a:lnTo>
                  <a:pt x="207" y="42"/>
                </a:lnTo>
                <a:lnTo>
                  <a:pt x="208" y="42"/>
                </a:lnTo>
                <a:lnTo>
                  <a:pt x="211" y="43"/>
                </a:lnTo>
                <a:lnTo>
                  <a:pt x="213" y="43"/>
                </a:lnTo>
                <a:lnTo>
                  <a:pt x="213" y="45"/>
                </a:lnTo>
                <a:lnTo>
                  <a:pt x="216" y="45"/>
                </a:lnTo>
                <a:lnTo>
                  <a:pt x="216" y="47"/>
                </a:lnTo>
                <a:lnTo>
                  <a:pt x="217" y="47"/>
                </a:lnTo>
                <a:lnTo>
                  <a:pt x="219" y="48"/>
                </a:lnTo>
                <a:lnTo>
                  <a:pt x="222" y="48"/>
                </a:lnTo>
                <a:lnTo>
                  <a:pt x="222" y="52"/>
                </a:lnTo>
                <a:lnTo>
                  <a:pt x="223" y="53"/>
                </a:lnTo>
                <a:lnTo>
                  <a:pt x="223" y="52"/>
                </a:lnTo>
                <a:lnTo>
                  <a:pt x="226" y="52"/>
                </a:lnTo>
                <a:lnTo>
                  <a:pt x="226" y="53"/>
                </a:lnTo>
                <a:lnTo>
                  <a:pt x="227" y="53"/>
                </a:lnTo>
                <a:lnTo>
                  <a:pt x="228" y="52"/>
                </a:lnTo>
                <a:lnTo>
                  <a:pt x="235" y="52"/>
                </a:lnTo>
                <a:lnTo>
                  <a:pt x="236" y="49"/>
                </a:lnTo>
                <a:lnTo>
                  <a:pt x="236" y="48"/>
                </a:lnTo>
                <a:lnTo>
                  <a:pt x="238" y="48"/>
                </a:lnTo>
                <a:lnTo>
                  <a:pt x="239" y="49"/>
                </a:lnTo>
                <a:lnTo>
                  <a:pt x="239" y="54"/>
                </a:lnTo>
                <a:lnTo>
                  <a:pt x="240" y="55"/>
                </a:lnTo>
                <a:lnTo>
                  <a:pt x="239" y="55"/>
                </a:lnTo>
                <a:lnTo>
                  <a:pt x="239" y="57"/>
                </a:lnTo>
                <a:lnTo>
                  <a:pt x="236" y="58"/>
                </a:lnTo>
                <a:lnTo>
                  <a:pt x="234" y="58"/>
                </a:lnTo>
                <a:lnTo>
                  <a:pt x="233" y="59"/>
                </a:lnTo>
                <a:lnTo>
                  <a:pt x="233" y="60"/>
                </a:lnTo>
                <a:lnTo>
                  <a:pt x="235" y="63"/>
                </a:lnTo>
                <a:lnTo>
                  <a:pt x="239" y="63"/>
                </a:lnTo>
                <a:lnTo>
                  <a:pt x="239" y="65"/>
                </a:lnTo>
                <a:lnTo>
                  <a:pt x="240" y="65"/>
                </a:lnTo>
                <a:lnTo>
                  <a:pt x="240" y="67"/>
                </a:lnTo>
                <a:lnTo>
                  <a:pt x="244" y="71"/>
                </a:lnTo>
                <a:lnTo>
                  <a:pt x="247" y="71"/>
                </a:lnTo>
                <a:lnTo>
                  <a:pt x="248" y="70"/>
                </a:lnTo>
                <a:lnTo>
                  <a:pt x="251" y="70"/>
                </a:lnTo>
                <a:lnTo>
                  <a:pt x="252" y="68"/>
                </a:lnTo>
                <a:lnTo>
                  <a:pt x="252" y="67"/>
                </a:lnTo>
                <a:lnTo>
                  <a:pt x="251" y="67"/>
                </a:lnTo>
                <a:lnTo>
                  <a:pt x="251" y="66"/>
                </a:lnTo>
                <a:lnTo>
                  <a:pt x="252" y="66"/>
                </a:lnTo>
                <a:lnTo>
                  <a:pt x="254" y="68"/>
                </a:lnTo>
                <a:lnTo>
                  <a:pt x="254" y="70"/>
                </a:lnTo>
                <a:lnTo>
                  <a:pt x="257" y="71"/>
                </a:lnTo>
                <a:lnTo>
                  <a:pt x="258" y="71"/>
                </a:lnTo>
                <a:lnTo>
                  <a:pt x="259" y="72"/>
                </a:lnTo>
                <a:lnTo>
                  <a:pt x="260" y="72"/>
                </a:lnTo>
                <a:lnTo>
                  <a:pt x="262" y="73"/>
                </a:lnTo>
                <a:lnTo>
                  <a:pt x="262" y="74"/>
                </a:lnTo>
                <a:lnTo>
                  <a:pt x="263" y="76"/>
                </a:lnTo>
                <a:lnTo>
                  <a:pt x="264" y="76"/>
                </a:lnTo>
                <a:lnTo>
                  <a:pt x="265" y="74"/>
                </a:lnTo>
                <a:lnTo>
                  <a:pt x="264" y="74"/>
                </a:lnTo>
                <a:lnTo>
                  <a:pt x="264" y="73"/>
                </a:lnTo>
                <a:lnTo>
                  <a:pt x="266" y="73"/>
                </a:lnTo>
                <a:lnTo>
                  <a:pt x="267" y="74"/>
                </a:lnTo>
                <a:lnTo>
                  <a:pt x="271" y="76"/>
                </a:lnTo>
                <a:lnTo>
                  <a:pt x="272" y="76"/>
                </a:lnTo>
                <a:lnTo>
                  <a:pt x="273" y="74"/>
                </a:lnTo>
                <a:lnTo>
                  <a:pt x="273" y="76"/>
                </a:lnTo>
                <a:lnTo>
                  <a:pt x="275" y="77"/>
                </a:lnTo>
                <a:lnTo>
                  <a:pt x="275" y="78"/>
                </a:lnTo>
                <a:lnTo>
                  <a:pt x="276" y="79"/>
                </a:lnTo>
                <a:lnTo>
                  <a:pt x="275" y="80"/>
                </a:lnTo>
                <a:lnTo>
                  <a:pt x="275" y="84"/>
                </a:lnTo>
                <a:lnTo>
                  <a:pt x="276" y="86"/>
                </a:lnTo>
                <a:lnTo>
                  <a:pt x="277" y="88"/>
                </a:lnTo>
                <a:lnTo>
                  <a:pt x="277" y="89"/>
                </a:lnTo>
                <a:lnTo>
                  <a:pt x="279" y="89"/>
                </a:lnTo>
                <a:lnTo>
                  <a:pt x="279" y="90"/>
                </a:lnTo>
                <a:lnTo>
                  <a:pt x="281" y="90"/>
                </a:lnTo>
                <a:lnTo>
                  <a:pt x="281" y="91"/>
                </a:lnTo>
                <a:lnTo>
                  <a:pt x="282" y="91"/>
                </a:lnTo>
                <a:lnTo>
                  <a:pt x="282" y="90"/>
                </a:lnTo>
                <a:lnTo>
                  <a:pt x="283" y="90"/>
                </a:lnTo>
                <a:lnTo>
                  <a:pt x="284" y="91"/>
                </a:lnTo>
                <a:lnTo>
                  <a:pt x="284" y="95"/>
                </a:lnTo>
                <a:lnTo>
                  <a:pt x="285" y="95"/>
                </a:lnTo>
                <a:lnTo>
                  <a:pt x="285" y="101"/>
                </a:lnTo>
                <a:lnTo>
                  <a:pt x="284" y="101"/>
                </a:lnTo>
                <a:lnTo>
                  <a:pt x="282" y="103"/>
                </a:lnTo>
                <a:lnTo>
                  <a:pt x="279" y="103"/>
                </a:lnTo>
                <a:lnTo>
                  <a:pt x="277" y="102"/>
                </a:lnTo>
                <a:lnTo>
                  <a:pt x="276" y="103"/>
                </a:lnTo>
                <a:lnTo>
                  <a:pt x="273" y="102"/>
                </a:lnTo>
                <a:lnTo>
                  <a:pt x="273" y="103"/>
                </a:lnTo>
                <a:lnTo>
                  <a:pt x="272" y="103"/>
                </a:lnTo>
                <a:lnTo>
                  <a:pt x="272" y="106"/>
                </a:lnTo>
                <a:lnTo>
                  <a:pt x="269" y="109"/>
                </a:lnTo>
                <a:lnTo>
                  <a:pt x="266" y="109"/>
                </a:lnTo>
                <a:lnTo>
                  <a:pt x="266" y="111"/>
                </a:lnTo>
                <a:lnTo>
                  <a:pt x="264" y="114"/>
                </a:lnTo>
                <a:lnTo>
                  <a:pt x="258" y="116"/>
                </a:lnTo>
                <a:lnTo>
                  <a:pt x="256" y="119"/>
                </a:lnTo>
                <a:lnTo>
                  <a:pt x="256" y="121"/>
                </a:lnTo>
                <a:lnTo>
                  <a:pt x="254" y="123"/>
                </a:lnTo>
                <a:lnTo>
                  <a:pt x="254" y="129"/>
                </a:lnTo>
                <a:lnTo>
                  <a:pt x="251" y="133"/>
                </a:lnTo>
                <a:lnTo>
                  <a:pt x="247" y="133"/>
                </a:lnTo>
                <a:lnTo>
                  <a:pt x="246" y="134"/>
                </a:lnTo>
                <a:lnTo>
                  <a:pt x="246" y="138"/>
                </a:lnTo>
                <a:lnTo>
                  <a:pt x="245" y="138"/>
                </a:lnTo>
                <a:lnTo>
                  <a:pt x="245" y="139"/>
                </a:lnTo>
                <a:lnTo>
                  <a:pt x="241" y="139"/>
                </a:lnTo>
                <a:lnTo>
                  <a:pt x="241" y="140"/>
                </a:lnTo>
                <a:lnTo>
                  <a:pt x="240" y="143"/>
                </a:lnTo>
                <a:lnTo>
                  <a:pt x="239" y="143"/>
                </a:lnTo>
                <a:lnTo>
                  <a:pt x="231" y="146"/>
                </a:lnTo>
                <a:lnTo>
                  <a:pt x="229" y="146"/>
                </a:lnTo>
                <a:lnTo>
                  <a:pt x="227" y="144"/>
                </a:lnTo>
                <a:lnTo>
                  <a:pt x="226" y="145"/>
                </a:lnTo>
                <a:lnTo>
                  <a:pt x="225" y="145"/>
                </a:lnTo>
                <a:lnTo>
                  <a:pt x="223" y="146"/>
                </a:lnTo>
                <a:lnTo>
                  <a:pt x="219" y="144"/>
                </a:lnTo>
                <a:lnTo>
                  <a:pt x="217" y="143"/>
                </a:lnTo>
                <a:lnTo>
                  <a:pt x="215" y="143"/>
                </a:lnTo>
                <a:lnTo>
                  <a:pt x="213" y="145"/>
                </a:lnTo>
                <a:lnTo>
                  <a:pt x="213" y="146"/>
                </a:lnTo>
                <a:lnTo>
                  <a:pt x="210" y="149"/>
                </a:lnTo>
                <a:lnTo>
                  <a:pt x="209" y="151"/>
                </a:lnTo>
                <a:lnTo>
                  <a:pt x="207" y="157"/>
                </a:lnTo>
                <a:lnTo>
                  <a:pt x="205" y="158"/>
                </a:lnTo>
                <a:lnTo>
                  <a:pt x="205" y="159"/>
                </a:lnTo>
                <a:lnTo>
                  <a:pt x="204" y="158"/>
                </a:lnTo>
                <a:lnTo>
                  <a:pt x="204" y="153"/>
                </a:lnTo>
                <a:lnTo>
                  <a:pt x="203" y="152"/>
                </a:lnTo>
                <a:lnTo>
                  <a:pt x="201" y="152"/>
                </a:lnTo>
                <a:lnTo>
                  <a:pt x="200" y="153"/>
                </a:lnTo>
                <a:lnTo>
                  <a:pt x="197" y="151"/>
                </a:lnTo>
                <a:lnTo>
                  <a:pt x="194" y="151"/>
                </a:lnTo>
                <a:lnTo>
                  <a:pt x="194" y="149"/>
                </a:lnTo>
                <a:lnTo>
                  <a:pt x="192" y="149"/>
                </a:lnTo>
                <a:lnTo>
                  <a:pt x="191" y="147"/>
                </a:lnTo>
                <a:lnTo>
                  <a:pt x="189" y="147"/>
                </a:lnTo>
                <a:lnTo>
                  <a:pt x="189" y="146"/>
                </a:lnTo>
                <a:lnTo>
                  <a:pt x="188" y="146"/>
                </a:lnTo>
                <a:lnTo>
                  <a:pt x="186" y="147"/>
                </a:lnTo>
                <a:lnTo>
                  <a:pt x="184" y="147"/>
                </a:lnTo>
                <a:lnTo>
                  <a:pt x="182" y="151"/>
                </a:lnTo>
                <a:lnTo>
                  <a:pt x="182" y="152"/>
                </a:lnTo>
                <a:lnTo>
                  <a:pt x="180" y="151"/>
                </a:lnTo>
                <a:lnTo>
                  <a:pt x="170" y="151"/>
                </a:lnTo>
                <a:lnTo>
                  <a:pt x="167" y="150"/>
                </a:lnTo>
                <a:lnTo>
                  <a:pt x="163" y="146"/>
                </a:lnTo>
                <a:lnTo>
                  <a:pt x="163" y="145"/>
                </a:lnTo>
                <a:lnTo>
                  <a:pt x="160" y="145"/>
                </a:lnTo>
                <a:lnTo>
                  <a:pt x="161" y="144"/>
                </a:lnTo>
                <a:lnTo>
                  <a:pt x="159" y="144"/>
                </a:lnTo>
                <a:lnTo>
                  <a:pt x="159" y="143"/>
                </a:lnTo>
                <a:lnTo>
                  <a:pt x="157" y="143"/>
                </a:lnTo>
                <a:lnTo>
                  <a:pt x="155" y="144"/>
                </a:lnTo>
                <a:lnTo>
                  <a:pt x="153" y="144"/>
                </a:lnTo>
                <a:lnTo>
                  <a:pt x="149" y="141"/>
                </a:lnTo>
                <a:lnTo>
                  <a:pt x="147" y="140"/>
                </a:lnTo>
                <a:lnTo>
                  <a:pt x="146" y="140"/>
                </a:lnTo>
                <a:lnTo>
                  <a:pt x="144" y="138"/>
                </a:lnTo>
                <a:lnTo>
                  <a:pt x="142" y="138"/>
                </a:lnTo>
                <a:lnTo>
                  <a:pt x="141" y="137"/>
                </a:lnTo>
                <a:lnTo>
                  <a:pt x="139" y="135"/>
                </a:lnTo>
                <a:lnTo>
                  <a:pt x="135" y="135"/>
                </a:lnTo>
                <a:lnTo>
                  <a:pt x="135" y="137"/>
                </a:lnTo>
                <a:lnTo>
                  <a:pt x="134" y="137"/>
                </a:lnTo>
                <a:lnTo>
                  <a:pt x="134" y="138"/>
                </a:lnTo>
                <a:lnTo>
                  <a:pt x="130" y="138"/>
                </a:lnTo>
                <a:lnTo>
                  <a:pt x="130" y="135"/>
                </a:lnTo>
                <a:lnTo>
                  <a:pt x="129" y="134"/>
                </a:lnTo>
                <a:lnTo>
                  <a:pt x="127" y="134"/>
                </a:lnTo>
                <a:lnTo>
                  <a:pt x="124" y="133"/>
                </a:lnTo>
                <a:lnTo>
                  <a:pt x="123" y="133"/>
                </a:lnTo>
                <a:lnTo>
                  <a:pt x="123" y="134"/>
                </a:lnTo>
                <a:lnTo>
                  <a:pt x="122" y="135"/>
                </a:lnTo>
                <a:lnTo>
                  <a:pt x="122" y="145"/>
                </a:lnTo>
                <a:lnTo>
                  <a:pt x="121" y="146"/>
                </a:lnTo>
                <a:lnTo>
                  <a:pt x="121" y="147"/>
                </a:lnTo>
                <a:lnTo>
                  <a:pt x="122" y="149"/>
                </a:lnTo>
                <a:lnTo>
                  <a:pt x="121" y="150"/>
                </a:lnTo>
                <a:lnTo>
                  <a:pt x="118" y="149"/>
                </a:lnTo>
                <a:lnTo>
                  <a:pt x="115" y="149"/>
                </a:lnTo>
                <a:lnTo>
                  <a:pt x="115" y="152"/>
                </a:lnTo>
                <a:lnTo>
                  <a:pt x="113" y="153"/>
                </a:lnTo>
                <a:lnTo>
                  <a:pt x="111" y="154"/>
                </a:lnTo>
                <a:lnTo>
                  <a:pt x="111" y="160"/>
                </a:lnTo>
                <a:lnTo>
                  <a:pt x="110" y="162"/>
                </a:lnTo>
                <a:lnTo>
                  <a:pt x="109" y="162"/>
                </a:lnTo>
                <a:lnTo>
                  <a:pt x="109" y="159"/>
                </a:lnTo>
                <a:lnTo>
                  <a:pt x="107" y="159"/>
                </a:lnTo>
                <a:lnTo>
                  <a:pt x="107" y="158"/>
                </a:lnTo>
                <a:lnTo>
                  <a:pt x="104" y="159"/>
                </a:lnTo>
                <a:lnTo>
                  <a:pt x="102" y="158"/>
                </a:lnTo>
                <a:lnTo>
                  <a:pt x="101" y="157"/>
                </a:lnTo>
                <a:lnTo>
                  <a:pt x="99" y="160"/>
                </a:lnTo>
                <a:lnTo>
                  <a:pt x="98" y="160"/>
                </a:lnTo>
                <a:lnTo>
                  <a:pt x="97" y="162"/>
                </a:lnTo>
                <a:lnTo>
                  <a:pt x="96" y="162"/>
                </a:lnTo>
                <a:lnTo>
                  <a:pt x="96" y="163"/>
                </a:lnTo>
                <a:lnTo>
                  <a:pt x="95" y="163"/>
                </a:lnTo>
                <a:lnTo>
                  <a:pt x="91" y="160"/>
                </a:lnTo>
                <a:lnTo>
                  <a:pt x="85" y="160"/>
                </a:lnTo>
                <a:lnTo>
                  <a:pt x="83" y="159"/>
                </a:lnTo>
                <a:lnTo>
                  <a:pt x="83" y="158"/>
                </a:lnTo>
                <a:lnTo>
                  <a:pt x="82" y="158"/>
                </a:lnTo>
                <a:lnTo>
                  <a:pt x="82" y="157"/>
                </a:lnTo>
                <a:lnTo>
                  <a:pt x="83" y="157"/>
                </a:lnTo>
                <a:lnTo>
                  <a:pt x="83" y="154"/>
                </a:lnTo>
                <a:lnTo>
                  <a:pt x="82" y="154"/>
                </a:lnTo>
                <a:lnTo>
                  <a:pt x="82" y="153"/>
                </a:lnTo>
                <a:lnTo>
                  <a:pt x="80" y="153"/>
                </a:lnTo>
                <a:lnTo>
                  <a:pt x="78" y="151"/>
                </a:lnTo>
                <a:lnTo>
                  <a:pt x="77" y="151"/>
                </a:lnTo>
                <a:lnTo>
                  <a:pt x="77" y="150"/>
                </a:lnTo>
                <a:lnTo>
                  <a:pt x="76" y="150"/>
                </a:lnTo>
                <a:lnTo>
                  <a:pt x="74" y="149"/>
                </a:lnTo>
                <a:lnTo>
                  <a:pt x="73" y="149"/>
                </a:lnTo>
                <a:lnTo>
                  <a:pt x="71" y="144"/>
                </a:lnTo>
                <a:lnTo>
                  <a:pt x="70" y="143"/>
                </a:lnTo>
                <a:lnTo>
                  <a:pt x="67" y="143"/>
                </a:lnTo>
                <a:lnTo>
                  <a:pt x="67" y="141"/>
                </a:lnTo>
                <a:lnTo>
                  <a:pt x="66" y="141"/>
                </a:lnTo>
                <a:lnTo>
                  <a:pt x="66" y="140"/>
                </a:lnTo>
                <a:lnTo>
                  <a:pt x="65" y="139"/>
                </a:lnTo>
                <a:lnTo>
                  <a:pt x="65" y="138"/>
                </a:lnTo>
                <a:lnTo>
                  <a:pt x="64" y="138"/>
                </a:lnTo>
                <a:lnTo>
                  <a:pt x="62" y="137"/>
                </a:lnTo>
                <a:lnTo>
                  <a:pt x="60" y="137"/>
                </a:lnTo>
                <a:lnTo>
                  <a:pt x="60" y="138"/>
                </a:lnTo>
                <a:lnTo>
                  <a:pt x="59" y="138"/>
                </a:lnTo>
                <a:lnTo>
                  <a:pt x="55" y="134"/>
                </a:lnTo>
                <a:lnTo>
                  <a:pt x="55" y="132"/>
                </a:lnTo>
                <a:lnTo>
                  <a:pt x="52" y="128"/>
                </a:lnTo>
                <a:lnTo>
                  <a:pt x="52" y="127"/>
                </a:lnTo>
                <a:lnTo>
                  <a:pt x="47" y="127"/>
                </a:lnTo>
                <a:lnTo>
                  <a:pt x="46" y="126"/>
                </a:lnTo>
                <a:lnTo>
                  <a:pt x="46" y="125"/>
                </a:lnTo>
                <a:lnTo>
                  <a:pt x="42" y="119"/>
                </a:lnTo>
                <a:lnTo>
                  <a:pt x="41" y="119"/>
                </a:lnTo>
                <a:lnTo>
                  <a:pt x="40" y="116"/>
                </a:lnTo>
                <a:lnTo>
                  <a:pt x="40" y="115"/>
                </a:lnTo>
                <a:lnTo>
                  <a:pt x="39" y="115"/>
                </a:lnTo>
                <a:lnTo>
                  <a:pt x="37" y="114"/>
                </a:lnTo>
                <a:lnTo>
                  <a:pt x="37" y="113"/>
                </a:lnTo>
                <a:lnTo>
                  <a:pt x="34" y="113"/>
                </a:lnTo>
                <a:lnTo>
                  <a:pt x="34" y="114"/>
                </a:lnTo>
                <a:lnTo>
                  <a:pt x="30" y="113"/>
                </a:lnTo>
                <a:lnTo>
                  <a:pt x="29" y="111"/>
                </a:lnTo>
                <a:lnTo>
                  <a:pt x="28" y="109"/>
                </a:lnTo>
                <a:lnTo>
                  <a:pt x="26" y="107"/>
                </a:lnTo>
                <a:lnTo>
                  <a:pt x="24" y="107"/>
                </a:lnTo>
                <a:lnTo>
                  <a:pt x="24" y="106"/>
                </a:lnTo>
                <a:lnTo>
                  <a:pt x="23" y="104"/>
                </a:lnTo>
                <a:lnTo>
                  <a:pt x="23" y="101"/>
                </a:lnTo>
                <a:lnTo>
                  <a:pt x="22" y="101"/>
                </a:lnTo>
                <a:lnTo>
                  <a:pt x="22" y="100"/>
                </a:lnTo>
                <a:lnTo>
                  <a:pt x="21" y="100"/>
                </a:lnTo>
                <a:lnTo>
                  <a:pt x="21" y="96"/>
                </a:lnTo>
                <a:lnTo>
                  <a:pt x="20" y="95"/>
                </a:lnTo>
                <a:lnTo>
                  <a:pt x="18" y="95"/>
                </a:lnTo>
                <a:lnTo>
                  <a:pt x="18" y="91"/>
                </a:lnTo>
                <a:lnTo>
                  <a:pt x="17" y="90"/>
                </a:lnTo>
                <a:lnTo>
                  <a:pt x="16" y="90"/>
                </a:lnTo>
                <a:lnTo>
                  <a:pt x="16" y="89"/>
                </a:lnTo>
                <a:lnTo>
                  <a:pt x="15" y="89"/>
                </a:lnTo>
                <a:lnTo>
                  <a:pt x="14" y="88"/>
                </a:lnTo>
                <a:lnTo>
                  <a:pt x="14" y="85"/>
                </a:lnTo>
                <a:lnTo>
                  <a:pt x="16" y="84"/>
                </a:lnTo>
                <a:lnTo>
                  <a:pt x="16" y="82"/>
                </a:lnTo>
                <a:lnTo>
                  <a:pt x="18" y="79"/>
                </a:lnTo>
                <a:lnTo>
                  <a:pt x="18" y="78"/>
                </a:lnTo>
                <a:lnTo>
                  <a:pt x="20" y="77"/>
                </a:lnTo>
                <a:lnTo>
                  <a:pt x="20" y="74"/>
                </a:lnTo>
                <a:lnTo>
                  <a:pt x="18" y="74"/>
                </a:lnTo>
                <a:lnTo>
                  <a:pt x="17" y="73"/>
                </a:lnTo>
                <a:lnTo>
                  <a:pt x="17" y="71"/>
                </a:lnTo>
                <a:lnTo>
                  <a:pt x="16" y="71"/>
                </a:lnTo>
                <a:lnTo>
                  <a:pt x="15" y="70"/>
                </a:lnTo>
                <a:lnTo>
                  <a:pt x="14" y="70"/>
                </a:lnTo>
                <a:lnTo>
                  <a:pt x="8" y="66"/>
                </a:lnTo>
                <a:lnTo>
                  <a:pt x="8" y="65"/>
                </a:lnTo>
                <a:lnTo>
                  <a:pt x="5" y="63"/>
                </a:lnTo>
                <a:lnTo>
                  <a:pt x="5" y="58"/>
                </a:lnTo>
                <a:lnTo>
                  <a:pt x="4" y="58"/>
                </a:lnTo>
                <a:lnTo>
                  <a:pt x="4" y="57"/>
                </a:lnTo>
                <a:lnTo>
                  <a:pt x="3" y="55"/>
                </a:lnTo>
                <a:lnTo>
                  <a:pt x="0" y="54"/>
                </a:lnTo>
                <a:lnTo>
                  <a:pt x="0" y="53"/>
                </a:lnTo>
                <a:lnTo>
                  <a:pt x="2" y="53"/>
                </a:lnTo>
                <a:lnTo>
                  <a:pt x="2" y="49"/>
                </a:lnTo>
                <a:lnTo>
                  <a:pt x="0" y="48"/>
                </a:lnTo>
                <a:lnTo>
                  <a:pt x="4" y="48"/>
                </a:lnTo>
                <a:lnTo>
                  <a:pt x="4" y="51"/>
                </a:lnTo>
                <a:lnTo>
                  <a:pt x="5" y="52"/>
                </a:lnTo>
                <a:lnTo>
                  <a:pt x="8" y="52"/>
                </a:lnTo>
                <a:lnTo>
                  <a:pt x="8" y="53"/>
                </a:lnTo>
                <a:lnTo>
                  <a:pt x="6" y="53"/>
                </a:lnTo>
                <a:lnTo>
                  <a:pt x="6" y="54"/>
                </a:lnTo>
                <a:lnTo>
                  <a:pt x="8" y="54"/>
                </a:lnTo>
                <a:lnTo>
                  <a:pt x="8" y="55"/>
                </a:lnTo>
                <a:lnTo>
                  <a:pt x="9" y="57"/>
                </a:lnTo>
                <a:lnTo>
                  <a:pt x="9" y="59"/>
                </a:lnTo>
                <a:lnTo>
                  <a:pt x="10" y="59"/>
                </a:lnTo>
                <a:lnTo>
                  <a:pt x="10" y="54"/>
                </a:lnTo>
                <a:lnTo>
                  <a:pt x="11" y="53"/>
                </a:lnTo>
                <a:lnTo>
                  <a:pt x="11" y="52"/>
                </a:lnTo>
                <a:lnTo>
                  <a:pt x="12" y="52"/>
                </a:lnTo>
                <a:lnTo>
                  <a:pt x="12" y="51"/>
                </a:lnTo>
                <a:lnTo>
                  <a:pt x="14" y="48"/>
                </a:lnTo>
                <a:lnTo>
                  <a:pt x="15" y="48"/>
                </a:lnTo>
                <a:lnTo>
                  <a:pt x="16" y="47"/>
                </a:lnTo>
                <a:lnTo>
                  <a:pt x="17" y="47"/>
                </a:lnTo>
                <a:lnTo>
                  <a:pt x="17" y="45"/>
                </a:lnTo>
                <a:lnTo>
                  <a:pt x="18" y="43"/>
                </a:lnTo>
                <a:lnTo>
                  <a:pt x="27" y="43"/>
                </a:lnTo>
                <a:lnTo>
                  <a:pt x="27" y="42"/>
                </a:lnTo>
                <a:lnTo>
                  <a:pt x="28" y="41"/>
                </a:lnTo>
                <a:lnTo>
                  <a:pt x="30" y="41"/>
                </a:lnTo>
                <a:lnTo>
                  <a:pt x="31" y="40"/>
                </a:lnTo>
                <a:lnTo>
                  <a:pt x="36" y="42"/>
                </a:lnTo>
                <a:lnTo>
                  <a:pt x="37" y="42"/>
                </a:lnTo>
                <a:lnTo>
                  <a:pt x="39" y="41"/>
                </a:lnTo>
                <a:lnTo>
                  <a:pt x="40" y="41"/>
                </a:lnTo>
                <a:lnTo>
                  <a:pt x="40" y="36"/>
                </a:lnTo>
                <a:lnTo>
                  <a:pt x="46" y="36"/>
                </a:lnTo>
                <a:lnTo>
                  <a:pt x="47" y="35"/>
                </a:lnTo>
                <a:lnTo>
                  <a:pt x="48" y="35"/>
                </a:lnTo>
                <a:lnTo>
                  <a:pt x="49" y="30"/>
                </a:lnTo>
                <a:lnTo>
                  <a:pt x="51" y="30"/>
                </a:lnTo>
                <a:lnTo>
                  <a:pt x="51" y="31"/>
                </a:lnTo>
                <a:lnTo>
                  <a:pt x="52" y="31"/>
                </a:lnTo>
                <a:lnTo>
                  <a:pt x="53" y="30"/>
                </a:lnTo>
                <a:lnTo>
                  <a:pt x="53" y="29"/>
                </a:lnTo>
                <a:lnTo>
                  <a:pt x="54" y="28"/>
                </a:lnTo>
                <a:lnTo>
                  <a:pt x="55" y="28"/>
                </a:lnTo>
                <a:lnTo>
                  <a:pt x="58" y="30"/>
                </a:lnTo>
                <a:lnTo>
                  <a:pt x="59" y="30"/>
                </a:lnTo>
                <a:lnTo>
                  <a:pt x="59" y="29"/>
                </a:lnTo>
                <a:lnTo>
                  <a:pt x="60" y="28"/>
                </a:lnTo>
                <a:lnTo>
                  <a:pt x="60" y="27"/>
                </a:lnTo>
                <a:lnTo>
                  <a:pt x="61" y="27"/>
                </a:lnTo>
                <a:lnTo>
                  <a:pt x="61" y="23"/>
                </a:lnTo>
                <a:lnTo>
                  <a:pt x="62" y="22"/>
                </a:lnTo>
                <a:lnTo>
                  <a:pt x="71" y="22"/>
                </a:lnTo>
                <a:lnTo>
                  <a:pt x="72" y="21"/>
                </a:lnTo>
                <a:lnTo>
                  <a:pt x="74" y="22"/>
                </a:lnTo>
                <a:lnTo>
                  <a:pt x="76" y="21"/>
                </a:lnTo>
                <a:lnTo>
                  <a:pt x="77" y="21"/>
                </a:lnTo>
                <a:lnTo>
                  <a:pt x="77" y="17"/>
                </a:lnTo>
                <a:lnTo>
                  <a:pt x="79" y="17"/>
                </a:lnTo>
                <a:lnTo>
                  <a:pt x="79" y="16"/>
                </a:lnTo>
                <a:lnTo>
                  <a:pt x="83" y="16"/>
                </a:lnTo>
                <a:lnTo>
                  <a:pt x="90" y="14"/>
                </a:lnTo>
                <a:lnTo>
                  <a:pt x="90" y="12"/>
                </a:lnTo>
                <a:lnTo>
                  <a:pt x="91" y="11"/>
                </a:lnTo>
                <a:lnTo>
                  <a:pt x="96" y="11"/>
                </a:lnTo>
                <a:lnTo>
                  <a:pt x="97" y="10"/>
                </a:lnTo>
                <a:lnTo>
                  <a:pt x="98" y="8"/>
                </a:lnTo>
                <a:lnTo>
                  <a:pt x="95" y="8"/>
                </a:lnTo>
                <a:lnTo>
                  <a:pt x="93" y="6"/>
                </a:lnTo>
                <a:lnTo>
                  <a:pt x="93" y="5"/>
                </a:lnTo>
                <a:lnTo>
                  <a:pt x="95" y="5"/>
                </a:lnTo>
                <a:lnTo>
                  <a:pt x="93" y="4"/>
                </a:lnTo>
                <a:lnTo>
                  <a:pt x="91" y="4"/>
                </a:lnTo>
                <a:lnTo>
                  <a:pt x="92" y="3"/>
                </a:lnTo>
                <a:lnTo>
                  <a:pt x="92" y="2"/>
                </a:lnTo>
                <a:lnTo>
                  <a:pt x="93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4" name="Freeform 49">
            <a:extLst>
              <a:ext uri="{FF2B5EF4-FFF2-40B4-BE49-F238E27FC236}">
                <a16:creationId xmlns:a16="http://schemas.microsoft.com/office/drawing/2014/main" id="{1DDEA7FA-A676-4339-8E1B-90DCB7EA481A}"/>
              </a:ext>
            </a:extLst>
          </p:cNvPr>
          <p:cNvSpPr>
            <a:spLocks/>
          </p:cNvSpPr>
          <p:nvPr/>
        </p:nvSpPr>
        <p:spPr bwMode="auto">
          <a:xfrm>
            <a:off x="3205152" y="5915875"/>
            <a:ext cx="140548" cy="84039"/>
          </a:xfrm>
          <a:custGeom>
            <a:avLst/>
            <a:gdLst/>
            <a:ahLst/>
            <a:cxnLst>
              <a:cxn ang="0">
                <a:pos x="97" y="0"/>
              </a:cxn>
              <a:cxn ang="0">
                <a:pos x="95" y="3"/>
              </a:cxn>
              <a:cxn ang="0">
                <a:pos x="88" y="9"/>
              </a:cxn>
              <a:cxn ang="0">
                <a:pos x="75" y="18"/>
              </a:cxn>
              <a:cxn ang="0">
                <a:pos x="70" y="19"/>
              </a:cxn>
              <a:cxn ang="0">
                <a:pos x="69" y="23"/>
              </a:cxn>
              <a:cxn ang="0">
                <a:pos x="69" y="28"/>
              </a:cxn>
              <a:cxn ang="0">
                <a:pos x="71" y="31"/>
              </a:cxn>
              <a:cxn ang="0">
                <a:pos x="74" y="33"/>
              </a:cxn>
              <a:cxn ang="0">
                <a:pos x="75" y="34"/>
              </a:cxn>
              <a:cxn ang="0">
                <a:pos x="76" y="36"/>
              </a:cxn>
              <a:cxn ang="0">
                <a:pos x="74" y="37"/>
              </a:cxn>
              <a:cxn ang="0">
                <a:pos x="72" y="36"/>
              </a:cxn>
              <a:cxn ang="0">
                <a:pos x="68" y="37"/>
              </a:cxn>
              <a:cxn ang="0">
                <a:pos x="66" y="39"/>
              </a:cxn>
              <a:cxn ang="0">
                <a:pos x="59" y="37"/>
              </a:cxn>
              <a:cxn ang="0">
                <a:pos x="58" y="40"/>
              </a:cxn>
              <a:cxn ang="0">
                <a:pos x="57" y="43"/>
              </a:cxn>
              <a:cxn ang="0">
                <a:pos x="56" y="46"/>
              </a:cxn>
              <a:cxn ang="0">
                <a:pos x="52" y="47"/>
              </a:cxn>
              <a:cxn ang="0">
                <a:pos x="49" y="48"/>
              </a:cxn>
              <a:cxn ang="0">
                <a:pos x="47" y="49"/>
              </a:cxn>
              <a:cxn ang="0">
                <a:pos x="43" y="51"/>
              </a:cxn>
              <a:cxn ang="0">
                <a:pos x="41" y="52"/>
              </a:cxn>
              <a:cxn ang="0">
                <a:pos x="38" y="51"/>
              </a:cxn>
              <a:cxn ang="0">
                <a:pos x="33" y="52"/>
              </a:cxn>
              <a:cxn ang="0">
                <a:pos x="31" y="54"/>
              </a:cxn>
              <a:cxn ang="0">
                <a:pos x="32" y="58"/>
              </a:cxn>
              <a:cxn ang="0">
                <a:pos x="28" y="57"/>
              </a:cxn>
              <a:cxn ang="0">
                <a:pos x="27" y="53"/>
              </a:cxn>
              <a:cxn ang="0">
                <a:pos x="20" y="54"/>
              </a:cxn>
              <a:cxn ang="0">
                <a:pos x="14" y="53"/>
              </a:cxn>
              <a:cxn ang="0">
                <a:pos x="12" y="52"/>
              </a:cxn>
              <a:cxn ang="0">
                <a:pos x="7" y="51"/>
              </a:cxn>
              <a:cxn ang="0">
                <a:pos x="6" y="47"/>
              </a:cxn>
              <a:cxn ang="0">
                <a:pos x="4" y="43"/>
              </a:cxn>
              <a:cxn ang="0">
                <a:pos x="3" y="42"/>
              </a:cxn>
              <a:cxn ang="0">
                <a:pos x="2" y="40"/>
              </a:cxn>
              <a:cxn ang="0">
                <a:pos x="1" y="36"/>
              </a:cxn>
              <a:cxn ang="0">
                <a:pos x="0" y="31"/>
              </a:cxn>
              <a:cxn ang="0">
                <a:pos x="3" y="34"/>
              </a:cxn>
              <a:cxn ang="0">
                <a:pos x="10" y="29"/>
              </a:cxn>
              <a:cxn ang="0">
                <a:pos x="12" y="27"/>
              </a:cxn>
              <a:cxn ang="0">
                <a:pos x="22" y="28"/>
              </a:cxn>
              <a:cxn ang="0">
                <a:pos x="27" y="25"/>
              </a:cxn>
              <a:cxn ang="0">
                <a:pos x="28" y="16"/>
              </a:cxn>
              <a:cxn ang="0">
                <a:pos x="37" y="17"/>
              </a:cxn>
              <a:cxn ang="0">
                <a:pos x="43" y="18"/>
              </a:cxn>
              <a:cxn ang="0">
                <a:pos x="58" y="17"/>
              </a:cxn>
              <a:cxn ang="0">
                <a:pos x="63" y="15"/>
              </a:cxn>
              <a:cxn ang="0">
                <a:pos x="68" y="14"/>
              </a:cxn>
              <a:cxn ang="0">
                <a:pos x="76" y="10"/>
              </a:cxn>
              <a:cxn ang="0">
                <a:pos x="80" y="8"/>
              </a:cxn>
              <a:cxn ang="0">
                <a:pos x="84" y="6"/>
              </a:cxn>
              <a:cxn ang="0">
                <a:pos x="95" y="0"/>
              </a:cxn>
            </a:cxnLst>
            <a:rect l="0" t="0" r="r" b="b"/>
            <a:pathLst>
              <a:path w="97" h="58">
                <a:moveTo>
                  <a:pt x="95" y="0"/>
                </a:moveTo>
                <a:lnTo>
                  <a:pt x="97" y="0"/>
                </a:lnTo>
                <a:lnTo>
                  <a:pt x="96" y="3"/>
                </a:lnTo>
                <a:lnTo>
                  <a:pt x="95" y="3"/>
                </a:lnTo>
                <a:lnTo>
                  <a:pt x="91" y="6"/>
                </a:lnTo>
                <a:lnTo>
                  <a:pt x="88" y="9"/>
                </a:lnTo>
                <a:lnTo>
                  <a:pt x="78" y="15"/>
                </a:lnTo>
                <a:lnTo>
                  <a:pt x="75" y="18"/>
                </a:lnTo>
                <a:lnTo>
                  <a:pt x="75" y="19"/>
                </a:lnTo>
                <a:lnTo>
                  <a:pt x="70" y="19"/>
                </a:lnTo>
                <a:lnTo>
                  <a:pt x="69" y="22"/>
                </a:lnTo>
                <a:lnTo>
                  <a:pt x="69" y="23"/>
                </a:lnTo>
                <a:lnTo>
                  <a:pt x="68" y="28"/>
                </a:lnTo>
                <a:lnTo>
                  <a:pt x="69" y="28"/>
                </a:lnTo>
                <a:lnTo>
                  <a:pt x="71" y="30"/>
                </a:lnTo>
                <a:lnTo>
                  <a:pt x="71" y="31"/>
                </a:lnTo>
                <a:lnTo>
                  <a:pt x="72" y="33"/>
                </a:lnTo>
                <a:lnTo>
                  <a:pt x="74" y="33"/>
                </a:lnTo>
                <a:lnTo>
                  <a:pt x="74" y="34"/>
                </a:lnTo>
                <a:lnTo>
                  <a:pt x="75" y="34"/>
                </a:lnTo>
                <a:lnTo>
                  <a:pt x="75" y="35"/>
                </a:lnTo>
                <a:lnTo>
                  <a:pt x="76" y="36"/>
                </a:lnTo>
                <a:lnTo>
                  <a:pt x="76" y="37"/>
                </a:lnTo>
                <a:lnTo>
                  <a:pt x="74" y="37"/>
                </a:lnTo>
                <a:lnTo>
                  <a:pt x="74" y="36"/>
                </a:lnTo>
                <a:lnTo>
                  <a:pt x="72" y="36"/>
                </a:lnTo>
                <a:lnTo>
                  <a:pt x="71" y="37"/>
                </a:lnTo>
                <a:lnTo>
                  <a:pt x="68" y="37"/>
                </a:lnTo>
                <a:lnTo>
                  <a:pt x="68" y="39"/>
                </a:lnTo>
                <a:lnTo>
                  <a:pt x="66" y="39"/>
                </a:lnTo>
                <a:lnTo>
                  <a:pt x="65" y="37"/>
                </a:lnTo>
                <a:lnTo>
                  <a:pt x="59" y="37"/>
                </a:lnTo>
                <a:lnTo>
                  <a:pt x="58" y="39"/>
                </a:lnTo>
                <a:lnTo>
                  <a:pt x="58" y="40"/>
                </a:lnTo>
                <a:lnTo>
                  <a:pt x="57" y="40"/>
                </a:lnTo>
                <a:lnTo>
                  <a:pt x="57" y="43"/>
                </a:lnTo>
                <a:lnTo>
                  <a:pt x="56" y="43"/>
                </a:lnTo>
                <a:lnTo>
                  <a:pt x="56" y="46"/>
                </a:lnTo>
                <a:lnTo>
                  <a:pt x="53" y="46"/>
                </a:lnTo>
                <a:lnTo>
                  <a:pt x="52" y="47"/>
                </a:lnTo>
                <a:lnTo>
                  <a:pt x="50" y="47"/>
                </a:lnTo>
                <a:lnTo>
                  <a:pt x="49" y="48"/>
                </a:lnTo>
                <a:lnTo>
                  <a:pt x="47" y="48"/>
                </a:lnTo>
                <a:lnTo>
                  <a:pt x="47" y="49"/>
                </a:lnTo>
                <a:lnTo>
                  <a:pt x="46" y="49"/>
                </a:lnTo>
                <a:lnTo>
                  <a:pt x="43" y="51"/>
                </a:lnTo>
                <a:lnTo>
                  <a:pt x="41" y="51"/>
                </a:lnTo>
                <a:lnTo>
                  <a:pt x="41" y="52"/>
                </a:lnTo>
                <a:lnTo>
                  <a:pt x="40" y="52"/>
                </a:lnTo>
                <a:lnTo>
                  <a:pt x="38" y="51"/>
                </a:lnTo>
                <a:lnTo>
                  <a:pt x="34" y="52"/>
                </a:lnTo>
                <a:lnTo>
                  <a:pt x="33" y="52"/>
                </a:lnTo>
                <a:lnTo>
                  <a:pt x="32" y="54"/>
                </a:lnTo>
                <a:lnTo>
                  <a:pt x="31" y="54"/>
                </a:lnTo>
                <a:lnTo>
                  <a:pt x="31" y="57"/>
                </a:lnTo>
                <a:lnTo>
                  <a:pt x="32" y="58"/>
                </a:lnTo>
                <a:lnTo>
                  <a:pt x="28" y="58"/>
                </a:lnTo>
                <a:lnTo>
                  <a:pt x="28" y="57"/>
                </a:lnTo>
                <a:lnTo>
                  <a:pt x="27" y="54"/>
                </a:lnTo>
                <a:lnTo>
                  <a:pt x="27" y="53"/>
                </a:lnTo>
                <a:lnTo>
                  <a:pt x="22" y="53"/>
                </a:lnTo>
                <a:lnTo>
                  <a:pt x="20" y="54"/>
                </a:lnTo>
                <a:lnTo>
                  <a:pt x="16" y="54"/>
                </a:lnTo>
                <a:lnTo>
                  <a:pt x="14" y="53"/>
                </a:lnTo>
                <a:lnTo>
                  <a:pt x="13" y="52"/>
                </a:lnTo>
                <a:lnTo>
                  <a:pt x="12" y="52"/>
                </a:lnTo>
                <a:lnTo>
                  <a:pt x="10" y="51"/>
                </a:lnTo>
                <a:lnTo>
                  <a:pt x="7" y="51"/>
                </a:lnTo>
                <a:lnTo>
                  <a:pt x="6" y="49"/>
                </a:lnTo>
                <a:lnTo>
                  <a:pt x="6" y="47"/>
                </a:lnTo>
                <a:lnTo>
                  <a:pt x="4" y="46"/>
                </a:lnTo>
                <a:lnTo>
                  <a:pt x="4" y="43"/>
                </a:lnTo>
                <a:lnTo>
                  <a:pt x="3" y="43"/>
                </a:lnTo>
                <a:lnTo>
                  <a:pt x="3" y="42"/>
                </a:lnTo>
                <a:lnTo>
                  <a:pt x="2" y="42"/>
                </a:lnTo>
                <a:lnTo>
                  <a:pt x="2" y="40"/>
                </a:lnTo>
                <a:lnTo>
                  <a:pt x="1" y="39"/>
                </a:lnTo>
                <a:lnTo>
                  <a:pt x="1" y="36"/>
                </a:lnTo>
                <a:lnTo>
                  <a:pt x="0" y="34"/>
                </a:lnTo>
                <a:lnTo>
                  <a:pt x="0" y="31"/>
                </a:lnTo>
                <a:lnTo>
                  <a:pt x="1" y="31"/>
                </a:lnTo>
                <a:lnTo>
                  <a:pt x="3" y="34"/>
                </a:lnTo>
                <a:lnTo>
                  <a:pt x="6" y="34"/>
                </a:lnTo>
                <a:lnTo>
                  <a:pt x="10" y="29"/>
                </a:lnTo>
                <a:lnTo>
                  <a:pt x="10" y="28"/>
                </a:lnTo>
                <a:lnTo>
                  <a:pt x="12" y="27"/>
                </a:lnTo>
                <a:lnTo>
                  <a:pt x="21" y="27"/>
                </a:lnTo>
                <a:lnTo>
                  <a:pt x="22" y="28"/>
                </a:lnTo>
                <a:lnTo>
                  <a:pt x="25" y="28"/>
                </a:lnTo>
                <a:lnTo>
                  <a:pt x="27" y="25"/>
                </a:lnTo>
                <a:lnTo>
                  <a:pt x="27" y="16"/>
                </a:lnTo>
                <a:lnTo>
                  <a:pt x="28" y="16"/>
                </a:lnTo>
                <a:lnTo>
                  <a:pt x="29" y="17"/>
                </a:lnTo>
                <a:lnTo>
                  <a:pt x="37" y="17"/>
                </a:lnTo>
                <a:lnTo>
                  <a:pt x="41" y="18"/>
                </a:lnTo>
                <a:lnTo>
                  <a:pt x="43" y="18"/>
                </a:lnTo>
                <a:lnTo>
                  <a:pt x="49" y="19"/>
                </a:lnTo>
                <a:lnTo>
                  <a:pt x="58" y="17"/>
                </a:lnTo>
                <a:lnTo>
                  <a:pt x="62" y="16"/>
                </a:lnTo>
                <a:lnTo>
                  <a:pt x="63" y="15"/>
                </a:lnTo>
                <a:lnTo>
                  <a:pt x="65" y="15"/>
                </a:lnTo>
                <a:lnTo>
                  <a:pt x="68" y="14"/>
                </a:lnTo>
                <a:lnTo>
                  <a:pt x="74" y="11"/>
                </a:lnTo>
                <a:lnTo>
                  <a:pt x="76" y="10"/>
                </a:lnTo>
                <a:lnTo>
                  <a:pt x="78" y="10"/>
                </a:lnTo>
                <a:lnTo>
                  <a:pt x="80" y="8"/>
                </a:lnTo>
                <a:lnTo>
                  <a:pt x="81" y="8"/>
                </a:lnTo>
                <a:lnTo>
                  <a:pt x="84" y="6"/>
                </a:lnTo>
                <a:lnTo>
                  <a:pt x="85" y="5"/>
                </a:lnTo>
                <a:lnTo>
                  <a:pt x="95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5" name="Freeform 50">
            <a:extLst>
              <a:ext uri="{FF2B5EF4-FFF2-40B4-BE49-F238E27FC236}">
                <a16:creationId xmlns:a16="http://schemas.microsoft.com/office/drawing/2014/main" id="{2A94DFB3-68B0-4EBD-BF06-E82171833933}"/>
              </a:ext>
            </a:extLst>
          </p:cNvPr>
          <p:cNvSpPr>
            <a:spLocks noEditPoints="1"/>
          </p:cNvSpPr>
          <p:nvPr/>
        </p:nvSpPr>
        <p:spPr bwMode="auto">
          <a:xfrm>
            <a:off x="2056143" y="5033471"/>
            <a:ext cx="360787" cy="353541"/>
          </a:xfrm>
          <a:custGeom>
            <a:avLst/>
            <a:gdLst/>
            <a:ahLst/>
            <a:cxnLst>
              <a:cxn ang="0">
                <a:pos x="190" y="226"/>
              </a:cxn>
              <a:cxn ang="0">
                <a:pos x="198" y="232"/>
              </a:cxn>
              <a:cxn ang="0">
                <a:pos x="165" y="224"/>
              </a:cxn>
              <a:cxn ang="0">
                <a:pos x="144" y="216"/>
              </a:cxn>
              <a:cxn ang="0">
                <a:pos x="172" y="215"/>
              </a:cxn>
              <a:cxn ang="0">
                <a:pos x="185" y="221"/>
              </a:cxn>
              <a:cxn ang="0">
                <a:pos x="160" y="213"/>
              </a:cxn>
              <a:cxn ang="0">
                <a:pos x="109" y="208"/>
              </a:cxn>
              <a:cxn ang="0">
                <a:pos x="135" y="203"/>
              </a:cxn>
              <a:cxn ang="0">
                <a:pos x="126" y="189"/>
              </a:cxn>
              <a:cxn ang="0">
                <a:pos x="124" y="189"/>
              </a:cxn>
              <a:cxn ang="0">
                <a:pos x="122" y="183"/>
              </a:cxn>
              <a:cxn ang="0">
                <a:pos x="79" y="165"/>
              </a:cxn>
              <a:cxn ang="0">
                <a:pos x="69" y="158"/>
              </a:cxn>
              <a:cxn ang="0">
                <a:pos x="73" y="158"/>
              </a:cxn>
              <a:cxn ang="0">
                <a:pos x="69" y="147"/>
              </a:cxn>
              <a:cxn ang="0">
                <a:pos x="58" y="144"/>
              </a:cxn>
              <a:cxn ang="0">
                <a:pos x="72" y="132"/>
              </a:cxn>
              <a:cxn ang="0">
                <a:pos x="41" y="120"/>
              </a:cxn>
              <a:cxn ang="0">
                <a:pos x="60" y="116"/>
              </a:cxn>
              <a:cxn ang="0">
                <a:pos x="67" y="128"/>
              </a:cxn>
              <a:cxn ang="0">
                <a:pos x="69" y="134"/>
              </a:cxn>
              <a:cxn ang="0">
                <a:pos x="38" y="116"/>
              </a:cxn>
              <a:cxn ang="0">
                <a:pos x="18" y="105"/>
              </a:cxn>
              <a:cxn ang="0">
                <a:pos x="53" y="102"/>
              </a:cxn>
              <a:cxn ang="0">
                <a:pos x="37" y="84"/>
              </a:cxn>
              <a:cxn ang="0">
                <a:pos x="42" y="116"/>
              </a:cxn>
              <a:cxn ang="0">
                <a:pos x="39" y="96"/>
              </a:cxn>
              <a:cxn ang="0">
                <a:pos x="50" y="89"/>
              </a:cxn>
              <a:cxn ang="0">
                <a:pos x="39" y="87"/>
              </a:cxn>
              <a:cxn ang="0">
                <a:pos x="128" y="3"/>
              </a:cxn>
              <a:cxn ang="0">
                <a:pos x="150" y="23"/>
              </a:cxn>
              <a:cxn ang="0">
                <a:pos x="182" y="44"/>
              </a:cxn>
              <a:cxn ang="0">
                <a:pos x="219" y="38"/>
              </a:cxn>
              <a:cxn ang="0">
                <a:pos x="229" y="60"/>
              </a:cxn>
              <a:cxn ang="0">
                <a:pos x="236" y="74"/>
              </a:cxn>
              <a:cxn ang="0">
                <a:pos x="235" y="86"/>
              </a:cxn>
              <a:cxn ang="0">
                <a:pos x="221" y="92"/>
              </a:cxn>
              <a:cxn ang="0">
                <a:pos x="190" y="85"/>
              </a:cxn>
              <a:cxn ang="0">
                <a:pos x="156" y="85"/>
              </a:cxn>
              <a:cxn ang="0">
                <a:pos x="129" y="80"/>
              </a:cxn>
              <a:cxn ang="0">
                <a:pos x="107" y="80"/>
              </a:cxn>
              <a:cxn ang="0">
                <a:pos x="100" y="111"/>
              </a:cxn>
              <a:cxn ang="0">
                <a:pos x="112" y="127"/>
              </a:cxn>
              <a:cxn ang="0">
                <a:pos x="124" y="152"/>
              </a:cxn>
              <a:cxn ang="0">
                <a:pos x="160" y="190"/>
              </a:cxn>
              <a:cxn ang="0">
                <a:pos x="168" y="209"/>
              </a:cxn>
              <a:cxn ang="0">
                <a:pos x="149" y="194"/>
              </a:cxn>
              <a:cxn ang="0">
                <a:pos x="116" y="181"/>
              </a:cxn>
              <a:cxn ang="0">
                <a:pos x="104" y="171"/>
              </a:cxn>
              <a:cxn ang="0">
                <a:pos x="85" y="158"/>
              </a:cxn>
              <a:cxn ang="0">
                <a:pos x="73" y="136"/>
              </a:cxn>
              <a:cxn ang="0">
                <a:pos x="67" y="121"/>
              </a:cxn>
              <a:cxn ang="0">
                <a:pos x="54" y="85"/>
              </a:cxn>
              <a:cxn ang="0">
                <a:pos x="32" y="83"/>
              </a:cxn>
              <a:cxn ang="0">
                <a:pos x="22" y="99"/>
              </a:cxn>
              <a:cxn ang="0">
                <a:pos x="6" y="86"/>
              </a:cxn>
              <a:cxn ang="0">
                <a:pos x="6" y="66"/>
              </a:cxn>
              <a:cxn ang="0">
                <a:pos x="42" y="62"/>
              </a:cxn>
              <a:cxn ang="0">
                <a:pos x="63" y="64"/>
              </a:cxn>
              <a:cxn ang="0">
                <a:pos x="75" y="52"/>
              </a:cxn>
              <a:cxn ang="0">
                <a:pos x="89" y="23"/>
              </a:cxn>
              <a:cxn ang="0">
                <a:pos x="118" y="11"/>
              </a:cxn>
            </a:cxnLst>
            <a:rect l="0" t="0" r="r" b="b"/>
            <a:pathLst>
              <a:path w="249" h="244">
                <a:moveTo>
                  <a:pt x="210" y="243"/>
                </a:moveTo>
                <a:lnTo>
                  <a:pt x="211" y="243"/>
                </a:lnTo>
                <a:lnTo>
                  <a:pt x="211" y="244"/>
                </a:lnTo>
                <a:lnTo>
                  <a:pt x="210" y="243"/>
                </a:lnTo>
                <a:close/>
                <a:moveTo>
                  <a:pt x="141" y="224"/>
                </a:moveTo>
                <a:lnTo>
                  <a:pt x="145" y="224"/>
                </a:lnTo>
                <a:lnTo>
                  <a:pt x="145" y="226"/>
                </a:lnTo>
                <a:lnTo>
                  <a:pt x="143" y="226"/>
                </a:lnTo>
                <a:lnTo>
                  <a:pt x="142" y="225"/>
                </a:lnTo>
                <a:lnTo>
                  <a:pt x="142" y="226"/>
                </a:lnTo>
                <a:lnTo>
                  <a:pt x="141" y="226"/>
                </a:lnTo>
                <a:lnTo>
                  <a:pt x="141" y="225"/>
                </a:lnTo>
                <a:lnTo>
                  <a:pt x="140" y="225"/>
                </a:lnTo>
                <a:lnTo>
                  <a:pt x="141" y="224"/>
                </a:lnTo>
                <a:close/>
                <a:moveTo>
                  <a:pt x="186" y="222"/>
                </a:moveTo>
                <a:lnTo>
                  <a:pt x="187" y="222"/>
                </a:lnTo>
                <a:lnTo>
                  <a:pt x="190" y="225"/>
                </a:lnTo>
                <a:lnTo>
                  <a:pt x="190" y="226"/>
                </a:lnTo>
                <a:lnTo>
                  <a:pt x="192" y="227"/>
                </a:lnTo>
                <a:lnTo>
                  <a:pt x="200" y="232"/>
                </a:lnTo>
                <a:lnTo>
                  <a:pt x="202" y="233"/>
                </a:lnTo>
                <a:lnTo>
                  <a:pt x="205" y="233"/>
                </a:lnTo>
                <a:lnTo>
                  <a:pt x="205" y="234"/>
                </a:lnTo>
                <a:lnTo>
                  <a:pt x="206" y="236"/>
                </a:lnTo>
                <a:lnTo>
                  <a:pt x="209" y="236"/>
                </a:lnTo>
                <a:lnTo>
                  <a:pt x="209" y="240"/>
                </a:lnTo>
                <a:lnTo>
                  <a:pt x="210" y="242"/>
                </a:lnTo>
                <a:lnTo>
                  <a:pt x="210" y="243"/>
                </a:lnTo>
                <a:lnTo>
                  <a:pt x="209" y="242"/>
                </a:lnTo>
                <a:lnTo>
                  <a:pt x="207" y="242"/>
                </a:lnTo>
                <a:lnTo>
                  <a:pt x="207" y="240"/>
                </a:lnTo>
                <a:lnTo>
                  <a:pt x="200" y="236"/>
                </a:lnTo>
                <a:lnTo>
                  <a:pt x="199" y="234"/>
                </a:lnTo>
                <a:lnTo>
                  <a:pt x="200" y="233"/>
                </a:lnTo>
                <a:lnTo>
                  <a:pt x="199" y="232"/>
                </a:lnTo>
                <a:lnTo>
                  <a:pt x="198" y="232"/>
                </a:lnTo>
                <a:lnTo>
                  <a:pt x="196" y="231"/>
                </a:lnTo>
                <a:lnTo>
                  <a:pt x="193" y="231"/>
                </a:lnTo>
                <a:lnTo>
                  <a:pt x="193" y="228"/>
                </a:lnTo>
                <a:lnTo>
                  <a:pt x="191" y="228"/>
                </a:lnTo>
                <a:lnTo>
                  <a:pt x="188" y="226"/>
                </a:lnTo>
                <a:lnTo>
                  <a:pt x="186" y="225"/>
                </a:lnTo>
                <a:lnTo>
                  <a:pt x="185" y="224"/>
                </a:lnTo>
                <a:lnTo>
                  <a:pt x="186" y="222"/>
                </a:lnTo>
                <a:close/>
                <a:moveTo>
                  <a:pt x="162" y="222"/>
                </a:moveTo>
                <a:lnTo>
                  <a:pt x="166" y="222"/>
                </a:lnTo>
                <a:lnTo>
                  <a:pt x="167" y="224"/>
                </a:lnTo>
                <a:lnTo>
                  <a:pt x="171" y="224"/>
                </a:lnTo>
                <a:lnTo>
                  <a:pt x="175" y="226"/>
                </a:lnTo>
                <a:lnTo>
                  <a:pt x="176" y="225"/>
                </a:lnTo>
                <a:lnTo>
                  <a:pt x="176" y="226"/>
                </a:lnTo>
                <a:lnTo>
                  <a:pt x="179" y="227"/>
                </a:lnTo>
                <a:lnTo>
                  <a:pt x="180" y="228"/>
                </a:lnTo>
                <a:lnTo>
                  <a:pt x="165" y="224"/>
                </a:lnTo>
                <a:lnTo>
                  <a:pt x="163" y="225"/>
                </a:lnTo>
                <a:lnTo>
                  <a:pt x="163" y="224"/>
                </a:lnTo>
                <a:lnTo>
                  <a:pt x="162" y="224"/>
                </a:lnTo>
                <a:lnTo>
                  <a:pt x="162" y="222"/>
                </a:lnTo>
                <a:close/>
                <a:moveTo>
                  <a:pt x="134" y="210"/>
                </a:moveTo>
                <a:lnTo>
                  <a:pt x="135" y="210"/>
                </a:lnTo>
                <a:lnTo>
                  <a:pt x="136" y="212"/>
                </a:lnTo>
                <a:lnTo>
                  <a:pt x="138" y="212"/>
                </a:lnTo>
                <a:lnTo>
                  <a:pt x="141" y="213"/>
                </a:lnTo>
                <a:lnTo>
                  <a:pt x="143" y="213"/>
                </a:lnTo>
                <a:lnTo>
                  <a:pt x="144" y="212"/>
                </a:lnTo>
                <a:lnTo>
                  <a:pt x="149" y="212"/>
                </a:lnTo>
                <a:lnTo>
                  <a:pt x="153" y="213"/>
                </a:lnTo>
                <a:lnTo>
                  <a:pt x="155" y="213"/>
                </a:lnTo>
                <a:lnTo>
                  <a:pt x="155" y="214"/>
                </a:lnTo>
                <a:lnTo>
                  <a:pt x="156" y="215"/>
                </a:lnTo>
                <a:lnTo>
                  <a:pt x="147" y="215"/>
                </a:lnTo>
                <a:lnTo>
                  <a:pt x="144" y="216"/>
                </a:lnTo>
                <a:lnTo>
                  <a:pt x="142" y="216"/>
                </a:lnTo>
                <a:lnTo>
                  <a:pt x="137" y="215"/>
                </a:lnTo>
                <a:lnTo>
                  <a:pt x="134" y="215"/>
                </a:lnTo>
                <a:lnTo>
                  <a:pt x="132" y="214"/>
                </a:lnTo>
                <a:lnTo>
                  <a:pt x="136" y="213"/>
                </a:lnTo>
                <a:lnTo>
                  <a:pt x="135" y="212"/>
                </a:lnTo>
                <a:lnTo>
                  <a:pt x="132" y="212"/>
                </a:lnTo>
                <a:lnTo>
                  <a:pt x="134" y="210"/>
                </a:lnTo>
                <a:close/>
                <a:moveTo>
                  <a:pt x="149" y="208"/>
                </a:moveTo>
                <a:lnTo>
                  <a:pt x="150" y="209"/>
                </a:lnTo>
                <a:lnTo>
                  <a:pt x="159" y="209"/>
                </a:lnTo>
                <a:lnTo>
                  <a:pt x="165" y="212"/>
                </a:lnTo>
                <a:lnTo>
                  <a:pt x="167" y="214"/>
                </a:lnTo>
                <a:lnTo>
                  <a:pt x="167" y="215"/>
                </a:lnTo>
                <a:lnTo>
                  <a:pt x="169" y="215"/>
                </a:lnTo>
                <a:lnTo>
                  <a:pt x="171" y="216"/>
                </a:lnTo>
                <a:lnTo>
                  <a:pt x="171" y="215"/>
                </a:lnTo>
                <a:lnTo>
                  <a:pt x="172" y="215"/>
                </a:lnTo>
                <a:lnTo>
                  <a:pt x="173" y="216"/>
                </a:lnTo>
                <a:lnTo>
                  <a:pt x="174" y="216"/>
                </a:lnTo>
                <a:lnTo>
                  <a:pt x="175" y="218"/>
                </a:lnTo>
                <a:lnTo>
                  <a:pt x="176" y="218"/>
                </a:lnTo>
                <a:lnTo>
                  <a:pt x="179" y="220"/>
                </a:lnTo>
                <a:lnTo>
                  <a:pt x="178" y="219"/>
                </a:lnTo>
                <a:lnTo>
                  <a:pt x="178" y="218"/>
                </a:lnTo>
                <a:lnTo>
                  <a:pt x="176" y="218"/>
                </a:lnTo>
                <a:lnTo>
                  <a:pt x="175" y="216"/>
                </a:lnTo>
                <a:lnTo>
                  <a:pt x="176" y="216"/>
                </a:lnTo>
                <a:lnTo>
                  <a:pt x="176" y="215"/>
                </a:lnTo>
                <a:lnTo>
                  <a:pt x="179" y="215"/>
                </a:lnTo>
                <a:lnTo>
                  <a:pt x="180" y="216"/>
                </a:lnTo>
                <a:lnTo>
                  <a:pt x="181" y="216"/>
                </a:lnTo>
                <a:lnTo>
                  <a:pt x="182" y="215"/>
                </a:lnTo>
                <a:lnTo>
                  <a:pt x="182" y="219"/>
                </a:lnTo>
                <a:lnTo>
                  <a:pt x="184" y="219"/>
                </a:lnTo>
                <a:lnTo>
                  <a:pt x="185" y="221"/>
                </a:lnTo>
                <a:lnTo>
                  <a:pt x="186" y="222"/>
                </a:lnTo>
                <a:lnTo>
                  <a:pt x="185" y="222"/>
                </a:lnTo>
                <a:lnTo>
                  <a:pt x="184" y="221"/>
                </a:lnTo>
                <a:lnTo>
                  <a:pt x="181" y="221"/>
                </a:lnTo>
                <a:lnTo>
                  <a:pt x="181" y="222"/>
                </a:lnTo>
                <a:lnTo>
                  <a:pt x="180" y="222"/>
                </a:lnTo>
                <a:lnTo>
                  <a:pt x="180" y="221"/>
                </a:lnTo>
                <a:lnTo>
                  <a:pt x="179" y="221"/>
                </a:lnTo>
                <a:lnTo>
                  <a:pt x="180" y="222"/>
                </a:lnTo>
                <a:lnTo>
                  <a:pt x="179" y="222"/>
                </a:lnTo>
                <a:lnTo>
                  <a:pt x="176" y="221"/>
                </a:lnTo>
                <a:lnTo>
                  <a:pt x="175" y="221"/>
                </a:lnTo>
                <a:lnTo>
                  <a:pt x="171" y="219"/>
                </a:lnTo>
                <a:lnTo>
                  <a:pt x="167" y="218"/>
                </a:lnTo>
                <a:lnTo>
                  <a:pt x="167" y="216"/>
                </a:lnTo>
                <a:lnTo>
                  <a:pt x="166" y="215"/>
                </a:lnTo>
                <a:lnTo>
                  <a:pt x="163" y="215"/>
                </a:lnTo>
                <a:lnTo>
                  <a:pt x="160" y="213"/>
                </a:lnTo>
                <a:lnTo>
                  <a:pt x="159" y="213"/>
                </a:lnTo>
                <a:lnTo>
                  <a:pt x="157" y="212"/>
                </a:lnTo>
                <a:lnTo>
                  <a:pt x="150" y="212"/>
                </a:lnTo>
                <a:lnTo>
                  <a:pt x="150" y="210"/>
                </a:lnTo>
                <a:lnTo>
                  <a:pt x="149" y="210"/>
                </a:lnTo>
                <a:lnTo>
                  <a:pt x="149" y="208"/>
                </a:lnTo>
                <a:close/>
                <a:moveTo>
                  <a:pt x="110" y="206"/>
                </a:moveTo>
                <a:lnTo>
                  <a:pt x="116" y="206"/>
                </a:lnTo>
                <a:lnTo>
                  <a:pt x="116" y="207"/>
                </a:lnTo>
                <a:lnTo>
                  <a:pt x="117" y="206"/>
                </a:lnTo>
                <a:lnTo>
                  <a:pt x="117" y="207"/>
                </a:lnTo>
                <a:lnTo>
                  <a:pt x="115" y="209"/>
                </a:lnTo>
                <a:lnTo>
                  <a:pt x="111" y="209"/>
                </a:lnTo>
                <a:lnTo>
                  <a:pt x="110" y="210"/>
                </a:lnTo>
                <a:lnTo>
                  <a:pt x="109" y="209"/>
                </a:lnTo>
                <a:lnTo>
                  <a:pt x="110" y="209"/>
                </a:lnTo>
                <a:lnTo>
                  <a:pt x="110" y="208"/>
                </a:lnTo>
                <a:lnTo>
                  <a:pt x="109" y="208"/>
                </a:lnTo>
                <a:lnTo>
                  <a:pt x="109" y="207"/>
                </a:lnTo>
                <a:lnTo>
                  <a:pt x="110" y="206"/>
                </a:lnTo>
                <a:close/>
                <a:moveTo>
                  <a:pt x="122" y="199"/>
                </a:moveTo>
                <a:lnTo>
                  <a:pt x="123" y="199"/>
                </a:lnTo>
                <a:lnTo>
                  <a:pt x="123" y="200"/>
                </a:lnTo>
                <a:lnTo>
                  <a:pt x="122" y="200"/>
                </a:lnTo>
                <a:lnTo>
                  <a:pt x="122" y="199"/>
                </a:lnTo>
                <a:close/>
                <a:moveTo>
                  <a:pt x="131" y="197"/>
                </a:moveTo>
                <a:lnTo>
                  <a:pt x="134" y="197"/>
                </a:lnTo>
                <a:lnTo>
                  <a:pt x="134" y="199"/>
                </a:lnTo>
                <a:lnTo>
                  <a:pt x="135" y="199"/>
                </a:lnTo>
                <a:lnTo>
                  <a:pt x="135" y="200"/>
                </a:lnTo>
                <a:lnTo>
                  <a:pt x="136" y="201"/>
                </a:lnTo>
                <a:lnTo>
                  <a:pt x="143" y="201"/>
                </a:lnTo>
                <a:lnTo>
                  <a:pt x="144" y="202"/>
                </a:lnTo>
                <a:lnTo>
                  <a:pt x="155" y="202"/>
                </a:lnTo>
                <a:lnTo>
                  <a:pt x="156" y="203"/>
                </a:lnTo>
                <a:lnTo>
                  <a:pt x="135" y="203"/>
                </a:lnTo>
                <a:lnTo>
                  <a:pt x="130" y="202"/>
                </a:lnTo>
                <a:lnTo>
                  <a:pt x="126" y="201"/>
                </a:lnTo>
                <a:lnTo>
                  <a:pt x="125" y="201"/>
                </a:lnTo>
                <a:lnTo>
                  <a:pt x="124" y="200"/>
                </a:lnTo>
                <a:lnTo>
                  <a:pt x="124" y="199"/>
                </a:lnTo>
                <a:lnTo>
                  <a:pt x="129" y="199"/>
                </a:lnTo>
                <a:lnTo>
                  <a:pt x="129" y="200"/>
                </a:lnTo>
                <a:lnTo>
                  <a:pt x="130" y="200"/>
                </a:lnTo>
                <a:lnTo>
                  <a:pt x="130" y="199"/>
                </a:lnTo>
                <a:lnTo>
                  <a:pt x="131" y="199"/>
                </a:lnTo>
                <a:lnTo>
                  <a:pt x="131" y="197"/>
                </a:lnTo>
                <a:close/>
                <a:moveTo>
                  <a:pt x="129" y="197"/>
                </a:moveTo>
                <a:lnTo>
                  <a:pt x="130" y="197"/>
                </a:lnTo>
                <a:lnTo>
                  <a:pt x="130" y="199"/>
                </a:lnTo>
                <a:lnTo>
                  <a:pt x="129" y="197"/>
                </a:lnTo>
                <a:close/>
                <a:moveTo>
                  <a:pt x="124" y="188"/>
                </a:moveTo>
                <a:lnTo>
                  <a:pt x="125" y="188"/>
                </a:lnTo>
                <a:lnTo>
                  <a:pt x="126" y="189"/>
                </a:lnTo>
                <a:lnTo>
                  <a:pt x="135" y="189"/>
                </a:lnTo>
                <a:lnTo>
                  <a:pt x="141" y="190"/>
                </a:lnTo>
                <a:lnTo>
                  <a:pt x="140" y="190"/>
                </a:lnTo>
                <a:lnTo>
                  <a:pt x="140" y="191"/>
                </a:lnTo>
                <a:lnTo>
                  <a:pt x="141" y="191"/>
                </a:lnTo>
                <a:lnTo>
                  <a:pt x="141" y="190"/>
                </a:lnTo>
                <a:lnTo>
                  <a:pt x="143" y="193"/>
                </a:lnTo>
                <a:lnTo>
                  <a:pt x="143" y="194"/>
                </a:lnTo>
                <a:lnTo>
                  <a:pt x="142" y="194"/>
                </a:lnTo>
                <a:lnTo>
                  <a:pt x="142" y="195"/>
                </a:lnTo>
                <a:lnTo>
                  <a:pt x="130" y="195"/>
                </a:lnTo>
                <a:lnTo>
                  <a:pt x="128" y="194"/>
                </a:lnTo>
                <a:lnTo>
                  <a:pt x="124" y="193"/>
                </a:lnTo>
                <a:lnTo>
                  <a:pt x="123" y="191"/>
                </a:lnTo>
                <a:lnTo>
                  <a:pt x="124" y="191"/>
                </a:lnTo>
                <a:lnTo>
                  <a:pt x="124" y="190"/>
                </a:lnTo>
                <a:lnTo>
                  <a:pt x="125" y="190"/>
                </a:lnTo>
                <a:lnTo>
                  <a:pt x="124" y="189"/>
                </a:lnTo>
                <a:lnTo>
                  <a:pt x="124" y="188"/>
                </a:lnTo>
                <a:close/>
                <a:moveTo>
                  <a:pt x="115" y="187"/>
                </a:moveTo>
                <a:lnTo>
                  <a:pt x="118" y="187"/>
                </a:lnTo>
                <a:lnTo>
                  <a:pt x="118" y="188"/>
                </a:lnTo>
                <a:lnTo>
                  <a:pt x="120" y="188"/>
                </a:lnTo>
                <a:lnTo>
                  <a:pt x="120" y="189"/>
                </a:lnTo>
                <a:lnTo>
                  <a:pt x="122" y="190"/>
                </a:lnTo>
                <a:lnTo>
                  <a:pt x="123" y="190"/>
                </a:lnTo>
                <a:lnTo>
                  <a:pt x="122" y="191"/>
                </a:lnTo>
                <a:lnTo>
                  <a:pt x="120" y="191"/>
                </a:lnTo>
                <a:lnTo>
                  <a:pt x="118" y="189"/>
                </a:lnTo>
                <a:lnTo>
                  <a:pt x="116" y="189"/>
                </a:lnTo>
                <a:lnTo>
                  <a:pt x="115" y="188"/>
                </a:lnTo>
                <a:lnTo>
                  <a:pt x="115" y="187"/>
                </a:lnTo>
                <a:close/>
                <a:moveTo>
                  <a:pt x="117" y="181"/>
                </a:moveTo>
                <a:lnTo>
                  <a:pt x="119" y="182"/>
                </a:lnTo>
                <a:lnTo>
                  <a:pt x="122" y="182"/>
                </a:lnTo>
                <a:lnTo>
                  <a:pt x="122" y="183"/>
                </a:lnTo>
                <a:lnTo>
                  <a:pt x="120" y="183"/>
                </a:lnTo>
                <a:lnTo>
                  <a:pt x="118" y="182"/>
                </a:lnTo>
                <a:lnTo>
                  <a:pt x="117" y="183"/>
                </a:lnTo>
                <a:lnTo>
                  <a:pt x="116" y="183"/>
                </a:lnTo>
                <a:lnTo>
                  <a:pt x="115" y="182"/>
                </a:lnTo>
                <a:lnTo>
                  <a:pt x="117" y="182"/>
                </a:lnTo>
                <a:lnTo>
                  <a:pt x="117" y="181"/>
                </a:lnTo>
                <a:close/>
                <a:moveTo>
                  <a:pt x="92" y="173"/>
                </a:moveTo>
                <a:lnTo>
                  <a:pt x="93" y="173"/>
                </a:lnTo>
                <a:lnTo>
                  <a:pt x="95" y="175"/>
                </a:lnTo>
                <a:lnTo>
                  <a:pt x="92" y="173"/>
                </a:lnTo>
                <a:close/>
                <a:moveTo>
                  <a:pt x="89" y="171"/>
                </a:moveTo>
                <a:lnTo>
                  <a:pt x="91" y="171"/>
                </a:lnTo>
                <a:lnTo>
                  <a:pt x="92" y="172"/>
                </a:lnTo>
                <a:lnTo>
                  <a:pt x="92" y="173"/>
                </a:lnTo>
                <a:lnTo>
                  <a:pt x="89" y="172"/>
                </a:lnTo>
                <a:lnTo>
                  <a:pt x="89" y="171"/>
                </a:lnTo>
                <a:close/>
                <a:moveTo>
                  <a:pt x="79" y="165"/>
                </a:moveTo>
                <a:lnTo>
                  <a:pt x="80" y="165"/>
                </a:lnTo>
                <a:lnTo>
                  <a:pt x="80" y="166"/>
                </a:lnTo>
                <a:lnTo>
                  <a:pt x="79" y="165"/>
                </a:lnTo>
                <a:close/>
                <a:moveTo>
                  <a:pt x="74" y="159"/>
                </a:moveTo>
                <a:lnTo>
                  <a:pt x="79" y="164"/>
                </a:lnTo>
                <a:lnTo>
                  <a:pt x="79" y="165"/>
                </a:lnTo>
                <a:lnTo>
                  <a:pt x="76" y="164"/>
                </a:lnTo>
                <a:lnTo>
                  <a:pt x="76" y="163"/>
                </a:lnTo>
                <a:lnTo>
                  <a:pt x="75" y="161"/>
                </a:lnTo>
                <a:lnTo>
                  <a:pt x="74" y="161"/>
                </a:lnTo>
                <a:lnTo>
                  <a:pt x="74" y="159"/>
                </a:lnTo>
                <a:close/>
                <a:moveTo>
                  <a:pt x="70" y="159"/>
                </a:moveTo>
                <a:lnTo>
                  <a:pt x="72" y="159"/>
                </a:lnTo>
                <a:lnTo>
                  <a:pt x="70" y="159"/>
                </a:lnTo>
                <a:close/>
                <a:moveTo>
                  <a:pt x="69" y="158"/>
                </a:moveTo>
                <a:lnTo>
                  <a:pt x="70" y="158"/>
                </a:lnTo>
                <a:lnTo>
                  <a:pt x="70" y="159"/>
                </a:lnTo>
                <a:lnTo>
                  <a:pt x="69" y="158"/>
                </a:lnTo>
                <a:close/>
                <a:moveTo>
                  <a:pt x="75" y="152"/>
                </a:moveTo>
                <a:lnTo>
                  <a:pt x="76" y="152"/>
                </a:lnTo>
                <a:lnTo>
                  <a:pt x="79" y="154"/>
                </a:lnTo>
                <a:lnTo>
                  <a:pt x="80" y="154"/>
                </a:lnTo>
                <a:lnTo>
                  <a:pt x="80" y="156"/>
                </a:lnTo>
                <a:lnTo>
                  <a:pt x="81" y="157"/>
                </a:lnTo>
                <a:lnTo>
                  <a:pt x="82" y="157"/>
                </a:lnTo>
                <a:lnTo>
                  <a:pt x="82" y="159"/>
                </a:lnTo>
                <a:lnTo>
                  <a:pt x="81" y="159"/>
                </a:lnTo>
                <a:lnTo>
                  <a:pt x="81" y="158"/>
                </a:lnTo>
                <a:lnTo>
                  <a:pt x="80" y="158"/>
                </a:lnTo>
                <a:lnTo>
                  <a:pt x="79" y="157"/>
                </a:lnTo>
                <a:lnTo>
                  <a:pt x="79" y="156"/>
                </a:lnTo>
                <a:lnTo>
                  <a:pt x="76" y="156"/>
                </a:lnTo>
                <a:lnTo>
                  <a:pt x="76" y="154"/>
                </a:lnTo>
                <a:lnTo>
                  <a:pt x="75" y="152"/>
                </a:lnTo>
                <a:close/>
                <a:moveTo>
                  <a:pt x="64" y="150"/>
                </a:moveTo>
                <a:lnTo>
                  <a:pt x="73" y="158"/>
                </a:lnTo>
                <a:lnTo>
                  <a:pt x="72" y="159"/>
                </a:lnTo>
                <a:lnTo>
                  <a:pt x="70" y="157"/>
                </a:lnTo>
                <a:lnTo>
                  <a:pt x="69" y="157"/>
                </a:lnTo>
                <a:lnTo>
                  <a:pt x="69" y="158"/>
                </a:lnTo>
                <a:lnTo>
                  <a:pt x="68" y="157"/>
                </a:lnTo>
                <a:lnTo>
                  <a:pt x="67" y="154"/>
                </a:lnTo>
                <a:lnTo>
                  <a:pt x="66" y="153"/>
                </a:lnTo>
                <a:lnTo>
                  <a:pt x="64" y="150"/>
                </a:lnTo>
                <a:close/>
                <a:moveTo>
                  <a:pt x="63" y="148"/>
                </a:moveTo>
                <a:lnTo>
                  <a:pt x="64" y="148"/>
                </a:lnTo>
                <a:lnTo>
                  <a:pt x="64" y="150"/>
                </a:lnTo>
                <a:lnTo>
                  <a:pt x="63" y="148"/>
                </a:lnTo>
                <a:close/>
                <a:moveTo>
                  <a:pt x="67" y="144"/>
                </a:moveTo>
                <a:lnTo>
                  <a:pt x="73" y="148"/>
                </a:lnTo>
                <a:lnTo>
                  <a:pt x="74" y="150"/>
                </a:lnTo>
                <a:lnTo>
                  <a:pt x="70" y="150"/>
                </a:lnTo>
                <a:lnTo>
                  <a:pt x="70" y="148"/>
                </a:lnTo>
                <a:lnTo>
                  <a:pt x="69" y="147"/>
                </a:lnTo>
                <a:lnTo>
                  <a:pt x="68" y="145"/>
                </a:lnTo>
                <a:lnTo>
                  <a:pt x="67" y="145"/>
                </a:lnTo>
                <a:lnTo>
                  <a:pt x="67" y="144"/>
                </a:lnTo>
                <a:close/>
                <a:moveTo>
                  <a:pt x="56" y="144"/>
                </a:moveTo>
                <a:lnTo>
                  <a:pt x="58" y="144"/>
                </a:lnTo>
                <a:lnTo>
                  <a:pt x="61" y="145"/>
                </a:lnTo>
                <a:lnTo>
                  <a:pt x="61" y="146"/>
                </a:lnTo>
                <a:lnTo>
                  <a:pt x="62" y="146"/>
                </a:lnTo>
                <a:lnTo>
                  <a:pt x="62" y="147"/>
                </a:lnTo>
                <a:lnTo>
                  <a:pt x="64" y="147"/>
                </a:lnTo>
                <a:lnTo>
                  <a:pt x="63" y="148"/>
                </a:lnTo>
                <a:lnTo>
                  <a:pt x="62" y="148"/>
                </a:lnTo>
                <a:lnTo>
                  <a:pt x="58" y="145"/>
                </a:lnTo>
                <a:lnTo>
                  <a:pt x="57" y="145"/>
                </a:lnTo>
                <a:lnTo>
                  <a:pt x="56" y="144"/>
                </a:lnTo>
                <a:close/>
                <a:moveTo>
                  <a:pt x="57" y="142"/>
                </a:moveTo>
                <a:lnTo>
                  <a:pt x="58" y="142"/>
                </a:lnTo>
                <a:lnTo>
                  <a:pt x="58" y="144"/>
                </a:lnTo>
                <a:lnTo>
                  <a:pt x="57" y="142"/>
                </a:lnTo>
                <a:close/>
                <a:moveTo>
                  <a:pt x="53" y="136"/>
                </a:moveTo>
                <a:lnTo>
                  <a:pt x="54" y="136"/>
                </a:lnTo>
                <a:lnTo>
                  <a:pt x="54" y="138"/>
                </a:lnTo>
                <a:lnTo>
                  <a:pt x="53" y="136"/>
                </a:lnTo>
                <a:close/>
                <a:moveTo>
                  <a:pt x="54" y="135"/>
                </a:moveTo>
                <a:lnTo>
                  <a:pt x="55" y="136"/>
                </a:lnTo>
                <a:lnTo>
                  <a:pt x="54" y="136"/>
                </a:lnTo>
                <a:lnTo>
                  <a:pt x="54" y="135"/>
                </a:lnTo>
                <a:close/>
                <a:moveTo>
                  <a:pt x="47" y="132"/>
                </a:moveTo>
                <a:lnTo>
                  <a:pt x="48" y="133"/>
                </a:lnTo>
                <a:lnTo>
                  <a:pt x="49" y="133"/>
                </a:lnTo>
                <a:lnTo>
                  <a:pt x="49" y="134"/>
                </a:lnTo>
                <a:lnTo>
                  <a:pt x="47" y="133"/>
                </a:lnTo>
                <a:lnTo>
                  <a:pt x="47" y="132"/>
                </a:lnTo>
                <a:close/>
                <a:moveTo>
                  <a:pt x="70" y="130"/>
                </a:moveTo>
                <a:lnTo>
                  <a:pt x="70" y="132"/>
                </a:lnTo>
                <a:lnTo>
                  <a:pt x="72" y="132"/>
                </a:lnTo>
                <a:lnTo>
                  <a:pt x="70" y="130"/>
                </a:lnTo>
                <a:close/>
                <a:moveTo>
                  <a:pt x="54" y="128"/>
                </a:moveTo>
                <a:lnTo>
                  <a:pt x="55" y="128"/>
                </a:lnTo>
                <a:lnTo>
                  <a:pt x="55" y="130"/>
                </a:lnTo>
                <a:lnTo>
                  <a:pt x="56" y="130"/>
                </a:lnTo>
                <a:lnTo>
                  <a:pt x="56" y="132"/>
                </a:lnTo>
                <a:lnTo>
                  <a:pt x="55" y="133"/>
                </a:lnTo>
                <a:lnTo>
                  <a:pt x="55" y="132"/>
                </a:lnTo>
                <a:lnTo>
                  <a:pt x="54" y="132"/>
                </a:lnTo>
                <a:lnTo>
                  <a:pt x="54" y="128"/>
                </a:lnTo>
                <a:close/>
                <a:moveTo>
                  <a:pt x="41" y="121"/>
                </a:moveTo>
                <a:lnTo>
                  <a:pt x="42" y="121"/>
                </a:lnTo>
                <a:lnTo>
                  <a:pt x="44" y="123"/>
                </a:lnTo>
                <a:lnTo>
                  <a:pt x="44" y="124"/>
                </a:lnTo>
                <a:lnTo>
                  <a:pt x="43" y="124"/>
                </a:lnTo>
                <a:lnTo>
                  <a:pt x="42" y="123"/>
                </a:lnTo>
                <a:lnTo>
                  <a:pt x="41" y="121"/>
                </a:lnTo>
                <a:close/>
                <a:moveTo>
                  <a:pt x="41" y="120"/>
                </a:moveTo>
                <a:lnTo>
                  <a:pt x="42" y="121"/>
                </a:lnTo>
                <a:lnTo>
                  <a:pt x="41" y="120"/>
                </a:lnTo>
                <a:close/>
                <a:moveTo>
                  <a:pt x="32" y="114"/>
                </a:moveTo>
                <a:lnTo>
                  <a:pt x="32" y="116"/>
                </a:lnTo>
                <a:lnTo>
                  <a:pt x="31" y="116"/>
                </a:lnTo>
                <a:lnTo>
                  <a:pt x="31" y="115"/>
                </a:lnTo>
                <a:lnTo>
                  <a:pt x="32" y="114"/>
                </a:lnTo>
                <a:close/>
                <a:moveTo>
                  <a:pt x="32" y="113"/>
                </a:moveTo>
                <a:lnTo>
                  <a:pt x="33" y="113"/>
                </a:lnTo>
                <a:lnTo>
                  <a:pt x="33" y="114"/>
                </a:lnTo>
                <a:lnTo>
                  <a:pt x="32" y="114"/>
                </a:lnTo>
                <a:lnTo>
                  <a:pt x="32" y="113"/>
                </a:lnTo>
                <a:close/>
                <a:moveTo>
                  <a:pt x="53" y="111"/>
                </a:moveTo>
                <a:lnTo>
                  <a:pt x="55" y="113"/>
                </a:lnTo>
                <a:lnTo>
                  <a:pt x="57" y="117"/>
                </a:lnTo>
                <a:lnTo>
                  <a:pt x="58" y="118"/>
                </a:lnTo>
                <a:lnTo>
                  <a:pt x="58" y="116"/>
                </a:lnTo>
                <a:lnTo>
                  <a:pt x="60" y="116"/>
                </a:lnTo>
                <a:lnTo>
                  <a:pt x="62" y="118"/>
                </a:lnTo>
                <a:lnTo>
                  <a:pt x="63" y="121"/>
                </a:lnTo>
                <a:lnTo>
                  <a:pt x="64" y="121"/>
                </a:lnTo>
                <a:lnTo>
                  <a:pt x="67" y="123"/>
                </a:lnTo>
                <a:lnTo>
                  <a:pt x="67" y="124"/>
                </a:lnTo>
                <a:lnTo>
                  <a:pt x="66" y="124"/>
                </a:lnTo>
                <a:lnTo>
                  <a:pt x="64" y="123"/>
                </a:lnTo>
                <a:lnTo>
                  <a:pt x="64" y="122"/>
                </a:lnTo>
                <a:lnTo>
                  <a:pt x="62" y="121"/>
                </a:lnTo>
                <a:lnTo>
                  <a:pt x="61" y="121"/>
                </a:lnTo>
                <a:lnTo>
                  <a:pt x="61" y="120"/>
                </a:lnTo>
                <a:lnTo>
                  <a:pt x="60" y="120"/>
                </a:lnTo>
                <a:lnTo>
                  <a:pt x="60" y="121"/>
                </a:lnTo>
                <a:lnTo>
                  <a:pt x="62" y="122"/>
                </a:lnTo>
                <a:lnTo>
                  <a:pt x="66" y="127"/>
                </a:lnTo>
                <a:lnTo>
                  <a:pt x="67" y="128"/>
                </a:lnTo>
                <a:lnTo>
                  <a:pt x="68" y="128"/>
                </a:lnTo>
                <a:lnTo>
                  <a:pt x="67" y="128"/>
                </a:lnTo>
                <a:lnTo>
                  <a:pt x="67" y="127"/>
                </a:lnTo>
                <a:lnTo>
                  <a:pt x="66" y="126"/>
                </a:lnTo>
                <a:lnTo>
                  <a:pt x="66" y="124"/>
                </a:lnTo>
                <a:lnTo>
                  <a:pt x="67" y="126"/>
                </a:lnTo>
                <a:lnTo>
                  <a:pt x="72" y="129"/>
                </a:lnTo>
                <a:lnTo>
                  <a:pt x="72" y="130"/>
                </a:lnTo>
                <a:lnTo>
                  <a:pt x="73" y="130"/>
                </a:lnTo>
                <a:lnTo>
                  <a:pt x="74" y="132"/>
                </a:lnTo>
                <a:lnTo>
                  <a:pt x="74" y="133"/>
                </a:lnTo>
                <a:lnTo>
                  <a:pt x="73" y="132"/>
                </a:lnTo>
                <a:lnTo>
                  <a:pt x="73" y="134"/>
                </a:lnTo>
                <a:lnTo>
                  <a:pt x="72" y="134"/>
                </a:lnTo>
                <a:lnTo>
                  <a:pt x="70" y="133"/>
                </a:lnTo>
                <a:lnTo>
                  <a:pt x="69" y="133"/>
                </a:lnTo>
                <a:lnTo>
                  <a:pt x="72" y="134"/>
                </a:lnTo>
                <a:lnTo>
                  <a:pt x="72" y="135"/>
                </a:lnTo>
                <a:lnTo>
                  <a:pt x="70" y="135"/>
                </a:lnTo>
                <a:lnTo>
                  <a:pt x="69" y="134"/>
                </a:lnTo>
                <a:lnTo>
                  <a:pt x="68" y="134"/>
                </a:lnTo>
                <a:lnTo>
                  <a:pt x="68" y="130"/>
                </a:lnTo>
                <a:lnTo>
                  <a:pt x="69" y="129"/>
                </a:lnTo>
                <a:lnTo>
                  <a:pt x="66" y="129"/>
                </a:lnTo>
                <a:lnTo>
                  <a:pt x="64" y="127"/>
                </a:lnTo>
                <a:lnTo>
                  <a:pt x="62" y="126"/>
                </a:lnTo>
                <a:lnTo>
                  <a:pt x="62" y="124"/>
                </a:lnTo>
                <a:lnTo>
                  <a:pt x="60" y="123"/>
                </a:lnTo>
                <a:lnTo>
                  <a:pt x="61" y="123"/>
                </a:lnTo>
                <a:lnTo>
                  <a:pt x="60" y="122"/>
                </a:lnTo>
                <a:lnTo>
                  <a:pt x="58" y="120"/>
                </a:lnTo>
                <a:lnTo>
                  <a:pt x="54" y="114"/>
                </a:lnTo>
                <a:lnTo>
                  <a:pt x="53" y="113"/>
                </a:lnTo>
                <a:lnTo>
                  <a:pt x="53" y="111"/>
                </a:lnTo>
                <a:close/>
                <a:moveTo>
                  <a:pt x="36" y="110"/>
                </a:moveTo>
                <a:lnTo>
                  <a:pt x="37" y="111"/>
                </a:lnTo>
                <a:lnTo>
                  <a:pt x="38" y="111"/>
                </a:lnTo>
                <a:lnTo>
                  <a:pt x="38" y="116"/>
                </a:lnTo>
                <a:lnTo>
                  <a:pt x="39" y="117"/>
                </a:lnTo>
                <a:lnTo>
                  <a:pt x="41" y="120"/>
                </a:lnTo>
                <a:lnTo>
                  <a:pt x="39" y="118"/>
                </a:lnTo>
                <a:lnTo>
                  <a:pt x="38" y="118"/>
                </a:lnTo>
                <a:lnTo>
                  <a:pt x="38" y="120"/>
                </a:lnTo>
                <a:lnTo>
                  <a:pt x="37" y="120"/>
                </a:lnTo>
                <a:lnTo>
                  <a:pt x="37" y="118"/>
                </a:lnTo>
                <a:lnTo>
                  <a:pt x="38" y="117"/>
                </a:lnTo>
                <a:lnTo>
                  <a:pt x="37" y="116"/>
                </a:lnTo>
                <a:lnTo>
                  <a:pt x="36" y="114"/>
                </a:lnTo>
                <a:lnTo>
                  <a:pt x="36" y="110"/>
                </a:lnTo>
                <a:close/>
                <a:moveTo>
                  <a:pt x="18" y="105"/>
                </a:moveTo>
                <a:lnTo>
                  <a:pt x="18" y="107"/>
                </a:lnTo>
                <a:lnTo>
                  <a:pt x="17" y="107"/>
                </a:lnTo>
                <a:lnTo>
                  <a:pt x="18" y="105"/>
                </a:lnTo>
                <a:close/>
                <a:moveTo>
                  <a:pt x="17" y="104"/>
                </a:moveTo>
                <a:lnTo>
                  <a:pt x="18" y="104"/>
                </a:lnTo>
                <a:lnTo>
                  <a:pt x="18" y="105"/>
                </a:lnTo>
                <a:lnTo>
                  <a:pt x="17" y="104"/>
                </a:lnTo>
                <a:close/>
                <a:moveTo>
                  <a:pt x="53" y="102"/>
                </a:moveTo>
                <a:lnTo>
                  <a:pt x="54" y="103"/>
                </a:lnTo>
                <a:lnTo>
                  <a:pt x="53" y="104"/>
                </a:lnTo>
                <a:lnTo>
                  <a:pt x="54" y="104"/>
                </a:lnTo>
                <a:lnTo>
                  <a:pt x="55" y="107"/>
                </a:lnTo>
                <a:lnTo>
                  <a:pt x="56" y="107"/>
                </a:lnTo>
                <a:lnTo>
                  <a:pt x="57" y="109"/>
                </a:lnTo>
                <a:lnTo>
                  <a:pt x="57" y="111"/>
                </a:lnTo>
                <a:lnTo>
                  <a:pt x="53" y="107"/>
                </a:lnTo>
                <a:lnTo>
                  <a:pt x="53" y="108"/>
                </a:lnTo>
                <a:lnTo>
                  <a:pt x="51" y="108"/>
                </a:lnTo>
                <a:lnTo>
                  <a:pt x="49" y="105"/>
                </a:lnTo>
                <a:lnTo>
                  <a:pt x="53" y="105"/>
                </a:lnTo>
                <a:lnTo>
                  <a:pt x="51" y="104"/>
                </a:lnTo>
                <a:lnTo>
                  <a:pt x="51" y="103"/>
                </a:lnTo>
                <a:lnTo>
                  <a:pt x="53" y="103"/>
                </a:lnTo>
                <a:lnTo>
                  <a:pt x="53" y="102"/>
                </a:lnTo>
                <a:close/>
                <a:moveTo>
                  <a:pt x="13" y="101"/>
                </a:moveTo>
                <a:lnTo>
                  <a:pt x="14" y="102"/>
                </a:lnTo>
                <a:lnTo>
                  <a:pt x="13" y="102"/>
                </a:lnTo>
                <a:lnTo>
                  <a:pt x="13" y="101"/>
                </a:lnTo>
                <a:close/>
                <a:moveTo>
                  <a:pt x="25" y="96"/>
                </a:moveTo>
                <a:lnTo>
                  <a:pt x="25" y="97"/>
                </a:lnTo>
                <a:lnTo>
                  <a:pt x="24" y="97"/>
                </a:lnTo>
                <a:lnTo>
                  <a:pt x="25" y="96"/>
                </a:lnTo>
                <a:close/>
                <a:moveTo>
                  <a:pt x="23" y="91"/>
                </a:moveTo>
                <a:lnTo>
                  <a:pt x="24" y="92"/>
                </a:lnTo>
                <a:lnTo>
                  <a:pt x="23" y="93"/>
                </a:lnTo>
                <a:lnTo>
                  <a:pt x="25" y="93"/>
                </a:lnTo>
                <a:lnTo>
                  <a:pt x="24" y="92"/>
                </a:lnTo>
                <a:lnTo>
                  <a:pt x="24" y="91"/>
                </a:lnTo>
                <a:lnTo>
                  <a:pt x="23" y="91"/>
                </a:lnTo>
                <a:close/>
                <a:moveTo>
                  <a:pt x="35" y="83"/>
                </a:moveTo>
                <a:lnTo>
                  <a:pt x="36" y="83"/>
                </a:lnTo>
                <a:lnTo>
                  <a:pt x="37" y="84"/>
                </a:lnTo>
                <a:lnTo>
                  <a:pt x="37" y="89"/>
                </a:lnTo>
                <a:lnTo>
                  <a:pt x="39" y="93"/>
                </a:lnTo>
                <a:lnTo>
                  <a:pt x="39" y="95"/>
                </a:lnTo>
                <a:lnTo>
                  <a:pt x="42" y="95"/>
                </a:lnTo>
                <a:lnTo>
                  <a:pt x="42" y="96"/>
                </a:lnTo>
                <a:lnTo>
                  <a:pt x="41" y="97"/>
                </a:lnTo>
                <a:lnTo>
                  <a:pt x="41" y="102"/>
                </a:lnTo>
                <a:lnTo>
                  <a:pt x="42" y="104"/>
                </a:lnTo>
                <a:lnTo>
                  <a:pt x="42" y="105"/>
                </a:lnTo>
                <a:lnTo>
                  <a:pt x="41" y="105"/>
                </a:lnTo>
                <a:lnTo>
                  <a:pt x="41" y="107"/>
                </a:lnTo>
                <a:lnTo>
                  <a:pt x="42" y="107"/>
                </a:lnTo>
                <a:lnTo>
                  <a:pt x="42" y="111"/>
                </a:lnTo>
                <a:lnTo>
                  <a:pt x="43" y="113"/>
                </a:lnTo>
                <a:lnTo>
                  <a:pt x="43" y="115"/>
                </a:lnTo>
                <a:lnTo>
                  <a:pt x="44" y="115"/>
                </a:lnTo>
                <a:lnTo>
                  <a:pt x="44" y="116"/>
                </a:lnTo>
                <a:lnTo>
                  <a:pt x="42" y="116"/>
                </a:lnTo>
                <a:lnTo>
                  <a:pt x="39" y="114"/>
                </a:lnTo>
                <a:lnTo>
                  <a:pt x="38" y="111"/>
                </a:lnTo>
                <a:lnTo>
                  <a:pt x="38" y="108"/>
                </a:lnTo>
                <a:lnTo>
                  <a:pt x="37" y="108"/>
                </a:lnTo>
                <a:lnTo>
                  <a:pt x="37" y="104"/>
                </a:lnTo>
                <a:lnTo>
                  <a:pt x="36" y="104"/>
                </a:lnTo>
                <a:lnTo>
                  <a:pt x="36" y="103"/>
                </a:lnTo>
                <a:lnTo>
                  <a:pt x="35" y="99"/>
                </a:lnTo>
                <a:lnTo>
                  <a:pt x="33" y="99"/>
                </a:lnTo>
                <a:lnTo>
                  <a:pt x="33" y="98"/>
                </a:lnTo>
                <a:lnTo>
                  <a:pt x="35" y="98"/>
                </a:lnTo>
                <a:lnTo>
                  <a:pt x="33" y="97"/>
                </a:lnTo>
                <a:lnTo>
                  <a:pt x="36" y="97"/>
                </a:lnTo>
                <a:lnTo>
                  <a:pt x="36" y="98"/>
                </a:lnTo>
                <a:lnTo>
                  <a:pt x="37" y="99"/>
                </a:lnTo>
                <a:lnTo>
                  <a:pt x="38" y="99"/>
                </a:lnTo>
                <a:lnTo>
                  <a:pt x="38" y="97"/>
                </a:lnTo>
                <a:lnTo>
                  <a:pt x="39" y="96"/>
                </a:lnTo>
                <a:lnTo>
                  <a:pt x="38" y="96"/>
                </a:lnTo>
                <a:lnTo>
                  <a:pt x="37" y="95"/>
                </a:lnTo>
                <a:lnTo>
                  <a:pt x="36" y="91"/>
                </a:lnTo>
                <a:lnTo>
                  <a:pt x="36" y="90"/>
                </a:lnTo>
                <a:lnTo>
                  <a:pt x="33" y="87"/>
                </a:lnTo>
                <a:lnTo>
                  <a:pt x="33" y="85"/>
                </a:lnTo>
                <a:lnTo>
                  <a:pt x="35" y="84"/>
                </a:lnTo>
                <a:lnTo>
                  <a:pt x="35" y="83"/>
                </a:lnTo>
                <a:close/>
                <a:moveTo>
                  <a:pt x="44" y="79"/>
                </a:moveTo>
                <a:lnTo>
                  <a:pt x="47" y="79"/>
                </a:lnTo>
                <a:lnTo>
                  <a:pt x="47" y="80"/>
                </a:lnTo>
                <a:lnTo>
                  <a:pt x="48" y="81"/>
                </a:lnTo>
                <a:lnTo>
                  <a:pt x="48" y="83"/>
                </a:lnTo>
                <a:lnTo>
                  <a:pt x="47" y="84"/>
                </a:lnTo>
                <a:lnTo>
                  <a:pt x="50" y="84"/>
                </a:lnTo>
                <a:lnTo>
                  <a:pt x="50" y="85"/>
                </a:lnTo>
                <a:lnTo>
                  <a:pt x="49" y="87"/>
                </a:lnTo>
                <a:lnTo>
                  <a:pt x="50" y="89"/>
                </a:lnTo>
                <a:lnTo>
                  <a:pt x="53" y="89"/>
                </a:lnTo>
                <a:lnTo>
                  <a:pt x="53" y="91"/>
                </a:lnTo>
                <a:lnTo>
                  <a:pt x="56" y="95"/>
                </a:lnTo>
                <a:lnTo>
                  <a:pt x="55" y="95"/>
                </a:lnTo>
                <a:lnTo>
                  <a:pt x="55" y="96"/>
                </a:lnTo>
                <a:lnTo>
                  <a:pt x="54" y="95"/>
                </a:lnTo>
                <a:lnTo>
                  <a:pt x="54" y="97"/>
                </a:lnTo>
                <a:lnTo>
                  <a:pt x="51" y="97"/>
                </a:lnTo>
                <a:lnTo>
                  <a:pt x="49" y="96"/>
                </a:lnTo>
                <a:lnTo>
                  <a:pt x="48" y="95"/>
                </a:lnTo>
                <a:lnTo>
                  <a:pt x="48" y="91"/>
                </a:lnTo>
                <a:lnTo>
                  <a:pt x="47" y="91"/>
                </a:lnTo>
                <a:lnTo>
                  <a:pt x="48" y="92"/>
                </a:lnTo>
                <a:lnTo>
                  <a:pt x="47" y="92"/>
                </a:lnTo>
                <a:lnTo>
                  <a:pt x="43" y="91"/>
                </a:lnTo>
                <a:lnTo>
                  <a:pt x="42" y="91"/>
                </a:lnTo>
                <a:lnTo>
                  <a:pt x="39" y="89"/>
                </a:lnTo>
                <a:lnTo>
                  <a:pt x="39" y="87"/>
                </a:lnTo>
                <a:lnTo>
                  <a:pt x="42" y="87"/>
                </a:lnTo>
                <a:lnTo>
                  <a:pt x="42" y="86"/>
                </a:lnTo>
                <a:lnTo>
                  <a:pt x="43" y="86"/>
                </a:lnTo>
                <a:lnTo>
                  <a:pt x="44" y="85"/>
                </a:lnTo>
                <a:lnTo>
                  <a:pt x="44" y="81"/>
                </a:lnTo>
                <a:lnTo>
                  <a:pt x="45" y="80"/>
                </a:lnTo>
                <a:lnTo>
                  <a:pt x="44" y="80"/>
                </a:lnTo>
                <a:lnTo>
                  <a:pt x="44" y="79"/>
                </a:lnTo>
                <a:close/>
                <a:moveTo>
                  <a:pt x="228" y="37"/>
                </a:moveTo>
                <a:lnTo>
                  <a:pt x="229" y="37"/>
                </a:lnTo>
                <a:lnTo>
                  <a:pt x="229" y="38"/>
                </a:lnTo>
                <a:lnTo>
                  <a:pt x="228" y="38"/>
                </a:lnTo>
                <a:lnTo>
                  <a:pt x="228" y="37"/>
                </a:lnTo>
                <a:close/>
                <a:moveTo>
                  <a:pt x="120" y="0"/>
                </a:moveTo>
                <a:lnTo>
                  <a:pt x="124" y="0"/>
                </a:lnTo>
                <a:lnTo>
                  <a:pt x="124" y="1"/>
                </a:lnTo>
                <a:lnTo>
                  <a:pt x="126" y="1"/>
                </a:lnTo>
                <a:lnTo>
                  <a:pt x="128" y="3"/>
                </a:lnTo>
                <a:lnTo>
                  <a:pt x="130" y="4"/>
                </a:lnTo>
                <a:lnTo>
                  <a:pt x="130" y="5"/>
                </a:lnTo>
                <a:lnTo>
                  <a:pt x="131" y="5"/>
                </a:lnTo>
                <a:lnTo>
                  <a:pt x="131" y="4"/>
                </a:lnTo>
                <a:lnTo>
                  <a:pt x="132" y="4"/>
                </a:lnTo>
                <a:lnTo>
                  <a:pt x="135" y="6"/>
                </a:lnTo>
                <a:lnTo>
                  <a:pt x="135" y="7"/>
                </a:lnTo>
                <a:lnTo>
                  <a:pt x="136" y="9"/>
                </a:lnTo>
                <a:lnTo>
                  <a:pt x="137" y="9"/>
                </a:lnTo>
                <a:lnTo>
                  <a:pt x="138" y="10"/>
                </a:lnTo>
                <a:lnTo>
                  <a:pt x="142" y="10"/>
                </a:lnTo>
                <a:lnTo>
                  <a:pt x="142" y="11"/>
                </a:lnTo>
                <a:lnTo>
                  <a:pt x="143" y="12"/>
                </a:lnTo>
                <a:lnTo>
                  <a:pt x="143" y="16"/>
                </a:lnTo>
                <a:lnTo>
                  <a:pt x="144" y="16"/>
                </a:lnTo>
                <a:lnTo>
                  <a:pt x="147" y="21"/>
                </a:lnTo>
                <a:lnTo>
                  <a:pt x="149" y="23"/>
                </a:lnTo>
                <a:lnTo>
                  <a:pt x="150" y="23"/>
                </a:lnTo>
                <a:lnTo>
                  <a:pt x="150" y="24"/>
                </a:lnTo>
                <a:lnTo>
                  <a:pt x="153" y="25"/>
                </a:lnTo>
                <a:lnTo>
                  <a:pt x="156" y="27"/>
                </a:lnTo>
                <a:lnTo>
                  <a:pt x="157" y="27"/>
                </a:lnTo>
                <a:lnTo>
                  <a:pt x="160" y="31"/>
                </a:lnTo>
                <a:lnTo>
                  <a:pt x="160" y="32"/>
                </a:lnTo>
                <a:lnTo>
                  <a:pt x="161" y="32"/>
                </a:lnTo>
                <a:lnTo>
                  <a:pt x="161" y="35"/>
                </a:lnTo>
                <a:lnTo>
                  <a:pt x="162" y="35"/>
                </a:lnTo>
                <a:lnTo>
                  <a:pt x="162" y="36"/>
                </a:lnTo>
                <a:lnTo>
                  <a:pt x="165" y="36"/>
                </a:lnTo>
                <a:lnTo>
                  <a:pt x="166" y="37"/>
                </a:lnTo>
                <a:lnTo>
                  <a:pt x="166" y="36"/>
                </a:lnTo>
                <a:lnTo>
                  <a:pt x="172" y="36"/>
                </a:lnTo>
                <a:lnTo>
                  <a:pt x="175" y="40"/>
                </a:lnTo>
                <a:lnTo>
                  <a:pt x="175" y="43"/>
                </a:lnTo>
                <a:lnTo>
                  <a:pt x="178" y="43"/>
                </a:lnTo>
                <a:lnTo>
                  <a:pt x="182" y="44"/>
                </a:lnTo>
                <a:lnTo>
                  <a:pt x="185" y="47"/>
                </a:lnTo>
                <a:lnTo>
                  <a:pt x="185" y="46"/>
                </a:lnTo>
                <a:lnTo>
                  <a:pt x="190" y="46"/>
                </a:lnTo>
                <a:lnTo>
                  <a:pt x="193" y="47"/>
                </a:lnTo>
                <a:lnTo>
                  <a:pt x="200" y="47"/>
                </a:lnTo>
                <a:lnTo>
                  <a:pt x="202" y="48"/>
                </a:lnTo>
                <a:lnTo>
                  <a:pt x="206" y="48"/>
                </a:lnTo>
                <a:lnTo>
                  <a:pt x="206" y="49"/>
                </a:lnTo>
                <a:lnTo>
                  <a:pt x="207" y="49"/>
                </a:lnTo>
                <a:lnTo>
                  <a:pt x="211" y="46"/>
                </a:lnTo>
                <a:lnTo>
                  <a:pt x="211" y="47"/>
                </a:lnTo>
                <a:lnTo>
                  <a:pt x="212" y="46"/>
                </a:lnTo>
                <a:lnTo>
                  <a:pt x="215" y="44"/>
                </a:lnTo>
                <a:lnTo>
                  <a:pt x="215" y="43"/>
                </a:lnTo>
                <a:lnTo>
                  <a:pt x="217" y="41"/>
                </a:lnTo>
                <a:lnTo>
                  <a:pt x="217" y="40"/>
                </a:lnTo>
                <a:lnTo>
                  <a:pt x="218" y="38"/>
                </a:lnTo>
                <a:lnTo>
                  <a:pt x="219" y="38"/>
                </a:lnTo>
                <a:lnTo>
                  <a:pt x="221" y="40"/>
                </a:lnTo>
                <a:lnTo>
                  <a:pt x="223" y="41"/>
                </a:lnTo>
                <a:lnTo>
                  <a:pt x="223" y="40"/>
                </a:lnTo>
                <a:lnTo>
                  <a:pt x="224" y="40"/>
                </a:lnTo>
                <a:lnTo>
                  <a:pt x="224" y="38"/>
                </a:lnTo>
                <a:lnTo>
                  <a:pt x="228" y="38"/>
                </a:lnTo>
                <a:lnTo>
                  <a:pt x="228" y="41"/>
                </a:lnTo>
                <a:lnTo>
                  <a:pt x="229" y="41"/>
                </a:lnTo>
                <a:lnTo>
                  <a:pt x="228" y="42"/>
                </a:lnTo>
                <a:lnTo>
                  <a:pt x="227" y="42"/>
                </a:lnTo>
                <a:lnTo>
                  <a:pt x="227" y="46"/>
                </a:lnTo>
                <a:lnTo>
                  <a:pt x="229" y="48"/>
                </a:lnTo>
                <a:lnTo>
                  <a:pt x="229" y="52"/>
                </a:lnTo>
                <a:lnTo>
                  <a:pt x="230" y="52"/>
                </a:lnTo>
                <a:lnTo>
                  <a:pt x="231" y="53"/>
                </a:lnTo>
                <a:lnTo>
                  <a:pt x="231" y="54"/>
                </a:lnTo>
                <a:lnTo>
                  <a:pt x="229" y="56"/>
                </a:lnTo>
                <a:lnTo>
                  <a:pt x="229" y="60"/>
                </a:lnTo>
                <a:lnTo>
                  <a:pt x="230" y="61"/>
                </a:lnTo>
                <a:lnTo>
                  <a:pt x="231" y="61"/>
                </a:lnTo>
                <a:lnTo>
                  <a:pt x="231" y="60"/>
                </a:lnTo>
                <a:lnTo>
                  <a:pt x="234" y="60"/>
                </a:lnTo>
                <a:lnTo>
                  <a:pt x="234" y="61"/>
                </a:lnTo>
                <a:lnTo>
                  <a:pt x="236" y="61"/>
                </a:lnTo>
                <a:lnTo>
                  <a:pt x="236" y="62"/>
                </a:lnTo>
                <a:lnTo>
                  <a:pt x="237" y="62"/>
                </a:lnTo>
                <a:lnTo>
                  <a:pt x="236" y="64"/>
                </a:lnTo>
                <a:lnTo>
                  <a:pt x="233" y="64"/>
                </a:lnTo>
                <a:lnTo>
                  <a:pt x="233" y="67"/>
                </a:lnTo>
                <a:lnTo>
                  <a:pt x="234" y="67"/>
                </a:lnTo>
                <a:lnTo>
                  <a:pt x="234" y="68"/>
                </a:lnTo>
                <a:lnTo>
                  <a:pt x="231" y="70"/>
                </a:lnTo>
                <a:lnTo>
                  <a:pt x="233" y="71"/>
                </a:lnTo>
                <a:lnTo>
                  <a:pt x="233" y="72"/>
                </a:lnTo>
                <a:lnTo>
                  <a:pt x="236" y="72"/>
                </a:lnTo>
                <a:lnTo>
                  <a:pt x="236" y="74"/>
                </a:lnTo>
                <a:lnTo>
                  <a:pt x="237" y="74"/>
                </a:lnTo>
                <a:lnTo>
                  <a:pt x="237" y="75"/>
                </a:lnTo>
                <a:lnTo>
                  <a:pt x="240" y="77"/>
                </a:lnTo>
                <a:lnTo>
                  <a:pt x="248" y="79"/>
                </a:lnTo>
                <a:lnTo>
                  <a:pt x="248" y="80"/>
                </a:lnTo>
                <a:lnTo>
                  <a:pt x="249" y="80"/>
                </a:lnTo>
                <a:lnTo>
                  <a:pt x="249" y="84"/>
                </a:lnTo>
                <a:lnTo>
                  <a:pt x="246" y="84"/>
                </a:lnTo>
                <a:lnTo>
                  <a:pt x="244" y="83"/>
                </a:lnTo>
                <a:lnTo>
                  <a:pt x="244" y="84"/>
                </a:lnTo>
                <a:lnTo>
                  <a:pt x="241" y="84"/>
                </a:lnTo>
                <a:lnTo>
                  <a:pt x="240" y="83"/>
                </a:lnTo>
                <a:lnTo>
                  <a:pt x="240" y="81"/>
                </a:lnTo>
                <a:lnTo>
                  <a:pt x="237" y="81"/>
                </a:lnTo>
                <a:lnTo>
                  <a:pt x="238" y="83"/>
                </a:lnTo>
                <a:lnTo>
                  <a:pt x="238" y="85"/>
                </a:lnTo>
                <a:lnTo>
                  <a:pt x="235" y="85"/>
                </a:lnTo>
                <a:lnTo>
                  <a:pt x="235" y="86"/>
                </a:lnTo>
                <a:lnTo>
                  <a:pt x="236" y="87"/>
                </a:lnTo>
                <a:lnTo>
                  <a:pt x="236" y="95"/>
                </a:lnTo>
                <a:lnTo>
                  <a:pt x="237" y="96"/>
                </a:lnTo>
                <a:lnTo>
                  <a:pt x="237" y="95"/>
                </a:lnTo>
                <a:lnTo>
                  <a:pt x="238" y="96"/>
                </a:lnTo>
                <a:lnTo>
                  <a:pt x="235" y="99"/>
                </a:lnTo>
                <a:lnTo>
                  <a:pt x="234" y="98"/>
                </a:lnTo>
                <a:lnTo>
                  <a:pt x="233" y="98"/>
                </a:lnTo>
                <a:lnTo>
                  <a:pt x="233" y="99"/>
                </a:lnTo>
                <a:lnTo>
                  <a:pt x="234" y="102"/>
                </a:lnTo>
                <a:lnTo>
                  <a:pt x="227" y="102"/>
                </a:lnTo>
                <a:lnTo>
                  <a:pt x="223" y="98"/>
                </a:lnTo>
                <a:lnTo>
                  <a:pt x="223" y="96"/>
                </a:lnTo>
                <a:lnTo>
                  <a:pt x="224" y="96"/>
                </a:lnTo>
                <a:lnTo>
                  <a:pt x="224" y="93"/>
                </a:lnTo>
                <a:lnTo>
                  <a:pt x="223" y="93"/>
                </a:lnTo>
                <a:lnTo>
                  <a:pt x="222" y="92"/>
                </a:lnTo>
                <a:lnTo>
                  <a:pt x="221" y="92"/>
                </a:lnTo>
                <a:lnTo>
                  <a:pt x="219" y="89"/>
                </a:lnTo>
                <a:lnTo>
                  <a:pt x="218" y="89"/>
                </a:lnTo>
                <a:lnTo>
                  <a:pt x="218" y="90"/>
                </a:lnTo>
                <a:lnTo>
                  <a:pt x="217" y="90"/>
                </a:lnTo>
                <a:lnTo>
                  <a:pt x="217" y="87"/>
                </a:lnTo>
                <a:lnTo>
                  <a:pt x="213" y="87"/>
                </a:lnTo>
                <a:lnTo>
                  <a:pt x="213" y="90"/>
                </a:lnTo>
                <a:lnTo>
                  <a:pt x="211" y="90"/>
                </a:lnTo>
                <a:lnTo>
                  <a:pt x="207" y="86"/>
                </a:lnTo>
                <a:lnTo>
                  <a:pt x="204" y="86"/>
                </a:lnTo>
                <a:lnTo>
                  <a:pt x="202" y="85"/>
                </a:lnTo>
                <a:lnTo>
                  <a:pt x="200" y="84"/>
                </a:lnTo>
                <a:lnTo>
                  <a:pt x="199" y="84"/>
                </a:lnTo>
                <a:lnTo>
                  <a:pt x="199" y="86"/>
                </a:lnTo>
                <a:lnTo>
                  <a:pt x="198" y="87"/>
                </a:lnTo>
                <a:lnTo>
                  <a:pt x="194" y="87"/>
                </a:lnTo>
                <a:lnTo>
                  <a:pt x="192" y="85"/>
                </a:lnTo>
                <a:lnTo>
                  <a:pt x="190" y="85"/>
                </a:lnTo>
                <a:lnTo>
                  <a:pt x="187" y="87"/>
                </a:lnTo>
                <a:lnTo>
                  <a:pt x="187" y="89"/>
                </a:lnTo>
                <a:lnTo>
                  <a:pt x="185" y="89"/>
                </a:lnTo>
                <a:lnTo>
                  <a:pt x="184" y="90"/>
                </a:lnTo>
                <a:lnTo>
                  <a:pt x="182" y="90"/>
                </a:lnTo>
                <a:lnTo>
                  <a:pt x="181" y="89"/>
                </a:lnTo>
                <a:lnTo>
                  <a:pt x="179" y="85"/>
                </a:lnTo>
                <a:lnTo>
                  <a:pt x="179" y="84"/>
                </a:lnTo>
                <a:lnTo>
                  <a:pt x="175" y="84"/>
                </a:lnTo>
                <a:lnTo>
                  <a:pt x="173" y="86"/>
                </a:lnTo>
                <a:lnTo>
                  <a:pt x="168" y="86"/>
                </a:lnTo>
                <a:lnTo>
                  <a:pt x="169" y="85"/>
                </a:lnTo>
                <a:lnTo>
                  <a:pt x="163" y="85"/>
                </a:lnTo>
                <a:lnTo>
                  <a:pt x="161" y="83"/>
                </a:lnTo>
                <a:lnTo>
                  <a:pt x="160" y="83"/>
                </a:lnTo>
                <a:lnTo>
                  <a:pt x="159" y="84"/>
                </a:lnTo>
                <a:lnTo>
                  <a:pt x="156" y="84"/>
                </a:lnTo>
                <a:lnTo>
                  <a:pt x="156" y="85"/>
                </a:lnTo>
                <a:lnTo>
                  <a:pt x="154" y="84"/>
                </a:lnTo>
                <a:lnTo>
                  <a:pt x="153" y="83"/>
                </a:lnTo>
                <a:lnTo>
                  <a:pt x="150" y="81"/>
                </a:lnTo>
                <a:lnTo>
                  <a:pt x="150" y="80"/>
                </a:lnTo>
                <a:lnTo>
                  <a:pt x="149" y="80"/>
                </a:lnTo>
                <a:lnTo>
                  <a:pt x="149" y="79"/>
                </a:lnTo>
                <a:lnTo>
                  <a:pt x="145" y="79"/>
                </a:lnTo>
                <a:lnTo>
                  <a:pt x="145" y="77"/>
                </a:lnTo>
                <a:lnTo>
                  <a:pt x="144" y="78"/>
                </a:lnTo>
                <a:lnTo>
                  <a:pt x="143" y="78"/>
                </a:lnTo>
                <a:lnTo>
                  <a:pt x="143" y="79"/>
                </a:lnTo>
                <a:lnTo>
                  <a:pt x="142" y="79"/>
                </a:lnTo>
                <a:lnTo>
                  <a:pt x="142" y="80"/>
                </a:lnTo>
                <a:lnTo>
                  <a:pt x="141" y="80"/>
                </a:lnTo>
                <a:lnTo>
                  <a:pt x="141" y="83"/>
                </a:lnTo>
                <a:lnTo>
                  <a:pt x="140" y="83"/>
                </a:lnTo>
                <a:lnTo>
                  <a:pt x="131" y="80"/>
                </a:lnTo>
                <a:lnTo>
                  <a:pt x="129" y="80"/>
                </a:lnTo>
                <a:lnTo>
                  <a:pt x="126" y="81"/>
                </a:lnTo>
                <a:lnTo>
                  <a:pt x="125" y="85"/>
                </a:lnTo>
                <a:lnTo>
                  <a:pt x="124" y="85"/>
                </a:lnTo>
                <a:lnTo>
                  <a:pt x="124" y="86"/>
                </a:lnTo>
                <a:lnTo>
                  <a:pt x="123" y="86"/>
                </a:lnTo>
                <a:lnTo>
                  <a:pt x="122" y="87"/>
                </a:lnTo>
                <a:lnTo>
                  <a:pt x="122" y="89"/>
                </a:lnTo>
                <a:lnTo>
                  <a:pt x="120" y="91"/>
                </a:lnTo>
                <a:lnTo>
                  <a:pt x="120" y="93"/>
                </a:lnTo>
                <a:lnTo>
                  <a:pt x="118" y="93"/>
                </a:lnTo>
                <a:lnTo>
                  <a:pt x="116" y="92"/>
                </a:lnTo>
                <a:lnTo>
                  <a:pt x="111" y="87"/>
                </a:lnTo>
                <a:lnTo>
                  <a:pt x="111" y="86"/>
                </a:lnTo>
                <a:lnTo>
                  <a:pt x="110" y="84"/>
                </a:lnTo>
                <a:lnTo>
                  <a:pt x="109" y="84"/>
                </a:lnTo>
                <a:lnTo>
                  <a:pt x="109" y="83"/>
                </a:lnTo>
                <a:lnTo>
                  <a:pt x="107" y="83"/>
                </a:lnTo>
                <a:lnTo>
                  <a:pt x="107" y="80"/>
                </a:lnTo>
                <a:lnTo>
                  <a:pt x="99" y="80"/>
                </a:lnTo>
                <a:lnTo>
                  <a:pt x="97" y="83"/>
                </a:lnTo>
                <a:lnTo>
                  <a:pt x="97" y="89"/>
                </a:lnTo>
                <a:lnTo>
                  <a:pt x="95" y="91"/>
                </a:lnTo>
                <a:lnTo>
                  <a:pt x="95" y="92"/>
                </a:lnTo>
                <a:lnTo>
                  <a:pt x="97" y="93"/>
                </a:lnTo>
                <a:lnTo>
                  <a:pt x="95" y="95"/>
                </a:lnTo>
                <a:lnTo>
                  <a:pt x="95" y="97"/>
                </a:lnTo>
                <a:lnTo>
                  <a:pt x="94" y="97"/>
                </a:lnTo>
                <a:lnTo>
                  <a:pt x="94" y="99"/>
                </a:lnTo>
                <a:lnTo>
                  <a:pt x="95" y="101"/>
                </a:lnTo>
                <a:lnTo>
                  <a:pt x="95" y="102"/>
                </a:lnTo>
                <a:lnTo>
                  <a:pt x="97" y="103"/>
                </a:lnTo>
                <a:lnTo>
                  <a:pt x="97" y="104"/>
                </a:lnTo>
                <a:lnTo>
                  <a:pt x="94" y="104"/>
                </a:lnTo>
                <a:lnTo>
                  <a:pt x="94" y="108"/>
                </a:lnTo>
                <a:lnTo>
                  <a:pt x="98" y="111"/>
                </a:lnTo>
                <a:lnTo>
                  <a:pt x="100" y="111"/>
                </a:lnTo>
                <a:lnTo>
                  <a:pt x="100" y="110"/>
                </a:lnTo>
                <a:lnTo>
                  <a:pt x="101" y="110"/>
                </a:lnTo>
                <a:lnTo>
                  <a:pt x="101" y="111"/>
                </a:lnTo>
                <a:lnTo>
                  <a:pt x="103" y="111"/>
                </a:lnTo>
                <a:lnTo>
                  <a:pt x="104" y="113"/>
                </a:lnTo>
                <a:lnTo>
                  <a:pt x="104" y="114"/>
                </a:lnTo>
                <a:lnTo>
                  <a:pt x="105" y="115"/>
                </a:lnTo>
                <a:lnTo>
                  <a:pt x="106" y="115"/>
                </a:lnTo>
                <a:lnTo>
                  <a:pt x="107" y="116"/>
                </a:lnTo>
                <a:lnTo>
                  <a:pt x="107" y="118"/>
                </a:lnTo>
                <a:lnTo>
                  <a:pt x="106" y="120"/>
                </a:lnTo>
                <a:lnTo>
                  <a:pt x="106" y="121"/>
                </a:lnTo>
                <a:lnTo>
                  <a:pt x="107" y="122"/>
                </a:lnTo>
                <a:lnTo>
                  <a:pt x="109" y="122"/>
                </a:lnTo>
                <a:lnTo>
                  <a:pt x="110" y="121"/>
                </a:lnTo>
                <a:lnTo>
                  <a:pt x="111" y="121"/>
                </a:lnTo>
                <a:lnTo>
                  <a:pt x="111" y="124"/>
                </a:lnTo>
                <a:lnTo>
                  <a:pt x="112" y="127"/>
                </a:lnTo>
                <a:lnTo>
                  <a:pt x="113" y="128"/>
                </a:lnTo>
                <a:lnTo>
                  <a:pt x="113" y="129"/>
                </a:lnTo>
                <a:lnTo>
                  <a:pt x="112" y="129"/>
                </a:lnTo>
                <a:lnTo>
                  <a:pt x="112" y="130"/>
                </a:lnTo>
                <a:lnTo>
                  <a:pt x="115" y="130"/>
                </a:lnTo>
                <a:lnTo>
                  <a:pt x="115" y="134"/>
                </a:lnTo>
                <a:lnTo>
                  <a:pt x="113" y="135"/>
                </a:lnTo>
                <a:lnTo>
                  <a:pt x="113" y="136"/>
                </a:lnTo>
                <a:lnTo>
                  <a:pt x="115" y="138"/>
                </a:lnTo>
                <a:lnTo>
                  <a:pt x="115" y="140"/>
                </a:lnTo>
                <a:lnTo>
                  <a:pt x="118" y="144"/>
                </a:lnTo>
                <a:lnTo>
                  <a:pt x="118" y="145"/>
                </a:lnTo>
                <a:lnTo>
                  <a:pt x="119" y="147"/>
                </a:lnTo>
                <a:lnTo>
                  <a:pt x="120" y="148"/>
                </a:lnTo>
                <a:lnTo>
                  <a:pt x="122" y="148"/>
                </a:lnTo>
                <a:lnTo>
                  <a:pt x="122" y="150"/>
                </a:lnTo>
                <a:lnTo>
                  <a:pt x="124" y="150"/>
                </a:lnTo>
                <a:lnTo>
                  <a:pt x="124" y="152"/>
                </a:lnTo>
                <a:lnTo>
                  <a:pt x="126" y="152"/>
                </a:lnTo>
                <a:lnTo>
                  <a:pt x="129" y="154"/>
                </a:lnTo>
                <a:lnTo>
                  <a:pt x="130" y="157"/>
                </a:lnTo>
                <a:lnTo>
                  <a:pt x="131" y="158"/>
                </a:lnTo>
                <a:lnTo>
                  <a:pt x="132" y="160"/>
                </a:lnTo>
                <a:lnTo>
                  <a:pt x="135" y="161"/>
                </a:lnTo>
                <a:lnTo>
                  <a:pt x="135" y="164"/>
                </a:lnTo>
                <a:lnTo>
                  <a:pt x="136" y="165"/>
                </a:lnTo>
                <a:lnTo>
                  <a:pt x="136" y="166"/>
                </a:lnTo>
                <a:lnTo>
                  <a:pt x="141" y="170"/>
                </a:lnTo>
                <a:lnTo>
                  <a:pt x="148" y="177"/>
                </a:lnTo>
                <a:lnTo>
                  <a:pt x="149" y="179"/>
                </a:lnTo>
                <a:lnTo>
                  <a:pt x="150" y="181"/>
                </a:lnTo>
                <a:lnTo>
                  <a:pt x="151" y="181"/>
                </a:lnTo>
                <a:lnTo>
                  <a:pt x="154" y="182"/>
                </a:lnTo>
                <a:lnTo>
                  <a:pt x="159" y="183"/>
                </a:lnTo>
                <a:lnTo>
                  <a:pt x="160" y="184"/>
                </a:lnTo>
                <a:lnTo>
                  <a:pt x="160" y="190"/>
                </a:lnTo>
                <a:lnTo>
                  <a:pt x="161" y="193"/>
                </a:lnTo>
                <a:lnTo>
                  <a:pt x="162" y="196"/>
                </a:lnTo>
                <a:lnTo>
                  <a:pt x="163" y="197"/>
                </a:lnTo>
                <a:lnTo>
                  <a:pt x="165" y="197"/>
                </a:lnTo>
                <a:lnTo>
                  <a:pt x="165" y="199"/>
                </a:lnTo>
                <a:lnTo>
                  <a:pt x="166" y="199"/>
                </a:lnTo>
                <a:lnTo>
                  <a:pt x="166" y="201"/>
                </a:lnTo>
                <a:lnTo>
                  <a:pt x="167" y="202"/>
                </a:lnTo>
                <a:lnTo>
                  <a:pt x="173" y="206"/>
                </a:lnTo>
                <a:lnTo>
                  <a:pt x="173" y="207"/>
                </a:lnTo>
                <a:lnTo>
                  <a:pt x="176" y="210"/>
                </a:lnTo>
                <a:lnTo>
                  <a:pt x="176" y="213"/>
                </a:lnTo>
                <a:lnTo>
                  <a:pt x="175" y="214"/>
                </a:lnTo>
                <a:lnTo>
                  <a:pt x="173" y="214"/>
                </a:lnTo>
                <a:lnTo>
                  <a:pt x="172" y="213"/>
                </a:lnTo>
                <a:lnTo>
                  <a:pt x="171" y="213"/>
                </a:lnTo>
                <a:lnTo>
                  <a:pt x="168" y="210"/>
                </a:lnTo>
                <a:lnTo>
                  <a:pt x="168" y="209"/>
                </a:lnTo>
                <a:lnTo>
                  <a:pt x="169" y="209"/>
                </a:lnTo>
                <a:lnTo>
                  <a:pt x="169" y="208"/>
                </a:lnTo>
                <a:lnTo>
                  <a:pt x="168" y="209"/>
                </a:lnTo>
                <a:lnTo>
                  <a:pt x="167" y="209"/>
                </a:lnTo>
                <a:lnTo>
                  <a:pt x="167" y="208"/>
                </a:lnTo>
                <a:lnTo>
                  <a:pt x="166" y="207"/>
                </a:lnTo>
                <a:lnTo>
                  <a:pt x="166" y="208"/>
                </a:lnTo>
                <a:lnTo>
                  <a:pt x="163" y="207"/>
                </a:lnTo>
                <a:lnTo>
                  <a:pt x="161" y="203"/>
                </a:lnTo>
                <a:lnTo>
                  <a:pt x="155" y="200"/>
                </a:lnTo>
                <a:lnTo>
                  <a:pt x="154" y="199"/>
                </a:lnTo>
                <a:lnTo>
                  <a:pt x="153" y="199"/>
                </a:lnTo>
                <a:lnTo>
                  <a:pt x="153" y="197"/>
                </a:lnTo>
                <a:lnTo>
                  <a:pt x="151" y="197"/>
                </a:lnTo>
                <a:lnTo>
                  <a:pt x="151" y="196"/>
                </a:lnTo>
                <a:lnTo>
                  <a:pt x="150" y="196"/>
                </a:lnTo>
                <a:lnTo>
                  <a:pt x="150" y="195"/>
                </a:lnTo>
                <a:lnTo>
                  <a:pt x="149" y="194"/>
                </a:lnTo>
                <a:lnTo>
                  <a:pt x="145" y="189"/>
                </a:lnTo>
                <a:lnTo>
                  <a:pt x="144" y="188"/>
                </a:lnTo>
                <a:lnTo>
                  <a:pt x="143" y="188"/>
                </a:lnTo>
                <a:lnTo>
                  <a:pt x="143" y="187"/>
                </a:lnTo>
                <a:lnTo>
                  <a:pt x="137" y="187"/>
                </a:lnTo>
                <a:lnTo>
                  <a:pt x="132" y="184"/>
                </a:lnTo>
                <a:lnTo>
                  <a:pt x="129" y="182"/>
                </a:lnTo>
                <a:lnTo>
                  <a:pt x="129" y="181"/>
                </a:lnTo>
                <a:lnTo>
                  <a:pt x="128" y="181"/>
                </a:lnTo>
                <a:lnTo>
                  <a:pt x="128" y="182"/>
                </a:lnTo>
                <a:lnTo>
                  <a:pt x="125" y="181"/>
                </a:lnTo>
                <a:lnTo>
                  <a:pt x="124" y="181"/>
                </a:lnTo>
                <a:lnTo>
                  <a:pt x="125" y="179"/>
                </a:lnTo>
                <a:lnTo>
                  <a:pt x="124" y="178"/>
                </a:lnTo>
                <a:lnTo>
                  <a:pt x="120" y="178"/>
                </a:lnTo>
                <a:lnTo>
                  <a:pt x="119" y="179"/>
                </a:lnTo>
                <a:lnTo>
                  <a:pt x="118" y="179"/>
                </a:lnTo>
                <a:lnTo>
                  <a:pt x="116" y="181"/>
                </a:lnTo>
                <a:lnTo>
                  <a:pt x="112" y="181"/>
                </a:lnTo>
                <a:lnTo>
                  <a:pt x="113" y="182"/>
                </a:lnTo>
                <a:lnTo>
                  <a:pt x="111" y="182"/>
                </a:lnTo>
                <a:lnTo>
                  <a:pt x="111" y="183"/>
                </a:lnTo>
                <a:lnTo>
                  <a:pt x="110" y="183"/>
                </a:lnTo>
                <a:lnTo>
                  <a:pt x="109" y="182"/>
                </a:lnTo>
                <a:lnTo>
                  <a:pt x="104" y="182"/>
                </a:lnTo>
                <a:lnTo>
                  <a:pt x="104" y="181"/>
                </a:lnTo>
                <a:lnTo>
                  <a:pt x="105" y="181"/>
                </a:lnTo>
                <a:lnTo>
                  <a:pt x="105" y="179"/>
                </a:lnTo>
                <a:lnTo>
                  <a:pt x="104" y="179"/>
                </a:lnTo>
                <a:lnTo>
                  <a:pt x="104" y="177"/>
                </a:lnTo>
                <a:lnTo>
                  <a:pt x="103" y="177"/>
                </a:lnTo>
                <a:lnTo>
                  <a:pt x="103" y="173"/>
                </a:lnTo>
                <a:lnTo>
                  <a:pt x="101" y="173"/>
                </a:lnTo>
                <a:lnTo>
                  <a:pt x="103" y="172"/>
                </a:lnTo>
                <a:lnTo>
                  <a:pt x="104" y="173"/>
                </a:lnTo>
                <a:lnTo>
                  <a:pt x="104" y="171"/>
                </a:lnTo>
                <a:lnTo>
                  <a:pt x="103" y="171"/>
                </a:lnTo>
                <a:lnTo>
                  <a:pt x="101" y="170"/>
                </a:lnTo>
                <a:lnTo>
                  <a:pt x="100" y="170"/>
                </a:lnTo>
                <a:lnTo>
                  <a:pt x="100" y="169"/>
                </a:lnTo>
                <a:lnTo>
                  <a:pt x="99" y="169"/>
                </a:lnTo>
                <a:lnTo>
                  <a:pt x="98" y="167"/>
                </a:lnTo>
                <a:lnTo>
                  <a:pt x="97" y="167"/>
                </a:lnTo>
                <a:lnTo>
                  <a:pt x="97" y="166"/>
                </a:lnTo>
                <a:lnTo>
                  <a:pt x="93" y="166"/>
                </a:lnTo>
                <a:lnTo>
                  <a:pt x="93" y="164"/>
                </a:lnTo>
                <a:lnTo>
                  <a:pt x="92" y="164"/>
                </a:lnTo>
                <a:lnTo>
                  <a:pt x="92" y="163"/>
                </a:lnTo>
                <a:lnTo>
                  <a:pt x="91" y="163"/>
                </a:lnTo>
                <a:lnTo>
                  <a:pt x="88" y="160"/>
                </a:lnTo>
                <a:lnTo>
                  <a:pt x="87" y="160"/>
                </a:lnTo>
                <a:lnTo>
                  <a:pt x="87" y="159"/>
                </a:lnTo>
                <a:lnTo>
                  <a:pt x="86" y="158"/>
                </a:lnTo>
                <a:lnTo>
                  <a:pt x="85" y="158"/>
                </a:lnTo>
                <a:lnTo>
                  <a:pt x="84" y="157"/>
                </a:lnTo>
                <a:lnTo>
                  <a:pt x="82" y="157"/>
                </a:lnTo>
                <a:lnTo>
                  <a:pt x="82" y="156"/>
                </a:lnTo>
                <a:lnTo>
                  <a:pt x="80" y="153"/>
                </a:lnTo>
                <a:lnTo>
                  <a:pt x="79" y="151"/>
                </a:lnTo>
                <a:lnTo>
                  <a:pt x="76" y="151"/>
                </a:lnTo>
                <a:lnTo>
                  <a:pt x="76" y="150"/>
                </a:lnTo>
                <a:lnTo>
                  <a:pt x="75" y="147"/>
                </a:lnTo>
                <a:lnTo>
                  <a:pt x="73" y="145"/>
                </a:lnTo>
                <a:lnTo>
                  <a:pt x="73" y="144"/>
                </a:lnTo>
                <a:lnTo>
                  <a:pt x="72" y="144"/>
                </a:lnTo>
                <a:lnTo>
                  <a:pt x="70" y="141"/>
                </a:lnTo>
                <a:lnTo>
                  <a:pt x="70" y="139"/>
                </a:lnTo>
                <a:lnTo>
                  <a:pt x="68" y="136"/>
                </a:lnTo>
                <a:lnTo>
                  <a:pt x="70" y="136"/>
                </a:lnTo>
                <a:lnTo>
                  <a:pt x="70" y="138"/>
                </a:lnTo>
                <a:lnTo>
                  <a:pt x="72" y="138"/>
                </a:lnTo>
                <a:lnTo>
                  <a:pt x="73" y="136"/>
                </a:lnTo>
                <a:lnTo>
                  <a:pt x="72" y="135"/>
                </a:lnTo>
                <a:lnTo>
                  <a:pt x="74" y="136"/>
                </a:lnTo>
                <a:lnTo>
                  <a:pt x="75" y="138"/>
                </a:lnTo>
                <a:lnTo>
                  <a:pt x="76" y="138"/>
                </a:lnTo>
                <a:lnTo>
                  <a:pt x="75" y="135"/>
                </a:lnTo>
                <a:lnTo>
                  <a:pt x="76" y="135"/>
                </a:lnTo>
                <a:lnTo>
                  <a:pt x="75" y="134"/>
                </a:lnTo>
                <a:lnTo>
                  <a:pt x="75" y="133"/>
                </a:lnTo>
                <a:lnTo>
                  <a:pt x="76" y="135"/>
                </a:lnTo>
                <a:lnTo>
                  <a:pt x="85" y="138"/>
                </a:lnTo>
                <a:lnTo>
                  <a:pt x="86" y="138"/>
                </a:lnTo>
                <a:lnTo>
                  <a:pt x="86" y="136"/>
                </a:lnTo>
                <a:lnTo>
                  <a:pt x="82" y="135"/>
                </a:lnTo>
                <a:lnTo>
                  <a:pt x="81" y="134"/>
                </a:lnTo>
                <a:lnTo>
                  <a:pt x="76" y="132"/>
                </a:lnTo>
                <a:lnTo>
                  <a:pt x="70" y="126"/>
                </a:lnTo>
                <a:lnTo>
                  <a:pt x="68" y="122"/>
                </a:lnTo>
                <a:lnTo>
                  <a:pt x="67" y="121"/>
                </a:lnTo>
                <a:lnTo>
                  <a:pt x="66" y="121"/>
                </a:lnTo>
                <a:lnTo>
                  <a:pt x="66" y="120"/>
                </a:lnTo>
                <a:lnTo>
                  <a:pt x="64" y="118"/>
                </a:lnTo>
                <a:lnTo>
                  <a:pt x="63" y="118"/>
                </a:lnTo>
                <a:lnTo>
                  <a:pt x="60" y="111"/>
                </a:lnTo>
                <a:lnTo>
                  <a:pt x="58" y="110"/>
                </a:lnTo>
                <a:lnTo>
                  <a:pt x="60" y="109"/>
                </a:lnTo>
                <a:lnTo>
                  <a:pt x="60" y="108"/>
                </a:lnTo>
                <a:lnTo>
                  <a:pt x="58" y="108"/>
                </a:lnTo>
                <a:lnTo>
                  <a:pt x="58" y="102"/>
                </a:lnTo>
                <a:lnTo>
                  <a:pt x="60" y="98"/>
                </a:lnTo>
                <a:lnTo>
                  <a:pt x="60" y="97"/>
                </a:lnTo>
                <a:lnTo>
                  <a:pt x="61" y="96"/>
                </a:lnTo>
                <a:lnTo>
                  <a:pt x="60" y="95"/>
                </a:lnTo>
                <a:lnTo>
                  <a:pt x="57" y="89"/>
                </a:lnTo>
                <a:lnTo>
                  <a:pt x="57" y="87"/>
                </a:lnTo>
                <a:lnTo>
                  <a:pt x="56" y="86"/>
                </a:lnTo>
                <a:lnTo>
                  <a:pt x="54" y="85"/>
                </a:lnTo>
                <a:lnTo>
                  <a:pt x="49" y="81"/>
                </a:lnTo>
                <a:lnTo>
                  <a:pt x="48" y="79"/>
                </a:lnTo>
                <a:lnTo>
                  <a:pt x="47" y="79"/>
                </a:lnTo>
                <a:lnTo>
                  <a:pt x="45" y="78"/>
                </a:lnTo>
                <a:lnTo>
                  <a:pt x="45" y="77"/>
                </a:lnTo>
                <a:lnTo>
                  <a:pt x="47" y="77"/>
                </a:lnTo>
                <a:lnTo>
                  <a:pt x="44" y="74"/>
                </a:lnTo>
                <a:lnTo>
                  <a:pt x="45" y="75"/>
                </a:lnTo>
                <a:lnTo>
                  <a:pt x="45" y="77"/>
                </a:lnTo>
                <a:lnTo>
                  <a:pt x="44" y="77"/>
                </a:lnTo>
                <a:lnTo>
                  <a:pt x="43" y="75"/>
                </a:lnTo>
                <a:lnTo>
                  <a:pt x="38" y="73"/>
                </a:lnTo>
                <a:lnTo>
                  <a:pt x="37" y="73"/>
                </a:lnTo>
                <a:lnTo>
                  <a:pt x="36" y="72"/>
                </a:lnTo>
                <a:lnTo>
                  <a:pt x="33" y="74"/>
                </a:lnTo>
                <a:lnTo>
                  <a:pt x="33" y="77"/>
                </a:lnTo>
                <a:lnTo>
                  <a:pt x="32" y="78"/>
                </a:lnTo>
                <a:lnTo>
                  <a:pt x="32" y="83"/>
                </a:lnTo>
                <a:lnTo>
                  <a:pt x="31" y="84"/>
                </a:lnTo>
                <a:lnTo>
                  <a:pt x="31" y="85"/>
                </a:lnTo>
                <a:lnTo>
                  <a:pt x="30" y="86"/>
                </a:lnTo>
                <a:lnTo>
                  <a:pt x="30" y="87"/>
                </a:lnTo>
                <a:lnTo>
                  <a:pt x="29" y="87"/>
                </a:lnTo>
                <a:lnTo>
                  <a:pt x="29" y="90"/>
                </a:lnTo>
                <a:lnTo>
                  <a:pt x="28" y="90"/>
                </a:lnTo>
                <a:lnTo>
                  <a:pt x="29" y="91"/>
                </a:lnTo>
                <a:lnTo>
                  <a:pt x="29" y="93"/>
                </a:lnTo>
                <a:lnTo>
                  <a:pt x="28" y="95"/>
                </a:lnTo>
                <a:lnTo>
                  <a:pt x="26" y="95"/>
                </a:lnTo>
                <a:lnTo>
                  <a:pt x="25" y="96"/>
                </a:lnTo>
                <a:lnTo>
                  <a:pt x="25" y="95"/>
                </a:lnTo>
                <a:lnTo>
                  <a:pt x="24" y="95"/>
                </a:lnTo>
                <a:lnTo>
                  <a:pt x="24" y="96"/>
                </a:lnTo>
                <a:lnTo>
                  <a:pt x="23" y="96"/>
                </a:lnTo>
                <a:lnTo>
                  <a:pt x="23" y="99"/>
                </a:lnTo>
                <a:lnTo>
                  <a:pt x="22" y="99"/>
                </a:lnTo>
                <a:lnTo>
                  <a:pt x="22" y="102"/>
                </a:lnTo>
                <a:lnTo>
                  <a:pt x="20" y="102"/>
                </a:lnTo>
                <a:lnTo>
                  <a:pt x="20" y="104"/>
                </a:lnTo>
                <a:lnTo>
                  <a:pt x="18" y="104"/>
                </a:lnTo>
                <a:lnTo>
                  <a:pt x="18" y="103"/>
                </a:lnTo>
                <a:lnTo>
                  <a:pt x="17" y="104"/>
                </a:lnTo>
                <a:lnTo>
                  <a:pt x="16" y="104"/>
                </a:lnTo>
                <a:lnTo>
                  <a:pt x="16" y="103"/>
                </a:lnTo>
                <a:lnTo>
                  <a:pt x="14" y="102"/>
                </a:lnTo>
                <a:lnTo>
                  <a:pt x="14" y="101"/>
                </a:lnTo>
                <a:lnTo>
                  <a:pt x="13" y="101"/>
                </a:lnTo>
                <a:lnTo>
                  <a:pt x="13" y="98"/>
                </a:lnTo>
                <a:lnTo>
                  <a:pt x="11" y="93"/>
                </a:lnTo>
                <a:lnTo>
                  <a:pt x="7" y="90"/>
                </a:lnTo>
                <a:lnTo>
                  <a:pt x="6" y="90"/>
                </a:lnTo>
                <a:lnTo>
                  <a:pt x="6" y="87"/>
                </a:lnTo>
                <a:lnTo>
                  <a:pt x="5" y="86"/>
                </a:lnTo>
                <a:lnTo>
                  <a:pt x="6" y="86"/>
                </a:lnTo>
                <a:lnTo>
                  <a:pt x="10" y="85"/>
                </a:lnTo>
                <a:lnTo>
                  <a:pt x="5" y="85"/>
                </a:lnTo>
                <a:lnTo>
                  <a:pt x="5" y="78"/>
                </a:lnTo>
                <a:lnTo>
                  <a:pt x="4" y="78"/>
                </a:lnTo>
                <a:lnTo>
                  <a:pt x="4" y="77"/>
                </a:lnTo>
                <a:lnTo>
                  <a:pt x="5" y="77"/>
                </a:lnTo>
                <a:lnTo>
                  <a:pt x="4" y="75"/>
                </a:lnTo>
                <a:lnTo>
                  <a:pt x="5" y="74"/>
                </a:lnTo>
                <a:lnTo>
                  <a:pt x="4" y="74"/>
                </a:lnTo>
                <a:lnTo>
                  <a:pt x="2" y="73"/>
                </a:lnTo>
                <a:lnTo>
                  <a:pt x="2" y="71"/>
                </a:lnTo>
                <a:lnTo>
                  <a:pt x="1" y="67"/>
                </a:lnTo>
                <a:lnTo>
                  <a:pt x="1" y="65"/>
                </a:lnTo>
                <a:lnTo>
                  <a:pt x="0" y="64"/>
                </a:lnTo>
                <a:lnTo>
                  <a:pt x="1" y="62"/>
                </a:lnTo>
                <a:lnTo>
                  <a:pt x="1" y="64"/>
                </a:lnTo>
                <a:lnTo>
                  <a:pt x="4" y="64"/>
                </a:lnTo>
                <a:lnTo>
                  <a:pt x="6" y="66"/>
                </a:lnTo>
                <a:lnTo>
                  <a:pt x="12" y="66"/>
                </a:lnTo>
                <a:lnTo>
                  <a:pt x="13" y="67"/>
                </a:lnTo>
                <a:lnTo>
                  <a:pt x="14" y="67"/>
                </a:lnTo>
                <a:lnTo>
                  <a:pt x="14" y="68"/>
                </a:lnTo>
                <a:lnTo>
                  <a:pt x="17" y="68"/>
                </a:lnTo>
                <a:lnTo>
                  <a:pt x="18" y="67"/>
                </a:lnTo>
                <a:lnTo>
                  <a:pt x="20" y="66"/>
                </a:lnTo>
                <a:lnTo>
                  <a:pt x="20" y="62"/>
                </a:lnTo>
                <a:lnTo>
                  <a:pt x="22" y="62"/>
                </a:lnTo>
                <a:lnTo>
                  <a:pt x="23" y="64"/>
                </a:lnTo>
                <a:lnTo>
                  <a:pt x="24" y="64"/>
                </a:lnTo>
                <a:lnTo>
                  <a:pt x="24" y="65"/>
                </a:lnTo>
                <a:lnTo>
                  <a:pt x="28" y="65"/>
                </a:lnTo>
                <a:lnTo>
                  <a:pt x="30" y="64"/>
                </a:lnTo>
                <a:lnTo>
                  <a:pt x="32" y="64"/>
                </a:lnTo>
                <a:lnTo>
                  <a:pt x="33" y="65"/>
                </a:lnTo>
                <a:lnTo>
                  <a:pt x="37" y="65"/>
                </a:lnTo>
                <a:lnTo>
                  <a:pt x="42" y="62"/>
                </a:lnTo>
                <a:lnTo>
                  <a:pt x="42" y="59"/>
                </a:lnTo>
                <a:lnTo>
                  <a:pt x="44" y="56"/>
                </a:lnTo>
                <a:lnTo>
                  <a:pt x="44" y="55"/>
                </a:lnTo>
                <a:lnTo>
                  <a:pt x="45" y="54"/>
                </a:lnTo>
                <a:lnTo>
                  <a:pt x="47" y="54"/>
                </a:lnTo>
                <a:lnTo>
                  <a:pt x="47" y="58"/>
                </a:lnTo>
                <a:lnTo>
                  <a:pt x="48" y="58"/>
                </a:lnTo>
                <a:lnTo>
                  <a:pt x="49" y="59"/>
                </a:lnTo>
                <a:lnTo>
                  <a:pt x="50" y="59"/>
                </a:lnTo>
                <a:lnTo>
                  <a:pt x="50" y="62"/>
                </a:lnTo>
                <a:lnTo>
                  <a:pt x="55" y="64"/>
                </a:lnTo>
                <a:lnTo>
                  <a:pt x="55" y="66"/>
                </a:lnTo>
                <a:lnTo>
                  <a:pt x="57" y="66"/>
                </a:lnTo>
                <a:lnTo>
                  <a:pt x="60" y="64"/>
                </a:lnTo>
                <a:lnTo>
                  <a:pt x="60" y="62"/>
                </a:lnTo>
                <a:lnTo>
                  <a:pt x="61" y="62"/>
                </a:lnTo>
                <a:lnTo>
                  <a:pt x="62" y="64"/>
                </a:lnTo>
                <a:lnTo>
                  <a:pt x="63" y="64"/>
                </a:lnTo>
                <a:lnTo>
                  <a:pt x="63" y="65"/>
                </a:lnTo>
                <a:lnTo>
                  <a:pt x="67" y="65"/>
                </a:lnTo>
                <a:lnTo>
                  <a:pt x="69" y="67"/>
                </a:lnTo>
                <a:lnTo>
                  <a:pt x="72" y="68"/>
                </a:lnTo>
                <a:lnTo>
                  <a:pt x="73" y="67"/>
                </a:lnTo>
                <a:lnTo>
                  <a:pt x="75" y="66"/>
                </a:lnTo>
                <a:lnTo>
                  <a:pt x="76" y="66"/>
                </a:lnTo>
                <a:lnTo>
                  <a:pt x="79" y="65"/>
                </a:lnTo>
                <a:lnTo>
                  <a:pt x="76" y="64"/>
                </a:lnTo>
                <a:lnTo>
                  <a:pt x="76" y="61"/>
                </a:lnTo>
                <a:lnTo>
                  <a:pt x="75" y="59"/>
                </a:lnTo>
                <a:lnTo>
                  <a:pt x="75" y="58"/>
                </a:lnTo>
                <a:lnTo>
                  <a:pt x="76" y="55"/>
                </a:lnTo>
                <a:lnTo>
                  <a:pt x="80" y="55"/>
                </a:lnTo>
                <a:lnTo>
                  <a:pt x="79" y="54"/>
                </a:lnTo>
                <a:lnTo>
                  <a:pt x="79" y="53"/>
                </a:lnTo>
                <a:lnTo>
                  <a:pt x="75" y="53"/>
                </a:lnTo>
                <a:lnTo>
                  <a:pt x="75" y="52"/>
                </a:lnTo>
                <a:lnTo>
                  <a:pt x="74" y="50"/>
                </a:lnTo>
                <a:lnTo>
                  <a:pt x="75" y="49"/>
                </a:lnTo>
                <a:lnTo>
                  <a:pt x="76" y="49"/>
                </a:lnTo>
                <a:lnTo>
                  <a:pt x="76" y="48"/>
                </a:lnTo>
                <a:lnTo>
                  <a:pt x="82" y="47"/>
                </a:lnTo>
                <a:lnTo>
                  <a:pt x="82" y="44"/>
                </a:lnTo>
                <a:lnTo>
                  <a:pt x="86" y="44"/>
                </a:lnTo>
                <a:lnTo>
                  <a:pt x="86" y="43"/>
                </a:lnTo>
                <a:lnTo>
                  <a:pt x="87" y="44"/>
                </a:lnTo>
                <a:lnTo>
                  <a:pt x="91" y="44"/>
                </a:lnTo>
                <a:lnTo>
                  <a:pt x="92" y="43"/>
                </a:lnTo>
                <a:lnTo>
                  <a:pt x="92" y="34"/>
                </a:lnTo>
                <a:lnTo>
                  <a:pt x="93" y="32"/>
                </a:lnTo>
                <a:lnTo>
                  <a:pt x="93" y="30"/>
                </a:lnTo>
                <a:lnTo>
                  <a:pt x="92" y="30"/>
                </a:lnTo>
                <a:lnTo>
                  <a:pt x="88" y="27"/>
                </a:lnTo>
                <a:lnTo>
                  <a:pt x="88" y="25"/>
                </a:lnTo>
                <a:lnTo>
                  <a:pt x="89" y="23"/>
                </a:lnTo>
                <a:lnTo>
                  <a:pt x="91" y="22"/>
                </a:lnTo>
                <a:lnTo>
                  <a:pt x="91" y="21"/>
                </a:lnTo>
                <a:lnTo>
                  <a:pt x="97" y="21"/>
                </a:lnTo>
                <a:lnTo>
                  <a:pt x="97" y="18"/>
                </a:lnTo>
                <a:lnTo>
                  <a:pt x="99" y="18"/>
                </a:lnTo>
                <a:lnTo>
                  <a:pt x="101" y="17"/>
                </a:lnTo>
                <a:lnTo>
                  <a:pt x="103" y="17"/>
                </a:lnTo>
                <a:lnTo>
                  <a:pt x="104" y="16"/>
                </a:lnTo>
                <a:lnTo>
                  <a:pt x="106" y="16"/>
                </a:lnTo>
                <a:lnTo>
                  <a:pt x="107" y="15"/>
                </a:lnTo>
                <a:lnTo>
                  <a:pt x="109" y="15"/>
                </a:lnTo>
                <a:lnTo>
                  <a:pt x="109" y="10"/>
                </a:lnTo>
                <a:lnTo>
                  <a:pt x="110" y="11"/>
                </a:lnTo>
                <a:lnTo>
                  <a:pt x="111" y="11"/>
                </a:lnTo>
                <a:lnTo>
                  <a:pt x="111" y="10"/>
                </a:lnTo>
                <a:lnTo>
                  <a:pt x="112" y="10"/>
                </a:lnTo>
                <a:lnTo>
                  <a:pt x="113" y="11"/>
                </a:lnTo>
                <a:lnTo>
                  <a:pt x="118" y="11"/>
                </a:lnTo>
                <a:lnTo>
                  <a:pt x="118" y="10"/>
                </a:lnTo>
                <a:lnTo>
                  <a:pt x="117" y="9"/>
                </a:lnTo>
                <a:lnTo>
                  <a:pt x="117" y="6"/>
                </a:lnTo>
                <a:lnTo>
                  <a:pt x="116" y="5"/>
                </a:lnTo>
                <a:lnTo>
                  <a:pt x="116" y="4"/>
                </a:lnTo>
                <a:lnTo>
                  <a:pt x="117" y="1"/>
                </a:lnTo>
                <a:lnTo>
                  <a:pt x="119" y="1"/>
                </a:lnTo>
                <a:lnTo>
                  <a:pt x="12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6" name="Freeform 51">
            <a:extLst>
              <a:ext uri="{FF2B5EF4-FFF2-40B4-BE49-F238E27FC236}">
                <a16:creationId xmlns:a16="http://schemas.microsoft.com/office/drawing/2014/main" id="{8EAA4EB9-0FA8-4F48-BDD4-12CE102F221F}"/>
              </a:ext>
            </a:extLst>
          </p:cNvPr>
          <p:cNvSpPr>
            <a:spLocks/>
          </p:cNvSpPr>
          <p:nvPr/>
        </p:nvSpPr>
        <p:spPr bwMode="auto">
          <a:xfrm>
            <a:off x="2596597" y="5234873"/>
            <a:ext cx="383970" cy="249218"/>
          </a:xfrm>
          <a:custGeom>
            <a:avLst/>
            <a:gdLst/>
            <a:ahLst/>
            <a:cxnLst>
              <a:cxn ang="0">
                <a:pos x="30" y="9"/>
              </a:cxn>
              <a:cxn ang="0">
                <a:pos x="22" y="21"/>
              </a:cxn>
              <a:cxn ang="0">
                <a:pos x="38" y="21"/>
              </a:cxn>
              <a:cxn ang="0">
                <a:pos x="62" y="24"/>
              </a:cxn>
              <a:cxn ang="0">
                <a:pos x="98" y="27"/>
              </a:cxn>
              <a:cxn ang="0">
                <a:pos x="126" y="33"/>
              </a:cxn>
              <a:cxn ang="0">
                <a:pos x="140" y="31"/>
              </a:cxn>
              <a:cxn ang="0">
                <a:pos x="153" y="21"/>
              </a:cxn>
              <a:cxn ang="0">
                <a:pos x="181" y="8"/>
              </a:cxn>
              <a:cxn ang="0">
                <a:pos x="202" y="5"/>
              </a:cxn>
              <a:cxn ang="0">
                <a:pos x="211" y="11"/>
              </a:cxn>
              <a:cxn ang="0">
                <a:pos x="228" y="17"/>
              </a:cxn>
              <a:cxn ang="0">
                <a:pos x="248" y="27"/>
              </a:cxn>
              <a:cxn ang="0">
                <a:pos x="262" y="45"/>
              </a:cxn>
              <a:cxn ang="0">
                <a:pos x="255" y="48"/>
              </a:cxn>
              <a:cxn ang="0">
                <a:pos x="240" y="58"/>
              </a:cxn>
              <a:cxn ang="0">
                <a:pos x="236" y="65"/>
              </a:cxn>
              <a:cxn ang="0">
                <a:pos x="224" y="92"/>
              </a:cxn>
              <a:cxn ang="0">
                <a:pos x="217" y="101"/>
              </a:cxn>
              <a:cxn ang="0">
                <a:pos x="222" y="103"/>
              </a:cxn>
              <a:cxn ang="0">
                <a:pos x="227" y="106"/>
              </a:cxn>
              <a:cxn ang="0">
                <a:pos x="230" y="111"/>
              </a:cxn>
              <a:cxn ang="0">
                <a:pos x="233" y="119"/>
              </a:cxn>
              <a:cxn ang="0">
                <a:pos x="239" y="125"/>
              </a:cxn>
              <a:cxn ang="0">
                <a:pos x="230" y="132"/>
              </a:cxn>
              <a:cxn ang="0">
                <a:pos x="218" y="132"/>
              </a:cxn>
              <a:cxn ang="0">
                <a:pos x="206" y="123"/>
              </a:cxn>
              <a:cxn ang="0">
                <a:pos x="194" y="129"/>
              </a:cxn>
              <a:cxn ang="0">
                <a:pos x="186" y="131"/>
              </a:cxn>
              <a:cxn ang="0">
                <a:pos x="179" y="135"/>
              </a:cxn>
              <a:cxn ang="0">
                <a:pos x="168" y="144"/>
              </a:cxn>
              <a:cxn ang="0">
                <a:pos x="163" y="144"/>
              </a:cxn>
              <a:cxn ang="0">
                <a:pos x="160" y="150"/>
              </a:cxn>
              <a:cxn ang="0">
                <a:pos x="161" y="159"/>
              </a:cxn>
              <a:cxn ang="0">
                <a:pos x="155" y="166"/>
              </a:cxn>
              <a:cxn ang="0">
                <a:pos x="144" y="167"/>
              </a:cxn>
              <a:cxn ang="0">
                <a:pos x="131" y="169"/>
              </a:cxn>
              <a:cxn ang="0">
                <a:pos x="117" y="167"/>
              </a:cxn>
              <a:cxn ang="0">
                <a:pos x="104" y="166"/>
              </a:cxn>
              <a:cxn ang="0">
                <a:pos x="95" y="161"/>
              </a:cxn>
              <a:cxn ang="0">
                <a:pos x="90" y="155"/>
              </a:cxn>
              <a:cxn ang="0">
                <a:pos x="78" y="155"/>
              </a:cxn>
              <a:cxn ang="0">
                <a:pos x="70" y="159"/>
              </a:cxn>
              <a:cxn ang="0">
                <a:pos x="61" y="161"/>
              </a:cxn>
              <a:cxn ang="0">
                <a:pos x="45" y="163"/>
              </a:cxn>
              <a:cxn ang="0">
                <a:pos x="39" y="162"/>
              </a:cxn>
              <a:cxn ang="0">
                <a:pos x="26" y="163"/>
              </a:cxn>
              <a:cxn ang="0">
                <a:pos x="28" y="147"/>
              </a:cxn>
              <a:cxn ang="0">
                <a:pos x="23" y="136"/>
              </a:cxn>
              <a:cxn ang="0">
                <a:pos x="16" y="125"/>
              </a:cxn>
              <a:cxn ang="0">
                <a:pos x="0" y="111"/>
              </a:cxn>
              <a:cxn ang="0">
                <a:pos x="8" y="105"/>
              </a:cxn>
              <a:cxn ang="0">
                <a:pos x="6" y="88"/>
              </a:cxn>
              <a:cxn ang="0">
                <a:pos x="7" y="80"/>
              </a:cxn>
              <a:cxn ang="0">
                <a:pos x="20" y="73"/>
              </a:cxn>
              <a:cxn ang="0">
                <a:pos x="26" y="60"/>
              </a:cxn>
              <a:cxn ang="0">
                <a:pos x="13" y="46"/>
              </a:cxn>
              <a:cxn ang="0">
                <a:pos x="6" y="39"/>
              </a:cxn>
              <a:cxn ang="0">
                <a:pos x="1" y="26"/>
              </a:cxn>
              <a:cxn ang="0">
                <a:pos x="10" y="9"/>
              </a:cxn>
              <a:cxn ang="0">
                <a:pos x="13" y="1"/>
              </a:cxn>
            </a:cxnLst>
            <a:rect l="0" t="0" r="r" b="b"/>
            <a:pathLst>
              <a:path w="265" h="172">
                <a:moveTo>
                  <a:pt x="16" y="0"/>
                </a:moveTo>
                <a:lnTo>
                  <a:pt x="24" y="6"/>
                </a:lnTo>
                <a:lnTo>
                  <a:pt x="26" y="7"/>
                </a:lnTo>
                <a:lnTo>
                  <a:pt x="28" y="7"/>
                </a:lnTo>
                <a:lnTo>
                  <a:pt x="29" y="8"/>
                </a:lnTo>
                <a:lnTo>
                  <a:pt x="30" y="8"/>
                </a:lnTo>
                <a:lnTo>
                  <a:pt x="30" y="9"/>
                </a:lnTo>
                <a:lnTo>
                  <a:pt x="29" y="12"/>
                </a:lnTo>
                <a:lnTo>
                  <a:pt x="28" y="13"/>
                </a:lnTo>
                <a:lnTo>
                  <a:pt x="24" y="13"/>
                </a:lnTo>
                <a:lnTo>
                  <a:pt x="24" y="14"/>
                </a:lnTo>
                <a:lnTo>
                  <a:pt x="23" y="15"/>
                </a:lnTo>
                <a:lnTo>
                  <a:pt x="22" y="20"/>
                </a:lnTo>
                <a:lnTo>
                  <a:pt x="22" y="21"/>
                </a:lnTo>
                <a:lnTo>
                  <a:pt x="23" y="22"/>
                </a:lnTo>
                <a:lnTo>
                  <a:pt x="24" y="22"/>
                </a:lnTo>
                <a:lnTo>
                  <a:pt x="25" y="24"/>
                </a:lnTo>
                <a:lnTo>
                  <a:pt x="31" y="22"/>
                </a:lnTo>
                <a:lnTo>
                  <a:pt x="34" y="22"/>
                </a:lnTo>
                <a:lnTo>
                  <a:pt x="35" y="21"/>
                </a:lnTo>
                <a:lnTo>
                  <a:pt x="38" y="21"/>
                </a:lnTo>
                <a:lnTo>
                  <a:pt x="42" y="20"/>
                </a:lnTo>
                <a:lnTo>
                  <a:pt x="49" y="20"/>
                </a:lnTo>
                <a:lnTo>
                  <a:pt x="54" y="22"/>
                </a:lnTo>
                <a:lnTo>
                  <a:pt x="55" y="24"/>
                </a:lnTo>
                <a:lnTo>
                  <a:pt x="59" y="22"/>
                </a:lnTo>
                <a:lnTo>
                  <a:pt x="60" y="22"/>
                </a:lnTo>
                <a:lnTo>
                  <a:pt x="62" y="24"/>
                </a:lnTo>
                <a:lnTo>
                  <a:pt x="76" y="27"/>
                </a:lnTo>
                <a:lnTo>
                  <a:pt x="78" y="28"/>
                </a:lnTo>
                <a:lnTo>
                  <a:pt x="85" y="27"/>
                </a:lnTo>
                <a:lnTo>
                  <a:pt x="86" y="27"/>
                </a:lnTo>
                <a:lnTo>
                  <a:pt x="91" y="25"/>
                </a:lnTo>
                <a:lnTo>
                  <a:pt x="92" y="25"/>
                </a:lnTo>
                <a:lnTo>
                  <a:pt x="98" y="27"/>
                </a:lnTo>
                <a:lnTo>
                  <a:pt x="100" y="28"/>
                </a:lnTo>
                <a:lnTo>
                  <a:pt x="111" y="28"/>
                </a:lnTo>
                <a:lnTo>
                  <a:pt x="116" y="30"/>
                </a:lnTo>
                <a:lnTo>
                  <a:pt x="122" y="31"/>
                </a:lnTo>
                <a:lnTo>
                  <a:pt x="123" y="31"/>
                </a:lnTo>
                <a:lnTo>
                  <a:pt x="125" y="32"/>
                </a:lnTo>
                <a:lnTo>
                  <a:pt x="126" y="33"/>
                </a:lnTo>
                <a:lnTo>
                  <a:pt x="128" y="33"/>
                </a:lnTo>
                <a:lnTo>
                  <a:pt x="130" y="34"/>
                </a:lnTo>
                <a:lnTo>
                  <a:pt x="131" y="33"/>
                </a:lnTo>
                <a:lnTo>
                  <a:pt x="136" y="33"/>
                </a:lnTo>
                <a:lnTo>
                  <a:pt x="137" y="32"/>
                </a:lnTo>
                <a:lnTo>
                  <a:pt x="138" y="32"/>
                </a:lnTo>
                <a:lnTo>
                  <a:pt x="140" y="31"/>
                </a:lnTo>
                <a:lnTo>
                  <a:pt x="141" y="31"/>
                </a:lnTo>
                <a:lnTo>
                  <a:pt x="141" y="30"/>
                </a:lnTo>
                <a:lnTo>
                  <a:pt x="146" y="30"/>
                </a:lnTo>
                <a:lnTo>
                  <a:pt x="147" y="27"/>
                </a:lnTo>
                <a:lnTo>
                  <a:pt x="152" y="22"/>
                </a:lnTo>
                <a:lnTo>
                  <a:pt x="152" y="21"/>
                </a:lnTo>
                <a:lnTo>
                  <a:pt x="153" y="21"/>
                </a:lnTo>
                <a:lnTo>
                  <a:pt x="157" y="18"/>
                </a:lnTo>
                <a:lnTo>
                  <a:pt x="157" y="17"/>
                </a:lnTo>
                <a:lnTo>
                  <a:pt x="161" y="13"/>
                </a:lnTo>
                <a:lnTo>
                  <a:pt x="168" y="11"/>
                </a:lnTo>
                <a:lnTo>
                  <a:pt x="169" y="11"/>
                </a:lnTo>
                <a:lnTo>
                  <a:pt x="173" y="9"/>
                </a:lnTo>
                <a:lnTo>
                  <a:pt x="181" y="8"/>
                </a:lnTo>
                <a:lnTo>
                  <a:pt x="184" y="8"/>
                </a:lnTo>
                <a:lnTo>
                  <a:pt x="185" y="7"/>
                </a:lnTo>
                <a:lnTo>
                  <a:pt x="188" y="7"/>
                </a:lnTo>
                <a:lnTo>
                  <a:pt x="192" y="5"/>
                </a:lnTo>
                <a:lnTo>
                  <a:pt x="197" y="3"/>
                </a:lnTo>
                <a:lnTo>
                  <a:pt x="198" y="3"/>
                </a:lnTo>
                <a:lnTo>
                  <a:pt x="202" y="5"/>
                </a:lnTo>
                <a:lnTo>
                  <a:pt x="206" y="6"/>
                </a:lnTo>
                <a:lnTo>
                  <a:pt x="206" y="7"/>
                </a:lnTo>
                <a:lnTo>
                  <a:pt x="208" y="6"/>
                </a:lnTo>
                <a:lnTo>
                  <a:pt x="208" y="7"/>
                </a:lnTo>
                <a:lnTo>
                  <a:pt x="209" y="7"/>
                </a:lnTo>
                <a:lnTo>
                  <a:pt x="209" y="9"/>
                </a:lnTo>
                <a:lnTo>
                  <a:pt x="211" y="11"/>
                </a:lnTo>
                <a:lnTo>
                  <a:pt x="212" y="11"/>
                </a:lnTo>
                <a:lnTo>
                  <a:pt x="212" y="12"/>
                </a:lnTo>
                <a:lnTo>
                  <a:pt x="213" y="13"/>
                </a:lnTo>
                <a:lnTo>
                  <a:pt x="222" y="13"/>
                </a:lnTo>
                <a:lnTo>
                  <a:pt x="224" y="12"/>
                </a:lnTo>
                <a:lnTo>
                  <a:pt x="225" y="14"/>
                </a:lnTo>
                <a:lnTo>
                  <a:pt x="228" y="17"/>
                </a:lnTo>
                <a:lnTo>
                  <a:pt x="230" y="15"/>
                </a:lnTo>
                <a:lnTo>
                  <a:pt x="234" y="14"/>
                </a:lnTo>
                <a:lnTo>
                  <a:pt x="236" y="14"/>
                </a:lnTo>
                <a:lnTo>
                  <a:pt x="236" y="15"/>
                </a:lnTo>
                <a:lnTo>
                  <a:pt x="239" y="22"/>
                </a:lnTo>
                <a:lnTo>
                  <a:pt x="240" y="24"/>
                </a:lnTo>
                <a:lnTo>
                  <a:pt x="248" y="27"/>
                </a:lnTo>
                <a:lnTo>
                  <a:pt x="258" y="28"/>
                </a:lnTo>
                <a:lnTo>
                  <a:pt x="264" y="28"/>
                </a:lnTo>
                <a:lnTo>
                  <a:pt x="264" y="38"/>
                </a:lnTo>
                <a:lnTo>
                  <a:pt x="265" y="39"/>
                </a:lnTo>
                <a:lnTo>
                  <a:pt x="265" y="42"/>
                </a:lnTo>
                <a:lnTo>
                  <a:pt x="264" y="44"/>
                </a:lnTo>
                <a:lnTo>
                  <a:pt x="262" y="45"/>
                </a:lnTo>
                <a:lnTo>
                  <a:pt x="262" y="46"/>
                </a:lnTo>
                <a:lnTo>
                  <a:pt x="260" y="48"/>
                </a:lnTo>
                <a:lnTo>
                  <a:pt x="260" y="49"/>
                </a:lnTo>
                <a:lnTo>
                  <a:pt x="259" y="50"/>
                </a:lnTo>
                <a:lnTo>
                  <a:pt x="256" y="49"/>
                </a:lnTo>
                <a:lnTo>
                  <a:pt x="256" y="48"/>
                </a:lnTo>
                <a:lnTo>
                  <a:pt x="255" y="48"/>
                </a:lnTo>
                <a:lnTo>
                  <a:pt x="253" y="46"/>
                </a:lnTo>
                <a:lnTo>
                  <a:pt x="252" y="48"/>
                </a:lnTo>
                <a:lnTo>
                  <a:pt x="246" y="48"/>
                </a:lnTo>
                <a:lnTo>
                  <a:pt x="244" y="49"/>
                </a:lnTo>
                <a:lnTo>
                  <a:pt x="243" y="51"/>
                </a:lnTo>
                <a:lnTo>
                  <a:pt x="241" y="57"/>
                </a:lnTo>
                <a:lnTo>
                  <a:pt x="240" y="58"/>
                </a:lnTo>
                <a:lnTo>
                  <a:pt x="236" y="60"/>
                </a:lnTo>
                <a:lnTo>
                  <a:pt x="235" y="60"/>
                </a:lnTo>
                <a:lnTo>
                  <a:pt x="235" y="61"/>
                </a:lnTo>
                <a:lnTo>
                  <a:pt x="236" y="62"/>
                </a:lnTo>
                <a:lnTo>
                  <a:pt x="237" y="62"/>
                </a:lnTo>
                <a:lnTo>
                  <a:pt x="237" y="63"/>
                </a:lnTo>
                <a:lnTo>
                  <a:pt x="236" y="65"/>
                </a:lnTo>
                <a:lnTo>
                  <a:pt x="236" y="68"/>
                </a:lnTo>
                <a:lnTo>
                  <a:pt x="235" y="68"/>
                </a:lnTo>
                <a:lnTo>
                  <a:pt x="235" y="88"/>
                </a:lnTo>
                <a:lnTo>
                  <a:pt x="228" y="88"/>
                </a:lnTo>
                <a:lnTo>
                  <a:pt x="228" y="91"/>
                </a:lnTo>
                <a:lnTo>
                  <a:pt x="227" y="92"/>
                </a:lnTo>
                <a:lnTo>
                  <a:pt x="224" y="92"/>
                </a:lnTo>
                <a:lnTo>
                  <a:pt x="223" y="93"/>
                </a:lnTo>
                <a:lnTo>
                  <a:pt x="224" y="94"/>
                </a:lnTo>
                <a:lnTo>
                  <a:pt x="224" y="97"/>
                </a:lnTo>
                <a:lnTo>
                  <a:pt x="219" y="97"/>
                </a:lnTo>
                <a:lnTo>
                  <a:pt x="218" y="98"/>
                </a:lnTo>
                <a:lnTo>
                  <a:pt x="218" y="100"/>
                </a:lnTo>
                <a:lnTo>
                  <a:pt x="217" y="101"/>
                </a:lnTo>
                <a:lnTo>
                  <a:pt x="216" y="101"/>
                </a:lnTo>
                <a:lnTo>
                  <a:pt x="216" y="103"/>
                </a:lnTo>
                <a:lnTo>
                  <a:pt x="217" y="103"/>
                </a:lnTo>
                <a:lnTo>
                  <a:pt x="218" y="104"/>
                </a:lnTo>
                <a:lnTo>
                  <a:pt x="219" y="104"/>
                </a:lnTo>
                <a:lnTo>
                  <a:pt x="219" y="103"/>
                </a:lnTo>
                <a:lnTo>
                  <a:pt x="222" y="103"/>
                </a:lnTo>
                <a:lnTo>
                  <a:pt x="222" y="104"/>
                </a:lnTo>
                <a:lnTo>
                  <a:pt x="223" y="103"/>
                </a:lnTo>
                <a:lnTo>
                  <a:pt x="224" y="103"/>
                </a:lnTo>
                <a:lnTo>
                  <a:pt x="224" y="105"/>
                </a:lnTo>
                <a:lnTo>
                  <a:pt x="228" y="105"/>
                </a:lnTo>
                <a:lnTo>
                  <a:pt x="228" y="106"/>
                </a:lnTo>
                <a:lnTo>
                  <a:pt x="227" y="106"/>
                </a:lnTo>
                <a:lnTo>
                  <a:pt x="228" y="107"/>
                </a:lnTo>
                <a:lnTo>
                  <a:pt x="227" y="107"/>
                </a:lnTo>
                <a:lnTo>
                  <a:pt x="227" y="108"/>
                </a:lnTo>
                <a:lnTo>
                  <a:pt x="228" y="108"/>
                </a:lnTo>
                <a:lnTo>
                  <a:pt x="228" y="110"/>
                </a:lnTo>
                <a:lnTo>
                  <a:pt x="230" y="110"/>
                </a:lnTo>
                <a:lnTo>
                  <a:pt x="230" y="111"/>
                </a:lnTo>
                <a:lnTo>
                  <a:pt x="229" y="112"/>
                </a:lnTo>
                <a:lnTo>
                  <a:pt x="229" y="114"/>
                </a:lnTo>
                <a:lnTo>
                  <a:pt x="230" y="114"/>
                </a:lnTo>
                <a:lnTo>
                  <a:pt x="230" y="116"/>
                </a:lnTo>
                <a:lnTo>
                  <a:pt x="233" y="118"/>
                </a:lnTo>
                <a:lnTo>
                  <a:pt x="234" y="118"/>
                </a:lnTo>
                <a:lnTo>
                  <a:pt x="233" y="119"/>
                </a:lnTo>
                <a:lnTo>
                  <a:pt x="234" y="120"/>
                </a:lnTo>
                <a:lnTo>
                  <a:pt x="235" y="120"/>
                </a:lnTo>
                <a:lnTo>
                  <a:pt x="235" y="122"/>
                </a:lnTo>
                <a:lnTo>
                  <a:pt x="237" y="123"/>
                </a:lnTo>
                <a:lnTo>
                  <a:pt x="237" y="124"/>
                </a:lnTo>
                <a:lnTo>
                  <a:pt x="239" y="124"/>
                </a:lnTo>
                <a:lnTo>
                  <a:pt x="239" y="125"/>
                </a:lnTo>
                <a:lnTo>
                  <a:pt x="240" y="126"/>
                </a:lnTo>
                <a:lnTo>
                  <a:pt x="240" y="130"/>
                </a:lnTo>
                <a:lnTo>
                  <a:pt x="235" y="130"/>
                </a:lnTo>
                <a:lnTo>
                  <a:pt x="234" y="129"/>
                </a:lnTo>
                <a:lnTo>
                  <a:pt x="231" y="129"/>
                </a:lnTo>
                <a:lnTo>
                  <a:pt x="231" y="132"/>
                </a:lnTo>
                <a:lnTo>
                  <a:pt x="230" y="132"/>
                </a:lnTo>
                <a:lnTo>
                  <a:pt x="228" y="130"/>
                </a:lnTo>
                <a:lnTo>
                  <a:pt x="227" y="130"/>
                </a:lnTo>
                <a:lnTo>
                  <a:pt x="223" y="131"/>
                </a:lnTo>
                <a:lnTo>
                  <a:pt x="223" y="132"/>
                </a:lnTo>
                <a:lnTo>
                  <a:pt x="221" y="132"/>
                </a:lnTo>
                <a:lnTo>
                  <a:pt x="221" y="135"/>
                </a:lnTo>
                <a:lnTo>
                  <a:pt x="218" y="132"/>
                </a:lnTo>
                <a:lnTo>
                  <a:pt x="215" y="130"/>
                </a:lnTo>
                <a:lnTo>
                  <a:pt x="213" y="129"/>
                </a:lnTo>
                <a:lnTo>
                  <a:pt x="211" y="125"/>
                </a:lnTo>
                <a:lnTo>
                  <a:pt x="210" y="124"/>
                </a:lnTo>
                <a:lnTo>
                  <a:pt x="209" y="124"/>
                </a:lnTo>
                <a:lnTo>
                  <a:pt x="208" y="123"/>
                </a:lnTo>
                <a:lnTo>
                  <a:pt x="206" y="123"/>
                </a:lnTo>
                <a:lnTo>
                  <a:pt x="205" y="124"/>
                </a:lnTo>
                <a:lnTo>
                  <a:pt x="205" y="125"/>
                </a:lnTo>
                <a:lnTo>
                  <a:pt x="202" y="125"/>
                </a:lnTo>
                <a:lnTo>
                  <a:pt x="200" y="124"/>
                </a:lnTo>
                <a:lnTo>
                  <a:pt x="198" y="124"/>
                </a:lnTo>
                <a:lnTo>
                  <a:pt x="197" y="126"/>
                </a:lnTo>
                <a:lnTo>
                  <a:pt x="194" y="129"/>
                </a:lnTo>
                <a:lnTo>
                  <a:pt x="193" y="129"/>
                </a:lnTo>
                <a:lnTo>
                  <a:pt x="192" y="130"/>
                </a:lnTo>
                <a:lnTo>
                  <a:pt x="190" y="130"/>
                </a:lnTo>
                <a:lnTo>
                  <a:pt x="190" y="131"/>
                </a:lnTo>
                <a:lnTo>
                  <a:pt x="188" y="130"/>
                </a:lnTo>
                <a:lnTo>
                  <a:pt x="187" y="130"/>
                </a:lnTo>
                <a:lnTo>
                  <a:pt x="186" y="131"/>
                </a:lnTo>
                <a:lnTo>
                  <a:pt x="185" y="131"/>
                </a:lnTo>
                <a:lnTo>
                  <a:pt x="181" y="130"/>
                </a:lnTo>
                <a:lnTo>
                  <a:pt x="179" y="132"/>
                </a:lnTo>
                <a:lnTo>
                  <a:pt x="178" y="132"/>
                </a:lnTo>
                <a:lnTo>
                  <a:pt x="178" y="134"/>
                </a:lnTo>
                <a:lnTo>
                  <a:pt x="179" y="134"/>
                </a:lnTo>
                <a:lnTo>
                  <a:pt x="179" y="135"/>
                </a:lnTo>
                <a:lnTo>
                  <a:pt x="178" y="135"/>
                </a:lnTo>
                <a:lnTo>
                  <a:pt x="178" y="138"/>
                </a:lnTo>
                <a:lnTo>
                  <a:pt x="177" y="138"/>
                </a:lnTo>
                <a:lnTo>
                  <a:pt x="175" y="140"/>
                </a:lnTo>
                <a:lnTo>
                  <a:pt x="171" y="140"/>
                </a:lnTo>
                <a:lnTo>
                  <a:pt x="168" y="142"/>
                </a:lnTo>
                <a:lnTo>
                  <a:pt x="168" y="144"/>
                </a:lnTo>
                <a:lnTo>
                  <a:pt x="169" y="146"/>
                </a:lnTo>
                <a:lnTo>
                  <a:pt x="167" y="146"/>
                </a:lnTo>
                <a:lnTo>
                  <a:pt x="167" y="144"/>
                </a:lnTo>
                <a:lnTo>
                  <a:pt x="166" y="144"/>
                </a:lnTo>
                <a:lnTo>
                  <a:pt x="165" y="143"/>
                </a:lnTo>
                <a:lnTo>
                  <a:pt x="163" y="143"/>
                </a:lnTo>
                <a:lnTo>
                  <a:pt x="163" y="144"/>
                </a:lnTo>
                <a:lnTo>
                  <a:pt x="160" y="144"/>
                </a:lnTo>
                <a:lnTo>
                  <a:pt x="159" y="146"/>
                </a:lnTo>
                <a:lnTo>
                  <a:pt x="157" y="146"/>
                </a:lnTo>
                <a:lnTo>
                  <a:pt x="157" y="149"/>
                </a:lnTo>
                <a:lnTo>
                  <a:pt x="159" y="149"/>
                </a:lnTo>
                <a:lnTo>
                  <a:pt x="159" y="150"/>
                </a:lnTo>
                <a:lnTo>
                  <a:pt x="160" y="150"/>
                </a:lnTo>
                <a:lnTo>
                  <a:pt x="160" y="154"/>
                </a:lnTo>
                <a:lnTo>
                  <a:pt x="161" y="154"/>
                </a:lnTo>
                <a:lnTo>
                  <a:pt x="161" y="155"/>
                </a:lnTo>
                <a:lnTo>
                  <a:pt x="162" y="155"/>
                </a:lnTo>
                <a:lnTo>
                  <a:pt x="162" y="156"/>
                </a:lnTo>
                <a:lnTo>
                  <a:pt x="161" y="157"/>
                </a:lnTo>
                <a:lnTo>
                  <a:pt x="161" y="159"/>
                </a:lnTo>
                <a:lnTo>
                  <a:pt x="162" y="160"/>
                </a:lnTo>
                <a:lnTo>
                  <a:pt x="162" y="161"/>
                </a:lnTo>
                <a:lnTo>
                  <a:pt x="161" y="161"/>
                </a:lnTo>
                <a:lnTo>
                  <a:pt x="161" y="165"/>
                </a:lnTo>
                <a:lnTo>
                  <a:pt x="160" y="165"/>
                </a:lnTo>
                <a:lnTo>
                  <a:pt x="156" y="166"/>
                </a:lnTo>
                <a:lnTo>
                  <a:pt x="155" y="166"/>
                </a:lnTo>
                <a:lnTo>
                  <a:pt x="154" y="167"/>
                </a:lnTo>
                <a:lnTo>
                  <a:pt x="152" y="167"/>
                </a:lnTo>
                <a:lnTo>
                  <a:pt x="150" y="168"/>
                </a:lnTo>
                <a:lnTo>
                  <a:pt x="149" y="168"/>
                </a:lnTo>
                <a:lnTo>
                  <a:pt x="148" y="166"/>
                </a:lnTo>
                <a:lnTo>
                  <a:pt x="147" y="166"/>
                </a:lnTo>
                <a:lnTo>
                  <a:pt x="144" y="167"/>
                </a:lnTo>
                <a:lnTo>
                  <a:pt x="143" y="167"/>
                </a:lnTo>
                <a:lnTo>
                  <a:pt x="142" y="168"/>
                </a:lnTo>
                <a:lnTo>
                  <a:pt x="140" y="168"/>
                </a:lnTo>
                <a:lnTo>
                  <a:pt x="140" y="167"/>
                </a:lnTo>
                <a:lnTo>
                  <a:pt x="135" y="167"/>
                </a:lnTo>
                <a:lnTo>
                  <a:pt x="135" y="169"/>
                </a:lnTo>
                <a:lnTo>
                  <a:pt x="131" y="169"/>
                </a:lnTo>
                <a:lnTo>
                  <a:pt x="125" y="172"/>
                </a:lnTo>
                <a:lnTo>
                  <a:pt x="123" y="172"/>
                </a:lnTo>
                <a:lnTo>
                  <a:pt x="122" y="171"/>
                </a:lnTo>
                <a:lnTo>
                  <a:pt x="121" y="168"/>
                </a:lnTo>
                <a:lnTo>
                  <a:pt x="119" y="168"/>
                </a:lnTo>
                <a:lnTo>
                  <a:pt x="118" y="167"/>
                </a:lnTo>
                <a:lnTo>
                  <a:pt x="117" y="167"/>
                </a:lnTo>
                <a:lnTo>
                  <a:pt x="117" y="166"/>
                </a:lnTo>
                <a:lnTo>
                  <a:pt x="116" y="166"/>
                </a:lnTo>
                <a:lnTo>
                  <a:pt x="110" y="163"/>
                </a:lnTo>
                <a:lnTo>
                  <a:pt x="107" y="162"/>
                </a:lnTo>
                <a:lnTo>
                  <a:pt x="106" y="163"/>
                </a:lnTo>
                <a:lnTo>
                  <a:pt x="104" y="163"/>
                </a:lnTo>
                <a:lnTo>
                  <a:pt x="104" y="166"/>
                </a:lnTo>
                <a:lnTo>
                  <a:pt x="103" y="166"/>
                </a:lnTo>
                <a:lnTo>
                  <a:pt x="103" y="165"/>
                </a:lnTo>
                <a:lnTo>
                  <a:pt x="100" y="163"/>
                </a:lnTo>
                <a:lnTo>
                  <a:pt x="100" y="162"/>
                </a:lnTo>
                <a:lnTo>
                  <a:pt x="99" y="162"/>
                </a:lnTo>
                <a:lnTo>
                  <a:pt x="98" y="161"/>
                </a:lnTo>
                <a:lnTo>
                  <a:pt x="95" y="161"/>
                </a:lnTo>
                <a:lnTo>
                  <a:pt x="95" y="159"/>
                </a:lnTo>
                <a:lnTo>
                  <a:pt x="94" y="159"/>
                </a:lnTo>
                <a:lnTo>
                  <a:pt x="94" y="157"/>
                </a:lnTo>
                <a:lnTo>
                  <a:pt x="93" y="157"/>
                </a:lnTo>
                <a:lnTo>
                  <a:pt x="93" y="154"/>
                </a:lnTo>
                <a:lnTo>
                  <a:pt x="90" y="154"/>
                </a:lnTo>
                <a:lnTo>
                  <a:pt x="90" y="155"/>
                </a:lnTo>
                <a:lnTo>
                  <a:pt x="87" y="155"/>
                </a:lnTo>
                <a:lnTo>
                  <a:pt x="86" y="156"/>
                </a:lnTo>
                <a:lnTo>
                  <a:pt x="82" y="156"/>
                </a:lnTo>
                <a:lnTo>
                  <a:pt x="82" y="155"/>
                </a:lnTo>
                <a:lnTo>
                  <a:pt x="81" y="154"/>
                </a:lnTo>
                <a:lnTo>
                  <a:pt x="79" y="154"/>
                </a:lnTo>
                <a:lnTo>
                  <a:pt x="78" y="155"/>
                </a:lnTo>
                <a:lnTo>
                  <a:pt x="78" y="156"/>
                </a:lnTo>
                <a:lnTo>
                  <a:pt x="76" y="156"/>
                </a:lnTo>
                <a:lnTo>
                  <a:pt x="76" y="155"/>
                </a:lnTo>
                <a:lnTo>
                  <a:pt x="73" y="155"/>
                </a:lnTo>
                <a:lnTo>
                  <a:pt x="73" y="160"/>
                </a:lnTo>
                <a:lnTo>
                  <a:pt x="72" y="160"/>
                </a:lnTo>
                <a:lnTo>
                  <a:pt x="70" y="159"/>
                </a:lnTo>
                <a:lnTo>
                  <a:pt x="70" y="160"/>
                </a:lnTo>
                <a:lnTo>
                  <a:pt x="69" y="160"/>
                </a:lnTo>
                <a:lnTo>
                  <a:pt x="68" y="161"/>
                </a:lnTo>
                <a:lnTo>
                  <a:pt x="67" y="159"/>
                </a:lnTo>
                <a:lnTo>
                  <a:pt x="66" y="159"/>
                </a:lnTo>
                <a:lnTo>
                  <a:pt x="63" y="161"/>
                </a:lnTo>
                <a:lnTo>
                  <a:pt x="61" y="161"/>
                </a:lnTo>
                <a:lnTo>
                  <a:pt x="60" y="162"/>
                </a:lnTo>
                <a:lnTo>
                  <a:pt x="56" y="162"/>
                </a:lnTo>
                <a:lnTo>
                  <a:pt x="54" y="165"/>
                </a:lnTo>
                <a:lnTo>
                  <a:pt x="53" y="165"/>
                </a:lnTo>
                <a:lnTo>
                  <a:pt x="50" y="162"/>
                </a:lnTo>
                <a:lnTo>
                  <a:pt x="45" y="162"/>
                </a:lnTo>
                <a:lnTo>
                  <a:pt x="45" y="163"/>
                </a:lnTo>
                <a:lnTo>
                  <a:pt x="44" y="163"/>
                </a:lnTo>
                <a:lnTo>
                  <a:pt x="43" y="165"/>
                </a:lnTo>
                <a:lnTo>
                  <a:pt x="42" y="165"/>
                </a:lnTo>
                <a:lnTo>
                  <a:pt x="42" y="163"/>
                </a:lnTo>
                <a:lnTo>
                  <a:pt x="41" y="163"/>
                </a:lnTo>
                <a:lnTo>
                  <a:pt x="41" y="162"/>
                </a:lnTo>
                <a:lnTo>
                  <a:pt x="39" y="162"/>
                </a:lnTo>
                <a:lnTo>
                  <a:pt x="37" y="165"/>
                </a:lnTo>
                <a:lnTo>
                  <a:pt x="37" y="166"/>
                </a:lnTo>
                <a:lnTo>
                  <a:pt x="36" y="167"/>
                </a:lnTo>
                <a:lnTo>
                  <a:pt x="34" y="167"/>
                </a:lnTo>
                <a:lnTo>
                  <a:pt x="25" y="166"/>
                </a:lnTo>
                <a:lnTo>
                  <a:pt x="26" y="166"/>
                </a:lnTo>
                <a:lnTo>
                  <a:pt x="26" y="163"/>
                </a:lnTo>
                <a:lnTo>
                  <a:pt x="25" y="162"/>
                </a:lnTo>
                <a:lnTo>
                  <a:pt x="26" y="162"/>
                </a:lnTo>
                <a:lnTo>
                  <a:pt x="26" y="153"/>
                </a:lnTo>
                <a:lnTo>
                  <a:pt x="25" y="153"/>
                </a:lnTo>
                <a:lnTo>
                  <a:pt x="25" y="150"/>
                </a:lnTo>
                <a:lnTo>
                  <a:pt x="28" y="148"/>
                </a:lnTo>
                <a:lnTo>
                  <a:pt x="28" y="147"/>
                </a:lnTo>
                <a:lnTo>
                  <a:pt x="29" y="146"/>
                </a:lnTo>
                <a:lnTo>
                  <a:pt x="29" y="143"/>
                </a:lnTo>
                <a:lnTo>
                  <a:pt x="28" y="142"/>
                </a:lnTo>
                <a:lnTo>
                  <a:pt x="26" y="142"/>
                </a:lnTo>
                <a:lnTo>
                  <a:pt x="24" y="137"/>
                </a:lnTo>
                <a:lnTo>
                  <a:pt x="24" y="136"/>
                </a:lnTo>
                <a:lnTo>
                  <a:pt x="23" y="136"/>
                </a:lnTo>
                <a:lnTo>
                  <a:pt x="23" y="130"/>
                </a:lnTo>
                <a:lnTo>
                  <a:pt x="22" y="129"/>
                </a:lnTo>
                <a:lnTo>
                  <a:pt x="22" y="128"/>
                </a:lnTo>
                <a:lnTo>
                  <a:pt x="19" y="128"/>
                </a:lnTo>
                <a:lnTo>
                  <a:pt x="19" y="126"/>
                </a:lnTo>
                <a:lnTo>
                  <a:pt x="17" y="126"/>
                </a:lnTo>
                <a:lnTo>
                  <a:pt x="16" y="125"/>
                </a:lnTo>
                <a:lnTo>
                  <a:pt x="14" y="125"/>
                </a:lnTo>
                <a:lnTo>
                  <a:pt x="12" y="124"/>
                </a:lnTo>
                <a:lnTo>
                  <a:pt x="8" y="122"/>
                </a:lnTo>
                <a:lnTo>
                  <a:pt x="7" y="120"/>
                </a:lnTo>
                <a:lnTo>
                  <a:pt x="7" y="119"/>
                </a:lnTo>
                <a:lnTo>
                  <a:pt x="5" y="117"/>
                </a:lnTo>
                <a:lnTo>
                  <a:pt x="0" y="111"/>
                </a:lnTo>
                <a:lnTo>
                  <a:pt x="4" y="111"/>
                </a:lnTo>
                <a:lnTo>
                  <a:pt x="4" y="110"/>
                </a:lnTo>
                <a:lnTo>
                  <a:pt x="5" y="110"/>
                </a:lnTo>
                <a:lnTo>
                  <a:pt x="5" y="107"/>
                </a:lnTo>
                <a:lnTo>
                  <a:pt x="6" y="106"/>
                </a:lnTo>
                <a:lnTo>
                  <a:pt x="7" y="106"/>
                </a:lnTo>
                <a:lnTo>
                  <a:pt x="8" y="105"/>
                </a:lnTo>
                <a:lnTo>
                  <a:pt x="8" y="100"/>
                </a:lnTo>
                <a:lnTo>
                  <a:pt x="6" y="98"/>
                </a:lnTo>
                <a:lnTo>
                  <a:pt x="4" y="97"/>
                </a:lnTo>
                <a:lnTo>
                  <a:pt x="4" y="95"/>
                </a:lnTo>
                <a:lnTo>
                  <a:pt x="5" y="93"/>
                </a:lnTo>
                <a:lnTo>
                  <a:pt x="5" y="89"/>
                </a:lnTo>
                <a:lnTo>
                  <a:pt x="6" y="88"/>
                </a:lnTo>
                <a:lnTo>
                  <a:pt x="6" y="86"/>
                </a:lnTo>
                <a:lnTo>
                  <a:pt x="5" y="85"/>
                </a:lnTo>
                <a:lnTo>
                  <a:pt x="4" y="82"/>
                </a:lnTo>
                <a:lnTo>
                  <a:pt x="5" y="82"/>
                </a:lnTo>
                <a:lnTo>
                  <a:pt x="5" y="81"/>
                </a:lnTo>
                <a:lnTo>
                  <a:pt x="6" y="81"/>
                </a:lnTo>
                <a:lnTo>
                  <a:pt x="7" y="80"/>
                </a:lnTo>
                <a:lnTo>
                  <a:pt x="7" y="79"/>
                </a:lnTo>
                <a:lnTo>
                  <a:pt x="17" y="79"/>
                </a:lnTo>
                <a:lnTo>
                  <a:pt x="17" y="77"/>
                </a:lnTo>
                <a:lnTo>
                  <a:pt x="18" y="76"/>
                </a:lnTo>
                <a:lnTo>
                  <a:pt x="18" y="74"/>
                </a:lnTo>
                <a:lnTo>
                  <a:pt x="19" y="73"/>
                </a:lnTo>
                <a:lnTo>
                  <a:pt x="20" y="73"/>
                </a:lnTo>
                <a:lnTo>
                  <a:pt x="24" y="69"/>
                </a:lnTo>
                <a:lnTo>
                  <a:pt x="24" y="67"/>
                </a:lnTo>
                <a:lnTo>
                  <a:pt x="25" y="67"/>
                </a:lnTo>
                <a:lnTo>
                  <a:pt x="26" y="65"/>
                </a:lnTo>
                <a:lnTo>
                  <a:pt x="28" y="63"/>
                </a:lnTo>
                <a:lnTo>
                  <a:pt x="28" y="61"/>
                </a:lnTo>
                <a:lnTo>
                  <a:pt x="26" y="60"/>
                </a:lnTo>
                <a:lnTo>
                  <a:pt x="25" y="60"/>
                </a:lnTo>
                <a:lnTo>
                  <a:pt x="20" y="55"/>
                </a:lnTo>
                <a:lnTo>
                  <a:pt x="20" y="52"/>
                </a:lnTo>
                <a:lnTo>
                  <a:pt x="17" y="50"/>
                </a:lnTo>
                <a:lnTo>
                  <a:pt x="17" y="49"/>
                </a:lnTo>
                <a:lnTo>
                  <a:pt x="13" y="49"/>
                </a:lnTo>
                <a:lnTo>
                  <a:pt x="13" y="46"/>
                </a:lnTo>
                <a:lnTo>
                  <a:pt x="11" y="46"/>
                </a:lnTo>
                <a:lnTo>
                  <a:pt x="11" y="45"/>
                </a:lnTo>
                <a:lnTo>
                  <a:pt x="8" y="45"/>
                </a:lnTo>
                <a:lnTo>
                  <a:pt x="8" y="44"/>
                </a:lnTo>
                <a:lnTo>
                  <a:pt x="7" y="43"/>
                </a:lnTo>
                <a:lnTo>
                  <a:pt x="7" y="40"/>
                </a:lnTo>
                <a:lnTo>
                  <a:pt x="6" y="39"/>
                </a:lnTo>
                <a:lnTo>
                  <a:pt x="6" y="34"/>
                </a:lnTo>
                <a:lnTo>
                  <a:pt x="5" y="33"/>
                </a:lnTo>
                <a:lnTo>
                  <a:pt x="4" y="33"/>
                </a:lnTo>
                <a:lnTo>
                  <a:pt x="4" y="32"/>
                </a:lnTo>
                <a:lnTo>
                  <a:pt x="3" y="31"/>
                </a:lnTo>
                <a:lnTo>
                  <a:pt x="3" y="27"/>
                </a:lnTo>
                <a:lnTo>
                  <a:pt x="1" y="26"/>
                </a:lnTo>
                <a:lnTo>
                  <a:pt x="1" y="22"/>
                </a:lnTo>
                <a:lnTo>
                  <a:pt x="3" y="20"/>
                </a:lnTo>
                <a:lnTo>
                  <a:pt x="3" y="14"/>
                </a:lnTo>
                <a:lnTo>
                  <a:pt x="4" y="13"/>
                </a:lnTo>
                <a:lnTo>
                  <a:pt x="7" y="13"/>
                </a:lnTo>
                <a:lnTo>
                  <a:pt x="7" y="12"/>
                </a:lnTo>
                <a:lnTo>
                  <a:pt x="10" y="9"/>
                </a:lnTo>
                <a:lnTo>
                  <a:pt x="12" y="9"/>
                </a:lnTo>
                <a:lnTo>
                  <a:pt x="12" y="8"/>
                </a:lnTo>
                <a:lnTo>
                  <a:pt x="11" y="7"/>
                </a:lnTo>
                <a:lnTo>
                  <a:pt x="11" y="6"/>
                </a:lnTo>
                <a:lnTo>
                  <a:pt x="12" y="5"/>
                </a:lnTo>
                <a:lnTo>
                  <a:pt x="12" y="2"/>
                </a:lnTo>
                <a:lnTo>
                  <a:pt x="13" y="1"/>
                </a:lnTo>
                <a:lnTo>
                  <a:pt x="16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7" name="Freeform 52">
            <a:extLst>
              <a:ext uri="{FF2B5EF4-FFF2-40B4-BE49-F238E27FC236}">
                <a16:creationId xmlns:a16="http://schemas.microsoft.com/office/drawing/2014/main" id="{27142FB3-1CD8-4821-A46D-B103FAFEF4FC}"/>
              </a:ext>
            </a:extLst>
          </p:cNvPr>
          <p:cNvSpPr>
            <a:spLocks/>
          </p:cNvSpPr>
          <p:nvPr/>
        </p:nvSpPr>
        <p:spPr bwMode="auto">
          <a:xfrm>
            <a:off x="2192343" y="5145039"/>
            <a:ext cx="239076" cy="230382"/>
          </a:xfrm>
          <a:custGeom>
            <a:avLst/>
            <a:gdLst/>
            <a:ahLst/>
            <a:cxnLst>
              <a:cxn ang="0">
                <a:pos x="56" y="3"/>
              </a:cxn>
              <a:cxn ang="0">
                <a:pos x="62" y="7"/>
              </a:cxn>
              <a:cxn ang="0">
                <a:pos x="75" y="8"/>
              </a:cxn>
              <a:cxn ang="0">
                <a:pos x="85" y="8"/>
              </a:cxn>
              <a:cxn ang="0">
                <a:pos x="93" y="12"/>
              </a:cxn>
              <a:cxn ang="0">
                <a:pos x="104" y="10"/>
              </a:cxn>
              <a:cxn ang="0">
                <a:pos x="110" y="9"/>
              </a:cxn>
              <a:cxn ang="0">
                <a:pos x="123" y="10"/>
              </a:cxn>
              <a:cxn ang="0">
                <a:pos x="127" y="15"/>
              </a:cxn>
              <a:cxn ang="0">
                <a:pos x="129" y="19"/>
              </a:cxn>
              <a:cxn ang="0">
                <a:pos x="142" y="24"/>
              </a:cxn>
              <a:cxn ang="0">
                <a:pos x="148" y="21"/>
              </a:cxn>
              <a:cxn ang="0">
                <a:pos x="154" y="22"/>
              </a:cxn>
              <a:cxn ang="0">
                <a:pos x="150" y="34"/>
              </a:cxn>
              <a:cxn ang="0">
                <a:pos x="146" y="44"/>
              </a:cxn>
              <a:cxn ang="0">
                <a:pos x="143" y="56"/>
              </a:cxn>
              <a:cxn ang="0">
                <a:pos x="154" y="64"/>
              </a:cxn>
              <a:cxn ang="0">
                <a:pos x="160" y="70"/>
              </a:cxn>
              <a:cxn ang="0">
                <a:pos x="164" y="71"/>
              </a:cxn>
              <a:cxn ang="0">
                <a:pos x="160" y="77"/>
              </a:cxn>
              <a:cxn ang="0">
                <a:pos x="149" y="75"/>
              </a:cxn>
              <a:cxn ang="0">
                <a:pos x="152" y="81"/>
              </a:cxn>
              <a:cxn ang="0">
                <a:pos x="159" y="98"/>
              </a:cxn>
              <a:cxn ang="0">
                <a:pos x="155" y="101"/>
              </a:cxn>
              <a:cxn ang="0">
                <a:pos x="150" y="100"/>
              </a:cxn>
              <a:cxn ang="0">
                <a:pos x="143" y="102"/>
              </a:cxn>
              <a:cxn ang="0">
                <a:pos x="140" y="102"/>
              </a:cxn>
              <a:cxn ang="0">
                <a:pos x="136" y="106"/>
              </a:cxn>
              <a:cxn ang="0">
                <a:pos x="140" y="113"/>
              </a:cxn>
              <a:cxn ang="0">
                <a:pos x="139" y="118"/>
              </a:cxn>
              <a:cxn ang="0">
                <a:pos x="131" y="113"/>
              </a:cxn>
              <a:cxn ang="0">
                <a:pos x="125" y="120"/>
              </a:cxn>
              <a:cxn ang="0">
                <a:pos x="115" y="136"/>
              </a:cxn>
              <a:cxn ang="0">
                <a:pos x="115" y="144"/>
              </a:cxn>
              <a:cxn ang="0">
                <a:pos x="119" y="155"/>
              </a:cxn>
              <a:cxn ang="0">
                <a:pos x="111" y="156"/>
              </a:cxn>
              <a:cxn ang="0">
                <a:pos x="96" y="148"/>
              </a:cxn>
              <a:cxn ang="0">
                <a:pos x="88" y="142"/>
              </a:cxn>
              <a:cxn ang="0">
                <a:pos x="82" y="138"/>
              </a:cxn>
              <a:cxn ang="0">
                <a:pos x="80" y="138"/>
              </a:cxn>
              <a:cxn ang="0">
                <a:pos x="79" y="130"/>
              </a:cxn>
              <a:cxn ang="0">
                <a:pos x="71" y="122"/>
              </a:cxn>
              <a:cxn ang="0">
                <a:pos x="66" y="113"/>
              </a:cxn>
              <a:cxn ang="0">
                <a:pos x="56" y="104"/>
              </a:cxn>
              <a:cxn ang="0">
                <a:pos x="42" y="88"/>
              </a:cxn>
              <a:cxn ang="0">
                <a:pos x="36" y="80"/>
              </a:cxn>
              <a:cxn ang="0">
                <a:pos x="28" y="73"/>
              </a:cxn>
              <a:cxn ang="0">
                <a:pos x="24" y="67"/>
              </a:cxn>
              <a:cxn ang="0">
                <a:pos x="21" y="57"/>
              </a:cxn>
              <a:cxn ang="0">
                <a:pos x="19" y="51"/>
              </a:cxn>
              <a:cxn ang="0">
                <a:pos x="15" y="45"/>
              </a:cxn>
              <a:cxn ang="0">
                <a:pos x="13" y="39"/>
              </a:cxn>
              <a:cxn ang="0">
                <a:pos x="9" y="34"/>
              </a:cxn>
              <a:cxn ang="0">
                <a:pos x="4" y="34"/>
              </a:cxn>
              <a:cxn ang="0">
                <a:pos x="1" y="25"/>
              </a:cxn>
              <a:cxn ang="0">
                <a:pos x="1" y="18"/>
              </a:cxn>
              <a:cxn ang="0">
                <a:pos x="3" y="6"/>
              </a:cxn>
              <a:cxn ang="0">
                <a:pos x="15" y="7"/>
              </a:cxn>
              <a:cxn ang="0">
                <a:pos x="24" y="16"/>
              </a:cxn>
              <a:cxn ang="0">
                <a:pos x="29" y="9"/>
              </a:cxn>
              <a:cxn ang="0">
                <a:pos x="35" y="3"/>
              </a:cxn>
              <a:cxn ang="0">
                <a:pos x="48" y="3"/>
              </a:cxn>
              <a:cxn ang="0">
                <a:pos x="51" y="0"/>
              </a:cxn>
            </a:cxnLst>
            <a:rect l="0" t="0" r="r" b="b"/>
            <a:pathLst>
              <a:path w="165" h="159">
                <a:moveTo>
                  <a:pt x="51" y="0"/>
                </a:moveTo>
                <a:lnTo>
                  <a:pt x="51" y="2"/>
                </a:lnTo>
                <a:lnTo>
                  <a:pt x="55" y="2"/>
                </a:lnTo>
                <a:lnTo>
                  <a:pt x="55" y="3"/>
                </a:lnTo>
                <a:lnTo>
                  <a:pt x="56" y="3"/>
                </a:lnTo>
                <a:lnTo>
                  <a:pt x="56" y="4"/>
                </a:lnTo>
                <a:lnTo>
                  <a:pt x="59" y="6"/>
                </a:lnTo>
                <a:lnTo>
                  <a:pt x="60" y="7"/>
                </a:lnTo>
                <a:lnTo>
                  <a:pt x="62" y="8"/>
                </a:lnTo>
                <a:lnTo>
                  <a:pt x="62" y="7"/>
                </a:lnTo>
                <a:lnTo>
                  <a:pt x="65" y="7"/>
                </a:lnTo>
                <a:lnTo>
                  <a:pt x="66" y="6"/>
                </a:lnTo>
                <a:lnTo>
                  <a:pt x="67" y="6"/>
                </a:lnTo>
                <a:lnTo>
                  <a:pt x="69" y="8"/>
                </a:lnTo>
                <a:lnTo>
                  <a:pt x="75" y="8"/>
                </a:lnTo>
                <a:lnTo>
                  <a:pt x="74" y="9"/>
                </a:lnTo>
                <a:lnTo>
                  <a:pt x="79" y="9"/>
                </a:lnTo>
                <a:lnTo>
                  <a:pt x="81" y="7"/>
                </a:lnTo>
                <a:lnTo>
                  <a:pt x="85" y="7"/>
                </a:lnTo>
                <a:lnTo>
                  <a:pt x="85" y="8"/>
                </a:lnTo>
                <a:lnTo>
                  <a:pt x="87" y="12"/>
                </a:lnTo>
                <a:lnTo>
                  <a:pt x="88" y="13"/>
                </a:lnTo>
                <a:lnTo>
                  <a:pt x="90" y="13"/>
                </a:lnTo>
                <a:lnTo>
                  <a:pt x="91" y="12"/>
                </a:lnTo>
                <a:lnTo>
                  <a:pt x="93" y="12"/>
                </a:lnTo>
                <a:lnTo>
                  <a:pt x="93" y="10"/>
                </a:lnTo>
                <a:lnTo>
                  <a:pt x="96" y="8"/>
                </a:lnTo>
                <a:lnTo>
                  <a:pt x="98" y="8"/>
                </a:lnTo>
                <a:lnTo>
                  <a:pt x="100" y="10"/>
                </a:lnTo>
                <a:lnTo>
                  <a:pt x="104" y="10"/>
                </a:lnTo>
                <a:lnTo>
                  <a:pt x="105" y="9"/>
                </a:lnTo>
                <a:lnTo>
                  <a:pt x="105" y="7"/>
                </a:lnTo>
                <a:lnTo>
                  <a:pt x="106" y="7"/>
                </a:lnTo>
                <a:lnTo>
                  <a:pt x="108" y="8"/>
                </a:lnTo>
                <a:lnTo>
                  <a:pt x="110" y="9"/>
                </a:lnTo>
                <a:lnTo>
                  <a:pt x="113" y="9"/>
                </a:lnTo>
                <a:lnTo>
                  <a:pt x="117" y="13"/>
                </a:lnTo>
                <a:lnTo>
                  <a:pt x="119" y="13"/>
                </a:lnTo>
                <a:lnTo>
                  <a:pt x="119" y="10"/>
                </a:lnTo>
                <a:lnTo>
                  <a:pt x="123" y="10"/>
                </a:lnTo>
                <a:lnTo>
                  <a:pt x="123" y="13"/>
                </a:lnTo>
                <a:lnTo>
                  <a:pt x="124" y="13"/>
                </a:lnTo>
                <a:lnTo>
                  <a:pt x="124" y="12"/>
                </a:lnTo>
                <a:lnTo>
                  <a:pt x="125" y="12"/>
                </a:lnTo>
                <a:lnTo>
                  <a:pt x="127" y="15"/>
                </a:lnTo>
                <a:lnTo>
                  <a:pt x="128" y="15"/>
                </a:lnTo>
                <a:lnTo>
                  <a:pt x="129" y="16"/>
                </a:lnTo>
                <a:lnTo>
                  <a:pt x="130" y="16"/>
                </a:lnTo>
                <a:lnTo>
                  <a:pt x="130" y="19"/>
                </a:lnTo>
                <a:lnTo>
                  <a:pt x="129" y="19"/>
                </a:lnTo>
                <a:lnTo>
                  <a:pt x="129" y="21"/>
                </a:lnTo>
                <a:lnTo>
                  <a:pt x="133" y="25"/>
                </a:lnTo>
                <a:lnTo>
                  <a:pt x="140" y="25"/>
                </a:lnTo>
                <a:lnTo>
                  <a:pt x="141" y="24"/>
                </a:lnTo>
                <a:lnTo>
                  <a:pt x="142" y="24"/>
                </a:lnTo>
                <a:lnTo>
                  <a:pt x="146" y="21"/>
                </a:lnTo>
                <a:lnTo>
                  <a:pt x="147" y="21"/>
                </a:lnTo>
                <a:lnTo>
                  <a:pt x="147" y="22"/>
                </a:lnTo>
                <a:lnTo>
                  <a:pt x="148" y="22"/>
                </a:lnTo>
                <a:lnTo>
                  <a:pt x="148" y="21"/>
                </a:lnTo>
                <a:lnTo>
                  <a:pt x="149" y="21"/>
                </a:lnTo>
                <a:lnTo>
                  <a:pt x="150" y="22"/>
                </a:lnTo>
                <a:lnTo>
                  <a:pt x="152" y="21"/>
                </a:lnTo>
                <a:lnTo>
                  <a:pt x="153" y="22"/>
                </a:lnTo>
                <a:lnTo>
                  <a:pt x="154" y="22"/>
                </a:lnTo>
                <a:lnTo>
                  <a:pt x="154" y="25"/>
                </a:lnTo>
                <a:lnTo>
                  <a:pt x="153" y="32"/>
                </a:lnTo>
                <a:lnTo>
                  <a:pt x="152" y="33"/>
                </a:lnTo>
                <a:lnTo>
                  <a:pt x="152" y="34"/>
                </a:lnTo>
                <a:lnTo>
                  <a:pt x="150" y="34"/>
                </a:lnTo>
                <a:lnTo>
                  <a:pt x="150" y="36"/>
                </a:lnTo>
                <a:lnTo>
                  <a:pt x="149" y="38"/>
                </a:lnTo>
                <a:lnTo>
                  <a:pt x="147" y="40"/>
                </a:lnTo>
                <a:lnTo>
                  <a:pt x="147" y="44"/>
                </a:lnTo>
                <a:lnTo>
                  <a:pt x="146" y="44"/>
                </a:lnTo>
                <a:lnTo>
                  <a:pt x="146" y="45"/>
                </a:lnTo>
                <a:lnTo>
                  <a:pt x="144" y="45"/>
                </a:lnTo>
                <a:lnTo>
                  <a:pt x="144" y="51"/>
                </a:lnTo>
                <a:lnTo>
                  <a:pt x="143" y="52"/>
                </a:lnTo>
                <a:lnTo>
                  <a:pt x="143" y="56"/>
                </a:lnTo>
                <a:lnTo>
                  <a:pt x="146" y="58"/>
                </a:lnTo>
                <a:lnTo>
                  <a:pt x="148" y="59"/>
                </a:lnTo>
                <a:lnTo>
                  <a:pt x="152" y="59"/>
                </a:lnTo>
                <a:lnTo>
                  <a:pt x="154" y="62"/>
                </a:lnTo>
                <a:lnTo>
                  <a:pt x="154" y="64"/>
                </a:lnTo>
                <a:lnTo>
                  <a:pt x="156" y="67"/>
                </a:lnTo>
                <a:lnTo>
                  <a:pt x="159" y="67"/>
                </a:lnTo>
                <a:lnTo>
                  <a:pt x="159" y="69"/>
                </a:lnTo>
                <a:lnTo>
                  <a:pt x="160" y="69"/>
                </a:lnTo>
                <a:lnTo>
                  <a:pt x="160" y="70"/>
                </a:lnTo>
                <a:lnTo>
                  <a:pt x="161" y="70"/>
                </a:lnTo>
                <a:lnTo>
                  <a:pt x="162" y="71"/>
                </a:lnTo>
                <a:lnTo>
                  <a:pt x="162" y="73"/>
                </a:lnTo>
                <a:lnTo>
                  <a:pt x="164" y="73"/>
                </a:lnTo>
                <a:lnTo>
                  <a:pt x="164" y="71"/>
                </a:lnTo>
                <a:lnTo>
                  <a:pt x="165" y="73"/>
                </a:lnTo>
                <a:lnTo>
                  <a:pt x="165" y="75"/>
                </a:lnTo>
                <a:lnTo>
                  <a:pt x="164" y="75"/>
                </a:lnTo>
                <a:lnTo>
                  <a:pt x="161" y="77"/>
                </a:lnTo>
                <a:lnTo>
                  <a:pt x="160" y="77"/>
                </a:lnTo>
                <a:lnTo>
                  <a:pt x="158" y="76"/>
                </a:lnTo>
                <a:lnTo>
                  <a:pt x="155" y="77"/>
                </a:lnTo>
                <a:lnTo>
                  <a:pt x="154" y="77"/>
                </a:lnTo>
                <a:lnTo>
                  <a:pt x="152" y="75"/>
                </a:lnTo>
                <a:lnTo>
                  <a:pt x="149" y="75"/>
                </a:lnTo>
                <a:lnTo>
                  <a:pt x="148" y="76"/>
                </a:lnTo>
                <a:lnTo>
                  <a:pt x="149" y="77"/>
                </a:lnTo>
                <a:lnTo>
                  <a:pt x="148" y="79"/>
                </a:lnTo>
                <a:lnTo>
                  <a:pt x="149" y="79"/>
                </a:lnTo>
                <a:lnTo>
                  <a:pt x="152" y="81"/>
                </a:lnTo>
                <a:lnTo>
                  <a:pt x="154" y="84"/>
                </a:lnTo>
                <a:lnTo>
                  <a:pt x="158" y="89"/>
                </a:lnTo>
                <a:lnTo>
                  <a:pt x="160" y="94"/>
                </a:lnTo>
                <a:lnTo>
                  <a:pt x="160" y="96"/>
                </a:lnTo>
                <a:lnTo>
                  <a:pt x="159" y="98"/>
                </a:lnTo>
                <a:lnTo>
                  <a:pt x="159" y="101"/>
                </a:lnTo>
                <a:lnTo>
                  <a:pt x="158" y="100"/>
                </a:lnTo>
                <a:lnTo>
                  <a:pt x="156" y="100"/>
                </a:lnTo>
                <a:lnTo>
                  <a:pt x="156" y="102"/>
                </a:lnTo>
                <a:lnTo>
                  <a:pt x="155" y="101"/>
                </a:lnTo>
                <a:lnTo>
                  <a:pt x="155" y="100"/>
                </a:lnTo>
                <a:lnTo>
                  <a:pt x="154" y="99"/>
                </a:lnTo>
                <a:lnTo>
                  <a:pt x="152" y="99"/>
                </a:lnTo>
                <a:lnTo>
                  <a:pt x="152" y="100"/>
                </a:lnTo>
                <a:lnTo>
                  <a:pt x="150" y="100"/>
                </a:lnTo>
                <a:lnTo>
                  <a:pt x="149" y="99"/>
                </a:lnTo>
                <a:lnTo>
                  <a:pt x="149" y="100"/>
                </a:lnTo>
                <a:lnTo>
                  <a:pt x="148" y="101"/>
                </a:lnTo>
                <a:lnTo>
                  <a:pt x="148" y="102"/>
                </a:lnTo>
                <a:lnTo>
                  <a:pt x="143" y="102"/>
                </a:lnTo>
                <a:lnTo>
                  <a:pt x="142" y="104"/>
                </a:lnTo>
                <a:lnTo>
                  <a:pt x="142" y="105"/>
                </a:lnTo>
                <a:lnTo>
                  <a:pt x="141" y="105"/>
                </a:lnTo>
                <a:lnTo>
                  <a:pt x="140" y="104"/>
                </a:lnTo>
                <a:lnTo>
                  <a:pt x="140" y="102"/>
                </a:lnTo>
                <a:lnTo>
                  <a:pt x="137" y="102"/>
                </a:lnTo>
                <a:lnTo>
                  <a:pt x="136" y="104"/>
                </a:lnTo>
                <a:lnTo>
                  <a:pt x="135" y="104"/>
                </a:lnTo>
                <a:lnTo>
                  <a:pt x="135" y="106"/>
                </a:lnTo>
                <a:lnTo>
                  <a:pt x="136" y="106"/>
                </a:lnTo>
                <a:lnTo>
                  <a:pt x="136" y="108"/>
                </a:lnTo>
                <a:lnTo>
                  <a:pt x="137" y="107"/>
                </a:lnTo>
                <a:lnTo>
                  <a:pt x="137" y="108"/>
                </a:lnTo>
                <a:lnTo>
                  <a:pt x="139" y="110"/>
                </a:lnTo>
                <a:lnTo>
                  <a:pt x="140" y="113"/>
                </a:lnTo>
                <a:lnTo>
                  <a:pt x="142" y="116"/>
                </a:lnTo>
                <a:lnTo>
                  <a:pt x="140" y="116"/>
                </a:lnTo>
                <a:lnTo>
                  <a:pt x="140" y="117"/>
                </a:lnTo>
                <a:lnTo>
                  <a:pt x="139" y="117"/>
                </a:lnTo>
                <a:lnTo>
                  <a:pt x="139" y="118"/>
                </a:lnTo>
                <a:lnTo>
                  <a:pt x="137" y="117"/>
                </a:lnTo>
                <a:lnTo>
                  <a:pt x="137" y="114"/>
                </a:lnTo>
                <a:lnTo>
                  <a:pt x="136" y="114"/>
                </a:lnTo>
                <a:lnTo>
                  <a:pt x="135" y="113"/>
                </a:lnTo>
                <a:lnTo>
                  <a:pt x="131" y="113"/>
                </a:lnTo>
                <a:lnTo>
                  <a:pt x="131" y="114"/>
                </a:lnTo>
                <a:lnTo>
                  <a:pt x="130" y="116"/>
                </a:lnTo>
                <a:lnTo>
                  <a:pt x="125" y="119"/>
                </a:lnTo>
                <a:lnTo>
                  <a:pt x="124" y="120"/>
                </a:lnTo>
                <a:lnTo>
                  <a:pt x="125" y="120"/>
                </a:lnTo>
                <a:lnTo>
                  <a:pt x="123" y="123"/>
                </a:lnTo>
                <a:lnTo>
                  <a:pt x="123" y="132"/>
                </a:lnTo>
                <a:lnTo>
                  <a:pt x="117" y="132"/>
                </a:lnTo>
                <a:lnTo>
                  <a:pt x="116" y="133"/>
                </a:lnTo>
                <a:lnTo>
                  <a:pt x="115" y="136"/>
                </a:lnTo>
                <a:lnTo>
                  <a:pt x="115" y="138"/>
                </a:lnTo>
                <a:lnTo>
                  <a:pt x="116" y="141"/>
                </a:lnTo>
                <a:lnTo>
                  <a:pt x="116" y="143"/>
                </a:lnTo>
                <a:lnTo>
                  <a:pt x="115" y="143"/>
                </a:lnTo>
                <a:lnTo>
                  <a:pt x="115" y="144"/>
                </a:lnTo>
                <a:lnTo>
                  <a:pt x="116" y="145"/>
                </a:lnTo>
                <a:lnTo>
                  <a:pt x="116" y="147"/>
                </a:lnTo>
                <a:lnTo>
                  <a:pt x="117" y="149"/>
                </a:lnTo>
                <a:lnTo>
                  <a:pt x="119" y="151"/>
                </a:lnTo>
                <a:lnTo>
                  <a:pt x="119" y="155"/>
                </a:lnTo>
                <a:lnTo>
                  <a:pt x="117" y="157"/>
                </a:lnTo>
                <a:lnTo>
                  <a:pt x="117" y="159"/>
                </a:lnTo>
                <a:lnTo>
                  <a:pt x="112" y="159"/>
                </a:lnTo>
                <a:lnTo>
                  <a:pt x="111" y="157"/>
                </a:lnTo>
                <a:lnTo>
                  <a:pt x="111" y="156"/>
                </a:lnTo>
                <a:lnTo>
                  <a:pt x="108" y="156"/>
                </a:lnTo>
                <a:lnTo>
                  <a:pt x="106" y="155"/>
                </a:lnTo>
                <a:lnTo>
                  <a:pt x="98" y="150"/>
                </a:lnTo>
                <a:lnTo>
                  <a:pt x="96" y="149"/>
                </a:lnTo>
                <a:lnTo>
                  <a:pt x="96" y="148"/>
                </a:lnTo>
                <a:lnTo>
                  <a:pt x="93" y="145"/>
                </a:lnTo>
                <a:lnTo>
                  <a:pt x="92" y="145"/>
                </a:lnTo>
                <a:lnTo>
                  <a:pt x="91" y="144"/>
                </a:lnTo>
                <a:lnTo>
                  <a:pt x="90" y="142"/>
                </a:lnTo>
                <a:lnTo>
                  <a:pt x="88" y="142"/>
                </a:lnTo>
                <a:lnTo>
                  <a:pt x="88" y="138"/>
                </a:lnTo>
                <a:lnTo>
                  <a:pt x="87" y="139"/>
                </a:lnTo>
                <a:lnTo>
                  <a:pt x="86" y="139"/>
                </a:lnTo>
                <a:lnTo>
                  <a:pt x="85" y="138"/>
                </a:lnTo>
                <a:lnTo>
                  <a:pt x="82" y="138"/>
                </a:lnTo>
                <a:lnTo>
                  <a:pt x="82" y="139"/>
                </a:lnTo>
                <a:lnTo>
                  <a:pt x="81" y="139"/>
                </a:lnTo>
                <a:lnTo>
                  <a:pt x="78" y="137"/>
                </a:lnTo>
                <a:lnTo>
                  <a:pt x="79" y="137"/>
                </a:lnTo>
                <a:lnTo>
                  <a:pt x="80" y="138"/>
                </a:lnTo>
                <a:lnTo>
                  <a:pt x="80" y="137"/>
                </a:lnTo>
                <a:lnTo>
                  <a:pt x="81" y="137"/>
                </a:lnTo>
                <a:lnTo>
                  <a:pt x="82" y="136"/>
                </a:lnTo>
                <a:lnTo>
                  <a:pt x="82" y="133"/>
                </a:lnTo>
                <a:lnTo>
                  <a:pt x="79" y="130"/>
                </a:lnTo>
                <a:lnTo>
                  <a:pt x="79" y="129"/>
                </a:lnTo>
                <a:lnTo>
                  <a:pt x="73" y="125"/>
                </a:lnTo>
                <a:lnTo>
                  <a:pt x="72" y="124"/>
                </a:lnTo>
                <a:lnTo>
                  <a:pt x="72" y="122"/>
                </a:lnTo>
                <a:lnTo>
                  <a:pt x="71" y="122"/>
                </a:lnTo>
                <a:lnTo>
                  <a:pt x="71" y="120"/>
                </a:lnTo>
                <a:lnTo>
                  <a:pt x="69" y="120"/>
                </a:lnTo>
                <a:lnTo>
                  <a:pt x="68" y="119"/>
                </a:lnTo>
                <a:lnTo>
                  <a:pt x="67" y="116"/>
                </a:lnTo>
                <a:lnTo>
                  <a:pt x="66" y="113"/>
                </a:lnTo>
                <a:lnTo>
                  <a:pt x="66" y="107"/>
                </a:lnTo>
                <a:lnTo>
                  <a:pt x="65" y="106"/>
                </a:lnTo>
                <a:lnTo>
                  <a:pt x="60" y="105"/>
                </a:lnTo>
                <a:lnTo>
                  <a:pt x="57" y="104"/>
                </a:lnTo>
                <a:lnTo>
                  <a:pt x="56" y="104"/>
                </a:lnTo>
                <a:lnTo>
                  <a:pt x="55" y="102"/>
                </a:lnTo>
                <a:lnTo>
                  <a:pt x="54" y="100"/>
                </a:lnTo>
                <a:lnTo>
                  <a:pt x="47" y="93"/>
                </a:lnTo>
                <a:lnTo>
                  <a:pt x="42" y="89"/>
                </a:lnTo>
                <a:lnTo>
                  <a:pt x="42" y="88"/>
                </a:lnTo>
                <a:lnTo>
                  <a:pt x="41" y="87"/>
                </a:lnTo>
                <a:lnTo>
                  <a:pt x="41" y="84"/>
                </a:lnTo>
                <a:lnTo>
                  <a:pt x="38" y="83"/>
                </a:lnTo>
                <a:lnTo>
                  <a:pt x="37" y="81"/>
                </a:lnTo>
                <a:lnTo>
                  <a:pt x="36" y="80"/>
                </a:lnTo>
                <a:lnTo>
                  <a:pt x="35" y="77"/>
                </a:lnTo>
                <a:lnTo>
                  <a:pt x="32" y="75"/>
                </a:lnTo>
                <a:lnTo>
                  <a:pt x="30" y="75"/>
                </a:lnTo>
                <a:lnTo>
                  <a:pt x="30" y="73"/>
                </a:lnTo>
                <a:lnTo>
                  <a:pt x="28" y="73"/>
                </a:lnTo>
                <a:lnTo>
                  <a:pt x="28" y="71"/>
                </a:lnTo>
                <a:lnTo>
                  <a:pt x="26" y="71"/>
                </a:lnTo>
                <a:lnTo>
                  <a:pt x="25" y="70"/>
                </a:lnTo>
                <a:lnTo>
                  <a:pt x="24" y="68"/>
                </a:lnTo>
                <a:lnTo>
                  <a:pt x="24" y="67"/>
                </a:lnTo>
                <a:lnTo>
                  <a:pt x="21" y="63"/>
                </a:lnTo>
                <a:lnTo>
                  <a:pt x="21" y="61"/>
                </a:lnTo>
                <a:lnTo>
                  <a:pt x="19" y="59"/>
                </a:lnTo>
                <a:lnTo>
                  <a:pt x="19" y="58"/>
                </a:lnTo>
                <a:lnTo>
                  <a:pt x="21" y="57"/>
                </a:lnTo>
                <a:lnTo>
                  <a:pt x="21" y="53"/>
                </a:lnTo>
                <a:lnTo>
                  <a:pt x="18" y="53"/>
                </a:lnTo>
                <a:lnTo>
                  <a:pt x="18" y="52"/>
                </a:lnTo>
                <a:lnTo>
                  <a:pt x="19" y="52"/>
                </a:lnTo>
                <a:lnTo>
                  <a:pt x="19" y="51"/>
                </a:lnTo>
                <a:lnTo>
                  <a:pt x="18" y="50"/>
                </a:lnTo>
                <a:lnTo>
                  <a:pt x="17" y="47"/>
                </a:lnTo>
                <a:lnTo>
                  <a:pt x="17" y="44"/>
                </a:lnTo>
                <a:lnTo>
                  <a:pt x="16" y="44"/>
                </a:lnTo>
                <a:lnTo>
                  <a:pt x="15" y="45"/>
                </a:lnTo>
                <a:lnTo>
                  <a:pt x="13" y="45"/>
                </a:lnTo>
                <a:lnTo>
                  <a:pt x="12" y="44"/>
                </a:lnTo>
                <a:lnTo>
                  <a:pt x="12" y="43"/>
                </a:lnTo>
                <a:lnTo>
                  <a:pt x="13" y="41"/>
                </a:lnTo>
                <a:lnTo>
                  <a:pt x="13" y="39"/>
                </a:lnTo>
                <a:lnTo>
                  <a:pt x="12" y="38"/>
                </a:lnTo>
                <a:lnTo>
                  <a:pt x="11" y="38"/>
                </a:lnTo>
                <a:lnTo>
                  <a:pt x="10" y="37"/>
                </a:lnTo>
                <a:lnTo>
                  <a:pt x="10" y="36"/>
                </a:lnTo>
                <a:lnTo>
                  <a:pt x="9" y="34"/>
                </a:lnTo>
                <a:lnTo>
                  <a:pt x="7" y="34"/>
                </a:lnTo>
                <a:lnTo>
                  <a:pt x="7" y="33"/>
                </a:lnTo>
                <a:lnTo>
                  <a:pt x="6" y="33"/>
                </a:lnTo>
                <a:lnTo>
                  <a:pt x="6" y="34"/>
                </a:lnTo>
                <a:lnTo>
                  <a:pt x="4" y="34"/>
                </a:lnTo>
                <a:lnTo>
                  <a:pt x="0" y="31"/>
                </a:lnTo>
                <a:lnTo>
                  <a:pt x="0" y="27"/>
                </a:lnTo>
                <a:lnTo>
                  <a:pt x="3" y="27"/>
                </a:lnTo>
                <a:lnTo>
                  <a:pt x="3" y="26"/>
                </a:lnTo>
                <a:lnTo>
                  <a:pt x="1" y="25"/>
                </a:lnTo>
                <a:lnTo>
                  <a:pt x="1" y="24"/>
                </a:lnTo>
                <a:lnTo>
                  <a:pt x="0" y="22"/>
                </a:lnTo>
                <a:lnTo>
                  <a:pt x="0" y="20"/>
                </a:lnTo>
                <a:lnTo>
                  <a:pt x="1" y="20"/>
                </a:lnTo>
                <a:lnTo>
                  <a:pt x="1" y="18"/>
                </a:lnTo>
                <a:lnTo>
                  <a:pt x="3" y="16"/>
                </a:lnTo>
                <a:lnTo>
                  <a:pt x="1" y="15"/>
                </a:lnTo>
                <a:lnTo>
                  <a:pt x="1" y="14"/>
                </a:lnTo>
                <a:lnTo>
                  <a:pt x="3" y="12"/>
                </a:lnTo>
                <a:lnTo>
                  <a:pt x="3" y="6"/>
                </a:lnTo>
                <a:lnTo>
                  <a:pt x="5" y="3"/>
                </a:lnTo>
                <a:lnTo>
                  <a:pt x="13" y="3"/>
                </a:lnTo>
                <a:lnTo>
                  <a:pt x="13" y="6"/>
                </a:lnTo>
                <a:lnTo>
                  <a:pt x="15" y="6"/>
                </a:lnTo>
                <a:lnTo>
                  <a:pt x="15" y="7"/>
                </a:lnTo>
                <a:lnTo>
                  <a:pt x="16" y="7"/>
                </a:lnTo>
                <a:lnTo>
                  <a:pt x="17" y="9"/>
                </a:lnTo>
                <a:lnTo>
                  <a:pt x="17" y="10"/>
                </a:lnTo>
                <a:lnTo>
                  <a:pt x="22" y="15"/>
                </a:lnTo>
                <a:lnTo>
                  <a:pt x="24" y="16"/>
                </a:lnTo>
                <a:lnTo>
                  <a:pt x="26" y="16"/>
                </a:lnTo>
                <a:lnTo>
                  <a:pt x="26" y="14"/>
                </a:lnTo>
                <a:lnTo>
                  <a:pt x="28" y="12"/>
                </a:lnTo>
                <a:lnTo>
                  <a:pt x="28" y="10"/>
                </a:lnTo>
                <a:lnTo>
                  <a:pt x="29" y="9"/>
                </a:lnTo>
                <a:lnTo>
                  <a:pt x="30" y="9"/>
                </a:lnTo>
                <a:lnTo>
                  <a:pt x="30" y="8"/>
                </a:lnTo>
                <a:lnTo>
                  <a:pt x="31" y="8"/>
                </a:lnTo>
                <a:lnTo>
                  <a:pt x="32" y="4"/>
                </a:lnTo>
                <a:lnTo>
                  <a:pt x="35" y="3"/>
                </a:lnTo>
                <a:lnTo>
                  <a:pt x="37" y="3"/>
                </a:lnTo>
                <a:lnTo>
                  <a:pt x="46" y="6"/>
                </a:lnTo>
                <a:lnTo>
                  <a:pt x="47" y="6"/>
                </a:lnTo>
                <a:lnTo>
                  <a:pt x="47" y="3"/>
                </a:lnTo>
                <a:lnTo>
                  <a:pt x="48" y="3"/>
                </a:lnTo>
                <a:lnTo>
                  <a:pt x="48" y="2"/>
                </a:lnTo>
                <a:lnTo>
                  <a:pt x="49" y="2"/>
                </a:lnTo>
                <a:lnTo>
                  <a:pt x="49" y="1"/>
                </a:lnTo>
                <a:lnTo>
                  <a:pt x="50" y="1"/>
                </a:lnTo>
                <a:lnTo>
                  <a:pt x="51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8" name="Freeform 53">
            <a:extLst>
              <a:ext uri="{FF2B5EF4-FFF2-40B4-BE49-F238E27FC236}">
                <a16:creationId xmlns:a16="http://schemas.microsoft.com/office/drawing/2014/main" id="{2BFACDBC-4B62-434E-9D9F-55DCDF1FBE6B}"/>
              </a:ext>
            </a:extLst>
          </p:cNvPr>
          <p:cNvSpPr>
            <a:spLocks noEditPoints="1"/>
          </p:cNvSpPr>
          <p:nvPr/>
        </p:nvSpPr>
        <p:spPr bwMode="auto">
          <a:xfrm>
            <a:off x="1386733" y="4571259"/>
            <a:ext cx="234728" cy="192710"/>
          </a:xfrm>
          <a:custGeom>
            <a:avLst/>
            <a:gdLst/>
            <a:ahLst/>
            <a:cxnLst>
              <a:cxn ang="0">
                <a:pos x="94" y="0"/>
              </a:cxn>
              <a:cxn ang="0">
                <a:pos x="94" y="5"/>
              </a:cxn>
              <a:cxn ang="0">
                <a:pos x="103" y="5"/>
              </a:cxn>
              <a:cxn ang="0">
                <a:pos x="107" y="3"/>
              </a:cxn>
              <a:cxn ang="0">
                <a:pos x="109" y="13"/>
              </a:cxn>
              <a:cxn ang="0">
                <a:pos x="120" y="17"/>
              </a:cxn>
              <a:cxn ang="0">
                <a:pos x="127" y="19"/>
              </a:cxn>
              <a:cxn ang="0">
                <a:pos x="137" y="23"/>
              </a:cxn>
              <a:cxn ang="0">
                <a:pos x="137" y="30"/>
              </a:cxn>
              <a:cxn ang="0">
                <a:pos x="134" y="39"/>
              </a:cxn>
              <a:cxn ang="0">
                <a:pos x="132" y="47"/>
              </a:cxn>
              <a:cxn ang="0">
                <a:pos x="137" y="51"/>
              </a:cxn>
              <a:cxn ang="0">
                <a:pos x="153" y="58"/>
              </a:cxn>
              <a:cxn ang="0">
                <a:pos x="153" y="64"/>
              </a:cxn>
              <a:cxn ang="0">
                <a:pos x="155" y="68"/>
              </a:cxn>
              <a:cxn ang="0">
                <a:pos x="159" y="70"/>
              </a:cxn>
              <a:cxn ang="0">
                <a:pos x="158" y="80"/>
              </a:cxn>
              <a:cxn ang="0">
                <a:pos x="152" y="85"/>
              </a:cxn>
              <a:cxn ang="0">
                <a:pos x="151" y="92"/>
              </a:cxn>
              <a:cxn ang="0">
                <a:pos x="144" y="89"/>
              </a:cxn>
              <a:cxn ang="0">
                <a:pos x="140" y="96"/>
              </a:cxn>
              <a:cxn ang="0">
                <a:pos x="136" y="103"/>
              </a:cxn>
              <a:cxn ang="0">
                <a:pos x="134" y="110"/>
              </a:cxn>
              <a:cxn ang="0">
                <a:pos x="137" y="115"/>
              </a:cxn>
              <a:cxn ang="0">
                <a:pos x="139" y="121"/>
              </a:cxn>
              <a:cxn ang="0">
                <a:pos x="140" y="126"/>
              </a:cxn>
              <a:cxn ang="0">
                <a:pos x="136" y="129"/>
              </a:cxn>
              <a:cxn ang="0">
                <a:pos x="130" y="131"/>
              </a:cxn>
              <a:cxn ang="0">
                <a:pos x="122" y="132"/>
              </a:cxn>
              <a:cxn ang="0">
                <a:pos x="119" y="125"/>
              </a:cxn>
              <a:cxn ang="0">
                <a:pos x="115" y="121"/>
              </a:cxn>
              <a:cxn ang="0">
                <a:pos x="110" y="120"/>
              </a:cxn>
              <a:cxn ang="0">
                <a:pos x="103" y="114"/>
              </a:cxn>
              <a:cxn ang="0">
                <a:pos x="97" y="104"/>
              </a:cxn>
              <a:cxn ang="0">
                <a:pos x="97" y="95"/>
              </a:cxn>
              <a:cxn ang="0">
                <a:pos x="95" y="90"/>
              </a:cxn>
              <a:cxn ang="0">
                <a:pos x="80" y="104"/>
              </a:cxn>
              <a:cxn ang="0">
                <a:pos x="69" y="97"/>
              </a:cxn>
              <a:cxn ang="0">
                <a:pos x="69" y="92"/>
              </a:cxn>
              <a:cxn ang="0">
                <a:pos x="69" y="85"/>
              </a:cxn>
              <a:cxn ang="0">
                <a:pos x="66" y="83"/>
              </a:cxn>
              <a:cxn ang="0">
                <a:pos x="58" y="79"/>
              </a:cxn>
              <a:cxn ang="0">
                <a:pos x="51" y="77"/>
              </a:cxn>
              <a:cxn ang="0">
                <a:pos x="47" y="79"/>
              </a:cxn>
              <a:cxn ang="0">
                <a:pos x="40" y="68"/>
              </a:cxn>
              <a:cxn ang="0">
                <a:pos x="34" y="68"/>
              </a:cxn>
              <a:cxn ang="0">
                <a:pos x="31" y="62"/>
              </a:cxn>
              <a:cxn ang="0">
                <a:pos x="27" y="52"/>
              </a:cxn>
              <a:cxn ang="0">
                <a:pos x="19" y="51"/>
              </a:cxn>
              <a:cxn ang="0">
                <a:pos x="10" y="53"/>
              </a:cxn>
              <a:cxn ang="0">
                <a:pos x="6" y="47"/>
              </a:cxn>
              <a:cxn ang="0">
                <a:pos x="2" y="45"/>
              </a:cxn>
              <a:cxn ang="0">
                <a:pos x="1" y="33"/>
              </a:cxn>
              <a:cxn ang="0">
                <a:pos x="25" y="11"/>
              </a:cxn>
              <a:cxn ang="0">
                <a:pos x="41" y="17"/>
              </a:cxn>
              <a:cxn ang="0">
                <a:pos x="52" y="17"/>
              </a:cxn>
              <a:cxn ang="0">
                <a:pos x="59" y="19"/>
              </a:cxn>
              <a:cxn ang="0">
                <a:pos x="71" y="9"/>
              </a:cxn>
              <a:cxn ang="0">
                <a:pos x="72" y="9"/>
              </a:cxn>
              <a:cxn ang="0">
                <a:pos x="78" y="6"/>
              </a:cxn>
              <a:cxn ang="0">
                <a:pos x="84" y="5"/>
              </a:cxn>
              <a:cxn ang="0">
                <a:pos x="94" y="0"/>
              </a:cxn>
            </a:cxnLst>
            <a:rect l="0" t="0" r="r" b="b"/>
            <a:pathLst>
              <a:path w="162" h="133">
                <a:moveTo>
                  <a:pt x="75" y="13"/>
                </a:moveTo>
                <a:lnTo>
                  <a:pt x="75" y="15"/>
                </a:lnTo>
                <a:lnTo>
                  <a:pt x="76" y="13"/>
                </a:lnTo>
                <a:lnTo>
                  <a:pt x="75" y="13"/>
                </a:lnTo>
                <a:close/>
                <a:moveTo>
                  <a:pt x="94" y="0"/>
                </a:moveTo>
                <a:lnTo>
                  <a:pt x="95" y="0"/>
                </a:lnTo>
                <a:lnTo>
                  <a:pt x="96" y="2"/>
                </a:lnTo>
                <a:lnTo>
                  <a:pt x="96" y="6"/>
                </a:lnTo>
                <a:lnTo>
                  <a:pt x="95" y="5"/>
                </a:lnTo>
                <a:lnTo>
                  <a:pt x="94" y="5"/>
                </a:lnTo>
                <a:lnTo>
                  <a:pt x="94" y="6"/>
                </a:lnTo>
                <a:lnTo>
                  <a:pt x="99" y="6"/>
                </a:lnTo>
                <a:lnTo>
                  <a:pt x="100" y="8"/>
                </a:lnTo>
                <a:lnTo>
                  <a:pt x="101" y="8"/>
                </a:lnTo>
                <a:lnTo>
                  <a:pt x="103" y="5"/>
                </a:lnTo>
                <a:lnTo>
                  <a:pt x="103" y="4"/>
                </a:lnTo>
                <a:lnTo>
                  <a:pt x="105" y="3"/>
                </a:lnTo>
                <a:lnTo>
                  <a:pt x="105" y="2"/>
                </a:lnTo>
                <a:lnTo>
                  <a:pt x="106" y="2"/>
                </a:lnTo>
                <a:lnTo>
                  <a:pt x="107" y="3"/>
                </a:lnTo>
                <a:lnTo>
                  <a:pt x="107" y="9"/>
                </a:lnTo>
                <a:lnTo>
                  <a:pt x="108" y="10"/>
                </a:lnTo>
                <a:lnTo>
                  <a:pt x="108" y="11"/>
                </a:lnTo>
                <a:lnTo>
                  <a:pt x="109" y="12"/>
                </a:lnTo>
                <a:lnTo>
                  <a:pt x="109" y="13"/>
                </a:lnTo>
                <a:lnTo>
                  <a:pt x="113" y="13"/>
                </a:lnTo>
                <a:lnTo>
                  <a:pt x="113" y="16"/>
                </a:lnTo>
                <a:lnTo>
                  <a:pt x="114" y="17"/>
                </a:lnTo>
                <a:lnTo>
                  <a:pt x="115" y="16"/>
                </a:lnTo>
                <a:lnTo>
                  <a:pt x="120" y="17"/>
                </a:lnTo>
                <a:lnTo>
                  <a:pt x="122" y="15"/>
                </a:lnTo>
                <a:lnTo>
                  <a:pt x="126" y="15"/>
                </a:lnTo>
                <a:lnTo>
                  <a:pt x="126" y="16"/>
                </a:lnTo>
                <a:lnTo>
                  <a:pt x="127" y="17"/>
                </a:lnTo>
                <a:lnTo>
                  <a:pt x="127" y="19"/>
                </a:lnTo>
                <a:lnTo>
                  <a:pt x="128" y="19"/>
                </a:lnTo>
                <a:lnTo>
                  <a:pt x="131" y="21"/>
                </a:lnTo>
                <a:lnTo>
                  <a:pt x="131" y="22"/>
                </a:lnTo>
                <a:lnTo>
                  <a:pt x="136" y="22"/>
                </a:lnTo>
                <a:lnTo>
                  <a:pt x="137" y="23"/>
                </a:lnTo>
                <a:lnTo>
                  <a:pt x="139" y="23"/>
                </a:lnTo>
                <a:lnTo>
                  <a:pt x="139" y="28"/>
                </a:lnTo>
                <a:lnTo>
                  <a:pt x="138" y="28"/>
                </a:lnTo>
                <a:lnTo>
                  <a:pt x="138" y="30"/>
                </a:lnTo>
                <a:lnTo>
                  <a:pt x="137" y="30"/>
                </a:lnTo>
                <a:lnTo>
                  <a:pt x="137" y="33"/>
                </a:lnTo>
                <a:lnTo>
                  <a:pt x="136" y="34"/>
                </a:lnTo>
                <a:lnTo>
                  <a:pt x="134" y="36"/>
                </a:lnTo>
                <a:lnTo>
                  <a:pt x="137" y="36"/>
                </a:lnTo>
                <a:lnTo>
                  <a:pt x="134" y="39"/>
                </a:lnTo>
                <a:lnTo>
                  <a:pt x="134" y="40"/>
                </a:lnTo>
                <a:lnTo>
                  <a:pt x="133" y="40"/>
                </a:lnTo>
                <a:lnTo>
                  <a:pt x="130" y="43"/>
                </a:lnTo>
                <a:lnTo>
                  <a:pt x="131" y="46"/>
                </a:lnTo>
                <a:lnTo>
                  <a:pt x="132" y="47"/>
                </a:lnTo>
                <a:lnTo>
                  <a:pt x="133" y="47"/>
                </a:lnTo>
                <a:lnTo>
                  <a:pt x="133" y="51"/>
                </a:lnTo>
                <a:lnTo>
                  <a:pt x="134" y="51"/>
                </a:lnTo>
                <a:lnTo>
                  <a:pt x="136" y="49"/>
                </a:lnTo>
                <a:lnTo>
                  <a:pt x="137" y="51"/>
                </a:lnTo>
                <a:lnTo>
                  <a:pt x="146" y="51"/>
                </a:lnTo>
                <a:lnTo>
                  <a:pt x="146" y="53"/>
                </a:lnTo>
                <a:lnTo>
                  <a:pt x="150" y="53"/>
                </a:lnTo>
                <a:lnTo>
                  <a:pt x="150" y="54"/>
                </a:lnTo>
                <a:lnTo>
                  <a:pt x="153" y="58"/>
                </a:lnTo>
                <a:lnTo>
                  <a:pt x="152" y="58"/>
                </a:lnTo>
                <a:lnTo>
                  <a:pt x="153" y="59"/>
                </a:lnTo>
                <a:lnTo>
                  <a:pt x="153" y="60"/>
                </a:lnTo>
                <a:lnTo>
                  <a:pt x="157" y="60"/>
                </a:lnTo>
                <a:lnTo>
                  <a:pt x="153" y="64"/>
                </a:lnTo>
                <a:lnTo>
                  <a:pt x="153" y="66"/>
                </a:lnTo>
                <a:lnTo>
                  <a:pt x="155" y="66"/>
                </a:lnTo>
                <a:lnTo>
                  <a:pt x="153" y="67"/>
                </a:lnTo>
                <a:lnTo>
                  <a:pt x="155" y="67"/>
                </a:lnTo>
                <a:lnTo>
                  <a:pt x="155" y="68"/>
                </a:lnTo>
                <a:lnTo>
                  <a:pt x="156" y="68"/>
                </a:lnTo>
                <a:lnTo>
                  <a:pt x="157" y="67"/>
                </a:lnTo>
                <a:lnTo>
                  <a:pt x="158" y="68"/>
                </a:lnTo>
                <a:lnTo>
                  <a:pt x="159" y="68"/>
                </a:lnTo>
                <a:lnTo>
                  <a:pt x="159" y="70"/>
                </a:lnTo>
                <a:lnTo>
                  <a:pt x="161" y="71"/>
                </a:lnTo>
                <a:lnTo>
                  <a:pt x="161" y="76"/>
                </a:lnTo>
                <a:lnTo>
                  <a:pt x="162" y="78"/>
                </a:lnTo>
                <a:lnTo>
                  <a:pt x="162" y="80"/>
                </a:lnTo>
                <a:lnTo>
                  <a:pt x="158" y="80"/>
                </a:lnTo>
                <a:lnTo>
                  <a:pt x="157" y="82"/>
                </a:lnTo>
                <a:lnTo>
                  <a:pt x="157" y="83"/>
                </a:lnTo>
                <a:lnTo>
                  <a:pt x="155" y="84"/>
                </a:lnTo>
                <a:lnTo>
                  <a:pt x="153" y="85"/>
                </a:lnTo>
                <a:lnTo>
                  <a:pt x="152" y="85"/>
                </a:lnTo>
                <a:lnTo>
                  <a:pt x="152" y="86"/>
                </a:lnTo>
                <a:lnTo>
                  <a:pt x="153" y="86"/>
                </a:lnTo>
                <a:lnTo>
                  <a:pt x="153" y="89"/>
                </a:lnTo>
                <a:lnTo>
                  <a:pt x="151" y="89"/>
                </a:lnTo>
                <a:lnTo>
                  <a:pt x="151" y="92"/>
                </a:lnTo>
                <a:lnTo>
                  <a:pt x="150" y="92"/>
                </a:lnTo>
                <a:lnTo>
                  <a:pt x="150" y="90"/>
                </a:lnTo>
                <a:lnTo>
                  <a:pt x="146" y="90"/>
                </a:lnTo>
                <a:lnTo>
                  <a:pt x="146" y="89"/>
                </a:lnTo>
                <a:lnTo>
                  <a:pt x="144" y="89"/>
                </a:lnTo>
                <a:lnTo>
                  <a:pt x="144" y="92"/>
                </a:lnTo>
                <a:lnTo>
                  <a:pt x="143" y="92"/>
                </a:lnTo>
                <a:lnTo>
                  <a:pt x="141" y="94"/>
                </a:lnTo>
                <a:lnTo>
                  <a:pt x="140" y="94"/>
                </a:lnTo>
                <a:lnTo>
                  <a:pt x="140" y="96"/>
                </a:lnTo>
                <a:lnTo>
                  <a:pt x="139" y="97"/>
                </a:lnTo>
                <a:lnTo>
                  <a:pt x="139" y="99"/>
                </a:lnTo>
                <a:lnTo>
                  <a:pt x="138" y="99"/>
                </a:lnTo>
                <a:lnTo>
                  <a:pt x="138" y="103"/>
                </a:lnTo>
                <a:lnTo>
                  <a:pt x="136" y="103"/>
                </a:lnTo>
                <a:lnTo>
                  <a:pt x="136" y="104"/>
                </a:lnTo>
                <a:lnTo>
                  <a:pt x="134" y="108"/>
                </a:lnTo>
                <a:lnTo>
                  <a:pt x="136" y="109"/>
                </a:lnTo>
                <a:lnTo>
                  <a:pt x="134" y="109"/>
                </a:lnTo>
                <a:lnTo>
                  <a:pt x="134" y="110"/>
                </a:lnTo>
                <a:lnTo>
                  <a:pt x="136" y="110"/>
                </a:lnTo>
                <a:lnTo>
                  <a:pt x="134" y="111"/>
                </a:lnTo>
                <a:lnTo>
                  <a:pt x="134" y="114"/>
                </a:lnTo>
                <a:lnTo>
                  <a:pt x="136" y="114"/>
                </a:lnTo>
                <a:lnTo>
                  <a:pt x="137" y="115"/>
                </a:lnTo>
                <a:lnTo>
                  <a:pt x="138" y="117"/>
                </a:lnTo>
                <a:lnTo>
                  <a:pt x="138" y="119"/>
                </a:lnTo>
                <a:lnTo>
                  <a:pt x="140" y="119"/>
                </a:lnTo>
                <a:lnTo>
                  <a:pt x="140" y="120"/>
                </a:lnTo>
                <a:lnTo>
                  <a:pt x="139" y="121"/>
                </a:lnTo>
                <a:lnTo>
                  <a:pt x="139" y="122"/>
                </a:lnTo>
                <a:lnTo>
                  <a:pt x="141" y="122"/>
                </a:lnTo>
                <a:lnTo>
                  <a:pt x="141" y="125"/>
                </a:lnTo>
                <a:lnTo>
                  <a:pt x="140" y="125"/>
                </a:lnTo>
                <a:lnTo>
                  <a:pt x="140" y="126"/>
                </a:lnTo>
                <a:lnTo>
                  <a:pt x="139" y="127"/>
                </a:lnTo>
                <a:lnTo>
                  <a:pt x="139" y="129"/>
                </a:lnTo>
                <a:lnTo>
                  <a:pt x="138" y="129"/>
                </a:lnTo>
                <a:lnTo>
                  <a:pt x="137" y="131"/>
                </a:lnTo>
                <a:lnTo>
                  <a:pt x="136" y="129"/>
                </a:lnTo>
                <a:lnTo>
                  <a:pt x="134" y="129"/>
                </a:lnTo>
                <a:lnTo>
                  <a:pt x="134" y="131"/>
                </a:lnTo>
                <a:lnTo>
                  <a:pt x="132" y="131"/>
                </a:lnTo>
                <a:lnTo>
                  <a:pt x="131" y="129"/>
                </a:lnTo>
                <a:lnTo>
                  <a:pt x="130" y="131"/>
                </a:lnTo>
                <a:lnTo>
                  <a:pt x="130" y="132"/>
                </a:lnTo>
                <a:lnTo>
                  <a:pt x="126" y="132"/>
                </a:lnTo>
                <a:lnTo>
                  <a:pt x="125" y="133"/>
                </a:lnTo>
                <a:lnTo>
                  <a:pt x="124" y="133"/>
                </a:lnTo>
                <a:lnTo>
                  <a:pt x="122" y="132"/>
                </a:lnTo>
                <a:lnTo>
                  <a:pt x="124" y="131"/>
                </a:lnTo>
                <a:lnTo>
                  <a:pt x="122" y="129"/>
                </a:lnTo>
                <a:lnTo>
                  <a:pt x="121" y="126"/>
                </a:lnTo>
                <a:lnTo>
                  <a:pt x="120" y="126"/>
                </a:lnTo>
                <a:lnTo>
                  <a:pt x="119" y="125"/>
                </a:lnTo>
                <a:lnTo>
                  <a:pt x="118" y="125"/>
                </a:lnTo>
                <a:lnTo>
                  <a:pt x="118" y="126"/>
                </a:lnTo>
                <a:lnTo>
                  <a:pt x="116" y="126"/>
                </a:lnTo>
                <a:lnTo>
                  <a:pt x="116" y="122"/>
                </a:lnTo>
                <a:lnTo>
                  <a:pt x="115" y="121"/>
                </a:lnTo>
                <a:lnTo>
                  <a:pt x="115" y="120"/>
                </a:lnTo>
                <a:lnTo>
                  <a:pt x="114" y="120"/>
                </a:lnTo>
                <a:lnTo>
                  <a:pt x="112" y="121"/>
                </a:lnTo>
                <a:lnTo>
                  <a:pt x="110" y="121"/>
                </a:lnTo>
                <a:lnTo>
                  <a:pt x="110" y="120"/>
                </a:lnTo>
                <a:lnTo>
                  <a:pt x="109" y="120"/>
                </a:lnTo>
                <a:lnTo>
                  <a:pt x="108" y="117"/>
                </a:lnTo>
                <a:lnTo>
                  <a:pt x="107" y="116"/>
                </a:lnTo>
                <a:lnTo>
                  <a:pt x="106" y="116"/>
                </a:lnTo>
                <a:lnTo>
                  <a:pt x="103" y="114"/>
                </a:lnTo>
                <a:lnTo>
                  <a:pt x="97" y="114"/>
                </a:lnTo>
                <a:lnTo>
                  <a:pt x="97" y="108"/>
                </a:lnTo>
                <a:lnTo>
                  <a:pt x="99" y="107"/>
                </a:lnTo>
                <a:lnTo>
                  <a:pt x="99" y="105"/>
                </a:lnTo>
                <a:lnTo>
                  <a:pt x="97" y="104"/>
                </a:lnTo>
                <a:lnTo>
                  <a:pt x="95" y="104"/>
                </a:lnTo>
                <a:lnTo>
                  <a:pt x="95" y="102"/>
                </a:lnTo>
                <a:lnTo>
                  <a:pt x="96" y="98"/>
                </a:lnTo>
                <a:lnTo>
                  <a:pt x="96" y="96"/>
                </a:lnTo>
                <a:lnTo>
                  <a:pt x="97" y="95"/>
                </a:lnTo>
                <a:lnTo>
                  <a:pt x="99" y="95"/>
                </a:lnTo>
                <a:lnTo>
                  <a:pt x="99" y="90"/>
                </a:lnTo>
                <a:lnTo>
                  <a:pt x="96" y="91"/>
                </a:lnTo>
                <a:lnTo>
                  <a:pt x="96" y="90"/>
                </a:lnTo>
                <a:lnTo>
                  <a:pt x="95" y="90"/>
                </a:lnTo>
                <a:lnTo>
                  <a:pt x="90" y="95"/>
                </a:lnTo>
                <a:lnTo>
                  <a:pt x="90" y="101"/>
                </a:lnTo>
                <a:lnTo>
                  <a:pt x="89" y="101"/>
                </a:lnTo>
                <a:lnTo>
                  <a:pt x="82" y="104"/>
                </a:lnTo>
                <a:lnTo>
                  <a:pt x="80" y="104"/>
                </a:lnTo>
                <a:lnTo>
                  <a:pt x="74" y="103"/>
                </a:lnTo>
                <a:lnTo>
                  <a:pt x="70" y="103"/>
                </a:lnTo>
                <a:lnTo>
                  <a:pt x="68" y="102"/>
                </a:lnTo>
                <a:lnTo>
                  <a:pt x="68" y="98"/>
                </a:lnTo>
                <a:lnTo>
                  <a:pt x="69" y="97"/>
                </a:lnTo>
                <a:lnTo>
                  <a:pt x="70" y="97"/>
                </a:lnTo>
                <a:lnTo>
                  <a:pt x="70" y="96"/>
                </a:lnTo>
                <a:lnTo>
                  <a:pt x="71" y="96"/>
                </a:lnTo>
                <a:lnTo>
                  <a:pt x="70" y="95"/>
                </a:lnTo>
                <a:lnTo>
                  <a:pt x="69" y="92"/>
                </a:lnTo>
                <a:lnTo>
                  <a:pt x="69" y="91"/>
                </a:lnTo>
                <a:lnTo>
                  <a:pt x="68" y="92"/>
                </a:lnTo>
                <a:lnTo>
                  <a:pt x="68" y="86"/>
                </a:lnTo>
                <a:lnTo>
                  <a:pt x="69" y="86"/>
                </a:lnTo>
                <a:lnTo>
                  <a:pt x="69" y="85"/>
                </a:lnTo>
                <a:lnTo>
                  <a:pt x="70" y="85"/>
                </a:lnTo>
                <a:lnTo>
                  <a:pt x="70" y="83"/>
                </a:lnTo>
                <a:lnTo>
                  <a:pt x="68" y="83"/>
                </a:lnTo>
                <a:lnTo>
                  <a:pt x="68" y="84"/>
                </a:lnTo>
                <a:lnTo>
                  <a:pt x="66" y="83"/>
                </a:lnTo>
                <a:lnTo>
                  <a:pt x="66" y="80"/>
                </a:lnTo>
                <a:lnTo>
                  <a:pt x="65" y="80"/>
                </a:lnTo>
                <a:lnTo>
                  <a:pt x="63" y="78"/>
                </a:lnTo>
                <a:lnTo>
                  <a:pt x="60" y="78"/>
                </a:lnTo>
                <a:lnTo>
                  <a:pt x="58" y="79"/>
                </a:lnTo>
                <a:lnTo>
                  <a:pt x="57" y="79"/>
                </a:lnTo>
                <a:lnTo>
                  <a:pt x="57" y="78"/>
                </a:lnTo>
                <a:lnTo>
                  <a:pt x="54" y="78"/>
                </a:lnTo>
                <a:lnTo>
                  <a:pt x="53" y="77"/>
                </a:lnTo>
                <a:lnTo>
                  <a:pt x="51" y="77"/>
                </a:lnTo>
                <a:lnTo>
                  <a:pt x="51" y="78"/>
                </a:lnTo>
                <a:lnTo>
                  <a:pt x="50" y="79"/>
                </a:lnTo>
                <a:lnTo>
                  <a:pt x="50" y="80"/>
                </a:lnTo>
                <a:lnTo>
                  <a:pt x="49" y="80"/>
                </a:lnTo>
                <a:lnTo>
                  <a:pt x="47" y="79"/>
                </a:lnTo>
                <a:lnTo>
                  <a:pt x="47" y="73"/>
                </a:lnTo>
                <a:lnTo>
                  <a:pt x="46" y="71"/>
                </a:lnTo>
                <a:lnTo>
                  <a:pt x="46" y="70"/>
                </a:lnTo>
                <a:lnTo>
                  <a:pt x="45" y="68"/>
                </a:lnTo>
                <a:lnTo>
                  <a:pt x="40" y="68"/>
                </a:lnTo>
                <a:lnTo>
                  <a:pt x="40" y="66"/>
                </a:lnTo>
                <a:lnTo>
                  <a:pt x="38" y="66"/>
                </a:lnTo>
                <a:lnTo>
                  <a:pt x="38" y="67"/>
                </a:lnTo>
                <a:lnTo>
                  <a:pt x="35" y="67"/>
                </a:lnTo>
                <a:lnTo>
                  <a:pt x="34" y="68"/>
                </a:lnTo>
                <a:lnTo>
                  <a:pt x="34" y="67"/>
                </a:lnTo>
                <a:lnTo>
                  <a:pt x="32" y="67"/>
                </a:lnTo>
                <a:lnTo>
                  <a:pt x="32" y="66"/>
                </a:lnTo>
                <a:lnTo>
                  <a:pt x="31" y="65"/>
                </a:lnTo>
                <a:lnTo>
                  <a:pt x="31" y="62"/>
                </a:lnTo>
                <a:lnTo>
                  <a:pt x="29" y="59"/>
                </a:lnTo>
                <a:lnTo>
                  <a:pt x="29" y="54"/>
                </a:lnTo>
                <a:lnTo>
                  <a:pt x="28" y="53"/>
                </a:lnTo>
                <a:lnTo>
                  <a:pt x="27" y="53"/>
                </a:lnTo>
                <a:lnTo>
                  <a:pt x="27" y="52"/>
                </a:lnTo>
                <a:lnTo>
                  <a:pt x="26" y="51"/>
                </a:lnTo>
                <a:lnTo>
                  <a:pt x="26" y="49"/>
                </a:lnTo>
                <a:lnTo>
                  <a:pt x="25" y="48"/>
                </a:lnTo>
                <a:lnTo>
                  <a:pt x="23" y="48"/>
                </a:lnTo>
                <a:lnTo>
                  <a:pt x="19" y="51"/>
                </a:lnTo>
                <a:lnTo>
                  <a:pt x="18" y="51"/>
                </a:lnTo>
                <a:lnTo>
                  <a:pt x="16" y="52"/>
                </a:lnTo>
                <a:lnTo>
                  <a:pt x="15" y="54"/>
                </a:lnTo>
                <a:lnTo>
                  <a:pt x="14" y="54"/>
                </a:lnTo>
                <a:lnTo>
                  <a:pt x="10" y="53"/>
                </a:lnTo>
                <a:lnTo>
                  <a:pt x="9" y="52"/>
                </a:lnTo>
                <a:lnTo>
                  <a:pt x="9" y="49"/>
                </a:lnTo>
                <a:lnTo>
                  <a:pt x="7" y="48"/>
                </a:lnTo>
                <a:lnTo>
                  <a:pt x="7" y="47"/>
                </a:lnTo>
                <a:lnTo>
                  <a:pt x="6" y="47"/>
                </a:lnTo>
                <a:lnTo>
                  <a:pt x="6" y="46"/>
                </a:lnTo>
                <a:lnTo>
                  <a:pt x="4" y="47"/>
                </a:lnTo>
                <a:lnTo>
                  <a:pt x="3" y="46"/>
                </a:lnTo>
                <a:lnTo>
                  <a:pt x="3" y="45"/>
                </a:lnTo>
                <a:lnTo>
                  <a:pt x="2" y="45"/>
                </a:lnTo>
                <a:lnTo>
                  <a:pt x="2" y="40"/>
                </a:lnTo>
                <a:lnTo>
                  <a:pt x="3" y="39"/>
                </a:lnTo>
                <a:lnTo>
                  <a:pt x="3" y="36"/>
                </a:lnTo>
                <a:lnTo>
                  <a:pt x="1" y="34"/>
                </a:lnTo>
                <a:lnTo>
                  <a:pt x="1" y="33"/>
                </a:lnTo>
                <a:lnTo>
                  <a:pt x="0" y="29"/>
                </a:lnTo>
                <a:lnTo>
                  <a:pt x="0" y="28"/>
                </a:lnTo>
                <a:lnTo>
                  <a:pt x="2" y="27"/>
                </a:lnTo>
                <a:lnTo>
                  <a:pt x="8" y="23"/>
                </a:lnTo>
                <a:lnTo>
                  <a:pt x="25" y="11"/>
                </a:lnTo>
                <a:lnTo>
                  <a:pt x="34" y="9"/>
                </a:lnTo>
                <a:lnTo>
                  <a:pt x="34" y="15"/>
                </a:lnTo>
                <a:lnTo>
                  <a:pt x="38" y="18"/>
                </a:lnTo>
                <a:lnTo>
                  <a:pt x="40" y="18"/>
                </a:lnTo>
                <a:lnTo>
                  <a:pt x="41" y="17"/>
                </a:lnTo>
                <a:lnTo>
                  <a:pt x="40" y="16"/>
                </a:lnTo>
                <a:lnTo>
                  <a:pt x="41" y="15"/>
                </a:lnTo>
                <a:lnTo>
                  <a:pt x="46" y="15"/>
                </a:lnTo>
                <a:lnTo>
                  <a:pt x="51" y="16"/>
                </a:lnTo>
                <a:lnTo>
                  <a:pt x="52" y="17"/>
                </a:lnTo>
                <a:lnTo>
                  <a:pt x="52" y="19"/>
                </a:lnTo>
                <a:lnTo>
                  <a:pt x="53" y="19"/>
                </a:lnTo>
                <a:lnTo>
                  <a:pt x="53" y="21"/>
                </a:lnTo>
                <a:lnTo>
                  <a:pt x="58" y="19"/>
                </a:lnTo>
                <a:lnTo>
                  <a:pt x="59" y="19"/>
                </a:lnTo>
                <a:lnTo>
                  <a:pt x="66" y="16"/>
                </a:lnTo>
                <a:lnTo>
                  <a:pt x="69" y="13"/>
                </a:lnTo>
                <a:lnTo>
                  <a:pt x="70" y="11"/>
                </a:lnTo>
                <a:lnTo>
                  <a:pt x="71" y="11"/>
                </a:lnTo>
                <a:lnTo>
                  <a:pt x="71" y="9"/>
                </a:lnTo>
                <a:lnTo>
                  <a:pt x="72" y="10"/>
                </a:lnTo>
                <a:lnTo>
                  <a:pt x="72" y="12"/>
                </a:lnTo>
                <a:lnTo>
                  <a:pt x="74" y="12"/>
                </a:lnTo>
                <a:lnTo>
                  <a:pt x="74" y="10"/>
                </a:lnTo>
                <a:lnTo>
                  <a:pt x="72" y="9"/>
                </a:lnTo>
                <a:lnTo>
                  <a:pt x="74" y="9"/>
                </a:lnTo>
                <a:lnTo>
                  <a:pt x="76" y="10"/>
                </a:lnTo>
                <a:lnTo>
                  <a:pt x="80" y="10"/>
                </a:lnTo>
                <a:lnTo>
                  <a:pt x="80" y="8"/>
                </a:lnTo>
                <a:lnTo>
                  <a:pt x="78" y="6"/>
                </a:lnTo>
                <a:lnTo>
                  <a:pt x="78" y="5"/>
                </a:lnTo>
                <a:lnTo>
                  <a:pt x="77" y="4"/>
                </a:lnTo>
                <a:lnTo>
                  <a:pt x="82" y="2"/>
                </a:lnTo>
                <a:lnTo>
                  <a:pt x="84" y="2"/>
                </a:lnTo>
                <a:lnTo>
                  <a:pt x="84" y="5"/>
                </a:lnTo>
                <a:lnTo>
                  <a:pt x="87" y="5"/>
                </a:lnTo>
                <a:lnTo>
                  <a:pt x="88" y="6"/>
                </a:lnTo>
                <a:lnTo>
                  <a:pt x="88" y="5"/>
                </a:lnTo>
                <a:lnTo>
                  <a:pt x="89" y="5"/>
                </a:lnTo>
                <a:lnTo>
                  <a:pt x="94" y="0"/>
                </a:lnTo>
                <a:close/>
              </a:path>
            </a:pathLst>
          </a:custGeom>
          <a:solidFill>
            <a:schemeClr val="accent5">
              <a:lumMod val="95000"/>
            </a:schemeClr>
          </a:soli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9" name="Freeform 54">
            <a:extLst>
              <a:ext uri="{FF2B5EF4-FFF2-40B4-BE49-F238E27FC236}">
                <a16:creationId xmlns:a16="http://schemas.microsoft.com/office/drawing/2014/main" id="{ACFF3642-FB73-42F9-9B32-E75E541D77A7}"/>
              </a:ext>
            </a:extLst>
          </p:cNvPr>
          <p:cNvSpPr>
            <a:spLocks/>
          </p:cNvSpPr>
          <p:nvPr/>
        </p:nvSpPr>
        <p:spPr bwMode="auto">
          <a:xfrm>
            <a:off x="2648759" y="4088762"/>
            <a:ext cx="583923" cy="508579"/>
          </a:xfrm>
          <a:custGeom>
            <a:avLst/>
            <a:gdLst/>
            <a:ahLst/>
            <a:cxnLst>
              <a:cxn ang="0">
                <a:pos x="230" y="7"/>
              </a:cxn>
              <a:cxn ang="0">
                <a:pos x="255" y="13"/>
              </a:cxn>
              <a:cxn ang="0">
                <a:pos x="260" y="26"/>
              </a:cxn>
              <a:cxn ang="0">
                <a:pos x="282" y="24"/>
              </a:cxn>
              <a:cxn ang="0">
                <a:pos x="307" y="30"/>
              </a:cxn>
              <a:cxn ang="0">
                <a:pos x="326" y="43"/>
              </a:cxn>
              <a:cxn ang="0">
                <a:pos x="323" y="67"/>
              </a:cxn>
              <a:cxn ang="0">
                <a:pos x="326" y="87"/>
              </a:cxn>
              <a:cxn ang="0">
                <a:pos x="319" y="100"/>
              </a:cxn>
              <a:cxn ang="0">
                <a:pos x="334" y="121"/>
              </a:cxn>
              <a:cxn ang="0">
                <a:pos x="343" y="141"/>
              </a:cxn>
              <a:cxn ang="0">
                <a:pos x="365" y="155"/>
              </a:cxn>
              <a:cxn ang="0">
                <a:pos x="379" y="174"/>
              </a:cxn>
              <a:cxn ang="0">
                <a:pos x="390" y="189"/>
              </a:cxn>
              <a:cxn ang="0">
                <a:pos x="403" y="198"/>
              </a:cxn>
              <a:cxn ang="0">
                <a:pos x="392" y="210"/>
              </a:cxn>
              <a:cxn ang="0">
                <a:pos x="377" y="225"/>
              </a:cxn>
              <a:cxn ang="0">
                <a:pos x="354" y="215"/>
              </a:cxn>
              <a:cxn ang="0">
                <a:pos x="349" y="240"/>
              </a:cxn>
              <a:cxn ang="0">
                <a:pos x="356" y="260"/>
              </a:cxn>
              <a:cxn ang="0">
                <a:pos x="354" y="277"/>
              </a:cxn>
              <a:cxn ang="0">
                <a:pos x="343" y="293"/>
              </a:cxn>
              <a:cxn ang="0">
                <a:pos x="326" y="299"/>
              </a:cxn>
              <a:cxn ang="0">
                <a:pos x="317" y="308"/>
              </a:cxn>
              <a:cxn ang="0">
                <a:pos x="312" y="323"/>
              </a:cxn>
              <a:cxn ang="0">
                <a:pos x="311" y="332"/>
              </a:cxn>
              <a:cxn ang="0">
                <a:pos x="312" y="346"/>
              </a:cxn>
              <a:cxn ang="0">
                <a:pos x="301" y="344"/>
              </a:cxn>
              <a:cxn ang="0">
                <a:pos x="281" y="338"/>
              </a:cxn>
              <a:cxn ang="0">
                <a:pos x="267" y="337"/>
              </a:cxn>
              <a:cxn ang="0">
                <a:pos x="255" y="336"/>
              </a:cxn>
              <a:cxn ang="0">
                <a:pos x="244" y="329"/>
              </a:cxn>
              <a:cxn ang="0">
                <a:pos x="231" y="337"/>
              </a:cxn>
              <a:cxn ang="0">
                <a:pos x="216" y="327"/>
              </a:cxn>
              <a:cxn ang="0">
                <a:pos x="201" y="329"/>
              </a:cxn>
              <a:cxn ang="0">
                <a:pos x="189" y="333"/>
              </a:cxn>
              <a:cxn ang="0">
                <a:pos x="173" y="327"/>
              </a:cxn>
              <a:cxn ang="0">
                <a:pos x="146" y="313"/>
              </a:cxn>
              <a:cxn ang="0">
                <a:pos x="82" y="302"/>
              </a:cxn>
              <a:cxn ang="0">
                <a:pos x="33" y="327"/>
              </a:cxn>
              <a:cxn ang="0">
                <a:pos x="17" y="331"/>
              </a:cxn>
              <a:cxn ang="0">
                <a:pos x="19" y="312"/>
              </a:cxn>
              <a:cxn ang="0">
                <a:pos x="20" y="296"/>
              </a:cxn>
              <a:cxn ang="0">
                <a:pos x="8" y="286"/>
              </a:cxn>
              <a:cxn ang="0">
                <a:pos x="13" y="260"/>
              </a:cxn>
              <a:cxn ang="0">
                <a:pos x="27" y="214"/>
              </a:cxn>
              <a:cxn ang="0">
                <a:pos x="13" y="167"/>
              </a:cxn>
              <a:cxn ang="0">
                <a:pos x="31" y="163"/>
              </a:cxn>
              <a:cxn ang="0">
                <a:pos x="52" y="166"/>
              </a:cxn>
              <a:cxn ang="0">
                <a:pos x="69" y="151"/>
              </a:cxn>
              <a:cxn ang="0">
                <a:pos x="89" y="141"/>
              </a:cxn>
              <a:cxn ang="0">
                <a:pos x="98" y="146"/>
              </a:cxn>
              <a:cxn ang="0">
                <a:pos x="106" y="137"/>
              </a:cxn>
              <a:cxn ang="0">
                <a:pos x="104" y="122"/>
              </a:cxn>
              <a:cxn ang="0">
                <a:pos x="111" y="94"/>
              </a:cxn>
              <a:cxn ang="0">
                <a:pos x="126" y="86"/>
              </a:cxn>
              <a:cxn ang="0">
                <a:pos x="145" y="77"/>
              </a:cxn>
              <a:cxn ang="0">
                <a:pos x="144" y="63"/>
              </a:cxn>
              <a:cxn ang="0">
                <a:pos x="145" y="35"/>
              </a:cxn>
              <a:cxn ang="0">
                <a:pos x="172" y="28"/>
              </a:cxn>
              <a:cxn ang="0">
                <a:pos x="194" y="12"/>
              </a:cxn>
            </a:cxnLst>
            <a:rect l="0" t="0" r="r" b="b"/>
            <a:pathLst>
              <a:path w="403" h="351">
                <a:moveTo>
                  <a:pt x="206" y="0"/>
                </a:moveTo>
                <a:lnTo>
                  <a:pt x="208" y="0"/>
                </a:lnTo>
                <a:lnTo>
                  <a:pt x="211" y="3"/>
                </a:lnTo>
                <a:lnTo>
                  <a:pt x="213" y="6"/>
                </a:lnTo>
                <a:lnTo>
                  <a:pt x="216" y="8"/>
                </a:lnTo>
                <a:lnTo>
                  <a:pt x="217" y="8"/>
                </a:lnTo>
                <a:lnTo>
                  <a:pt x="219" y="6"/>
                </a:lnTo>
                <a:lnTo>
                  <a:pt x="219" y="5"/>
                </a:lnTo>
                <a:lnTo>
                  <a:pt x="229" y="5"/>
                </a:lnTo>
                <a:lnTo>
                  <a:pt x="230" y="6"/>
                </a:lnTo>
                <a:lnTo>
                  <a:pt x="230" y="7"/>
                </a:lnTo>
                <a:lnTo>
                  <a:pt x="232" y="10"/>
                </a:lnTo>
                <a:lnTo>
                  <a:pt x="232" y="13"/>
                </a:lnTo>
                <a:lnTo>
                  <a:pt x="235" y="16"/>
                </a:lnTo>
                <a:lnTo>
                  <a:pt x="237" y="17"/>
                </a:lnTo>
                <a:lnTo>
                  <a:pt x="238" y="17"/>
                </a:lnTo>
                <a:lnTo>
                  <a:pt x="238" y="14"/>
                </a:lnTo>
                <a:lnTo>
                  <a:pt x="239" y="13"/>
                </a:lnTo>
                <a:lnTo>
                  <a:pt x="247" y="10"/>
                </a:lnTo>
                <a:lnTo>
                  <a:pt x="249" y="10"/>
                </a:lnTo>
                <a:lnTo>
                  <a:pt x="254" y="12"/>
                </a:lnTo>
                <a:lnTo>
                  <a:pt x="255" y="13"/>
                </a:lnTo>
                <a:lnTo>
                  <a:pt x="261" y="16"/>
                </a:lnTo>
                <a:lnTo>
                  <a:pt x="262" y="16"/>
                </a:lnTo>
                <a:lnTo>
                  <a:pt x="263" y="17"/>
                </a:lnTo>
                <a:lnTo>
                  <a:pt x="263" y="18"/>
                </a:lnTo>
                <a:lnTo>
                  <a:pt x="264" y="18"/>
                </a:lnTo>
                <a:lnTo>
                  <a:pt x="264" y="19"/>
                </a:lnTo>
                <a:lnTo>
                  <a:pt x="262" y="19"/>
                </a:lnTo>
                <a:lnTo>
                  <a:pt x="262" y="22"/>
                </a:lnTo>
                <a:lnTo>
                  <a:pt x="261" y="23"/>
                </a:lnTo>
                <a:lnTo>
                  <a:pt x="261" y="24"/>
                </a:lnTo>
                <a:lnTo>
                  <a:pt x="260" y="26"/>
                </a:lnTo>
                <a:lnTo>
                  <a:pt x="260" y="29"/>
                </a:lnTo>
                <a:lnTo>
                  <a:pt x="263" y="32"/>
                </a:lnTo>
                <a:lnTo>
                  <a:pt x="264" y="35"/>
                </a:lnTo>
                <a:lnTo>
                  <a:pt x="266" y="36"/>
                </a:lnTo>
                <a:lnTo>
                  <a:pt x="267" y="36"/>
                </a:lnTo>
                <a:lnTo>
                  <a:pt x="270" y="31"/>
                </a:lnTo>
                <a:lnTo>
                  <a:pt x="274" y="29"/>
                </a:lnTo>
                <a:lnTo>
                  <a:pt x="275" y="29"/>
                </a:lnTo>
                <a:lnTo>
                  <a:pt x="279" y="30"/>
                </a:lnTo>
                <a:lnTo>
                  <a:pt x="280" y="29"/>
                </a:lnTo>
                <a:lnTo>
                  <a:pt x="282" y="24"/>
                </a:lnTo>
                <a:lnTo>
                  <a:pt x="284" y="24"/>
                </a:lnTo>
                <a:lnTo>
                  <a:pt x="286" y="23"/>
                </a:lnTo>
                <a:lnTo>
                  <a:pt x="287" y="23"/>
                </a:lnTo>
                <a:lnTo>
                  <a:pt x="292" y="25"/>
                </a:lnTo>
                <a:lnTo>
                  <a:pt x="293" y="25"/>
                </a:lnTo>
                <a:lnTo>
                  <a:pt x="295" y="23"/>
                </a:lnTo>
                <a:lnTo>
                  <a:pt x="297" y="23"/>
                </a:lnTo>
                <a:lnTo>
                  <a:pt x="298" y="24"/>
                </a:lnTo>
                <a:lnTo>
                  <a:pt x="299" y="24"/>
                </a:lnTo>
                <a:lnTo>
                  <a:pt x="307" y="28"/>
                </a:lnTo>
                <a:lnTo>
                  <a:pt x="307" y="30"/>
                </a:lnTo>
                <a:lnTo>
                  <a:pt x="312" y="32"/>
                </a:lnTo>
                <a:lnTo>
                  <a:pt x="312" y="36"/>
                </a:lnTo>
                <a:lnTo>
                  <a:pt x="313" y="37"/>
                </a:lnTo>
                <a:lnTo>
                  <a:pt x="317" y="37"/>
                </a:lnTo>
                <a:lnTo>
                  <a:pt x="317" y="38"/>
                </a:lnTo>
                <a:lnTo>
                  <a:pt x="318" y="40"/>
                </a:lnTo>
                <a:lnTo>
                  <a:pt x="319" y="42"/>
                </a:lnTo>
                <a:lnTo>
                  <a:pt x="322" y="42"/>
                </a:lnTo>
                <a:lnTo>
                  <a:pt x="323" y="41"/>
                </a:lnTo>
                <a:lnTo>
                  <a:pt x="325" y="42"/>
                </a:lnTo>
                <a:lnTo>
                  <a:pt x="326" y="43"/>
                </a:lnTo>
                <a:lnTo>
                  <a:pt x="326" y="47"/>
                </a:lnTo>
                <a:lnTo>
                  <a:pt x="325" y="49"/>
                </a:lnTo>
                <a:lnTo>
                  <a:pt x="326" y="50"/>
                </a:lnTo>
                <a:lnTo>
                  <a:pt x="325" y="51"/>
                </a:lnTo>
                <a:lnTo>
                  <a:pt x="325" y="55"/>
                </a:lnTo>
                <a:lnTo>
                  <a:pt x="326" y="56"/>
                </a:lnTo>
                <a:lnTo>
                  <a:pt x="326" y="59"/>
                </a:lnTo>
                <a:lnTo>
                  <a:pt x="323" y="60"/>
                </a:lnTo>
                <a:lnTo>
                  <a:pt x="322" y="62"/>
                </a:lnTo>
                <a:lnTo>
                  <a:pt x="322" y="66"/>
                </a:lnTo>
                <a:lnTo>
                  <a:pt x="323" y="67"/>
                </a:lnTo>
                <a:lnTo>
                  <a:pt x="324" y="67"/>
                </a:lnTo>
                <a:lnTo>
                  <a:pt x="324" y="68"/>
                </a:lnTo>
                <a:lnTo>
                  <a:pt x="325" y="72"/>
                </a:lnTo>
                <a:lnTo>
                  <a:pt x="328" y="74"/>
                </a:lnTo>
                <a:lnTo>
                  <a:pt x="328" y="75"/>
                </a:lnTo>
                <a:lnTo>
                  <a:pt x="329" y="75"/>
                </a:lnTo>
                <a:lnTo>
                  <a:pt x="329" y="80"/>
                </a:lnTo>
                <a:lnTo>
                  <a:pt x="330" y="81"/>
                </a:lnTo>
                <a:lnTo>
                  <a:pt x="330" y="85"/>
                </a:lnTo>
                <a:lnTo>
                  <a:pt x="326" y="85"/>
                </a:lnTo>
                <a:lnTo>
                  <a:pt x="326" y="87"/>
                </a:lnTo>
                <a:lnTo>
                  <a:pt x="328" y="89"/>
                </a:lnTo>
                <a:lnTo>
                  <a:pt x="326" y="90"/>
                </a:lnTo>
                <a:lnTo>
                  <a:pt x="325" y="90"/>
                </a:lnTo>
                <a:lnTo>
                  <a:pt x="323" y="91"/>
                </a:lnTo>
                <a:lnTo>
                  <a:pt x="322" y="92"/>
                </a:lnTo>
                <a:lnTo>
                  <a:pt x="323" y="93"/>
                </a:lnTo>
                <a:lnTo>
                  <a:pt x="323" y="96"/>
                </a:lnTo>
                <a:lnTo>
                  <a:pt x="322" y="97"/>
                </a:lnTo>
                <a:lnTo>
                  <a:pt x="321" y="97"/>
                </a:lnTo>
                <a:lnTo>
                  <a:pt x="321" y="99"/>
                </a:lnTo>
                <a:lnTo>
                  <a:pt x="319" y="100"/>
                </a:lnTo>
                <a:lnTo>
                  <a:pt x="321" y="102"/>
                </a:lnTo>
                <a:lnTo>
                  <a:pt x="321" y="103"/>
                </a:lnTo>
                <a:lnTo>
                  <a:pt x="323" y="103"/>
                </a:lnTo>
                <a:lnTo>
                  <a:pt x="329" y="108"/>
                </a:lnTo>
                <a:lnTo>
                  <a:pt x="330" y="109"/>
                </a:lnTo>
                <a:lnTo>
                  <a:pt x="330" y="110"/>
                </a:lnTo>
                <a:lnTo>
                  <a:pt x="335" y="110"/>
                </a:lnTo>
                <a:lnTo>
                  <a:pt x="335" y="112"/>
                </a:lnTo>
                <a:lnTo>
                  <a:pt x="337" y="114"/>
                </a:lnTo>
                <a:lnTo>
                  <a:pt x="336" y="117"/>
                </a:lnTo>
                <a:lnTo>
                  <a:pt x="334" y="121"/>
                </a:lnTo>
                <a:lnTo>
                  <a:pt x="332" y="123"/>
                </a:lnTo>
                <a:lnTo>
                  <a:pt x="334" y="124"/>
                </a:lnTo>
                <a:lnTo>
                  <a:pt x="337" y="126"/>
                </a:lnTo>
                <a:lnTo>
                  <a:pt x="337" y="127"/>
                </a:lnTo>
                <a:lnTo>
                  <a:pt x="338" y="127"/>
                </a:lnTo>
                <a:lnTo>
                  <a:pt x="340" y="128"/>
                </a:lnTo>
                <a:lnTo>
                  <a:pt x="341" y="132"/>
                </a:lnTo>
                <a:lnTo>
                  <a:pt x="341" y="133"/>
                </a:lnTo>
                <a:lnTo>
                  <a:pt x="342" y="133"/>
                </a:lnTo>
                <a:lnTo>
                  <a:pt x="342" y="140"/>
                </a:lnTo>
                <a:lnTo>
                  <a:pt x="343" y="141"/>
                </a:lnTo>
                <a:lnTo>
                  <a:pt x="343" y="142"/>
                </a:lnTo>
                <a:lnTo>
                  <a:pt x="350" y="148"/>
                </a:lnTo>
                <a:lnTo>
                  <a:pt x="352" y="148"/>
                </a:lnTo>
                <a:lnTo>
                  <a:pt x="353" y="149"/>
                </a:lnTo>
                <a:lnTo>
                  <a:pt x="354" y="149"/>
                </a:lnTo>
                <a:lnTo>
                  <a:pt x="357" y="152"/>
                </a:lnTo>
                <a:lnTo>
                  <a:pt x="361" y="152"/>
                </a:lnTo>
                <a:lnTo>
                  <a:pt x="361" y="153"/>
                </a:lnTo>
                <a:lnTo>
                  <a:pt x="362" y="153"/>
                </a:lnTo>
                <a:lnTo>
                  <a:pt x="362" y="155"/>
                </a:lnTo>
                <a:lnTo>
                  <a:pt x="365" y="155"/>
                </a:lnTo>
                <a:lnTo>
                  <a:pt x="366" y="159"/>
                </a:lnTo>
                <a:lnTo>
                  <a:pt x="366" y="161"/>
                </a:lnTo>
                <a:lnTo>
                  <a:pt x="365" y="161"/>
                </a:lnTo>
                <a:lnTo>
                  <a:pt x="365" y="167"/>
                </a:lnTo>
                <a:lnTo>
                  <a:pt x="362" y="172"/>
                </a:lnTo>
                <a:lnTo>
                  <a:pt x="361" y="173"/>
                </a:lnTo>
                <a:lnTo>
                  <a:pt x="363" y="173"/>
                </a:lnTo>
                <a:lnTo>
                  <a:pt x="367" y="174"/>
                </a:lnTo>
                <a:lnTo>
                  <a:pt x="375" y="172"/>
                </a:lnTo>
                <a:lnTo>
                  <a:pt x="377" y="173"/>
                </a:lnTo>
                <a:lnTo>
                  <a:pt x="379" y="174"/>
                </a:lnTo>
                <a:lnTo>
                  <a:pt x="385" y="176"/>
                </a:lnTo>
                <a:lnTo>
                  <a:pt x="386" y="177"/>
                </a:lnTo>
                <a:lnTo>
                  <a:pt x="387" y="179"/>
                </a:lnTo>
                <a:lnTo>
                  <a:pt x="391" y="179"/>
                </a:lnTo>
                <a:lnTo>
                  <a:pt x="393" y="182"/>
                </a:lnTo>
                <a:lnTo>
                  <a:pt x="393" y="183"/>
                </a:lnTo>
                <a:lnTo>
                  <a:pt x="392" y="183"/>
                </a:lnTo>
                <a:lnTo>
                  <a:pt x="390" y="185"/>
                </a:lnTo>
                <a:lnTo>
                  <a:pt x="388" y="185"/>
                </a:lnTo>
                <a:lnTo>
                  <a:pt x="388" y="186"/>
                </a:lnTo>
                <a:lnTo>
                  <a:pt x="390" y="189"/>
                </a:lnTo>
                <a:lnTo>
                  <a:pt x="390" y="190"/>
                </a:lnTo>
                <a:lnTo>
                  <a:pt x="392" y="192"/>
                </a:lnTo>
                <a:lnTo>
                  <a:pt x="394" y="194"/>
                </a:lnTo>
                <a:lnTo>
                  <a:pt x="396" y="194"/>
                </a:lnTo>
                <a:lnTo>
                  <a:pt x="396" y="195"/>
                </a:lnTo>
                <a:lnTo>
                  <a:pt x="397" y="196"/>
                </a:lnTo>
                <a:lnTo>
                  <a:pt x="397" y="195"/>
                </a:lnTo>
                <a:lnTo>
                  <a:pt x="399" y="195"/>
                </a:lnTo>
                <a:lnTo>
                  <a:pt x="399" y="197"/>
                </a:lnTo>
                <a:lnTo>
                  <a:pt x="402" y="197"/>
                </a:lnTo>
                <a:lnTo>
                  <a:pt x="403" y="198"/>
                </a:lnTo>
                <a:lnTo>
                  <a:pt x="403" y="200"/>
                </a:lnTo>
                <a:lnTo>
                  <a:pt x="402" y="204"/>
                </a:lnTo>
                <a:lnTo>
                  <a:pt x="403" y="207"/>
                </a:lnTo>
                <a:lnTo>
                  <a:pt x="397" y="207"/>
                </a:lnTo>
                <a:lnTo>
                  <a:pt x="397" y="208"/>
                </a:lnTo>
                <a:lnTo>
                  <a:pt x="396" y="209"/>
                </a:lnTo>
                <a:lnTo>
                  <a:pt x="393" y="209"/>
                </a:lnTo>
                <a:lnTo>
                  <a:pt x="392" y="208"/>
                </a:lnTo>
                <a:lnTo>
                  <a:pt x="391" y="209"/>
                </a:lnTo>
                <a:lnTo>
                  <a:pt x="391" y="210"/>
                </a:lnTo>
                <a:lnTo>
                  <a:pt x="392" y="210"/>
                </a:lnTo>
                <a:lnTo>
                  <a:pt x="392" y="212"/>
                </a:lnTo>
                <a:lnTo>
                  <a:pt x="391" y="213"/>
                </a:lnTo>
                <a:lnTo>
                  <a:pt x="390" y="215"/>
                </a:lnTo>
                <a:lnTo>
                  <a:pt x="390" y="216"/>
                </a:lnTo>
                <a:lnTo>
                  <a:pt x="388" y="216"/>
                </a:lnTo>
                <a:lnTo>
                  <a:pt x="384" y="221"/>
                </a:lnTo>
                <a:lnTo>
                  <a:pt x="381" y="221"/>
                </a:lnTo>
                <a:lnTo>
                  <a:pt x="381" y="222"/>
                </a:lnTo>
                <a:lnTo>
                  <a:pt x="380" y="223"/>
                </a:lnTo>
                <a:lnTo>
                  <a:pt x="378" y="223"/>
                </a:lnTo>
                <a:lnTo>
                  <a:pt x="377" y="225"/>
                </a:lnTo>
                <a:lnTo>
                  <a:pt x="375" y="225"/>
                </a:lnTo>
                <a:lnTo>
                  <a:pt x="373" y="222"/>
                </a:lnTo>
                <a:lnTo>
                  <a:pt x="372" y="223"/>
                </a:lnTo>
                <a:lnTo>
                  <a:pt x="368" y="223"/>
                </a:lnTo>
                <a:lnTo>
                  <a:pt x="366" y="222"/>
                </a:lnTo>
                <a:lnTo>
                  <a:pt x="363" y="222"/>
                </a:lnTo>
                <a:lnTo>
                  <a:pt x="362" y="221"/>
                </a:lnTo>
                <a:lnTo>
                  <a:pt x="362" y="216"/>
                </a:lnTo>
                <a:lnTo>
                  <a:pt x="359" y="216"/>
                </a:lnTo>
                <a:lnTo>
                  <a:pt x="356" y="215"/>
                </a:lnTo>
                <a:lnTo>
                  <a:pt x="354" y="215"/>
                </a:lnTo>
                <a:lnTo>
                  <a:pt x="353" y="216"/>
                </a:lnTo>
                <a:lnTo>
                  <a:pt x="348" y="216"/>
                </a:lnTo>
                <a:lnTo>
                  <a:pt x="346" y="217"/>
                </a:lnTo>
                <a:lnTo>
                  <a:pt x="346" y="223"/>
                </a:lnTo>
                <a:lnTo>
                  <a:pt x="344" y="225"/>
                </a:lnTo>
                <a:lnTo>
                  <a:pt x="343" y="225"/>
                </a:lnTo>
                <a:lnTo>
                  <a:pt x="341" y="228"/>
                </a:lnTo>
                <a:lnTo>
                  <a:pt x="343" y="232"/>
                </a:lnTo>
                <a:lnTo>
                  <a:pt x="344" y="233"/>
                </a:lnTo>
                <a:lnTo>
                  <a:pt x="346" y="237"/>
                </a:lnTo>
                <a:lnTo>
                  <a:pt x="349" y="240"/>
                </a:lnTo>
                <a:lnTo>
                  <a:pt x="352" y="240"/>
                </a:lnTo>
                <a:lnTo>
                  <a:pt x="352" y="243"/>
                </a:lnTo>
                <a:lnTo>
                  <a:pt x="354" y="245"/>
                </a:lnTo>
                <a:lnTo>
                  <a:pt x="354" y="249"/>
                </a:lnTo>
                <a:lnTo>
                  <a:pt x="353" y="251"/>
                </a:lnTo>
                <a:lnTo>
                  <a:pt x="350" y="252"/>
                </a:lnTo>
                <a:lnTo>
                  <a:pt x="350" y="253"/>
                </a:lnTo>
                <a:lnTo>
                  <a:pt x="353" y="256"/>
                </a:lnTo>
                <a:lnTo>
                  <a:pt x="354" y="258"/>
                </a:lnTo>
                <a:lnTo>
                  <a:pt x="354" y="259"/>
                </a:lnTo>
                <a:lnTo>
                  <a:pt x="356" y="260"/>
                </a:lnTo>
                <a:lnTo>
                  <a:pt x="356" y="262"/>
                </a:lnTo>
                <a:lnTo>
                  <a:pt x="354" y="262"/>
                </a:lnTo>
                <a:lnTo>
                  <a:pt x="354" y="263"/>
                </a:lnTo>
                <a:lnTo>
                  <a:pt x="353" y="264"/>
                </a:lnTo>
                <a:lnTo>
                  <a:pt x="355" y="266"/>
                </a:lnTo>
                <a:lnTo>
                  <a:pt x="355" y="268"/>
                </a:lnTo>
                <a:lnTo>
                  <a:pt x="354" y="270"/>
                </a:lnTo>
                <a:lnTo>
                  <a:pt x="354" y="271"/>
                </a:lnTo>
                <a:lnTo>
                  <a:pt x="355" y="272"/>
                </a:lnTo>
                <a:lnTo>
                  <a:pt x="355" y="276"/>
                </a:lnTo>
                <a:lnTo>
                  <a:pt x="354" y="277"/>
                </a:lnTo>
                <a:lnTo>
                  <a:pt x="355" y="280"/>
                </a:lnTo>
                <a:lnTo>
                  <a:pt x="356" y="281"/>
                </a:lnTo>
                <a:lnTo>
                  <a:pt x="357" y="281"/>
                </a:lnTo>
                <a:lnTo>
                  <a:pt x="359" y="282"/>
                </a:lnTo>
                <a:lnTo>
                  <a:pt x="359" y="286"/>
                </a:lnTo>
                <a:lnTo>
                  <a:pt x="362" y="289"/>
                </a:lnTo>
                <a:lnTo>
                  <a:pt x="362" y="293"/>
                </a:lnTo>
                <a:lnTo>
                  <a:pt x="357" y="293"/>
                </a:lnTo>
                <a:lnTo>
                  <a:pt x="350" y="292"/>
                </a:lnTo>
                <a:lnTo>
                  <a:pt x="346" y="292"/>
                </a:lnTo>
                <a:lnTo>
                  <a:pt x="343" y="293"/>
                </a:lnTo>
                <a:lnTo>
                  <a:pt x="341" y="295"/>
                </a:lnTo>
                <a:lnTo>
                  <a:pt x="341" y="296"/>
                </a:lnTo>
                <a:lnTo>
                  <a:pt x="338" y="296"/>
                </a:lnTo>
                <a:lnTo>
                  <a:pt x="336" y="294"/>
                </a:lnTo>
                <a:lnTo>
                  <a:pt x="328" y="294"/>
                </a:lnTo>
                <a:lnTo>
                  <a:pt x="326" y="295"/>
                </a:lnTo>
                <a:lnTo>
                  <a:pt x="326" y="298"/>
                </a:lnTo>
                <a:lnTo>
                  <a:pt x="328" y="298"/>
                </a:lnTo>
                <a:lnTo>
                  <a:pt x="328" y="300"/>
                </a:lnTo>
                <a:lnTo>
                  <a:pt x="326" y="300"/>
                </a:lnTo>
                <a:lnTo>
                  <a:pt x="326" y="299"/>
                </a:lnTo>
                <a:lnTo>
                  <a:pt x="325" y="299"/>
                </a:lnTo>
                <a:lnTo>
                  <a:pt x="325" y="301"/>
                </a:lnTo>
                <a:lnTo>
                  <a:pt x="324" y="301"/>
                </a:lnTo>
                <a:lnTo>
                  <a:pt x="324" y="302"/>
                </a:lnTo>
                <a:lnTo>
                  <a:pt x="323" y="302"/>
                </a:lnTo>
                <a:lnTo>
                  <a:pt x="322" y="303"/>
                </a:lnTo>
                <a:lnTo>
                  <a:pt x="322" y="306"/>
                </a:lnTo>
                <a:lnTo>
                  <a:pt x="319" y="306"/>
                </a:lnTo>
                <a:lnTo>
                  <a:pt x="319" y="307"/>
                </a:lnTo>
                <a:lnTo>
                  <a:pt x="318" y="308"/>
                </a:lnTo>
                <a:lnTo>
                  <a:pt x="317" y="308"/>
                </a:lnTo>
                <a:lnTo>
                  <a:pt x="317" y="309"/>
                </a:lnTo>
                <a:lnTo>
                  <a:pt x="316" y="311"/>
                </a:lnTo>
                <a:lnTo>
                  <a:pt x="316" y="314"/>
                </a:lnTo>
                <a:lnTo>
                  <a:pt x="315" y="314"/>
                </a:lnTo>
                <a:lnTo>
                  <a:pt x="313" y="315"/>
                </a:lnTo>
                <a:lnTo>
                  <a:pt x="315" y="315"/>
                </a:lnTo>
                <a:lnTo>
                  <a:pt x="315" y="319"/>
                </a:lnTo>
                <a:lnTo>
                  <a:pt x="312" y="319"/>
                </a:lnTo>
                <a:lnTo>
                  <a:pt x="312" y="320"/>
                </a:lnTo>
                <a:lnTo>
                  <a:pt x="311" y="321"/>
                </a:lnTo>
                <a:lnTo>
                  <a:pt x="312" y="323"/>
                </a:lnTo>
                <a:lnTo>
                  <a:pt x="311" y="323"/>
                </a:lnTo>
                <a:lnTo>
                  <a:pt x="311" y="325"/>
                </a:lnTo>
                <a:lnTo>
                  <a:pt x="310" y="326"/>
                </a:lnTo>
                <a:lnTo>
                  <a:pt x="310" y="327"/>
                </a:lnTo>
                <a:lnTo>
                  <a:pt x="311" y="327"/>
                </a:lnTo>
                <a:lnTo>
                  <a:pt x="311" y="329"/>
                </a:lnTo>
                <a:lnTo>
                  <a:pt x="310" y="329"/>
                </a:lnTo>
                <a:lnTo>
                  <a:pt x="310" y="330"/>
                </a:lnTo>
                <a:lnTo>
                  <a:pt x="312" y="330"/>
                </a:lnTo>
                <a:lnTo>
                  <a:pt x="312" y="331"/>
                </a:lnTo>
                <a:lnTo>
                  <a:pt x="311" y="332"/>
                </a:lnTo>
                <a:lnTo>
                  <a:pt x="312" y="332"/>
                </a:lnTo>
                <a:lnTo>
                  <a:pt x="312" y="335"/>
                </a:lnTo>
                <a:lnTo>
                  <a:pt x="313" y="335"/>
                </a:lnTo>
                <a:lnTo>
                  <a:pt x="313" y="336"/>
                </a:lnTo>
                <a:lnTo>
                  <a:pt x="312" y="336"/>
                </a:lnTo>
                <a:lnTo>
                  <a:pt x="312" y="338"/>
                </a:lnTo>
                <a:lnTo>
                  <a:pt x="313" y="338"/>
                </a:lnTo>
                <a:lnTo>
                  <a:pt x="313" y="339"/>
                </a:lnTo>
                <a:lnTo>
                  <a:pt x="315" y="341"/>
                </a:lnTo>
                <a:lnTo>
                  <a:pt x="315" y="344"/>
                </a:lnTo>
                <a:lnTo>
                  <a:pt x="312" y="346"/>
                </a:lnTo>
                <a:lnTo>
                  <a:pt x="312" y="348"/>
                </a:lnTo>
                <a:lnTo>
                  <a:pt x="311" y="349"/>
                </a:lnTo>
                <a:lnTo>
                  <a:pt x="311" y="351"/>
                </a:lnTo>
                <a:lnTo>
                  <a:pt x="310" y="350"/>
                </a:lnTo>
                <a:lnTo>
                  <a:pt x="309" y="350"/>
                </a:lnTo>
                <a:lnTo>
                  <a:pt x="309" y="349"/>
                </a:lnTo>
                <a:lnTo>
                  <a:pt x="307" y="349"/>
                </a:lnTo>
                <a:lnTo>
                  <a:pt x="306" y="348"/>
                </a:lnTo>
                <a:lnTo>
                  <a:pt x="304" y="348"/>
                </a:lnTo>
                <a:lnTo>
                  <a:pt x="303" y="346"/>
                </a:lnTo>
                <a:lnTo>
                  <a:pt x="301" y="344"/>
                </a:lnTo>
                <a:lnTo>
                  <a:pt x="301" y="339"/>
                </a:lnTo>
                <a:lnTo>
                  <a:pt x="300" y="339"/>
                </a:lnTo>
                <a:lnTo>
                  <a:pt x="299" y="338"/>
                </a:lnTo>
                <a:lnTo>
                  <a:pt x="298" y="338"/>
                </a:lnTo>
                <a:lnTo>
                  <a:pt x="297" y="336"/>
                </a:lnTo>
                <a:lnTo>
                  <a:pt x="295" y="335"/>
                </a:lnTo>
                <a:lnTo>
                  <a:pt x="287" y="335"/>
                </a:lnTo>
                <a:lnTo>
                  <a:pt x="285" y="336"/>
                </a:lnTo>
                <a:lnTo>
                  <a:pt x="282" y="336"/>
                </a:lnTo>
                <a:lnTo>
                  <a:pt x="281" y="337"/>
                </a:lnTo>
                <a:lnTo>
                  <a:pt x="281" y="338"/>
                </a:lnTo>
                <a:lnTo>
                  <a:pt x="280" y="338"/>
                </a:lnTo>
                <a:lnTo>
                  <a:pt x="276" y="337"/>
                </a:lnTo>
                <a:lnTo>
                  <a:pt x="275" y="336"/>
                </a:lnTo>
                <a:lnTo>
                  <a:pt x="275" y="335"/>
                </a:lnTo>
                <a:lnTo>
                  <a:pt x="274" y="333"/>
                </a:lnTo>
                <a:lnTo>
                  <a:pt x="273" y="333"/>
                </a:lnTo>
                <a:lnTo>
                  <a:pt x="272" y="335"/>
                </a:lnTo>
                <a:lnTo>
                  <a:pt x="270" y="335"/>
                </a:lnTo>
                <a:lnTo>
                  <a:pt x="270" y="336"/>
                </a:lnTo>
                <a:lnTo>
                  <a:pt x="269" y="337"/>
                </a:lnTo>
                <a:lnTo>
                  <a:pt x="267" y="337"/>
                </a:lnTo>
                <a:lnTo>
                  <a:pt x="267" y="338"/>
                </a:lnTo>
                <a:lnTo>
                  <a:pt x="266" y="339"/>
                </a:lnTo>
                <a:lnTo>
                  <a:pt x="266" y="341"/>
                </a:lnTo>
                <a:lnTo>
                  <a:pt x="261" y="341"/>
                </a:lnTo>
                <a:lnTo>
                  <a:pt x="261" y="342"/>
                </a:lnTo>
                <a:lnTo>
                  <a:pt x="259" y="342"/>
                </a:lnTo>
                <a:lnTo>
                  <a:pt x="257" y="341"/>
                </a:lnTo>
                <a:lnTo>
                  <a:pt x="257" y="339"/>
                </a:lnTo>
                <a:lnTo>
                  <a:pt x="256" y="338"/>
                </a:lnTo>
                <a:lnTo>
                  <a:pt x="256" y="337"/>
                </a:lnTo>
                <a:lnTo>
                  <a:pt x="255" y="336"/>
                </a:lnTo>
                <a:lnTo>
                  <a:pt x="255" y="331"/>
                </a:lnTo>
                <a:lnTo>
                  <a:pt x="253" y="329"/>
                </a:lnTo>
                <a:lnTo>
                  <a:pt x="253" y="326"/>
                </a:lnTo>
                <a:lnTo>
                  <a:pt x="251" y="325"/>
                </a:lnTo>
                <a:lnTo>
                  <a:pt x="250" y="325"/>
                </a:lnTo>
                <a:lnTo>
                  <a:pt x="249" y="324"/>
                </a:lnTo>
                <a:lnTo>
                  <a:pt x="248" y="324"/>
                </a:lnTo>
                <a:lnTo>
                  <a:pt x="248" y="325"/>
                </a:lnTo>
                <a:lnTo>
                  <a:pt x="247" y="325"/>
                </a:lnTo>
                <a:lnTo>
                  <a:pt x="245" y="327"/>
                </a:lnTo>
                <a:lnTo>
                  <a:pt x="244" y="329"/>
                </a:lnTo>
                <a:lnTo>
                  <a:pt x="241" y="329"/>
                </a:lnTo>
                <a:lnTo>
                  <a:pt x="239" y="330"/>
                </a:lnTo>
                <a:lnTo>
                  <a:pt x="238" y="330"/>
                </a:lnTo>
                <a:lnTo>
                  <a:pt x="236" y="332"/>
                </a:lnTo>
                <a:lnTo>
                  <a:pt x="235" y="335"/>
                </a:lnTo>
                <a:lnTo>
                  <a:pt x="235" y="339"/>
                </a:lnTo>
                <a:lnTo>
                  <a:pt x="234" y="339"/>
                </a:lnTo>
                <a:lnTo>
                  <a:pt x="234" y="337"/>
                </a:lnTo>
                <a:lnTo>
                  <a:pt x="232" y="337"/>
                </a:lnTo>
                <a:lnTo>
                  <a:pt x="231" y="338"/>
                </a:lnTo>
                <a:lnTo>
                  <a:pt x="231" y="337"/>
                </a:lnTo>
                <a:lnTo>
                  <a:pt x="230" y="337"/>
                </a:lnTo>
                <a:lnTo>
                  <a:pt x="230" y="336"/>
                </a:lnTo>
                <a:lnTo>
                  <a:pt x="229" y="332"/>
                </a:lnTo>
                <a:lnTo>
                  <a:pt x="229" y="330"/>
                </a:lnTo>
                <a:lnTo>
                  <a:pt x="228" y="329"/>
                </a:lnTo>
                <a:lnTo>
                  <a:pt x="222" y="329"/>
                </a:lnTo>
                <a:lnTo>
                  <a:pt x="219" y="330"/>
                </a:lnTo>
                <a:lnTo>
                  <a:pt x="218" y="331"/>
                </a:lnTo>
                <a:lnTo>
                  <a:pt x="217" y="331"/>
                </a:lnTo>
                <a:lnTo>
                  <a:pt x="217" y="329"/>
                </a:lnTo>
                <a:lnTo>
                  <a:pt x="216" y="327"/>
                </a:lnTo>
                <a:lnTo>
                  <a:pt x="214" y="327"/>
                </a:lnTo>
                <a:lnTo>
                  <a:pt x="214" y="326"/>
                </a:lnTo>
                <a:lnTo>
                  <a:pt x="213" y="325"/>
                </a:lnTo>
                <a:lnTo>
                  <a:pt x="213" y="323"/>
                </a:lnTo>
                <a:lnTo>
                  <a:pt x="212" y="323"/>
                </a:lnTo>
                <a:lnTo>
                  <a:pt x="210" y="325"/>
                </a:lnTo>
                <a:lnTo>
                  <a:pt x="208" y="329"/>
                </a:lnTo>
                <a:lnTo>
                  <a:pt x="207" y="329"/>
                </a:lnTo>
                <a:lnTo>
                  <a:pt x="206" y="330"/>
                </a:lnTo>
                <a:lnTo>
                  <a:pt x="203" y="330"/>
                </a:lnTo>
                <a:lnTo>
                  <a:pt x="201" y="329"/>
                </a:lnTo>
                <a:lnTo>
                  <a:pt x="200" y="329"/>
                </a:lnTo>
                <a:lnTo>
                  <a:pt x="197" y="325"/>
                </a:lnTo>
                <a:lnTo>
                  <a:pt x="195" y="326"/>
                </a:lnTo>
                <a:lnTo>
                  <a:pt x="195" y="327"/>
                </a:lnTo>
                <a:lnTo>
                  <a:pt x="194" y="329"/>
                </a:lnTo>
                <a:lnTo>
                  <a:pt x="194" y="332"/>
                </a:lnTo>
                <a:lnTo>
                  <a:pt x="192" y="335"/>
                </a:lnTo>
                <a:lnTo>
                  <a:pt x="192" y="336"/>
                </a:lnTo>
                <a:lnTo>
                  <a:pt x="191" y="336"/>
                </a:lnTo>
                <a:lnTo>
                  <a:pt x="189" y="335"/>
                </a:lnTo>
                <a:lnTo>
                  <a:pt x="189" y="333"/>
                </a:lnTo>
                <a:lnTo>
                  <a:pt x="191" y="330"/>
                </a:lnTo>
                <a:lnTo>
                  <a:pt x="191" y="327"/>
                </a:lnTo>
                <a:lnTo>
                  <a:pt x="189" y="326"/>
                </a:lnTo>
                <a:lnTo>
                  <a:pt x="187" y="326"/>
                </a:lnTo>
                <a:lnTo>
                  <a:pt x="182" y="325"/>
                </a:lnTo>
                <a:lnTo>
                  <a:pt x="180" y="325"/>
                </a:lnTo>
                <a:lnTo>
                  <a:pt x="179" y="326"/>
                </a:lnTo>
                <a:lnTo>
                  <a:pt x="179" y="327"/>
                </a:lnTo>
                <a:lnTo>
                  <a:pt x="177" y="327"/>
                </a:lnTo>
                <a:lnTo>
                  <a:pt x="175" y="326"/>
                </a:lnTo>
                <a:lnTo>
                  <a:pt x="173" y="327"/>
                </a:lnTo>
                <a:lnTo>
                  <a:pt x="172" y="326"/>
                </a:lnTo>
                <a:lnTo>
                  <a:pt x="172" y="325"/>
                </a:lnTo>
                <a:lnTo>
                  <a:pt x="173" y="324"/>
                </a:lnTo>
                <a:lnTo>
                  <a:pt x="173" y="323"/>
                </a:lnTo>
                <a:lnTo>
                  <a:pt x="169" y="323"/>
                </a:lnTo>
                <a:lnTo>
                  <a:pt x="169" y="317"/>
                </a:lnTo>
                <a:lnTo>
                  <a:pt x="168" y="315"/>
                </a:lnTo>
                <a:lnTo>
                  <a:pt x="162" y="315"/>
                </a:lnTo>
                <a:lnTo>
                  <a:pt x="157" y="317"/>
                </a:lnTo>
                <a:lnTo>
                  <a:pt x="155" y="317"/>
                </a:lnTo>
                <a:lnTo>
                  <a:pt x="146" y="313"/>
                </a:lnTo>
                <a:lnTo>
                  <a:pt x="138" y="312"/>
                </a:lnTo>
                <a:lnTo>
                  <a:pt x="137" y="312"/>
                </a:lnTo>
                <a:lnTo>
                  <a:pt x="137" y="309"/>
                </a:lnTo>
                <a:lnTo>
                  <a:pt x="126" y="309"/>
                </a:lnTo>
                <a:lnTo>
                  <a:pt x="123" y="306"/>
                </a:lnTo>
                <a:lnTo>
                  <a:pt x="118" y="306"/>
                </a:lnTo>
                <a:lnTo>
                  <a:pt x="110" y="303"/>
                </a:lnTo>
                <a:lnTo>
                  <a:pt x="106" y="305"/>
                </a:lnTo>
                <a:lnTo>
                  <a:pt x="92" y="305"/>
                </a:lnTo>
                <a:lnTo>
                  <a:pt x="85" y="302"/>
                </a:lnTo>
                <a:lnTo>
                  <a:pt x="82" y="302"/>
                </a:lnTo>
                <a:lnTo>
                  <a:pt x="81" y="303"/>
                </a:lnTo>
                <a:lnTo>
                  <a:pt x="77" y="305"/>
                </a:lnTo>
                <a:lnTo>
                  <a:pt x="65" y="307"/>
                </a:lnTo>
                <a:lnTo>
                  <a:pt x="50" y="307"/>
                </a:lnTo>
                <a:lnTo>
                  <a:pt x="49" y="308"/>
                </a:lnTo>
                <a:lnTo>
                  <a:pt x="48" y="311"/>
                </a:lnTo>
                <a:lnTo>
                  <a:pt x="48" y="312"/>
                </a:lnTo>
                <a:lnTo>
                  <a:pt x="46" y="317"/>
                </a:lnTo>
                <a:lnTo>
                  <a:pt x="45" y="318"/>
                </a:lnTo>
                <a:lnTo>
                  <a:pt x="40" y="321"/>
                </a:lnTo>
                <a:lnTo>
                  <a:pt x="33" y="327"/>
                </a:lnTo>
                <a:lnTo>
                  <a:pt x="32" y="327"/>
                </a:lnTo>
                <a:lnTo>
                  <a:pt x="29" y="324"/>
                </a:lnTo>
                <a:lnTo>
                  <a:pt x="23" y="324"/>
                </a:lnTo>
                <a:lnTo>
                  <a:pt x="19" y="325"/>
                </a:lnTo>
                <a:lnTo>
                  <a:pt x="18" y="325"/>
                </a:lnTo>
                <a:lnTo>
                  <a:pt x="18" y="327"/>
                </a:lnTo>
                <a:lnTo>
                  <a:pt x="19" y="331"/>
                </a:lnTo>
                <a:lnTo>
                  <a:pt x="19" y="332"/>
                </a:lnTo>
                <a:lnTo>
                  <a:pt x="18" y="332"/>
                </a:lnTo>
                <a:lnTo>
                  <a:pt x="18" y="331"/>
                </a:lnTo>
                <a:lnTo>
                  <a:pt x="17" y="331"/>
                </a:lnTo>
                <a:lnTo>
                  <a:pt x="15" y="330"/>
                </a:lnTo>
                <a:lnTo>
                  <a:pt x="17" y="330"/>
                </a:lnTo>
                <a:lnTo>
                  <a:pt x="15" y="327"/>
                </a:lnTo>
                <a:lnTo>
                  <a:pt x="15" y="324"/>
                </a:lnTo>
                <a:lnTo>
                  <a:pt x="14" y="323"/>
                </a:lnTo>
                <a:lnTo>
                  <a:pt x="15" y="323"/>
                </a:lnTo>
                <a:lnTo>
                  <a:pt x="15" y="315"/>
                </a:lnTo>
                <a:lnTo>
                  <a:pt x="17" y="315"/>
                </a:lnTo>
                <a:lnTo>
                  <a:pt x="18" y="314"/>
                </a:lnTo>
                <a:lnTo>
                  <a:pt x="19" y="314"/>
                </a:lnTo>
                <a:lnTo>
                  <a:pt x="19" y="312"/>
                </a:lnTo>
                <a:lnTo>
                  <a:pt x="18" y="311"/>
                </a:lnTo>
                <a:lnTo>
                  <a:pt x="18" y="308"/>
                </a:lnTo>
                <a:lnTo>
                  <a:pt x="19" y="307"/>
                </a:lnTo>
                <a:lnTo>
                  <a:pt x="18" y="307"/>
                </a:lnTo>
                <a:lnTo>
                  <a:pt x="19" y="306"/>
                </a:lnTo>
                <a:lnTo>
                  <a:pt x="19" y="302"/>
                </a:lnTo>
                <a:lnTo>
                  <a:pt x="20" y="301"/>
                </a:lnTo>
                <a:lnTo>
                  <a:pt x="20" y="300"/>
                </a:lnTo>
                <a:lnTo>
                  <a:pt x="21" y="300"/>
                </a:lnTo>
                <a:lnTo>
                  <a:pt x="20" y="299"/>
                </a:lnTo>
                <a:lnTo>
                  <a:pt x="20" y="296"/>
                </a:lnTo>
                <a:lnTo>
                  <a:pt x="19" y="295"/>
                </a:lnTo>
                <a:lnTo>
                  <a:pt x="19" y="293"/>
                </a:lnTo>
                <a:lnTo>
                  <a:pt x="18" y="293"/>
                </a:lnTo>
                <a:lnTo>
                  <a:pt x="18" y="292"/>
                </a:lnTo>
                <a:lnTo>
                  <a:pt x="17" y="290"/>
                </a:lnTo>
                <a:lnTo>
                  <a:pt x="14" y="290"/>
                </a:lnTo>
                <a:lnTo>
                  <a:pt x="13" y="288"/>
                </a:lnTo>
                <a:lnTo>
                  <a:pt x="13" y="287"/>
                </a:lnTo>
                <a:lnTo>
                  <a:pt x="8" y="287"/>
                </a:lnTo>
                <a:lnTo>
                  <a:pt x="9" y="286"/>
                </a:lnTo>
                <a:lnTo>
                  <a:pt x="8" y="286"/>
                </a:lnTo>
                <a:lnTo>
                  <a:pt x="6" y="284"/>
                </a:lnTo>
                <a:lnTo>
                  <a:pt x="5" y="283"/>
                </a:lnTo>
                <a:lnTo>
                  <a:pt x="5" y="284"/>
                </a:lnTo>
                <a:lnTo>
                  <a:pt x="1" y="283"/>
                </a:lnTo>
                <a:lnTo>
                  <a:pt x="0" y="283"/>
                </a:lnTo>
                <a:lnTo>
                  <a:pt x="1" y="281"/>
                </a:lnTo>
                <a:lnTo>
                  <a:pt x="0" y="280"/>
                </a:lnTo>
                <a:lnTo>
                  <a:pt x="1" y="275"/>
                </a:lnTo>
                <a:lnTo>
                  <a:pt x="3" y="272"/>
                </a:lnTo>
                <a:lnTo>
                  <a:pt x="9" y="264"/>
                </a:lnTo>
                <a:lnTo>
                  <a:pt x="13" y="260"/>
                </a:lnTo>
                <a:lnTo>
                  <a:pt x="24" y="257"/>
                </a:lnTo>
                <a:lnTo>
                  <a:pt x="29" y="253"/>
                </a:lnTo>
                <a:lnTo>
                  <a:pt x="31" y="251"/>
                </a:lnTo>
                <a:lnTo>
                  <a:pt x="31" y="229"/>
                </a:lnTo>
                <a:lnTo>
                  <a:pt x="30" y="228"/>
                </a:lnTo>
                <a:lnTo>
                  <a:pt x="29" y="226"/>
                </a:lnTo>
                <a:lnTo>
                  <a:pt x="29" y="222"/>
                </a:lnTo>
                <a:lnTo>
                  <a:pt x="30" y="222"/>
                </a:lnTo>
                <a:lnTo>
                  <a:pt x="30" y="219"/>
                </a:lnTo>
                <a:lnTo>
                  <a:pt x="27" y="216"/>
                </a:lnTo>
                <a:lnTo>
                  <a:pt x="27" y="214"/>
                </a:lnTo>
                <a:lnTo>
                  <a:pt x="26" y="213"/>
                </a:lnTo>
                <a:lnTo>
                  <a:pt x="25" y="210"/>
                </a:lnTo>
                <a:lnTo>
                  <a:pt x="24" y="204"/>
                </a:lnTo>
                <a:lnTo>
                  <a:pt x="23" y="202"/>
                </a:lnTo>
                <a:lnTo>
                  <a:pt x="21" y="197"/>
                </a:lnTo>
                <a:lnTo>
                  <a:pt x="18" y="186"/>
                </a:lnTo>
                <a:lnTo>
                  <a:pt x="17" y="182"/>
                </a:lnTo>
                <a:lnTo>
                  <a:pt x="17" y="177"/>
                </a:lnTo>
                <a:lnTo>
                  <a:pt x="14" y="174"/>
                </a:lnTo>
                <a:lnTo>
                  <a:pt x="14" y="169"/>
                </a:lnTo>
                <a:lnTo>
                  <a:pt x="13" y="167"/>
                </a:lnTo>
                <a:lnTo>
                  <a:pt x="13" y="164"/>
                </a:lnTo>
                <a:lnTo>
                  <a:pt x="14" y="164"/>
                </a:lnTo>
                <a:lnTo>
                  <a:pt x="18" y="166"/>
                </a:lnTo>
                <a:lnTo>
                  <a:pt x="19" y="166"/>
                </a:lnTo>
                <a:lnTo>
                  <a:pt x="21" y="165"/>
                </a:lnTo>
                <a:lnTo>
                  <a:pt x="24" y="165"/>
                </a:lnTo>
                <a:lnTo>
                  <a:pt x="25" y="164"/>
                </a:lnTo>
                <a:lnTo>
                  <a:pt x="26" y="164"/>
                </a:lnTo>
                <a:lnTo>
                  <a:pt x="26" y="165"/>
                </a:lnTo>
                <a:lnTo>
                  <a:pt x="27" y="165"/>
                </a:lnTo>
                <a:lnTo>
                  <a:pt x="31" y="163"/>
                </a:lnTo>
                <a:lnTo>
                  <a:pt x="32" y="163"/>
                </a:lnTo>
                <a:lnTo>
                  <a:pt x="33" y="164"/>
                </a:lnTo>
                <a:lnTo>
                  <a:pt x="38" y="164"/>
                </a:lnTo>
                <a:lnTo>
                  <a:pt x="40" y="163"/>
                </a:lnTo>
                <a:lnTo>
                  <a:pt x="42" y="161"/>
                </a:lnTo>
                <a:lnTo>
                  <a:pt x="44" y="164"/>
                </a:lnTo>
                <a:lnTo>
                  <a:pt x="45" y="166"/>
                </a:lnTo>
                <a:lnTo>
                  <a:pt x="48" y="166"/>
                </a:lnTo>
                <a:lnTo>
                  <a:pt x="49" y="167"/>
                </a:lnTo>
                <a:lnTo>
                  <a:pt x="50" y="167"/>
                </a:lnTo>
                <a:lnTo>
                  <a:pt x="52" y="166"/>
                </a:lnTo>
                <a:lnTo>
                  <a:pt x="57" y="161"/>
                </a:lnTo>
                <a:lnTo>
                  <a:pt x="59" y="160"/>
                </a:lnTo>
                <a:lnTo>
                  <a:pt x="62" y="160"/>
                </a:lnTo>
                <a:lnTo>
                  <a:pt x="63" y="159"/>
                </a:lnTo>
                <a:lnTo>
                  <a:pt x="64" y="161"/>
                </a:lnTo>
                <a:lnTo>
                  <a:pt x="68" y="161"/>
                </a:lnTo>
                <a:lnTo>
                  <a:pt x="69" y="160"/>
                </a:lnTo>
                <a:lnTo>
                  <a:pt x="69" y="157"/>
                </a:lnTo>
                <a:lnTo>
                  <a:pt x="68" y="155"/>
                </a:lnTo>
                <a:lnTo>
                  <a:pt x="68" y="152"/>
                </a:lnTo>
                <a:lnTo>
                  <a:pt x="69" y="151"/>
                </a:lnTo>
                <a:lnTo>
                  <a:pt x="69" y="149"/>
                </a:lnTo>
                <a:lnTo>
                  <a:pt x="70" y="148"/>
                </a:lnTo>
                <a:lnTo>
                  <a:pt x="75" y="148"/>
                </a:lnTo>
                <a:lnTo>
                  <a:pt x="77" y="149"/>
                </a:lnTo>
                <a:lnTo>
                  <a:pt x="80" y="149"/>
                </a:lnTo>
                <a:lnTo>
                  <a:pt x="82" y="148"/>
                </a:lnTo>
                <a:lnTo>
                  <a:pt x="83" y="146"/>
                </a:lnTo>
                <a:lnTo>
                  <a:pt x="85" y="145"/>
                </a:lnTo>
                <a:lnTo>
                  <a:pt x="85" y="141"/>
                </a:lnTo>
                <a:lnTo>
                  <a:pt x="86" y="140"/>
                </a:lnTo>
                <a:lnTo>
                  <a:pt x="89" y="141"/>
                </a:lnTo>
                <a:lnTo>
                  <a:pt x="93" y="141"/>
                </a:lnTo>
                <a:lnTo>
                  <a:pt x="93" y="140"/>
                </a:lnTo>
                <a:lnTo>
                  <a:pt x="95" y="137"/>
                </a:lnTo>
                <a:lnTo>
                  <a:pt x="96" y="137"/>
                </a:lnTo>
                <a:lnTo>
                  <a:pt x="98" y="139"/>
                </a:lnTo>
                <a:lnTo>
                  <a:pt x="100" y="142"/>
                </a:lnTo>
                <a:lnTo>
                  <a:pt x="99" y="142"/>
                </a:lnTo>
                <a:lnTo>
                  <a:pt x="98" y="143"/>
                </a:lnTo>
                <a:lnTo>
                  <a:pt x="99" y="145"/>
                </a:lnTo>
                <a:lnTo>
                  <a:pt x="99" y="146"/>
                </a:lnTo>
                <a:lnTo>
                  <a:pt x="98" y="146"/>
                </a:lnTo>
                <a:lnTo>
                  <a:pt x="98" y="147"/>
                </a:lnTo>
                <a:lnTo>
                  <a:pt x="100" y="149"/>
                </a:lnTo>
                <a:lnTo>
                  <a:pt x="105" y="149"/>
                </a:lnTo>
                <a:lnTo>
                  <a:pt x="106" y="148"/>
                </a:lnTo>
                <a:lnTo>
                  <a:pt x="108" y="148"/>
                </a:lnTo>
                <a:lnTo>
                  <a:pt x="110" y="147"/>
                </a:lnTo>
                <a:lnTo>
                  <a:pt x="110" y="140"/>
                </a:lnTo>
                <a:lnTo>
                  <a:pt x="108" y="140"/>
                </a:lnTo>
                <a:lnTo>
                  <a:pt x="108" y="139"/>
                </a:lnTo>
                <a:lnTo>
                  <a:pt x="107" y="139"/>
                </a:lnTo>
                <a:lnTo>
                  <a:pt x="106" y="137"/>
                </a:lnTo>
                <a:lnTo>
                  <a:pt x="106" y="135"/>
                </a:lnTo>
                <a:lnTo>
                  <a:pt x="105" y="135"/>
                </a:lnTo>
                <a:lnTo>
                  <a:pt x="102" y="137"/>
                </a:lnTo>
                <a:lnTo>
                  <a:pt x="100" y="137"/>
                </a:lnTo>
                <a:lnTo>
                  <a:pt x="100" y="136"/>
                </a:lnTo>
                <a:lnTo>
                  <a:pt x="99" y="136"/>
                </a:lnTo>
                <a:lnTo>
                  <a:pt x="99" y="134"/>
                </a:lnTo>
                <a:lnTo>
                  <a:pt x="100" y="133"/>
                </a:lnTo>
                <a:lnTo>
                  <a:pt x="102" y="128"/>
                </a:lnTo>
                <a:lnTo>
                  <a:pt x="102" y="123"/>
                </a:lnTo>
                <a:lnTo>
                  <a:pt x="104" y="122"/>
                </a:lnTo>
                <a:lnTo>
                  <a:pt x="104" y="121"/>
                </a:lnTo>
                <a:lnTo>
                  <a:pt x="106" y="120"/>
                </a:lnTo>
                <a:lnTo>
                  <a:pt x="107" y="120"/>
                </a:lnTo>
                <a:lnTo>
                  <a:pt x="108" y="118"/>
                </a:lnTo>
                <a:lnTo>
                  <a:pt x="108" y="115"/>
                </a:lnTo>
                <a:lnTo>
                  <a:pt x="107" y="112"/>
                </a:lnTo>
                <a:lnTo>
                  <a:pt x="107" y="102"/>
                </a:lnTo>
                <a:lnTo>
                  <a:pt x="108" y="100"/>
                </a:lnTo>
                <a:lnTo>
                  <a:pt x="110" y="100"/>
                </a:lnTo>
                <a:lnTo>
                  <a:pt x="110" y="96"/>
                </a:lnTo>
                <a:lnTo>
                  <a:pt x="111" y="94"/>
                </a:lnTo>
                <a:lnTo>
                  <a:pt x="112" y="94"/>
                </a:lnTo>
                <a:lnTo>
                  <a:pt x="112" y="93"/>
                </a:lnTo>
                <a:lnTo>
                  <a:pt x="113" y="92"/>
                </a:lnTo>
                <a:lnTo>
                  <a:pt x="113" y="91"/>
                </a:lnTo>
                <a:lnTo>
                  <a:pt x="116" y="90"/>
                </a:lnTo>
                <a:lnTo>
                  <a:pt x="118" y="91"/>
                </a:lnTo>
                <a:lnTo>
                  <a:pt x="123" y="90"/>
                </a:lnTo>
                <a:lnTo>
                  <a:pt x="125" y="89"/>
                </a:lnTo>
                <a:lnTo>
                  <a:pt x="125" y="87"/>
                </a:lnTo>
                <a:lnTo>
                  <a:pt x="126" y="87"/>
                </a:lnTo>
                <a:lnTo>
                  <a:pt x="126" y="86"/>
                </a:lnTo>
                <a:lnTo>
                  <a:pt x="129" y="83"/>
                </a:lnTo>
                <a:lnTo>
                  <a:pt x="129" y="78"/>
                </a:lnTo>
                <a:lnTo>
                  <a:pt x="130" y="75"/>
                </a:lnTo>
                <a:lnTo>
                  <a:pt x="132" y="75"/>
                </a:lnTo>
                <a:lnTo>
                  <a:pt x="137" y="77"/>
                </a:lnTo>
                <a:lnTo>
                  <a:pt x="138" y="77"/>
                </a:lnTo>
                <a:lnTo>
                  <a:pt x="138" y="75"/>
                </a:lnTo>
                <a:lnTo>
                  <a:pt x="139" y="75"/>
                </a:lnTo>
                <a:lnTo>
                  <a:pt x="143" y="78"/>
                </a:lnTo>
                <a:lnTo>
                  <a:pt x="144" y="78"/>
                </a:lnTo>
                <a:lnTo>
                  <a:pt x="145" y="77"/>
                </a:lnTo>
                <a:lnTo>
                  <a:pt x="145" y="72"/>
                </a:lnTo>
                <a:lnTo>
                  <a:pt x="146" y="72"/>
                </a:lnTo>
                <a:lnTo>
                  <a:pt x="146" y="71"/>
                </a:lnTo>
                <a:lnTo>
                  <a:pt x="148" y="69"/>
                </a:lnTo>
                <a:lnTo>
                  <a:pt x="149" y="69"/>
                </a:lnTo>
                <a:lnTo>
                  <a:pt x="150" y="68"/>
                </a:lnTo>
                <a:lnTo>
                  <a:pt x="151" y="68"/>
                </a:lnTo>
                <a:lnTo>
                  <a:pt x="152" y="67"/>
                </a:lnTo>
                <a:lnTo>
                  <a:pt x="152" y="65"/>
                </a:lnTo>
                <a:lnTo>
                  <a:pt x="151" y="65"/>
                </a:lnTo>
                <a:lnTo>
                  <a:pt x="144" y="63"/>
                </a:lnTo>
                <a:lnTo>
                  <a:pt x="141" y="63"/>
                </a:lnTo>
                <a:lnTo>
                  <a:pt x="138" y="62"/>
                </a:lnTo>
                <a:lnTo>
                  <a:pt x="138" y="60"/>
                </a:lnTo>
                <a:lnTo>
                  <a:pt x="139" y="59"/>
                </a:lnTo>
                <a:lnTo>
                  <a:pt x="139" y="57"/>
                </a:lnTo>
                <a:lnTo>
                  <a:pt x="141" y="54"/>
                </a:lnTo>
                <a:lnTo>
                  <a:pt x="142" y="53"/>
                </a:lnTo>
                <a:lnTo>
                  <a:pt x="142" y="47"/>
                </a:lnTo>
                <a:lnTo>
                  <a:pt x="144" y="44"/>
                </a:lnTo>
                <a:lnTo>
                  <a:pt x="144" y="37"/>
                </a:lnTo>
                <a:lnTo>
                  <a:pt x="145" y="35"/>
                </a:lnTo>
                <a:lnTo>
                  <a:pt x="146" y="35"/>
                </a:lnTo>
                <a:lnTo>
                  <a:pt x="149" y="36"/>
                </a:lnTo>
                <a:lnTo>
                  <a:pt x="150" y="36"/>
                </a:lnTo>
                <a:lnTo>
                  <a:pt x="154" y="34"/>
                </a:lnTo>
                <a:lnTo>
                  <a:pt x="155" y="32"/>
                </a:lnTo>
                <a:lnTo>
                  <a:pt x="160" y="25"/>
                </a:lnTo>
                <a:lnTo>
                  <a:pt x="161" y="25"/>
                </a:lnTo>
                <a:lnTo>
                  <a:pt x="166" y="24"/>
                </a:lnTo>
                <a:lnTo>
                  <a:pt x="168" y="24"/>
                </a:lnTo>
                <a:lnTo>
                  <a:pt x="168" y="25"/>
                </a:lnTo>
                <a:lnTo>
                  <a:pt x="172" y="28"/>
                </a:lnTo>
                <a:lnTo>
                  <a:pt x="173" y="28"/>
                </a:lnTo>
                <a:lnTo>
                  <a:pt x="176" y="24"/>
                </a:lnTo>
                <a:lnTo>
                  <a:pt x="179" y="26"/>
                </a:lnTo>
                <a:lnTo>
                  <a:pt x="180" y="26"/>
                </a:lnTo>
                <a:lnTo>
                  <a:pt x="185" y="28"/>
                </a:lnTo>
                <a:lnTo>
                  <a:pt x="186" y="28"/>
                </a:lnTo>
                <a:lnTo>
                  <a:pt x="187" y="26"/>
                </a:lnTo>
                <a:lnTo>
                  <a:pt x="187" y="20"/>
                </a:lnTo>
                <a:lnTo>
                  <a:pt x="188" y="18"/>
                </a:lnTo>
                <a:lnTo>
                  <a:pt x="193" y="14"/>
                </a:lnTo>
                <a:lnTo>
                  <a:pt x="194" y="12"/>
                </a:lnTo>
                <a:lnTo>
                  <a:pt x="194" y="11"/>
                </a:lnTo>
                <a:lnTo>
                  <a:pt x="199" y="6"/>
                </a:lnTo>
                <a:lnTo>
                  <a:pt x="199" y="5"/>
                </a:lnTo>
                <a:lnTo>
                  <a:pt x="200" y="4"/>
                </a:lnTo>
                <a:lnTo>
                  <a:pt x="201" y="4"/>
                </a:lnTo>
                <a:lnTo>
                  <a:pt x="203" y="3"/>
                </a:lnTo>
                <a:lnTo>
                  <a:pt x="204" y="3"/>
                </a:lnTo>
                <a:lnTo>
                  <a:pt x="206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" name="Freeform 55">
            <a:extLst>
              <a:ext uri="{FF2B5EF4-FFF2-40B4-BE49-F238E27FC236}">
                <a16:creationId xmlns:a16="http://schemas.microsoft.com/office/drawing/2014/main" id="{97AFD264-D336-41BF-934F-06D1BDEDB4EE}"/>
              </a:ext>
            </a:extLst>
          </p:cNvPr>
          <p:cNvSpPr>
            <a:spLocks noEditPoints="1"/>
          </p:cNvSpPr>
          <p:nvPr/>
        </p:nvSpPr>
        <p:spPr bwMode="auto">
          <a:xfrm>
            <a:off x="3967294" y="5430481"/>
            <a:ext cx="359337" cy="279646"/>
          </a:xfrm>
          <a:custGeom>
            <a:avLst/>
            <a:gdLst/>
            <a:ahLst/>
            <a:cxnLst>
              <a:cxn ang="0">
                <a:pos x="17" y="124"/>
              </a:cxn>
              <a:cxn ang="0">
                <a:pos x="28" y="134"/>
              </a:cxn>
              <a:cxn ang="0">
                <a:pos x="43" y="138"/>
              </a:cxn>
              <a:cxn ang="0">
                <a:pos x="52" y="145"/>
              </a:cxn>
              <a:cxn ang="0">
                <a:pos x="55" y="167"/>
              </a:cxn>
              <a:cxn ang="0">
                <a:pos x="27" y="154"/>
              </a:cxn>
              <a:cxn ang="0">
                <a:pos x="16" y="144"/>
              </a:cxn>
              <a:cxn ang="0">
                <a:pos x="9" y="136"/>
              </a:cxn>
              <a:cxn ang="0">
                <a:pos x="2" y="123"/>
              </a:cxn>
              <a:cxn ang="0">
                <a:pos x="248" y="88"/>
              </a:cxn>
              <a:cxn ang="0">
                <a:pos x="238" y="81"/>
              </a:cxn>
              <a:cxn ang="0">
                <a:pos x="34" y="71"/>
              </a:cxn>
              <a:cxn ang="0">
                <a:pos x="11" y="46"/>
              </a:cxn>
              <a:cxn ang="0">
                <a:pos x="76" y="1"/>
              </a:cxn>
              <a:cxn ang="0">
                <a:pos x="87" y="9"/>
              </a:cxn>
              <a:cxn ang="0">
                <a:pos x="98" y="18"/>
              </a:cxn>
              <a:cxn ang="0">
                <a:pos x="107" y="33"/>
              </a:cxn>
              <a:cxn ang="0">
                <a:pos x="126" y="39"/>
              </a:cxn>
              <a:cxn ang="0">
                <a:pos x="136" y="31"/>
              </a:cxn>
              <a:cxn ang="0">
                <a:pos x="154" y="16"/>
              </a:cxn>
              <a:cxn ang="0">
                <a:pos x="171" y="14"/>
              </a:cxn>
              <a:cxn ang="0">
                <a:pos x="185" y="34"/>
              </a:cxn>
              <a:cxn ang="0">
                <a:pos x="196" y="58"/>
              </a:cxn>
              <a:cxn ang="0">
                <a:pos x="202" y="69"/>
              </a:cxn>
              <a:cxn ang="0">
                <a:pos x="226" y="75"/>
              </a:cxn>
              <a:cxn ang="0">
                <a:pos x="235" y="82"/>
              </a:cxn>
              <a:cxn ang="0">
                <a:pos x="232" y="87"/>
              </a:cxn>
              <a:cxn ang="0">
                <a:pos x="215" y="88"/>
              </a:cxn>
              <a:cxn ang="0">
                <a:pos x="200" y="98"/>
              </a:cxn>
              <a:cxn ang="0">
                <a:pos x="197" y="107"/>
              </a:cxn>
              <a:cxn ang="0">
                <a:pos x="197" y="122"/>
              </a:cxn>
              <a:cxn ang="0">
                <a:pos x="196" y="142"/>
              </a:cxn>
              <a:cxn ang="0">
                <a:pos x="183" y="162"/>
              </a:cxn>
              <a:cxn ang="0">
                <a:pos x="178" y="151"/>
              </a:cxn>
              <a:cxn ang="0">
                <a:pos x="173" y="181"/>
              </a:cxn>
              <a:cxn ang="0">
                <a:pos x="160" y="188"/>
              </a:cxn>
              <a:cxn ang="0">
                <a:pos x="147" y="175"/>
              </a:cxn>
              <a:cxn ang="0">
                <a:pos x="147" y="161"/>
              </a:cxn>
              <a:cxn ang="0">
                <a:pos x="147" y="142"/>
              </a:cxn>
              <a:cxn ang="0">
                <a:pos x="134" y="123"/>
              </a:cxn>
              <a:cxn ang="0">
                <a:pos x="110" y="135"/>
              </a:cxn>
              <a:cxn ang="0">
                <a:pos x="97" y="149"/>
              </a:cxn>
              <a:cxn ang="0">
                <a:pos x="86" y="154"/>
              </a:cxn>
              <a:cxn ang="0">
                <a:pos x="78" y="163"/>
              </a:cxn>
              <a:cxn ang="0">
                <a:pos x="70" y="149"/>
              </a:cxn>
              <a:cxn ang="0">
                <a:pos x="74" y="143"/>
              </a:cxn>
              <a:cxn ang="0">
                <a:pos x="74" y="129"/>
              </a:cxn>
              <a:cxn ang="0">
                <a:pos x="54" y="123"/>
              </a:cxn>
              <a:cxn ang="0">
                <a:pos x="42" y="108"/>
              </a:cxn>
              <a:cxn ang="0">
                <a:pos x="49" y="101"/>
              </a:cxn>
              <a:cxn ang="0">
                <a:pos x="33" y="81"/>
              </a:cxn>
              <a:cxn ang="0">
                <a:pos x="27" y="68"/>
              </a:cxn>
              <a:cxn ang="0">
                <a:pos x="33" y="56"/>
              </a:cxn>
              <a:cxn ang="0">
                <a:pos x="20" y="49"/>
              </a:cxn>
              <a:cxn ang="0">
                <a:pos x="20" y="42"/>
              </a:cxn>
              <a:cxn ang="0">
                <a:pos x="24" y="25"/>
              </a:cxn>
              <a:cxn ang="0">
                <a:pos x="41" y="36"/>
              </a:cxn>
              <a:cxn ang="0">
                <a:pos x="70" y="45"/>
              </a:cxn>
              <a:cxn ang="0">
                <a:pos x="80" y="38"/>
              </a:cxn>
              <a:cxn ang="0">
                <a:pos x="70" y="25"/>
              </a:cxn>
              <a:cxn ang="0">
                <a:pos x="60" y="13"/>
              </a:cxn>
            </a:cxnLst>
            <a:rect l="0" t="0" r="r" b="b"/>
            <a:pathLst>
              <a:path w="248" h="193">
                <a:moveTo>
                  <a:pt x="195" y="143"/>
                </a:moveTo>
                <a:lnTo>
                  <a:pt x="196" y="143"/>
                </a:lnTo>
                <a:lnTo>
                  <a:pt x="196" y="144"/>
                </a:lnTo>
                <a:lnTo>
                  <a:pt x="195" y="143"/>
                </a:lnTo>
                <a:close/>
                <a:moveTo>
                  <a:pt x="10" y="118"/>
                </a:moveTo>
                <a:lnTo>
                  <a:pt x="12" y="118"/>
                </a:lnTo>
                <a:lnTo>
                  <a:pt x="14" y="119"/>
                </a:lnTo>
                <a:lnTo>
                  <a:pt x="16" y="123"/>
                </a:lnTo>
                <a:lnTo>
                  <a:pt x="17" y="124"/>
                </a:lnTo>
                <a:lnTo>
                  <a:pt x="17" y="129"/>
                </a:lnTo>
                <a:lnTo>
                  <a:pt x="20" y="129"/>
                </a:lnTo>
                <a:lnTo>
                  <a:pt x="21" y="128"/>
                </a:lnTo>
                <a:lnTo>
                  <a:pt x="22" y="128"/>
                </a:lnTo>
                <a:lnTo>
                  <a:pt x="23" y="129"/>
                </a:lnTo>
                <a:lnTo>
                  <a:pt x="23" y="130"/>
                </a:lnTo>
                <a:lnTo>
                  <a:pt x="24" y="131"/>
                </a:lnTo>
                <a:lnTo>
                  <a:pt x="27" y="131"/>
                </a:lnTo>
                <a:lnTo>
                  <a:pt x="28" y="134"/>
                </a:lnTo>
                <a:lnTo>
                  <a:pt x="30" y="134"/>
                </a:lnTo>
                <a:lnTo>
                  <a:pt x="30" y="132"/>
                </a:lnTo>
                <a:lnTo>
                  <a:pt x="34" y="131"/>
                </a:lnTo>
                <a:lnTo>
                  <a:pt x="35" y="130"/>
                </a:lnTo>
                <a:lnTo>
                  <a:pt x="41" y="129"/>
                </a:lnTo>
                <a:lnTo>
                  <a:pt x="42" y="129"/>
                </a:lnTo>
                <a:lnTo>
                  <a:pt x="45" y="131"/>
                </a:lnTo>
                <a:lnTo>
                  <a:pt x="45" y="136"/>
                </a:lnTo>
                <a:lnTo>
                  <a:pt x="43" y="138"/>
                </a:lnTo>
                <a:lnTo>
                  <a:pt x="42" y="140"/>
                </a:lnTo>
                <a:lnTo>
                  <a:pt x="42" y="141"/>
                </a:lnTo>
                <a:lnTo>
                  <a:pt x="43" y="141"/>
                </a:lnTo>
                <a:lnTo>
                  <a:pt x="46" y="142"/>
                </a:lnTo>
                <a:lnTo>
                  <a:pt x="47" y="143"/>
                </a:lnTo>
                <a:lnTo>
                  <a:pt x="48" y="143"/>
                </a:lnTo>
                <a:lnTo>
                  <a:pt x="48" y="144"/>
                </a:lnTo>
                <a:lnTo>
                  <a:pt x="51" y="145"/>
                </a:lnTo>
                <a:lnTo>
                  <a:pt x="52" y="145"/>
                </a:lnTo>
                <a:lnTo>
                  <a:pt x="52" y="148"/>
                </a:lnTo>
                <a:lnTo>
                  <a:pt x="51" y="149"/>
                </a:lnTo>
                <a:lnTo>
                  <a:pt x="51" y="151"/>
                </a:lnTo>
                <a:lnTo>
                  <a:pt x="52" y="153"/>
                </a:lnTo>
                <a:lnTo>
                  <a:pt x="53" y="155"/>
                </a:lnTo>
                <a:lnTo>
                  <a:pt x="54" y="156"/>
                </a:lnTo>
                <a:lnTo>
                  <a:pt x="57" y="162"/>
                </a:lnTo>
                <a:lnTo>
                  <a:pt x="59" y="167"/>
                </a:lnTo>
                <a:lnTo>
                  <a:pt x="55" y="167"/>
                </a:lnTo>
                <a:lnTo>
                  <a:pt x="53" y="166"/>
                </a:lnTo>
                <a:lnTo>
                  <a:pt x="43" y="163"/>
                </a:lnTo>
                <a:lnTo>
                  <a:pt x="41" y="162"/>
                </a:lnTo>
                <a:lnTo>
                  <a:pt x="33" y="162"/>
                </a:lnTo>
                <a:lnTo>
                  <a:pt x="30" y="160"/>
                </a:lnTo>
                <a:lnTo>
                  <a:pt x="29" y="160"/>
                </a:lnTo>
                <a:lnTo>
                  <a:pt x="29" y="156"/>
                </a:lnTo>
                <a:lnTo>
                  <a:pt x="27" y="156"/>
                </a:lnTo>
                <a:lnTo>
                  <a:pt x="27" y="154"/>
                </a:lnTo>
                <a:lnTo>
                  <a:pt x="26" y="154"/>
                </a:lnTo>
                <a:lnTo>
                  <a:pt x="26" y="151"/>
                </a:lnTo>
                <a:lnTo>
                  <a:pt x="24" y="150"/>
                </a:lnTo>
                <a:lnTo>
                  <a:pt x="23" y="150"/>
                </a:lnTo>
                <a:lnTo>
                  <a:pt x="24" y="149"/>
                </a:lnTo>
                <a:lnTo>
                  <a:pt x="22" y="149"/>
                </a:lnTo>
                <a:lnTo>
                  <a:pt x="18" y="148"/>
                </a:lnTo>
                <a:lnTo>
                  <a:pt x="17" y="148"/>
                </a:lnTo>
                <a:lnTo>
                  <a:pt x="16" y="144"/>
                </a:lnTo>
                <a:lnTo>
                  <a:pt x="15" y="143"/>
                </a:lnTo>
                <a:lnTo>
                  <a:pt x="15" y="141"/>
                </a:lnTo>
                <a:lnTo>
                  <a:pt x="14" y="141"/>
                </a:lnTo>
                <a:lnTo>
                  <a:pt x="14" y="140"/>
                </a:lnTo>
                <a:lnTo>
                  <a:pt x="12" y="140"/>
                </a:lnTo>
                <a:lnTo>
                  <a:pt x="11" y="138"/>
                </a:lnTo>
                <a:lnTo>
                  <a:pt x="11" y="137"/>
                </a:lnTo>
                <a:lnTo>
                  <a:pt x="10" y="137"/>
                </a:lnTo>
                <a:lnTo>
                  <a:pt x="9" y="136"/>
                </a:lnTo>
                <a:lnTo>
                  <a:pt x="9" y="135"/>
                </a:lnTo>
                <a:lnTo>
                  <a:pt x="8" y="135"/>
                </a:lnTo>
                <a:lnTo>
                  <a:pt x="8" y="134"/>
                </a:lnTo>
                <a:lnTo>
                  <a:pt x="6" y="128"/>
                </a:lnTo>
                <a:lnTo>
                  <a:pt x="5" y="128"/>
                </a:lnTo>
                <a:lnTo>
                  <a:pt x="5" y="126"/>
                </a:lnTo>
                <a:lnTo>
                  <a:pt x="4" y="126"/>
                </a:lnTo>
                <a:lnTo>
                  <a:pt x="2" y="124"/>
                </a:lnTo>
                <a:lnTo>
                  <a:pt x="2" y="123"/>
                </a:lnTo>
                <a:lnTo>
                  <a:pt x="0" y="122"/>
                </a:lnTo>
                <a:lnTo>
                  <a:pt x="2" y="122"/>
                </a:lnTo>
                <a:lnTo>
                  <a:pt x="4" y="120"/>
                </a:lnTo>
                <a:lnTo>
                  <a:pt x="9" y="120"/>
                </a:lnTo>
                <a:lnTo>
                  <a:pt x="9" y="119"/>
                </a:lnTo>
                <a:lnTo>
                  <a:pt x="10" y="118"/>
                </a:lnTo>
                <a:close/>
                <a:moveTo>
                  <a:pt x="245" y="87"/>
                </a:moveTo>
                <a:lnTo>
                  <a:pt x="247" y="87"/>
                </a:lnTo>
                <a:lnTo>
                  <a:pt x="248" y="88"/>
                </a:lnTo>
                <a:lnTo>
                  <a:pt x="247" y="89"/>
                </a:lnTo>
                <a:lnTo>
                  <a:pt x="247" y="88"/>
                </a:lnTo>
                <a:lnTo>
                  <a:pt x="246" y="89"/>
                </a:lnTo>
                <a:lnTo>
                  <a:pt x="246" y="88"/>
                </a:lnTo>
                <a:lnTo>
                  <a:pt x="245" y="87"/>
                </a:lnTo>
                <a:close/>
                <a:moveTo>
                  <a:pt x="235" y="79"/>
                </a:moveTo>
                <a:lnTo>
                  <a:pt x="236" y="79"/>
                </a:lnTo>
                <a:lnTo>
                  <a:pt x="236" y="80"/>
                </a:lnTo>
                <a:lnTo>
                  <a:pt x="238" y="81"/>
                </a:lnTo>
                <a:lnTo>
                  <a:pt x="238" y="83"/>
                </a:lnTo>
                <a:lnTo>
                  <a:pt x="236" y="83"/>
                </a:lnTo>
                <a:lnTo>
                  <a:pt x="236" y="82"/>
                </a:lnTo>
                <a:lnTo>
                  <a:pt x="235" y="80"/>
                </a:lnTo>
                <a:lnTo>
                  <a:pt x="235" y="79"/>
                </a:lnTo>
                <a:close/>
                <a:moveTo>
                  <a:pt x="30" y="69"/>
                </a:moveTo>
                <a:lnTo>
                  <a:pt x="30" y="71"/>
                </a:lnTo>
                <a:lnTo>
                  <a:pt x="33" y="73"/>
                </a:lnTo>
                <a:lnTo>
                  <a:pt x="34" y="71"/>
                </a:lnTo>
                <a:lnTo>
                  <a:pt x="34" y="69"/>
                </a:lnTo>
                <a:lnTo>
                  <a:pt x="30" y="69"/>
                </a:lnTo>
                <a:close/>
                <a:moveTo>
                  <a:pt x="18" y="50"/>
                </a:moveTo>
                <a:lnTo>
                  <a:pt x="20" y="51"/>
                </a:lnTo>
                <a:lnTo>
                  <a:pt x="20" y="52"/>
                </a:lnTo>
                <a:lnTo>
                  <a:pt x="18" y="51"/>
                </a:lnTo>
                <a:lnTo>
                  <a:pt x="18" y="50"/>
                </a:lnTo>
                <a:close/>
                <a:moveTo>
                  <a:pt x="10" y="45"/>
                </a:moveTo>
                <a:lnTo>
                  <a:pt x="11" y="46"/>
                </a:lnTo>
                <a:lnTo>
                  <a:pt x="11" y="49"/>
                </a:lnTo>
                <a:lnTo>
                  <a:pt x="10" y="49"/>
                </a:lnTo>
                <a:lnTo>
                  <a:pt x="9" y="48"/>
                </a:lnTo>
                <a:lnTo>
                  <a:pt x="9" y="46"/>
                </a:lnTo>
                <a:lnTo>
                  <a:pt x="10" y="45"/>
                </a:lnTo>
                <a:close/>
                <a:moveTo>
                  <a:pt x="71" y="0"/>
                </a:moveTo>
                <a:lnTo>
                  <a:pt x="73" y="0"/>
                </a:lnTo>
                <a:lnTo>
                  <a:pt x="74" y="1"/>
                </a:lnTo>
                <a:lnTo>
                  <a:pt x="76" y="1"/>
                </a:lnTo>
                <a:lnTo>
                  <a:pt x="76" y="6"/>
                </a:lnTo>
                <a:lnTo>
                  <a:pt x="78" y="6"/>
                </a:lnTo>
                <a:lnTo>
                  <a:pt x="80" y="3"/>
                </a:lnTo>
                <a:lnTo>
                  <a:pt x="83" y="3"/>
                </a:lnTo>
                <a:lnTo>
                  <a:pt x="84" y="2"/>
                </a:lnTo>
                <a:lnTo>
                  <a:pt x="84" y="3"/>
                </a:lnTo>
                <a:lnTo>
                  <a:pt x="85" y="5"/>
                </a:lnTo>
                <a:lnTo>
                  <a:pt x="85" y="7"/>
                </a:lnTo>
                <a:lnTo>
                  <a:pt x="87" y="9"/>
                </a:lnTo>
                <a:lnTo>
                  <a:pt x="90" y="9"/>
                </a:lnTo>
                <a:lnTo>
                  <a:pt x="91" y="11"/>
                </a:lnTo>
                <a:lnTo>
                  <a:pt x="91" y="12"/>
                </a:lnTo>
                <a:lnTo>
                  <a:pt x="93" y="14"/>
                </a:lnTo>
                <a:lnTo>
                  <a:pt x="95" y="16"/>
                </a:lnTo>
                <a:lnTo>
                  <a:pt x="96" y="18"/>
                </a:lnTo>
                <a:lnTo>
                  <a:pt x="96" y="19"/>
                </a:lnTo>
                <a:lnTo>
                  <a:pt x="98" y="19"/>
                </a:lnTo>
                <a:lnTo>
                  <a:pt x="98" y="18"/>
                </a:lnTo>
                <a:lnTo>
                  <a:pt x="101" y="18"/>
                </a:lnTo>
                <a:lnTo>
                  <a:pt x="101" y="20"/>
                </a:lnTo>
                <a:lnTo>
                  <a:pt x="102" y="21"/>
                </a:lnTo>
                <a:lnTo>
                  <a:pt x="102" y="22"/>
                </a:lnTo>
                <a:lnTo>
                  <a:pt x="103" y="22"/>
                </a:lnTo>
                <a:lnTo>
                  <a:pt x="103" y="25"/>
                </a:lnTo>
                <a:lnTo>
                  <a:pt x="105" y="27"/>
                </a:lnTo>
                <a:lnTo>
                  <a:pt x="105" y="32"/>
                </a:lnTo>
                <a:lnTo>
                  <a:pt x="107" y="33"/>
                </a:lnTo>
                <a:lnTo>
                  <a:pt x="109" y="34"/>
                </a:lnTo>
                <a:lnTo>
                  <a:pt x="110" y="36"/>
                </a:lnTo>
                <a:lnTo>
                  <a:pt x="115" y="36"/>
                </a:lnTo>
                <a:lnTo>
                  <a:pt x="117" y="38"/>
                </a:lnTo>
                <a:lnTo>
                  <a:pt x="121" y="38"/>
                </a:lnTo>
                <a:lnTo>
                  <a:pt x="121" y="37"/>
                </a:lnTo>
                <a:lnTo>
                  <a:pt x="122" y="37"/>
                </a:lnTo>
                <a:lnTo>
                  <a:pt x="124" y="38"/>
                </a:lnTo>
                <a:lnTo>
                  <a:pt x="126" y="39"/>
                </a:lnTo>
                <a:lnTo>
                  <a:pt x="130" y="39"/>
                </a:lnTo>
                <a:lnTo>
                  <a:pt x="132" y="38"/>
                </a:lnTo>
                <a:lnTo>
                  <a:pt x="133" y="38"/>
                </a:lnTo>
                <a:lnTo>
                  <a:pt x="133" y="33"/>
                </a:lnTo>
                <a:lnTo>
                  <a:pt x="134" y="33"/>
                </a:lnTo>
                <a:lnTo>
                  <a:pt x="134" y="32"/>
                </a:lnTo>
                <a:lnTo>
                  <a:pt x="135" y="31"/>
                </a:lnTo>
                <a:lnTo>
                  <a:pt x="135" y="30"/>
                </a:lnTo>
                <a:lnTo>
                  <a:pt x="136" y="31"/>
                </a:lnTo>
                <a:lnTo>
                  <a:pt x="138" y="30"/>
                </a:lnTo>
                <a:lnTo>
                  <a:pt x="139" y="26"/>
                </a:lnTo>
                <a:lnTo>
                  <a:pt x="140" y="24"/>
                </a:lnTo>
                <a:lnTo>
                  <a:pt x="141" y="24"/>
                </a:lnTo>
                <a:lnTo>
                  <a:pt x="146" y="22"/>
                </a:lnTo>
                <a:lnTo>
                  <a:pt x="147" y="21"/>
                </a:lnTo>
                <a:lnTo>
                  <a:pt x="149" y="20"/>
                </a:lnTo>
                <a:lnTo>
                  <a:pt x="153" y="18"/>
                </a:lnTo>
                <a:lnTo>
                  <a:pt x="154" y="16"/>
                </a:lnTo>
                <a:lnTo>
                  <a:pt x="154" y="15"/>
                </a:lnTo>
                <a:lnTo>
                  <a:pt x="157" y="9"/>
                </a:lnTo>
                <a:lnTo>
                  <a:pt x="161" y="2"/>
                </a:lnTo>
                <a:lnTo>
                  <a:pt x="161" y="3"/>
                </a:lnTo>
                <a:lnTo>
                  <a:pt x="164" y="3"/>
                </a:lnTo>
                <a:lnTo>
                  <a:pt x="165" y="5"/>
                </a:lnTo>
                <a:lnTo>
                  <a:pt x="169" y="11"/>
                </a:lnTo>
                <a:lnTo>
                  <a:pt x="171" y="13"/>
                </a:lnTo>
                <a:lnTo>
                  <a:pt x="171" y="14"/>
                </a:lnTo>
                <a:lnTo>
                  <a:pt x="173" y="18"/>
                </a:lnTo>
                <a:lnTo>
                  <a:pt x="176" y="20"/>
                </a:lnTo>
                <a:lnTo>
                  <a:pt x="176" y="21"/>
                </a:lnTo>
                <a:lnTo>
                  <a:pt x="177" y="21"/>
                </a:lnTo>
                <a:lnTo>
                  <a:pt x="177" y="22"/>
                </a:lnTo>
                <a:lnTo>
                  <a:pt x="182" y="27"/>
                </a:lnTo>
                <a:lnTo>
                  <a:pt x="183" y="30"/>
                </a:lnTo>
                <a:lnTo>
                  <a:pt x="184" y="33"/>
                </a:lnTo>
                <a:lnTo>
                  <a:pt x="185" y="34"/>
                </a:lnTo>
                <a:lnTo>
                  <a:pt x="185" y="40"/>
                </a:lnTo>
                <a:lnTo>
                  <a:pt x="186" y="42"/>
                </a:lnTo>
                <a:lnTo>
                  <a:pt x="186" y="43"/>
                </a:lnTo>
                <a:lnTo>
                  <a:pt x="188" y="46"/>
                </a:lnTo>
                <a:lnTo>
                  <a:pt x="190" y="50"/>
                </a:lnTo>
                <a:lnTo>
                  <a:pt x="195" y="56"/>
                </a:lnTo>
                <a:lnTo>
                  <a:pt x="195" y="57"/>
                </a:lnTo>
                <a:lnTo>
                  <a:pt x="196" y="57"/>
                </a:lnTo>
                <a:lnTo>
                  <a:pt x="196" y="58"/>
                </a:lnTo>
                <a:lnTo>
                  <a:pt x="198" y="59"/>
                </a:lnTo>
                <a:lnTo>
                  <a:pt x="200" y="59"/>
                </a:lnTo>
                <a:lnTo>
                  <a:pt x="201" y="61"/>
                </a:lnTo>
                <a:lnTo>
                  <a:pt x="202" y="61"/>
                </a:lnTo>
                <a:lnTo>
                  <a:pt x="202" y="63"/>
                </a:lnTo>
                <a:lnTo>
                  <a:pt x="201" y="65"/>
                </a:lnTo>
                <a:lnTo>
                  <a:pt x="201" y="68"/>
                </a:lnTo>
                <a:lnTo>
                  <a:pt x="202" y="68"/>
                </a:lnTo>
                <a:lnTo>
                  <a:pt x="202" y="69"/>
                </a:lnTo>
                <a:lnTo>
                  <a:pt x="204" y="71"/>
                </a:lnTo>
                <a:lnTo>
                  <a:pt x="208" y="71"/>
                </a:lnTo>
                <a:lnTo>
                  <a:pt x="210" y="74"/>
                </a:lnTo>
                <a:lnTo>
                  <a:pt x="215" y="74"/>
                </a:lnTo>
                <a:lnTo>
                  <a:pt x="217" y="73"/>
                </a:lnTo>
                <a:lnTo>
                  <a:pt x="223" y="73"/>
                </a:lnTo>
                <a:lnTo>
                  <a:pt x="225" y="74"/>
                </a:lnTo>
                <a:lnTo>
                  <a:pt x="225" y="75"/>
                </a:lnTo>
                <a:lnTo>
                  <a:pt x="226" y="75"/>
                </a:lnTo>
                <a:lnTo>
                  <a:pt x="226" y="76"/>
                </a:lnTo>
                <a:lnTo>
                  <a:pt x="227" y="76"/>
                </a:lnTo>
                <a:lnTo>
                  <a:pt x="231" y="77"/>
                </a:lnTo>
                <a:lnTo>
                  <a:pt x="232" y="77"/>
                </a:lnTo>
                <a:lnTo>
                  <a:pt x="232" y="79"/>
                </a:lnTo>
                <a:lnTo>
                  <a:pt x="233" y="80"/>
                </a:lnTo>
                <a:lnTo>
                  <a:pt x="233" y="81"/>
                </a:lnTo>
                <a:lnTo>
                  <a:pt x="234" y="82"/>
                </a:lnTo>
                <a:lnTo>
                  <a:pt x="235" y="82"/>
                </a:lnTo>
                <a:lnTo>
                  <a:pt x="235" y="83"/>
                </a:lnTo>
                <a:lnTo>
                  <a:pt x="236" y="85"/>
                </a:lnTo>
                <a:lnTo>
                  <a:pt x="236" y="86"/>
                </a:lnTo>
                <a:lnTo>
                  <a:pt x="238" y="89"/>
                </a:lnTo>
                <a:lnTo>
                  <a:pt x="238" y="93"/>
                </a:lnTo>
                <a:lnTo>
                  <a:pt x="236" y="92"/>
                </a:lnTo>
                <a:lnTo>
                  <a:pt x="236" y="91"/>
                </a:lnTo>
                <a:lnTo>
                  <a:pt x="233" y="87"/>
                </a:lnTo>
                <a:lnTo>
                  <a:pt x="232" y="87"/>
                </a:lnTo>
                <a:lnTo>
                  <a:pt x="229" y="86"/>
                </a:lnTo>
                <a:lnTo>
                  <a:pt x="223" y="86"/>
                </a:lnTo>
                <a:lnTo>
                  <a:pt x="222" y="87"/>
                </a:lnTo>
                <a:lnTo>
                  <a:pt x="220" y="87"/>
                </a:lnTo>
                <a:lnTo>
                  <a:pt x="220" y="86"/>
                </a:lnTo>
                <a:lnTo>
                  <a:pt x="219" y="86"/>
                </a:lnTo>
                <a:lnTo>
                  <a:pt x="217" y="85"/>
                </a:lnTo>
                <a:lnTo>
                  <a:pt x="215" y="87"/>
                </a:lnTo>
                <a:lnTo>
                  <a:pt x="215" y="88"/>
                </a:lnTo>
                <a:lnTo>
                  <a:pt x="213" y="91"/>
                </a:lnTo>
                <a:lnTo>
                  <a:pt x="209" y="91"/>
                </a:lnTo>
                <a:lnTo>
                  <a:pt x="207" y="92"/>
                </a:lnTo>
                <a:lnTo>
                  <a:pt x="203" y="93"/>
                </a:lnTo>
                <a:lnTo>
                  <a:pt x="203" y="94"/>
                </a:lnTo>
                <a:lnTo>
                  <a:pt x="201" y="95"/>
                </a:lnTo>
                <a:lnTo>
                  <a:pt x="201" y="97"/>
                </a:lnTo>
                <a:lnTo>
                  <a:pt x="200" y="97"/>
                </a:lnTo>
                <a:lnTo>
                  <a:pt x="200" y="98"/>
                </a:lnTo>
                <a:lnTo>
                  <a:pt x="201" y="100"/>
                </a:lnTo>
                <a:lnTo>
                  <a:pt x="198" y="101"/>
                </a:lnTo>
                <a:lnTo>
                  <a:pt x="197" y="102"/>
                </a:lnTo>
                <a:lnTo>
                  <a:pt x="198" y="104"/>
                </a:lnTo>
                <a:lnTo>
                  <a:pt x="198" y="105"/>
                </a:lnTo>
                <a:lnTo>
                  <a:pt x="200" y="105"/>
                </a:lnTo>
                <a:lnTo>
                  <a:pt x="200" y="106"/>
                </a:lnTo>
                <a:lnTo>
                  <a:pt x="198" y="107"/>
                </a:lnTo>
                <a:lnTo>
                  <a:pt x="197" y="107"/>
                </a:lnTo>
                <a:lnTo>
                  <a:pt x="197" y="111"/>
                </a:lnTo>
                <a:lnTo>
                  <a:pt x="198" y="112"/>
                </a:lnTo>
                <a:lnTo>
                  <a:pt x="198" y="113"/>
                </a:lnTo>
                <a:lnTo>
                  <a:pt x="197" y="113"/>
                </a:lnTo>
                <a:lnTo>
                  <a:pt x="197" y="116"/>
                </a:lnTo>
                <a:lnTo>
                  <a:pt x="196" y="117"/>
                </a:lnTo>
                <a:lnTo>
                  <a:pt x="196" y="119"/>
                </a:lnTo>
                <a:lnTo>
                  <a:pt x="197" y="120"/>
                </a:lnTo>
                <a:lnTo>
                  <a:pt x="197" y="122"/>
                </a:lnTo>
                <a:lnTo>
                  <a:pt x="192" y="126"/>
                </a:lnTo>
                <a:lnTo>
                  <a:pt x="192" y="129"/>
                </a:lnTo>
                <a:lnTo>
                  <a:pt x="191" y="130"/>
                </a:lnTo>
                <a:lnTo>
                  <a:pt x="191" y="134"/>
                </a:lnTo>
                <a:lnTo>
                  <a:pt x="196" y="137"/>
                </a:lnTo>
                <a:lnTo>
                  <a:pt x="196" y="138"/>
                </a:lnTo>
                <a:lnTo>
                  <a:pt x="197" y="140"/>
                </a:lnTo>
                <a:lnTo>
                  <a:pt x="196" y="140"/>
                </a:lnTo>
                <a:lnTo>
                  <a:pt x="196" y="142"/>
                </a:lnTo>
                <a:lnTo>
                  <a:pt x="195" y="142"/>
                </a:lnTo>
                <a:lnTo>
                  <a:pt x="195" y="143"/>
                </a:lnTo>
                <a:lnTo>
                  <a:pt x="192" y="141"/>
                </a:lnTo>
                <a:lnTo>
                  <a:pt x="189" y="144"/>
                </a:lnTo>
                <a:lnTo>
                  <a:pt x="189" y="154"/>
                </a:lnTo>
                <a:lnTo>
                  <a:pt x="188" y="155"/>
                </a:lnTo>
                <a:lnTo>
                  <a:pt x="188" y="159"/>
                </a:lnTo>
                <a:lnTo>
                  <a:pt x="184" y="161"/>
                </a:lnTo>
                <a:lnTo>
                  <a:pt x="183" y="162"/>
                </a:lnTo>
                <a:lnTo>
                  <a:pt x="182" y="161"/>
                </a:lnTo>
                <a:lnTo>
                  <a:pt x="182" y="159"/>
                </a:lnTo>
                <a:lnTo>
                  <a:pt x="184" y="159"/>
                </a:lnTo>
                <a:lnTo>
                  <a:pt x="185" y="157"/>
                </a:lnTo>
                <a:lnTo>
                  <a:pt x="185" y="154"/>
                </a:lnTo>
                <a:lnTo>
                  <a:pt x="182" y="154"/>
                </a:lnTo>
                <a:lnTo>
                  <a:pt x="182" y="150"/>
                </a:lnTo>
                <a:lnTo>
                  <a:pt x="178" y="150"/>
                </a:lnTo>
                <a:lnTo>
                  <a:pt x="178" y="151"/>
                </a:lnTo>
                <a:lnTo>
                  <a:pt x="177" y="151"/>
                </a:lnTo>
                <a:lnTo>
                  <a:pt x="177" y="160"/>
                </a:lnTo>
                <a:lnTo>
                  <a:pt x="176" y="163"/>
                </a:lnTo>
                <a:lnTo>
                  <a:pt x="174" y="166"/>
                </a:lnTo>
                <a:lnTo>
                  <a:pt x="173" y="167"/>
                </a:lnTo>
                <a:lnTo>
                  <a:pt x="172" y="167"/>
                </a:lnTo>
                <a:lnTo>
                  <a:pt x="172" y="171"/>
                </a:lnTo>
                <a:lnTo>
                  <a:pt x="173" y="173"/>
                </a:lnTo>
                <a:lnTo>
                  <a:pt x="173" y="181"/>
                </a:lnTo>
                <a:lnTo>
                  <a:pt x="174" y="191"/>
                </a:lnTo>
                <a:lnTo>
                  <a:pt x="171" y="190"/>
                </a:lnTo>
                <a:lnTo>
                  <a:pt x="170" y="190"/>
                </a:lnTo>
                <a:lnTo>
                  <a:pt x="167" y="192"/>
                </a:lnTo>
                <a:lnTo>
                  <a:pt x="166" y="192"/>
                </a:lnTo>
                <a:lnTo>
                  <a:pt x="165" y="193"/>
                </a:lnTo>
                <a:lnTo>
                  <a:pt x="163" y="192"/>
                </a:lnTo>
                <a:lnTo>
                  <a:pt x="160" y="190"/>
                </a:lnTo>
                <a:lnTo>
                  <a:pt x="160" y="188"/>
                </a:lnTo>
                <a:lnTo>
                  <a:pt x="155" y="184"/>
                </a:lnTo>
                <a:lnTo>
                  <a:pt x="155" y="181"/>
                </a:lnTo>
                <a:lnTo>
                  <a:pt x="154" y="180"/>
                </a:lnTo>
                <a:lnTo>
                  <a:pt x="153" y="180"/>
                </a:lnTo>
                <a:lnTo>
                  <a:pt x="152" y="181"/>
                </a:lnTo>
                <a:lnTo>
                  <a:pt x="149" y="181"/>
                </a:lnTo>
                <a:lnTo>
                  <a:pt x="148" y="180"/>
                </a:lnTo>
                <a:lnTo>
                  <a:pt x="147" y="178"/>
                </a:lnTo>
                <a:lnTo>
                  <a:pt x="147" y="175"/>
                </a:lnTo>
                <a:lnTo>
                  <a:pt x="146" y="174"/>
                </a:lnTo>
                <a:lnTo>
                  <a:pt x="140" y="172"/>
                </a:lnTo>
                <a:lnTo>
                  <a:pt x="136" y="168"/>
                </a:lnTo>
                <a:lnTo>
                  <a:pt x="136" y="166"/>
                </a:lnTo>
                <a:lnTo>
                  <a:pt x="138" y="166"/>
                </a:lnTo>
                <a:lnTo>
                  <a:pt x="139" y="163"/>
                </a:lnTo>
                <a:lnTo>
                  <a:pt x="140" y="163"/>
                </a:lnTo>
                <a:lnTo>
                  <a:pt x="140" y="162"/>
                </a:lnTo>
                <a:lnTo>
                  <a:pt x="147" y="161"/>
                </a:lnTo>
                <a:lnTo>
                  <a:pt x="149" y="160"/>
                </a:lnTo>
                <a:lnTo>
                  <a:pt x="149" y="156"/>
                </a:lnTo>
                <a:lnTo>
                  <a:pt x="148" y="154"/>
                </a:lnTo>
                <a:lnTo>
                  <a:pt x="146" y="153"/>
                </a:lnTo>
                <a:lnTo>
                  <a:pt x="142" y="149"/>
                </a:lnTo>
                <a:lnTo>
                  <a:pt x="141" y="147"/>
                </a:lnTo>
                <a:lnTo>
                  <a:pt x="141" y="145"/>
                </a:lnTo>
                <a:lnTo>
                  <a:pt x="145" y="142"/>
                </a:lnTo>
                <a:lnTo>
                  <a:pt x="147" y="142"/>
                </a:lnTo>
                <a:lnTo>
                  <a:pt x="149" y="140"/>
                </a:lnTo>
                <a:lnTo>
                  <a:pt x="152" y="140"/>
                </a:lnTo>
                <a:lnTo>
                  <a:pt x="151" y="137"/>
                </a:lnTo>
                <a:lnTo>
                  <a:pt x="149" y="136"/>
                </a:lnTo>
                <a:lnTo>
                  <a:pt x="146" y="134"/>
                </a:lnTo>
                <a:lnTo>
                  <a:pt x="139" y="124"/>
                </a:lnTo>
                <a:lnTo>
                  <a:pt x="136" y="122"/>
                </a:lnTo>
                <a:lnTo>
                  <a:pt x="135" y="122"/>
                </a:lnTo>
                <a:lnTo>
                  <a:pt x="134" y="123"/>
                </a:lnTo>
                <a:lnTo>
                  <a:pt x="129" y="123"/>
                </a:lnTo>
                <a:lnTo>
                  <a:pt x="129" y="124"/>
                </a:lnTo>
                <a:lnTo>
                  <a:pt x="128" y="124"/>
                </a:lnTo>
                <a:lnTo>
                  <a:pt x="127" y="126"/>
                </a:lnTo>
                <a:lnTo>
                  <a:pt x="121" y="129"/>
                </a:lnTo>
                <a:lnTo>
                  <a:pt x="117" y="132"/>
                </a:lnTo>
                <a:lnTo>
                  <a:pt x="114" y="134"/>
                </a:lnTo>
                <a:lnTo>
                  <a:pt x="113" y="134"/>
                </a:lnTo>
                <a:lnTo>
                  <a:pt x="110" y="135"/>
                </a:lnTo>
                <a:lnTo>
                  <a:pt x="109" y="138"/>
                </a:lnTo>
                <a:lnTo>
                  <a:pt x="108" y="140"/>
                </a:lnTo>
                <a:lnTo>
                  <a:pt x="105" y="140"/>
                </a:lnTo>
                <a:lnTo>
                  <a:pt x="105" y="141"/>
                </a:lnTo>
                <a:lnTo>
                  <a:pt x="102" y="142"/>
                </a:lnTo>
                <a:lnTo>
                  <a:pt x="99" y="143"/>
                </a:lnTo>
                <a:lnTo>
                  <a:pt x="98" y="144"/>
                </a:lnTo>
                <a:lnTo>
                  <a:pt x="97" y="147"/>
                </a:lnTo>
                <a:lnTo>
                  <a:pt x="97" y="149"/>
                </a:lnTo>
                <a:lnTo>
                  <a:pt x="96" y="149"/>
                </a:lnTo>
                <a:lnTo>
                  <a:pt x="96" y="150"/>
                </a:lnTo>
                <a:lnTo>
                  <a:pt x="93" y="151"/>
                </a:lnTo>
                <a:lnTo>
                  <a:pt x="92" y="151"/>
                </a:lnTo>
                <a:lnTo>
                  <a:pt x="91" y="150"/>
                </a:lnTo>
                <a:lnTo>
                  <a:pt x="90" y="150"/>
                </a:lnTo>
                <a:lnTo>
                  <a:pt x="87" y="153"/>
                </a:lnTo>
                <a:lnTo>
                  <a:pt x="87" y="154"/>
                </a:lnTo>
                <a:lnTo>
                  <a:pt x="86" y="154"/>
                </a:lnTo>
                <a:lnTo>
                  <a:pt x="86" y="155"/>
                </a:lnTo>
                <a:lnTo>
                  <a:pt x="85" y="155"/>
                </a:lnTo>
                <a:lnTo>
                  <a:pt x="85" y="156"/>
                </a:lnTo>
                <a:lnTo>
                  <a:pt x="84" y="157"/>
                </a:lnTo>
                <a:lnTo>
                  <a:pt x="84" y="159"/>
                </a:lnTo>
                <a:lnTo>
                  <a:pt x="82" y="160"/>
                </a:lnTo>
                <a:lnTo>
                  <a:pt x="80" y="160"/>
                </a:lnTo>
                <a:lnTo>
                  <a:pt x="79" y="161"/>
                </a:lnTo>
                <a:lnTo>
                  <a:pt x="78" y="163"/>
                </a:lnTo>
                <a:lnTo>
                  <a:pt x="78" y="165"/>
                </a:lnTo>
                <a:lnTo>
                  <a:pt x="77" y="166"/>
                </a:lnTo>
                <a:lnTo>
                  <a:pt x="74" y="166"/>
                </a:lnTo>
                <a:lnTo>
                  <a:pt x="73" y="163"/>
                </a:lnTo>
                <a:lnTo>
                  <a:pt x="73" y="154"/>
                </a:lnTo>
                <a:lnTo>
                  <a:pt x="72" y="153"/>
                </a:lnTo>
                <a:lnTo>
                  <a:pt x="71" y="153"/>
                </a:lnTo>
                <a:lnTo>
                  <a:pt x="70" y="151"/>
                </a:lnTo>
                <a:lnTo>
                  <a:pt x="70" y="149"/>
                </a:lnTo>
                <a:lnTo>
                  <a:pt x="71" y="148"/>
                </a:lnTo>
                <a:lnTo>
                  <a:pt x="72" y="149"/>
                </a:lnTo>
                <a:lnTo>
                  <a:pt x="74" y="150"/>
                </a:lnTo>
                <a:lnTo>
                  <a:pt x="77" y="149"/>
                </a:lnTo>
                <a:lnTo>
                  <a:pt x="78" y="148"/>
                </a:lnTo>
                <a:lnTo>
                  <a:pt x="78" y="147"/>
                </a:lnTo>
                <a:lnTo>
                  <a:pt x="76" y="145"/>
                </a:lnTo>
                <a:lnTo>
                  <a:pt x="74" y="144"/>
                </a:lnTo>
                <a:lnTo>
                  <a:pt x="74" y="143"/>
                </a:lnTo>
                <a:lnTo>
                  <a:pt x="73" y="142"/>
                </a:lnTo>
                <a:lnTo>
                  <a:pt x="70" y="141"/>
                </a:lnTo>
                <a:lnTo>
                  <a:pt x="68" y="140"/>
                </a:lnTo>
                <a:lnTo>
                  <a:pt x="68" y="136"/>
                </a:lnTo>
                <a:lnTo>
                  <a:pt x="70" y="136"/>
                </a:lnTo>
                <a:lnTo>
                  <a:pt x="73" y="135"/>
                </a:lnTo>
                <a:lnTo>
                  <a:pt x="73" y="132"/>
                </a:lnTo>
                <a:lnTo>
                  <a:pt x="74" y="132"/>
                </a:lnTo>
                <a:lnTo>
                  <a:pt x="74" y="129"/>
                </a:lnTo>
                <a:lnTo>
                  <a:pt x="70" y="129"/>
                </a:lnTo>
                <a:lnTo>
                  <a:pt x="67" y="126"/>
                </a:lnTo>
                <a:lnTo>
                  <a:pt x="66" y="126"/>
                </a:lnTo>
                <a:lnTo>
                  <a:pt x="62" y="128"/>
                </a:lnTo>
                <a:lnTo>
                  <a:pt x="60" y="128"/>
                </a:lnTo>
                <a:lnTo>
                  <a:pt x="59" y="125"/>
                </a:lnTo>
                <a:lnTo>
                  <a:pt x="58" y="124"/>
                </a:lnTo>
                <a:lnTo>
                  <a:pt x="57" y="124"/>
                </a:lnTo>
                <a:lnTo>
                  <a:pt x="54" y="123"/>
                </a:lnTo>
                <a:lnTo>
                  <a:pt x="53" y="119"/>
                </a:lnTo>
                <a:lnTo>
                  <a:pt x="52" y="118"/>
                </a:lnTo>
                <a:lnTo>
                  <a:pt x="49" y="117"/>
                </a:lnTo>
                <a:lnTo>
                  <a:pt x="48" y="117"/>
                </a:lnTo>
                <a:lnTo>
                  <a:pt x="47" y="116"/>
                </a:lnTo>
                <a:lnTo>
                  <a:pt x="45" y="114"/>
                </a:lnTo>
                <a:lnTo>
                  <a:pt x="45" y="113"/>
                </a:lnTo>
                <a:lnTo>
                  <a:pt x="42" y="110"/>
                </a:lnTo>
                <a:lnTo>
                  <a:pt x="42" y="108"/>
                </a:lnTo>
                <a:lnTo>
                  <a:pt x="41" y="108"/>
                </a:lnTo>
                <a:lnTo>
                  <a:pt x="36" y="107"/>
                </a:lnTo>
                <a:lnTo>
                  <a:pt x="35" y="107"/>
                </a:lnTo>
                <a:lnTo>
                  <a:pt x="35" y="106"/>
                </a:lnTo>
                <a:lnTo>
                  <a:pt x="37" y="104"/>
                </a:lnTo>
                <a:lnTo>
                  <a:pt x="45" y="105"/>
                </a:lnTo>
                <a:lnTo>
                  <a:pt x="48" y="105"/>
                </a:lnTo>
                <a:lnTo>
                  <a:pt x="48" y="101"/>
                </a:lnTo>
                <a:lnTo>
                  <a:pt x="49" y="101"/>
                </a:lnTo>
                <a:lnTo>
                  <a:pt x="49" y="100"/>
                </a:lnTo>
                <a:lnTo>
                  <a:pt x="52" y="98"/>
                </a:lnTo>
                <a:lnTo>
                  <a:pt x="52" y="93"/>
                </a:lnTo>
                <a:lnTo>
                  <a:pt x="51" y="92"/>
                </a:lnTo>
                <a:lnTo>
                  <a:pt x="51" y="91"/>
                </a:lnTo>
                <a:lnTo>
                  <a:pt x="47" y="91"/>
                </a:lnTo>
                <a:lnTo>
                  <a:pt x="45" y="89"/>
                </a:lnTo>
                <a:lnTo>
                  <a:pt x="35" y="83"/>
                </a:lnTo>
                <a:lnTo>
                  <a:pt x="33" y="81"/>
                </a:lnTo>
                <a:lnTo>
                  <a:pt x="31" y="79"/>
                </a:lnTo>
                <a:lnTo>
                  <a:pt x="31" y="77"/>
                </a:lnTo>
                <a:lnTo>
                  <a:pt x="30" y="77"/>
                </a:lnTo>
                <a:lnTo>
                  <a:pt x="30" y="76"/>
                </a:lnTo>
                <a:lnTo>
                  <a:pt x="29" y="76"/>
                </a:lnTo>
                <a:lnTo>
                  <a:pt x="29" y="73"/>
                </a:lnTo>
                <a:lnTo>
                  <a:pt x="28" y="73"/>
                </a:lnTo>
                <a:lnTo>
                  <a:pt x="27" y="71"/>
                </a:lnTo>
                <a:lnTo>
                  <a:pt x="27" y="68"/>
                </a:lnTo>
                <a:lnTo>
                  <a:pt x="28" y="67"/>
                </a:lnTo>
                <a:lnTo>
                  <a:pt x="29" y="64"/>
                </a:lnTo>
                <a:lnTo>
                  <a:pt x="30" y="64"/>
                </a:lnTo>
                <a:lnTo>
                  <a:pt x="34" y="62"/>
                </a:lnTo>
                <a:lnTo>
                  <a:pt x="35" y="61"/>
                </a:lnTo>
                <a:lnTo>
                  <a:pt x="36" y="58"/>
                </a:lnTo>
                <a:lnTo>
                  <a:pt x="36" y="57"/>
                </a:lnTo>
                <a:lnTo>
                  <a:pt x="33" y="57"/>
                </a:lnTo>
                <a:lnTo>
                  <a:pt x="33" y="56"/>
                </a:lnTo>
                <a:lnTo>
                  <a:pt x="30" y="54"/>
                </a:lnTo>
                <a:lnTo>
                  <a:pt x="29" y="54"/>
                </a:lnTo>
                <a:lnTo>
                  <a:pt x="29" y="52"/>
                </a:lnTo>
                <a:lnTo>
                  <a:pt x="28" y="52"/>
                </a:lnTo>
                <a:lnTo>
                  <a:pt x="28" y="49"/>
                </a:lnTo>
                <a:lnTo>
                  <a:pt x="27" y="49"/>
                </a:lnTo>
                <a:lnTo>
                  <a:pt x="27" y="50"/>
                </a:lnTo>
                <a:lnTo>
                  <a:pt x="22" y="50"/>
                </a:lnTo>
                <a:lnTo>
                  <a:pt x="20" y="49"/>
                </a:lnTo>
                <a:lnTo>
                  <a:pt x="18" y="48"/>
                </a:lnTo>
                <a:lnTo>
                  <a:pt x="17" y="48"/>
                </a:lnTo>
                <a:lnTo>
                  <a:pt x="16" y="46"/>
                </a:lnTo>
                <a:lnTo>
                  <a:pt x="15" y="48"/>
                </a:lnTo>
                <a:lnTo>
                  <a:pt x="12" y="45"/>
                </a:lnTo>
                <a:lnTo>
                  <a:pt x="14" y="44"/>
                </a:lnTo>
                <a:lnTo>
                  <a:pt x="17" y="44"/>
                </a:lnTo>
                <a:lnTo>
                  <a:pt x="20" y="43"/>
                </a:lnTo>
                <a:lnTo>
                  <a:pt x="20" y="42"/>
                </a:lnTo>
                <a:lnTo>
                  <a:pt x="18" y="42"/>
                </a:lnTo>
                <a:lnTo>
                  <a:pt x="16" y="39"/>
                </a:lnTo>
                <a:lnTo>
                  <a:pt x="12" y="39"/>
                </a:lnTo>
                <a:lnTo>
                  <a:pt x="11" y="38"/>
                </a:lnTo>
                <a:lnTo>
                  <a:pt x="12" y="37"/>
                </a:lnTo>
                <a:lnTo>
                  <a:pt x="11" y="33"/>
                </a:lnTo>
                <a:lnTo>
                  <a:pt x="15" y="31"/>
                </a:lnTo>
                <a:lnTo>
                  <a:pt x="21" y="25"/>
                </a:lnTo>
                <a:lnTo>
                  <a:pt x="24" y="25"/>
                </a:lnTo>
                <a:lnTo>
                  <a:pt x="27" y="26"/>
                </a:lnTo>
                <a:lnTo>
                  <a:pt x="30" y="26"/>
                </a:lnTo>
                <a:lnTo>
                  <a:pt x="33" y="28"/>
                </a:lnTo>
                <a:lnTo>
                  <a:pt x="39" y="31"/>
                </a:lnTo>
                <a:lnTo>
                  <a:pt x="42" y="31"/>
                </a:lnTo>
                <a:lnTo>
                  <a:pt x="42" y="32"/>
                </a:lnTo>
                <a:lnTo>
                  <a:pt x="40" y="32"/>
                </a:lnTo>
                <a:lnTo>
                  <a:pt x="40" y="33"/>
                </a:lnTo>
                <a:lnTo>
                  <a:pt x="41" y="36"/>
                </a:lnTo>
                <a:lnTo>
                  <a:pt x="42" y="37"/>
                </a:lnTo>
                <a:lnTo>
                  <a:pt x="43" y="37"/>
                </a:lnTo>
                <a:lnTo>
                  <a:pt x="45" y="38"/>
                </a:lnTo>
                <a:lnTo>
                  <a:pt x="52" y="40"/>
                </a:lnTo>
                <a:lnTo>
                  <a:pt x="55" y="40"/>
                </a:lnTo>
                <a:lnTo>
                  <a:pt x="57" y="39"/>
                </a:lnTo>
                <a:lnTo>
                  <a:pt x="62" y="39"/>
                </a:lnTo>
                <a:lnTo>
                  <a:pt x="67" y="44"/>
                </a:lnTo>
                <a:lnTo>
                  <a:pt x="70" y="45"/>
                </a:lnTo>
                <a:lnTo>
                  <a:pt x="71" y="45"/>
                </a:lnTo>
                <a:lnTo>
                  <a:pt x="72" y="48"/>
                </a:lnTo>
                <a:lnTo>
                  <a:pt x="73" y="48"/>
                </a:lnTo>
                <a:lnTo>
                  <a:pt x="74" y="46"/>
                </a:lnTo>
                <a:lnTo>
                  <a:pt x="74" y="45"/>
                </a:lnTo>
                <a:lnTo>
                  <a:pt x="78" y="45"/>
                </a:lnTo>
                <a:lnTo>
                  <a:pt x="79" y="44"/>
                </a:lnTo>
                <a:lnTo>
                  <a:pt x="79" y="40"/>
                </a:lnTo>
                <a:lnTo>
                  <a:pt x="80" y="38"/>
                </a:lnTo>
                <a:lnTo>
                  <a:pt x="82" y="37"/>
                </a:lnTo>
                <a:lnTo>
                  <a:pt x="82" y="34"/>
                </a:lnTo>
                <a:lnTo>
                  <a:pt x="80" y="32"/>
                </a:lnTo>
                <a:lnTo>
                  <a:pt x="79" y="31"/>
                </a:lnTo>
                <a:lnTo>
                  <a:pt x="78" y="31"/>
                </a:lnTo>
                <a:lnTo>
                  <a:pt x="78" y="30"/>
                </a:lnTo>
                <a:lnTo>
                  <a:pt x="76" y="28"/>
                </a:lnTo>
                <a:lnTo>
                  <a:pt x="72" y="26"/>
                </a:lnTo>
                <a:lnTo>
                  <a:pt x="70" y="25"/>
                </a:lnTo>
                <a:lnTo>
                  <a:pt x="68" y="24"/>
                </a:lnTo>
                <a:lnTo>
                  <a:pt x="66" y="22"/>
                </a:lnTo>
                <a:lnTo>
                  <a:pt x="65" y="21"/>
                </a:lnTo>
                <a:lnTo>
                  <a:pt x="65" y="18"/>
                </a:lnTo>
                <a:lnTo>
                  <a:pt x="64" y="15"/>
                </a:lnTo>
                <a:lnTo>
                  <a:pt x="62" y="15"/>
                </a:lnTo>
                <a:lnTo>
                  <a:pt x="62" y="16"/>
                </a:lnTo>
                <a:lnTo>
                  <a:pt x="61" y="15"/>
                </a:lnTo>
                <a:lnTo>
                  <a:pt x="60" y="13"/>
                </a:lnTo>
                <a:lnTo>
                  <a:pt x="60" y="11"/>
                </a:lnTo>
                <a:lnTo>
                  <a:pt x="61" y="8"/>
                </a:lnTo>
                <a:lnTo>
                  <a:pt x="62" y="7"/>
                </a:lnTo>
                <a:lnTo>
                  <a:pt x="65" y="8"/>
                </a:lnTo>
                <a:lnTo>
                  <a:pt x="70" y="3"/>
                </a:lnTo>
                <a:lnTo>
                  <a:pt x="71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" name="Freeform 56">
            <a:extLst>
              <a:ext uri="{FF2B5EF4-FFF2-40B4-BE49-F238E27FC236}">
                <a16:creationId xmlns:a16="http://schemas.microsoft.com/office/drawing/2014/main" id="{AE3F1127-BD3B-4F42-9D14-A385DB7857CB}"/>
              </a:ext>
            </a:extLst>
          </p:cNvPr>
          <p:cNvSpPr>
            <a:spLocks noEditPoints="1"/>
          </p:cNvSpPr>
          <p:nvPr/>
        </p:nvSpPr>
        <p:spPr bwMode="auto">
          <a:xfrm>
            <a:off x="1814169" y="4808885"/>
            <a:ext cx="465110" cy="239076"/>
          </a:xfrm>
          <a:custGeom>
            <a:avLst/>
            <a:gdLst/>
            <a:ahLst/>
            <a:cxnLst>
              <a:cxn ang="0">
                <a:pos x="113" y="82"/>
              </a:cxn>
              <a:cxn ang="0">
                <a:pos x="231" y="0"/>
              </a:cxn>
              <a:cxn ang="0">
                <a:pos x="246" y="2"/>
              </a:cxn>
              <a:cxn ang="0">
                <a:pos x="264" y="10"/>
              </a:cxn>
              <a:cxn ang="0">
                <a:pos x="287" y="18"/>
              </a:cxn>
              <a:cxn ang="0">
                <a:pos x="299" y="16"/>
              </a:cxn>
              <a:cxn ang="0">
                <a:pos x="312" y="26"/>
              </a:cxn>
              <a:cxn ang="0">
                <a:pos x="310" y="43"/>
              </a:cxn>
              <a:cxn ang="0">
                <a:pos x="317" y="57"/>
              </a:cxn>
              <a:cxn ang="0">
                <a:pos x="318" y="67"/>
              </a:cxn>
              <a:cxn ang="0">
                <a:pos x="316" y="75"/>
              </a:cxn>
              <a:cxn ang="0">
                <a:pos x="308" y="84"/>
              </a:cxn>
              <a:cxn ang="0">
                <a:pos x="295" y="81"/>
              </a:cxn>
              <a:cxn ang="0">
                <a:pos x="295" y="87"/>
              </a:cxn>
              <a:cxn ang="0">
                <a:pos x="301" y="99"/>
              </a:cxn>
              <a:cxn ang="0">
                <a:pos x="291" y="112"/>
              </a:cxn>
              <a:cxn ang="0">
                <a:pos x="292" y="121"/>
              </a:cxn>
              <a:cxn ang="0">
                <a:pos x="290" y="127"/>
              </a:cxn>
              <a:cxn ang="0">
                <a:pos x="278" y="135"/>
              </a:cxn>
              <a:cxn ang="0">
                <a:pos x="271" y="146"/>
              </a:cxn>
              <a:cxn ang="0">
                <a:pos x="253" y="148"/>
              </a:cxn>
              <a:cxn ang="0">
                <a:pos x="228" y="150"/>
              </a:cxn>
              <a:cxn ang="0">
                <a:pos x="220" y="159"/>
              </a:cxn>
              <a:cxn ang="0">
                <a:pos x="211" y="165"/>
              </a:cxn>
              <a:cxn ang="0">
                <a:pos x="192" y="159"/>
              </a:cxn>
              <a:cxn ang="0">
                <a:pos x="167" y="155"/>
              </a:cxn>
              <a:cxn ang="0">
                <a:pos x="137" y="149"/>
              </a:cxn>
              <a:cxn ang="0">
                <a:pos x="118" y="142"/>
              </a:cxn>
              <a:cxn ang="0">
                <a:pos x="110" y="129"/>
              </a:cxn>
              <a:cxn ang="0">
                <a:pos x="98" y="127"/>
              </a:cxn>
              <a:cxn ang="0">
                <a:pos x="85" y="128"/>
              </a:cxn>
              <a:cxn ang="0">
                <a:pos x="69" y="129"/>
              </a:cxn>
              <a:cxn ang="0">
                <a:pos x="56" y="142"/>
              </a:cxn>
              <a:cxn ang="0">
                <a:pos x="47" y="136"/>
              </a:cxn>
              <a:cxn ang="0">
                <a:pos x="32" y="131"/>
              </a:cxn>
              <a:cxn ang="0">
                <a:pos x="15" y="127"/>
              </a:cxn>
              <a:cxn ang="0">
                <a:pos x="3" y="117"/>
              </a:cxn>
              <a:cxn ang="0">
                <a:pos x="0" y="94"/>
              </a:cxn>
              <a:cxn ang="0">
                <a:pos x="17" y="94"/>
              </a:cxn>
              <a:cxn ang="0">
                <a:pos x="22" y="102"/>
              </a:cxn>
              <a:cxn ang="0">
                <a:pos x="26" y="109"/>
              </a:cxn>
              <a:cxn ang="0">
                <a:pos x="37" y="97"/>
              </a:cxn>
              <a:cxn ang="0">
                <a:pos x="51" y="94"/>
              </a:cxn>
              <a:cxn ang="0">
                <a:pos x="61" y="100"/>
              </a:cxn>
              <a:cxn ang="0">
                <a:pos x="74" y="102"/>
              </a:cxn>
              <a:cxn ang="0">
                <a:pos x="86" y="94"/>
              </a:cxn>
              <a:cxn ang="0">
                <a:pos x="116" y="85"/>
              </a:cxn>
              <a:cxn ang="0">
                <a:pos x="127" y="88"/>
              </a:cxn>
              <a:cxn ang="0">
                <a:pos x="137" y="93"/>
              </a:cxn>
              <a:cxn ang="0">
                <a:pos x="149" y="85"/>
              </a:cxn>
              <a:cxn ang="0">
                <a:pos x="144" y="73"/>
              </a:cxn>
              <a:cxn ang="0">
                <a:pos x="136" y="57"/>
              </a:cxn>
              <a:cxn ang="0">
                <a:pos x="160" y="44"/>
              </a:cxn>
              <a:cxn ang="0">
                <a:pos x="168" y="27"/>
              </a:cxn>
              <a:cxn ang="0">
                <a:pos x="180" y="26"/>
              </a:cxn>
              <a:cxn ang="0">
                <a:pos x="184" y="18"/>
              </a:cxn>
              <a:cxn ang="0">
                <a:pos x="190" y="25"/>
              </a:cxn>
              <a:cxn ang="0">
                <a:pos x="206" y="27"/>
              </a:cxn>
              <a:cxn ang="0">
                <a:pos x="218" y="27"/>
              </a:cxn>
              <a:cxn ang="0">
                <a:pos x="228" y="13"/>
              </a:cxn>
            </a:cxnLst>
            <a:rect l="0" t="0" r="r" b="b"/>
            <a:pathLst>
              <a:path w="321" h="165">
                <a:moveTo>
                  <a:pt x="38" y="91"/>
                </a:moveTo>
                <a:lnTo>
                  <a:pt x="40" y="91"/>
                </a:lnTo>
                <a:lnTo>
                  <a:pt x="40" y="92"/>
                </a:lnTo>
                <a:lnTo>
                  <a:pt x="38" y="93"/>
                </a:lnTo>
                <a:lnTo>
                  <a:pt x="37" y="93"/>
                </a:lnTo>
                <a:lnTo>
                  <a:pt x="37" y="92"/>
                </a:lnTo>
                <a:lnTo>
                  <a:pt x="38" y="91"/>
                </a:lnTo>
                <a:close/>
                <a:moveTo>
                  <a:pt x="112" y="82"/>
                </a:moveTo>
                <a:lnTo>
                  <a:pt x="113" y="82"/>
                </a:lnTo>
                <a:lnTo>
                  <a:pt x="113" y="85"/>
                </a:lnTo>
                <a:lnTo>
                  <a:pt x="112" y="85"/>
                </a:lnTo>
                <a:lnTo>
                  <a:pt x="112" y="82"/>
                </a:lnTo>
                <a:close/>
                <a:moveTo>
                  <a:pt x="115" y="81"/>
                </a:moveTo>
                <a:lnTo>
                  <a:pt x="115" y="82"/>
                </a:lnTo>
                <a:lnTo>
                  <a:pt x="113" y="82"/>
                </a:lnTo>
                <a:lnTo>
                  <a:pt x="115" y="81"/>
                </a:lnTo>
                <a:close/>
                <a:moveTo>
                  <a:pt x="230" y="0"/>
                </a:moveTo>
                <a:lnTo>
                  <a:pt x="231" y="0"/>
                </a:lnTo>
                <a:lnTo>
                  <a:pt x="234" y="1"/>
                </a:lnTo>
                <a:lnTo>
                  <a:pt x="236" y="1"/>
                </a:lnTo>
                <a:lnTo>
                  <a:pt x="237" y="2"/>
                </a:lnTo>
                <a:lnTo>
                  <a:pt x="237" y="5"/>
                </a:lnTo>
                <a:lnTo>
                  <a:pt x="241" y="5"/>
                </a:lnTo>
                <a:lnTo>
                  <a:pt x="241" y="4"/>
                </a:lnTo>
                <a:lnTo>
                  <a:pt x="242" y="4"/>
                </a:lnTo>
                <a:lnTo>
                  <a:pt x="242" y="2"/>
                </a:lnTo>
                <a:lnTo>
                  <a:pt x="246" y="2"/>
                </a:lnTo>
                <a:lnTo>
                  <a:pt x="248" y="4"/>
                </a:lnTo>
                <a:lnTo>
                  <a:pt x="249" y="5"/>
                </a:lnTo>
                <a:lnTo>
                  <a:pt x="251" y="5"/>
                </a:lnTo>
                <a:lnTo>
                  <a:pt x="253" y="7"/>
                </a:lnTo>
                <a:lnTo>
                  <a:pt x="254" y="7"/>
                </a:lnTo>
                <a:lnTo>
                  <a:pt x="256" y="8"/>
                </a:lnTo>
                <a:lnTo>
                  <a:pt x="260" y="11"/>
                </a:lnTo>
                <a:lnTo>
                  <a:pt x="262" y="11"/>
                </a:lnTo>
                <a:lnTo>
                  <a:pt x="264" y="10"/>
                </a:lnTo>
                <a:lnTo>
                  <a:pt x="266" y="10"/>
                </a:lnTo>
                <a:lnTo>
                  <a:pt x="266" y="11"/>
                </a:lnTo>
                <a:lnTo>
                  <a:pt x="268" y="11"/>
                </a:lnTo>
                <a:lnTo>
                  <a:pt x="267" y="12"/>
                </a:lnTo>
                <a:lnTo>
                  <a:pt x="270" y="12"/>
                </a:lnTo>
                <a:lnTo>
                  <a:pt x="270" y="13"/>
                </a:lnTo>
                <a:lnTo>
                  <a:pt x="274" y="17"/>
                </a:lnTo>
                <a:lnTo>
                  <a:pt x="277" y="18"/>
                </a:lnTo>
                <a:lnTo>
                  <a:pt x="287" y="18"/>
                </a:lnTo>
                <a:lnTo>
                  <a:pt x="289" y="19"/>
                </a:lnTo>
                <a:lnTo>
                  <a:pt x="289" y="18"/>
                </a:lnTo>
                <a:lnTo>
                  <a:pt x="291" y="14"/>
                </a:lnTo>
                <a:lnTo>
                  <a:pt x="293" y="14"/>
                </a:lnTo>
                <a:lnTo>
                  <a:pt x="295" y="13"/>
                </a:lnTo>
                <a:lnTo>
                  <a:pt x="296" y="13"/>
                </a:lnTo>
                <a:lnTo>
                  <a:pt x="296" y="14"/>
                </a:lnTo>
                <a:lnTo>
                  <a:pt x="298" y="14"/>
                </a:lnTo>
                <a:lnTo>
                  <a:pt x="299" y="16"/>
                </a:lnTo>
                <a:lnTo>
                  <a:pt x="301" y="16"/>
                </a:lnTo>
                <a:lnTo>
                  <a:pt x="301" y="18"/>
                </a:lnTo>
                <a:lnTo>
                  <a:pt x="304" y="18"/>
                </a:lnTo>
                <a:lnTo>
                  <a:pt x="307" y="20"/>
                </a:lnTo>
                <a:lnTo>
                  <a:pt x="308" y="19"/>
                </a:lnTo>
                <a:lnTo>
                  <a:pt x="310" y="19"/>
                </a:lnTo>
                <a:lnTo>
                  <a:pt x="311" y="20"/>
                </a:lnTo>
                <a:lnTo>
                  <a:pt x="311" y="25"/>
                </a:lnTo>
                <a:lnTo>
                  <a:pt x="312" y="26"/>
                </a:lnTo>
                <a:lnTo>
                  <a:pt x="314" y="30"/>
                </a:lnTo>
                <a:lnTo>
                  <a:pt x="312" y="30"/>
                </a:lnTo>
                <a:lnTo>
                  <a:pt x="312" y="31"/>
                </a:lnTo>
                <a:lnTo>
                  <a:pt x="311" y="32"/>
                </a:lnTo>
                <a:lnTo>
                  <a:pt x="311" y="33"/>
                </a:lnTo>
                <a:lnTo>
                  <a:pt x="309" y="36"/>
                </a:lnTo>
                <a:lnTo>
                  <a:pt x="309" y="42"/>
                </a:lnTo>
                <a:lnTo>
                  <a:pt x="310" y="42"/>
                </a:lnTo>
                <a:lnTo>
                  <a:pt x="310" y="43"/>
                </a:lnTo>
                <a:lnTo>
                  <a:pt x="311" y="43"/>
                </a:lnTo>
                <a:lnTo>
                  <a:pt x="311" y="47"/>
                </a:lnTo>
                <a:lnTo>
                  <a:pt x="312" y="47"/>
                </a:lnTo>
                <a:lnTo>
                  <a:pt x="312" y="48"/>
                </a:lnTo>
                <a:lnTo>
                  <a:pt x="314" y="48"/>
                </a:lnTo>
                <a:lnTo>
                  <a:pt x="314" y="54"/>
                </a:lnTo>
                <a:lnTo>
                  <a:pt x="316" y="56"/>
                </a:lnTo>
                <a:lnTo>
                  <a:pt x="317" y="56"/>
                </a:lnTo>
                <a:lnTo>
                  <a:pt x="317" y="57"/>
                </a:lnTo>
                <a:lnTo>
                  <a:pt x="318" y="59"/>
                </a:lnTo>
                <a:lnTo>
                  <a:pt x="318" y="60"/>
                </a:lnTo>
                <a:lnTo>
                  <a:pt x="317" y="61"/>
                </a:lnTo>
                <a:lnTo>
                  <a:pt x="318" y="61"/>
                </a:lnTo>
                <a:lnTo>
                  <a:pt x="318" y="62"/>
                </a:lnTo>
                <a:lnTo>
                  <a:pt x="320" y="63"/>
                </a:lnTo>
                <a:lnTo>
                  <a:pt x="321" y="63"/>
                </a:lnTo>
                <a:lnTo>
                  <a:pt x="321" y="64"/>
                </a:lnTo>
                <a:lnTo>
                  <a:pt x="318" y="67"/>
                </a:lnTo>
                <a:lnTo>
                  <a:pt x="320" y="67"/>
                </a:lnTo>
                <a:lnTo>
                  <a:pt x="320" y="68"/>
                </a:lnTo>
                <a:lnTo>
                  <a:pt x="318" y="68"/>
                </a:lnTo>
                <a:lnTo>
                  <a:pt x="318" y="72"/>
                </a:lnTo>
                <a:lnTo>
                  <a:pt x="317" y="73"/>
                </a:lnTo>
                <a:lnTo>
                  <a:pt x="315" y="73"/>
                </a:lnTo>
                <a:lnTo>
                  <a:pt x="315" y="74"/>
                </a:lnTo>
                <a:lnTo>
                  <a:pt x="316" y="74"/>
                </a:lnTo>
                <a:lnTo>
                  <a:pt x="316" y="75"/>
                </a:lnTo>
                <a:lnTo>
                  <a:pt x="317" y="75"/>
                </a:lnTo>
                <a:lnTo>
                  <a:pt x="317" y="82"/>
                </a:lnTo>
                <a:lnTo>
                  <a:pt x="318" y="82"/>
                </a:lnTo>
                <a:lnTo>
                  <a:pt x="318" y="84"/>
                </a:lnTo>
                <a:lnTo>
                  <a:pt x="315" y="84"/>
                </a:lnTo>
                <a:lnTo>
                  <a:pt x="311" y="85"/>
                </a:lnTo>
                <a:lnTo>
                  <a:pt x="309" y="85"/>
                </a:lnTo>
                <a:lnTo>
                  <a:pt x="309" y="82"/>
                </a:lnTo>
                <a:lnTo>
                  <a:pt x="308" y="84"/>
                </a:lnTo>
                <a:lnTo>
                  <a:pt x="308" y="85"/>
                </a:lnTo>
                <a:lnTo>
                  <a:pt x="304" y="85"/>
                </a:lnTo>
                <a:lnTo>
                  <a:pt x="303" y="84"/>
                </a:lnTo>
                <a:lnTo>
                  <a:pt x="303" y="82"/>
                </a:lnTo>
                <a:lnTo>
                  <a:pt x="302" y="81"/>
                </a:lnTo>
                <a:lnTo>
                  <a:pt x="298" y="80"/>
                </a:lnTo>
                <a:lnTo>
                  <a:pt x="297" y="80"/>
                </a:lnTo>
                <a:lnTo>
                  <a:pt x="296" y="81"/>
                </a:lnTo>
                <a:lnTo>
                  <a:pt x="295" y="81"/>
                </a:lnTo>
                <a:lnTo>
                  <a:pt x="296" y="82"/>
                </a:lnTo>
                <a:lnTo>
                  <a:pt x="295" y="82"/>
                </a:lnTo>
                <a:lnTo>
                  <a:pt x="295" y="84"/>
                </a:lnTo>
                <a:lnTo>
                  <a:pt x="293" y="84"/>
                </a:lnTo>
                <a:lnTo>
                  <a:pt x="292" y="85"/>
                </a:lnTo>
                <a:lnTo>
                  <a:pt x="291" y="84"/>
                </a:lnTo>
                <a:lnTo>
                  <a:pt x="291" y="86"/>
                </a:lnTo>
                <a:lnTo>
                  <a:pt x="293" y="87"/>
                </a:lnTo>
                <a:lnTo>
                  <a:pt x="295" y="87"/>
                </a:lnTo>
                <a:lnTo>
                  <a:pt x="297" y="88"/>
                </a:lnTo>
                <a:lnTo>
                  <a:pt x="299" y="88"/>
                </a:lnTo>
                <a:lnTo>
                  <a:pt x="301" y="90"/>
                </a:lnTo>
                <a:lnTo>
                  <a:pt x="301" y="92"/>
                </a:lnTo>
                <a:lnTo>
                  <a:pt x="302" y="93"/>
                </a:lnTo>
                <a:lnTo>
                  <a:pt x="302" y="96"/>
                </a:lnTo>
                <a:lnTo>
                  <a:pt x="301" y="96"/>
                </a:lnTo>
                <a:lnTo>
                  <a:pt x="299" y="97"/>
                </a:lnTo>
                <a:lnTo>
                  <a:pt x="301" y="99"/>
                </a:lnTo>
                <a:lnTo>
                  <a:pt x="299" y="99"/>
                </a:lnTo>
                <a:lnTo>
                  <a:pt x="298" y="100"/>
                </a:lnTo>
                <a:lnTo>
                  <a:pt x="293" y="103"/>
                </a:lnTo>
                <a:lnTo>
                  <a:pt x="292" y="102"/>
                </a:lnTo>
                <a:lnTo>
                  <a:pt x="291" y="103"/>
                </a:lnTo>
                <a:lnTo>
                  <a:pt x="291" y="106"/>
                </a:lnTo>
                <a:lnTo>
                  <a:pt x="292" y="109"/>
                </a:lnTo>
                <a:lnTo>
                  <a:pt x="293" y="110"/>
                </a:lnTo>
                <a:lnTo>
                  <a:pt x="291" y="112"/>
                </a:lnTo>
                <a:lnTo>
                  <a:pt x="291" y="113"/>
                </a:lnTo>
                <a:lnTo>
                  <a:pt x="290" y="115"/>
                </a:lnTo>
                <a:lnTo>
                  <a:pt x="290" y="116"/>
                </a:lnTo>
                <a:lnTo>
                  <a:pt x="291" y="116"/>
                </a:lnTo>
                <a:lnTo>
                  <a:pt x="291" y="118"/>
                </a:lnTo>
                <a:lnTo>
                  <a:pt x="295" y="118"/>
                </a:lnTo>
                <a:lnTo>
                  <a:pt x="295" y="119"/>
                </a:lnTo>
                <a:lnTo>
                  <a:pt x="293" y="121"/>
                </a:lnTo>
                <a:lnTo>
                  <a:pt x="292" y="121"/>
                </a:lnTo>
                <a:lnTo>
                  <a:pt x="292" y="123"/>
                </a:lnTo>
                <a:lnTo>
                  <a:pt x="293" y="123"/>
                </a:lnTo>
                <a:lnTo>
                  <a:pt x="293" y="124"/>
                </a:lnTo>
                <a:lnTo>
                  <a:pt x="291" y="125"/>
                </a:lnTo>
                <a:lnTo>
                  <a:pt x="292" y="125"/>
                </a:lnTo>
                <a:lnTo>
                  <a:pt x="293" y="127"/>
                </a:lnTo>
                <a:lnTo>
                  <a:pt x="292" y="128"/>
                </a:lnTo>
                <a:lnTo>
                  <a:pt x="290" y="128"/>
                </a:lnTo>
                <a:lnTo>
                  <a:pt x="290" y="127"/>
                </a:lnTo>
                <a:lnTo>
                  <a:pt x="285" y="127"/>
                </a:lnTo>
                <a:lnTo>
                  <a:pt x="284" y="128"/>
                </a:lnTo>
                <a:lnTo>
                  <a:pt x="284" y="129"/>
                </a:lnTo>
                <a:lnTo>
                  <a:pt x="283" y="129"/>
                </a:lnTo>
                <a:lnTo>
                  <a:pt x="283" y="131"/>
                </a:lnTo>
                <a:lnTo>
                  <a:pt x="282" y="131"/>
                </a:lnTo>
                <a:lnTo>
                  <a:pt x="280" y="133"/>
                </a:lnTo>
                <a:lnTo>
                  <a:pt x="279" y="133"/>
                </a:lnTo>
                <a:lnTo>
                  <a:pt x="278" y="135"/>
                </a:lnTo>
                <a:lnTo>
                  <a:pt x="277" y="136"/>
                </a:lnTo>
                <a:lnTo>
                  <a:pt x="276" y="136"/>
                </a:lnTo>
                <a:lnTo>
                  <a:pt x="274" y="137"/>
                </a:lnTo>
                <a:lnTo>
                  <a:pt x="272" y="137"/>
                </a:lnTo>
                <a:lnTo>
                  <a:pt x="272" y="144"/>
                </a:lnTo>
                <a:lnTo>
                  <a:pt x="273" y="144"/>
                </a:lnTo>
                <a:lnTo>
                  <a:pt x="273" y="147"/>
                </a:lnTo>
                <a:lnTo>
                  <a:pt x="272" y="146"/>
                </a:lnTo>
                <a:lnTo>
                  <a:pt x="271" y="146"/>
                </a:lnTo>
                <a:lnTo>
                  <a:pt x="268" y="144"/>
                </a:lnTo>
                <a:lnTo>
                  <a:pt x="264" y="144"/>
                </a:lnTo>
                <a:lnTo>
                  <a:pt x="262" y="146"/>
                </a:lnTo>
                <a:lnTo>
                  <a:pt x="261" y="146"/>
                </a:lnTo>
                <a:lnTo>
                  <a:pt x="259" y="144"/>
                </a:lnTo>
                <a:lnTo>
                  <a:pt x="258" y="144"/>
                </a:lnTo>
                <a:lnTo>
                  <a:pt x="258" y="147"/>
                </a:lnTo>
                <a:lnTo>
                  <a:pt x="254" y="147"/>
                </a:lnTo>
                <a:lnTo>
                  <a:pt x="253" y="148"/>
                </a:lnTo>
                <a:lnTo>
                  <a:pt x="253" y="150"/>
                </a:lnTo>
                <a:lnTo>
                  <a:pt x="249" y="150"/>
                </a:lnTo>
                <a:lnTo>
                  <a:pt x="248" y="149"/>
                </a:lnTo>
                <a:lnTo>
                  <a:pt x="234" y="149"/>
                </a:lnTo>
                <a:lnTo>
                  <a:pt x="234" y="148"/>
                </a:lnTo>
                <a:lnTo>
                  <a:pt x="231" y="149"/>
                </a:lnTo>
                <a:lnTo>
                  <a:pt x="229" y="152"/>
                </a:lnTo>
                <a:lnTo>
                  <a:pt x="229" y="150"/>
                </a:lnTo>
                <a:lnTo>
                  <a:pt x="228" y="150"/>
                </a:lnTo>
                <a:lnTo>
                  <a:pt x="227" y="152"/>
                </a:lnTo>
                <a:lnTo>
                  <a:pt x="224" y="152"/>
                </a:lnTo>
                <a:lnTo>
                  <a:pt x="224" y="153"/>
                </a:lnTo>
                <a:lnTo>
                  <a:pt x="223" y="154"/>
                </a:lnTo>
                <a:lnTo>
                  <a:pt x="223" y="155"/>
                </a:lnTo>
                <a:lnTo>
                  <a:pt x="222" y="156"/>
                </a:lnTo>
                <a:lnTo>
                  <a:pt x="222" y="158"/>
                </a:lnTo>
                <a:lnTo>
                  <a:pt x="221" y="158"/>
                </a:lnTo>
                <a:lnTo>
                  <a:pt x="220" y="159"/>
                </a:lnTo>
                <a:lnTo>
                  <a:pt x="220" y="158"/>
                </a:lnTo>
                <a:lnTo>
                  <a:pt x="217" y="160"/>
                </a:lnTo>
                <a:lnTo>
                  <a:pt x="216" y="160"/>
                </a:lnTo>
                <a:lnTo>
                  <a:pt x="216" y="161"/>
                </a:lnTo>
                <a:lnTo>
                  <a:pt x="214" y="161"/>
                </a:lnTo>
                <a:lnTo>
                  <a:pt x="214" y="162"/>
                </a:lnTo>
                <a:lnTo>
                  <a:pt x="212" y="162"/>
                </a:lnTo>
                <a:lnTo>
                  <a:pt x="212" y="165"/>
                </a:lnTo>
                <a:lnTo>
                  <a:pt x="211" y="165"/>
                </a:lnTo>
                <a:lnTo>
                  <a:pt x="210" y="164"/>
                </a:lnTo>
                <a:lnTo>
                  <a:pt x="210" y="162"/>
                </a:lnTo>
                <a:lnTo>
                  <a:pt x="209" y="164"/>
                </a:lnTo>
                <a:lnTo>
                  <a:pt x="208" y="164"/>
                </a:lnTo>
                <a:lnTo>
                  <a:pt x="208" y="162"/>
                </a:lnTo>
                <a:lnTo>
                  <a:pt x="206" y="162"/>
                </a:lnTo>
                <a:lnTo>
                  <a:pt x="205" y="161"/>
                </a:lnTo>
                <a:lnTo>
                  <a:pt x="195" y="161"/>
                </a:lnTo>
                <a:lnTo>
                  <a:pt x="192" y="159"/>
                </a:lnTo>
                <a:lnTo>
                  <a:pt x="187" y="159"/>
                </a:lnTo>
                <a:lnTo>
                  <a:pt x="184" y="158"/>
                </a:lnTo>
                <a:lnTo>
                  <a:pt x="183" y="156"/>
                </a:lnTo>
                <a:lnTo>
                  <a:pt x="180" y="158"/>
                </a:lnTo>
                <a:lnTo>
                  <a:pt x="179" y="158"/>
                </a:lnTo>
                <a:lnTo>
                  <a:pt x="177" y="156"/>
                </a:lnTo>
                <a:lnTo>
                  <a:pt x="174" y="156"/>
                </a:lnTo>
                <a:lnTo>
                  <a:pt x="169" y="155"/>
                </a:lnTo>
                <a:lnTo>
                  <a:pt x="167" y="155"/>
                </a:lnTo>
                <a:lnTo>
                  <a:pt x="167" y="154"/>
                </a:lnTo>
                <a:lnTo>
                  <a:pt x="162" y="154"/>
                </a:lnTo>
                <a:lnTo>
                  <a:pt x="158" y="155"/>
                </a:lnTo>
                <a:lnTo>
                  <a:pt x="156" y="154"/>
                </a:lnTo>
                <a:lnTo>
                  <a:pt x="155" y="154"/>
                </a:lnTo>
                <a:lnTo>
                  <a:pt x="153" y="153"/>
                </a:lnTo>
                <a:lnTo>
                  <a:pt x="149" y="152"/>
                </a:lnTo>
                <a:lnTo>
                  <a:pt x="140" y="152"/>
                </a:lnTo>
                <a:lnTo>
                  <a:pt x="137" y="149"/>
                </a:lnTo>
                <a:lnTo>
                  <a:pt x="134" y="149"/>
                </a:lnTo>
                <a:lnTo>
                  <a:pt x="133" y="148"/>
                </a:lnTo>
                <a:lnTo>
                  <a:pt x="127" y="148"/>
                </a:lnTo>
                <a:lnTo>
                  <a:pt x="125" y="147"/>
                </a:lnTo>
                <a:lnTo>
                  <a:pt x="123" y="147"/>
                </a:lnTo>
                <a:lnTo>
                  <a:pt x="122" y="146"/>
                </a:lnTo>
                <a:lnTo>
                  <a:pt x="119" y="144"/>
                </a:lnTo>
                <a:lnTo>
                  <a:pt x="119" y="143"/>
                </a:lnTo>
                <a:lnTo>
                  <a:pt x="118" y="142"/>
                </a:lnTo>
                <a:lnTo>
                  <a:pt x="118" y="141"/>
                </a:lnTo>
                <a:lnTo>
                  <a:pt x="116" y="141"/>
                </a:lnTo>
                <a:lnTo>
                  <a:pt x="116" y="135"/>
                </a:lnTo>
                <a:lnTo>
                  <a:pt x="112" y="135"/>
                </a:lnTo>
                <a:lnTo>
                  <a:pt x="112" y="134"/>
                </a:lnTo>
                <a:lnTo>
                  <a:pt x="111" y="134"/>
                </a:lnTo>
                <a:lnTo>
                  <a:pt x="111" y="133"/>
                </a:lnTo>
                <a:lnTo>
                  <a:pt x="110" y="133"/>
                </a:lnTo>
                <a:lnTo>
                  <a:pt x="110" y="129"/>
                </a:lnTo>
                <a:lnTo>
                  <a:pt x="109" y="128"/>
                </a:lnTo>
                <a:lnTo>
                  <a:pt x="110" y="127"/>
                </a:lnTo>
                <a:lnTo>
                  <a:pt x="112" y="125"/>
                </a:lnTo>
                <a:lnTo>
                  <a:pt x="112" y="122"/>
                </a:lnTo>
                <a:lnTo>
                  <a:pt x="109" y="122"/>
                </a:lnTo>
                <a:lnTo>
                  <a:pt x="105" y="124"/>
                </a:lnTo>
                <a:lnTo>
                  <a:pt x="102" y="124"/>
                </a:lnTo>
                <a:lnTo>
                  <a:pt x="100" y="125"/>
                </a:lnTo>
                <a:lnTo>
                  <a:pt x="98" y="127"/>
                </a:lnTo>
                <a:lnTo>
                  <a:pt x="97" y="128"/>
                </a:lnTo>
                <a:lnTo>
                  <a:pt x="94" y="128"/>
                </a:lnTo>
                <a:lnTo>
                  <a:pt x="93" y="129"/>
                </a:lnTo>
                <a:lnTo>
                  <a:pt x="92" y="129"/>
                </a:lnTo>
                <a:lnTo>
                  <a:pt x="91" y="128"/>
                </a:lnTo>
                <a:lnTo>
                  <a:pt x="90" y="128"/>
                </a:lnTo>
                <a:lnTo>
                  <a:pt x="87" y="127"/>
                </a:lnTo>
                <a:lnTo>
                  <a:pt x="86" y="127"/>
                </a:lnTo>
                <a:lnTo>
                  <a:pt x="85" y="128"/>
                </a:lnTo>
                <a:lnTo>
                  <a:pt x="84" y="128"/>
                </a:lnTo>
                <a:lnTo>
                  <a:pt x="82" y="127"/>
                </a:lnTo>
                <a:lnTo>
                  <a:pt x="81" y="127"/>
                </a:lnTo>
                <a:lnTo>
                  <a:pt x="81" y="128"/>
                </a:lnTo>
                <a:lnTo>
                  <a:pt x="79" y="129"/>
                </a:lnTo>
                <a:lnTo>
                  <a:pt x="78" y="129"/>
                </a:lnTo>
                <a:lnTo>
                  <a:pt x="77" y="128"/>
                </a:lnTo>
                <a:lnTo>
                  <a:pt x="72" y="128"/>
                </a:lnTo>
                <a:lnTo>
                  <a:pt x="69" y="129"/>
                </a:lnTo>
                <a:lnTo>
                  <a:pt x="66" y="133"/>
                </a:lnTo>
                <a:lnTo>
                  <a:pt x="66" y="134"/>
                </a:lnTo>
                <a:lnTo>
                  <a:pt x="65" y="135"/>
                </a:lnTo>
                <a:lnTo>
                  <a:pt x="65" y="139"/>
                </a:lnTo>
                <a:lnTo>
                  <a:pt x="63" y="139"/>
                </a:lnTo>
                <a:lnTo>
                  <a:pt x="62" y="141"/>
                </a:lnTo>
                <a:lnTo>
                  <a:pt x="59" y="141"/>
                </a:lnTo>
                <a:lnTo>
                  <a:pt x="57" y="142"/>
                </a:lnTo>
                <a:lnTo>
                  <a:pt x="56" y="142"/>
                </a:lnTo>
                <a:lnTo>
                  <a:pt x="56" y="141"/>
                </a:lnTo>
                <a:lnTo>
                  <a:pt x="54" y="141"/>
                </a:lnTo>
                <a:lnTo>
                  <a:pt x="53" y="140"/>
                </a:lnTo>
                <a:lnTo>
                  <a:pt x="50" y="140"/>
                </a:lnTo>
                <a:lnTo>
                  <a:pt x="51" y="139"/>
                </a:lnTo>
                <a:lnTo>
                  <a:pt x="51" y="137"/>
                </a:lnTo>
                <a:lnTo>
                  <a:pt x="48" y="136"/>
                </a:lnTo>
                <a:lnTo>
                  <a:pt x="47" y="135"/>
                </a:lnTo>
                <a:lnTo>
                  <a:pt x="47" y="136"/>
                </a:lnTo>
                <a:lnTo>
                  <a:pt x="42" y="137"/>
                </a:lnTo>
                <a:lnTo>
                  <a:pt x="38" y="134"/>
                </a:lnTo>
                <a:lnTo>
                  <a:pt x="40" y="133"/>
                </a:lnTo>
                <a:lnTo>
                  <a:pt x="40" y="131"/>
                </a:lnTo>
                <a:lnTo>
                  <a:pt x="36" y="128"/>
                </a:lnTo>
                <a:lnTo>
                  <a:pt x="34" y="128"/>
                </a:lnTo>
                <a:lnTo>
                  <a:pt x="34" y="129"/>
                </a:lnTo>
                <a:lnTo>
                  <a:pt x="32" y="130"/>
                </a:lnTo>
                <a:lnTo>
                  <a:pt x="32" y="131"/>
                </a:lnTo>
                <a:lnTo>
                  <a:pt x="30" y="131"/>
                </a:lnTo>
                <a:lnTo>
                  <a:pt x="29" y="133"/>
                </a:lnTo>
                <a:lnTo>
                  <a:pt x="29" y="135"/>
                </a:lnTo>
                <a:lnTo>
                  <a:pt x="26" y="136"/>
                </a:lnTo>
                <a:lnTo>
                  <a:pt x="23" y="136"/>
                </a:lnTo>
                <a:lnTo>
                  <a:pt x="20" y="134"/>
                </a:lnTo>
                <a:lnTo>
                  <a:pt x="16" y="133"/>
                </a:lnTo>
                <a:lnTo>
                  <a:pt x="15" y="131"/>
                </a:lnTo>
                <a:lnTo>
                  <a:pt x="15" y="127"/>
                </a:lnTo>
                <a:lnTo>
                  <a:pt x="13" y="127"/>
                </a:lnTo>
                <a:lnTo>
                  <a:pt x="6" y="124"/>
                </a:lnTo>
                <a:lnTo>
                  <a:pt x="5" y="123"/>
                </a:lnTo>
                <a:lnTo>
                  <a:pt x="3" y="124"/>
                </a:lnTo>
                <a:lnTo>
                  <a:pt x="3" y="123"/>
                </a:lnTo>
                <a:lnTo>
                  <a:pt x="4" y="122"/>
                </a:lnTo>
                <a:lnTo>
                  <a:pt x="4" y="121"/>
                </a:lnTo>
                <a:lnTo>
                  <a:pt x="3" y="119"/>
                </a:lnTo>
                <a:lnTo>
                  <a:pt x="3" y="117"/>
                </a:lnTo>
                <a:lnTo>
                  <a:pt x="1" y="117"/>
                </a:lnTo>
                <a:lnTo>
                  <a:pt x="1" y="113"/>
                </a:lnTo>
                <a:lnTo>
                  <a:pt x="0" y="113"/>
                </a:lnTo>
                <a:lnTo>
                  <a:pt x="0" y="111"/>
                </a:lnTo>
                <a:lnTo>
                  <a:pt x="3" y="106"/>
                </a:lnTo>
                <a:lnTo>
                  <a:pt x="3" y="105"/>
                </a:lnTo>
                <a:lnTo>
                  <a:pt x="5" y="103"/>
                </a:lnTo>
                <a:lnTo>
                  <a:pt x="5" y="99"/>
                </a:lnTo>
                <a:lnTo>
                  <a:pt x="0" y="94"/>
                </a:lnTo>
                <a:lnTo>
                  <a:pt x="7" y="94"/>
                </a:lnTo>
                <a:lnTo>
                  <a:pt x="7" y="93"/>
                </a:lnTo>
                <a:lnTo>
                  <a:pt x="10" y="91"/>
                </a:lnTo>
                <a:lnTo>
                  <a:pt x="12" y="91"/>
                </a:lnTo>
                <a:lnTo>
                  <a:pt x="12" y="93"/>
                </a:lnTo>
                <a:lnTo>
                  <a:pt x="13" y="94"/>
                </a:lnTo>
                <a:lnTo>
                  <a:pt x="13" y="93"/>
                </a:lnTo>
                <a:lnTo>
                  <a:pt x="16" y="94"/>
                </a:lnTo>
                <a:lnTo>
                  <a:pt x="17" y="94"/>
                </a:lnTo>
                <a:lnTo>
                  <a:pt x="18" y="93"/>
                </a:lnTo>
                <a:lnTo>
                  <a:pt x="18" y="96"/>
                </a:lnTo>
                <a:lnTo>
                  <a:pt x="19" y="97"/>
                </a:lnTo>
                <a:lnTo>
                  <a:pt x="19" y="98"/>
                </a:lnTo>
                <a:lnTo>
                  <a:pt x="20" y="98"/>
                </a:lnTo>
                <a:lnTo>
                  <a:pt x="20" y="97"/>
                </a:lnTo>
                <a:lnTo>
                  <a:pt x="23" y="100"/>
                </a:lnTo>
                <a:lnTo>
                  <a:pt x="23" y="102"/>
                </a:lnTo>
                <a:lnTo>
                  <a:pt x="22" y="102"/>
                </a:lnTo>
                <a:lnTo>
                  <a:pt x="23" y="103"/>
                </a:lnTo>
                <a:lnTo>
                  <a:pt x="23" y="105"/>
                </a:lnTo>
                <a:lnTo>
                  <a:pt x="24" y="105"/>
                </a:lnTo>
                <a:lnTo>
                  <a:pt x="24" y="104"/>
                </a:lnTo>
                <a:lnTo>
                  <a:pt x="29" y="104"/>
                </a:lnTo>
                <a:lnTo>
                  <a:pt x="29" y="105"/>
                </a:lnTo>
                <a:lnTo>
                  <a:pt x="28" y="107"/>
                </a:lnTo>
                <a:lnTo>
                  <a:pt x="28" y="109"/>
                </a:lnTo>
                <a:lnTo>
                  <a:pt x="26" y="109"/>
                </a:lnTo>
                <a:lnTo>
                  <a:pt x="26" y="110"/>
                </a:lnTo>
                <a:lnTo>
                  <a:pt x="31" y="110"/>
                </a:lnTo>
                <a:lnTo>
                  <a:pt x="35" y="106"/>
                </a:lnTo>
                <a:lnTo>
                  <a:pt x="35" y="105"/>
                </a:lnTo>
                <a:lnTo>
                  <a:pt x="36" y="104"/>
                </a:lnTo>
                <a:lnTo>
                  <a:pt x="37" y="104"/>
                </a:lnTo>
                <a:lnTo>
                  <a:pt x="38" y="103"/>
                </a:lnTo>
                <a:lnTo>
                  <a:pt x="38" y="97"/>
                </a:lnTo>
                <a:lnTo>
                  <a:pt x="37" y="97"/>
                </a:lnTo>
                <a:lnTo>
                  <a:pt x="38" y="94"/>
                </a:lnTo>
                <a:lnTo>
                  <a:pt x="38" y="93"/>
                </a:lnTo>
                <a:lnTo>
                  <a:pt x="40" y="93"/>
                </a:lnTo>
                <a:lnTo>
                  <a:pt x="41" y="94"/>
                </a:lnTo>
                <a:lnTo>
                  <a:pt x="43" y="94"/>
                </a:lnTo>
                <a:lnTo>
                  <a:pt x="44" y="93"/>
                </a:lnTo>
                <a:lnTo>
                  <a:pt x="44" y="92"/>
                </a:lnTo>
                <a:lnTo>
                  <a:pt x="46" y="92"/>
                </a:lnTo>
                <a:lnTo>
                  <a:pt x="51" y="94"/>
                </a:lnTo>
                <a:lnTo>
                  <a:pt x="51" y="96"/>
                </a:lnTo>
                <a:lnTo>
                  <a:pt x="53" y="96"/>
                </a:lnTo>
                <a:lnTo>
                  <a:pt x="55" y="94"/>
                </a:lnTo>
                <a:lnTo>
                  <a:pt x="56" y="94"/>
                </a:lnTo>
                <a:lnTo>
                  <a:pt x="57" y="96"/>
                </a:lnTo>
                <a:lnTo>
                  <a:pt x="56" y="97"/>
                </a:lnTo>
                <a:lnTo>
                  <a:pt x="59" y="98"/>
                </a:lnTo>
                <a:lnTo>
                  <a:pt x="60" y="100"/>
                </a:lnTo>
                <a:lnTo>
                  <a:pt x="61" y="100"/>
                </a:lnTo>
                <a:lnTo>
                  <a:pt x="61" y="102"/>
                </a:lnTo>
                <a:lnTo>
                  <a:pt x="60" y="102"/>
                </a:lnTo>
                <a:lnTo>
                  <a:pt x="61" y="103"/>
                </a:lnTo>
                <a:lnTo>
                  <a:pt x="67" y="103"/>
                </a:lnTo>
                <a:lnTo>
                  <a:pt x="69" y="100"/>
                </a:lnTo>
                <a:lnTo>
                  <a:pt x="71" y="100"/>
                </a:lnTo>
                <a:lnTo>
                  <a:pt x="71" y="103"/>
                </a:lnTo>
                <a:lnTo>
                  <a:pt x="73" y="103"/>
                </a:lnTo>
                <a:lnTo>
                  <a:pt x="74" y="102"/>
                </a:lnTo>
                <a:lnTo>
                  <a:pt x="74" y="100"/>
                </a:lnTo>
                <a:lnTo>
                  <a:pt x="78" y="100"/>
                </a:lnTo>
                <a:lnTo>
                  <a:pt x="78" y="99"/>
                </a:lnTo>
                <a:lnTo>
                  <a:pt x="79" y="99"/>
                </a:lnTo>
                <a:lnTo>
                  <a:pt x="79" y="98"/>
                </a:lnTo>
                <a:lnTo>
                  <a:pt x="78" y="98"/>
                </a:lnTo>
                <a:lnTo>
                  <a:pt x="79" y="96"/>
                </a:lnTo>
                <a:lnTo>
                  <a:pt x="85" y="96"/>
                </a:lnTo>
                <a:lnTo>
                  <a:pt x="86" y="94"/>
                </a:lnTo>
                <a:lnTo>
                  <a:pt x="86" y="92"/>
                </a:lnTo>
                <a:lnTo>
                  <a:pt x="87" y="92"/>
                </a:lnTo>
                <a:lnTo>
                  <a:pt x="88" y="91"/>
                </a:lnTo>
                <a:lnTo>
                  <a:pt x="97" y="91"/>
                </a:lnTo>
                <a:lnTo>
                  <a:pt x="98" y="90"/>
                </a:lnTo>
                <a:lnTo>
                  <a:pt x="111" y="90"/>
                </a:lnTo>
                <a:lnTo>
                  <a:pt x="113" y="87"/>
                </a:lnTo>
                <a:lnTo>
                  <a:pt x="113" y="85"/>
                </a:lnTo>
                <a:lnTo>
                  <a:pt x="116" y="85"/>
                </a:lnTo>
                <a:lnTo>
                  <a:pt x="117" y="84"/>
                </a:lnTo>
                <a:lnTo>
                  <a:pt x="119" y="85"/>
                </a:lnTo>
                <a:lnTo>
                  <a:pt x="122" y="84"/>
                </a:lnTo>
                <a:lnTo>
                  <a:pt x="122" y="85"/>
                </a:lnTo>
                <a:lnTo>
                  <a:pt x="123" y="86"/>
                </a:lnTo>
                <a:lnTo>
                  <a:pt x="123" y="87"/>
                </a:lnTo>
                <a:lnTo>
                  <a:pt x="124" y="87"/>
                </a:lnTo>
                <a:lnTo>
                  <a:pt x="125" y="88"/>
                </a:lnTo>
                <a:lnTo>
                  <a:pt x="127" y="88"/>
                </a:lnTo>
                <a:lnTo>
                  <a:pt x="129" y="86"/>
                </a:lnTo>
                <a:lnTo>
                  <a:pt x="130" y="86"/>
                </a:lnTo>
                <a:lnTo>
                  <a:pt x="131" y="85"/>
                </a:lnTo>
                <a:lnTo>
                  <a:pt x="134" y="85"/>
                </a:lnTo>
                <a:lnTo>
                  <a:pt x="136" y="86"/>
                </a:lnTo>
                <a:lnTo>
                  <a:pt x="136" y="87"/>
                </a:lnTo>
                <a:lnTo>
                  <a:pt x="138" y="90"/>
                </a:lnTo>
                <a:lnTo>
                  <a:pt x="137" y="90"/>
                </a:lnTo>
                <a:lnTo>
                  <a:pt x="137" y="93"/>
                </a:lnTo>
                <a:lnTo>
                  <a:pt x="140" y="93"/>
                </a:lnTo>
                <a:lnTo>
                  <a:pt x="140" y="94"/>
                </a:lnTo>
                <a:lnTo>
                  <a:pt x="141" y="97"/>
                </a:lnTo>
                <a:lnTo>
                  <a:pt x="143" y="98"/>
                </a:lnTo>
                <a:lnTo>
                  <a:pt x="147" y="98"/>
                </a:lnTo>
                <a:lnTo>
                  <a:pt x="148" y="97"/>
                </a:lnTo>
                <a:lnTo>
                  <a:pt x="148" y="91"/>
                </a:lnTo>
                <a:lnTo>
                  <a:pt x="149" y="90"/>
                </a:lnTo>
                <a:lnTo>
                  <a:pt x="149" y="85"/>
                </a:lnTo>
                <a:lnTo>
                  <a:pt x="147" y="82"/>
                </a:lnTo>
                <a:lnTo>
                  <a:pt x="146" y="84"/>
                </a:lnTo>
                <a:lnTo>
                  <a:pt x="144" y="84"/>
                </a:lnTo>
                <a:lnTo>
                  <a:pt x="142" y="82"/>
                </a:lnTo>
                <a:lnTo>
                  <a:pt x="142" y="81"/>
                </a:lnTo>
                <a:lnTo>
                  <a:pt x="143" y="80"/>
                </a:lnTo>
                <a:lnTo>
                  <a:pt x="143" y="79"/>
                </a:lnTo>
                <a:lnTo>
                  <a:pt x="146" y="74"/>
                </a:lnTo>
                <a:lnTo>
                  <a:pt x="144" y="73"/>
                </a:lnTo>
                <a:lnTo>
                  <a:pt x="143" y="69"/>
                </a:lnTo>
                <a:lnTo>
                  <a:pt x="141" y="67"/>
                </a:lnTo>
                <a:lnTo>
                  <a:pt x="140" y="67"/>
                </a:lnTo>
                <a:lnTo>
                  <a:pt x="140" y="63"/>
                </a:lnTo>
                <a:lnTo>
                  <a:pt x="136" y="61"/>
                </a:lnTo>
                <a:lnTo>
                  <a:pt x="136" y="60"/>
                </a:lnTo>
                <a:lnTo>
                  <a:pt x="135" y="59"/>
                </a:lnTo>
                <a:lnTo>
                  <a:pt x="135" y="57"/>
                </a:lnTo>
                <a:lnTo>
                  <a:pt x="136" y="57"/>
                </a:lnTo>
                <a:lnTo>
                  <a:pt x="140" y="54"/>
                </a:lnTo>
                <a:lnTo>
                  <a:pt x="140" y="53"/>
                </a:lnTo>
                <a:lnTo>
                  <a:pt x="141" y="53"/>
                </a:lnTo>
                <a:lnTo>
                  <a:pt x="143" y="51"/>
                </a:lnTo>
                <a:lnTo>
                  <a:pt x="144" y="51"/>
                </a:lnTo>
                <a:lnTo>
                  <a:pt x="148" y="48"/>
                </a:lnTo>
                <a:lnTo>
                  <a:pt x="152" y="47"/>
                </a:lnTo>
                <a:lnTo>
                  <a:pt x="158" y="45"/>
                </a:lnTo>
                <a:lnTo>
                  <a:pt x="160" y="44"/>
                </a:lnTo>
                <a:lnTo>
                  <a:pt x="165" y="39"/>
                </a:lnTo>
                <a:lnTo>
                  <a:pt x="165" y="33"/>
                </a:lnTo>
                <a:lnTo>
                  <a:pt x="166" y="32"/>
                </a:lnTo>
                <a:lnTo>
                  <a:pt x="166" y="31"/>
                </a:lnTo>
                <a:lnTo>
                  <a:pt x="165" y="31"/>
                </a:lnTo>
                <a:lnTo>
                  <a:pt x="165" y="29"/>
                </a:lnTo>
                <a:lnTo>
                  <a:pt x="166" y="29"/>
                </a:lnTo>
                <a:lnTo>
                  <a:pt x="167" y="27"/>
                </a:lnTo>
                <a:lnTo>
                  <a:pt x="168" y="27"/>
                </a:lnTo>
                <a:lnTo>
                  <a:pt x="173" y="29"/>
                </a:lnTo>
                <a:lnTo>
                  <a:pt x="173" y="30"/>
                </a:lnTo>
                <a:lnTo>
                  <a:pt x="174" y="30"/>
                </a:lnTo>
                <a:lnTo>
                  <a:pt x="174" y="31"/>
                </a:lnTo>
                <a:lnTo>
                  <a:pt x="177" y="31"/>
                </a:lnTo>
                <a:lnTo>
                  <a:pt x="177" y="30"/>
                </a:lnTo>
                <a:lnTo>
                  <a:pt x="178" y="29"/>
                </a:lnTo>
                <a:lnTo>
                  <a:pt x="179" y="29"/>
                </a:lnTo>
                <a:lnTo>
                  <a:pt x="180" y="26"/>
                </a:lnTo>
                <a:lnTo>
                  <a:pt x="180" y="21"/>
                </a:lnTo>
                <a:lnTo>
                  <a:pt x="181" y="20"/>
                </a:lnTo>
                <a:lnTo>
                  <a:pt x="180" y="20"/>
                </a:lnTo>
                <a:lnTo>
                  <a:pt x="180" y="19"/>
                </a:lnTo>
                <a:lnTo>
                  <a:pt x="179" y="19"/>
                </a:lnTo>
                <a:lnTo>
                  <a:pt x="181" y="16"/>
                </a:lnTo>
                <a:lnTo>
                  <a:pt x="183" y="17"/>
                </a:lnTo>
                <a:lnTo>
                  <a:pt x="184" y="17"/>
                </a:lnTo>
                <a:lnTo>
                  <a:pt x="184" y="18"/>
                </a:lnTo>
                <a:lnTo>
                  <a:pt x="185" y="18"/>
                </a:lnTo>
                <a:lnTo>
                  <a:pt x="187" y="20"/>
                </a:lnTo>
                <a:lnTo>
                  <a:pt x="189" y="20"/>
                </a:lnTo>
                <a:lnTo>
                  <a:pt x="189" y="21"/>
                </a:lnTo>
                <a:lnTo>
                  <a:pt x="190" y="21"/>
                </a:lnTo>
                <a:lnTo>
                  <a:pt x="190" y="24"/>
                </a:lnTo>
                <a:lnTo>
                  <a:pt x="189" y="24"/>
                </a:lnTo>
                <a:lnTo>
                  <a:pt x="189" y="25"/>
                </a:lnTo>
                <a:lnTo>
                  <a:pt x="190" y="25"/>
                </a:lnTo>
                <a:lnTo>
                  <a:pt x="190" y="26"/>
                </a:lnTo>
                <a:lnTo>
                  <a:pt x="192" y="27"/>
                </a:lnTo>
                <a:lnTo>
                  <a:pt x="198" y="27"/>
                </a:lnTo>
                <a:lnTo>
                  <a:pt x="202" y="30"/>
                </a:lnTo>
                <a:lnTo>
                  <a:pt x="203" y="30"/>
                </a:lnTo>
                <a:lnTo>
                  <a:pt x="203" y="29"/>
                </a:lnTo>
                <a:lnTo>
                  <a:pt x="204" y="29"/>
                </a:lnTo>
                <a:lnTo>
                  <a:pt x="205" y="27"/>
                </a:lnTo>
                <a:lnTo>
                  <a:pt x="206" y="27"/>
                </a:lnTo>
                <a:lnTo>
                  <a:pt x="208" y="24"/>
                </a:lnTo>
                <a:lnTo>
                  <a:pt x="209" y="25"/>
                </a:lnTo>
                <a:lnTo>
                  <a:pt x="211" y="26"/>
                </a:lnTo>
                <a:lnTo>
                  <a:pt x="214" y="25"/>
                </a:lnTo>
                <a:lnTo>
                  <a:pt x="214" y="26"/>
                </a:lnTo>
                <a:lnTo>
                  <a:pt x="216" y="26"/>
                </a:lnTo>
                <a:lnTo>
                  <a:pt x="216" y="29"/>
                </a:lnTo>
                <a:lnTo>
                  <a:pt x="217" y="29"/>
                </a:lnTo>
                <a:lnTo>
                  <a:pt x="218" y="27"/>
                </a:lnTo>
                <a:lnTo>
                  <a:pt x="218" y="21"/>
                </a:lnTo>
                <a:lnTo>
                  <a:pt x="220" y="20"/>
                </a:lnTo>
                <a:lnTo>
                  <a:pt x="222" y="19"/>
                </a:lnTo>
                <a:lnTo>
                  <a:pt x="222" y="16"/>
                </a:lnTo>
                <a:lnTo>
                  <a:pt x="225" y="16"/>
                </a:lnTo>
                <a:lnTo>
                  <a:pt x="228" y="17"/>
                </a:lnTo>
                <a:lnTo>
                  <a:pt x="229" y="16"/>
                </a:lnTo>
                <a:lnTo>
                  <a:pt x="228" y="14"/>
                </a:lnTo>
                <a:lnTo>
                  <a:pt x="228" y="13"/>
                </a:lnTo>
                <a:lnTo>
                  <a:pt x="229" y="12"/>
                </a:lnTo>
                <a:lnTo>
                  <a:pt x="229" y="2"/>
                </a:lnTo>
                <a:lnTo>
                  <a:pt x="230" y="1"/>
                </a:lnTo>
                <a:lnTo>
                  <a:pt x="23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" name="Freeform 57">
            <a:extLst>
              <a:ext uri="{FF2B5EF4-FFF2-40B4-BE49-F238E27FC236}">
                <a16:creationId xmlns:a16="http://schemas.microsoft.com/office/drawing/2014/main" id="{A661FDF0-E72D-47D4-B62C-F3160DE8D2BF}"/>
              </a:ext>
            </a:extLst>
          </p:cNvPr>
          <p:cNvSpPr>
            <a:spLocks noEditPoints="1"/>
          </p:cNvSpPr>
          <p:nvPr/>
        </p:nvSpPr>
        <p:spPr bwMode="auto">
          <a:xfrm>
            <a:off x="3886154" y="5478295"/>
            <a:ext cx="194158" cy="194158"/>
          </a:xfrm>
          <a:custGeom>
            <a:avLst/>
            <a:gdLst/>
            <a:ahLst/>
            <a:cxnLst>
              <a:cxn ang="0">
                <a:pos x="86" y="38"/>
              </a:cxn>
              <a:cxn ang="0">
                <a:pos x="76" y="18"/>
              </a:cxn>
              <a:cxn ang="0">
                <a:pos x="66" y="16"/>
              </a:cxn>
              <a:cxn ang="0">
                <a:pos x="68" y="4"/>
              </a:cxn>
              <a:cxn ang="0">
                <a:pos x="76" y="9"/>
              </a:cxn>
              <a:cxn ang="0">
                <a:pos x="71" y="15"/>
              </a:cxn>
              <a:cxn ang="0">
                <a:pos x="78" y="17"/>
              </a:cxn>
              <a:cxn ang="0">
                <a:pos x="85" y="19"/>
              </a:cxn>
              <a:cxn ang="0">
                <a:pos x="92" y="24"/>
              </a:cxn>
              <a:cxn ang="0">
                <a:pos x="85" y="31"/>
              </a:cxn>
              <a:cxn ang="0">
                <a:pos x="85" y="40"/>
              </a:cxn>
              <a:cxn ang="0">
                <a:pos x="87" y="46"/>
              </a:cxn>
              <a:cxn ang="0">
                <a:pos x="107" y="58"/>
              </a:cxn>
              <a:cxn ang="0">
                <a:pos x="105" y="68"/>
              </a:cxn>
              <a:cxn ang="0">
                <a:pos x="91" y="73"/>
              </a:cxn>
              <a:cxn ang="0">
                <a:pos x="98" y="77"/>
              </a:cxn>
              <a:cxn ang="0">
                <a:pos x="105" y="84"/>
              </a:cxn>
              <a:cxn ang="0">
                <a:pos x="114" y="91"/>
              </a:cxn>
              <a:cxn ang="0">
                <a:pos x="123" y="93"/>
              </a:cxn>
              <a:cxn ang="0">
                <a:pos x="129" y="102"/>
              </a:cxn>
              <a:cxn ang="0">
                <a:pos x="129" y="109"/>
              </a:cxn>
              <a:cxn ang="0">
                <a:pos x="134" y="115"/>
              </a:cxn>
              <a:cxn ang="0">
                <a:pos x="126" y="116"/>
              </a:cxn>
              <a:cxn ang="0">
                <a:pos x="129" y="130"/>
              </a:cxn>
              <a:cxn ang="0">
                <a:pos x="118" y="134"/>
              </a:cxn>
              <a:cxn ang="0">
                <a:pos x="108" y="120"/>
              </a:cxn>
              <a:cxn ang="0">
                <a:pos x="107" y="112"/>
              </a:cxn>
              <a:cxn ang="0">
                <a:pos x="99" y="108"/>
              </a:cxn>
              <a:cxn ang="0">
                <a:pos x="101" y="98"/>
              </a:cxn>
              <a:cxn ang="0">
                <a:pos x="86" y="99"/>
              </a:cxn>
              <a:cxn ang="0">
                <a:pos x="79" y="97"/>
              </a:cxn>
              <a:cxn ang="0">
                <a:pos x="73" y="96"/>
              </a:cxn>
              <a:cxn ang="0">
                <a:pos x="66" y="85"/>
              </a:cxn>
              <a:cxn ang="0">
                <a:pos x="56" y="89"/>
              </a:cxn>
              <a:cxn ang="0">
                <a:pos x="49" y="81"/>
              </a:cxn>
              <a:cxn ang="0">
                <a:pos x="47" y="75"/>
              </a:cxn>
              <a:cxn ang="0">
                <a:pos x="33" y="71"/>
              </a:cxn>
              <a:cxn ang="0">
                <a:pos x="16" y="68"/>
              </a:cxn>
              <a:cxn ang="0">
                <a:pos x="12" y="62"/>
              </a:cxn>
              <a:cxn ang="0">
                <a:pos x="8" y="52"/>
              </a:cxn>
              <a:cxn ang="0">
                <a:pos x="8" y="44"/>
              </a:cxn>
              <a:cxn ang="0">
                <a:pos x="11" y="37"/>
              </a:cxn>
              <a:cxn ang="0">
                <a:pos x="6" y="18"/>
              </a:cxn>
              <a:cxn ang="0">
                <a:pos x="2" y="11"/>
              </a:cxn>
              <a:cxn ang="0">
                <a:pos x="17" y="9"/>
              </a:cxn>
              <a:cxn ang="0">
                <a:pos x="29" y="7"/>
              </a:cxn>
              <a:cxn ang="0">
                <a:pos x="35" y="6"/>
              </a:cxn>
              <a:cxn ang="0">
                <a:pos x="42" y="7"/>
              </a:cxn>
              <a:cxn ang="0">
                <a:pos x="47" y="6"/>
              </a:cxn>
              <a:cxn ang="0">
                <a:pos x="49" y="5"/>
              </a:cxn>
              <a:cxn ang="0">
                <a:pos x="59" y="1"/>
              </a:cxn>
              <a:cxn ang="0">
                <a:pos x="67" y="0"/>
              </a:cxn>
            </a:cxnLst>
            <a:rect l="0" t="0" r="r" b="b"/>
            <a:pathLst>
              <a:path w="134" h="134">
                <a:moveTo>
                  <a:pt x="86" y="36"/>
                </a:moveTo>
                <a:lnTo>
                  <a:pt x="90" y="36"/>
                </a:lnTo>
                <a:lnTo>
                  <a:pt x="90" y="38"/>
                </a:lnTo>
                <a:lnTo>
                  <a:pt x="89" y="40"/>
                </a:lnTo>
                <a:lnTo>
                  <a:pt x="86" y="38"/>
                </a:lnTo>
                <a:lnTo>
                  <a:pt x="86" y="36"/>
                </a:lnTo>
                <a:close/>
                <a:moveTo>
                  <a:pt x="74" y="17"/>
                </a:moveTo>
                <a:lnTo>
                  <a:pt x="74" y="18"/>
                </a:lnTo>
                <a:lnTo>
                  <a:pt x="76" y="19"/>
                </a:lnTo>
                <a:lnTo>
                  <a:pt x="76" y="18"/>
                </a:lnTo>
                <a:lnTo>
                  <a:pt x="74" y="17"/>
                </a:lnTo>
                <a:close/>
                <a:moveTo>
                  <a:pt x="66" y="12"/>
                </a:moveTo>
                <a:lnTo>
                  <a:pt x="65" y="13"/>
                </a:lnTo>
                <a:lnTo>
                  <a:pt x="65" y="15"/>
                </a:lnTo>
                <a:lnTo>
                  <a:pt x="66" y="16"/>
                </a:lnTo>
                <a:lnTo>
                  <a:pt x="67" y="16"/>
                </a:lnTo>
                <a:lnTo>
                  <a:pt x="67" y="13"/>
                </a:lnTo>
                <a:lnTo>
                  <a:pt x="66" y="12"/>
                </a:lnTo>
                <a:close/>
                <a:moveTo>
                  <a:pt x="67" y="0"/>
                </a:moveTo>
                <a:lnTo>
                  <a:pt x="68" y="4"/>
                </a:lnTo>
                <a:lnTo>
                  <a:pt x="67" y="5"/>
                </a:lnTo>
                <a:lnTo>
                  <a:pt x="68" y="6"/>
                </a:lnTo>
                <a:lnTo>
                  <a:pt x="72" y="6"/>
                </a:lnTo>
                <a:lnTo>
                  <a:pt x="74" y="9"/>
                </a:lnTo>
                <a:lnTo>
                  <a:pt x="76" y="9"/>
                </a:lnTo>
                <a:lnTo>
                  <a:pt x="76" y="10"/>
                </a:lnTo>
                <a:lnTo>
                  <a:pt x="73" y="11"/>
                </a:lnTo>
                <a:lnTo>
                  <a:pt x="70" y="11"/>
                </a:lnTo>
                <a:lnTo>
                  <a:pt x="68" y="12"/>
                </a:lnTo>
                <a:lnTo>
                  <a:pt x="71" y="15"/>
                </a:lnTo>
                <a:lnTo>
                  <a:pt x="72" y="13"/>
                </a:lnTo>
                <a:lnTo>
                  <a:pt x="73" y="15"/>
                </a:lnTo>
                <a:lnTo>
                  <a:pt x="74" y="15"/>
                </a:lnTo>
                <a:lnTo>
                  <a:pt x="76" y="16"/>
                </a:lnTo>
                <a:lnTo>
                  <a:pt x="78" y="17"/>
                </a:lnTo>
                <a:lnTo>
                  <a:pt x="83" y="17"/>
                </a:lnTo>
                <a:lnTo>
                  <a:pt x="83" y="16"/>
                </a:lnTo>
                <a:lnTo>
                  <a:pt x="84" y="16"/>
                </a:lnTo>
                <a:lnTo>
                  <a:pt x="84" y="19"/>
                </a:lnTo>
                <a:lnTo>
                  <a:pt x="85" y="19"/>
                </a:lnTo>
                <a:lnTo>
                  <a:pt x="85" y="21"/>
                </a:lnTo>
                <a:lnTo>
                  <a:pt x="86" y="21"/>
                </a:lnTo>
                <a:lnTo>
                  <a:pt x="89" y="23"/>
                </a:lnTo>
                <a:lnTo>
                  <a:pt x="89" y="24"/>
                </a:lnTo>
                <a:lnTo>
                  <a:pt x="92" y="24"/>
                </a:lnTo>
                <a:lnTo>
                  <a:pt x="92" y="25"/>
                </a:lnTo>
                <a:lnTo>
                  <a:pt x="91" y="28"/>
                </a:lnTo>
                <a:lnTo>
                  <a:pt x="90" y="29"/>
                </a:lnTo>
                <a:lnTo>
                  <a:pt x="86" y="31"/>
                </a:lnTo>
                <a:lnTo>
                  <a:pt x="85" y="31"/>
                </a:lnTo>
                <a:lnTo>
                  <a:pt x="84" y="34"/>
                </a:lnTo>
                <a:lnTo>
                  <a:pt x="83" y="35"/>
                </a:lnTo>
                <a:lnTo>
                  <a:pt x="83" y="38"/>
                </a:lnTo>
                <a:lnTo>
                  <a:pt x="84" y="40"/>
                </a:lnTo>
                <a:lnTo>
                  <a:pt x="85" y="40"/>
                </a:lnTo>
                <a:lnTo>
                  <a:pt x="85" y="43"/>
                </a:lnTo>
                <a:lnTo>
                  <a:pt x="86" y="43"/>
                </a:lnTo>
                <a:lnTo>
                  <a:pt x="86" y="44"/>
                </a:lnTo>
                <a:lnTo>
                  <a:pt x="87" y="44"/>
                </a:lnTo>
                <a:lnTo>
                  <a:pt x="87" y="46"/>
                </a:lnTo>
                <a:lnTo>
                  <a:pt x="89" y="48"/>
                </a:lnTo>
                <a:lnTo>
                  <a:pt x="91" y="50"/>
                </a:lnTo>
                <a:lnTo>
                  <a:pt x="101" y="56"/>
                </a:lnTo>
                <a:lnTo>
                  <a:pt x="103" y="58"/>
                </a:lnTo>
                <a:lnTo>
                  <a:pt x="107" y="58"/>
                </a:lnTo>
                <a:lnTo>
                  <a:pt x="107" y="59"/>
                </a:lnTo>
                <a:lnTo>
                  <a:pt x="108" y="60"/>
                </a:lnTo>
                <a:lnTo>
                  <a:pt x="108" y="65"/>
                </a:lnTo>
                <a:lnTo>
                  <a:pt x="105" y="67"/>
                </a:lnTo>
                <a:lnTo>
                  <a:pt x="105" y="68"/>
                </a:lnTo>
                <a:lnTo>
                  <a:pt x="104" y="68"/>
                </a:lnTo>
                <a:lnTo>
                  <a:pt x="104" y="72"/>
                </a:lnTo>
                <a:lnTo>
                  <a:pt x="101" y="72"/>
                </a:lnTo>
                <a:lnTo>
                  <a:pt x="93" y="71"/>
                </a:lnTo>
                <a:lnTo>
                  <a:pt x="91" y="73"/>
                </a:lnTo>
                <a:lnTo>
                  <a:pt x="91" y="74"/>
                </a:lnTo>
                <a:lnTo>
                  <a:pt x="92" y="74"/>
                </a:lnTo>
                <a:lnTo>
                  <a:pt x="97" y="75"/>
                </a:lnTo>
                <a:lnTo>
                  <a:pt x="98" y="75"/>
                </a:lnTo>
                <a:lnTo>
                  <a:pt x="98" y="77"/>
                </a:lnTo>
                <a:lnTo>
                  <a:pt x="101" y="80"/>
                </a:lnTo>
                <a:lnTo>
                  <a:pt x="101" y="81"/>
                </a:lnTo>
                <a:lnTo>
                  <a:pt x="103" y="83"/>
                </a:lnTo>
                <a:lnTo>
                  <a:pt x="104" y="84"/>
                </a:lnTo>
                <a:lnTo>
                  <a:pt x="105" y="84"/>
                </a:lnTo>
                <a:lnTo>
                  <a:pt x="108" y="85"/>
                </a:lnTo>
                <a:lnTo>
                  <a:pt x="109" y="86"/>
                </a:lnTo>
                <a:lnTo>
                  <a:pt x="110" y="90"/>
                </a:lnTo>
                <a:lnTo>
                  <a:pt x="113" y="91"/>
                </a:lnTo>
                <a:lnTo>
                  <a:pt x="114" y="91"/>
                </a:lnTo>
                <a:lnTo>
                  <a:pt x="115" y="92"/>
                </a:lnTo>
                <a:lnTo>
                  <a:pt x="116" y="95"/>
                </a:lnTo>
                <a:lnTo>
                  <a:pt x="118" y="95"/>
                </a:lnTo>
                <a:lnTo>
                  <a:pt x="122" y="93"/>
                </a:lnTo>
                <a:lnTo>
                  <a:pt x="123" y="93"/>
                </a:lnTo>
                <a:lnTo>
                  <a:pt x="126" y="96"/>
                </a:lnTo>
                <a:lnTo>
                  <a:pt x="130" y="96"/>
                </a:lnTo>
                <a:lnTo>
                  <a:pt x="130" y="99"/>
                </a:lnTo>
                <a:lnTo>
                  <a:pt x="129" y="99"/>
                </a:lnTo>
                <a:lnTo>
                  <a:pt x="129" y="102"/>
                </a:lnTo>
                <a:lnTo>
                  <a:pt x="126" y="103"/>
                </a:lnTo>
                <a:lnTo>
                  <a:pt x="124" y="103"/>
                </a:lnTo>
                <a:lnTo>
                  <a:pt x="124" y="107"/>
                </a:lnTo>
                <a:lnTo>
                  <a:pt x="126" y="108"/>
                </a:lnTo>
                <a:lnTo>
                  <a:pt x="129" y="109"/>
                </a:lnTo>
                <a:lnTo>
                  <a:pt x="130" y="110"/>
                </a:lnTo>
                <a:lnTo>
                  <a:pt x="130" y="111"/>
                </a:lnTo>
                <a:lnTo>
                  <a:pt x="132" y="112"/>
                </a:lnTo>
                <a:lnTo>
                  <a:pt x="134" y="114"/>
                </a:lnTo>
                <a:lnTo>
                  <a:pt x="134" y="115"/>
                </a:lnTo>
                <a:lnTo>
                  <a:pt x="133" y="116"/>
                </a:lnTo>
                <a:lnTo>
                  <a:pt x="130" y="117"/>
                </a:lnTo>
                <a:lnTo>
                  <a:pt x="128" y="116"/>
                </a:lnTo>
                <a:lnTo>
                  <a:pt x="127" y="115"/>
                </a:lnTo>
                <a:lnTo>
                  <a:pt x="126" y="116"/>
                </a:lnTo>
                <a:lnTo>
                  <a:pt x="126" y="118"/>
                </a:lnTo>
                <a:lnTo>
                  <a:pt x="127" y="120"/>
                </a:lnTo>
                <a:lnTo>
                  <a:pt x="128" y="120"/>
                </a:lnTo>
                <a:lnTo>
                  <a:pt x="129" y="121"/>
                </a:lnTo>
                <a:lnTo>
                  <a:pt x="129" y="130"/>
                </a:lnTo>
                <a:lnTo>
                  <a:pt x="130" y="133"/>
                </a:lnTo>
                <a:lnTo>
                  <a:pt x="129" y="133"/>
                </a:lnTo>
                <a:lnTo>
                  <a:pt x="126" y="132"/>
                </a:lnTo>
                <a:lnTo>
                  <a:pt x="120" y="132"/>
                </a:lnTo>
                <a:lnTo>
                  <a:pt x="118" y="134"/>
                </a:lnTo>
                <a:lnTo>
                  <a:pt x="115" y="134"/>
                </a:lnTo>
                <a:lnTo>
                  <a:pt x="113" y="129"/>
                </a:lnTo>
                <a:lnTo>
                  <a:pt x="110" y="123"/>
                </a:lnTo>
                <a:lnTo>
                  <a:pt x="109" y="122"/>
                </a:lnTo>
                <a:lnTo>
                  <a:pt x="108" y="120"/>
                </a:lnTo>
                <a:lnTo>
                  <a:pt x="107" y="118"/>
                </a:lnTo>
                <a:lnTo>
                  <a:pt x="107" y="116"/>
                </a:lnTo>
                <a:lnTo>
                  <a:pt x="108" y="115"/>
                </a:lnTo>
                <a:lnTo>
                  <a:pt x="108" y="112"/>
                </a:lnTo>
                <a:lnTo>
                  <a:pt x="107" y="112"/>
                </a:lnTo>
                <a:lnTo>
                  <a:pt x="104" y="111"/>
                </a:lnTo>
                <a:lnTo>
                  <a:pt x="104" y="110"/>
                </a:lnTo>
                <a:lnTo>
                  <a:pt x="103" y="110"/>
                </a:lnTo>
                <a:lnTo>
                  <a:pt x="102" y="109"/>
                </a:lnTo>
                <a:lnTo>
                  <a:pt x="99" y="108"/>
                </a:lnTo>
                <a:lnTo>
                  <a:pt x="98" y="108"/>
                </a:lnTo>
                <a:lnTo>
                  <a:pt x="98" y="107"/>
                </a:lnTo>
                <a:lnTo>
                  <a:pt x="99" y="105"/>
                </a:lnTo>
                <a:lnTo>
                  <a:pt x="101" y="103"/>
                </a:lnTo>
                <a:lnTo>
                  <a:pt x="101" y="98"/>
                </a:lnTo>
                <a:lnTo>
                  <a:pt x="98" y="96"/>
                </a:lnTo>
                <a:lnTo>
                  <a:pt x="97" y="96"/>
                </a:lnTo>
                <a:lnTo>
                  <a:pt x="91" y="97"/>
                </a:lnTo>
                <a:lnTo>
                  <a:pt x="90" y="98"/>
                </a:lnTo>
                <a:lnTo>
                  <a:pt x="86" y="99"/>
                </a:lnTo>
                <a:lnTo>
                  <a:pt x="86" y="101"/>
                </a:lnTo>
                <a:lnTo>
                  <a:pt x="84" y="101"/>
                </a:lnTo>
                <a:lnTo>
                  <a:pt x="83" y="98"/>
                </a:lnTo>
                <a:lnTo>
                  <a:pt x="80" y="98"/>
                </a:lnTo>
                <a:lnTo>
                  <a:pt x="79" y="97"/>
                </a:lnTo>
                <a:lnTo>
                  <a:pt x="79" y="96"/>
                </a:lnTo>
                <a:lnTo>
                  <a:pt x="78" y="95"/>
                </a:lnTo>
                <a:lnTo>
                  <a:pt x="77" y="95"/>
                </a:lnTo>
                <a:lnTo>
                  <a:pt x="76" y="96"/>
                </a:lnTo>
                <a:lnTo>
                  <a:pt x="73" y="96"/>
                </a:lnTo>
                <a:lnTo>
                  <a:pt x="73" y="91"/>
                </a:lnTo>
                <a:lnTo>
                  <a:pt x="72" y="90"/>
                </a:lnTo>
                <a:lnTo>
                  <a:pt x="70" y="86"/>
                </a:lnTo>
                <a:lnTo>
                  <a:pt x="68" y="85"/>
                </a:lnTo>
                <a:lnTo>
                  <a:pt x="66" y="85"/>
                </a:lnTo>
                <a:lnTo>
                  <a:pt x="65" y="86"/>
                </a:lnTo>
                <a:lnTo>
                  <a:pt x="65" y="87"/>
                </a:lnTo>
                <a:lnTo>
                  <a:pt x="60" y="87"/>
                </a:lnTo>
                <a:lnTo>
                  <a:pt x="58" y="89"/>
                </a:lnTo>
                <a:lnTo>
                  <a:pt x="56" y="89"/>
                </a:lnTo>
                <a:lnTo>
                  <a:pt x="56" y="87"/>
                </a:lnTo>
                <a:lnTo>
                  <a:pt x="54" y="84"/>
                </a:lnTo>
                <a:lnTo>
                  <a:pt x="53" y="84"/>
                </a:lnTo>
                <a:lnTo>
                  <a:pt x="51" y="81"/>
                </a:lnTo>
                <a:lnTo>
                  <a:pt x="49" y="81"/>
                </a:lnTo>
                <a:lnTo>
                  <a:pt x="49" y="80"/>
                </a:lnTo>
                <a:lnTo>
                  <a:pt x="48" y="80"/>
                </a:lnTo>
                <a:lnTo>
                  <a:pt x="48" y="78"/>
                </a:lnTo>
                <a:lnTo>
                  <a:pt x="47" y="77"/>
                </a:lnTo>
                <a:lnTo>
                  <a:pt x="47" y="75"/>
                </a:lnTo>
                <a:lnTo>
                  <a:pt x="43" y="74"/>
                </a:lnTo>
                <a:lnTo>
                  <a:pt x="41" y="72"/>
                </a:lnTo>
                <a:lnTo>
                  <a:pt x="36" y="69"/>
                </a:lnTo>
                <a:lnTo>
                  <a:pt x="35" y="69"/>
                </a:lnTo>
                <a:lnTo>
                  <a:pt x="33" y="71"/>
                </a:lnTo>
                <a:lnTo>
                  <a:pt x="28" y="71"/>
                </a:lnTo>
                <a:lnTo>
                  <a:pt x="27" y="72"/>
                </a:lnTo>
                <a:lnTo>
                  <a:pt x="25" y="72"/>
                </a:lnTo>
                <a:lnTo>
                  <a:pt x="21" y="71"/>
                </a:lnTo>
                <a:lnTo>
                  <a:pt x="16" y="68"/>
                </a:lnTo>
                <a:lnTo>
                  <a:pt x="12" y="67"/>
                </a:lnTo>
                <a:lnTo>
                  <a:pt x="10" y="66"/>
                </a:lnTo>
                <a:lnTo>
                  <a:pt x="10" y="65"/>
                </a:lnTo>
                <a:lnTo>
                  <a:pt x="12" y="64"/>
                </a:lnTo>
                <a:lnTo>
                  <a:pt x="12" y="62"/>
                </a:lnTo>
                <a:lnTo>
                  <a:pt x="10" y="60"/>
                </a:lnTo>
                <a:lnTo>
                  <a:pt x="11" y="59"/>
                </a:lnTo>
                <a:lnTo>
                  <a:pt x="11" y="58"/>
                </a:lnTo>
                <a:lnTo>
                  <a:pt x="8" y="54"/>
                </a:lnTo>
                <a:lnTo>
                  <a:pt x="8" y="52"/>
                </a:lnTo>
                <a:lnTo>
                  <a:pt x="9" y="49"/>
                </a:lnTo>
                <a:lnTo>
                  <a:pt x="6" y="48"/>
                </a:lnTo>
                <a:lnTo>
                  <a:pt x="6" y="47"/>
                </a:lnTo>
                <a:lnTo>
                  <a:pt x="5" y="46"/>
                </a:lnTo>
                <a:lnTo>
                  <a:pt x="8" y="44"/>
                </a:lnTo>
                <a:lnTo>
                  <a:pt x="8" y="43"/>
                </a:lnTo>
                <a:lnTo>
                  <a:pt x="10" y="43"/>
                </a:lnTo>
                <a:lnTo>
                  <a:pt x="10" y="41"/>
                </a:lnTo>
                <a:lnTo>
                  <a:pt x="12" y="38"/>
                </a:lnTo>
                <a:lnTo>
                  <a:pt x="11" y="37"/>
                </a:lnTo>
                <a:lnTo>
                  <a:pt x="12" y="37"/>
                </a:lnTo>
                <a:lnTo>
                  <a:pt x="12" y="29"/>
                </a:lnTo>
                <a:lnTo>
                  <a:pt x="10" y="26"/>
                </a:lnTo>
                <a:lnTo>
                  <a:pt x="10" y="22"/>
                </a:lnTo>
                <a:lnTo>
                  <a:pt x="6" y="18"/>
                </a:lnTo>
                <a:lnTo>
                  <a:pt x="4" y="17"/>
                </a:lnTo>
                <a:lnTo>
                  <a:pt x="3" y="17"/>
                </a:lnTo>
                <a:lnTo>
                  <a:pt x="0" y="15"/>
                </a:lnTo>
                <a:lnTo>
                  <a:pt x="0" y="11"/>
                </a:lnTo>
                <a:lnTo>
                  <a:pt x="2" y="11"/>
                </a:lnTo>
                <a:lnTo>
                  <a:pt x="4" y="10"/>
                </a:lnTo>
                <a:lnTo>
                  <a:pt x="6" y="10"/>
                </a:lnTo>
                <a:lnTo>
                  <a:pt x="12" y="11"/>
                </a:lnTo>
                <a:lnTo>
                  <a:pt x="15" y="11"/>
                </a:lnTo>
                <a:lnTo>
                  <a:pt x="17" y="9"/>
                </a:lnTo>
                <a:lnTo>
                  <a:pt x="22" y="9"/>
                </a:lnTo>
                <a:lnTo>
                  <a:pt x="23" y="7"/>
                </a:lnTo>
                <a:lnTo>
                  <a:pt x="25" y="7"/>
                </a:lnTo>
                <a:lnTo>
                  <a:pt x="27" y="6"/>
                </a:lnTo>
                <a:lnTo>
                  <a:pt x="29" y="7"/>
                </a:lnTo>
                <a:lnTo>
                  <a:pt x="30" y="6"/>
                </a:lnTo>
                <a:lnTo>
                  <a:pt x="31" y="6"/>
                </a:lnTo>
                <a:lnTo>
                  <a:pt x="31" y="4"/>
                </a:lnTo>
                <a:lnTo>
                  <a:pt x="33" y="4"/>
                </a:lnTo>
                <a:lnTo>
                  <a:pt x="35" y="6"/>
                </a:lnTo>
                <a:lnTo>
                  <a:pt x="37" y="6"/>
                </a:lnTo>
                <a:lnTo>
                  <a:pt x="39" y="5"/>
                </a:lnTo>
                <a:lnTo>
                  <a:pt x="40" y="5"/>
                </a:lnTo>
                <a:lnTo>
                  <a:pt x="42" y="6"/>
                </a:lnTo>
                <a:lnTo>
                  <a:pt x="42" y="7"/>
                </a:lnTo>
                <a:lnTo>
                  <a:pt x="43" y="7"/>
                </a:lnTo>
                <a:lnTo>
                  <a:pt x="45" y="6"/>
                </a:lnTo>
                <a:lnTo>
                  <a:pt x="46" y="6"/>
                </a:lnTo>
                <a:lnTo>
                  <a:pt x="46" y="5"/>
                </a:lnTo>
                <a:lnTo>
                  <a:pt x="47" y="6"/>
                </a:lnTo>
                <a:lnTo>
                  <a:pt x="47" y="7"/>
                </a:lnTo>
                <a:lnTo>
                  <a:pt x="48" y="7"/>
                </a:lnTo>
                <a:lnTo>
                  <a:pt x="48" y="6"/>
                </a:lnTo>
                <a:lnTo>
                  <a:pt x="49" y="6"/>
                </a:lnTo>
                <a:lnTo>
                  <a:pt x="49" y="5"/>
                </a:lnTo>
                <a:lnTo>
                  <a:pt x="60" y="5"/>
                </a:lnTo>
                <a:lnTo>
                  <a:pt x="60" y="4"/>
                </a:lnTo>
                <a:lnTo>
                  <a:pt x="59" y="4"/>
                </a:lnTo>
                <a:lnTo>
                  <a:pt x="58" y="3"/>
                </a:lnTo>
                <a:lnTo>
                  <a:pt x="59" y="1"/>
                </a:lnTo>
                <a:lnTo>
                  <a:pt x="62" y="3"/>
                </a:lnTo>
                <a:lnTo>
                  <a:pt x="65" y="3"/>
                </a:lnTo>
                <a:lnTo>
                  <a:pt x="65" y="1"/>
                </a:lnTo>
                <a:lnTo>
                  <a:pt x="66" y="1"/>
                </a:lnTo>
                <a:lnTo>
                  <a:pt x="67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4" name="Freeform 58">
            <a:extLst>
              <a:ext uri="{FF2B5EF4-FFF2-40B4-BE49-F238E27FC236}">
                <a16:creationId xmlns:a16="http://schemas.microsoft.com/office/drawing/2014/main" id="{A2A88687-E565-4C8A-AE7D-39F78B8A1E0A}"/>
              </a:ext>
            </a:extLst>
          </p:cNvPr>
          <p:cNvSpPr>
            <a:spLocks/>
          </p:cNvSpPr>
          <p:nvPr/>
        </p:nvSpPr>
        <p:spPr bwMode="auto">
          <a:xfrm>
            <a:off x="1317183" y="5368176"/>
            <a:ext cx="21735" cy="18837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6" y="0"/>
              </a:cxn>
              <a:cxn ang="0">
                <a:pos x="8" y="1"/>
              </a:cxn>
              <a:cxn ang="0">
                <a:pos x="13" y="2"/>
              </a:cxn>
              <a:cxn ang="0">
                <a:pos x="13" y="3"/>
              </a:cxn>
              <a:cxn ang="0">
                <a:pos x="15" y="3"/>
              </a:cxn>
              <a:cxn ang="0">
                <a:pos x="15" y="5"/>
              </a:cxn>
              <a:cxn ang="0">
                <a:pos x="14" y="5"/>
              </a:cxn>
              <a:cxn ang="0">
                <a:pos x="13" y="6"/>
              </a:cxn>
              <a:cxn ang="0">
                <a:pos x="13" y="8"/>
              </a:cxn>
              <a:cxn ang="0">
                <a:pos x="12" y="9"/>
              </a:cxn>
              <a:cxn ang="0">
                <a:pos x="11" y="8"/>
              </a:cxn>
              <a:cxn ang="0">
                <a:pos x="10" y="11"/>
              </a:cxn>
              <a:cxn ang="0">
                <a:pos x="8" y="11"/>
              </a:cxn>
              <a:cxn ang="0">
                <a:pos x="6" y="12"/>
              </a:cxn>
              <a:cxn ang="0">
                <a:pos x="5" y="13"/>
              </a:cxn>
              <a:cxn ang="0">
                <a:pos x="2" y="12"/>
              </a:cxn>
              <a:cxn ang="0">
                <a:pos x="1" y="12"/>
              </a:cxn>
              <a:cxn ang="0">
                <a:pos x="1" y="11"/>
              </a:cxn>
              <a:cxn ang="0">
                <a:pos x="0" y="9"/>
              </a:cxn>
              <a:cxn ang="0">
                <a:pos x="1" y="8"/>
              </a:cxn>
              <a:cxn ang="0">
                <a:pos x="2" y="8"/>
              </a:cxn>
              <a:cxn ang="0">
                <a:pos x="2" y="7"/>
              </a:cxn>
              <a:cxn ang="0">
                <a:pos x="0" y="7"/>
              </a:cxn>
              <a:cxn ang="0">
                <a:pos x="0" y="6"/>
              </a:cxn>
              <a:cxn ang="0">
                <a:pos x="1" y="5"/>
              </a:cxn>
              <a:cxn ang="0">
                <a:pos x="1" y="3"/>
              </a:cxn>
              <a:cxn ang="0">
                <a:pos x="2" y="2"/>
              </a:cxn>
              <a:cxn ang="0">
                <a:pos x="2" y="0"/>
              </a:cxn>
            </a:cxnLst>
            <a:rect l="0" t="0" r="r" b="b"/>
            <a:pathLst>
              <a:path w="15" h="13">
                <a:moveTo>
                  <a:pt x="2" y="0"/>
                </a:moveTo>
                <a:lnTo>
                  <a:pt x="6" y="0"/>
                </a:lnTo>
                <a:lnTo>
                  <a:pt x="8" y="1"/>
                </a:lnTo>
                <a:lnTo>
                  <a:pt x="13" y="2"/>
                </a:lnTo>
                <a:lnTo>
                  <a:pt x="13" y="3"/>
                </a:lnTo>
                <a:lnTo>
                  <a:pt x="15" y="3"/>
                </a:lnTo>
                <a:lnTo>
                  <a:pt x="15" y="5"/>
                </a:lnTo>
                <a:lnTo>
                  <a:pt x="14" y="5"/>
                </a:lnTo>
                <a:lnTo>
                  <a:pt x="13" y="6"/>
                </a:lnTo>
                <a:lnTo>
                  <a:pt x="13" y="8"/>
                </a:lnTo>
                <a:lnTo>
                  <a:pt x="12" y="9"/>
                </a:lnTo>
                <a:lnTo>
                  <a:pt x="11" y="8"/>
                </a:lnTo>
                <a:lnTo>
                  <a:pt x="10" y="11"/>
                </a:lnTo>
                <a:lnTo>
                  <a:pt x="8" y="11"/>
                </a:lnTo>
                <a:lnTo>
                  <a:pt x="6" y="12"/>
                </a:lnTo>
                <a:lnTo>
                  <a:pt x="5" y="13"/>
                </a:lnTo>
                <a:lnTo>
                  <a:pt x="2" y="12"/>
                </a:lnTo>
                <a:lnTo>
                  <a:pt x="1" y="12"/>
                </a:lnTo>
                <a:lnTo>
                  <a:pt x="1" y="11"/>
                </a:lnTo>
                <a:lnTo>
                  <a:pt x="0" y="9"/>
                </a:lnTo>
                <a:lnTo>
                  <a:pt x="1" y="8"/>
                </a:lnTo>
                <a:lnTo>
                  <a:pt x="2" y="8"/>
                </a:lnTo>
                <a:lnTo>
                  <a:pt x="2" y="7"/>
                </a:lnTo>
                <a:lnTo>
                  <a:pt x="0" y="7"/>
                </a:lnTo>
                <a:lnTo>
                  <a:pt x="0" y="6"/>
                </a:lnTo>
                <a:lnTo>
                  <a:pt x="1" y="5"/>
                </a:lnTo>
                <a:lnTo>
                  <a:pt x="1" y="3"/>
                </a:lnTo>
                <a:lnTo>
                  <a:pt x="2" y="2"/>
                </a:lnTo>
                <a:lnTo>
                  <a:pt x="2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7" name="Freeform 59">
            <a:extLst>
              <a:ext uri="{FF2B5EF4-FFF2-40B4-BE49-F238E27FC236}">
                <a16:creationId xmlns:a16="http://schemas.microsoft.com/office/drawing/2014/main" id="{1E2E8814-12A1-45F6-BA9A-63BE12BFAE51}"/>
              </a:ext>
            </a:extLst>
          </p:cNvPr>
          <p:cNvSpPr>
            <a:spLocks noEditPoints="1"/>
          </p:cNvSpPr>
          <p:nvPr/>
        </p:nvSpPr>
        <p:spPr bwMode="auto">
          <a:xfrm>
            <a:off x="2409684" y="5368176"/>
            <a:ext cx="107222" cy="243422"/>
          </a:xfrm>
          <a:custGeom>
            <a:avLst/>
            <a:gdLst/>
            <a:ahLst/>
            <a:cxnLst>
              <a:cxn ang="0">
                <a:pos x="6" y="97"/>
              </a:cxn>
              <a:cxn ang="0">
                <a:pos x="17" y="0"/>
              </a:cxn>
              <a:cxn ang="0">
                <a:pos x="24" y="11"/>
              </a:cxn>
              <a:cxn ang="0">
                <a:pos x="33" y="5"/>
              </a:cxn>
              <a:cxn ang="0">
                <a:pos x="39" y="12"/>
              </a:cxn>
              <a:cxn ang="0">
                <a:pos x="40" y="18"/>
              </a:cxn>
              <a:cxn ang="0">
                <a:pos x="50" y="24"/>
              </a:cxn>
              <a:cxn ang="0">
                <a:pos x="55" y="37"/>
              </a:cxn>
              <a:cxn ang="0">
                <a:pos x="54" y="43"/>
              </a:cxn>
              <a:cxn ang="0">
                <a:pos x="52" y="56"/>
              </a:cxn>
              <a:cxn ang="0">
                <a:pos x="49" y="65"/>
              </a:cxn>
              <a:cxn ang="0">
                <a:pos x="53" y="69"/>
              </a:cxn>
              <a:cxn ang="0">
                <a:pos x="53" y="74"/>
              </a:cxn>
              <a:cxn ang="0">
                <a:pos x="53" y="81"/>
              </a:cxn>
              <a:cxn ang="0">
                <a:pos x="58" y="88"/>
              </a:cxn>
              <a:cxn ang="0">
                <a:pos x="61" y="99"/>
              </a:cxn>
              <a:cxn ang="0">
                <a:pos x="72" y="100"/>
              </a:cxn>
              <a:cxn ang="0">
                <a:pos x="74" y="110"/>
              </a:cxn>
              <a:cxn ang="0">
                <a:pos x="71" y="120"/>
              </a:cxn>
              <a:cxn ang="0">
                <a:pos x="62" y="130"/>
              </a:cxn>
              <a:cxn ang="0">
                <a:pos x="59" y="138"/>
              </a:cxn>
              <a:cxn ang="0">
                <a:pos x="50" y="145"/>
              </a:cxn>
              <a:cxn ang="0">
                <a:pos x="45" y="153"/>
              </a:cxn>
              <a:cxn ang="0">
                <a:pos x="45" y="160"/>
              </a:cxn>
              <a:cxn ang="0">
                <a:pos x="42" y="161"/>
              </a:cxn>
              <a:cxn ang="0">
                <a:pos x="41" y="167"/>
              </a:cxn>
              <a:cxn ang="0">
                <a:pos x="33" y="166"/>
              </a:cxn>
              <a:cxn ang="0">
                <a:pos x="30" y="162"/>
              </a:cxn>
              <a:cxn ang="0">
                <a:pos x="29" y="155"/>
              </a:cxn>
              <a:cxn ang="0">
                <a:pos x="28" y="151"/>
              </a:cxn>
              <a:cxn ang="0">
                <a:pos x="21" y="144"/>
              </a:cxn>
              <a:cxn ang="0">
                <a:pos x="14" y="140"/>
              </a:cxn>
              <a:cxn ang="0">
                <a:pos x="4" y="131"/>
              </a:cxn>
              <a:cxn ang="0">
                <a:pos x="0" y="125"/>
              </a:cxn>
              <a:cxn ang="0">
                <a:pos x="5" y="129"/>
              </a:cxn>
              <a:cxn ang="0">
                <a:pos x="8" y="123"/>
              </a:cxn>
              <a:cxn ang="0">
                <a:pos x="8" y="120"/>
              </a:cxn>
              <a:cxn ang="0">
                <a:pos x="4" y="117"/>
              </a:cxn>
              <a:cxn ang="0">
                <a:pos x="4" y="110"/>
              </a:cxn>
              <a:cxn ang="0">
                <a:pos x="10" y="98"/>
              </a:cxn>
              <a:cxn ang="0">
                <a:pos x="9" y="94"/>
              </a:cxn>
              <a:cxn ang="0">
                <a:pos x="9" y="82"/>
              </a:cxn>
              <a:cxn ang="0">
                <a:pos x="6" y="75"/>
              </a:cxn>
              <a:cxn ang="0">
                <a:pos x="10" y="65"/>
              </a:cxn>
              <a:cxn ang="0">
                <a:pos x="12" y="61"/>
              </a:cxn>
              <a:cxn ang="0">
                <a:pos x="12" y="56"/>
              </a:cxn>
              <a:cxn ang="0">
                <a:pos x="14" y="48"/>
              </a:cxn>
              <a:cxn ang="0">
                <a:pos x="4" y="43"/>
              </a:cxn>
              <a:cxn ang="0">
                <a:pos x="4" y="39"/>
              </a:cxn>
              <a:cxn ang="0">
                <a:pos x="2" y="28"/>
              </a:cxn>
              <a:cxn ang="0">
                <a:pos x="5" y="16"/>
              </a:cxn>
              <a:cxn ang="0">
                <a:pos x="11" y="9"/>
              </a:cxn>
              <a:cxn ang="0">
                <a:pos x="17" y="0"/>
              </a:cxn>
            </a:cxnLst>
            <a:rect l="0" t="0" r="r" b="b"/>
            <a:pathLst>
              <a:path w="74" h="168">
                <a:moveTo>
                  <a:pt x="6" y="97"/>
                </a:moveTo>
                <a:lnTo>
                  <a:pt x="6" y="100"/>
                </a:lnTo>
                <a:lnTo>
                  <a:pt x="5" y="100"/>
                </a:lnTo>
                <a:lnTo>
                  <a:pt x="5" y="98"/>
                </a:lnTo>
                <a:lnTo>
                  <a:pt x="6" y="97"/>
                </a:lnTo>
                <a:close/>
                <a:moveTo>
                  <a:pt x="9" y="95"/>
                </a:moveTo>
                <a:lnTo>
                  <a:pt x="8" y="98"/>
                </a:lnTo>
                <a:lnTo>
                  <a:pt x="8" y="97"/>
                </a:lnTo>
                <a:lnTo>
                  <a:pt x="9" y="95"/>
                </a:lnTo>
                <a:close/>
                <a:moveTo>
                  <a:pt x="17" y="0"/>
                </a:moveTo>
                <a:lnTo>
                  <a:pt x="19" y="0"/>
                </a:lnTo>
                <a:lnTo>
                  <a:pt x="19" y="7"/>
                </a:lnTo>
                <a:lnTo>
                  <a:pt x="22" y="9"/>
                </a:lnTo>
                <a:lnTo>
                  <a:pt x="22" y="11"/>
                </a:lnTo>
                <a:lnTo>
                  <a:pt x="24" y="11"/>
                </a:lnTo>
                <a:lnTo>
                  <a:pt x="25" y="9"/>
                </a:lnTo>
                <a:lnTo>
                  <a:pt x="25" y="8"/>
                </a:lnTo>
                <a:lnTo>
                  <a:pt x="30" y="8"/>
                </a:lnTo>
                <a:lnTo>
                  <a:pt x="31" y="6"/>
                </a:lnTo>
                <a:lnTo>
                  <a:pt x="33" y="5"/>
                </a:lnTo>
                <a:lnTo>
                  <a:pt x="34" y="6"/>
                </a:lnTo>
                <a:lnTo>
                  <a:pt x="34" y="7"/>
                </a:lnTo>
                <a:lnTo>
                  <a:pt x="36" y="8"/>
                </a:lnTo>
                <a:lnTo>
                  <a:pt x="37" y="8"/>
                </a:lnTo>
                <a:lnTo>
                  <a:pt x="39" y="12"/>
                </a:lnTo>
                <a:lnTo>
                  <a:pt x="40" y="13"/>
                </a:lnTo>
                <a:lnTo>
                  <a:pt x="39" y="14"/>
                </a:lnTo>
                <a:lnTo>
                  <a:pt x="39" y="15"/>
                </a:lnTo>
                <a:lnTo>
                  <a:pt x="40" y="15"/>
                </a:lnTo>
                <a:lnTo>
                  <a:pt x="40" y="18"/>
                </a:lnTo>
                <a:lnTo>
                  <a:pt x="41" y="18"/>
                </a:lnTo>
                <a:lnTo>
                  <a:pt x="41" y="19"/>
                </a:lnTo>
                <a:lnTo>
                  <a:pt x="45" y="19"/>
                </a:lnTo>
                <a:lnTo>
                  <a:pt x="50" y="22"/>
                </a:lnTo>
                <a:lnTo>
                  <a:pt x="50" y="24"/>
                </a:lnTo>
                <a:lnTo>
                  <a:pt x="52" y="24"/>
                </a:lnTo>
                <a:lnTo>
                  <a:pt x="52" y="25"/>
                </a:lnTo>
                <a:lnTo>
                  <a:pt x="54" y="28"/>
                </a:lnTo>
                <a:lnTo>
                  <a:pt x="54" y="33"/>
                </a:lnTo>
                <a:lnTo>
                  <a:pt x="55" y="37"/>
                </a:lnTo>
                <a:lnTo>
                  <a:pt x="55" y="38"/>
                </a:lnTo>
                <a:lnTo>
                  <a:pt x="56" y="39"/>
                </a:lnTo>
                <a:lnTo>
                  <a:pt x="55" y="40"/>
                </a:lnTo>
                <a:lnTo>
                  <a:pt x="55" y="42"/>
                </a:lnTo>
                <a:lnTo>
                  <a:pt x="54" y="43"/>
                </a:lnTo>
                <a:lnTo>
                  <a:pt x="55" y="44"/>
                </a:lnTo>
                <a:lnTo>
                  <a:pt x="54" y="45"/>
                </a:lnTo>
                <a:lnTo>
                  <a:pt x="54" y="49"/>
                </a:lnTo>
                <a:lnTo>
                  <a:pt x="52" y="51"/>
                </a:lnTo>
                <a:lnTo>
                  <a:pt x="52" y="56"/>
                </a:lnTo>
                <a:lnTo>
                  <a:pt x="53" y="57"/>
                </a:lnTo>
                <a:lnTo>
                  <a:pt x="53" y="61"/>
                </a:lnTo>
                <a:lnTo>
                  <a:pt x="52" y="62"/>
                </a:lnTo>
                <a:lnTo>
                  <a:pt x="49" y="62"/>
                </a:lnTo>
                <a:lnTo>
                  <a:pt x="49" y="65"/>
                </a:lnTo>
                <a:lnTo>
                  <a:pt x="50" y="65"/>
                </a:lnTo>
                <a:lnTo>
                  <a:pt x="50" y="67"/>
                </a:lnTo>
                <a:lnTo>
                  <a:pt x="52" y="67"/>
                </a:lnTo>
                <a:lnTo>
                  <a:pt x="52" y="69"/>
                </a:lnTo>
                <a:lnTo>
                  <a:pt x="53" y="69"/>
                </a:lnTo>
                <a:lnTo>
                  <a:pt x="53" y="70"/>
                </a:lnTo>
                <a:lnTo>
                  <a:pt x="54" y="70"/>
                </a:lnTo>
                <a:lnTo>
                  <a:pt x="54" y="71"/>
                </a:lnTo>
                <a:lnTo>
                  <a:pt x="53" y="73"/>
                </a:lnTo>
                <a:lnTo>
                  <a:pt x="53" y="74"/>
                </a:lnTo>
                <a:lnTo>
                  <a:pt x="52" y="74"/>
                </a:lnTo>
                <a:lnTo>
                  <a:pt x="50" y="75"/>
                </a:lnTo>
                <a:lnTo>
                  <a:pt x="52" y="76"/>
                </a:lnTo>
                <a:lnTo>
                  <a:pt x="52" y="80"/>
                </a:lnTo>
                <a:lnTo>
                  <a:pt x="53" y="81"/>
                </a:lnTo>
                <a:lnTo>
                  <a:pt x="54" y="83"/>
                </a:lnTo>
                <a:lnTo>
                  <a:pt x="54" y="85"/>
                </a:lnTo>
                <a:lnTo>
                  <a:pt x="55" y="86"/>
                </a:lnTo>
                <a:lnTo>
                  <a:pt x="55" y="88"/>
                </a:lnTo>
                <a:lnTo>
                  <a:pt x="58" y="88"/>
                </a:lnTo>
                <a:lnTo>
                  <a:pt x="59" y="89"/>
                </a:lnTo>
                <a:lnTo>
                  <a:pt x="60" y="93"/>
                </a:lnTo>
                <a:lnTo>
                  <a:pt x="60" y="97"/>
                </a:lnTo>
                <a:lnTo>
                  <a:pt x="61" y="98"/>
                </a:lnTo>
                <a:lnTo>
                  <a:pt x="61" y="99"/>
                </a:lnTo>
                <a:lnTo>
                  <a:pt x="64" y="99"/>
                </a:lnTo>
                <a:lnTo>
                  <a:pt x="65" y="98"/>
                </a:lnTo>
                <a:lnTo>
                  <a:pt x="71" y="98"/>
                </a:lnTo>
                <a:lnTo>
                  <a:pt x="71" y="99"/>
                </a:lnTo>
                <a:lnTo>
                  <a:pt x="72" y="100"/>
                </a:lnTo>
                <a:lnTo>
                  <a:pt x="72" y="104"/>
                </a:lnTo>
                <a:lnTo>
                  <a:pt x="71" y="105"/>
                </a:lnTo>
                <a:lnTo>
                  <a:pt x="71" y="107"/>
                </a:lnTo>
                <a:lnTo>
                  <a:pt x="72" y="107"/>
                </a:lnTo>
                <a:lnTo>
                  <a:pt x="74" y="110"/>
                </a:lnTo>
                <a:lnTo>
                  <a:pt x="74" y="118"/>
                </a:lnTo>
                <a:lnTo>
                  <a:pt x="73" y="118"/>
                </a:lnTo>
                <a:lnTo>
                  <a:pt x="73" y="119"/>
                </a:lnTo>
                <a:lnTo>
                  <a:pt x="72" y="119"/>
                </a:lnTo>
                <a:lnTo>
                  <a:pt x="71" y="120"/>
                </a:lnTo>
                <a:lnTo>
                  <a:pt x="71" y="123"/>
                </a:lnTo>
                <a:lnTo>
                  <a:pt x="66" y="123"/>
                </a:lnTo>
                <a:lnTo>
                  <a:pt x="64" y="125"/>
                </a:lnTo>
                <a:lnTo>
                  <a:pt x="64" y="129"/>
                </a:lnTo>
                <a:lnTo>
                  <a:pt x="62" y="130"/>
                </a:lnTo>
                <a:lnTo>
                  <a:pt x="62" y="131"/>
                </a:lnTo>
                <a:lnTo>
                  <a:pt x="61" y="132"/>
                </a:lnTo>
                <a:lnTo>
                  <a:pt x="60" y="132"/>
                </a:lnTo>
                <a:lnTo>
                  <a:pt x="60" y="138"/>
                </a:lnTo>
                <a:lnTo>
                  <a:pt x="59" y="138"/>
                </a:lnTo>
                <a:lnTo>
                  <a:pt x="59" y="143"/>
                </a:lnTo>
                <a:lnTo>
                  <a:pt x="58" y="143"/>
                </a:lnTo>
                <a:lnTo>
                  <a:pt x="56" y="144"/>
                </a:lnTo>
                <a:lnTo>
                  <a:pt x="52" y="144"/>
                </a:lnTo>
                <a:lnTo>
                  <a:pt x="50" y="145"/>
                </a:lnTo>
                <a:lnTo>
                  <a:pt x="49" y="144"/>
                </a:lnTo>
                <a:lnTo>
                  <a:pt x="47" y="147"/>
                </a:lnTo>
                <a:lnTo>
                  <a:pt x="47" y="149"/>
                </a:lnTo>
                <a:lnTo>
                  <a:pt x="43" y="149"/>
                </a:lnTo>
                <a:lnTo>
                  <a:pt x="45" y="153"/>
                </a:lnTo>
                <a:lnTo>
                  <a:pt x="46" y="154"/>
                </a:lnTo>
                <a:lnTo>
                  <a:pt x="47" y="157"/>
                </a:lnTo>
                <a:lnTo>
                  <a:pt x="48" y="159"/>
                </a:lnTo>
                <a:lnTo>
                  <a:pt x="47" y="160"/>
                </a:lnTo>
                <a:lnTo>
                  <a:pt x="45" y="160"/>
                </a:lnTo>
                <a:lnTo>
                  <a:pt x="43" y="159"/>
                </a:lnTo>
                <a:lnTo>
                  <a:pt x="42" y="159"/>
                </a:lnTo>
                <a:lnTo>
                  <a:pt x="42" y="160"/>
                </a:lnTo>
                <a:lnTo>
                  <a:pt x="43" y="161"/>
                </a:lnTo>
                <a:lnTo>
                  <a:pt x="42" y="161"/>
                </a:lnTo>
                <a:lnTo>
                  <a:pt x="42" y="162"/>
                </a:lnTo>
                <a:lnTo>
                  <a:pt x="43" y="162"/>
                </a:lnTo>
                <a:lnTo>
                  <a:pt x="43" y="163"/>
                </a:lnTo>
                <a:lnTo>
                  <a:pt x="41" y="166"/>
                </a:lnTo>
                <a:lnTo>
                  <a:pt x="41" y="167"/>
                </a:lnTo>
                <a:lnTo>
                  <a:pt x="40" y="167"/>
                </a:lnTo>
                <a:lnTo>
                  <a:pt x="40" y="168"/>
                </a:lnTo>
                <a:lnTo>
                  <a:pt x="37" y="168"/>
                </a:lnTo>
                <a:lnTo>
                  <a:pt x="35" y="166"/>
                </a:lnTo>
                <a:lnTo>
                  <a:pt x="33" y="166"/>
                </a:lnTo>
                <a:lnTo>
                  <a:pt x="31" y="165"/>
                </a:lnTo>
                <a:lnTo>
                  <a:pt x="30" y="166"/>
                </a:lnTo>
                <a:lnTo>
                  <a:pt x="30" y="163"/>
                </a:lnTo>
                <a:lnTo>
                  <a:pt x="31" y="162"/>
                </a:lnTo>
                <a:lnTo>
                  <a:pt x="30" y="162"/>
                </a:lnTo>
                <a:lnTo>
                  <a:pt x="30" y="160"/>
                </a:lnTo>
                <a:lnTo>
                  <a:pt x="31" y="157"/>
                </a:lnTo>
                <a:lnTo>
                  <a:pt x="31" y="156"/>
                </a:lnTo>
                <a:lnTo>
                  <a:pt x="30" y="155"/>
                </a:lnTo>
                <a:lnTo>
                  <a:pt x="29" y="155"/>
                </a:lnTo>
                <a:lnTo>
                  <a:pt x="29" y="154"/>
                </a:lnTo>
                <a:lnTo>
                  <a:pt x="27" y="154"/>
                </a:lnTo>
                <a:lnTo>
                  <a:pt x="27" y="153"/>
                </a:lnTo>
                <a:lnTo>
                  <a:pt x="28" y="153"/>
                </a:lnTo>
                <a:lnTo>
                  <a:pt x="28" y="151"/>
                </a:lnTo>
                <a:lnTo>
                  <a:pt x="25" y="147"/>
                </a:lnTo>
                <a:lnTo>
                  <a:pt x="25" y="145"/>
                </a:lnTo>
                <a:lnTo>
                  <a:pt x="22" y="145"/>
                </a:lnTo>
                <a:lnTo>
                  <a:pt x="23" y="144"/>
                </a:lnTo>
                <a:lnTo>
                  <a:pt x="21" y="144"/>
                </a:lnTo>
                <a:lnTo>
                  <a:pt x="21" y="143"/>
                </a:lnTo>
                <a:lnTo>
                  <a:pt x="19" y="143"/>
                </a:lnTo>
                <a:lnTo>
                  <a:pt x="19" y="142"/>
                </a:lnTo>
                <a:lnTo>
                  <a:pt x="18" y="142"/>
                </a:lnTo>
                <a:lnTo>
                  <a:pt x="14" y="140"/>
                </a:lnTo>
                <a:lnTo>
                  <a:pt x="12" y="138"/>
                </a:lnTo>
                <a:lnTo>
                  <a:pt x="10" y="137"/>
                </a:lnTo>
                <a:lnTo>
                  <a:pt x="9" y="137"/>
                </a:lnTo>
                <a:lnTo>
                  <a:pt x="5" y="132"/>
                </a:lnTo>
                <a:lnTo>
                  <a:pt x="4" y="131"/>
                </a:lnTo>
                <a:lnTo>
                  <a:pt x="3" y="129"/>
                </a:lnTo>
                <a:lnTo>
                  <a:pt x="3" y="128"/>
                </a:lnTo>
                <a:lnTo>
                  <a:pt x="2" y="126"/>
                </a:lnTo>
                <a:lnTo>
                  <a:pt x="2" y="125"/>
                </a:lnTo>
                <a:lnTo>
                  <a:pt x="0" y="125"/>
                </a:lnTo>
                <a:lnTo>
                  <a:pt x="2" y="124"/>
                </a:lnTo>
                <a:lnTo>
                  <a:pt x="3" y="124"/>
                </a:lnTo>
                <a:lnTo>
                  <a:pt x="3" y="125"/>
                </a:lnTo>
                <a:lnTo>
                  <a:pt x="5" y="126"/>
                </a:lnTo>
                <a:lnTo>
                  <a:pt x="5" y="129"/>
                </a:lnTo>
                <a:lnTo>
                  <a:pt x="6" y="129"/>
                </a:lnTo>
                <a:lnTo>
                  <a:pt x="6" y="130"/>
                </a:lnTo>
                <a:lnTo>
                  <a:pt x="9" y="130"/>
                </a:lnTo>
                <a:lnTo>
                  <a:pt x="9" y="123"/>
                </a:lnTo>
                <a:lnTo>
                  <a:pt x="8" y="123"/>
                </a:lnTo>
                <a:lnTo>
                  <a:pt x="6" y="122"/>
                </a:lnTo>
                <a:lnTo>
                  <a:pt x="5" y="119"/>
                </a:lnTo>
                <a:lnTo>
                  <a:pt x="6" y="119"/>
                </a:lnTo>
                <a:lnTo>
                  <a:pt x="6" y="120"/>
                </a:lnTo>
                <a:lnTo>
                  <a:pt x="8" y="120"/>
                </a:lnTo>
                <a:lnTo>
                  <a:pt x="8" y="117"/>
                </a:lnTo>
                <a:lnTo>
                  <a:pt x="6" y="116"/>
                </a:lnTo>
                <a:lnTo>
                  <a:pt x="5" y="117"/>
                </a:lnTo>
                <a:lnTo>
                  <a:pt x="5" y="118"/>
                </a:lnTo>
                <a:lnTo>
                  <a:pt x="4" y="117"/>
                </a:lnTo>
                <a:lnTo>
                  <a:pt x="2" y="113"/>
                </a:lnTo>
                <a:lnTo>
                  <a:pt x="2" y="111"/>
                </a:lnTo>
                <a:lnTo>
                  <a:pt x="3" y="111"/>
                </a:lnTo>
                <a:lnTo>
                  <a:pt x="3" y="110"/>
                </a:lnTo>
                <a:lnTo>
                  <a:pt x="4" y="110"/>
                </a:lnTo>
                <a:lnTo>
                  <a:pt x="4" y="104"/>
                </a:lnTo>
                <a:lnTo>
                  <a:pt x="5" y="104"/>
                </a:lnTo>
                <a:lnTo>
                  <a:pt x="5" y="101"/>
                </a:lnTo>
                <a:lnTo>
                  <a:pt x="8" y="99"/>
                </a:lnTo>
                <a:lnTo>
                  <a:pt x="10" y="98"/>
                </a:lnTo>
                <a:lnTo>
                  <a:pt x="11" y="98"/>
                </a:lnTo>
                <a:lnTo>
                  <a:pt x="11" y="97"/>
                </a:lnTo>
                <a:lnTo>
                  <a:pt x="10" y="95"/>
                </a:lnTo>
                <a:lnTo>
                  <a:pt x="10" y="93"/>
                </a:lnTo>
                <a:lnTo>
                  <a:pt x="9" y="94"/>
                </a:lnTo>
                <a:lnTo>
                  <a:pt x="9" y="93"/>
                </a:lnTo>
                <a:lnTo>
                  <a:pt x="8" y="93"/>
                </a:lnTo>
                <a:lnTo>
                  <a:pt x="8" y="85"/>
                </a:lnTo>
                <a:lnTo>
                  <a:pt x="9" y="83"/>
                </a:lnTo>
                <a:lnTo>
                  <a:pt x="9" y="82"/>
                </a:lnTo>
                <a:lnTo>
                  <a:pt x="10" y="80"/>
                </a:lnTo>
                <a:lnTo>
                  <a:pt x="10" y="76"/>
                </a:lnTo>
                <a:lnTo>
                  <a:pt x="9" y="76"/>
                </a:lnTo>
                <a:lnTo>
                  <a:pt x="9" y="75"/>
                </a:lnTo>
                <a:lnTo>
                  <a:pt x="6" y="75"/>
                </a:lnTo>
                <a:lnTo>
                  <a:pt x="6" y="71"/>
                </a:lnTo>
                <a:lnTo>
                  <a:pt x="5" y="70"/>
                </a:lnTo>
                <a:lnTo>
                  <a:pt x="8" y="70"/>
                </a:lnTo>
                <a:lnTo>
                  <a:pt x="8" y="68"/>
                </a:lnTo>
                <a:lnTo>
                  <a:pt x="10" y="65"/>
                </a:lnTo>
                <a:lnTo>
                  <a:pt x="10" y="63"/>
                </a:lnTo>
                <a:lnTo>
                  <a:pt x="9" y="63"/>
                </a:lnTo>
                <a:lnTo>
                  <a:pt x="9" y="62"/>
                </a:lnTo>
                <a:lnTo>
                  <a:pt x="8" y="61"/>
                </a:lnTo>
                <a:lnTo>
                  <a:pt x="12" y="61"/>
                </a:lnTo>
                <a:lnTo>
                  <a:pt x="14" y="58"/>
                </a:lnTo>
                <a:lnTo>
                  <a:pt x="14" y="59"/>
                </a:lnTo>
                <a:lnTo>
                  <a:pt x="15" y="59"/>
                </a:lnTo>
                <a:lnTo>
                  <a:pt x="14" y="57"/>
                </a:lnTo>
                <a:lnTo>
                  <a:pt x="12" y="56"/>
                </a:lnTo>
                <a:lnTo>
                  <a:pt x="14" y="55"/>
                </a:lnTo>
                <a:lnTo>
                  <a:pt x="12" y="52"/>
                </a:lnTo>
                <a:lnTo>
                  <a:pt x="12" y="50"/>
                </a:lnTo>
                <a:lnTo>
                  <a:pt x="14" y="50"/>
                </a:lnTo>
                <a:lnTo>
                  <a:pt x="14" y="48"/>
                </a:lnTo>
                <a:lnTo>
                  <a:pt x="9" y="45"/>
                </a:lnTo>
                <a:lnTo>
                  <a:pt x="8" y="44"/>
                </a:lnTo>
                <a:lnTo>
                  <a:pt x="6" y="44"/>
                </a:lnTo>
                <a:lnTo>
                  <a:pt x="4" y="45"/>
                </a:lnTo>
                <a:lnTo>
                  <a:pt x="4" y="43"/>
                </a:lnTo>
                <a:lnTo>
                  <a:pt x="3" y="42"/>
                </a:lnTo>
                <a:lnTo>
                  <a:pt x="3" y="40"/>
                </a:lnTo>
                <a:lnTo>
                  <a:pt x="4" y="40"/>
                </a:lnTo>
                <a:lnTo>
                  <a:pt x="3" y="39"/>
                </a:lnTo>
                <a:lnTo>
                  <a:pt x="4" y="39"/>
                </a:lnTo>
                <a:lnTo>
                  <a:pt x="4" y="37"/>
                </a:lnTo>
                <a:lnTo>
                  <a:pt x="3" y="36"/>
                </a:lnTo>
                <a:lnTo>
                  <a:pt x="4" y="34"/>
                </a:lnTo>
                <a:lnTo>
                  <a:pt x="4" y="30"/>
                </a:lnTo>
                <a:lnTo>
                  <a:pt x="2" y="28"/>
                </a:lnTo>
                <a:lnTo>
                  <a:pt x="0" y="27"/>
                </a:lnTo>
                <a:lnTo>
                  <a:pt x="0" y="26"/>
                </a:lnTo>
                <a:lnTo>
                  <a:pt x="2" y="25"/>
                </a:lnTo>
                <a:lnTo>
                  <a:pt x="5" y="18"/>
                </a:lnTo>
                <a:lnTo>
                  <a:pt x="5" y="16"/>
                </a:lnTo>
                <a:lnTo>
                  <a:pt x="9" y="13"/>
                </a:lnTo>
                <a:lnTo>
                  <a:pt x="9" y="12"/>
                </a:lnTo>
                <a:lnTo>
                  <a:pt x="10" y="12"/>
                </a:lnTo>
                <a:lnTo>
                  <a:pt x="10" y="11"/>
                </a:lnTo>
                <a:lnTo>
                  <a:pt x="11" y="9"/>
                </a:lnTo>
                <a:lnTo>
                  <a:pt x="11" y="8"/>
                </a:lnTo>
                <a:lnTo>
                  <a:pt x="12" y="7"/>
                </a:lnTo>
                <a:lnTo>
                  <a:pt x="14" y="7"/>
                </a:lnTo>
                <a:lnTo>
                  <a:pt x="14" y="3"/>
                </a:lnTo>
                <a:lnTo>
                  <a:pt x="17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8" name="Freeform 13">
            <a:extLst>
              <a:ext uri="{FF2B5EF4-FFF2-40B4-BE49-F238E27FC236}">
                <a16:creationId xmlns:a16="http://schemas.microsoft.com/office/drawing/2014/main" id="{D37DF8E3-AC8B-45DD-BDFB-34622A9F23C0}"/>
              </a:ext>
            </a:extLst>
          </p:cNvPr>
          <p:cNvSpPr>
            <a:spLocks noEditPoints="1"/>
          </p:cNvSpPr>
          <p:nvPr/>
        </p:nvSpPr>
        <p:spPr bwMode="auto">
          <a:xfrm>
            <a:off x="113840" y="5288125"/>
            <a:ext cx="1376493" cy="1220008"/>
          </a:xfrm>
          <a:custGeom>
            <a:avLst/>
            <a:gdLst/>
            <a:ahLst/>
            <a:cxnLst>
              <a:cxn ang="0">
                <a:pos x="117" y="817"/>
              </a:cxn>
              <a:cxn ang="0">
                <a:pos x="99" y="828"/>
              </a:cxn>
              <a:cxn ang="0">
                <a:pos x="87" y="800"/>
              </a:cxn>
              <a:cxn ang="0">
                <a:pos x="57" y="816"/>
              </a:cxn>
              <a:cxn ang="0">
                <a:pos x="184" y="792"/>
              </a:cxn>
              <a:cxn ang="0">
                <a:pos x="168" y="813"/>
              </a:cxn>
              <a:cxn ang="0">
                <a:pos x="16" y="803"/>
              </a:cxn>
              <a:cxn ang="0">
                <a:pos x="188" y="782"/>
              </a:cxn>
              <a:cxn ang="0">
                <a:pos x="195" y="767"/>
              </a:cxn>
              <a:cxn ang="0">
                <a:pos x="501" y="380"/>
              </a:cxn>
              <a:cxn ang="0">
                <a:pos x="828" y="263"/>
              </a:cxn>
              <a:cxn ang="0">
                <a:pos x="822" y="271"/>
              </a:cxn>
              <a:cxn ang="0">
                <a:pos x="897" y="221"/>
              </a:cxn>
              <a:cxn ang="0">
                <a:pos x="902" y="250"/>
              </a:cxn>
              <a:cxn ang="0">
                <a:pos x="872" y="244"/>
              </a:cxn>
              <a:cxn ang="0">
                <a:pos x="942" y="211"/>
              </a:cxn>
              <a:cxn ang="0">
                <a:pos x="928" y="211"/>
              </a:cxn>
              <a:cxn ang="0">
                <a:pos x="391" y="75"/>
              </a:cxn>
              <a:cxn ang="0">
                <a:pos x="471" y="13"/>
              </a:cxn>
              <a:cxn ang="0">
                <a:pos x="511" y="12"/>
              </a:cxn>
              <a:cxn ang="0">
                <a:pos x="558" y="19"/>
              </a:cxn>
              <a:cxn ang="0">
                <a:pos x="608" y="18"/>
              </a:cxn>
              <a:cxn ang="0">
                <a:pos x="621" y="22"/>
              </a:cxn>
              <a:cxn ang="0">
                <a:pos x="656" y="22"/>
              </a:cxn>
              <a:cxn ang="0">
                <a:pos x="697" y="31"/>
              </a:cxn>
              <a:cxn ang="0">
                <a:pos x="715" y="43"/>
              </a:cxn>
              <a:cxn ang="0">
                <a:pos x="753" y="56"/>
              </a:cxn>
              <a:cxn ang="0">
                <a:pos x="795" y="61"/>
              </a:cxn>
              <a:cxn ang="0">
                <a:pos x="828" y="73"/>
              </a:cxn>
              <a:cxn ang="0">
                <a:pos x="857" y="79"/>
              </a:cxn>
              <a:cxn ang="0">
                <a:pos x="906" y="84"/>
              </a:cxn>
              <a:cxn ang="0">
                <a:pos x="887" y="120"/>
              </a:cxn>
              <a:cxn ang="0">
                <a:pos x="809" y="157"/>
              </a:cxn>
              <a:cxn ang="0">
                <a:pos x="782" y="198"/>
              </a:cxn>
              <a:cxn ang="0">
                <a:pos x="757" y="263"/>
              </a:cxn>
              <a:cxn ang="0">
                <a:pos x="759" y="294"/>
              </a:cxn>
              <a:cxn ang="0">
                <a:pos x="735" y="333"/>
              </a:cxn>
              <a:cxn ang="0">
                <a:pos x="714" y="346"/>
              </a:cxn>
              <a:cxn ang="0">
                <a:pos x="682" y="385"/>
              </a:cxn>
              <a:cxn ang="0">
                <a:pos x="652" y="392"/>
              </a:cxn>
              <a:cxn ang="0">
                <a:pos x="595" y="389"/>
              </a:cxn>
              <a:cxn ang="0">
                <a:pos x="544" y="416"/>
              </a:cxn>
              <a:cxn ang="0">
                <a:pos x="501" y="400"/>
              </a:cxn>
              <a:cxn ang="0">
                <a:pos x="480" y="369"/>
              </a:cxn>
              <a:cxn ang="0">
                <a:pos x="452" y="354"/>
              </a:cxn>
              <a:cxn ang="0">
                <a:pos x="472" y="317"/>
              </a:cxn>
              <a:cxn ang="0">
                <a:pos x="468" y="277"/>
              </a:cxn>
              <a:cxn ang="0">
                <a:pos x="458" y="244"/>
              </a:cxn>
              <a:cxn ang="0">
                <a:pos x="470" y="206"/>
              </a:cxn>
              <a:cxn ang="0">
                <a:pos x="478" y="166"/>
              </a:cxn>
              <a:cxn ang="0">
                <a:pos x="502" y="131"/>
              </a:cxn>
              <a:cxn ang="0">
                <a:pos x="474" y="106"/>
              </a:cxn>
              <a:cxn ang="0">
                <a:pos x="435" y="110"/>
              </a:cxn>
              <a:cxn ang="0">
                <a:pos x="416" y="97"/>
              </a:cxn>
              <a:cxn ang="0">
                <a:pos x="395" y="92"/>
              </a:cxn>
              <a:cxn ang="0">
                <a:pos x="398" y="79"/>
              </a:cxn>
              <a:cxn ang="0">
                <a:pos x="386" y="73"/>
              </a:cxn>
              <a:cxn ang="0">
                <a:pos x="380" y="50"/>
              </a:cxn>
              <a:cxn ang="0">
                <a:pos x="385" y="35"/>
              </a:cxn>
              <a:cxn ang="0">
                <a:pos x="414" y="25"/>
              </a:cxn>
              <a:cxn ang="0">
                <a:pos x="416" y="13"/>
              </a:cxn>
              <a:cxn ang="0">
                <a:pos x="442" y="0"/>
              </a:cxn>
            </a:cxnLst>
            <a:rect l="0" t="0" r="r" b="b"/>
            <a:pathLst>
              <a:path w="950" h="842">
                <a:moveTo>
                  <a:pt x="11" y="833"/>
                </a:moveTo>
                <a:lnTo>
                  <a:pt x="13" y="835"/>
                </a:lnTo>
                <a:lnTo>
                  <a:pt x="12" y="835"/>
                </a:lnTo>
                <a:lnTo>
                  <a:pt x="11" y="837"/>
                </a:lnTo>
                <a:lnTo>
                  <a:pt x="11" y="840"/>
                </a:lnTo>
                <a:lnTo>
                  <a:pt x="10" y="840"/>
                </a:lnTo>
                <a:lnTo>
                  <a:pt x="10" y="841"/>
                </a:lnTo>
                <a:lnTo>
                  <a:pt x="8" y="841"/>
                </a:lnTo>
                <a:lnTo>
                  <a:pt x="8" y="842"/>
                </a:lnTo>
                <a:lnTo>
                  <a:pt x="7" y="842"/>
                </a:lnTo>
                <a:lnTo>
                  <a:pt x="6" y="841"/>
                </a:lnTo>
                <a:lnTo>
                  <a:pt x="5" y="841"/>
                </a:lnTo>
                <a:lnTo>
                  <a:pt x="2" y="840"/>
                </a:lnTo>
                <a:lnTo>
                  <a:pt x="1" y="840"/>
                </a:lnTo>
                <a:lnTo>
                  <a:pt x="1" y="839"/>
                </a:lnTo>
                <a:lnTo>
                  <a:pt x="0" y="837"/>
                </a:lnTo>
                <a:lnTo>
                  <a:pt x="1" y="836"/>
                </a:lnTo>
                <a:lnTo>
                  <a:pt x="4" y="837"/>
                </a:lnTo>
                <a:lnTo>
                  <a:pt x="6" y="837"/>
                </a:lnTo>
                <a:lnTo>
                  <a:pt x="7" y="835"/>
                </a:lnTo>
                <a:lnTo>
                  <a:pt x="7" y="834"/>
                </a:lnTo>
                <a:lnTo>
                  <a:pt x="8" y="834"/>
                </a:lnTo>
                <a:lnTo>
                  <a:pt x="11" y="833"/>
                </a:lnTo>
                <a:close/>
                <a:moveTo>
                  <a:pt x="116" y="817"/>
                </a:moveTo>
                <a:lnTo>
                  <a:pt x="117" y="817"/>
                </a:lnTo>
                <a:lnTo>
                  <a:pt x="117" y="824"/>
                </a:lnTo>
                <a:lnTo>
                  <a:pt x="118" y="824"/>
                </a:lnTo>
                <a:lnTo>
                  <a:pt x="118" y="825"/>
                </a:lnTo>
                <a:lnTo>
                  <a:pt x="119" y="825"/>
                </a:lnTo>
                <a:lnTo>
                  <a:pt x="119" y="827"/>
                </a:lnTo>
                <a:lnTo>
                  <a:pt x="118" y="827"/>
                </a:lnTo>
                <a:lnTo>
                  <a:pt x="118" y="828"/>
                </a:lnTo>
                <a:lnTo>
                  <a:pt x="119" y="829"/>
                </a:lnTo>
                <a:lnTo>
                  <a:pt x="118" y="829"/>
                </a:lnTo>
                <a:lnTo>
                  <a:pt x="118" y="833"/>
                </a:lnTo>
                <a:lnTo>
                  <a:pt x="114" y="836"/>
                </a:lnTo>
                <a:lnTo>
                  <a:pt x="112" y="836"/>
                </a:lnTo>
                <a:lnTo>
                  <a:pt x="112" y="837"/>
                </a:lnTo>
                <a:lnTo>
                  <a:pt x="111" y="837"/>
                </a:lnTo>
                <a:lnTo>
                  <a:pt x="110" y="839"/>
                </a:lnTo>
                <a:lnTo>
                  <a:pt x="108" y="837"/>
                </a:lnTo>
                <a:lnTo>
                  <a:pt x="105" y="837"/>
                </a:lnTo>
                <a:lnTo>
                  <a:pt x="103" y="835"/>
                </a:lnTo>
                <a:lnTo>
                  <a:pt x="103" y="834"/>
                </a:lnTo>
                <a:lnTo>
                  <a:pt x="101" y="834"/>
                </a:lnTo>
                <a:lnTo>
                  <a:pt x="101" y="833"/>
                </a:lnTo>
                <a:lnTo>
                  <a:pt x="100" y="830"/>
                </a:lnTo>
                <a:lnTo>
                  <a:pt x="99" y="829"/>
                </a:lnTo>
                <a:lnTo>
                  <a:pt x="100" y="829"/>
                </a:lnTo>
                <a:lnTo>
                  <a:pt x="99" y="828"/>
                </a:lnTo>
                <a:lnTo>
                  <a:pt x="99" y="827"/>
                </a:lnTo>
                <a:lnTo>
                  <a:pt x="101" y="824"/>
                </a:lnTo>
                <a:lnTo>
                  <a:pt x="103" y="824"/>
                </a:lnTo>
                <a:lnTo>
                  <a:pt x="104" y="823"/>
                </a:lnTo>
                <a:lnTo>
                  <a:pt x="104" y="821"/>
                </a:lnTo>
                <a:lnTo>
                  <a:pt x="105" y="821"/>
                </a:lnTo>
                <a:lnTo>
                  <a:pt x="105" y="818"/>
                </a:lnTo>
                <a:lnTo>
                  <a:pt x="112" y="818"/>
                </a:lnTo>
                <a:lnTo>
                  <a:pt x="114" y="819"/>
                </a:lnTo>
                <a:lnTo>
                  <a:pt x="116" y="819"/>
                </a:lnTo>
                <a:lnTo>
                  <a:pt x="116" y="817"/>
                </a:lnTo>
                <a:close/>
                <a:moveTo>
                  <a:pt x="37" y="816"/>
                </a:moveTo>
                <a:lnTo>
                  <a:pt x="41" y="816"/>
                </a:lnTo>
                <a:lnTo>
                  <a:pt x="45" y="818"/>
                </a:lnTo>
                <a:lnTo>
                  <a:pt x="45" y="822"/>
                </a:lnTo>
                <a:lnTo>
                  <a:pt x="44" y="822"/>
                </a:lnTo>
                <a:lnTo>
                  <a:pt x="42" y="824"/>
                </a:lnTo>
                <a:lnTo>
                  <a:pt x="39" y="824"/>
                </a:lnTo>
                <a:lnTo>
                  <a:pt x="37" y="823"/>
                </a:lnTo>
                <a:lnTo>
                  <a:pt x="36" y="821"/>
                </a:lnTo>
                <a:lnTo>
                  <a:pt x="36" y="817"/>
                </a:lnTo>
                <a:lnTo>
                  <a:pt x="37" y="816"/>
                </a:lnTo>
                <a:close/>
                <a:moveTo>
                  <a:pt x="86" y="798"/>
                </a:moveTo>
                <a:lnTo>
                  <a:pt x="87" y="798"/>
                </a:lnTo>
                <a:lnTo>
                  <a:pt x="87" y="800"/>
                </a:lnTo>
                <a:lnTo>
                  <a:pt x="86" y="800"/>
                </a:lnTo>
                <a:lnTo>
                  <a:pt x="82" y="803"/>
                </a:lnTo>
                <a:lnTo>
                  <a:pt x="81" y="804"/>
                </a:lnTo>
                <a:lnTo>
                  <a:pt x="81" y="805"/>
                </a:lnTo>
                <a:lnTo>
                  <a:pt x="80" y="806"/>
                </a:lnTo>
                <a:lnTo>
                  <a:pt x="79" y="806"/>
                </a:lnTo>
                <a:lnTo>
                  <a:pt x="77" y="807"/>
                </a:lnTo>
                <a:lnTo>
                  <a:pt x="76" y="807"/>
                </a:lnTo>
                <a:lnTo>
                  <a:pt x="76" y="812"/>
                </a:lnTo>
                <a:lnTo>
                  <a:pt x="75" y="813"/>
                </a:lnTo>
                <a:lnTo>
                  <a:pt x="74" y="816"/>
                </a:lnTo>
                <a:lnTo>
                  <a:pt x="74" y="818"/>
                </a:lnTo>
                <a:lnTo>
                  <a:pt x="73" y="819"/>
                </a:lnTo>
                <a:lnTo>
                  <a:pt x="73" y="821"/>
                </a:lnTo>
                <a:lnTo>
                  <a:pt x="69" y="824"/>
                </a:lnTo>
                <a:lnTo>
                  <a:pt x="68" y="824"/>
                </a:lnTo>
                <a:lnTo>
                  <a:pt x="66" y="825"/>
                </a:lnTo>
                <a:lnTo>
                  <a:pt x="62" y="825"/>
                </a:lnTo>
                <a:lnTo>
                  <a:pt x="62" y="823"/>
                </a:lnTo>
                <a:lnTo>
                  <a:pt x="61" y="823"/>
                </a:lnTo>
                <a:lnTo>
                  <a:pt x="61" y="822"/>
                </a:lnTo>
                <a:lnTo>
                  <a:pt x="58" y="819"/>
                </a:lnTo>
                <a:lnTo>
                  <a:pt x="58" y="818"/>
                </a:lnTo>
                <a:lnTo>
                  <a:pt x="57" y="817"/>
                </a:lnTo>
                <a:lnTo>
                  <a:pt x="57" y="816"/>
                </a:lnTo>
                <a:lnTo>
                  <a:pt x="56" y="816"/>
                </a:lnTo>
                <a:lnTo>
                  <a:pt x="56" y="812"/>
                </a:lnTo>
                <a:lnTo>
                  <a:pt x="54" y="810"/>
                </a:lnTo>
                <a:lnTo>
                  <a:pt x="54" y="809"/>
                </a:lnTo>
                <a:lnTo>
                  <a:pt x="55" y="809"/>
                </a:lnTo>
                <a:lnTo>
                  <a:pt x="56" y="807"/>
                </a:lnTo>
                <a:lnTo>
                  <a:pt x="57" y="807"/>
                </a:lnTo>
                <a:lnTo>
                  <a:pt x="58" y="809"/>
                </a:lnTo>
                <a:lnTo>
                  <a:pt x="60" y="809"/>
                </a:lnTo>
                <a:lnTo>
                  <a:pt x="61" y="807"/>
                </a:lnTo>
                <a:lnTo>
                  <a:pt x="63" y="807"/>
                </a:lnTo>
                <a:lnTo>
                  <a:pt x="64" y="806"/>
                </a:lnTo>
                <a:lnTo>
                  <a:pt x="69" y="806"/>
                </a:lnTo>
                <a:lnTo>
                  <a:pt x="69" y="805"/>
                </a:lnTo>
                <a:lnTo>
                  <a:pt x="72" y="805"/>
                </a:lnTo>
                <a:lnTo>
                  <a:pt x="74" y="803"/>
                </a:lnTo>
                <a:lnTo>
                  <a:pt x="74" y="801"/>
                </a:lnTo>
                <a:lnTo>
                  <a:pt x="75" y="800"/>
                </a:lnTo>
                <a:lnTo>
                  <a:pt x="76" y="800"/>
                </a:lnTo>
                <a:lnTo>
                  <a:pt x="77" y="799"/>
                </a:lnTo>
                <a:lnTo>
                  <a:pt x="83" y="799"/>
                </a:lnTo>
                <a:lnTo>
                  <a:pt x="86" y="798"/>
                </a:lnTo>
                <a:close/>
                <a:moveTo>
                  <a:pt x="179" y="790"/>
                </a:moveTo>
                <a:lnTo>
                  <a:pt x="182" y="790"/>
                </a:lnTo>
                <a:lnTo>
                  <a:pt x="184" y="792"/>
                </a:lnTo>
                <a:lnTo>
                  <a:pt x="184" y="800"/>
                </a:lnTo>
                <a:lnTo>
                  <a:pt x="182" y="803"/>
                </a:lnTo>
                <a:lnTo>
                  <a:pt x="182" y="807"/>
                </a:lnTo>
                <a:lnTo>
                  <a:pt x="181" y="807"/>
                </a:lnTo>
                <a:lnTo>
                  <a:pt x="181" y="810"/>
                </a:lnTo>
                <a:lnTo>
                  <a:pt x="180" y="811"/>
                </a:lnTo>
                <a:lnTo>
                  <a:pt x="180" y="812"/>
                </a:lnTo>
                <a:lnTo>
                  <a:pt x="179" y="815"/>
                </a:lnTo>
                <a:lnTo>
                  <a:pt x="178" y="815"/>
                </a:lnTo>
                <a:lnTo>
                  <a:pt x="173" y="816"/>
                </a:lnTo>
                <a:lnTo>
                  <a:pt x="172" y="816"/>
                </a:lnTo>
                <a:lnTo>
                  <a:pt x="169" y="817"/>
                </a:lnTo>
                <a:lnTo>
                  <a:pt x="168" y="817"/>
                </a:lnTo>
                <a:lnTo>
                  <a:pt x="164" y="821"/>
                </a:lnTo>
                <a:lnTo>
                  <a:pt x="163" y="823"/>
                </a:lnTo>
                <a:lnTo>
                  <a:pt x="159" y="823"/>
                </a:lnTo>
                <a:lnTo>
                  <a:pt x="159" y="822"/>
                </a:lnTo>
                <a:lnTo>
                  <a:pt x="155" y="823"/>
                </a:lnTo>
                <a:lnTo>
                  <a:pt x="155" y="821"/>
                </a:lnTo>
                <a:lnTo>
                  <a:pt x="160" y="821"/>
                </a:lnTo>
                <a:lnTo>
                  <a:pt x="162" y="819"/>
                </a:lnTo>
                <a:lnTo>
                  <a:pt x="166" y="816"/>
                </a:lnTo>
                <a:lnTo>
                  <a:pt x="167" y="816"/>
                </a:lnTo>
                <a:lnTo>
                  <a:pt x="167" y="815"/>
                </a:lnTo>
                <a:lnTo>
                  <a:pt x="168" y="813"/>
                </a:lnTo>
                <a:lnTo>
                  <a:pt x="168" y="810"/>
                </a:lnTo>
                <a:lnTo>
                  <a:pt x="169" y="809"/>
                </a:lnTo>
                <a:lnTo>
                  <a:pt x="170" y="805"/>
                </a:lnTo>
                <a:lnTo>
                  <a:pt x="173" y="800"/>
                </a:lnTo>
                <a:lnTo>
                  <a:pt x="175" y="798"/>
                </a:lnTo>
                <a:lnTo>
                  <a:pt x="175" y="796"/>
                </a:lnTo>
                <a:lnTo>
                  <a:pt x="176" y="794"/>
                </a:lnTo>
                <a:lnTo>
                  <a:pt x="176" y="791"/>
                </a:lnTo>
                <a:lnTo>
                  <a:pt x="178" y="791"/>
                </a:lnTo>
                <a:lnTo>
                  <a:pt x="179" y="790"/>
                </a:lnTo>
                <a:close/>
                <a:moveTo>
                  <a:pt x="11" y="785"/>
                </a:moveTo>
                <a:lnTo>
                  <a:pt x="12" y="785"/>
                </a:lnTo>
                <a:lnTo>
                  <a:pt x="13" y="786"/>
                </a:lnTo>
                <a:lnTo>
                  <a:pt x="14" y="786"/>
                </a:lnTo>
                <a:lnTo>
                  <a:pt x="16" y="785"/>
                </a:lnTo>
                <a:lnTo>
                  <a:pt x="17" y="786"/>
                </a:lnTo>
                <a:lnTo>
                  <a:pt x="18" y="786"/>
                </a:lnTo>
                <a:lnTo>
                  <a:pt x="18" y="790"/>
                </a:lnTo>
                <a:lnTo>
                  <a:pt x="19" y="790"/>
                </a:lnTo>
                <a:lnTo>
                  <a:pt x="19" y="791"/>
                </a:lnTo>
                <a:lnTo>
                  <a:pt x="18" y="792"/>
                </a:lnTo>
                <a:lnTo>
                  <a:pt x="18" y="798"/>
                </a:lnTo>
                <a:lnTo>
                  <a:pt x="17" y="799"/>
                </a:lnTo>
                <a:lnTo>
                  <a:pt x="16" y="801"/>
                </a:lnTo>
                <a:lnTo>
                  <a:pt x="16" y="803"/>
                </a:lnTo>
                <a:lnTo>
                  <a:pt x="14" y="804"/>
                </a:lnTo>
                <a:lnTo>
                  <a:pt x="13" y="803"/>
                </a:lnTo>
                <a:lnTo>
                  <a:pt x="13" y="800"/>
                </a:lnTo>
                <a:lnTo>
                  <a:pt x="12" y="799"/>
                </a:lnTo>
                <a:lnTo>
                  <a:pt x="12" y="798"/>
                </a:lnTo>
                <a:lnTo>
                  <a:pt x="11" y="797"/>
                </a:lnTo>
                <a:lnTo>
                  <a:pt x="10" y="793"/>
                </a:lnTo>
                <a:lnTo>
                  <a:pt x="8" y="792"/>
                </a:lnTo>
                <a:lnTo>
                  <a:pt x="8" y="791"/>
                </a:lnTo>
                <a:lnTo>
                  <a:pt x="7" y="790"/>
                </a:lnTo>
                <a:lnTo>
                  <a:pt x="7" y="788"/>
                </a:lnTo>
                <a:lnTo>
                  <a:pt x="8" y="787"/>
                </a:lnTo>
                <a:lnTo>
                  <a:pt x="11" y="786"/>
                </a:lnTo>
                <a:lnTo>
                  <a:pt x="11" y="785"/>
                </a:lnTo>
                <a:close/>
                <a:moveTo>
                  <a:pt x="199" y="766"/>
                </a:moveTo>
                <a:lnTo>
                  <a:pt x="199" y="767"/>
                </a:lnTo>
                <a:lnTo>
                  <a:pt x="200" y="768"/>
                </a:lnTo>
                <a:lnTo>
                  <a:pt x="200" y="770"/>
                </a:lnTo>
                <a:lnTo>
                  <a:pt x="199" y="770"/>
                </a:lnTo>
                <a:lnTo>
                  <a:pt x="199" y="776"/>
                </a:lnTo>
                <a:lnTo>
                  <a:pt x="195" y="780"/>
                </a:lnTo>
                <a:lnTo>
                  <a:pt x="193" y="780"/>
                </a:lnTo>
                <a:lnTo>
                  <a:pt x="193" y="781"/>
                </a:lnTo>
                <a:lnTo>
                  <a:pt x="190" y="781"/>
                </a:lnTo>
                <a:lnTo>
                  <a:pt x="188" y="782"/>
                </a:lnTo>
                <a:lnTo>
                  <a:pt x="187" y="782"/>
                </a:lnTo>
                <a:lnTo>
                  <a:pt x="186" y="784"/>
                </a:lnTo>
                <a:lnTo>
                  <a:pt x="186" y="786"/>
                </a:lnTo>
                <a:lnTo>
                  <a:pt x="185" y="785"/>
                </a:lnTo>
                <a:lnTo>
                  <a:pt x="182" y="785"/>
                </a:lnTo>
                <a:lnTo>
                  <a:pt x="181" y="784"/>
                </a:lnTo>
                <a:lnTo>
                  <a:pt x="181" y="782"/>
                </a:lnTo>
                <a:lnTo>
                  <a:pt x="182" y="782"/>
                </a:lnTo>
                <a:lnTo>
                  <a:pt x="182" y="781"/>
                </a:lnTo>
                <a:lnTo>
                  <a:pt x="184" y="781"/>
                </a:lnTo>
                <a:lnTo>
                  <a:pt x="184" y="778"/>
                </a:lnTo>
                <a:lnTo>
                  <a:pt x="185" y="775"/>
                </a:lnTo>
                <a:lnTo>
                  <a:pt x="186" y="775"/>
                </a:lnTo>
                <a:lnTo>
                  <a:pt x="186" y="774"/>
                </a:lnTo>
                <a:lnTo>
                  <a:pt x="190" y="774"/>
                </a:lnTo>
                <a:lnTo>
                  <a:pt x="192" y="772"/>
                </a:lnTo>
                <a:lnTo>
                  <a:pt x="195" y="772"/>
                </a:lnTo>
                <a:lnTo>
                  <a:pt x="197" y="770"/>
                </a:lnTo>
                <a:lnTo>
                  <a:pt x="197" y="768"/>
                </a:lnTo>
                <a:lnTo>
                  <a:pt x="199" y="766"/>
                </a:lnTo>
                <a:close/>
                <a:moveTo>
                  <a:pt x="197" y="764"/>
                </a:moveTo>
                <a:lnTo>
                  <a:pt x="198" y="764"/>
                </a:lnTo>
                <a:lnTo>
                  <a:pt x="198" y="766"/>
                </a:lnTo>
                <a:lnTo>
                  <a:pt x="197" y="767"/>
                </a:lnTo>
                <a:lnTo>
                  <a:pt x="195" y="767"/>
                </a:lnTo>
                <a:lnTo>
                  <a:pt x="197" y="766"/>
                </a:lnTo>
                <a:lnTo>
                  <a:pt x="197" y="764"/>
                </a:lnTo>
                <a:close/>
                <a:moveTo>
                  <a:pt x="641" y="463"/>
                </a:moveTo>
                <a:lnTo>
                  <a:pt x="642" y="463"/>
                </a:lnTo>
                <a:lnTo>
                  <a:pt x="644" y="465"/>
                </a:lnTo>
                <a:lnTo>
                  <a:pt x="644" y="466"/>
                </a:lnTo>
                <a:lnTo>
                  <a:pt x="642" y="466"/>
                </a:lnTo>
                <a:lnTo>
                  <a:pt x="642" y="465"/>
                </a:lnTo>
                <a:lnTo>
                  <a:pt x="641" y="463"/>
                </a:lnTo>
                <a:close/>
                <a:moveTo>
                  <a:pt x="539" y="432"/>
                </a:moveTo>
                <a:lnTo>
                  <a:pt x="541" y="432"/>
                </a:lnTo>
                <a:lnTo>
                  <a:pt x="542" y="434"/>
                </a:lnTo>
                <a:lnTo>
                  <a:pt x="544" y="434"/>
                </a:lnTo>
                <a:lnTo>
                  <a:pt x="541" y="436"/>
                </a:lnTo>
                <a:lnTo>
                  <a:pt x="541" y="435"/>
                </a:lnTo>
                <a:lnTo>
                  <a:pt x="540" y="435"/>
                </a:lnTo>
                <a:lnTo>
                  <a:pt x="540" y="434"/>
                </a:lnTo>
                <a:lnTo>
                  <a:pt x="539" y="432"/>
                </a:lnTo>
                <a:close/>
                <a:moveTo>
                  <a:pt x="501" y="380"/>
                </a:moveTo>
                <a:lnTo>
                  <a:pt x="499" y="381"/>
                </a:lnTo>
                <a:lnTo>
                  <a:pt x="499" y="382"/>
                </a:lnTo>
                <a:lnTo>
                  <a:pt x="501" y="381"/>
                </a:lnTo>
                <a:lnTo>
                  <a:pt x="504" y="381"/>
                </a:lnTo>
                <a:lnTo>
                  <a:pt x="505" y="380"/>
                </a:lnTo>
                <a:lnTo>
                  <a:pt x="501" y="380"/>
                </a:lnTo>
                <a:close/>
                <a:moveTo>
                  <a:pt x="735" y="338"/>
                </a:moveTo>
                <a:lnTo>
                  <a:pt x="737" y="340"/>
                </a:lnTo>
                <a:lnTo>
                  <a:pt x="735" y="339"/>
                </a:lnTo>
                <a:lnTo>
                  <a:pt x="735" y="338"/>
                </a:lnTo>
                <a:close/>
                <a:moveTo>
                  <a:pt x="735" y="336"/>
                </a:moveTo>
                <a:lnTo>
                  <a:pt x="737" y="336"/>
                </a:lnTo>
                <a:lnTo>
                  <a:pt x="735" y="337"/>
                </a:lnTo>
                <a:lnTo>
                  <a:pt x="735" y="336"/>
                </a:lnTo>
                <a:close/>
                <a:moveTo>
                  <a:pt x="827" y="282"/>
                </a:moveTo>
                <a:lnTo>
                  <a:pt x="830" y="286"/>
                </a:lnTo>
                <a:lnTo>
                  <a:pt x="831" y="287"/>
                </a:lnTo>
                <a:lnTo>
                  <a:pt x="833" y="286"/>
                </a:lnTo>
                <a:lnTo>
                  <a:pt x="833" y="288"/>
                </a:lnTo>
                <a:lnTo>
                  <a:pt x="831" y="288"/>
                </a:lnTo>
                <a:lnTo>
                  <a:pt x="830" y="287"/>
                </a:lnTo>
                <a:lnTo>
                  <a:pt x="827" y="287"/>
                </a:lnTo>
                <a:lnTo>
                  <a:pt x="826" y="288"/>
                </a:lnTo>
                <a:lnTo>
                  <a:pt x="825" y="288"/>
                </a:lnTo>
                <a:lnTo>
                  <a:pt x="826" y="287"/>
                </a:lnTo>
                <a:lnTo>
                  <a:pt x="825" y="287"/>
                </a:lnTo>
                <a:lnTo>
                  <a:pt x="826" y="286"/>
                </a:lnTo>
                <a:lnTo>
                  <a:pt x="826" y="284"/>
                </a:lnTo>
                <a:lnTo>
                  <a:pt x="827" y="283"/>
                </a:lnTo>
                <a:lnTo>
                  <a:pt x="827" y="282"/>
                </a:lnTo>
                <a:close/>
                <a:moveTo>
                  <a:pt x="828" y="263"/>
                </a:moveTo>
                <a:lnTo>
                  <a:pt x="834" y="263"/>
                </a:lnTo>
                <a:lnTo>
                  <a:pt x="834" y="265"/>
                </a:lnTo>
                <a:lnTo>
                  <a:pt x="836" y="268"/>
                </a:lnTo>
                <a:lnTo>
                  <a:pt x="834" y="268"/>
                </a:lnTo>
                <a:lnTo>
                  <a:pt x="834" y="269"/>
                </a:lnTo>
                <a:lnTo>
                  <a:pt x="833" y="269"/>
                </a:lnTo>
                <a:lnTo>
                  <a:pt x="833" y="270"/>
                </a:lnTo>
                <a:lnTo>
                  <a:pt x="830" y="274"/>
                </a:lnTo>
                <a:lnTo>
                  <a:pt x="828" y="274"/>
                </a:lnTo>
                <a:lnTo>
                  <a:pt x="827" y="275"/>
                </a:lnTo>
                <a:lnTo>
                  <a:pt x="826" y="277"/>
                </a:lnTo>
                <a:lnTo>
                  <a:pt x="826" y="278"/>
                </a:lnTo>
                <a:lnTo>
                  <a:pt x="825" y="278"/>
                </a:lnTo>
                <a:lnTo>
                  <a:pt x="825" y="277"/>
                </a:lnTo>
                <a:lnTo>
                  <a:pt x="824" y="276"/>
                </a:lnTo>
                <a:lnTo>
                  <a:pt x="822" y="277"/>
                </a:lnTo>
                <a:lnTo>
                  <a:pt x="821" y="276"/>
                </a:lnTo>
                <a:lnTo>
                  <a:pt x="820" y="276"/>
                </a:lnTo>
                <a:lnTo>
                  <a:pt x="820" y="277"/>
                </a:lnTo>
                <a:lnTo>
                  <a:pt x="819" y="276"/>
                </a:lnTo>
                <a:lnTo>
                  <a:pt x="819" y="275"/>
                </a:lnTo>
                <a:lnTo>
                  <a:pt x="818" y="275"/>
                </a:lnTo>
                <a:lnTo>
                  <a:pt x="819" y="272"/>
                </a:lnTo>
                <a:lnTo>
                  <a:pt x="819" y="271"/>
                </a:lnTo>
                <a:lnTo>
                  <a:pt x="822" y="271"/>
                </a:lnTo>
                <a:lnTo>
                  <a:pt x="821" y="269"/>
                </a:lnTo>
                <a:lnTo>
                  <a:pt x="821" y="268"/>
                </a:lnTo>
                <a:lnTo>
                  <a:pt x="822" y="266"/>
                </a:lnTo>
                <a:lnTo>
                  <a:pt x="824" y="266"/>
                </a:lnTo>
                <a:lnTo>
                  <a:pt x="824" y="265"/>
                </a:lnTo>
                <a:lnTo>
                  <a:pt x="825" y="265"/>
                </a:lnTo>
                <a:lnTo>
                  <a:pt x="826" y="264"/>
                </a:lnTo>
                <a:lnTo>
                  <a:pt x="826" y="265"/>
                </a:lnTo>
                <a:lnTo>
                  <a:pt x="828" y="263"/>
                </a:lnTo>
                <a:close/>
                <a:moveTo>
                  <a:pt x="892" y="259"/>
                </a:moveTo>
                <a:lnTo>
                  <a:pt x="893" y="259"/>
                </a:lnTo>
                <a:lnTo>
                  <a:pt x="893" y="262"/>
                </a:lnTo>
                <a:lnTo>
                  <a:pt x="892" y="263"/>
                </a:lnTo>
                <a:lnTo>
                  <a:pt x="890" y="263"/>
                </a:lnTo>
                <a:lnTo>
                  <a:pt x="890" y="260"/>
                </a:lnTo>
                <a:lnTo>
                  <a:pt x="892" y="259"/>
                </a:lnTo>
                <a:close/>
                <a:moveTo>
                  <a:pt x="901" y="216"/>
                </a:moveTo>
                <a:lnTo>
                  <a:pt x="902" y="216"/>
                </a:lnTo>
                <a:lnTo>
                  <a:pt x="902" y="217"/>
                </a:lnTo>
                <a:lnTo>
                  <a:pt x="900" y="217"/>
                </a:lnTo>
                <a:lnTo>
                  <a:pt x="900" y="219"/>
                </a:lnTo>
                <a:lnTo>
                  <a:pt x="899" y="219"/>
                </a:lnTo>
                <a:lnTo>
                  <a:pt x="899" y="220"/>
                </a:lnTo>
                <a:lnTo>
                  <a:pt x="897" y="219"/>
                </a:lnTo>
                <a:lnTo>
                  <a:pt x="897" y="221"/>
                </a:lnTo>
                <a:lnTo>
                  <a:pt x="899" y="221"/>
                </a:lnTo>
                <a:lnTo>
                  <a:pt x="902" y="220"/>
                </a:lnTo>
                <a:lnTo>
                  <a:pt x="902" y="222"/>
                </a:lnTo>
                <a:lnTo>
                  <a:pt x="901" y="222"/>
                </a:lnTo>
                <a:lnTo>
                  <a:pt x="901" y="223"/>
                </a:lnTo>
                <a:lnTo>
                  <a:pt x="899" y="223"/>
                </a:lnTo>
                <a:lnTo>
                  <a:pt x="899" y="226"/>
                </a:lnTo>
                <a:lnTo>
                  <a:pt x="900" y="227"/>
                </a:lnTo>
                <a:lnTo>
                  <a:pt x="902" y="228"/>
                </a:lnTo>
                <a:lnTo>
                  <a:pt x="907" y="228"/>
                </a:lnTo>
                <a:lnTo>
                  <a:pt x="908" y="227"/>
                </a:lnTo>
                <a:lnTo>
                  <a:pt x="908" y="226"/>
                </a:lnTo>
                <a:lnTo>
                  <a:pt x="909" y="227"/>
                </a:lnTo>
                <a:lnTo>
                  <a:pt x="912" y="228"/>
                </a:lnTo>
                <a:lnTo>
                  <a:pt x="913" y="228"/>
                </a:lnTo>
                <a:lnTo>
                  <a:pt x="913" y="233"/>
                </a:lnTo>
                <a:lnTo>
                  <a:pt x="912" y="234"/>
                </a:lnTo>
                <a:lnTo>
                  <a:pt x="911" y="234"/>
                </a:lnTo>
                <a:lnTo>
                  <a:pt x="911" y="237"/>
                </a:lnTo>
                <a:lnTo>
                  <a:pt x="907" y="240"/>
                </a:lnTo>
                <a:lnTo>
                  <a:pt x="906" y="243"/>
                </a:lnTo>
                <a:lnTo>
                  <a:pt x="906" y="246"/>
                </a:lnTo>
                <a:lnTo>
                  <a:pt x="905" y="246"/>
                </a:lnTo>
                <a:lnTo>
                  <a:pt x="905" y="249"/>
                </a:lnTo>
                <a:lnTo>
                  <a:pt x="902" y="250"/>
                </a:lnTo>
                <a:lnTo>
                  <a:pt x="899" y="252"/>
                </a:lnTo>
                <a:lnTo>
                  <a:pt x="896" y="254"/>
                </a:lnTo>
                <a:lnTo>
                  <a:pt x="895" y="252"/>
                </a:lnTo>
                <a:lnTo>
                  <a:pt x="894" y="252"/>
                </a:lnTo>
                <a:lnTo>
                  <a:pt x="894" y="251"/>
                </a:lnTo>
                <a:lnTo>
                  <a:pt x="893" y="251"/>
                </a:lnTo>
                <a:lnTo>
                  <a:pt x="893" y="250"/>
                </a:lnTo>
                <a:lnTo>
                  <a:pt x="892" y="250"/>
                </a:lnTo>
                <a:lnTo>
                  <a:pt x="892" y="249"/>
                </a:lnTo>
                <a:lnTo>
                  <a:pt x="890" y="250"/>
                </a:lnTo>
                <a:lnTo>
                  <a:pt x="886" y="250"/>
                </a:lnTo>
                <a:lnTo>
                  <a:pt x="883" y="247"/>
                </a:lnTo>
                <a:lnTo>
                  <a:pt x="883" y="244"/>
                </a:lnTo>
                <a:lnTo>
                  <a:pt x="882" y="244"/>
                </a:lnTo>
                <a:lnTo>
                  <a:pt x="882" y="243"/>
                </a:lnTo>
                <a:lnTo>
                  <a:pt x="883" y="241"/>
                </a:lnTo>
                <a:lnTo>
                  <a:pt x="883" y="240"/>
                </a:lnTo>
                <a:lnTo>
                  <a:pt x="882" y="239"/>
                </a:lnTo>
                <a:lnTo>
                  <a:pt x="880" y="239"/>
                </a:lnTo>
                <a:lnTo>
                  <a:pt x="878" y="238"/>
                </a:lnTo>
                <a:lnTo>
                  <a:pt x="878" y="239"/>
                </a:lnTo>
                <a:lnTo>
                  <a:pt x="875" y="240"/>
                </a:lnTo>
                <a:lnTo>
                  <a:pt x="875" y="243"/>
                </a:lnTo>
                <a:lnTo>
                  <a:pt x="874" y="244"/>
                </a:lnTo>
                <a:lnTo>
                  <a:pt x="872" y="244"/>
                </a:lnTo>
                <a:lnTo>
                  <a:pt x="871" y="243"/>
                </a:lnTo>
                <a:lnTo>
                  <a:pt x="871" y="241"/>
                </a:lnTo>
                <a:lnTo>
                  <a:pt x="870" y="240"/>
                </a:lnTo>
                <a:lnTo>
                  <a:pt x="868" y="240"/>
                </a:lnTo>
                <a:lnTo>
                  <a:pt x="866" y="239"/>
                </a:lnTo>
                <a:lnTo>
                  <a:pt x="866" y="235"/>
                </a:lnTo>
                <a:lnTo>
                  <a:pt x="869" y="234"/>
                </a:lnTo>
                <a:lnTo>
                  <a:pt x="870" y="233"/>
                </a:lnTo>
                <a:lnTo>
                  <a:pt x="871" y="233"/>
                </a:lnTo>
                <a:lnTo>
                  <a:pt x="874" y="231"/>
                </a:lnTo>
                <a:lnTo>
                  <a:pt x="875" y="231"/>
                </a:lnTo>
                <a:lnTo>
                  <a:pt x="881" y="225"/>
                </a:lnTo>
                <a:lnTo>
                  <a:pt x="882" y="225"/>
                </a:lnTo>
                <a:lnTo>
                  <a:pt x="884" y="222"/>
                </a:lnTo>
                <a:lnTo>
                  <a:pt x="886" y="222"/>
                </a:lnTo>
                <a:lnTo>
                  <a:pt x="886" y="221"/>
                </a:lnTo>
                <a:lnTo>
                  <a:pt x="888" y="221"/>
                </a:lnTo>
                <a:lnTo>
                  <a:pt x="890" y="219"/>
                </a:lnTo>
                <a:lnTo>
                  <a:pt x="894" y="219"/>
                </a:lnTo>
                <a:lnTo>
                  <a:pt x="896" y="217"/>
                </a:lnTo>
                <a:lnTo>
                  <a:pt x="901" y="216"/>
                </a:lnTo>
                <a:close/>
                <a:moveTo>
                  <a:pt x="939" y="210"/>
                </a:moveTo>
                <a:lnTo>
                  <a:pt x="940" y="210"/>
                </a:lnTo>
                <a:lnTo>
                  <a:pt x="940" y="211"/>
                </a:lnTo>
                <a:lnTo>
                  <a:pt x="942" y="211"/>
                </a:lnTo>
                <a:lnTo>
                  <a:pt x="942" y="213"/>
                </a:lnTo>
                <a:lnTo>
                  <a:pt x="944" y="213"/>
                </a:lnTo>
                <a:lnTo>
                  <a:pt x="945" y="214"/>
                </a:lnTo>
                <a:lnTo>
                  <a:pt x="946" y="214"/>
                </a:lnTo>
                <a:lnTo>
                  <a:pt x="946" y="215"/>
                </a:lnTo>
                <a:lnTo>
                  <a:pt x="948" y="216"/>
                </a:lnTo>
                <a:lnTo>
                  <a:pt x="946" y="217"/>
                </a:lnTo>
                <a:lnTo>
                  <a:pt x="949" y="217"/>
                </a:lnTo>
                <a:lnTo>
                  <a:pt x="949" y="220"/>
                </a:lnTo>
                <a:lnTo>
                  <a:pt x="950" y="221"/>
                </a:lnTo>
                <a:lnTo>
                  <a:pt x="949" y="221"/>
                </a:lnTo>
                <a:lnTo>
                  <a:pt x="949" y="225"/>
                </a:lnTo>
                <a:lnTo>
                  <a:pt x="946" y="225"/>
                </a:lnTo>
                <a:lnTo>
                  <a:pt x="943" y="223"/>
                </a:lnTo>
                <a:lnTo>
                  <a:pt x="937" y="219"/>
                </a:lnTo>
                <a:lnTo>
                  <a:pt x="934" y="217"/>
                </a:lnTo>
                <a:lnTo>
                  <a:pt x="933" y="217"/>
                </a:lnTo>
                <a:lnTo>
                  <a:pt x="930" y="219"/>
                </a:lnTo>
                <a:lnTo>
                  <a:pt x="928" y="217"/>
                </a:lnTo>
                <a:lnTo>
                  <a:pt x="928" y="216"/>
                </a:lnTo>
                <a:lnTo>
                  <a:pt x="930" y="215"/>
                </a:lnTo>
                <a:lnTo>
                  <a:pt x="928" y="215"/>
                </a:lnTo>
                <a:lnTo>
                  <a:pt x="927" y="214"/>
                </a:lnTo>
                <a:lnTo>
                  <a:pt x="927" y="213"/>
                </a:lnTo>
                <a:lnTo>
                  <a:pt x="928" y="211"/>
                </a:lnTo>
                <a:lnTo>
                  <a:pt x="938" y="211"/>
                </a:lnTo>
                <a:lnTo>
                  <a:pt x="939" y="210"/>
                </a:lnTo>
                <a:close/>
                <a:moveTo>
                  <a:pt x="794" y="182"/>
                </a:moveTo>
                <a:lnTo>
                  <a:pt x="795" y="183"/>
                </a:lnTo>
                <a:lnTo>
                  <a:pt x="794" y="184"/>
                </a:lnTo>
                <a:lnTo>
                  <a:pt x="793" y="184"/>
                </a:lnTo>
                <a:lnTo>
                  <a:pt x="791" y="183"/>
                </a:lnTo>
                <a:lnTo>
                  <a:pt x="794" y="182"/>
                </a:lnTo>
                <a:close/>
                <a:moveTo>
                  <a:pt x="799" y="171"/>
                </a:moveTo>
                <a:lnTo>
                  <a:pt x="800" y="171"/>
                </a:lnTo>
                <a:lnTo>
                  <a:pt x="800" y="172"/>
                </a:lnTo>
                <a:lnTo>
                  <a:pt x="799" y="171"/>
                </a:lnTo>
                <a:close/>
                <a:moveTo>
                  <a:pt x="850" y="75"/>
                </a:moveTo>
                <a:lnTo>
                  <a:pt x="851" y="77"/>
                </a:lnTo>
                <a:lnTo>
                  <a:pt x="851" y="78"/>
                </a:lnTo>
                <a:lnTo>
                  <a:pt x="850" y="78"/>
                </a:lnTo>
                <a:lnTo>
                  <a:pt x="849" y="77"/>
                </a:lnTo>
                <a:lnTo>
                  <a:pt x="850" y="75"/>
                </a:lnTo>
                <a:close/>
                <a:moveTo>
                  <a:pt x="392" y="74"/>
                </a:moveTo>
                <a:lnTo>
                  <a:pt x="393" y="74"/>
                </a:lnTo>
                <a:lnTo>
                  <a:pt x="393" y="75"/>
                </a:lnTo>
                <a:lnTo>
                  <a:pt x="392" y="77"/>
                </a:lnTo>
                <a:lnTo>
                  <a:pt x="390" y="77"/>
                </a:lnTo>
                <a:lnTo>
                  <a:pt x="390" y="75"/>
                </a:lnTo>
                <a:lnTo>
                  <a:pt x="391" y="75"/>
                </a:lnTo>
                <a:lnTo>
                  <a:pt x="392" y="74"/>
                </a:lnTo>
                <a:close/>
                <a:moveTo>
                  <a:pt x="435" y="4"/>
                </a:moveTo>
                <a:lnTo>
                  <a:pt x="436" y="4"/>
                </a:lnTo>
                <a:lnTo>
                  <a:pt x="436" y="5"/>
                </a:lnTo>
                <a:lnTo>
                  <a:pt x="435" y="4"/>
                </a:lnTo>
                <a:close/>
                <a:moveTo>
                  <a:pt x="442" y="0"/>
                </a:moveTo>
                <a:lnTo>
                  <a:pt x="443" y="0"/>
                </a:lnTo>
                <a:lnTo>
                  <a:pt x="443" y="1"/>
                </a:lnTo>
                <a:lnTo>
                  <a:pt x="442" y="2"/>
                </a:lnTo>
                <a:lnTo>
                  <a:pt x="442" y="4"/>
                </a:lnTo>
                <a:lnTo>
                  <a:pt x="443" y="4"/>
                </a:lnTo>
                <a:lnTo>
                  <a:pt x="443" y="2"/>
                </a:lnTo>
                <a:lnTo>
                  <a:pt x="445" y="2"/>
                </a:lnTo>
                <a:lnTo>
                  <a:pt x="446" y="5"/>
                </a:lnTo>
                <a:lnTo>
                  <a:pt x="446" y="6"/>
                </a:lnTo>
                <a:lnTo>
                  <a:pt x="447" y="5"/>
                </a:lnTo>
                <a:lnTo>
                  <a:pt x="447" y="4"/>
                </a:lnTo>
                <a:lnTo>
                  <a:pt x="451" y="4"/>
                </a:lnTo>
                <a:lnTo>
                  <a:pt x="454" y="6"/>
                </a:lnTo>
                <a:lnTo>
                  <a:pt x="456" y="6"/>
                </a:lnTo>
                <a:lnTo>
                  <a:pt x="459" y="11"/>
                </a:lnTo>
                <a:lnTo>
                  <a:pt x="461" y="12"/>
                </a:lnTo>
                <a:lnTo>
                  <a:pt x="460" y="12"/>
                </a:lnTo>
                <a:lnTo>
                  <a:pt x="460" y="13"/>
                </a:lnTo>
                <a:lnTo>
                  <a:pt x="471" y="13"/>
                </a:lnTo>
                <a:lnTo>
                  <a:pt x="471" y="14"/>
                </a:lnTo>
                <a:lnTo>
                  <a:pt x="470" y="16"/>
                </a:lnTo>
                <a:lnTo>
                  <a:pt x="470" y="18"/>
                </a:lnTo>
                <a:lnTo>
                  <a:pt x="471" y="17"/>
                </a:lnTo>
                <a:lnTo>
                  <a:pt x="471" y="14"/>
                </a:lnTo>
                <a:lnTo>
                  <a:pt x="472" y="13"/>
                </a:lnTo>
                <a:lnTo>
                  <a:pt x="484" y="13"/>
                </a:lnTo>
                <a:lnTo>
                  <a:pt x="486" y="12"/>
                </a:lnTo>
                <a:lnTo>
                  <a:pt x="489" y="12"/>
                </a:lnTo>
                <a:lnTo>
                  <a:pt x="491" y="13"/>
                </a:lnTo>
                <a:lnTo>
                  <a:pt x="492" y="14"/>
                </a:lnTo>
                <a:lnTo>
                  <a:pt x="492" y="13"/>
                </a:lnTo>
                <a:lnTo>
                  <a:pt x="495" y="13"/>
                </a:lnTo>
                <a:lnTo>
                  <a:pt x="495" y="12"/>
                </a:lnTo>
                <a:lnTo>
                  <a:pt x="496" y="13"/>
                </a:lnTo>
                <a:lnTo>
                  <a:pt x="501" y="13"/>
                </a:lnTo>
                <a:lnTo>
                  <a:pt x="501" y="12"/>
                </a:lnTo>
                <a:lnTo>
                  <a:pt x="503" y="12"/>
                </a:lnTo>
                <a:lnTo>
                  <a:pt x="504" y="11"/>
                </a:lnTo>
                <a:lnTo>
                  <a:pt x="505" y="12"/>
                </a:lnTo>
                <a:lnTo>
                  <a:pt x="507" y="12"/>
                </a:lnTo>
                <a:lnTo>
                  <a:pt x="510" y="13"/>
                </a:lnTo>
                <a:lnTo>
                  <a:pt x="510" y="12"/>
                </a:lnTo>
                <a:lnTo>
                  <a:pt x="511" y="13"/>
                </a:lnTo>
                <a:lnTo>
                  <a:pt x="511" y="12"/>
                </a:lnTo>
                <a:lnTo>
                  <a:pt x="517" y="12"/>
                </a:lnTo>
                <a:lnTo>
                  <a:pt x="518" y="11"/>
                </a:lnTo>
                <a:lnTo>
                  <a:pt x="517" y="11"/>
                </a:lnTo>
                <a:lnTo>
                  <a:pt x="517" y="10"/>
                </a:lnTo>
                <a:lnTo>
                  <a:pt x="518" y="10"/>
                </a:lnTo>
                <a:lnTo>
                  <a:pt x="517" y="8"/>
                </a:lnTo>
                <a:lnTo>
                  <a:pt x="520" y="8"/>
                </a:lnTo>
                <a:lnTo>
                  <a:pt x="520" y="7"/>
                </a:lnTo>
                <a:lnTo>
                  <a:pt x="521" y="7"/>
                </a:lnTo>
                <a:lnTo>
                  <a:pt x="522" y="8"/>
                </a:lnTo>
                <a:lnTo>
                  <a:pt x="523" y="8"/>
                </a:lnTo>
                <a:lnTo>
                  <a:pt x="526" y="12"/>
                </a:lnTo>
                <a:lnTo>
                  <a:pt x="526" y="13"/>
                </a:lnTo>
                <a:lnTo>
                  <a:pt x="540" y="13"/>
                </a:lnTo>
                <a:lnTo>
                  <a:pt x="540" y="14"/>
                </a:lnTo>
                <a:lnTo>
                  <a:pt x="539" y="16"/>
                </a:lnTo>
                <a:lnTo>
                  <a:pt x="541" y="16"/>
                </a:lnTo>
                <a:lnTo>
                  <a:pt x="541" y="14"/>
                </a:lnTo>
                <a:lnTo>
                  <a:pt x="544" y="14"/>
                </a:lnTo>
                <a:lnTo>
                  <a:pt x="547" y="17"/>
                </a:lnTo>
                <a:lnTo>
                  <a:pt x="548" y="17"/>
                </a:lnTo>
                <a:lnTo>
                  <a:pt x="552" y="18"/>
                </a:lnTo>
                <a:lnTo>
                  <a:pt x="554" y="18"/>
                </a:lnTo>
                <a:lnTo>
                  <a:pt x="557" y="19"/>
                </a:lnTo>
                <a:lnTo>
                  <a:pt x="558" y="19"/>
                </a:lnTo>
                <a:lnTo>
                  <a:pt x="558" y="18"/>
                </a:lnTo>
                <a:lnTo>
                  <a:pt x="559" y="18"/>
                </a:lnTo>
                <a:lnTo>
                  <a:pt x="560" y="19"/>
                </a:lnTo>
                <a:lnTo>
                  <a:pt x="563" y="19"/>
                </a:lnTo>
                <a:lnTo>
                  <a:pt x="566" y="22"/>
                </a:lnTo>
                <a:lnTo>
                  <a:pt x="567" y="22"/>
                </a:lnTo>
                <a:lnTo>
                  <a:pt x="577" y="23"/>
                </a:lnTo>
                <a:lnTo>
                  <a:pt x="578" y="24"/>
                </a:lnTo>
                <a:lnTo>
                  <a:pt x="579" y="23"/>
                </a:lnTo>
                <a:lnTo>
                  <a:pt x="582" y="23"/>
                </a:lnTo>
                <a:lnTo>
                  <a:pt x="582" y="24"/>
                </a:lnTo>
                <a:lnTo>
                  <a:pt x="583" y="23"/>
                </a:lnTo>
                <a:lnTo>
                  <a:pt x="590" y="23"/>
                </a:lnTo>
                <a:lnTo>
                  <a:pt x="591" y="22"/>
                </a:lnTo>
                <a:lnTo>
                  <a:pt x="594" y="20"/>
                </a:lnTo>
                <a:lnTo>
                  <a:pt x="597" y="20"/>
                </a:lnTo>
                <a:lnTo>
                  <a:pt x="597" y="19"/>
                </a:lnTo>
                <a:lnTo>
                  <a:pt x="598" y="19"/>
                </a:lnTo>
                <a:lnTo>
                  <a:pt x="600" y="20"/>
                </a:lnTo>
                <a:lnTo>
                  <a:pt x="600" y="19"/>
                </a:lnTo>
                <a:lnTo>
                  <a:pt x="601" y="18"/>
                </a:lnTo>
                <a:lnTo>
                  <a:pt x="603" y="18"/>
                </a:lnTo>
                <a:lnTo>
                  <a:pt x="604" y="17"/>
                </a:lnTo>
                <a:lnTo>
                  <a:pt x="607" y="17"/>
                </a:lnTo>
                <a:lnTo>
                  <a:pt x="608" y="18"/>
                </a:lnTo>
                <a:lnTo>
                  <a:pt x="605" y="19"/>
                </a:lnTo>
                <a:lnTo>
                  <a:pt x="604" y="20"/>
                </a:lnTo>
                <a:lnTo>
                  <a:pt x="605" y="20"/>
                </a:lnTo>
                <a:lnTo>
                  <a:pt x="605" y="22"/>
                </a:lnTo>
                <a:lnTo>
                  <a:pt x="607" y="22"/>
                </a:lnTo>
                <a:lnTo>
                  <a:pt x="607" y="20"/>
                </a:lnTo>
                <a:lnTo>
                  <a:pt x="608" y="19"/>
                </a:lnTo>
                <a:lnTo>
                  <a:pt x="609" y="20"/>
                </a:lnTo>
                <a:lnTo>
                  <a:pt x="609" y="19"/>
                </a:lnTo>
                <a:lnTo>
                  <a:pt x="610" y="18"/>
                </a:lnTo>
                <a:lnTo>
                  <a:pt x="611" y="18"/>
                </a:lnTo>
                <a:lnTo>
                  <a:pt x="611" y="17"/>
                </a:lnTo>
                <a:lnTo>
                  <a:pt x="613" y="17"/>
                </a:lnTo>
                <a:lnTo>
                  <a:pt x="616" y="16"/>
                </a:lnTo>
                <a:lnTo>
                  <a:pt x="617" y="16"/>
                </a:lnTo>
                <a:lnTo>
                  <a:pt x="617" y="17"/>
                </a:lnTo>
                <a:lnTo>
                  <a:pt x="619" y="17"/>
                </a:lnTo>
                <a:lnTo>
                  <a:pt x="619" y="18"/>
                </a:lnTo>
                <a:lnTo>
                  <a:pt x="622" y="18"/>
                </a:lnTo>
                <a:lnTo>
                  <a:pt x="622" y="20"/>
                </a:lnTo>
                <a:lnTo>
                  <a:pt x="621" y="20"/>
                </a:lnTo>
                <a:lnTo>
                  <a:pt x="621" y="19"/>
                </a:lnTo>
                <a:lnTo>
                  <a:pt x="620" y="19"/>
                </a:lnTo>
                <a:lnTo>
                  <a:pt x="620" y="20"/>
                </a:lnTo>
                <a:lnTo>
                  <a:pt x="621" y="22"/>
                </a:lnTo>
                <a:lnTo>
                  <a:pt x="621" y="20"/>
                </a:lnTo>
                <a:lnTo>
                  <a:pt x="622" y="22"/>
                </a:lnTo>
                <a:lnTo>
                  <a:pt x="627" y="22"/>
                </a:lnTo>
                <a:lnTo>
                  <a:pt x="629" y="23"/>
                </a:lnTo>
                <a:lnTo>
                  <a:pt x="632" y="23"/>
                </a:lnTo>
                <a:lnTo>
                  <a:pt x="634" y="25"/>
                </a:lnTo>
                <a:lnTo>
                  <a:pt x="635" y="25"/>
                </a:lnTo>
                <a:lnTo>
                  <a:pt x="636" y="24"/>
                </a:lnTo>
                <a:lnTo>
                  <a:pt x="640" y="28"/>
                </a:lnTo>
                <a:lnTo>
                  <a:pt x="640" y="25"/>
                </a:lnTo>
                <a:lnTo>
                  <a:pt x="639" y="24"/>
                </a:lnTo>
                <a:lnTo>
                  <a:pt x="640" y="24"/>
                </a:lnTo>
                <a:lnTo>
                  <a:pt x="640" y="23"/>
                </a:lnTo>
                <a:lnTo>
                  <a:pt x="642" y="22"/>
                </a:lnTo>
                <a:lnTo>
                  <a:pt x="642" y="20"/>
                </a:lnTo>
                <a:lnTo>
                  <a:pt x="648" y="20"/>
                </a:lnTo>
                <a:lnTo>
                  <a:pt x="650" y="19"/>
                </a:lnTo>
                <a:lnTo>
                  <a:pt x="651" y="19"/>
                </a:lnTo>
                <a:lnTo>
                  <a:pt x="652" y="20"/>
                </a:lnTo>
                <a:lnTo>
                  <a:pt x="652" y="22"/>
                </a:lnTo>
                <a:lnTo>
                  <a:pt x="653" y="22"/>
                </a:lnTo>
                <a:lnTo>
                  <a:pt x="653" y="24"/>
                </a:lnTo>
                <a:lnTo>
                  <a:pt x="654" y="23"/>
                </a:lnTo>
                <a:lnTo>
                  <a:pt x="654" y="22"/>
                </a:lnTo>
                <a:lnTo>
                  <a:pt x="656" y="22"/>
                </a:lnTo>
                <a:lnTo>
                  <a:pt x="657" y="23"/>
                </a:lnTo>
                <a:lnTo>
                  <a:pt x="659" y="24"/>
                </a:lnTo>
                <a:lnTo>
                  <a:pt x="663" y="24"/>
                </a:lnTo>
                <a:lnTo>
                  <a:pt x="663" y="25"/>
                </a:lnTo>
                <a:lnTo>
                  <a:pt x="667" y="28"/>
                </a:lnTo>
                <a:lnTo>
                  <a:pt x="675" y="28"/>
                </a:lnTo>
                <a:lnTo>
                  <a:pt x="675" y="29"/>
                </a:lnTo>
                <a:lnTo>
                  <a:pt x="677" y="29"/>
                </a:lnTo>
                <a:lnTo>
                  <a:pt x="678" y="28"/>
                </a:lnTo>
                <a:lnTo>
                  <a:pt x="679" y="28"/>
                </a:lnTo>
                <a:lnTo>
                  <a:pt x="683" y="26"/>
                </a:lnTo>
                <a:lnTo>
                  <a:pt x="685" y="26"/>
                </a:lnTo>
                <a:lnTo>
                  <a:pt x="687" y="28"/>
                </a:lnTo>
                <a:lnTo>
                  <a:pt x="687" y="26"/>
                </a:lnTo>
                <a:lnTo>
                  <a:pt x="685" y="26"/>
                </a:lnTo>
                <a:lnTo>
                  <a:pt x="688" y="25"/>
                </a:lnTo>
                <a:lnTo>
                  <a:pt x="690" y="23"/>
                </a:lnTo>
                <a:lnTo>
                  <a:pt x="691" y="23"/>
                </a:lnTo>
                <a:lnTo>
                  <a:pt x="691" y="26"/>
                </a:lnTo>
                <a:lnTo>
                  <a:pt x="692" y="26"/>
                </a:lnTo>
                <a:lnTo>
                  <a:pt x="692" y="29"/>
                </a:lnTo>
                <a:lnTo>
                  <a:pt x="695" y="29"/>
                </a:lnTo>
                <a:lnTo>
                  <a:pt x="696" y="28"/>
                </a:lnTo>
                <a:lnTo>
                  <a:pt x="697" y="29"/>
                </a:lnTo>
                <a:lnTo>
                  <a:pt x="697" y="31"/>
                </a:lnTo>
                <a:lnTo>
                  <a:pt x="700" y="31"/>
                </a:lnTo>
                <a:lnTo>
                  <a:pt x="701" y="30"/>
                </a:lnTo>
                <a:lnTo>
                  <a:pt x="701" y="29"/>
                </a:lnTo>
                <a:lnTo>
                  <a:pt x="702" y="29"/>
                </a:lnTo>
                <a:lnTo>
                  <a:pt x="703" y="30"/>
                </a:lnTo>
                <a:lnTo>
                  <a:pt x="706" y="31"/>
                </a:lnTo>
                <a:lnTo>
                  <a:pt x="706" y="30"/>
                </a:lnTo>
                <a:lnTo>
                  <a:pt x="707" y="30"/>
                </a:lnTo>
                <a:lnTo>
                  <a:pt x="708" y="31"/>
                </a:lnTo>
                <a:lnTo>
                  <a:pt x="708" y="36"/>
                </a:lnTo>
                <a:lnTo>
                  <a:pt x="707" y="38"/>
                </a:lnTo>
                <a:lnTo>
                  <a:pt x="704" y="41"/>
                </a:lnTo>
                <a:lnTo>
                  <a:pt x="704" y="42"/>
                </a:lnTo>
                <a:lnTo>
                  <a:pt x="706" y="43"/>
                </a:lnTo>
                <a:lnTo>
                  <a:pt x="707" y="43"/>
                </a:lnTo>
                <a:lnTo>
                  <a:pt x="708" y="44"/>
                </a:lnTo>
                <a:lnTo>
                  <a:pt x="709" y="44"/>
                </a:lnTo>
                <a:lnTo>
                  <a:pt x="709" y="42"/>
                </a:lnTo>
                <a:lnTo>
                  <a:pt x="710" y="41"/>
                </a:lnTo>
                <a:lnTo>
                  <a:pt x="710" y="39"/>
                </a:lnTo>
                <a:lnTo>
                  <a:pt x="712" y="39"/>
                </a:lnTo>
                <a:lnTo>
                  <a:pt x="712" y="42"/>
                </a:lnTo>
                <a:lnTo>
                  <a:pt x="713" y="42"/>
                </a:lnTo>
                <a:lnTo>
                  <a:pt x="713" y="43"/>
                </a:lnTo>
                <a:lnTo>
                  <a:pt x="715" y="43"/>
                </a:lnTo>
                <a:lnTo>
                  <a:pt x="718" y="44"/>
                </a:lnTo>
                <a:lnTo>
                  <a:pt x="719" y="45"/>
                </a:lnTo>
                <a:lnTo>
                  <a:pt x="721" y="45"/>
                </a:lnTo>
                <a:lnTo>
                  <a:pt x="722" y="47"/>
                </a:lnTo>
                <a:lnTo>
                  <a:pt x="723" y="47"/>
                </a:lnTo>
                <a:lnTo>
                  <a:pt x="726" y="48"/>
                </a:lnTo>
                <a:lnTo>
                  <a:pt x="727" y="49"/>
                </a:lnTo>
                <a:lnTo>
                  <a:pt x="731" y="49"/>
                </a:lnTo>
                <a:lnTo>
                  <a:pt x="734" y="48"/>
                </a:lnTo>
                <a:lnTo>
                  <a:pt x="735" y="49"/>
                </a:lnTo>
                <a:lnTo>
                  <a:pt x="735" y="53"/>
                </a:lnTo>
                <a:lnTo>
                  <a:pt x="738" y="53"/>
                </a:lnTo>
                <a:lnTo>
                  <a:pt x="739" y="54"/>
                </a:lnTo>
                <a:lnTo>
                  <a:pt x="740" y="54"/>
                </a:lnTo>
                <a:lnTo>
                  <a:pt x="741" y="56"/>
                </a:lnTo>
                <a:lnTo>
                  <a:pt x="741" y="57"/>
                </a:lnTo>
                <a:lnTo>
                  <a:pt x="743" y="57"/>
                </a:lnTo>
                <a:lnTo>
                  <a:pt x="743" y="59"/>
                </a:lnTo>
                <a:lnTo>
                  <a:pt x="744" y="59"/>
                </a:lnTo>
                <a:lnTo>
                  <a:pt x="745" y="56"/>
                </a:lnTo>
                <a:lnTo>
                  <a:pt x="747" y="57"/>
                </a:lnTo>
                <a:lnTo>
                  <a:pt x="750" y="57"/>
                </a:lnTo>
                <a:lnTo>
                  <a:pt x="752" y="55"/>
                </a:lnTo>
                <a:lnTo>
                  <a:pt x="752" y="56"/>
                </a:lnTo>
                <a:lnTo>
                  <a:pt x="753" y="56"/>
                </a:lnTo>
                <a:lnTo>
                  <a:pt x="753" y="55"/>
                </a:lnTo>
                <a:lnTo>
                  <a:pt x="754" y="55"/>
                </a:lnTo>
                <a:lnTo>
                  <a:pt x="758" y="59"/>
                </a:lnTo>
                <a:lnTo>
                  <a:pt x="759" y="57"/>
                </a:lnTo>
                <a:lnTo>
                  <a:pt x="760" y="57"/>
                </a:lnTo>
                <a:lnTo>
                  <a:pt x="760" y="60"/>
                </a:lnTo>
                <a:lnTo>
                  <a:pt x="762" y="61"/>
                </a:lnTo>
                <a:lnTo>
                  <a:pt x="762" y="62"/>
                </a:lnTo>
                <a:lnTo>
                  <a:pt x="763" y="62"/>
                </a:lnTo>
                <a:lnTo>
                  <a:pt x="763" y="63"/>
                </a:lnTo>
                <a:lnTo>
                  <a:pt x="766" y="63"/>
                </a:lnTo>
                <a:lnTo>
                  <a:pt x="770" y="62"/>
                </a:lnTo>
                <a:lnTo>
                  <a:pt x="772" y="62"/>
                </a:lnTo>
                <a:lnTo>
                  <a:pt x="774" y="61"/>
                </a:lnTo>
                <a:lnTo>
                  <a:pt x="776" y="62"/>
                </a:lnTo>
                <a:lnTo>
                  <a:pt x="777" y="62"/>
                </a:lnTo>
                <a:lnTo>
                  <a:pt x="778" y="63"/>
                </a:lnTo>
                <a:lnTo>
                  <a:pt x="778" y="65"/>
                </a:lnTo>
                <a:lnTo>
                  <a:pt x="779" y="65"/>
                </a:lnTo>
                <a:lnTo>
                  <a:pt x="781" y="63"/>
                </a:lnTo>
                <a:lnTo>
                  <a:pt x="781" y="62"/>
                </a:lnTo>
                <a:lnTo>
                  <a:pt x="782" y="62"/>
                </a:lnTo>
                <a:lnTo>
                  <a:pt x="783" y="63"/>
                </a:lnTo>
                <a:lnTo>
                  <a:pt x="795" y="63"/>
                </a:lnTo>
                <a:lnTo>
                  <a:pt x="795" y="61"/>
                </a:lnTo>
                <a:lnTo>
                  <a:pt x="794" y="61"/>
                </a:lnTo>
                <a:lnTo>
                  <a:pt x="794" y="60"/>
                </a:lnTo>
                <a:lnTo>
                  <a:pt x="795" y="60"/>
                </a:lnTo>
                <a:lnTo>
                  <a:pt x="794" y="59"/>
                </a:lnTo>
                <a:lnTo>
                  <a:pt x="795" y="57"/>
                </a:lnTo>
                <a:lnTo>
                  <a:pt x="795" y="55"/>
                </a:lnTo>
                <a:lnTo>
                  <a:pt x="801" y="55"/>
                </a:lnTo>
                <a:lnTo>
                  <a:pt x="803" y="56"/>
                </a:lnTo>
                <a:lnTo>
                  <a:pt x="805" y="57"/>
                </a:lnTo>
                <a:lnTo>
                  <a:pt x="807" y="57"/>
                </a:lnTo>
                <a:lnTo>
                  <a:pt x="808" y="59"/>
                </a:lnTo>
                <a:lnTo>
                  <a:pt x="813" y="59"/>
                </a:lnTo>
                <a:lnTo>
                  <a:pt x="814" y="60"/>
                </a:lnTo>
                <a:lnTo>
                  <a:pt x="814" y="61"/>
                </a:lnTo>
                <a:lnTo>
                  <a:pt x="815" y="62"/>
                </a:lnTo>
                <a:lnTo>
                  <a:pt x="824" y="62"/>
                </a:lnTo>
                <a:lnTo>
                  <a:pt x="824" y="63"/>
                </a:lnTo>
                <a:lnTo>
                  <a:pt x="825" y="63"/>
                </a:lnTo>
                <a:lnTo>
                  <a:pt x="825" y="65"/>
                </a:lnTo>
                <a:lnTo>
                  <a:pt x="826" y="66"/>
                </a:lnTo>
                <a:lnTo>
                  <a:pt x="827" y="68"/>
                </a:lnTo>
                <a:lnTo>
                  <a:pt x="827" y="71"/>
                </a:lnTo>
                <a:lnTo>
                  <a:pt x="826" y="72"/>
                </a:lnTo>
                <a:lnTo>
                  <a:pt x="826" y="73"/>
                </a:lnTo>
                <a:lnTo>
                  <a:pt x="828" y="73"/>
                </a:lnTo>
                <a:lnTo>
                  <a:pt x="828" y="74"/>
                </a:lnTo>
                <a:lnTo>
                  <a:pt x="827" y="74"/>
                </a:lnTo>
                <a:lnTo>
                  <a:pt x="826" y="75"/>
                </a:lnTo>
                <a:lnTo>
                  <a:pt x="827" y="77"/>
                </a:lnTo>
                <a:lnTo>
                  <a:pt x="827" y="78"/>
                </a:lnTo>
                <a:lnTo>
                  <a:pt x="828" y="78"/>
                </a:lnTo>
                <a:lnTo>
                  <a:pt x="831" y="79"/>
                </a:lnTo>
                <a:lnTo>
                  <a:pt x="832" y="78"/>
                </a:lnTo>
                <a:lnTo>
                  <a:pt x="834" y="77"/>
                </a:lnTo>
                <a:lnTo>
                  <a:pt x="836" y="77"/>
                </a:lnTo>
                <a:lnTo>
                  <a:pt x="837" y="74"/>
                </a:lnTo>
                <a:lnTo>
                  <a:pt x="838" y="75"/>
                </a:lnTo>
                <a:lnTo>
                  <a:pt x="839" y="74"/>
                </a:lnTo>
                <a:lnTo>
                  <a:pt x="840" y="75"/>
                </a:lnTo>
                <a:lnTo>
                  <a:pt x="844" y="75"/>
                </a:lnTo>
                <a:lnTo>
                  <a:pt x="846" y="78"/>
                </a:lnTo>
                <a:lnTo>
                  <a:pt x="849" y="78"/>
                </a:lnTo>
                <a:lnTo>
                  <a:pt x="849" y="79"/>
                </a:lnTo>
                <a:lnTo>
                  <a:pt x="850" y="81"/>
                </a:lnTo>
                <a:lnTo>
                  <a:pt x="851" y="82"/>
                </a:lnTo>
                <a:lnTo>
                  <a:pt x="855" y="82"/>
                </a:lnTo>
                <a:lnTo>
                  <a:pt x="855" y="81"/>
                </a:lnTo>
                <a:lnTo>
                  <a:pt x="856" y="81"/>
                </a:lnTo>
                <a:lnTo>
                  <a:pt x="856" y="80"/>
                </a:lnTo>
                <a:lnTo>
                  <a:pt x="857" y="79"/>
                </a:lnTo>
                <a:lnTo>
                  <a:pt x="864" y="79"/>
                </a:lnTo>
                <a:lnTo>
                  <a:pt x="868" y="80"/>
                </a:lnTo>
                <a:lnTo>
                  <a:pt x="871" y="84"/>
                </a:lnTo>
                <a:lnTo>
                  <a:pt x="874" y="84"/>
                </a:lnTo>
                <a:lnTo>
                  <a:pt x="874" y="82"/>
                </a:lnTo>
                <a:lnTo>
                  <a:pt x="875" y="82"/>
                </a:lnTo>
                <a:lnTo>
                  <a:pt x="877" y="84"/>
                </a:lnTo>
                <a:lnTo>
                  <a:pt x="880" y="84"/>
                </a:lnTo>
                <a:lnTo>
                  <a:pt x="878" y="82"/>
                </a:lnTo>
                <a:lnTo>
                  <a:pt x="878" y="81"/>
                </a:lnTo>
                <a:lnTo>
                  <a:pt x="881" y="80"/>
                </a:lnTo>
                <a:lnTo>
                  <a:pt x="881" y="79"/>
                </a:lnTo>
                <a:lnTo>
                  <a:pt x="886" y="79"/>
                </a:lnTo>
                <a:lnTo>
                  <a:pt x="887" y="78"/>
                </a:lnTo>
                <a:lnTo>
                  <a:pt x="889" y="78"/>
                </a:lnTo>
                <a:lnTo>
                  <a:pt x="889" y="77"/>
                </a:lnTo>
                <a:lnTo>
                  <a:pt x="895" y="77"/>
                </a:lnTo>
                <a:lnTo>
                  <a:pt x="895" y="78"/>
                </a:lnTo>
                <a:lnTo>
                  <a:pt x="896" y="78"/>
                </a:lnTo>
                <a:lnTo>
                  <a:pt x="897" y="79"/>
                </a:lnTo>
                <a:lnTo>
                  <a:pt x="900" y="79"/>
                </a:lnTo>
                <a:lnTo>
                  <a:pt x="901" y="78"/>
                </a:lnTo>
                <a:lnTo>
                  <a:pt x="901" y="82"/>
                </a:lnTo>
                <a:lnTo>
                  <a:pt x="902" y="84"/>
                </a:lnTo>
                <a:lnTo>
                  <a:pt x="906" y="84"/>
                </a:lnTo>
                <a:lnTo>
                  <a:pt x="907" y="85"/>
                </a:lnTo>
                <a:lnTo>
                  <a:pt x="906" y="86"/>
                </a:lnTo>
                <a:lnTo>
                  <a:pt x="906" y="88"/>
                </a:lnTo>
                <a:lnTo>
                  <a:pt x="905" y="88"/>
                </a:lnTo>
                <a:lnTo>
                  <a:pt x="905" y="90"/>
                </a:lnTo>
                <a:lnTo>
                  <a:pt x="903" y="88"/>
                </a:lnTo>
                <a:lnTo>
                  <a:pt x="902" y="90"/>
                </a:lnTo>
                <a:lnTo>
                  <a:pt x="901" y="88"/>
                </a:lnTo>
                <a:lnTo>
                  <a:pt x="900" y="88"/>
                </a:lnTo>
                <a:lnTo>
                  <a:pt x="899" y="90"/>
                </a:lnTo>
                <a:lnTo>
                  <a:pt x="899" y="94"/>
                </a:lnTo>
                <a:lnTo>
                  <a:pt x="901" y="97"/>
                </a:lnTo>
                <a:lnTo>
                  <a:pt x="901" y="98"/>
                </a:lnTo>
                <a:lnTo>
                  <a:pt x="902" y="99"/>
                </a:lnTo>
                <a:lnTo>
                  <a:pt x="902" y="104"/>
                </a:lnTo>
                <a:lnTo>
                  <a:pt x="903" y="104"/>
                </a:lnTo>
                <a:lnTo>
                  <a:pt x="903" y="106"/>
                </a:lnTo>
                <a:lnTo>
                  <a:pt x="902" y="108"/>
                </a:lnTo>
                <a:lnTo>
                  <a:pt x="902" y="109"/>
                </a:lnTo>
                <a:lnTo>
                  <a:pt x="900" y="111"/>
                </a:lnTo>
                <a:lnTo>
                  <a:pt x="899" y="111"/>
                </a:lnTo>
                <a:lnTo>
                  <a:pt x="896" y="112"/>
                </a:lnTo>
                <a:lnTo>
                  <a:pt x="896" y="114"/>
                </a:lnTo>
                <a:lnTo>
                  <a:pt x="890" y="120"/>
                </a:lnTo>
                <a:lnTo>
                  <a:pt x="887" y="120"/>
                </a:lnTo>
                <a:lnTo>
                  <a:pt x="887" y="121"/>
                </a:lnTo>
                <a:lnTo>
                  <a:pt x="886" y="121"/>
                </a:lnTo>
                <a:lnTo>
                  <a:pt x="886" y="122"/>
                </a:lnTo>
                <a:lnTo>
                  <a:pt x="884" y="122"/>
                </a:lnTo>
                <a:lnTo>
                  <a:pt x="884" y="123"/>
                </a:lnTo>
                <a:lnTo>
                  <a:pt x="878" y="125"/>
                </a:lnTo>
                <a:lnTo>
                  <a:pt x="870" y="129"/>
                </a:lnTo>
                <a:lnTo>
                  <a:pt x="869" y="130"/>
                </a:lnTo>
                <a:lnTo>
                  <a:pt x="864" y="133"/>
                </a:lnTo>
                <a:lnTo>
                  <a:pt x="862" y="135"/>
                </a:lnTo>
                <a:lnTo>
                  <a:pt x="859" y="139"/>
                </a:lnTo>
                <a:lnTo>
                  <a:pt x="858" y="141"/>
                </a:lnTo>
                <a:lnTo>
                  <a:pt x="857" y="142"/>
                </a:lnTo>
                <a:lnTo>
                  <a:pt x="853" y="143"/>
                </a:lnTo>
                <a:lnTo>
                  <a:pt x="852" y="145"/>
                </a:lnTo>
                <a:lnTo>
                  <a:pt x="846" y="145"/>
                </a:lnTo>
                <a:lnTo>
                  <a:pt x="845" y="146"/>
                </a:lnTo>
                <a:lnTo>
                  <a:pt x="844" y="146"/>
                </a:lnTo>
                <a:lnTo>
                  <a:pt x="836" y="148"/>
                </a:lnTo>
                <a:lnTo>
                  <a:pt x="832" y="148"/>
                </a:lnTo>
                <a:lnTo>
                  <a:pt x="821" y="153"/>
                </a:lnTo>
                <a:lnTo>
                  <a:pt x="818" y="153"/>
                </a:lnTo>
                <a:lnTo>
                  <a:pt x="818" y="155"/>
                </a:lnTo>
                <a:lnTo>
                  <a:pt x="812" y="155"/>
                </a:lnTo>
                <a:lnTo>
                  <a:pt x="809" y="157"/>
                </a:lnTo>
                <a:lnTo>
                  <a:pt x="805" y="161"/>
                </a:lnTo>
                <a:lnTo>
                  <a:pt x="802" y="165"/>
                </a:lnTo>
                <a:lnTo>
                  <a:pt x="796" y="171"/>
                </a:lnTo>
                <a:lnTo>
                  <a:pt x="797" y="172"/>
                </a:lnTo>
                <a:lnTo>
                  <a:pt x="800" y="172"/>
                </a:lnTo>
                <a:lnTo>
                  <a:pt x="802" y="174"/>
                </a:lnTo>
                <a:lnTo>
                  <a:pt x="803" y="173"/>
                </a:lnTo>
                <a:lnTo>
                  <a:pt x="803" y="177"/>
                </a:lnTo>
                <a:lnTo>
                  <a:pt x="802" y="177"/>
                </a:lnTo>
                <a:lnTo>
                  <a:pt x="800" y="178"/>
                </a:lnTo>
                <a:lnTo>
                  <a:pt x="796" y="182"/>
                </a:lnTo>
                <a:lnTo>
                  <a:pt x="797" y="179"/>
                </a:lnTo>
                <a:lnTo>
                  <a:pt x="796" y="179"/>
                </a:lnTo>
                <a:lnTo>
                  <a:pt x="793" y="180"/>
                </a:lnTo>
                <a:lnTo>
                  <a:pt x="791" y="182"/>
                </a:lnTo>
                <a:lnTo>
                  <a:pt x="790" y="182"/>
                </a:lnTo>
                <a:lnTo>
                  <a:pt x="790" y="183"/>
                </a:lnTo>
                <a:lnTo>
                  <a:pt x="789" y="186"/>
                </a:lnTo>
                <a:lnTo>
                  <a:pt x="788" y="188"/>
                </a:lnTo>
                <a:lnTo>
                  <a:pt x="788" y="189"/>
                </a:lnTo>
                <a:lnTo>
                  <a:pt x="787" y="190"/>
                </a:lnTo>
                <a:lnTo>
                  <a:pt x="785" y="190"/>
                </a:lnTo>
                <a:lnTo>
                  <a:pt x="785" y="192"/>
                </a:lnTo>
                <a:lnTo>
                  <a:pt x="784" y="192"/>
                </a:lnTo>
                <a:lnTo>
                  <a:pt x="782" y="198"/>
                </a:lnTo>
                <a:lnTo>
                  <a:pt x="781" y="200"/>
                </a:lnTo>
                <a:lnTo>
                  <a:pt x="781" y="201"/>
                </a:lnTo>
                <a:lnTo>
                  <a:pt x="779" y="201"/>
                </a:lnTo>
                <a:lnTo>
                  <a:pt x="778" y="203"/>
                </a:lnTo>
                <a:lnTo>
                  <a:pt x="776" y="206"/>
                </a:lnTo>
                <a:lnTo>
                  <a:pt x="774" y="210"/>
                </a:lnTo>
                <a:lnTo>
                  <a:pt x="772" y="211"/>
                </a:lnTo>
                <a:lnTo>
                  <a:pt x="770" y="213"/>
                </a:lnTo>
                <a:lnTo>
                  <a:pt x="769" y="214"/>
                </a:lnTo>
                <a:lnTo>
                  <a:pt x="766" y="219"/>
                </a:lnTo>
                <a:lnTo>
                  <a:pt x="763" y="222"/>
                </a:lnTo>
                <a:lnTo>
                  <a:pt x="759" y="229"/>
                </a:lnTo>
                <a:lnTo>
                  <a:pt x="758" y="231"/>
                </a:lnTo>
                <a:lnTo>
                  <a:pt x="758" y="233"/>
                </a:lnTo>
                <a:lnTo>
                  <a:pt x="756" y="235"/>
                </a:lnTo>
                <a:lnTo>
                  <a:pt x="756" y="238"/>
                </a:lnTo>
                <a:lnTo>
                  <a:pt x="754" y="238"/>
                </a:lnTo>
                <a:lnTo>
                  <a:pt x="753" y="240"/>
                </a:lnTo>
                <a:lnTo>
                  <a:pt x="753" y="247"/>
                </a:lnTo>
                <a:lnTo>
                  <a:pt x="754" y="251"/>
                </a:lnTo>
                <a:lnTo>
                  <a:pt x="757" y="257"/>
                </a:lnTo>
                <a:lnTo>
                  <a:pt x="757" y="258"/>
                </a:lnTo>
                <a:lnTo>
                  <a:pt x="758" y="259"/>
                </a:lnTo>
                <a:lnTo>
                  <a:pt x="757" y="259"/>
                </a:lnTo>
                <a:lnTo>
                  <a:pt x="757" y="263"/>
                </a:lnTo>
                <a:lnTo>
                  <a:pt x="758" y="265"/>
                </a:lnTo>
                <a:lnTo>
                  <a:pt x="759" y="266"/>
                </a:lnTo>
                <a:lnTo>
                  <a:pt x="762" y="271"/>
                </a:lnTo>
                <a:lnTo>
                  <a:pt x="766" y="276"/>
                </a:lnTo>
                <a:lnTo>
                  <a:pt x="770" y="276"/>
                </a:lnTo>
                <a:lnTo>
                  <a:pt x="771" y="277"/>
                </a:lnTo>
                <a:lnTo>
                  <a:pt x="774" y="278"/>
                </a:lnTo>
                <a:lnTo>
                  <a:pt x="775" y="280"/>
                </a:lnTo>
                <a:lnTo>
                  <a:pt x="775" y="281"/>
                </a:lnTo>
                <a:lnTo>
                  <a:pt x="776" y="282"/>
                </a:lnTo>
                <a:lnTo>
                  <a:pt x="777" y="282"/>
                </a:lnTo>
                <a:lnTo>
                  <a:pt x="777" y="283"/>
                </a:lnTo>
                <a:lnTo>
                  <a:pt x="775" y="283"/>
                </a:lnTo>
                <a:lnTo>
                  <a:pt x="775" y="284"/>
                </a:lnTo>
                <a:lnTo>
                  <a:pt x="774" y="284"/>
                </a:lnTo>
                <a:lnTo>
                  <a:pt x="774" y="286"/>
                </a:lnTo>
                <a:lnTo>
                  <a:pt x="772" y="286"/>
                </a:lnTo>
                <a:lnTo>
                  <a:pt x="771" y="287"/>
                </a:lnTo>
                <a:lnTo>
                  <a:pt x="770" y="287"/>
                </a:lnTo>
                <a:lnTo>
                  <a:pt x="770" y="289"/>
                </a:lnTo>
                <a:lnTo>
                  <a:pt x="765" y="289"/>
                </a:lnTo>
                <a:lnTo>
                  <a:pt x="765" y="293"/>
                </a:lnTo>
                <a:lnTo>
                  <a:pt x="764" y="293"/>
                </a:lnTo>
                <a:lnTo>
                  <a:pt x="764" y="294"/>
                </a:lnTo>
                <a:lnTo>
                  <a:pt x="759" y="294"/>
                </a:lnTo>
                <a:lnTo>
                  <a:pt x="757" y="296"/>
                </a:lnTo>
                <a:lnTo>
                  <a:pt x="753" y="297"/>
                </a:lnTo>
                <a:lnTo>
                  <a:pt x="752" y="297"/>
                </a:lnTo>
                <a:lnTo>
                  <a:pt x="752" y="299"/>
                </a:lnTo>
                <a:lnTo>
                  <a:pt x="750" y="301"/>
                </a:lnTo>
                <a:lnTo>
                  <a:pt x="750" y="303"/>
                </a:lnTo>
                <a:lnTo>
                  <a:pt x="747" y="303"/>
                </a:lnTo>
                <a:lnTo>
                  <a:pt x="747" y="305"/>
                </a:lnTo>
                <a:lnTo>
                  <a:pt x="745" y="305"/>
                </a:lnTo>
                <a:lnTo>
                  <a:pt x="745" y="307"/>
                </a:lnTo>
                <a:lnTo>
                  <a:pt x="746" y="312"/>
                </a:lnTo>
                <a:lnTo>
                  <a:pt x="745" y="312"/>
                </a:lnTo>
                <a:lnTo>
                  <a:pt x="745" y="313"/>
                </a:lnTo>
                <a:lnTo>
                  <a:pt x="743" y="312"/>
                </a:lnTo>
                <a:lnTo>
                  <a:pt x="743" y="313"/>
                </a:lnTo>
                <a:lnTo>
                  <a:pt x="741" y="313"/>
                </a:lnTo>
                <a:lnTo>
                  <a:pt x="740" y="314"/>
                </a:lnTo>
                <a:lnTo>
                  <a:pt x="740" y="319"/>
                </a:lnTo>
                <a:lnTo>
                  <a:pt x="739" y="323"/>
                </a:lnTo>
                <a:lnTo>
                  <a:pt x="739" y="324"/>
                </a:lnTo>
                <a:lnTo>
                  <a:pt x="738" y="324"/>
                </a:lnTo>
                <a:lnTo>
                  <a:pt x="737" y="325"/>
                </a:lnTo>
                <a:lnTo>
                  <a:pt x="737" y="326"/>
                </a:lnTo>
                <a:lnTo>
                  <a:pt x="735" y="330"/>
                </a:lnTo>
                <a:lnTo>
                  <a:pt x="735" y="333"/>
                </a:lnTo>
                <a:lnTo>
                  <a:pt x="734" y="332"/>
                </a:lnTo>
                <a:lnTo>
                  <a:pt x="733" y="334"/>
                </a:lnTo>
                <a:lnTo>
                  <a:pt x="732" y="336"/>
                </a:lnTo>
                <a:lnTo>
                  <a:pt x="731" y="336"/>
                </a:lnTo>
                <a:lnTo>
                  <a:pt x="731" y="337"/>
                </a:lnTo>
                <a:lnTo>
                  <a:pt x="732" y="340"/>
                </a:lnTo>
                <a:lnTo>
                  <a:pt x="733" y="340"/>
                </a:lnTo>
                <a:lnTo>
                  <a:pt x="734" y="342"/>
                </a:lnTo>
                <a:lnTo>
                  <a:pt x="737" y="342"/>
                </a:lnTo>
                <a:lnTo>
                  <a:pt x="738" y="343"/>
                </a:lnTo>
                <a:lnTo>
                  <a:pt x="737" y="343"/>
                </a:lnTo>
                <a:lnTo>
                  <a:pt x="737" y="344"/>
                </a:lnTo>
                <a:lnTo>
                  <a:pt x="733" y="344"/>
                </a:lnTo>
                <a:lnTo>
                  <a:pt x="733" y="345"/>
                </a:lnTo>
                <a:lnTo>
                  <a:pt x="729" y="345"/>
                </a:lnTo>
                <a:lnTo>
                  <a:pt x="728" y="346"/>
                </a:lnTo>
                <a:lnTo>
                  <a:pt x="727" y="346"/>
                </a:lnTo>
                <a:lnTo>
                  <a:pt x="726" y="345"/>
                </a:lnTo>
                <a:lnTo>
                  <a:pt x="720" y="345"/>
                </a:lnTo>
                <a:lnTo>
                  <a:pt x="720" y="348"/>
                </a:lnTo>
                <a:lnTo>
                  <a:pt x="718" y="348"/>
                </a:lnTo>
                <a:lnTo>
                  <a:pt x="718" y="346"/>
                </a:lnTo>
                <a:lnTo>
                  <a:pt x="716" y="345"/>
                </a:lnTo>
                <a:lnTo>
                  <a:pt x="714" y="345"/>
                </a:lnTo>
                <a:lnTo>
                  <a:pt x="714" y="346"/>
                </a:lnTo>
                <a:lnTo>
                  <a:pt x="710" y="346"/>
                </a:lnTo>
                <a:lnTo>
                  <a:pt x="709" y="348"/>
                </a:lnTo>
                <a:lnTo>
                  <a:pt x="707" y="349"/>
                </a:lnTo>
                <a:lnTo>
                  <a:pt x="707" y="350"/>
                </a:lnTo>
                <a:lnTo>
                  <a:pt x="704" y="350"/>
                </a:lnTo>
                <a:lnTo>
                  <a:pt x="704" y="352"/>
                </a:lnTo>
                <a:lnTo>
                  <a:pt x="703" y="354"/>
                </a:lnTo>
                <a:lnTo>
                  <a:pt x="701" y="354"/>
                </a:lnTo>
                <a:lnTo>
                  <a:pt x="698" y="355"/>
                </a:lnTo>
                <a:lnTo>
                  <a:pt x="697" y="356"/>
                </a:lnTo>
                <a:lnTo>
                  <a:pt x="697" y="357"/>
                </a:lnTo>
                <a:lnTo>
                  <a:pt x="696" y="357"/>
                </a:lnTo>
                <a:lnTo>
                  <a:pt x="696" y="358"/>
                </a:lnTo>
                <a:lnTo>
                  <a:pt x="690" y="364"/>
                </a:lnTo>
                <a:lnTo>
                  <a:pt x="690" y="367"/>
                </a:lnTo>
                <a:lnTo>
                  <a:pt x="689" y="369"/>
                </a:lnTo>
                <a:lnTo>
                  <a:pt x="689" y="372"/>
                </a:lnTo>
                <a:lnTo>
                  <a:pt x="688" y="375"/>
                </a:lnTo>
                <a:lnTo>
                  <a:pt x="687" y="376"/>
                </a:lnTo>
                <a:lnTo>
                  <a:pt x="687" y="380"/>
                </a:lnTo>
                <a:lnTo>
                  <a:pt x="684" y="380"/>
                </a:lnTo>
                <a:lnTo>
                  <a:pt x="683" y="381"/>
                </a:lnTo>
                <a:lnTo>
                  <a:pt x="683" y="382"/>
                </a:lnTo>
                <a:lnTo>
                  <a:pt x="682" y="383"/>
                </a:lnTo>
                <a:lnTo>
                  <a:pt x="682" y="385"/>
                </a:lnTo>
                <a:lnTo>
                  <a:pt x="681" y="385"/>
                </a:lnTo>
                <a:lnTo>
                  <a:pt x="681" y="386"/>
                </a:lnTo>
                <a:lnTo>
                  <a:pt x="679" y="387"/>
                </a:lnTo>
                <a:lnTo>
                  <a:pt x="679" y="388"/>
                </a:lnTo>
                <a:lnTo>
                  <a:pt x="678" y="388"/>
                </a:lnTo>
                <a:lnTo>
                  <a:pt x="678" y="389"/>
                </a:lnTo>
                <a:lnTo>
                  <a:pt x="676" y="389"/>
                </a:lnTo>
                <a:lnTo>
                  <a:pt x="676" y="391"/>
                </a:lnTo>
                <a:lnTo>
                  <a:pt x="673" y="389"/>
                </a:lnTo>
                <a:lnTo>
                  <a:pt x="672" y="388"/>
                </a:lnTo>
                <a:lnTo>
                  <a:pt x="672" y="387"/>
                </a:lnTo>
                <a:lnTo>
                  <a:pt x="671" y="386"/>
                </a:lnTo>
                <a:lnTo>
                  <a:pt x="669" y="385"/>
                </a:lnTo>
                <a:lnTo>
                  <a:pt x="666" y="385"/>
                </a:lnTo>
                <a:lnTo>
                  <a:pt x="665" y="386"/>
                </a:lnTo>
                <a:lnTo>
                  <a:pt x="664" y="386"/>
                </a:lnTo>
                <a:lnTo>
                  <a:pt x="663" y="385"/>
                </a:lnTo>
                <a:lnTo>
                  <a:pt x="659" y="386"/>
                </a:lnTo>
                <a:lnTo>
                  <a:pt x="658" y="386"/>
                </a:lnTo>
                <a:lnTo>
                  <a:pt x="658" y="388"/>
                </a:lnTo>
                <a:lnTo>
                  <a:pt x="657" y="391"/>
                </a:lnTo>
                <a:lnTo>
                  <a:pt x="656" y="392"/>
                </a:lnTo>
                <a:lnTo>
                  <a:pt x="653" y="392"/>
                </a:lnTo>
                <a:lnTo>
                  <a:pt x="652" y="393"/>
                </a:lnTo>
                <a:lnTo>
                  <a:pt x="652" y="392"/>
                </a:lnTo>
                <a:lnTo>
                  <a:pt x="651" y="393"/>
                </a:lnTo>
                <a:lnTo>
                  <a:pt x="648" y="391"/>
                </a:lnTo>
                <a:lnTo>
                  <a:pt x="647" y="391"/>
                </a:lnTo>
                <a:lnTo>
                  <a:pt x="647" y="392"/>
                </a:lnTo>
                <a:lnTo>
                  <a:pt x="646" y="392"/>
                </a:lnTo>
                <a:lnTo>
                  <a:pt x="645" y="389"/>
                </a:lnTo>
                <a:lnTo>
                  <a:pt x="634" y="389"/>
                </a:lnTo>
                <a:lnTo>
                  <a:pt x="631" y="388"/>
                </a:lnTo>
                <a:lnTo>
                  <a:pt x="627" y="389"/>
                </a:lnTo>
                <a:lnTo>
                  <a:pt x="626" y="389"/>
                </a:lnTo>
                <a:lnTo>
                  <a:pt x="626" y="391"/>
                </a:lnTo>
                <a:lnTo>
                  <a:pt x="625" y="391"/>
                </a:lnTo>
                <a:lnTo>
                  <a:pt x="623" y="392"/>
                </a:lnTo>
                <a:lnTo>
                  <a:pt x="620" y="392"/>
                </a:lnTo>
                <a:lnTo>
                  <a:pt x="619" y="391"/>
                </a:lnTo>
                <a:lnTo>
                  <a:pt x="616" y="391"/>
                </a:lnTo>
                <a:lnTo>
                  <a:pt x="615" y="389"/>
                </a:lnTo>
                <a:lnTo>
                  <a:pt x="613" y="389"/>
                </a:lnTo>
                <a:lnTo>
                  <a:pt x="611" y="391"/>
                </a:lnTo>
                <a:lnTo>
                  <a:pt x="609" y="391"/>
                </a:lnTo>
                <a:lnTo>
                  <a:pt x="607" y="389"/>
                </a:lnTo>
                <a:lnTo>
                  <a:pt x="603" y="389"/>
                </a:lnTo>
                <a:lnTo>
                  <a:pt x="600" y="391"/>
                </a:lnTo>
                <a:lnTo>
                  <a:pt x="596" y="389"/>
                </a:lnTo>
                <a:lnTo>
                  <a:pt x="595" y="389"/>
                </a:lnTo>
                <a:lnTo>
                  <a:pt x="594" y="391"/>
                </a:lnTo>
                <a:lnTo>
                  <a:pt x="580" y="391"/>
                </a:lnTo>
                <a:lnTo>
                  <a:pt x="579" y="393"/>
                </a:lnTo>
                <a:lnTo>
                  <a:pt x="578" y="393"/>
                </a:lnTo>
                <a:lnTo>
                  <a:pt x="578" y="394"/>
                </a:lnTo>
                <a:lnTo>
                  <a:pt x="577" y="395"/>
                </a:lnTo>
                <a:lnTo>
                  <a:pt x="576" y="398"/>
                </a:lnTo>
                <a:lnTo>
                  <a:pt x="573" y="398"/>
                </a:lnTo>
                <a:lnTo>
                  <a:pt x="572" y="400"/>
                </a:lnTo>
                <a:lnTo>
                  <a:pt x="570" y="403"/>
                </a:lnTo>
                <a:lnTo>
                  <a:pt x="566" y="403"/>
                </a:lnTo>
                <a:lnTo>
                  <a:pt x="561" y="401"/>
                </a:lnTo>
                <a:lnTo>
                  <a:pt x="560" y="401"/>
                </a:lnTo>
                <a:lnTo>
                  <a:pt x="559" y="403"/>
                </a:lnTo>
                <a:lnTo>
                  <a:pt x="557" y="404"/>
                </a:lnTo>
                <a:lnTo>
                  <a:pt x="553" y="405"/>
                </a:lnTo>
                <a:lnTo>
                  <a:pt x="552" y="406"/>
                </a:lnTo>
                <a:lnTo>
                  <a:pt x="548" y="406"/>
                </a:lnTo>
                <a:lnTo>
                  <a:pt x="547" y="407"/>
                </a:lnTo>
                <a:lnTo>
                  <a:pt x="546" y="410"/>
                </a:lnTo>
                <a:lnTo>
                  <a:pt x="546" y="412"/>
                </a:lnTo>
                <a:lnTo>
                  <a:pt x="545" y="412"/>
                </a:lnTo>
                <a:lnTo>
                  <a:pt x="545" y="413"/>
                </a:lnTo>
                <a:lnTo>
                  <a:pt x="544" y="413"/>
                </a:lnTo>
                <a:lnTo>
                  <a:pt x="544" y="416"/>
                </a:lnTo>
                <a:lnTo>
                  <a:pt x="541" y="420"/>
                </a:lnTo>
                <a:lnTo>
                  <a:pt x="540" y="419"/>
                </a:lnTo>
                <a:lnTo>
                  <a:pt x="538" y="419"/>
                </a:lnTo>
                <a:lnTo>
                  <a:pt x="538" y="425"/>
                </a:lnTo>
                <a:lnTo>
                  <a:pt x="536" y="425"/>
                </a:lnTo>
                <a:lnTo>
                  <a:pt x="532" y="428"/>
                </a:lnTo>
                <a:lnTo>
                  <a:pt x="530" y="428"/>
                </a:lnTo>
                <a:lnTo>
                  <a:pt x="528" y="425"/>
                </a:lnTo>
                <a:lnTo>
                  <a:pt x="524" y="425"/>
                </a:lnTo>
                <a:lnTo>
                  <a:pt x="524" y="424"/>
                </a:lnTo>
                <a:lnTo>
                  <a:pt x="522" y="424"/>
                </a:lnTo>
                <a:lnTo>
                  <a:pt x="522" y="423"/>
                </a:lnTo>
                <a:lnTo>
                  <a:pt x="517" y="418"/>
                </a:lnTo>
                <a:lnTo>
                  <a:pt x="516" y="418"/>
                </a:lnTo>
                <a:lnTo>
                  <a:pt x="515" y="419"/>
                </a:lnTo>
                <a:lnTo>
                  <a:pt x="513" y="418"/>
                </a:lnTo>
                <a:lnTo>
                  <a:pt x="510" y="416"/>
                </a:lnTo>
                <a:lnTo>
                  <a:pt x="509" y="413"/>
                </a:lnTo>
                <a:lnTo>
                  <a:pt x="507" y="412"/>
                </a:lnTo>
                <a:lnTo>
                  <a:pt x="507" y="409"/>
                </a:lnTo>
                <a:lnTo>
                  <a:pt x="504" y="407"/>
                </a:lnTo>
                <a:lnTo>
                  <a:pt x="503" y="405"/>
                </a:lnTo>
                <a:lnTo>
                  <a:pt x="503" y="404"/>
                </a:lnTo>
                <a:lnTo>
                  <a:pt x="502" y="401"/>
                </a:lnTo>
                <a:lnTo>
                  <a:pt x="501" y="400"/>
                </a:lnTo>
                <a:lnTo>
                  <a:pt x="502" y="400"/>
                </a:lnTo>
                <a:lnTo>
                  <a:pt x="503" y="401"/>
                </a:lnTo>
                <a:lnTo>
                  <a:pt x="503" y="403"/>
                </a:lnTo>
                <a:lnTo>
                  <a:pt x="504" y="404"/>
                </a:lnTo>
                <a:lnTo>
                  <a:pt x="507" y="401"/>
                </a:lnTo>
                <a:lnTo>
                  <a:pt x="504" y="401"/>
                </a:lnTo>
                <a:lnTo>
                  <a:pt x="504" y="398"/>
                </a:lnTo>
                <a:lnTo>
                  <a:pt x="502" y="397"/>
                </a:lnTo>
                <a:lnTo>
                  <a:pt x="502" y="395"/>
                </a:lnTo>
                <a:lnTo>
                  <a:pt x="497" y="395"/>
                </a:lnTo>
                <a:lnTo>
                  <a:pt x="497" y="393"/>
                </a:lnTo>
                <a:lnTo>
                  <a:pt x="496" y="392"/>
                </a:lnTo>
                <a:lnTo>
                  <a:pt x="496" y="388"/>
                </a:lnTo>
                <a:lnTo>
                  <a:pt x="497" y="388"/>
                </a:lnTo>
                <a:lnTo>
                  <a:pt x="498" y="387"/>
                </a:lnTo>
                <a:lnTo>
                  <a:pt x="499" y="387"/>
                </a:lnTo>
                <a:lnTo>
                  <a:pt x="499" y="386"/>
                </a:lnTo>
                <a:lnTo>
                  <a:pt x="497" y="386"/>
                </a:lnTo>
                <a:lnTo>
                  <a:pt x="496" y="385"/>
                </a:lnTo>
                <a:lnTo>
                  <a:pt x="495" y="381"/>
                </a:lnTo>
                <a:lnTo>
                  <a:pt x="493" y="379"/>
                </a:lnTo>
                <a:lnTo>
                  <a:pt x="492" y="377"/>
                </a:lnTo>
                <a:lnTo>
                  <a:pt x="483" y="370"/>
                </a:lnTo>
                <a:lnTo>
                  <a:pt x="482" y="370"/>
                </a:lnTo>
                <a:lnTo>
                  <a:pt x="480" y="369"/>
                </a:lnTo>
                <a:lnTo>
                  <a:pt x="479" y="369"/>
                </a:lnTo>
                <a:lnTo>
                  <a:pt x="478" y="368"/>
                </a:lnTo>
                <a:lnTo>
                  <a:pt x="477" y="368"/>
                </a:lnTo>
                <a:lnTo>
                  <a:pt x="476" y="367"/>
                </a:lnTo>
                <a:lnTo>
                  <a:pt x="476" y="363"/>
                </a:lnTo>
                <a:lnTo>
                  <a:pt x="478" y="361"/>
                </a:lnTo>
                <a:lnTo>
                  <a:pt x="477" y="361"/>
                </a:lnTo>
                <a:lnTo>
                  <a:pt x="476" y="363"/>
                </a:lnTo>
                <a:lnTo>
                  <a:pt x="473" y="363"/>
                </a:lnTo>
                <a:lnTo>
                  <a:pt x="473" y="364"/>
                </a:lnTo>
                <a:lnTo>
                  <a:pt x="474" y="366"/>
                </a:lnTo>
                <a:lnTo>
                  <a:pt x="474" y="367"/>
                </a:lnTo>
                <a:lnTo>
                  <a:pt x="471" y="366"/>
                </a:lnTo>
                <a:lnTo>
                  <a:pt x="468" y="364"/>
                </a:lnTo>
                <a:lnTo>
                  <a:pt x="458" y="366"/>
                </a:lnTo>
                <a:lnTo>
                  <a:pt x="456" y="367"/>
                </a:lnTo>
                <a:lnTo>
                  <a:pt x="455" y="367"/>
                </a:lnTo>
                <a:lnTo>
                  <a:pt x="455" y="366"/>
                </a:lnTo>
                <a:lnTo>
                  <a:pt x="454" y="366"/>
                </a:lnTo>
                <a:lnTo>
                  <a:pt x="453" y="363"/>
                </a:lnTo>
                <a:lnTo>
                  <a:pt x="453" y="362"/>
                </a:lnTo>
                <a:lnTo>
                  <a:pt x="454" y="361"/>
                </a:lnTo>
                <a:lnTo>
                  <a:pt x="453" y="360"/>
                </a:lnTo>
                <a:lnTo>
                  <a:pt x="453" y="355"/>
                </a:lnTo>
                <a:lnTo>
                  <a:pt x="452" y="354"/>
                </a:lnTo>
                <a:lnTo>
                  <a:pt x="452" y="349"/>
                </a:lnTo>
                <a:lnTo>
                  <a:pt x="451" y="349"/>
                </a:lnTo>
                <a:lnTo>
                  <a:pt x="449" y="348"/>
                </a:lnTo>
                <a:lnTo>
                  <a:pt x="449" y="345"/>
                </a:lnTo>
                <a:lnTo>
                  <a:pt x="452" y="343"/>
                </a:lnTo>
                <a:lnTo>
                  <a:pt x="452" y="339"/>
                </a:lnTo>
                <a:lnTo>
                  <a:pt x="453" y="337"/>
                </a:lnTo>
                <a:lnTo>
                  <a:pt x="454" y="336"/>
                </a:lnTo>
                <a:lnTo>
                  <a:pt x="458" y="333"/>
                </a:lnTo>
                <a:lnTo>
                  <a:pt x="459" y="331"/>
                </a:lnTo>
                <a:lnTo>
                  <a:pt x="459" y="329"/>
                </a:lnTo>
                <a:lnTo>
                  <a:pt x="460" y="326"/>
                </a:lnTo>
                <a:lnTo>
                  <a:pt x="460" y="324"/>
                </a:lnTo>
                <a:lnTo>
                  <a:pt x="461" y="324"/>
                </a:lnTo>
                <a:lnTo>
                  <a:pt x="462" y="323"/>
                </a:lnTo>
                <a:lnTo>
                  <a:pt x="464" y="324"/>
                </a:lnTo>
                <a:lnTo>
                  <a:pt x="465" y="323"/>
                </a:lnTo>
                <a:lnTo>
                  <a:pt x="466" y="323"/>
                </a:lnTo>
                <a:lnTo>
                  <a:pt x="466" y="320"/>
                </a:lnTo>
                <a:lnTo>
                  <a:pt x="467" y="320"/>
                </a:lnTo>
                <a:lnTo>
                  <a:pt x="470" y="321"/>
                </a:lnTo>
                <a:lnTo>
                  <a:pt x="471" y="321"/>
                </a:lnTo>
                <a:lnTo>
                  <a:pt x="471" y="320"/>
                </a:lnTo>
                <a:lnTo>
                  <a:pt x="472" y="318"/>
                </a:lnTo>
                <a:lnTo>
                  <a:pt x="472" y="317"/>
                </a:lnTo>
                <a:lnTo>
                  <a:pt x="474" y="312"/>
                </a:lnTo>
                <a:lnTo>
                  <a:pt x="471" y="312"/>
                </a:lnTo>
                <a:lnTo>
                  <a:pt x="470" y="313"/>
                </a:lnTo>
                <a:lnTo>
                  <a:pt x="466" y="313"/>
                </a:lnTo>
                <a:lnTo>
                  <a:pt x="465" y="308"/>
                </a:lnTo>
                <a:lnTo>
                  <a:pt x="462" y="306"/>
                </a:lnTo>
                <a:lnTo>
                  <a:pt x="458" y="300"/>
                </a:lnTo>
                <a:lnTo>
                  <a:pt x="456" y="299"/>
                </a:lnTo>
                <a:lnTo>
                  <a:pt x="458" y="297"/>
                </a:lnTo>
                <a:lnTo>
                  <a:pt x="456" y="296"/>
                </a:lnTo>
                <a:lnTo>
                  <a:pt x="458" y="295"/>
                </a:lnTo>
                <a:lnTo>
                  <a:pt x="458" y="293"/>
                </a:lnTo>
                <a:lnTo>
                  <a:pt x="460" y="290"/>
                </a:lnTo>
                <a:lnTo>
                  <a:pt x="460" y="289"/>
                </a:lnTo>
                <a:lnTo>
                  <a:pt x="459" y="288"/>
                </a:lnTo>
                <a:lnTo>
                  <a:pt x="459" y="287"/>
                </a:lnTo>
                <a:lnTo>
                  <a:pt x="460" y="284"/>
                </a:lnTo>
                <a:lnTo>
                  <a:pt x="460" y="283"/>
                </a:lnTo>
                <a:lnTo>
                  <a:pt x="462" y="282"/>
                </a:lnTo>
                <a:lnTo>
                  <a:pt x="462" y="281"/>
                </a:lnTo>
                <a:lnTo>
                  <a:pt x="464" y="281"/>
                </a:lnTo>
                <a:lnTo>
                  <a:pt x="465" y="280"/>
                </a:lnTo>
                <a:lnTo>
                  <a:pt x="465" y="278"/>
                </a:lnTo>
                <a:lnTo>
                  <a:pt x="468" y="278"/>
                </a:lnTo>
                <a:lnTo>
                  <a:pt x="468" y="277"/>
                </a:lnTo>
                <a:lnTo>
                  <a:pt x="470" y="277"/>
                </a:lnTo>
                <a:lnTo>
                  <a:pt x="470" y="275"/>
                </a:lnTo>
                <a:lnTo>
                  <a:pt x="468" y="274"/>
                </a:lnTo>
                <a:lnTo>
                  <a:pt x="470" y="274"/>
                </a:lnTo>
                <a:lnTo>
                  <a:pt x="471" y="272"/>
                </a:lnTo>
                <a:lnTo>
                  <a:pt x="472" y="269"/>
                </a:lnTo>
                <a:lnTo>
                  <a:pt x="473" y="268"/>
                </a:lnTo>
                <a:lnTo>
                  <a:pt x="472" y="268"/>
                </a:lnTo>
                <a:lnTo>
                  <a:pt x="472" y="264"/>
                </a:lnTo>
                <a:lnTo>
                  <a:pt x="471" y="264"/>
                </a:lnTo>
                <a:lnTo>
                  <a:pt x="470" y="263"/>
                </a:lnTo>
                <a:lnTo>
                  <a:pt x="467" y="263"/>
                </a:lnTo>
                <a:lnTo>
                  <a:pt x="467" y="264"/>
                </a:lnTo>
                <a:lnTo>
                  <a:pt x="466" y="264"/>
                </a:lnTo>
                <a:lnTo>
                  <a:pt x="465" y="263"/>
                </a:lnTo>
                <a:lnTo>
                  <a:pt x="465" y="259"/>
                </a:lnTo>
                <a:lnTo>
                  <a:pt x="462" y="259"/>
                </a:lnTo>
                <a:lnTo>
                  <a:pt x="460" y="257"/>
                </a:lnTo>
                <a:lnTo>
                  <a:pt x="460" y="256"/>
                </a:lnTo>
                <a:lnTo>
                  <a:pt x="461" y="254"/>
                </a:lnTo>
                <a:lnTo>
                  <a:pt x="458" y="251"/>
                </a:lnTo>
                <a:lnTo>
                  <a:pt x="458" y="246"/>
                </a:lnTo>
                <a:lnTo>
                  <a:pt x="459" y="245"/>
                </a:lnTo>
                <a:lnTo>
                  <a:pt x="459" y="244"/>
                </a:lnTo>
                <a:lnTo>
                  <a:pt x="458" y="244"/>
                </a:lnTo>
                <a:lnTo>
                  <a:pt x="456" y="243"/>
                </a:lnTo>
                <a:lnTo>
                  <a:pt x="455" y="243"/>
                </a:lnTo>
                <a:lnTo>
                  <a:pt x="454" y="241"/>
                </a:lnTo>
                <a:lnTo>
                  <a:pt x="454" y="240"/>
                </a:lnTo>
                <a:lnTo>
                  <a:pt x="453" y="240"/>
                </a:lnTo>
                <a:lnTo>
                  <a:pt x="449" y="237"/>
                </a:lnTo>
                <a:lnTo>
                  <a:pt x="448" y="233"/>
                </a:lnTo>
                <a:lnTo>
                  <a:pt x="448" y="232"/>
                </a:lnTo>
                <a:lnTo>
                  <a:pt x="470" y="232"/>
                </a:lnTo>
                <a:lnTo>
                  <a:pt x="471" y="231"/>
                </a:lnTo>
                <a:lnTo>
                  <a:pt x="471" y="228"/>
                </a:lnTo>
                <a:lnTo>
                  <a:pt x="472" y="227"/>
                </a:lnTo>
                <a:lnTo>
                  <a:pt x="472" y="225"/>
                </a:lnTo>
                <a:lnTo>
                  <a:pt x="474" y="222"/>
                </a:lnTo>
                <a:lnTo>
                  <a:pt x="474" y="219"/>
                </a:lnTo>
                <a:lnTo>
                  <a:pt x="476" y="219"/>
                </a:lnTo>
                <a:lnTo>
                  <a:pt x="476" y="215"/>
                </a:lnTo>
                <a:lnTo>
                  <a:pt x="477" y="214"/>
                </a:lnTo>
                <a:lnTo>
                  <a:pt x="476" y="210"/>
                </a:lnTo>
                <a:lnTo>
                  <a:pt x="474" y="209"/>
                </a:lnTo>
                <a:lnTo>
                  <a:pt x="473" y="209"/>
                </a:lnTo>
                <a:lnTo>
                  <a:pt x="473" y="208"/>
                </a:lnTo>
                <a:lnTo>
                  <a:pt x="471" y="208"/>
                </a:lnTo>
                <a:lnTo>
                  <a:pt x="471" y="207"/>
                </a:lnTo>
                <a:lnTo>
                  <a:pt x="470" y="206"/>
                </a:lnTo>
                <a:lnTo>
                  <a:pt x="470" y="204"/>
                </a:lnTo>
                <a:lnTo>
                  <a:pt x="471" y="202"/>
                </a:lnTo>
                <a:lnTo>
                  <a:pt x="472" y="202"/>
                </a:lnTo>
                <a:lnTo>
                  <a:pt x="473" y="201"/>
                </a:lnTo>
                <a:lnTo>
                  <a:pt x="476" y="201"/>
                </a:lnTo>
                <a:lnTo>
                  <a:pt x="477" y="200"/>
                </a:lnTo>
                <a:lnTo>
                  <a:pt x="477" y="198"/>
                </a:lnTo>
                <a:lnTo>
                  <a:pt x="480" y="195"/>
                </a:lnTo>
                <a:lnTo>
                  <a:pt x="478" y="192"/>
                </a:lnTo>
                <a:lnTo>
                  <a:pt x="478" y="188"/>
                </a:lnTo>
                <a:lnTo>
                  <a:pt x="479" y="186"/>
                </a:lnTo>
                <a:lnTo>
                  <a:pt x="479" y="184"/>
                </a:lnTo>
                <a:lnTo>
                  <a:pt x="478" y="184"/>
                </a:lnTo>
                <a:lnTo>
                  <a:pt x="478" y="182"/>
                </a:lnTo>
                <a:lnTo>
                  <a:pt x="479" y="179"/>
                </a:lnTo>
                <a:lnTo>
                  <a:pt x="479" y="176"/>
                </a:lnTo>
                <a:lnTo>
                  <a:pt x="478" y="173"/>
                </a:lnTo>
                <a:lnTo>
                  <a:pt x="478" y="171"/>
                </a:lnTo>
                <a:lnTo>
                  <a:pt x="479" y="171"/>
                </a:lnTo>
                <a:lnTo>
                  <a:pt x="479" y="170"/>
                </a:lnTo>
                <a:lnTo>
                  <a:pt x="478" y="170"/>
                </a:lnTo>
                <a:lnTo>
                  <a:pt x="478" y="168"/>
                </a:lnTo>
                <a:lnTo>
                  <a:pt x="479" y="167"/>
                </a:lnTo>
                <a:lnTo>
                  <a:pt x="479" y="166"/>
                </a:lnTo>
                <a:lnTo>
                  <a:pt x="478" y="166"/>
                </a:lnTo>
                <a:lnTo>
                  <a:pt x="478" y="165"/>
                </a:lnTo>
                <a:lnTo>
                  <a:pt x="477" y="164"/>
                </a:lnTo>
                <a:lnTo>
                  <a:pt x="477" y="161"/>
                </a:lnTo>
                <a:lnTo>
                  <a:pt x="476" y="161"/>
                </a:lnTo>
                <a:lnTo>
                  <a:pt x="474" y="159"/>
                </a:lnTo>
                <a:lnTo>
                  <a:pt x="474" y="157"/>
                </a:lnTo>
                <a:lnTo>
                  <a:pt x="476" y="155"/>
                </a:lnTo>
                <a:lnTo>
                  <a:pt x="478" y="157"/>
                </a:lnTo>
                <a:lnTo>
                  <a:pt x="479" y="157"/>
                </a:lnTo>
                <a:lnTo>
                  <a:pt x="480" y="155"/>
                </a:lnTo>
                <a:lnTo>
                  <a:pt x="482" y="153"/>
                </a:lnTo>
                <a:lnTo>
                  <a:pt x="482" y="151"/>
                </a:lnTo>
                <a:lnTo>
                  <a:pt x="485" y="147"/>
                </a:lnTo>
                <a:lnTo>
                  <a:pt x="486" y="145"/>
                </a:lnTo>
                <a:lnTo>
                  <a:pt x="487" y="143"/>
                </a:lnTo>
                <a:lnTo>
                  <a:pt x="490" y="143"/>
                </a:lnTo>
                <a:lnTo>
                  <a:pt x="493" y="142"/>
                </a:lnTo>
                <a:lnTo>
                  <a:pt x="496" y="140"/>
                </a:lnTo>
                <a:lnTo>
                  <a:pt x="497" y="137"/>
                </a:lnTo>
                <a:lnTo>
                  <a:pt x="498" y="137"/>
                </a:lnTo>
                <a:lnTo>
                  <a:pt x="498" y="136"/>
                </a:lnTo>
                <a:lnTo>
                  <a:pt x="501" y="136"/>
                </a:lnTo>
                <a:lnTo>
                  <a:pt x="501" y="135"/>
                </a:lnTo>
                <a:lnTo>
                  <a:pt x="502" y="133"/>
                </a:lnTo>
                <a:lnTo>
                  <a:pt x="502" y="131"/>
                </a:lnTo>
                <a:lnTo>
                  <a:pt x="503" y="130"/>
                </a:lnTo>
                <a:lnTo>
                  <a:pt x="505" y="127"/>
                </a:lnTo>
                <a:lnTo>
                  <a:pt x="504" y="127"/>
                </a:lnTo>
                <a:lnTo>
                  <a:pt x="504" y="125"/>
                </a:lnTo>
                <a:lnTo>
                  <a:pt x="502" y="124"/>
                </a:lnTo>
                <a:lnTo>
                  <a:pt x="501" y="123"/>
                </a:lnTo>
                <a:lnTo>
                  <a:pt x="498" y="122"/>
                </a:lnTo>
                <a:lnTo>
                  <a:pt x="495" y="121"/>
                </a:lnTo>
                <a:lnTo>
                  <a:pt x="493" y="122"/>
                </a:lnTo>
                <a:lnTo>
                  <a:pt x="491" y="122"/>
                </a:lnTo>
                <a:lnTo>
                  <a:pt x="490" y="121"/>
                </a:lnTo>
                <a:lnTo>
                  <a:pt x="490" y="116"/>
                </a:lnTo>
                <a:lnTo>
                  <a:pt x="491" y="111"/>
                </a:lnTo>
                <a:lnTo>
                  <a:pt x="492" y="110"/>
                </a:lnTo>
                <a:lnTo>
                  <a:pt x="490" y="110"/>
                </a:lnTo>
                <a:lnTo>
                  <a:pt x="490" y="106"/>
                </a:lnTo>
                <a:lnTo>
                  <a:pt x="489" y="105"/>
                </a:lnTo>
                <a:lnTo>
                  <a:pt x="487" y="105"/>
                </a:lnTo>
                <a:lnTo>
                  <a:pt x="487" y="106"/>
                </a:lnTo>
                <a:lnTo>
                  <a:pt x="482" y="106"/>
                </a:lnTo>
                <a:lnTo>
                  <a:pt x="480" y="104"/>
                </a:lnTo>
                <a:lnTo>
                  <a:pt x="479" y="104"/>
                </a:lnTo>
                <a:lnTo>
                  <a:pt x="479" y="105"/>
                </a:lnTo>
                <a:lnTo>
                  <a:pt x="478" y="106"/>
                </a:lnTo>
                <a:lnTo>
                  <a:pt x="474" y="106"/>
                </a:lnTo>
                <a:lnTo>
                  <a:pt x="473" y="105"/>
                </a:lnTo>
                <a:lnTo>
                  <a:pt x="471" y="105"/>
                </a:lnTo>
                <a:lnTo>
                  <a:pt x="470" y="106"/>
                </a:lnTo>
                <a:lnTo>
                  <a:pt x="467" y="104"/>
                </a:lnTo>
                <a:lnTo>
                  <a:pt x="464" y="104"/>
                </a:lnTo>
                <a:lnTo>
                  <a:pt x="464" y="109"/>
                </a:lnTo>
                <a:lnTo>
                  <a:pt x="462" y="109"/>
                </a:lnTo>
                <a:lnTo>
                  <a:pt x="462" y="110"/>
                </a:lnTo>
                <a:lnTo>
                  <a:pt x="461" y="110"/>
                </a:lnTo>
                <a:lnTo>
                  <a:pt x="458" y="111"/>
                </a:lnTo>
                <a:lnTo>
                  <a:pt x="455" y="111"/>
                </a:lnTo>
                <a:lnTo>
                  <a:pt x="453" y="114"/>
                </a:lnTo>
                <a:lnTo>
                  <a:pt x="453" y="112"/>
                </a:lnTo>
                <a:lnTo>
                  <a:pt x="452" y="111"/>
                </a:lnTo>
                <a:lnTo>
                  <a:pt x="451" y="111"/>
                </a:lnTo>
                <a:lnTo>
                  <a:pt x="451" y="110"/>
                </a:lnTo>
                <a:lnTo>
                  <a:pt x="449" y="110"/>
                </a:lnTo>
                <a:lnTo>
                  <a:pt x="449" y="112"/>
                </a:lnTo>
                <a:lnTo>
                  <a:pt x="446" y="112"/>
                </a:lnTo>
                <a:lnTo>
                  <a:pt x="446" y="110"/>
                </a:lnTo>
                <a:lnTo>
                  <a:pt x="443" y="110"/>
                </a:lnTo>
                <a:lnTo>
                  <a:pt x="442" y="109"/>
                </a:lnTo>
                <a:lnTo>
                  <a:pt x="440" y="109"/>
                </a:lnTo>
                <a:lnTo>
                  <a:pt x="437" y="110"/>
                </a:lnTo>
                <a:lnTo>
                  <a:pt x="435" y="110"/>
                </a:lnTo>
                <a:lnTo>
                  <a:pt x="435" y="111"/>
                </a:lnTo>
                <a:lnTo>
                  <a:pt x="434" y="111"/>
                </a:lnTo>
                <a:lnTo>
                  <a:pt x="434" y="108"/>
                </a:lnTo>
                <a:lnTo>
                  <a:pt x="433" y="108"/>
                </a:lnTo>
                <a:lnTo>
                  <a:pt x="433" y="110"/>
                </a:lnTo>
                <a:lnTo>
                  <a:pt x="429" y="110"/>
                </a:lnTo>
                <a:lnTo>
                  <a:pt x="429" y="111"/>
                </a:lnTo>
                <a:lnTo>
                  <a:pt x="428" y="114"/>
                </a:lnTo>
                <a:lnTo>
                  <a:pt x="422" y="114"/>
                </a:lnTo>
                <a:lnTo>
                  <a:pt x="422" y="111"/>
                </a:lnTo>
                <a:lnTo>
                  <a:pt x="420" y="110"/>
                </a:lnTo>
                <a:lnTo>
                  <a:pt x="420" y="108"/>
                </a:lnTo>
                <a:lnTo>
                  <a:pt x="424" y="103"/>
                </a:lnTo>
                <a:lnTo>
                  <a:pt x="424" y="102"/>
                </a:lnTo>
                <a:lnTo>
                  <a:pt x="426" y="102"/>
                </a:lnTo>
                <a:lnTo>
                  <a:pt x="426" y="99"/>
                </a:lnTo>
                <a:lnTo>
                  <a:pt x="424" y="99"/>
                </a:lnTo>
                <a:lnTo>
                  <a:pt x="423" y="98"/>
                </a:lnTo>
                <a:lnTo>
                  <a:pt x="423" y="99"/>
                </a:lnTo>
                <a:lnTo>
                  <a:pt x="421" y="99"/>
                </a:lnTo>
                <a:lnTo>
                  <a:pt x="421" y="94"/>
                </a:lnTo>
                <a:lnTo>
                  <a:pt x="418" y="94"/>
                </a:lnTo>
                <a:lnTo>
                  <a:pt x="418" y="96"/>
                </a:lnTo>
                <a:lnTo>
                  <a:pt x="416" y="96"/>
                </a:lnTo>
                <a:lnTo>
                  <a:pt x="416" y="97"/>
                </a:lnTo>
                <a:lnTo>
                  <a:pt x="415" y="97"/>
                </a:lnTo>
                <a:lnTo>
                  <a:pt x="409" y="98"/>
                </a:lnTo>
                <a:lnTo>
                  <a:pt x="408" y="98"/>
                </a:lnTo>
                <a:lnTo>
                  <a:pt x="406" y="99"/>
                </a:lnTo>
                <a:lnTo>
                  <a:pt x="404" y="99"/>
                </a:lnTo>
                <a:lnTo>
                  <a:pt x="403" y="100"/>
                </a:lnTo>
                <a:lnTo>
                  <a:pt x="402" y="100"/>
                </a:lnTo>
                <a:lnTo>
                  <a:pt x="402" y="103"/>
                </a:lnTo>
                <a:lnTo>
                  <a:pt x="400" y="103"/>
                </a:lnTo>
                <a:lnTo>
                  <a:pt x="399" y="104"/>
                </a:lnTo>
                <a:lnTo>
                  <a:pt x="398" y="104"/>
                </a:lnTo>
                <a:lnTo>
                  <a:pt x="397" y="105"/>
                </a:lnTo>
                <a:lnTo>
                  <a:pt x="397" y="106"/>
                </a:lnTo>
                <a:lnTo>
                  <a:pt x="396" y="106"/>
                </a:lnTo>
                <a:lnTo>
                  <a:pt x="393" y="109"/>
                </a:lnTo>
                <a:lnTo>
                  <a:pt x="392" y="109"/>
                </a:lnTo>
                <a:lnTo>
                  <a:pt x="392" y="108"/>
                </a:lnTo>
                <a:lnTo>
                  <a:pt x="391" y="97"/>
                </a:lnTo>
                <a:lnTo>
                  <a:pt x="392" y="96"/>
                </a:lnTo>
                <a:lnTo>
                  <a:pt x="395" y="96"/>
                </a:lnTo>
                <a:lnTo>
                  <a:pt x="395" y="94"/>
                </a:lnTo>
                <a:lnTo>
                  <a:pt x="393" y="94"/>
                </a:lnTo>
                <a:lnTo>
                  <a:pt x="393" y="93"/>
                </a:lnTo>
                <a:lnTo>
                  <a:pt x="395" y="93"/>
                </a:lnTo>
                <a:lnTo>
                  <a:pt x="395" y="92"/>
                </a:lnTo>
                <a:lnTo>
                  <a:pt x="396" y="92"/>
                </a:lnTo>
                <a:lnTo>
                  <a:pt x="396" y="91"/>
                </a:lnTo>
                <a:lnTo>
                  <a:pt x="397" y="90"/>
                </a:lnTo>
                <a:lnTo>
                  <a:pt x="402" y="87"/>
                </a:lnTo>
                <a:lnTo>
                  <a:pt x="402" y="86"/>
                </a:lnTo>
                <a:lnTo>
                  <a:pt x="403" y="86"/>
                </a:lnTo>
                <a:lnTo>
                  <a:pt x="403" y="82"/>
                </a:lnTo>
                <a:lnTo>
                  <a:pt x="402" y="84"/>
                </a:lnTo>
                <a:lnTo>
                  <a:pt x="402" y="85"/>
                </a:lnTo>
                <a:lnTo>
                  <a:pt x="400" y="86"/>
                </a:lnTo>
                <a:lnTo>
                  <a:pt x="399" y="86"/>
                </a:lnTo>
                <a:lnTo>
                  <a:pt x="397" y="87"/>
                </a:lnTo>
                <a:lnTo>
                  <a:pt x="396" y="88"/>
                </a:lnTo>
                <a:lnTo>
                  <a:pt x="393" y="88"/>
                </a:lnTo>
                <a:lnTo>
                  <a:pt x="393" y="85"/>
                </a:lnTo>
                <a:lnTo>
                  <a:pt x="395" y="86"/>
                </a:lnTo>
                <a:lnTo>
                  <a:pt x="395" y="82"/>
                </a:lnTo>
                <a:lnTo>
                  <a:pt x="397" y="84"/>
                </a:lnTo>
                <a:lnTo>
                  <a:pt x="397" y="82"/>
                </a:lnTo>
                <a:lnTo>
                  <a:pt x="400" y="79"/>
                </a:lnTo>
                <a:lnTo>
                  <a:pt x="402" y="79"/>
                </a:lnTo>
                <a:lnTo>
                  <a:pt x="402" y="78"/>
                </a:lnTo>
                <a:lnTo>
                  <a:pt x="400" y="78"/>
                </a:lnTo>
                <a:lnTo>
                  <a:pt x="399" y="79"/>
                </a:lnTo>
                <a:lnTo>
                  <a:pt x="398" y="79"/>
                </a:lnTo>
                <a:lnTo>
                  <a:pt x="397" y="80"/>
                </a:lnTo>
                <a:lnTo>
                  <a:pt x="393" y="80"/>
                </a:lnTo>
                <a:lnTo>
                  <a:pt x="393" y="79"/>
                </a:lnTo>
                <a:lnTo>
                  <a:pt x="392" y="79"/>
                </a:lnTo>
                <a:lnTo>
                  <a:pt x="392" y="77"/>
                </a:lnTo>
                <a:lnTo>
                  <a:pt x="395" y="77"/>
                </a:lnTo>
                <a:lnTo>
                  <a:pt x="395" y="69"/>
                </a:lnTo>
                <a:lnTo>
                  <a:pt x="396" y="69"/>
                </a:lnTo>
                <a:lnTo>
                  <a:pt x="397" y="68"/>
                </a:lnTo>
                <a:lnTo>
                  <a:pt x="398" y="66"/>
                </a:lnTo>
                <a:lnTo>
                  <a:pt x="398" y="65"/>
                </a:lnTo>
                <a:lnTo>
                  <a:pt x="398" y="66"/>
                </a:lnTo>
                <a:lnTo>
                  <a:pt x="395" y="66"/>
                </a:lnTo>
                <a:lnTo>
                  <a:pt x="395" y="63"/>
                </a:lnTo>
                <a:lnTo>
                  <a:pt x="393" y="65"/>
                </a:lnTo>
                <a:lnTo>
                  <a:pt x="393" y="68"/>
                </a:lnTo>
                <a:lnTo>
                  <a:pt x="392" y="68"/>
                </a:lnTo>
                <a:lnTo>
                  <a:pt x="392" y="67"/>
                </a:lnTo>
                <a:lnTo>
                  <a:pt x="391" y="67"/>
                </a:lnTo>
                <a:lnTo>
                  <a:pt x="390" y="68"/>
                </a:lnTo>
                <a:lnTo>
                  <a:pt x="391" y="69"/>
                </a:lnTo>
                <a:lnTo>
                  <a:pt x="389" y="69"/>
                </a:lnTo>
                <a:lnTo>
                  <a:pt x="389" y="72"/>
                </a:lnTo>
                <a:lnTo>
                  <a:pt x="387" y="72"/>
                </a:lnTo>
                <a:lnTo>
                  <a:pt x="386" y="73"/>
                </a:lnTo>
                <a:lnTo>
                  <a:pt x="386" y="69"/>
                </a:lnTo>
                <a:lnTo>
                  <a:pt x="384" y="69"/>
                </a:lnTo>
                <a:lnTo>
                  <a:pt x="385" y="67"/>
                </a:lnTo>
                <a:lnTo>
                  <a:pt x="385" y="65"/>
                </a:lnTo>
                <a:lnTo>
                  <a:pt x="386" y="63"/>
                </a:lnTo>
                <a:lnTo>
                  <a:pt x="386" y="61"/>
                </a:lnTo>
                <a:lnTo>
                  <a:pt x="387" y="61"/>
                </a:lnTo>
                <a:lnTo>
                  <a:pt x="391" y="57"/>
                </a:lnTo>
                <a:lnTo>
                  <a:pt x="392" y="57"/>
                </a:lnTo>
                <a:lnTo>
                  <a:pt x="392" y="55"/>
                </a:lnTo>
                <a:lnTo>
                  <a:pt x="391" y="55"/>
                </a:lnTo>
                <a:lnTo>
                  <a:pt x="391" y="56"/>
                </a:lnTo>
                <a:lnTo>
                  <a:pt x="390" y="57"/>
                </a:lnTo>
                <a:lnTo>
                  <a:pt x="385" y="57"/>
                </a:lnTo>
                <a:lnTo>
                  <a:pt x="385" y="59"/>
                </a:lnTo>
                <a:lnTo>
                  <a:pt x="384" y="60"/>
                </a:lnTo>
                <a:lnTo>
                  <a:pt x="383" y="60"/>
                </a:lnTo>
                <a:lnTo>
                  <a:pt x="383" y="59"/>
                </a:lnTo>
                <a:lnTo>
                  <a:pt x="381" y="57"/>
                </a:lnTo>
                <a:lnTo>
                  <a:pt x="381" y="56"/>
                </a:lnTo>
                <a:lnTo>
                  <a:pt x="383" y="56"/>
                </a:lnTo>
                <a:lnTo>
                  <a:pt x="383" y="54"/>
                </a:lnTo>
                <a:lnTo>
                  <a:pt x="381" y="54"/>
                </a:lnTo>
                <a:lnTo>
                  <a:pt x="381" y="50"/>
                </a:lnTo>
                <a:lnTo>
                  <a:pt x="380" y="50"/>
                </a:lnTo>
                <a:lnTo>
                  <a:pt x="379" y="49"/>
                </a:lnTo>
                <a:lnTo>
                  <a:pt x="379" y="50"/>
                </a:lnTo>
                <a:lnTo>
                  <a:pt x="378" y="50"/>
                </a:lnTo>
                <a:lnTo>
                  <a:pt x="378" y="49"/>
                </a:lnTo>
                <a:lnTo>
                  <a:pt x="377" y="50"/>
                </a:lnTo>
                <a:lnTo>
                  <a:pt x="377" y="51"/>
                </a:lnTo>
                <a:lnTo>
                  <a:pt x="375" y="51"/>
                </a:lnTo>
                <a:lnTo>
                  <a:pt x="375" y="47"/>
                </a:lnTo>
                <a:lnTo>
                  <a:pt x="377" y="47"/>
                </a:lnTo>
                <a:lnTo>
                  <a:pt x="377" y="44"/>
                </a:lnTo>
                <a:lnTo>
                  <a:pt x="375" y="44"/>
                </a:lnTo>
                <a:lnTo>
                  <a:pt x="375" y="42"/>
                </a:lnTo>
                <a:lnTo>
                  <a:pt x="377" y="42"/>
                </a:lnTo>
                <a:lnTo>
                  <a:pt x="377" y="41"/>
                </a:lnTo>
                <a:lnTo>
                  <a:pt x="378" y="39"/>
                </a:lnTo>
                <a:lnTo>
                  <a:pt x="380" y="39"/>
                </a:lnTo>
                <a:lnTo>
                  <a:pt x="380" y="38"/>
                </a:lnTo>
                <a:lnTo>
                  <a:pt x="381" y="38"/>
                </a:lnTo>
                <a:lnTo>
                  <a:pt x="381" y="37"/>
                </a:lnTo>
                <a:lnTo>
                  <a:pt x="380" y="37"/>
                </a:lnTo>
                <a:lnTo>
                  <a:pt x="379" y="38"/>
                </a:lnTo>
                <a:lnTo>
                  <a:pt x="378" y="37"/>
                </a:lnTo>
                <a:lnTo>
                  <a:pt x="381" y="34"/>
                </a:lnTo>
                <a:lnTo>
                  <a:pt x="383" y="35"/>
                </a:lnTo>
                <a:lnTo>
                  <a:pt x="385" y="35"/>
                </a:lnTo>
                <a:lnTo>
                  <a:pt x="385" y="34"/>
                </a:lnTo>
                <a:lnTo>
                  <a:pt x="386" y="34"/>
                </a:lnTo>
                <a:lnTo>
                  <a:pt x="386" y="32"/>
                </a:lnTo>
                <a:lnTo>
                  <a:pt x="390" y="32"/>
                </a:lnTo>
                <a:lnTo>
                  <a:pt x="391" y="31"/>
                </a:lnTo>
                <a:lnTo>
                  <a:pt x="390" y="31"/>
                </a:lnTo>
                <a:lnTo>
                  <a:pt x="387" y="29"/>
                </a:lnTo>
                <a:lnTo>
                  <a:pt x="390" y="29"/>
                </a:lnTo>
                <a:lnTo>
                  <a:pt x="392" y="28"/>
                </a:lnTo>
                <a:lnTo>
                  <a:pt x="393" y="26"/>
                </a:lnTo>
                <a:lnTo>
                  <a:pt x="395" y="26"/>
                </a:lnTo>
                <a:lnTo>
                  <a:pt x="396" y="28"/>
                </a:lnTo>
                <a:lnTo>
                  <a:pt x="398" y="28"/>
                </a:lnTo>
                <a:lnTo>
                  <a:pt x="399" y="29"/>
                </a:lnTo>
                <a:lnTo>
                  <a:pt x="402" y="29"/>
                </a:lnTo>
                <a:lnTo>
                  <a:pt x="404" y="26"/>
                </a:lnTo>
                <a:lnTo>
                  <a:pt x="406" y="28"/>
                </a:lnTo>
                <a:lnTo>
                  <a:pt x="408" y="26"/>
                </a:lnTo>
                <a:lnTo>
                  <a:pt x="409" y="26"/>
                </a:lnTo>
                <a:lnTo>
                  <a:pt x="409" y="25"/>
                </a:lnTo>
                <a:lnTo>
                  <a:pt x="410" y="25"/>
                </a:lnTo>
                <a:lnTo>
                  <a:pt x="410" y="24"/>
                </a:lnTo>
                <a:lnTo>
                  <a:pt x="411" y="24"/>
                </a:lnTo>
                <a:lnTo>
                  <a:pt x="414" y="23"/>
                </a:lnTo>
                <a:lnTo>
                  <a:pt x="414" y="25"/>
                </a:lnTo>
                <a:lnTo>
                  <a:pt x="415" y="25"/>
                </a:lnTo>
                <a:lnTo>
                  <a:pt x="415" y="23"/>
                </a:lnTo>
                <a:lnTo>
                  <a:pt x="416" y="22"/>
                </a:lnTo>
                <a:lnTo>
                  <a:pt x="416" y="23"/>
                </a:lnTo>
                <a:lnTo>
                  <a:pt x="418" y="23"/>
                </a:lnTo>
                <a:lnTo>
                  <a:pt x="418" y="25"/>
                </a:lnTo>
                <a:lnTo>
                  <a:pt x="420" y="26"/>
                </a:lnTo>
                <a:lnTo>
                  <a:pt x="421" y="26"/>
                </a:lnTo>
                <a:lnTo>
                  <a:pt x="421" y="22"/>
                </a:lnTo>
                <a:lnTo>
                  <a:pt x="420" y="22"/>
                </a:lnTo>
                <a:lnTo>
                  <a:pt x="418" y="20"/>
                </a:lnTo>
                <a:lnTo>
                  <a:pt x="417" y="20"/>
                </a:lnTo>
                <a:lnTo>
                  <a:pt x="416" y="19"/>
                </a:lnTo>
                <a:lnTo>
                  <a:pt x="417" y="19"/>
                </a:lnTo>
                <a:lnTo>
                  <a:pt x="422" y="18"/>
                </a:lnTo>
                <a:lnTo>
                  <a:pt x="422" y="17"/>
                </a:lnTo>
                <a:lnTo>
                  <a:pt x="421" y="18"/>
                </a:lnTo>
                <a:lnTo>
                  <a:pt x="420" y="18"/>
                </a:lnTo>
                <a:lnTo>
                  <a:pt x="418" y="17"/>
                </a:lnTo>
                <a:lnTo>
                  <a:pt x="418" y="18"/>
                </a:lnTo>
                <a:lnTo>
                  <a:pt x="416" y="18"/>
                </a:lnTo>
                <a:lnTo>
                  <a:pt x="416" y="16"/>
                </a:lnTo>
                <a:lnTo>
                  <a:pt x="417" y="14"/>
                </a:lnTo>
                <a:lnTo>
                  <a:pt x="416" y="14"/>
                </a:lnTo>
                <a:lnTo>
                  <a:pt x="416" y="13"/>
                </a:lnTo>
                <a:lnTo>
                  <a:pt x="418" y="13"/>
                </a:lnTo>
                <a:lnTo>
                  <a:pt x="420" y="12"/>
                </a:lnTo>
                <a:lnTo>
                  <a:pt x="426" y="7"/>
                </a:lnTo>
                <a:lnTo>
                  <a:pt x="426" y="8"/>
                </a:lnTo>
                <a:lnTo>
                  <a:pt x="427" y="8"/>
                </a:lnTo>
                <a:lnTo>
                  <a:pt x="427" y="5"/>
                </a:lnTo>
                <a:lnTo>
                  <a:pt x="429" y="5"/>
                </a:lnTo>
                <a:lnTo>
                  <a:pt x="430" y="4"/>
                </a:lnTo>
                <a:lnTo>
                  <a:pt x="431" y="4"/>
                </a:lnTo>
                <a:lnTo>
                  <a:pt x="434" y="1"/>
                </a:lnTo>
                <a:lnTo>
                  <a:pt x="435" y="2"/>
                </a:lnTo>
                <a:lnTo>
                  <a:pt x="435" y="6"/>
                </a:lnTo>
                <a:lnTo>
                  <a:pt x="434" y="6"/>
                </a:lnTo>
                <a:lnTo>
                  <a:pt x="434" y="7"/>
                </a:lnTo>
                <a:lnTo>
                  <a:pt x="435" y="7"/>
                </a:lnTo>
                <a:lnTo>
                  <a:pt x="436" y="6"/>
                </a:lnTo>
                <a:lnTo>
                  <a:pt x="435" y="5"/>
                </a:lnTo>
                <a:lnTo>
                  <a:pt x="436" y="5"/>
                </a:lnTo>
                <a:lnTo>
                  <a:pt x="437" y="4"/>
                </a:lnTo>
                <a:lnTo>
                  <a:pt x="439" y="4"/>
                </a:lnTo>
                <a:lnTo>
                  <a:pt x="439" y="2"/>
                </a:lnTo>
                <a:lnTo>
                  <a:pt x="441" y="2"/>
                </a:lnTo>
                <a:lnTo>
                  <a:pt x="441" y="1"/>
                </a:lnTo>
                <a:lnTo>
                  <a:pt x="442" y="1"/>
                </a:lnTo>
                <a:lnTo>
                  <a:pt x="442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9" name="Textfeld 148">
            <a:extLst>
              <a:ext uri="{FF2B5EF4-FFF2-40B4-BE49-F238E27FC236}">
                <a16:creationId xmlns:a16="http://schemas.microsoft.com/office/drawing/2014/main" id="{4F2E1C45-CDF7-4B4F-AE0C-3C99E9708FC0}"/>
              </a:ext>
            </a:extLst>
          </p:cNvPr>
          <p:cNvSpPr txBox="1"/>
          <p:nvPr/>
        </p:nvSpPr>
        <p:spPr>
          <a:xfrm>
            <a:off x="765137" y="6598338"/>
            <a:ext cx="6264998" cy="14561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lvl1pPr>
              <a:buFont typeface="Arial"/>
              <a:buChar char="•"/>
            </a:lvl1pPr>
            <a:lvl2pPr>
              <a:buFont typeface="Arial"/>
              <a:buChar char="•"/>
            </a:lvl2pPr>
            <a:lvl3pPr>
              <a:buFont typeface="Arial"/>
              <a:buChar char="•"/>
            </a:lvl3pPr>
            <a:lvl4pPr>
              <a:buFont typeface="Arial"/>
              <a:buChar char="•"/>
            </a:lvl4pPr>
            <a:lvl5pPr>
              <a:buFont typeface="Arial"/>
              <a:buChar char="•"/>
            </a:lvl5pPr>
            <a:lvl6pPr>
              <a:buFont typeface="Arial"/>
              <a:buChar char="•"/>
            </a:lvl6pPr>
            <a:lvl7pPr>
              <a:buFont typeface="Arial"/>
              <a:buChar char="•"/>
            </a:lvl7pPr>
            <a:lvl8pPr>
              <a:buFont typeface="Arial"/>
              <a:buChar char="•"/>
            </a:lvl8pPr>
            <a:lvl9pPr>
              <a:buFont typeface="Arial"/>
              <a:buChar char="•"/>
            </a:lvl9pPr>
          </a:lstStyle>
          <a:p>
            <a:pPr algn="l">
              <a:lnSpc>
                <a:spcPct val="110000"/>
              </a:lnSpc>
              <a:spcAft>
                <a:spcPts val="500"/>
              </a:spcAft>
              <a:buNone/>
            </a:pPr>
            <a:r>
              <a:rPr lang="de-DE" sz="900" dirty="0">
                <a:solidFill>
                  <a:srgbClr val="878787"/>
                </a:solidFill>
              </a:rPr>
              <a:t>Quellen: IPC </a:t>
            </a:r>
            <a:r>
              <a:rPr lang="de-DE" sz="900" dirty="0" err="1">
                <a:solidFill>
                  <a:srgbClr val="878787"/>
                </a:solidFill>
              </a:rPr>
              <a:t>Regulatory</a:t>
            </a:r>
            <a:r>
              <a:rPr lang="de-DE" sz="900" dirty="0">
                <a:solidFill>
                  <a:srgbClr val="878787"/>
                </a:solidFill>
              </a:rPr>
              <a:t> Database 2022, Geschäftsberichte, EU-Kommission, Regulierungsbehörden</a:t>
            </a:r>
          </a:p>
        </p:txBody>
      </p:sp>
      <p:sp>
        <p:nvSpPr>
          <p:cNvPr id="150" name="Textfeld 149">
            <a:extLst>
              <a:ext uri="{FF2B5EF4-FFF2-40B4-BE49-F238E27FC236}">
                <a16:creationId xmlns:a16="http://schemas.microsoft.com/office/drawing/2014/main" id="{C17EFF9D-BA7B-40E4-87D9-3F36A2F2CAD2}"/>
              </a:ext>
            </a:extLst>
          </p:cNvPr>
          <p:cNvSpPr txBox="1"/>
          <p:nvPr/>
        </p:nvSpPr>
        <p:spPr>
          <a:xfrm>
            <a:off x="5329680" y="1690252"/>
            <a:ext cx="6095404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00"/>
              </a:spcBef>
            </a:pPr>
            <a:r>
              <a:rPr lang="de-DE" sz="1200" b="1" dirty="0">
                <a:solidFill>
                  <a:srgbClr val="32C8C8"/>
                </a:solidFill>
              </a:rPr>
              <a:t>Briefmengenentwicklung (2012 zu 2021)</a:t>
            </a:r>
          </a:p>
          <a:p>
            <a:pPr marL="176213" indent="-87313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Deutlicher Sendungsmengenrückgang mit -50% in Frankreich und -42% in Belgien</a:t>
            </a:r>
          </a:p>
          <a:p>
            <a:pPr marL="176213" indent="-87313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Ausgleich der Verluste im Briefgeschäft erfolgt über Diversifikation wie z. B. Ausbau Finanz- und Versicherungsdienstleistungen bei der La Poste</a:t>
            </a:r>
          </a:p>
        </p:txBody>
      </p:sp>
      <p:sp>
        <p:nvSpPr>
          <p:cNvPr id="151" name="Textfeld 150">
            <a:extLst>
              <a:ext uri="{FF2B5EF4-FFF2-40B4-BE49-F238E27FC236}">
                <a16:creationId xmlns:a16="http://schemas.microsoft.com/office/drawing/2014/main" id="{A154B068-037C-4BFB-A098-55BD4ED99F8A}"/>
              </a:ext>
            </a:extLst>
          </p:cNvPr>
          <p:cNvSpPr txBox="1"/>
          <p:nvPr/>
        </p:nvSpPr>
        <p:spPr>
          <a:xfrm>
            <a:off x="5324766" y="2655916"/>
            <a:ext cx="6095404" cy="4847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00"/>
              </a:spcBef>
            </a:pPr>
            <a:r>
              <a:rPr lang="de-DE" sz="1200" b="1" dirty="0">
                <a:solidFill>
                  <a:srgbClr val="32C8C8"/>
                </a:solidFill>
              </a:rPr>
              <a:t>Wettbewerbssituation</a:t>
            </a:r>
          </a:p>
          <a:p>
            <a:pPr marL="176213" indent="-87313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Geringe Wettbewerbsintensität; Marktanteil der Wettbewerber &lt;5%</a:t>
            </a:r>
          </a:p>
        </p:txBody>
      </p:sp>
      <p:grpSp>
        <p:nvGrpSpPr>
          <p:cNvPr id="152" name="Group 227">
            <a:extLst>
              <a:ext uri="{FF2B5EF4-FFF2-40B4-BE49-F238E27FC236}">
                <a16:creationId xmlns:a16="http://schemas.microsoft.com/office/drawing/2014/main" id="{A8CD6E22-EBD6-456F-82A7-886672006231}"/>
              </a:ext>
            </a:extLst>
          </p:cNvPr>
          <p:cNvGrpSpPr/>
          <p:nvPr/>
        </p:nvGrpSpPr>
        <p:grpSpPr>
          <a:xfrm rot="672005">
            <a:off x="1453333" y="3923362"/>
            <a:ext cx="492743" cy="801841"/>
            <a:chOff x="7689849" y="2601913"/>
            <a:chExt cx="3000375" cy="3944937"/>
          </a:xfrm>
          <a:effectLst>
            <a:outerShdw blurRad="76200" dir="18900000" sy="23000" kx="-1200000" algn="bl" rotWithShape="0">
              <a:prstClr val="black">
                <a:alpha val="17000"/>
              </a:prstClr>
            </a:outerShdw>
          </a:effectLst>
        </p:grpSpPr>
        <p:sp>
          <p:nvSpPr>
            <p:cNvPr id="153" name="Freeform 14">
              <a:extLst>
                <a:ext uri="{FF2B5EF4-FFF2-40B4-BE49-F238E27FC236}">
                  <a16:creationId xmlns:a16="http://schemas.microsoft.com/office/drawing/2014/main" id="{A3FDFA43-91E5-4932-B888-3BFDA51652E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3662" y="3327400"/>
              <a:ext cx="723900" cy="2241550"/>
            </a:xfrm>
            <a:custGeom>
              <a:avLst/>
              <a:gdLst/>
              <a:ahLst/>
              <a:cxnLst>
                <a:cxn ang="0">
                  <a:pos x="48" y="0"/>
                </a:cxn>
                <a:cxn ang="0">
                  <a:pos x="456" y="1397"/>
                </a:cxn>
                <a:cxn ang="0">
                  <a:pos x="407" y="1412"/>
                </a:cxn>
                <a:cxn ang="0">
                  <a:pos x="0" y="15"/>
                </a:cxn>
                <a:cxn ang="0">
                  <a:pos x="48" y="0"/>
                </a:cxn>
              </a:cxnLst>
              <a:rect l="0" t="0" r="r" b="b"/>
              <a:pathLst>
                <a:path w="456" h="1412">
                  <a:moveTo>
                    <a:pt x="48" y="0"/>
                  </a:moveTo>
                  <a:lnTo>
                    <a:pt x="456" y="1397"/>
                  </a:lnTo>
                  <a:lnTo>
                    <a:pt x="407" y="1412"/>
                  </a:lnTo>
                  <a:lnTo>
                    <a:pt x="0" y="15"/>
                  </a:lnTo>
                  <a:lnTo>
                    <a:pt x="48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85000"/>
                    <a:shade val="30000"/>
                    <a:satMod val="115000"/>
                  </a:schemeClr>
                </a:gs>
                <a:gs pos="50000">
                  <a:schemeClr val="bg1">
                    <a:lumMod val="85000"/>
                    <a:shade val="67500"/>
                    <a:satMod val="115000"/>
                  </a:schemeClr>
                </a:gs>
                <a:gs pos="100000">
                  <a:schemeClr val="bg1">
                    <a:lumMod val="85000"/>
                    <a:shade val="100000"/>
                    <a:satMod val="115000"/>
                  </a:schemeClr>
                </a:gs>
              </a:gsLst>
              <a:lin ang="0" scaled="1"/>
              <a:tileRect/>
            </a:gra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5">
              <a:extLst>
                <a:ext uri="{FF2B5EF4-FFF2-40B4-BE49-F238E27FC236}">
                  <a16:creationId xmlns:a16="http://schemas.microsoft.com/office/drawing/2014/main" id="{B4EFB20B-B4D0-465D-9ED7-D16A61E8D219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2149" y="5530850"/>
              <a:ext cx="455613" cy="1016000"/>
            </a:xfrm>
            <a:custGeom>
              <a:avLst/>
              <a:gdLst/>
              <a:ahLst/>
              <a:cxnLst>
                <a:cxn ang="0">
                  <a:pos x="110" y="0"/>
                </a:cxn>
                <a:cxn ang="0">
                  <a:pos x="287" y="609"/>
                </a:cxn>
                <a:cxn ang="0">
                  <a:pos x="177" y="640"/>
                </a:cxn>
                <a:cxn ang="0">
                  <a:pos x="0" y="31"/>
                </a:cxn>
                <a:cxn ang="0">
                  <a:pos x="110" y="0"/>
                </a:cxn>
              </a:cxnLst>
              <a:rect l="0" t="0" r="r" b="b"/>
              <a:pathLst>
                <a:path w="287" h="640">
                  <a:moveTo>
                    <a:pt x="110" y="0"/>
                  </a:moveTo>
                  <a:lnTo>
                    <a:pt x="287" y="609"/>
                  </a:lnTo>
                  <a:lnTo>
                    <a:pt x="177" y="640"/>
                  </a:lnTo>
                  <a:lnTo>
                    <a:pt x="0" y="31"/>
                  </a:lnTo>
                  <a:lnTo>
                    <a:pt x="11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1">
                    <a:lumMod val="65000"/>
                    <a:lumOff val="35000"/>
                    <a:shade val="30000"/>
                    <a:satMod val="115000"/>
                  </a:schemeClr>
                </a:gs>
                <a:gs pos="50000">
                  <a:schemeClr val="tx1">
                    <a:lumMod val="65000"/>
                    <a:lumOff val="35000"/>
                    <a:shade val="67500"/>
                    <a:satMod val="115000"/>
                  </a:schemeClr>
                </a:gs>
                <a:gs pos="100000">
                  <a:schemeClr val="tx1">
                    <a:lumMod val="65000"/>
                    <a:lumOff val="35000"/>
                    <a:shade val="100000"/>
                    <a:satMod val="115000"/>
                  </a:schemeClr>
                </a:gs>
              </a:gsLst>
              <a:lin ang="0" scaled="1"/>
              <a:tileRect/>
            </a:gra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3">
              <a:extLst>
                <a:ext uri="{FF2B5EF4-FFF2-40B4-BE49-F238E27FC236}">
                  <a16:creationId xmlns:a16="http://schemas.microsoft.com/office/drawing/2014/main" id="{A101EA9A-3FCD-4803-B994-B868D825250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9849" y="2601913"/>
              <a:ext cx="3000375" cy="2309814"/>
            </a:xfrm>
            <a:custGeom>
              <a:avLst/>
              <a:gdLst/>
              <a:ahLst/>
              <a:cxnLst>
                <a:cxn ang="0">
                  <a:pos x="1423" y="0"/>
                </a:cxn>
                <a:cxn ang="0">
                  <a:pos x="1427" y="16"/>
                </a:cxn>
                <a:cxn ang="0">
                  <a:pos x="1440" y="58"/>
                </a:cxn>
                <a:cxn ang="0">
                  <a:pos x="1464" y="122"/>
                </a:cxn>
                <a:cxn ang="0">
                  <a:pos x="1501" y="203"/>
                </a:cxn>
                <a:cxn ang="0">
                  <a:pos x="1550" y="298"/>
                </a:cxn>
                <a:cxn ang="0">
                  <a:pos x="1617" y="400"/>
                </a:cxn>
                <a:cxn ang="0">
                  <a:pos x="1671" y="482"/>
                </a:cxn>
                <a:cxn ang="0">
                  <a:pos x="1722" y="570"/>
                </a:cxn>
                <a:cxn ang="0">
                  <a:pos x="1768" y="659"/>
                </a:cxn>
                <a:cxn ang="0">
                  <a:pos x="1809" y="741"/>
                </a:cxn>
                <a:cxn ang="0">
                  <a:pos x="1843" y="815"/>
                </a:cxn>
                <a:cxn ang="0">
                  <a:pos x="1867" y="874"/>
                </a:cxn>
                <a:cxn ang="0">
                  <a:pos x="1885" y="912"/>
                </a:cxn>
                <a:cxn ang="0">
                  <a:pos x="1890" y="926"/>
                </a:cxn>
                <a:cxn ang="0">
                  <a:pos x="1820" y="942"/>
                </a:cxn>
                <a:cxn ang="0">
                  <a:pos x="1740" y="974"/>
                </a:cxn>
                <a:cxn ang="0">
                  <a:pos x="1602" y="1042"/>
                </a:cxn>
                <a:cxn ang="0">
                  <a:pos x="1501" y="1090"/>
                </a:cxn>
                <a:cxn ang="0">
                  <a:pos x="1396" y="1130"/>
                </a:cxn>
                <a:cxn ang="0">
                  <a:pos x="1288" y="1159"/>
                </a:cxn>
                <a:cxn ang="0">
                  <a:pos x="1182" y="1167"/>
                </a:cxn>
                <a:cxn ang="0">
                  <a:pos x="1067" y="1166"/>
                </a:cxn>
                <a:cxn ang="0">
                  <a:pos x="979" y="1171"/>
                </a:cxn>
                <a:cxn ang="0">
                  <a:pos x="915" y="1181"/>
                </a:cxn>
                <a:cxn ang="0">
                  <a:pos x="866" y="1198"/>
                </a:cxn>
                <a:cxn ang="0">
                  <a:pos x="831" y="1219"/>
                </a:cxn>
                <a:cxn ang="0">
                  <a:pos x="776" y="1262"/>
                </a:cxn>
                <a:cxn ang="0">
                  <a:pos x="733" y="1295"/>
                </a:cxn>
                <a:cxn ang="0">
                  <a:pos x="687" y="1324"/>
                </a:cxn>
                <a:cxn ang="0">
                  <a:pos x="624" y="1357"/>
                </a:cxn>
                <a:cxn ang="0">
                  <a:pos x="578" y="1375"/>
                </a:cxn>
                <a:cxn ang="0">
                  <a:pos x="519" y="1393"/>
                </a:cxn>
                <a:cxn ang="0">
                  <a:pos x="455" y="1413"/>
                </a:cxn>
                <a:cxn ang="0">
                  <a:pos x="394" y="1429"/>
                </a:cxn>
                <a:cxn ang="0">
                  <a:pos x="340" y="1443"/>
                </a:cxn>
                <a:cxn ang="0">
                  <a:pos x="293" y="1454"/>
                </a:cxn>
                <a:cxn ang="0">
                  <a:pos x="0" y="435"/>
                </a:cxn>
                <a:cxn ang="0">
                  <a:pos x="16" y="432"/>
                </a:cxn>
                <a:cxn ang="0">
                  <a:pos x="55" y="425"/>
                </a:cxn>
                <a:cxn ang="0">
                  <a:pos x="107" y="410"/>
                </a:cxn>
                <a:cxn ang="0">
                  <a:pos x="160" y="391"/>
                </a:cxn>
                <a:cxn ang="0">
                  <a:pos x="204" y="362"/>
                </a:cxn>
                <a:cxn ang="0">
                  <a:pos x="249" y="324"/>
                </a:cxn>
                <a:cxn ang="0">
                  <a:pos x="304" y="292"/>
                </a:cxn>
                <a:cxn ang="0">
                  <a:pos x="373" y="273"/>
                </a:cxn>
                <a:cxn ang="0">
                  <a:pos x="460" y="267"/>
                </a:cxn>
                <a:cxn ang="0">
                  <a:pos x="560" y="266"/>
                </a:cxn>
                <a:cxn ang="0">
                  <a:pos x="645" y="258"/>
                </a:cxn>
                <a:cxn ang="0">
                  <a:pos x="722" y="247"/>
                </a:cxn>
                <a:cxn ang="0">
                  <a:pos x="791" y="235"/>
                </a:cxn>
                <a:cxn ang="0">
                  <a:pos x="857" y="206"/>
                </a:cxn>
                <a:cxn ang="0">
                  <a:pos x="935" y="165"/>
                </a:cxn>
                <a:cxn ang="0">
                  <a:pos x="1017" y="118"/>
                </a:cxn>
                <a:cxn ang="0">
                  <a:pos x="1104" y="72"/>
                </a:cxn>
                <a:cxn ang="0">
                  <a:pos x="1195" y="37"/>
                </a:cxn>
                <a:cxn ang="0">
                  <a:pos x="1284" y="15"/>
                </a:cxn>
                <a:cxn ang="0">
                  <a:pos x="1357" y="4"/>
                </a:cxn>
                <a:cxn ang="0">
                  <a:pos x="1405" y="0"/>
                </a:cxn>
              </a:cxnLst>
              <a:rect l="0" t="0" r="r" b="b"/>
              <a:pathLst>
                <a:path w="1890" h="1455">
                  <a:moveTo>
                    <a:pt x="1405" y="0"/>
                  </a:moveTo>
                  <a:lnTo>
                    <a:pt x="1423" y="0"/>
                  </a:lnTo>
                  <a:lnTo>
                    <a:pt x="1425" y="4"/>
                  </a:lnTo>
                  <a:lnTo>
                    <a:pt x="1427" y="16"/>
                  </a:lnTo>
                  <a:lnTo>
                    <a:pt x="1432" y="33"/>
                  </a:lnTo>
                  <a:lnTo>
                    <a:pt x="1440" y="58"/>
                  </a:lnTo>
                  <a:lnTo>
                    <a:pt x="1451" y="87"/>
                  </a:lnTo>
                  <a:lnTo>
                    <a:pt x="1464" y="122"/>
                  </a:lnTo>
                  <a:lnTo>
                    <a:pt x="1481" y="161"/>
                  </a:lnTo>
                  <a:lnTo>
                    <a:pt x="1501" y="203"/>
                  </a:lnTo>
                  <a:lnTo>
                    <a:pt x="1524" y="249"/>
                  </a:lnTo>
                  <a:lnTo>
                    <a:pt x="1550" y="298"/>
                  </a:lnTo>
                  <a:lnTo>
                    <a:pt x="1582" y="349"/>
                  </a:lnTo>
                  <a:lnTo>
                    <a:pt x="1617" y="400"/>
                  </a:lnTo>
                  <a:lnTo>
                    <a:pt x="1645" y="440"/>
                  </a:lnTo>
                  <a:lnTo>
                    <a:pt x="1671" y="482"/>
                  </a:lnTo>
                  <a:lnTo>
                    <a:pt x="1697" y="527"/>
                  </a:lnTo>
                  <a:lnTo>
                    <a:pt x="1722" y="570"/>
                  </a:lnTo>
                  <a:lnTo>
                    <a:pt x="1746" y="614"/>
                  </a:lnTo>
                  <a:lnTo>
                    <a:pt x="1768" y="659"/>
                  </a:lnTo>
                  <a:lnTo>
                    <a:pt x="1790" y="701"/>
                  </a:lnTo>
                  <a:lnTo>
                    <a:pt x="1809" y="741"/>
                  </a:lnTo>
                  <a:lnTo>
                    <a:pt x="1827" y="779"/>
                  </a:lnTo>
                  <a:lnTo>
                    <a:pt x="1843" y="815"/>
                  </a:lnTo>
                  <a:lnTo>
                    <a:pt x="1857" y="846"/>
                  </a:lnTo>
                  <a:lnTo>
                    <a:pt x="1867" y="874"/>
                  </a:lnTo>
                  <a:lnTo>
                    <a:pt x="1877" y="896"/>
                  </a:lnTo>
                  <a:lnTo>
                    <a:pt x="1885" y="912"/>
                  </a:lnTo>
                  <a:lnTo>
                    <a:pt x="1888" y="922"/>
                  </a:lnTo>
                  <a:lnTo>
                    <a:pt x="1890" y="926"/>
                  </a:lnTo>
                  <a:lnTo>
                    <a:pt x="1857" y="931"/>
                  </a:lnTo>
                  <a:lnTo>
                    <a:pt x="1820" y="942"/>
                  </a:lnTo>
                  <a:lnTo>
                    <a:pt x="1781" y="956"/>
                  </a:lnTo>
                  <a:lnTo>
                    <a:pt x="1740" y="974"/>
                  </a:lnTo>
                  <a:lnTo>
                    <a:pt x="1696" y="995"/>
                  </a:lnTo>
                  <a:lnTo>
                    <a:pt x="1602" y="1042"/>
                  </a:lnTo>
                  <a:lnTo>
                    <a:pt x="1552" y="1066"/>
                  </a:lnTo>
                  <a:lnTo>
                    <a:pt x="1501" y="1090"/>
                  </a:lnTo>
                  <a:lnTo>
                    <a:pt x="1448" y="1111"/>
                  </a:lnTo>
                  <a:lnTo>
                    <a:pt x="1396" y="1130"/>
                  </a:lnTo>
                  <a:lnTo>
                    <a:pt x="1342" y="1146"/>
                  </a:lnTo>
                  <a:lnTo>
                    <a:pt x="1288" y="1159"/>
                  </a:lnTo>
                  <a:lnTo>
                    <a:pt x="1235" y="1166"/>
                  </a:lnTo>
                  <a:lnTo>
                    <a:pt x="1182" y="1167"/>
                  </a:lnTo>
                  <a:lnTo>
                    <a:pt x="1121" y="1166"/>
                  </a:lnTo>
                  <a:lnTo>
                    <a:pt x="1067" y="1166"/>
                  </a:lnTo>
                  <a:lnTo>
                    <a:pt x="1020" y="1167"/>
                  </a:lnTo>
                  <a:lnTo>
                    <a:pt x="979" y="1171"/>
                  </a:lnTo>
                  <a:lnTo>
                    <a:pt x="945" y="1176"/>
                  </a:lnTo>
                  <a:lnTo>
                    <a:pt x="915" y="1181"/>
                  </a:lnTo>
                  <a:lnTo>
                    <a:pt x="889" y="1189"/>
                  </a:lnTo>
                  <a:lnTo>
                    <a:pt x="866" y="1198"/>
                  </a:lnTo>
                  <a:lnTo>
                    <a:pt x="848" y="1207"/>
                  </a:lnTo>
                  <a:lnTo>
                    <a:pt x="831" y="1219"/>
                  </a:lnTo>
                  <a:lnTo>
                    <a:pt x="800" y="1243"/>
                  </a:lnTo>
                  <a:lnTo>
                    <a:pt x="776" y="1262"/>
                  </a:lnTo>
                  <a:lnTo>
                    <a:pt x="754" y="1279"/>
                  </a:lnTo>
                  <a:lnTo>
                    <a:pt x="733" y="1295"/>
                  </a:lnTo>
                  <a:lnTo>
                    <a:pt x="712" y="1310"/>
                  </a:lnTo>
                  <a:lnTo>
                    <a:pt x="687" y="1324"/>
                  </a:lnTo>
                  <a:lnTo>
                    <a:pt x="658" y="1340"/>
                  </a:lnTo>
                  <a:lnTo>
                    <a:pt x="624" y="1357"/>
                  </a:lnTo>
                  <a:lnTo>
                    <a:pt x="603" y="1366"/>
                  </a:lnTo>
                  <a:lnTo>
                    <a:pt x="578" y="1375"/>
                  </a:lnTo>
                  <a:lnTo>
                    <a:pt x="549" y="1384"/>
                  </a:lnTo>
                  <a:lnTo>
                    <a:pt x="519" y="1393"/>
                  </a:lnTo>
                  <a:lnTo>
                    <a:pt x="488" y="1404"/>
                  </a:lnTo>
                  <a:lnTo>
                    <a:pt x="455" y="1413"/>
                  </a:lnTo>
                  <a:lnTo>
                    <a:pt x="424" y="1421"/>
                  </a:lnTo>
                  <a:lnTo>
                    <a:pt x="394" y="1429"/>
                  </a:lnTo>
                  <a:lnTo>
                    <a:pt x="365" y="1437"/>
                  </a:lnTo>
                  <a:lnTo>
                    <a:pt x="340" y="1443"/>
                  </a:lnTo>
                  <a:lnTo>
                    <a:pt x="319" y="1447"/>
                  </a:lnTo>
                  <a:lnTo>
                    <a:pt x="293" y="1454"/>
                  </a:lnTo>
                  <a:lnTo>
                    <a:pt x="289" y="1455"/>
                  </a:lnTo>
                  <a:lnTo>
                    <a:pt x="0" y="435"/>
                  </a:lnTo>
                  <a:lnTo>
                    <a:pt x="4" y="435"/>
                  </a:lnTo>
                  <a:lnTo>
                    <a:pt x="16" y="432"/>
                  </a:lnTo>
                  <a:lnTo>
                    <a:pt x="33" y="430"/>
                  </a:lnTo>
                  <a:lnTo>
                    <a:pt x="55" y="425"/>
                  </a:lnTo>
                  <a:lnTo>
                    <a:pt x="80" y="418"/>
                  </a:lnTo>
                  <a:lnTo>
                    <a:pt x="107" y="410"/>
                  </a:lnTo>
                  <a:lnTo>
                    <a:pt x="134" y="401"/>
                  </a:lnTo>
                  <a:lnTo>
                    <a:pt x="160" y="391"/>
                  </a:lnTo>
                  <a:lnTo>
                    <a:pt x="184" y="377"/>
                  </a:lnTo>
                  <a:lnTo>
                    <a:pt x="204" y="362"/>
                  </a:lnTo>
                  <a:lnTo>
                    <a:pt x="226" y="342"/>
                  </a:lnTo>
                  <a:lnTo>
                    <a:pt x="249" y="324"/>
                  </a:lnTo>
                  <a:lnTo>
                    <a:pt x="276" y="307"/>
                  </a:lnTo>
                  <a:lnTo>
                    <a:pt x="304" y="292"/>
                  </a:lnTo>
                  <a:lnTo>
                    <a:pt x="336" y="282"/>
                  </a:lnTo>
                  <a:lnTo>
                    <a:pt x="373" y="273"/>
                  </a:lnTo>
                  <a:lnTo>
                    <a:pt x="414" y="269"/>
                  </a:lnTo>
                  <a:lnTo>
                    <a:pt x="460" y="267"/>
                  </a:lnTo>
                  <a:lnTo>
                    <a:pt x="513" y="267"/>
                  </a:lnTo>
                  <a:lnTo>
                    <a:pt x="560" y="266"/>
                  </a:lnTo>
                  <a:lnTo>
                    <a:pt x="604" y="262"/>
                  </a:lnTo>
                  <a:lnTo>
                    <a:pt x="645" y="258"/>
                  </a:lnTo>
                  <a:lnTo>
                    <a:pt x="684" y="253"/>
                  </a:lnTo>
                  <a:lnTo>
                    <a:pt x="722" y="247"/>
                  </a:lnTo>
                  <a:lnTo>
                    <a:pt x="762" y="241"/>
                  </a:lnTo>
                  <a:lnTo>
                    <a:pt x="791" y="235"/>
                  </a:lnTo>
                  <a:lnTo>
                    <a:pt x="823" y="223"/>
                  </a:lnTo>
                  <a:lnTo>
                    <a:pt x="857" y="206"/>
                  </a:lnTo>
                  <a:lnTo>
                    <a:pt x="895" y="186"/>
                  </a:lnTo>
                  <a:lnTo>
                    <a:pt x="935" y="165"/>
                  </a:lnTo>
                  <a:lnTo>
                    <a:pt x="975" y="142"/>
                  </a:lnTo>
                  <a:lnTo>
                    <a:pt x="1017" y="118"/>
                  </a:lnTo>
                  <a:lnTo>
                    <a:pt x="1060" y="95"/>
                  </a:lnTo>
                  <a:lnTo>
                    <a:pt x="1104" y="72"/>
                  </a:lnTo>
                  <a:lnTo>
                    <a:pt x="1148" y="54"/>
                  </a:lnTo>
                  <a:lnTo>
                    <a:pt x="1195" y="37"/>
                  </a:lnTo>
                  <a:lnTo>
                    <a:pt x="1241" y="24"/>
                  </a:lnTo>
                  <a:lnTo>
                    <a:pt x="1284" y="15"/>
                  </a:lnTo>
                  <a:lnTo>
                    <a:pt x="1322" y="8"/>
                  </a:lnTo>
                  <a:lnTo>
                    <a:pt x="1357" y="4"/>
                  </a:lnTo>
                  <a:lnTo>
                    <a:pt x="1384" y="2"/>
                  </a:lnTo>
                  <a:lnTo>
                    <a:pt x="1405" y="0"/>
                  </a:lnTo>
                  <a:close/>
                </a:path>
              </a:pathLst>
            </a:custGeom>
            <a:blipFill dpi="0" rotWithShape="1"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56" name="Group 227">
            <a:extLst>
              <a:ext uri="{FF2B5EF4-FFF2-40B4-BE49-F238E27FC236}">
                <a16:creationId xmlns:a16="http://schemas.microsoft.com/office/drawing/2014/main" id="{BC513D9F-6435-43E6-AF43-69D2F4E1AA8D}"/>
              </a:ext>
            </a:extLst>
          </p:cNvPr>
          <p:cNvGrpSpPr/>
          <p:nvPr/>
        </p:nvGrpSpPr>
        <p:grpSpPr>
          <a:xfrm>
            <a:off x="1189322" y="4552643"/>
            <a:ext cx="421997" cy="693431"/>
            <a:chOff x="7689849" y="2601913"/>
            <a:chExt cx="3000375" cy="3944937"/>
          </a:xfrm>
          <a:effectLst>
            <a:outerShdw blurRad="76200" dir="18900000" sy="23000" kx="-1200000" algn="bl" rotWithShape="0">
              <a:prstClr val="black">
                <a:alpha val="17000"/>
              </a:prstClr>
            </a:outerShdw>
          </a:effectLst>
        </p:grpSpPr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E5046AFC-ABA6-40C2-B928-BF96E20F505F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3662" y="3327400"/>
              <a:ext cx="723900" cy="2241550"/>
            </a:xfrm>
            <a:custGeom>
              <a:avLst/>
              <a:gdLst/>
              <a:ahLst/>
              <a:cxnLst>
                <a:cxn ang="0">
                  <a:pos x="48" y="0"/>
                </a:cxn>
                <a:cxn ang="0">
                  <a:pos x="456" y="1397"/>
                </a:cxn>
                <a:cxn ang="0">
                  <a:pos x="407" y="1412"/>
                </a:cxn>
                <a:cxn ang="0">
                  <a:pos x="0" y="15"/>
                </a:cxn>
                <a:cxn ang="0">
                  <a:pos x="48" y="0"/>
                </a:cxn>
              </a:cxnLst>
              <a:rect l="0" t="0" r="r" b="b"/>
              <a:pathLst>
                <a:path w="456" h="1412">
                  <a:moveTo>
                    <a:pt x="48" y="0"/>
                  </a:moveTo>
                  <a:lnTo>
                    <a:pt x="456" y="1397"/>
                  </a:lnTo>
                  <a:lnTo>
                    <a:pt x="407" y="1412"/>
                  </a:lnTo>
                  <a:lnTo>
                    <a:pt x="0" y="15"/>
                  </a:lnTo>
                  <a:lnTo>
                    <a:pt x="48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85000"/>
                    <a:shade val="30000"/>
                    <a:satMod val="115000"/>
                  </a:schemeClr>
                </a:gs>
                <a:gs pos="50000">
                  <a:schemeClr val="bg1">
                    <a:lumMod val="85000"/>
                    <a:shade val="67500"/>
                    <a:satMod val="115000"/>
                  </a:schemeClr>
                </a:gs>
                <a:gs pos="100000">
                  <a:schemeClr val="bg1">
                    <a:lumMod val="85000"/>
                    <a:shade val="100000"/>
                    <a:satMod val="115000"/>
                  </a:schemeClr>
                </a:gs>
              </a:gsLst>
              <a:lin ang="0" scaled="1"/>
              <a:tileRect/>
            </a:gra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EE032E31-E32C-4156-B286-D3EC37575A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2149" y="5530850"/>
              <a:ext cx="455613" cy="1016000"/>
            </a:xfrm>
            <a:custGeom>
              <a:avLst/>
              <a:gdLst/>
              <a:ahLst/>
              <a:cxnLst>
                <a:cxn ang="0">
                  <a:pos x="110" y="0"/>
                </a:cxn>
                <a:cxn ang="0">
                  <a:pos x="287" y="609"/>
                </a:cxn>
                <a:cxn ang="0">
                  <a:pos x="177" y="640"/>
                </a:cxn>
                <a:cxn ang="0">
                  <a:pos x="0" y="31"/>
                </a:cxn>
                <a:cxn ang="0">
                  <a:pos x="110" y="0"/>
                </a:cxn>
              </a:cxnLst>
              <a:rect l="0" t="0" r="r" b="b"/>
              <a:pathLst>
                <a:path w="287" h="640">
                  <a:moveTo>
                    <a:pt x="110" y="0"/>
                  </a:moveTo>
                  <a:lnTo>
                    <a:pt x="287" y="609"/>
                  </a:lnTo>
                  <a:lnTo>
                    <a:pt x="177" y="640"/>
                  </a:lnTo>
                  <a:lnTo>
                    <a:pt x="0" y="31"/>
                  </a:lnTo>
                  <a:lnTo>
                    <a:pt x="11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1">
                    <a:lumMod val="65000"/>
                    <a:lumOff val="35000"/>
                    <a:shade val="30000"/>
                    <a:satMod val="115000"/>
                  </a:schemeClr>
                </a:gs>
                <a:gs pos="50000">
                  <a:schemeClr val="tx1">
                    <a:lumMod val="65000"/>
                    <a:lumOff val="35000"/>
                    <a:shade val="67500"/>
                    <a:satMod val="115000"/>
                  </a:schemeClr>
                </a:gs>
                <a:gs pos="100000">
                  <a:schemeClr val="tx1">
                    <a:lumMod val="65000"/>
                    <a:lumOff val="35000"/>
                    <a:shade val="100000"/>
                    <a:satMod val="115000"/>
                  </a:schemeClr>
                </a:gs>
              </a:gsLst>
              <a:lin ang="0" scaled="1"/>
              <a:tileRect/>
            </a:gra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3">
              <a:extLst>
                <a:ext uri="{FF2B5EF4-FFF2-40B4-BE49-F238E27FC236}">
                  <a16:creationId xmlns:a16="http://schemas.microsoft.com/office/drawing/2014/main" id="{2EC46501-F801-4534-BCCA-44894E13A31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9849" y="2601913"/>
              <a:ext cx="3000375" cy="2309813"/>
            </a:xfrm>
            <a:custGeom>
              <a:avLst/>
              <a:gdLst/>
              <a:ahLst/>
              <a:cxnLst>
                <a:cxn ang="0">
                  <a:pos x="1423" y="0"/>
                </a:cxn>
                <a:cxn ang="0">
                  <a:pos x="1427" y="16"/>
                </a:cxn>
                <a:cxn ang="0">
                  <a:pos x="1440" y="58"/>
                </a:cxn>
                <a:cxn ang="0">
                  <a:pos x="1464" y="122"/>
                </a:cxn>
                <a:cxn ang="0">
                  <a:pos x="1501" y="203"/>
                </a:cxn>
                <a:cxn ang="0">
                  <a:pos x="1550" y="298"/>
                </a:cxn>
                <a:cxn ang="0">
                  <a:pos x="1617" y="400"/>
                </a:cxn>
                <a:cxn ang="0">
                  <a:pos x="1671" y="482"/>
                </a:cxn>
                <a:cxn ang="0">
                  <a:pos x="1722" y="570"/>
                </a:cxn>
                <a:cxn ang="0">
                  <a:pos x="1768" y="659"/>
                </a:cxn>
                <a:cxn ang="0">
                  <a:pos x="1809" y="741"/>
                </a:cxn>
                <a:cxn ang="0">
                  <a:pos x="1843" y="815"/>
                </a:cxn>
                <a:cxn ang="0">
                  <a:pos x="1867" y="874"/>
                </a:cxn>
                <a:cxn ang="0">
                  <a:pos x="1885" y="912"/>
                </a:cxn>
                <a:cxn ang="0">
                  <a:pos x="1890" y="926"/>
                </a:cxn>
                <a:cxn ang="0">
                  <a:pos x="1820" y="942"/>
                </a:cxn>
                <a:cxn ang="0">
                  <a:pos x="1740" y="974"/>
                </a:cxn>
                <a:cxn ang="0">
                  <a:pos x="1602" y="1042"/>
                </a:cxn>
                <a:cxn ang="0">
                  <a:pos x="1501" y="1090"/>
                </a:cxn>
                <a:cxn ang="0">
                  <a:pos x="1396" y="1130"/>
                </a:cxn>
                <a:cxn ang="0">
                  <a:pos x="1288" y="1159"/>
                </a:cxn>
                <a:cxn ang="0">
                  <a:pos x="1182" y="1167"/>
                </a:cxn>
                <a:cxn ang="0">
                  <a:pos x="1067" y="1166"/>
                </a:cxn>
                <a:cxn ang="0">
                  <a:pos x="979" y="1171"/>
                </a:cxn>
                <a:cxn ang="0">
                  <a:pos x="915" y="1181"/>
                </a:cxn>
                <a:cxn ang="0">
                  <a:pos x="866" y="1198"/>
                </a:cxn>
                <a:cxn ang="0">
                  <a:pos x="831" y="1219"/>
                </a:cxn>
                <a:cxn ang="0">
                  <a:pos x="776" y="1262"/>
                </a:cxn>
                <a:cxn ang="0">
                  <a:pos x="733" y="1295"/>
                </a:cxn>
                <a:cxn ang="0">
                  <a:pos x="687" y="1324"/>
                </a:cxn>
                <a:cxn ang="0">
                  <a:pos x="624" y="1357"/>
                </a:cxn>
                <a:cxn ang="0">
                  <a:pos x="578" y="1375"/>
                </a:cxn>
                <a:cxn ang="0">
                  <a:pos x="519" y="1393"/>
                </a:cxn>
                <a:cxn ang="0">
                  <a:pos x="455" y="1413"/>
                </a:cxn>
                <a:cxn ang="0">
                  <a:pos x="394" y="1429"/>
                </a:cxn>
                <a:cxn ang="0">
                  <a:pos x="340" y="1443"/>
                </a:cxn>
                <a:cxn ang="0">
                  <a:pos x="293" y="1454"/>
                </a:cxn>
                <a:cxn ang="0">
                  <a:pos x="0" y="435"/>
                </a:cxn>
                <a:cxn ang="0">
                  <a:pos x="16" y="432"/>
                </a:cxn>
                <a:cxn ang="0">
                  <a:pos x="55" y="425"/>
                </a:cxn>
                <a:cxn ang="0">
                  <a:pos x="107" y="410"/>
                </a:cxn>
                <a:cxn ang="0">
                  <a:pos x="160" y="391"/>
                </a:cxn>
                <a:cxn ang="0">
                  <a:pos x="204" y="362"/>
                </a:cxn>
                <a:cxn ang="0">
                  <a:pos x="249" y="324"/>
                </a:cxn>
                <a:cxn ang="0">
                  <a:pos x="304" y="292"/>
                </a:cxn>
                <a:cxn ang="0">
                  <a:pos x="373" y="273"/>
                </a:cxn>
                <a:cxn ang="0">
                  <a:pos x="460" y="267"/>
                </a:cxn>
                <a:cxn ang="0">
                  <a:pos x="560" y="266"/>
                </a:cxn>
                <a:cxn ang="0">
                  <a:pos x="645" y="258"/>
                </a:cxn>
                <a:cxn ang="0">
                  <a:pos x="722" y="247"/>
                </a:cxn>
                <a:cxn ang="0">
                  <a:pos x="791" y="235"/>
                </a:cxn>
                <a:cxn ang="0">
                  <a:pos x="857" y="206"/>
                </a:cxn>
                <a:cxn ang="0">
                  <a:pos x="935" y="165"/>
                </a:cxn>
                <a:cxn ang="0">
                  <a:pos x="1017" y="118"/>
                </a:cxn>
                <a:cxn ang="0">
                  <a:pos x="1104" y="72"/>
                </a:cxn>
                <a:cxn ang="0">
                  <a:pos x="1195" y="37"/>
                </a:cxn>
                <a:cxn ang="0">
                  <a:pos x="1284" y="15"/>
                </a:cxn>
                <a:cxn ang="0">
                  <a:pos x="1357" y="4"/>
                </a:cxn>
                <a:cxn ang="0">
                  <a:pos x="1405" y="0"/>
                </a:cxn>
              </a:cxnLst>
              <a:rect l="0" t="0" r="r" b="b"/>
              <a:pathLst>
                <a:path w="1890" h="1455">
                  <a:moveTo>
                    <a:pt x="1405" y="0"/>
                  </a:moveTo>
                  <a:lnTo>
                    <a:pt x="1423" y="0"/>
                  </a:lnTo>
                  <a:lnTo>
                    <a:pt x="1425" y="4"/>
                  </a:lnTo>
                  <a:lnTo>
                    <a:pt x="1427" y="16"/>
                  </a:lnTo>
                  <a:lnTo>
                    <a:pt x="1432" y="33"/>
                  </a:lnTo>
                  <a:lnTo>
                    <a:pt x="1440" y="58"/>
                  </a:lnTo>
                  <a:lnTo>
                    <a:pt x="1451" y="87"/>
                  </a:lnTo>
                  <a:lnTo>
                    <a:pt x="1464" y="122"/>
                  </a:lnTo>
                  <a:lnTo>
                    <a:pt x="1481" y="161"/>
                  </a:lnTo>
                  <a:lnTo>
                    <a:pt x="1501" y="203"/>
                  </a:lnTo>
                  <a:lnTo>
                    <a:pt x="1524" y="249"/>
                  </a:lnTo>
                  <a:lnTo>
                    <a:pt x="1550" y="298"/>
                  </a:lnTo>
                  <a:lnTo>
                    <a:pt x="1582" y="349"/>
                  </a:lnTo>
                  <a:lnTo>
                    <a:pt x="1617" y="400"/>
                  </a:lnTo>
                  <a:lnTo>
                    <a:pt x="1645" y="440"/>
                  </a:lnTo>
                  <a:lnTo>
                    <a:pt x="1671" y="482"/>
                  </a:lnTo>
                  <a:lnTo>
                    <a:pt x="1697" y="527"/>
                  </a:lnTo>
                  <a:lnTo>
                    <a:pt x="1722" y="570"/>
                  </a:lnTo>
                  <a:lnTo>
                    <a:pt x="1746" y="614"/>
                  </a:lnTo>
                  <a:lnTo>
                    <a:pt x="1768" y="659"/>
                  </a:lnTo>
                  <a:lnTo>
                    <a:pt x="1790" y="701"/>
                  </a:lnTo>
                  <a:lnTo>
                    <a:pt x="1809" y="741"/>
                  </a:lnTo>
                  <a:lnTo>
                    <a:pt x="1827" y="779"/>
                  </a:lnTo>
                  <a:lnTo>
                    <a:pt x="1843" y="815"/>
                  </a:lnTo>
                  <a:lnTo>
                    <a:pt x="1857" y="846"/>
                  </a:lnTo>
                  <a:lnTo>
                    <a:pt x="1867" y="874"/>
                  </a:lnTo>
                  <a:lnTo>
                    <a:pt x="1877" y="896"/>
                  </a:lnTo>
                  <a:lnTo>
                    <a:pt x="1885" y="912"/>
                  </a:lnTo>
                  <a:lnTo>
                    <a:pt x="1888" y="922"/>
                  </a:lnTo>
                  <a:lnTo>
                    <a:pt x="1890" y="926"/>
                  </a:lnTo>
                  <a:lnTo>
                    <a:pt x="1857" y="931"/>
                  </a:lnTo>
                  <a:lnTo>
                    <a:pt x="1820" y="942"/>
                  </a:lnTo>
                  <a:lnTo>
                    <a:pt x="1781" y="956"/>
                  </a:lnTo>
                  <a:lnTo>
                    <a:pt x="1740" y="974"/>
                  </a:lnTo>
                  <a:lnTo>
                    <a:pt x="1696" y="995"/>
                  </a:lnTo>
                  <a:lnTo>
                    <a:pt x="1602" y="1042"/>
                  </a:lnTo>
                  <a:lnTo>
                    <a:pt x="1552" y="1066"/>
                  </a:lnTo>
                  <a:lnTo>
                    <a:pt x="1501" y="1090"/>
                  </a:lnTo>
                  <a:lnTo>
                    <a:pt x="1448" y="1111"/>
                  </a:lnTo>
                  <a:lnTo>
                    <a:pt x="1396" y="1130"/>
                  </a:lnTo>
                  <a:lnTo>
                    <a:pt x="1342" y="1146"/>
                  </a:lnTo>
                  <a:lnTo>
                    <a:pt x="1288" y="1159"/>
                  </a:lnTo>
                  <a:lnTo>
                    <a:pt x="1235" y="1166"/>
                  </a:lnTo>
                  <a:lnTo>
                    <a:pt x="1182" y="1167"/>
                  </a:lnTo>
                  <a:lnTo>
                    <a:pt x="1121" y="1166"/>
                  </a:lnTo>
                  <a:lnTo>
                    <a:pt x="1067" y="1166"/>
                  </a:lnTo>
                  <a:lnTo>
                    <a:pt x="1020" y="1167"/>
                  </a:lnTo>
                  <a:lnTo>
                    <a:pt x="979" y="1171"/>
                  </a:lnTo>
                  <a:lnTo>
                    <a:pt x="945" y="1176"/>
                  </a:lnTo>
                  <a:lnTo>
                    <a:pt x="915" y="1181"/>
                  </a:lnTo>
                  <a:lnTo>
                    <a:pt x="889" y="1189"/>
                  </a:lnTo>
                  <a:lnTo>
                    <a:pt x="866" y="1198"/>
                  </a:lnTo>
                  <a:lnTo>
                    <a:pt x="848" y="1207"/>
                  </a:lnTo>
                  <a:lnTo>
                    <a:pt x="831" y="1219"/>
                  </a:lnTo>
                  <a:lnTo>
                    <a:pt x="800" y="1243"/>
                  </a:lnTo>
                  <a:lnTo>
                    <a:pt x="776" y="1262"/>
                  </a:lnTo>
                  <a:lnTo>
                    <a:pt x="754" y="1279"/>
                  </a:lnTo>
                  <a:lnTo>
                    <a:pt x="733" y="1295"/>
                  </a:lnTo>
                  <a:lnTo>
                    <a:pt x="712" y="1310"/>
                  </a:lnTo>
                  <a:lnTo>
                    <a:pt x="687" y="1324"/>
                  </a:lnTo>
                  <a:lnTo>
                    <a:pt x="658" y="1340"/>
                  </a:lnTo>
                  <a:lnTo>
                    <a:pt x="624" y="1357"/>
                  </a:lnTo>
                  <a:lnTo>
                    <a:pt x="603" y="1366"/>
                  </a:lnTo>
                  <a:lnTo>
                    <a:pt x="578" y="1375"/>
                  </a:lnTo>
                  <a:lnTo>
                    <a:pt x="549" y="1384"/>
                  </a:lnTo>
                  <a:lnTo>
                    <a:pt x="519" y="1393"/>
                  </a:lnTo>
                  <a:lnTo>
                    <a:pt x="488" y="1404"/>
                  </a:lnTo>
                  <a:lnTo>
                    <a:pt x="455" y="1413"/>
                  </a:lnTo>
                  <a:lnTo>
                    <a:pt x="424" y="1421"/>
                  </a:lnTo>
                  <a:lnTo>
                    <a:pt x="394" y="1429"/>
                  </a:lnTo>
                  <a:lnTo>
                    <a:pt x="365" y="1437"/>
                  </a:lnTo>
                  <a:lnTo>
                    <a:pt x="340" y="1443"/>
                  </a:lnTo>
                  <a:lnTo>
                    <a:pt x="319" y="1447"/>
                  </a:lnTo>
                  <a:lnTo>
                    <a:pt x="293" y="1454"/>
                  </a:lnTo>
                  <a:lnTo>
                    <a:pt x="289" y="1455"/>
                  </a:lnTo>
                  <a:lnTo>
                    <a:pt x="0" y="435"/>
                  </a:lnTo>
                  <a:lnTo>
                    <a:pt x="4" y="435"/>
                  </a:lnTo>
                  <a:lnTo>
                    <a:pt x="16" y="432"/>
                  </a:lnTo>
                  <a:lnTo>
                    <a:pt x="33" y="430"/>
                  </a:lnTo>
                  <a:lnTo>
                    <a:pt x="55" y="425"/>
                  </a:lnTo>
                  <a:lnTo>
                    <a:pt x="80" y="418"/>
                  </a:lnTo>
                  <a:lnTo>
                    <a:pt x="107" y="410"/>
                  </a:lnTo>
                  <a:lnTo>
                    <a:pt x="134" y="401"/>
                  </a:lnTo>
                  <a:lnTo>
                    <a:pt x="160" y="391"/>
                  </a:lnTo>
                  <a:lnTo>
                    <a:pt x="184" y="377"/>
                  </a:lnTo>
                  <a:lnTo>
                    <a:pt x="204" y="362"/>
                  </a:lnTo>
                  <a:lnTo>
                    <a:pt x="226" y="342"/>
                  </a:lnTo>
                  <a:lnTo>
                    <a:pt x="249" y="324"/>
                  </a:lnTo>
                  <a:lnTo>
                    <a:pt x="276" y="307"/>
                  </a:lnTo>
                  <a:lnTo>
                    <a:pt x="304" y="292"/>
                  </a:lnTo>
                  <a:lnTo>
                    <a:pt x="336" y="282"/>
                  </a:lnTo>
                  <a:lnTo>
                    <a:pt x="373" y="273"/>
                  </a:lnTo>
                  <a:lnTo>
                    <a:pt x="414" y="269"/>
                  </a:lnTo>
                  <a:lnTo>
                    <a:pt x="460" y="267"/>
                  </a:lnTo>
                  <a:lnTo>
                    <a:pt x="513" y="267"/>
                  </a:lnTo>
                  <a:lnTo>
                    <a:pt x="560" y="266"/>
                  </a:lnTo>
                  <a:lnTo>
                    <a:pt x="604" y="262"/>
                  </a:lnTo>
                  <a:lnTo>
                    <a:pt x="645" y="258"/>
                  </a:lnTo>
                  <a:lnTo>
                    <a:pt x="684" y="253"/>
                  </a:lnTo>
                  <a:lnTo>
                    <a:pt x="722" y="247"/>
                  </a:lnTo>
                  <a:lnTo>
                    <a:pt x="762" y="241"/>
                  </a:lnTo>
                  <a:lnTo>
                    <a:pt x="791" y="235"/>
                  </a:lnTo>
                  <a:lnTo>
                    <a:pt x="823" y="223"/>
                  </a:lnTo>
                  <a:lnTo>
                    <a:pt x="857" y="206"/>
                  </a:lnTo>
                  <a:lnTo>
                    <a:pt x="895" y="186"/>
                  </a:lnTo>
                  <a:lnTo>
                    <a:pt x="935" y="165"/>
                  </a:lnTo>
                  <a:lnTo>
                    <a:pt x="975" y="142"/>
                  </a:lnTo>
                  <a:lnTo>
                    <a:pt x="1017" y="118"/>
                  </a:lnTo>
                  <a:lnTo>
                    <a:pt x="1060" y="95"/>
                  </a:lnTo>
                  <a:lnTo>
                    <a:pt x="1104" y="72"/>
                  </a:lnTo>
                  <a:lnTo>
                    <a:pt x="1148" y="54"/>
                  </a:lnTo>
                  <a:lnTo>
                    <a:pt x="1195" y="37"/>
                  </a:lnTo>
                  <a:lnTo>
                    <a:pt x="1241" y="24"/>
                  </a:lnTo>
                  <a:lnTo>
                    <a:pt x="1284" y="15"/>
                  </a:lnTo>
                  <a:lnTo>
                    <a:pt x="1322" y="8"/>
                  </a:lnTo>
                  <a:lnTo>
                    <a:pt x="1357" y="4"/>
                  </a:lnTo>
                  <a:lnTo>
                    <a:pt x="1384" y="2"/>
                  </a:lnTo>
                  <a:lnTo>
                    <a:pt x="1405" y="0"/>
                  </a:lnTo>
                  <a:close/>
                </a:path>
              </a:pathLst>
            </a:custGeom>
            <a:blipFill dpi="0" rotWithShape="1">
              <a:blip r:embed="rId4"/>
              <a:srcRect/>
              <a:stretch>
                <a:fillRect/>
              </a:stretch>
            </a:blip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60" name="Textfeld 159">
            <a:extLst>
              <a:ext uri="{FF2B5EF4-FFF2-40B4-BE49-F238E27FC236}">
                <a16:creationId xmlns:a16="http://schemas.microsoft.com/office/drawing/2014/main" id="{EAD083A4-21CB-49A5-BE11-B38C8FEF79D7}"/>
              </a:ext>
            </a:extLst>
          </p:cNvPr>
          <p:cNvSpPr txBox="1"/>
          <p:nvPr/>
        </p:nvSpPr>
        <p:spPr>
          <a:xfrm>
            <a:off x="5329679" y="3265862"/>
            <a:ext cx="6255793" cy="10695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00"/>
              </a:spcBef>
            </a:pPr>
            <a:r>
              <a:rPr lang="de-DE" sz="1200" b="1" dirty="0">
                <a:solidFill>
                  <a:srgbClr val="32C8C8"/>
                </a:solidFill>
              </a:rPr>
              <a:t>Preisregulierung</a:t>
            </a:r>
            <a:endParaRPr lang="de-DE" sz="1400" b="1" dirty="0">
              <a:solidFill>
                <a:srgbClr val="32C8C8"/>
              </a:solidFill>
            </a:endParaRPr>
          </a:p>
          <a:p>
            <a:pPr marL="176213" indent="-87313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Deutliche Lockerung der Preisregulierung in den letzten Jahren </a:t>
            </a:r>
          </a:p>
          <a:p>
            <a:pPr marL="176213" indent="-87313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Anstieg Entgelte für Standardbrief um 140 – 150% auf 1,43€ in Frankreich und 1,89€ in Belgien</a:t>
            </a:r>
          </a:p>
          <a:p>
            <a:pPr marL="176213" indent="-87313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Kompensation Universaldienstleistungserbringung durch jährliche staatliche Ausgleichszahlungen in dreistelliger Millionenhöhe, z. B. bis zu 500 Mio.€ in Frankreich </a:t>
            </a:r>
            <a:endParaRPr lang="de-DE" sz="1400" dirty="0">
              <a:solidFill>
                <a:schemeClr val="bg1">
                  <a:lumMod val="50000"/>
                </a:schemeClr>
              </a:solidFill>
              <a:cs typeface="Times New Roman" panose="02020603050405020304" pitchFamily="18" charset="0"/>
            </a:endParaRPr>
          </a:p>
        </p:txBody>
      </p:sp>
      <p:sp>
        <p:nvSpPr>
          <p:cNvPr id="161" name="Textfeld 160">
            <a:extLst>
              <a:ext uri="{FF2B5EF4-FFF2-40B4-BE49-F238E27FC236}">
                <a16:creationId xmlns:a16="http://schemas.microsoft.com/office/drawing/2014/main" id="{42B53D77-1C4E-43CA-A812-CBD4A833D384}"/>
              </a:ext>
            </a:extLst>
          </p:cNvPr>
          <p:cNvSpPr txBox="1"/>
          <p:nvPr/>
        </p:nvSpPr>
        <p:spPr>
          <a:xfrm>
            <a:off x="5324764" y="4428941"/>
            <a:ext cx="6095404" cy="12849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00"/>
              </a:spcBef>
            </a:pPr>
            <a:r>
              <a:rPr lang="de-DE" sz="1200" b="1" dirty="0">
                <a:solidFill>
                  <a:srgbClr val="32C8C8"/>
                </a:solidFill>
              </a:rPr>
              <a:t>Laufzeitvorgaben beim Universaldienst</a:t>
            </a:r>
          </a:p>
          <a:p>
            <a:pPr marL="176213" indent="-87313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Frankreich: Zustellung an sechs Tagen pro Woche, allerdings mit einer Regellaufzeit von E+2</a:t>
            </a:r>
          </a:p>
          <a:p>
            <a:pPr marL="176213" indent="-87313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Belgien: Laufzeitvorgabe von 93% E+1 bei 5 Zustelltagen pro Woche; Laufzeitvorgabe kann durch sehr dichte Besiedelung problemlos erfüllt werden </a:t>
            </a:r>
          </a:p>
          <a:p>
            <a:pPr marL="176213" indent="-87313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bg1">
                  <a:lumMod val="50000"/>
                </a:schemeClr>
              </a:solidFill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5931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746319-778D-4FBC-9CA5-614FACA00834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4175206" y="6325766"/>
            <a:ext cx="4900087" cy="293322"/>
          </a:xfrm>
        </p:spPr>
        <p:txBody>
          <a:bodyPr/>
          <a:lstStyle/>
          <a:p>
            <a:r>
              <a:rPr lang="en-US" dirty="0" err="1"/>
              <a:t>Europäischer</a:t>
            </a:r>
            <a:r>
              <a:rPr lang="en-US" dirty="0"/>
              <a:t> </a:t>
            </a:r>
            <a:r>
              <a:rPr lang="en-US" dirty="0" err="1"/>
              <a:t>Vergleich</a:t>
            </a:r>
            <a:r>
              <a:rPr lang="en-US" dirty="0"/>
              <a:t> der </a:t>
            </a:r>
            <a:r>
              <a:rPr lang="en-US" dirty="0" err="1"/>
              <a:t>Regulierungsintensität</a:t>
            </a:r>
            <a:r>
              <a:rPr lang="en-US" dirty="0"/>
              <a:t> </a:t>
            </a:r>
            <a:r>
              <a:rPr lang="en-US" dirty="0" err="1"/>
              <a:t>im</a:t>
            </a:r>
            <a:r>
              <a:rPr lang="en-US" dirty="0"/>
              <a:t> </a:t>
            </a:r>
            <a:r>
              <a:rPr lang="en-US" dirty="0" err="1"/>
              <a:t>Postsektor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A51AE9-2B16-4F40-B911-5FF43E4529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F70EEBF-E97C-49FF-B05B-3B4D348638DC}" type="slidenum">
              <a:rPr lang="en-US" smtClean="0"/>
              <a:pPr/>
              <a:t>7</a:t>
            </a:fld>
            <a:endParaRPr lang="en-US" dirty="0"/>
          </a:p>
        </p:txBody>
      </p:sp>
      <p:cxnSp>
        <p:nvCxnSpPr>
          <p:cNvPr id="91" name="Straight Connector 145">
            <a:extLst>
              <a:ext uri="{FF2B5EF4-FFF2-40B4-BE49-F238E27FC236}">
                <a16:creationId xmlns:a16="http://schemas.microsoft.com/office/drawing/2014/main" id="{61AA8C87-2648-409D-A1B6-181424C9C201}"/>
              </a:ext>
            </a:extLst>
          </p:cNvPr>
          <p:cNvCxnSpPr>
            <a:cxnSpLocks/>
          </p:cNvCxnSpPr>
          <p:nvPr/>
        </p:nvCxnSpPr>
        <p:spPr>
          <a:xfrm flipH="1">
            <a:off x="5125378" y="1774414"/>
            <a:ext cx="15263" cy="4410076"/>
          </a:xfrm>
          <a:prstGeom prst="line">
            <a:avLst/>
          </a:prstGeom>
          <a:ln w="889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7" name="Group 1">
            <a:extLst>
              <a:ext uri="{FF2B5EF4-FFF2-40B4-BE49-F238E27FC236}">
                <a16:creationId xmlns:a16="http://schemas.microsoft.com/office/drawing/2014/main" id="{DF724E20-F84B-40AA-890B-11CDA80E2947}"/>
              </a:ext>
            </a:extLst>
          </p:cNvPr>
          <p:cNvGrpSpPr/>
          <p:nvPr/>
        </p:nvGrpSpPr>
        <p:grpSpPr>
          <a:xfrm>
            <a:off x="796928" y="690314"/>
            <a:ext cx="5475080" cy="553998"/>
            <a:chOff x="796928" y="836802"/>
            <a:chExt cx="5475080" cy="553998"/>
          </a:xfrm>
        </p:grpSpPr>
        <p:sp>
          <p:nvSpPr>
            <p:cNvPr id="92" name="TextBox 142">
              <a:extLst>
                <a:ext uri="{FF2B5EF4-FFF2-40B4-BE49-F238E27FC236}">
                  <a16:creationId xmlns:a16="http://schemas.microsoft.com/office/drawing/2014/main" id="{6C7E8A18-012B-46B1-9680-98BB430D987C}"/>
                </a:ext>
              </a:extLst>
            </p:cNvPr>
            <p:cNvSpPr txBox="1"/>
            <p:nvPr/>
          </p:nvSpPr>
          <p:spPr>
            <a:xfrm>
              <a:off x="1069295" y="836802"/>
              <a:ext cx="5202713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000" dirty="0" err="1">
                  <a:solidFill>
                    <a:schemeClr val="accent1"/>
                  </a:solidFill>
                  <a:latin typeface="+mj-lt"/>
                </a:rPr>
                <a:t>Niederlande</a:t>
              </a:r>
              <a:endParaRPr lang="en-US" sz="3000" spc="-200" dirty="0">
                <a:solidFill>
                  <a:schemeClr val="accent1"/>
                </a:solidFill>
                <a:latin typeface="+mj-lt"/>
              </a:endParaRPr>
            </a:p>
          </p:txBody>
        </p:sp>
        <p:cxnSp>
          <p:nvCxnSpPr>
            <p:cNvPr id="93" name="Straight Connector 145">
              <a:extLst>
                <a:ext uri="{FF2B5EF4-FFF2-40B4-BE49-F238E27FC236}">
                  <a16:creationId xmlns:a16="http://schemas.microsoft.com/office/drawing/2014/main" id="{D4D4BFBA-6AF9-43D9-B65E-7983B5A4EC19}"/>
                </a:ext>
              </a:extLst>
            </p:cNvPr>
            <p:cNvCxnSpPr>
              <a:cxnSpLocks/>
            </p:cNvCxnSpPr>
            <p:nvPr/>
          </p:nvCxnSpPr>
          <p:spPr>
            <a:xfrm>
              <a:off x="796928" y="858120"/>
              <a:ext cx="0" cy="531091"/>
            </a:xfrm>
            <a:prstGeom prst="line">
              <a:avLst/>
            </a:prstGeom>
            <a:ln w="889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9" name="Textfeld 148">
            <a:extLst>
              <a:ext uri="{FF2B5EF4-FFF2-40B4-BE49-F238E27FC236}">
                <a16:creationId xmlns:a16="http://schemas.microsoft.com/office/drawing/2014/main" id="{4F2E1C45-CDF7-4B4F-AE0C-3C99E9708FC0}"/>
              </a:ext>
            </a:extLst>
          </p:cNvPr>
          <p:cNvSpPr txBox="1"/>
          <p:nvPr/>
        </p:nvSpPr>
        <p:spPr>
          <a:xfrm>
            <a:off x="765137" y="6598338"/>
            <a:ext cx="6264998" cy="14561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lvl1pPr>
              <a:buFont typeface="Arial"/>
              <a:buChar char="•"/>
            </a:lvl1pPr>
            <a:lvl2pPr>
              <a:buFont typeface="Arial"/>
              <a:buChar char="•"/>
            </a:lvl2pPr>
            <a:lvl3pPr>
              <a:buFont typeface="Arial"/>
              <a:buChar char="•"/>
            </a:lvl3pPr>
            <a:lvl4pPr>
              <a:buFont typeface="Arial"/>
              <a:buChar char="•"/>
            </a:lvl4pPr>
            <a:lvl5pPr>
              <a:buFont typeface="Arial"/>
              <a:buChar char="•"/>
            </a:lvl5pPr>
            <a:lvl6pPr>
              <a:buFont typeface="Arial"/>
              <a:buChar char="•"/>
            </a:lvl6pPr>
            <a:lvl7pPr>
              <a:buFont typeface="Arial"/>
              <a:buChar char="•"/>
            </a:lvl7pPr>
            <a:lvl8pPr>
              <a:buFont typeface="Arial"/>
              <a:buChar char="•"/>
            </a:lvl8pPr>
            <a:lvl9pPr>
              <a:buFont typeface="Arial"/>
              <a:buChar char="•"/>
            </a:lvl9pPr>
          </a:lstStyle>
          <a:p>
            <a:pPr algn="l">
              <a:lnSpc>
                <a:spcPct val="110000"/>
              </a:lnSpc>
              <a:spcAft>
                <a:spcPts val="500"/>
              </a:spcAft>
              <a:buNone/>
            </a:pPr>
            <a:r>
              <a:rPr lang="de-DE" sz="900" dirty="0">
                <a:solidFill>
                  <a:srgbClr val="878787"/>
                </a:solidFill>
              </a:rPr>
              <a:t>Quellen: IPC </a:t>
            </a:r>
            <a:r>
              <a:rPr lang="de-DE" sz="900" dirty="0" err="1">
                <a:solidFill>
                  <a:srgbClr val="878787"/>
                </a:solidFill>
              </a:rPr>
              <a:t>Regulatory</a:t>
            </a:r>
            <a:r>
              <a:rPr lang="de-DE" sz="900" dirty="0">
                <a:solidFill>
                  <a:srgbClr val="878787"/>
                </a:solidFill>
              </a:rPr>
              <a:t> Database 2022, Geschäftsberichte, EU-Kommission, Regulierungsbehörden</a:t>
            </a:r>
          </a:p>
        </p:txBody>
      </p:sp>
      <p:sp>
        <p:nvSpPr>
          <p:cNvPr id="150" name="Textfeld 149">
            <a:extLst>
              <a:ext uri="{FF2B5EF4-FFF2-40B4-BE49-F238E27FC236}">
                <a16:creationId xmlns:a16="http://schemas.microsoft.com/office/drawing/2014/main" id="{C17EFF9D-BA7B-40E4-87D9-3F36A2F2CAD2}"/>
              </a:ext>
            </a:extLst>
          </p:cNvPr>
          <p:cNvSpPr txBox="1"/>
          <p:nvPr/>
        </p:nvSpPr>
        <p:spPr>
          <a:xfrm>
            <a:off x="5329680" y="1690252"/>
            <a:ext cx="6095404" cy="4847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00"/>
              </a:spcBef>
            </a:pPr>
            <a:r>
              <a:rPr lang="de-DE" sz="1200" b="1" dirty="0">
                <a:solidFill>
                  <a:srgbClr val="32C8C8"/>
                </a:solidFill>
              </a:rPr>
              <a:t>Briefmengenentwicklung (2012 zu 2021)</a:t>
            </a:r>
          </a:p>
          <a:p>
            <a:pPr marL="176213" indent="-87313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Deutlicher Sendungsmengenrückgang von rund 40%</a:t>
            </a:r>
          </a:p>
        </p:txBody>
      </p:sp>
      <p:sp>
        <p:nvSpPr>
          <p:cNvPr id="72" name="Freeform 6">
            <a:extLst>
              <a:ext uri="{FF2B5EF4-FFF2-40B4-BE49-F238E27FC236}">
                <a16:creationId xmlns:a16="http://schemas.microsoft.com/office/drawing/2014/main" id="{F0005A42-8A60-4BFA-AD08-A053223F4598}"/>
              </a:ext>
            </a:extLst>
          </p:cNvPr>
          <p:cNvSpPr>
            <a:spLocks noEditPoints="1"/>
          </p:cNvSpPr>
          <p:nvPr/>
        </p:nvSpPr>
        <p:spPr bwMode="auto">
          <a:xfrm>
            <a:off x="2585006" y="4485772"/>
            <a:ext cx="1101194" cy="736062"/>
          </a:xfrm>
          <a:custGeom>
            <a:avLst/>
            <a:gdLst/>
            <a:ahLst/>
            <a:cxnLst>
              <a:cxn ang="0">
                <a:pos x="472" y="405"/>
              </a:cxn>
              <a:cxn ang="0">
                <a:pos x="555" y="395"/>
              </a:cxn>
              <a:cxn ang="0">
                <a:pos x="405" y="334"/>
              </a:cxn>
              <a:cxn ang="0">
                <a:pos x="492" y="1"/>
              </a:cxn>
              <a:cxn ang="0">
                <a:pos x="518" y="43"/>
              </a:cxn>
              <a:cxn ang="0">
                <a:pos x="535" y="81"/>
              </a:cxn>
              <a:cxn ang="0">
                <a:pos x="558" y="102"/>
              </a:cxn>
              <a:cxn ang="0">
                <a:pos x="591" y="132"/>
              </a:cxn>
              <a:cxn ang="0">
                <a:pos x="652" y="147"/>
              </a:cxn>
              <a:cxn ang="0">
                <a:pos x="701" y="167"/>
              </a:cxn>
              <a:cxn ang="0">
                <a:pos x="746" y="190"/>
              </a:cxn>
              <a:cxn ang="0">
                <a:pos x="740" y="227"/>
              </a:cxn>
              <a:cxn ang="0">
                <a:pos x="738" y="250"/>
              </a:cxn>
              <a:cxn ang="0">
                <a:pos x="745" y="295"/>
              </a:cxn>
              <a:cxn ang="0">
                <a:pos x="680" y="326"/>
              </a:cxn>
              <a:cxn ang="0">
                <a:pos x="640" y="358"/>
              </a:cxn>
              <a:cxn ang="0">
                <a:pos x="597" y="372"/>
              </a:cxn>
              <a:cxn ang="0">
                <a:pos x="555" y="391"/>
              </a:cxn>
              <a:cxn ang="0">
                <a:pos x="544" y="431"/>
              </a:cxn>
              <a:cxn ang="0">
                <a:pos x="598" y="444"/>
              </a:cxn>
              <a:cxn ang="0">
                <a:pos x="595" y="471"/>
              </a:cxn>
              <a:cxn ang="0">
                <a:pos x="546" y="483"/>
              </a:cxn>
              <a:cxn ang="0">
                <a:pos x="494" y="507"/>
              </a:cxn>
              <a:cxn ang="0">
                <a:pos x="483" y="470"/>
              </a:cxn>
              <a:cxn ang="0">
                <a:pos x="443" y="440"/>
              </a:cxn>
              <a:cxn ang="0">
                <a:pos x="487" y="420"/>
              </a:cxn>
              <a:cxn ang="0">
                <a:pos x="467" y="402"/>
              </a:cxn>
              <a:cxn ang="0">
                <a:pos x="428" y="400"/>
              </a:cxn>
              <a:cxn ang="0">
                <a:pos x="401" y="383"/>
              </a:cxn>
              <a:cxn ang="0">
                <a:pos x="422" y="377"/>
              </a:cxn>
              <a:cxn ang="0">
                <a:pos x="412" y="360"/>
              </a:cxn>
              <a:cxn ang="0">
                <a:pos x="392" y="363"/>
              </a:cxn>
              <a:cxn ang="0">
                <a:pos x="365" y="384"/>
              </a:cxn>
              <a:cxn ang="0">
                <a:pos x="330" y="425"/>
              </a:cxn>
              <a:cxn ang="0">
                <a:pos x="314" y="438"/>
              </a:cxn>
              <a:cxn ang="0">
                <a:pos x="318" y="457"/>
              </a:cxn>
              <a:cxn ang="0">
                <a:pos x="281" y="457"/>
              </a:cxn>
              <a:cxn ang="0">
                <a:pos x="268" y="433"/>
              </a:cxn>
              <a:cxn ang="0">
                <a:pos x="291" y="400"/>
              </a:cxn>
              <a:cxn ang="0">
                <a:pos x="317" y="385"/>
              </a:cxn>
              <a:cxn ang="0">
                <a:pos x="330" y="367"/>
              </a:cxn>
              <a:cxn ang="0">
                <a:pos x="314" y="334"/>
              </a:cxn>
              <a:cxn ang="0">
                <a:pos x="298" y="305"/>
              </a:cxn>
              <a:cxn ang="0">
                <a:pos x="279" y="279"/>
              </a:cxn>
              <a:cxn ang="0">
                <a:pos x="251" y="273"/>
              </a:cxn>
              <a:cxn ang="0">
                <a:pos x="205" y="265"/>
              </a:cxn>
              <a:cxn ang="0">
                <a:pos x="171" y="285"/>
              </a:cxn>
              <a:cxn ang="0">
                <a:pos x="88" y="295"/>
              </a:cxn>
              <a:cxn ang="0">
                <a:pos x="36" y="289"/>
              </a:cxn>
              <a:cxn ang="0">
                <a:pos x="9" y="272"/>
              </a:cxn>
              <a:cxn ang="0">
                <a:pos x="18" y="218"/>
              </a:cxn>
              <a:cxn ang="0">
                <a:pos x="32" y="174"/>
              </a:cxn>
              <a:cxn ang="0">
                <a:pos x="80" y="108"/>
              </a:cxn>
              <a:cxn ang="0">
                <a:pos x="63" y="70"/>
              </a:cxn>
              <a:cxn ang="0">
                <a:pos x="121" y="31"/>
              </a:cxn>
              <a:cxn ang="0">
                <a:pos x="223" y="53"/>
              </a:cxn>
              <a:cxn ang="0">
                <a:pos x="257" y="51"/>
              </a:cxn>
              <a:cxn ang="0">
                <a:pos x="291" y="51"/>
              </a:cxn>
              <a:cxn ang="0">
                <a:pos x="319" y="61"/>
              </a:cxn>
              <a:cxn ang="0">
                <a:pos x="359" y="70"/>
              </a:cxn>
              <a:cxn ang="0">
                <a:pos x="357" y="41"/>
              </a:cxn>
              <a:cxn ang="0">
                <a:pos x="387" y="19"/>
              </a:cxn>
              <a:cxn ang="0">
                <a:pos x="447" y="8"/>
              </a:cxn>
            </a:cxnLst>
            <a:rect l="0" t="0" r="r" b="b"/>
            <a:pathLst>
              <a:path w="760" h="508">
                <a:moveTo>
                  <a:pt x="337" y="422"/>
                </a:moveTo>
                <a:lnTo>
                  <a:pt x="328" y="432"/>
                </a:lnTo>
                <a:lnTo>
                  <a:pt x="324" y="434"/>
                </a:lnTo>
                <a:lnTo>
                  <a:pt x="320" y="436"/>
                </a:lnTo>
                <a:lnTo>
                  <a:pt x="323" y="434"/>
                </a:lnTo>
                <a:lnTo>
                  <a:pt x="324" y="433"/>
                </a:lnTo>
                <a:lnTo>
                  <a:pt x="325" y="433"/>
                </a:lnTo>
                <a:lnTo>
                  <a:pt x="325" y="432"/>
                </a:lnTo>
                <a:lnTo>
                  <a:pt x="326" y="432"/>
                </a:lnTo>
                <a:lnTo>
                  <a:pt x="335" y="424"/>
                </a:lnTo>
                <a:lnTo>
                  <a:pt x="337" y="422"/>
                </a:lnTo>
                <a:close/>
                <a:moveTo>
                  <a:pt x="442" y="407"/>
                </a:moveTo>
                <a:lnTo>
                  <a:pt x="443" y="407"/>
                </a:lnTo>
                <a:lnTo>
                  <a:pt x="443" y="408"/>
                </a:lnTo>
                <a:lnTo>
                  <a:pt x="453" y="408"/>
                </a:lnTo>
                <a:lnTo>
                  <a:pt x="455" y="409"/>
                </a:lnTo>
                <a:lnTo>
                  <a:pt x="456" y="408"/>
                </a:lnTo>
                <a:lnTo>
                  <a:pt x="457" y="408"/>
                </a:lnTo>
                <a:lnTo>
                  <a:pt x="457" y="409"/>
                </a:lnTo>
                <a:lnTo>
                  <a:pt x="461" y="409"/>
                </a:lnTo>
                <a:lnTo>
                  <a:pt x="460" y="410"/>
                </a:lnTo>
                <a:lnTo>
                  <a:pt x="442" y="408"/>
                </a:lnTo>
                <a:lnTo>
                  <a:pt x="442" y="407"/>
                </a:lnTo>
                <a:close/>
                <a:moveTo>
                  <a:pt x="472" y="405"/>
                </a:moveTo>
                <a:lnTo>
                  <a:pt x="472" y="406"/>
                </a:lnTo>
                <a:lnTo>
                  <a:pt x="471" y="406"/>
                </a:lnTo>
                <a:lnTo>
                  <a:pt x="472" y="405"/>
                </a:lnTo>
                <a:close/>
                <a:moveTo>
                  <a:pt x="553" y="396"/>
                </a:moveTo>
                <a:lnTo>
                  <a:pt x="554" y="396"/>
                </a:lnTo>
                <a:lnTo>
                  <a:pt x="552" y="401"/>
                </a:lnTo>
                <a:lnTo>
                  <a:pt x="548" y="405"/>
                </a:lnTo>
                <a:lnTo>
                  <a:pt x="547" y="405"/>
                </a:lnTo>
                <a:lnTo>
                  <a:pt x="546" y="406"/>
                </a:lnTo>
                <a:lnTo>
                  <a:pt x="544" y="406"/>
                </a:lnTo>
                <a:lnTo>
                  <a:pt x="542" y="407"/>
                </a:lnTo>
                <a:lnTo>
                  <a:pt x="542" y="406"/>
                </a:lnTo>
                <a:lnTo>
                  <a:pt x="544" y="403"/>
                </a:lnTo>
                <a:lnTo>
                  <a:pt x="544" y="402"/>
                </a:lnTo>
                <a:lnTo>
                  <a:pt x="549" y="401"/>
                </a:lnTo>
                <a:lnTo>
                  <a:pt x="552" y="400"/>
                </a:lnTo>
                <a:lnTo>
                  <a:pt x="552" y="397"/>
                </a:lnTo>
                <a:lnTo>
                  <a:pt x="553" y="396"/>
                </a:lnTo>
                <a:close/>
                <a:moveTo>
                  <a:pt x="398" y="395"/>
                </a:moveTo>
                <a:lnTo>
                  <a:pt x="400" y="395"/>
                </a:lnTo>
                <a:lnTo>
                  <a:pt x="413" y="399"/>
                </a:lnTo>
                <a:lnTo>
                  <a:pt x="419" y="400"/>
                </a:lnTo>
                <a:lnTo>
                  <a:pt x="423" y="402"/>
                </a:lnTo>
                <a:lnTo>
                  <a:pt x="422" y="402"/>
                </a:lnTo>
                <a:lnTo>
                  <a:pt x="421" y="401"/>
                </a:lnTo>
                <a:lnTo>
                  <a:pt x="405" y="397"/>
                </a:lnTo>
                <a:lnTo>
                  <a:pt x="398" y="395"/>
                </a:lnTo>
                <a:close/>
                <a:moveTo>
                  <a:pt x="556" y="391"/>
                </a:moveTo>
                <a:lnTo>
                  <a:pt x="558" y="391"/>
                </a:lnTo>
                <a:lnTo>
                  <a:pt x="555" y="395"/>
                </a:lnTo>
                <a:lnTo>
                  <a:pt x="554" y="396"/>
                </a:lnTo>
                <a:lnTo>
                  <a:pt x="556" y="391"/>
                </a:lnTo>
                <a:close/>
                <a:moveTo>
                  <a:pt x="396" y="389"/>
                </a:moveTo>
                <a:lnTo>
                  <a:pt x="397" y="391"/>
                </a:lnTo>
                <a:lnTo>
                  <a:pt x="397" y="394"/>
                </a:lnTo>
                <a:lnTo>
                  <a:pt x="398" y="395"/>
                </a:lnTo>
                <a:lnTo>
                  <a:pt x="396" y="393"/>
                </a:lnTo>
                <a:lnTo>
                  <a:pt x="396" y="389"/>
                </a:lnTo>
                <a:close/>
                <a:moveTo>
                  <a:pt x="616" y="371"/>
                </a:moveTo>
                <a:lnTo>
                  <a:pt x="617" y="372"/>
                </a:lnTo>
                <a:lnTo>
                  <a:pt x="616" y="372"/>
                </a:lnTo>
                <a:lnTo>
                  <a:pt x="616" y="371"/>
                </a:lnTo>
                <a:close/>
                <a:moveTo>
                  <a:pt x="409" y="341"/>
                </a:moveTo>
                <a:lnTo>
                  <a:pt x="409" y="342"/>
                </a:lnTo>
                <a:lnTo>
                  <a:pt x="411" y="345"/>
                </a:lnTo>
                <a:lnTo>
                  <a:pt x="410" y="346"/>
                </a:lnTo>
                <a:lnTo>
                  <a:pt x="410" y="347"/>
                </a:lnTo>
                <a:lnTo>
                  <a:pt x="409" y="350"/>
                </a:lnTo>
                <a:lnTo>
                  <a:pt x="411" y="350"/>
                </a:lnTo>
                <a:lnTo>
                  <a:pt x="410" y="348"/>
                </a:lnTo>
                <a:lnTo>
                  <a:pt x="411" y="346"/>
                </a:lnTo>
                <a:lnTo>
                  <a:pt x="412" y="345"/>
                </a:lnTo>
                <a:lnTo>
                  <a:pt x="411" y="342"/>
                </a:lnTo>
                <a:lnTo>
                  <a:pt x="410" y="342"/>
                </a:lnTo>
                <a:lnTo>
                  <a:pt x="410" y="341"/>
                </a:lnTo>
                <a:lnTo>
                  <a:pt x="409" y="341"/>
                </a:lnTo>
                <a:close/>
                <a:moveTo>
                  <a:pt x="405" y="334"/>
                </a:moveTo>
                <a:lnTo>
                  <a:pt x="404" y="335"/>
                </a:lnTo>
                <a:lnTo>
                  <a:pt x="405" y="336"/>
                </a:lnTo>
                <a:lnTo>
                  <a:pt x="405" y="338"/>
                </a:lnTo>
                <a:lnTo>
                  <a:pt x="407" y="338"/>
                </a:lnTo>
                <a:lnTo>
                  <a:pt x="409" y="339"/>
                </a:lnTo>
                <a:lnTo>
                  <a:pt x="409" y="338"/>
                </a:lnTo>
                <a:lnTo>
                  <a:pt x="406" y="336"/>
                </a:lnTo>
                <a:lnTo>
                  <a:pt x="405" y="336"/>
                </a:lnTo>
                <a:lnTo>
                  <a:pt x="406" y="335"/>
                </a:lnTo>
                <a:lnTo>
                  <a:pt x="405" y="334"/>
                </a:lnTo>
                <a:close/>
                <a:moveTo>
                  <a:pt x="22" y="213"/>
                </a:moveTo>
                <a:lnTo>
                  <a:pt x="24" y="213"/>
                </a:lnTo>
                <a:lnTo>
                  <a:pt x="24" y="215"/>
                </a:lnTo>
                <a:lnTo>
                  <a:pt x="22" y="213"/>
                </a:lnTo>
                <a:close/>
                <a:moveTo>
                  <a:pt x="466" y="0"/>
                </a:moveTo>
                <a:lnTo>
                  <a:pt x="467" y="0"/>
                </a:lnTo>
                <a:lnTo>
                  <a:pt x="471" y="1"/>
                </a:lnTo>
                <a:lnTo>
                  <a:pt x="474" y="1"/>
                </a:lnTo>
                <a:lnTo>
                  <a:pt x="475" y="2"/>
                </a:lnTo>
                <a:lnTo>
                  <a:pt x="477" y="2"/>
                </a:lnTo>
                <a:lnTo>
                  <a:pt x="478" y="1"/>
                </a:lnTo>
                <a:lnTo>
                  <a:pt x="479" y="1"/>
                </a:lnTo>
                <a:lnTo>
                  <a:pt x="479" y="4"/>
                </a:lnTo>
                <a:lnTo>
                  <a:pt x="480" y="6"/>
                </a:lnTo>
                <a:lnTo>
                  <a:pt x="484" y="2"/>
                </a:lnTo>
                <a:lnTo>
                  <a:pt x="487" y="1"/>
                </a:lnTo>
                <a:lnTo>
                  <a:pt x="492" y="1"/>
                </a:lnTo>
                <a:lnTo>
                  <a:pt x="493" y="2"/>
                </a:lnTo>
                <a:lnTo>
                  <a:pt x="493" y="3"/>
                </a:lnTo>
                <a:lnTo>
                  <a:pt x="494" y="4"/>
                </a:lnTo>
                <a:lnTo>
                  <a:pt x="497" y="6"/>
                </a:lnTo>
                <a:lnTo>
                  <a:pt x="497" y="7"/>
                </a:lnTo>
                <a:lnTo>
                  <a:pt x="498" y="9"/>
                </a:lnTo>
                <a:lnTo>
                  <a:pt x="499" y="9"/>
                </a:lnTo>
                <a:lnTo>
                  <a:pt x="502" y="12"/>
                </a:lnTo>
                <a:lnTo>
                  <a:pt x="502" y="13"/>
                </a:lnTo>
                <a:lnTo>
                  <a:pt x="504" y="15"/>
                </a:lnTo>
                <a:lnTo>
                  <a:pt x="504" y="16"/>
                </a:lnTo>
                <a:lnTo>
                  <a:pt x="503" y="18"/>
                </a:lnTo>
                <a:lnTo>
                  <a:pt x="503" y="24"/>
                </a:lnTo>
                <a:lnTo>
                  <a:pt x="505" y="26"/>
                </a:lnTo>
                <a:lnTo>
                  <a:pt x="505" y="27"/>
                </a:lnTo>
                <a:lnTo>
                  <a:pt x="504" y="28"/>
                </a:lnTo>
                <a:lnTo>
                  <a:pt x="506" y="28"/>
                </a:lnTo>
                <a:lnTo>
                  <a:pt x="509" y="31"/>
                </a:lnTo>
                <a:lnTo>
                  <a:pt x="509" y="32"/>
                </a:lnTo>
                <a:lnTo>
                  <a:pt x="510" y="32"/>
                </a:lnTo>
                <a:lnTo>
                  <a:pt x="510" y="33"/>
                </a:lnTo>
                <a:lnTo>
                  <a:pt x="512" y="33"/>
                </a:lnTo>
                <a:lnTo>
                  <a:pt x="512" y="34"/>
                </a:lnTo>
                <a:lnTo>
                  <a:pt x="515" y="35"/>
                </a:lnTo>
                <a:lnTo>
                  <a:pt x="517" y="38"/>
                </a:lnTo>
                <a:lnTo>
                  <a:pt x="518" y="40"/>
                </a:lnTo>
                <a:lnTo>
                  <a:pt x="518" y="43"/>
                </a:lnTo>
                <a:lnTo>
                  <a:pt x="516" y="45"/>
                </a:lnTo>
                <a:lnTo>
                  <a:pt x="513" y="45"/>
                </a:lnTo>
                <a:lnTo>
                  <a:pt x="506" y="47"/>
                </a:lnTo>
                <a:lnTo>
                  <a:pt x="504" y="47"/>
                </a:lnTo>
                <a:lnTo>
                  <a:pt x="504" y="50"/>
                </a:lnTo>
                <a:lnTo>
                  <a:pt x="505" y="51"/>
                </a:lnTo>
                <a:lnTo>
                  <a:pt x="506" y="51"/>
                </a:lnTo>
                <a:lnTo>
                  <a:pt x="506" y="53"/>
                </a:lnTo>
                <a:lnTo>
                  <a:pt x="510" y="57"/>
                </a:lnTo>
                <a:lnTo>
                  <a:pt x="510" y="65"/>
                </a:lnTo>
                <a:lnTo>
                  <a:pt x="508" y="65"/>
                </a:lnTo>
                <a:lnTo>
                  <a:pt x="511" y="69"/>
                </a:lnTo>
                <a:lnTo>
                  <a:pt x="512" y="69"/>
                </a:lnTo>
                <a:lnTo>
                  <a:pt x="513" y="68"/>
                </a:lnTo>
                <a:lnTo>
                  <a:pt x="513" y="70"/>
                </a:lnTo>
                <a:lnTo>
                  <a:pt x="511" y="75"/>
                </a:lnTo>
                <a:lnTo>
                  <a:pt x="509" y="76"/>
                </a:lnTo>
                <a:lnTo>
                  <a:pt x="511" y="77"/>
                </a:lnTo>
                <a:lnTo>
                  <a:pt x="513" y="77"/>
                </a:lnTo>
                <a:lnTo>
                  <a:pt x="515" y="76"/>
                </a:lnTo>
                <a:lnTo>
                  <a:pt x="518" y="76"/>
                </a:lnTo>
                <a:lnTo>
                  <a:pt x="521" y="77"/>
                </a:lnTo>
                <a:lnTo>
                  <a:pt x="527" y="77"/>
                </a:lnTo>
                <a:lnTo>
                  <a:pt x="527" y="80"/>
                </a:lnTo>
                <a:lnTo>
                  <a:pt x="529" y="82"/>
                </a:lnTo>
                <a:lnTo>
                  <a:pt x="533" y="82"/>
                </a:lnTo>
                <a:lnTo>
                  <a:pt x="535" y="81"/>
                </a:lnTo>
                <a:lnTo>
                  <a:pt x="539" y="80"/>
                </a:lnTo>
                <a:lnTo>
                  <a:pt x="541" y="78"/>
                </a:lnTo>
                <a:lnTo>
                  <a:pt x="542" y="78"/>
                </a:lnTo>
                <a:lnTo>
                  <a:pt x="542" y="80"/>
                </a:lnTo>
                <a:lnTo>
                  <a:pt x="543" y="80"/>
                </a:lnTo>
                <a:lnTo>
                  <a:pt x="544" y="78"/>
                </a:lnTo>
                <a:lnTo>
                  <a:pt x="546" y="78"/>
                </a:lnTo>
                <a:lnTo>
                  <a:pt x="547" y="80"/>
                </a:lnTo>
                <a:lnTo>
                  <a:pt x="547" y="81"/>
                </a:lnTo>
                <a:lnTo>
                  <a:pt x="548" y="87"/>
                </a:lnTo>
                <a:lnTo>
                  <a:pt x="549" y="89"/>
                </a:lnTo>
                <a:lnTo>
                  <a:pt x="550" y="90"/>
                </a:lnTo>
                <a:lnTo>
                  <a:pt x="552" y="90"/>
                </a:lnTo>
                <a:lnTo>
                  <a:pt x="554" y="89"/>
                </a:lnTo>
                <a:lnTo>
                  <a:pt x="555" y="89"/>
                </a:lnTo>
                <a:lnTo>
                  <a:pt x="556" y="90"/>
                </a:lnTo>
                <a:lnTo>
                  <a:pt x="558" y="90"/>
                </a:lnTo>
                <a:lnTo>
                  <a:pt x="558" y="93"/>
                </a:lnTo>
                <a:lnTo>
                  <a:pt x="554" y="93"/>
                </a:lnTo>
                <a:lnTo>
                  <a:pt x="554" y="96"/>
                </a:lnTo>
                <a:lnTo>
                  <a:pt x="555" y="96"/>
                </a:lnTo>
                <a:lnTo>
                  <a:pt x="555" y="98"/>
                </a:lnTo>
                <a:lnTo>
                  <a:pt x="556" y="98"/>
                </a:lnTo>
                <a:lnTo>
                  <a:pt x="558" y="99"/>
                </a:lnTo>
                <a:lnTo>
                  <a:pt x="556" y="100"/>
                </a:lnTo>
                <a:lnTo>
                  <a:pt x="558" y="101"/>
                </a:lnTo>
                <a:lnTo>
                  <a:pt x="558" y="102"/>
                </a:lnTo>
                <a:lnTo>
                  <a:pt x="559" y="104"/>
                </a:lnTo>
                <a:lnTo>
                  <a:pt x="559" y="107"/>
                </a:lnTo>
                <a:lnTo>
                  <a:pt x="560" y="107"/>
                </a:lnTo>
                <a:lnTo>
                  <a:pt x="561" y="108"/>
                </a:lnTo>
                <a:lnTo>
                  <a:pt x="561" y="114"/>
                </a:lnTo>
                <a:lnTo>
                  <a:pt x="562" y="115"/>
                </a:lnTo>
                <a:lnTo>
                  <a:pt x="559" y="117"/>
                </a:lnTo>
                <a:lnTo>
                  <a:pt x="559" y="118"/>
                </a:lnTo>
                <a:lnTo>
                  <a:pt x="560" y="126"/>
                </a:lnTo>
                <a:lnTo>
                  <a:pt x="562" y="129"/>
                </a:lnTo>
                <a:lnTo>
                  <a:pt x="565" y="129"/>
                </a:lnTo>
                <a:lnTo>
                  <a:pt x="566" y="130"/>
                </a:lnTo>
                <a:lnTo>
                  <a:pt x="566" y="133"/>
                </a:lnTo>
                <a:lnTo>
                  <a:pt x="567" y="135"/>
                </a:lnTo>
                <a:lnTo>
                  <a:pt x="567" y="136"/>
                </a:lnTo>
                <a:lnTo>
                  <a:pt x="568" y="136"/>
                </a:lnTo>
                <a:lnTo>
                  <a:pt x="570" y="137"/>
                </a:lnTo>
                <a:lnTo>
                  <a:pt x="572" y="137"/>
                </a:lnTo>
                <a:lnTo>
                  <a:pt x="573" y="136"/>
                </a:lnTo>
                <a:lnTo>
                  <a:pt x="573" y="135"/>
                </a:lnTo>
                <a:lnTo>
                  <a:pt x="574" y="135"/>
                </a:lnTo>
                <a:lnTo>
                  <a:pt x="574" y="133"/>
                </a:lnTo>
                <a:lnTo>
                  <a:pt x="575" y="133"/>
                </a:lnTo>
                <a:lnTo>
                  <a:pt x="577" y="132"/>
                </a:lnTo>
                <a:lnTo>
                  <a:pt x="577" y="131"/>
                </a:lnTo>
                <a:lnTo>
                  <a:pt x="590" y="131"/>
                </a:lnTo>
                <a:lnTo>
                  <a:pt x="591" y="132"/>
                </a:lnTo>
                <a:lnTo>
                  <a:pt x="591" y="133"/>
                </a:lnTo>
                <a:lnTo>
                  <a:pt x="592" y="133"/>
                </a:lnTo>
                <a:lnTo>
                  <a:pt x="596" y="141"/>
                </a:lnTo>
                <a:lnTo>
                  <a:pt x="599" y="141"/>
                </a:lnTo>
                <a:lnTo>
                  <a:pt x="601" y="139"/>
                </a:lnTo>
                <a:lnTo>
                  <a:pt x="604" y="139"/>
                </a:lnTo>
                <a:lnTo>
                  <a:pt x="605" y="141"/>
                </a:lnTo>
                <a:lnTo>
                  <a:pt x="606" y="141"/>
                </a:lnTo>
                <a:lnTo>
                  <a:pt x="608" y="142"/>
                </a:lnTo>
                <a:lnTo>
                  <a:pt x="608" y="145"/>
                </a:lnTo>
                <a:lnTo>
                  <a:pt x="611" y="145"/>
                </a:lnTo>
                <a:lnTo>
                  <a:pt x="612" y="144"/>
                </a:lnTo>
                <a:lnTo>
                  <a:pt x="612" y="143"/>
                </a:lnTo>
                <a:lnTo>
                  <a:pt x="614" y="143"/>
                </a:lnTo>
                <a:lnTo>
                  <a:pt x="614" y="142"/>
                </a:lnTo>
                <a:lnTo>
                  <a:pt x="623" y="137"/>
                </a:lnTo>
                <a:lnTo>
                  <a:pt x="629" y="137"/>
                </a:lnTo>
                <a:lnTo>
                  <a:pt x="635" y="136"/>
                </a:lnTo>
                <a:lnTo>
                  <a:pt x="640" y="131"/>
                </a:lnTo>
                <a:lnTo>
                  <a:pt x="646" y="131"/>
                </a:lnTo>
                <a:lnTo>
                  <a:pt x="646" y="133"/>
                </a:lnTo>
                <a:lnTo>
                  <a:pt x="647" y="135"/>
                </a:lnTo>
                <a:lnTo>
                  <a:pt x="647" y="137"/>
                </a:lnTo>
                <a:lnTo>
                  <a:pt x="651" y="138"/>
                </a:lnTo>
                <a:lnTo>
                  <a:pt x="653" y="143"/>
                </a:lnTo>
                <a:lnTo>
                  <a:pt x="652" y="144"/>
                </a:lnTo>
                <a:lnTo>
                  <a:pt x="652" y="147"/>
                </a:lnTo>
                <a:lnTo>
                  <a:pt x="654" y="148"/>
                </a:lnTo>
                <a:lnTo>
                  <a:pt x="658" y="154"/>
                </a:lnTo>
                <a:lnTo>
                  <a:pt x="659" y="155"/>
                </a:lnTo>
                <a:lnTo>
                  <a:pt x="662" y="156"/>
                </a:lnTo>
                <a:lnTo>
                  <a:pt x="664" y="157"/>
                </a:lnTo>
                <a:lnTo>
                  <a:pt x="666" y="158"/>
                </a:lnTo>
                <a:lnTo>
                  <a:pt x="668" y="163"/>
                </a:lnTo>
                <a:lnTo>
                  <a:pt x="668" y="166"/>
                </a:lnTo>
                <a:lnTo>
                  <a:pt x="670" y="166"/>
                </a:lnTo>
                <a:lnTo>
                  <a:pt x="672" y="164"/>
                </a:lnTo>
                <a:lnTo>
                  <a:pt x="672" y="163"/>
                </a:lnTo>
                <a:lnTo>
                  <a:pt x="673" y="163"/>
                </a:lnTo>
                <a:lnTo>
                  <a:pt x="673" y="164"/>
                </a:lnTo>
                <a:lnTo>
                  <a:pt x="674" y="164"/>
                </a:lnTo>
                <a:lnTo>
                  <a:pt x="677" y="163"/>
                </a:lnTo>
                <a:lnTo>
                  <a:pt x="677" y="160"/>
                </a:lnTo>
                <a:lnTo>
                  <a:pt x="676" y="157"/>
                </a:lnTo>
                <a:lnTo>
                  <a:pt x="677" y="155"/>
                </a:lnTo>
                <a:lnTo>
                  <a:pt x="682" y="155"/>
                </a:lnTo>
                <a:lnTo>
                  <a:pt x="683" y="156"/>
                </a:lnTo>
                <a:lnTo>
                  <a:pt x="684" y="160"/>
                </a:lnTo>
                <a:lnTo>
                  <a:pt x="684" y="161"/>
                </a:lnTo>
                <a:lnTo>
                  <a:pt x="688" y="161"/>
                </a:lnTo>
                <a:lnTo>
                  <a:pt x="689" y="162"/>
                </a:lnTo>
                <a:lnTo>
                  <a:pt x="697" y="162"/>
                </a:lnTo>
                <a:lnTo>
                  <a:pt x="697" y="163"/>
                </a:lnTo>
                <a:lnTo>
                  <a:pt x="701" y="167"/>
                </a:lnTo>
                <a:lnTo>
                  <a:pt x="705" y="168"/>
                </a:lnTo>
                <a:lnTo>
                  <a:pt x="709" y="172"/>
                </a:lnTo>
                <a:lnTo>
                  <a:pt x="714" y="172"/>
                </a:lnTo>
                <a:lnTo>
                  <a:pt x="714" y="170"/>
                </a:lnTo>
                <a:lnTo>
                  <a:pt x="716" y="169"/>
                </a:lnTo>
                <a:lnTo>
                  <a:pt x="716" y="168"/>
                </a:lnTo>
                <a:lnTo>
                  <a:pt x="718" y="167"/>
                </a:lnTo>
                <a:lnTo>
                  <a:pt x="718" y="168"/>
                </a:lnTo>
                <a:lnTo>
                  <a:pt x="721" y="174"/>
                </a:lnTo>
                <a:lnTo>
                  <a:pt x="722" y="176"/>
                </a:lnTo>
                <a:lnTo>
                  <a:pt x="723" y="176"/>
                </a:lnTo>
                <a:lnTo>
                  <a:pt x="726" y="178"/>
                </a:lnTo>
                <a:lnTo>
                  <a:pt x="727" y="176"/>
                </a:lnTo>
                <a:lnTo>
                  <a:pt x="728" y="176"/>
                </a:lnTo>
                <a:lnTo>
                  <a:pt x="730" y="175"/>
                </a:lnTo>
                <a:lnTo>
                  <a:pt x="732" y="176"/>
                </a:lnTo>
                <a:lnTo>
                  <a:pt x="733" y="176"/>
                </a:lnTo>
                <a:lnTo>
                  <a:pt x="735" y="178"/>
                </a:lnTo>
                <a:lnTo>
                  <a:pt x="736" y="179"/>
                </a:lnTo>
                <a:lnTo>
                  <a:pt x="736" y="182"/>
                </a:lnTo>
                <a:lnTo>
                  <a:pt x="738" y="185"/>
                </a:lnTo>
                <a:lnTo>
                  <a:pt x="739" y="185"/>
                </a:lnTo>
                <a:lnTo>
                  <a:pt x="740" y="186"/>
                </a:lnTo>
                <a:lnTo>
                  <a:pt x="742" y="186"/>
                </a:lnTo>
                <a:lnTo>
                  <a:pt x="745" y="188"/>
                </a:lnTo>
                <a:lnTo>
                  <a:pt x="745" y="190"/>
                </a:lnTo>
                <a:lnTo>
                  <a:pt x="746" y="190"/>
                </a:lnTo>
                <a:lnTo>
                  <a:pt x="747" y="188"/>
                </a:lnTo>
                <a:lnTo>
                  <a:pt x="749" y="188"/>
                </a:lnTo>
                <a:lnTo>
                  <a:pt x="749" y="187"/>
                </a:lnTo>
                <a:lnTo>
                  <a:pt x="753" y="185"/>
                </a:lnTo>
                <a:lnTo>
                  <a:pt x="754" y="185"/>
                </a:lnTo>
                <a:lnTo>
                  <a:pt x="759" y="186"/>
                </a:lnTo>
                <a:lnTo>
                  <a:pt x="759" y="188"/>
                </a:lnTo>
                <a:lnTo>
                  <a:pt x="758" y="188"/>
                </a:lnTo>
                <a:lnTo>
                  <a:pt x="755" y="191"/>
                </a:lnTo>
                <a:lnTo>
                  <a:pt x="755" y="194"/>
                </a:lnTo>
                <a:lnTo>
                  <a:pt x="758" y="199"/>
                </a:lnTo>
                <a:lnTo>
                  <a:pt x="760" y="201"/>
                </a:lnTo>
                <a:lnTo>
                  <a:pt x="760" y="204"/>
                </a:lnTo>
                <a:lnTo>
                  <a:pt x="759" y="206"/>
                </a:lnTo>
                <a:lnTo>
                  <a:pt x="759" y="209"/>
                </a:lnTo>
                <a:lnTo>
                  <a:pt x="755" y="212"/>
                </a:lnTo>
                <a:lnTo>
                  <a:pt x="755" y="213"/>
                </a:lnTo>
                <a:lnTo>
                  <a:pt x="753" y="215"/>
                </a:lnTo>
                <a:lnTo>
                  <a:pt x="751" y="217"/>
                </a:lnTo>
                <a:lnTo>
                  <a:pt x="751" y="221"/>
                </a:lnTo>
                <a:lnTo>
                  <a:pt x="749" y="222"/>
                </a:lnTo>
                <a:lnTo>
                  <a:pt x="748" y="221"/>
                </a:lnTo>
                <a:lnTo>
                  <a:pt x="746" y="221"/>
                </a:lnTo>
                <a:lnTo>
                  <a:pt x="744" y="223"/>
                </a:lnTo>
                <a:lnTo>
                  <a:pt x="741" y="222"/>
                </a:lnTo>
                <a:lnTo>
                  <a:pt x="740" y="223"/>
                </a:lnTo>
                <a:lnTo>
                  <a:pt x="740" y="227"/>
                </a:lnTo>
                <a:lnTo>
                  <a:pt x="741" y="228"/>
                </a:lnTo>
                <a:lnTo>
                  <a:pt x="742" y="228"/>
                </a:lnTo>
                <a:lnTo>
                  <a:pt x="742" y="230"/>
                </a:lnTo>
                <a:lnTo>
                  <a:pt x="744" y="231"/>
                </a:lnTo>
                <a:lnTo>
                  <a:pt x="745" y="231"/>
                </a:lnTo>
                <a:lnTo>
                  <a:pt x="748" y="233"/>
                </a:lnTo>
                <a:lnTo>
                  <a:pt x="749" y="231"/>
                </a:lnTo>
                <a:lnTo>
                  <a:pt x="751" y="233"/>
                </a:lnTo>
                <a:lnTo>
                  <a:pt x="751" y="234"/>
                </a:lnTo>
                <a:lnTo>
                  <a:pt x="752" y="234"/>
                </a:lnTo>
                <a:lnTo>
                  <a:pt x="752" y="233"/>
                </a:lnTo>
                <a:lnTo>
                  <a:pt x="753" y="233"/>
                </a:lnTo>
                <a:lnTo>
                  <a:pt x="754" y="231"/>
                </a:lnTo>
                <a:lnTo>
                  <a:pt x="755" y="231"/>
                </a:lnTo>
                <a:lnTo>
                  <a:pt x="755" y="235"/>
                </a:lnTo>
                <a:lnTo>
                  <a:pt x="753" y="237"/>
                </a:lnTo>
                <a:lnTo>
                  <a:pt x="751" y="237"/>
                </a:lnTo>
                <a:lnTo>
                  <a:pt x="746" y="236"/>
                </a:lnTo>
                <a:lnTo>
                  <a:pt x="745" y="236"/>
                </a:lnTo>
                <a:lnTo>
                  <a:pt x="744" y="237"/>
                </a:lnTo>
                <a:lnTo>
                  <a:pt x="744" y="239"/>
                </a:lnTo>
                <a:lnTo>
                  <a:pt x="742" y="239"/>
                </a:lnTo>
                <a:lnTo>
                  <a:pt x="742" y="240"/>
                </a:lnTo>
                <a:lnTo>
                  <a:pt x="741" y="240"/>
                </a:lnTo>
                <a:lnTo>
                  <a:pt x="741" y="241"/>
                </a:lnTo>
                <a:lnTo>
                  <a:pt x="739" y="249"/>
                </a:lnTo>
                <a:lnTo>
                  <a:pt x="738" y="250"/>
                </a:lnTo>
                <a:lnTo>
                  <a:pt x="746" y="250"/>
                </a:lnTo>
                <a:lnTo>
                  <a:pt x="747" y="252"/>
                </a:lnTo>
                <a:lnTo>
                  <a:pt x="747" y="253"/>
                </a:lnTo>
                <a:lnTo>
                  <a:pt x="748" y="254"/>
                </a:lnTo>
                <a:lnTo>
                  <a:pt x="748" y="256"/>
                </a:lnTo>
                <a:lnTo>
                  <a:pt x="747" y="256"/>
                </a:lnTo>
                <a:lnTo>
                  <a:pt x="747" y="258"/>
                </a:lnTo>
                <a:lnTo>
                  <a:pt x="748" y="258"/>
                </a:lnTo>
                <a:lnTo>
                  <a:pt x="749" y="261"/>
                </a:lnTo>
                <a:lnTo>
                  <a:pt x="749" y="264"/>
                </a:lnTo>
                <a:lnTo>
                  <a:pt x="751" y="264"/>
                </a:lnTo>
                <a:lnTo>
                  <a:pt x="746" y="268"/>
                </a:lnTo>
                <a:lnTo>
                  <a:pt x="748" y="270"/>
                </a:lnTo>
                <a:lnTo>
                  <a:pt x="753" y="270"/>
                </a:lnTo>
                <a:lnTo>
                  <a:pt x="753" y="273"/>
                </a:lnTo>
                <a:lnTo>
                  <a:pt x="752" y="273"/>
                </a:lnTo>
                <a:lnTo>
                  <a:pt x="749" y="276"/>
                </a:lnTo>
                <a:lnTo>
                  <a:pt x="749" y="277"/>
                </a:lnTo>
                <a:lnTo>
                  <a:pt x="747" y="280"/>
                </a:lnTo>
                <a:lnTo>
                  <a:pt x="746" y="282"/>
                </a:lnTo>
                <a:lnTo>
                  <a:pt x="746" y="283"/>
                </a:lnTo>
                <a:lnTo>
                  <a:pt x="747" y="285"/>
                </a:lnTo>
                <a:lnTo>
                  <a:pt x="745" y="286"/>
                </a:lnTo>
                <a:lnTo>
                  <a:pt x="744" y="286"/>
                </a:lnTo>
                <a:lnTo>
                  <a:pt x="744" y="287"/>
                </a:lnTo>
                <a:lnTo>
                  <a:pt x="745" y="289"/>
                </a:lnTo>
                <a:lnTo>
                  <a:pt x="745" y="295"/>
                </a:lnTo>
                <a:lnTo>
                  <a:pt x="744" y="297"/>
                </a:lnTo>
                <a:lnTo>
                  <a:pt x="744" y="298"/>
                </a:lnTo>
                <a:lnTo>
                  <a:pt x="742" y="299"/>
                </a:lnTo>
                <a:lnTo>
                  <a:pt x="741" y="299"/>
                </a:lnTo>
                <a:lnTo>
                  <a:pt x="736" y="298"/>
                </a:lnTo>
                <a:lnTo>
                  <a:pt x="735" y="298"/>
                </a:lnTo>
                <a:lnTo>
                  <a:pt x="733" y="299"/>
                </a:lnTo>
                <a:lnTo>
                  <a:pt x="732" y="298"/>
                </a:lnTo>
                <a:lnTo>
                  <a:pt x="729" y="298"/>
                </a:lnTo>
                <a:lnTo>
                  <a:pt x="728" y="299"/>
                </a:lnTo>
                <a:lnTo>
                  <a:pt x="726" y="297"/>
                </a:lnTo>
                <a:lnTo>
                  <a:pt x="724" y="297"/>
                </a:lnTo>
                <a:lnTo>
                  <a:pt x="718" y="298"/>
                </a:lnTo>
                <a:lnTo>
                  <a:pt x="715" y="298"/>
                </a:lnTo>
                <a:lnTo>
                  <a:pt x="713" y="297"/>
                </a:lnTo>
                <a:lnTo>
                  <a:pt x="707" y="296"/>
                </a:lnTo>
                <a:lnTo>
                  <a:pt x="704" y="297"/>
                </a:lnTo>
                <a:lnTo>
                  <a:pt x="701" y="304"/>
                </a:lnTo>
                <a:lnTo>
                  <a:pt x="701" y="308"/>
                </a:lnTo>
                <a:lnTo>
                  <a:pt x="696" y="308"/>
                </a:lnTo>
                <a:lnTo>
                  <a:pt x="695" y="310"/>
                </a:lnTo>
                <a:lnTo>
                  <a:pt x="693" y="310"/>
                </a:lnTo>
                <a:lnTo>
                  <a:pt x="693" y="311"/>
                </a:lnTo>
                <a:lnTo>
                  <a:pt x="684" y="313"/>
                </a:lnTo>
                <a:lnTo>
                  <a:pt x="682" y="315"/>
                </a:lnTo>
                <a:lnTo>
                  <a:pt x="680" y="317"/>
                </a:lnTo>
                <a:lnTo>
                  <a:pt x="680" y="326"/>
                </a:lnTo>
                <a:lnTo>
                  <a:pt x="679" y="328"/>
                </a:lnTo>
                <a:lnTo>
                  <a:pt x="677" y="330"/>
                </a:lnTo>
                <a:lnTo>
                  <a:pt x="677" y="332"/>
                </a:lnTo>
                <a:lnTo>
                  <a:pt x="680" y="332"/>
                </a:lnTo>
                <a:lnTo>
                  <a:pt x="682" y="333"/>
                </a:lnTo>
                <a:lnTo>
                  <a:pt x="682" y="335"/>
                </a:lnTo>
                <a:lnTo>
                  <a:pt x="680" y="335"/>
                </a:lnTo>
                <a:lnTo>
                  <a:pt x="678" y="338"/>
                </a:lnTo>
                <a:lnTo>
                  <a:pt x="678" y="345"/>
                </a:lnTo>
                <a:lnTo>
                  <a:pt x="676" y="347"/>
                </a:lnTo>
                <a:lnTo>
                  <a:pt x="673" y="348"/>
                </a:lnTo>
                <a:lnTo>
                  <a:pt x="674" y="346"/>
                </a:lnTo>
                <a:lnTo>
                  <a:pt x="672" y="344"/>
                </a:lnTo>
                <a:lnTo>
                  <a:pt x="672" y="345"/>
                </a:lnTo>
                <a:lnTo>
                  <a:pt x="668" y="345"/>
                </a:lnTo>
                <a:lnTo>
                  <a:pt x="667" y="344"/>
                </a:lnTo>
                <a:lnTo>
                  <a:pt x="667" y="345"/>
                </a:lnTo>
                <a:lnTo>
                  <a:pt x="664" y="344"/>
                </a:lnTo>
                <a:lnTo>
                  <a:pt x="659" y="346"/>
                </a:lnTo>
                <a:lnTo>
                  <a:pt x="657" y="346"/>
                </a:lnTo>
                <a:lnTo>
                  <a:pt x="652" y="345"/>
                </a:lnTo>
                <a:lnTo>
                  <a:pt x="651" y="345"/>
                </a:lnTo>
                <a:lnTo>
                  <a:pt x="647" y="348"/>
                </a:lnTo>
                <a:lnTo>
                  <a:pt x="643" y="354"/>
                </a:lnTo>
                <a:lnTo>
                  <a:pt x="642" y="357"/>
                </a:lnTo>
                <a:lnTo>
                  <a:pt x="641" y="357"/>
                </a:lnTo>
                <a:lnTo>
                  <a:pt x="640" y="358"/>
                </a:lnTo>
                <a:lnTo>
                  <a:pt x="640" y="356"/>
                </a:lnTo>
                <a:lnTo>
                  <a:pt x="637" y="354"/>
                </a:lnTo>
                <a:lnTo>
                  <a:pt x="636" y="354"/>
                </a:lnTo>
                <a:lnTo>
                  <a:pt x="629" y="358"/>
                </a:lnTo>
                <a:lnTo>
                  <a:pt x="628" y="358"/>
                </a:lnTo>
                <a:lnTo>
                  <a:pt x="627" y="359"/>
                </a:lnTo>
                <a:lnTo>
                  <a:pt x="626" y="359"/>
                </a:lnTo>
                <a:lnTo>
                  <a:pt x="622" y="363"/>
                </a:lnTo>
                <a:lnTo>
                  <a:pt x="621" y="363"/>
                </a:lnTo>
                <a:lnTo>
                  <a:pt x="621" y="365"/>
                </a:lnTo>
                <a:lnTo>
                  <a:pt x="620" y="366"/>
                </a:lnTo>
                <a:lnTo>
                  <a:pt x="620" y="370"/>
                </a:lnTo>
                <a:lnTo>
                  <a:pt x="617" y="372"/>
                </a:lnTo>
                <a:lnTo>
                  <a:pt x="618" y="370"/>
                </a:lnTo>
                <a:lnTo>
                  <a:pt x="618" y="366"/>
                </a:lnTo>
                <a:lnTo>
                  <a:pt x="617" y="365"/>
                </a:lnTo>
                <a:lnTo>
                  <a:pt x="616" y="365"/>
                </a:lnTo>
                <a:lnTo>
                  <a:pt x="615" y="364"/>
                </a:lnTo>
                <a:lnTo>
                  <a:pt x="610" y="364"/>
                </a:lnTo>
                <a:lnTo>
                  <a:pt x="610" y="365"/>
                </a:lnTo>
                <a:lnTo>
                  <a:pt x="606" y="365"/>
                </a:lnTo>
                <a:lnTo>
                  <a:pt x="605" y="366"/>
                </a:lnTo>
                <a:lnTo>
                  <a:pt x="603" y="366"/>
                </a:lnTo>
                <a:lnTo>
                  <a:pt x="602" y="367"/>
                </a:lnTo>
                <a:lnTo>
                  <a:pt x="601" y="367"/>
                </a:lnTo>
                <a:lnTo>
                  <a:pt x="598" y="371"/>
                </a:lnTo>
                <a:lnTo>
                  <a:pt x="597" y="372"/>
                </a:lnTo>
                <a:lnTo>
                  <a:pt x="597" y="375"/>
                </a:lnTo>
                <a:lnTo>
                  <a:pt x="596" y="375"/>
                </a:lnTo>
                <a:lnTo>
                  <a:pt x="596" y="373"/>
                </a:lnTo>
                <a:lnTo>
                  <a:pt x="595" y="373"/>
                </a:lnTo>
                <a:lnTo>
                  <a:pt x="595" y="371"/>
                </a:lnTo>
                <a:lnTo>
                  <a:pt x="593" y="371"/>
                </a:lnTo>
                <a:lnTo>
                  <a:pt x="593" y="370"/>
                </a:lnTo>
                <a:lnTo>
                  <a:pt x="592" y="371"/>
                </a:lnTo>
                <a:lnTo>
                  <a:pt x="591" y="371"/>
                </a:lnTo>
                <a:lnTo>
                  <a:pt x="587" y="370"/>
                </a:lnTo>
                <a:lnTo>
                  <a:pt x="581" y="371"/>
                </a:lnTo>
                <a:lnTo>
                  <a:pt x="580" y="371"/>
                </a:lnTo>
                <a:lnTo>
                  <a:pt x="578" y="373"/>
                </a:lnTo>
                <a:lnTo>
                  <a:pt x="575" y="375"/>
                </a:lnTo>
                <a:lnTo>
                  <a:pt x="570" y="381"/>
                </a:lnTo>
                <a:lnTo>
                  <a:pt x="565" y="383"/>
                </a:lnTo>
                <a:lnTo>
                  <a:pt x="564" y="384"/>
                </a:lnTo>
                <a:lnTo>
                  <a:pt x="562" y="384"/>
                </a:lnTo>
                <a:lnTo>
                  <a:pt x="561" y="387"/>
                </a:lnTo>
                <a:lnTo>
                  <a:pt x="561" y="388"/>
                </a:lnTo>
                <a:lnTo>
                  <a:pt x="559" y="388"/>
                </a:lnTo>
                <a:lnTo>
                  <a:pt x="559" y="389"/>
                </a:lnTo>
                <a:lnTo>
                  <a:pt x="558" y="391"/>
                </a:lnTo>
                <a:lnTo>
                  <a:pt x="558" y="389"/>
                </a:lnTo>
                <a:lnTo>
                  <a:pt x="556" y="390"/>
                </a:lnTo>
                <a:lnTo>
                  <a:pt x="555" y="390"/>
                </a:lnTo>
                <a:lnTo>
                  <a:pt x="555" y="391"/>
                </a:lnTo>
                <a:lnTo>
                  <a:pt x="554" y="390"/>
                </a:lnTo>
                <a:lnTo>
                  <a:pt x="554" y="387"/>
                </a:lnTo>
                <a:lnTo>
                  <a:pt x="555" y="384"/>
                </a:lnTo>
                <a:lnTo>
                  <a:pt x="553" y="384"/>
                </a:lnTo>
                <a:lnTo>
                  <a:pt x="553" y="383"/>
                </a:lnTo>
                <a:lnTo>
                  <a:pt x="552" y="383"/>
                </a:lnTo>
                <a:lnTo>
                  <a:pt x="552" y="382"/>
                </a:lnTo>
                <a:lnTo>
                  <a:pt x="550" y="381"/>
                </a:lnTo>
                <a:lnTo>
                  <a:pt x="549" y="382"/>
                </a:lnTo>
                <a:lnTo>
                  <a:pt x="552" y="384"/>
                </a:lnTo>
                <a:lnTo>
                  <a:pt x="552" y="388"/>
                </a:lnTo>
                <a:lnTo>
                  <a:pt x="549" y="389"/>
                </a:lnTo>
                <a:lnTo>
                  <a:pt x="547" y="394"/>
                </a:lnTo>
                <a:lnTo>
                  <a:pt x="544" y="396"/>
                </a:lnTo>
                <a:lnTo>
                  <a:pt x="540" y="397"/>
                </a:lnTo>
                <a:lnTo>
                  <a:pt x="539" y="397"/>
                </a:lnTo>
                <a:lnTo>
                  <a:pt x="539" y="396"/>
                </a:lnTo>
                <a:lnTo>
                  <a:pt x="537" y="396"/>
                </a:lnTo>
                <a:lnTo>
                  <a:pt x="537" y="397"/>
                </a:lnTo>
                <a:lnTo>
                  <a:pt x="535" y="400"/>
                </a:lnTo>
                <a:lnTo>
                  <a:pt x="535" y="407"/>
                </a:lnTo>
                <a:lnTo>
                  <a:pt x="536" y="408"/>
                </a:lnTo>
                <a:lnTo>
                  <a:pt x="537" y="415"/>
                </a:lnTo>
                <a:lnTo>
                  <a:pt x="537" y="416"/>
                </a:lnTo>
                <a:lnTo>
                  <a:pt x="539" y="418"/>
                </a:lnTo>
                <a:lnTo>
                  <a:pt x="541" y="424"/>
                </a:lnTo>
                <a:lnTo>
                  <a:pt x="544" y="431"/>
                </a:lnTo>
                <a:lnTo>
                  <a:pt x="556" y="449"/>
                </a:lnTo>
                <a:lnTo>
                  <a:pt x="562" y="453"/>
                </a:lnTo>
                <a:lnTo>
                  <a:pt x="565" y="453"/>
                </a:lnTo>
                <a:lnTo>
                  <a:pt x="572" y="451"/>
                </a:lnTo>
                <a:lnTo>
                  <a:pt x="573" y="451"/>
                </a:lnTo>
                <a:lnTo>
                  <a:pt x="574" y="450"/>
                </a:lnTo>
                <a:lnTo>
                  <a:pt x="574" y="449"/>
                </a:lnTo>
                <a:lnTo>
                  <a:pt x="575" y="449"/>
                </a:lnTo>
                <a:lnTo>
                  <a:pt x="575" y="446"/>
                </a:lnTo>
                <a:lnTo>
                  <a:pt x="577" y="445"/>
                </a:lnTo>
                <a:lnTo>
                  <a:pt x="577" y="444"/>
                </a:lnTo>
                <a:lnTo>
                  <a:pt x="578" y="443"/>
                </a:lnTo>
                <a:lnTo>
                  <a:pt x="579" y="444"/>
                </a:lnTo>
                <a:lnTo>
                  <a:pt x="579" y="445"/>
                </a:lnTo>
                <a:lnTo>
                  <a:pt x="578" y="446"/>
                </a:lnTo>
                <a:lnTo>
                  <a:pt x="579" y="446"/>
                </a:lnTo>
                <a:lnTo>
                  <a:pt x="579" y="448"/>
                </a:lnTo>
                <a:lnTo>
                  <a:pt x="583" y="449"/>
                </a:lnTo>
                <a:lnTo>
                  <a:pt x="584" y="450"/>
                </a:lnTo>
                <a:lnTo>
                  <a:pt x="586" y="450"/>
                </a:lnTo>
                <a:lnTo>
                  <a:pt x="587" y="448"/>
                </a:lnTo>
                <a:lnTo>
                  <a:pt x="587" y="445"/>
                </a:lnTo>
                <a:lnTo>
                  <a:pt x="589" y="445"/>
                </a:lnTo>
                <a:lnTo>
                  <a:pt x="590" y="444"/>
                </a:lnTo>
                <a:lnTo>
                  <a:pt x="596" y="444"/>
                </a:lnTo>
                <a:lnTo>
                  <a:pt x="597" y="443"/>
                </a:lnTo>
                <a:lnTo>
                  <a:pt x="598" y="444"/>
                </a:lnTo>
                <a:lnTo>
                  <a:pt x="597" y="445"/>
                </a:lnTo>
                <a:lnTo>
                  <a:pt x="598" y="445"/>
                </a:lnTo>
                <a:lnTo>
                  <a:pt x="599" y="444"/>
                </a:lnTo>
                <a:lnTo>
                  <a:pt x="601" y="444"/>
                </a:lnTo>
                <a:lnTo>
                  <a:pt x="602" y="445"/>
                </a:lnTo>
                <a:lnTo>
                  <a:pt x="605" y="445"/>
                </a:lnTo>
                <a:lnTo>
                  <a:pt x="608" y="448"/>
                </a:lnTo>
                <a:lnTo>
                  <a:pt x="608" y="446"/>
                </a:lnTo>
                <a:lnTo>
                  <a:pt x="610" y="446"/>
                </a:lnTo>
                <a:lnTo>
                  <a:pt x="611" y="448"/>
                </a:lnTo>
                <a:lnTo>
                  <a:pt x="611" y="451"/>
                </a:lnTo>
                <a:lnTo>
                  <a:pt x="605" y="451"/>
                </a:lnTo>
                <a:lnTo>
                  <a:pt x="605" y="455"/>
                </a:lnTo>
                <a:lnTo>
                  <a:pt x="603" y="455"/>
                </a:lnTo>
                <a:lnTo>
                  <a:pt x="603" y="458"/>
                </a:lnTo>
                <a:lnTo>
                  <a:pt x="602" y="461"/>
                </a:lnTo>
                <a:lnTo>
                  <a:pt x="602" y="463"/>
                </a:lnTo>
                <a:lnTo>
                  <a:pt x="603" y="464"/>
                </a:lnTo>
                <a:lnTo>
                  <a:pt x="603" y="465"/>
                </a:lnTo>
                <a:lnTo>
                  <a:pt x="604" y="465"/>
                </a:lnTo>
                <a:lnTo>
                  <a:pt x="604" y="467"/>
                </a:lnTo>
                <a:lnTo>
                  <a:pt x="603" y="468"/>
                </a:lnTo>
                <a:lnTo>
                  <a:pt x="601" y="469"/>
                </a:lnTo>
                <a:lnTo>
                  <a:pt x="596" y="469"/>
                </a:lnTo>
                <a:lnTo>
                  <a:pt x="596" y="470"/>
                </a:lnTo>
                <a:lnTo>
                  <a:pt x="595" y="470"/>
                </a:lnTo>
                <a:lnTo>
                  <a:pt x="595" y="471"/>
                </a:lnTo>
                <a:lnTo>
                  <a:pt x="591" y="470"/>
                </a:lnTo>
                <a:lnTo>
                  <a:pt x="589" y="469"/>
                </a:lnTo>
                <a:lnTo>
                  <a:pt x="586" y="469"/>
                </a:lnTo>
                <a:lnTo>
                  <a:pt x="585" y="471"/>
                </a:lnTo>
                <a:lnTo>
                  <a:pt x="578" y="471"/>
                </a:lnTo>
                <a:lnTo>
                  <a:pt x="577" y="470"/>
                </a:lnTo>
                <a:lnTo>
                  <a:pt x="577" y="469"/>
                </a:lnTo>
                <a:lnTo>
                  <a:pt x="575" y="468"/>
                </a:lnTo>
                <a:lnTo>
                  <a:pt x="572" y="465"/>
                </a:lnTo>
                <a:lnTo>
                  <a:pt x="570" y="464"/>
                </a:lnTo>
                <a:lnTo>
                  <a:pt x="564" y="464"/>
                </a:lnTo>
                <a:lnTo>
                  <a:pt x="562" y="465"/>
                </a:lnTo>
                <a:lnTo>
                  <a:pt x="560" y="467"/>
                </a:lnTo>
                <a:lnTo>
                  <a:pt x="560" y="470"/>
                </a:lnTo>
                <a:lnTo>
                  <a:pt x="561" y="470"/>
                </a:lnTo>
                <a:lnTo>
                  <a:pt x="561" y="471"/>
                </a:lnTo>
                <a:lnTo>
                  <a:pt x="559" y="471"/>
                </a:lnTo>
                <a:lnTo>
                  <a:pt x="558" y="473"/>
                </a:lnTo>
                <a:lnTo>
                  <a:pt x="558" y="475"/>
                </a:lnTo>
                <a:lnTo>
                  <a:pt x="556" y="474"/>
                </a:lnTo>
                <a:lnTo>
                  <a:pt x="553" y="474"/>
                </a:lnTo>
                <a:lnTo>
                  <a:pt x="553" y="476"/>
                </a:lnTo>
                <a:lnTo>
                  <a:pt x="552" y="476"/>
                </a:lnTo>
                <a:lnTo>
                  <a:pt x="550" y="477"/>
                </a:lnTo>
                <a:lnTo>
                  <a:pt x="549" y="477"/>
                </a:lnTo>
                <a:lnTo>
                  <a:pt x="547" y="482"/>
                </a:lnTo>
                <a:lnTo>
                  <a:pt x="546" y="483"/>
                </a:lnTo>
                <a:lnTo>
                  <a:pt x="543" y="483"/>
                </a:lnTo>
                <a:lnTo>
                  <a:pt x="543" y="481"/>
                </a:lnTo>
                <a:lnTo>
                  <a:pt x="540" y="481"/>
                </a:lnTo>
                <a:lnTo>
                  <a:pt x="539" y="482"/>
                </a:lnTo>
                <a:lnTo>
                  <a:pt x="531" y="482"/>
                </a:lnTo>
                <a:lnTo>
                  <a:pt x="528" y="485"/>
                </a:lnTo>
                <a:lnTo>
                  <a:pt x="527" y="486"/>
                </a:lnTo>
                <a:lnTo>
                  <a:pt x="523" y="486"/>
                </a:lnTo>
                <a:lnTo>
                  <a:pt x="521" y="488"/>
                </a:lnTo>
                <a:lnTo>
                  <a:pt x="521" y="487"/>
                </a:lnTo>
                <a:lnTo>
                  <a:pt x="518" y="489"/>
                </a:lnTo>
                <a:lnTo>
                  <a:pt x="518" y="491"/>
                </a:lnTo>
                <a:lnTo>
                  <a:pt x="516" y="493"/>
                </a:lnTo>
                <a:lnTo>
                  <a:pt x="515" y="498"/>
                </a:lnTo>
                <a:lnTo>
                  <a:pt x="515" y="499"/>
                </a:lnTo>
                <a:lnTo>
                  <a:pt x="511" y="499"/>
                </a:lnTo>
                <a:lnTo>
                  <a:pt x="511" y="500"/>
                </a:lnTo>
                <a:lnTo>
                  <a:pt x="510" y="501"/>
                </a:lnTo>
                <a:lnTo>
                  <a:pt x="508" y="501"/>
                </a:lnTo>
                <a:lnTo>
                  <a:pt x="508" y="504"/>
                </a:lnTo>
                <a:lnTo>
                  <a:pt x="506" y="504"/>
                </a:lnTo>
                <a:lnTo>
                  <a:pt x="506" y="505"/>
                </a:lnTo>
                <a:lnTo>
                  <a:pt x="505" y="506"/>
                </a:lnTo>
                <a:lnTo>
                  <a:pt x="503" y="506"/>
                </a:lnTo>
                <a:lnTo>
                  <a:pt x="499" y="508"/>
                </a:lnTo>
                <a:lnTo>
                  <a:pt x="497" y="508"/>
                </a:lnTo>
                <a:lnTo>
                  <a:pt x="494" y="507"/>
                </a:lnTo>
                <a:lnTo>
                  <a:pt x="488" y="507"/>
                </a:lnTo>
                <a:lnTo>
                  <a:pt x="485" y="506"/>
                </a:lnTo>
                <a:lnTo>
                  <a:pt x="485" y="504"/>
                </a:lnTo>
                <a:lnTo>
                  <a:pt x="484" y="501"/>
                </a:lnTo>
                <a:lnTo>
                  <a:pt x="479" y="501"/>
                </a:lnTo>
                <a:lnTo>
                  <a:pt x="479" y="500"/>
                </a:lnTo>
                <a:lnTo>
                  <a:pt x="474" y="498"/>
                </a:lnTo>
                <a:lnTo>
                  <a:pt x="474" y="496"/>
                </a:lnTo>
                <a:lnTo>
                  <a:pt x="475" y="495"/>
                </a:lnTo>
                <a:lnTo>
                  <a:pt x="479" y="495"/>
                </a:lnTo>
                <a:lnTo>
                  <a:pt x="479" y="494"/>
                </a:lnTo>
                <a:lnTo>
                  <a:pt x="481" y="494"/>
                </a:lnTo>
                <a:lnTo>
                  <a:pt x="480" y="493"/>
                </a:lnTo>
                <a:lnTo>
                  <a:pt x="480" y="492"/>
                </a:lnTo>
                <a:lnTo>
                  <a:pt x="481" y="491"/>
                </a:lnTo>
                <a:lnTo>
                  <a:pt x="481" y="487"/>
                </a:lnTo>
                <a:lnTo>
                  <a:pt x="480" y="486"/>
                </a:lnTo>
                <a:lnTo>
                  <a:pt x="480" y="483"/>
                </a:lnTo>
                <a:lnTo>
                  <a:pt x="481" y="482"/>
                </a:lnTo>
                <a:lnTo>
                  <a:pt x="481" y="481"/>
                </a:lnTo>
                <a:lnTo>
                  <a:pt x="484" y="480"/>
                </a:lnTo>
                <a:lnTo>
                  <a:pt x="484" y="479"/>
                </a:lnTo>
                <a:lnTo>
                  <a:pt x="485" y="477"/>
                </a:lnTo>
                <a:lnTo>
                  <a:pt x="485" y="475"/>
                </a:lnTo>
                <a:lnTo>
                  <a:pt x="484" y="473"/>
                </a:lnTo>
                <a:lnTo>
                  <a:pt x="484" y="471"/>
                </a:lnTo>
                <a:lnTo>
                  <a:pt x="483" y="470"/>
                </a:lnTo>
                <a:lnTo>
                  <a:pt x="483" y="465"/>
                </a:lnTo>
                <a:lnTo>
                  <a:pt x="481" y="464"/>
                </a:lnTo>
                <a:lnTo>
                  <a:pt x="478" y="463"/>
                </a:lnTo>
                <a:lnTo>
                  <a:pt x="475" y="461"/>
                </a:lnTo>
                <a:lnTo>
                  <a:pt x="472" y="461"/>
                </a:lnTo>
                <a:lnTo>
                  <a:pt x="471" y="462"/>
                </a:lnTo>
                <a:lnTo>
                  <a:pt x="468" y="462"/>
                </a:lnTo>
                <a:lnTo>
                  <a:pt x="468" y="461"/>
                </a:lnTo>
                <a:lnTo>
                  <a:pt x="467" y="461"/>
                </a:lnTo>
                <a:lnTo>
                  <a:pt x="466" y="459"/>
                </a:lnTo>
                <a:lnTo>
                  <a:pt x="465" y="459"/>
                </a:lnTo>
                <a:lnTo>
                  <a:pt x="463" y="457"/>
                </a:lnTo>
                <a:lnTo>
                  <a:pt x="462" y="457"/>
                </a:lnTo>
                <a:lnTo>
                  <a:pt x="462" y="456"/>
                </a:lnTo>
                <a:lnTo>
                  <a:pt x="461" y="455"/>
                </a:lnTo>
                <a:lnTo>
                  <a:pt x="460" y="455"/>
                </a:lnTo>
                <a:lnTo>
                  <a:pt x="456" y="451"/>
                </a:lnTo>
                <a:lnTo>
                  <a:pt x="454" y="450"/>
                </a:lnTo>
                <a:lnTo>
                  <a:pt x="446" y="450"/>
                </a:lnTo>
                <a:lnTo>
                  <a:pt x="444" y="452"/>
                </a:lnTo>
                <a:lnTo>
                  <a:pt x="440" y="452"/>
                </a:lnTo>
                <a:lnTo>
                  <a:pt x="438" y="451"/>
                </a:lnTo>
                <a:lnTo>
                  <a:pt x="437" y="451"/>
                </a:lnTo>
                <a:lnTo>
                  <a:pt x="436" y="448"/>
                </a:lnTo>
                <a:lnTo>
                  <a:pt x="437" y="445"/>
                </a:lnTo>
                <a:lnTo>
                  <a:pt x="438" y="444"/>
                </a:lnTo>
                <a:lnTo>
                  <a:pt x="443" y="440"/>
                </a:lnTo>
                <a:lnTo>
                  <a:pt x="446" y="440"/>
                </a:lnTo>
                <a:lnTo>
                  <a:pt x="446" y="439"/>
                </a:lnTo>
                <a:lnTo>
                  <a:pt x="447" y="439"/>
                </a:lnTo>
                <a:lnTo>
                  <a:pt x="448" y="438"/>
                </a:lnTo>
                <a:lnTo>
                  <a:pt x="452" y="438"/>
                </a:lnTo>
                <a:lnTo>
                  <a:pt x="452" y="437"/>
                </a:lnTo>
                <a:lnTo>
                  <a:pt x="450" y="437"/>
                </a:lnTo>
                <a:lnTo>
                  <a:pt x="452" y="436"/>
                </a:lnTo>
                <a:lnTo>
                  <a:pt x="453" y="433"/>
                </a:lnTo>
                <a:lnTo>
                  <a:pt x="465" y="427"/>
                </a:lnTo>
                <a:lnTo>
                  <a:pt x="466" y="427"/>
                </a:lnTo>
                <a:lnTo>
                  <a:pt x="466" y="426"/>
                </a:lnTo>
                <a:lnTo>
                  <a:pt x="465" y="425"/>
                </a:lnTo>
                <a:lnTo>
                  <a:pt x="466" y="425"/>
                </a:lnTo>
                <a:lnTo>
                  <a:pt x="467" y="426"/>
                </a:lnTo>
                <a:lnTo>
                  <a:pt x="469" y="426"/>
                </a:lnTo>
                <a:lnTo>
                  <a:pt x="473" y="425"/>
                </a:lnTo>
                <a:lnTo>
                  <a:pt x="474" y="424"/>
                </a:lnTo>
                <a:lnTo>
                  <a:pt x="475" y="421"/>
                </a:lnTo>
                <a:lnTo>
                  <a:pt x="477" y="421"/>
                </a:lnTo>
                <a:lnTo>
                  <a:pt x="478" y="420"/>
                </a:lnTo>
                <a:lnTo>
                  <a:pt x="479" y="420"/>
                </a:lnTo>
                <a:lnTo>
                  <a:pt x="480" y="421"/>
                </a:lnTo>
                <a:lnTo>
                  <a:pt x="483" y="419"/>
                </a:lnTo>
                <a:lnTo>
                  <a:pt x="486" y="419"/>
                </a:lnTo>
                <a:lnTo>
                  <a:pt x="486" y="420"/>
                </a:lnTo>
                <a:lnTo>
                  <a:pt x="487" y="420"/>
                </a:lnTo>
                <a:lnTo>
                  <a:pt x="487" y="416"/>
                </a:lnTo>
                <a:lnTo>
                  <a:pt x="491" y="416"/>
                </a:lnTo>
                <a:lnTo>
                  <a:pt x="491" y="415"/>
                </a:lnTo>
                <a:lnTo>
                  <a:pt x="490" y="415"/>
                </a:lnTo>
                <a:lnTo>
                  <a:pt x="490" y="414"/>
                </a:lnTo>
                <a:lnTo>
                  <a:pt x="485" y="414"/>
                </a:lnTo>
                <a:lnTo>
                  <a:pt x="485" y="413"/>
                </a:lnTo>
                <a:lnTo>
                  <a:pt x="486" y="413"/>
                </a:lnTo>
                <a:lnTo>
                  <a:pt x="485" y="412"/>
                </a:lnTo>
                <a:lnTo>
                  <a:pt x="485" y="407"/>
                </a:lnTo>
                <a:lnTo>
                  <a:pt x="486" y="406"/>
                </a:lnTo>
                <a:lnTo>
                  <a:pt x="485" y="405"/>
                </a:lnTo>
                <a:lnTo>
                  <a:pt x="484" y="402"/>
                </a:lnTo>
                <a:lnTo>
                  <a:pt x="483" y="402"/>
                </a:lnTo>
                <a:lnTo>
                  <a:pt x="480" y="405"/>
                </a:lnTo>
                <a:lnTo>
                  <a:pt x="481" y="406"/>
                </a:lnTo>
                <a:lnTo>
                  <a:pt x="480" y="406"/>
                </a:lnTo>
                <a:lnTo>
                  <a:pt x="480" y="407"/>
                </a:lnTo>
                <a:lnTo>
                  <a:pt x="479" y="407"/>
                </a:lnTo>
                <a:lnTo>
                  <a:pt x="480" y="408"/>
                </a:lnTo>
                <a:lnTo>
                  <a:pt x="475" y="408"/>
                </a:lnTo>
                <a:lnTo>
                  <a:pt x="474" y="406"/>
                </a:lnTo>
                <a:lnTo>
                  <a:pt x="473" y="405"/>
                </a:lnTo>
                <a:lnTo>
                  <a:pt x="472" y="405"/>
                </a:lnTo>
                <a:lnTo>
                  <a:pt x="472" y="403"/>
                </a:lnTo>
                <a:lnTo>
                  <a:pt x="467" y="403"/>
                </a:lnTo>
                <a:lnTo>
                  <a:pt x="467" y="402"/>
                </a:lnTo>
                <a:lnTo>
                  <a:pt x="468" y="402"/>
                </a:lnTo>
                <a:lnTo>
                  <a:pt x="468" y="397"/>
                </a:lnTo>
                <a:lnTo>
                  <a:pt x="467" y="399"/>
                </a:lnTo>
                <a:lnTo>
                  <a:pt x="467" y="401"/>
                </a:lnTo>
                <a:lnTo>
                  <a:pt x="466" y="402"/>
                </a:lnTo>
                <a:lnTo>
                  <a:pt x="465" y="402"/>
                </a:lnTo>
                <a:lnTo>
                  <a:pt x="463" y="403"/>
                </a:lnTo>
                <a:lnTo>
                  <a:pt x="462" y="403"/>
                </a:lnTo>
                <a:lnTo>
                  <a:pt x="462" y="402"/>
                </a:lnTo>
                <a:lnTo>
                  <a:pt x="459" y="401"/>
                </a:lnTo>
                <a:lnTo>
                  <a:pt x="460" y="403"/>
                </a:lnTo>
                <a:lnTo>
                  <a:pt x="459" y="403"/>
                </a:lnTo>
                <a:lnTo>
                  <a:pt x="455" y="405"/>
                </a:lnTo>
                <a:lnTo>
                  <a:pt x="452" y="405"/>
                </a:lnTo>
                <a:lnTo>
                  <a:pt x="449" y="403"/>
                </a:lnTo>
                <a:lnTo>
                  <a:pt x="448" y="403"/>
                </a:lnTo>
                <a:lnTo>
                  <a:pt x="447" y="405"/>
                </a:lnTo>
                <a:lnTo>
                  <a:pt x="441" y="405"/>
                </a:lnTo>
                <a:lnTo>
                  <a:pt x="441" y="406"/>
                </a:lnTo>
                <a:lnTo>
                  <a:pt x="440" y="406"/>
                </a:lnTo>
                <a:lnTo>
                  <a:pt x="438" y="407"/>
                </a:lnTo>
                <a:lnTo>
                  <a:pt x="437" y="407"/>
                </a:lnTo>
                <a:lnTo>
                  <a:pt x="429" y="405"/>
                </a:lnTo>
                <a:lnTo>
                  <a:pt x="428" y="403"/>
                </a:lnTo>
                <a:lnTo>
                  <a:pt x="426" y="403"/>
                </a:lnTo>
                <a:lnTo>
                  <a:pt x="426" y="400"/>
                </a:lnTo>
                <a:lnTo>
                  <a:pt x="428" y="400"/>
                </a:lnTo>
                <a:lnTo>
                  <a:pt x="428" y="399"/>
                </a:lnTo>
                <a:lnTo>
                  <a:pt x="426" y="400"/>
                </a:lnTo>
                <a:lnTo>
                  <a:pt x="424" y="400"/>
                </a:lnTo>
                <a:lnTo>
                  <a:pt x="422" y="399"/>
                </a:lnTo>
                <a:lnTo>
                  <a:pt x="421" y="399"/>
                </a:lnTo>
                <a:lnTo>
                  <a:pt x="419" y="396"/>
                </a:lnTo>
                <a:lnTo>
                  <a:pt x="418" y="395"/>
                </a:lnTo>
                <a:lnTo>
                  <a:pt x="417" y="396"/>
                </a:lnTo>
                <a:lnTo>
                  <a:pt x="415" y="395"/>
                </a:lnTo>
                <a:lnTo>
                  <a:pt x="411" y="391"/>
                </a:lnTo>
                <a:lnTo>
                  <a:pt x="411" y="394"/>
                </a:lnTo>
                <a:lnTo>
                  <a:pt x="407" y="394"/>
                </a:lnTo>
                <a:lnTo>
                  <a:pt x="406" y="393"/>
                </a:lnTo>
                <a:lnTo>
                  <a:pt x="406" y="391"/>
                </a:lnTo>
                <a:lnTo>
                  <a:pt x="407" y="390"/>
                </a:lnTo>
                <a:lnTo>
                  <a:pt x="415" y="390"/>
                </a:lnTo>
                <a:lnTo>
                  <a:pt x="417" y="388"/>
                </a:lnTo>
                <a:lnTo>
                  <a:pt x="418" y="388"/>
                </a:lnTo>
                <a:lnTo>
                  <a:pt x="418" y="387"/>
                </a:lnTo>
                <a:lnTo>
                  <a:pt x="417" y="384"/>
                </a:lnTo>
                <a:lnTo>
                  <a:pt x="415" y="384"/>
                </a:lnTo>
                <a:lnTo>
                  <a:pt x="412" y="383"/>
                </a:lnTo>
                <a:lnTo>
                  <a:pt x="406" y="381"/>
                </a:lnTo>
                <a:lnTo>
                  <a:pt x="404" y="381"/>
                </a:lnTo>
                <a:lnTo>
                  <a:pt x="403" y="382"/>
                </a:lnTo>
                <a:lnTo>
                  <a:pt x="403" y="385"/>
                </a:lnTo>
                <a:lnTo>
                  <a:pt x="401" y="383"/>
                </a:lnTo>
                <a:lnTo>
                  <a:pt x="401" y="382"/>
                </a:lnTo>
                <a:lnTo>
                  <a:pt x="396" y="377"/>
                </a:lnTo>
                <a:lnTo>
                  <a:pt x="396" y="376"/>
                </a:lnTo>
                <a:lnTo>
                  <a:pt x="398" y="378"/>
                </a:lnTo>
                <a:lnTo>
                  <a:pt x="406" y="377"/>
                </a:lnTo>
                <a:lnTo>
                  <a:pt x="407" y="378"/>
                </a:lnTo>
                <a:lnTo>
                  <a:pt x="410" y="379"/>
                </a:lnTo>
                <a:lnTo>
                  <a:pt x="413" y="379"/>
                </a:lnTo>
                <a:lnTo>
                  <a:pt x="417" y="381"/>
                </a:lnTo>
                <a:lnTo>
                  <a:pt x="425" y="381"/>
                </a:lnTo>
                <a:lnTo>
                  <a:pt x="428" y="383"/>
                </a:lnTo>
                <a:lnTo>
                  <a:pt x="431" y="383"/>
                </a:lnTo>
                <a:lnTo>
                  <a:pt x="434" y="381"/>
                </a:lnTo>
                <a:lnTo>
                  <a:pt x="434" y="379"/>
                </a:lnTo>
                <a:lnTo>
                  <a:pt x="438" y="375"/>
                </a:lnTo>
                <a:lnTo>
                  <a:pt x="441" y="375"/>
                </a:lnTo>
                <a:lnTo>
                  <a:pt x="443" y="372"/>
                </a:lnTo>
                <a:lnTo>
                  <a:pt x="443" y="371"/>
                </a:lnTo>
                <a:lnTo>
                  <a:pt x="441" y="373"/>
                </a:lnTo>
                <a:lnTo>
                  <a:pt x="438" y="373"/>
                </a:lnTo>
                <a:lnTo>
                  <a:pt x="434" y="377"/>
                </a:lnTo>
                <a:lnTo>
                  <a:pt x="430" y="377"/>
                </a:lnTo>
                <a:lnTo>
                  <a:pt x="428" y="376"/>
                </a:lnTo>
                <a:lnTo>
                  <a:pt x="426" y="375"/>
                </a:lnTo>
                <a:lnTo>
                  <a:pt x="425" y="376"/>
                </a:lnTo>
                <a:lnTo>
                  <a:pt x="423" y="376"/>
                </a:lnTo>
                <a:lnTo>
                  <a:pt x="422" y="377"/>
                </a:lnTo>
                <a:lnTo>
                  <a:pt x="421" y="375"/>
                </a:lnTo>
                <a:lnTo>
                  <a:pt x="421" y="373"/>
                </a:lnTo>
                <a:lnTo>
                  <a:pt x="417" y="373"/>
                </a:lnTo>
                <a:lnTo>
                  <a:pt x="417" y="372"/>
                </a:lnTo>
                <a:lnTo>
                  <a:pt x="416" y="371"/>
                </a:lnTo>
                <a:lnTo>
                  <a:pt x="416" y="370"/>
                </a:lnTo>
                <a:lnTo>
                  <a:pt x="415" y="369"/>
                </a:lnTo>
                <a:lnTo>
                  <a:pt x="415" y="366"/>
                </a:lnTo>
                <a:lnTo>
                  <a:pt x="413" y="366"/>
                </a:lnTo>
                <a:lnTo>
                  <a:pt x="413" y="363"/>
                </a:lnTo>
                <a:lnTo>
                  <a:pt x="415" y="360"/>
                </a:lnTo>
                <a:lnTo>
                  <a:pt x="416" y="359"/>
                </a:lnTo>
                <a:lnTo>
                  <a:pt x="416" y="357"/>
                </a:lnTo>
                <a:lnTo>
                  <a:pt x="417" y="356"/>
                </a:lnTo>
                <a:lnTo>
                  <a:pt x="416" y="354"/>
                </a:lnTo>
                <a:lnTo>
                  <a:pt x="413" y="353"/>
                </a:lnTo>
                <a:lnTo>
                  <a:pt x="413" y="352"/>
                </a:lnTo>
                <a:lnTo>
                  <a:pt x="415" y="350"/>
                </a:lnTo>
                <a:lnTo>
                  <a:pt x="413" y="348"/>
                </a:lnTo>
                <a:lnTo>
                  <a:pt x="412" y="350"/>
                </a:lnTo>
                <a:lnTo>
                  <a:pt x="413" y="350"/>
                </a:lnTo>
                <a:lnTo>
                  <a:pt x="412" y="352"/>
                </a:lnTo>
                <a:lnTo>
                  <a:pt x="412" y="354"/>
                </a:lnTo>
                <a:lnTo>
                  <a:pt x="415" y="354"/>
                </a:lnTo>
                <a:lnTo>
                  <a:pt x="415" y="357"/>
                </a:lnTo>
                <a:lnTo>
                  <a:pt x="413" y="359"/>
                </a:lnTo>
                <a:lnTo>
                  <a:pt x="412" y="360"/>
                </a:lnTo>
                <a:lnTo>
                  <a:pt x="411" y="360"/>
                </a:lnTo>
                <a:lnTo>
                  <a:pt x="410" y="362"/>
                </a:lnTo>
                <a:lnTo>
                  <a:pt x="410" y="364"/>
                </a:lnTo>
                <a:lnTo>
                  <a:pt x="412" y="366"/>
                </a:lnTo>
                <a:lnTo>
                  <a:pt x="412" y="371"/>
                </a:lnTo>
                <a:lnTo>
                  <a:pt x="410" y="373"/>
                </a:lnTo>
                <a:lnTo>
                  <a:pt x="406" y="373"/>
                </a:lnTo>
                <a:lnTo>
                  <a:pt x="403" y="371"/>
                </a:lnTo>
                <a:lnTo>
                  <a:pt x="400" y="371"/>
                </a:lnTo>
                <a:lnTo>
                  <a:pt x="399" y="372"/>
                </a:lnTo>
                <a:lnTo>
                  <a:pt x="399" y="373"/>
                </a:lnTo>
                <a:lnTo>
                  <a:pt x="394" y="373"/>
                </a:lnTo>
                <a:lnTo>
                  <a:pt x="394" y="371"/>
                </a:lnTo>
                <a:lnTo>
                  <a:pt x="397" y="366"/>
                </a:lnTo>
                <a:lnTo>
                  <a:pt x="398" y="365"/>
                </a:lnTo>
                <a:lnTo>
                  <a:pt x="398" y="364"/>
                </a:lnTo>
                <a:lnTo>
                  <a:pt x="400" y="362"/>
                </a:lnTo>
                <a:lnTo>
                  <a:pt x="399" y="360"/>
                </a:lnTo>
                <a:lnTo>
                  <a:pt x="399" y="363"/>
                </a:lnTo>
                <a:lnTo>
                  <a:pt x="398" y="363"/>
                </a:lnTo>
                <a:lnTo>
                  <a:pt x="398" y="364"/>
                </a:lnTo>
                <a:lnTo>
                  <a:pt x="397" y="364"/>
                </a:lnTo>
                <a:lnTo>
                  <a:pt x="396" y="365"/>
                </a:lnTo>
                <a:lnTo>
                  <a:pt x="396" y="366"/>
                </a:lnTo>
                <a:lnTo>
                  <a:pt x="393" y="364"/>
                </a:lnTo>
                <a:lnTo>
                  <a:pt x="393" y="363"/>
                </a:lnTo>
                <a:lnTo>
                  <a:pt x="392" y="363"/>
                </a:lnTo>
                <a:lnTo>
                  <a:pt x="393" y="364"/>
                </a:lnTo>
                <a:lnTo>
                  <a:pt x="393" y="365"/>
                </a:lnTo>
                <a:lnTo>
                  <a:pt x="394" y="366"/>
                </a:lnTo>
                <a:lnTo>
                  <a:pt x="396" y="366"/>
                </a:lnTo>
                <a:lnTo>
                  <a:pt x="396" y="367"/>
                </a:lnTo>
                <a:lnTo>
                  <a:pt x="394" y="369"/>
                </a:lnTo>
                <a:lnTo>
                  <a:pt x="394" y="370"/>
                </a:lnTo>
                <a:lnTo>
                  <a:pt x="393" y="370"/>
                </a:lnTo>
                <a:lnTo>
                  <a:pt x="392" y="372"/>
                </a:lnTo>
                <a:lnTo>
                  <a:pt x="392" y="373"/>
                </a:lnTo>
                <a:lnTo>
                  <a:pt x="391" y="373"/>
                </a:lnTo>
                <a:lnTo>
                  <a:pt x="388" y="375"/>
                </a:lnTo>
                <a:lnTo>
                  <a:pt x="386" y="375"/>
                </a:lnTo>
                <a:lnTo>
                  <a:pt x="385" y="373"/>
                </a:lnTo>
                <a:lnTo>
                  <a:pt x="376" y="373"/>
                </a:lnTo>
                <a:lnTo>
                  <a:pt x="374" y="375"/>
                </a:lnTo>
                <a:lnTo>
                  <a:pt x="373" y="375"/>
                </a:lnTo>
                <a:lnTo>
                  <a:pt x="372" y="376"/>
                </a:lnTo>
                <a:lnTo>
                  <a:pt x="370" y="376"/>
                </a:lnTo>
                <a:lnTo>
                  <a:pt x="368" y="377"/>
                </a:lnTo>
                <a:lnTo>
                  <a:pt x="365" y="377"/>
                </a:lnTo>
                <a:lnTo>
                  <a:pt x="363" y="379"/>
                </a:lnTo>
                <a:lnTo>
                  <a:pt x="363" y="381"/>
                </a:lnTo>
                <a:lnTo>
                  <a:pt x="365" y="382"/>
                </a:lnTo>
                <a:lnTo>
                  <a:pt x="365" y="383"/>
                </a:lnTo>
                <a:lnTo>
                  <a:pt x="366" y="384"/>
                </a:lnTo>
                <a:lnTo>
                  <a:pt x="365" y="384"/>
                </a:lnTo>
                <a:lnTo>
                  <a:pt x="365" y="387"/>
                </a:lnTo>
                <a:lnTo>
                  <a:pt x="362" y="389"/>
                </a:lnTo>
                <a:lnTo>
                  <a:pt x="362" y="390"/>
                </a:lnTo>
                <a:lnTo>
                  <a:pt x="360" y="390"/>
                </a:lnTo>
                <a:lnTo>
                  <a:pt x="360" y="391"/>
                </a:lnTo>
                <a:lnTo>
                  <a:pt x="361" y="391"/>
                </a:lnTo>
                <a:lnTo>
                  <a:pt x="361" y="393"/>
                </a:lnTo>
                <a:lnTo>
                  <a:pt x="360" y="395"/>
                </a:lnTo>
                <a:lnTo>
                  <a:pt x="356" y="400"/>
                </a:lnTo>
                <a:lnTo>
                  <a:pt x="355" y="401"/>
                </a:lnTo>
                <a:lnTo>
                  <a:pt x="355" y="402"/>
                </a:lnTo>
                <a:lnTo>
                  <a:pt x="354" y="402"/>
                </a:lnTo>
                <a:lnTo>
                  <a:pt x="354" y="403"/>
                </a:lnTo>
                <a:lnTo>
                  <a:pt x="353" y="406"/>
                </a:lnTo>
                <a:lnTo>
                  <a:pt x="353" y="407"/>
                </a:lnTo>
                <a:lnTo>
                  <a:pt x="348" y="412"/>
                </a:lnTo>
                <a:lnTo>
                  <a:pt x="343" y="418"/>
                </a:lnTo>
                <a:lnTo>
                  <a:pt x="341" y="420"/>
                </a:lnTo>
                <a:lnTo>
                  <a:pt x="337" y="422"/>
                </a:lnTo>
                <a:lnTo>
                  <a:pt x="337" y="419"/>
                </a:lnTo>
                <a:lnTo>
                  <a:pt x="336" y="419"/>
                </a:lnTo>
                <a:lnTo>
                  <a:pt x="336" y="422"/>
                </a:lnTo>
                <a:lnTo>
                  <a:pt x="335" y="422"/>
                </a:lnTo>
                <a:lnTo>
                  <a:pt x="332" y="421"/>
                </a:lnTo>
                <a:lnTo>
                  <a:pt x="331" y="420"/>
                </a:lnTo>
                <a:lnTo>
                  <a:pt x="330" y="421"/>
                </a:lnTo>
                <a:lnTo>
                  <a:pt x="330" y="425"/>
                </a:lnTo>
                <a:lnTo>
                  <a:pt x="329" y="425"/>
                </a:lnTo>
                <a:lnTo>
                  <a:pt x="329" y="427"/>
                </a:lnTo>
                <a:lnTo>
                  <a:pt x="328" y="426"/>
                </a:lnTo>
                <a:lnTo>
                  <a:pt x="324" y="426"/>
                </a:lnTo>
                <a:lnTo>
                  <a:pt x="323" y="427"/>
                </a:lnTo>
                <a:lnTo>
                  <a:pt x="323" y="430"/>
                </a:lnTo>
                <a:lnTo>
                  <a:pt x="325" y="430"/>
                </a:lnTo>
                <a:lnTo>
                  <a:pt x="325" y="432"/>
                </a:lnTo>
                <a:lnTo>
                  <a:pt x="323" y="432"/>
                </a:lnTo>
                <a:lnTo>
                  <a:pt x="323" y="433"/>
                </a:lnTo>
                <a:lnTo>
                  <a:pt x="322" y="433"/>
                </a:lnTo>
                <a:lnTo>
                  <a:pt x="320" y="434"/>
                </a:lnTo>
                <a:lnTo>
                  <a:pt x="320" y="432"/>
                </a:lnTo>
                <a:lnTo>
                  <a:pt x="319" y="430"/>
                </a:lnTo>
                <a:lnTo>
                  <a:pt x="318" y="430"/>
                </a:lnTo>
                <a:lnTo>
                  <a:pt x="318" y="425"/>
                </a:lnTo>
                <a:lnTo>
                  <a:pt x="319" y="425"/>
                </a:lnTo>
                <a:lnTo>
                  <a:pt x="317" y="422"/>
                </a:lnTo>
                <a:lnTo>
                  <a:pt x="317" y="421"/>
                </a:lnTo>
                <a:lnTo>
                  <a:pt x="316" y="422"/>
                </a:lnTo>
                <a:lnTo>
                  <a:pt x="317" y="422"/>
                </a:lnTo>
                <a:lnTo>
                  <a:pt x="317" y="425"/>
                </a:lnTo>
                <a:lnTo>
                  <a:pt x="316" y="426"/>
                </a:lnTo>
                <a:lnTo>
                  <a:pt x="316" y="428"/>
                </a:lnTo>
                <a:lnTo>
                  <a:pt x="317" y="428"/>
                </a:lnTo>
                <a:lnTo>
                  <a:pt x="314" y="430"/>
                </a:lnTo>
                <a:lnTo>
                  <a:pt x="314" y="438"/>
                </a:lnTo>
                <a:lnTo>
                  <a:pt x="316" y="438"/>
                </a:lnTo>
                <a:lnTo>
                  <a:pt x="316" y="439"/>
                </a:lnTo>
                <a:lnTo>
                  <a:pt x="318" y="439"/>
                </a:lnTo>
                <a:lnTo>
                  <a:pt x="318" y="438"/>
                </a:lnTo>
                <a:lnTo>
                  <a:pt x="319" y="437"/>
                </a:lnTo>
                <a:lnTo>
                  <a:pt x="319" y="438"/>
                </a:lnTo>
                <a:lnTo>
                  <a:pt x="314" y="443"/>
                </a:lnTo>
                <a:lnTo>
                  <a:pt x="316" y="444"/>
                </a:lnTo>
                <a:lnTo>
                  <a:pt x="316" y="445"/>
                </a:lnTo>
                <a:lnTo>
                  <a:pt x="317" y="445"/>
                </a:lnTo>
                <a:lnTo>
                  <a:pt x="317" y="443"/>
                </a:lnTo>
                <a:lnTo>
                  <a:pt x="318" y="443"/>
                </a:lnTo>
                <a:lnTo>
                  <a:pt x="318" y="444"/>
                </a:lnTo>
                <a:lnTo>
                  <a:pt x="319" y="444"/>
                </a:lnTo>
                <a:lnTo>
                  <a:pt x="319" y="445"/>
                </a:lnTo>
                <a:lnTo>
                  <a:pt x="320" y="444"/>
                </a:lnTo>
                <a:lnTo>
                  <a:pt x="322" y="445"/>
                </a:lnTo>
                <a:lnTo>
                  <a:pt x="322" y="446"/>
                </a:lnTo>
                <a:lnTo>
                  <a:pt x="320" y="446"/>
                </a:lnTo>
                <a:lnTo>
                  <a:pt x="320" y="448"/>
                </a:lnTo>
                <a:lnTo>
                  <a:pt x="322" y="449"/>
                </a:lnTo>
                <a:lnTo>
                  <a:pt x="322" y="453"/>
                </a:lnTo>
                <a:lnTo>
                  <a:pt x="320" y="453"/>
                </a:lnTo>
                <a:lnTo>
                  <a:pt x="320" y="457"/>
                </a:lnTo>
                <a:lnTo>
                  <a:pt x="319" y="458"/>
                </a:lnTo>
                <a:lnTo>
                  <a:pt x="318" y="458"/>
                </a:lnTo>
                <a:lnTo>
                  <a:pt x="318" y="457"/>
                </a:lnTo>
                <a:lnTo>
                  <a:pt x="317" y="457"/>
                </a:lnTo>
                <a:lnTo>
                  <a:pt x="318" y="455"/>
                </a:lnTo>
                <a:lnTo>
                  <a:pt x="318" y="452"/>
                </a:lnTo>
                <a:lnTo>
                  <a:pt x="313" y="448"/>
                </a:lnTo>
                <a:lnTo>
                  <a:pt x="307" y="445"/>
                </a:lnTo>
                <a:lnTo>
                  <a:pt x="303" y="445"/>
                </a:lnTo>
                <a:lnTo>
                  <a:pt x="303" y="446"/>
                </a:lnTo>
                <a:lnTo>
                  <a:pt x="298" y="446"/>
                </a:lnTo>
                <a:lnTo>
                  <a:pt x="298" y="448"/>
                </a:lnTo>
                <a:lnTo>
                  <a:pt x="297" y="448"/>
                </a:lnTo>
                <a:lnTo>
                  <a:pt x="297" y="449"/>
                </a:lnTo>
                <a:lnTo>
                  <a:pt x="295" y="449"/>
                </a:lnTo>
                <a:lnTo>
                  <a:pt x="294" y="450"/>
                </a:lnTo>
                <a:lnTo>
                  <a:pt x="292" y="450"/>
                </a:lnTo>
                <a:lnTo>
                  <a:pt x="289" y="452"/>
                </a:lnTo>
                <a:lnTo>
                  <a:pt x="288" y="452"/>
                </a:lnTo>
                <a:lnTo>
                  <a:pt x="288" y="453"/>
                </a:lnTo>
                <a:lnTo>
                  <a:pt x="287" y="455"/>
                </a:lnTo>
                <a:lnTo>
                  <a:pt x="286" y="455"/>
                </a:lnTo>
                <a:lnTo>
                  <a:pt x="285" y="453"/>
                </a:lnTo>
                <a:lnTo>
                  <a:pt x="283" y="453"/>
                </a:lnTo>
                <a:lnTo>
                  <a:pt x="282" y="452"/>
                </a:lnTo>
                <a:lnTo>
                  <a:pt x="281" y="452"/>
                </a:lnTo>
                <a:lnTo>
                  <a:pt x="281" y="453"/>
                </a:lnTo>
                <a:lnTo>
                  <a:pt x="280" y="455"/>
                </a:lnTo>
                <a:lnTo>
                  <a:pt x="280" y="456"/>
                </a:lnTo>
                <a:lnTo>
                  <a:pt x="281" y="457"/>
                </a:lnTo>
                <a:lnTo>
                  <a:pt x="280" y="457"/>
                </a:lnTo>
                <a:lnTo>
                  <a:pt x="279" y="458"/>
                </a:lnTo>
                <a:lnTo>
                  <a:pt x="278" y="458"/>
                </a:lnTo>
                <a:lnTo>
                  <a:pt x="272" y="457"/>
                </a:lnTo>
                <a:lnTo>
                  <a:pt x="268" y="455"/>
                </a:lnTo>
                <a:lnTo>
                  <a:pt x="264" y="453"/>
                </a:lnTo>
                <a:lnTo>
                  <a:pt x="263" y="453"/>
                </a:lnTo>
                <a:lnTo>
                  <a:pt x="262" y="452"/>
                </a:lnTo>
                <a:lnTo>
                  <a:pt x="261" y="452"/>
                </a:lnTo>
                <a:lnTo>
                  <a:pt x="261" y="451"/>
                </a:lnTo>
                <a:lnTo>
                  <a:pt x="260" y="448"/>
                </a:lnTo>
                <a:lnTo>
                  <a:pt x="260" y="446"/>
                </a:lnTo>
                <a:lnTo>
                  <a:pt x="257" y="444"/>
                </a:lnTo>
                <a:lnTo>
                  <a:pt x="256" y="444"/>
                </a:lnTo>
                <a:lnTo>
                  <a:pt x="256" y="442"/>
                </a:lnTo>
                <a:lnTo>
                  <a:pt x="258" y="440"/>
                </a:lnTo>
                <a:lnTo>
                  <a:pt x="262" y="440"/>
                </a:lnTo>
                <a:lnTo>
                  <a:pt x="264" y="442"/>
                </a:lnTo>
                <a:lnTo>
                  <a:pt x="268" y="442"/>
                </a:lnTo>
                <a:lnTo>
                  <a:pt x="269" y="440"/>
                </a:lnTo>
                <a:lnTo>
                  <a:pt x="268" y="438"/>
                </a:lnTo>
                <a:lnTo>
                  <a:pt x="269" y="438"/>
                </a:lnTo>
                <a:lnTo>
                  <a:pt x="269" y="437"/>
                </a:lnTo>
                <a:lnTo>
                  <a:pt x="270" y="437"/>
                </a:lnTo>
                <a:lnTo>
                  <a:pt x="269" y="436"/>
                </a:lnTo>
                <a:lnTo>
                  <a:pt x="269" y="433"/>
                </a:lnTo>
                <a:lnTo>
                  <a:pt x="268" y="433"/>
                </a:lnTo>
                <a:lnTo>
                  <a:pt x="268" y="432"/>
                </a:lnTo>
                <a:lnTo>
                  <a:pt x="267" y="432"/>
                </a:lnTo>
                <a:lnTo>
                  <a:pt x="268" y="431"/>
                </a:lnTo>
                <a:lnTo>
                  <a:pt x="268" y="430"/>
                </a:lnTo>
                <a:lnTo>
                  <a:pt x="269" y="430"/>
                </a:lnTo>
                <a:lnTo>
                  <a:pt x="269" y="428"/>
                </a:lnTo>
                <a:lnTo>
                  <a:pt x="272" y="428"/>
                </a:lnTo>
                <a:lnTo>
                  <a:pt x="272" y="427"/>
                </a:lnTo>
                <a:lnTo>
                  <a:pt x="270" y="427"/>
                </a:lnTo>
                <a:lnTo>
                  <a:pt x="272" y="426"/>
                </a:lnTo>
                <a:lnTo>
                  <a:pt x="274" y="426"/>
                </a:lnTo>
                <a:lnTo>
                  <a:pt x="275" y="425"/>
                </a:lnTo>
                <a:lnTo>
                  <a:pt x="275" y="422"/>
                </a:lnTo>
                <a:lnTo>
                  <a:pt x="278" y="422"/>
                </a:lnTo>
                <a:lnTo>
                  <a:pt x="278" y="421"/>
                </a:lnTo>
                <a:lnTo>
                  <a:pt x="279" y="421"/>
                </a:lnTo>
                <a:lnTo>
                  <a:pt x="279" y="418"/>
                </a:lnTo>
                <a:lnTo>
                  <a:pt x="278" y="416"/>
                </a:lnTo>
                <a:lnTo>
                  <a:pt x="278" y="415"/>
                </a:lnTo>
                <a:lnTo>
                  <a:pt x="279" y="414"/>
                </a:lnTo>
                <a:lnTo>
                  <a:pt x="287" y="412"/>
                </a:lnTo>
                <a:lnTo>
                  <a:pt x="288" y="412"/>
                </a:lnTo>
                <a:lnTo>
                  <a:pt x="288" y="410"/>
                </a:lnTo>
                <a:lnTo>
                  <a:pt x="287" y="407"/>
                </a:lnTo>
                <a:lnTo>
                  <a:pt x="287" y="405"/>
                </a:lnTo>
                <a:lnTo>
                  <a:pt x="289" y="402"/>
                </a:lnTo>
                <a:lnTo>
                  <a:pt x="291" y="400"/>
                </a:lnTo>
                <a:lnTo>
                  <a:pt x="287" y="396"/>
                </a:lnTo>
                <a:lnTo>
                  <a:pt x="287" y="391"/>
                </a:lnTo>
                <a:lnTo>
                  <a:pt x="286" y="389"/>
                </a:lnTo>
                <a:lnTo>
                  <a:pt x="286" y="385"/>
                </a:lnTo>
                <a:lnTo>
                  <a:pt x="287" y="383"/>
                </a:lnTo>
                <a:lnTo>
                  <a:pt x="291" y="382"/>
                </a:lnTo>
                <a:lnTo>
                  <a:pt x="292" y="381"/>
                </a:lnTo>
                <a:lnTo>
                  <a:pt x="293" y="381"/>
                </a:lnTo>
                <a:lnTo>
                  <a:pt x="297" y="378"/>
                </a:lnTo>
                <a:lnTo>
                  <a:pt x="298" y="378"/>
                </a:lnTo>
                <a:lnTo>
                  <a:pt x="298" y="389"/>
                </a:lnTo>
                <a:lnTo>
                  <a:pt x="299" y="389"/>
                </a:lnTo>
                <a:lnTo>
                  <a:pt x="301" y="387"/>
                </a:lnTo>
                <a:lnTo>
                  <a:pt x="301" y="384"/>
                </a:lnTo>
                <a:lnTo>
                  <a:pt x="303" y="383"/>
                </a:lnTo>
                <a:lnTo>
                  <a:pt x="304" y="385"/>
                </a:lnTo>
                <a:lnTo>
                  <a:pt x="305" y="385"/>
                </a:lnTo>
                <a:lnTo>
                  <a:pt x="308" y="382"/>
                </a:lnTo>
                <a:lnTo>
                  <a:pt x="310" y="382"/>
                </a:lnTo>
                <a:lnTo>
                  <a:pt x="310" y="385"/>
                </a:lnTo>
                <a:lnTo>
                  <a:pt x="312" y="385"/>
                </a:lnTo>
                <a:lnTo>
                  <a:pt x="312" y="387"/>
                </a:lnTo>
                <a:lnTo>
                  <a:pt x="313" y="387"/>
                </a:lnTo>
                <a:lnTo>
                  <a:pt x="313" y="388"/>
                </a:lnTo>
                <a:lnTo>
                  <a:pt x="314" y="389"/>
                </a:lnTo>
                <a:lnTo>
                  <a:pt x="317" y="389"/>
                </a:lnTo>
                <a:lnTo>
                  <a:pt x="317" y="385"/>
                </a:lnTo>
                <a:lnTo>
                  <a:pt x="319" y="385"/>
                </a:lnTo>
                <a:lnTo>
                  <a:pt x="319" y="383"/>
                </a:lnTo>
                <a:lnTo>
                  <a:pt x="320" y="383"/>
                </a:lnTo>
                <a:lnTo>
                  <a:pt x="323" y="385"/>
                </a:lnTo>
                <a:lnTo>
                  <a:pt x="323" y="387"/>
                </a:lnTo>
                <a:lnTo>
                  <a:pt x="324" y="388"/>
                </a:lnTo>
                <a:lnTo>
                  <a:pt x="324" y="390"/>
                </a:lnTo>
                <a:lnTo>
                  <a:pt x="325" y="390"/>
                </a:lnTo>
                <a:lnTo>
                  <a:pt x="326" y="389"/>
                </a:lnTo>
                <a:lnTo>
                  <a:pt x="335" y="389"/>
                </a:lnTo>
                <a:lnTo>
                  <a:pt x="336" y="388"/>
                </a:lnTo>
                <a:lnTo>
                  <a:pt x="337" y="385"/>
                </a:lnTo>
                <a:lnTo>
                  <a:pt x="335" y="385"/>
                </a:lnTo>
                <a:lnTo>
                  <a:pt x="335" y="384"/>
                </a:lnTo>
                <a:lnTo>
                  <a:pt x="332" y="383"/>
                </a:lnTo>
                <a:lnTo>
                  <a:pt x="332" y="381"/>
                </a:lnTo>
                <a:lnTo>
                  <a:pt x="331" y="381"/>
                </a:lnTo>
                <a:lnTo>
                  <a:pt x="331" y="382"/>
                </a:lnTo>
                <a:lnTo>
                  <a:pt x="330" y="382"/>
                </a:lnTo>
                <a:lnTo>
                  <a:pt x="330" y="381"/>
                </a:lnTo>
                <a:lnTo>
                  <a:pt x="328" y="379"/>
                </a:lnTo>
                <a:lnTo>
                  <a:pt x="328" y="377"/>
                </a:lnTo>
                <a:lnTo>
                  <a:pt x="329" y="377"/>
                </a:lnTo>
                <a:lnTo>
                  <a:pt x="330" y="376"/>
                </a:lnTo>
                <a:lnTo>
                  <a:pt x="329" y="375"/>
                </a:lnTo>
                <a:lnTo>
                  <a:pt x="329" y="371"/>
                </a:lnTo>
                <a:lnTo>
                  <a:pt x="330" y="367"/>
                </a:lnTo>
                <a:lnTo>
                  <a:pt x="330" y="365"/>
                </a:lnTo>
                <a:lnTo>
                  <a:pt x="329" y="365"/>
                </a:lnTo>
                <a:lnTo>
                  <a:pt x="329" y="362"/>
                </a:lnTo>
                <a:lnTo>
                  <a:pt x="326" y="362"/>
                </a:lnTo>
                <a:lnTo>
                  <a:pt x="326" y="360"/>
                </a:lnTo>
                <a:lnTo>
                  <a:pt x="325" y="359"/>
                </a:lnTo>
                <a:lnTo>
                  <a:pt x="322" y="359"/>
                </a:lnTo>
                <a:lnTo>
                  <a:pt x="319" y="357"/>
                </a:lnTo>
                <a:lnTo>
                  <a:pt x="319" y="356"/>
                </a:lnTo>
                <a:lnTo>
                  <a:pt x="316" y="356"/>
                </a:lnTo>
                <a:lnTo>
                  <a:pt x="316" y="354"/>
                </a:lnTo>
                <a:lnTo>
                  <a:pt x="313" y="354"/>
                </a:lnTo>
                <a:lnTo>
                  <a:pt x="313" y="350"/>
                </a:lnTo>
                <a:lnTo>
                  <a:pt x="314" y="348"/>
                </a:lnTo>
                <a:lnTo>
                  <a:pt x="314" y="345"/>
                </a:lnTo>
                <a:lnTo>
                  <a:pt x="312" y="345"/>
                </a:lnTo>
                <a:lnTo>
                  <a:pt x="312" y="346"/>
                </a:lnTo>
                <a:lnTo>
                  <a:pt x="311" y="346"/>
                </a:lnTo>
                <a:lnTo>
                  <a:pt x="310" y="344"/>
                </a:lnTo>
                <a:lnTo>
                  <a:pt x="310" y="342"/>
                </a:lnTo>
                <a:lnTo>
                  <a:pt x="312" y="342"/>
                </a:lnTo>
                <a:lnTo>
                  <a:pt x="312" y="341"/>
                </a:lnTo>
                <a:lnTo>
                  <a:pt x="313" y="340"/>
                </a:lnTo>
                <a:lnTo>
                  <a:pt x="312" y="336"/>
                </a:lnTo>
                <a:lnTo>
                  <a:pt x="312" y="335"/>
                </a:lnTo>
                <a:lnTo>
                  <a:pt x="313" y="335"/>
                </a:lnTo>
                <a:lnTo>
                  <a:pt x="314" y="334"/>
                </a:lnTo>
                <a:lnTo>
                  <a:pt x="314" y="333"/>
                </a:lnTo>
                <a:lnTo>
                  <a:pt x="313" y="332"/>
                </a:lnTo>
                <a:lnTo>
                  <a:pt x="313" y="330"/>
                </a:lnTo>
                <a:lnTo>
                  <a:pt x="312" y="329"/>
                </a:lnTo>
                <a:lnTo>
                  <a:pt x="310" y="329"/>
                </a:lnTo>
                <a:lnTo>
                  <a:pt x="310" y="330"/>
                </a:lnTo>
                <a:lnTo>
                  <a:pt x="308" y="332"/>
                </a:lnTo>
                <a:lnTo>
                  <a:pt x="308" y="333"/>
                </a:lnTo>
                <a:lnTo>
                  <a:pt x="306" y="333"/>
                </a:lnTo>
                <a:lnTo>
                  <a:pt x="306" y="332"/>
                </a:lnTo>
                <a:lnTo>
                  <a:pt x="305" y="332"/>
                </a:lnTo>
                <a:lnTo>
                  <a:pt x="305" y="328"/>
                </a:lnTo>
                <a:lnTo>
                  <a:pt x="304" y="327"/>
                </a:lnTo>
                <a:lnTo>
                  <a:pt x="303" y="327"/>
                </a:lnTo>
                <a:lnTo>
                  <a:pt x="301" y="326"/>
                </a:lnTo>
                <a:lnTo>
                  <a:pt x="301" y="325"/>
                </a:lnTo>
                <a:lnTo>
                  <a:pt x="299" y="322"/>
                </a:lnTo>
                <a:lnTo>
                  <a:pt x="298" y="322"/>
                </a:lnTo>
                <a:lnTo>
                  <a:pt x="298" y="323"/>
                </a:lnTo>
                <a:lnTo>
                  <a:pt x="297" y="323"/>
                </a:lnTo>
                <a:lnTo>
                  <a:pt x="297" y="322"/>
                </a:lnTo>
                <a:lnTo>
                  <a:pt x="294" y="317"/>
                </a:lnTo>
                <a:lnTo>
                  <a:pt x="295" y="315"/>
                </a:lnTo>
                <a:lnTo>
                  <a:pt x="297" y="314"/>
                </a:lnTo>
                <a:lnTo>
                  <a:pt x="297" y="313"/>
                </a:lnTo>
                <a:lnTo>
                  <a:pt x="298" y="310"/>
                </a:lnTo>
                <a:lnTo>
                  <a:pt x="298" y="305"/>
                </a:lnTo>
                <a:lnTo>
                  <a:pt x="299" y="304"/>
                </a:lnTo>
                <a:lnTo>
                  <a:pt x="299" y="302"/>
                </a:lnTo>
                <a:lnTo>
                  <a:pt x="298" y="302"/>
                </a:lnTo>
                <a:lnTo>
                  <a:pt x="297" y="301"/>
                </a:lnTo>
                <a:lnTo>
                  <a:pt x="298" y="299"/>
                </a:lnTo>
                <a:lnTo>
                  <a:pt x="298" y="298"/>
                </a:lnTo>
                <a:lnTo>
                  <a:pt x="299" y="297"/>
                </a:lnTo>
                <a:lnTo>
                  <a:pt x="299" y="296"/>
                </a:lnTo>
                <a:lnTo>
                  <a:pt x="298" y="295"/>
                </a:lnTo>
                <a:lnTo>
                  <a:pt x="297" y="295"/>
                </a:lnTo>
                <a:lnTo>
                  <a:pt x="297" y="291"/>
                </a:lnTo>
                <a:lnTo>
                  <a:pt x="295" y="291"/>
                </a:lnTo>
                <a:lnTo>
                  <a:pt x="295" y="290"/>
                </a:lnTo>
                <a:lnTo>
                  <a:pt x="294" y="289"/>
                </a:lnTo>
                <a:lnTo>
                  <a:pt x="293" y="289"/>
                </a:lnTo>
                <a:lnTo>
                  <a:pt x="292" y="290"/>
                </a:lnTo>
                <a:lnTo>
                  <a:pt x="291" y="292"/>
                </a:lnTo>
                <a:lnTo>
                  <a:pt x="287" y="292"/>
                </a:lnTo>
                <a:lnTo>
                  <a:pt x="287" y="291"/>
                </a:lnTo>
                <a:lnTo>
                  <a:pt x="286" y="291"/>
                </a:lnTo>
                <a:lnTo>
                  <a:pt x="285" y="289"/>
                </a:lnTo>
                <a:lnTo>
                  <a:pt x="282" y="286"/>
                </a:lnTo>
                <a:lnTo>
                  <a:pt x="282" y="284"/>
                </a:lnTo>
                <a:lnTo>
                  <a:pt x="281" y="283"/>
                </a:lnTo>
                <a:lnTo>
                  <a:pt x="281" y="280"/>
                </a:lnTo>
                <a:lnTo>
                  <a:pt x="280" y="280"/>
                </a:lnTo>
                <a:lnTo>
                  <a:pt x="279" y="279"/>
                </a:lnTo>
                <a:lnTo>
                  <a:pt x="275" y="279"/>
                </a:lnTo>
                <a:lnTo>
                  <a:pt x="272" y="278"/>
                </a:lnTo>
                <a:lnTo>
                  <a:pt x="269" y="278"/>
                </a:lnTo>
                <a:lnTo>
                  <a:pt x="268" y="280"/>
                </a:lnTo>
                <a:lnTo>
                  <a:pt x="268" y="284"/>
                </a:lnTo>
                <a:lnTo>
                  <a:pt x="267" y="283"/>
                </a:lnTo>
                <a:lnTo>
                  <a:pt x="266" y="283"/>
                </a:lnTo>
                <a:lnTo>
                  <a:pt x="264" y="280"/>
                </a:lnTo>
                <a:lnTo>
                  <a:pt x="266" y="279"/>
                </a:lnTo>
                <a:lnTo>
                  <a:pt x="266" y="278"/>
                </a:lnTo>
                <a:lnTo>
                  <a:pt x="264" y="277"/>
                </a:lnTo>
                <a:lnTo>
                  <a:pt x="263" y="277"/>
                </a:lnTo>
                <a:lnTo>
                  <a:pt x="263" y="279"/>
                </a:lnTo>
                <a:lnTo>
                  <a:pt x="261" y="279"/>
                </a:lnTo>
                <a:lnTo>
                  <a:pt x="261" y="278"/>
                </a:lnTo>
                <a:lnTo>
                  <a:pt x="263" y="276"/>
                </a:lnTo>
                <a:lnTo>
                  <a:pt x="263" y="273"/>
                </a:lnTo>
                <a:lnTo>
                  <a:pt x="262" y="273"/>
                </a:lnTo>
                <a:lnTo>
                  <a:pt x="262" y="272"/>
                </a:lnTo>
                <a:lnTo>
                  <a:pt x="260" y="273"/>
                </a:lnTo>
                <a:lnTo>
                  <a:pt x="258" y="273"/>
                </a:lnTo>
                <a:lnTo>
                  <a:pt x="258" y="274"/>
                </a:lnTo>
                <a:lnTo>
                  <a:pt x="256" y="274"/>
                </a:lnTo>
                <a:lnTo>
                  <a:pt x="255" y="273"/>
                </a:lnTo>
                <a:lnTo>
                  <a:pt x="255" y="271"/>
                </a:lnTo>
                <a:lnTo>
                  <a:pt x="252" y="273"/>
                </a:lnTo>
                <a:lnTo>
                  <a:pt x="251" y="273"/>
                </a:lnTo>
                <a:lnTo>
                  <a:pt x="250" y="272"/>
                </a:lnTo>
                <a:lnTo>
                  <a:pt x="251" y="270"/>
                </a:lnTo>
                <a:lnTo>
                  <a:pt x="251" y="268"/>
                </a:lnTo>
                <a:lnTo>
                  <a:pt x="250" y="268"/>
                </a:lnTo>
                <a:lnTo>
                  <a:pt x="250" y="267"/>
                </a:lnTo>
                <a:lnTo>
                  <a:pt x="245" y="267"/>
                </a:lnTo>
                <a:lnTo>
                  <a:pt x="243" y="265"/>
                </a:lnTo>
                <a:lnTo>
                  <a:pt x="243" y="264"/>
                </a:lnTo>
                <a:lnTo>
                  <a:pt x="241" y="261"/>
                </a:lnTo>
                <a:lnTo>
                  <a:pt x="238" y="260"/>
                </a:lnTo>
                <a:lnTo>
                  <a:pt x="237" y="259"/>
                </a:lnTo>
                <a:lnTo>
                  <a:pt x="231" y="259"/>
                </a:lnTo>
                <a:lnTo>
                  <a:pt x="231" y="258"/>
                </a:lnTo>
                <a:lnTo>
                  <a:pt x="230" y="256"/>
                </a:lnTo>
                <a:lnTo>
                  <a:pt x="229" y="258"/>
                </a:lnTo>
                <a:lnTo>
                  <a:pt x="226" y="258"/>
                </a:lnTo>
                <a:lnTo>
                  <a:pt x="223" y="261"/>
                </a:lnTo>
                <a:lnTo>
                  <a:pt x="221" y="261"/>
                </a:lnTo>
                <a:lnTo>
                  <a:pt x="220" y="260"/>
                </a:lnTo>
                <a:lnTo>
                  <a:pt x="219" y="260"/>
                </a:lnTo>
                <a:lnTo>
                  <a:pt x="214" y="265"/>
                </a:lnTo>
                <a:lnTo>
                  <a:pt x="212" y="265"/>
                </a:lnTo>
                <a:lnTo>
                  <a:pt x="208" y="264"/>
                </a:lnTo>
                <a:lnTo>
                  <a:pt x="207" y="262"/>
                </a:lnTo>
                <a:lnTo>
                  <a:pt x="206" y="262"/>
                </a:lnTo>
                <a:lnTo>
                  <a:pt x="206" y="265"/>
                </a:lnTo>
                <a:lnTo>
                  <a:pt x="205" y="265"/>
                </a:lnTo>
                <a:lnTo>
                  <a:pt x="202" y="266"/>
                </a:lnTo>
                <a:lnTo>
                  <a:pt x="199" y="262"/>
                </a:lnTo>
                <a:lnTo>
                  <a:pt x="198" y="262"/>
                </a:lnTo>
                <a:lnTo>
                  <a:pt x="198" y="265"/>
                </a:lnTo>
                <a:lnTo>
                  <a:pt x="196" y="264"/>
                </a:lnTo>
                <a:lnTo>
                  <a:pt x="195" y="265"/>
                </a:lnTo>
                <a:lnTo>
                  <a:pt x="196" y="266"/>
                </a:lnTo>
                <a:lnTo>
                  <a:pt x="196" y="270"/>
                </a:lnTo>
                <a:lnTo>
                  <a:pt x="194" y="270"/>
                </a:lnTo>
                <a:lnTo>
                  <a:pt x="193" y="268"/>
                </a:lnTo>
                <a:lnTo>
                  <a:pt x="193" y="267"/>
                </a:lnTo>
                <a:lnTo>
                  <a:pt x="192" y="267"/>
                </a:lnTo>
                <a:lnTo>
                  <a:pt x="192" y="268"/>
                </a:lnTo>
                <a:lnTo>
                  <a:pt x="189" y="270"/>
                </a:lnTo>
                <a:lnTo>
                  <a:pt x="189" y="271"/>
                </a:lnTo>
                <a:lnTo>
                  <a:pt x="188" y="272"/>
                </a:lnTo>
                <a:lnTo>
                  <a:pt x="182" y="273"/>
                </a:lnTo>
                <a:lnTo>
                  <a:pt x="179" y="273"/>
                </a:lnTo>
                <a:lnTo>
                  <a:pt x="177" y="274"/>
                </a:lnTo>
                <a:lnTo>
                  <a:pt x="176" y="274"/>
                </a:lnTo>
                <a:lnTo>
                  <a:pt x="175" y="277"/>
                </a:lnTo>
                <a:lnTo>
                  <a:pt x="175" y="280"/>
                </a:lnTo>
                <a:lnTo>
                  <a:pt x="174" y="282"/>
                </a:lnTo>
                <a:lnTo>
                  <a:pt x="174" y="283"/>
                </a:lnTo>
                <a:lnTo>
                  <a:pt x="173" y="284"/>
                </a:lnTo>
                <a:lnTo>
                  <a:pt x="173" y="285"/>
                </a:lnTo>
                <a:lnTo>
                  <a:pt x="171" y="285"/>
                </a:lnTo>
                <a:lnTo>
                  <a:pt x="170" y="287"/>
                </a:lnTo>
                <a:lnTo>
                  <a:pt x="170" y="289"/>
                </a:lnTo>
                <a:lnTo>
                  <a:pt x="164" y="289"/>
                </a:lnTo>
                <a:lnTo>
                  <a:pt x="162" y="290"/>
                </a:lnTo>
                <a:lnTo>
                  <a:pt x="157" y="290"/>
                </a:lnTo>
                <a:lnTo>
                  <a:pt x="152" y="292"/>
                </a:lnTo>
                <a:lnTo>
                  <a:pt x="132" y="295"/>
                </a:lnTo>
                <a:lnTo>
                  <a:pt x="130" y="296"/>
                </a:lnTo>
                <a:lnTo>
                  <a:pt x="126" y="302"/>
                </a:lnTo>
                <a:lnTo>
                  <a:pt x="124" y="304"/>
                </a:lnTo>
                <a:lnTo>
                  <a:pt x="121" y="305"/>
                </a:lnTo>
                <a:lnTo>
                  <a:pt x="115" y="305"/>
                </a:lnTo>
                <a:lnTo>
                  <a:pt x="114" y="304"/>
                </a:lnTo>
                <a:lnTo>
                  <a:pt x="113" y="302"/>
                </a:lnTo>
                <a:lnTo>
                  <a:pt x="113" y="301"/>
                </a:lnTo>
                <a:lnTo>
                  <a:pt x="112" y="299"/>
                </a:lnTo>
                <a:lnTo>
                  <a:pt x="108" y="298"/>
                </a:lnTo>
                <a:lnTo>
                  <a:pt x="107" y="298"/>
                </a:lnTo>
                <a:lnTo>
                  <a:pt x="106" y="297"/>
                </a:lnTo>
                <a:lnTo>
                  <a:pt x="106" y="295"/>
                </a:lnTo>
                <a:lnTo>
                  <a:pt x="105" y="293"/>
                </a:lnTo>
                <a:lnTo>
                  <a:pt x="105" y="292"/>
                </a:lnTo>
                <a:lnTo>
                  <a:pt x="102" y="291"/>
                </a:lnTo>
                <a:lnTo>
                  <a:pt x="95" y="291"/>
                </a:lnTo>
                <a:lnTo>
                  <a:pt x="93" y="292"/>
                </a:lnTo>
                <a:lnTo>
                  <a:pt x="92" y="292"/>
                </a:lnTo>
                <a:lnTo>
                  <a:pt x="88" y="295"/>
                </a:lnTo>
                <a:lnTo>
                  <a:pt x="87" y="295"/>
                </a:lnTo>
                <a:lnTo>
                  <a:pt x="84" y="293"/>
                </a:lnTo>
                <a:lnTo>
                  <a:pt x="82" y="291"/>
                </a:lnTo>
                <a:lnTo>
                  <a:pt x="80" y="291"/>
                </a:lnTo>
                <a:lnTo>
                  <a:pt x="78" y="290"/>
                </a:lnTo>
                <a:lnTo>
                  <a:pt x="77" y="290"/>
                </a:lnTo>
                <a:lnTo>
                  <a:pt x="74" y="292"/>
                </a:lnTo>
                <a:lnTo>
                  <a:pt x="73" y="292"/>
                </a:lnTo>
                <a:lnTo>
                  <a:pt x="73" y="291"/>
                </a:lnTo>
                <a:lnTo>
                  <a:pt x="70" y="289"/>
                </a:lnTo>
                <a:lnTo>
                  <a:pt x="65" y="289"/>
                </a:lnTo>
                <a:lnTo>
                  <a:pt x="64" y="287"/>
                </a:lnTo>
                <a:lnTo>
                  <a:pt x="58" y="287"/>
                </a:lnTo>
                <a:lnTo>
                  <a:pt x="57" y="289"/>
                </a:lnTo>
                <a:lnTo>
                  <a:pt x="57" y="290"/>
                </a:lnTo>
                <a:lnTo>
                  <a:pt x="56" y="290"/>
                </a:lnTo>
                <a:lnTo>
                  <a:pt x="53" y="289"/>
                </a:lnTo>
                <a:lnTo>
                  <a:pt x="51" y="289"/>
                </a:lnTo>
                <a:lnTo>
                  <a:pt x="51" y="287"/>
                </a:lnTo>
                <a:lnTo>
                  <a:pt x="46" y="283"/>
                </a:lnTo>
                <a:lnTo>
                  <a:pt x="43" y="282"/>
                </a:lnTo>
                <a:lnTo>
                  <a:pt x="42" y="282"/>
                </a:lnTo>
                <a:lnTo>
                  <a:pt x="40" y="283"/>
                </a:lnTo>
                <a:lnTo>
                  <a:pt x="39" y="286"/>
                </a:lnTo>
                <a:lnTo>
                  <a:pt x="39" y="287"/>
                </a:lnTo>
                <a:lnTo>
                  <a:pt x="37" y="289"/>
                </a:lnTo>
                <a:lnTo>
                  <a:pt x="36" y="289"/>
                </a:lnTo>
                <a:lnTo>
                  <a:pt x="34" y="287"/>
                </a:lnTo>
                <a:lnTo>
                  <a:pt x="33" y="287"/>
                </a:lnTo>
                <a:lnTo>
                  <a:pt x="33" y="290"/>
                </a:lnTo>
                <a:lnTo>
                  <a:pt x="32" y="291"/>
                </a:lnTo>
                <a:lnTo>
                  <a:pt x="31" y="291"/>
                </a:lnTo>
                <a:lnTo>
                  <a:pt x="30" y="290"/>
                </a:lnTo>
                <a:lnTo>
                  <a:pt x="30" y="287"/>
                </a:lnTo>
                <a:lnTo>
                  <a:pt x="31" y="286"/>
                </a:lnTo>
                <a:lnTo>
                  <a:pt x="31" y="285"/>
                </a:lnTo>
                <a:lnTo>
                  <a:pt x="30" y="284"/>
                </a:lnTo>
                <a:lnTo>
                  <a:pt x="30" y="283"/>
                </a:lnTo>
                <a:lnTo>
                  <a:pt x="28" y="282"/>
                </a:lnTo>
                <a:lnTo>
                  <a:pt x="26" y="282"/>
                </a:lnTo>
                <a:lnTo>
                  <a:pt x="26" y="280"/>
                </a:lnTo>
                <a:lnTo>
                  <a:pt x="25" y="280"/>
                </a:lnTo>
                <a:lnTo>
                  <a:pt x="24" y="282"/>
                </a:lnTo>
                <a:lnTo>
                  <a:pt x="19" y="282"/>
                </a:lnTo>
                <a:lnTo>
                  <a:pt x="19" y="280"/>
                </a:lnTo>
                <a:lnTo>
                  <a:pt x="18" y="278"/>
                </a:lnTo>
                <a:lnTo>
                  <a:pt x="18" y="277"/>
                </a:lnTo>
                <a:lnTo>
                  <a:pt x="14" y="272"/>
                </a:lnTo>
                <a:lnTo>
                  <a:pt x="13" y="273"/>
                </a:lnTo>
                <a:lnTo>
                  <a:pt x="12" y="273"/>
                </a:lnTo>
                <a:lnTo>
                  <a:pt x="11" y="272"/>
                </a:lnTo>
                <a:lnTo>
                  <a:pt x="11" y="273"/>
                </a:lnTo>
                <a:lnTo>
                  <a:pt x="9" y="273"/>
                </a:lnTo>
                <a:lnTo>
                  <a:pt x="9" y="272"/>
                </a:lnTo>
                <a:lnTo>
                  <a:pt x="7" y="270"/>
                </a:lnTo>
                <a:lnTo>
                  <a:pt x="7" y="265"/>
                </a:lnTo>
                <a:lnTo>
                  <a:pt x="5" y="265"/>
                </a:lnTo>
                <a:lnTo>
                  <a:pt x="5" y="264"/>
                </a:lnTo>
                <a:lnTo>
                  <a:pt x="6" y="262"/>
                </a:lnTo>
                <a:lnTo>
                  <a:pt x="5" y="261"/>
                </a:lnTo>
                <a:lnTo>
                  <a:pt x="1" y="261"/>
                </a:lnTo>
                <a:lnTo>
                  <a:pt x="1" y="262"/>
                </a:lnTo>
                <a:lnTo>
                  <a:pt x="0" y="262"/>
                </a:lnTo>
                <a:lnTo>
                  <a:pt x="0" y="252"/>
                </a:lnTo>
                <a:lnTo>
                  <a:pt x="5" y="247"/>
                </a:lnTo>
                <a:lnTo>
                  <a:pt x="5" y="246"/>
                </a:lnTo>
                <a:lnTo>
                  <a:pt x="7" y="246"/>
                </a:lnTo>
                <a:lnTo>
                  <a:pt x="7" y="244"/>
                </a:lnTo>
                <a:lnTo>
                  <a:pt x="8" y="243"/>
                </a:lnTo>
                <a:lnTo>
                  <a:pt x="8" y="240"/>
                </a:lnTo>
                <a:lnTo>
                  <a:pt x="9" y="239"/>
                </a:lnTo>
                <a:lnTo>
                  <a:pt x="9" y="234"/>
                </a:lnTo>
                <a:lnTo>
                  <a:pt x="11" y="233"/>
                </a:lnTo>
                <a:lnTo>
                  <a:pt x="11" y="231"/>
                </a:lnTo>
                <a:lnTo>
                  <a:pt x="12" y="231"/>
                </a:lnTo>
                <a:lnTo>
                  <a:pt x="12" y="229"/>
                </a:lnTo>
                <a:lnTo>
                  <a:pt x="13" y="225"/>
                </a:lnTo>
                <a:lnTo>
                  <a:pt x="15" y="225"/>
                </a:lnTo>
                <a:lnTo>
                  <a:pt x="16" y="224"/>
                </a:lnTo>
                <a:lnTo>
                  <a:pt x="16" y="219"/>
                </a:lnTo>
                <a:lnTo>
                  <a:pt x="18" y="218"/>
                </a:lnTo>
                <a:lnTo>
                  <a:pt x="21" y="222"/>
                </a:lnTo>
                <a:lnTo>
                  <a:pt x="25" y="222"/>
                </a:lnTo>
                <a:lnTo>
                  <a:pt x="26" y="221"/>
                </a:lnTo>
                <a:lnTo>
                  <a:pt x="26" y="222"/>
                </a:lnTo>
                <a:lnTo>
                  <a:pt x="27" y="223"/>
                </a:lnTo>
                <a:lnTo>
                  <a:pt x="28" y="223"/>
                </a:lnTo>
                <a:lnTo>
                  <a:pt x="30" y="224"/>
                </a:lnTo>
                <a:lnTo>
                  <a:pt x="31" y="224"/>
                </a:lnTo>
                <a:lnTo>
                  <a:pt x="31" y="223"/>
                </a:lnTo>
                <a:lnTo>
                  <a:pt x="30" y="222"/>
                </a:lnTo>
                <a:lnTo>
                  <a:pt x="30" y="218"/>
                </a:lnTo>
                <a:lnTo>
                  <a:pt x="27" y="217"/>
                </a:lnTo>
                <a:lnTo>
                  <a:pt x="27" y="216"/>
                </a:lnTo>
                <a:lnTo>
                  <a:pt x="25" y="213"/>
                </a:lnTo>
                <a:lnTo>
                  <a:pt x="24" y="213"/>
                </a:lnTo>
                <a:lnTo>
                  <a:pt x="24" y="211"/>
                </a:lnTo>
                <a:lnTo>
                  <a:pt x="25" y="209"/>
                </a:lnTo>
                <a:lnTo>
                  <a:pt x="25" y="199"/>
                </a:lnTo>
                <a:lnTo>
                  <a:pt x="22" y="197"/>
                </a:lnTo>
                <a:lnTo>
                  <a:pt x="22" y="192"/>
                </a:lnTo>
                <a:lnTo>
                  <a:pt x="21" y="190"/>
                </a:lnTo>
                <a:lnTo>
                  <a:pt x="22" y="187"/>
                </a:lnTo>
                <a:lnTo>
                  <a:pt x="26" y="184"/>
                </a:lnTo>
                <a:lnTo>
                  <a:pt x="26" y="180"/>
                </a:lnTo>
                <a:lnTo>
                  <a:pt x="28" y="180"/>
                </a:lnTo>
                <a:lnTo>
                  <a:pt x="30" y="179"/>
                </a:lnTo>
                <a:lnTo>
                  <a:pt x="32" y="174"/>
                </a:lnTo>
                <a:lnTo>
                  <a:pt x="34" y="172"/>
                </a:lnTo>
                <a:lnTo>
                  <a:pt x="34" y="170"/>
                </a:lnTo>
                <a:lnTo>
                  <a:pt x="36" y="169"/>
                </a:lnTo>
                <a:lnTo>
                  <a:pt x="40" y="162"/>
                </a:lnTo>
                <a:lnTo>
                  <a:pt x="45" y="157"/>
                </a:lnTo>
                <a:lnTo>
                  <a:pt x="55" y="147"/>
                </a:lnTo>
                <a:lnTo>
                  <a:pt x="57" y="145"/>
                </a:lnTo>
                <a:lnTo>
                  <a:pt x="61" y="142"/>
                </a:lnTo>
                <a:lnTo>
                  <a:pt x="63" y="138"/>
                </a:lnTo>
                <a:lnTo>
                  <a:pt x="64" y="138"/>
                </a:lnTo>
                <a:lnTo>
                  <a:pt x="64" y="136"/>
                </a:lnTo>
                <a:lnTo>
                  <a:pt x="67" y="133"/>
                </a:lnTo>
                <a:lnTo>
                  <a:pt x="76" y="133"/>
                </a:lnTo>
                <a:lnTo>
                  <a:pt x="77" y="132"/>
                </a:lnTo>
                <a:lnTo>
                  <a:pt x="78" y="130"/>
                </a:lnTo>
                <a:lnTo>
                  <a:pt x="78" y="126"/>
                </a:lnTo>
                <a:lnTo>
                  <a:pt x="82" y="125"/>
                </a:lnTo>
                <a:lnTo>
                  <a:pt x="82" y="124"/>
                </a:lnTo>
                <a:lnTo>
                  <a:pt x="83" y="124"/>
                </a:lnTo>
                <a:lnTo>
                  <a:pt x="82" y="123"/>
                </a:lnTo>
                <a:lnTo>
                  <a:pt x="82" y="119"/>
                </a:lnTo>
                <a:lnTo>
                  <a:pt x="83" y="118"/>
                </a:lnTo>
                <a:lnTo>
                  <a:pt x="82" y="115"/>
                </a:lnTo>
                <a:lnTo>
                  <a:pt x="82" y="112"/>
                </a:lnTo>
                <a:lnTo>
                  <a:pt x="81" y="112"/>
                </a:lnTo>
                <a:lnTo>
                  <a:pt x="78" y="110"/>
                </a:lnTo>
                <a:lnTo>
                  <a:pt x="80" y="108"/>
                </a:lnTo>
                <a:lnTo>
                  <a:pt x="77" y="108"/>
                </a:lnTo>
                <a:lnTo>
                  <a:pt x="77" y="105"/>
                </a:lnTo>
                <a:lnTo>
                  <a:pt x="78" y="104"/>
                </a:lnTo>
                <a:lnTo>
                  <a:pt x="80" y="104"/>
                </a:lnTo>
                <a:lnTo>
                  <a:pt x="81" y="105"/>
                </a:lnTo>
                <a:lnTo>
                  <a:pt x="81" y="104"/>
                </a:lnTo>
                <a:lnTo>
                  <a:pt x="84" y="104"/>
                </a:lnTo>
                <a:lnTo>
                  <a:pt x="84" y="101"/>
                </a:lnTo>
                <a:lnTo>
                  <a:pt x="81" y="100"/>
                </a:lnTo>
                <a:lnTo>
                  <a:pt x="77" y="98"/>
                </a:lnTo>
                <a:lnTo>
                  <a:pt x="77" y="94"/>
                </a:lnTo>
                <a:lnTo>
                  <a:pt x="76" y="94"/>
                </a:lnTo>
                <a:lnTo>
                  <a:pt x="76" y="93"/>
                </a:lnTo>
                <a:lnTo>
                  <a:pt x="75" y="93"/>
                </a:lnTo>
                <a:lnTo>
                  <a:pt x="75" y="89"/>
                </a:lnTo>
                <a:lnTo>
                  <a:pt x="74" y="88"/>
                </a:lnTo>
                <a:lnTo>
                  <a:pt x="73" y="86"/>
                </a:lnTo>
                <a:lnTo>
                  <a:pt x="73" y="84"/>
                </a:lnTo>
                <a:lnTo>
                  <a:pt x="74" y="83"/>
                </a:lnTo>
                <a:lnTo>
                  <a:pt x="73" y="83"/>
                </a:lnTo>
                <a:lnTo>
                  <a:pt x="71" y="81"/>
                </a:lnTo>
                <a:lnTo>
                  <a:pt x="69" y="80"/>
                </a:lnTo>
                <a:lnTo>
                  <a:pt x="68" y="78"/>
                </a:lnTo>
                <a:lnTo>
                  <a:pt x="65" y="74"/>
                </a:lnTo>
                <a:lnTo>
                  <a:pt x="64" y="72"/>
                </a:lnTo>
                <a:lnTo>
                  <a:pt x="63" y="72"/>
                </a:lnTo>
                <a:lnTo>
                  <a:pt x="63" y="70"/>
                </a:lnTo>
                <a:lnTo>
                  <a:pt x="64" y="69"/>
                </a:lnTo>
                <a:lnTo>
                  <a:pt x="64" y="68"/>
                </a:lnTo>
                <a:lnTo>
                  <a:pt x="65" y="68"/>
                </a:lnTo>
                <a:lnTo>
                  <a:pt x="65" y="65"/>
                </a:lnTo>
                <a:lnTo>
                  <a:pt x="64" y="62"/>
                </a:lnTo>
                <a:lnTo>
                  <a:pt x="64" y="61"/>
                </a:lnTo>
                <a:lnTo>
                  <a:pt x="63" y="59"/>
                </a:lnTo>
                <a:lnTo>
                  <a:pt x="62" y="59"/>
                </a:lnTo>
                <a:lnTo>
                  <a:pt x="62" y="58"/>
                </a:lnTo>
                <a:lnTo>
                  <a:pt x="63" y="58"/>
                </a:lnTo>
                <a:lnTo>
                  <a:pt x="63" y="57"/>
                </a:lnTo>
                <a:lnTo>
                  <a:pt x="62" y="53"/>
                </a:lnTo>
                <a:lnTo>
                  <a:pt x="62" y="51"/>
                </a:lnTo>
                <a:lnTo>
                  <a:pt x="63" y="51"/>
                </a:lnTo>
                <a:lnTo>
                  <a:pt x="67" y="50"/>
                </a:lnTo>
                <a:lnTo>
                  <a:pt x="73" y="50"/>
                </a:lnTo>
                <a:lnTo>
                  <a:pt x="76" y="53"/>
                </a:lnTo>
                <a:lnTo>
                  <a:pt x="77" y="53"/>
                </a:lnTo>
                <a:lnTo>
                  <a:pt x="84" y="47"/>
                </a:lnTo>
                <a:lnTo>
                  <a:pt x="89" y="44"/>
                </a:lnTo>
                <a:lnTo>
                  <a:pt x="90" y="43"/>
                </a:lnTo>
                <a:lnTo>
                  <a:pt x="92" y="38"/>
                </a:lnTo>
                <a:lnTo>
                  <a:pt x="92" y="37"/>
                </a:lnTo>
                <a:lnTo>
                  <a:pt x="93" y="34"/>
                </a:lnTo>
                <a:lnTo>
                  <a:pt x="94" y="33"/>
                </a:lnTo>
                <a:lnTo>
                  <a:pt x="109" y="33"/>
                </a:lnTo>
                <a:lnTo>
                  <a:pt x="121" y="31"/>
                </a:lnTo>
                <a:lnTo>
                  <a:pt x="125" y="29"/>
                </a:lnTo>
                <a:lnTo>
                  <a:pt x="126" y="28"/>
                </a:lnTo>
                <a:lnTo>
                  <a:pt x="129" y="28"/>
                </a:lnTo>
                <a:lnTo>
                  <a:pt x="136" y="31"/>
                </a:lnTo>
                <a:lnTo>
                  <a:pt x="150" y="31"/>
                </a:lnTo>
                <a:lnTo>
                  <a:pt x="154" y="29"/>
                </a:lnTo>
                <a:lnTo>
                  <a:pt x="162" y="32"/>
                </a:lnTo>
                <a:lnTo>
                  <a:pt x="167" y="32"/>
                </a:lnTo>
                <a:lnTo>
                  <a:pt x="170" y="35"/>
                </a:lnTo>
                <a:lnTo>
                  <a:pt x="181" y="35"/>
                </a:lnTo>
                <a:lnTo>
                  <a:pt x="181" y="38"/>
                </a:lnTo>
                <a:lnTo>
                  <a:pt x="182" y="38"/>
                </a:lnTo>
                <a:lnTo>
                  <a:pt x="190" y="39"/>
                </a:lnTo>
                <a:lnTo>
                  <a:pt x="199" y="43"/>
                </a:lnTo>
                <a:lnTo>
                  <a:pt x="201" y="43"/>
                </a:lnTo>
                <a:lnTo>
                  <a:pt x="206" y="41"/>
                </a:lnTo>
                <a:lnTo>
                  <a:pt x="212" y="41"/>
                </a:lnTo>
                <a:lnTo>
                  <a:pt x="213" y="43"/>
                </a:lnTo>
                <a:lnTo>
                  <a:pt x="213" y="49"/>
                </a:lnTo>
                <a:lnTo>
                  <a:pt x="217" y="49"/>
                </a:lnTo>
                <a:lnTo>
                  <a:pt x="217" y="50"/>
                </a:lnTo>
                <a:lnTo>
                  <a:pt x="216" y="51"/>
                </a:lnTo>
                <a:lnTo>
                  <a:pt x="216" y="52"/>
                </a:lnTo>
                <a:lnTo>
                  <a:pt x="217" y="53"/>
                </a:lnTo>
                <a:lnTo>
                  <a:pt x="219" y="52"/>
                </a:lnTo>
                <a:lnTo>
                  <a:pt x="221" y="53"/>
                </a:lnTo>
                <a:lnTo>
                  <a:pt x="223" y="53"/>
                </a:lnTo>
                <a:lnTo>
                  <a:pt x="223" y="52"/>
                </a:lnTo>
                <a:lnTo>
                  <a:pt x="224" y="51"/>
                </a:lnTo>
                <a:lnTo>
                  <a:pt x="226" y="51"/>
                </a:lnTo>
                <a:lnTo>
                  <a:pt x="231" y="52"/>
                </a:lnTo>
                <a:lnTo>
                  <a:pt x="233" y="52"/>
                </a:lnTo>
                <a:lnTo>
                  <a:pt x="235" y="53"/>
                </a:lnTo>
                <a:lnTo>
                  <a:pt x="235" y="56"/>
                </a:lnTo>
                <a:lnTo>
                  <a:pt x="233" y="59"/>
                </a:lnTo>
                <a:lnTo>
                  <a:pt x="233" y="61"/>
                </a:lnTo>
                <a:lnTo>
                  <a:pt x="235" y="62"/>
                </a:lnTo>
                <a:lnTo>
                  <a:pt x="236" y="62"/>
                </a:lnTo>
                <a:lnTo>
                  <a:pt x="236" y="61"/>
                </a:lnTo>
                <a:lnTo>
                  <a:pt x="238" y="58"/>
                </a:lnTo>
                <a:lnTo>
                  <a:pt x="238" y="55"/>
                </a:lnTo>
                <a:lnTo>
                  <a:pt x="239" y="53"/>
                </a:lnTo>
                <a:lnTo>
                  <a:pt x="239" y="52"/>
                </a:lnTo>
                <a:lnTo>
                  <a:pt x="241" y="51"/>
                </a:lnTo>
                <a:lnTo>
                  <a:pt x="244" y="55"/>
                </a:lnTo>
                <a:lnTo>
                  <a:pt x="245" y="55"/>
                </a:lnTo>
                <a:lnTo>
                  <a:pt x="247" y="56"/>
                </a:lnTo>
                <a:lnTo>
                  <a:pt x="250" y="56"/>
                </a:lnTo>
                <a:lnTo>
                  <a:pt x="251" y="55"/>
                </a:lnTo>
                <a:lnTo>
                  <a:pt x="252" y="55"/>
                </a:lnTo>
                <a:lnTo>
                  <a:pt x="254" y="51"/>
                </a:lnTo>
                <a:lnTo>
                  <a:pt x="256" y="49"/>
                </a:lnTo>
                <a:lnTo>
                  <a:pt x="257" y="49"/>
                </a:lnTo>
                <a:lnTo>
                  <a:pt x="257" y="51"/>
                </a:lnTo>
                <a:lnTo>
                  <a:pt x="258" y="52"/>
                </a:lnTo>
                <a:lnTo>
                  <a:pt x="258" y="53"/>
                </a:lnTo>
                <a:lnTo>
                  <a:pt x="260" y="53"/>
                </a:lnTo>
                <a:lnTo>
                  <a:pt x="261" y="55"/>
                </a:lnTo>
                <a:lnTo>
                  <a:pt x="261" y="57"/>
                </a:lnTo>
                <a:lnTo>
                  <a:pt x="262" y="57"/>
                </a:lnTo>
                <a:lnTo>
                  <a:pt x="263" y="56"/>
                </a:lnTo>
                <a:lnTo>
                  <a:pt x="266" y="55"/>
                </a:lnTo>
                <a:lnTo>
                  <a:pt x="272" y="55"/>
                </a:lnTo>
                <a:lnTo>
                  <a:pt x="273" y="56"/>
                </a:lnTo>
                <a:lnTo>
                  <a:pt x="273" y="58"/>
                </a:lnTo>
                <a:lnTo>
                  <a:pt x="274" y="62"/>
                </a:lnTo>
                <a:lnTo>
                  <a:pt x="274" y="63"/>
                </a:lnTo>
                <a:lnTo>
                  <a:pt x="275" y="63"/>
                </a:lnTo>
                <a:lnTo>
                  <a:pt x="275" y="64"/>
                </a:lnTo>
                <a:lnTo>
                  <a:pt x="276" y="63"/>
                </a:lnTo>
                <a:lnTo>
                  <a:pt x="278" y="63"/>
                </a:lnTo>
                <a:lnTo>
                  <a:pt x="278" y="65"/>
                </a:lnTo>
                <a:lnTo>
                  <a:pt x="279" y="65"/>
                </a:lnTo>
                <a:lnTo>
                  <a:pt x="279" y="61"/>
                </a:lnTo>
                <a:lnTo>
                  <a:pt x="280" y="58"/>
                </a:lnTo>
                <a:lnTo>
                  <a:pt x="282" y="56"/>
                </a:lnTo>
                <a:lnTo>
                  <a:pt x="283" y="56"/>
                </a:lnTo>
                <a:lnTo>
                  <a:pt x="285" y="55"/>
                </a:lnTo>
                <a:lnTo>
                  <a:pt x="288" y="55"/>
                </a:lnTo>
                <a:lnTo>
                  <a:pt x="289" y="53"/>
                </a:lnTo>
                <a:lnTo>
                  <a:pt x="291" y="51"/>
                </a:lnTo>
                <a:lnTo>
                  <a:pt x="292" y="51"/>
                </a:lnTo>
                <a:lnTo>
                  <a:pt x="292" y="50"/>
                </a:lnTo>
                <a:lnTo>
                  <a:pt x="293" y="50"/>
                </a:lnTo>
                <a:lnTo>
                  <a:pt x="294" y="51"/>
                </a:lnTo>
                <a:lnTo>
                  <a:pt x="295" y="51"/>
                </a:lnTo>
                <a:lnTo>
                  <a:pt x="297" y="52"/>
                </a:lnTo>
                <a:lnTo>
                  <a:pt x="297" y="55"/>
                </a:lnTo>
                <a:lnTo>
                  <a:pt x="299" y="57"/>
                </a:lnTo>
                <a:lnTo>
                  <a:pt x="299" y="62"/>
                </a:lnTo>
                <a:lnTo>
                  <a:pt x="300" y="63"/>
                </a:lnTo>
                <a:lnTo>
                  <a:pt x="300" y="64"/>
                </a:lnTo>
                <a:lnTo>
                  <a:pt x="301" y="65"/>
                </a:lnTo>
                <a:lnTo>
                  <a:pt x="301" y="67"/>
                </a:lnTo>
                <a:lnTo>
                  <a:pt x="303" y="68"/>
                </a:lnTo>
                <a:lnTo>
                  <a:pt x="305" y="68"/>
                </a:lnTo>
                <a:lnTo>
                  <a:pt x="305" y="67"/>
                </a:lnTo>
                <a:lnTo>
                  <a:pt x="310" y="67"/>
                </a:lnTo>
                <a:lnTo>
                  <a:pt x="310" y="65"/>
                </a:lnTo>
                <a:lnTo>
                  <a:pt x="311" y="64"/>
                </a:lnTo>
                <a:lnTo>
                  <a:pt x="311" y="63"/>
                </a:lnTo>
                <a:lnTo>
                  <a:pt x="313" y="63"/>
                </a:lnTo>
                <a:lnTo>
                  <a:pt x="314" y="62"/>
                </a:lnTo>
                <a:lnTo>
                  <a:pt x="314" y="61"/>
                </a:lnTo>
                <a:lnTo>
                  <a:pt x="316" y="61"/>
                </a:lnTo>
                <a:lnTo>
                  <a:pt x="317" y="59"/>
                </a:lnTo>
                <a:lnTo>
                  <a:pt x="318" y="59"/>
                </a:lnTo>
                <a:lnTo>
                  <a:pt x="319" y="61"/>
                </a:lnTo>
                <a:lnTo>
                  <a:pt x="319" y="62"/>
                </a:lnTo>
                <a:lnTo>
                  <a:pt x="320" y="63"/>
                </a:lnTo>
                <a:lnTo>
                  <a:pt x="324" y="64"/>
                </a:lnTo>
                <a:lnTo>
                  <a:pt x="325" y="64"/>
                </a:lnTo>
                <a:lnTo>
                  <a:pt x="325" y="63"/>
                </a:lnTo>
                <a:lnTo>
                  <a:pt x="326" y="62"/>
                </a:lnTo>
                <a:lnTo>
                  <a:pt x="329" y="62"/>
                </a:lnTo>
                <a:lnTo>
                  <a:pt x="331" y="61"/>
                </a:lnTo>
                <a:lnTo>
                  <a:pt x="339" y="61"/>
                </a:lnTo>
                <a:lnTo>
                  <a:pt x="341" y="62"/>
                </a:lnTo>
                <a:lnTo>
                  <a:pt x="342" y="64"/>
                </a:lnTo>
                <a:lnTo>
                  <a:pt x="343" y="64"/>
                </a:lnTo>
                <a:lnTo>
                  <a:pt x="344" y="65"/>
                </a:lnTo>
                <a:lnTo>
                  <a:pt x="345" y="65"/>
                </a:lnTo>
                <a:lnTo>
                  <a:pt x="345" y="70"/>
                </a:lnTo>
                <a:lnTo>
                  <a:pt x="347" y="72"/>
                </a:lnTo>
                <a:lnTo>
                  <a:pt x="348" y="74"/>
                </a:lnTo>
                <a:lnTo>
                  <a:pt x="350" y="74"/>
                </a:lnTo>
                <a:lnTo>
                  <a:pt x="351" y="75"/>
                </a:lnTo>
                <a:lnTo>
                  <a:pt x="353" y="75"/>
                </a:lnTo>
                <a:lnTo>
                  <a:pt x="353" y="76"/>
                </a:lnTo>
                <a:lnTo>
                  <a:pt x="354" y="76"/>
                </a:lnTo>
                <a:lnTo>
                  <a:pt x="355" y="77"/>
                </a:lnTo>
                <a:lnTo>
                  <a:pt x="355" y="75"/>
                </a:lnTo>
                <a:lnTo>
                  <a:pt x="356" y="74"/>
                </a:lnTo>
                <a:lnTo>
                  <a:pt x="356" y="72"/>
                </a:lnTo>
                <a:lnTo>
                  <a:pt x="359" y="70"/>
                </a:lnTo>
                <a:lnTo>
                  <a:pt x="359" y="67"/>
                </a:lnTo>
                <a:lnTo>
                  <a:pt x="357" y="65"/>
                </a:lnTo>
                <a:lnTo>
                  <a:pt x="357" y="64"/>
                </a:lnTo>
                <a:lnTo>
                  <a:pt x="356" y="64"/>
                </a:lnTo>
                <a:lnTo>
                  <a:pt x="356" y="62"/>
                </a:lnTo>
                <a:lnTo>
                  <a:pt x="357" y="62"/>
                </a:lnTo>
                <a:lnTo>
                  <a:pt x="357" y="61"/>
                </a:lnTo>
                <a:lnTo>
                  <a:pt x="356" y="61"/>
                </a:lnTo>
                <a:lnTo>
                  <a:pt x="356" y="58"/>
                </a:lnTo>
                <a:lnTo>
                  <a:pt x="355" y="58"/>
                </a:lnTo>
                <a:lnTo>
                  <a:pt x="356" y="57"/>
                </a:lnTo>
                <a:lnTo>
                  <a:pt x="356" y="56"/>
                </a:lnTo>
                <a:lnTo>
                  <a:pt x="354" y="56"/>
                </a:lnTo>
                <a:lnTo>
                  <a:pt x="354" y="55"/>
                </a:lnTo>
                <a:lnTo>
                  <a:pt x="355" y="55"/>
                </a:lnTo>
                <a:lnTo>
                  <a:pt x="355" y="53"/>
                </a:lnTo>
                <a:lnTo>
                  <a:pt x="354" y="53"/>
                </a:lnTo>
                <a:lnTo>
                  <a:pt x="354" y="52"/>
                </a:lnTo>
                <a:lnTo>
                  <a:pt x="355" y="51"/>
                </a:lnTo>
                <a:lnTo>
                  <a:pt x="355" y="49"/>
                </a:lnTo>
                <a:lnTo>
                  <a:pt x="356" y="49"/>
                </a:lnTo>
                <a:lnTo>
                  <a:pt x="355" y="47"/>
                </a:lnTo>
                <a:lnTo>
                  <a:pt x="356" y="46"/>
                </a:lnTo>
                <a:lnTo>
                  <a:pt x="356" y="45"/>
                </a:lnTo>
                <a:lnTo>
                  <a:pt x="359" y="45"/>
                </a:lnTo>
                <a:lnTo>
                  <a:pt x="359" y="41"/>
                </a:lnTo>
                <a:lnTo>
                  <a:pt x="357" y="41"/>
                </a:lnTo>
                <a:lnTo>
                  <a:pt x="359" y="40"/>
                </a:lnTo>
                <a:lnTo>
                  <a:pt x="360" y="40"/>
                </a:lnTo>
                <a:lnTo>
                  <a:pt x="360" y="37"/>
                </a:lnTo>
                <a:lnTo>
                  <a:pt x="361" y="35"/>
                </a:lnTo>
                <a:lnTo>
                  <a:pt x="361" y="34"/>
                </a:lnTo>
                <a:lnTo>
                  <a:pt x="362" y="34"/>
                </a:lnTo>
                <a:lnTo>
                  <a:pt x="363" y="33"/>
                </a:lnTo>
                <a:lnTo>
                  <a:pt x="363" y="32"/>
                </a:lnTo>
                <a:lnTo>
                  <a:pt x="366" y="32"/>
                </a:lnTo>
                <a:lnTo>
                  <a:pt x="366" y="29"/>
                </a:lnTo>
                <a:lnTo>
                  <a:pt x="367" y="28"/>
                </a:lnTo>
                <a:lnTo>
                  <a:pt x="368" y="28"/>
                </a:lnTo>
                <a:lnTo>
                  <a:pt x="368" y="27"/>
                </a:lnTo>
                <a:lnTo>
                  <a:pt x="369" y="27"/>
                </a:lnTo>
                <a:lnTo>
                  <a:pt x="369" y="25"/>
                </a:lnTo>
                <a:lnTo>
                  <a:pt x="370" y="25"/>
                </a:lnTo>
                <a:lnTo>
                  <a:pt x="370" y="26"/>
                </a:lnTo>
                <a:lnTo>
                  <a:pt x="372" y="26"/>
                </a:lnTo>
                <a:lnTo>
                  <a:pt x="372" y="24"/>
                </a:lnTo>
                <a:lnTo>
                  <a:pt x="370" y="24"/>
                </a:lnTo>
                <a:lnTo>
                  <a:pt x="370" y="21"/>
                </a:lnTo>
                <a:lnTo>
                  <a:pt x="372" y="20"/>
                </a:lnTo>
                <a:lnTo>
                  <a:pt x="380" y="20"/>
                </a:lnTo>
                <a:lnTo>
                  <a:pt x="382" y="22"/>
                </a:lnTo>
                <a:lnTo>
                  <a:pt x="385" y="22"/>
                </a:lnTo>
                <a:lnTo>
                  <a:pt x="385" y="21"/>
                </a:lnTo>
                <a:lnTo>
                  <a:pt x="387" y="19"/>
                </a:lnTo>
                <a:lnTo>
                  <a:pt x="390" y="18"/>
                </a:lnTo>
                <a:lnTo>
                  <a:pt x="394" y="18"/>
                </a:lnTo>
                <a:lnTo>
                  <a:pt x="401" y="19"/>
                </a:lnTo>
                <a:lnTo>
                  <a:pt x="406" y="19"/>
                </a:lnTo>
                <a:lnTo>
                  <a:pt x="409" y="18"/>
                </a:lnTo>
                <a:lnTo>
                  <a:pt x="410" y="19"/>
                </a:lnTo>
                <a:lnTo>
                  <a:pt x="411" y="19"/>
                </a:lnTo>
                <a:lnTo>
                  <a:pt x="411" y="22"/>
                </a:lnTo>
                <a:lnTo>
                  <a:pt x="412" y="24"/>
                </a:lnTo>
                <a:lnTo>
                  <a:pt x="413" y="24"/>
                </a:lnTo>
                <a:lnTo>
                  <a:pt x="416" y="22"/>
                </a:lnTo>
                <a:lnTo>
                  <a:pt x="417" y="21"/>
                </a:lnTo>
                <a:lnTo>
                  <a:pt x="419" y="22"/>
                </a:lnTo>
                <a:lnTo>
                  <a:pt x="421" y="22"/>
                </a:lnTo>
                <a:lnTo>
                  <a:pt x="425" y="20"/>
                </a:lnTo>
                <a:lnTo>
                  <a:pt x="428" y="18"/>
                </a:lnTo>
                <a:lnTo>
                  <a:pt x="429" y="15"/>
                </a:lnTo>
                <a:lnTo>
                  <a:pt x="430" y="12"/>
                </a:lnTo>
                <a:lnTo>
                  <a:pt x="430" y="9"/>
                </a:lnTo>
                <a:lnTo>
                  <a:pt x="431" y="9"/>
                </a:lnTo>
                <a:lnTo>
                  <a:pt x="431" y="8"/>
                </a:lnTo>
                <a:lnTo>
                  <a:pt x="430" y="6"/>
                </a:lnTo>
                <a:lnTo>
                  <a:pt x="431" y="3"/>
                </a:lnTo>
                <a:lnTo>
                  <a:pt x="432" y="3"/>
                </a:lnTo>
                <a:lnTo>
                  <a:pt x="436" y="4"/>
                </a:lnTo>
                <a:lnTo>
                  <a:pt x="438" y="3"/>
                </a:lnTo>
                <a:lnTo>
                  <a:pt x="447" y="8"/>
                </a:lnTo>
                <a:lnTo>
                  <a:pt x="448" y="8"/>
                </a:lnTo>
                <a:lnTo>
                  <a:pt x="450" y="7"/>
                </a:lnTo>
                <a:lnTo>
                  <a:pt x="452" y="7"/>
                </a:lnTo>
                <a:lnTo>
                  <a:pt x="453" y="8"/>
                </a:lnTo>
                <a:lnTo>
                  <a:pt x="455" y="8"/>
                </a:lnTo>
                <a:lnTo>
                  <a:pt x="460" y="4"/>
                </a:lnTo>
                <a:lnTo>
                  <a:pt x="461" y="4"/>
                </a:lnTo>
                <a:lnTo>
                  <a:pt x="462" y="3"/>
                </a:lnTo>
                <a:lnTo>
                  <a:pt x="462" y="2"/>
                </a:lnTo>
                <a:lnTo>
                  <a:pt x="465" y="2"/>
                </a:lnTo>
                <a:lnTo>
                  <a:pt x="466" y="1"/>
                </a:lnTo>
                <a:lnTo>
                  <a:pt x="466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" name="Freeform 7">
            <a:extLst>
              <a:ext uri="{FF2B5EF4-FFF2-40B4-BE49-F238E27FC236}">
                <a16:creationId xmlns:a16="http://schemas.microsoft.com/office/drawing/2014/main" id="{8F3CDB6D-84A4-4D94-8CDB-6C9C90F55553}"/>
              </a:ext>
            </a:extLst>
          </p:cNvPr>
          <p:cNvSpPr>
            <a:spLocks noEditPoints="1"/>
          </p:cNvSpPr>
          <p:nvPr/>
        </p:nvSpPr>
        <p:spPr bwMode="auto">
          <a:xfrm>
            <a:off x="2800898" y="5413094"/>
            <a:ext cx="1170744" cy="492640"/>
          </a:xfrm>
          <a:custGeom>
            <a:avLst/>
            <a:gdLst/>
            <a:ahLst/>
            <a:cxnLst>
              <a:cxn ang="0">
                <a:pos x="72" y="295"/>
              </a:cxn>
              <a:cxn ang="0">
                <a:pos x="12" y="104"/>
              </a:cxn>
              <a:cxn ang="0">
                <a:pos x="82" y="86"/>
              </a:cxn>
              <a:cxn ang="0">
                <a:pos x="86" y="7"/>
              </a:cxn>
              <a:cxn ang="0">
                <a:pos x="105" y="30"/>
              </a:cxn>
              <a:cxn ang="0">
                <a:pos x="195" y="50"/>
              </a:cxn>
              <a:cxn ang="0">
                <a:pos x="275" y="26"/>
              </a:cxn>
              <a:cxn ang="0">
                <a:pos x="373" y="7"/>
              </a:cxn>
              <a:cxn ang="0">
                <a:pos x="415" y="26"/>
              </a:cxn>
              <a:cxn ang="0">
                <a:pos x="452" y="46"/>
              </a:cxn>
              <a:cxn ang="0">
                <a:pos x="508" y="55"/>
              </a:cxn>
              <a:cxn ang="0">
                <a:pos x="553" y="62"/>
              </a:cxn>
              <a:cxn ang="0">
                <a:pos x="615" y="66"/>
              </a:cxn>
              <a:cxn ang="0">
                <a:pos x="668" y="33"/>
              </a:cxn>
              <a:cxn ang="0">
                <a:pos x="722" y="33"/>
              </a:cxn>
              <a:cxn ang="0">
                <a:pos x="752" y="62"/>
              </a:cxn>
              <a:cxn ang="0">
                <a:pos x="770" y="116"/>
              </a:cxn>
              <a:cxn ang="0">
                <a:pos x="797" y="130"/>
              </a:cxn>
              <a:cxn ang="0">
                <a:pos x="780" y="177"/>
              </a:cxn>
              <a:cxn ang="0">
                <a:pos x="785" y="222"/>
              </a:cxn>
              <a:cxn ang="0">
                <a:pos x="798" y="253"/>
              </a:cxn>
              <a:cxn ang="0">
                <a:pos x="782" y="271"/>
              </a:cxn>
              <a:cxn ang="0">
                <a:pos x="744" y="261"/>
              </a:cxn>
              <a:cxn ang="0">
                <a:pos x="690" y="270"/>
              </a:cxn>
              <a:cxn ang="0">
                <a:pos x="528" y="284"/>
              </a:cxn>
              <a:cxn ang="0">
                <a:pos x="459" y="310"/>
              </a:cxn>
              <a:cxn ang="0">
                <a:pos x="440" y="339"/>
              </a:cxn>
              <a:cxn ang="0">
                <a:pos x="432" y="308"/>
              </a:cxn>
              <a:cxn ang="0">
                <a:pos x="419" y="300"/>
              </a:cxn>
              <a:cxn ang="0">
                <a:pos x="369" y="296"/>
              </a:cxn>
              <a:cxn ang="0">
                <a:pos x="337" y="322"/>
              </a:cxn>
              <a:cxn ang="0">
                <a:pos x="282" y="322"/>
              </a:cxn>
              <a:cxn ang="0">
                <a:pos x="223" y="286"/>
              </a:cxn>
              <a:cxn ang="0">
                <a:pos x="200" y="319"/>
              </a:cxn>
              <a:cxn ang="0">
                <a:pos x="168" y="321"/>
              </a:cxn>
              <a:cxn ang="0">
                <a:pos x="145" y="302"/>
              </a:cxn>
              <a:cxn ang="0">
                <a:pos x="121" y="288"/>
              </a:cxn>
              <a:cxn ang="0">
                <a:pos x="111" y="294"/>
              </a:cxn>
              <a:cxn ang="0">
                <a:pos x="96" y="292"/>
              </a:cxn>
              <a:cxn ang="0">
                <a:pos x="86" y="290"/>
              </a:cxn>
              <a:cxn ang="0">
                <a:pos x="108" y="278"/>
              </a:cxn>
              <a:cxn ang="0">
                <a:pos x="70" y="278"/>
              </a:cxn>
              <a:cxn ang="0">
                <a:pos x="80" y="265"/>
              </a:cxn>
              <a:cxn ang="0">
                <a:pos x="65" y="247"/>
              </a:cxn>
              <a:cxn ang="0">
                <a:pos x="50" y="223"/>
              </a:cxn>
              <a:cxn ang="0">
                <a:pos x="27" y="209"/>
              </a:cxn>
              <a:cxn ang="0">
                <a:pos x="38" y="194"/>
              </a:cxn>
              <a:cxn ang="0">
                <a:pos x="55" y="202"/>
              </a:cxn>
              <a:cxn ang="0">
                <a:pos x="53" y="181"/>
              </a:cxn>
              <a:cxn ang="0">
                <a:pos x="45" y="159"/>
              </a:cxn>
              <a:cxn ang="0">
                <a:pos x="16" y="146"/>
              </a:cxn>
              <a:cxn ang="0">
                <a:pos x="68" y="92"/>
              </a:cxn>
              <a:cxn ang="0">
                <a:pos x="100" y="92"/>
              </a:cxn>
              <a:cxn ang="0">
                <a:pos x="137" y="92"/>
              </a:cxn>
              <a:cxn ang="0">
                <a:pos x="158" y="75"/>
              </a:cxn>
              <a:cxn ang="0">
                <a:pos x="124" y="61"/>
              </a:cxn>
              <a:cxn ang="0">
                <a:pos x="68" y="79"/>
              </a:cxn>
              <a:cxn ang="0">
                <a:pos x="30" y="109"/>
              </a:cxn>
              <a:cxn ang="0">
                <a:pos x="36" y="85"/>
              </a:cxn>
              <a:cxn ang="0">
                <a:pos x="28" y="54"/>
              </a:cxn>
              <a:cxn ang="0">
                <a:pos x="34" y="17"/>
              </a:cxn>
            </a:cxnLst>
            <a:rect l="0" t="0" r="r" b="b"/>
            <a:pathLst>
              <a:path w="808" h="340">
                <a:moveTo>
                  <a:pt x="96" y="300"/>
                </a:moveTo>
                <a:lnTo>
                  <a:pt x="101" y="300"/>
                </a:lnTo>
                <a:lnTo>
                  <a:pt x="101" y="301"/>
                </a:lnTo>
                <a:lnTo>
                  <a:pt x="100" y="301"/>
                </a:lnTo>
                <a:lnTo>
                  <a:pt x="100" y="302"/>
                </a:lnTo>
                <a:lnTo>
                  <a:pt x="98" y="302"/>
                </a:lnTo>
                <a:lnTo>
                  <a:pt x="96" y="301"/>
                </a:lnTo>
                <a:lnTo>
                  <a:pt x="96" y="300"/>
                </a:lnTo>
                <a:close/>
                <a:moveTo>
                  <a:pt x="100" y="297"/>
                </a:moveTo>
                <a:lnTo>
                  <a:pt x="101" y="297"/>
                </a:lnTo>
                <a:lnTo>
                  <a:pt x="100" y="298"/>
                </a:lnTo>
                <a:lnTo>
                  <a:pt x="100" y="297"/>
                </a:lnTo>
                <a:close/>
                <a:moveTo>
                  <a:pt x="136" y="296"/>
                </a:moveTo>
                <a:lnTo>
                  <a:pt x="137" y="297"/>
                </a:lnTo>
                <a:lnTo>
                  <a:pt x="136" y="297"/>
                </a:lnTo>
                <a:lnTo>
                  <a:pt x="136" y="296"/>
                </a:lnTo>
                <a:close/>
                <a:moveTo>
                  <a:pt x="96" y="295"/>
                </a:moveTo>
                <a:lnTo>
                  <a:pt x="100" y="295"/>
                </a:lnTo>
                <a:lnTo>
                  <a:pt x="100" y="296"/>
                </a:lnTo>
                <a:lnTo>
                  <a:pt x="98" y="296"/>
                </a:lnTo>
                <a:lnTo>
                  <a:pt x="96" y="295"/>
                </a:lnTo>
                <a:close/>
                <a:moveTo>
                  <a:pt x="418" y="294"/>
                </a:moveTo>
                <a:lnTo>
                  <a:pt x="418" y="295"/>
                </a:lnTo>
                <a:lnTo>
                  <a:pt x="419" y="295"/>
                </a:lnTo>
                <a:lnTo>
                  <a:pt x="419" y="294"/>
                </a:lnTo>
                <a:lnTo>
                  <a:pt x="418" y="294"/>
                </a:lnTo>
                <a:close/>
                <a:moveTo>
                  <a:pt x="71" y="294"/>
                </a:moveTo>
                <a:lnTo>
                  <a:pt x="72" y="295"/>
                </a:lnTo>
                <a:lnTo>
                  <a:pt x="71" y="296"/>
                </a:lnTo>
                <a:lnTo>
                  <a:pt x="71" y="294"/>
                </a:lnTo>
                <a:close/>
                <a:moveTo>
                  <a:pt x="74" y="277"/>
                </a:moveTo>
                <a:lnTo>
                  <a:pt x="74" y="278"/>
                </a:lnTo>
                <a:lnTo>
                  <a:pt x="72" y="278"/>
                </a:lnTo>
                <a:lnTo>
                  <a:pt x="74" y="277"/>
                </a:lnTo>
                <a:close/>
                <a:moveTo>
                  <a:pt x="67" y="272"/>
                </a:moveTo>
                <a:lnTo>
                  <a:pt x="68" y="272"/>
                </a:lnTo>
                <a:lnTo>
                  <a:pt x="67" y="273"/>
                </a:lnTo>
                <a:lnTo>
                  <a:pt x="67" y="272"/>
                </a:lnTo>
                <a:close/>
                <a:moveTo>
                  <a:pt x="26" y="206"/>
                </a:moveTo>
                <a:lnTo>
                  <a:pt x="27" y="206"/>
                </a:lnTo>
                <a:lnTo>
                  <a:pt x="27" y="208"/>
                </a:lnTo>
                <a:lnTo>
                  <a:pt x="26" y="208"/>
                </a:lnTo>
                <a:lnTo>
                  <a:pt x="26" y="206"/>
                </a:lnTo>
                <a:close/>
                <a:moveTo>
                  <a:pt x="49" y="197"/>
                </a:moveTo>
                <a:lnTo>
                  <a:pt x="50" y="198"/>
                </a:lnTo>
                <a:lnTo>
                  <a:pt x="49" y="198"/>
                </a:lnTo>
                <a:lnTo>
                  <a:pt x="49" y="197"/>
                </a:lnTo>
                <a:close/>
                <a:moveTo>
                  <a:pt x="13" y="126"/>
                </a:moveTo>
                <a:lnTo>
                  <a:pt x="18" y="126"/>
                </a:lnTo>
                <a:lnTo>
                  <a:pt x="18" y="129"/>
                </a:lnTo>
                <a:lnTo>
                  <a:pt x="16" y="129"/>
                </a:lnTo>
                <a:lnTo>
                  <a:pt x="15" y="128"/>
                </a:lnTo>
                <a:lnTo>
                  <a:pt x="13" y="128"/>
                </a:lnTo>
                <a:lnTo>
                  <a:pt x="13" y="126"/>
                </a:lnTo>
                <a:close/>
                <a:moveTo>
                  <a:pt x="11" y="104"/>
                </a:moveTo>
                <a:lnTo>
                  <a:pt x="12" y="104"/>
                </a:lnTo>
                <a:lnTo>
                  <a:pt x="12" y="105"/>
                </a:lnTo>
                <a:lnTo>
                  <a:pt x="13" y="105"/>
                </a:lnTo>
                <a:lnTo>
                  <a:pt x="13" y="109"/>
                </a:lnTo>
                <a:lnTo>
                  <a:pt x="14" y="109"/>
                </a:lnTo>
                <a:lnTo>
                  <a:pt x="14" y="110"/>
                </a:lnTo>
                <a:lnTo>
                  <a:pt x="13" y="110"/>
                </a:lnTo>
                <a:lnTo>
                  <a:pt x="9" y="111"/>
                </a:lnTo>
                <a:lnTo>
                  <a:pt x="8" y="111"/>
                </a:lnTo>
                <a:lnTo>
                  <a:pt x="5" y="112"/>
                </a:lnTo>
                <a:lnTo>
                  <a:pt x="2" y="112"/>
                </a:lnTo>
                <a:lnTo>
                  <a:pt x="2" y="111"/>
                </a:lnTo>
                <a:lnTo>
                  <a:pt x="0" y="111"/>
                </a:lnTo>
                <a:lnTo>
                  <a:pt x="0" y="110"/>
                </a:lnTo>
                <a:lnTo>
                  <a:pt x="3" y="106"/>
                </a:lnTo>
                <a:lnTo>
                  <a:pt x="11" y="104"/>
                </a:lnTo>
                <a:close/>
                <a:moveTo>
                  <a:pt x="81" y="89"/>
                </a:moveTo>
                <a:lnTo>
                  <a:pt x="82" y="89"/>
                </a:lnTo>
                <a:lnTo>
                  <a:pt x="83" y="91"/>
                </a:lnTo>
                <a:lnTo>
                  <a:pt x="83" y="92"/>
                </a:lnTo>
                <a:lnTo>
                  <a:pt x="81" y="92"/>
                </a:lnTo>
                <a:lnTo>
                  <a:pt x="81" y="89"/>
                </a:lnTo>
                <a:close/>
                <a:moveTo>
                  <a:pt x="78" y="81"/>
                </a:moveTo>
                <a:lnTo>
                  <a:pt x="86" y="81"/>
                </a:lnTo>
                <a:lnTo>
                  <a:pt x="87" y="82"/>
                </a:lnTo>
                <a:lnTo>
                  <a:pt x="87" y="83"/>
                </a:lnTo>
                <a:lnTo>
                  <a:pt x="84" y="83"/>
                </a:lnTo>
                <a:lnTo>
                  <a:pt x="82" y="85"/>
                </a:lnTo>
                <a:lnTo>
                  <a:pt x="82" y="86"/>
                </a:lnTo>
                <a:lnTo>
                  <a:pt x="81" y="85"/>
                </a:lnTo>
                <a:lnTo>
                  <a:pt x="78" y="85"/>
                </a:lnTo>
                <a:lnTo>
                  <a:pt x="78" y="81"/>
                </a:lnTo>
                <a:close/>
                <a:moveTo>
                  <a:pt x="120" y="57"/>
                </a:moveTo>
                <a:lnTo>
                  <a:pt x="121" y="58"/>
                </a:lnTo>
                <a:lnTo>
                  <a:pt x="121" y="60"/>
                </a:lnTo>
                <a:lnTo>
                  <a:pt x="123" y="60"/>
                </a:lnTo>
                <a:lnTo>
                  <a:pt x="123" y="58"/>
                </a:lnTo>
                <a:lnTo>
                  <a:pt x="121" y="57"/>
                </a:lnTo>
                <a:lnTo>
                  <a:pt x="120" y="57"/>
                </a:lnTo>
                <a:close/>
                <a:moveTo>
                  <a:pt x="400" y="3"/>
                </a:moveTo>
                <a:lnTo>
                  <a:pt x="401" y="3"/>
                </a:lnTo>
                <a:lnTo>
                  <a:pt x="403" y="5"/>
                </a:lnTo>
                <a:lnTo>
                  <a:pt x="400" y="5"/>
                </a:lnTo>
                <a:lnTo>
                  <a:pt x="400" y="3"/>
                </a:lnTo>
                <a:close/>
                <a:moveTo>
                  <a:pt x="65" y="0"/>
                </a:moveTo>
                <a:lnTo>
                  <a:pt x="67" y="0"/>
                </a:lnTo>
                <a:lnTo>
                  <a:pt x="68" y="1"/>
                </a:lnTo>
                <a:lnTo>
                  <a:pt x="69" y="1"/>
                </a:lnTo>
                <a:lnTo>
                  <a:pt x="70" y="2"/>
                </a:lnTo>
                <a:lnTo>
                  <a:pt x="72" y="6"/>
                </a:lnTo>
                <a:lnTo>
                  <a:pt x="74" y="7"/>
                </a:lnTo>
                <a:lnTo>
                  <a:pt x="77" y="9"/>
                </a:lnTo>
                <a:lnTo>
                  <a:pt x="80" y="12"/>
                </a:lnTo>
                <a:lnTo>
                  <a:pt x="80" y="9"/>
                </a:lnTo>
                <a:lnTo>
                  <a:pt x="82" y="9"/>
                </a:lnTo>
                <a:lnTo>
                  <a:pt x="82" y="8"/>
                </a:lnTo>
                <a:lnTo>
                  <a:pt x="86" y="7"/>
                </a:lnTo>
                <a:lnTo>
                  <a:pt x="87" y="7"/>
                </a:lnTo>
                <a:lnTo>
                  <a:pt x="89" y="9"/>
                </a:lnTo>
                <a:lnTo>
                  <a:pt x="90" y="9"/>
                </a:lnTo>
                <a:lnTo>
                  <a:pt x="90" y="6"/>
                </a:lnTo>
                <a:lnTo>
                  <a:pt x="93" y="6"/>
                </a:lnTo>
                <a:lnTo>
                  <a:pt x="94" y="7"/>
                </a:lnTo>
                <a:lnTo>
                  <a:pt x="99" y="7"/>
                </a:lnTo>
                <a:lnTo>
                  <a:pt x="100" y="11"/>
                </a:lnTo>
                <a:lnTo>
                  <a:pt x="100" y="12"/>
                </a:lnTo>
                <a:lnTo>
                  <a:pt x="98" y="12"/>
                </a:lnTo>
                <a:lnTo>
                  <a:pt x="98" y="13"/>
                </a:lnTo>
                <a:lnTo>
                  <a:pt x="96" y="14"/>
                </a:lnTo>
                <a:lnTo>
                  <a:pt x="98" y="15"/>
                </a:lnTo>
                <a:lnTo>
                  <a:pt x="98" y="17"/>
                </a:lnTo>
                <a:lnTo>
                  <a:pt x="99" y="18"/>
                </a:lnTo>
                <a:lnTo>
                  <a:pt x="99" y="19"/>
                </a:lnTo>
                <a:lnTo>
                  <a:pt x="100" y="21"/>
                </a:lnTo>
                <a:lnTo>
                  <a:pt x="100" y="23"/>
                </a:lnTo>
                <a:lnTo>
                  <a:pt x="101" y="23"/>
                </a:lnTo>
                <a:lnTo>
                  <a:pt x="101" y="24"/>
                </a:lnTo>
                <a:lnTo>
                  <a:pt x="102" y="24"/>
                </a:lnTo>
                <a:lnTo>
                  <a:pt x="102" y="25"/>
                </a:lnTo>
                <a:lnTo>
                  <a:pt x="101" y="25"/>
                </a:lnTo>
                <a:lnTo>
                  <a:pt x="102" y="26"/>
                </a:lnTo>
                <a:lnTo>
                  <a:pt x="102" y="27"/>
                </a:lnTo>
                <a:lnTo>
                  <a:pt x="103" y="27"/>
                </a:lnTo>
                <a:lnTo>
                  <a:pt x="105" y="28"/>
                </a:lnTo>
                <a:lnTo>
                  <a:pt x="105" y="30"/>
                </a:lnTo>
                <a:lnTo>
                  <a:pt x="108" y="33"/>
                </a:lnTo>
                <a:lnTo>
                  <a:pt x="114" y="37"/>
                </a:lnTo>
                <a:lnTo>
                  <a:pt x="124" y="40"/>
                </a:lnTo>
                <a:lnTo>
                  <a:pt x="137" y="48"/>
                </a:lnTo>
                <a:lnTo>
                  <a:pt x="140" y="48"/>
                </a:lnTo>
                <a:lnTo>
                  <a:pt x="142" y="49"/>
                </a:lnTo>
                <a:lnTo>
                  <a:pt x="142" y="48"/>
                </a:lnTo>
                <a:lnTo>
                  <a:pt x="143" y="48"/>
                </a:lnTo>
                <a:lnTo>
                  <a:pt x="144" y="49"/>
                </a:lnTo>
                <a:lnTo>
                  <a:pt x="145" y="49"/>
                </a:lnTo>
                <a:lnTo>
                  <a:pt x="145" y="50"/>
                </a:lnTo>
                <a:lnTo>
                  <a:pt x="143" y="52"/>
                </a:lnTo>
                <a:lnTo>
                  <a:pt x="142" y="52"/>
                </a:lnTo>
                <a:lnTo>
                  <a:pt x="143" y="54"/>
                </a:lnTo>
                <a:lnTo>
                  <a:pt x="143" y="57"/>
                </a:lnTo>
                <a:lnTo>
                  <a:pt x="144" y="56"/>
                </a:lnTo>
                <a:lnTo>
                  <a:pt x="144" y="54"/>
                </a:lnTo>
                <a:lnTo>
                  <a:pt x="143" y="54"/>
                </a:lnTo>
                <a:lnTo>
                  <a:pt x="148" y="49"/>
                </a:lnTo>
                <a:lnTo>
                  <a:pt x="150" y="49"/>
                </a:lnTo>
                <a:lnTo>
                  <a:pt x="158" y="50"/>
                </a:lnTo>
                <a:lnTo>
                  <a:pt x="167" y="52"/>
                </a:lnTo>
                <a:lnTo>
                  <a:pt x="177" y="54"/>
                </a:lnTo>
                <a:lnTo>
                  <a:pt x="190" y="54"/>
                </a:lnTo>
                <a:lnTo>
                  <a:pt x="193" y="51"/>
                </a:lnTo>
                <a:lnTo>
                  <a:pt x="194" y="51"/>
                </a:lnTo>
                <a:lnTo>
                  <a:pt x="194" y="50"/>
                </a:lnTo>
                <a:lnTo>
                  <a:pt x="195" y="50"/>
                </a:lnTo>
                <a:lnTo>
                  <a:pt x="196" y="51"/>
                </a:lnTo>
                <a:lnTo>
                  <a:pt x="199" y="52"/>
                </a:lnTo>
                <a:lnTo>
                  <a:pt x="212" y="55"/>
                </a:lnTo>
                <a:lnTo>
                  <a:pt x="214" y="57"/>
                </a:lnTo>
                <a:lnTo>
                  <a:pt x="230" y="57"/>
                </a:lnTo>
                <a:lnTo>
                  <a:pt x="230" y="56"/>
                </a:lnTo>
                <a:lnTo>
                  <a:pt x="231" y="56"/>
                </a:lnTo>
                <a:lnTo>
                  <a:pt x="231" y="57"/>
                </a:lnTo>
                <a:lnTo>
                  <a:pt x="232" y="57"/>
                </a:lnTo>
                <a:lnTo>
                  <a:pt x="233" y="56"/>
                </a:lnTo>
                <a:lnTo>
                  <a:pt x="235" y="57"/>
                </a:lnTo>
                <a:lnTo>
                  <a:pt x="235" y="56"/>
                </a:lnTo>
                <a:lnTo>
                  <a:pt x="237" y="56"/>
                </a:lnTo>
                <a:lnTo>
                  <a:pt x="242" y="51"/>
                </a:lnTo>
                <a:lnTo>
                  <a:pt x="242" y="48"/>
                </a:lnTo>
                <a:lnTo>
                  <a:pt x="243" y="46"/>
                </a:lnTo>
                <a:lnTo>
                  <a:pt x="242" y="45"/>
                </a:lnTo>
                <a:lnTo>
                  <a:pt x="242" y="44"/>
                </a:lnTo>
                <a:lnTo>
                  <a:pt x="245" y="44"/>
                </a:lnTo>
                <a:lnTo>
                  <a:pt x="245" y="43"/>
                </a:lnTo>
                <a:lnTo>
                  <a:pt x="247" y="42"/>
                </a:lnTo>
                <a:lnTo>
                  <a:pt x="252" y="39"/>
                </a:lnTo>
                <a:lnTo>
                  <a:pt x="262" y="33"/>
                </a:lnTo>
                <a:lnTo>
                  <a:pt x="267" y="31"/>
                </a:lnTo>
                <a:lnTo>
                  <a:pt x="268" y="30"/>
                </a:lnTo>
                <a:lnTo>
                  <a:pt x="269" y="30"/>
                </a:lnTo>
                <a:lnTo>
                  <a:pt x="273" y="28"/>
                </a:lnTo>
                <a:lnTo>
                  <a:pt x="275" y="26"/>
                </a:lnTo>
                <a:lnTo>
                  <a:pt x="277" y="23"/>
                </a:lnTo>
                <a:lnTo>
                  <a:pt x="279" y="21"/>
                </a:lnTo>
                <a:lnTo>
                  <a:pt x="282" y="21"/>
                </a:lnTo>
                <a:lnTo>
                  <a:pt x="282" y="20"/>
                </a:lnTo>
                <a:lnTo>
                  <a:pt x="285" y="20"/>
                </a:lnTo>
                <a:lnTo>
                  <a:pt x="286" y="19"/>
                </a:lnTo>
                <a:lnTo>
                  <a:pt x="289" y="17"/>
                </a:lnTo>
                <a:lnTo>
                  <a:pt x="292" y="17"/>
                </a:lnTo>
                <a:lnTo>
                  <a:pt x="292" y="15"/>
                </a:lnTo>
                <a:lnTo>
                  <a:pt x="293" y="15"/>
                </a:lnTo>
                <a:lnTo>
                  <a:pt x="294" y="14"/>
                </a:lnTo>
                <a:lnTo>
                  <a:pt x="295" y="15"/>
                </a:lnTo>
                <a:lnTo>
                  <a:pt x="298" y="14"/>
                </a:lnTo>
                <a:lnTo>
                  <a:pt x="301" y="14"/>
                </a:lnTo>
                <a:lnTo>
                  <a:pt x="303" y="13"/>
                </a:lnTo>
                <a:lnTo>
                  <a:pt x="306" y="13"/>
                </a:lnTo>
                <a:lnTo>
                  <a:pt x="307" y="12"/>
                </a:lnTo>
                <a:lnTo>
                  <a:pt x="310" y="11"/>
                </a:lnTo>
                <a:lnTo>
                  <a:pt x="316" y="8"/>
                </a:lnTo>
                <a:lnTo>
                  <a:pt x="323" y="5"/>
                </a:lnTo>
                <a:lnTo>
                  <a:pt x="332" y="5"/>
                </a:lnTo>
                <a:lnTo>
                  <a:pt x="334" y="6"/>
                </a:lnTo>
                <a:lnTo>
                  <a:pt x="335" y="6"/>
                </a:lnTo>
                <a:lnTo>
                  <a:pt x="344" y="7"/>
                </a:lnTo>
                <a:lnTo>
                  <a:pt x="351" y="7"/>
                </a:lnTo>
                <a:lnTo>
                  <a:pt x="366" y="8"/>
                </a:lnTo>
                <a:lnTo>
                  <a:pt x="370" y="7"/>
                </a:lnTo>
                <a:lnTo>
                  <a:pt x="373" y="7"/>
                </a:lnTo>
                <a:lnTo>
                  <a:pt x="374" y="8"/>
                </a:lnTo>
                <a:lnTo>
                  <a:pt x="375" y="8"/>
                </a:lnTo>
                <a:lnTo>
                  <a:pt x="381" y="9"/>
                </a:lnTo>
                <a:lnTo>
                  <a:pt x="382" y="8"/>
                </a:lnTo>
                <a:lnTo>
                  <a:pt x="385" y="8"/>
                </a:lnTo>
                <a:lnTo>
                  <a:pt x="387" y="6"/>
                </a:lnTo>
                <a:lnTo>
                  <a:pt x="390" y="6"/>
                </a:lnTo>
                <a:lnTo>
                  <a:pt x="391" y="3"/>
                </a:lnTo>
                <a:lnTo>
                  <a:pt x="391" y="2"/>
                </a:lnTo>
                <a:lnTo>
                  <a:pt x="392" y="0"/>
                </a:lnTo>
                <a:lnTo>
                  <a:pt x="393" y="1"/>
                </a:lnTo>
                <a:lnTo>
                  <a:pt x="395" y="1"/>
                </a:lnTo>
                <a:lnTo>
                  <a:pt x="395" y="3"/>
                </a:lnTo>
                <a:lnTo>
                  <a:pt x="397" y="5"/>
                </a:lnTo>
                <a:lnTo>
                  <a:pt x="399" y="5"/>
                </a:lnTo>
                <a:lnTo>
                  <a:pt x="399" y="6"/>
                </a:lnTo>
                <a:lnTo>
                  <a:pt x="398" y="6"/>
                </a:lnTo>
                <a:lnTo>
                  <a:pt x="398" y="11"/>
                </a:lnTo>
                <a:lnTo>
                  <a:pt x="399" y="13"/>
                </a:lnTo>
                <a:lnTo>
                  <a:pt x="403" y="17"/>
                </a:lnTo>
                <a:lnTo>
                  <a:pt x="401" y="17"/>
                </a:lnTo>
                <a:lnTo>
                  <a:pt x="403" y="18"/>
                </a:lnTo>
                <a:lnTo>
                  <a:pt x="403" y="19"/>
                </a:lnTo>
                <a:lnTo>
                  <a:pt x="405" y="21"/>
                </a:lnTo>
                <a:lnTo>
                  <a:pt x="406" y="21"/>
                </a:lnTo>
                <a:lnTo>
                  <a:pt x="411" y="24"/>
                </a:lnTo>
                <a:lnTo>
                  <a:pt x="412" y="25"/>
                </a:lnTo>
                <a:lnTo>
                  <a:pt x="415" y="26"/>
                </a:lnTo>
                <a:lnTo>
                  <a:pt x="421" y="26"/>
                </a:lnTo>
                <a:lnTo>
                  <a:pt x="422" y="25"/>
                </a:lnTo>
                <a:lnTo>
                  <a:pt x="425" y="25"/>
                </a:lnTo>
                <a:lnTo>
                  <a:pt x="429" y="23"/>
                </a:lnTo>
                <a:lnTo>
                  <a:pt x="431" y="23"/>
                </a:lnTo>
                <a:lnTo>
                  <a:pt x="434" y="21"/>
                </a:lnTo>
                <a:lnTo>
                  <a:pt x="434" y="23"/>
                </a:lnTo>
                <a:lnTo>
                  <a:pt x="432" y="23"/>
                </a:lnTo>
                <a:lnTo>
                  <a:pt x="432" y="25"/>
                </a:lnTo>
                <a:lnTo>
                  <a:pt x="434" y="24"/>
                </a:lnTo>
                <a:lnTo>
                  <a:pt x="434" y="23"/>
                </a:lnTo>
                <a:lnTo>
                  <a:pt x="435" y="21"/>
                </a:lnTo>
                <a:lnTo>
                  <a:pt x="437" y="24"/>
                </a:lnTo>
                <a:lnTo>
                  <a:pt x="437" y="23"/>
                </a:lnTo>
                <a:lnTo>
                  <a:pt x="441" y="27"/>
                </a:lnTo>
                <a:lnTo>
                  <a:pt x="442" y="28"/>
                </a:lnTo>
                <a:lnTo>
                  <a:pt x="442" y="31"/>
                </a:lnTo>
                <a:lnTo>
                  <a:pt x="441" y="31"/>
                </a:lnTo>
                <a:lnTo>
                  <a:pt x="441" y="36"/>
                </a:lnTo>
                <a:lnTo>
                  <a:pt x="442" y="36"/>
                </a:lnTo>
                <a:lnTo>
                  <a:pt x="443" y="38"/>
                </a:lnTo>
                <a:lnTo>
                  <a:pt x="444" y="39"/>
                </a:lnTo>
                <a:lnTo>
                  <a:pt x="446" y="42"/>
                </a:lnTo>
                <a:lnTo>
                  <a:pt x="447" y="43"/>
                </a:lnTo>
                <a:lnTo>
                  <a:pt x="449" y="44"/>
                </a:lnTo>
                <a:lnTo>
                  <a:pt x="450" y="44"/>
                </a:lnTo>
                <a:lnTo>
                  <a:pt x="450" y="46"/>
                </a:lnTo>
                <a:lnTo>
                  <a:pt x="452" y="46"/>
                </a:lnTo>
                <a:lnTo>
                  <a:pt x="453" y="48"/>
                </a:lnTo>
                <a:lnTo>
                  <a:pt x="454" y="48"/>
                </a:lnTo>
                <a:lnTo>
                  <a:pt x="454" y="49"/>
                </a:lnTo>
                <a:lnTo>
                  <a:pt x="456" y="49"/>
                </a:lnTo>
                <a:lnTo>
                  <a:pt x="460" y="45"/>
                </a:lnTo>
                <a:lnTo>
                  <a:pt x="460" y="44"/>
                </a:lnTo>
                <a:lnTo>
                  <a:pt x="461" y="43"/>
                </a:lnTo>
                <a:lnTo>
                  <a:pt x="461" y="42"/>
                </a:lnTo>
                <a:lnTo>
                  <a:pt x="462" y="40"/>
                </a:lnTo>
                <a:lnTo>
                  <a:pt x="462" y="42"/>
                </a:lnTo>
                <a:lnTo>
                  <a:pt x="468" y="42"/>
                </a:lnTo>
                <a:lnTo>
                  <a:pt x="471" y="43"/>
                </a:lnTo>
                <a:lnTo>
                  <a:pt x="478" y="45"/>
                </a:lnTo>
                <a:lnTo>
                  <a:pt x="479" y="46"/>
                </a:lnTo>
                <a:lnTo>
                  <a:pt x="479" y="51"/>
                </a:lnTo>
                <a:lnTo>
                  <a:pt x="480" y="52"/>
                </a:lnTo>
                <a:lnTo>
                  <a:pt x="481" y="52"/>
                </a:lnTo>
                <a:lnTo>
                  <a:pt x="482" y="54"/>
                </a:lnTo>
                <a:lnTo>
                  <a:pt x="491" y="54"/>
                </a:lnTo>
                <a:lnTo>
                  <a:pt x="493" y="56"/>
                </a:lnTo>
                <a:lnTo>
                  <a:pt x="494" y="56"/>
                </a:lnTo>
                <a:lnTo>
                  <a:pt x="496" y="57"/>
                </a:lnTo>
                <a:lnTo>
                  <a:pt x="497" y="57"/>
                </a:lnTo>
                <a:lnTo>
                  <a:pt x="499" y="60"/>
                </a:lnTo>
                <a:lnTo>
                  <a:pt x="504" y="60"/>
                </a:lnTo>
                <a:lnTo>
                  <a:pt x="504" y="57"/>
                </a:lnTo>
                <a:lnTo>
                  <a:pt x="508" y="54"/>
                </a:lnTo>
                <a:lnTo>
                  <a:pt x="508" y="55"/>
                </a:lnTo>
                <a:lnTo>
                  <a:pt x="509" y="56"/>
                </a:lnTo>
                <a:lnTo>
                  <a:pt x="510" y="55"/>
                </a:lnTo>
                <a:lnTo>
                  <a:pt x="511" y="55"/>
                </a:lnTo>
                <a:lnTo>
                  <a:pt x="511" y="58"/>
                </a:lnTo>
                <a:lnTo>
                  <a:pt x="513" y="61"/>
                </a:lnTo>
                <a:lnTo>
                  <a:pt x="515" y="61"/>
                </a:lnTo>
                <a:lnTo>
                  <a:pt x="515" y="62"/>
                </a:lnTo>
                <a:lnTo>
                  <a:pt x="516" y="63"/>
                </a:lnTo>
                <a:lnTo>
                  <a:pt x="517" y="62"/>
                </a:lnTo>
                <a:lnTo>
                  <a:pt x="519" y="63"/>
                </a:lnTo>
                <a:lnTo>
                  <a:pt x="524" y="64"/>
                </a:lnTo>
                <a:lnTo>
                  <a:pt x="527" y="64"/>
                </a:lnTo>
                <a:lnTo>
                  <a:pt x="529" y="66"/>
                </a:lnTo>
                <a:lnTo>
                  <a:pt x="530" y="66"/>
                </a:lnTo>
                <a:lnTo>
                  <a:pt x="531" y="64"/>
                </a:lnTo>
                <a:lnTo>
                  <a:pt x="534" y="67"/>
                </a:lnTo>
                <a:lnTo>
                  <a:pt x="535" y="67"/>
                </a:lnTo>
                <a:lnTo>
                  <a:pt x="536" y="66"/>
                </a:lnTo>
                <a:lnTo>
                  <a:pt x="539" y="67"/>
                </a:lnTo>
                <a:lnTo>
                  <a:pt x="540" y="67"/>
                </a:lnTo>
                <a:lnTo>
                  <a:pt x="543" y="66"/>
                </a:lnTo>
                <a:lnTo>
                  <a:pt x="546" y="64"/>
                </a:lnTo>
                <a:lnTo>
                  <a:pt x="547" y="63"/>
                </a:lnTo>
                <a:lnTo>
                  <a:pt x="548" y="63"/>
                </a:lnTo>
                <a:lnTo>
                  <a:pt x="548" y="64"/>
                </a:lnTo>
                <a:lnTo>
                  <a:pt x="552" y="64"/>
                </a:lnTo>
                <a:lnTo>
                  <a:pt x="552" y="63"/>
                </a:lnTo>
                <a:lnTo>
                  <a:pt x="553" y="62"/>
                </a:lnTo>
                <a:lnTo>
                  <a:pt x="554" y="62"/>
                </a:lnTo>
                <a:lnTo>
                  <a:pt x="558" y="61"/>
                </a:lnTo>
                <a:lnTo>
                  <a:pt x="559" y="60"/>
                </a:lnTo>
                <a:lnTo>
                  <a:pt x="565" y="60"/>
                </a:lnTo>
                <a:lnTo>
                  <a:pt x="567" y="58"/>
                </a:lnTo>
                <a:lnTo>
                  <a:pt x="568" y="58"/>
                </a:lnTo>
                <a:lnTo>
                  <a:pt x="569" y="57"/>
                </a:lnTo>
                <a:lnTo>
                  <a:pt x="571" y="57"/>
                </a:lnTo>
                <a:lnTo>
                  <a:pt x="573" y="60"/>
                </a:lnTo>
                <a:lnTo>
                  <a:pt x="574" y="60"/>
                </a:lnTo>
                <a:lnTo>
                  <a:pt x="574" y="58"/>
                </a:lnTo>
                <a:lnTo>
                  <a:pt x="577" y="58"/>
                </a:lnTo>
                <a:lnTo>
                  <a:pt x="579" y="56"/>
                </a:lnTo>
                <a:lnTo>
                  <a:pt x="583" y="56"/>
                </a:lnTo>
                <a:lnTo>
                  <a:pt x="589" y="62"/>
                </a:lnTo>
                <a:lnTo>
                  <a:pt x="591" y="62"/>
                </a:lnTo>
                <a:lnTo>
                  <a:pt x="592" y="61"/>
                </a:lnTo>
                <a:lnTo>
                  <a:pt x="593" y="61"/>
                </a:lnTo>
                <a:lnTo>
                  <a:pt x="595" y="62"/>
                </a:lnTo>
                <a:lnTo>
                  <a:pt x="596" y="62"/>
                </a:lnTo>
                <a:lnTo>
                  <a:pt x="598" y="64"/>
                </a:lnTo>
                <a:lnTo>
                  <a:pt x="600" y="64"/>
                </a:lnTo>
                <a:lnTo>
                  <a:pt x="604" y="63"/>
                </a:lnTo>
                <a:lnTo>
                  <a:pt x="606" y="66"/>
                </a:lnTo>
                <a:lnTo>
                  <a:pt x="608" y="66"/>
                </a:lnTo>
                <a:lnTo>
                  <a:pt x="610" y="67"/>
                </a:lnTo>
                <a:lnTo>
                  <a:pt x="612" y="66"/>
                </a:lnTo>
                <a:lnTo>
                  <a:pt x="615" y="66"/>
                </a:lnTo>
                <a:lnTo>
                  <a:pt x="615" y="64"/>
                </a:lnTo>
                <a:lnTo>
                  <a:pt x="617" y="64"/>
                </a:lnTo>
                <a:lnTo>
                  <a:pt x="624" y="60"/>
                </a:lnTo>
                <a:lnTo>
                  <a:pt x="628" y="60"/>
                </a:lnTo>
                <a:lnTo>
                  <a:pt x="629" y="58"/>
                </a:lnTo>
                <a:lnTo>
                  <a:pt x="631" y="57"/>
                </a:lnTo>
                <a:lnTo>
                  <a:pt x="634" y="57"/>
                </a:lnTo>
                <a:lnTo>
                  <a:pt x="634" y="56"/>
                </a:lnTo>
                <a:lnTo>
                  <a:pt x="636" y="54"/>
                </a:lnTo>
                <a:lnTo>
                  <a:pt x="640" y="51"/>
                </a:lnTo>
                <a:lnTo>
                  <a:pt x="643" y="51"/>
                </a:lnTo>
                <a:lnTo>
                  <a:pt x="645" y="50"/>
                </a:lnTo>
                <a:lnTo>
                  <a:pt x="648" y="50"/>
                </a:lnTo>
                <a:lnTo>
                  <a:pt x="648" y="49"/>
                </a:lnTo>
                <a:lnTo>
                  <a:pt x="649" y="49"/>
                </a:lnTo>
                <a:lnTo>
                  <a:pt x="651" y="46"/>
                </a:lnTo>
                <a:lnTo>
                  <a:pt x="652" y="46"/>
                </a:lnTo>
                <a:lnTo>
                  <a:pt x="653" y="45"/>
                </a:lnTo>
                <a:lnTo>
                  <a:pt x="655" y="45"/>
                </a:lnTo>
                <a:lnTo>
                  <a:pt x="659" y="42"/>
                </a:lnTo>
                <a:lnTo>
                  <a:pt x="661" y="42"/>
                </a:lnTo>
                <a:lnTo>
                  <a:pt x="662" y="40"/>
                </a:lnTo>
                <a:lnTo>
                  <a:pt x="664" y="40"/>
                </a:lnTo>
                <a:lnTo>
                  <a:pt x="665" y="39"/>
                </a:lnTo>
                <a:lnTo>
                  <a:pt x="665" y="37"/>
                </a:lnTo>
                <a:lnTo>
                  <a:pt x="666" y="37"/>
                </a:lnTo>
                <a:lnTo>
                  <a:pt x="668" y="34"/>
                </a:lnTo>
                <a:lnTo>
                  <a:pt x="668" y="33"/>
                </a:lnTo>
                <a:lnTo>
                  <a:pt x="673" y="36"/>
                </a:lnTo>
                <a:lnTo>
                  <a:pt x="676" y="36"/>
                </a:lnTo>
                <a:lnTo>
                  <a:pt x="676" y="34"/>
                </a:lnTo>
                <a:lnTo>
                  <a:pt x="677" y="34"/>
                </a:lnTo>
                <a:lnTo>
                  <a:pt x="677" y="36"/>
                </a:lnTo>
                <a:lnTo>
                  <a:pt x="678" y="37"/>
                </a:lnTo>
                <a:lnTo>
                  <a:pt x="679" y="37"/>
                </a:lnTo>
                <a:lnTo>
                  <a:pt x="680" y="38"/>
                </a:lnTo>
                <a:lnTo>
                  <a:pt x="682" y="38"/>
                </a:lnTo>
                <a:lnTo>
                  <a:pt x="683" y="37"/>
                </a:lnTo>
                <a:lnTo>
                  <a:pt x="684" y="34"/>
                </a:lnTo>
                <a:lnTo>
                  <a:pt x="685" y="34"/>
                </a:lnTo>
                <a:lnTo>
                  <a:pt x="686" y="33"/>
                </a:lnTo>
                <a:lnTo>
                  <a:pt x="690" y="34"/>
                </a:lnTo>
                <a:lnTo>
                  <a:pt x="697" y="34"/>
                </a:lnTo>
                <a:lnTo>
                  <a:pt x="698" y="36"/>
                </a:lnTo>
                <a:lnTo>
                  <a:pt x="701" y="34"/>
                </a:lnTo>
                <a:lnTo>
                  <a:pt x="708" y="38"/>
                </a:lnTo>
                <a:lnTo>
                  <a:pt x="709" y="38"/>
                </a:lnTo>
                <a:lnTo>
                  <a:pt x="709" y="37"/>
                </a:lnTo>
                <a:lnTo>
                  <a:pt x="713" y="33"/>
                </a:lnTo>
                <a:lnTo>
                  <a:pt x="713" y="30"/>
                </a:lnTo>
                <a:lnTo>
                  <a:pt x="715" y="30"/>
                </a:lnTo>
                <a:lnTo>
                  <a:pt x="717" y="28"/>
                </a:lnTo>
                <a:lnTo>
                  <a:pt x="723" y="30"/>
                </a:lnTo>
                <a:lnTo>
                  <a:pt x="723" y="32"/>
                </a:lnTo>
                <a:lnTo>
                  <a:pt x="722" y="32"/>
                </a:lnTo>
                <a:lnTo>
                  <a:pt x="722" y="33"/>
                </a:lnTo>
                <a:lnTo>
                  <a:pt x="721" y="33"/>
                </a:lnTo>
                <a:lnTo>
                  <a:pt x="723" y="36"/>
                </a:lnTo>
                <a:lnTo>
                  <a:pt x="724" y="36"/>
                </a:lnTo>
                <a:lnTo>
                  <a:pt x="724" y="34"/>
                </a:lnTo>
                <a:lnTo>
                  <a:pt x="726" y="34"/>
                </a:lnTo>
                <a:lnTo>
                  <a:pt x="728" y="37"/>
                </a:lnTo>
                <a:lnTo>
                  <a:pt x="729" y="37"/>
                </a:lnTo>
                <a:lnTo>
                  <a:pt x="729" y="38"/>
                </a:lnTo>
                <a:lnTo>
                  <a:pt x="730" y="40"/>
                </a:lnTo>
                <a:lnTo>
                  <a:pt x="732" y="40"/>
                </a:lnTo>
                <a:lnTo>
                  <a:pt x="734" y="43"/>
                </a:lnTo>
                <a:lnTo>
                  <a:pt x="736" y="44"/>
                </a:lnTo>
                <a:lnTo>
                  <a:pt x="738" y="45"/>
                </a:lnTo>
                <a:lnTo>
                  <a:pt x="739" y="45"/>
                </a:lnTo>
                <a:lnTo>
                  <a:pt x="739" y="46"/>
                </a:lnTo>
                <a:lnTo>
                  <a:pt x="738" y="46"/>
                </a:lnTo>
                <a:lnTo>
                  <a:pt x="735" y="48"/>
                </a:lnTo>
                <a:lnTo>
                  <a:pt x="736" y="49"/>
                </a:lnTo>
                <a:lnTo>
                  <a:pt x="739" y="49"/>
                </a:lnTo>
                <a:lnTo>
                  <a:pt x="739" y="50"/>
                </a:lnTo>
                <a:lnTo>
                  <a:pt x="740" y="52"/>
                </a:lnTo>
                <a:lnTo>
                  <a:pt x="741" y="52"/>
                </a:lnTo>
                <a:lnTo>
                  <a:pt x="745" y="51"/>
                </a:lnTo>
                <a:lnTo>
                  <a:pt x="747" y="51"/>
                </a:lnTo>
                <a:lnTo>
                  <a:pt x="751" y="55"/>
                </a:lnTo>
                <a:lnTo>
                  <a:pt x="749" y="56"/>
                </a:lnTo>
                <a:lnTo>
                  <a:pt x="749" y="60"/>
                </a:lnTo>
                <a:lnTo>
                  <a:pt x="752" y="62"/>
                </a:lnTo>
                <a:lnTo>
                  <a:pt x="753" y="62"/>
                </a:lnTo>
                <a:lnTo>
                  <a:pt x="755" y="63"/>
                </a:lnTo>
                <a:lnTo>
                  <a:pt x="759" y="67"/>
                </a:lnTo>
                <a:lnTo>
                  <a:pt x="759" y="71"/>
                </a:lnTo>
                <a:lnTo>
                  <a:pt x="761" y="74"/>
                </a:lnTo>
                <a:lnTo>
                  <a:pt x="761" y="82"/>
                </a:lnTo>
                <a:lnTo>
                  <a:pt x="760" y="82"/>
                </a:lnTo>
                <a:lnTo>
                  <a:pt x="761" y="83"/>
                </a:lnTo>
                <a:lnTo>
                  <a:pt x="759" y="86"/>
                </a:lnTo>
                <a:lnTo>
                  <a:pt x="759" y="88"/>
                </a:lnTo>
                <a:lnTo>
                  <a:pt x="757" y="88"/>
                </a:lnTo>
                <a:lnTo>
                  <a:pt x="757" y="89"/>
                </a:lnTo>
                <a:lnTo>
                  <a:pt x="754" y="91"/>
                </a:lnTo>
                <a:lnTo>
                  <a:pt x="755" y="92"/>
                </a:lnTo>
                <a:lnTo>
                  <a:pt x="755" y="93"/>
                </a:lnTo>
                <a:lnTo>
                  <a:pt x="758" y="94"/>
                </a:lnTo>
                <a:lnTo>
                  <a:pt x="757" y="97"/>
                </a:lnTo>
                <a:lnTo>
                  <a:pt x="757" y="99"/>
                </a:lnTo>
                <a:lnTo>
                  <a:pt x="760" y="103"/>
                </a:lnTo>
                <a:lnTo>
                  <a:pt x="760" y="104"/>
                </a:lnTo>
                <a:lnTo>
                  <a:pt x="759" y="105"/>
                </a:lnTo>
                <a:lnTo>
                  <a:pt x="761" y="107"/>
                </a:lnTo>
                <a:lnTo>
                  <a:pt x="761" y="109"/>
                </a:lnTo>
                <a:lnTo>
                  <a:pt x="759" y="110"/>
                </a:lnTo>
                <a:lnTo>
                  <a:pt x="759" y="111"/>
                </a:lnTo>
                <a:lnTo>
                  <a:pt x="761" y="112"/>
                </a:lnTo>
                <a:lnTo>
                  <a:pt x="765" y="113"/>
                </a:lnTo>
                <a:lnTo>
                  <a:pt x="770" y="116"/>
                </a:lnTo>
                <a:lnTo>
                  <a:pt x="774" y="117"/>
                </a:lnTo>
                <a:lnTo>
                  <a:pt x="776" y="117"/>
                </a:lnTo>
                <a:lnTo>
                  <a:pt x="777" y="116"/>
                </a:lnTo>
                <a:lnTo>
                  <a:pt x="782" y="116"/>
                </a:lnTo>
                <a:lnTo>
                  <a:pt x="784" y="114"/>
                </a:lnTo>
                <a:lnTo>
                  <a:pt x="785" y="114"/>
                </a:lnTo>
                <a:lnTo>
                  <a:pt x="790" y="117"/>
                </a:lnTo>
                <a:lnTo>
                  <a:pt x="792" y="119"/>
                </a:lnTo>
                <a:lnTo>
                  <a:pt x="796" y="120"/>
                </a:lnTo>
                <a:lnTo>
                  <a:pt x="796" y="122"/>
                </a:lnTo>
                <a:lnTo>
                  <a:pt x="797" y="123"/>
                </a:lnTo>
                <a:lnTo>
                  <a:pt x="797" y="125"/>
                </a:lnTo>
                <a:lnTo>
                  <a:pt x="798" y="125"/>
                </a:lnTo>
                <a:lnTo>
                  <a:pt x="798" y="126"/>
                </a:lnTo>
                <a:lnTo>
                  <a:pt x="800" y="126"/>
                </a:lnTo>
                <a:lnTo>
                  <a:pt x="802" y="129"/>
                </a:lnTo>
                <a:lnTo>
                  <a:pt x="803" y="129"/>
                </a:lnTo>
                <a:lnTo>
                  <a:pt x="805" y="132"/>
                </a:lnTo>
                <a:lnTo>
                  <a:pt x="805" y="134"/>
                </a:lnTo>
                <a:lnTo>
                  <a:pt x="807" y="135"/>
                </a:lnTo>
                <a:lnTo>
                  <a:pt x="807" y="136"/>
                </a:lnTo>
                <a:lnTo>
                  <a:pt x="808" y="137"/>
                </a:lnTo>
                <a:lnTo>
                  <a:pt x="804" y="135"/>
                </a:lnTo>
                <a:lnTo>
                  <a:pt x="803" y="134"/>
                </a:lnTo>
                <a:lnTo>
                  <a:pt x="801" y="132"/>
                </a:lnTo>
                <a:lnTo>
                  <a:pt x="800" y="132"/>
                </a:lnTo>
                <a:lnTo>
                  <a:pt x="798" y="130"/>
                </a:lnTo>
                <a:lnTo>
                  <a:pt x="797" y="130"/>
                </a:lnTo>
                <a:lnTo>
                  <a:pt x="792" y="134"/>
                </a:lnTo>
                <a:lnTo>
                  <a:pt x="792" y="138"/>
                </a:lnTo>
                <a:lnTo>
                  <a:pt x="791" y="141"/>
                </a:lnTo>
                <a:lnTo>
                  <a:pt x="791" y="144"/>
                </a:lnTo>
                <a:lnTo>
                  <a:pt x="790" y="146"/>
                </a:lnTo>
                <a:lnTo>
                  <a:pt x="790" y="149"/>
                </a:lnTo>
                <a:lnTo>
                  <a:pt x="789" y="150"/>
                </a:lnTo>
                <a:lnTo>
                  <a:pt x="786" y="152"/>
                </a:lnTo>
                <a:lnTo>
                  <a:pt x="785" y="152"/>
                </a:lnTo>
                <a:lnTo>
                  <a:pt x="782" y="149"/>
                </a:lnTo>
                <a:lnTo>
                  <a:pt x="780" y="149"/>
                </a:lnTo>
                <a:lnTo>
                  <a:pt x="778" y="150"/>
                </a:lnTo>
                <a:lnTo>
                  <a:pt x="776" y="150"/>
                </a:lnTo>
                <a:lnTo>
                  <a:pt x="774" y="152"/>
                </a:lnTo>
                <a:lnTo>
                  <a:pt x="774" y="153"/>
                </a:lnTo>
                <a:lnTo>
                  <a:pt x="776" y="154"/>
                </a:lnTo>
                <a:lnTo>
                  <a:pt x="776" y="157"/>
                </a:lnTo>
                <a:lnTo>
                  <a:pt x="777" y="159"/>
                </a:lnTo>
                <a:lnTo>
                  <a:pt x="777" y="161"/>
                </a:lnTo>
                <a:lnTo>
                  <a:pt x="779" y="163"/>
                </a:lnTo>
                <a:lnTo>
                  <a:pt x="782" y="165"/>
                </a:lnTo>
                <a:lnTo>
                  <a:pt x="782" y="166"/>
                </a:lnTo>
                <a:lnTo>
                  <a:pt x="780" y="167"/>
                </a:lnTo>
                <a:lnTo>
                  <a:pt x="780" y="171"/>
                </a:lnTo>
                <a:lnTo>
                  <a:pt x="779" y="172"/>
                </a:lnTo>
                <a:lnTo>
                  <a:pt x="779" y="174"/>
                </a:lnTo>
                <a:lnTo>
                  <a:pt x="780" y="174"/>
                </a:lnTo>
                <a:lnTo>
                  <a:pt x="780" y="177"/>
                </a:lnTo>
                <a:lnTo>
                  <a:pt x="782" y="178"/>
                </a:lnTo>
                <a:lnTo>
                  <a:pt x="782" y="179"/>
                </a:lnTo>
                <a:lnTo>
                  <a:pt x="783" y="179"/>
                </a:lnTo>
                <a:lnTo>
                  <a:pt x="785" y="180"/>
                </a:lnTo>
                <a:lnTo>
                  <a:pt x="785" y="183"/>
                </a:lnTo>
                <a:lnTo>
                  <a:pt x="784" y="186"/>
                </a:lnTo>
                <a:lnTo>
                  <a:pt x="784" y="191"/>
                </a:lnTo>
                <a:lnTo>
                  <a:pt x="785" y="191"/>
                </a:lnTo>
                <a:lnTo>
                  <a:pt x="786" y="192"/>
                </a:lnTo>
                <a:lnTo>
                  <a:pt x="786" y="193"/>
                </a:lnTo>
                <a:lnTo>
                  <a:pt x="785" y="196"/>
                </a:lnTo>
                <a:lnTo>
                  <a:pt x="786" y="198"/>
                </a:lnTo>
                <a:lnTo>
                  <a:pt x="786" y="199"/>
                </a:lnTo>
                <a:lnTo>
                  <a:pt x="785" y="202"/>
                </a:lnTo>
                <a:lnTo>
                  <a:pt x="785" y="205"/>
                </a:lnTo>
                <a:lnTo>
                  <a:pt x="786" y="205"/>
                </a:lnTo>
                <a:lnTo>
                  <a:pt x="789" y="206"/>
                </a:lnTo>
                <a:lnTo>
                  <a:pt x="790" y="205"/>
                </a:lnTo>
                <a:lnTo>
                  <a:pt x="791" y="205"/>
                </a:lnTo>
                <a:lnTo>
                  <a:pt x="792" y="206"/>
                </a:lnTo>
                <a:lnTo>
                  <a:pt x="792" y="209"/>
                </a:lnTo>
                <a:lnTo>
                  <a:pt x="789" y="212"/>
                </a:lnTo>
                <a:lnTo>
                  <a:pt x="789" y="218"/>
                </a:lnTo>
                <a:lnTo>
                  <a:pt x="788" y="218"/>
                </a:lnTo>
                <a:lnTo>
                  <a:pt x="788" y="221"/>
                </a:lnTo>
                <a:lnTo>
                  <a:pt x="786" y="221"/>
                </a:lnTo>
                <a:lnTo>
                  <a:pt x="786" y="222"/>
                </a:lnTo>
                <a:lnTo>
                  <a:pt x="785" y="222"/>
                </a:lnTo>
                <a:lnTo>
                  <a:pt x="785" y="224"/>
                </a:lnTo>
                <a:lnTo>
                  <a:pt x="784" y="226"/>
                </a:lnTo>
                <a:lnTo>
                  <a:pt x="783" y="226"/>
                </a:lnTo>
                <a:lnTo>
                  <a:pt x="783" y="230"/>
                </a:lnTo>
                <a:lnTo>
                  <a:pt x="782" y="230"/>
                </a:lnTo>
                <a:lnTo>
                  <a:pt x="782" y="232"/>
                </a:lnTo>
                <a:lnTo>
                  <a:pt x="783" y="233"/>
                </a:lnTo>
                <a:lnTo>
                  <a:pt x="789" y="233"/>
                </a:lnTo>
                <a:lnTo>
                  <a:pt x="789" y="234"/>
                </a:lnTo>
                <a:lnTo>
                  <a:pt x="790" y="234"/>
                </a:lnTo>
                <a:lnTo>
                  <a:pt x="790" y="236"/>
                </a:lnTo>
                <a:lnTo>
                  <a:pt x="791" y="236"/>
                </a:lnTo>
                <a:lnTo>
                  <a:pt x="791" y="239"/>
                </a:lnTo>
                <a:lnTo>
                  <a:pt x="792" y="239"/>
                </a:lnTo>
                <a:lnTo>
                  <a:pt x="794" y="237"/>
                </a:lnTo>
                <a:lnTo>
                  <a:pt x="796" y="237"/>
                </a:lnTo>
                <a:lnTo>
                  <a:pt x="797" y="239"/>
                </a:lnTo>
                <a:lnTo>
                  <a:pt x="798" y="241"/>
                </a:lnTo>
                <a:lnTo>
                  <a:pt x="798" y="242"/>
                </a:lnTo>
                <a:lnTo>
                  <a:pt x="797" y="243"/>
                </a:lnTo>
                <a:lnTo>
                  <a:pt x="796" y="243"/>
                </a:lnTo>
                <a:lnTo>
                  <a:pt x="796" y="246"/>
                </a:lnTo>
                <a:lnTo>
                  <a:pt x="797" y="246"/>
                </a:lnTo>
                <a:lnTo>
                  <a:pt x="798" y="247"/>
                </a:lnTo>
                <a:lnTo>
                  <a:pt x="798" y="249"/>
                </a:lnTo>
                <a:lnTo>
                  <a:pt x="797" y="251"/>
                </a:lnTo>
                <a:lnTo>
                  <a:pt x="797" y="253"/>
                </a:lnTo>
                <a:lnTo>
                  <a:pt x="798" y="253"/>
                </a:lnTo>
                <a:lnTo>
                  <a:pt x="797" y="255"/>
                </a:lnTo>
                <a:lnTo>
                  <a:pt x="797" y="257"/>
                </a:lnTo>
                <a:lnTo>
                  <a:pt x="801" y="257"/>
                </a:lnTo>
                <a:lnTo>
                  <a:pt x="801" y="259"/>
                </a:lnTo>
                <a:lnTo>
                  <a:pt x="803" y="259"/>
                </a:lnTo>
                <a:lnTo>
                  <a:pt x="803" y="260"/>
                </a:lnTo>
                <a:lnTo>
                  <a:pt x="804" y="260"/>
                </a:lnTo>
                <a:lnTo>
                  <a:pt x="807" y="263"/>
                </a:lnTo>
                <a:lnTo>
                  <a:pt x="807" y="266"/>
                </a:lnTo>
                <a:lnTo>
                  <a:pt x="805" y="266"/>
                </a:lnTo>
                <a:lnTo>
                  <a:pt x="805" y="271"/>
                </a:lnTo>
                <a:lnTo>
                  <a:pt x="804" y="270"/>
                </a:lnTo>
                <a:lnTo>
                  <a:pt x="797" y="270"/>
                </a:lnTo>
                <a:lnTo>
                  <a:pt x="795" y="272"/>
                </a:lnTo>
                <a:lnTo>
                  <a:pt x="794" y="275"/>
                </a:lnTo>
                <a:lnTo>
                  <a:pt x="792" y="275"/>
                </a:lnTo>
                <a:lnTo>
                  <a:pt x="791" y="276"/>
                </a:lnTo>
                <a:lnTo>
                  <a:pt x="788" y="277"/>
                </a:lnTo>
                <a:lnTo>
                  <a:pt x="788" y="278"/>
                </a:lnTo>
                <a:lnTo>
                  <a:pt x="786" y="279"/>
                </a:lnTo>
                <a:lnTo>
                  <a:pt x="786" y="280"/>
                </a:lnTo>
                <a:lnTo>
                  <a:pt x="784" y="280"/>
                </a:lnTo>
                <a:lnTo>
                  <a:pt x="783" y="279"/>
                </a:lnTo>
                <a:lnTo>
                  <a:pt x="782" y="276"/>
                </a:lnTo>
                <a:lnTo>
                  <a:pt x="780" y="275"/>
                </a:lnTo>
                <a:lnTo>
                  <a:pt x="780" y="273"/>
                </a:lnTo>
                <a:lnTo>
                  <a:pt x="782" y="272"/>
                </a:lnTo>
                <a:lnTo>
                  <a:pt x="782" y="271"/>
                </a:lnTo>
                <a:lnTo>
                  <a:pt x="784" y="271"/>
                </a:lnTo>
                <a:lnTo>
                  <a:pt x="784" y="267"/>
                </a:lnTo>
                <a:lnTo>
                  <a:pt x="783" y="266"/>
                </a:lnTo>
                <a:lnTo>
                  <a:pt x="783" y="265"/>
                </a:lnTo>
                <a:lnTo>
                  <a:pt x="782" y="265"/>
                </a:lnTo>
                <a:lnTo>
                  <a:pt x="782" y="264"/>
                </a:lnTo>
                <a:lnTo>
                  <a:pt x="777" y="263"/>
                </a:lnTo>
                <a:lnTo>
                  <a:pt x="773" y="263"/>
                </a:lnTo>
                <a:lnTo>
                  <a:pt x="771" y="264"/>
                </a:lnTo>
                <a:lnTo>
                  <a:pt x="770" y="265"/>
                </a:lnTo>
                <a:lnTo>
                  <a:pt x="769" y="267"/>
                </a:lnTo>
                <a:lnTo>
                  <a:pt x="766" y="267"/>
                </a:lnTo>
                <a:lnTo>
                  <a:pt x="766" y="269"/>
                </a:lnTo>
                <a:lnTo>
                  <a:pt x="765" y="269"/>
                </a:lnTo>
                <a:lnTo>
                  <a:pt x="763" y="266"/>
                </a:lnTo>
                <a:lnTo>
                  <a:pt x="761" y="266"/>
                </a:lnTo>
                <a:lnTo>
                  <a:pt x="758" y="267"/>
                </a:lnTo>
                <a:lnTo>
                  <a:pt x="757" y="266"/>
                </a:lnTo>
                <a:lnTo>
                  <a:pt x="754" y="266"/>
                </a:lnTo>
                <a:lnTo>
                  <a:pt x="754" y="265"/>
                </a:lnTo>
                <a:lnTo>
                  <a:pt x="753" y="265"/>
                </a:lnTo>
                <a:lnTo>
                  <a:pt x="752" y="266"/>
                </a:lnTo>
                <a:lnTo>
                  <a:pt x="751" y="266"/>
                </a:lnTo>
                <a:lnTo>
                  <a:pt x="748" y="264"/>
                </a:lnTo>
                <a:lnTo>
                  <a:pt x="747" y="264"/>
                </a:lnTo>
                <a:lnTo>
                  <a:pt x="746" y="263"/>
                </a:lnTo>
                <a:lnTo>
                  <a:pt x="746" y="261"/>
                </a:lnTo>
                <a:lnTo>
                  <a:pt x="744" y="261"/>
                </a:lnTo>
                <a:lnTo>
                  <a:pt x="744" y="263"/>
                </a:lnTo>
                <a:lnTo>
                  <a:pt x="742" y="263"/>
                </a:lnTo>
                <a:lnTo>
                  <a:pt x="736" y="259"/>
                </a:lnTo>
                <a:lnTo>
                  <a:pt x="735" y="259"/>
                </a:lnTo>
                <a:lnTo>
                  <a:pt x="733" y="260"/>
                </a:lnTo>
                <a:lnTo>
                  <a:pt x="732" y="260"/>
                </a:lnTo>
                <a:lnTo>
                  <a:pt x="730" y="261"/>
                </a:lnTo>
                <a:lnTo>
                  <a:pt x="727" y="261"/>
                </a:lnTo>
                <a:lnTo>
                  <a:pt x="723" y="260"/>
                </a:lnTo>
                <a:lnTo>
                  <a:pt x="723" y="259"/>
                </a:lnTo>
                <a:lnTo>
                  <a:pt x="722" y="259"/>
                </a:lnTo>
                <a:lnTo>
                  <a:pt x="720" y="260"/>
                </a:lnTo>
                <a:lnTo>
                  <a:pt x="718" y="260"/>
                </a:lnTo>
                <a:lnTo>
                  <a:pt x="718" y="261"/>
                </a:lnTo>
                <a:lnTo>
                  <a:pt x="714" y="270"/>
                </a:lnTo>
                <a:lnTo>
                  <a:pt x="713" y="271"/>
                </a:lnTo>
                <a:lnTo>
                  <a:pt x="708" y="272"/>
                </a:lnTo>
                <a:lnTo>
                  <a:pt x="705" y="273"/>
                </a:lnTo>
                <a:lnTo>
                  <a:pt x="704" y="273"/>
                </a:lnTo>
                <a:lnTo>
                  <a:pt x="704" y="271"/>
                </a:lnTo>
                <a:lnTo>
                  <a:pt x="703" y="271"/>
                </a:lnTo>
                <a:lnTo>
                  <a:pt x="703" y="270"/>
                </a:lnTo>
                <a:lnTo>
                  <a:pt x="704" y="267"/>
                </a:lnTo>
                <a:lnTo>
                  <a:pt x="702" y="265"/>
                </a:lnTo>
                <a:lnTo>
                  <a:pt x="702" y="264"/>
                </a:lnTo>
                <a:lnTo>
                  <a:pt x="698" y="264"/>
                </a:lnTo>
                <a:lnTo>
                  <a:pt x="698" y="261"/>
                </a:lnTo>
                <a:lnTo>
                  <a:pt x="690" y="270"/>
                </a:lnTo>
                <a:lnTo>
                  <a:pt x="685" y="271"/>
                </a:lnTo>
                <a:lnTo>
                  <a:pt x="667" y="275"/>
                </a:lnTo>
                <a:lnTo>
                  <a:pt x="655" y="276"/>
                </a:lnTo>
                <a:lnTo>
                  <a:pt x="654" y="276"/>
                </a:lnTo>
                <a:lnTo>
                  <a:pt x="653" y="275"/>
                </a:lnTo>
                <a:lnTo>
                  <a:pt x="642" y="272"/>
                </a:lnTo>
                <a:lnTo>
                  <a:pt x="635" y="273"/>
                </a:lnTo>
                <a:lnTo>
                  <a:pt x="633" y="275"/>
                </a:lnTo>
                <a:lnTo>
                  <a:pt x="627" y="277"/>
                </a:lnTo>
                <a:lnTo>
                  <a:pt x="624" y="278"/>
                </a:lnTo>
                <a:lnTo>
                  <a:pt x="622" y="278"/>
                </a:lnTo>
                <a:lnTo>
                  <a:pt x="621" y="279"/>
                </a:lnTo>
                <a:lnTo>
                  <a:pt x="616" y="283"/>
                </a:lnTo>
                <a:lnTo>
                  <a:pt x="612" y="285"/>
                </a:lnTo>
                <a:lnTo>
                  <a:pt x="611" y="285"/>
                </a:lnTo>
                <a:lnTo>
                  <a:pt x="610" y="286"/>
                </a:lnTo>
                <a:lnTo>
                  <a:pt x="608" y="286"/>
                </a:lnTo>
                <a:lnTo>
                  <a:pt x="604" y="289"/>
                </a:lnTo>
                <a:lnTo>
                  <a:pt x="595" y="292"/>
                </a:lnTo>
                <a:lnTo>
                  <a:pt x="581" y="295"/>
                </a:lnTo>
                <a:lnTo>
                  <a:pt x="573" y="297"/>
                </a:lnTo>
                <a:lnTo>
                  <a:pt x="571" y="297"/>
                </a:lnTo>
                <a:lnTo>
                  <a:pt x="564" y="295"/>
                </a:lnTo>
                <a:lnTo>
                  <a:pt x="550" y="295"/>
                </a:lnTo>
                <a:lnTo>
                  <a:pt x="548" y="294"/>
                </a:lnTo>
                <a:lnTo>
                  <a:pt x="541" y="286"/>
                </a:lnTo>
                <a:lnTo>
                  <a:pt x="533" y="284"/>
                </a:lnTo>
                <a:lnTo>
                  <a:pt x="528" y="284"/>
                </a:lnTo>
                <a:lnTo>
                  <a:pt x="525" y="285"/>
                </a:lnTo>
                <a:lnTo>
                  <a:pt x="522" y="288"/>
                </a:lnTo>
                <a:lnTo>
                  <a:pt x="521" y="288"/>
                </a:lnTo>
                <a:lnTo>
                  <a:pt x="519" y="289"/>
                </a:lnTo>
                <a:lnTo>
                  <a:pt x="512" y="291"/>
                </a:lnTo>
                <a:lnTo>
                  <a:pt x="505" y="292"/>
                </a:lnTo>
                <a:lnTo>
                  <a:pt x="503" y="294"/>
                </a:lnTo>
                <a:lnTo>
                  <a:pt x="497" y="298"/>
                </a:lnTo>
                <a:lnTo>
                  <a:pt x="496" y="298"/>
                </a:lnTo>
                <a:lnTo>
                  <a:pt x="488" y="297"/>
                </a:lnTo>
                <a:lnTo>
                  <a:pt x="481" y="297"/>
                </a:lnTo>
                <a:lnTo>
                  <a:pt x="481" y="298"/>
                </a:lnTo>
                <a:lnTo>
                  <a:pt x="479" y="298"/>
                </a:lnTo>
                <a:lnTo>
                  <a:pt x="479" y="294"/>
                </a:lnTo>
                <a:lnTo>
                  <a:pt x="477" y="291"/>
                </a:lnTo>
                <a:lnTo>
                  <a:pt x="474" y="291"/>
                </a:lnTo>
                <a:lnTo>
                  <a:pt x="472" y="290"/>
                </a:lnTo>
                <a:lnTo>
                  <a:pt x="463" y="288"/>
                </a:lnTo>
                <a:lnTo>
                  <a:pt x="462" y="288"/>
                </a:lnTo>
                <a:lnTo>
                  <a:pt x="463" y="289"/>
                </a:lnTo>
                <a:lnTo>
                  <a:pt x="462" y="290"/>
                </a:lnTo>
                <a:lnTo>
                  <a:pt x="462" y="291"/>
                </a:lnTo>
                <a:lnTo>
                  <a:pt x="461" y="292"/>
                </a:lnTo>
                <a:lnTo>
                  <a:pt x="461" y="295"/>
                </a:lnTo>
                <a:lnTo>
                  <a:pt x="460" y="296"/>
                </a:lnTo>
                <a:lnTo>
                  <a:pt x="460" y="303"/>
                </a:lnTo>
                <a:lnTo>
                  <a:pt x="459" y="306"/>
                </a:lnTo>
                <a:lnTo>
                  <a:pt x="459" y="310"/>
                </a:lnTo>
                <a:lnTo>
                  <a:pt x="460" y="310"/>
                </a:lnTo>
                <a:lnTo>
                  <a:pt x="461" y="312"/>
                </a:lnTo>
                <a:lnTo>
                  <a:pt x="461" y="314"/>
                </a:lnTo>
                <a:lnTo>
                  <a:pt x="462" y="314"/>
                </a:lnTo>
                <a:lnTo>
                  <a:pt x="462" y="315"/>
                </a:lnTo>
                <a:lnTo>
                  <a:pt x="463" y="315"/>
                </a:lnTo>
                <a:lnTo>
                  <a:pt x="463" y="316"/>
                </a:lnTo>
                <a:lnTo>
                  <a:pt x="465" y="318"/>
                </a:lnTo>
                <a:lnTo>
                  <a:pt x="465" y="319"/>
                </a:lnTo>
                <a:lnTo>
                  <a:pt x="463" y="319"/>
                </a:lnTo>
                <a:lnTo>
                  <a:pt x="461" y="320"/>
                </a:lnTo>
                <a:lnTo>
                  <a:pt x="455" y="320"/>
                </a:lnTo>
                <a:lnTo>
                  <a:pt x="455" y="321"/>
                </a:lnTo>
                <a:lnTo>
                  <a:pt x="453" y="321"/>
                </a:lnTo>
                <a:lnTo>
                  <a:pt x="453" y="320"/>
                </a:lnTo>
                <a:lnTo>
                  <a:pt x="452" y="320"/>
                </a:lnTo>
                <a:lnTo>
                  <a:pt x="452" y="322"/>
                </a:lnTo>
                <a:lnTo>
                  <a:pt x="450" y="329"/>
                </a:lnTo>
                <a:lnTo>
                  <a:pt x="452" y="332"/>
                </a:lnTo>
                <a:lnTo>
                  <a:pt x="450" y="332"/>
                </a:lnTo>
                <a:lnTo>
                  <a:pt x="448" y="331"/>
                </a:lnTo>
                <a:lnTo>
                  <a:pt x="448" y="332"/>
                </a:lnTo>
                <a:lnTo>
                  <a:pt x="447" y="333"/>
                </a:lnTo>
                <a:lnTo>
                  <a:pt x="446" y="333"/>
                </a:lnTo>
                <a:lnTo>
                  <a:pt x="443" y="335"/>
                </a:lnTo>
                <a:lnTo>
                  <a:pt x="443" y="339"/>
                </a:lnTo>
                <a:lnTo>
                  <a:pt x="442" y="340"/>
                </a:lnTo>
                <a:lnTo>
                  <a:pt x="440" y="339"/>
                </a:lnTo>
                <a:lnTo>
                  <a:pt x="438" y="338"/>
                </a:lnTo>
                <a:lnTo>
                  <a:pt x="436" y="338"/>
                </a:lnTo>
                <a:lnTo>
                  <a:pt x="435" y="337"/>
                </a:lnTo>
                <a:lnTo>
                  <a:pt x="436" y="337"/>
                </a:lnTo>
                <a:lnTo>
                  <a:pt x="436" y="335"/>
                </a:lnTo>
                <a:lnTo>
                  <a:pt x="432" y="335"/>
                </a:lnTo>
                <a:lnTo>
                  <a:pt x="432" y="334"/>
                </a:lnTo>
                <a:lnTo>
                  <a:pt x="435" y="332"/>
                </a:lnTo>
                <a:lnTo>
                  <a:pt x="435" y="331"/>
                </a:lnTo>
                <a:lnTo>
                  <a:pt x="434" y="327"/>
                </a:lnTo>
                <a:lnTo>
                  <a:pt x="431" y="322"/>
                </a:lnTo>
                <a:lnTo>
                  <a:pt x="430" y="321"/>
                </a:lnTo>
                <a:lnTo>
                  <a:pt x="430" y="320"/>
                </a:lnTo>
                <a:lnTo>
                  <a:pt x="429" y="319"/>
                </a:lnTo>
                <a:lnTo>
                  <a:pt x="429" y="318"/>
                </a:lnTo>
                <a:lnTo>
                  <a:pt x="428" y="318"/>
                </a:lnTo>
                <a:lnTo>
                  <a:pt x="428" y="316"/>
                </a:lnTo>
                <a:lnTo>
                  <a:pt x="426" y="315"/>
                </a:lnTo>
                <a:lnTo>
                  <a:pt x="426" y="314"/>
                </a:lnTo>
                <a:lnTo>
                  <a:pt x="428" y="313"/>
                </a:lnTo>
                <a:lnTo>
                  <a:pt x="429" y="313"/>
                </a:lnTo>
                <a:lnTo>
                  <a:pt x="429" y="312"/>
                </a:lnTo>
                <a:lnTo>
                  <a:pt x="430" y="312"/>
                </a:lnTo>
                <a:lnTo>
                  <a:pt x="430" y="310"/>
                </a:lnTo>
                <a:lnTo>
                  <a:pt x="431" y="310"/>
                </a:lnTo>
                <a:lnTo>
                  <a:pt x="431" y="309"/>
                </a:lnTo>
                <a:lnTo>
                  <a:pt x="432" y="309"/>
                </a:lnTo>
                <a:lnTo>
                  <a:pt x="432" y="308"/>
                </a:lnTo>
                <a:lnTo>
                  <a:pt x="434" y="307"/>
                </a:lnTo>
                <a:lnTo>
                  <a:pt x="435" y="307"/>
                </a:lnTo>
                <a:lnTo>
                  <a:pt x="435" y="306"/>
                </a:lnTo>
                <a:lnTo>
                  <a:pt x="437" y="303"/>
                </a:lnTo>
                <a:lnTo>
                  <a:pt x="438" y="303"/>
                </a:lnTo>
                <a:lnTo>
                  <a:pt x="443" y="300"/>
                </a:lnTo>
                <a:lnTo>
                  <a:pt x="444" y="300"/>
                </a:lnTo>
                <a:lnTo>
                  <a:pt x="444" y="289"/>
                </a:lnTo>
                <a:lnTo>
                  <a:pt x="438" y="283"/>
                </a:lnTo>
                <a:lnTo>
                  <a:pt x="435" y="283"/>
                </a:lnTo>
                <a:lnTo>
                  <a:pt x="434" y="284"/>
                </a:lnTo>
                <a:lnTo>
                  <a:pt x="431" y="288"/>
                </a:lnTo>
                <a:lnTo>
                  <a:pt x="430" y="288"/>
                </a:lnTo>
                <a:lnTo>
                  <a:pt x="430" y="289"/>
                </a:lnTo>
                <a:lnTo>
                  <a:pt x="428" y="290"/>
                </a:lnTo>
                <a:lnTo>
                  <a:pt x="428" y="291"/>
                </a:lnTo>
                <a:lnTo>
                  <a:pt x="421" y="291"/>
                </a:lnTo>
                <a:lnTo>
                  <a:pt x="421" y="292"/>
                </a:lnTo>
                <a:lnTo>
                  <a:pt x="422" y="294"/>
                </a:lnTo>
                <a:lnTo>
                  <a:pt x="424" y="294"/>
                </a:lnTo>
                <a:lnTo>
                  <a:pt x="421" y="295"/>
                </a:lnTo>
                <a:lnTo>
                  <a:pt x="419" y="296"/>
                </a:lnTo>
                <a:lnTo>
                  <a:pt x="419" y="297"/>
                </a:lnTo>
                <a:lnTo>
                  <a:pt x="422" y="295"/>
                </a:lnTo>
                <a:lnTo>
                  <a:pt x="423" y="295"/>
                </a:lnTo>
                <a:lnTo>
                  <a:pt x="421" y="297"/>
                </a:lnTo>
                <a:lnTo>
                  <a:pt x="421" y="300"/>
                </a:lnTo>
                <a:lnTo>
                  <a:pt x="419" y="300"/>
                </a:lnTo>
                <a:lnTo>
                  <a:pt x="419" y="301"/>
                </a:lnTo>
                <a:lnTo>
                  <a:pt x="417" y="301"/>
                </a:lnTo>
                <a:lnTo>
                  <a:pt x="415" y="298"/>
                </a:lnTo>
                <a:lnTo>
                  <a:pt x="415" y="300"/>
                </a:lnTo>
                <a:lnTo>
                  <a:pt x="416" y="301"/>
                </a:lnTo>
                <a:lnTo>
                  <a:pt x="415" y="301"/>
                </a:lnTo>
                <a:lnTo>
                  <a:pt x="412" y="300"/>
                </a:lnTo>
                <a:lnTo>
                  <a:pt x="409" y="303"/>
                </a:lnTo>
                <a:lnTo>
                  <a:pt x="407" y="303"/>
                </a:lnTo>
                <a:lnTo>
                  <a:pt x="407" y="302"/>
                </a:lnTo>
                <a:lnTo>
                  <a:pt x="406" y="302"/>
                </a:lnTo>
                <a:lnTo>
                  <a:pt x="406" y="301"/>
                </a:lnTo>
                <a:lnTo>
                  <a:pt x="395" y="295"/>
                </a:lnTo>
                <a:lnTo>
                  <a:pt x="394" y="295"/>
                </a:lnTo>
                <a:lnTo>
                  <a:pt x="393" y="294"/>
                </a:lnTo>
                <a:lnTo>
                  <a:pt x="390" y="294"/>
                </a:lnTo>
                <a:lnTo>
                  <a:pt x="390" y="292"/>
                </a:lnTo>
                <a:lnTo>
                  <a:pt x="387" y="290"/>
                </a:lnTo>
                <a:lnTo>
                  <a:pt x="384" y="289"/>
                </a:lnTo>
                <a:lnTo>
                  <a:pt x="382" y="288"/>
                </a:lnTo>
                <a:lnTo>
                  <a:pt x="381" y="289"/>
                </a:lnTo>
                <a:lnTo>
                  <a:pt x="378" y="290"/>
                </a:lnTo>
                <a:lnTo>
                  <a:pt x="376" y="290"/>
                </a:lnTo>
                <a:lnTo>
                  <a:pt x="375" y="291"/>
                </a:lnTo>
                <a:lnTo>
                  <a:pt x="374" y="291"/>
                </a:lnTo>
                <a:lnTo>
                  <a:pt x="374" y="292"/>
                </a:lnTo>
                <a:lnTo>
                  <a:pt x="373" y="294"/>
                </a:lnTo>
                <a:lnTo>
                  <a:pt x="369" y="296"/>
                </a:lnTo>
                <a:lnTo>
                  <a:pt x="364" y="300"/>
                </a:lnTo>
                <a:lnTo>
                  <a:pt x="363" y="301"/>
                </a:lnTo>
                <a:lnTo>
                  <a:pt x="360" y="306"/>
                </a:lnTo>
                <a:lnTo>
                  <a:pt x="359" y="306"/>
                </a:lnTo>
                <a:lnTo>
                  <a:pt x="359" y="307"/>
                </a:lnTo>
                <a:lnTo>
                  <a:pt x="357" y="307"/>
                </a:lnTo>
                <a:lnTo>
                  <a:pt x="356" y="309"/>
                </a:lnTo>
                <a:lnTo>
                  <a:pt x="355" y="309"/>
                </a:lnTo>
                <a:lnTo>
                  <a:pt x="355" y="314"/>
                </a:lnTo>
                <a:lnTo>
                  <a:pt x="354" y="315"/>
                </a:lnTo>
                <a:lnTo>
                  <a:pt x="351" y="315"/>
                </a:lnTo>
                <a:lnTo>
                  <a:pt x="351" y="316"/>
                </a:lnTo>
                <a:lnTo>
                  <a:pt x="350" y="318"/>
                </a:lnTo>
                <a:lnTo>
                  <a:pt x="350" y="320"/>
                </a:lnTo>
                <a:lnTo>
                  <a:pt x="349" y="320"/>
                </a:lnTo>
                <a:lnTo>
                  <a:pt x="349" y="316"/>
                </a:lnTo>
                <a:lnTo>
                  <a:pt x="348" y="315"/>
                </a:lnTo>
                <a:lnTo>
                  <a:pt x="345" y="315"/>
                </a:lnTo>
                <a:lnTo>
                  <a:pt x="344" y="316"/>
                </a:lnTo>
                <a:lnTo>
                  <a:pt x="344" y="318"/>
                </a:lnTo>
                <a:lnTo>
                  <a:pt x="343" y="318"/>
                </a:lnTo>
                <a:lnTo>
                  <a:pt x="343" y="319"/>
                </a:lnTo>
                <a:lnTo>
                  <a:pt x="342" y="320"/>
                </a:lnTo>
                <a:lnTo>
                  <a:pt x="341" y="320"/>
                </a:lnTo>
                <a:lnTo>
                  <a:pt x="339" y="322"/>
                </a:lnTo>
                <a:lnTo>
                  <a:pt x="338" y="322"/>
                </a:lnTo>
                <a:lnTo>
                  <a:pt x="338" y="323"/>
                </a:lnTo>
                <a:lnTo>
                  <a:pt x="337" y="322"/>
                </a:lnTo>
                <a:lnTo>
                  <a:pt x="337" y="321"/>
                </a:lnTo>
                <a:lnTo>
                  <a:pt x="336" y="321"/>
                </a:lnTo>
                <a:lnTo>
                  <a:pt x="332" y="325"/>
                </a:lnTo>
                <a:lnTo>
                  <a:pt x="331" y="325"/>
                </a:lnTo>
                <a:lnTo>
                  <a:pt x="332" y="323"/>
                </a:lnTo>
                <a:lnTo>
                  <a:pt x="323" y="323"/>
                </a:lnTo>
                <a:lnTo>
                  <a:pt x="323" y="325"/>
                </a:lnTo>
                <a:lnTo>
                  <a:pt x="317" y="325"/>
                </a:lnTo>
                <a:lnTo>
                  <a:pt x="316" y="323"/>
                </a:lnTo>
                <a:lnTo>
                  <a:pt x="314" y="325"/>
                </a:lnTo>
                <a:lnTo>
                  <a:pt x="314" y="326"/>
                </a:lnTo>
                <a:lnTo>
                  <a:pt x="313" y="327"/>
                </a:lnTo>
                <a:lnTo>
                  <a:pt x="312" y="327"/>
                </a:lnTo>
                <a:lnTo>
                  <a:pt x="312" y="326"/>
                </a:lnTo>
                <a:lnTo>
                  <a:pt x="311" y="327"/>
                </a:lnTo>
                <a:lnTo>
                  <a:pt x="307" y="326"/>
                </a:lnTo>
                <a:lnTo>
                  <a:pt x="304" y="327"/>
                </a:lnTo>
                <a:lnTo>
                  <a:pt x="304" y="328"/>
                </a:lnTo>
                <a:lnTo>
                  <a:pt x="301" y="329"/>
                </a:lnTo>
                <a:lnTo>
                  <a:pt x="299" y="329"/>
                </a:lnTo>
                <a:lnTo>
                  <a:pt x="295" y="328"/>
                </a:lnTo>
                <a:lnTo>
                  <a:pt x="294" y="328"/>
                </a:lnTo>
                <a:lnTo>
                  <a:pt x="291" y="326"/>
                </a:lnTo>
                <a:lnTo>
                  <a:pt x="288" y="326"/>
                </a:lnTo>
                <a:lnTo>
                  <a:pt x="286" y="323"/>
                </a:lnTo>
                <a:lnTo>
                  <a:pt x="285" y="323"/>
                </a:lnTo>
                <a:lnTo>
                  <a:pt x="285" y="322"/>
                </a:lnTo>
                <a:lnTo>
                  <a:pt x="282" y="322"/>
                </a:lnTo>
                <a:lnTo>
                  <a:pt x="281" y="319"/>
                </a:lnTo>
                <a:lnTo>
                  <a:pt x="279" y="319"/>
                </a:lnTo>
                <a:lnTo>
                  <a:pt x="279" y="316"/>
                </a:lnTo>
                <a:lnTo>
                  <a:pt x="275" y="313"/>
                </a:lnTo>
                <a:lnTo>
                  <a:pt x="275" y="310"/>
                </a:lnTo>
                <a:lnTo>
                  <a:pt x="274" y="310"/>
                </a:lnTo>
                <a:lnTo>
                  <a:pt x="274" y="309"/>
                </a:lnTo>
                <a:lnTo>
                  <a:pt x="272" y="307"/>
                </a:lnTo>
                <a:lnTo>
                  <a:pt x="272" y="306"/>
                </a:lnTo>
                <a:lnTo>
                  <a:pt x="270" y="306"/>
                </a:lnTo>
                <a:lnTo>
                  <a:pt x="268" y="303"/>
                </a:lnTo>
                <a:lnTo>
                  <a:pt x="268" y="302"/>
                </a:lnTo>
                <a:lnTo>
                  <a:pt x="263" y="302"/>
                </a:lnTo>
                <a:lnTo>
                  <a:pt x="263" y="301"/>
                </a:lnTo>
                <a:lnTo>
                  <a:pt x="260" y="301"/>
                </a:lnTo>
                <a:lnTo>
                  <a:pt x="258" y="300"/>
                </a:lnTo>
                <a:lnTo>
                  <a:pt x="257" y="300"/>
                </a:lnTo>
                <a:lnTo>
                  <a:pt x="256" y="298"/>
                </a:lnTo>
                <a:lnTo>
                  <a:pt x="256" y="297"/>
                </a:lnTo>
                <a:lnTo>
                  <a:pt x="255" y="297"/>
                </a:lnTo>
                <a:lnTo>
                  <a:pt x="251" y="296"/>
                </a:lnTo>
                <a:lnTo>
                  <a:pt x="250" y="296"/>
                </a:lnTo>
                <a:lnTo>
                  <a:pt x="250" y="295"/>
                </a:lnTo>
                <a:lnTo>
                  <a:pt x="242" y="291"/>
                </a:lnTo>
                <a:lnTo>
                  <a:pt x="241" y="291"/>
                </a:lnTo>
                <a:lnTo>
                  <a:pt x="241" y="290"/>
                </a:lnTo>
                <a:lnTo>
                  <a:pt x="239" y="289"/>
                </a:lnTo>
                <a:lnTo>
                  <a:pt x="223" y="286"/>
                </a:lnTo>
                <a:lnTo>
                  <a:pt x="213" y="286"/>
                </a:lnTo>
                <a:lnTo>
                  <a:pt x="212" y="284"/>
                </a:lnTo>
                <a:lnTo>
                  <a:pt x="207" y="289"/>
                </a:lnTo>
                <a:lnTo>
                  <a:pt x="207" y="292"/>
                </a:lnTo>
                <a:lnTo>
                  <a:pt x="206" y="294"/>
                </a:lnTo>
                <a:lnTo>
                  <a:pt x="206" y="295"/>
                </a:lnTo>
                <a:lnTo>
                  <a:pt x="207" y="295"/>
                </a:lnTo>
                <a:lnTo>
                  <a:pt x="207" y="296"/>
                </a:lnTo>
                <a:lnTo>
                  <a:pt x="206" y="296"/>
                </a:lnTo>
                <a:lnTo>
                  <a:pt x="206" y="300"/>
                </a:lnTo>
                <a:lnTo>
                  <a:pt x="207" y="300"/>
                </a:lnTo>
                <a:lnTo>
                  <a:pt x="207" y="303"/>
                </a:lnTo>
                <a:lnTo>
                  <a:pt x="205" y="304"/>
                </a:lnTo>
                <a:lnTo>
                  <a:pt x="205" y="306"/>
                </a:lnTo>
                <a:lnTo>
                  <a:pt x="204" y="308"/>
                </a:lnTo>
                <a:lnTo>
                  <a:pt x="204" y="309"/>
                </a:lnTo>
                <a:lnTo>
                  <a:pt x="202" y="310"/>
                </a:lnTo>
                <a:lnTo>
                  <a:pt x="202" y="312"/>
                </a:lnTo>
                <a:lnTo>
                  <a:pt x="204" y="312"/>
                </a:lnTo>
                <a:lnTo>
                  <a:pt x="204" y="313"/>
                </a:lnTo>
                <a:lnTo>
                  <a:pt x="205" y="314"/>
                </a:lnTo>
                <a:lnTo>
                  <a:pt x="204" y="314"/>
                </a:lnTo>
                <a:lnTo>
                  <a:pt x="202" y="315"/>
                </a:lnTo>
                <a:lnTo>
                  <a:pt x="202" y="318"/>
                </a:lnTo>
                <a:lnTo>
                  <a:pt x="201" y="318"/>
                </a:lnTo>
                <a:lnTo>
                  <a:pt x="201" y="320"/>
                </a:lnTo>
                <a:lnTo>
                  <a:pt x="200" y="320"/>
                </a:lnTo>
                <a:lnTo>
                  <a:pt x="200" y="319"/>
                </a:lnTo>
                <a:lnTo>
                  <a:pt x="199" y="318"/>
                </a:lnTo>
                <a:lnTo>
                  <a:pt x="199" y="316"/>
                </a:lnTo>
                <a:lnTo>
                  <a:pt x="198" y="318"/>
                </a:lnTo>
                <a:lnTo>
                  <a:pt x="193" y="315"/>
                </a:lnTo>
                <a:lnTo>
                  <a:pt x="189" y="315"/>
                </a:lnTo>
                <a:lnTo>
                  <a:pt x="189" y="318"/>
                </a:lnTo>
                <a:lnTo>
                  <a:pt x="188" y="318"/>
                </a:lnTo>
                <a:lnTo>
                  <a:pt x="188" y="319"/>
                </a:lnTo>
                <a:lnTo>
                  <a:pt x="187" y="318"/>
                </a:lnTo>
                <a:lnTo>
                  <a:pt x="187" y="319"/>
                </a:lnTo>
                <a:lnTo>
                  <a:pt x="186" y="319"/>
                </a:lnTo>
                <a:lnTo>
                  <a:pt x="185" y="318"/>
                </a:lnTo>
                <a:lnTo>
                  <a:pt x="185" y="319"/>
                </a:lnTo>
                <a:lnTo>
                  <a:pt x="182" y="320"/>
                </a:lnTo>
                <a:lnTo>
                  <a:pt x="179" y="320"/>
                </a:lnTo>
                <a:lnTo>
                  <a:pt x="177" y="321"/>
                </a:lnTo>
                <a:lnTo>
                  <a:pt x="176" y="321"/>
                </a:lnTo>
                <a:lnTo>
                  <a:pt x="176" y="322"/>
                </a:lnTo>
                <a:lnTo>
                  <a:pt x="175" y="322"/>
                </a:lnTo>
                <a:lnTo>
                  <a:pt x="175" y="323"/>
                </a:lnTo>
                <a:lnTo>
                  <a:pt x="173" y="323"/>
                </a:lnTo>
                <a:lnTo>
                  <a:pt x="171" y="322"/>
                </a:lnTo>
                <a:lnTo>
                  <a:pt x="170" y="322"/>
                </a:lnTo>
                <a:lnTo>
                  <a:pt x="170" y="323"/>
                </a:lnTo>
                <a:lnTo>
                  <a:pt x="167" y="323"/>
                </a:lnTo>
                <a:lnTo>
                  <a:pt x="167" y="322"/>
                </a:lnTo>
                <a:lnTo>
                  <a:pt x="168" y="322"/>
                </a:lnTo>
                <a:lnTo>
                  <a:pt x="168" y="321"/>
                </a:lnTo>
                <a:lnTo>
                  <a:pt x="167" y="321"/>
                </a:lnTo>
                <a:lnTo>
                  <a:pt x="165" y="320"/>
                </a:lnTo>
                <a:lnTo>
                  <a:pt x="162" y="320"/>
                </a:lnTo>
                <a:lnTo>
                  <a:pt x="158" y="319"/>
                </a:lnTo>
                <a:lnTo>
                  <a:pt x="158" y="318"/>
                </a:lnTo>
                <a:lnTo>
                  <a:pt x="156" y="318"/>
                </a:lnTo>
                <a:lnTo>
                  <a:pt x="156" y="319"/>
                </a:lnTo>
                <a:lnTo>
                  <a:pt x="155" y="319"/>
                </a:lnTo>
                <a:lnTo>
                  <a:pt x="155" y="318"/>
                </a:lnTo>
                <a:lnTo>
                  <a:pt x="154" y="319"/>
                </a:lnTo>
                <a:lnTo>
                  <a:pt x="151" y="316"/>
                </a:lnTo>
                <a:lnTo>
                  <a:pt x="151" y="315"/>
                </a:lnTo>
                <a:lnTo>
                  <a:pt x="150" y="314"/>
                </a:lnTo>
                <a:lnTo>
                  <a:pt x="148" y="314"/>
                </a:lnTo>
                <a:lnTo>
                  <a:pt x="148" y="313"/>
                </a:lnTo>
                <a:lnTo>
                  <a:pt x="146" y="313"/>
                </a:lnTo>
                <a:lnTo>
                  <a:pt x="146" y="312"/>
                </a:lnTo>
                <a:lnTo>
                  <a:pt x="145" y="312"/>
                </a:lnTo>
                <a:lnTo>
                  <a:pt x="145" y="310"/>
                </a:lnTo>
                <a:lnTo>
                  <a:pt x="146" y="309"/>
                </a:lnTo>
                <a:lnTo>
                  <a:pt x="145" y="309"/>
                </a:lnTo>
                <a:lnTo>
                  <a:pt x="146" y="308"/>
                </a:lnTo>
                <a:lnTo>
                  <a:pt x="145" y="308"/>
                </a:lnTo>
                <a:lnTo>
                  <a:pt x="145" y="307"/>
                </a:lnTo>
                <a:lnTo>
                  <a:pt x="144" y="307"/>
                </a:lnTo>
                <a:lnTo>
                  <a:pt x="144" y="306"/>
                </a:lnTo>
                <a:lnTo>
                  <a:pt x="145" y="306"/>
                </a:lnTo>
                <a:lnTo>
                  <a:pt x="145" y="302"/>
                </a:lnTo>
                <a:lnTo>
                  <a:pt x="144" y="302"/>
                </a:lnTo>
                <a:lnTo>
                  <a:pt x="142" y="303"/>
                </a:lnTo>
                <a:lnTo>
                  <a:pt x="142" y="300"/>
                </a:lnTo>
                <a:lnTo>
                  <a:pt x="143" y="298"/>
                </a:lnTo>
                <a:lnTo>
                  <a:pt x="145" y="298"/>
                </a:lnTo>
                <a:lnTo>
                  <a:pt x="145" y="297"/>
                </a:lnTo>
                <a:lnTo>
                  <a:pt x="144" y="296"/>
                </a:lnTo>
                <a:lnTo>
                  <a:pt x="142" y="295"/>
                </a:lnTo>
                <a:lnTo>
                  <a:pt x="138" y="294"/>
                </a:lnTo>
                <a:lnTo>
                  <a:pt x="138" y="292"/>
                </a:lnTo>
                <a:lnTo>
                  <a:pt x="137" y="292"/>
                </a:lnTo>
                <a:lnTo>
                  <a:pt x="137" y="294"/>
                </a:lnTo>
                <a:lnTo>
                  <a:pt x="136" y="294"/>
                </a:lnTo>
                <a:lnTo>
                  <a:pt x="136" y="295"/>
                </a:lnTo>
                <a:lnTo>
                  <a:pt x="134" y="295"/>
                </a:lnTo>
                <a:lnTo>
                  <a:pt x="134" y="300"/>
                </a:lnTo>
                <a:lnTo>
                  <a:pt x="133" y="300"/>
                </a:lnTo>
                <a:lnTo>
                  <a:pt x="133" y="297"/>
                </a:lnTo>
                <a:lnTo>
                  <a:pt x="132" y="297"/>
                </a:lnTo>
                <a:lnTo>
                  <a:pt x="130" y="295"/>
                </a:lnTo>
                <a:lnTo>
                  <a:pt x="126" y="295"/>
                </a:lnTo>
                <a:lnTo>
                  <a:pt x="126" y="294"/>
                </a:lnTo>
                <a:lnTo>
                  <a:pt x="125" y="294"/>
                </a:lnTo>
                <a:lnTo>
                  <a:pt x="125" y="295"/>
                </a:lnTo>
                <a:lnTo>
                  <a:pt x="124" y="295"/>
                </a:lnTo>
                <a:lnTo>
                  <a:pt x="124" y="289"/>
                </a:lnTo>
                <a:lnTo>
                  <a:pt x="123" y="289"/>
                </a:lnTo>
                <a:lnTo>
                  <a:pt x="121" y="288"/>
                </a:lnTo>
                <a:lnTo>
                  <a:pt x="120" y="289"/>
                </a:lnTo>
                <a:lnTo>
                  <a:pt x="120" y="290"/>
                </a:lnTo>
                <a:lnTo>
                  <a:pt x="119" y="289"/>
                </a:lnTo>
                <a:lnTo>
                  <a:pt x="118" y="289"/>
                </a:lnTo>
                <a:lnTo>
                  <a:pt x="118" y="285"/>
                </a:lnTo>
                <a:lnTo>
                  <a:pt x="117" y="285"/>
                </a:lnTo>
                <a:lnTo>
                  <a:pt x="117" y="286"/>
                </a:lnTo>
                <a:lnTo>
                  <a:pt x="114" y="286"/>
                </a:lnTo>
                <a:lnTo>
                  <a:pt x="114" y="288"/>
                </a:lnTo>
                <a:lnTo>
                  <a:pt x="117" y="288"/>
                </a:lnTo>
                <a:lnTo>
                  <a:pt x="115" y="289"/>
                </a:lnTo>
                <a:lnTo>
                  <a:pt x="115" y="290"/>
                </a:lnTo>
                <a:lnTo>
                  <a:pt x="114" y="290"/>
                </a:lnTo>
                <a:lnTo>
                  <a:pt x="112" y="289"/>
                </a:lnTo>
                <a:lnTo>
                  <a:pt x="112" y="290"/>
                </a:lnTo>
                <a:lnTo>
                  <a:pt x="109" y="290"/>
                </a:lnTo>
                <a:lnTo>
                  <a:pt x="109" y="289"/>
                </a:lnTo>
                <a:lnTo>
                  <a:pt x="111" y="289"/>
                </a:lnTo>
                <a:lnTo>
                  <a:pt x="112" y="288"/>
                </a:lnTo>
                <a:lnTo>
                  <a:pt x="111" y="288"/>
                </a:lnTo>
                <a:lnTo>
                  <a:pt x="111" y="286"/>
                </a:lnTo>
                <a:lnTo>
                  <a:pt x="109" y="286"/>
                </a:lnTo>
                <a:lnTo>
                  <a:pt x="108" y="288"/>
                </a:lnTo>
                <a:lnTo>
                  <a:pt x="108" y="289"/>
                </a:lnTo>
                <a:lnTo>
                  <a:pt x="109" y="290"/>
                </a:lnTo>
                <a:lnTo>
                  <a:pt x="108" y="291"/>
                </a:lnTo>
                <a:lnTo>
                  <a:pt x="111" y="292"/>
                </a:lnTo>
                <a:lnTo>
                  <a:pt x="111" y="294"/>
                </a:lnTo>
                <a:lnTo>
                  <a:pt x="109" y="292"/>
                </a:lnTo>
                <a:lnTo>
                  <a:pt x="109" y="294"/>
                </a:lnTo>
                <a:lnTo>
                  <a:pt x="108" y="294"/>
                </a:lnTo>
                <a:lnTo>
                  <a:pt x="108" y="295"/>
                </a:lnTo>
                <a:lnTo>
                  <a:pt x="106" y="295"/>
                </a:lnTo>
                <a:lnTo>
                  <a:pt x="105" y="296"/>
                </a:lnTo>
                <a:lnTo>
                  <a:pt x="105" y="297"/>
                </a:lnTo>
                <a:lnTo>
                  <a:pt x="103" y="298"/>
                </a:lnTo>
                <a:lnTo>
                  <a:pt x="103" y="300"/>
                </a:lnTo>
                <a:lnTo>
                  <a:pt x="102" y="301"/>
                </a:lnTo>
                <a:lnTo>
                  <a:pt x="101" y="300"/>
                </a:lnTo>
                <a:lnTo>
                  <a:pt x="101" y="298"/>
                </a:lnTo>
                <a:lnTo>
                  <a:pt x="102" y="297"/>
                </a:lnTo>
                <a:lnTo>
                  <a:pt x="101" y="297"/>
                </a:lnTo>
                <a:lnTo>
                  <a:pt x="101" y="296"/>
                </a:lnTo>
                <a:lnTo>
                  <a:pt x="100" y="295"/>
                </a:lnTo>
                <a:lnTo>
                  <a:pt x="100" y="294"/>
                </a:lnTo>
                <a:lnTo>
                  <a:pt x="103" y="294"/>
                </a:lnTo>
                <a:lnTo>
                  <a:pt x="103" y="292"/>
                </a:lnTo>
                <a:lnTo>
                  <a:pt x="102" y="292"/>
                </a:lnTo>
                <a:lnTo>
                  <a:pt x="102" y="291"/>
                </a:lnTo>
                <a:lnTo>
                  <a:pt x="103" y="291"/>
                </a:lnTo>
                <a:lnTo>
                  <a:pt x="103" y="289"/>
                </a:lnTo>
                <a:lnTo>
                  <a:pt x="102" y="289"/>
                </a:lnTo>
                <a:lnTo>
                  <a:pt x="102" y="290"/>
                </a:lnTo>
                <a:lnTo>
                  <a:pt x="101" y="291"/>
                </a:lnTo>
                <a:lnTo>
                  <a:pt x="98" y="291"/>
                </a:lnTo>
                <a:lnTo>
                  <a:pt x="96" y="292"/>
                </a:lnTo>
                <a:lnTo>
                  <a:pt x="96" y="291"/>
                </a:lnTo>
                <a:lnTo>
                  <a:pt x="95" y="292"/>
                </a:lnTo>
                <a:lnTo>
                  <a:pt x="95" y="291"/>
                </a:lnTo>
                <a:lnTo>
                  <a:pt x="94" y="291"/>
                </a:lnTo>
                <a:lnTo>
                  <a:pt x="94" y="292"/>
                </a:lnTo>
                <a:lnTo>
                  <a:pt x="92" y="292"/>
                </a:lnTo>
                <a:lnTo>
                  <a:pt x="90" y="291"/>
                </a:lnTo>
                <a:lnTo>
                  <a:pt x="87" y="291"/>
                </a:lnTo>
                <a:lnTo>
                  <a:pt x="84" y="294"/>
                </a:lnTo>
                <a:lnTo>
                  <a:pt x="86" y="294"/>
                </a:lnTo>
                <a:lnTo>
                  <a:pt x="84" y="296"/>
                </a:lnTo>
                <a:lnTo>
                  <a:pt x="84" y="297"/>
                </a:lnTo>
                <a:lnTo>
                  <a:pt x="83" y="296"/>
                </a:lnTo>
                <a:lnTo>
                  <a:pt x="80" y="296"/>
                </a:lnTo>
                <a:lnTo>
                  <a:pt x="80" y="295"/>
                </a:lnTo>
                <a:lnTo>
                  <a:pt x="76" y="296"/>
                </a:lnTo>
                <a:lnTo>
                  <a:pt x="76" y="297"/>
                </a:lnTo>
                <a:lnTo>
                  <a:pt x="75" y="296"/>
                </a:lnTo>
                <a:lnTo>
                  <a:pt x="72" y="296"/>
                </a:lnTo>
                <a:lnTo>
                  <a:pt x="72" y="295"/>
                </a:lnTo>
                <a:lnTo>
                  <a:pt x="74" y="294"/>
                </a:lnTo>
                <a:lnTo>
                  <a:pt x="74" y="292"/>
                </a:lnTo>
                <a:lnTo>
                  <a:pt x="75" y="292"/>
                </a:lnTo>
                <a:lnTo>
                  <a:pt x="75" y="291"/>
                </a:lnTo>
                <a:lnTo>
                  <a:pt x="82" y="291"/>
                </a:lnTo>
                <a:lnTo>
                  <a:pt x="82" y="289"/>
                </a:lnTo>
                <a:lnTo>
                  <a:pt x="83" y="289"/>
                </a:lnTo>
                <a:lnTo>
                  <a:pt x="86" y="290"/>
                </a:lnTo>
                <a:lnTo>
                  <a:pt x="88" y="290"/>
                </a:lnTo>
                <a:lnTo>
                  <a:pt x="89" y="289"/>
                </a:lnTo>
                <a:lnTo>
                  <a:pt x="95" y="289"/>
                </a:lnTo>
                <a:lnTo>
                  <a:pt x="96" y="290"/>
                </a:lnTo>
                <a:lnTo>
                  <a:pt x="98" y="289"/>
                </a:lnTo>
                <a:lnTo>
                  <a:pt x="99" y="290"/>
                </a:lnTo>
                <a:lnTo>
                  <a:pt x="100" y="290"/>
                </a:lnTo>
                <a:lnTo>
                  <a:pt x="101" y="289"/>
                </a:lnTo>
                <a:lnTo>
                  <a:pt x="100" y="289"/>
                </a:lnTo>
                <a:lnTo>
                  <a:pt x="100" y="288"/>
                </a:lnTo>
                <a:lnTo>
                  <a:pt x="99" y="286"/>
                </a:lnTo>
                <a:lnTo>
                  <a:pt x="100" y="286"/>
                </a:lnTo>
                <a:lnTo>
                  <a:pt x="100" y="285"/>
                </a:lnTo>
                <a:lnTo>
                  <a:pt x="101" y="285"/>
                </a:lnTo>
                <a:lnTo>
                  <a:pt x="100" y="284"/>
                </a:lnTo>
                <a:lnTo>
                  <a:pt x="100" y="282"/>
                </a:lnTo>
                <a:lnTo>
                  <a:pt x="101" y="282"/>
                </a:lnTo>
                <a:lnTo>
                  <a:pt x="102" y="283"/>
                </a:lnTo>
                <a:lnTo>
                  <a:pt x="103" y="283"/>
                </a:lnTo>
                <a:lnTo>
                  <a:pt x="103" y="282"/>
                </a:lnTo>
                <a:lnTo>
                  <a:pt x="105" y="283"/>
                </a:lnTo>
                <a:lnTo>
                  <a:pt x="106" y="283"/>
                </a:lnTo>
                <a:lnTo>
                  <a:pt x="105" y="282"/>
                </a:lnTo>
                <a:lnTo>
                  <a:pt x="106" y="282"/>
                </a:lnTo>
                <a:lnTo>
                  <a:pt x="107" y="280"/>
                </a:lnTo>
                <a:lnTo>
                  <a:pt x="107" y="279"/>
                </a:lnTo>
                <a:lnTo>
                  <a:pt x="109" y="279"/>
                </a:lnTo>
                <a:lnTo>
                  <a:pt x="108" y="278"/>
                </a:lnTo>
                <a:lnTo>
                  <a:pt x="111" y="277"/>
                </a:lnTo>
                <a:lnTo>
                  <a:pt x="112" y="277"/>
                </a:lnTo>
                <a:lnTo>
                  <a:pt x="112" y="276"/>
                </a:lnTo>
                <a:lnTo>
                  <a:pt x="111" y="276"/>
                </a:lnTo>
                <a:lnTo>
                  <a:pt x="106" y="277"/>
                </a:lnTo>
                <a:lnTo>
                  <a:pt x="102" y="277"/>
                </a:lnTo>
                <a:lnTo>
                  <a:pt x="103" y="278"/>
                </a:lnTo>
                <a:lnTo>
                  <a:pt x="102" y="278"/>
                </a:lnTo>
                <a:lnTo>
                  <a:pt x="98" y="277"/>
                </a:lnTo>
                <a:lnTo>
                  <a:pt x="96" y="278"/>
                </a:lnTo>
                <a:lnTo>
                  <a:pt x="95" y="277"/>
                </a:lnTo>
                <a:lnTo>
                  <a:pt x="94" y="277"/>
                </a:lnTo>
                <a:lnTo>
                  <a:pt x="90" y="278"/>
                </a:lnTo>
                <a:lnTo>
                  <a:pt x="89" y="278"/>
                </a:lnTo>
                <a:lnTo>
                  <a:pt x="89" y="279"/>
                </a:lnTo>
                <a:lnTo>
                  <a:pt x="87" y="279"/>
                </a:lnTo>
                <a:lnTo>
                  <a:pt x="87" y="278"/>
                </a:lnTo>
                <a:lnTo>
                  <a:pt x="86" y="278"/>
                </a:lnTo>
                <a:lnTo>
                  <a:pt x="83" y="279"/>
                </a:lnTo>
                <a:lnTo>
                  <a:pt x="80" y="279"/>
                </a:lnTo>
                <a:lnTo>
                  <a:pt x="80" y="280"/>
                </a:lnTo>
                <a:lnTo>
                  <a:pt x="78" y="279"/>
                </a:lnTo>
                <a:lnTo>
                  <a:pt x="76" y="279"/>
                </a:lnTo>
                <a:lnTo>
                  <a:pt x="75" y="278"/>
                </a:lnTo>
                <a:lnTo>
                  <a:pt x="75" y="277"/>
                </a:lnTo>
                <a:lnTo>
                  <a:pt x="72" y="277"/>
                </a:lnTo>
                <a:lnTo>
                  <a:pt x="71" y="278"/>
                </a:lnTo>
                <a:lnTo>
                  <a:pt x="70" y="278"/>
                </a:lnTo>
                <a:lnTo>
                  <a:pt x="70" y="279"/>
                </a:lnTo>
                <a:lnTo>
                  <a:pt x="69" y="280"/>
                </a:lnTo>
                <a:lnTo>
                  <a:pt x="67" y="280"/>
                </a:lnTo>
                <a:lnTo>
                  <a:pt x="67" y="277"/>
                </a:lnTo>
                <a:lnTo>
                  <a:pt x="65" y="277"/>
                </a:lnTo>
                <a:lnTo>
                  <a:pt x="65" y="276"/>
                </a:lnTo>
                <a:lnTo>
                  <a:pt x="67" y="275"/>
                </a:lnTo>
                <a:lnTo>
                  <a:pt x="68" y="275"/>
                </a:lnTo>
                <a:lnTo>
                  <a:pt x="68" y="272"/>
                </a:lnTo>
                <a:lnTo>
                  <a:pt x="71" y="272"/>
                </a:lnTo>
                <a:lnTo>
                  <a:pt x="71" y="271"/>
                </a:lnTo>
                <a:lnTo>
                  <a:pt x="72" y="271"/>
                </a:lnTo>
                <a:lnTo>
                  <a:pt x="72" y="272"/>
                </a:lnTo>
                <a:lnTo>
                  <a:pt x="74" y="272"/>
                </a:lnTo>
                <a:lnTo>
                  <a:pt x="76" y="275"/>
                </a:lnTo>
                <a:lnTo>
                  <a:pt x="77" y="273"/>
                </a:lnTo>
                <a:lnTo>
                  <a:pt x="78" y="273"/>
                </a:lnTo>
                <a:lnTo>
                  <a:pt x="78" y="272"/>
                </a:lnTo>
                <a:lnTo>
                  <a:pt x="80" y="272"/>
                </a:lnTo>
                <a:lnTo>
                  <a:pt x="80" y="270"/>
                </a:lnTo>
                <a:lnTo>
                  <a:pt x="78" y="270"/>
                </a:lnTo>
                <a:lnTo>
                  <a:pt x="78" y="269"/>
                </a:lnTo>
                <a:lnTo>
                  <a:pt x="81" y="269"/>
                </a:lnTo>
                <a:lnTo>
                  <a:pt x="81" y="266"/>
                </a:lnTo>
                <a:lnTo>
                  <a:pt x="82" y="266"/>
                </a:lnTo>
                <a:lnTo>
                  <a:pt x="82" y="264"/>
                </a:lnTo>
                <a:lnTo>
                  <a:pt x="80" y="264"/>
                </a:lnTo>
                <a:lnTo>
                  <a:pt x="80" y="265"/>
                </a:lnTo>
                <a:lnTo>
                  <a:pt x="78" y="266"/>
                </a:lnTo>
                <a:lnTo>
                  <a:pt x="78" y="265"/>
                </a:lnTo>
                <a:lnTo>
                  <a:pt x="76" y="265"/>
                </a:lnTo>
                <a:lnTo>
                  <a:pt x="76" y="263"/>
                </a:lnTo>
                <a:lnTo>
                  <a:pt x="77" y="263"/>
                </a:lnTo>
                <a:lnTo>
                  <a:pt x="77" y="261"/>
                </a:lnTo>
                <a:lnTo>
                  <a:pt x="76" y="260"/>
                </a:lnTo>
                <a:lnTo>
                  <a:pt x="76" y="263"/>
                </a:lnTo>
                <a:lnTo>
                  <a:pt x="74" y="263"/>
                </a:lnTo>
                <a:lnTo>
                  <a:pt x="72" y="261"/>
                </a:lnTo>
                <a:lnTo>
                  <a:pt x="72" y="259"/>
                </a:lnTo>
                <a:lnTo>
                  <a:pt x="74" y="259"/>
                </a:lnTo>
                <a:lnTo>
                  <a:pt x="75" y="258"/>
                </a:lnTo>
                <a:lnTo>
                  <a:pt x="74" y="258"/>
                </a:lnTo>
                <a:lnTo>
                  <a:pt x="74" y="257"/>
                </a:lnTo>
                <a:lnTo>
                  <a:pt x="72" y="257"/>
                </a:lnTo>
                <a:lnTo>
                  <a:pt x="71" y="258"/>
                </a:lnTo>
                <a:lnTo>
                  <a:pt x="71" y="259"/>
                </a:lnTo>
                <a:lnTo>
                  <a:pt x="70" y="259"/>
                </a:lnTo>
                <a:lnTo>
                  <a:pt x="70" y="260"/>
                </a:lnTo>
                <a:lnTo>
                  <a:pt x="64" y="260"/>
                </a:lnTo>
                <a:lnTo>
                  <a:pt x="64" y="259"/>
                </a:lnTo>
                <a:lnTo>
                  <a:pt x="65" y="259"/>
                </a:lnTo>
                <a:lnTo>
                  <a:pt x="65" y="253"/>
                </a:lnTo>
                <a:lnTo>
                  <a:pt x="64" y="254"/>
                </a:lnTo>
                <a:lnTo>
                  <a:pt x="64" y="249"/>
                </a:lnTo>
                <a:lnTo>
                  <a:pt x="65" y="249"/>
                </a:lnTo>
                <a:lnTo>
                  <a:pt x="65" y="247"/>
                </a:lnTo>
                <a:lnTo>
                  <a:pt x="64" y="247"/>
                </a:lnTo>
                <a:lnTo>
                  <a:pt x="62" y="246"/>
                </a:lnTo>
                <a:lnTo>
                  <a:pt x="58" y="245"/>
                </a:lnTo>
                <a:lnTo>
                  <a:pt x="57" y="243"/>
                </a:lnTo>
                <a:lnTo>
                  <a:pt x="57" y="242"/>
                </a:lnTo>
                <a:lnTo>
                  <a:pt x="62" y="242"/>
                </a:lnTo>
                <a:lnTo>
                  <a:pt x="65" y="241"/>
                </a:lnTo>
                <a:lnTo>
                  <a:pt x="67" y="240"/>
                </a:lnTo>
                <a:lnTo>
                  <a:pt x="67" y="237"/>
                </a:lnTo>
                <a:lnTo>
                  <a:pt x="68" y="236"/>
                </a:lnTo>
                <a:lnTo>
                  <a:pt x="67" y="235"/>
                </a:lnTo>
                <a:lnTo>
                  <a:pt x="67" y="232"/>
                </a:lnTo>
                <a:lnTo>
                  <a:pt x="68" y="232"/>
                </a:lnTo>
                <a:lnTo>
                  <a:pt x="68" y="230"/>
                </a:lnTo>
                <a:lnTo>
                  <a:pt x="67" y="230"/>
                </a:lnTo>
                <a:lnTo>
                  <a:pt x="68" y="229"/>
                </a:lnTo>
                <a:lnTo>
                  <a:pt x="68" y="228"/>
                </a:lnTo>
                <a:lnTo>
                  <a:pt x="67" y="227"/>
                </a:lnTo>
                <a:lnTo>
                  <a:pt x="62" y="227"/>
                </a:lnTo>
                <a:lnTo>
                  <a:pt x="59" y="224"/>
                </a:lnTo>
                <a:lnTo>
                  <a:pt x="59" y="223"/>
                </a:lnTo>
                <a:lnTo>
                  <a:pt x="57" y="223"/>
                </a:lnTo>
                <a:lnTo>
                  <a:pt x="55" y="222"/>
                </a:lnTo>
                <a:lnTo>
                  <a:pt x="52" y="222"/>
                </a:lnTo>
                <a:lnTo>
                  <a:pt x="52" y="223"/>
                </a:lnTo>
                <a:lnTo>
                  <a:pt x="51" y="223"/>
                </a:lnTo>
                <a:lnTo>
                  <a:pt x="51" y="224"/>
                </a:lnTo>
                <a:lnTo>
                  <a:pt x="50" y="223"/>
                </a:lnTo>
                <a:lnTo>
                  <a:pt x="50" y="220"/>
                </a:lnTo>
                <a:lnTo>
                  <a:pt x="47" y="217"/>
                </a:lnTo>
                <a:lnTo>
                  <a:pt x="47" y="216"/>
                </a:lnTo>
                <a:lnTo>
                  <a:pt x="46" y="217"/>
                </a:lnTo>
                <a:lnTo>
                  <a:pt x="46" y="214"/>
                </a:lnTo>
                <a:lnTo>
                  <a:pt x="45" y="215"/>
                </a:lnTo>
                <a:lnTo>
                  <a:pt x="40" y="215"/>
                </a:lnTo>
                <a:lnTo>
                  <a:pt x="40" y="220"/>
                </a:lnTo>
                <a:lnTo>
                  <a:pt x="39" y="220"/>
                </a:lnTo>
                <a:lnTo>
                  <a:pt x="38" y="218"/>
                </a:lnTo>
                <a:lnTo>
                  <a:pt x="38" y="220"/>
                </a:lnTo>
                <a:lnTo>
                  <a:pt x="37" y="218"/>
                </a:lnTo>
                <a:lnTo>
                  <a:pt x="36" y="218"/>
                </a:lnTo>
                <a:lnTo>
                  <a:pt x="36" y="216"/>
                </a:lnTo>
                <a:lnTo>
                  <a:pt x="33" y="216"/>
                </a:lnTo>
                <a:lnTo>
                  <a:pt x="32" y="215"/>
                </a:lnTo>
                <a:lnTo>
                  <a:pt x="31" y="215"/>
                </a:lnTo>
                <a:lnTo>
                  <a:pt x="31" y="211"/>
                </a:lnTo>
                <a:lnTo>
                  <a:pt x="30" y="211"/>
                </a:lnTo>
                <a:lnTo>
                  <a:pt x="30" y="214"/>
                </a:lnTo>
                <a:lnTo>
                  <a:pt x="27" y="214"/>
                </a:lnTo>
                <a:lnTo>
                  <a:pt x="26" y="212"/>
                </a:lnTo>
                <a:lnTo>
                  <a:pt x="26" y="211"/>
                </a:lnTo>
                <a:lnTo>
                  <a:pt x="24" y="211"/>
                </a:lnTo>
                <a:lnTo>
                  <a:pt x="24" y="210"/>
                </a:lnTo>
                <a:lnTo>
                  <a:pt x="26" y="210"/>
                </a:lnTo>
                <a:lnTo>
                  <a:pt x="26" y="209"/>
                </a:lnTo>
                <a:lnTo>
                  <a:pt x="27" y="209"/>
                </a:lnTo>
                <a:lnTo>
                  <a:pt x="27" y="208"/>
                </a:lnTo>
                <a:lnTo>
                  <a:pt x="28" y="208"/>
                </a:lnTo>
                <a:lnTo>
                  <a:pt x="28" y="209"/>
                </a:lnTo>
                <a:lnTo>
                  <a:pt x="31" y="209"/>
                </a:lnTo>
                <a:lnTo>
                  <a:pt x="30" y="208"/>
                </a:lnTo>
                <a:lnTo>
                  <a:pt x="32" y="208"/>
                </a:lnTo>
                <a:lnTo>
                  <a:pt x="33" y="206"/>
                </a:lnTo>
                <a:lnTo>
                  <a:pt x="34" y="206"/>
                </a:lnTo>
                <a:lnTo>
                  <a:pt x="34" y="205"/>
                </a:lnTo>
                <a:lnTo>
                  <a:pt x="33" y="204"/>
                </a:lnTo>
                <a:lnTo>
                  <a:pt x="33" y="203"/>
                </a:lnTo>
                <a:lnTo>
                  <a:pt x="34" y="203"/>
                </a:lnTo>
                <a:lnTo>
                  <a:pt x="34" y="204"/>
                </a:lnTo>
                <a:lnTo>
                  <a:pt x="36" y="203"/>
                </a:lnTo>
                <a:lnTo>
                  <a:pt x="36" y="202"/>
                </a:lnTo>
                <a:lnTo>
                  <a:pt x="34" y="202"/>
                </a:lnTo>
                <a:lnTo>
                  <a:pt x="33" y="200"/>
                </a:lnTo>
                <a:lnTo>
                  <a:pt x="32" y="200"/>
                </a:lnTo>
                <a:lnTo>
                  <a:pt x="32" y="202"/>
                </a:lnTo>
                <a:lnTo>
                  <a:pt x="31" y="202"/>
                </a:lnTo>
                <a:lnTo>
                  <a:pt x="31" y="199"/>
                </a:lnTo>
                <a:lnTo>
                  <a:pt x="30" y="197"/>
                </a:lnTo>
                <a:lnTo>
                  <a:pt x="30" y="194"/>
                </a:lnTo>
                <a:lnTo>
                  <a:pt x="28" y="192"/>
                </a:lnTo>
                <a:lnTo>
                  <a:pt x="28" y="190"/>
                </a:lnTo>
                <a:lnTo>
                  <a:pt x="34" y="190"/>
                </a:lnTo>
                <a:lnTo>
                  <a:pt x="38" y="193"/>
                </a:lnTo>
                <a:lnTo>
                  <a:pt x="38" y="194"/>
                </a:lnTo>
                <a:lnTo>
                  <a:pt x="39" y="196"/>
                </a:lnTo>
                <a:lnTo>
                  <a:pt x="39" y="197"/>
                </a:lnTo>
                <a:lnTo>
                  <a:pt x="40" y="197"/>
                </a:lnTo>
                <a:lnTo>
                  <a:pt x="40" y="200"/>
                </a:lnTo>
                <a:lnTo>
                  <a:pt x="39" y="200"/>
                </a:lnTo>
                <a:lnTo>
                  <a:pt x="39" y="203"/>
                </a:lnTo>
                <a:lnTo>
                  <a:pt x="40" y="204"/>
                </a:lnTo>
                <a:lnTo>
                  <a:pt x="40" y="205"/>
                </a:lnTo>
                <a:lnTo>
                  <a:pt x="41" y="208"/>
                </a:lnTo>
                <a:lnTo>
                  <a:pt x="43" y="209"/>
                </a:lnTo>
                <a:lnTo>
                  <a:pt x="44" y="209"/>
                </a:lnTo>
                <a:lnTo>
                  <a:pt x="43" y="208"/>
                </a:lnTo>
                <a:lnTo>
                  <a:pt x="43" y="203"/>
                </a:lnTo>
                <a:lnTo>
                  <a:pt x="45" y="203"/>
                </a:lnTo>
                <a:lnTo>
                  <a:pt x="45" y="204"/>
                </a:lnTo>
                <a:lnTo>
                  <a:pt x="46" y="206"/>
                </a:lnTo>
                <a:lnTo>
                  <a:pt x="50" y="206"/>
                </a:lnTo>
                <a:lnTo>
                  <a:pt x="53" y="205"/>
                </a:lnTo>
                <a:lnTo>
                  <a:pt x="55" y="204"/>
                </a:lnTo>
                <a:lnTo>
                  <a:pt x="61" y="204"/>
                </a:lnTo>
                <a:lnTo>
                  <a:pt x="63" y="202"/>
                </a:lnTo>
                <a:lnTo>
                  <a:pt x="62" y="202"/>
                </a:lnTo>
                <a:lnTo>
                  <a:pt x="62" y="200"/>
                </a:lnTo>
                <a:lnTo>
                  <a:pt x="61" y="202"/>
                </a:lnTo>
                <a:lnTo>
                  <a:pt x="59" y="202"/>
                </a:lnTo>
                <a:lnTo>
                  <a:pt x="58" y="200"/>
                </a:lnTo>
                <a:lnTo>
                  <a:pt x="57" y="200"/>
                </a:lnTo>
                <a:lnTo>
                  <a:pt x="55" y="202"/>
                </a:lnTo>
                <a:lnTo>
                  <a:pt x="53" y="203"/>
                </a:lnTo>
                <a:lnTo>
                  <a:pt x="53" y="202"/>
                </a:lnTo>
                <a:lnTo>
                  <a:pt x="52" y="199"/>
                </a:lnTo>
                <a:lnTo>
                  <a:pt x="51" y="199"/>
                </a:lnTo>
                <a:lnTo>
                  <a:pt x="50" y="198"/>
                </a:lnTo>
                <a:lnTo>
                  <a:pt x="51" y="198"/>
                </a:lnTo>
                <a:lnTo>
                  <a:pt x="50" y="197"/>
                </a:lnTo>
                <a:lnTo>
                  <a:pt x="49" y="197"/>
                </a:lnTo>
                <a:lnTo>
                  <a:pt x="50" y="196"/>
                </a:lnTo>
                <a:lnTo>
                  <a:pt x="50" y="193"/>
                </a:lnTo>
                <a:lnTo>
                  <a:pt x="47" y="193"/>
                </a:lnTo>
                <a:lnTo>
                  <a:pt x="46" y="192"/>
                </a:lnTo>
                <a:lnTo>
                  <a:pt x="46" y="191"/>
                </a:lnTo>
                <a:lnTo>
                  <a:pt x="45" y="191"/>
                </a:lnTo>
                <a:lnTo>
                  <a:pt x="45" y="190"/>
                </a:lnTo>
                <a:lnTo>
                  <a:pt x="46" y="190"/>
                </a:lnTo>
                <a:lnTo>
                  <a:pt x="44" y="187"/>
                </a:lnTo>
                <a:lnTo>
                  <a:pt x="45" y="186"/>
                </a:lnTo>
                <a:lnTo>
                  <a:pt x="47" y="186"/>
                </a:lnTo>
                <a:lnTo>
                  <a:pt x="49" y="185"/>
                </a:lnTo>
                <a:lnTo>
                  <a:pt x="49" y="186"/>
                </a:lnTo>
                <a:lnTo>
                  <a:pt x="52" y="186"/>
                </a:lnTo>
                <a:lnTo>
                  <a:pt x="52" y="185"/>
                </a:lnTo>
                <a:lnTo>
                  <a:pt x="53" y="185"/>
                </a:lnTo>
                <a:lnTo>
                  <a:pt x="53" y="184"/>
                </a:lnTo>
                <a:lnTo>
                  <a:pt x="52" y="183"/>
                </a:lnTo>
                <a:lnTo>
                  <a:pt x="52" y="181"/>
                </a:lnTo>
                <a:lnTo>
                  <a:pt x="53" y="181"/>
                </a:lnTo>
                <a:lnTo>
                  <a:pt x="53" y="183"/>
                </a:lnTo>
                <a:lnTo>
                  <a:pt x="55" y="183"/>
                </a:lnTo>
                <a:lnTo>
                  <a:pt x="55" y="180"/>
                </a:lnTo>
                <a:lnTo>
                  <a:pt x="56" y="180"/>
                </a:lnTo>
                <a:lnTo>
                  <a:pt x="56" y="179"/>
                </a:lnTo>
                <a:lnTo>
                  <a:pt x="58" y="179"/>
                </a:lnTo>
                <a:lnTo>
                  <a:pt x="58" y="175"/>
                </a:lnTo>
                <a:lnTo>
                  <a:pt x="57" y="175"/>
                </a:lnTo>
                <a:lnTo>
                  <a:pt x="57" y="177"/>
                </a:lnTo>
                <a:lnTo>
                  <a:pt x="55" y="177"/>
                </a:lnTo>
                <a:lnTo>
                  <a:pt x="55" y="175"/>
                </a:lnTo>
                <a:lnTo>
                  <a:pt x="52" y="175"/>
                </a:lnTo>
                <a:lnTo>
                  <a:pt x="51" y="177"/>
                </a:lnTo>
                <a:lnTo>
                  <a:pt x="50" y="177"/>
                </a:lnTo>
                <a:lnTo>
                  <a:pt x="50" y="175"/>
                </a:lnTo>
                <a:lnTo>
                  <a:pt x="49" y="175"/>
                </a:lnTo>
                <a:lnTo>
                  <a:pt x="47" y="174"/>
                </a:lnTo>
                <a:lnTo>
                  <a:pt x="47" y="172"/>
                </a:lnTo>
                <a:lnTo>
                  <a:pt x="49" y="171"/>
                </a:lnTo>
                <a:lnTo>
                  <a:pt x="47" y="171"/>
                </a:lnTo>
                <a:lnTo>
                  <a:pt x="50" y="168"/>
                </a:lnTo>
                <a:lnTo>
                  <a:pt x="51" y="168"/>
                </a:lnTo>
                <a:lnTo>
                  <a:pt x="51" y="167"/>
                </a:lnTo>
                <a:lnTo>
                  <a:pt x="50" y="166"/>
                </a:lnTo>
                <a:lnTo>
                  <a:pt x="49" y="163"/>
                </a:lnTo>
                <a:lnTo>
                  <a:pt x="46" y="162"/>
                </a:lnTo>
                <a:lnTo>
                  <a:pt x="45" y="162"/>
                </a:lnTo>
                <a:lnTo>
                  <a:pt x="45" y="159"/>
                </a:lnTo>
                <a:lnTo>
                  <a:pt x="44" y="157"/>
                </a:lnTo>
                <a:lnTo>
                  <a:pt x="39" y="157"/>
                </a:lnTo>
                <a:lnTo>
                  <a:pt x="40" y="156"/>
                </a:lnTo>
                <a:lnTo>
                  <a:pt x="41" y="156"/>
                </a:lnTo>
                <a:lnTo>
                  <a:pt x="44" y="154"/>
                </a:lnTo>
                <a:lnTo>
                  <a:pt x="49" y="150"/>
                </a:lnTo>
                <a:lnTo>
                  <a:pt x="47" y="150"/>
                </a:lnTo>
                <a:lnTo>
                  <a:pt x="47" y="148"/>
                </a:lnTo>
                <a:lnTo>
                  <a:pt x="50" y="148"/>
                </a:lnTo>
                <a:lnTo>
                  <a:pt x="50" y="147"/>
                </a:lnTo>
                <a:lnTo>
                  <a:pt x="51" y="147"/>
                </a:lnTo>
                <a:lnTo>
                  <a:pt x="53" y="146"/>
                </a:lnTo>
                <a:lnTo>
                  <a:pt x="53" y="141"/>
                </a:lnTo>
                <a:lnTo>
                  <a:pt x="52" y="141"/>
                </a:lnTo>
                <a:lnTo>
                  <a:pt x="51" y="140"/>
                </a:lnTo>
                <a:lnTo>
                  <a:pt x="51" y="141"/>
                </a:lnTo>
                <a:lnTo>
                  <a:pt x="50" y="141"/>
                </a:lnTo>
                <a:lnTo>
                  <a:pt x="49" y="142"/>
                </a:lnTo>
                <a:lnTo>
                  <a:pt x="47" y="141"/>
                </a:lnTo>
                <a:lnTo>
                  <a:pt x="41" y="142"/>
                </a:lnTo>
                <a:lnTo>
                  <a:pt x="33" y="143"/>
                </a:lnTo>
                <a:lnTo>
                  <a:pt x="32" y="144"/>
                </a:lnTo>
                <a:lnTo>
                  <a:pt x="31" y="144"/>
                </a:lnTo>
                <a:lnTo>
                  <a:pt x="30" y="146"/>
                </a:lnTo>
                <a:lnTo>
                  <a:pt x="25" y="146"/>
                </a:lnTo>
                <a:lnTo>
                  <a:pt x="25" y="147"/>
                </a:lnTo>
                <a:lnTo>
                  <a:pt x="16" y="147"/>
                </a:lnTo>
                <a:lnTo>
                  <a:pt x="16" y="146"/>
                </a:lnTo>
                <a:lnTo>
                  <a:pt x="18" y="142"/>
                </a:lnTo>
                <a:lnTo>
                  <a:pt x="19" y="140"/>
                </a:lnTo>
                <a:lnTo>
                  <a:pt x="20" y="138"/>
                </a:lnTo>
                <a:lnTo>
                  <a:pt x="20" y="137"/>
                </a:lnTo>
                <a:lnTo>
                  <a:pt x="21" y="134"/>
                </a:lnTo>
                <a:lnTo>
                  <a:pt x="20" y="134"/>
                </a:lnTo>
                <a:lnTo>
                  <a:pt x="20" y="120"/>
                </a:lnTo>
                <a:lnTo>
                  <a:pt x="21" y="119"/>
                </a:lnTo>
                <a:lnTo>
                  <a:pt x="22" y="117"/>
                </a:lnTo>
                <a:lnTo>
                  <a:pt x="25" y="118"/>
                </a:lnTo>
                <a:lnTo>
                  <a:pt x="25" y="117"/>
                </a:lnTo>
                <a:lnTo>
                  <a:pt x="27" y="117"/>
                </a:lnTo>
                <a:lnTo>
                  <a:pt x="28" y="114"/>
                </a:lnTo>
                <a:lnTo>
                  <a:pt x="30" y="113"/>
                </a:lnTo>
                <a:lnTo>
                  <a:pt x="30" y="112"/>
                </a:lnTo>
                <a:lnTo>
                  <a:pt x="31" y="112"/>
                </a:lnTo>
                <a:lnTo>
                  <a:pt x="31" y="106"/>
                </a:lnTo>
                <a:lnTo>
                  <a:pt x="36" y="106"/>
                </a:lnTo>
                <a:lnTo>
                  <a:pt x="36" y="105"/>
                </a:lnTo>
                <a:lnTo>
                  <a:pt x="39" y="101"/>
                </a:lnTo>
                <a:lnTo>
                  <a:pt x="44" y="95"/>
                </a:lnTo>
                <a:lnTo>
                  <a:pt x="58" y="95"/>
                </a:lnTo>
                <a:lnTo>
                  <a:pt x="59" y="93"/>
                </a:lnTo>
                <a:lnTo>
                  <a:pt x="61" y="93"/>
                </a:lnTo>
                <a:lnTo>
                  <a:pt x="62" y="92"/>
                </a:lnTo>
                <a:lnTo>
                  <a:pt x="64" y="93"/>
                </a:lnTo>
                <a:lnTo>
                  <a:pt x="67" y="93"/>
                </a:lnTo>
                <a:lnTo>
                  <a:pt x="68" y="92"/>
                </a:lnTo>
                <a:lnTo>
                  <a:pt x="69" y="92"/>
                </a:lnTo>
                <a:lnTo>
                  <a:pt x="69" y="93"/>
                </a:lnTo>
                <a:lnTo>
                  <a:pt x="70" y="94"/>
                </a:lnTo>
                <a:lnTo>
                  <a:pt x="69" y="95"/>
                </a:lnTo>
                <a:lnTo>
                  <a:pt x="72" y="99"/>
                </a:lnTo>
                <a:lnTo>
                  <a:pt x="75" y="100"/>
                </a:lnTo>
                <a:lnTo>
                  <a:pt x="80" y="100"/>
                </a:lnTo>
                <a:lnTo>
                  <a:pt x="81" y="99"/>
                </a:lnTo>
                <a:lnTo>
                  <a:pt x="83" y="99"/>
                </a:lnTo>
                <a:lnTo>
                  <a:pt x="84" y="100"/>
                </a:lnTo>
                <a:lnTo>
                  <a:pt x="86" y="100"/>
                </a:lnTo>
                <a:lnTo>
                  <a:pt x="86" y="99"/>
                </a:lnTo>
                <a:lnTo>
                  <a:pt x="87" y="100"/>
                </a:lnTo>
                <a:lnTo>
                  <a:pt x="89" y="100"/>
                </a:lnTo>
                <a:lnTo>
                  <a:pt x="90" y="98"/>
                </a:lnTo>
                <a:lnTo>
                  <a:pt x="93" y="97"/>
                </a:lnTo>
                <a:lnTo>
                  <a:pt x="90" y="95"/>
                </a:lnTo>
                <a:lnTo>
                  <a:pt x="89" y="95"/>
                </a:lnTo>
                <a:lnTo>
                  <a:pt x="89" y="94"/>
                </a:lnTo>
                <a:lnTo>
                  <a:pt x="88" y="94"/>
                </a:lnTo>
                <a:lnTo>
                  <a:pt x="88" y="92"/>
                </a:lnTo>
                <a:lnTo>
                  <a:pt x="87" y="92"/>
                </a:lnTo>
                <a:lnTo>
                  <a:pt x="84" y="89"/>
                </a:lnTo>
                <a:lnTo>
                  <a:pt x="86" y="89"/>
                </a:lnTo>
                <a:lnTo>
                  <a:pt x="87" y="88"/>
                </a:lnTo>
                <a:lnTo>
                  <a:pt x="90" y="88"/>
                </a:lnTo>
                <a:lnTo>
                  <a:pt x="98" y="89"/>
                </a:lnTo>
                <a:lnTo>
                  <a:pt x="100" y="92"/>
                </a:lnTo>
                <a:lnTo>
                  <a:pt x="99" y="93"/>
                </a:lnTo>
                <a:lnTo>
                  <a:pt x="95" y="94"/>
                </a:lnTo>
                <a:lnTo>
                  <a:pt x="94" y="95"/>
                </a:lnTo>
                <a:lnTo>
                  <a:pt x="94" y="97"/>
                </a:lnTo>
                <a:lnTo>
                  <a:pt x="96" y="98"/>
                </a:lnTo>
                <a:lnTo>
                  <a:pt x="103" y="95"/>
                </a:lnTo>
                <a:lnTo>
                  <a:pt x="118" y="95"/>
                </a:lnTo>
                <a:lnTo>
                  <a:pt x="118" y="97"/>
                </a:lnTo>
                <a:lnTo>
                  <a:pt x="119" y="95"/>
                </a:lnTo>
                <a:lnTo>
                  <a:pt x="121" y="95"/>
                </a:lnTo>
                <a:lnTo>
                  <a:pt x="124" y="97"/>
                </a:lnTo>
                <a:lnTo>
                  <a:pt x="125" y="98"/>
                </a:lnTo>
                <a:lnTo>
                  <a:pt x="125" y="97"/>
                </a:lnTo>
                <a:lnTo>
                  <a:pt x="130" y="97"/>
                </a:lnTo>
                <a:lnTo>
                  <a:pt x="130" y="95"/>
                </a:lnTo>
                <a:lnTo>
                  <a:pt x="134" y="95"/>
                </a:lnTo>
                <a:lnTo>
                  <a:pt x="136" y="97"/>
                </a:lnTo>
                <a:lnTo>
                  <a:pt x="137" y="97"/>
                </a:lnTo>
                <a:lnTo>
                  <a:pt x="138" y="98"/>
                </a:lnTo>
                <a:lnTo>
                  <a:pt x="142" y="98"/>
                </a:lnTo>
                <a:lnTo>
                  <a:pt x="144" y="95"/>
                </a:lnTo>
                <a:lnTo>
                  <a:pt x="144" y="94"/>
                </a:lnTo>
                <a:lnTo>
                  <a:pt x="146" y="94"/>
                </a:lnTo>
                <a:lnTo>
                  <a:pt x="146" y="93"/>
                </a:lnTo>
                <a:lnTo>
                  <a:pt x="144" y="91"/>
                </a:lnTo>
                <a:lnTo>
                  <a:pt x="140" y="91"/>
                </a:lnTo>
                <a:lnTo>
                  <a:pt x="139" y="92"/>
                </a:lnTo>
                <a:lnTo>
                  <a:pt x="137" y="92"/>
                </a:lnTo>
                <a:lnTo>
                  <a:pt x="133" y="89"/>
                </a:lnTo>
                <a:lnTo>
                  <a:pt x="131" y="88"/>
                </a:lnTo>
                <a:lnTo>
                  <a:pt x="133" y="86"/>
                </a:lnTo>
                <a:lnTo>
                  <a:pt x="136" y="85"/>
                </a:lnTo>
                <a:lnTo>
                  <a:pt x="137" y="83"/>
                </a:lnTo>
                <a:lnTo>
                  <a:pt x="139" y="82"/>
                </a:lnTo>
                <a:lnTo>
                  <a:pt x="140" y="82"/>
                </a:lnTo>
                <a:lnTo>
                  <a:pt x="152" y="81"/>
                </a:lnTo>
                <a:lnTo>
                  <a:pt x="154" y="80"/>
                </a:lnTo>
                <a:lnTo>
                  <a:pt x="156" y="79"/>
                </a:lnTo>
                <a:lnTo>
                  <a:pt x="157" y="79"/>
                </a:lnTo>
                <a:lnTo>
                  <a:pt x="158" y="80"/>
                </a:lnTo>
                <a:lnTo>
                  <a:pt x="158" y="79"/>
                </a:lnTo>
                <a:lnTo>
                  <a:pt x="159" y="79"/>
                </a:lnTo>
                <a:lnTo>
                  <a:pt x="161" y="77"/>
                </a:lnTo>
                <a:lnTo>
                  <a:pt x="163" y="77"/>
                </a:lnTo>
                <a:lnTo>
                  <a:pt x="163" y="79"/>
                </a:lnTo>
                <a:lnTo>
                  <a:pt x="164" y="79"/>
                </a:lnTo>
                <a:lnTo>
                  <a:pt x="173" y="77"/>
                </a:lnTo>
                <a:lnTo>
                  <a:pt x="180" y="77"/>
                </a:lnTo>
                <a:lnTo>
                  <a:pt x="180" y="75"/>
                </a:lnTo>
                <a:lnTo>
                  <a:pt x="175" y="75"/>
                </a:lnTo>
                <a:lnTo>
                  <a:pt x="174" y="76"/>
                </a:lnTo>
                <a:lnTo>
                  <a:pt x="173" y="76"/>
                </a:lnTo>
                <a:lnTo>
                  <a:pt x="171" y="75"/>
                </a:lnTo>
                <a:lnTo>
                  <a:pt x="169" y="74"/>
                </a:lnTo>
                <a:lnTo>
                  <a:pt x="158" y="74"/>
                </a:lnTo>
                <a:lnTo>
                  <a:pt x="158" y="75"/>
                </a:lnTo>
                <a:lnTo>
                  <a:pt x="155" y="75"/>
                </a:lnTo>
                <a:lnTo>
                  <a:pt x="155" y="71"/>
                </a:lnTo>
                <a:lnTo>
                  <a:pt x="154" y="71"/>
                </a:lnTo>
                <a:lnTo>
                  <a:pt x="152" y="73"/>
                </a:lnTo>
                <a:lnTo>
                  <a:pt x="151" y="73"/>
                </a:lnTo>
                <a:lnTo>
                  <a:pt x="152" y="71"/>
                </a:lnTo>
                <a:lnTo>
                  <a:pt x="152" y="70"/>
                </a:lnTo>
                <a:lnTo>
                  <a:pt x="151" y="69"/>
                </a:lnTo>
                <a:lnTo>
                  <a:pt x="150" y="69"/>
                </a:lnTo>
                <a:lnTo>
                  <a:pt x="149" y="68"/>
                </a:lnTo>
                <a:lnTo>
                  <a:pt x="146" y="67"/>
                </a:lnTo>
                <a:lnTo>
                  <a:pt x="144" y="64"/>
                </a:lnTo>
                <a:lnTo>
                  <a:pt x="142" y="63"/>
                </a:lnTo>
                <a:lnTo>
                  <a:pt x="142" y="61"/>
                </a:lnTo>
                <a:lnTo>
                  <a:pt x="140" y="61"/>
                </a:lnTo>
                <a:lnTo>
                  <a:pt x="142" y="60"/>
                </a:lnTo>
                <a:lnTo>
                  <a:pt x="140" y="60"/>
                </a:lnTo>
                <a:lnTo>
                  <a:pt x="140" y="62"/>
                </a:lnTo>
                <a:lnTo>
                  <a:pt x="137" y="62"/>
                </a:lnTo>
                <a:lnTo>
                  <a:pt x="136" y="63"/>
                </a:lnTo>
                <a:lnTo>
                  <a:pt x="134" y="63"/>
                </a:lnTo>
                <a:lnTo>
                  <a:pt x="133" y="64"/>
                </a:lnTo>
                <a:lnTo>
                  <a:pt x="131" y="64"/>
                </a:lnTo>
                <a:lnTo>
                  <a:pt x="131" y="63"/>
                </a:lnTo>
                <a:lnTo>
                  <a:pt x="130" y="63"/>
                </a:lnTo>
                <a:lnTo>
                  <a:pt x="125" y="64"/>
                </a:lnTo>
                <a:lnTo>
                  <a:pt x="124" y="63"/>
                </a:lnTo>
                <a:lnTo>
                  <a:pt x="124" y="61"/>
                </a:lnTo>
                <a:lnTo>
                  <a:pt x="121" y="61"/>
                </a:lnTo>
                <a:lnTo>
                  <a:pt x="121" y="63"/>
                </a:lnTo>
                <a:lnTo>
                  <a:pt x="120" y="62"/>
                </a:lnTo>
                <a:lnTo>
                  <a:pt x="118" y="61"/>
                </a:lnTo>
                <a:lnTo>
                  <a:pt x="117" y="60"/>
                </a:lnTo>
                <a:lnTo>
                  <a:pt x="115" y="60"/>
                </a:lnTo>
                <a:lnTo>
                  <a:pt x="112" y="58"/>
                </a:lnTo>
                <a:lnTo>
                  <a:pt x="109" y="58"/>
                </a:lnTo>
                <a:lnTo>
                  <a:pt x="108" y="57"/>
                </a:lnTo>
                <a:lnTo>
                  <a:pt x="105" y="57"/>
                </a:lnTo>
                <a:lnTo>
                  <a:pt x="103" y="58"/>
                </a:lnTo>
                <a:lnTo>
                  <a:pt x="102" y="58"/>
                </a:lnTo>
                <a:lnTo>
                  <a:pt x="100" y="60"/>
                </a:lnTo>
                <a:lnTo>
                  <a:pt x="99" y="60"/>
                </a:lnTo>
                <a:lnTo>
                  <a:pt x="99" y="61"/>
                </a:lnTo>
                <a:lnTo>
                  <a:pt x="98" y="61"/>
                </a:lnTo>
                <a:lnTo>
                  <a:pt x="96" y="62"/>
                </a:lnTo>
                <a:lnTo>
                  <a:pt x="96" y="63"/>
                </a:lnTo>
                <a:lnTo>
                  <a:pt x="92" y="63"/>
                </a:lnTo>
                <a:lnTo>
                  <a:pt x="92" y="62"/>
                </a:lnTo>
                <a:lnTo>
                  <a:pt x="89" y="62"/>
                </a:lnTo>
                <a:lnTo>
                  <a:pt x="87" y="61"/>
                </a:lnTo>
                <a:lnTo>
                  <a:pt x="78" y="63"/>
                </a:lnTo>
                <a:lnTo>
                  <a:pt x="77" y="63"/>
                </a:lnTo>
                <a:lnTo>
                  <a:pt x="76" y="66"/>
                </a:lnTo>
                <a:lnTo>
                  <a:pt x="75" y="70"/>
                </a:lnTo>
                <a:lnTo>
                  <a:pt x="70" y="75"/>
                </a:lnTo>
                <a:lnTo>
                  <a:pt x="68" y="79"/>
                </a:lnTo>
                <a:lnTo>
                  <a:pt x="64" y="81"/>
                </a:lnTo>
                <a:lnTo>
                  <a:pt x="64" y="82"/>
                </a:lnTo>
                <a:lnTo>
                  <a:pt x="62" y="82"/>
                </a:lnTo>
                <a:lnTo>
                  <a:pt x="61" y="83"/>
                </a:lnTo>
                <a:lnTo>
                  <a:pt x="58" y="83"/>
                </a:lnTo>
                <a:lnTo>
                  <a:pt x="56" y="86"/>
                </a:lnTo>
                <a:lnTo>
                  <a:pt x="55" y="86"/>
                </a:lnTo>
                <a:lnTo>
                  <a:pt x="53" y="87"/>
                </a:lnTo>
                <a:lnTo>
                  <a:pt x="52" y="87"/>
                </a:lnTo>
                <a:lnTo>
                  <a:pt x="50" y="88"/>
                </a:lnTo>
                <a:lnTo>
                  <a:pt x="50" y="89"/>
                </a:lnTo>
                <a:lnTo>
                  <a:pt x="46" y="89"/>
                </a:lnTo>
                <a:lnTo>
                  <a:pt x="44" y="92"/>
                </a:lnTo>
                <a:lnTo>
                  <a:pt x="43" y="92"/>
                </a:lnTo>
                <a:lnTo>
                  <a:pt x="43" y="94"/>
                </a:lnTo>
                <a:lnTo>
                  <a:pt x="41" y="94"/>
                </a:lnTo>
                <a:lnTo>
                  <a:pt x="40" y="95"/>
                </a:lnTo>
                <a:lnTo>
                  <a:pt x="40" y="98"/>
                </a:lnTo>
                <a:lnTo>
                  <a:pt x="39" y="98"/>
                </a:lnTo>
                <a:lnTo>
                  <a:pt x="36" y="101"/>
                </a:lnTo>
                <a:lnTo>
                  <a:pt x="34" y="101"/>
                </a:lnTo>
                <a:lnTo>
                  <a:pt x="34" y="103"/>
                </a:lnTo>
                <a:lnTo>
                  <a:pt x="32" y="105"/>
                </a:lnTo>
                <a:lnTo>
                  <a:pt x="31" y="105"/>
                </a:lnTo>
                <a:lnTo>
                  <a:pt x="30" y="106"/>
                </a:lnTo>
                <a:lnTo>
                  <a:pt x="28" y="106"/>
                </a:lnTo>
                <a:lnTo>
                  <a:pt x="28" y="107"/>
                </a:lnTo>
                <a:lnTo>
                  <a:pt x="30" y="109"/>
                </a:lnTo>
                <a:lnTo>
                  <a:pt x="26" y="112"/>
                </a:lnTo>
                <a:lnTo>
                  <a:pt x="21" y="114"/>
                </a:lnTo>
                <a:lnTo>
                  <a:pt x="20" y="114"/>
                </a:lnTo>
                <a:lnTo>
                  <a:pt x="22" y="112"/>
                </a:lnTo>
                <a:lnTo>
                  <a:pt x="22" y="110"/>
                </a:lnTo>
                <a:lnTo>
                  <a:pt x="25" y="106"/>
                </a:lnTo>
                <a:lnTo>
                  <a:pt x="25" y="103"/>
                </a:lnTo>
                <a:lnTo>
                  <a:pt x="24" y="101"/>
                </a:lnTo>
                <a:lnTo>
                  <a:pt x="24" y="100"/>
                </a:lnTo>
                <a:lnTo>
                  <a:pt x="22" y="100"/>
                </a:lnTo>
                <a:lnTo>
                  <a:pt x="25" y="98"/>
                </a:lnTo>
                <a:lnTo>
                  <a:pt x="27" y="98"/>
                </a:lnTo>
                <a:lnTo>
                  <a:pt x="32" y="93"/>
                </a:lnTo>
                <a:lnTo>
                  <a:pt x="37" y="91"/>
                </a:lnTo>
                <a:lnTo>
                  <a:pt x="38" y="89"/>
                </a:lnTo>
                <a:lnTo>
                  <a:pt x="43" y="89"/>
                </a:lnTo>
                <a:lnTo>
                  <a:pt x="44" y="88"/>
                </a:lnTo>
                <a:lnTo>
                  <a:pt x="44" y="87"/>
                </a:lnTo>
                <a:lnTo>
                  <a:pt x="45" y="86"/>
                </a:lnTo>
                <a:lnTo>
                  <a:pt x="46" y="87"/>
                </a:lnTo>
                <a:lnTo>
                  <a:pt x="47" y="86"/>
                </a:lnTo>
                <a:lnTo>
                  <a:pt x="49" y="86"/>
                </a:lnTo>
                <a:lnTo>
                  <a:pt x="49" y="85"/>
                </a:lnTo>
                <a:lnTo>
                  <a:pt x="47" y="81"/>
                </a:lnTo>
                <a:lnTo>
                  <a:pt x="44" y="81"/>
                </a:lnTo>
                <a:lnTo>
                  <a:pt x="43" y="82"/>
                </a:lnTo>
                <a:lnTo>
                  <a:pt x="38" y="82"/>
                </a:lnTo>
                <a:lnTo>
                  <a:pt x="36" y="85"/>
                </a:lnTo>
                <a:lnTo>
                  <a:pt x="34" y="83"/>
                </a:lnTo>
                <a:lnTo>
                  <a:pt x="28" y="83"/>
                </a:lnTo>
                <a:lnTo>
                  <a:pt x="27" y="85"/>
                </a:lnTo>
                <a:lnTo>
                  <a:pt x="19" y="85"/>
                </a:lnTo>
                <a:lnTo>
                  <a:pt x="16" y="82"/>
                </a:lnTo>
                <a:lnTo>
                  <a:pt x="16" y="77"/>
                </a:lnTo>
                <a:lnTo>
                  <a:pt x="15" y="76"/>
                </a:lnTo>
                <a:lnTo>
                  <a:pt x="19" y="76"/>
                </a:lnTo>
                <a:lnTo>
                  <a:pt x="20" y="75"/>
                </a:lnTo>
                <a:lnTo>
                  <a:pt x="20" y="73"/>
                </a:lnTo>
                <a:lnTo>
                  <a:pt x="22" y="70"/>
                </a:lnTo>
                <a:lnTo>
                  <a:pt x="22" y="69"/>
                </a:lnTo>
                <a:lnTo>
                  <a:pt x="24" y="69"/>
                </a:lnTo>
                <a:lnTo>
                  <a:pt x="24" y="68"/>
                </a:lnTo>
                <a:lnTo>
                  <a:pt x="25" y="68"/>
                </a:lnTo>
                <a:lnTo>
                  <a:pt x="25" y="67"/>
                </a:lnTo>
                <a:lnTo>
                  <a:pt x="26" y="67"/>
                </a:lnTo>
                <a:lnTo>
                  <a:pt x="26" y="66"/>
                </a:lnTo>
                <a:lnTo>
                  <a:pt x="28" y="66"/>
                </a:lnTo>
                <a:lnTo>
                  <a:pt x="28" y="62"/>
                </a:lnTo>
                <a:lnTo>
                  <a:pt x="30" y="62"/>
                </a:lnTo>
                <a:lnTo>
                  <a:pt x="30" y="61"/>
                </a:lnTo>
                <a:lnTo>
                  <a:pt x="27" y="58"/>
                </a:lnTo>
                <a:lnTo>
                  <a:pt x="27" y="57"/>
                </a:lnTo>
                <a:lnTo>
                  <a:pt x="28" y="56"/>
                </a:lnTo>
                <a:lnTo>
                  <a:pt x="28" y="55"/>
                </a:lnTo>
                <a:lnTo>
                  <a:pt x="27" y="55"/>
                </a:lnTo>
                <a:lnTo>
                  <a:pt x="28" y="54"/>
                </a:lnTo>
                <a:lnTo>
                  <a:pt x="27" y="52"/>
                </a:lnTo>
                <a:lnTo>
                  <a:pt x="27" y="50"/>
                </a:lnTo>
                <a:lnTo>
                  <a:pt x="28" y="49"/>
                </a:lnTo>
                <a:lnTo>
                  <a:pt x="27" y="49"/>
                </a:lnTo>
                <a:lnTo>
                  <a:pt x="28" y="48"/>
                </a:lnTo>
                <a:lnTo>
                  <a:pt x="31" y="48"/>
                </a:lnTo>
                <a:lnTo>
                  <a:pt x="33" y="45"/>
                </a:lnTo>
                <a:lnTo>
                  <a:pt x="34" y="45"/>
                </a:lnTo>
                <a:lnTo>
                  <a:pt x="34" y="44"/>
                </a:lnTo>
                <a:lnTo>
                  <a:pt x="37" y="43"/>
                </a:lnTo>
                <a:lnTo>
                  <a:pt x="38" y="43"/>
                </a:lnTo>
                <a:lnTo>
                  <a:pt x="39" y="44"/>
                </a:lnTo>
                <a:lnTo>
                  <a:pt x="40" y="43"/>
                </a:lnTo>
                <a:lnTo>
                  <a:pt x="40" y="36"/>
                </a:lnTo>
                <a:lnTo>
                  <a:pt x="39" y="33"/>
                </a:lnTo>
                <a:lnTo>
                  <a:pt x="39" y="27"/>
                </a:lnTo>
                <a:lnTo>
                  <a:pt x="38" y="28"/>
                </a:lnTo>
                <a:lnTo>
                  <a:pt x="33" y="26"/>
                </a:lnTo>
                <a:lnTo>
                  <a:pt x="34" y="25"/>
                </a:lnTo>
                <a:lnTo>
                  <a:pt x="34" y="24"/>
                </a:lnTo>
                <a:lnTo>
                  <a:pt x="31" y="24"/>
                </a:lnTo>
                <a:lnTo>
                  <a:pt x="30" y="23"/>
                </a:lnTo>
                <a:lnTo>
                  <a:pt x="30" y="21"/>
                </a:lnTo>
                <a:lnTo>
                  <a:pt x="28" y="23"/>
                </a:lnTo>
                <a:lnTo>
                  <a:pt x="27" y="21"/>
                </a:lnTo>
                <a:lnTo>
                  <a:pt x="27" y="19"/>
                </a:lnTo>
                <a:lnTo>
                  <a:pt x="30" y="17"/>
                </a:lnTo>
                <a:lnTo>
                  <a:pt x="34" y="17"/>
                </a:lnTo>
                <a:lnTo>
                  <a:pt x="36" y="15"/>
                </a:lnTo>
                <a:lnTo>
                  <a:pt x="37" y="15"/>
                </a:lnTo>
                <a:lnTo>
                  <a:pt x="37" y="12"/>
                </a:lnTo>
                <a:lnTo>
                  <a:pt x="38" y="12"/>
                </a:lnTo>
                <a:lnTo>
                  <a:pt x="38" y="11"/>
                </a:lnTo>
                <a:lnTo>
                  <a:pt x="37" y="11"/>
                </a:lnTo>
                <a:lnTo>
                  <a:pt x="37" y="9"/>
                </a:lnTo>
                <a:lnTo>
                  <a:pt x="38" y="9"/>
                </a:lnTo>
                <a:lnTo>
                  <a:pt x="40" y="7"/>
                </a:lnTo>
                <a:lnTo>
                  <a:pt x="44" y="8"/>
                </a:lnTo>
                <a:lnTo>
                  <a:pt x="45" y="8"/>
                </a:lnTo>
                <a:lnTo>
                  <a:pt x="46" y="7"/>
                </a:lnTo>
                <a:lnTo>
                  <a:pt x="47" y="7"/>
                </a:lnTo>
                <a:lnTo>
                  <a:pt x="49" y="8"/>
                </a:lnTo>
                <a:lnTo>
                  <a:pt x="49" y="7"/>
                </a:lnTo>
                <a:lnTo>
                  <a:pt x="51" y="7"/>
                </a:lnTo>
                <a:lnTo>
                  <a:pt x="52" y="6"/>
                </a:lnTo>
                <a:lnTo>
                  <a:pt x="53" y="6"/>
                </a:lnTo>
                <a:lnTo>
                  <a:pt x="56" y="3"/>
                </a:lnTo>
                <a:lnTo>
                  <a:pt x="57" y="1"/>
                </a:lnTo>
                <a:lnTo>
                  <a:pt x="59" y="1"/>
                </a:lnTo>
                <a:lnTo>
                  <a:pt x="61" y="2"/>
                </a:lnTo>
                <a:lnTo>
                  <a:pt x="64" y="2"/>
                </a:lnTo>
                <a:lnTo>
                  <a:pt x="64" y="1"/>
                </a:lnTo>
                <a:lnTo>
                  <a:pt x="65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" name="Freeform 8">
            <a:extLst>
              <a:ext uri="{FF2B5EF4-FFF2-40B4-BE49-F238E27FC236}">
                <a16:creationId xmlns:a16="http://schemas.microsoft.com/office/drawing/2014/main" id="{A564DF64-59A8-4790-9ACD-9C5C691B96C8}"/>
              </a:ext>
            </a:extLst>
          </p:cNvPr>
          <p:cNvSpPr>
            <a:spLocks noEditPoints="1"/>
          </p:cNvSpPr>
          <p:nvPr/>
        </p:nvSpPr>
        <p:spPr bwMode="auto">
          <a:xfrm>
            <a:off x="1515688" y="2247158"/>
            <a:ext cx="821549" cy="1514143"/>
          </a:xfrm>
          <a:custGeom>
            <a:avLst/>
            <a:gdLst/>
            <a:ahLst/>
            <a:cxnLst>
              <a:cxn ang="0">
                <a:pos x="35" y="1032"/>
              </a:cxn>
              <a:cxn ang="0">
                <a:pos x="23" y="1033"/>
              </a:cxn>
              <a:cxn ang="0">
                <a:pos x="25" y="986"/>
              </a:cxn>
              <a:cxn ang="0">
                <a:pos x="30" y="967"/>
              </a:cxn>
              <a:cxn ang="0">
                <a:pos x="35" y="967"/>
              </a:cxn>
              <a:cxn ang="0">
                <a:pos x="24" y="953"/>
              </a:cxn>
              <a:cxn ang="0">
                <a:pos x="16" y="919"/>
              </a:cxn>
              <a:cxn ang="0">
                <a:pos x="33" y="924"/>
              </a:cxn>
              <a:cxn ang="0">
                <a:pos x="4" y="878"/>
              </a:cxn>
              <a:cxn ang="0">
                <a:pos x="10" y="860"/>
              </a:cxn>
              <a:cxn ang="0">
                <a:pos x="45" y="764"/>
              </a:cxn>
              <a:cxn ang="0">
                <a:pos x="38" y="758"/>
              </a:cxn>
              <a:cxn ang="0">
                <a:pos x="66" y="749"/>
              </a:cxn>
              <a:cxn ang="0">
                <a:pos x="89" y="713"/>
              </a:cxn>
              <a:cxn ang="0">
                <a:pos x="116" y="699"/>
              </a:cxn>
              <a:cxn ang="0">
                <a:pos x="150" y="683"/>
              </a:cxn>
              <a:cxn ang="0">
                <a:pos x="147" y="658"/>
              </a:cxn>
              <a:cxn ang="0">
                <a:pos x="191" y="645"/>
              </a:cxn>
              <a:cxn ang="0">
                <a:pos x="188" y="636"/>
              </a:cxn>
              <a:cxn ang="0">
                <a:pos x="173" y="625"/>
              </a:cxn>
              <a:cxn ang="0">
                <a:pos x="286" y="551"/>
              </a:cxn>
              <a:cxn ang="0">
                <a:pos x="275" y="512"/>
              </a:cxn>
              <a:cxn ang="0">
                <a:pos x="259" y="513"/>
              </a:cxn>
              <a:cxn ang="0">
                <a:pos x="319" y="494"/>
              </a:cxn>
              <a:cxn ang="0">
                <a:pos x="327" y="454"/>
              </a:cxn>
              <a:cxn ang="0">
                <a:pos x="318" y="470"/>
              </a:cxn>
              <a:cxn ang="0">
                <a:pos x="304" y="443"/>
              </a:cxn>
              <a:cxn ang="0">
                <a:pos x="347" y="400"/>
              </a:cxn>
              <a:cxn ang="0">
                <a:pos x="330" y="392"/>
              </a:cxn>
              <a:cxn ang="0">
                <a:pos x="348" y="362"/>
              </a:cxn>
              <a:cxn ang="0">
                <a:pos x="397" y="285"/>
              </a:cxn>
              <a:cxn ang="0">
                <a:pos x="431" y="245"/>
              </a:cxn>
              <a:cxn ang="0">
                <a:pos x="435" y="193"/>
              </a:cxn>
              <a:cxn ang="0">
                <a:pos x="448" y="191"/>
              </a:cxn>
              <a:cxn ang="0">
                <a:pos x="353" y="200"/>
              </a:cxn>
              <a:cxn ang="0">
                <a:pos x="362" y="189"/>
              </a:cxn>
              <a:cxn ang="0">
                <a:pos x="397" y="153"/>
              </a:cxn>
              <a:cxn ang="0">
                <a:pos x="381" y="176"/>
              </a:cxn>
              <a:cxn ang="0">
                <a:pos x="381" y="154"/>
              </a:cxn>
              <a:cxn ang="0">
                <a:pos x="423" y="159"/>
              </a:cxn>
              <a:cxn ang="0">
                <a:pos x="415" y="150"/>
              </a:cxn>
              <a:cxn ang="0">
                <a:pos x="497" y="129"/>
              </a:cxn>
              <a:cxn ang="0">
                <a:pos x="424" y="132"/>
              </a:cxn>
              <a:cxn ang="0">
                <a:pos x="530" y="96"/>
              </a:cxn>
              <a:cxn ang="0">
                <a:pos x="474" y="99"/>
              </a:cxn>
              <a:cxn ang="0">
                <a:pos x="484" y="91"/>
              </a:cxn>
              <a:cxn ang="0">
                <a:pos x="501" y="122"/>
              </a:cxn>
              <a:cxn ang="0">
                <a:pos x="467" y="141"/>
              </a:cxn>
              <a:cxn ang="0">
                <a:pos x="445" y="147"/>
              </a:cxn>
              <a:cxn ang="0">
                <a:pos x="455" y="119"/>
              </a:cxn>
              <a:cxn ang="0">
                <a:pos x="462" y="92"/>
              </a:cxn>
              <a:cxn ang="0">
                <a:pos x="446" y="80"/>
              </a:cxn>
              <a:cxn ang="0">
                <a:pos x="429" y="117"/>
              </a:cxn>
              <a:cxn ang="0">
                <a:pos x="421" y="116"/>
              </a:cxn>
              <a:cxn ang="0">
                <a:pos x="423" y="93"/>
              </a:cxn>
              <a:cxn ang="0">
                <a:pos x="545" y="65"/>
              </a:cxn>
              <a:cxn ang="0">
                <a:pos x="460" y="73"/>
              </a:cxn>
              <a:cxn ang="0">
                <a:pos x="551" y="9"/>
              </a:cxn>
              <a:cxn ang="0">
                <a:pos x="564" y="23"/>
              </a:cxn>
              <a:cxn ang="0">
                <a:pos x="529" y="66"/>
              </a:cxn>
              <a:cxn ang="0">
                <a:pos x="517" y="46"/>
              </a:cxn>
              <a:cxn ang="0">
                <a:pos x="536" y="29"/>
              </a:cxn>
              <a:cxn ang="0">
                <a:pos x="546" y="13"/>
              </a:cxn>
            </a:cxnLst>
            <a:rect l="0" t="0" r="r" b="b"/>
            <a:pathLst>
              <a:path w="567" h="1045">
                <a:moveTo>
                  <a:pt x="268" y="1039"/>
                </a:moveTo>
                <a:lnTo>
                  <a:pt x="269" y="1039"/>
                </a:lnTo>
                <a:lnTo>
                  <a:pt x="269" y="1041"/>
                </a:lnTo>
                <a:lnTo>
                  <a:pt x="272" y="1041"/>
                </a:lnTo>
                <a:lnTo>
                  <a:pt x="272" y="1042"/>
                </a:lnTo>
                <a:lnTo>
                  <a:pt x="271" y="1043"/>
                </a:lnTo>
                <a:lnTo>
                  <a:pt x="271" y="1044"/>
                </a:lnTo>
                <a:lnTo>
                  <a:pt x="269" y="1045"/>
                </a:lnTo>
                <a:lnTo>
                  <a:pt x="268" y="1045"/>
                </a:lnTo>
                <a:lnTo>
                  <a:pt x="268" y="1039"/>
                </a:lnTo>
                <a:close/>
                <a:moveTo>
                  <a:pt x="262" y="1037"/>
                </a:moveTo>
                <a:lnTo>
                  <a:pt x="262" y="1038"/>
                </a:lnTo>
                <a:lnTo>
                  <a:pt x="263" y="1037"/>
                </a:lnTo>
                <a:lnTo>
                  <a:pt x="265" y="1037"/>
                </a:lnTo>
                <a:lnTo>
                  <a:pt x="265" y="1039"/>
                </a:lnTo>
                <a:lnTo>
                  <a:pt x="263" y="1041"/>
                </a:lnTo>
                <a:lnTo>
                  <a:pt x="261" y="1041"/>
                </a:lnTo>
                <a:lnTo>
                  <a:pt x="261" y="1038"/>
                </a:lnTo>
                <a:lnTo>
                  <a:pt x="262" y="1037"/>
                </a:lnTo>
                <a:close/>
                <a:moveTo>
                  <a:pt x="39" y="1036"/>
                </a:moveTo>
                <a:lnTo>
                  <a:pt x="42" y="1036"/>
                </a:lnTo>
                <a:lnTo>
                  <a:pt x="43" y="1037"/>
                </a:lnTo>
                <a:lnTo>
                  <a:pt x="48" y="1037"/>
                </a:lnTo>
                <a:lnTo>
                  <a:pt x="48" y="1041"/>
                </a:lnTo>
                <a:lnTo>
                  <a:pt x="47" y="1041"/>
                </a:lnTo>
                <a:lnTo>
                  <a:pt x="43" y="1038"/>
                </a:lnTo>
                <a:lnTo>
                  <a:pt x="41" y="1037"/>
                </a:lnTo>
                <a:lnTo>
                  <a:pt x="39" y="1037"/>
                </a:lnTo>
                <a:lnTo>
                  <a:pt x="39" y="1036"/>
                </a:lnTo>
                <a:close/>
                <a:moveTo>
                  <a:pt x="31" y="1027"/>
                </a:moveTo>
                <a:lnTo>
                  <a:pt x="33" y="1027"/>
                </a:lnTo>
                <a:lnTo>
                  <a:pt x="33" y="1029"/>
                </a:lnTo>
                <a:lnTo>
                  <a:pt x="35" y="1030"/>
                </a:lnTo>
                <a:lnTo>
                  <a:pt x="35" y="1032"/>
                </a:lnTo>
                <a:lnTo>
                  <a:pt x="33" y="1033"/>
                </a:lnTo>
                <a:lnTo>
                  <a:pt x="33" y="1032"/>
                </a:lnTo>
                <a:lnTo>
                  <a:pt x="32" y="1032"/>
                </a:lnTo>
                <a:lnTo>
                  <a:pt x="31" y="1031"/>
                </a:lnTo>
                <a:lnTo>
                  <a:pt x="31" y="1027"/>
                </a:lnTo>
                <a:close/>
                <a:moveTo>
                  <a:pt x="56" y="1023"/>
                </a:moveTo>
                <a:lnTo>
                  <a:pt x="57" y="1023"/>
                </a:lnTo>
                <a:lnTo>
                  <a:pt x="60" y="1024"/>
                </a:lnTo>
                <a:lnTo>
                  <a:pt x="61" y="1024"/>
                </a:lnTo>
                <a:lnTo>
                  <a:pt x="61" y="1025"/>
                </a:lnTo>
                <a:lnTo>
                  <a:pt x="60" y="1027"/>
                </a:lnTo>
                <a:lnTo>
                  <a:pt x="57" y="1027"/>
                </a:lnTo>
                <a:lnTo>
                  <a:pt x="55" y="1029"/>
                </a:lnTo>
                <a:lnTo>
                  <a:pt x="54" y="1027"/>
                </a:lnTo>
                <a:lnTo>
                  <a:pt x="54" y="1025"/>
                </a:lnTo>
                <a:lnTo>
                  <a:pt x="56" y="1023"/>
                </a:lnTo>
                <a:close/>
                <a:moveTo>
                  <a:pt x="23" y="1013"/>
                </a:moveTo>
                <a:lnTo>
                  <a:pt x="24" y="1013"/>
                </a:lnTo>
                <a:lnTo>
                  <a:pt x="25" y="1017"/>
                </a:lnTo>
                <a:lnTo>
                  <a:pt x="25" y="1018"/>
                </a:lnTo>
                <a:lnTo>
                  <a:pt x="26" y="1019"/>
                </a:lnTo>
                <a:lnTo>
                  <a:pt x="26" y="1020"/>
                </a:lnTo>
                <a:lnTo>
                  <a:pt x="27" y="1020"/>
                </a:lnTo>
                <a:lnTo>
                  <a:pt x="27" y="1021"/>
                </a:lnTo>
                <a:lnTo>
                  <a:pt x="26" y="1021"/>
                </a:lnTo>
                <a:lnTo>
                  <a:pt x="26" y="1023"/>
                </a:lnTo>
                <a:lnTo>
                  <a:pt x="29" y="1025"/>
                </a:lnTo>
                <a:lnTo>
                  <a:pt x="29" y="1029"/>
                </a:lnTo>
                <a:lnTo>
                  <a:pt x="27" y="1030"/>
                </a:lnTo>
                <a:lnTo>
                  <a:pt x="27" y="1033"/>
                </a:lnTo>
                <a:lnTo>
                  <a:pt x="25" y="1036"/>
                </a:lnTo>
                <a:lnTo>
                  <a:pt x="24" y="1036"/>
                </a:lnTo>
                <a:lnTo>
                  <a:pt x="23" y="1035"/>
                </a:lnTo>
                <a:lnTo>
                  <a:pt x="23" y="1033"/>
                </a:lnTo>
                <a:lnTo>
                  <a:pt x="21" y="1031"/>
                </a:lnTo>
                <a:lnTo>
                  <a:pt x="21" y="1029"/>
                </a:lnTo>
                <a:lnTo>
                  <a:pt x="23" y="1027"/>
                </a:lnTo>
                <a:lnTo>
                  <a:pt x="23" y="1025"/>
                </a:lnTo>
                <a:lnTo>
                  <a:pt x="21" y="1025"/>
                </a:lnTo>
                <a:lnTo>
                  <a:pt x="23" y="1023"/>
                </a:lnTo>
                <a:lnTo>
                  <a:pt x="25" y="1024"/>
                </a:lnTo>
                <a:lnTo>
                  <a:pt x="23" y="1020"/>
                </a:lnTo>
                <a:lnTo>
                  <a:pt x="23" y="1017"/>
                </a:lnTo>
                <a:lnTo>
                  <a:pt x="24" y="1016"/>
                </a:lnTo>
                <a:lnTo>
                  <a:pt x="23" y="1016"/>
                </a:lnTo>
                <a:lnTo>
                  <a:pt x="23" y="1013"/>
                </a:lnTo>
                <a:close/>
                <a:moveTo>
                  <a:pt x="27" y="984"/>
                </a:moveTo>
                <a:lnTo>
                  <a:pt x="29" y="984"/>
                </a:lnTo>
                <a:lnTo>
                  <a:pt x="29" y="987"/>
                </a:lnTo>
                <a:lnTo>
                  <a:pt x="30" y="988"/>
                </a:lnTo>
                <a:lnTo>
                  <a:pt x="27" y="990"/>
                </a:lnTo>
                <a:lnTo>
                  <a:pt x="26" y="990"/>
                </a:lnTo>
                <a:lnTo>
                  <a:pt x="26" y="989"/>
                </a:lnTo>
                <a:lnTo>
                  <a:pt x="27" y="989"/>
                </a:lnTo>
                <a:lnTo>
                  <a:pt x="27" y="984"/>
                </a:lnTo>
                <a:close/>
                <a:moveTo>
                  <a:pt x="19" y="975"/>
                </a:moveTo>
                <a:lnTo>
                  <a:pt x="21" y="975"/>
                </a:lnTo>
                <a:lnTo>
                  <a:pt x="21" y="976"/>
                </a:lnTo>
                <a:lnTo>
                  <a:pt x="24" y="978"/>
                </a:lnTo>
                <a:lnTo>
                  <a:pt x="24" y="980"/>
                </a:lnTo>
                <a:lnTo>
                  <a:pt x="25" y="980"/>
                </a:lnTo>
                <a:lnTo>
                  <a:pt x="26" y="981"/>
                </a:lnTo>
                <a:lnTo>
                  <a:pt x="26" y="982"/>
                </a:lnTo>
                <a:lnTo>
                  <a:pt x="27" y="983"/>
                </a:lnTo>
                <a:lnTo>
                  <a:pt x="27" y="984"/>
                </a:lnTo>
                <a:lnTo>
                  <a:pt x="26" y="984"/>
                </a:lnTo>
                <a:lnTo>
                  <a:pt x="26" y="986"/>
                </a:lnTo>
                <a:lnTo>
                  <a:pt x="25" y="986"/>
                </a:lnTo>
                <a:lnTo>
                  <a:pt x="24" y="984"/>
                </a:lnTo>
                <a:lnTo>
                  <a:pt x="23" y="986"/>
                </a:lnTo>
                <a:lnTo>
                  <a:pt x="23" y="989"/>
                </a:lnTo>
                <a:lnTo>
                  <a:pt x="21" y="990"/>
                </a:lnTo>
                <a:lnTo>
                  <a:pt x="21" y="993"/>
                </a:lnTo>
                <a:lnTo>
                  <a:pt x="23" y="993"/>
                </a:lnTo>
                <a:lnTo>
                  <a:pt x="23" y="994"/>
                </a:lnTo>
                <a:lnTo>
                  <a:pt x="24" y="995"/>
                </a:lnTo>
                <a:lnTo>
                  <a:pt x="23" y="995"/>
                </a:lnTo>
                <a:lnTo>
                  <a:pt x="24" y="996"/>
                </a:lnTo>
                <a:lnTo>
                  <a:pt x="23" y="996"/>
                </a:lnTo>
                <a:lnTo>
                  <a:pt x="23" y="998"/>
                </a:lnTo>
                <a:lnTo>
                  <a:pt x="21" y="998"/>
                </a:lnTo>
                <a:lnTo>
                  <a:pt x="20" y="996"/>
                </a:lnTo>
                <a:lnTo>
                  <a:pt x="20" y="994"/>
                </a:lnTo>
                <a:lnTo>
                  <a:pt x="19" y="993"/>
                </a:lnTo>
                <a:lnTo>
                  <a:pt x="20" y="990"/>
                </a:lnTo>
                <a:lnTo>
                  <a:pt x="20" y="988"/>
                </a:lnTo>
                <a:lnTo>
                  <a:pt x="21" y="986"/>
                </a:lnTo>
                <a:lnTo>
                  <a:pt x="23" y="984"/>
                </a:lnTo>
                <a:lnTo>
                  <a:pt x="20" y="984"/>
                </a:lnTo>
                <a:lnTo>
                  <a:pt x="20" y="982"/>
                </a:lnTo>
                <a:lnTo>
                  <a:pt x="19" y="983"/>
                </a:lnTo>
                <a:lnTo>
                  <a:pt x="18" y="983"/>
                </a:lnTo>
                <a:lnTo>
                  <a:pt x="18" y="981"/>
                </a:lnTo>
                <a:lnTo>
                  <a:pt x="19" y="981"/>
                </a:lnTo>
                <a:lnTo>
                  <a:pt x="19" y="978"/>
                </a:lnTo>
                <a:lnTo>
                  <a:pt x="21" y="978"/>
                </a:lnTo>
                <a:lnTo>
                  <a:pt x="20" y="977"/>
                </a:lnTo>
                <a:lnTo>
                  <a:pt x="19" y="975"/>
                </a:lnTo>
                <a:close/>
                <a:moveTo>
                  <a:pt x="27" y="965"/>
                </a:moveTo>
                <a:lnTo>
                  <a:pt x="29" y="965"/>
                </a:lnTo>
                <a:lnTo>
                  <a:pt x="29" y="967"/>
                </a:lnTo>
                <a:lnTo>
                  <a:pt x="30" y="967"/>
                </a:lnTo>
                <a:lnTo>
                  <a:pt x="32" y="969"/>
                </a:lnTo>
                <a:lnTo>
                  <a:pt x="36" y="976"/>
                </a:lnTo>
                <a:lnTo>
                  <a:pt x="36" y="982"/>
                </a:lnTo>
                <a:lnTo>
                  <a:pt x="32" y="984"/>
                </a:lnTo>
                <a:lnTo>
                  <a:pt x="31" y="984"/>
                </a:lnTo>
                <a:lnTo>
                  <a:pt x="30" y="983"/>
                </a:lnTo>
                <a:lnTo>
                  <a:pt x="32" y="983"/>
                </a:lnTo>
                <a:lnTo>
                  <a:pt x="32" y="982"/>
                </a:lnTo>
                <a:lnTo>
                  <a:pt x="31" y="981"/>
                </a:lnTo>
                <a:lnTo>
                  <a:pt x="31" y="982"/>
                </a:lnTo>
                <a:lnTo>
                  <a:pt x="29" y="982"/>
                </a:lnTo>
                <a:lnTo>
                  <a:pt x="27" y="981"/>
                </a:lnTo>
                <a:lnTo>
                  <a:pt x="27" y="976"/>
                </a:lnTo>
                <a:lnTo>
                  <a:pt x="26" y="975"/>
                </a:lnTo>
                <a:lnTo>
                  <a:pt x="26" y="973"/>
                </a:lnTo>
                <a:lnTo>
                  <a:pt x="25" y="971"/>
                </a:lnTo>
                <a:lnTo>
                  <a:pt x="27" y="969"/>
                </a:lnTo>
                <a:lnTo>
                  <a:pt x="27" y="968"/>
                </a:lnTo>
                <a:lnTo>
                  <a:pt x="26" y="968"/>
                </a:lnTo>
                <a:lnTo>
                  <a:pt x="26" y="967"/>
                </a:lnTo>
                <a:lnTo>
                  <a:pt x="27" y="967"/>
                </a:lnTo>
                <a:lnTo>
                  <a:pt x="27" y="965"/>
                </a:lnTo>
                <a:close/>
                <a:moveTo>
                  <a:pt x="41" y="957"/>
                </a:moveTo>
                <a:lnTo>
                  <a:pt x="43" y="957"/>
                </a:lnTo>
                <a:lnTo>
                  <a:pt x="43" y="964"/>
                </a:lnTo>
                <a:lnTo>
                  <a:pt x="41" y="967"/>
                </a:lnTo>
                <a:lnTo>
                  <a:pt x="41" y="969"/>
                </a:lnTo>
                <a:lnTo>
                  <a:pt x="42" y="971"/>
                </a:lnTo>
                <a:lnTo>
                  <a:pt x="41" y="971"/>
                </a:lnTo>
                <a:lnTo>
                  <a:pt x="39" y="970"/>
                </a:lnTo>
                <a:lnTo>
                  <a:pt x="37" y="973"/>
                </a:lnTo>
                <a:lnTo>
                  <a:pt x="36" y="973"/>
                </a:lnTo>
                <a:lnTo>
                  <a:pt x="36" y="968"/>
                </a:lnTo>
                <a:lnTo>
                  <a:pt x="35" y="967"/>
                </a:lnTo>
                <a:lnTo>
                  <a:pt x="35" y="968"/>
                </a:lnTo>
                <a:lnTo>
                  <a:pt x="32" y="968"/>
                </a:lnTo>
                <a:lnTo>
                  <a:pt x="31" y="967"/>
                </a:lnTo>
                <a:lnTo>
                  <a:pt x="31" y="965"/>
                </a:lnTo>
                <a:lnTo>
                  <a:pt x="30" y="964"/>
                </a:lnTo>
                <a:lnTo>
                  <a:pt x="31" y="964"/>
                </a:lnTo>
                <a:lnTo>
                  <a:pt x="33" y="963"/>
                </a:lnTo>
                <a:lnTo>
                  <a:pt x="35" y="963"/>
                </a:lnTo>
                <a:lnTo>
                  <a:pt x="33" y="962"/>
                </a:lnTo>
                <a:lnTo>
                  <a:pt x="33" y="959"/>
                </a:lnTo>
                <a:lnTo>
                  <a:pt x="36" y="959"/>
                </a:lnTo>
                <a:lnTo>
                  <a:pt x="37" y="958"/>
                </a:lnTo>
                <a:lnTo>
                  <a:pt x="41" y="958"/>
                </a:lnTo>
                <a:lnTo>
                  <a:pt x="41" y="957"/>
                </a:lnTo>
                <a:close/>
                <a:moveTo>
                  <a:pt x="24" y="957"/>
                </a:moveTo>
                <a:lnTo>
                  <a:pt x="24" y="961"/>
                </a:lnTo>
                <a:lnTo>
                  <a:pt x="25" y="961"/>
                </a:lnTo>
                <a:lnTo>
                  <a:pt x="25" y="958"/>
                </a:lnTo>
                <a:lnTo>
                  <a:pt x="24" y="957"/>
                </a:lnTo>
                <a:close/>
                <a:moveTo>
                  <a:pt x="24" y="953"/>
                </a:moveTo>
                <a:lnTo>
                  <a:pt x="25" y="955"/>
                </a:lnTo>
                <a:lnTo>
                  <a:pt x="25" y="957"/>
                </a:lnTo>
                <a:lnTo>
                  <a:pt x="27" y="957"/>
                </a:lnTo>
                <a:lnTo>
                  <a:pt x="27" y="962"/>
                </a:lnTo>
                <a:lnTo>
                  <a:pt x="26" y="963"/>
                </a:lnTo>
                <a:lnTo>
                  <a:pt x="26" y="964"/>
                </a:lnTo>
                <a:lnTo>
                  <a:pt x="25" y="964"/>
                </a:lnTo>
                <a:lnTo>
                  <a:pt x="25" y="963"/>
                </a:lnTo>
                <a:lnTo>
                  <a:pt x="24" y="963"/>
                </a:lnTo>
                <a:lnTo>
                  <a:pt x="24" y="962"/>
                </a:lnTo>
                <a:lnTo>
                  <a:pt x="23" y="961"/>
                </a:lnTo>
                <a:lnTo>
                  <a:pt x="23" y="957"/>
                </a:lnTo>
                <a:lnTo>
                  <a:pt x="24" y="956"/>
                </a:lnTo>
                <a:lnTo>
                  <a:pt x="24" y="953"/>
                </a:lnTo>
                <a:close/>
                <a:moveTo>
                  <a:pt x="39" y="941"/>
                </a:moveTo>
                <a:lnTo>
                  <a:pt x="41" y="941"/>
                </a:lnTo>
                <a:lnTo>
                  <a:pt x="39" y="943"/>
                </a:lnTo>
                <a:lnTo>
                  <a:pt x="39" y="941"/>
                </a:lnTo>
                <a:close/>
                <a:moveTo>
                  <a:pt x="13" y="926"/>
                </a:moveTo>
                <a:lnTo>
                  <a:pt x="14" y="926"/>
                </a:lnTo>
                <a:lnTo>
                  <a:pt x="14" y="927"/>
                </a:lnTo>
                <a:lnTo>
                  <a:pt x="19" y="937"/>
                </a:lnTo>
                <a:lnTo>
                  <a:pt x="19" y="939"/>
                </a:lnTo>
                <a:lnTo>
                  <a:pt x="17" y="939"/>
                </a:lnTo>
                <a:lnTo>
                  <a:pt x="19" y="941"/>
                </a:lnTo>
                <a:lnTo>
                  <a:pt x="19" y="947"/>
                </a:lnTo>
                <a:lnTo>
                  <a:pt x="17" y="947"/>
                </a:lnTo>
                <a:lnTo>
                  <a:pt x="17" y="944"/>
                </a:lnTo>
                <a:lnTo>
                  <a:pt x="16" y="943"/>
                </a:lnTo>
                <a:lnTo>
                  <a:pt x="16" y="945"/>
                </a:lnTo>
                <a:lnTo>
                  <a:pt x="14" y="945"/>
                </a:lnTo>
                <a:lnTo>
                  <a:pt x="13" y="943"/>
                </a:lnTo>
                <a:lnTo>
                  <a:pt x="13" y="941"/>
                </a:lnTo>
                <a:lnTo>
                  <a:pt x="12" y="940"/>
                </a:lnTo>
                <a:lnTo>
                  <a:pt x="12" y="939"/>
                </a:lnTo>
                <a:lnTo>
                  <a:pt x="16" y="939"/>
                </a:lnTo>
                <a:lnTo>
                  <a:pt x="17" y="937"/>
                </a:lnTo>
                <a:lnTo>
                  <a:pt x="16" y="938"/>
                </a:lnTo>
                <a:lnTo>
                  <a:pt x="16" y="937"/>
                </a:lnTo>
                <a:lnTo>
                  <a:pt x="14" y="937"/>
                </a:lnTo>
                <a:lnTo>
                  <a:pt x="14" y="936"/>
                </a:lnTo>
                <a:lnTo>
                  <a:pt x="13" y="936"/>
                </a:lnTo>
                <a:lnTo>
                  <a:pt x="13" y="930"/>
                </a:lnTo>
                <a:lnTo>
                  <a:pt x="12" y="927"/>
                </a:lnTo>
                <a:lnTo>
                  <a:pt x="13" y="926"/>
                </a:lnTo>
                <a:close/>
                <a:moveTo>
                  <a:pt x="13" y="916"/>
                </a:moveTo>
                <a:lnTo>
                  <a:pt x="14" y="916"/>
                </a:lnTo>
                <a:lnTo>
                  <a:pt x="16" y="919"/>
                </a:lnTo>
                <a:lnTo>
                  <a:pt x="21" y="921"/>
                </a:lnTo>
                <a:lnTo>
                  <a:pt x="24" y="926"/>
                </a:lnTo>
                <a:lnTo>
                  <a:pt x="24" y="927"/>
                </a:lnTo>
                <a:lnTo>
                  <a:pt x="23" y="928"/>
                </a:lnTo>
                <a:lnTo>
                  <a:pt x="20" y="930"/>
                </a:lnTo>
                <a:lnTo>
                  <a:pt x="20" y="926"/>
                </a:lnTo>
                <a:lnTo>
                  <a:pt x="18" y="925"/>
                </a:lnTo>
                <a:lnTo>
                  <a:pt x="18" y="922"/>
                </a:lnTo>
                <a:lnTo>
                  <a:pt x="17" y="921"/>
                </a:lnTo>
                <a:lnTo>
                  <a:pt x="14" y="921"/>
                </a:lnTo>
                <a:lnTo>
                  <a:pt x="14" y="919"/>
                </a:lnTo>
                <a:lnTo>
                  <a:pt x="13" y="916"/>
                </a:lnTo>
                <a:close/>
                <a:moveTo>
                  <a:pt x="6" y="907"/>
                </a:moveTo>
                <a:lnTo>
                  <a:pt x="7" y="908"/>
                </a:lnTo>
                <a:lnTo>
                  <a:pt x="7" y="910"/>
                </a:lnTo>
                <a:lnTo>
                  <a:pt x="8" y="910"/>
                </a:lnTo>
                <a:lnTo>
                  <a:pt x="8" y="914"/>
                </a:lnTo>
                <a:lnTo>
                  <a:pt x="6" y="914"/>
                </a:lnTo>
                <a:lnTo>
                  <a:pt x="6" y="907"/>
                </a:lnTo>
                <a:close/>
                <a:moveTo>
                  <a:pt x="42" y="904"/>
                </a:moveTo>
                <a:lnTo>
                  <a:pt x="43" y="906"/>
                </a:lnTo>
                <a:lnTo>
                  <a:pt x="44" y="906"/>
                </a:lnTo>
                <a:lnTo>
                  <a:pt x="44" y="913"/>
                </a:lnTo>
                <a:lnTo>
                  <a:pt x="43" y="918"/>
                </a:lnTo>
                <a:lnTo>
                  <a:pt x="43" y="919"/>
                </a:lnTo>
                <a:lnTo>
                  <a:pt x="44" y="922"/>
                </a:lnTo>
                <a:lnTo>
                  <a:pt x="43" y="924"/>
                </a:lnTo>
                <a:lnTo>
                  <a:pt x="42" y="924"/>
                </a:lnTo>
                <a:lnTo>
                  <a:pt x="41" y="925"/>
                </a:lnTo>
                <a:lnTo>
                  <a:pt x="41" y="926"/>
                </a:lnTo>
                <a:lnTo>
                  <a:pt x="37" y="927"/>
                </a:lnTo>
                <a:lnTo>
                  <a:pt x="36" y="927"/>
                </a:lnTo>
                <a:lnTo>
                  <a:pt x="36" y="926"/>
                </a:lnTo>
                <a:lnTo>
                  <a:pt x="33" y="924"/>
                </a:lnTo>
                <a:lnTo>
                  <a:pt x="31" y="920"/>
                </a:lnTo>
                <a:lnTo>
                  <a:pt x="29" y="918"/>
                </a:lnTo>
                <a:lnTo>
                  <a:pt x="29" y="916"/>
                </a:lnTo>
                <a:lnTo>
                  <a:pt x="32" y="916"/>
                </a:lnTo>
                <a:lnTo>
                  <a:pt x="32" y="915"/>
                </a:lnTo>
                <a:lnTo>
                  <a:pt x="33" y="915"/>
                </a:lnTo>
                <a:lnTo>
                  <a:pt x="35" y="913"/>
                </a:lnTo>
                <a:lnTo>
                  <a:pt x="37" y="912"/>
                </a:lnTo>
                <a:lnTo>
                  <a:pt x="38" y="912"/>
                </a:lnTo>
                <a:lnTo>
                  <a:pt x="39" y="910"/>
                </a:lnTo>
                <a:lnTo>
                  <a:pt x="39" y="906"/>
                </a:lnTo>
                <a:lnTo>
                  <a:pt x="41" y="906"/>
                </a:lnTo>
                <a:lnTo>
                  <a:pt x="42" y="904"/>
                </a:lnTo>
                <a:close/>
                <a:moveTo>
                  <a:pt x="6" y="883"/>
                </a:moveTo>
                <a:lnTo>
                  <a:pt x="8" y="883"/>
                </a:lnTo>
                <a:lnTo>
                  <a:pt x="8" y="884"/>
                </a:lnTo>
                <a:lnTo>
                  <a:pt x="10" y="884"/>
                </a:lnTo>
                <a:lnTo>
                  <a:pt x="10" y="885"/>
                </a:lnTo>
                <a:lnTo>
                  <a:pt x="11" y="887"/>
                </a:lnTo>
                <a:lnTo>
                  <a:pt x="12" y="889"/>
                </a:lnTo>
                <a:lnTo>
                  <a:pt x="12" y="890"/>
                </a:lnTo>
                <a:lnTo>
                  <a:pt x="10" y="890"/>
                </a:lnTo>
                <a:lnTo>
                  <a:pt x="10" y="888"/>
                </a:lnTo>
                <a:lnTo>
                  <a:pt x="8" y="888"/>
                </a:lnTo>
                <a:lnTo>
                  <a:pt x="7" y="887"/>
                </a:lnTo>
                <a:lnTo>
                  <a:pt x="8" y="887"/>
                </a:lnTo>
                <a:lnTo>
                  <a:pt x="7" y="885"/>
                </a:lnTo>
                <a:lnTo>
                  <a:pt x="6" y="885"/>
                </a:lnTo>
                <a:lnTo>
                  <a:pt x="6" y="883"/>
                </a:lnTo>
                <a:close/>
                <a:moveTo>
                  <a:pt x="1" y="871"/>
                </a:moveTo>
                <a:lnTo>
                  <a:pt x="2" y="871"/>
                </a:lnTo>
                <a:lnTo>
                  <a:pt x="2" y="873"/>
                </a:lnTo>
                <a:lnTo>
                  <a:pt x="4" y="875"/>
                </a:lnTo>
                <a:lnTo>
                  <a:pt x="4" y="878"/>
                </a:lnTo>
                <a:lnTo>
                  <a:pt x="2" y="879"/>
                </a:lnTo>
                <a:lnTo>
                  <a:pt x="2" y="878"/>
                </a:lnTo>
                <a:lnTo>
                  <a:pt x="1" y="878"/>
                </a:lnTo>
                <a:lnTo>
                  <a:pt x="1" y="877"/>
                </a:lnTo>
                <a:lnTo>
                  <a:pt x="0" y="877"/>
                </a:lnTo>
                <a:lnTo>
                  <a:pt x="0" y="872"/>
                </a:lnTo>
                <a:lnTo>
                  <a:pt x="1" y="872"/>
                </a:lnTo>
                <a:lnTo>
                  <a:pt x="1" y="871"/>
                </a:lnTo>
                <a:close/>
                <a:moveTo>
                  <a:pt x="10" y="860"/>
                </a:moveTo>
                <a:lnTo>
                  <a:pt x="10" y="864"/>
                </a:lnTo>
                <a:lnTo>
                  <a:pt x="11" y="865"/>
                </a:lnTo>
                <a:lnTo>
                  <a:pt x="11" y="864"/>
                </a:lnTo>
                <a:lnTo>
                  <a:pt x="12" y="863"/>
                </a:lnTo>
                <a:lnTo>
                  <a:pt x="12" y="861"/>
                </a:lnTo>
                <a:lnTo>
                  <a:pt x="13" y="861"/>
                </a:lnTo>
                <a:lnTo>
                  <a:pt x="13" y="863"/>
                </a:lnTo>
                <a:lnTo>
                  <a:pt x="14" y="867"/>
                </a:lnTo>
                <a:lnTo>
                  <a:pt x="14" y="869"/>
                </a:lnTo>
                <a:lnTo>
                  <a:pt x="11" y="872"/>
                </a:lnTo>
                <a:lnTo>
                  <a:pt x="11" y="873"/>
                </a:lnTo>
                <a:lnTo>
                  <a:pt x="10" y="872"/>
                </a:lnTo>
                <a:lnTo>
                  <a:pt x="10" y="870"/>
                </a:lnTo>
                <a:lnTo>
                  <a:pt x="8" y="870"/>
                </a:lnTo>
                <a:lnTo>
                  <a:pt x="7" y="871"/>
                </a:lnTo>
                <a:lnTo>
                  <a:pt x="7" y="873"/>
                </a:lnTo>
                <a:lnTo>
                  <a:pt x="6" y="875"/>
                </a:lnTo>
                <a:lnTo>
                  <a:pt x="6" y="865"/>
                </a:lnTo>
                <a:lnTo>
                  <a:pt x="7" y="865"/>
                </a:lnTo>
                <a:lnTo>
                  <a:pt x="7" y="864"/>
                </a:lnTo>
                <a:lnTo>
                  <a:pt x="8" y="867"/>
                </a:lnTo>
                <a:lnTo>
                  <a:pt x="10" y="867"/>
                </a:lnTo>
                <a:lnTo>
                  <a:pt x="10" y="865"/>
                </a:lnTo>
                <a:lnTo>
                  <a:pt x="8" y="861"/>
                </a:lnTo>
                <a:lnTo>
                  <a:pt x="10" y="860"/>
                </a:lnTo>
                <a:close/>
                <a:moveTo>
                  <a:pt x="8" y="816"/>
                </a:moveTo>
                <a:lnTo>
                  <a:pt x="10" y="816"/>
                </a:lnTo>
                <a:lnTo>
                  <a:pt x="10" y="817"/>
                </a:lnTo>
                <a:lnTo>
                  <a:pt x="11" y="817"/>
                </a:lnTo>
                <a:lnTo>
                  <a:pt x="11" y="820"/>
                </a:lnTo>
                <a:lnTo>
                  <a:pt x="8" y="820"/>
                </a:lnTo>
                <a:lnTo>
                  <a:pt x="8" y="818"/>
                </a:lnTo>
                <a:lnTo>
                  <a:pt x="7" y="817"/>
                </a:lnTo>
                <a:lnTo>
                  <a:pt x="8" y="817"/>
                </a:lnTo>
                <a:lnTo>
                  <a:pt x="8" y="816"/>
                </a:lnTo>
                <a:close/>
                <a:moveTo>
                  <a:pt x="10" y="799"/>
                </a:moveTo>
                <a:lnTo>
                  <a:pt x="13" y="799"/>
                </a:lnTo>
                <a:lnTo>
                  <a:pt x="24" y="803"/>
                </a:lnTo>
                <a:lnTo>
                  <a:pt x="24" y="804"/>
                </a:lnTo>
                <a:lnTo>
                  <a:pt x="23" y="805"/>
                </a:lnTo>
                <a:lnTo>
                  <a:pt x="20" y="805"/>
                </a:lnTo>
                <a:lnTo>
                  <a:pt x="20" y="803"/>
                </a:lnTo>
                <a:lnTo>
                  <a:pt x="19" y="805"/>
                </a:lnTo>
                <a:lnTo>
                  <a:pt x="17" y="807"/>
                </a:lnTo>
                <a:lnTo>
                  <a:pt x="16" y="808"/>
                </a:lnTo>
                <a:lnTo>
                  <a:pt x="11" y="809"/>
                </a:lnTo>
                <a:lnTo>
                  <a:pt x="10" y="808"/>
                </a:lnTo>
                <a:lnTo>
                  <a:pt x="10" y="807"/>
                </a:lnTo>
                <a:lnTo>
                  <a:pt x="11" y="807"/>
                </a:lnTo>
                <a:lnTo>
                  <a:pt x="12" y="805"/>
                </a:lnTo>
                <a:lnTo>
                  <a:pt x="11" y="805"/>
                </a:lnTo>
                <a:lnTo>
                  <a:pt x="7" y="804"/>
                </a:lnTo>
                <a:lnTo>
                  <a:pt x="6" y="804"/>
                </a:lnTo>
                <a:lnTo>
                  <a:pt x="10" y="801"/>
                </a:lnTo>
                <a:lnTo>
                  <a:pt x="10" y="799"/>
                </a:lnTo>
                <a:close/>
                <a:moveTo>
                  <a:pt x="41" y="762"/>
                </a:moveTo>
                <a:lnTo>
                  <a:pt x="43" y="764"/>
                </a:lnTo>
                <a:lnTo>
                  <a:pt x="44" y="762"/>
                </a:lnTo>
                <a:lnTo>
                  <a:pt x="45" y="764"/>
                </a:lnTo>
                <a:lnTo>
                  <a:pt x="45" y="765"/>
                </a:lnTo>
                <a:lnTo>
                  <a:pt x="49" y="765"/>
                </a:lnTo>
                <a:lnTo>
                  <a:pt x="49" y="766"/>
                </a:lnTo>
                <a:lnTo>
                  <a:pt x="48" y="766"/>
                </a:lnTo>
                <a:lnTo>
                  <a:pt x="48" y="768"/>
                </a:lnTo>
                <a:lnTo>
                  <a:pt x="49" y="768"/>
                </a:lnTo>
                <a:lnTo>
                  <a:pt x="48" y="769"/>
                </a:lnTo>
                <a:lnTo>
                  <a:pt x="48" y="771"/>
                </a:lnTo>
                <a:lnTo>
                  <a:pt x="44" y="772"/>
                </a:lnTo>
                <a:lnTo>
                  <a:pt x="37" y="772"/>
                </a:lnTo>
                <a:lnTo>
                  <a:pt x="37" y="769"/>
                </a:lnTo>
                <a:lnTo>
                  <a:pt x="41" y="769"/>
                </a:lnTo>
                <a:lnTo>
                  <a:pt x="39" y="768"/>
                </a:lnTo>
                <a:lnTo>
                  <a:pt x="37" y="768"/>
                </a:lnTo>
                <a:lnTo>
                  <a:pt x="37" y="767"/>
                </a:lnTo>
                <a:lnTo>
                  <a:pt x="38" y="766"/>
                </a:lnTo>
                <a:lnTo>
                  <a:pt x="38" y="764"/>
                </a:lnTo>
                <a:lnTo>
                  <a:pt x="41" y="762"/>
                </a:lnTo>
                <a:close/>
                <a:moveTo>
                  <a:pt x="44" y="756"/>
                </a:moveTo>
                <a:lnTo>
                  <a:pt x="45" y="756"/>
                </a:lnTo>
                <a:lnTo>
                  <a:pt x="47" y="758"/>
                </a:lnTo>
                <a:lnTo>
                  <a:pt x="45" y="759"/>
                </a:lnTo>
                <a:lnTo>
                  <a:pt x="45" y="760"/>
                </a:lnTo>
                <a:lnTo>
                  <a:pt x="44" y="761"/>
                </a:lnTo>
                <a:lnTo>
                  <a:pt x="43" y="760"/>
                </a:lnTo>
                <a:lnTo>
                  <a:pt x="42" y="761"/>
                </a:lnTo>
                <a:lnTo>
                  <a:pt x="41" y="760"/>
                </a:lnTo>
                <a:lnTo>
                  <a:pt x="42" y="759"/>
                </a:lnTo>
                <a:lnTo>
                  <a:pt x="44" y="759"/>
                </a:lnTo>
                <a:lnTo>
                  <a:pt x="43" y="758"/>
                </a:lnTo>
                <a:lnTo>
                  <a:pt x="44" y="756"/>
                </a:lnTo>
                <a:close/>
                <a:moveTo>
                  <a:pt x="37" y="756"/>
                </a:moveTo>
                <a:lnTo>
                  <a:pt x="38" y="756"/>
                </a:lnTo>
                <a:lnTo>
                  <a:pt x="38" y="758"/>
                </a:lnTo>
                <a:lnTo>
                  <a:pt x="41" y="758"/>
                </a:lnTo>
                <a:lnTo>
                  <a:pt x="41" y="759"/>
                </a:lnTo>
                <a:lnTo>
                  <a:pt x="39" y="759"/>
                </a:lnTo>
                <a:lnTo>
                  <a:pt x="38" y="760"/>
                </a:lnTo>
                <a:lnTo>
                  <a:pt x="37" y="760"/>
                </a:lnTo>
                <a:lnTo>
                  <a:pt x="37" y="756"/>
                </a:lnTo>
                <a:close/>
                <a:moveTo>
                  <a:pt x="54" y="750"/>
                </a:moveTo>
                <a:lnTo>
                  <a:pt x="55" y="750"/>
                </a:lnTo>
                <a:lnTo>
                  <a:pt x="56" y="752"/>
                </a:lnTo>
                <a:lnTo>
                  <a:pt x="56" y="754"/>
                </a:lnTo>
                <a:lnTo>
                  <a:pt x="57" y="755"/>
                </a:lnTo>
                <a:lnTo>
                  <a:pt x="57" y="756"/>
                </a:lnTo>
                <a:lnTo>
                  <a:pt x="60" y="759"/>
                </a:lnTo>
                <a:lnTo>
                  <a:pt x="51" y="767"/>
                </a:lnTo>
                <a:lnTo>
                  <a:pt x="49" y="767"/>
                </a:lnTo>
                <a:lnTo>
                  <a:pt x="49" y="766"/>
                </a:lnTo>
                <a:lnTo>
                  <a:pt x="50" y="765"/>
                </a:lnTo>
                <a:lnTo>
                  <a:pt x="50" y="760"/>
                </a:lnTo>
                <a:lnTo>
                  <a:pt x="49" y="759"/>
                </a:lnTo>
                <a:lnTo>
                  <a:pt x="49" y="755"/>
                </a:lnTo>
                <a:lnTo>
                  <a:pt x="50" y="753"/>
                </a:lnTo>
                <a:lnTo>
                  <a:pt x="51" y="752"/>
                </a:lnTo>
                <a:lnTo>
                  <a:pt x="52" y="752"/>
                </a:lnTo>
                <a:lnTo>
                  <a:pt x="54" y="750"/>
                </a:lnTo>
                <a:close/>
                <a:moveTo>
                  <a:pt x="66" y="749"/>
                </a:moveTo>
                <a:lnTo>
                  <a:pt x="67" y="749"/>
                </a:lnTo>
                <a:lnTo>
                  <a:pt x="68" y="752"/>
                </a:lnTo>
                <a:lnTo>
                  <a:pt x="70" y="752"/>
                </a:lnTo>
                <a:lnTo>
                  <a:pt x="72" y="753"/>
                </a:lnTo>
                <a:lnTo>
                  <a:pt x="70" y="753"/>
                </a:lnTo>
                <a:lnTo>
                  <a:pt x="64" y="754"/>
                </a:lnTo>
                <a:lnTo>
                  <a:pt x="61" y="753"/>
                </a:lnTo>
                <a:lnTo>
                  <a:pt x="58" y="750"/>
                </a:lnTo>
                <a:lnTo>
                  <a:pt x="66" y="749"/>
                </a:lnTo>
                <a:close/>
                <a:moveTo>
                  <a:pt x="93" y="722"/>
                </a:moveTo>
                <a:lnTo>
                  <a:pt x="94" y="722"/>
                </a:lnTo>
                <a:lnTo>
                  <a:pt x="95" y="723"/>
                </a:lnTo>
                <a:lnTo>
                  <a:pt x="95" y="726"/>
                </a:lnTo>
                <a:lnTo>
                  <a:pt x="88" y="728"/>
                </a:lnTo>
                <a:lnTo>
                  <a:pt x="86" y="730"/>
                </a:lnTo>
                <a:lnTo>
                  <a:pt x="85" y="730"/>
                </a:lnTo>
                <a:lnTo>
                  <a:pt x="85" y="726"/>
                </a:lnTo>
                <a:lnTo>
                  <a:pt x="86" y="726"/>
                </a:lnTo>
                <a:lnTo>
                  <a:pt x="86" y="723"/>
                </a:lnTo>
                <a:lnTo>
                  <a:pt x="87" y="723"/>
                </a:lnTo>
                <a:lnTo>
                  <a:pt x="87" y="724"/>
                </a:lnTo>
                <a:lnTo>
                  <a:pt x="88" y="724"/>
                </a:lnTo>
                <a:lnTo>
                  <a:pt x="93" y="722"/>
                </a:lnTo>
                <a:close/>
                <a:moveTo>
                  <a:pt x="91" y="711"/>
                </a:moveTo>
                <a:lnTo>
                  <a:pt x="91" y="712"/>
                </a:lnTo>
                <a:lnTo>
                  <a:pt x="92" y="713"/>
                </a:lnTo>
                <a:lnTo>
                  <a:pt x="93" y="712"/>
                </a:lnTo>
                <a:lnTo>
                  <a:pt x="94" y="712"/>
                </a:lnTo>
                <a:lnTo>
                  <a:pt x="97" y="711"/>
                </a:lnTo>
                <a:lnTo>
                  <a:pt x="97" y="715"/>
                </a:lnTo>
                <a:lnTo>
                  <a:pt x="95" y="715"/>
                </a:lnTo>
                <a:lnTo>
                  <a:pt x="94" y="716"/>
                </a:lnTo>
                <a:lnTo>
                  <a:pt x="95" y="717"/>
                </a:lnTo>
                <a:lnTo>
                  <a:pt x="95" y="718"/>
                </a:lnTo>
                <a:lnTo>
                  <a:pt x="94" y="719"/>
                </a:lnTo>
                <a:lnTo>
                  <a:pt x="94" y="718"/>
                </a:lnTo>
                <a:lnTo>
                  <a:pt x="93" y="717"/>
                </a:lnTo>
                <a:lnTo>
                  <a:pt x="91" y="716"/>
                </a:lnTo>
                <a:lnTo>
                  <a:pt x="89" y="716"/>
                </a:lnTo>
                <a:lnTo>
                  <a:pt x="89" y="715"/>
                </a:lnTo>
                <a:lnTo>
                  <a:pt x="91" y="715"/>
                </a:lnTo>
                <a:lnTo>
                  <a:pt x="91" y="713"/>
                </a:lnTo>
                <a:lnTo>
                  <a:pt x="89" y="713"/>
                </a:lnTo>
                <a:lnTo>
                  <a:pt x="89" y="712"/>
                </a:lnTo>
                <a:lnTo>
                  <a:pt x="91" y="711"/>
                </a:lnTo>
                <a:close/>
                <a:moveTo>
                  <a:pt x="129" y="689"/>
                </a:moveTo>
                <a:lnTo>
                  <a:pt x="130" y="689"/>
                </a:lnTo>
                <a:lnTo>
                  <a:pt x="132" y="691"/>
                </a:lnTo>
                <a:lnTo>
                  <a:pt x="135" y="689"/>
                </a:lnTo>
                <a:lnTo>
                  <a:pt x="137" y="689"/>
                </a:lnTo>
                <a:lnTo>
                  <a:pt x="138" y="691"/>
                </a:lnTo>
                <a:lnTo>
                  <a:pt x="137" y="692"/>
                </a:lnTo>
                <a:lnTo>
                  <a:pt x="136" y="694"/>
                </a:lnTo>
                <a:lnTo>
                  <a:pt x="135" y="695"/>
                </a:lnTo>
                <a:lnTo>
                  <a:pt x="134" y="695"/>
                </a:lnTo>
                <a:lnTo>
                  <a:pt x="132" y="697"/>
                </a:lnTo>
                <a:lnTo>
                  <a:pt x="131" y="695"/>
                </a:lnTo>
                <a:lnTo>
                  <a:pt x="130" y="695"/>
                </a:lnTo>
                <a:lnTo>
                  <a:pt x="128" y="693"/>
                </a:lnTo>
                <a:lnTo>
                  <a:pt x="129" y="692"/>
                </a:lnTo>
                <a:lnTo>
                  <a:pt x="129" y="689"/>
                </a:lnTo>
                <a:close/>
                <a:moveTo>
                  <a:pt x="124" y="687"/>
                </a:moveTo>
                <a:lnTo>
                  <a:pt x="126" y="687"/>
                </a:lnTo>
                <a:lnTo>
                  <a:pt x="126" y="693"/>
                </a:lnTo>
                <a:lnTo>
                  <a:pt x="128" y="694"/>
                </a:lnTo>
                <a:lnTo>
                  <a:pt x="128" y="697"/>
                </a:lnTo>
                <a:lnTo>
                  <a:pt x="129" y="698"/>
                </a:lnTo>
                <a:lnTo>
                  <a:pt x="128" y="699"/>
                </a:lnTo>
                <a:lnTo>
                  <a:pt x="125" y="699"/>
                </a:lnTo>
                <a:lnTo>
                  <a:pt x="125" y="700"/>
                </a:lnTo>
                <a:lnTo>
                  <a:pt x="124" y="700"/>
                </a:lnTo>
                <a:lnTo>
                  <a:pt x="122" y="704"/>
                </a:lnTo>
                <a:lnTo>
                  <a:pt x="120" y="704"/>
                </a:lnTo>
                <a:lnTo>
                  <a:pt x="120" y="703"/>
                </a:lnTo>
                <a:lnTo>
                  <a:pt x="119" y="701"/>
                </a:lnTo>
                <a:lnTo>
                  <a:pt x="116" y="700"/>
                </a:lnTo>
                <a:lnTo>
                  <a:pt x="116" y="699"/>
                </a:lnTo>
                <a:lnTo>
                  <a:pt x="114" y="699"/>
                </a:lnTo>
                <a:lnTo>
                  <a:pt x="116" y="698"/>
                </a:lnTo>
                <a:lnTo>
                  <a:pt x="116" y="697"/>
                </a:lnTo>
                <a:lnTo>
                  <a:pt x="118" y="697"/>
                </a:lnTo>
                <a:lnTo>
                  <a:pt x="117" y="695"/>
                </a:lnTo>
                <a:lnTo>
                  <a:pt x="117" y="694"/>
                </a:lnTo>
                <a:lnTo>
                  <a:pt x="118" y="694"/>
                </a:lnTo>
                <a:lnTo>
                  <a:pt x="117" y="693"/>
                </a:lnTo>
                <a:lnTo>
                  <a:pt x="120" y="692"/>
                </a:lnTo>
                <a:lnTo>
                  <a:pt x="119" y="693"/>
                </a:lnTo>
                <a:lnTo>
                  <a:pt x="120" y="693"/>
                </a:lnTo>
                <a:lnTo>
                  <a:pt x="122" y="694"/>
                </a:lnTo>
                <a:lnTo>
                  <a:pt x="123" y="697"/>
                </a:lnTo>
                <a:lnTo>
                  <a:pt x="123" y="695"/>
                </a:lnTo>
                <a:lnTo>
                  <a:pt x="124" y="694"/>
                </a:lnTo>
                <a:lnTo>
                  <a:pt x="123" y="693"/>
                </a:lnTo>
                <a:lnTo>
                  <a:pt x="124" y="693"/>
                </a:lnTo>
                <a:lnTo>
                  <a:pt x="124" y="692"/>
                </a:lnTo>
                <a:lnTo>
                  <a:pt x="125" y="691"/>
                </a:lnTo>
                <a:lnTo>
                  <a:pt x="125" y="689"/>
                </a:lnTo>
                <a:lnTo>
                  <a:pt x="124" y="687"/>
                </a:lnTo>
                <a:close/>
                <a:moveTo>
                  <a:pt x="144" y="675"/>
                </a:moveTo>
                <a:lnTo>
                  <a:pt x="147" y="676"/>
                </a:lnTo>
                <a:lnTo>
                  <a:pt x="148" y="679"/>
                </a:lnTo>
                <a:lnTo>
                  <a:pt x="149" y="680"/>
                </a:lnTo>
                <a:lnTo>
                  <a:pt x="149" y="678"/>
                </a:lnTo>
                <a:lnTo>
                  <a:pt x="151" y="678"/>
                </a:lnTo>
                <a:lnTo>
                  <a:pt x="153" y="680"/>
                </a:lnTo>
                <a:lnTo>
                  <a:pt x="154" y="680"/>
                </a:lnTo>
                <a:lnTo>
                  <a:pt x="154" y="681"/>
                </a:lnTo>
                <a:lnTo>
                  <a:pt x="155" y="681"/>
                </a:lnTo>
                <a:lnTo>
                  <a:pt x="155" y="682"/>
                </a:lnTo>
                <a:lnTo>
                  <a:pt x="151" y="683"/>
                </a:lnTo>
                <a:lnTo>
                  <a:pt x="150" y="683"/>
                </a:lnTo>
                <a:lnTo>
                  <a:pt x="150" y="682"/>
                </a:lnTo>
                <a:lnTo>
                  <a:pt x="149" y="682"/>
                </a:lnTo>
                <a:lnTo>
                  <a:pt x="149" y="683"/>
                </a:lnTo>
                <a:lnTo>
                  <a:pt x="142" y="686"/>
                </a:lnTo>
                <a:lnTo>
                  <a:pt x="141" y="685"/>
                </a:lnTo>
                <a:lnTo>
                  <a:pt x="138" y="681"/>
                </a:lnTo>
                <a:lnTo>
                  <a:pt x="141" y="680"/>
                </a:lnTo>
                <a:lnTo>
                  <a:pt x="143" y="676"/>
                </a:lnTo>
                <a:lnTo>
                  <a:pt x="144" y="675"/>
                </a:lnTo>
                <a:close/>
                <a:moveTo>
                  <a:pt x="159" y="672"/>
                </a:moveTo>
                <a:lnTo>
                  <a:pt x="160" y="672"/>
                </a:lnTo>
                <a:lnTo>
                  <a:pt x="161" y="673"/>
                </a:lnTo>
                <a:lnTo>
                  <a:pt x="162" y="675"/>
                </a:lnTo>
                <a:lnTo>
                  <a:pt x="165" y="678"/>
                </a:lnTo>
                <a:lnTo>
                  <a:pt x="166" y="680"/>
                </a:lnTo>
                <a:lnTo>
                  <a:pt x="166" y="681"/>
                </a:lnTo>
                <a:lnTo>
                  <a:pt x="160" y="683"/>
                </a:lnTo>
                <a:lnTo>
                  <a:pt x="157" y="682"/>
                </a:lnTo>
                <a:lnTo>
                  <a:pt x="156" y="682"/>
                </a:lnTo>
                <a:lnTo>
                  <a:pt x="154" y="678"/>
                </a:lnTo>
                <a:lnTo>
                  <a:pt x="153" y="676"/>
                </a:lnTo>
                <a:lnTo>
                  <a:pt x="153" y="673"/>
                </a:lnTo>
                <a:lnTo>
                  <a:pt x="155" y="673"/>
                </a:lnTo>
                <a:lnTo>
                  <a:pt x="155" y="674"/>
                </a:lnTo>
                <a:lnTo>
                  <a:pt x="156" y="674"/>
                </a:lnTo>
                <a:lnTo>
                  <a:pt x="156" y="673"/>
                </a:lnTo>
                <a:lnTo>
                  <a:pt x="157" y="674"/>
                </a:lnTo>
                <a:lnTo>
                  <a:pt x="157" y="676"/>
                </a:lnTo>
                <a:lnTo>
                  <a:pt x="159" y="678"/>
                </a:lnTo>
                <a:lnTo>
                  <a:pt x="159" y="672"/>
                </a:lnTo>
                <a:close/>
                <a:moveTo>
                  <a:pt x="142" y="654"/>
                </a:moveTo>
                <a:lnTo>
                  <a:pt x="144" y="654"/>
                </a:lnTo>
                <a:lnTo>
                  <a:pt x="145" y="655"/>
                </a:lnTo>
                <a:lnTo>
                  <a:pt x="147" y="658"/>
                </a:lnTo>
                <a:lnTo>
                  <a:pt x="149" y="660"/>
                </a:lnTo>
                <a:lnTo>
                  <a:pt x="149" y="662"/>
                </a:lnTo>
                <a:lnTo>
                  <a:pt x="148" y="664"/>
                </a:lnTo>
                <a:lnTo>
                  <a:pt x="148" y="666"/>
                </a:lnTo>
                <a:lnTo>
                  <a:pt x="145" y="666"/>
                </a:lnTo>
                <a:lnTo>
                  <a:pt x="145" y="668"/>
                </a:lnTo>
                <a:lnTo>
                  <a:pt x="142" y="668"/>
                </a:lnTo>
                <a:lnTo>
                  <a:pt x="141" y="669"/>
                </a:lnTo>
                <a:lnTo>
                  <a:pt x="141" y="668"/>
                </a:lnTo>
                <a:lnTo>
                  <a:pt x="138" y="667"/>
                </a:lnTo>
                <a:lnTo>
                  <a:pt x="138" y="666"/>
                </a:lnTo>
                <a:lnTo>
                  <a:pt x="139" y="666"/>
                </a:lnTo>
                <a:lnTo>
                  <a:pt x="134" y="663"/>
                </a:lnTo>
                <a:lnTo>
                  <a:pt x="132" y="662"/>
                </a:lnTo>
                <a:lnTo>
                  <a:pt x="132" y="660"/>
                </a:lnTo>
                <a:lnTo>
                  <a:pt x="134" y="658"/>
                </a:lnTo>
                <a:lnTo>
                  <a:pt x="135" y="658"/>
                </a:lnTo>
                <a:lnTo>
                  <a:pt x="137" y="657"/>
                </a:lnTo>
                <a:lnTo>
                  <a:pt x="138" y="657"/>
                </a:lnTo>
                <a:lnTo>
                  <a:pt x="142" y="654"/>
                </a:lnTo>
                <a:close/>
                <a:moveTo>
                  <a:pt x="254" y="645"/>
                </a:moveTo>
                <a:lnTo>
                  <a:pt x="255" y="645"/>
                </a:lnTo>
                <a:lnTo>
                  <a:pt x="255" y="646"/>
                </a:lnTo>
                <a:lnTo>
                  <a:pt x="254" y="646"/>
                </a:lnTo>
                <a:lnTo>
                  <a:pt x="254" y="645"/>
                </a:lnTo>
                <a:close/>
                <a:moveTo>
                  <a:pt x="178" y="637"/>
                </a:moveTo>
                <a:lnTo>
                  <a:pt x="182" y="637"/>
                </a:lnTo>
                <a:lnTo>
                  <a:pt x="182" y="639"/>
                </a:lnTo>
                <a:lnTo>
                  <a:pt x="184" y="643"/>
                </a:lnTo>
                <a:lnTo>
                  <a:pt x="186" y="640"/>
                </a:lnTo>
                <a:lnTo>
                  <a:pt x="187" y="642"/>
                </a:lnTo>
                <a:lnTo>
                  <a:pt x="188" y="644"/>
                </a:lnTo>
                <a:lnTo>
                  <a:pt x="190" y="645"/>
                </a:lnTo>
                <a:lnTo>
                  <a:pt x="191" y="645"/>
                </a:lnTo>
                <a:lnTo>
                  <a:pt x="188" y="648"/>
                </a:lnTo>
                <a:lnTo>
                  <a:pt x="178" y="652"/>
                </a:lnTo>
                <a:lnTo>
                  <a:pt x="172" y="652"/>
                </a:lnTo>
                <a:lnTo>
                  <a:pt x="169" y="655"/>
                </a:lnTo>
                <a:lnTo>
                  <a:pt x="166" y="655"/>
                </a:lnTo>
                <a:lnTo>
                  <a:pt x="162" y="657"/>
                </a:lnTo>
                <a:lnTo>
                  <a:pt x="157" y="657"/>
                </a:lnTo>
                <a:lnTo>
                  <a:pt x="156" y="656"/>
                </a:lnTo>
                <a:lnTo>
                  <a:pt x="156" y="655"/>
                </a:lnTo>
                <a:lnTo>
                  <a:pt x="155" y="655"/>
                </a:lnTo>
                <a:lnTo>
                  <a:pt x="155" y="656"/>
                </a:lnTo>
                <a:lnTo>
                  <a:pt x="154" y="656"/>
                </a:lnTo>
                <a:lnTo>
                  <a:pt x="154" y="655"/>
                </a:lnTo>
                <a:lnTo>
                  <a:pt x="153" y="655"/>
                </a:lnTo>
                <a:lnTo>
                  <a:pt x="154" y="652"/>
                </a:lnTo>
                <a:lnTo>
                  <a:pt x="154" y="651"/>
                </a:lnTo>
                <a:lnTo>
                  <a:pt x="155" y="650"/>
                </a:lnTo>
                <a:lnTo>
                  <a:pt x="159" y="645"/>
                </a:lnTo>
                <a:lnTo>
                  <a:pt x="160" y="645"/>
                </a:lnTo>
                <a:lnTo>
                  <a:pt x="168" y="644"/>
                </a:lnTo>
                <a:lnTo>
                  <a:pt x="170" y="645"/>
                </a:lnTo>
                <a:lnTo>
                  <a:pt x="172" y="645"/>
                </a:lnTo>
                <a:lnTo>
                  <a:pt x="170" y="644"/>
                </a:lnTo>
                <a:lnTo>
                  <a:pt x="166" y="643"/>
                </a:lnTo>
                <a:lnTo>
                  <a:pt x="165" y="642"/>
                </a:lnTo>
                <a:lnTo>
                  <a:pt x="166" y="640"/>
                </a:lnTo>
                <a:lnTo>
                  <a:pt x="168" y="640"/>
                </a:lnTo>
                <a:lnTo>
                  <a:pt x="175" y="638"/>
                </a:lnTo>
                <a:lnTo>
                  <a:pt x="176" y="638"/>
                </a:lnTo>
                <a:lnTo>
                  <a:pt x="176" y="640"/>
                </a:lnTo>
                <a:lnTo>
                  <a:pt x="178" y="640"/>
                </a:lnTo>
                <a:lnTo>
                  <a:pt x="178" y="637"/>
                </a:lnTo>
                <a:close/>
                <a:moveTo>
                  <a:pt x="186" y="636"/>
                </a:moveTo>
                <a:lnTo>
                  <a:pt x="188" y="636"/>
                </a:lnTo>
                <a:lnTo>
                  <a:pt x="188" y="637"/>
                </a:lnTo>
                <a:lnTo>
                  <a:pt x="191" y="637"/>
                </a:lnTo>
                <a:lnTo>
                  <a:pt x="191" y="638"/>
                </a:lnTo>
                <a:lnTo>
                  <a:pt x="190" y="639"/>
                </a:lnTo>
                <a:lnTo>
                  <a:pt x="188" y="639"/>
                </a:lnTo>
                <a:lnTo>
                  <a:pt x="187" y="640"/>
                </a:lnTo>
                <a:lnTo>
                  <a:pt x="185" y="640"/>
                </a:lnTo>
                <a:lnTo>
                  <a:pt x="185" y="637"/>
                </a:lnTo>
                <a:lnTo>
                  <a:pt x="186" y="637"/>
                </a:lnTo>
                <a:lnTo>
                  <a:pt x="186" y="636"/>
                </a:lnTo>
                <a:close/>
                <a:moveTo>
                  <a:pt x="173" y="621"/>
                </a:moveTo>
                <a:lnTo>
                  <a:pt x="173" y="623"/>
                </a:lnTo>
                <a:lnTo>
                  <a:pt x="174" y="623"/>
                </a:lnTo>
                <a:lnTo>
                  <a:pt x="175" y="621"/>
                </a:lnTo>
                <a:lnTo>
                  <a:pt x="175" y="626"/>
                </a:lnTo>
                <a:lnTo>
                  <a:pt x="176" y="627"/>
                </a:lnTo>
                <a:lnTo>
                  <a:pt x="176" y="631"/>
                </a:lnTo>
                <a:lnTo>
                  <a:pt x="175" y="632"/>
                </a:lnTo>
                <a:lnTo>
                  <a:pt x="173" y="633"/>
                </a:lnTo>
                <a:lnTo>
                  <a:pt x="165" y="635"/>
                </a:lnTo>
                <a:lnTo>
                  <a:pt x="162" y="636"/>
                </a:lnTo>
                <a:lnTo>
                  <a:pt x="161" y="635"/>
                </a:lnTo>
                <a:lnTo>
                  <a:pt x="163" y="633"/>
                </a:lnTo>
                <a:lnTo>
                  <a:pt x="161" y="633"/>
                </a:lnTo>
                <a:lnTo>
                  <a:pt x="161" y="635"/>
                </a:lnTo>
                <a:lnTo>
                  <a:pt x="160" y="633"/>
                </a:lnTo>
                <a:lnTo>
                  <a:pt x="159" y="635"/>
                </a:lnTo>
                <a:lnTo>
                  <a:pt x="156" y="635"/>
                </a:lnTo>
                <a:lnTo>
                  <a:pt x="156" y="636"/>
                </a:lnTo>
                <a:lnTo>
                  <a:pt x="155" y="636"/>
                </a:lnTo>
                <a:lnTo>
                  <a:pt x="153" y="633"/>
                </a:lnTo>
                <a:lnTo>
                  <a:pt x="155" y="632"/>
                </a:lnTo>
                <a:lnTo>
                  <a:pt x="163" y="631"/>
                </a:lnTo>
                <a:lnTo>
                  <a:pt x="173" y="625"/>
                </a:lnTo>
                <a:lnTo>
                  <a:pt x="170" y="625"/>
                </a:lnTo>
                <a:lnTo>
                  <a:pt x="173" y="621"/>
                </a:lnTo>
                <a:close/>
                <a:moveTo>
                  <a:pt x="222" y="599"/>
                </a:moveTo>
                <a:lnTo>
                  <a:pt x="223" y="600"/>
                </a:lnTo>
                <a:lnTo>
                  <a:pt x="223" y="603"/>
                </a:lnTo>
                <a:lnTo>
                  <a:pt x="221" y="603"/>
                </a:lnTo>
                <a:lnTo>
                  <a:pt x="219" y="602"/>
                </a:lnTo>
                <a:lnTo>
                  <a:pt x="221" y="602"/>
                </a:lnTo>
                <a:lnTo>
                  <a:pt x="221" y="601"/>
                </a:lnTo>
                <a:lnTo>
                  <a:pt x="219" y="601"/>
                </a:lnTo>
                <a:lnTo>
                  <a:pt x="219" y="600"/>
                </a:lnTo>
                <a:lnTo>
                  <a:pt x="221" y="600"/>
                </a:lnTo>
                <a:lnTo>
                  <a:pt x="222" y="599"/>
                </a:lnTo>
                <a:close/>
                <a:moveTo>
                  <a:pt x="284" y="541"/>
                </a:moveTo>
                <a:lnTo>
                  <a:pt x="285" y="544"/>
                </a:lnTo>
                <a:lnTo>
                  <a:pt x="285" y="543"/>
                </a:lnTo>
                <a:lnTo>
                  <a:pt x="287" y="546"/>
                </a:lnTo>
                <a:lnTo>
                  <a:pt x="288" y="549"/>
                </a:lnTo>
                <a:lnTo>
                  <a:pt x="288" y="550"/>
                </a:lnTo>
                <a:lnTo>
                  <a:pt x="286" y="550"/>
                </a:lnTo>
                <a:lnTo>
                  <a:pt x="286" y="551"/>
                </a:lnTo>
                <a:lnTo>
                  <a:pt x="285" y="550"/>
                </a:lnTo>
                <a:lnTo>
                  <a:pt x="283" y="549"/>
                </a:lnTo>
                <a:lnTo>
                  <a:pt x="283" y="546"/>
                </a:lnTo>
                <a:lnTo>
                  <a:pt x="284" y="546"/>
                </a:lnTo>
                <a:lnTo>
                  <a:pt x="284" y="541"/>
                </a:lnTo>
                <a:close/>
                <a:moveTo>
                  <a:pt x="271" y="540"/>
                </a:moveTo>
                <a:lnTo>
                  <a:pt x="273" y="540"/>
                </a:lnTo>
                <a:lnTo>
                  <a:pt x="274" y="543"/>
                </a:lnTo>
                <a:lnTo>
                  <a:pt x="278" y="544"/>
                </a:lnTo>
                <a:lnTo>
                  <a:pt x="279" y="546"/>
                </a:lnTo>
                <a:lnTo>
                  <a:pt x="280" y="550"/>
                </a:lnTo>
                <a:lnTo>
                  <a:pt x="281" y="551"/>
                </a:lnTo>
                <a:lnTo>
                  <a:pt x="286" y="551"/>
                </a:lnTo>
                <a:lnTo>
                  <a:pt x="287" y="553"/>
                </a:lnTo>
                <a:lnTo>
                  <a:pt x="286" y="554"/>
                </a:lnTo>
                <a:lnTo>
                  <a:pt x="286" y="558"/>
                </a:lnTo>
                <a:lnTo>
                  <a:pt x="285" y="557"/>
                </a:lnTo>
                <a:lnTo>
                  <a:pt x="281" y="556"/>
                </a:lnTo>
                <a:lnTo>
                  <a:pt x="280" y="556"/>
                </a:lnTo>
                <a:lnTo>
                  <a:pt x="280" y="553"/>
                </a:lnTo>
                <a:lnTo>
                  <a:pt x="279" y="553"/>
                </a:lnTo>
                <a:lnTo>
                  <a:pt x="275" y="554"/>
                </a:lnTo>
                <a:lnTo>
                  <a:pt x="273" y="550"/>
                </a:lnTo>
                <a:lnTo>
                  <a:pt x="275" y="547"/>
                </a:lnTo>
                <a:lnTo>
                  <a:pt x="278" y="549"/>
                </a:lnTo>
                <a:lnTo>
                  <a:pt x="277" y="546"/>
                </a:lnTo>
                <a:lnTo>
                  <a:pt x="272" y="546"/>
                </a:lnTo>
                <a:lnTo>
                  <a:pt x="269" y="545"/>
                </a:lnTo>
                <a:lnTo>
                  <a:pt x="269" y="543"/>
                </a:lnTo>
                <a:lnTo>
                  <a:pt x="271" y="541"/>
                </a:lnTo>
                <a:lnTo>
                  <a:pt x="271" y="540"/>
                </a:lnTo>
                <a:close/>
                <a:moveTo>
                  <a:pt x="281" y="537"/>
                </a:moveTo>
                <a:lnTo>
                  <a:pt x="283" y="538"/>
                </a:lnTo>
                <a:lnTo>
                  <a:pt x="283" y="544"/>
                </a:lnTo>
                <a:lnTo>
                  <a:pt x="281" y="544"/>
                </a:lnTo>
                <a:lnTo>
                  <a:pt x="281" y="545"/>
                </a:lnTo>
                <a:lnTo>
                  <a:pt x="280" y="545"/>
                </a:lnTo>
                <a:lnTo>
                  <a:pt x="280" y="544"/>
                </a:lnTo>
                <a:lnTo>
                  <a:pt x="279" y="543"/>
                </a:lnTo>
                <a:lnTo>
                  <a:pt x="279" y="541"/>
                </a:lnTo>
                <a:lnTo>
                  <a:pt x="275" y="541"/>
                </a:lnTo>
                <a:lnTo>
                  <a:pt x="275" y="538"/>
                </a:lnTo>
                <a:lnTo>
                  <a:pt x="281" y="537"/>
                </a:lnTo>
                <a:close/>
                <a:moveTo>
                  <a:pt x="272" y="510"/>
                </a:moveTo>
                <a:lnTo>
                  <a:pt x="273" y="510"/>
                </a:lnTo>
                <a:lnTo>
                  <a:pt x="274" y="512"/>
                </a:lnTo>
                <a:lnTo>
                  <a:pt x="275" y="512"/>
                </a:lnTo>
                <a:lnTo>
                  <a:pt x="275" y="513"/>
                </a:lnTo>
                <a:lnTo>
                  <a:pt x="277" y="513"/>
                </a:lnTo>
                <a:lnTo>
                  <a:pt x="277" y="515"/>
                </a:lnTo>
                <a:lnTo>
                  <a:pt x="279" y="515"/>
                </a:lnTo>
                <a:lnTo>
                  <a:pt x="279" y="516"/>
                </a:lnTo>
                <a:lnTo>
                  <a:pt x="278" y="519"/>
                </a:lnTo>
                <a:lnTo>
                  <a:pt x="275" y="521"/>
                </a:lnTo>
                <a:lnTo>
                  <a:pt x="274" y="521"/>
                </a:lnTo>
                <a:lnTo>
                  <a:pt x="272" y="522"/>
                </a:lnTo>
                <a:lnTo>
                  <a:pt x="272" y="520"/>
                </a:lnTo>
                <a:lnTo>
                  <a:pt x="269" y="520"/>
                </a:lnTo>
                <a:lnTo>
                  <a:pt x="272" y="517"/>
                </a:lnTo>
                <a:lnTo>
                  <a:pt x="272" y="515"/>
                </a:lnTo>
                <a:lnTo>
                  <a:pt x="268" y="515"/>
                </a:lnTo>
                <a:lnTo>
                  <a:pt x="266" y="517"/>
                </a:lnTo>
                <a:lnTo>
                  <a:pt x="265" y="520"/>
                </a:lnTo>
                <a:lnTo>
                  <a:pt x="263" y="520"/>
                </a:lnTo>
                <a:lnTo>
                  <a:pt x="262" y="521"/>
                </a:lnTo>
                <a:lnTo>
                  <a:pt x="261" y="520"/>
                </a:lnTo>
                <a:lnTo>
                  <a:pt x="272" y="510"/>
                </a:lnTo>
                <a:close/>
                <a:moveTo>
                  <a:pt x="269" y="507"/>
                </a:moveTo>
                <a:lnTo>
                  <a:pt x="272" y="507"/>
                </a:lnTo>
                <a:lnTo>
                  <a:pt x="273" y="508"/>
                </a:lnTo>
                <a:lnTo>
                  <a:pt x="273" y="509"/>
                </a:lnTo>
                <a:lnTo>
                  <a:pt x="267" y="514"/>
                </a:lnTo>
                <a:lnTo>
                  <a:pt x="263" y="515"/>
                </a:lnTo>
                <a:lnTo>
                  <a:pt x="260" y="519"/>
                </a:lnTo>
                <a:lnTo>
                  <a:pt x="257" y="520"/>
                </a:lnTo>
                <a:lnTo>
                  <a:pt x="257" y="519"/>
                </a:lnTo>
                <a:lnTo>
                  <a:pt x="256" y="519"/>
                </a:lnTo>
                <a:lnTo>
                  <a:pt x="257" y="516"/>
                </a:lnTo>
                <a:lnTo>
                  <a:pt x="257" y="515"/>
                </a:lnTo>
                <a:lnTo>
                  <a:pt x="259" y="514"/>
                </a:lnTo>
                <a:lnTo>
                  <a:pt x="259" y="513"/>
                </a:lnTo>
                <a:lnTo>
                  <a:pt x="262" y="513"/>
                </a:lnTo>
                <a:lnTo>
                  <a:pt x="265" y="512"/>
                </a:lnTo>
                <a:lnTo>
                  <a:pt x="267" y="509"/>
                </a:lnTo>
                <a:lnTo>
                  <a:pt x="269" y="508"/>
                </a:lnTo>
                <a:lnTo>
                  <a:pt x="269" y="507"/>
                </a:lnTo>
                <a:close/>
                <a:moveTo>
                  <a:pt x="296" y="494"/>
                </a:moveTo>
                <a:lnTo>
                  <a:pt x="298" y="494"/>
                </a:lnTo>
                <a:lnTo>
                  <a:pt x="298" y="495"/>
                </a:lnTo>
                <a:lnTo>
                  <a:pt x="299" y="495"/>
                </a:lnTo>
                <a:lnTo>
                  <a:pt x="299" y="494"/>
                </a:lnTo>
                <a:lnTo>
                  <a:pt x="300" y="494"/>
                </a:lnTo>
                <a:lnTo>
                  <a:pt x="300" y="495"/>
                </a:lnTo>
                <a:lnTo>
                  <a:pt x="298" y="497"/>
                </a:lnTo>
                <a:lnTo>
                  <a:pt x="297" y="497"/>
                </a:lnTo>
                <a:lnTo>
                  <a:pt x="297" y="498"/>
                </a:lnTo>
                <a:lnTo>
                  <a:pt x="298" y="500"/>
                </a:lnTo>
                <a:lnTo>
                  <a:pt x="297" y="501"/>
                </a:lnTo>
                <a:lnTo>
                  <a:pt x="296" y="501"/>
                </a:lnTo>
                <a:lnTo>
                  <a:pt x="296" y="498"/>
                </a:lnTo>
                <a:lnTo>
                  <a:pt x="293" y="501"/>
                </a:lnTo>
                <a:lnTo>
                  <a:pt x="292" y="501"/>
                </a:lnTo>
                <a:lnTo>
                  <a:pt x="290" y="500"/>
                </a:lnTo>
                <a:lnTo>
                  <a:pt x="291" y="500"/>
                </a:lnTo>
                <a:lnTo>
                  <a:pt x="290" y="498"/>
                </a:lnTo>
                <a:lnTo>
                  <a:pt x="291" y="498"/>
                </a:lnTo>
                <a:lnTo>
                  <a:pt x="291" y="496"/>
                </a:lnTo>
                <a:lnTo>
                  <a:pt x="292" y="495"/>
                </a:lnTo>
                <a:lnTo>
                  <a:pt x="296" y="494"/>
                </a:lnTo>
                <a:close/>
                <a:moveTo>
                  <a:pt x="317" y="484"/>
                </a:moveTo>
                <a:lnTo>
                  <a:pt x="318" y="484"/>
                </a:lnTo>
                <a:lnTo>
                  <a:pt x="319" y="485"/>
                </a:lnTo>
                <a:lnTo>
                  <a:pt x="321" y="488"/>
                </a:lnTo>
                <a:lnTo>
                  <a:pt x="322" y="489"/>
                </a:lnTo>
                <a:lnTo>
                  <a:pt x="319" y="494"/>
                </a:lnTo>
                <a:lnTo>
                  <a:pt x="322" y="494"/>
                </a:lnTo>
                <a:lnTo>
                  <a:pt x="323" y="495"/>
                </a:lnTo>
                <a:lnTo>
                  <a:pt x="323" y="496"/>
                </a:lnTo>
                <a:lnTo>
                  <a:pt x="322" y="497"/>
                </a:lnTo>
                <a:lnTo>
                  <a:pt x="317" y="500"/>
                </a:lnTo>
                <a:lnTo>
                  <a:pt x="316" y="500"/>
                </a:lnTo>
                <a:lnTo>
                  <a:pt x="313" y="498"/>
                </a:lnTo>
                <a:lnTo>
                  <a:pt x="310" y="498"/>
                </a:lnTo>
                <a:lnTo>
                  <a:pt x="310" y="497"/>
                </a:lnTo>
                <a:lnTo>
                  <a:pt x="312" y="497"/>
                </a:lnTo>
                <a:lnTo>
                  <a:pt x="312" y="494"/>
                </a:lnTo>
                <a:lnTo>
                  <a:pt x="315" y="494"/>
                </a:lnTo>
                <a:lnTo>
                  <a:pt x="316" y="492"/>
                </a:lnTo>
                <a:lnTo>
                  <a:pt x="315" y="492"/>
                </a:lnTo>
                <a:lnTo>
                  <a:pt x="313" y="491"/>
                </a:lnTo>
                <a:lnTo>
                  <a:pt x="313" y="490"/>
                </a:lnTo>
                <a:lnTo>
                  <a:pt x="315" y="489"/>
                </a:lnTo>
                <a:lnTo>
                  <a:pt x="315" y="486"/>
                </a:lnTo>
                <a:lnTo>
                  <a:pt x="317" y="484"/>
                </a:lnTo>
                <a:close/>
                <a:moveTo>
                  <a:pt x="336" y="470"/>
                </a:moveTo>
                <a:lnTo>
                  <a:pt x="336" y="471"/>
                </a:lnTo>
                <a:lnTo>
                  <a:pt x="337" y="472"/>
                </a:lnTo>
                <a:lnTo>
                  <a:pt x="337" y="473"/>
                </a:lnTo>
                <a:lnTo>
                  <a:pt x="339" y="473"/>
                </a:lnTo>
                <a:lnTo>
                  <a:pt x="340" y="472"/>
                </a:lnTo>
                <a:lnTo>
                  <a:pt x="339" y="470"/>
                </a:lnTo>
                <a:lnTo>
                  <a:pt x="336" y="470"/>
                </a:lnTo>
                <a:close/>
                <a:moveTo>
                  <a:pt x="321" y="447"/>
                </a:moveTo>
                <a:lnTo>
                  <a:pt x="322" y="447"/>
                </a:lnTo>
                <a:lnTo>
                  <a:pt x="323" y="448"/>
                </a:lnTo>
                <a:lnTo>
                  <a:pt x="323" y="451"/>
                </a:lnTo>
                <a:lnTo>
                  <a:pt x="324" y="452"/>
                </a:lnTo>
                <a:lnTo>
                  <a:pt x="327" y="453"/>
                </a:lnTo>
                <a:lnTo>
                  <a:pt x="327" y="454"/>
                </a:lnTo>
                <a:lnTo>
                  <a:pt x="329" y="459"/>
                </a:lnTo>
                <a:lnTo>
                  <a:pt x="329" y="463"/>
                </a:lnTo>
                <a:lnTo>
                  <a:pt x="330" y="464"/>
                </a:lnTo>
                <a:lnTo>
                  <a:pt x="330" y="465"/>
                </a:lnTo>
                <a:lnTo>
                  <a:pt x="331" y="465"/>
                </a:lnTo>
                <a:lnTo>
                  <a:pt x="331" y="466"/>
                </a:lnTo>
                <a:lnTo>
                  <a:pt x="329" y="467"/>
                </a:lnTo>
                <a:lnTo>
                  <a:pt x="329" y="469"/>
                </a:lnTo>
                <a:lnTo>
                  <a:pt x="327" y="470"/>
                </a:lnTo>
                <a:lnTo>
                  <a:pt x="325" y="471"/>
                </a:lnTo>
                <a:lnTo>
                  <a:pt x="325" y="472"/>
                </a:lnTo>
                <a:lnTo>
                  <a:pt x="324" y="472"/>
                </a:lnTo>
                <a:lnTo>
                  <a:pt x="321" y="473"/>
                </a:lnTo>
                <a:lnTo>
                  <a:pt x="318" y="473"/>
                </a:lnTo>
                <a:lnTo>
                  <a:pt x="319" y="474"/>
                </a:lnTo>
                <a:lnTo>
                  <a:pt x="319" y="476"/>
                </a:lnTo>
                <a:lnTo>
                  <a:pt x="321" y="476"/>
                </a:lnTo>
                <a:lnTo>
                  <a:pt x="321" y="478"/>
                </a:lnTo>
                <a:lnTo>
                  <a:pt x="319" y="478"/>
                </a:lnTo>
                <a:lnTo>
                  <a:pt x="318" y="480"/>
                </a:lnTo>
                <a:lnTo>
                  <a:pt x="313" y="484"/>
                </a:lnTo>
                <a:lnTo>
                  <a:pt x="312" y="483"/>
                </a:lnTo>
                <a:lnTo>
                  <a:pt x="313" y="482"/>
                </a:lnTo>
                <a:lnTo>
                  <a:pt x="315" y="479"/>
                </a:lnTo>
                <a:lnTo>
                  <a:pt x="316" y="474"/>
                </a:lnTo>
                <a:lnTo>
                  <a:pt x="315" y="476"/>
                </a:lnTo>
                <a:lnTo>
                  <a:pt x="313" y="474"/>
                </a:lnTo>
                <a:lnTo>
                  <a:pt x="315" y="473"/>
                </a:lnTo>
                <a:lnTo>
                  <a:pt x="315" y="471"/>
                </a:lnTo>
                <a:lnTo>
                  <a:pt x="316" y="470"/>
                </a:lnTo>
                <a:lnTo>
                  <a:pt x="316" y="469"/>
                </a:lnTo>
                <a:lnTo>
                  <a:pt x="317" y="469"/>
                </a:lnTo>
                <a:lnTo>
                  <a:pt x="317" y="470"/>
                </a:lnTo>
                <a:lnTo>
                  <a:pt x="318" y="470"/>
                </a:lnTo>
                <a:lnTo>
                  <a:pt x="318" y="469"/>
                </a:lnTo>
                <a:lnTo>
                  <a:pt x="319" y="467"/>
                </a:lnTo>
                <a:lnTo>
                  <a:pt x="319" y="466"/>
                </a:lnTo>
                <a:lnTo>
                  <a:pt x="318" y="467"/>
                </a:lnTo>
                <a:lnTo>
                  <a:pt x="318" y="466"/>
                </a:lnTo>
                <a:lnTo>
                  <a:pt x="317" y="466"/>
                </a:lnTo>
                <a:lnTo>
                  <a:pt x="317" y="465"/>
                </a:lnTo>
                <a:lnTo>
                  <a:pt x="322" y="460"/>
                </a:lnTo>
                <a:lnTo>
                  <a:pt x="324" y="459"/>
                </a:lnTo>
                <a:lnTo>
                  <a:pt x="324" y="458"/>
                </a:lnTo>
                <a:lnTo>
                  <a:pt x="323" y="457"/>
                </a:lnTo>
                <a:lnTo>
                  <a:pt x="323" y="455"/>
                </a:lnTo>
                <a:lnTo>
                  <a:pt x="321" y="458"/>
                </a:lnTo>
                <a:lnTo>
                  <a:pt x="318" y="458"/>
                </a:lnTo>
                <a:lnTo>
                  <a:pt x="319" y="457"/>
                </a:lnTo>
                <a:lnTo>
                  <a:pt x="318" y="457"/>
                </a:lnTo>
                <a:lnTo>
                  <a:pt x="321" y="452"/>
                </a:lnTo>
                <a:lnTo>
                  <a:pt x="321" y="451"/>
                </a:lnTo>
                <a:lnTo>
                  <a:pt x="319" y="451"/>
                </a:lnTo>
                <a:lnTo>
                  <a:pt x="321" y="449"/>
                </a:lnTo>
                <a:lnTo>
                  <a:pt x="321" y="447"/>
                </a:lnTo>
                <a:close/>
                <a:moveTo>
                  <a:pt x="305" y="434"/>
                </a:moveTo>
                <a:lnTo>
                  <a:pt x="308" y="434"/>
                </a:lnTo>
                <a:lnTo>
                  <a:pt x="309" y="435"/>
                </a:lnTo>
                <a:lnTo>
                  <a:pt x="310" y="435"/>
                </a:lnTo>
                <a:lnTo>
                  <a:pt x="310" y="437"/>
                </a:lnTo>
                <a:lnTo>
                  <a:pt x="309" y="439"/>
                </a:lnTo>
                <a:lnTo>
                  <a:pt x="309" y="442"/>
                </a:lnTo>
                <a:lnTo>
                  <a:pt x="308" y="445"/>
                </a:lnTo>
                <a:lnTo>
                  <a:pt x="306" y="446"/>
                </a:lnTo>
                <a:lnTo>
                  <a:pt x="306" y="445"/>
                </a:lnTo>
                <a:lnTo>
                  <a:pt x="304" y="445"/>
                </a:lnTo>
                <a:lnTo>
                  <a:pt x="305" y="443"/>
                </a:lnTo>
                <a:lnTo>
                  <a:pt x="304" y="443"/>
                </a:lnTo>
                <a:lnTo>
                  <a:pt x="300" y="445"/>
                </a:lnTo>
                <a:lnTo>
                  <a:pt x="300" y="441"/>
                </a:lnTo>
                <a:lnTo>
                  <a:pt x="302" y="439"/>
                </a:lnTo>
                <a:lnTo>
                  <a:pt x="302" y="436"/>
                </a:lnTo>
                <a:lnTo>
                  <a:pt x="303" y="435"/>
                </a:lnTo>
                <a:lnTo>
                  <a:pt x="305" y="434"/>
                </a:lnTo>
                <a:close/>
                <a:moveTo>
                  <a:pt x="347" y="400"/>
                </a:moveTo>
                <a:lnTo>
                  <a:pt x="348" y="402"/>
                </a:lnTo>
                <a:lnTo>
                  <a:pt x="348" y="404"/>
                </a:lnTo>
                <a:lnTo>
                  <a:pt x="347" y="404"/>
                </a:lnTo>
                <a:lnTo>
                  <a:pt x="341" y="406"/>
                </a:lnTo>
                <a:lnTo>
                  <a:pt x="339" y="409"/>
                </a:lnTo>
                <a:lnTo>
                  <a:pt x="336" y="410"/>
                </a:lnTo>
                <a:lnTo>
                  <a:pt x="331" y="416"/>
                </a:lnTo>
                <a:lnTo>
                  <a:pt x="330" y="417"/>
                </a:lnTo>
                <a:lnTo>
                  <a:pt x="329" y="417"/>
                </a:lnTo>
                <a:lnTo>
                  <a:pt x="329" y="416"/>
                </a:lnTo>
                <a:lnTo>
                  <a:pt x="330" y="415"/>
                </a:lnTo>
                <a:lnTo>
                  <a:pt x="330" y="414"/>
                </a:lnTo>
                <a:lnTo>
                  <a:pt x="325" y="415"/>
                </a:lnTo>
                <a:lnTo>
                  <a:pt x="329" y="411"/>
                </a:lnTo>
                <a:lnTo>
                  <a:pt x="329" y="410"/>
                </a:lnTo>
                <a:lnTo>
                  <a:pt x="330" y="406"/>
                </a:lnTo>
                <a:lnTo>
                  <a:pt x="330" y="405"/>
                </a:lnTo>
                <a:lnTo>
                  <a:pt x="331" y="404"/>
                </a:lnTo>
                <a:lnTo>
                  <a:pt x="336" y="402"/>
                </a:lnTo>
                <a:lnTo>
                  <a:pt x="337" y="402"/>
                </a:lnTo>
                <a:lnTo>
                  <a:pt x="336" y="404"/>
                </a:lnTo>
                <a:lnTo>
                  <a:pt x="336" y="406"/>
                </a:lnTo>
                <a:lnTo>
                  <a:pt x="337" y="406"/>
                </a:lnTo>
                <a:lnTo>
                  <a:pt x="340" y="404"/>
                </a:lnTo>
                <a:lnTo>
                  <a:pt x="341" y="402"/>
                </a:lnTo>
                <a:lnTo>
                  <a:pt x="344" y="402"/>
                </a:lnTo>
                <a:lnTo>
                  <a:pt x="347" y="400"/>
                </a:lnTo>
                <a:close/>
                <a:moveTo>
                  <a:pt x="341" y="399"/>
                </a:moveTo>
                <a:lnTo>
                  <a:pt x="340" y="399"/>
                </a:lnTo>
                <a:lnTo>
                  <a:pt x="341" y="399"/>
                </a:lnTo>
                <a:close/>
                <a:moveTo>
                  <a:pt x="334" y="380"/>
                </a:moveTo>
                <a:lnTo>
                  <a:pt x="335" y="381"/>
                </a:lnTo>
                <a:lnTo>
                  <a:pt x="335" y="383"/>
                </a:lnTo>
                <a:lnTo>
                  <a:pt x="336" y="384"/>
                </a:lnTo>
                <a:lnTo>
                  <a:pt x="336" y="387"/>
                </a:lnTo>
                <a:lnTo>
                  <a:pt x="334" y="390"/>
                </a:lnTo>
                <a:lnTo>
                  <a:pt x="336" y="390"/>
                </a:lnTo>
                <a:lnTo>
                  <a:pt x="336" y="391"/>
                </a:lnTo>
                <a:lnTo>
                  <a:pt x="335" y="391"/>
                </a:lnTo>
                <a:lnTo>
                  <a:pt x="335" y="392"/>
                </a:lnTo>
                <a:lnTo>
                  <a:pt x="337" y="392"/>
                </a:lnTo>
                <a:lnTo>
                  <a:pt x="339" y="393"/>
                </a:lnTo>
                <a:lnTo>
                  <a:pt x="337" y="393"/>
                </a:lnTo>
                <a:lnTo>
                  <a:pt x="337" y="394"/>
                </a:lnTo>
                <a:lnTo>
                  <a:pt x="335" y="394"/>
                </a:lnTo>
                <a:lnTo>
                  <a:pt x="335" y="396"/>
                </a:lnTo>
                <a:lnTo>
                  <a:pt x="323" y="402"/>
                </a:lnTo>
                <a:lnTo>
                  <a:pt x="324" y="399"/>
                </a:lnTo>
                <a:lnTo>
                  <a:pt x="325" y="398"/>
                </a:lnTo>
                <a:lnTo>
                  <a:pt x="327" y="398"/>
                </a:lnTo>
                <a:lnTo>
                  <a:pt x="327" y="397"/>
                </a:lnTo>
                <a:lnTo>
                  <a:pt x="328" y="396"/>
                </a:lnTo>
                <a:lnTo>
                  <a:pt x="328" y="394"/>
                </a:lnTo>
                <a:lnTo>
                  <a:pt x="327" y="394"/>
                </a:lnTo>
                <a:lnTo>
                  <a:pt x="325" y="396"/>
                </a:lnTo>
                <a:lnTo>
                  <a:pt x="324" y="396"/>
                </a:lnTo>
                <a:lnTo>
                  <a:pt x="324" y="394"/>
                </a:lnTo>
                <a:lnTo>
                  <a:pt x="325" y="394"/>
                </a:lnTo>
                <a:lnTo>
                  <a:pt x="327" y="393"/>
                </a:lnTo>
                <a:lnTo>
                  <a:pt x="329" y="392"/>
                </a:lnTo>
                <a:lnTo>
                  <a:pt x="330" y="392"/>
                </a:lnTo>
                <a:lnTo>
                  <a:pt x="330" y="391"/>
                </a:lnTo>
                <a:lnTo>
                  <a:pt x="333" y="388"/>
                </a:lnTo>
                <a:lnTo>
                  <a:pt x="335" y="387"/>
                </a:lnTo>
                <a:lnTo>
                  <a:pt x="333" y="386"/>
                </a:lnTo>
                <a:lnTo>
                  <a:pt x="331" y="385"/>
                </a:lnTo>
                <a:lnTo>
                  <a:pt x="330" y="385"/>
                </a:lnTo>
                <a:lnTo>
                  <a:pt x="329" y="386"/>
                </a:lnTo>
                <a:lnTo>
                  <a:pt x="333" y="383"/>
                </a:lnTo>
                <a:lnTo>
                  <a:pt x="334" y="380"/>
                </a:lnTo>
                <a:close/>
                <a:moveTo>
                  <a:pt x="343" y="371"/>
                </a:moveTo>
                <a:lnTo>
                  <a:pt x="344" y="371"/>
                </a:lnTo>
                <a:lnTo>
                  <a:pt x="344" y="373"/>
                </a:lnTo>
                <a:lnTo>
                  <a:pt x="347" y="373"/>
                </a:lnTo>
                <a:lnTo>
                  <a:pt x="347" y="374"/>
                </a:lnTo>
                <a:lnTo>
                  <a:pt x="348" y="377"/>
                </a:lnTo>
                <a:lnTo>
                  <a:pt x="347" y="378"/>
                </a:lnTo>
                <a:lnTo>
                  <a:pt x="347" y="379"/>
                </a:lnTo>
                <a:lnTo>
                  <a:pt x="344" y="381"/>
                </a:lnTo>
                <a:lnTo>
                  <a:pt x="344" y="380"/>
                </a:lnTo>
                <a:lnTo>
                  <a:pt x="343" y="381"/>
                </a:lnTo>
                <a:lnTo>
                  <a:pt x="342" y="380"/>
                </a:lnTo>
                <a:lnTo>
                  <a:pt x="342" y="379"/>
                </a:lnTo>
                <a:lnTo>
                  <a:pt x="341" y="379"/>
                </a:lnTo>
                <a:lnTo>
                  <a:pt x="341" y="378"/>
                </a:lnTo>
                <a:lnTo>
                  <a:pt x="340" y="379"/>
                </a:lnTo>
                <a:lnTo>
                  <a:pt x="340" y="378"/>
                </a:lnTo>
                <a:lnTo>
                  <a:pt x="341" y="377"/>
                </a:lnTo>
                <a:lnTo>
                  <a:pt x="341" y="375"/>
                </a:lnTo>
                <a:lnTo>
                  <a:pt x="343" y="373"/>
                </a:lnTo>
                <a:lnTo>
                  <a:pt x="343" y="371"/>
                </a:lnTo>
                <a:close/>
                <a:moveTo>
                  <a:pt x="350" y="355"/>
                </a:moveTo>
                <a:lnTo>
                  <a:pt x="350" y="361"/>
                </a:lnTo>
                <a:lnTo>
                  <a:pt x="349" y="362"/>
                </a:lnTo>
                <a:lnTo>
                  <a:pt x="348" y="362"/>
                </a:lnTo>
                <a:lnTo>
                  <a:pt x="348" y="361"/>
                </a:lnTo>
                <a:lnTo>
                  <a:pt x="347" y="362"/>
                </a:lnTo>
                <a:lnTo>
                  <a:pt x="348" y="365"/>
                </a:lnTo>
                <a:lnTo>
                  <a:pt x="348" y="367"/>
                </a:lnTo>
                <a:lnTo>
                  <a:pt x="344" y="363"/>
                </a:lnTo>
                <a:lnTo>
                  <a:pt x="346" y="362"/>
                </a:lnTo>
                <a:lnTo>
                  <a:pt x="346" y="357"/>
                </a:lnTo>
                <a:lnTo>
                  <a:pt x="344" y="357"/>
                </a:lnTo>
                <a:lnTo>
                  <a:pt x="346" y="356"/>
                </a:lnTo>
                <a:lnTo>
                  <a:pt x="348" y="356"/>
                </a:lnTo>
                <a:lnTo>
                  <a:pt x="348" y="357"/>
                </a:lnTo>
                <a:lnTo>
                  <a:pt x="349" y="359"/>
                </a:lnTo>
                <a:lnTo>
                  <a:pt x="349" y="356"/>
                </a:lnTo>
                <a:lnTo>
                  <a:pt x="350" y="355"/>
                </a:lnTo>
                <a:close/>
                <a:moveTo>
                  <a:pt x="405" y="279"/>
                </a:moveTo>
                <a:lnTo>
                  <a:pt x="406" y="280"/>
                </a:lnTo>
                <a:lnTo>
                  <a:pt x="405" y="282"/>
                </a:lnTo>
                <a:lnTo>
                  <a:pt x="405" y="285"/>
                </a:lnTo>
                <a:lnTo>
                  <a:pt x="404" y="287"/>
                </a:lnTo>
                <a:lnTo>
                  <a:pt x="403" y="288"/>
                </a:lnTo>
                <a:lnTo>
                  <a:pt x="404" y="293"/>
                </a:lnTo>
                <a:lnTo>
                  <a:pt x="404" y="294"/>
                </a:lnTo>
                <a:lnTo>
                  <a:pt x="403" y="295"/>
                </a:lnTo>
                <a:lnTo>
                  <a:pt x="403" y="298"/>
                </a:lnTo>
                <a:lnTo>
                  <a:pt x="402" y="298"/>
                </a:lnTo>
                <a:lnTo>
                  <a:pt x="401" y="297"/>
                </a:lnTo>
                <a:lnTo>
                  <a:pt x="401" y="294"/>
                </a:lnTo>
                <a:lnTo>
                  <a:pt x="399" y="291"/>
                </a:lnTo>
                <a:lnTo>
                  <a:pt x="397" y="291"/>
                </a:lnTo>
                <a:lnTo>
                  <a:pt x="395" y="289"/>
                </a:lnTo>
                <a:lnTo>
                  <a:pt x="395" y="288"/>
                </a:lnTo>
                <a:lnTo>
                  <a:pt x="396" y="288"/>
                </a:lnTo>
                <a:lnTo>
                  <a:pt x="396" y="287"/>
                </a:lnTo>
                <a:lnTo>
                  <a:pt x="397" y="285"/>
                </a:lnTo>
                <a:lnTo>
                  <a:pt x="397" y="283"/>
                </a:lnTo>
                <a:lnTo>
                  <a:pt x="401" y="286"/>
                </a:lnTo>
                <a:lnTo>
                  <a:pt x="402" y="286"/>
                </a:lnTo>
                <a:lnTo>
                  <a:pt x="405" y="279"/>
                </a:lnTo>
                <a:close/>
                <a:moveTo>
                  <a:pt x="410" y="250"/>
                </a:moveTo>
                <a:lnTo>
                  <a:pt x="411" y="250"/>
                </a:lnTo>
                <a:lnTo>
                  <a:pt x="411" y="251"/>
                </a:lnTo>
                <a:lnTo>
                  <a:pt x="412" y="251"/>
                </a:lnTo>
                <a:lnTo>
                  <a:pt x="412" y="252"/>
                </a:lnTo>
                <a:lnTo>
                  <a:pt x="411" y="255"/>
                </a:lnTo>
                <a:lnTo>
                  <a:pt x="410" y="255"/>
                </a:lnTo>
                <a:lnTo>
                  <a:pt x="406" y="256"/>
                </a:lnTo>
                <a:lnTo>
                  <a:pt x="406" y="257"/>
                </a:lnTo>
                <a:lnTo>
                  <a:pt x="404" y="257"/>
                </a:lnTo>
                <a:lnTo>
                  <a:pt x="404" y="256"/>
                </a:lnTo>
                <a:lnTo>
                  <a:pt x="406" y="254"/>
                </a:lnTo>
                <a:lnTo>
                  <a:pt x="408" y="251"/>
                </a:lnTo>
                <a:lnTo>
                  <a:pt x="410" y="250"/>
                </a:lnTo>
                <a:close/>
                <a:moveTo>
                  <a:pt x="440" y="234"/>
                </a:moveTo>
                <a:lnTo>
                  <a:pt x="442" y="236"/>
                </a:lnTo>
                <a:lnTo>
                  <a:pt x="443" y="238"/>
                </a:lnTo>
                <a:lnTo>
                  <a:pt x="443" y="239"/>
                </a:lnTo>
                <a:lnTo>
                  <a:pt x="442" y="239"/>
                </a:lnTo>
                <a:lnTo>
                  <a:pt x="441" y="240"/>
                </a:lnTo>
                <a:lnTo>
                  <a:pt x="441" y="239"/>
                </a:lnTo>
                <a:lnTo>
                  <a:pt x="440" y="238"/>
                </a:lnTo>
                <a:lnTo>
                  <a:pt x="439" y="238"/>
                </a:lnTo>
                <a:lnTo>
                  <a:pt x="439" y="237"/>
                </a:lnTo>
                <a:lnTo>
                  <a:pt x="437" y="236"/>
                </a:lnTo>
                <a:lnTo>
                  <a:pt x="436" y="238"/>
                </a:lnTo>
                <a:lnTo>
                  <a:pt x="437" y="238"/>
                </a:lnTo>
                <a:lnTo>
                  <a:pt x="439" y="242"/>
                </a:lnTo>
                <a:lnTo>
                  <a:pt x="437" y="244"/>
                </a:lnTo>
                <a:lnTo>
                  <a:pt x="431" y="245"/>
                </a:lnTo>
                <a:lnTo>
                  <a:pt x="429" y="246"/>
                </a:lnTo>
                <a:lnTo>
                  <a:pt x="428" y="248"/>
                </a:lnTo>
                <a:lnTo>
                  <a:pt x="427" y="246"/>
                </a:lnTo>
                <a:lnTo>
                  <a:pt x="428" y="246"/>
                </a:lnTo>
                <a:lnTo>
                  <a:pt x="426" y="244"/>
                </a:lnTo>
                <a:lnTo>
                  <a:pt x="426" y="243"/>
                </a:lnTo>
                <a:lnTo>
                  <a:pt x="428" y="240"/>
                </a:lnTo>
                <a:lnTo>
                  <a:pt x="436" y="236"/>
                </a:lnTo>
                <a:lnTo>
                  <a:pt x="440" y="234"/>
                </a:lnTo>
                <a:close/>
                <a:moveTo>
                  <a:pt x="430" y="213"/>
                </a:moveTo>
                <a:lnTo>
                  <a:pt x="430" y="214"/>
                </a:lnTo>
                <a:lnTo>
                  <a:pt x="429" y="214"/>
                </a:lnTo>
                <a:lnTo>
                  <a:pt x="430" y="213"/>
                </a:lnTo>
                <a:close/>
                <a:moveTo>
                  <a:pt x="458" y="201"/>
                </a:moveTo>
                <a:lnTo>
                  <a:pt x="458" y="202"/>
                </a:lnTo>
                <a:lnTo>
                  <a:pt x="459" y="203"/>
                </a:lnTo>
                <a:lnTo>
                  <a:pt x="460" y="203"/>
                </a:lnTo>
                <a:lnTo>
                  <a:pt x="459" y="202"/>
                </a:lnTo>
                <a:lnTo>
                  <a:pt x="459" y="201"/>
                </a:lnTo>
                <a:lnTo>
                  <a:pt x="458" y="201"/>
                </a:lnTo>
                <a:close/>
                <a:moveTo>
                  <a:pt x="441" y="188"/>
                </a:moveTo>
                <a:lnTo>
                  <a:pt x="441" y="190"/>
                </a:lnTo>
                <a:lnTo>
                  <a:pt x="443" y="193"/>
                </a:lnTo>
                <a:lnTo>
                  <a:pt x="447" y="193"/>
                </a:lnTo>
                <a:lnTo>
                  <a:pt x="447" y="194"/>
                </a:lnTo>
                <a:lnTo>
                  <a:pt x="449" y="194"/>
                </a:lnTo>
                <a:lnTo>
                  <a:pt x="449" y="196"/>
                </a:lnTo>
                <a:lnTo>
                  <a:pt x="447" y="196"/>
                </a:lnTo>
                <a:lnTo>
                  <a:pt x="443" y="197"/>
                </a:lnTo>
                <a:lnTo>
                  <a:pt x="442" y="196"/>
                </a:lnTo>
                <a:lnTo>
                  <a:pt x="437" y="196"/>
                </a:lnTo>
                <a:lnTo>
                  <a:pt x="436" y="197"/>
                </a:lnTo>
                <a:lnTo>
                  <a:pt x="435" y="196"/>
                </a:lnTo>
                <a:lnTo>
                  <a:pt x="435" y="193"/>
                </a:lnTo>
                <a:lnTo>
                  <a:pt x="436" y="191"/>
                </a:lnTo>
                <a:lnTo>
                  <a:pt x="435" y="190"/>
                </a:lnTo>
                <a:lnTo>
                  <a:pt x="437" y="190"/>
                </a:lnTo>
                <a:lnTo>
                  <a:pt x="439" y="191"/>
                </a:lnTo>
                <a:lnTo>
                  <a:pt x="440" y="190"/>
                </a:lnTo>
                <a:lnTo>
                  <a:pt x="440" y="189"/>
                </a:lnTo>
                <a:lnTo>
                  <a:pt x="441" y="188"/>
                </a:lnTo>
                <a:close/>
                <a:moveTo>
                  <a:pt x="461" y="184"/>
                </a:moveTo>
                <a:lnTo>
                  <a:pt x="473" y="184"/>
                </a:lnTo>
                <a:lnTo>
                  <a:pt x="474" y="185"/>
                </a:lnTo>
                <a:lnTo>
                  <a:pt x="476" y="185"/>
                </a:lnTo>
                <a:lnTo>
                  <a:pt x="476" y="187"/>
                </a:lnTo>
                <a:lnTo>
                  <a:pt x="477" y="188"/>
                </a:lnTo>
                <a:lnTo>
                  <a:pt x="476" y="188"/>
                </a:lnTo>
                <a:lnTo>
                  <a:pt x="474" y="189"/>
                </a:lnTo>
                <a:lnTo>
                  <a:pt x="472" y="189"/>
                </a:lnTo>
                <a:lnTo>
                  <a:pt x="470" y="188"/>
                </a:lnTo>
                <a:lnTo>
                  <a:pt x="467" y="185"/>
                </a:lnTo>
                <a:lnTo>
                  <a:pt x="466" y="185"/>
                </a:lnTo>
                <a:lnTo>
                  <a:pt x="466" y="188"/>
                </a:lnTo>
                <a:lnTo>
                  <a:pt x="465" y="189"/>
                </a:lnTo>
                <a:lnTo>
                  <a:pt x="462" y="189"/>
                </a:lnTo>
                <a:lnTo>
                  <a:pt x="459" y="188"/>
                </a:lnTo>
                <a:lnTo>
                  <a:pt x="458" y="188"/>
                </a:lnTo>
                <a:lnTo>
                  <a:pt x="458" y="187"/>
                </a:lnTo>
                <a:lnTo>
                  <a:pt x="459" y="185"/>
                </a:lnTo>
                <a:lnTo>
                  <a:pt x="461" y="184"/>
                </a:lnTo>
                <a:close/>
                <a:moveTo>
                  <a:pt x="446" y="183"/>
                </a:moveTo>
                <a:lnTo>
                  <a:pt x="447" y="183"/>
                </a:lnTo>
                <a:lnTo>
                  <a:pt x="447" y="184"/>
                </a:lnTo>
                <a:lnTo>
                  <a:pt x="448" y="187"/>
                </a:lnTo>
                <a:lnTo>
                  <a:pt x="448" y="188"/>
                </a:lnTo>
                <a:lnTo>
                  <a:pt x="449" y="190"/>
                </a:lnTo>
                <a:lnTo>
                  <a:pt x="448" y="191"/>
                </a:lnTo>
                <a:lnTo>
                  <a:pt x="445" y="191"/>
                </a:lnTo>
                <a:lnTo>
                  <a:pt x="445" y="190"/>
                </a:lnTo>
                <a:lnTo>
                  <a:pt x="443" y="189"/>
                </a:lnTo>
                <a:lnTo>
                  <a:pt x="443" y="187"/>
                </a:lnTo>
                <a:lnTo>
                  <a:pt x="445" y="187"/>
                </a:lnTo>
                <a:lnTo>
                  <a:pt x="445" y="185"/>
                </a:lnTo>
                <a:lnTo>
                  <a:pt x="446" y="184"/>
                </a:lnTo>
                <a:lnTo>
                  <a:pt x="446" y="183"/>
                </a:lnTo>
                <a:close/>
                <a:moveTo>
                  <a:pt x="355" y="176"/>
                </a:moveTo>
                <a:lnTo>
                  <a:pt x="359" y="177"/>
                </a:lnTo>
                <a:lnTo>
                  <a:pt x="359" y="178"/>
                </a:lnTo>
                <a:lnTo>
                  <a:pt x="358" y="179"/>
                </a:lnTo>
                <a:lnTo>
                  <a:pt x="358" y="181"/>
                </a:lnTo>
                <a:lnTo>
                  <a:pt x="356" y="181"/>
                </a:lnTo>
                <a:lnTo>
                  <a:pt x="356" y="182"/>
                </a:lnTo>
                <a:lnTo>
                  <a:pt x="358" y="182"/>
                </a:lnTo>
                <a:lnTo>
                  <a:pt x="358" y="183"/>
                </a:lnTo>
                <a:lnTo>
                  <a:pt x="355" y="183"/>
                </a:lnTo>
                <a:lnTo>
                  <a:pt x="354" y="184"/>
                </a:lnTo>
                <a:lnTo>
                  <a:pt x="354" y="185"/>
                </a:lnTo>
                <a:lnTo>
                  <a:pt x="355" y="185"/>
                </a:lnTo>
                <a:lnTo>
                  <a:pt x="355" y="187"/>
                </a:lnTo>
                <a:lnTo>
                  <a:pt x="356" y="185"/>
                </a:lnTo>
                <a:lnTo>
                  <a:pt x="356" y="184"/>
                </a:lnTo>
                <a:lnTo>
                  <a:pt x="358" y="184"/>
                </a:lnTo>
                <a:lnTo>
                  <a:pt x="358" y="194"/>
                </a:lnTo>
                <a:lnTo>
                  <a:pt x="354" y="194"/>
                </a:lnTo>
                <a:lnTo>
                  <a:pt x="352" y="191"/>
                </a:lnTo>
                <a:lnTo>
                  <a:pt x="352" y="193"/>
                </a:lnTo>
                <a:lnTo>
                  <a:pt x="350" y="194"/>
                </a:lnTo>
                <a:lnTo>
                  <a:pt x="352" y="195"/>
                </a:lnTo>
                <a:lnTo>
                  <a:pt x="354" y="195"/>
                </a:lnTo>
                <a:lnTo>
                  <a:pt x="354" y="199"/>
                </a:lnTo>
                <a:lnTo>
                  <a:pt x="353" y="200"/>
                </a:lnTo>
                <a:lnTo>
                  <a:pt x="353" y="201"/>
                </a:lnTo>
                <a:lnTo>
                  <a:pt x="352" y="202"/>
                </a:lnTo>
                <a:lnTo>
                  <a:pt x="348" y="203"/>
                </a:lnTo>
                <a:lnTo>
                  <a:pt x="348" y="205"/>
                </a:lnTo>
                <a:lnTo>
                  <a:pt x="347" y="207"/>
                </a:lnTo>
                <a:lnTo>
                  <a:pt x="346" y="208"/>
                </a:lnTo>
                <a:lnTo>
                  <a:pt x="343" y="208"/>
                </a:lnTo>
                <a:lnTo>
                  <a:pt x="343" y="207"/>
                </a:lnTo>
                <a:lnTo>
                  <a:pt x="346" y="205"/>
                </a:lnTo>
                <a:lnTo>
                  <a:pt x="346" y="200"/>
                </a:lnTo>
                <a:lnTo>
                  <a:pt x="347" y="199"/>
                </a:lnTo>
                <a:lnTo>
                  <a:pt x="347" y="196"/>
                </a:lnTo>
                <a:lnTo>
                  <a:pt x="348" y="195"/>
                </a:lnTo>
                <a:lnTo>
                  <a:pt x="348" y="191"/>
                </a:lnTo>
                <a:lnTo>
                  <a:pt x="349" y="191"/>
                </a:lnTo>
                <a:lnTo>
                  <a:pt x="349" y="189"/>
                </a:lnTo>
                <a:lnTo>
                  <a:pt x="352" y="183"/>
                </a:lnTo>
                <a:lnTo>
                  <a:pt x="352" y="182"/>
                </a:lnTo>
                <a:lnTo>
                  <a:pt x="354" y="179"/>
                </a:lnTo>
                <a:lnTo>
                  <a:pt x="355" y="179"/>
                </a:lnTo>
                <a:lnTo>
                  <a:pt x="355" y="176"/>
                </a:lnTo>
                <a:close/>
                <a:moveTo>
                  <a:pt x="365" y="170"/>
                </a:moveTo>
                <a:lnTo>
                  <a:pt x="366" y="170"/>
                </a:lnTo>
                <a:lnTo>
                  <a:pt x="370" y="171"/>
                </a:lnTo>
                <a:lnTo>
                  <a:pt x="371" y="172"/>
                </a:lnTo>
                <a:lnTo>
                  <a:pt x="371" y="173"/>
                </a:lnTo>
                <a:lnTo>
                  <a:pt x="370" y="178"/>
                </a:lnTo>
                <a:lnTo>
                  <a:pt x="370" y="181"/>
                </a:lnTo>
                <a:lnTo>
                  <a:pt x="368" y="182"/>
                </a:lnTo>
                <a:lnTo>
                  <a:pt x="368" y="185"/>
                </a:lnTo>
                <a:lnTo>
                  <a:pt x="367" y="187"/>
                </a:lnTo>
                <a:lnTo>
                  <a:pt x="366" y="184"/>
                </a:lnTo>
                <a:lnTo>
                  <a:pt x="364" y="188"/>
                </a:lnTo>
                <a:lnTo>
                  <a:pt x="362" y="189"/>
                </a:lnTo>
                <a:lnTo>
                  <a:pt x="362" y="185"/>
                </a:lnTo>
                <a:lnTo>
                  <a:pt x="361" y="184"/>
                </a:lnTo>
                <a:lnTo>
                  <a:pt x="360" y="185"/>
                </a:lnTo>
                <a:lnTo>
                  <a:pt x="359" y="184"/>
                </a:lnTo>
                <a:lnTo>
                  <a:pt x="359" y="183"/>
                </a:lnTo>
                <a:lnTo>
                  <a:pt x="360" y="182"/>
                </a:lnTo>
                <a:lnTo>
                  <a:pt x="360" y="181"/>
                </a:lnTo>
                <a:lnTo>
                  <a:pt x="362" y="177"/>
                </a:lnTo>
                <a:lnTo>
                  <a:pt x="364" y="176"/>
                </a:lnTo>
                <a:lnTo>
                  <a:pt x="364" y="177"/>
                </a:lnTo>
                <a:lnTo>
                  <a:pt x="365" y="179"/>
                </a:lnTo>
                <a:lnTo>
                  <a:pt x="366" y="181"/>
                </a:lnTo>
                <a:lnTo>
                  <a:pt x="367" y="177"/>
                </a:lnTo>
                <a:lnTo>
                  <a:pt x="366" y="176"/>
                </a:lnTo>
                <a:lnTo>
                  <a:pt x="365" y="173"/>
                </a:lnTo>
                <a:lnTo>
                  <a:pt x="365" y="170"/>
                </a:lnTo>
                <a:close/>
                <a:moveTo>
                  <a:pt x="431" y="153"/>
                </a:moveTo>
                <a:lnTo>
                  <a:pt x="434" y="153"/>
                </a:lnTo>
                <a:lnTo>
                  <a:pt x="435" y="156"/>
                </a:lnTo>
                <a:lnTo>
                  <a:pt x="433" y="159"/>
                </a:lnTo>
                <a:lnTo>
                  <a:pt x="431" y="162"/>
                </a:lnTo>
                <a:lnTo>
                  <a:pt x="429" y="162"/>
                </a:lnTo>
                <a:lnTo>
                  <a:pt x="428" y="159"/>
                </a:lnTo>
                <a:lnTo>
                  <a:pt x="429" y="157"/>
                </a:lnTo>
                <a:lnTo>
                  <a:pt x="431" y="153"/>
                </a:lnTo>
                <a:close/>
                <a:moveTo>
                  <a:pt x="399" y="148"/>
                </a:moveTo>
                <a:lnTo>
                  <a:pt x="403" y="152"/>
                </a:lnTo>
                <a:lnTo>
                  <a:pt x="405" y="152"/>
                </a:lnTo>
                <a:lnTo>
                  <a:pt x="406" y="156"/>
                </a:lnTo>
                <a:lnTo>
                  <a:pt x="405" y="158"/>
                </a:lnTo>
                <a:lnTo>
                  <a:pt x="403" y="159"/>
                </a:lnTo>
                <a:lnTo>
                  <a:pt x="401" y="157"/>
                </a:lnTo>
                <a:lnTo>
                  <a:pt x="401" y="153"/>
                </a:lnTo>
                <a:lnTo>
                  <a:pt x="397" y="153"/>
                </a:lnTo>
                <a:lnTo>
                  <a:pt x="396" y="152"/>
                </a:lnTo>
                <a:lnTo>
                  <a:pt x="398" y="152"/>
                </a:lnTo>
                <a:lnTo>
                  <a:pt x="397" y="150"/>
                </a:lnTo>
                <a:lnTo>
                  <a:pt x="399" y="148"/>
                </a:lnTo>
                <a:close/>
                <a:moveTo>
                  <a:pt x="391" y="148"/>
                </a:moveTo>
                <a:lnTo>
                  <a:pt x="393" y="148"/>
                </a:lnTo>
                <a:lnTo>
                  <a:pt x="395" y="154"/>
                </a:lnTo>
                <a:lnTo>
                  <a:pt x="393" y="157"/>
                </a:lnTo>
                <a:lnTo>
                  <a:pt x="395" y="158"/>
                </a:lnTo>
                <a:lnTo>
                  <a:pt x="396" y="158"/>
                </a:lnTo>
                <a:lnTo>
                  <a:pt x="398" y="156"/>
                </a:lnTo>
                <a:lnTo>
                  <a:pt x="399" y="156"/>
                </a:lnTo>
                <a:lnTo>
                  <a:pt x="402" y="158"/>
                </a:lnTo>
                <a:lnTo>
                  <a:pt x="399" y="164"/>
                </a:lnTo>
                <a:lnTo>
                  <a:pt x="397" y="164"/>
                </a:lnTo>
                <a:lnTo>
                  <a:pt x="397" y="166"/>
                </a:lnTo>
                <a:lnTo>
                  <a:pt x="396" y="166"/>
                </a:lnTo>
                <a:lnTo>
                  <a:pt x="392" y="168"/>
                </a:lnTo>
                <a:lnTo>
                  <a:pt x="390" y="168"/>
                </a:lnTo>
                <a:lnTo>
                  <a:pt x="390" y="166"/>
                </a:lnTo>
                <a:lnTo>
                  <a:pt x="389" y="168"/>
                </a:lnTo>
                <a:lnTo>
                  <a:pt x="389" y="169"/>
                </a:lnTo>
                <a:lnTo>
                  <a:pt x="385" y="169"/>
                </a:lnTo>
                <a:lnTo>
                  <a:pt x="385" y="171"/>
                </a:lnTo>
                <a:lnTo>
                  <a:pt x="387" y="171"/>
                </a:lnTo>
                <a:lnTo>
                  <a:pt x="387" y="172"/>
                </a:lnTo>
                <a:lnTo>
                  <a:pt x="389" y="173"/>
                </a:lnTo>
                <a:lnTo>
                  <a:pt x="387" y="175"/>
                </a:lnTo>
                <a:lnTo>
                  <a:pt x="385" y="176"/>
                </a:lnTo>
                <a:lnTo>
                  <a:pt x="384" y="175"/>
                </a:lnTo>
                <a:lnTo>
                  <a:pt x="384" y="173"/>
                </a:lnTo>
                <a:lnTo>
                  <a:pt x="383" y="173"/>
                </a:lnTo>
                <a:lnTo>
                  <a:pt x="383" y="175"/>
                </a:lnTo>
                <a:lnTo>
                  <a:pt x="381" y="176"/>
                </a:lnTo>
                <a:lnTo>
                  <a:pt x="383" y="177"/>
                </a:lnTo>
                <a:lnTo>
                  <a:pt x="383" y="178"/>
                </a:lnTo>
                <a:lnTo>
                  <a:pt x="381" y="179"/>
                </a:lnTo>
                <a:lnTo>
                  <a:pt x="379" y="179"/>
                </a:lnTo>
                <a:lnTo>
                  <a:pt x="380" y="178"/>
                </a:lnTo>
                <a:lnTo>
                  <a:pt x="379" y="178"/>
                </a:lnTo>
                <a:lnTo>
                  <a:pt x="379" y="175"/>
                </a:lnTo>
                <a:lnTo>
                  <a:pt x="378" y="173"/>
                </a:lnTo>
                <a:lnTo>
                  <a:pt x="375" y="173"/>
                </a:lnTo>
                <a:lnTo>
                  <a:pt x="375" y="177"/>
                </a:lnTo>
                <a:lnTo>
                  <a:pt x="377" y="178"/>
                </a:lnTo>
                <a:lnTo>
                  <a:pt x="375" y="178"/>
                </a:lnTo>
                <a:lnTo>
                  <a:pt x="375" y="181"/>
                </a:lnTo>
                <a:lnTo>
                  <a:pt x="374" y="182"/>
                </a:lnTo>
                <a:lnTo>
                  <a:pt x="374" y="183"/>
                </a:lnTo>
                <a:lnTo>
                  <a:pt x="372" y="179"/>
                </a:lnTo>
                <a:lnTo>
                  <a:pt x="373" y="175"/>
                </a:lnTo>
                <a:lnTo>
                  <a:pt x="378" y="169"/>
                </a:lnTo>
                <a:lnTo>
                  <a:pt x="377" y="169"/>
                </a:lnTo>
                <a:lnTo>
                  <a:pt x="374" y="172"/>
                </a:lnTo>
                <a:lnTo>
                  <a:pt x="373" y="172"/>
                </a:lnTo>
                <a:lnTo>
                  <a:pt x="373" y="171"/>
                </a:lnTo>
                <a:lnTo>
                  <a:pt x="374" y="170"/>
                </a:lnTo>
                <a:lnTo>
                  <a:pt x="374" y="169"/>
                </a:lnTo>
                <a:lnTo>
                  <a:pt x="373" y="169"/>
                </a:lnTo>
                <a:lnTo>
                  <a:pt x="374" y="168"/>
                </a:lnTo>
                <a:lnTo>
                  <a:pt x="373" y="166"/>
                </a:lnTo>
                <a:lnTo>
                  <a:pt x="374" y="164"/>
                </a:lnTo>
                <a:lnTo>
                  <a:pt x="377" y="163"/>
                </a:lnTo>
                <a:lnTo>
                  <a:pt x="378" y="162"/>
                </a:lnTo>
                <a:lnTo>
                  <a:pt x="377" y="160"/>
                </a:lnTo>
                <a:lnTo>
                  <a:pt x="373" y="160"/>
                </a:lnTo>
                <a:lnTo>
                  <a:pt x="379" y="154"/>
                </a:lnTo>
                <a:lnTo>
                  <a:pt x="381" y="154"/>
                </a:lnTo>
                <a:lnTo>
                  <a:pt x="381" y="156"/>
                </a:lnTo>
                <a:lnTo>
                  <a:pt x="385" y="156"/>
                </a:lnTo>
                <a:lnTo>
                  <a:pt x="386" y="157"/>
                </a:lnTo>
                <a:lnTo>
                  <a:pt x="387" y="154"/>
                </a:lnTo>
                <a:lnTo>
                  <a:pt x="389" y="153"/>
                </a:lnTo>
                <a:lnTo>
                  <a:pt x="391" y="148"/>
                </a:lnTo>
                <a:close/>
                <a:moveTo>
                  <a:pt x="470" y="140"/>
                </a:moveTo>
                <a:lnTo>
                  <a:pt x="471" y="141"/>
                </a:lnTo>
                <a:lnTo>
                  <a:pt x="471" y="142"/>
                </a:lnTo>
                <a:lnTo>
                  <a:pt x="470" y="141"/>
                </a:lnTo>
                <a:lnTo>
                  <a:pt x="470" y="140"/>
                </a:lnTo>
                <a:close/>
                <a:moveTo>
                  <a:pt x="441" y="135"/>
                </a:moveTo>
                <a:lnTo>
                  <a:pt x="445" y="135"/>
                </a:lnTo>
                <a:lnTo>
                  <a:pt x="443" y="138"/>
                </a:lnTo>
                <a:lnTo>
                  <a:pt x="439" y="146"/>
                </a:lnTo>
                <a:lnTo>
                  <a:pt x="436" y="146"/>
                </a:lnTo>
                <a:lnTo>
                  <a:pt x="435" y="147"/>
                </a:lnTo>
                <a:lnTo>
                  <a:pt x="435" y="148"/>
                </a:lnTo>
                <a:lnTo>
                  <a:pt x="436" y="148"/>
                </a:lnTo>
                <a:lnTo>
                  <a:pt x="434" y="150"/>
                </a:lnTo>
                <a:lnTo>
                  <a:pt x="427" y="158"/>
                </a:lnTo>
                <a:lnTo>
                  <a:pt x="426" y="158"/>
                </a:lnTo>
                <a:lnTo>
                  <a:pt x="426" y="153"/>
                </a:lnTo>
                <a:lnTo>
                  <a:pt x="427" y="151"/>
                </a:lnTo>
                <a:lnTo>
                  <a:pt x="426" y="150"/>
                </a:lnTo>
                <a:lnTo>
                  <a:pt x="426" y="148"/>
                </a:lnTo>
                <a:lnTo>
                  <a:pt x="424" y="148"/>
                </a:lnTo>
                <a:lnTo>
                  <a:pt x="424" y="154"/>
                </a:lnTo>
                <a:lnTo>
                  <a:pt x="423" y="156"/>
                </a:lnTo>
                <a:lnTo>
                  <a:pt x="422" y="156"/>
                </a:lnTo>
                <a:lnTo>
                  <a:pt x="422" y="157"/>
                </a:lnTo>
                <a:lnTo>
                  <a:pt x="421" y="157"/>
                </a:lnTo>
                <a:lnTo>
                  <a:pt x="421" y="158"/>
                </a:lnTo>
                <a:lnTo>
                  <a:pt x="423" y="159"/>
                </a:lnTo>
                <a:lnTo>
                  <a:pt x="421" y="162"/>
                </a:lnTo>
                <a:lnTo>
                  <a:pt x="418" y="163"/>
                </a:lnTo>
                <a:lnTo>
                  <a:pt x="416" y="165"/>
                </a:lnTo>
                <a:lnTo>
                  <a:pt x="411" y="165"/>
                </a:lnTo>
                <a:lnTo>
                  <a:pt x="411" y="166"/>
                </a:lnTo>
                <a:lnTo>
                  <a:pt x="408" y="166"/>
                </a:lnTo>
                <a:lnTo>
                  <a:pt x="409" y="168"/>
                </a:lnTo>
                <a:lnTo>
                  <a:pt x="408" y="169"/>
                </a:lnTo>
                <a:lnTo>
                  <a:pt x="406" y="169"/>
                </a:lnTo>
                <a:lnTo>
                  <a:pt x="405" y="170"/>
                </a:lnTo>
                <a:lnTo>
                  <a:pt x="403" y="170"/>
                </a:lnTo>
                <a:lnTo>
                  <a:pt x="403" y="169"/>
                </a:lnTo>
                <a:lnTo>
                  <a:pt x="404" y="168"/>
                </a:lnTo>
                <a:lnTo>
                  <a:pt x="404" y="166"/>
                </a:lnTo>
                <a:lnTo>
                  <a:pt x="403" y="166"/>
                </a:lnTo>
                <a:lnTo>
                  <a:pt x="403" y="164"/>
                </a:lnTo>
                <a:lnTo>
                  <a:pt x="404" y="163"/>
                </a:lnTo>
                <a:lnTo>
                  <a:pt x="408" y="160"/>
                </a:lnTo>
                <a:lnTo>
                  <a:pt x="406" y="160"/>
                </a:lnTo>
                <a:lnTo>
                  <a:pt x="405" y="159"/>
                </a:lnTo>
                <a:lnTo>
                  <a:pt x="406" y="158"/>
                </a:lnTo>
                <a:lnTo>
                  <a:pt x="409" y="158"/>
                </a:lnTo>
                <a:lnTo>
                  <a:pt x="408" y="156"/>
                </a:lnTo>
                <a:lnTo>
                  <a:pt x="408" y="152"/>
                </a:lnTo>
                <a:lnTo>
                  <a:pt x="409" y="151"/>
                </a:lnTo>
                <a:lnTo>
                  <a:pt x="410" y="151"/>
                </a:lnTo>
                <a:lnTo>
                  <a:pt x="411" y="154"/>
                </a:lnTo>
                <a:lnTo>
                  <a:pt x="412" y="156"/>
                </a:lnTo>
                <a:lnTo>
                  <a:pt x="412" y="153"/>
                </a:lnTo>
                <a:lnTo>
                  <a:pt x="414" y="152"/>
                </a:lnTo>
                <a:lnTo>
                  <a:pt x="415" y="153"/>
                </a:lnTo>
                <a:lnTo>
                  <a:pt x="416" y="152"/>
                </a:lnTo>
                <a:lnTo>
                  <a:pt x="416" y="151"/>
                </a:lnTo>
                <a:lnTo>
                  <a:pt x="415" y="150"/>
                </a:lnTo>
                <a:lnTo>
                  <a:pt x="415" y="148"/>
                </a:lnTo>
                <a:lnTo>
                  <a:pt x="412" y="148"/>
                </a:lnTo>
                <a:lnTo>
                  <a:pt x="414" y="146"/>
                </a:lnTo>
                <a:lnTo>
                  <a:pt x="411" y="146"/>
                </a:lnTo>
                <a:lnTo>
                  <a:pt x="411" y="145"/>
                </a:lnTo>
                <a:lnTo>
                  <a:pt x="416" y="144"/>
                </a:lnTo>
                <a:lnTo>
                  <a:pt x="418" y="145"/>
                </a:lnTo>
                <a:lnTo>
                  <a:pt x="420" y="146"/>
                </a:lnTo>
                <a:lnTo>
                  <a:pt x="420" y="144"/>
                </a:lnTo>
                <a:lnTo>
                  <a:pt x="417" y="141"/>
                </a:lnTo>
                <a:lnTo>
                  <a:pt x="422" y="139"/>
                </a:lnTo>
                <a:lnTo>
                  <a:pt x="423" y="140"/>
                </a:lnTo>
                <a:lnTo>
                  <a:pt x="423" y="142"/>
                </a:lnTo>
                <a:lnTo>
                  <a:pt x="424" y="144"/>
                </a:lnTo>
                <a:lnTo>
                  <a:pt x="424" y="139"/>
                </a:lnTo>
                <a:lnTo>
                  <a:pt x="426" y="139"/>
                </a:lnTo>
                <a:lnTo>
                  <a:pt x="426" y="138"/>
                </a:lnTo>
                <a:lnTo>
                  <a:pt x="427" y="138"/>
                </a:lnTo>
                <a:lnTo>
                  <a:pt x="429" y="140"/>
                </a:lnTo>
                <a:lnTo>
                  <a:pt x="429" y="142"/>
                </a:lnTo>
                <a:lnTo>
                  <a:pt x="427" y="146"/>
                </a:lnTo>
                <a:lnTo>
                  <a:pt x="427" y="147"/>
                </a:lnTo>
                <a:lnTo>
                  <a:pt x="428" y="147"/>
                </a:lnTo>
                <a:lnTo>
                  <a:pt x="431" y="144"/>
                </a:lnTo>
                <a:lnTo>
                  <a:pt x="431" y="140"/>
                </a:lnTo>
                <a:lnTo>
                  <a:pt x="433" y="138"/>
                </a:lnTo>
                <a:lnTo>
                  <a:pt x="434" y="138"/>
                </a:lnTo>
                <a:lnTo>
                  <a:pt x="437" y="139"/>
                </a:lnTo>
                <a:lnTo>
                  <a:pt x="441" y="135"/>
                </a:lnTo>
                <a:close/>
                <a:moveTo>
                  <a:pt x="493" y="126"/>
                </a:moveTo>
                <a:lnTo>
                  <a:pt x="495" y="126"/>
                </a:lnTo>
                <a:lnTo>
                  <a:pt x="496" y="127"/>
                </a:lnTo>
                <a:lnTo>
                  <a:pt x="496" y="128"/>
                </a:lnTo>
                <a:lnTo>
                  <a:pt x="497" y="129"/>
                </a:lnTo>
                <a:lnTo>
                  <a:pt x="497" y="132"/>
                </a:lnTo>
                <a:lnTo>
                  <a:pt x="498" y="133"/>
                </a:lnTo>
                <a:lnTo>
                  <a:pt x="498" y="134"/>
                </a:lnTo>
                <a:lnTo>
                  <a:pt x="496" y="135"/>
                </a:lnTo>
                <a:lnTo>
                  <a:pt x="495" y="136"/>
                </a:lnTo>
                <a:lnTo>
                  <a:pt x="496" y="136"/>
                </a:lnTo>
                <a:lnTo>
                  <a:pt x="496" y="139"/>
                </a:lnTo>
                <a:lnTo>
                  <a:pt x="497" y="140"/>
                </a:lnTo>
                <a:lnTo>
                  <a:pt x="496" y="140"/>
                </a:lnTo>
                <a:lnTo>
                  <a:pt x="489" y="141"/>
                </a:lnTo>
                <a:lnTo>
                  <a:pt x="486" y="141"/>
                </a:lnTo>
                <a:lnTo>
                  <a:pt x="485" y="144"/>
                </a:lnTo>
                <a:lnTo>
                  <a:pt x="484" y="144"/>
                </a:lnTo>
                <a:lnTo>
                  <a:pt x="483" y="142"/>
                </a:lnTo>
                <a:lnTo>
                  <a:pt x="484" y="140"/>
                </a:lnTo>
                <a:lnTo>
                  <a:pt x="486" y="139"/>
                </a:lnTo>
                <a:lnTo>
                  <a:pt x="485" y="139"/>
                </a:lnTo>
                <a:lnTo>
                  <a:pt x="484" y="138"/>
                </a:lnTo>
                <a:lnTo>
                  <a:pt x="486" y="130"/>
                </a:lnTo>
                <a:lnTo>
                  <a:pt x="488" y="128"/>
                </a:lnTo>
                <a:lnTo>
                  <a:pt x="489" y="128"/>
                </a:lnTo>
                <a:lnTo>
                  <a:pt x="493" y="126"/>
                </a:lnTo>
                <a:close/>
                <a:moveTo>
                  <a:pt x="423" y="120"/>
                </a:moveTo>
                <a:lnTo>
                  <a:pt x="424" y="121"/>
                </a:lnTo>
                <a:lnTo>
                  <a:pt x="428" y="122"/>
                </a:lnTo>
                <a:lnTo>
                  <a:pt x="431" y="122"/>
                </a:lnTo>
                <a:lnTo>
                  <a:pt x="436" y="125"/>
                </a:lnTo>
                <a:lnTo>
                  <a:pt x="436" y="127"/>
                </a:lnTo>
                <a:lnTo>
                  <a:pt x="435" y="128"/>
                </a:lnTo>
                <a:lnTo>
                  <a:pt x="435" y="129"/>
                </a:lnTo>
                <a:lnTo>
                  <a:pt x="434" y="129"/>
                </a:lnTo>
                <a:lnTo>
                  <a:pt x="433" y="130"/>
                </a:lnTo>
                <a:lnTo>
                  <a:pt x="427" y="130"/>
                </a:lnTo>
                <a:lnTo>
                  <a:pt x="424" y="132"/>
                </a:lnTo>
                <a:lnTo>
                  <a:pt x="424" y="129"/>
                </a:lnTo>
                <a:lnTo>
                  <a:pt x="421" y="126"/>
                </a:lnTo>
                <a:lnTo>
                  <a:pt x="420" y="123"/>
                </a:lnTo>
                <a:lnTo>
                  <a:pt x="423" y="120"/>
                </a:lnTo>
                <a:close/>
                <a:moveTo>
                  <a:pt x="521" y="89"/>
                </a:moveTo>
                <a:lnTo>
                  <a:pt x="522" y="89"/>
                </a:lnTo>
                <a:lnTo>
                  <a:pt x="522" y="90"/>
                </a:lnTo>
                <a:lnTo>
                  <a:pt x="523" y="93"/>
                </a:lnTo>
                <a:lnTo>
                  <a:pt x="524" y="93"/>
                </a:lnTo>
                <a:lnTo>
                  <a:pt x="527" y="97"/>
                </a:lnTo>
                <a:lnTo>
                  <a:pt x="527" y="99"/>
                </a:lnTo>
                <a:lnTo>
                  <a:pt x="526" y="101"/>
                </a:lnTo>
                <a:lnTo>
                  <a:pt x="515" y="104"/>
                </a:lnTo>
                <a:lnTo>
                  <a:pt x="514" y="103"/>
                </a:lnTo>
                <a:lnTo>
                  <a:pt x="514" y="99"/>
                </a:lnTo>
                <a:lnTo>
                  <a:pt x="517" y="96"/>
                </a:lnTo>
                <a:lnTo>
                  <a:pt x="520" y="90"/>
                </a:lnTo>
                <a:lnTo>
                  <a:pt x="521" y="89"/>
                </a:lnTo>
                <a:close/>
                <a:moveTo>
                  <a:pt x="526" y="80"/>
                </a:moveTo>
                <a:lnTo>
                  <a:pt x="527" y="82"/>
                </a:lnTo>
                <a:lnTo>
                  <a:pt x="528" y="85"/>
                </a:lnTo>
                <a:lnTo>
                  <a:pt x="529" y="87"/>
                </a:lnTo>
                <a:lnTo>
                  <a:pt x="530" y="89"/>
                </a:lnTo>
                <a:lnTo>
                  <a:pt x="533" y="89"/>
                </a:lnTo>
                <a:lnTo>
                  <a:pt x="533" y="87"/>
                </a:lnTo>
                <a:lnTo>
                  <a:pt x="530" y="86"/>
                </a:lnTo>
                <a:lnTo>
                  <a:pt x="530" y="82"/>
                </a:lnTo>
                <a:lnTo>
                  <a:pt x="535" y="82"/>
                </a:lnTo>
                <a:lnTo>
                  <a:pt x="539" y="85"/>
                </a:lnTo>
                <a:lnTo>
                  <a:pt x="540" y="87"/>
                </a:lnTo>
                <a:lnTo>
                  <a:pt x="536" y="91"/>
                </a:lnTo>
                <a:lnTo>
                  <a:pt x="534" y="95"/>
                </a:lnTo>
                <a:lnTo>
                  <a:pt x="533" y="96"/>
                </a:lnTo>
                <a:lnTo>
                  <a:pt x="530" y="96"/>
                </a:lnTo>
                <a:lnTo>
                  <a:pt x="529" y="95"/>
                </a:lnTo>
                <a:lnTo>
                  <a:pt x="529" y="93"/>
                </a:lnTo>
                <a:lnTo>
                  <a:pt x="528" y="90"/>
                </a:lnTo>
                <a:lnTo>
                  <a:pt x="528" y="87"/>
                </a:lnTo>
                <a:lnTo>
                  <a:pt x="524" y="84"/>
                </a:lnTo>
                <a:lnTo>
                  <a:pt x="524" y="83"/>
                </a:lnTo>
                <a:lnTo>
                  <a:pt x="526" y="80"/>
                </a:lnTo>
                <a:close/>
                <a:moveTo>
                  <a:pt x="431" y="80"/>
                </a:moveTo>
                <a:lnTo>
                  <a:pt x="435" y="80"/>
                </a:lnTo>
                <a:lnTo>
                  <a:pt x="436" y="82"/>
                </a:lnTo>
                <a:lnTo>
                  <a:pt x="436" y="85"/>
                </a:lnTo>
                <a:lnTo>
                  <a:pt x="435" y="86"/>
                </a:lnTo>
                <a:lnTo>
                  <a:pt x="433" y="87"/>
                </a:lnTo>
                <a:lnTo>
                  <a:pt x="433" y="86"/>
                </a:lnTo>
                <a:lnTo>
                  <a:pt x="430" y="86"/>
                </a:lnTo>
                <a:lnTo>
                  <a:pt x="430" y="82"/>
                </a:lnTo>
                <a:lnTo>
                  <a:pt x="431" y="80"/>
                </a:lnTo>
                <a:close/>
                <a:moveTo>
                  <a:pt x="473" y="76"/>
                </a:moveTo>
                <a:lnTo>
                  <a:pt x="474" y="76"/>
                </a:lnTo>
                <a:lnTo>
                  <a:pt x="476" y="77"/>
                </a:lnTo>
                <a:lnTo>
                  <a:pt x="476" y="78"/>
                </a:lnTo>
                <a:lnTo>
                  <a:pt x="474" y="79"/>
                </a:lnTo>
                <a:lnTo>
                  <a:pt x="474" y="83"/>
                </a:lnTo>
                <a:lnTo>
                  <a:pt x="476" y="84"/>
                </a:lnTo>
                <a:lnTo>
                  <a:pt x="476" y="87"/>
                </a:lnTo>
                <a:lnTo>
                  <a:pt x="474" y="93"/>
                </a:lnTo>
                <a:lnTo>
                  <a:pt x="473" y="95"/>
                </a:lnTo>
                <a:lnTo>
                  <a:pt x="473" y="97"/>
                </a:lnTo>
                <a:lnTo>
                  <a:pt x="472" y="98"/>
                </a:lnTo>
                <a:lnTo>
                  <a:pt x="472" y="101"/>
                </a:lnTo>
                <a:lnTo>
                  <a:pt x="468" y="103"/>
                </a:lnTo>
                <a:lnTo>
                  <a:pt x="471" y="103"/>
                </a:lnTo>
                <a:lnTo>
                  <a:pt x="473" y="102"/>
                </a:lnTo>
                <a:lnTo>
                  <a:pt x="474" y="99"/>
                </a:lnTo>
                <a:lnTo>
                  <a:pt x="477" y="97"/>
                </a:lnTo>
                <a:lnTo>
                  <a:pt x="477" y="96"/>
                </a:lnTo>
                <a:lnTo>
                  <a:pt x="478" y="98"/>
                </a:lnTo>
                <a:lnTo>
                  <a:pt x="478" y="103"/>
                </a:lnTo>
                <a:lnTo>
                  <a:pt x="477" y="107"/>
                </a:lnTo>
                <a:lnTo>
                  <a:pt x="477" y="108"/>
                </a:lnTo>
                <a:lnTo>
                  <a:pt x="474" y="110"/>
                </a:lnTo>
                <a:lnTo>
                  <a:pt x="474" y="113"/>
                </a:lnTo>
                <a:lnTo>
                  <a:pt x="472" y="113"/>
                </a:lnTo>
                <a:lnTo>
                  <a:pt x="470" y="115"/>
                </a:lnTo>
                <a:lnTo>
                  <a:pt x="470" y="125"/>
                </a:lnTo>
                <a:lnTo>
                  <a:pt x="468" y="125"/>
                </a:lnTo>
                <a:lnTo>
                  <a:pt x="468" y="127"/>
                </a:lnTo>
                <a:lnTo>
                  <a:pt x="471" y="125"/>
                </a:lnTo>
                <a:lnTo>
                  <a:pt x="471" y="117"/>
                </a:lnTo>
                <a:lnTo>
                  <a:pt x="478" y="110"/>
                </a:lnTo>
                <a:lnTo>
                  <a:pt x="480" y="110"/>
                </a:lnTo>
                <a:lnTo>
                  <a:pt x="480" y="114"/>
                </a:lnTo>
                <a:lnTo>
                  <a:pt x="482" y="115"/>
                </a:lnTo>
                <a:lnTo>
                  <a:pt x="483" y="114"/>
                </a:lnTo>
                <a:lnTo>
                  <a:pt x="483" y="110"/>
                </a:lnTo>
                <a:lnTo>
                  <a:pt x="482" y="108"/>
                </a:lnTo>
                <a:lnTo>
                  <a:pt x="480" y="107"/>
                </a:lnTo>
                <a:lnTo>
                  <a:pt x="480" y="105"/>
                </a:lnTo>
                <a:lnTo>
                  <a:pt x="482" y="103"/>
                </a:lnTo>
                <a:lnTo>
                  <a:pt x="483" y="103"/>
                </a:lnTo>
                <a:lnTo>
                  <a:pt x="484" y="102"/>
                </a:lnTo>
                <a:lnTo>
                  <a:pt x="488" y="103"/>
                </a:lnTo>
                <a:lnTo>
                  <a:pt x="488" y="101"/>
                </a:lnTo>
                <a:lnTo>
                  <a:pt x="486" y="98"/>
                </a:lnTo>
                <a:lnTo>
                  <a:pt x="484" y="97"/>
                </a:lnTo>
                <a:lnTo>
                  <a:pt x="483" y="96"/>
                </a:lnTo>
                <a:lnTo>
                  <a:pt x="483" y="92"/>
                </a:lnTo>
                <a:lnTo>
                  <a:pt x="484" y="91"/>
                </a:lnTo>
                <a:lnTo>
                  <a:pt x="488" y="89"/>
                </a:lnTo>
                <a:lnTo>
                  <a:pt x="489" y="89"/>
                </a:lnTo>
                <a:lnTo>
                  <a:pt x="490" y="90"/>
                </a:lnTo>
                <a:lnTo>
                  <a:pt x="490" y="91"/>
                </a:lnTo>
                <a:lnTo>
                  <a:pt x="491" y="91"/>
                </a:lnTo>
                <a:lnTo>
                  <a:pt x="491" y="89"/>
                </a:lnTo>
                <a:lnTo>
                  <a:pt x="490" y="87"/>
                </a:lnTo>
                <a:lnTo>
                  <a:pt x="490" y="84"/>
                </a:lnTo>
                <a:lnTo>
                  <a:pt x="492" y="87"/>
                </a:lnTo>
                <a:lnTo>
                  <a:pt x="496" y="89"/>
                </a:lnTo>
                <a:lnTo>
                  <a:pt x="497" y="90"/>
                </a:lnTo>
                <a:lnTo>
                  <a:pt x="497" y="92"/>
                </a:lnTo>
                <a:lnTo>
                  <a:pt x="498" y="93"/>
                </a:lnTo>
                <a:lnTo>
                  <a:pt x="502" y="92"/>
                </a:lnTo>
                <a:lnTo>
                  <a:pt x="503" y="92"/>
                </a:lnTo>
                <a:lnTo>
                  <a:pt x="501" y="95"/>
                </a:lnTo>
                <a:lnTo>
                  <a:pt x="499" y="97"/>
                </a:lnTo>
                <a:lnTo>
                  <a:pt x="502" y="97"/>
                </a:lnTo>
                <a:lnTo>
                  <a:pt x="503" y="99"/>
                </a:lnTo>
                <a:lnTo>
                  <a:pt x="501" y="99"/>
                </a:lnTo>
                <a:lnTo>
                  <a:pt x="501" y="101"/>
                </a:lnTo>
                <a:lnTo>
                  <a:pt x="502" y="102"/>
                </a:lnTo>
                <a:lnTo>
                  <a:pt x="502" y="104"/>
                </a:lnTo>
                <a:lnTo>
                  <a:pt x="503" y="107"/>
                </a:lnTo>
                <a:lnTo>
                  <a:pt x="503" y="108"/>
                </a:lnTo>
                <a:lnTo>
                  <a:pt x="502" y="109"/>
                </a:lnTo>
                <a:lnTo>
                  <a:pt x="503" y="110"/>
                </a:lnTo>
                <a:lnTo>
                  <a:pt x="503" y="113"/>
                </a:lnTo>
                <a:lnTo>
                  <a:pt x="502" y="115"/>
                </a:lnTo>
                <a:lnTo>
                  <a:pt x="501" y="116"/>
                </a:lnTo>
                <a:lnTo>
                  <a:pt x="501" y="117"/>
                </a:lnTo>
                <a:lnTo>
                  <a:pt x="499" y="119"/>
                </a:lnTo>
                <a:lnTo>
                  <a:pt x="499" y="121"/>
                </a:lnTo>
                <a:lnTo>
                  <a:pt x="501" y="122"/>
                </a:lnTo>
                <a:lnTo>
                  <a:pt x="499" y="125"/>
                </a:lnTo>
                <a:lnTo>
                  <a:pt x="498" y="125"/>
                </a:lnTo>
                <a:lnTo>
                  <a:pt x="497" y="123"/>
                </a:lnTo>
                <a:lnTo>
                  <a:pt x="493" y="123"/>
                </a:lnTo>
                <a:lnTo>
                  <a:pt x="489" y="125"/>
                </a:lnTo>
                <a:lnTo>
                  <a:pt x="485" y="127"/>
                </a:lnTo>
                <a:lnTo>
                  <a:pt x="485" y="128"/>
                </a:lnTo>
                <a:lnTo>
                  <a:pt x="484" y="127"/>
                </a:lnTo>
                <a:lnTo>
                  <a:pt x="484" y="126"/>
                </a:lnTo>
                <a:lnTo>
                  <a:pt x="483" y="127"/>
                </a:lnTo>
                <a:lnTo>
                  <a:pt x="483" y="128"/>
                </a:lnTo>
                <a:lnTo>
                  <a:pt x="482" y="132"/>
                </a:lnTo>
                <a:lnTo>
                  <a:pt x="482" y="134"/>
                </a:lnTo>
                <a:lnTo>
                  <a:pt x="479" y="136"/>
                </a:lnTo>
                <a:lnTo>
                  <a:pt x="479" y="139"/>
                </a:lnTo>
                <a:lnTo>
                  <a:pt x="478" y="142"/>
                </a:lnTo>
                <a:lnTo>
                  <a:pt x="477" y="144"/>
                </a:lnTo>
                <a:lnTo>
                  <a:pt x="474" y="145"/>
                </a:lnTo>
                <a:lnTo>
                  <a:pt x="473" y="145"/>
                </a:lnTo>
                <a:lnTo>
                  <a:pt x="474" y="144"/>
                </a:lnTo>
                <a:lnTo>
                  <a:pt x="473" y="141"/>
                </a:lnTo>
                <a:lnTo>
                  <a:pt x="473" y="140"/>
                </a:lnTo>
                <a:lnTo>
                  <a:pt x="474" y="139"/>
                </a:lnTo>
                <a:lnTo>
                  <a:pt x="474" y="135"/>
                </a:lnTo>
                <a:lnTo>
                  <a:pt x="473" y="134"/>
                </a:lnTo>
                <a:lnTo>
                  <a:pt x="473" y="138"/>
                </a:lnTo>
                <a:lnTo>
                  <a:pt x="472" y="139"/>
                </a:lnTo>
                <a:lnTo>
                  <a:pt x="471" y="139"/>
                </a:lnTo>
                <a:lnTo>
                  <a:pt x="471" y="138"/>
                </a:lnTo>
                <a:lnTo>
                  <a:pt x="470" y="138"/>
                </a:lnTo>
                <a:lnTo>
                  <a:pt x="470" y="140"/>
                </a:lnTo>
                <a:lnTo>
                  <a:pt x="468" y="139"/>
                </a:lnTo>
                <a:lnTo>
                  <a:pt x="468" y="140"/>
                </a:lnTo>
                <a:lnTo>
                  <a:pt x="467" y="141"/>
                </a:lnTo>
                <a:lnTo>
                  <a:pt x="467" y="145"/>
                </a:lnTo>
                <a:lnTo>
                  <a:pt x="465" y="145"/>
                </a:lnTo>
                <a:lnTo>
                  <a:pt x="465" y="146"/>
                </a:lnTo>
                <a:lnTo>
                  <a:pt x="466" y="146"/>
                </a:lnTo>
                <a:lnTo>
                  <a:pt x="466" y="148"/>
                </a:lnTo>
                <a:lnTo>
                  <a:pt x="464" y="151"/>
                </a:lnTo>
                <a:lnTo>
                  <a:pt x="464" y="153"/>
                </a:lnTo>
                <a:lnTo>
                  <a:pt x="461" y="153"/>
                </a:lnTo>
                <a:lnTo>
                  <a:pt x="461" y="152"/>
                </a:lnTo>
                <a:lnTo>
                  <a:pt x="462" y="152"/>
                </a:lnTo>
                <a:lnTo>
                  <a:pt x="462" y="151"/>
                </a:lnTo>
                <a:lnTo>
                  <a:pt x="461" y="151"/>
                </a:lnTo>
                <a:lnTo>
                  <a:pt x="459" y="148"/>
                </a:lnTo>
                <a:lnTo>
                  <a:pt x="453" y="150"/>
                </a:lnTo>
                <a:lnTo>
                  <a:pt x="449" y="150"/>
                </a:lnTo>
                <a:lnTo>
                  <a:pt x="449" y="147"/>
                </a:lnTo>
                <a:lnTo>
                  <a:pt x="452" y="147"/>
                </a:lnTo>
                <a:lnTo>
                  <a:pt x="453" y="144"/>
                </a:lnTo>
                <a:lnTo>
                  <a:pt x="454" y="142"/>
                </a:lnTo>
                <a:lnTo>
                  <a:pt x="457" y="141"/>
                </a:lnTo>
                <a:lnTo>
                  <a:pt x="458" y="139"/>
                </a:lnTo>
                <a:lnTo>
                  <a:pt x="461" y="134"/>
                </a:lnTo>
                <a:lnTo>
                  <a:pt x="462" y="133"/>
                </a:lnTo>
                <a:lnTo>
                  <a:pt x="461" y="132"/>
                </a:lnTo>
                <a:lnTo>
                  <a:pt x="461" y="130"/>
                </a:lnTo>
                <a:lnTo>
                  <a:pt x="460" y="129"/>
                </a:lnTo>
                <a:lnTo>
                  <a:pt x="460" y="134"/>
                </a:lnTo>
                <a:lnTo>
                  <a:pt x="455" y="140"/>
                </a:lnTo>
                <a:lnTo>
                  <a:pt x="453" y="140"/>
                </a:lnTo>
                <a:lnTo>
                  <a:pt x="452" y="141"/>
                </a:lnTo>
                <a:lnTo>
                  <a:pt x="449" y="142"/>
                </a:lnTo>
                <a:lnTo>
                  <a:pt x="448" y="145"/>
                </a:lnTo>
                <a:lnTo>
                  <a:pt x="446" y="146"/>
                </a:lnTo>
                <a:lnTo>
                  <a:pt x="445" y="147"/>
                </a:lnTo>
                <a:lnTo>
                  <a:pt x="446" y="147"/>
                </a:lnTo>
                <a:lnTo>
                  <a:pt x="447" y="148"/>
                </a:lnTo>
                <a:lnTo>
                  <a:pt x="443" y="152"/>
                </a:lnTo>
                <a:lnTo>
                  <a:pt x="442" y="152"/>
                </a:lnTo>
                <a:lnTo>
                  <a:pt x="440" y="157"/>
                </a:lnTo>
                <a:lnTo>
                  <a:pt x="439" y="158"/>
                </a:lnTo>
                <a:lnTo>
                  <a:pt x="436" y="158"/>
                </a:lnTo>
                <a:lnTo>
                  <a:pt x="436" y="157"/>
                </a:lnTo>
                <a:lnTo>
                  <a:pt x="437" y="156"/>
                </a:lnTo>
                <a:lnTo>
                  <a:pt x="436" y="153"/>
                </a:lnTo>
                <a:lnTo>
                  <a:pt x="439" y="151"/>
                </a:lnTo>
                <a:lnTo>
                  <a:pt x="439" y="150"/>
                </a:lnTo>
                <a:lnTo>
                  <a:pt x="440" y="148"/>
                </a:lnTo>
                <a:lnTo>
                  <a:pt x="441" y="145"/>
                </a:lnTo>
                <a:lnTo>
                  <a:pt x="445" y="138"/>
                </a:lnTo>
                <a:lnTo>
                  <a:pt x="447" y="135"/>
                </a:lnTo>
                <a:lnTo>
                  <a:pt x="452" y="135"/>
                </a:lnTo>
                <a:lnTo>
                  <a:pt x="449" y="134"/>
                </a:lnTo>
                <a:lnTo>
                  <a:pt x="448" y="134"/>
                </a:lnTo>
                <a:lnTo>
                  <a:pt x="447" y="133"/>
                </a:lnTo>
                <a:lnTo>
                  <a:pt x="447" y="132"/>
                </a:lnTo>
                <a:lnTo>
                  <a:pt x="449" y="132"/>
                </a:lnTo>
                <a:lnTo>
                  <a:pt x="448" y="130"/>
                </a:lnTo>
                <a:lnTo>
                  <a:pt x="448" y="128"/>
                </a:lnTo>
                <a:lnTo>
                  <a:pt x="445" y="128"/>
                </a:lnTo>
                <a:lnTo>
                  <a:pt x="445" y="126"/>
                </a:lnTo>
                <a:lnTo>
                  <a:pt x="446" y="123"/>
                </a:lnTo>
                <a:lnTo>
                  <a:pt x="449" y="123"/>
                </a:lnTo>
                <a:lnTo>
                  <a:pt x="449" y="121"/>
                </a:lnTo>
                <a:lnTo>
                  <a:pt x="454" y="121"/>
                </a:lnTo>
                <a:lnTo>
                  <a:pt x="455" y="123"/>
                </a:lnTo>
                <a:lnTo>
                  <a:pt x="455" y="122"/>
                </a:lnTo>
                <a:lnTo>
                  <a:pt x="453" y="119"/>
                </a:lnTo>
                <a:lnTo>
                  <a:pt x="455" y="119"/>
                </a:lnTo>
                <a:lnTo>
                  <a:pt x="455" y="116"/>
                </a:lnTo>
                <a:lnTo>
                  <a:pt x="460" y="116"/>
                </a:lnTo>
                <a:lnTo>
                  <a:pt x="461" y="117"/>
                </a:lnTo>
                <a:lnTo>
                  <a:pt x="461" y="119"/>
                </a:lnTo>
                <a:lnTo>
                  <a:pt x="462" y="119"/>
                </a:lnTo>
                <a:lnTo>
                  <a:pt x="464" y="117"/>
                </a:lnTo>
                <a:lnTo>
                  <a:pt x="462" y="117"/>
                </a:lnTo>
                <a:lnTo>
                  <a:pt x="462" y="116"/>
                </a:lnTo>
                <a:lnTo>
                  <a:pt x="461" y="116"/>
                </a:lnTo>
                <a:lnTo>
                  <a:pt x="461" y="115"/>
                </a:lnTo>
                <a:lnTo>
                  <a:pt x="459" y="115"/>
                </a:lnTo>
                <a:lnTo>
                  <a:pt x="457" y="113"/>
                </a:lnTo>
                <a:lnTo>
                  <a:pt x="457" y="111"/>
                </a:lnTo>
                <a:lnTo>
                  <a:pt x="455" y="109"/>
                </a:lnTo>
                <a:lnTo>
                  <a:pt x="455" y="104"/>
                </a:lnTo>
                <a:lnTo>
                  <a:pt x="461" y="104"/>
                </a:lnTo>
                <a:lnTo>
                  <a:pt x="461" y="103"/>
                </a:lnTo>
                <a:lnTo>
                  <a:pt x="462" y="103"/>
                </a:lnTo>
                <a:lnTo>
                  <a:pt x="465" y="105"/>
                </a:lnTo>
                <a:lnTo>
                  <a:pt x="467" y="107"/>
                </a:lnTo>
                <a:lnTo>
                  <a:pt x="466" y="105"/>
                </a:lnTo>
                <a:lnTo>
                  <a:pt x="465" y="105"/>
                </a:lnTo>
                <a:lnTo>
                  <a:pt x="465" y="103"/>
                </a:lnTo>
                <a:lnTo>
                  <a:pt x="464" y="102"/>
                </a:lnTo>
                <a:lnTo>
                  <a:pt x="457" y="102"/>
                </a:lnTo>
                <a:lnTo>
                  <a:pt x="457" y="96"/>
                </a:lnTo>
                <a:lnTo>
                  <a:pt x="455" y="95"/>
                </a:lnTo>
                <a:lnTo>
                  <a:pt x="458" y="95"/>
                </a:lnTo>
                <a:lnTo>
                  <a:pt x="459" y="93"/>
                </a:lnTo>
                <a:lnTo>
                  <a:pt x="459" y="92"/>
                </a:lnTo>
                <a:lnTo>
                  <a:pt x="460" y="92"/>
                </a:lnTo>
                <a:lnTo>
                  <a:pt x="462" y="93"/>
                </a:lnTo>
                <a:lnTo>
                  <a:pt x="464" y="92"/>
                </a:lnTo>
                <a:lnTo>
                  <a:pt x="462" y="92"/>
                </a:lnTo>
                <a:lnTo>
                  <a:pt x="461" y="91"/>
                </a:lnTo>
                <a:lnTo>
                  <a:pt x="460" y="91"/>
                </a:lnTo>
                <a:lnTo>
                  <a:pt x="460" y="87"/>
                </a:lnTo>
                <a:lnTo>
                  <a:pt x="461" y="86"/>
                </a:lnTo>
                <a:lnTo>
                  <a:pt x="464" y="85"/>
                </a:lnTo>
                <a:lnTo>
                  <a:pt x="462" y="84"/>
                </a:lnTo>
                <a:lnTo>
                  <a:pt x="462" y="82"/>
                </a:lnTo>
                <a:lnTo>
                  <a:pt x="464" y="78"/>
                </a:lnTo>
                <a:lnTo>
                  <a:pt x="464" y="77"/>
                </a:lnTo>
                <a:lnTo>
                  <a:pt x="470" y="77"/>
                </a:lnTo>
                <a:lnTo>
                  <a:pt x="473" y="76"/>
                </a:lnTo>
                <a:close/>
                <a:moveTo>
                  <a:pt x="492" y="72"/>
                </a:moveTo>
                <a:lnTo>
                  <a:pt x="495" y="73"/>
                </a:lnTo>
                <a:lnTo>
                  <a:pt x="498" y="77"/>
                </a:lnTo>
                <a:lnTo>
                  <a:pt x="501" y="77"/>
                </a:lnTo>
                <a:lnTo>
                  <a:pt x="503" y="76"/>
                </a:lnTo>
                <a:lnTo>
                  <a:pt x="504" y="77"/>
                </a:lnTo>
                <a:lnTo>
                  <a:pt x="504" y="80"/>
                </a:lnTo>
                <a:lnTo>
                  <a:pt x="503" y="82"/>
                </a:lnTo>
                <a:lnTo>
                  <a:pt x="504" y="84"/>
                </a:lnTo>
                <a:lnTo>
                  <a:pt x="503" y="85"/>
                </a:lnTo>
                <a:lnTo>
                  <a:pt x="497" y="85"/>
                </a:lnTo>
                <a:lnTo>
                  <a:pt x="496" y="84"/>
                </a:lnTo>
                <a:lnTo>
                  <a:pt x="493" y="80"/>
                </a:lnTo>
                <a:lnTo>
                  <a:pt x="491" y="78"/>
                </a:lnTo>
                <a:lnTo>
                  <a:pt x="490" y="76"/>
                </a:lnTo>
                <a:lnTo>
                  <a:pt x="492" y="72"/>
                </a:lnTo>
                <a:close/>
                <a:moveTo>
                  <a:pt x="440" y="71"/>
                </a:moveTo>
                <a:lnTo>
                  <a:pt x="442" y="71"/>
                </a:lnTo>
                <a:lnTo>
                  <a:pt x="443" y="72"/>
                </a:lnTo>
                <a:lnTo>
                  <a:pt x="443" y="77"/>
                </a:lnTo>
                <a:lnTo>
                  <a:pt x="445" y="79"/>
                </a:lnTo>
                <a:lnTo>
                  <a:pt x="445" y="80"/>
                </a:lnTo>
                <a:lnTo>
                  <a:pt x="446" y="80"/>
                </a:lnTo>
                <a:lnTo>
                  <a:pt x="447" y="83"/>
                </a:lnTo>
                <a:lnTo>
                  <a:pt x="446" y="84"/>
                </a:lnTo>
                <a:lnTo>
                  <a:pt x="445" y="84"/>
                </a:lnTo>
                <a:lnTo>
                  <a:pt x="445" y="85"/>
                </a:lnTo>
                <a:lnTo>
                  <a:pt x="446" y="86"/>
                </a:lnTo>
                <a:lnTo>
                  <a:pt x="448" y="82"/>
                </a:lnTo>
                <a:lnTo>
                  <a:pt x="449" y="83"/>
                </a:lnTo>
                <a:lnTo>
                  <a:pt x="448" y="87"/>
                </a:lnTo>
                <a:lnTo>
                  <a:pt x="448" y="89"/>
                </a:lnTo>
                <a:lnTo>
                  <a:pt x="447" y="92"/>
                </a:lnTo>
                <a:lnTo>
                  <a:pt x="449" y="90"/>
                </a:lnTo>
                <a:lnTo>
                  <a:pt x="449" y="89"/>
                </a:lnTo>
                <a:lnTo>
                  <a:pt x="452" y="90"/>
                </a:lnTo>
                <a:lnTo>
                  <a:pt x="453" y="90"/>
                </a:lnTo>
                <a:lnTo>
                  <a:pt x="453" y="91"/>
                </a:lnTo>
                <a:lnTo>
                  <a:pt x="452" y="93"/>
                </a:lnTo>
                <a:lnTo>
                  <a:pt x="452" y="95"/>
                </a:lnTo>
                <a:lnTo>
                  <a:pt x="449" y="96"/>
                </a:lnTo>
                <a:lnTo>
                  <a:pt x="449" y="95"/>
                </a:lnTo>
                <a:lnTo>
                  <a:pt x="448" y="96"/>
                </a:lnTo>
                <a:lnTo>
                  <a:pt x="449" y="98"/>
                </a:lnTo>
                <a:lnTo>
                  <a:pt x="448" y="99"/>
                </a:lnTo>
                <a:lnTo>
                  <a:pt x="449" y="101"/>
                </a:lnTo>
                <a:lnTo>
                  <a:pt x="452" y="102"/>
                </a:lnTo>
                <a:lnTo>
                  <a:pt x="453" y="103"/>
                </a:lnTo>
                <a:lnTo>
                  <a:pt x="454" y="108"/>
                </a:lnTo>
                <a:lnTo>
                  <a:pt x="453" y="110"/>
                </a:lnTo>
                <a:lnTo>
                  <a:pt x="449" y="113"/>
                </a:lnTo>
                <a:lnTo>
                  <a:pt x="440" y="121"/>
                </a:lnTo>
                <a:lnTo>
                  <a:pt x="431" y="121"/>
                </a:lnTo>
                <a:lnTo>
                  <a:pt x="430" y="120"/>
                </a:lnTo>
                <a:lnTo>
                  <a:pt x="430" y="119"/>
                </a:lnTo>
                <a:lnTo>
                  <a:pt x="431" y="119"/>
                </a:lnTo>
                <a:lnTo>
                  <a:pt x="429" y="117"/>
                </a:lnTo>
                <a:lnTo>
                  <a:pt x="429" y="114"/>
                </a:lnTo>
                <a:lnTo>
                  <a:pt x="431" y="114"/>
                </a:lnTo>
                <a:lnTo>
                  <a:pt x="435" y="111"/>
                </a:lnTo>
                <a:lnTo>
                  <a:pt x="439" y="111"/>
                </a:lnTo>
                <a:lnTo>
                  <a:pt x="439" y="109"/>
                </a:lnTo>
                <a:lnTo>
                  <a:pt x="440" y="109"/>
                </a:lnTo>
                <a:lnTo>
                  <a:pt x="441" y="108"/>
                </a:lnTo>
                <a:lnTo>
                  <a:pt x="442" y="108"/>
                </a:lnTo>
                <a:lnTo>
                  <a:pt x="443" y="107"/>
                </a:lnTo>
                <a:lnTo>
                  <a:pt x="443" y="101"/>
                </a:lnTo>
                <a:lnTo>
                  <a:pt x="437" y="98"/>
                </a:lnTo>
                <a:lnTo>
                  <a:pt x="436" y="99"/>
                </a:lnTo>
                <a:lnTo>
                  <a:pt x="437" y="99"/>
                </a:lnTo>
                <a:lnTo>
                  <a:pt x="440" y="102"/>
                </a:lnTo>
                <a:lnTo>
                  <a:pt x="439" y="104"/>
                </a:lnTo>
                <a:lnTo>
                  <a:pt x="436" y="107"/>
                </a:lnTo>
                <a:lnTo>
                  <a:pt x="435" y="107"/>
                </a:lnTo>
                <a:lnTo>
                  <a:pt x="435" y="105"/>
                </a:lnTo>
                <a:lnTo>
                  <a:pt x="434" y="108"/>
                </a:lnTo>
                <a:lnTo>
                  <a:pt x="433" y="109"/>
                </a:lnTo>
                <a:lnTo>
                  <a:pt x="431" y="109"/>
                </a:lnTo>
                <a:lnTo>
                  <a:pt x="431" y="108"/>
                </a:lnTo>
                <a:lnTo>
                  <a:pt x="429" y="110"/>
                </a:lnTo>
                <a:lnTo>
                  <a:pt x="429" y="105"/>
                </a:lnTo>
                <a:lnTo>
                  <a:pt x="428" y="107"/>
                </a:lnTo>
                <a:lnTo>
                  <a:pt x="428" y="109"/>
                </a:lnTo>
                <a:lnTo>
                  <a:pt x="427" y="110"/>
                </a:lnTo>
                <a:lnTo>
                  <a:pt x="427" y="111"/>
                </a:lnTo>
                <a:lnTo>
                  <a:pt x="424" y="109"/>
                </a:lnTo>
                <a:lnTo>
                  <a:pt x="423" y="107"/>
                </a:lnTo>
                <a:lnTo>
                  <a:pt x="423" y="109"/>
                </a:lnTo>
                <a:lnTo>
                  <a:pt x="422" y="110"/>
                </a:lnTo>
                <a:lnTo>
                  <a:pt x="421" y="113"/>
                </a:lnTo>
                <a:lnTo>
                  <a:pt x="421" y="116"/>
                </a:lnTo>
                <a:lnTo>
                  <a:pt x="417" y="116"/>
                </a:lnTo>
                <a:lnTo>
                  <a:pt x="415" y="119"/>
                </a:lnTo>
                <a:lnTo>
                  <a:pt x="412" y="117"/>
                </a:lnTo>
                <a:lnTo>
                  <a:pt x="412" y="110"/>
                </a:lnTo>
                <a:lnTo>
                  <a:pt x="411" y="111"/>
                </a:lnTo>
                <a:lnTo>
                  <a:pt x="411" y="110"/>
                </a:lnTo>
                <a:lnTo>
                  <a:pt x="410" y="109"/>
                </a:lnTo>
                <a:lnTo>
                  <a:pt x="411" y="108"/>
                </a:lnTo>
                <a:lnTo>
                  <a:pt x="411" y="107"/>
                </a:lnTo>
                <a:lnTo>
                  <a:pt x="412" y="107"/>
                </a:lnTo>
                <a:lnTo>
                  <a:pt x="412" y="105"/>
                </a:lnTo>
                <a:lnTo>
                  <a:pt x="414" y="104"/>
                </a:lnTo>
                <a:lnTo>
                  <a:pt x="417" y="103"/>
                </a:lnTo>
                <a:lnTo>
                  <a:pt x="417" y="102"/>
                </a:lnTo>
                <a:lnTo>
                  <a:pt x="416" y="102"/>
                </a:lnTo>
                <a:lnTo>
                  <a:pt x="414" y="101"/>
                </a:lnTo>
                <a:lnTo>
                  <a:pt x="414" y="98"/>
                </a:lnTo>
                <a:lnTo>
                  <a:pt x="415" y="96"/>
                </a:lnTo>
                <a:lnTo>
                  <a:pt x="417" y="95"/>
                </a:lnTo>
                <a:lnTo>
                  <a:pt x="418" y="96"/>
                </a:lnTo>
                <a:lnTo>
                  <a:pt x="418" y="102"/>
                </a:lnTo>
                <a:lnTo>
                  <a:pt x="420" y="103"/>
                </a:lnTo>
                <a:lnTo>
                  <a:pt x="421" y="103"/>
                </a:lnTo>
                <a:lnTo>
                  <a:pt x="421" y="102"/>
                </a:lnTo>
                <a:lnTo>
                  <a:pt x="420" y="102"/>
                </a:lnTo>
                <a:lnTo>
                  <a:pt x="420" y="99"/>
                </a:lnTo>
                <a:lnTo>
                  <a:pt x="421" y="98"/>
                </a:lnTo>
                <a:lnTo>
                  <a:pt x="421" y="97"/>
                </a:lnTo>
                <a:lnTo>
                  <a:pt x="422" y="97"/>
                </a:lnTo>
                <a:lnTo>
                  <a:pt x="421" y="96"/>
                </a:lnTo>
                <a:lnTo>
                  <a:pt x="421" y="92"/>
                </a:lnTo>
                <a:lnTo>
                  <a:pt x="422" y="91"/>
                </a:lnTo>
                <a:lnTo>
                  <a:pt x="423" y="92"/>
                </a:lnTo>
                <a:lnTo>
                  <a:pt x="423" y="93"/>
                </a:lnTo>
                <a:lnTo>
                  <a:pt x="424" y="95"/>
                </a:lnTo>
                <a:lnTo>
                  <a:pt x="423" y="99"/>
                </a:lnTo>
                <a:lnTo>
                  <a:pt x="423" y="101"/>
                </a:lnTo>
                <a:lnTo>
                  <a:pt x="426" y="99"/>
                </a:lnTo>
                <a:lnTo>
                  <a:pt x="428" y="97"/>
                </a:lnTo>
                <a:lnTo>
                  <a:pt x="430" y="96"/>
                </a:lnTo>
                <a:lnTo>
                  <a:pt x="431" y="97"/>
                </a:lnTo>
                <a:lnTo>
                  <a:pt x="431" y="101"/>
                </a:lnTo>
                <a:lnTo>
                  <a:pt x="433" y="101"/>
                </a:lnTo>
                <a:lnTo>
                  <a:pt x="434" y="98"/>
                </a:lnTo>
                <a:lnTo>
                  <a:pt x="435" y="97"/>
                </a:lnTo>
                <a:lnTo>
                  <a:pt x="434" y="96"/>
                </a:lnTo>
                <a:lnTo>
                  <a:pt x="435" y="95"/>
                </a:lnTo>
                <a:lnTo>
                  <a:pt x="435" y="93"/>
                </a:lnTo>
                <a:lnTo>
                  <a:pt x="433" y="90"/>
                </a:lnTo>
                <a:lnTo>
                  <a:pt x="435" y="87"/>
                </a:lnTo>
                <a:lnTo>
                  <a:pt x="436" y="90"/>
                </a:lnTo>
                <a:lnTo>
                  <a:pt x="436" y="96"/>
                </a:lnTo>
                <a:lnTo>
                  <a:pt x="437" y="96"/>
                </a:lnTo>
                <a:lnTo>
                  <a:pt x="437" y="92"/>
                </a:lnTo>
                <a:lnTo>
                  <a:pt x="439" y="90"/>
                </a:lnTo>
                <a:lnTo>
                  <a:pt x="440" y="90"/>
                </a:lnTo>
                <a:lnTo>
                  <a:pt x="443" y="93"/>
                </a:lnTo>
                <a:lnTo>
                  <a:pt x="443" y="91"/>
                </a:lnTo>
                <a:lnTo>
                  <a:pt x="442" y="89"/>
                </a:lnTo>
                <a:lnTo>
                  <a:pt x="440" y="86"/>
                </a:lnTo>
                <a:lnTo>
                  <a:pt x="440" y="83"/>
                </a:lnTo>
                <a:lnTo>
                  <a:pt x="437" y="80"/>
                </a:lnTo>
                <a:lnTo>
                  <a:pt x="437" y="74"/>
                </a:lnTo>
                <a:lnTo>
                  <a:pt x="440" y="71"/>
                </a:lnTo>
                <a:close/>
                <a:moveTo>
                  <a:pt x="545" y="61"/>
                </a:moveTo>
                <a:lnTo>
                  <a:pt x="546" y="61"/>
                </a:lnTo>
                <a:lnTo>
                  <a:pt x="545" y="62"/>
                </a:lnTo>
                <a:lnTo>
                  <a:pt x="545" y="65"/>
                </a:lnTo>
                <a:lnTo>
                  <a:pt x="541" y="68"/>
                </a:lnTo>
                <a:lnTo>
                  <a:pt x="540" y="68"/>
                </a:lnTo>
                <a:lnTo>
                  <a:pt x="540" y="70"/>
                </a:lnTo>
                <a:lnTo>
                  <a:pt x="539" y="72"/>
                </a:lnTo>
                <a:lnTo>
                  <a:pt x="538" y="73"/>
                </a:lnTo>
                <a:lnTo>
                  <a:pt x="536" y="72"/>
                </a:lnTo>
                <a:lnTo>
                  <a:pt x="535" y="72"/>
                </a:lnTo>
                <a:lnTo>
                  <a:pt x="536" y="71"/>
                </a:lnTo>
                <a:lnTo>
                  <a:pt x="536" y="66"/>
                </a:lnTo>
                <a:lnTo>
                  <a:pt x="538" y="65"/>
                </a:lnTo>
                <a:lnTo>
                  <a:pt x="539" y="62"/>
                </a:lnTo>
                <a:lnTo>
                  <a:pt x="540" y="62"/>
                </a:lnTo>
                <a:lnTo>
                  <a:pt x="545" y="61"/>
                </a:lnTo>
                <a:close/>
                <a:moveTo>
                  <a:pt x="483" y="35"/>
                </a:moveTo>
                <a:lnTo>
                  <a:pt x="485" y="35"/>
                </a:lnTo>
                <a:lnTo>
                  <a:pt x="485" y="42"/>
                </a:lnTo>
                <a:lnTo>
                  <a:pt x="483" y="47"/>
                </a:lnTo>
                <a:lnTo>
                  <a:pt x="483" y="54"/>
                </a:lnTo>
                <a:lnTo>
                  <a:pt x="482" y="55"/>
                </a:lnTo>
                <a:lnTo>
                  <a:pt x="479" y="56"/>
                </a:lnTo>
                <a:lnTo>
                  <a:pt x="478" y="59"/>
                </a:lnTo>
                <a:lnTo>
                  <a:pt x="477" y="60"/>
                </a:lnTo>
                <a:lnTo>
                  <a:pt x="477" y="61"/>
                </a:lnTo>
                <a:lnTo>
                  <a:pt x="476" y="64"/>
                </a:lnTo>
                <a:lnTo>
                  <a:pt x="474" y="65"/>
                </a:lnTo>
                <a:lnTo>
                  <a:pt x="473" y="65"/>
                </a:lnTo>
                <a:lnTo>
                  <a:pt x="473" y="68"/>
                </a:lnTo>
                <a:lnTo>
                  <a:pt x="472" y="68"/>
                </a:lnTo>
                <a:lnTo>
                  <a:pt x="471" y="70"/>
                </a:lnTo>
                <a:lnTo>
                  <a:pt x="464" y="73"/>
                </a:lnTo>
                <a:lnTo>
                  <a:pt x="460" y="70"/>
                </a:lnTo>
                <a:lnTo>
                  <a:pt x="459" y="71"/>
                </a:lnTo>
                <a:lnTo>
                  <a:pt x="460" y="72"/>
                </a:lnTo>
                <a:lnTo>
                  <a:pt x="460" y="73"/>
                </a:lnTo>
                <a:lnTo>
                  <a:pt x="461" y="74"/>
                </a:lnTo>
                <a:lnTo>
                  <a:pt x="461" y="77"/>
                </a:lnTo>
                <a:lnTo>
                  <a:pt x="460" y="78"/>
                </a:lnTo>
                <a:lnTo>
                  <a:pt x="459" y="83"/>
                </a:lnTo>
                <a:lnTo>
                  <a:pt x="458" y="84"/>
                </a:lnTo>
                <a:lnTo>
                  <a:pt x="457" y="86"/>
                </a:lnTo>
                <a:lnTo>
                  <a:pt x="455" y="85"/>
                </a:lnTo>
                <a:lnTo>
                  <a:pt x="454" y="83"/>
                </a:lnTo>
                <a:lnTo>
                  <a:pt x="455" y="80"/>
                </a:lnTo>
                <a:lnTo>
                  <a:pt x="455" y="78"/>
                </a:lnTo>
                <a:lnTo>
                  <a:pt x="454" y="77"/>
                </a:lnTo>
                <a:lnTo>
                  <a:pt x="457" y="72"/>
                </a:lnTo>
                <a:lnTo>
                  <a:pt x="457" y="71"/>
                </a:lnTo>
                <a:lnTo>
                  <a:pt x="459" y="66"/>
                </a:lnTo>
                <a:lnTo>
                  <a:pt x="460" y="62"/>
                </a:lnTo>
                <a:lnTo>
                  <a:pt x="462" y="58"/>
                </a:lnTo>
                <a:lnTo>
                  <a:pt x="465" y="55"/>
                </a:lnTo>
                <a:lnTo>
                  <a:pt x="468" y="54"/>
                </a:lnTo>
                <a:lnTo>
                  <a:pt x="470" y="53"/>
                </a:lnTo>
                <a:lnTo>
                  <a:pt x="472" y="46"/>
                </a:lnTo>
                <a:lnTo>
                  <a:pt x="473" y="45"/>
                </a:lnTo>
                <a:lnTo>
                  <a:pt x="473" y="42"/>
                </a:lnTo>
                <a:lnTo>
                  <a:pt x="474" y="42"/>
                </a:lnTo>
                <a:lnTo>
                  <a:pt x="476" y="41"/>
                </a:lnTo>
                <a:lnTo>
                  <a:pt x="478" y="37"/>
                </a:lnTo>
                <a:lnTo>
                  <a:pt x="483" y="35"/>
                </a:lnTo>
                <a:close/>
                <a:moveTo>
                  <a:pt x="541" y="0"/>
                </a:moveTo>
                <a:lnTo>
                  <a:pt x="544" y="0"/>
                </a:lnTo>
                <a:lnTo>
                  <a:pt x="545" y="4"/>
                </a:lnTo>
                <a:lnTo>
                  <a:pt x="547" y="10"/>
                </a:lnTo>
                <a:lnTo>
                  <a:pt x="548" y="11"/>
                </a:lnTo>
                <a:lnTo>
                  <a:pt x="549" y="11"/>
                </a:lnTo>
                <a:lnTo>
                  <a:pt x="551" y="10"/>
                </a:lnTo>
                <a:lnTo>
                  <a:pt x="551" y="9"/>
                </a:lnTo>
                <a:lnTo>
                  <a:pt x="549" y="9"/>
                </a:lnTo>
                <a:lnTo>
                  <a:pt x="549" y="3"/>
                </a:lnTo>
                <a:lnTo>
                  <a:pt x="548" y="2"/>
                </a:lnTo>
                <a:lnTo>
                  <a:pt x="549" y="0"/>
                </a:lnTo>
                <a:lnTo>
                  <a:pt x="551" y="0"/>
                </a:lnTo>
                <a:lnTo>
                  <a:pt x="551" y="2"/>
                </a:lnTo>
                <a:lnTo>
                  <a:pt x="552" y="6"/>
                </a:lnTo>
                <a:lnTo>
                  <a:pt x="553" y="7"/>
                </a:lnTo>
                <a:lnTo>
                  <a:pt x="554" y="6"/>
                </a:lnTo>
                <a:lnTo>
                  <a:pt x="555" y="4"/>
                </a:lnTo>
                <a:lnTo>
                  <a:pt x="555" y="2"/>
                </a:lnTo>
                <a:lnTo>
                  <a:pt x="558" y="2"/>
                </a:lnTo>
                <a:lnTo>
                  <a:pt x="558" y="4"/>
                </a:lnTo>
                <a:lnTo>
                  <a:pt x="559" y="7"/>
                </a:lnTo>
                <a:lnTo>
                  <a:pt x="559" y="9"/>
                </a:lnTo>
                <a:lnTo>
                  <a:pt x="557" y="11"/>
                </a:lnTo>
                <a:lnTo>
                  <a:pt x="557" y="15"/>
                </a:lnTo>
                <a:lnTo>
                  <a:pt x="555" y="17"/>
                </a:lnTo>
                <a:lnTo>
                  <a:pt x="557" y="18"/>
                </a:lnTo>
                <a:lnTo>
                  <a:pt x="557" y="19"/>
                </a:lnTo>
                <a:lnTo>
                  <a:pt x="558" y="18"/>
                </a:lnTo>
                <a:lnTo>
                  <a:pt x="558" y="16"/>
                </a:lnTo>
                <a:lnTo>
                  <a:pt x="559" y="13"/>
                </a:lnTo>
                <a:lnTo>
                  <a:pt x="559" y="12"/>
                </a:lnTo>
                <a:lnTo>
                  <a:pt x="560" y="12"/>
                </a:lnTo>
                <a:lnTo>
                  <a:pt x="560" y="10"/>
                </a:lnTo>
                <a:lnTo>
                  <a:pt x="563" y="10"/>
                </a:lnTo>
                <a:lnTo>
                  <a:pt x="565" y="13"/>
                </a:lnTo>
                <a:lnTo>
                  <a:pt x="565" y="15"/>
                </a:lnTo>
                <a:lnTo>
                  <a:pt x="563" y="15"/>
                </a:lnTo>
                <a:lnTo>
                  <a:pt x="563" y="18"/>
                </a:lnTo>
                <a:lnTo>
                  <a:pt x="561" y="21"/>
                </a:lnTo>
                <a:lnTo>
                  <a:pt x="563" y="23"/>
                </a:lnTo>
                <a:lnTo>
                  <a:pt x="564" y="23"/>
                </a:lnTo>
                <a:lnTo>
                  <a:pt x="564" y="21"/>
                </a:lnTo>
                <a:lnTo>
                  <a:pt x="565" y="19"/>
                </a:lnTo>
                <a:lnTo>
                  <a:pt x="566" y="19"/>
                </a:lnTo>
                <a:lnTo>
                  <a:pt x="566" y="22"/>
                </a:lnTo>
                <a:lnTo>
                  <a:pt x="567" y="25"/>
                </a:lnTo>
                <a:lnTo>
                  <a:pt x="567" y="30"/>
                </a:lnTo>
                <a:lnTo>
                  <a:pt x="564" y="30"/>
                </a:lnTo>
                <a:lnTo>
                  <a:pt x="561" y="31"/>
                </a:lnTo>
                <a:lnTo>
                  <a:pt x="559" y="34"/>
                </a:lnTo>
                <a:lnTo>
                  <a:pt x="560" y="35"/>
                </a:lnTo>
                <a:lnTo>
                  <a:pt x="560" y="39"/>
                </a:lnTo>
                <a:lnTo>
                  <a:pt x="561" y="40"/>
                </a:lnTo>
                <a:lnTo>
                  <a:pt x="561" y="42"/>
                </a:lnTo>
                <a:lnTo>
                  <a:pt x="558" y="42"/>
                </a:lnTo>
                <a:lnTo>
                  <a:pt x="558" y="43"/>
                </a:lnTo>
                <a:lnTo>
                  <a:pt x="560" y="45"/>
                </a:lnTo>
                <a:lnTo>
                  <a:pt x="561" y="46"/>
                </a:lnTo>
                <a:lnTo>
                  <a:pt x="561" y="48"/>
                </a:lnTo>
                <a:lnTo>
                  <a:pt x="564" y="48"/>
                </a:lnTo>
                <a:lnTo>
                  <a:pt x="561" y="50"/>
                </a:lnTo>
                <a:lnTo>
                  <a:pt x="555" y="52"/>
                </a:lnTo>
                <a:lnTo>
                  <a:pt x="551" y="52"/>
                </a:lnTo>
                <a:lnTo>
                  <a:pt x="547" y="54"/>
                </a:lnTo>
                <a:lnTo>
                  <a:pt x="544" y="53"/>
                </a:lnTo>
                <a:lnTo>
                  <a:pt x="542" y="54"/>
                </a:lnTo>
                <a:lnTo>
                  <a:pt x="542" y="50"/>
                </a:lnTo>
                <a:lnTo>
                  <a:pt x="544" y="48"/>
                </a:lnTo>
                <a:lnTo>
                  <a:pt x="541" y="48"/>
                </a:lnTo>
                <a:lnTo>
                  <a:pt x="539" y="50"/>
                </a:lnTo>
                <a:lnTo>
                  <a:pt x="538" y="54"/>
                </a:lnTo>
                <a:lnTo>
                  <a:pt x="529" y="62"/>
                </a:lnTo>
                <a:lnTo>
                  <a:pt x="528" y="66"/>
                </a:lnTo>
                <a:lnTo>
                  <a:pt x="528" y="67"/>
                </a:lnTo>
                <a:lnTo>
                  <a:pt x="529" y="66"/>
                </a:lnTo>
                <a:lnTo>
                  <a:pt x="530" y="67"/>
                </a:lnTo>
                <a:lnTo>
                  <a:pt x="529" y="70"/>
                </a:lnTo>
                <a:lnTo>
                  <a:pt x="527" y="71"/>
                </a:lnTo>
                <a:lnTo>
                  <a:pt x="524" y="71"/>
                </a:lnTo>
                <a:lnTo>
                  <a:pt x="523" y="70"/>
                </a:lnTo>
                <a:lnTo>
                  <a:pt x="523" y="67"/>
                </a:lnTo>
                <a:lnTo>
                  <a:pt x="526" y="67"/>
                </a:lnTo>
                <a:lnTo>
                  <a:pt x="524" y="66"/>
                </a:lnTo>
                <a:lnTo>
                  <a:pt x="524" y="65"/>
                </a:lnTo>
                <a:lnTo>
                  <a:pt x="526" y="64"/>
                </a:lnTo>
                <a:lnTo>
                  <a:pt x="527" y="64"/>
                </a:lnTo>
                <a:lnTo>
                  <a:pt x="526" y="62"/>
                </a:lnTo>
                <a:lnTo>
                  <a:pt x="514" y="66"/>
                </a:lnTo>
                <a:lnTo>
                  <a:pt x="514" y="65"/>
                </a:lnTo>
                <a:lnTo>
                  <a:pt x="511" y="64"/>
                </a:lnTo>
                <a:lnTo>
                  <a:pt x="511" y="61"/>
                </a:lnTo>
                <a:lnTo>
                  <a:pt x="513" y="59"/>
                </a:lnTo>
                <a:lnTo>
                  <a:pt x="514" y="58"/>
                </a:lnTo>
                <a:lnTo>
                  <a:pt x="516" y="60"/>
                </a:lnTo>
                <a:lnTo>
                  <a:pt x="517" y="60"/>
                </a:lnTo>
                <a:lnTo>
                  <a:pt x="516" y="56"/>
                </a:lnTo>
                <a:lnTo>
                  <a:pt x="521" y="55"/>
                </a:lnTo>
                <a:lnTo>
                  <a:pt x="522" y="56"/>
                </a:lnTo>
                <a:lnTo>
                  <a:pt x="523" y="56"/>
                </a:lnTo>
                <a:lnTo>
                  <a:pt x="524" y="54"/>
                </a:lnTo>
                <a:lnTo>
                  <a:pt x="523" y="54"/>
                </a:lnTo>
                <a:lnTo>
                  <a:pt x="523" y="53"/>
                </a:lnTo>
                <a:lnTo>
                  <a:pt x="527" y="50"/>
                </a:lnTo>
                <a:lnTo>
                  <a:pt x="528" y="48"/>
                </a:lnTo>
                <a:lnTo>
                  <a:pt x="524" y="50"/>
                </a:lnTo>
                <a:lnTo>
                  <a:pt x="523" y="50"/>
                </a:lnTo>
                <a:lnTo>
                  <a:pt x="520" y="49"/>
                </a:lnTo>
                <a:lnTo>
                  <a:pt x="517" y="49"/>
                </a:lnTo>
                <a:lnTo>
                  <a:pt x="517" y="46"/>
                </a:lnTo>
                <a:lnTo>
                  <a:pt x="516" y="46"/>
                </a:lnTo>
                <a:lnTo>
                  <a:pt x="518" y="45"/>
                </a:lnTo>
                <a:lnTo>
                  <a:pt x="524" y="45"/>
                </a:lnTo>
                <a:lnTo>
                  <a:pt x="527" y="42"/>
                </a:lnTo>
                <a:lnTo>
                  <a:pt x="526" y="42"/>
                </a:lnTo>
                <a:lnTo>
                  <a:pt x="526" y="39"/>
                </a:lnTo>
                <a:lnTo>
                  <a:pt x="524" y="37"/>
                </a:lnTo>
                <a:lnTo>
                  <a:pt x="524" y="40"/>
                </a:lnTo>
                <a:lnTo>
                  <a:pt x="521" y="40"/>
                </a:lnTo>
                <a:lnTo>
                  <a:pt x="521" y="37"/>
                </a:lnTo>
                <a:lnTo>
                  <a:pt x="522" y="36"/>
                </a:lnTo>
                <a:lnTo>
                  <a:pt x="518" y="37"/>
                </a:lnTo>
                <a:lnTo>
                  <a:pt x="517" y="36"/>
                </a:lnTo>
                <a:lnTo>
                  <a:pt x="517" y="34"/>
                </a:lnTo>
                <a:lnTo>
                  <a:pt x="527" y="35"/>
                </a:lnTo>
                <a:lnTo>
                  <a:pt x="526" y="34"/>
                </a:lnTo>
                <a:lnTo>
                  <a:pt x="526" y="33"/>
                </a:lnTo>
                <a:lnTo>
                  <a:pt x="523" y="33"/>
                </a:lnTo>
                <a:lnTo>
                  <a:pt x="523" y="30"/>
                </a:lnTo>
                <a:lnTo>
                  <a:pt x="526" y="30"/>
                </a:lnTo>
                <a:lnTo>
                  <a:pt x="524" y="29"/>
                </a:lnTo>
                <a:lnTo>
                  <a:pt x="523" y="29"/>
                </a:lnTo>
                <a:lnTo>
                  <a:pt x="520" y="30"/>
                </a:lnTo>
                <a:lnTo>
                  <a:pt x="516" y="29"/>
                </a:lnTo>
                <a:lnTo>
                  <a:pt x="518" y="27"/>
                </a:lnTo>
                <a:lnTo>
                  <a:pt x="518" y="24"/>
                </a:lnTo>
                <a:lnTo>
                  <a:pt x="521" y="25"/>
                </a:lnTo>
                <a:lnTo>
                  <a:pt x="522" y="24"/>
                </a:lnTo>
                <a:lnTo>
                  <a:pt x="523" y="24"/>
                </a:lnTo>
                <a:lnTo>
                  <a:pt x="523" y="25"/>
                </a:lnTo>
                <a:lnTo>
                  <a:pt x="524" y="27"/>
                </a:lnTo>
                <a:lnTo>
                  <a:pt x="527" y="24"/>
                </a:lnTo>
                <a:lnTo>
                  <a:pt x="533" y="25"/>
                </a:lnTo>
                <a:lnTo>
                  <a:pt x="536" y="29"/>
                </a:lnTo>
                <a:lnTo>
                  <a:pt x="538" y="29"/>
                </a:lnTo>
                <a:lnTo>
                  <a:pt x="538" y="27"/>
                </a:lnTo>
                <a:lnTo>
                  <a:pt x="536" y="25"/>
                </a:lnTo>
                <a:lnTo>
                  <a:pt x="535" y="25"/>
                </a:lnTo>
                <a:lnTo>
                  <a:pt x="534" y="23"/>
                </a:lnTo>
                <a:lnTo>
                  <a:pt x="540" y="23"/>
                </a:lnTo>
                <a:lnTo>
                  <a:pt x="542" y="21"/>
                </a:lnTo>
                <a:lnTo>
                  <a:pt x="535" y="19"/>
                </a:lnTo>
                <a:lnTo>
                  <a:pt x="532" y="18"/>
                </a:lnTo>
                <a:lnTo>
                  <a:pt x="529" y="12"/>
                </a:lnTo>
                <a:lnTo>
                  <a:pt x="530" y="12"/>
                </a:lnTo>
                <a:lnTo>
                  <a:pt x="533" y="15"/>
                </a:lnTo>
                <a:lnTo>
                  <a:pt x="533" y="16"/>
                </a:lnTo>
                <a:lnTo>
                  <a:pt x="534" y="17"/>
                </a:lnTo>
                <a:lnTo>
                  <a:pt x="534" y="15"/>
                </a:lnTo>
                <a:lnTo>
                  <a:pt x="538" y="15"/>
                </a:lnTo>
                <a:lnTo>
                  <a:pt x="536" y="13"/>
                </a:lnTo>
                <a:lnTo>
                  <a:pt x="535" y="10"/>
                </a:lnTo>
                <a:lnTo>
                  <a:pt x="534" y="10"/>
                </a:lnTo>
                <a:lnTo>
                  <a:pt x="534" y="9"/>
                </a:lnTo>
                <a:lnTo>
                  <a:pt x="535" y="7"/>
                </a:lnTo>
                <a:lnTo>
                  <a:pt x="536" y="9"/>
                </a:lnTo>
                <a:lnTo>
                  <a:pt x="539" y="10"/>
                </a:lnTo>
                <a:lnTo>
                  <a:pt x="540" y="10"/>
                </a:lnTo>
                <a:lnTo>
                  <a:pt x="541" y="11"/>
                </a:lnTo>
                <a:lnTo>
                  <a:pt x="541" y="12"/>
                </a:lnTo>
                <a:lnTo>
                  <a:pt x="542" y="13"/>
                </a:lnTo>
                <a:lnTo>
                  <a:pt x="544" y="13"/>
                </a:lnTo>
                <a:lnTo>
                  <a:pt x="547" y="17"/>
                </a:lnTo>
                <a:lnTo>
                  <a:pt x="548" y="17"/>
                </a:lnTo>
                <a:lnTo>
                  <a:pt x="548" y="16"/>
                </a:lnTo>
                <a:lnTo>
                  <a:pt x="547" y="16"/>
                </a:lnTo>
                <a:lnTo>
                  <a:pt x="547" y="15"/>
                </a:lnTo>
                <a:lnTo>
                  <a:pt x="546" y="13"/>
                </a:lnTo>
                <a:lnTo>
                  <a:pt x="546" y="12"/>
                </a:lnTo>
                <a:lnTo>
                  <a:pt x="545" y="10"/>
                </a:lnTo>
                <a:lnTo>
                  <a:pt x="541" y="6"/>
                </a:lnTo>
                <a:lnTo>
                  <a:pt x="541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" name="Freeform 9">
            <a:extLst>
              <a:ext uri="{FF2B5EF4-FFF2-40B4-BE49-F238E27FC236}">
                <a16:creationId xmlns:a16="http://schemas.microsoft.com/office/drawing/2014/main" id="{229C6880-1801-4BD1-A161-98D8D03B708A}"/>
              </a:ext>
            </a:extLst>
          </p:cNvPr>
          <p:cNvSpPr>
            <a:spLocks noEditPoints="1"/>
          </p:cNvSpPr>
          <p:nvPr/>
        </p:nvSpPr>
        <p:spPr bwMode="auto">
          <a:xfrm>
            <a:off x="1533075" y="1968962"/>
            <a:ext cx="1599630" cy="1912601"/>
          </a:xfrm>
          <a:custGeom>
            <a:avLst/>
            <a:gdLst/>
            <a:ahLst/>
            <a:cxnLst>
              <a:cxn ang="0">
                <a:pos x="1057" y="156"/>
              </a:cxn>
              <a:cxn ang="0">
                <a:pos x="605" y="137"/>
              </a:cxn>
              <a:cxn ang="0">
                <a:pos x="675" y="131"/>
              </a:cxn>
              <a:cxn ang="0">
                <a:pos x="635" y="136"/>
              </a:cxn>
              <a:cxn ang="0">
                <a:pos x="775" y="102"/>
              </a:cxn>
              <a:cxn ang="0">
                <a:pos x="791" y="50"/>
              </a:cxn>
              <a:cxn ang="0">
                <a:pos x="734" y="67"/>
              </a:cxn>
              <a:cxn ang="0">
                <a:pos x="772" y="44"/>
              </a:cxn>
              <a:cxn ang="0">
                <a:pos x="983" y="20"/>
              </a:cxn>
              <a:cxn ang="0">
                <a:pos x="980" y="112"/>
              </a:cxn>
              <a:cxn ang="0">
                <a:pos x="1068" y="63"/>
              </a:cxn>
              <a:cxn ang="0">
                <a:pos x="1045" y="154"/>
              </a:cxn>
              <a:cxn ang="0">
                <a:pos x="1067" y="199"/>
              </a:cxn>
              <a:cxn ang="0">
                <a:pos x="880" y="228"/>
              </a:cxn>
              <a:cxn ang="0">
                <a:pos x="578" y="322"/>
              </a:cxn>
              <a:cxn ang="0">
                <a:pos x="312" y="1014"/>
              </a:cxn>
              <a:cxn ang="0">
                <a:pos x="251" y="1223"/>
              </a:cxn>
              <a:cxn ang="0">
                <a:pos x="230" y="1202"/>
              </a:cxn>
              <a:cxn ang="0">
                <a:pos x="186" y="1259"/>
              </a:cxn>
              <a:cxn ang="0">
                <a:pos x="89" y="1315"/>
              </a:cxn>
              <a:cxn ang="0">
                <a:pos x="23" y="1259"/>
              </a:cxn>
              <a:cxn ang="0">
                <a:pos x="48" y="1206"/>
              </a:cxn>
              <a:cxn ang="0">
                <a:pos x="12" y="1204"/>
              </a:cxn>
              <a:cxn ang="0">
                <a:pos x="56" y="1145"/>
              </a:cxn>
              <a:cxn ang="0">
                <a:pos x="38" y="1155"/>
              </a:cxn>
              <a:cxn ang="0">
                <a:pos x="31" y="1117"/>
              </a:cxn>
              <a:cxn ang="0">
                <a:pos x="6" y="1085"/>
              </a:cxn>
              <a:cxn ang="0">
                <a:pos x="94" y="1074"/>
              </a:cxn>
              <a:cxn ang="0">
                <a:pos x="63" y="1061"/>
              </a:cxn>
              <a:cxn ang="0">
                <a:pos x="25" y="1031"/>
              </a:cxn>
              <a:cxn ang="0">
                <a:pos x="44" y="997"/>
              </a:cxn>
              <a:cxn ang="0">
                <a:pos x="12" y="972"/>
              </a:cxn>
              <a:cxn ang="0">
                <a:pos x="63" y="946"/>
              </a:cxn>
              <a:cxn ang="0">
                <a:pos x="83" y="924"/>
              </a:cxn>
              <a:cxn ang="0">
                <a:pos x="99" y="889"/>
              </a:cxn>
              <a:cxn ang="0">
                <a:pos x="156" y="893"/>
              </a:cxn>
              <a:cxn ang="0">
                <a:pos x="182" y="843"/>
              </a:cxn>
              <a:cxn ang="0">
                <a:pos x="250" y="829"/>
              </a:cxn>
              <a:cxn ang="0">
                <a:pos x="205" y="828"/>
              </a:cxn>
              <a:cxn ang="0">
                <a:pos x="232" y="768"/>
              </a:cxn>
              <a:cxn ang="0">
                <a:pos x="274" y="752"/>
              </a:cxn>
              <a:cxn ang="0">
                <a:pos x="267" y="713"/>
              </a:cxn>
              <a:cxn ang="0">
                <a:pos x="311" y="670"/>
              </a:cxn>
              <a:cxn ang="0">
                <a:pos x="332" y="598"/>
              </a:cxn>
              <a:cxn ang="0">
                <a:pos x="365" y="565"/>
              </a:cxn>
              <a:cxn ang="0">
                <a:pos x="348" y="527"/>
              </a:cxn>
              <a:cxn ang="0">
                <a:pos x="406" y="487"/>
              </a:cxn>
              <a:cxn ang="0">
                <a:pos x="425" y="457"/>
              </a:cxn>
              <a:cxn ang="0">
                <a:pos x="436" y="432"/>
              </a:cxn>
              <a:cxn ang="0">
                <a:pos x="423" y="398"/>
              </a:cxn>
              <a:cxn ang="0">
                <a:pos x="460" y="368"/>
              </a:cxn>
              <a:cxn ang="0">
                <a:pos x="479" y="365"/>
              </a:cxn>
              <a:cxn ang="0">
                <a:pos x="524" y="332"/>
              </a:cxn>
              <a:cxn ang="0">
                <a:pos x="529" y="284"/>
              </a:cxn>
              <a:cxn ang="0">
                <a:pos x="576" y="213"/>
              </a:cxn>
              <a:cxn ang="0">
                <a:pos x="616" y="216"/>
              </a:cxn>
              <a:cxn ang="0">
                <a:pos x="659" y="191"/>
              </a:cxn>
              <a:cxn ang="0">
                <a:pos x="714" y="142"/>
              </a:cxn>
              <a:cxn ang="0">
                <a:pos x="744" y="113"/>
              </a:cxn>
              <a:cxn ang="0">
                <a:pos x="819" y="86"/>
              </a:cxn>
              <a:cxn ang="0">
                <a:pos x="858" y="39"/>
              </a:cxn>
              <a:cxn ang="0">
                <a:pos x="851" y="128"/>
              </a:cxn>
              <a:cxn ang="0">
                <a:pos x="930" y="76"/>
              </a:cxn>
            </a:cxnLst>
            <a:rect l="0" t="0" r="r" b="b"/>
            <a:pathLst>
              <a:path w="1104" h="1320">
                <a:moveTo>
                  <a:pt x="580" y="158"/>
                </a:moveTo>
                <a:lnTo>
                  <a:pt x="582" y="158"/>
                </a:lnTo>
                <a:lnTo>
                  <a:pt x="584" y="159"/>
                </a:lnTo>
                <a:lnTo>
                  <a:pt x="585" y="159"/>
                </a:lnTo>
                <a:lnTo>
                  <a:pt x="584" y="158"/>
                </a:lnTo>
                <a:lnTo>
                  <a:pt x="586" y="158"/>
                </a:lnTo>
                <a:lnTo>
                  <a:pt x="586" y="159"/>
                </a:lnTo>
                <a:lnTo>
                  <a:pt x="588" y="160"/>
                </a:lnTo>
                <a:lnTo>
                  <a:pt x="588" y="161"/>
                </a:lnTo>
                <a:lnTo>
                  <a:pt x="586" y="162"/>
                </a:lnTo>
                <a:lnTo>
                  <a:pt x="589" y="162"/>
                </a:lnTo>
                <a:lnTo>
                  <a:pt x="594" y="164"/>
                </a:lnTo>
                <a:lnTo>
                  <a:pt x="594" y="165"/>
                </a:lnTo>
                <a:lnTo>
                  <a:pt x="596" y="167"/>
                </a:lnTo>
                <a:lnTo>
                  <a:pt x="596" y="172"/>
                </a:lnTo>
                <a:lnTo>
                  <a:pt x="595" y="174"/>
                </a:lnTo>
                <a:lnTo>
                  <a:pt x="592" y="176"/>
                </a:lnTo>
                <a:lnTo>
                  <a:pt x="590" y="180"/>
                </a:lnTo>
                <a:lnTo>
                  <a:pt x="589" y="182"/>
                </a:lnTo>
                <a:lnTo>
                  <a:pt x="586" y="182"/>
                </a:lnTo>
                <a:lnTo>
                  <a:pt x="584" y="184"/>
                </a:lnTo>
                <a:lnTo>
                  <a:pt x="584" y="188"/>
                </a:lnTo>
                <a:lnTo>
                  <a:pt x="586" y="190"/>
                </a:lnTo>
                <a:lnTo>
                  <a:pt x="586" y="194"/>
                </a:lnTo>
                <a:lnTo>
                  <a:pt x="584" y="196"/>
                </a:lnTo>
                <a:lnTo>
                  <a:pt x="583" y="196"/>
                </a:lnTo>
                <a:lnTo>
                  <a:pt x="578" y="195"/>
                </a:lnTo>
                <a:lnTo>
                  <a:pt x="576" y="197"/>
                </a:lnTo>
                <a:lnTo>
                  <a:pt x="572" y="197"/>
                </a:lnTo>
                <a:lnTo>
                  <a:pt x="563" y="201"/>
                </a:lnTo>
                <a:lnTo>
                  <a:pt x="560" y="201"/>
                </a:lnTo>
                <a:lnTo>
                  <a:pt x="555" y="196"/>
                </a:lnTo>
                <a:lnTo>
                  <a:pt x="553" y="196"/>
                </a:lnTo>
                <a:lnTo>
                  <a:pt x="551" y="194"/>
                </a:lnTo>
                <a:lnTo>
                  <a:pt x="553" y="191"/>
                </a:lnTo>
                <a:lnTo>
                  <a:pt x="553" y="189"/>
                </a:lnTo>
                <a:lnTo>
                  <a:pt x="554" y="190"/>
                </a:lnTo>
                <a:lnTo>
                  <a:pt x="555" y="190"/>
                </a:lnTo>
                <a:lnTo>
                  <a:pt x="555" y="189"/>
                </a:lnTo>
                <a:lnTo>
                  <a:pt x="557" y="189"/>
                </a:lnTo>
                <a:lnTo>
                  <a:pt x="557" y="188"/>
                </a:lnTo>
                <a:lnTo>
                  <a:pt x="561" y="189"/>
                </a:lnTo>
                <a:lnTo>
                  <a:pt x="564" y="191"/>
                </a:lnTo>
                <a:lnTo>
                  <a:pt x="564" y="192"/>
                </a:lnTo>
                <a:lnTo>
                  <a:pt x="563" y="192"/>
                </a:lnTo>
                <a:lnTo>
                  <a:pt x="563" y="194"/>
                </a:lnTo>
                <a:lnTo>
                  <a:pt x="564" y="194"/>
                </a:lnTo>
                <a:lnTo>
                  <a:pt x="564" y="192"/>
                </a:lnTo>
                <a:lnTo>
                  <a:pt x="565" y="191"/>
                </a:lnTo>
                <a:lnTo>
                  <a:pt x="565" y="190"/>
                </a:lnTo>
                <a:lnTo>
                  <a:pt x="566" y="190"/>
                </a:lnTo>
                <a:lnTo>
                  <a:pt x="567" y="189"/>
                </a:lnTo>
                <a:lnTo>
                  <a:pt x="567" y="188"/>
                </a:lnTo>
                <a:lnTo>
                  <a:pt x="568" y="188"/>
                </a:lnTo>
                <a:lnTo>
                  <a:pt x="567" y="188"/>
                </a:lnTo>
                <a:lnTo>
                  <a:pt x="565" y="189"/>
                </a:lnTo>
                <a:lnTo>
                  <a:pt x="564" y="189"/>
                </a:lnTo>
                <a:lnTo>
                  <a:pt x="564" y="188"/>
                </a:lnTo>
                <a:lnTo>
                  <a:pt x="559" y="179"/>
                </a:lnTo>
                <a:lnTo>
                  <a:pt x="560" y="178"/>
                </a:lnTo>
                <a:lnTo>
                  <a:pt x="565" y="179"/>
                </a:lnTo>
                <a:lnTo>
                  <a:pt x="572" y="179"/>
                </a:lnTo>
                <a:lnTo>
                  <a:pt x="577" y="182"/>
                </a:lnTo>
                <a:lnTo>
                  <a:pt x="578" y="180"/>
                </a:lnTo>
                <a:lnTo>
                  <a:pt x="577" y="179"/>
                </a:lnTo>
                <a:lnTo>
                  <a:pt x="567" y="178"/>
                </a:lnTo>
                <a:lnTo>
                  <a:pt x="566" y="177"/>
                </a:lnTo>
                <a:lnTo>
                  <a:pt x="566" y="174"/>
                </a:lnTo>
                <a:lnTo>
                  <a:pt x="565" y="172"/>
                </a:lnTo>
                <a:lnTo>
                  <a:pt x="565" y="171"/>
                </a:lnTo>
                <a:lnTo>
                  <a:pt x="566" y="168"/>
                </a:lnTo>
                <a:lnTo>
                  <a:pt x="568" y="168"/>
                </a:lnTo>
                <a:lnTo>
                  <a:pt x="570" y="171"/>
                </a:lnTo>
                <a:lnTo>
                  <a:pt x="572" y="171"/>
                </a:lnTo>
                <a:lnTo>
                  <a:pt x="572" y="174"/>
                </a:lnTo>
                <a:lnTo>
                  <a:pt x="573" y="173"/>
                </a:lnTo>
                <a:lnTo>
                  <a:pt x="573" y="172"/>
                </a:lnTo>
                <a:lnTo>
                  <a:pt x="574" y="171"/>
                </a:lnTo>
                <a:lnTo>
                  <a:pt x="574" y="168"/>
                </a:lnTo>
                <a:lnTo>
                  <a:pt x="576" y="167"/>
                </a:lnTo>
                <a:lnTo>
                  <a:pt x="579" y="167"/>
                </a:lnTo>
                <a:lnTo>
                  <a:pt x="578" y="173"/>
                </a:lnTo>
                <a:lnTo>
                  <a:pt x="579" y="178"/>
                </a:lnTo>
                <a:lnTo>
                  <a:pt x="582" y="182"/>
                </a:lnTo>
                <a:lnTo>
                  <a:pt x="584" y="182"/>
                </a:lnTo>
                <a:lnTo>
                  <a:pt x="583" y="180"/>
                </a:lnTo>
                <a:lnTo>
                  <a:pt x="583" y="174"/>
                </a:lnTo>
                <a:lnTo>
                  <a:pt x="585" y="170"/>
                </a:lnTo>
                <a:lnTo>
                  <a:pt x="584" y="168"/>
                </a:lnTo>
                <a:lnTo>
                  <a:pt x="580" y="164"/>
                </a:lnTo>
                <a:lnTo>
                  <a:pt x="580" y="162"/>
                </a:lnTo>
                <a:lnTo>
                  <a:pt x="579" y="160"/>
                </a:lnTo>
                <a:lnTo>
                  <a:pt x="580" y="158"/>
                </a:lnTo>
                <a:close/>
                <a:moveTo>
                  <a:pt x="1051" y="154"/>
                </a:moveTo>
                <a:lnTo>
                  <a:pt x="1052" y="154"/>
                </a:lnTo>
                <a:lnTo>
                  <a:pt x="1056" y="155"/>
                </a:lnTo>
                <a:lnTo>
                  <a:pt x="1057" y="156"/>
                </a:lnTo>
                <a:lnTo>
                  <a:pt x="1057" y="160"/>
                </a:lnTo>
                <a:lnTo>
                  <a:pt x="1058" y="160"/>
                </a:lnTo>
                <a:lnTo>
                  <a:pt x="1058" y="164"/>
                </a:lnTo>
                <a:lnTo>
                  <a:pt x="1062" y="164"/>
                </a:lnTo>
                <a:lnTo>
                  <a:pt x="1062" y="166"/>
                </a:lnTo>
                <a:lnTo>
                  <a:pt x="1055" y="170"/>
                </a:lnTo>
                <a:lnTo>
                  <a:pt x="1054" y="171"/>
                </a:lnTo>
                <a:lnTo>
                  <a:pt x="1051" y="168"/>
                </a:lnTo>
                <a:lnTo>
                  <a:pt x="1050" y="170"/>
                </a:lnTo>
                <a:lnTo>
                  <a:pt x="1051" y="171"/>
                </a:lnTo>
                <a:lnTo>
                  <a:pt x="1051" y="172"/>
                </a:lnTo>
                <a:lnTo>
                  <a:pt x="1049" y="173"/>
                </a:lnTo>
                <a:lnTo>
                  <a:pt x="1045" y="172"/>
                </a:lnTo>
                <a:lnTo>
                  <a:pt x="1049" y="165"/>
                </a:lnTo>
                <a:lnTo>
                  <a:pt x="1050" y="164"/>
                </a:lnTo>
                <a:lnTo>
                  <a:pt x="1050" y="156"/>
                </a:lnTo>
                <a:lnTo>
                  <a:pt x="1051" y="154"/>
                </a:lnTo>
                <a:close/>
                <a:moveTo>
                  <a:pt x="666" y="154"/>
                </a:moveTo>
                <a:lnTo>
                  <a:pt x="666" y="156"/>
                </a:lnTo>
                <a:lnTo>
                  <a:pt x="665" y="156"/>
                </a:lnTo>
                <a:lnTo>
                  <a:pt x="665" y="160"/>
                </a:lnTo>
                <a:lnTo>
                  <a:pt x="666" y="164"/>
                </a:lnTo>
                <a:lnTo>
                  <a:pt x="665" y="166"/>
                </a:lnTo>
                <a:lnTo>
                  <a:pt x="664" y="167"/>
                </a:lnTo>
                <a:lnTo>
                  <a:pt x="661" y="168"/>
                </a:lnTo>
                <a:lnTo>
                  <a:pt x="659" y="168"/>
                </a:lnTo>
                <a:lnTo>
                  <a:pt x="658" y="166"/>
                </a:lnTo>
                <a:lnTo>
                  <a:pt x="658" y="161"/>
                </a:lnTo>
                <a:lnTo>
                  <a:pt x="659" y="159"/>
                </a:lnTo>
                <a:lnTo>
                  <a:pt x="659" y="156"/>
                </a:lnTo>
                <a:lnTo>
                  <a:pt x="660" y="155"/>
                </a:lnTo>
                <a:lnTo>
                  <a:pt x="661" y="155"/>
                </a:lnTo>
                <a:lnTo>
                  <a:pt x="666" y="154"/>
                </a:lnTo>
                <a:close/>
                <a:moveTo>
                  <a:pt x="706" y="149"/>
                </a:moveTo>
                <a:lnTo>
                  <a:pt x="709" y="149"/>
                </a:lnTo>
                <a:lnTo>
                  <a:pt x="709" y="151"/>
                </a:lnTo>
                <a:lnTo>
                  <a:pt x="708" y="152"/>
                </a:lnTo>
                <a:lnTo>
                  <a:pt x="707" y="152"/>
                </a:lnTo>
                <a:lnTo>
                  <a:pt x="707" y="151"/>
                </a:lnTo>
                <a:lnTo>
                  <a:pt x="706" y="149"/>
                </a:lnTo>
                <a:close/>
                <a:moveTo>
                  <a:pt x="626" y="143"/>
                </a:moveTo>
                <a:lnTo>
                  <a:pt x="628" y="143"/>
                </a:lnTo>
                <a:lnTo>
                  <a:pt x="629" y="145"/>
                </a:lnTo>
                <a:lnTo>
                  <a:pt x="629" y="149"/>
                </a:lnTo>
                <a:lnTo>
                  <a:pt x="627" y="153"/>
                </a:lnTo>
                <a:lnTo>
                  <a:pt x="624" y="160"/>
                </a:lnTo>
                <a:lnTo>
                  <a:pt x="622" y="161"/>
                </a:lnTo>
                <a:lnTo>
                  <a:pt x="614" y="164"/>
                </a:lnTo>
                <a:lnTo>
                  <a:pt x="611" y="162"/>
                </a:lnTo>
                <a:lnTo>
                  <a:pt x="613" y="161"/>
                </a:lnTo>
                <a:lnTo>
                  <a:pt x="615" y="156"/>
                </a:lnTo>
                <a:lnTo>
                  <a:pt x="616" y="153"/>
                </a:lnTo>
                <a:lnTo>
                  <a:pt x="619" y="152"/>
                </a:lnTo>
                <a:lnTo>
                  <a:pt x="623" y="148"/>
                </a:lnTo>
                <a:lnTo>
                  <a:pt x="624" y="146"/>
                </a:lnTo>
                <a:lnTo>
                  <a:pt x="626" y="145"/>
                </a:lnTo>
                <a:lnTo>
                  <a:pt x="626" y="143"/>
                </a:lnTo>
                <a:close/>
                <a:moveTo>
                  <a:pt x="634" y="140"/>
                </a:moveTo>
                <a:lnTo>
                  <a:pt x="635" y="140"/>
                </a:lnTo>
                <a:lnTo>
                  <a:pt x="635" y="141"/>
                </a:lnTo>
                <a:lnTo>
                  <a:pt x="634" y="142"/>
                </a:lnTo>
                <a:lnTo>
                  <a:pt x="632" y="142"/>
                </a:lnTo>
                <a:lnTo>
                  <a:pt x="632" y="141"/>
                </a:lnTo>
                <a:lnTo>
                  <a:pt x="633" y="141"/>
                </a:lnTo>
                <a:lnTo>
                  <a:pt x="634" y="140"/>
                </a:lnTo>
                <a:close/>
                <a:moveTo>
                  <a:pt x="672" y="137"/>
                </a:moveTo>
                <a:lnTo>
                  <a:pt x="673" y="139"/>
                </a:lnTo>
                <a:lnTo>
                  <a:pt x="676" y="142"/>
                </a:lnTo>
                <a:lnTo>
                  <a:pt x="676" y="143"/>
                </a:lnTo>
                <a:lnTo>
                  <a:pt x="682" y="142"/>
                </a:lnTo>
                <a:lnTo>
                  <a:pt x="677" y="146"/>
                </a:lnTo>
                <a:lnTo>
                  <a:pt x="677" y="148"/>
                </a:lnTo>
                <a:lnTo>
                  <a:pt x="676" y="149"/>
                </a:lnTo>
                <a:lnTo>
                  <a:pt x="673" y="151"/>
                </a:lnTo>
                <a:lnTo>
                  <a:pt x="671" y="151"/>
                </a:lnTo>
                <a:lnTo>
                  <a:pt x="670" y="149"/>
                </a:lnTo>
                <a:lnTo>
                  <a:pt x="667" y="145"/>
                </a:lnTo>
                <a:lnTo>
                  <a:pt x="667" y="143"/>
                </a:lnTo>
                <a:lnTo>
                  <a:pt x="670" y="139"/>
                </a:lnTo>
                <a:lnTo>
                  <a:pt x="671" y="139"/>
                </a:lnTo>
                <a:lnTo>
                  <a:pt x="672" y="137"/>
                </a:lnTo>
                <a:close/>
                <a:moveTo>
                  <a:pt x="679" y="135"/>
                </a:moveTo>
                <a:lnTo>
                  <a:pt x="679" y="136"/>
                </a:lnTo>
                <a:lnTo>
                  <a:pt x="681" y="139"/>
                </a:lnTo>
                <a:lnTo>
                  <a:pt x="679" y="140"/>
                </a:lnTo>
                <a:lnTo>
                  <a:pt x="676" y="141"/>
                </a:lnTo>
                <a:lnTo>
                  <a:pt x="677" y="139"/>
                </a:lnTo>
                <a:lnTo>
                  <a:pt x="678" y="137"/>
                </a:lnTo>
                <a:lnTo>
                  <a:pt x="679" y="135"/>
                </a:lnTo>
                <a:close/>
                <a:moveTo>
                  <a:pt x="602" y="131"/>
                </a:moveTo>
                <a:lnTo>
                  <a:pt x="603" y="131"/>
                </a:lnTo>
                <a:lnTo>
                  <a:pt x="603" y="135"/>
                </a:lnTo>
                <a:lnTo>
                  <a:pt x="604" y="135"/>
                </a:lnTo>
                <a:lnTo>
                  <a:pt x="607" y="133"/>
                </a:lnTo>
                <a:lnTo>
                  <a:pt x="608" y="134"/>
                </a:lnTo>
                <a:lnTo>
                  <a:pt x="607" y="135"/>
                </a:lnTo>
                <a:lnTo>
                  <a:pt x="605" y="137"/>
                </a:lnTo>
                <a:lnTo>
                  <a:pt x="605" y="140"/>
                </a:lnTo>
                <a:lnTo>
                  <a:pt x="608" y="141"/>
                </a:lnTo>
                <a:lnTo>
                  <a:pt x="610" y="145"/>
                </a:lnTo>
                <a:lnTo>
                  <a:pt x="611" y="145"/>
                </a:lnTo>
                <a:lnTo>
                  <a:pt x="611" y="142"/>
                </a:lnTo>
                <a:lnTo>
                  <a:pt x="614" y="137"/>
                </a:lnTo>
                <a:lnTo>
                  <a:pt x="616" y="136"/>
                </a:lnTo>
                <a:lnTo>
                  <a:pt x="617" y="136"/>
                </a:lnTo>
                <a:lnTo>
                  <a:pt x="617" y="137"/>
                </a:lnTo>
                <a:lnTo>
                  <a:pt x="619" y="140"/>
                </a:lnTo>
                <a:lnTo>
                  <a:pt x="619" y="141"/>
                </a:lnTo>
                <a:lnTo>
                  <a:pt x="617" y="142"/>
                </a:lnTo>
                <a:lnTo>
                  <a:pt x="617" y="143"/>
                </a:lnTo>
                <a:lnTo>
                  <a:pt x="619" y="145"/>
                </a:lnTo>
                <a:lnTo>
                  <a:pt x="619" y="143"/>
                </a:lnTo>
                <a:lnTo>
                  <a:pt x="620" y="142"/>
                </a:lnTo>
                <a:lnTo>
                  <a:pt x="620" y="141"/>
                </a:lnTo>
                <a:lnTo>
                  <a:pt x="622" y="141"/>
                </a:lnTo>
                <a:lnTo>
                  <a:pt x="622" y="145"/>
                </a:lnTo>
                <a:lnTo>
                  <a:pt x="621" y="147"/>
                </a:lnTo>
                <a:lnTo>
                  <a:pt x="616" y="149"/>
                </a:lnTo>
                <a:lnTo>
                  <a:pt x="616" y="152"/>
                </a:lnTo>
                <a:lnTo>
                  <a:pt x="615" y="153"/>
                </a:lnTo>
                <a:lnTo>
                  <a:pt x="615" y="155"/>
                </a:lnTo>
                <a:lnTo>
                  <a:pt x="614" y="155"/>
                </a:lnTo>
                <a:lnTo>
                  <a:pt x="614" y="158"/>
                </a:lnTo>
                <a:lnTo>
                  <a:pt x="611" y="159"/>
                </a:lnTo>
                <a:lnTo>
                  <a:pt x="611" y="162"/>
                </a:lnTo>
                <a:lnTo>
                  <a:pt x="608" y="166"/>
                </a:lnTo>
                <a:lnTo>
                  <a:pt x="598" y="170"/>
                </a:lnTo>
                <a:lnTo>
                  <a:pt x="597" y="167"/>
                </a:lnTo>
                <a:lnTo>
                  <a:pt x="596" y="164"/>
                </a:lnTo>
                <a:lnTo>
                  <a:pt x="586" y="155"/>
                </a:lnTo>
                <a:lnTo>
                  <a:pt x="584" y="154"/>
                </a:lnTo>
                <a:lnTo>
                  <a:pt x="582" y="149"/>
                </a:lnTo>
                <a:lnTo>
                  <a:pt x="584" y="149"/>
                </a:lnTo>
                <a:lnTo>
                  <a:pt x="588" y="151"/>
                </a:lnTo>
                <a:lnTo>
                  <a:pt x="589" y="151"/>
                </a:lnTo>
                <a:lnTo>
                  <a:pt x="590" y="148"/>
                </a:lnTo>
                <a:lnTo>
                  <a:pt x="591" y="147"/>
                </a:lnTo>
                <a:lnTo>
                  <a:pt x="589" y="147"/>
                </a:lnTo>
                <a:lnTo>
                  <a:pt x="588" y="146"/>
                </a:lnTo>
                <a:lnTo>
                  <a:pt x="586" y="143"/>
                </a:lnTo>
                <a:lnTo>
                  <a:pt x="588" y="141"/>
                </a:lnTo>
                <a:lnTo>
                  <a:pt x="589" y="141"/>
                </a:lnTo>
                <a:lnTo>
                  <a:pt x="591" y="140"/>
                </a:lnTo>
                <a:lnTo>
                  <a:pt x="594" y="141"/>
                </a:lnTo>
                <a:lnTo>
                  <a:pt x="594" y="140"/>
                </a:lnTo>
                <a:lnTo>
                  <a:pt x="595" y="139"/>
                </a:lnTo>
                <a:lnTo>
                  <a:pt x="596" y="139"/>
                </a:lnTo>
                <a:lnTo>
                  <a:pt x="596" y="141"/>
                </a:lnTo>
                <a:lnTo>
                  <a:pt x="597" y="141"/>
                </a:lnTo>
                <a:lnTo>
                  <a:pt x="598" y="140"/>
                </a:lnTo>
                <a:lnTo>
                  <a:pt x="598" y="139"/>
                </a:lnTo>
                <a:lnTo>
                  <a:pt x="596" y="136"/>
                </a:lnTo>
                <a:lnTo>
                  <a:pt x="596" y="134"/>
                </a:lnTo>
                <a:lnTo>
                  <a:pt x="597" y="135"/>
                </a:lnTo>
                <a:lnTo>
                  <a:pt x="598" y="135"/>
                </a:lnTo>
                <a:lnTo>
                  <a:pt x="598" y="134"/>
                </a:lnTo>
                <a:lnTo>
                  <a:pt x="602" y="131"/>
                </a:lnTo>
                <a:close/>
                <a:moveTo>
                  <a:pt x="582" y="129"/>
                </a:moveTo>
                <a:lnTo>
                  <a:pt x="583" y="129"/>
                </a:lnTo>
                <a:lnTo>
                  <a:pt x="584" y="130"/>
                </a:lnTo>
                <a:lnTo>
                  <a:pt x="585" y="133"/>
                </a:lnTo>
                <a:lnTo>
                  <a:pt x="585" y="136"/>
                </a:lnTo>
                <a:lnTo>
                  <a:pt x="586" y="135"/>
                </a:lnTo>
                <a:lnTo>
                  <a:pt x="586" y="134"/>
                </a:lnTo>
                <a:lnTo>
                  <a:pt x="589" y="130"/>
                </a:lnTo>
                <a:lnTo>
                  <a:pt x="590" y="130"/>
                </a:lnTo>
                <a:lnTo>
                  <a:pt x="590" y="131"/>
                </a:lnTo>
                <a:lnTo>
                  <a:pt x="592" y="133"/>
                </a:lnTo>
                <a:lnTo>
                  <a:pt x="592" y="135"/>
                </a:lnTo>
                <a:lnTo>
                  <a:pt x="590" y="137"/>
                </a:lnTo>
                <a:lnTo>
                  <a:pt x="586" y="139"/>
                </a:lnTo>
                <a:lnTo>
                  <a:pt x="584" y="141"/>
                </a:lnTo>
                <a:lnTo>
                  <a:pt x="583" y="143"/>
                </a:lnTo>
                <a:lnTo>
                  <a:pt x="580" y="146"/>
                </a:lnTo>
                <a:lnTo>
                  <a:pt x="580" y="145"/>
                </a:lnTo>
                <a:lnTo>
                  <a:pt x="579" y="143"/>
                </a:lnTo>
                <a:lnTo>
                  <a:pt x="579" y="142"/>
                </a:lnTo>
                <a:lnTo>
                  <a:pt x="580" y="141"/>
                </a:lnTo>
                <a:lnTo>
                  <a:pt x="580" y="140"/>
                </a:lnTo>
                <a:lnTo>
                  <a:pt x="579" y="140"/>
                </a:lnTo>
                <a:lnTo>
                  <a:pt x="579" y="137"/>
                </a:lnTo>
                <a:lnTo>
                  <a:pt x="580" y="135"/>
                </a:lnTo>
                <a:lnTo>
                  <a:pt x="580" y="134"/>
                </a:lnTo>
                <a:lnTo>
                  <a:pt x="582" y="133"/>
                </a:lnTo>
                <a:lnTo>
                  <a:pt x="582" y="129"/>
                </a:lnTo>
                <a:close/>
                <a:moveTo>
                  <a:pt x="851" y="127"/>
                </a:moveTo>
                <a:lnTo>
                  <a:pt x="852" y="127"/>
                </a:lnTo>
                <a:lnTo>
                  <a:pt x="852" y="128"/>
                </a:lnTo>
                <a:lnTo>
                  <a:pt x="851" y="128"/>
                </a:lnTo>
                <a:lnTo>
                  <a:pt x="851" y="127"/>
                </a:lnTo>
                <a:close/>
                <a:moveTo>
                  <a:pt x="671" y="124"/>
                </a:moveTo>
                <a:lnTo>
                  <a:pt x="672" y="125"/>
                </a:lnTo>
                <a:lnTo>
                  <a:pt x="675" y="130"/>
                </a:lnTo>
                <a:lnTo>
                  <a:pt x="675" y="131"/>
                </a:lnTo>
                <a:lnTo>
                  <a:pt x="673" y="134"/>
                </a:lnTo>
                <a:lnTo>
                  <a:pt x="672" y="135"/>
                </a:lnTo>
                <a:lnTo>
                  <a:pt x="671" y="134"/>
                </a:lnTo>
                <a:lnTo>
                  <a:pt x="670" y="134"/>
                </a:lnTo>
                <a:lnTo>
                  <a:pt x="670" y="125"/>
                </a:lnTo>
                <a:lnTo>
                  <a:pt x="671" y="124"/>
                </a:lnTo>
                <a:close/>
                <a:moveTo>
                  <a:pt x="610" y="123"/>
                </a:moveTo>
                <a:lnTo>
                  <a:pt x="613" y="124"/>
                </a:lnTo>
                <a:lnTo>
                  <a:pt x="617" y="128"/>
                </a:lnTo>
                <a:lnTo>
                  <a:pt x="617" y="131"/>
                </a:lnTo>
                <a:lnTo>
                  <a:pt x="614" y="131"/>
                </a:lnTo>
                <a:lnTo>
                  <a:pt x="609" y="129"/>
                </a:lnTo>
                <a:lnTo>
                  <a:pt x="608" y="129"/>
                </a:lnTo>
                <a:lnTo>
                  <a:pt x="608" y="125"/>
                </a:lnTo>
                <a:lnTo>
                  <a:pt x="610" y="123"/>
                </a:lnTo>
                <a:close/>
                <a:moveTo>
                  <a:pt x="660" y="113"/>
                </a:moveTo>
                <a:lnTo>
                  <a:pt x="666" y="113"/>
                </a:lnTo>
                <a:lnTo>
                  <a:pt x="669" y="115"/>
                </a:lnTo>
                <a:lnTo>
                  <a:pt x="671" y="117"/>
                </a:lnTo>
                <a:lnTo>
                  <a:pt x="671" y="119"/>
                </a:lnTo>
                <a:lnTo>
                  <a:pt x="669" y="124"/>
                </a:lnTo>
                <a:lnTo>
                  <a:pt x="669" y="131"/>
                </a:lnTo>
                <a:lnTo>
                  <a:pt x="670" y="134"/>
                </a:lnTo>
                <a:lnTo>
                  <a:pt x="670" y="135"/>
                </a:lnTo>
                <a:lnTo>
                  <a:pt x="669" y="136"/>
                </a:lnTo>
                <a:lnTo>
                  <a:pt x="666" y="136"/>
                </a:lnTo>
                <a:lnTo>
                  <a:pt x="665" y="135"/>
                </a:lnTo>
                <a:lnTo>
                  <a:pt x="664" y="135"/>
                </a:lnTo>
                <a:lnTo>
                  <a:pt x="664" y="136"/>
                </a:lnTo>
                <a:lnTo>
                  <a:pt x="663" y="137"/>
                </a:lnTo>
                <a:lnTo>
                  <a:pt x="660" y="137"/>
                </a:lnTo>
                <a:lnTo>
                  <a:pt x="661" y="136"/>
                </a:lnTo>
                <a:lnTo>
                  <a:pt x="661" y="131"/>
                </a:lnTo>
                <a:lnTo>
                  <a:pt x="660" y="130"/>
                </a:lnTo>
                <a:lnTo>
                  <a:pt x="659" y="130"/>
                </a:lnTo>
                <a:lnTo>
                  <a:pt x="659" y="134"/>
                </a:lnTo>
                <a:lnTo>
                  <a:pt x="658" y="134"/>
                </a:lnTo>
                <a:lnTo>
                  <a:pt x="658" y="136"/>
                </a:lnTo>
                <a:lnTo>
                  <a:pt x="657" y="136"/>
                </a:lnTo>
                <a:lnTo>
                  <a:pt x="655" y="135"/>
                </a:lnTo>
                <a:lnTo>
                  <a:pt x="654" y="135"/>
                </a:lnTo>
                <a:lnTo>
                  <a:pt x="653" y="134"/>
                </a:lnTo>
                <a:lnTo>
                  <a:pt x="653" y="133"/>
                </a:lnTo>
                <a:lnTo>
                  <a:pt x="652" y="131"/>
                </a:lnTo>
                <a:lnTo>
                  <a:pt x="652" y="128"/>
                </a:lnTo>
                <a:lnTo>
                  <a:pt x="653" y="124"/>
                </a:lnTo>
                <a:lnTo>
                  <a:pt x="653" y="122"/>
                </a:lnTo>
                <a:lnTo>
                  <a:pt x="655" y="119"/>
                </a:lnTo>
                <a:lnTo>
                  <a:pt x="658" y="118"/>
                </a:lnTo>
                <a:lnTo>
                  <a:pt x="659" y="117"/>
                </a:lnTo>
                <a:lnTo>
                  <a:pt x="659" y="115"/>
                </a:lnTo>
                <a:lnTo>
                  <a:pt x="660" y="113"/>
                </a:lnTo>
                <a:close/>
                <a:moveTo>
                  <a:pt x="601" y="111"/>
                </a:moveTo>
                <a:lnTo>
                  <a:pt x="602" y="112"/>
                </a:lnTo>
                <a:lnTo>
                  <a:pt x="603" y="112"/>
                </a:lnTo>
                <a:lnTo>
                  <a:pt x="603" y="117"/>
                </a:lnTo>
                <a:lnTo>
                  <a:pt x="604" y="118"/>
                </a:lnTo>
                <a:lnTo>
                  <a:pt x="604" y="122"/>
                </a:lnTo>
                <a:lnTo>
                  <a:pt x="603" y="123"/>
                </a:lnTo>
                <a:lnTo>
                  <a:pt x="603" y="127"/>
                </a:lnTo>
                <a:lnTo>
                  <a:pt x="599" y="130"/>
                </a:lnTo>
                <a:lnTo>
                  <a:pt x="595" y="125"/>
                </a:lnTo>
                <a:lnTo>
                  <a:pt x="594" y="125"/>
                </a:lnTo>
                <a:lnTo>
                  <a:pt x="594" y="124"/>
                </a:lnTo>
                <a:lnTo>
                  <a:pt x="596" y="122"/>
                </a:lnTo>
                <a:lnTo>
                  <a:pt x="597" y="123"/>
                </a:lnTo>
                <a:lnTo>
                  <a:pt x="597" y="124"/>
                </a:lnTo>
                <a:lnTo>
                  <a:pt x="598" y="124"/>
                </a:lnTo>
                <a:lnTo>
                  <a:pt x="598" y="119"/>
                </a:lnTo>
                <a:lnTo>
                  <a:pt x="599" y="119"/>
                </a:lnTo>
                <a:lnTo>
                  <a:pt x="599" y="118"/>
                </a:lnTo>
                <a:lnTo>
                  <a:pt x="598" y="117"/>
                </a:lnTo>
                <a:lnTo>
                  <a:pt x="598" y="116"/>
                </a:lnTo>
                <a:lnTo>
                  <a:pt x="597" y="115"/>
                </a:lnTo>
                <a:lnTo>
                  <a:pt x="597" y="113"/>
                </a:lnTo>
                <a:lnTo>
                  <a:pt x="601" y="113"/>
                </a:lnTo>
                <a:lnTo>
                  <a:pt x="601" y="111"/>
                </a:lnTo>
                <a:close/>
                <a:moveTo>
                  <a:pt x="622" y="108"/>
                </a:moveTo>
                <a:lnTo>
                  <a:pt x="623" y="110"/>
                </a:lnTo>
                <a:lnTo>
                  <a:pt x="623" y="113"/>
                </a:lnTo>
                <a:lnTo>
                  <a:pt x="627" y="117"/>
                </a:lnTo>
                <a:lnTo>
                  <a:pt x="627" y="121"/>
                </a:lnTo>
                <a:lnTo>
                  <a:pt x="628" y="122"/>
                </a:lnTo>
                <a:lnTo>
                  <a:pt x="629" y="122"/>
                </a:lnTo>
                <a:lnTo>
                  <a:pt x="629" y="121"/>
                </a:lnTo>
                <a:lnTo>
                  <a:pt x="630" y="117"/>
                </a:lnTo>
                <a:lnTo>
                  <a:pt x="632" y="117"/>
                </a:lnTo>
                <a:lnTo>
                  <a:pt x="633" y="119"/>
                </a:lnTo>
                <a:lnTo>
                  <a:pt x="633" y="123"/>
                </a:lnTo>
                <a:lnTo>
                  <a:pt x="635" y="125"/>
                </a:lnTo>
                <a:lnTo>
                  <a:pt x="640" y="129"/>
                </a:lnTo>
                <a:lnTo>
                  <a:pt x="642" y="129"/>
                </a:lnTo>
                <a:lnTo>
                  <a:pt x="638" y="130"/>
                </a:lnTo>
                <a:lnTo>
                  <a:pt x="636" y="131"/>
                </a:lnTo>
                <a:lnTo>
                  <a:pt x="638" y="133"/>
                </a:lnTo>
                <a:lnTo>
                  <a:pt x="638" y="134"/>
                </a:lnTo>
                <a:lnTo>
                  <a:pt x="635" y="136"/>
                </a:lnTo>
                <a:lnTo>
                  <a:pt x="628" y="136"/>
                </a:lnTo>
                <a:lnTo>
                  <a:pt x="627" y="135"/>
                </a:lnTo>
                <a:lnTo>
                  <a:pt x="626" y="133"/>
                </a:lnTo>
                <a:lnTo>
                  <a:pt x="626" y="127"/>
                </a:lnTo>
                <a:lnTo>
                  <a:pt x="624" y="125"/>
                </a:lnTo>
                <a:lnTo>
                  <a:pt x="624" y="124"/>
                </a:lnTo>
                <a:lnTo>
                  <a:pt x="623" y="121"/>
                </a:lnTo>
                <a:lnTo>
                  <a:pt x="623" y="119"/>
                </a:lnTo>
                <a:lnTo>
                  <a:pt x="620" y="116"/>
                </a:lnTo>
                <a:lnTo>
                  <a:pt x="617" y="115"/>
                </a:lnTo>
                <a:lnTo>
                  <a:pt x="616" y="112"/>
                </a:lnTo>
                <a:lnTo>
                  <a:pt x="616" y="111"/>
                </a:lnTo>
                <a:lnTo>
                  <a:pt x="617" y="111"/>
                </a:lnTo>
                <a:lnTo>
                  <a:pt x="619" y="112"/>
                </a:lnTo>
                <a:lnTo>
                  <a:pt x="619" y="110"/>
                </a:lnTo>
                <a:lnTo>
                  <a:pt x="620" y="109"/>
                </a:lnTo>
                <a:lnTo>
                  <a:pt x="622" y="108"/>
                </a:lnTo>
                <a:close/>
                <a:moveTo>
                  <a:pt x="708" y="94"/>
                </a:moveTo>
                <a:lnTo>
                  <a:pt x="709" y="96"/>
                </a:lnTo>
                <a:lnTo>
                  <a:pt x="709" y="97"/>
                </a:lnTo>
                <a:lnTo>
                  <a:pt x="711" y="99"/>
                </a:lnTo>
                <a:lnTo>
                  <a:pt x="711" y="103"/>
                </a:lnTo>
                <a:lnTo>
                  <a:pt x="710" y="108"/>
                </a:lnTo>
                <a:lnTo>
                  <a:pt x="709" y="109"/>
                </a:lnTo>
                <a:lnTo>
                  <a:pt x="709" y="110"/>
                </a:lnTo>
                <a:lnTo>
                  <a:pt x="708" y="111"/>
                </a:lnTo>
                <a:lnTo>
                  <a:pt x="707" y="110"/>
                </a:lnTo>
                <a:lnTo>
                  <a:pt x="707" y="97"/>
                </a:lnTo>
                <a:lnTo>
                  <a:pt x="708" y="97"/>
                </a:lnTo>
                <a:lnTo>
                  <a:pt x="708" y="94"/>
                </a:lnTo>
                <a:close/>
                <a:moveTo>
                  <a:pt x="748" y="93"/>
                </a:moveTo>
                <a:lnTo>
                  <a:pt x="750" y="94"/>
                </a:lnTo>
                <a:lnTo>
                  <a:pt x="750" y="99"/>
                </a:lnTo>
                <a:lnTo>
                  <a:pt x="751" y="102"/>
                </a:lnTo>
                <a:lnTo>
                  <a:pt x="751" y="96"/>
                </a:lnTo>
                <a:lnTo>
                  <a:pt x="752" y="94"/>
                </a:lnTo>
                <a:lnTo>
                  <a:pt x="753" y="96"/>
                </a:lnTo>
                <a:lnTo>
                  <a:pt x="754" y="98"/>
                </a:lnTo>
                <a:lnTo>
                  <a:pt x="754" y="100"/>
                </a:lnTo>
                <a:lnTo>
                  <a:pt x="756" y="102"/>
                </a:lnTo>
                <a:lnTo>
                  <a:pt x="760" y="103"/>
                </a:lnTo>
                <a:lnTo>
                  <a:pt x="759" y="104"/>
                </a:lnTo>
                <a:lnTo>
                  <a:pt x="759" y="105"/>
                </a:lnTo>
                <a:lnTo>
                  <a:pt x="760" y="106"/>
                </a:lnTo>
                <a:lnTo>
                  <a:pt x="762" y="106"/>
                </a:lnTo>
                <a:lnTo>
                  <a:pt x="763" y="109"/>
                </a:lnTo>
                <a:lnTo>
                  <a:pt x="763" y="112"/>
                </a:lnTo>
                <a:lnTo>
                  <a:pt x="751" y="111"/>
                </a:lnTo>
                <a:lnTo>
                  <a:pt x="739" y="108"/>
                </a:lnTo>
                <a:lnTo>
                  <a:pt x="737" y="103"/>
                </a:lnTo>
                <a:lnTo>
                  <a:pt x="735" y="102"/>
                </a:lnTo>
                <a:lnTo>
                  <a:pt x="737" y="100"/>
                </a:lnTo>
                <a:lnTo>
                  <a:pt x="737" y="99"/>
                </a:lnTo>
                <a:lnTo>
                  <a:pt x="738" y="98"/>
                </a:lnTo>
                <a:lnTo>
                  <a:pt x="739" y="99"/>
                </a:lnTo>
                <a:lnTo>
                  <a:pt x="739" y="100"/>
                </a:lnTo>
                <a:lnTo>
                  <a:pt x="741" y="103"/>
                </a:lnTo>
                <a:lnTo>
                  <a:pt x="740" y="100"/>
                </a:lnTo>
                <a:lnTo>
                  <a:pt x="740" y="96"/>
                </a:lnTo>
                <a:lnTo>
                  <a:pt x="742" y="98"/>
                </a:lnTo>
                <a:lnTo>
                  <a:pt x="745" y="96"/>
                </a:lnTo>
                <a:lnTo>
                  <a:pt x="745" y="98"/>
                </a:lnTo>
                <a:lnTo>
                  <a:pt x="746" y="96"/>
                </a:lnTo>
                <a:lnTo>
                  <a:pt x="747" y="96"/>
                </a:lnTo>
                <a:lnTo>
                  <a:pt x="748" y="94"/>
                </a:lnTo>
                <a:lnTo>
                  <a:pt x="748" y="93"/>
                </a:lnTo>
                <a:close/>
                <a:moveTo>
                  <a:pt x="978" y="85"/>
                </a:moveTo>
                <a:lnTo>
                  <a:pt x="978" y="86"/>
                </a:lnTo>
                <a:lnTo>
                  <a:pt x="977" y="87"/>
                </a:lnTo>
                <a:lnTo>
                  <a:pt x="978" y="85"/>
                </a:lnTo>
                <a:close/>
                <a:moveTo>
                  <a:pt x="970" y="82"/>
                </a:moveTo>
                <a:lnTo>
                  <a:pt x="971" y="82"/>
                </a:lnTo>
                <a:lnTo>
                  <a:pt x="970" y="85"/>
                </a:lnTo>
                <a:lnTo>
                  <a:pt x="970" y="82"/>
                </a:lnTo>
                <a:close/>
                <a:moveTo>
                  <a:pt x="782" y="65"/>
                </a:moveTo>
                <a:lnTo>
                  <a:pt x="783" y="65"/>
                </a:lnTo>
                <a:lnTo>
                  <a:pt x="783" y="66"/>
                </a:lnTo>
                <a:lnTo>
                  <a:pt x="784" y="67"/>
                </a:lnTo>
                <a:lnTo>
                  <a:pt x="785" y="66"/>
                </a:lnTo>
                <a:lnTo>
                  <a:pt x="787" y="67"/>
                </a:lnTo>
                <a:lnTo>
                  <a:pt x="785" y="67"/>
                </a:lnTo>
                <a:lnTo>
                  <a:pt x="787" y="68"/>
                </a:lnTo>
                <a:lnTo>
                  <a:pt x="788" y="70"/>
                </a:lnTo>
                <a:lnTo>
                  <a:pt x="788" y="73"/>
                </a:lnTo>
                <a:lnTo>
                  <a:pt x="787" y="74"/>
                </a:lnTo>
                <a:lnTo>
                  <a:pt x="787" y="76"/>
                </a:lnTo>
                <a:lnTo>
                  <a:pt x="788" y="79"/>
                </a:lnTo>
                <a:lnTo>
                  <a:pt x="789" y="80"/>
                </a:lnTo>
                <a:lnTo>
                  <a:pt x="790" y="80"/>
                </a:lnTo>
                <a:lnTo>
                  <a:pt x="790" y="81"/>
                </a:lnTo>
                <a:lnTo>
                  <a:pt x="789" y="81"/>
                </a:lnTo>
                <a:lnTo>
                  <a:pt x="789" y="82"/>
                </a:lnTo>
                <a:lnTo>
                  <a:pt x="790" y="85"/>
                </a:lnTo>
                <a:lnTo>
                  <a:pt x="788" y="92"/>
                </a:lnTo>
                <a:lnTo>
                  <a:pt x="779" y="99"/>
                </a:lnTo>
                <a:lnTo>
                  <a:pt x="776" y="100"/>
                </a:lnTo>
                <a:lnTo>
                  <a:pt x="775" y="102"/>
                </a:lnTo>
                <a:lnTo>
                  <a:pt x="776" y="102"/>
                </a:lnTo>
                <a:lnTo>
                  <a:pt x="778" y="104"/>
                </a:lnTo>
                <a:lnTo>
                  <a:pt x="771" y="109"/>
                </a:lnTo>
                <a:lnTo>
                  <a:pt x="766" y="109"/>
                </a:lnTo>
                <a:lnTo>
                  <a:pt x="766" y="103"/>
                </a:lnTo>
                <a:lnTo>
                  <a:pt x="768" y="99"/>
                </a:lnTo>
                <a:lnTo>
                  <a:pt x="768" y="96"/>
                </a:lnTo>
                <a:lnTo>
                  <a:pt x="769" y="93"/>
                </a:lnTo>
                <a:lnTo>
                  <a:pt x="768" y="92"/>
                </a:lnTo>
                <a:lnTo>
                  <a:pt x="765" y="98"/>
                </a:lnTo>
                <a:lnTo>
                  <a:pt x="764" y="100"/>
                </a:lnTo>
                <a:lnTo>
                  <a:pt x="763" y="100"/>
                </a:lnTo>
                <a:lnTo>
                  <a:pt x="762" y="99"/>
                </a:lnTo>
                <a:lnTo>
                  <a:pt x="760" y="99"/>
                </a:lnTo>
                <a:lnTo>
                  <a:pt x="759" y="98"/>
                </a:lnTo>
                <a:lnTo>
                  <a:pt x="757" y="93"/>
                </a:lnTo>
                <a:lnTo>
                  <a:pt x="756" y="92"/>
                </a:lnTo>
                <a:lnTo>
                  <a:pt x="760" y="92"/>
                </a:lnTo>
                <a:lnTo>
                  <a:pt x="760" y="91"/>
                </a:lnTo>
                <a:lnTo>
                  <a:pt x="759" y="90"/>
                </a:lnTo>
                <a:lnTo>
                  <a:pt x="758" y="90"/>
                </a:lnTo>
                <a:lnTo>
                  <a:pt x="758" y="87"/>
                </a:lnTo>
                <a:lnTo>
                  <a:pt x="759" y="86"/>
                </a:lnTo>
                <a:lnTo>
                  <a:pt x="760" y="86"/>
                </a:lnTo>
                <a:lnTo>
                  <a:pt x="760" y="84"/>
                </a:lnTo>
                <a:lnTo>
                  <a:pt x="763" y="84"/>
                </a:lnTo>
                <a:lnTo>
                  <a:pt x="763" y="81"/>
                </a:lnTo>
                <a:lnTo>
                  <a:pt x="768" y="78"/>
                </a:lnTo>
                <a:lnTo>
                  <a:pt x="769" y="79"/>
                </a:lnTo>
                <a:lnTo>
                  <a:pt x="769" y="81"/>
                </a:lnTo>
                <a:lnTo>
                  <a:pt x="771" y="79"/>
                </a:lnTo>
                <a:lnTo>
                  <a:pt x="772" y="79"/>
                </a:lnTo>
                <a:lnTo>
                  <a:pt x="772" y="78"/>
                </a:lnTo>
                <a:lnTo>
                  <a:pt x="771" y="78"/>
                </a:lnTo>
                <a:lnTo>
                  <a:pt x="770" y="76"/>
                </a:lnTo>
                <a:lnTo>
                  <a:pt x="770" y="75"/>
                </a:lnTo>
                <a:lnTo>
                  <a:pt x="771" y="74"/>
                </a:lnTo>
                <a:lnTo>
                  <a:pt x="773" y="76"/>
                </a:lnTo>
                <a:lnTo>
                  <a:pt x="773" y="84"/>
                </a:lnTo>
                <a:lnTo>
                  <a:pt x="775" y="84"/>
                </a:lnTo>
                <a:lnTo>
                  <a:pt x="775" y="82"/>
                </a:lnTo>
                <a:lnTo>
                  <a:pt x="776" y="79"/>
                </a:lnTo>
                <a:lnTo>
                  <a:pt x="776" y="76"/>
                </a:lnTo>
                <a:lnTo>
                  <a:pt x="775" y="76"/>
                </a:lnTo>
                <a:lnTo>
                  <a:pt x="775" y="75"/>
                </a:lnTo>
                <a:lnTo>
                  <a:pt x="776" y="74"/>
                </a:lnTo>
                <a:lnTo>
                  <a:pt x="778" y="76"/>
                </a:lnTo>
                <a:lnTo>
                  <a:pt x="779" y="76"/>
                </a:lnTo>
                <a:lnTo>
                  <a:pt x="779" y="75"/>
                </a:lnTo>
                <a:lnTo>
                  <a:pt x="778" y="75"/>
                </a:lnTo>
                <a:lnTo>
                  <a:pt x="779" y="73"/>
                </a:lnTo>
                <a:lnTo>
                  <a:pt x="783" y="75"/>
                </a:lnTo>
                <a:lnTo>
                  <a:pt x="785" y="75"/>
                </a:lnTo>
                <a:lnTo>
                  <a:pt x="784" y="73"/>
                </a:lnTo>
                <a:lnTo>
                  <a:pt x="783" y="72"/>
                </a:lnTo>
                <a:lnTo>
                  <a:pt x="781" y="70"/>
                </a:lnTo>
                <a:lnTo>
                  <a:pt x="781" y="69"/>
                </a:lnTo>
                <a:lnTo>
                  <a:pt x="782" y="68"/>
                </a:lnTo>
                <a:lnTo>
                  <a:pt x="782" y="67"/>
                </a:lnTo>
                <a:lnTo>
                  <a:pt x="779" y="67"/>
                </a:lnTo>
                <a:lnTo>
                  <a:pt x="778" y="66"/>
                </a:lnTo>
                <a:lnTo>
                  <a:pt x="782" y="65"/>
                </a:lnTo>
                <a:close/>
                <a:moveTo>
                  <a:pt x="793" y="49"/>
                </a:moveTo>
                <a:lnTo>
                  <a:pt x="797" y="49"/>
                </a:lnTo>
                <a:lnTo>
                  <a:pt x="797" y="53"/>
                </a:lnTo>
                <a:lnTo>
                  <a:pt x="799" y="53"/>
                </a:lnTo>
                <a:lnTo>
                  <a:pt x="797" y="54"/>
                </a:lnTo>
                <a:lnTo>
                  <a:pt x="797" y="55"/>
                </a:lnTo>
                <a:lnTo>
                  <a:pt x="799" y="55"/>
                </a:lnTo>
                <a:lnTo>
                  <a:pt x="799" y="54"/>
                </a:lnTo>
                <a:lnTo>
                  <a:pt x="803" y="54"/>
                </a:lnTo>
                <a:lnTo>
                  <a:pt x="803" y="55"/>
                </a:lnTo>
                <a:lnTo>
                  <a:pt x="806" y="57"/>
                </a:lnTo>
                <a:lnTo>
                  <a:pt x="807" y="57"/>
                </a:lnTo>
                <a:lnTo>
                  <a:pt x="807" y="62"/>
                </a:lnTo>
                <a:lnTo>
                  <a:pt x="810" y="66"/>
                </a:lnTo>
                <a:lnTo>
                  <a:pt x="809" y="69"/>
                </a:lnTo>
                <a:lnTo>
                  <a:pt x="804" y="72"/>
                </a:lnTo>
                <a:lnTo>
                  <a:pt x="802" y="78"/>
                </a:lnTo>
                <a:lnTo>
                  <a:pt x="799" y="79"/>
                </a:lnTo>
                <a:lnTo>
                  <a:pt x="796" y="79"/>
                </a:lnTo>
                <a:lnTo>
                  <a:pt x="794" y="78"/>
                </a:lnTo>
                <a:lnTo>
                  <a:pt x="794" y="76"/>
                </a:lnTo>
                <a:lnTo>
                  <a:pt x="793" y="73"/>
                </a:lnTo>
                <a:lnTo>
                  <a:pt x="791" y="72"/>
                </a:lnTo>
                <a:lnTo>
                  <a:pt x="791" y="68"/>
                </a:lnTo>
                <a:lnTo>
                  <a:pt x="789" y="68"/>
                </a:lnTo>
                <a:lnTo>
                  <a:pt x="790" y="67"/>
                </a:lnTo>
                <a:lnTo>
                  <a:pt x="791" y="65"/>
                </a:lnTo>
                <a:lnTo>
                  <a:pt x="791" y="63"/>
                </a:lnTo>
                <a:lnTo>
                  <a:pt x="790" y="62"/>
                </a:lnTo>
                <a:lnTo>
                  <a:pt x="791" y="61"/>
                </a:lnTo>
                <a:lnTo>
                  <a:pt x="791" y="60"/>
                </a:lnTo>
                <a:lnTo>
                  <a:pt x="789" y="57"/>
                </a:lnTo>
                <a:lnTo>
                  <a:pt x="789" y="55"/>
                </a:lnTo>
                <a:lnTo>
                  <a:pt x="791" y="53"/>
                </a:lnTo>
                <a:lnTo>
                  <a:pt x="791" y="50"/>
                </a:lnTo>
                <a:lnTo>
                  <a:pt x="793" y="49"/>
                </a:lnTo>
                <a:close/>
                <a:moveTo>
                  <a:pt x="769" y="39"/>
                </a:moveTo>
                <a:lnTo>
                  <a:pt x="770" y="41"/>
                </a:lnTo>
                <a:lnTo>
                  <a:pt x="769" y="41"/>
                </a:lnTo>
                <a:lnTo>
                  <a:pt x="769" y="39"/>
                </a:lnTo>
                <a:close/>
                <a:moveTo>
                  <a:pt x="776" y="33"/>
                </a:moveTo>
                <a:lnTo>
                  <a:pt x="777" y="35"/>
                </a:lnTo>
                <a:lnTo>
                  <a:pt x="778" y="35"/>
                </a:lnTo>
                <a:lnTo>
                  <a:pt x="778" y="36"/>
                </a:lnTo>
                <a:lnTo>
                  <a:pt x="779" y="37"/>
                </a:lnTo>
                <a:lnTo>
                  <a:pt x="781" y="39"/>
                </a:lnTo>
                <a:lnTo>
                  <a:pt x="781" y="41"/>
                </a:lnTo>
                <a:lnTo>
                  <a:pt x="782" y="42"/>
                </a:lnTo>
                <a:lnTo>
                  <a:pt x="782" y="43"/>
                </a:lnTo>
                <a:lnTo>
                  <a:pt x="783" y="43"/>
                </a:lnTo>
                <a:lnTo>
                  <a:pt x="782" y="44"/>
                </a:lnTo>
                <a:lnTo>
                  <a:pt x="778" y="44"/>
                </a:lnTo>
                <a:lnTo>
                  <a:pt x="779" y="45"/>
                </a:lnTo>
                <a:lnTo>
                  <a:pt x="781" y="45"/>
                </a:lnTo>
                <a:lnTo>
                  <a:pt x="782" y="47"/>
                </a:lnTo>
                <a:lnTo>
                  <a:pt x="781" y="47"/>
                </a:lnTo>
                <a:lnTo>
                  <a:pt x="779" y="48"/>
                </a:lnTo>
                <a:lnTo>
                  <a:pt x="779" y="50"/>
                </a:lnTo>
                <a:lnTo>
                  <a:pt x="778" y="50"/>
                </a:lnTo>
                <a:lnTo>
                  <a:pt x="777" y="49"/>
                </a:lnTo>
                <a:lnTo>
                  <a:pt x="776" y="49"/>
                </a:lnTo>
                <a:lnTo>
                  <a:pt x="776" y="54"/>
                </a:lnTo>
                <a:lnTo>
                  <a:pt x="775" y="54"/>
                </a:lnTo>
                <a:lnTo>
                  <a:pt x="775" y="55"/>
                </a:lnTo>
                <a:lnTo>
                  <a:pt x="773" y="56"/>
                </a:lnTo>
                <a:lnTo>
                  <a:pt x="773" y="57"/>
                </a:lnTo>
                <a:lnTo>
                  <a:pt x="770" y="57"/>
                </a:lnTo>
                <a:lnTo>
                  <a:pt x="770" y="56"/>
                </a:lnTo>
                <a:lnTo>
                  <a:pt x="769" y="56"/>
                </a:lnTo>
                <a:lnTo>
                  <a:pt x="769" y="60"/>
                </a:lnTo>
                <a:lnTo>
                  <a:pt x="768" y="60"/>
                </a:lnTo>
                <a:lnTo>
                  <a:pt x="769" y="61"/>
                </a:lnTo>
                <a:lnTo>
                  <a:pt x="770" y="61"/>
                </a:lnTo>
                <a:lnTo>
                  <a:pt x="770" y="62"/>
                </a:lnTo>
                <a:lnTo>
                  <a:pt x="769" y="65"/>
                </a:lnTo>
                <a:lnTo>
                  <a:pt x="765" y="65"/>
                </a:lnTo>
                <a:lnTo>
                  <a:pt x="768" y="67"/>
                </a:lnTo>
                <a:lnTo>
                  <a:pt x="766" y="70"/>
                </a:lnTo>
                <a:lnTo>
                  <a:pt x="765" y="69"/>
                </a:lnTo>
                <a:lnTo>
                  <a:pt x="763" y="68"/>
                </a:lnTo>
                <a:lnTo>
                  <a:pt x="763" y="72"/>
                </a:lnTo>
                <a:lnTo>
                  <a:pt x="762" y="73"/>
                </a:lnTo>
                <a:lnTo>
                  <a:pt x="760" y="73"/>
                </a:lnTo>
                <a:lnTo>
                  <a:pt x="758" y="70"/>
                </a:lnTo>
                <a:lnTo>
                  <a:pt x="757" y="70"/>
                </a:lnTo>
                <a:lnTo>
                  <a:pt x="757" y="72"/>
                </a:lnTo>
                <a:lnTo>
                  <a:pt x="759" y="73"/>
                </a:lnTo>
                <a:lnTo>
                  <a:pt x="759" y="75"/>
                </a:lnTo>
                <a:lnTo>
                  <a:pt x="758" y="75"/>
                </a:lnTo>
                <a:lnTo>
                  <a:pt x="758" y="76"/>
                </a:lnTo>
                <a:lnTo>
                  <a:pt x="756" y="74"/>
                </a:lnTo>
                <a:lnTo>
                  <a:pt x="754" y="75"/>
                </a:lnTo>
                <a:lnTo>
                  <a:pt x="754" y="78"/>
                </a:lnTo>
                <a:lnTo>
                  <a:pt x="753" y="78"/>
                </a:lnTo>
                <a:lnTo>
                  <a:pt x="752" y="76"/>
                </a:lnTo>
                <a:lnTo>
                  <a:pt x="752" y="75"/>
                </a:lnTo>
                <a:lnTo>
                  <a:pt x="753" y="74"/>
                </a:lnTo>
                <a:lnTo>
                  <a:pt x="750" y="73"/>
                </a:lnTo>
                <a:lnTo>
                  <a:pt x="747" y="73"/>
                </a:lnTo>
                <a:lnTo>
                  <a:pt x="747" y="74"/>
                </a:lnTo>
                <a:lnTo>
                  <a:pt x="746" y="75"/>
                </a:lnTo>
                <a:lnTo>
                  <a:pt x="747" y="76"/>
                </a:lnTo>
                <a:lnTo>
                  <a:pt x="747" y="78"/>
                </a:lnTo>
                <a:lnTo>
                  <a:pt x="745" y="78"/>
                </a:lnTo>
                <a:lnTo>
                  <a:pt x="745" y="80"/>
                </a:lnTo>
                <a:lnTo>
                  <a:pt x="744" y="80"/>
                </a:lnTo>
                <a:lnTo>
                  <a:pt x="742" y="78"/>
                </a:lnTo>
                <a:lnTo>
                  <a:pt x="741" y="76"/>
                </a:lnTo>
                <a:lnTo>
                  <a:pt x="740" y="80"/>
                </a:lnTo>
                <a:lnTo>
                  <a:pt x="740" y="81"/>
                </a:lnTo>
                <a:lnTo>
                  <a:pt x="739" y="81"/>
                </a:lnTo>
                <a:lnTo>
                  <a:pt x="738" y="80"/>
                </a:lnTo>
                <a:lnTo>
                  <a:pt x="738" y="79"/>
                </a:lnTo>
                <a:lnTo>
                  <a:pt x="737" y="79"/>
                </a:lnTo>
                <a:lnTo>
                  <a:pt x="734" y="81"/>
                </a:lnTo>
                <a:lnTo>
                  <a:pt x="733" y="80"/>
                </a:lnTo>
                <a:lnTo>
                  <a:pt x="733" y="76"/>
                </a:lnTo>
                <a:lnTo>
                  <a:pt x="732" y="75"/>
                </a:lnTo>
                <a:lnTo>
                  <a:pt x="732" y="78"/>
                </a:lnTo>
                <a:lnTo>
                  <a:pt x="731" y="82"/>
                </a:lnTo>
                <a:lnTo>
                  <a:pt x="728" y="85"/>
                </a:lnTo>
                <a:lnTo>
                  <a:pt x="727" y="85"/>
                </a:lnTo>
                <a:lnTo>
                  <a:pt x="726" y="82"/>
                </a:lnTo>
                <a:lnTo>
                  <a:pt x="727" y="81"/>
                </a:lnTo>
                <a:lnTo>
                  <a:pt x="727" y="79"/>
                </a:lnTo>
                <a:lnTo>
                  <a:pt x="728" y="76"/>
                </a:lnTo>
                <a:lnTo>
                  <a:pt x="728" y="75"/>
                </a:lnTo>
                <a:lnTo>
                  <a:pt x="731" y="74"/>
                </a:lnTo>
                <a:lnTo>
                  <a:pt x="732" y="72"/>
                </a:lnTo>
                <a:lnTo>
                  <a:pt x="731" y="72"/>
                </a:lnTo>
                <a:lnTo>
                  <a:pt x="731" y="70"/>
                </a:lnTo>
                <a:lnTo>
                  <a:pt x="734" y="67"/>
                </a:lnTo>
                <a:lnTo>
                  <a:pt x="725" y="67"/>
                </a:lnTo>
                <a:lnTo>
                  <a:pt x="723" y="68"/>
                </a:lnTo>
                <a:lnTo>
                  <a:pt x="723" y="69"/>
                </a:lnTo>
                <a:lnTo>
                  <a:pt x="722" y="69"/>
                </a:lnTo>
                <a:lnTo>
                  <a:pt x="721" y="68"/>
                </a:lnTo>
                <a:lnTo>
                  <a:pt x="721" y="67"/>
                </a:lnTo>
                <a:lnTo>
                  <a:pt x="722" y="65"/>
                </a:lnTo>
                <a:lnTo>
                  <a:pt x="723" y="63"/>
                </a:lnTo>
                <a:lnTo>
                  <a:pt x="719" y="63"/>
                </a:lnTo>
                <a:lnTo>
                  <a:pt x="717" y="62"/>
                </a:lnTo>
                <a:lnTo>
                  <a:pt x="720" y="60"/>
                </a:lnTo>
                <a:lnTo>
                  <a:pt x="722" y="61"/>
                </a:lnTo>
                <a:lnTo>
                  <a:pt x="728" y="65"/>
                </a:lnTo>
                <a:lnTo>
                  <a:pt x="729" y="65"/>
                </a:lnTo>
                <a:lnTo>
                  <a:pt x="731" y="63"/>
                </a:lnTo>
                <a:lnTo>
                  <a:pt x="731" y="60"/>
                </a:lnTo>
                <a:lnTo>
                  <a:pt x="729" y="59"/>
                </a:lnTo>
                <a:lnTo>
                  <a:pt x="732" y="59"/>
                </a:lnTo>
                <a:lnTo>
                  <a:pt x="738" y="65"/>
                </a:lnTo>
                <a:lnTo>
                  <a:pt x="738" y="63"/>
                </a:lnTo>
                <a:lnTo>
                  <a:pt x="737" y="62"/>
                </a:lnTo>
                <a:lnTo>
                  <a:pt x="737" y="59"/>
                </a:lnTo>
                <a:lnTo>
                  <a:pt x="735" y="56"/>
                </a:lnTo>
                <a:lnTo>
                  <a:pt x="737" y="54"/>
                </a:lnTo>
                <a:lnTo>
                  <a:pt x="738" y="54"/>
                </a:lnTo>
                <a:lnTo>
                  <a:pt x="738" y="55"/>
                </a:lnTo>
                <a:lnTo>
                  <a:pt x="739" y="56"/>
                </a:lnTo>
                <a:lnTo>
                  <a:pt x="739" y="57"/>
                </a:lnTo>
                <a:lnTo>
                  <a:pt x="740" y="59"/>
                </a:lnTo>
                <a:lnTo>
                  <a:pt x="741" y="59"/>
                </a:lnTo>
                <a:lnTo>
                  <a:pt x="741" y="55"/>
                </a:lnTo>
                <a:lnTo>
                  <a:pt x="742" y="54"/>
                </a:lnTo>
                <a:lnTo>
                  <a:pt x="742" y="53"/>
                </a:lnTo>
                <a:lnTo>
                  <a:pt x="747" y="57"/>
                </a:lnTo>
                <a:lnTo>
                  <a:pt x="747" y="59"/>
                </a:lnTo>
                <a:lnTo>
                  <a:pt x="746" y="61"/>
                </a:lnTo>
                <a:lnTo>
                  <a:pt x="745" y="61"/>
                </a:lnTo>
                <a:lnTo>
                  <a:pt x="746" y="63"/>
                </a:lnTo>
                <a:lnTo>
                  <a:pt x="747" y="63"/>
                </a:lnTo>
                <a:lnTo>
                  <a:pt x="747" y="62"/>
                </a:lnTo>
                <a:lnTo>
                  <a:pt x="748" y="61"/>
                </a:lnTo>
                <a:lnTo>
                  <a:pt x="750" y="61"/>
                </a:lnTo>
                <a:lnTo>
                  <a:pt x="750" y="67"/>
                </a:lnTo>
                <a:lnTo>
                  <a:pt x="751" y="68"/>
                </a:lnTo>
                <a:lnTo>
                  <a:pt x="751" y="63"/>
                </a:lnTo>
                <a:lnTo>
                  <a:pt x="752" y="62"/>
                </a:lnTo>
                <a:lnTo>
                  <a:pt x="754" y="62"/>
                </a:lnTo>
                <a:lnTo>
                  <a:pt x="754" y="60"/>
                </a:lnTo>
                <a:lnTo>
                  <a:pt x="753" y="59"/>
                </a:lnTo>
                <a:lnTo>
                  <a:pt x="753" y="55"/>
                </a:lnTo>
                <a:lnTo>
                  <a:pt x="752" y="54"/>
                </a:lnTo>
                <a:lnTo>
                  <a:pt x="751" y="51"/>
                </a:lnTo>
                <a:lnTo>
                  <a:pt x="751" y="49"/>
                </a:lnTo>
                <a:lnTo>
                  <a:pt x="752" y="49"/>
                </a:lnTo>
                <a:lnTo>
                  <a:pt x="754" y="48"/>
                </a:lnTo>
                <a:lnTo>
                  <a:pt x="753" y="49"/>
                </a:lnTo>
                <a:lnTo>
                  <a:pt x="754" y="50"/>
                </a:lnTo>
                <a:lnTo>
                  <a:pt x="756" y="50"/>
                </a:lnTo>
                <a:lnTo>
                  <a:pt x="757" y="51"/>
                </a:lnTo>
                <a:lnTo>
                  <a:pt x="756" y="51"/>
                </a:lnTo>
                <a:lnTo>
                  <a:pt x="756" y="53"/>
                </a:lnTo>
                <a:lnTo>
                  <a:pt x="757" y="53"/>
                </a:lnTo>
                <a:lnTo>
                  <a:pt x="758" y="51"/>
                </a:lnTo>
                <a:lnTo>
                  <a:pt x="759" y="53"/>
                </a:lnTo>
                <a:lnTo>
                  <a:pt x="759" y="55"/>
                </a:lnTo>
                <a:lnTo>
                  <a:pt x="758" y="56"/>
                </a:lnTo>
                <a:lnTo>
                  <a:pt x="759" y="57"/>
                </a:lnTo>
                <a:lnTo>
                  <a:pt x="760" y="60"/>
                </a:lnTo>
                <a:lnTo>
                  <a:pt x="762" y="61"/>
                </a:lnTo>
                <a:lnTo>
                  <a:pt x="762" y="57"/>
                </a:lnTo>
                <a:lnTo>
                  <a:pt x="763" y="57"/>
                </a:lnTo>
                <a:lnTo>
                  <a:pt x="763" y="56"/>
                </a:lnTo>
                <a:lnTo>
                  <a:pt x="764" y="55"/>
                </a:lnTo>
                <a:lnTo>
                  <a:pt x="764" y="53"/>
                </a:lnTo>
                <a:lnTo>
                  <a:pt x="766" y="54"/>
                </a:lnTo>
                <a:lnTo>
                  <a:pt x="768" y="54"/>
                </a:lnTo>
                <a:lnTo>
                  <a:pt x="766" y="53"/>
                </a:lnTo>
                <a:lnTo>
                  <a:pt x="766" y="51"/>
                </a:lnTo>
                <a:lnTo>
                  <a:pt x="770" y="51"/>
                </a:lnTo>
                <a:lnTo>
                  <a:pt x="770" y="50"/>
                </a:lnTo>
                <a:lnTo>
                  <a:pt x="769" y="50"/>
                </a:lnTo>
                <a:lnTo>
                  <a:pt x="768" y="49"/>
                </a:lnTo>
                <a:lnTo>
                  <a:pt x="768" y="48"/>
                </a:lnTo>
                <a:lnTo>
                  <a:pt x="765" y="47"/>
                </a:lnTo>
                <a:lnTo>
                  <a:pt x="765" y="45"/>
                </a:lnTo>
                <a:lnTo>
                  <a:pt x="764" y="44"/>
                </a:lnTo>
                <a:lnTo>
                  <a:pt x="764" y="43"/>
                </a:lnTo>
                <a:lnTo>
                  <a:pt x="766" y="43"/>
                </a:lnTo>
                <a:lnTo>
                  <a:pt x="766" y="42"/>
                </a:lnTo>
                <a:lnTo>
                  <a:pt x="765" y="42"/>
                </a:lnTo>
                <a:lnTo>
                  <a:pt x="765" y="41"/>
                </a:lnTo>
                <a:lnTo>
                  <a:pt x="766" y="41"/>
                </a:lnTo>
                <a:lnTo>
                  <a:pt x="769" y="43"/>
                </a:lnTo>
                <a:lnTo>
                  <a:pt x="769" y="44"/>
                </a:lnTo>
                <a:lnTo>
                  <a:pt x="770" y="43"/>
                </a:lnTo>
                <a:lnTo>
                  <a:pt x="770" y="41"/>
                </a:lnTo>
                <a:lnTo>
                  <a:pt x="772" y="44"/>
                </a:lnTo>
                <a:lnTo>
                  <a:pt x="773" y="45"/>
                </a:lnTo>
                <a:lnTo>
                  <a:pt x="776" y="45"/>
                </a:lnTo>
                <a:lnTo>
                  <a:pt x="777" y="44"/>
                </a:lnTo>
                <a:lnTo>
                  <a:pt x="777" y="43"/>
                </a:lnTo>
                <a:lnTo>
                  <a:pt x="776" y="41"/>
                </a:lnTo>
                <a:lnTo>
                  <a:pt x="776" y="33"/>
                </a:lnTo>
                <a:close/>
                <a:moveTo>
                  <a:pt x="803" y="13"/>
                </a:moveTo>
                <a:lnTo>
                  <a:pt x="808" y="13"/>
                </a:lnTo>
                <a:lnTo>
                  <a:pt x="808" y="16"/>
                </a:lnTo>
                <a:lnTo>
                  <a:pt x="809" y="17"/>
                </a:lnTo>
                <a:lnTo>
                  <a:pt x="813" y="16"/>
                </a:lnTo>
                <a:lnTo>
                  <a:pt x="814" y="17"/>
                </a:lnTo>
                <a:lnTo>
                  <a:pt x="813" y="18"/>
                </a:lnTo>
                <a:lnTo>
                  <a:pt x="809" y="18"/>
                </a:lnTo>
                <a:lnTo>
                  <a:pt x="808" y="19"/>
                </a:lnTo>
                <a:lnTo>
                  <a:pt x="808" y="22"/>
                </a:lnTo>
                <a:lnTo>
                  <a:pt x="813" y="22"/>
                </a:lnTo>
                <a:lnTo>
                  <a:pt x="815" y="23"/>
                </a:lnTo>
                <a:lnTo>
                  <a:pt x="814" y="23"/>
                </a:lnTo>
                <a:lnTo>
                  <a:pt x="814" y="24"/>
                </a:lnTo>
                <a:lnTo>
                  <a:pt x="812" y="24"/>
                </a:lnTo>
                <a:lnTo>
                  <a:pt x="812" y="26"/>
                </a:lnTo>
                <a:lnTo>
                  <a:pt x="810" y="26"/>
                </a:lnTo>
                <a:lnTo>
                  <a:pt x="810" y="25"/>
                </a:lnTo>
                <a:lnTo>
                  <a:pt x="809" y="25"/>
                </a:lnTo>
                <a:lnTo>
                  <a:pt x="808" y="26"/>
                </a:lnTo>
                <a:lnTo>
                  <a:pt x="808" y="27"/>
                </a:lnTo>
                <a:lnTo>
                  <a:pt x="806" y="27"/>
                </a:lnTo>
                <a:lnTo>
                  <a:pt x="804" y="26"/>
                </a:lnTo>
                <a:lnTo>
                  <a:pt x="804" y="24"/>
                </a:lnTo>
                <a:lnTo>
                  <a:pt x="801" y="23"/>
                </a:lnTo>
                <a:lnTo>
                  <a:pt x="802" y="22"/>
                </a:lnTo>
                <a:lnTo>
                  <a:pt x="804" y="22"/>
                </a:lnTo>
                <a:lnTo>
                  <a:pt x="806" y="20"/>
                </a:lnTo>
                <a:lnTo>
                  <a:pt x="804" y="19"/>
                </a:lnTo>
                <a:lnTo>
                  <a:pt x="801" y="19"/>
                </a:lnTo>
                <a:lnTo>
                  <a:pt x="800" y="17"/>
                </a:lnTo>
                <a:lnTo>
                  <a:pt x="802" y="17"/>
                </a:lnTo>
                <a:lnTo>
                  <a:pt x="802" y="14"/>
                </a:lnTo>
                <a:lnTo>
                  <a:pt x="801" y="14"/>
                </a:lnTo>
                <a:lnTo>
                  <a:pt x="803" y="13"/>
                </a:lnTo>
                <a:close/>
                <a:moveTo>
                  <a:pt x="834" y="2"/>
                </a:moveTo>
                <a:lnTo>
                  <a:pt x="835" y="2"/>
                </a:lnTo>
                <a:lnTo>
                  <a:pt x="837" y="4"/>
                </a:lnTo>
                <a:lnTo>
                  <a:pt x="837" y="5"/>
                </a:lnTo>
                <a:lnTo>
                  <a:pt x="838" y="5"/>
                </a:lnTo>
                <a:lnTo>
                  <a:pt x="839" y="4"/>
                </a:lnTo>
                <a:lnTo>
                  <a:pt x="840" y="4"/>
                </a:lnTo>
                <a:lnTo>
                  <a:pt x="840" y="5"/>
                </a:lnTo>
                <a:lnTo>
                  <a:pt x="839" y="6"/>
                </a:lnTo>
                <a:lnTo>
                  <a:pt x="839" y="7"/>
                </a:lnTo>
                <a:lnTo>
                  <a:pt x="838" y="8"/>
                </a:lnTo>
                <a:lnTo>
                  <a:pt x="838" y="11"/>
                </a:lnTo>
                <a:lnTo>
                  <a:pt x="837" y="13"/>
                </a:lnTo>
                <a:lnTo>
                  <a:pt x="834" y="13"/>
                </a:lnTo>
                <a:lnTo>
                  <a:pt x="833" y="12"/>
                </a:lnTo>
                <a:lnTo>
                  <a:pt x="833" y="11"/>
                </a:lnTo>
                <a:lnTo>
                  <a:pt x="831" y="11"/>
                </a:lnTo>
                <a:lnTo>
                  <a:pt x="831" y="7"/>
                </a:lnTo>
                <a:lnTo>
                  <a:pt x="833" y="5"/>
                </a:lnTo>
                <a:lnTo>
                  <a:pt x="834" y="6"/>
                </a:lnTo>
                <a:lnTo>
                  <a:pt x="834" y="8"/>
                </a:lnTo>
                <a:lnTo>
                  <a:pt x="835" y="8"/>
                </a:lnTo>
                <a:lnTo>
                  <a:pt x="835" y="6"/>
                </a:lnTo>
                <a:lnTo>
                  <a:pt x="834" y="4"/>
                </a:lnTo>
                <a:lnTo>
                  <a:pt x="834" y="2"/>
                </a:lnTo>
                <a:close/>
                <a:moveTo>
                  <a:pt x="958" y="0"/>
                </a:moveTo>
                <a:lnTo>
                  <a:pt x="962" y="4"/>
                </a:lnTo>
                <a:lnTo>
                  <a:pt x="962" y="5"/>
                </a:lnTo>
                <a:lnTo>
                  <a:pt x="961" y="8"/>
                </a:lnTo>
                <a:lnTo>
                  <a:pt x="962" y="10"/>
                </a:lnTo>
                <a:lnTo>
                  <a:pt x="965" y="10"/>
                </a:lnTo>
                <a:lnTo>
                  <a:pt x="968" y="12"/>
                </a:lnTo>
                <a:lnTo>
                  <a:pt x="971" y="11"/>
                </a:lnTo>
                <a:lnTo>
                  <a:pt x="974" y="8"/>
                </a:lnTo>
                <a:lnTo>
                  <a:pt x="974" y="7"/>
                </a:lnTo>
                <a:lnTo>
                  <a:pt x="975" y="7"/>
                </a:lnTo>
                <a:lnTo>
                  <a:pt x="976" y="8"/>
                </a:lnTo>
                <a:lnTo>
                  <a:pt x="976" y="11"/>
                </a:lnTo>
                <a:lnTo>
                  <a:pt x="977" y="12"/>
                </a:lnTo>
                <a:lnTo>
                  <a:pt x="977" y="11"/>
                </a:lnTo>
                <a:lnTo>
                  <a:pt x="980" y="7"/>
                </a:lnTo>
                <a:lnTo>
                  <a:pt x="981" y="6"/>
                </a:lnTo>
                <a:lnTo>
                  <a:pt x="982" y="6"/>
                </a:lnTo>
                <a:lnTo>
                  <a:pt x="984" y="8"/>
                </a:lnTo>
                <a:lnTo>
                  <a:pt x="984" y="12"/>
                </a:lnTo>
                <a:lnTo>
                  <a:pt x="983" y="12"/>
                </a:lnTo>
                <a:lnTo>
                  <a:pt x="982" y="13"/>
                </a:lnTo>
                <a:lnTo>
                  <a:pt x="982" y="16"/>
                </a:lnTo>
                <a:lnTo>
                  <a:pt x="981" y="16"/>
                </a:lnTo>
                <a:lnTo>
                  <a:pt x="981" y="17"/>
                </a:lnTo>
                <a:lnTo>
                  <a:pt x="982" y="17"/>
                </a:lnTo>
                <a:lnTo>
                  <a:pt x="983" y="16"/>
                </a:lnTo>
                <a:lnTo>
                  <a:pt x="983" y="18"/>
                </a:lnTo>
                <a:lnTo>
                  <a:pt x="982" y="18"/>
                </a:lnTo>
                <a:lnTo>
                  <a:pt x="982" y="19"/>
                </a:lnTo>
                <a:lnTo>
                  <a:pt x="983" y="20"/>
                </a:lnTo>
                <a:lnTo>
                  <a:pt x="988" y="17"/>
                </a:lnTo>
                <a:lnTo>
                  <a:pt x="994" y="17"/>
                </a:lnTo>
                <a:lnTo>
                  <a:pt x="995" y="19"/>
                </a:lnTo>
                <a:lnTo>
                  <a:pt x="996" y="19"/>
                </a:lnTo>
                <a:lnTo>
                  <a:pt x="996" y="23"/>
                </a:lnTo>
                <a:lnTo>
                  <a:pt x="995" y="25"/>
                </a:lnTo>
                <a:lnTo>
                  <a:pt x="995" y="27"/>
                </a:lnTo>
                <a:lnTo>
                  <a:pt x="994" y="29"/>
                </a:lnTo>
                <a:lnTo>
                  <a:pt x="994" y="31"/>
                </a:lnTo>
                <a:lnTo>
                  <a:pt x="992" y="32"/>
                </a:lnTo>
                <a:lnTo>
                  <a:pt x="989" y="31"/>
                </a:lnTo>
                <a:lnTo>
                  <a:pt x="989" y="33"/>
                </a:lnTo>
                <a:lnTo>
                  <a:pt x="992" y="33"/>
                </a:lnTo>
                <a:lnTo>
                  <a:pt x="992" y="36"/>
                </a:lnTo>
                <a:lnTo>
                  <a:pt x="990" y="37"/>
                </a:lnTo>
                <a:lnTo>
                  <a:pt x="988" y="37"/>
                </a:lnTo>
                <a:lnTo>
                  <a:pt x="988" y="39"/>
                </a:lnTo>
                <a:lnTo>
                  <a:pt x="983" y="38"/>
                </a:lnTo>
                <a:lnTo>
                  <a:pt x="983" y="39"/>
                </a:lnTo>
                <a:lnTo>
                  <a:pt x="984" y="41"/>
                </a:lnTo>
                <a:lnTo>
                  <a:pt x="986" y="41"/>
                </a:lnTo>
                <a:lnTo>
                  <a:pt x="984" y="43"/>
                </a:lnTo>
                <a:lnTo>
                  <a:pt x="983" y="44"/>
                </a:lnTo>
                <a:lnTo>
                  <a:pt x="978" y="44"/>
                </a:lnTo>
                <a:lnTo>
                  <a:pt x="977" y="43"/>
                </a:lnTo>
                <a:lnTo>
                  <a:pt x="974" y="43"/>
                </a:lnTo>
                <a:lnTo>
                  <a:pt x="974" y="41"/>
                </a:lnTo>
                <a:lnTo>
                  <a:pt x="973" y="41"/>
                </a:lnTo>
                <a:lnTo>
                  <a:pt x="973" y="42"/>
                </a:lnTo>
                <a:lnTo>
                  <a:pt x="971" y="42"/>
                </a:lnTo>
                <a:lnTo>
                  <a:pt x="971" y="43"/>
                </a:lnTo>
                <a:lnTo>
                  <a:pt x="965" y="44"/>
                </a:lnTo>
                <a:lnTo>
                  <a:pt x="965" y="43"/>
                </a:lnTo>
                <a:lnTo>
                  <a:pt x="964" y="44"/>
                </a:lnTo>
                <a:lnTo>
                  <a:pt x="963" y="44"/>
                </a:lnTo>
                <a:lnTo>
                  <a:pt x="964" y="45"/>
                </a:lnTo>
                <a:lnTo>
                  <a:pt x="965" y="45"/>
                </a:lnTo>
                <a:lnTo>
                  <a:pt x="967" y="47"/>
                </a:lnTo>
                <a:lnTo>
                  <a:pt x="965" y="47"/>
                </a:lnTo>
                <a:lnTo>
                  <a:pt x="964" y="48"/>
                </a:lnTo>
                <a:lnTo>
                  <a:pt x="964" y="50"/>
                </a:lnTo>
                <a:lnTo>
                  <a:pt x="968" y="48"/>
                </a:lnTo>
                <a:lnTo>
                  <a:pt x="969" y="47"/>
                </a:lnTo>
                <a:lnTo>
                  <a:pt x="973" y="48"/>
                </a:lnTo>
                <a:lnTo>
                  <a:pt x="973" y="49"/>
                </a:lnTo>
                <a:lnTo>
                  <a:pt x="974" y="49"/>
                </a:lnTo>
                <a:lnTo>
                  <a:pt x="974" y="50"/>
                </a:lnTo>
                <a:lnTo>
                  <a:pt x="977" y="49"/>
                </a:lnTo>
                <a:lnTo>
                  <a:pt x="977" y="50"/>
                </a:lnTo>
                <a:lnTo>
                  <a:pt x="978" y="51"/>
                </a:lnTo>
                <a:lnTo>
                  <a:pt x="976" y="55"/>
                </a:lnTo>
                <a:lnTo>
                  <a:pt x="970" y="57"/>
                </a:lnTo>
                <a:lnTo>
                  <a:pt x="968" y="60"/>
                </a:lnTo>
                <a:lnTo>
                  <a:pt x="968" y="61"/>
                </a:lnTo>
                <a:lnTo>
                  <a:pt x="964" y="63"/>
                </a:lnTo>
                <a:lnTo>
                  <a:pt x="962" y="66"/>
                </a:lnTo>
                <a:lnTo>
                  <a:pt x="959" y="66"/>
                </a:lnTo>
                <a:lnTo>
                  <a:pt x="958" y="67"/>
                </a:lnTo>
                <a:lnTo>
                  <a:pt x="964" y="67"/>
                </a:lnTo>
                <a:lnTo>
                  <a:pt x="980" y="59"/>
                </a:lnTo>
                <a:lnTo>
                  <a:pt x="986" y="53"/>
                </a:lnTo>
                <a:lnTo>
                  <a:pt x="986" y="61"/>
                </a:lnTo>
                <a:lnTo>
                  <a:pt x="983" y="66"/>
                </a:lnTo>
                <a:lnTo>
                  <a:pt x="981" y="69"/>
                </a:lnTo>
                <a:lnTo>
                  <a:pt x="973" y="78"/>
                </a:lnTo>
                <a:lnTo>
                  <a:pt x="970" y="79"/>
                </a:lnTo>
                <a:lnTo>
                  <a:pt x="967" y="82"/>
                </a:lnTo>
                <a:lnTo>
                  <a:pt x="968" y="85"/>
                </a:lnTo>
                <a:lnTo>
                  <a:pt x="968" y="86"/>
                </a:lnTo>
                <a:lnTo>
                  <a:pt x="969" y="90"/>
                </a:lnTo>
                <a:lnTo>
                  <a:pt x="969" y="88"/>
                </a:lnTo>
                <a:lnTo>
                  <a:pt x="970" y="85"/>
                </a:lnTo>
                <a:lnTo>
                  <a:pt x="976" y="81"/>
                </a:lnTo>
                <a:lnTo>
                  <a:pt x="981" y="80"/>
                </a:lnTo>
                <a:lnTo>
                  <a:pt x="976" y="84"/>
                </a:lnTo>
                <a:lnTo>
                  <a:pt x="975" y="86"/>
                </a:lnTo>
                <a:lnTo>
                  <a:pt x="975" y="88"/>
                </a:lnTo>
                <a:lnTo>
                  <a:pt x="977" y="87"/>
                </a:lnTo>
                <a:lnTo>
                  <a:pt x="978" y="88"/>
                </a:lnTo>
                <a:lnTo>
                  <a:pt x="978" y="87"/>
                </a:lnTo>
                <a:lnTo>
                  <a:pt x="981" y="84"/>
                </a:lnTo>
                <a:lnTo>
                  <a:pt x="982" y="81"/>
                </a:lnTo>
                <a:lnTo>
                  <a:pt x="984" y="80"/>
                </a:lnTo>
                <a:lnTo>
                  <a:pt x="986" y="79"/>
                </a:lnTo>
                <a:lnTo>
                  <a:pt x="988" y="79"/>
                </a:lnTo>
                <a:lnTo>
                  <a:pt x="987" y="81"/>
                </a:lnTo>
                <a:lnTo>
                  <a:pt x="986" y="82"/>
                </a:lnTo>
                <a:lnTo>
                  <a:pt x="986" y="84"/>
                </a:lnTo>
                <a:lnTo>
                  <a:pt x="984" y="85"/>
                </a:lnTo>
                <a:lnTo>
                  <a:pt x="983" y="87"/>
                </a:lnTo>
                <a:lnTo>
                  <a:pt x="981" y="94"/>
                </a:lnTo>
                <a:lnTo>
                  <a:pt x="980" y="96"/>
                </a:lnTo>
                <a:lnTo>
                  <a:pt x="980" y="98"/>
                </a:lnTo>
                <a:lnTo>
                  <a:pt x="981" y="100"/>
                </a:lnTo>
                <a:lnTo>
                  <a:pt x="981" y="104"/>
                </a:lnTo>
                <a:lnTo>
                  <a:pt x="980" y="108"/>
                </a:lnTo>
                <a:lnTo>
                  <a:pt x="980" y="112"/>
                </a:lnTo>
                <a:lnTo>
                  <a:pt x="981" y="121"/>
                </a:lnTo>
                <a:lnTo>
                  <a:pt x="981" y="127"/>
                </a:lnTo>
                <a:lnTo>
                  <a:pt x="978" y="129"/>
                </a:lnTo>
                <a:lnTo>
                  <a:pt x="977" y="133"/>
                </a:lnTo>
                <a:lnTo>
                  <a:pt x="975" y="135"/>
                </a:lnTo>
                <a:lnTo>
                  <a:pt x="976" y="135"/>
                </a:lnTo>
                <a:lnTo>
                  <a:pt x="978" y="134"/>
                </a:lnTo>
                <a:lnTo>
                  <a:pt x="981" y="129"/>
                </a:lnTo>
                <a:lnTo>
                  <a:pt x="982" y="124"/>
                </a:lnTo>
                <a:lnTo>
                  <a:pt x="983" y="122"/>
                </a:lnTo>
                <a:lnTo>
                  <a:pt x="982" y="121"/>
                </a:lnTo>
                <a:lnTo>
                  <a:pt x="982" y="111"/>
                </a:lnTo>
                <a:lnTo>
                  <a:pt x="981" y="108"/>
                </a:lnTo>
                <a:lnTo>
                  <a:pt x="982" y="106"/>
                </a:lnTo>
                <a:lnTo>
                  <a:pt x="982" y="103"/>
                </a:lnTo>
                <a:lnTo>
                  <a:pt x="983" y="100"/>
                </a:lnTo>
                <a:lnTo>
                  <a:pt x="983" y="92"/>
                </a:lnTo>
                <a:lnTo>
                  <a:pt x="987" y="88"/>
                </a:lnTo>
                <a:lnTo>
                  <a:pt x="987" y="85"/>
                </a:lnTo>
                <a:lnTo>
                  <a:pt x="988" y="82"/>
                </a:lnTo>
                <a:lnTo>
                  <a:pt x="989" y="81"/>
                </a:lnTo>
                <a:lnTo>
                  <a:pt x="992" y="81"/>
                </a:lnTo>
                <a:lnTo>
                  <a:pt x="993" y="82"/>
                </a:lnTo>
                <a:lnTo>
                  <a:pt x="993" y="86"/>
                </a:lnTo>
                <a:lnTo>
                  <a:pt x="994" y="87"/>
                </a:lnTo>
                <a:lnTo>
                  <a:pt x="995" y="87"/>
                </a:lnTo>
                <a:lnTo>
                  <a:pt x="995" y="85"/>
                </a:lnTo>
                <a:lnTo>
                  <a:pt x="994" y="84"/>
                </a:lnTo>
                <a:lnTo>
                  <a:pt x="994" y="82"/>
                </a:lnTo>
                <a:lnTo>
                  <a:pt x="995" y="82"/>
                </a:lnTo>
                <a:lnTo>
                  <a:pt x="995" y="81"/>
                </a:lnTo>
                <a:lnTo>
                  <a:pt x="996" y="80"/>
                </a:lnTo>
                <a:lnTo>
                  <a:pt x="994" y="79"/>
                </a:lnTo>
                <a:lnTo>
                  <a:pt x="993" y="79"/>
                </a:lnTo>
                <a:lnTo>
                  <a:pt x="990" y="75"/>
                </a:lnTo>
                <a:lnTo>
                  <a:pt x="990" y="73"/>
                </a:lnTo>
                <a:lnTo>
                  <a:pt x="994" y="65"/>
                </a:lnTo>
                <a:lnTo>
                  <a:pt x="994" y="60"/>
                </a:lnTo>
                <a:lnTo>
                  <a:pt x="996" y="57"/>
                </a:lnTo>
                <a:lnTo>
                  <a:pt x="998" y="59"/>
                </a:lnTo>
                <a:lnTo>
                  <a:pt x="1000" y="59"/>
                </a:lnTo>
                <a:lnTo>
                  <a:pt x="999" y="57"/>
                </a:lnTo>
                <a:lnTo>
                  <a:pt x="998" y="55"/>
                </a:lnTo>
                <a:lnTo>
                  <a:pt x="995" y="53"/>
                </a:lnTo>
                <a:lnTo>
                  <a:pt x="996" y="49"/>
                </a:lnTo>
                <a:lnTo>
                  <a:pt x="1000" y="44"/>
                </a:lnTo>
                <a:lnTo>
                  <a:pt x="1002" y="38"/>
                </a:lnTo>
                <a:lnTo>
                  <a:pt x="1004" y="36"/>
                </a:lnTo>
                <a:lnTo>
                  <a:pt x="1006" y="35"/>
                </a:lnTo>
                <a:lnTo>
                  <a:pt x="1007" y="33"/>
                </a:lnTo>
                <a:lnTo>
                  <a:pt x="1018" y="32"/>
                </a:lnTo>
                <a:lnTo>
                  <a:pt x="1019" y="32"/>
                </a:lnTo>
                <a:lnTo>
                  <a:pt x="1020" y="33"/>
                </a:lnTo>
                <a:lnTo>
                  <a:pt x="1018" y="33"/>
                </a:lnTo>
                <a:lnTo>
                  <a:pt x="1018" y="35"/>
                </a:lnTo>
                <a:lnTo>
                  <a:pt x="1025" y="36"/>
                </a:lnTo>
                <a:lnTo>
                  <a:pt x="1026" y="37"/>
                </a:lnTo>
                <a:lnTo>
                  <a:pt x="1026" y="41"/>
                </a:lnTo>
                <a:lnTo>
                  <a:pt x="1029" y="43"/>
                </a:lnTo>
                <a:lnTo>
                  <a:pt x="1032" y="43"/>
                </a:lnTo>
                <a:lnTo>
                  <a:pt x="1032" y="47"/>
                </a:lnTo>
                <a:lnTo>
                  <a:pt x="1027" y="50"/>
                </a:lnTo>
                <a:lnTo>
                  <a:pt x="1029" y="51"/>
                </a:lnTo>
                <a:lnTo>
                  <a:pt x="1032" y="51"/>
                </a:lnTo>
                <a:lnTo>
                  <a:pt x="1031" y="53"/>
                </a:lnTo>
                <a:lnTo>
                  <a:pt x="1029" y="53"/>
                </a:lnTo>
                <a:lnTo>
                  <a:pt x="1030" y="54"/>
                </a:lnTo>
                <a:lnTo>
                  <a:pt x="1030" y="55"/>
                </a:lnTo>
                <a:lnTo>
                  <a:pt x="1031" y="54"/>
                </a:lnTo>
                <a:lnTo>
                  <a:pt x="1030" y="56"/>
                </a:lnTo>
                <a:lnTo>
                  <a:pt x="1029" y="57"/>
                </a:lnTo>
                <a:lnTo>
                  <a:pt x="1027" y="57"/>
                </a:lnTo>
                <a:lnTo>
                  <a:pt x="1027" y="61"/>
                </a:lnTo>
                <a:lnTo>
                  <a:pt x="1030" y="61"/>
                </a:lnTo>
                <a:lnTo>
                  <a:pt x="1031" y="57"/>
                </a:lnTo>
                <a:lnTo>
                  <a:pt x="1032" y="56"/>
                </a:lnTo>
                <a:lnTo>
                  <a:pt x="1037" y="55"/>
                </a:lnTo>
                <a:lnTo>
                  <a:pt x="1045" y="50"/>
                </a:lnTo>
                <a:lnTo>
                  <a:pt x="1046" y="50"/>
                </a:lnTo>
                <a:lnTo>
                  <a:pt x="1049" y="53"/>
                </a:lnTo>
                <a:lnTo>
                  <a:pt x="1049" y="57"/>
                </a:lnTo>
                <a:lnTo>
                  <a:pt x="1048" y="60"/>
                </a:lnTo>
                <a:lnTo>
                  <a:pt x="1045" y="63"/>
                </a:lnTo>
                <a:lnTo>
                  <a:pt x="1044" y="66"/>
                </a:lnTo>
                <a:lnTo>
                  <a:pt x="1050" y="63"/>
                </a:lnTo>
                <a:lnTo>
                  <a:pt x="1051" y="63"/>
                </a:lnTo>
                <a:lnTo>
                  <a:pt x="1051" y="61"/>
                </a:lnTo>
                <a:lnTo>
                  <a:pt x="1052" y="60"/>
                </a:lnTo>
                <a:lnTo>
                  <a:pt x="1056" y="55"/>
                </a:lnTo>
                <a:lnTo>
                  <a:pt x="1057" y="54"/>
                </a:lnTo>
                <a:lnTo>
                  <a:pt x="1062" y="54"/>
                </a:lnTo>
                <a:lnTo>
                  <a:pt x="1067" y="57"/>
                </a:lnTo>
                <a:lnTo>
                  <a:pt x="1065" y="60"/>
                </a:lnTo>
                <a:lnTo>
                  <a:pt x="1064" y="61"/>
                </a:lnTo>
                <a:lnTo>
                  <a:pt x="1062" y="62"/>
                </a:lnTo>
                <a:lnTo>
                  <a:pt x="1063" y="63"/>
                </a:lnTo>
                <a:lnTo>
                  <a:pt x="1068" y="63"/>
                </a:lnTo>
                <a:lnTo>
                  <a:pt x="1073" y="68"/>
                </a:lnTo>
                <a:lnTo>
                  <a:pt x="1071" y="70"/>
                </a:lnTo>
                <a:lnTo>
                  <a:pt x="1069" y="72"/>
                </a:lnTo>
                <a:lnTo>
                  <a:pt x="1064" y="73"/>
                </a:lnTo>
                <a:lnTo>
                  <a:pt x="1063" y="74"/>
                </a:lnTo>
                <a:lnTo>
                  <a:pt x="1063" y="75"/>
                </a:lnTo>
                <a:lnTo>
                  <a:pt x="1064" y="75"/>
                </a:lnTo>
                <a:lnTo>
                  <a:pt x="1064" y="76"/>
                </a:lnTo>
                <a:lnTo>
                  <a:pt x="1063" y="76"/>
                </a:lnTo>
                <a:lnTo>
                  <a:pt x="1060" y="75"/>
                </a:lnTo>
                <a:lnTo>
                  <a:pt x="1057" y="75"/>
                </a:lnTo>
                <a:lnTo>
                  <a:pt x="1057" y="76"/>
                </a:lnTo>
                <a:lnTo>
                  <a:pt x="1064" y="78"/>
                </a:lnTo>
                <a:lnTo>
                  <a:pt x="1077" y="73"/>
                </a:lnTo>
                <a:lnTo>
                  <a:pt x="1079" y="73"/>
                </a:lnTo>
                <a:lnTo>
                  <a:pt x="1082" y="75"/>
                </a:lnTo>
                <a:lnTo>
                  <a:pt x="1083" y="78"/>
                </a:lnTo>
                <a:lnTo>
                  <a:pt x="1081" y="79"/>
                </a:lnTo>
                <a:lnTo>
                  <a:pt x="1088" y="85"/>
                </a:lnTo>
                <a:lnTo>
                  <a:pt x="1089" y="88"/>
                </a:lnTo>
                <a:lnTo>
                  <a:pt x="1091" y="91"/>
                </a:lnTo>
                <a:lnTo>
                  <a:pt x="1092" y="92"/>
                </a:lnTo>
                <a:lnTo>
                  <a:pt x="1093" y="91"/>
                </a:lnTo>
                <a:lnTo>
                  <a:pt x="1093" y="90"/>
                </a:lnTo>
                <a:lnTo>
                  <a:pt x="1096" y="86"/>
                </a:lnTo>
                <a:lnTo>
                  <a:pt x="1098" y="87"/>
                </a:lnTo>
                <a:lnTo>
                  <a:pt x="1099" y="91"/>
                </a:lnTo>
                <a:lnTo>
                  <a:pt x="1099" y="92"/>
                </a:lnTo>
                <a:lnTo>
                  <a:pt x="1100" y="92"/>
                </a:lnTo>
                <a:lnTo>
                  <a:pt x="1102" y="98"/>
                </a:lnTo>
                <a:lnTo>
                  <a:pt x="1102" y="99"/>
                </a:lnTo>
                <a:lnTo>
                  <a:pt x="1101" y="100"/>
                </a:lnTo>
                <a:lnTo>
                  <a:pt x="1101" y="104"/>
                </a:lnTo>
                <a:lnTo>
                  <a:pt x="1102" y="105"/>
                </a:lnTo>
                <a:lnTo>
                  <a:pt x="1102" y="106"/>
                </a:lnTo>
                <a:lnTo>
                  <a:pt x="1104" y="108"/>
                </a:lnTo>
                <a:lnTo>
                  <a:pt x="1101" y="108"/>
                </a:lnTo>
                <a:lnTo>
                  <a:pt x="1096" y="111"/>
                </a:lnTo>
                <a:lnTo>
                  <a:pt x="1081" y="112"/>
                </a:lnTo>
                <a:lnTo>
                  <a:pt x="1080" y="113"/>
                </a:lnTo>
                <a:lnTo>
                  <a:pt x="1080" y="117"/>
                </a:lnTo>
                <a:lnTo>
                  <a:pt x="1079" y="118"/>
                </a:lnTo>
                <a:lnTo>
                  <a:pt x="1075" y="119"/>
                </a:lnTo>
                <a:lnTo>
                  <a:pt x="1073" y="122"/>
                </a:lnTo>
                <a:lnTo>
                  <a:pt x="1073" y="123"/>
                </a:lnTo>
                <a:lnTo>
                  <a:pt x="1074" y="124"/>
                </a:lnTo>
                <a:lnTo>
                  <a:pt x="1073" y="128"/>
                </a:lnTo>
                <a:lnTo>
                  <a:pt x="1071" y="129"/>
                </a:lnTo>
                <a:lnTo>
                  <a:pt x="1064" y="131"/>
                </a:lnTo>
                <a:lnTo>
                  <a:pt x="1063" y="133"/>
                </a:lnTo>
                <a:lnTo>
                  <a:pt x="1063" y="134"/>
                </a:lnTo>
                <a:lnTo>
                  <a:pt x="1064" y="135"/>
                </a:lnTo>
                <a:lnTo>
                  <a:pt x="1044" y="131"/>
                </a:lnTo>
                <a:lnTo>
                  <a:pt x="1025" y="129"/>
                </a:lnTo>
                <a:lnTo>
                  <a:pt x="1013" y="124"/>
                </a:lnTo>
                <a:lnTo>
                  <a:pt x="1001" y="121"/>
                </a:lnTo>
                <a:lnTo>
                  <a:pt x="999" y="122"/>
                </a:lnTo>
                <a:lnTo>
                  <a:pt x="999" y="123"/>
                </a:lnTo>
                <a:lnTo>
                  <a:pt x="1005" y="123"/>
                </a:lnTo>
                <a:lnTo>
                  <a:pt x="1005" y="125"/>
                </a:lnTo>
                <a:lnTo>
                  <a:pt x="1000" y="128"/>
                </a:lnTo>
                <a:lnTo>
                  <a:pt x="999" y="129"/>
                </a:lnTo>
                <a:lnTo>
                  <a:pt x="1001" y="131"/>
                </a:lnTo>
                <a:lnTo>
                  <a:pt x="1005" y="131"/>
                </a:lnTo>
                <a:lnTo>
                  <a:pt x="1006" y="129"/>
                </a:lnTo>
                <a:lnTo>
                  <a:pt x="1008" y="131"/>
                </a:lnTo>
                <a:lnTo>
                  <a:pt x="1006" y="131"/>
                </a:lnTo>
                <a:lnTo>
                  <a:pt x="1005" y="133"/>
                </a:lnTo>
                <a:lnTo>
                  <a:pt x="1012" y="134"/>
                </a:lnTo>
                <a:lnTo>
                  <a:pt x="1015" y="136"/>
                </a:lnTo>
                <a:lnTo>
                  <a:pt x="1021" y="136"/>
                </a:lnTo>
                <a:lnTo>
                  <a:pt x="1021" y="137"/>
                </a:lnTo>
                <a:lnTo>
                  <a:pt x="1023" y="137"/>
                </a:lnTo>
                <a:lnTo>
                  <a:pt x="1024" y="139"/>
                </a:lnTo>
                <a:lnTo>
                  <a:pt x="1024" y="140"/>
                </a:lnTo>
                <a:lnTo>
                  <a:pt x="1021" y="141"/>
                </a:lnTo>
                <a:lnTo>
                  <a:pt x="1023" y="142"/>
                </a:lnTo>
                <a:lnTo>
                  <a:pt x="1030" y="141"/>
                </a:lnTo>
                <a:lnTo>
                  <a:pt x="1032" y="143"/>
                </a:lnTo>
                <a:lnTo>
                  <a:pt x="1044" y="147"/>
                </a:lnTo>
                <a:lnTo>
                  <a:pt x="1044" y="148"/>
                </a:lnTo>
                <a:lnTo>
                  <a:pt x="1039" y="152"/>
                </a:lnTo>
                <a:lnTo>
                  <a:pt x="1038" y="153"/>
                </a:lnTo>
                <a:lnTo>
                  <a:pt x="1036" y="154"/>
                </a:lnTo>
                <a:lnTo>
                  <a:pt x="1033" y="156"/>
                </a:lnTo>
                <a:lnTo>
                  <a:pt x="1033" y="158"/>
                </a:lnTo>
                <a:lnTo>
                  <a:pt x="1032" y="159"/>
                </a:lnTo>
                <a:lnTo>
                  <a:pt x="1032" y="160"/>
                </a:lnTo>
                <a:lnTo>
                  <a:pt x="1031" y="160"/>
                </a:lnTo>
                <a:lnTo>
                  <a:pt x="1033" y="161"/>
                </a:lnTo>
                <a:lnTo>
                  <a:pt x="1033" y="160"/>
                </a:lnTo>
                <a:lnTo>
                  <a:pt x="1036" y="158"/>
                </a:lnTo>
                <a:lnTo>
                  <a:pt x="1037" y="154"/>
                </a:lnTo>
                <a:lnTo>
                  <a:pt x="1039" y="154"/>
                </a:lnTo>
                <a:lnTo>
                  <a:pt x="1040" y="155"/>
                </a:lnTo>
                <a:lnTo>
                  <a:pt x="1044" y="155"/>
                </a:lnTo>
                <a:lnTo>
                  <a:pt x="1045" y="154"/>
                </a:lnTo>
                <a:lnTo>
                  <a:pt x="1046" y="155"/>
                </a:lnTo>
                <a:lnTo>
                  <a:pt x="1046" y="160"/>
                </a:lnTo>
                <a:lnTo>
                  <a:pt x="1048" y="164"/>
                </a:lnTo>
                <a:lnTo>
                  <a:pt x="1048" y="165"/>
                </a:lnTo>
                <a:lnTo>
                  <a:pt x="1046" y="167"/>
                </a:lnTo>
                <a:lnTo>
                  <a:pt x="1043" y="171"/>
                </a:lnTo>
                <a:lnTo>
                  <a:pt x="1043" y="173"/>
                </a:lnTo>
                <a:lnTo>
                  <a:pt x="1042" y="173"/>
                </a:lnTo>
                <a:lnTo>
                  <a:pt x="1042" y="174"/>
                </a:lnTo>
                <a:lnTo>
                  <a:pt x="1040" y="176"/>
                </a:lnTo>
                <a:lnTo>
                  <a:pt x="1040" y="178"/>
                </a:lnTo>
                <a:lnTo>
                  <a:pt x="1038" y="178"/>
                </a:lnTo>
                <a:lnTo>
                  <a:pt x="1037" y="179"/>
                </a:lnTo>
                <a:lnTo>
                  <a:pt x="1038" y="179"/>
                </a:lnTo>
                <a:lnTo>
                  <a:pt x="1038" y="180"/>
                </a:lnTo>
                <a:lnTo>
                  <a:pt x="1036" y="185"/>
                </a:lnTo>
                <a:lnTo>
                  <a:pt x="1038" y="183"/>
                </a:lnTo>
                <a:lnTo>
                  <a:pt x="1039" y="180"/>
                </a:lnTo>
                <a:lnTo>
                  <a:pt x="1044" y="176"/>
                </a:lnTo>
                <a:lnTo>
                  <a:pt x="1045" y="176"/>
                </a:lnTo>
                <a:lnTo>
                  <a:pt x="1050" y="174"/>
                </a:lnTo>
                <a:lnTo>
                  <a:pt x="1054" y="176"/>
                </a:lnTo>
                <a:lnTo>
                  <a:pt x="1057" y="172"/>
                </a:lnTo>
                <a:lnTo>
                  <a:pt x="1060" y="171"/>
                </a:lnTo>
                <a:lnTo>
                  <a:pt x="1061" y="172"/>
                </a:lnTo>
                <a:lnTo>
                  <a:pt x="1060" y="173"/>
                </a:lnTo>
                <a:lnTo>
                  <a:pt x="1058" y="176"/>
                </a:lnTo>
                <a:lnTo>
                  <a:pt x="1055" y="179"/>
                </a:lnTo>
                <a:lnTo>
                  <a:pt x="1055" y="182"/>
                </a:lnTo>
                <a:lnTo>
                  <a:pt x="1056" y="179"/>
                </a:lnTo>
                <a:lnTo>
                  <a:pt x="1057" y="178"/>
                </a:lnTo>
                <a:lnTo>
                  <a:pt x="1058" y="178"/>
                </a:lnTo>
                <a:lnTo>
                  <a:pt x="1061" y="176"/>
                </a:lnTo>
                <a:lnTo>
                  <a:pt x="1062" y="178"/>
                </a:lnTo>
                <a:lnTo>
                  <a:pt x="1062" y="179"/>
                </a:lnTo>
                <a:lnTo>
                  <a:pt x="1065" y="182"/>
                </a:lnTo>
                <a:lnTo>
                  <a:pt x="1065" y="180"/>
                </a:lnTo>
                <a:lnTo>
                  <a:pt x="1064" y="179"/>
                </a:lnTo>
                <a:lnTo>
                  <a:pt x="1063" y="174"/>
                </a:lnTo>
                <a:lnTo>
                  <a:pt x="1062" y="173"/>
                </a:lnTo>
                <a:lnTo>
                  <a:pt x="1063" y="173"/>
                </a:lnTo>
                <a:lnTo>
                  <a:pt x="1065" y="172"/>
                </a:lnTo>
                <a:lnTo>
                  <a:pt x="1067" y="172"/>
                </a:lnTo>
                <a:lnTo>
                  <a:pt x="1067" y="170"/>
                </a:lnTo>
                <a:lnTo>
                  <a:pt x="1065" y="168"/>
                </a:lnTo>
                <a:lnTo>
                  <a:pt x="1065" y="167"/>
                </a:lnTo>
                <a:lnTo>
                  <a:pt x="1064" y="166"/>
                </a:lnTo>
                <a:lnTo>
                  <a:pt x="1064" y="158"/>
                </a:lnTo>
                <a:lnTo>
                  <a:pt x="1070" y="158"/>
                </a:lnTo>
                <a:lnTo>
                  <a:pt x="1071" y="160"/>
                </a:lnTo>
                <a:lnTo>
                  <a:pt x="1071" y="161"/>
                </a:lnTo>
                <a:lnTo>
                  <a:pt x="1069" y="162"/>
                </a:lnTo>
                <a:lnTo>
                  <a:pt x="1070" y="164"/>
                </a:lnTo>
                <a:lnTo>
                  <a:pt x="1074" y="162"/>
                </a:lnTo>
                <a:lnTo>
                  <a:pt x="1075" y="164"/>
                </a:lnTo>
                <a:lnTo>
                  <a:pt x="1075" y="180"/>
                </a:lnTo>
                <a:lnTo>
                  <a:pt x="1074" y="183"/>
                </a:lnTo>
                <a:lnTo>
                  <a:pt x="1071" y="183"/>
                </a:lnTo>
                <a:lnTo>
                  <a:pt x="1073" y="184"/>
                </a:lnTo>
                <a:lnTo>
                  <a:pt x="1076" y="183"/>
                </a:lnTo>
                <a:lnTo>
                  <a:pt x="1076" y="176"/>
                </a:lnTo>
                <a:lnTo>
                  <a:pt x="1077" y="176"/>
                </a:lnTo>
                <a:lnTo>
                  <a:pt x="1077" y="171"/>
                </a:lnTo>
                <a:lnTo>
                  <a:pt x="1076" y="170"/>
                </a:lnTo>
                <a:lnTo>
                  <a:pt x="1077" y="170"/>
                </a:lnTo>
                <a:lnTo>
                  <a:pt x="1076" y="167"/>
                </a:lnTo>
                <a:lnTo>
                  <a:pt x="1079" y="166"/>
                </a:lnTo>
                <a:lnTo>
                  <a:pt x="1087" y="167"/>
                </a:lnTo>
                <a:lnTo>
                  <a:pt x="1088" y="168"/>
                </a:lnTo>
                <a:lnTo>
                  <a:pt x="1087" y="168"/>
                </a:lnTo>
                <a:lnTo>
                  <a:pt x="1087" y="171"/>
                </a:lnTo>
                <a:lnTo>
                  <a:pt x="1088" y="172"/>
                </a:lnTo>
                <a:lnTo>
                  <a:pt x="1088" y="171"/>
                </a:lnTo>
                <a:lnTo>
                  <a:pt x="1089" y="171"/>
                </a:lnTo>
                <a:lnTo>
                  <a:pt x="1093" y="167"/>
                </a:lnTo>
                <a:lnTo>
                  <a:pt x="1093" y="172"/>
                </a:lnTo>
                <a:lnTo>
                  <a:pt x="1094" y="174"/>
                </a:lnTo>
                <a:lnTo>
                  <a:pt x="1094" y="176"/>
                </a:lnTo>
                <a:lnTo>
                  <a:pt x="1095" y="178"/>
                </a:lnTo>
                <a:lnTo>
                  <a:pt x="1095" y="182"/>
                </a:lnTo>
                <a:lnTo>
                  <a:pt x="1096" y="184"/>
                </a:lnTo>
                <a:lnTo>
                  <a:pt x="1096" y="195"/>
                </a:lnTo>
                <a:lnTo>
                  <a:pt x="1095" y="199"/>
                </a:lnTo>
                <a:lnTo>
                  <a:pt x="1094" y="201"/>
                </a:lnTo>
                <a:lnTo>
                  <a:pt x="1089" y="202"/>
                </a:lnTo>
                <a:lnTo>
                  <a:pt x="1080" y="199"/>
                </a:lnTo>
                <a:lnTo>
                  <a:pt x="1077" y="199"/>
                </a:lnTo>
                <a:lnTo>
                  <a:pt x="1070" y="190"/>
                </a:lnTo>
                <a:lnTo>
                  <a:pt x="1068" y="188"/>
                </a:lnTo>
                <a:lnTo>
                  <a:pt x="1063" y="188"/>
                </a:lnTo>
                <a:lnTo>
                  <a:pt x="1063" y="189"/>
                </a:lnTo>
                <a:lnTo>
                  <a:pt x="1064" y="190"/>
                </a:lnTo>
                <a:lnTo>
                  <a:pt x="1067" y="191"/>
                </a:lnTo>
                <a:lnTo>
                  <a:pt x="1067" y="192"/>
                </a:lnTo>
                <a:lnTo>
                  <a:pt x="1068" y="195"/>
                </a:lnTo>
                <a:lnTo>
                  <a:pt x="1068" y="197"/>
                </a:lnTo>
                <a:lnTo>
                  <a:pt x="1067" y="199"/>
                </a:lnTo>
                <a:lnTo>
                  <a:pt x="1067" y="201"/>
                </a:lnTo>
                <a:lnTo>
                  <a:pt x="1064" y="203"/>
                </a:lnTo>
                <a:lnTo>
                  <a:pt x="1064" y="205"/>
                </a:lnTo>
                <a:lnTo>
                  <a:pt x="1063" y="207"/>
                </a:lnTo>
                <a:lnTo>
                  <a:pt x="1063" y="211"/>
                </a:lnTo>
                <a:lnTo>
                  <a:pt x="1057" y="217"/>
                </a:lnTo>
                <a:lnTo>
                  <a:pt x="1056" y="220"/>
                </a:lnTo>
                <a:lnTo>
                  <a:pt x="1056" y="221"/>
                </a:lnTo>
                <a:lnTo>
                  <a:pt x="1048" y="221"/>
                </a:lnTo>
                <a:lnTo>
                  <a:pt x="1043" y="226"/>
                </a:lnTo>
                <a:lnTo>
                  <a:pt x="1040" y="227"/>
                </a:lnTo>
                <a:lnTo>
                  <a:pt x="1033" y="227"/>
                </a:lnTo>
                <a:lnTo>
                  <a:pt x="1031" y="228"/>
                </a:lnTo>
                <a:lnTo>
                  <a:pt x="1030" y="231"/>
                </a:lnTo>
                <a:lnTo>
                  <a:pt x="1030" y="233"/>
                </a:lnTo>
                <a:lnTo>
                  <a:pt x="1029" y="237"/>
                </a:lnTo>
                <a:lnTo>
                  <a:pt x="1029" y="240"/>
                </a:lnTo>
                <a:lnTo>
                  <a:pt x="1027" y="241"/>
                </a:lnTo>
                <a:lnTo>
                  <a:pt x="1027" y="245"/>
                </a:lnTo>
                <a:lnTo>
                  <a:pt x="1026" y="248"/>
                </a:lnTo>
                <a:lnTo>
                  <a:pt x="1026" y="251"/>
                </a:lnTo>
                <a:lnTo>
                  <a:pt x="1025" y="252"/>
                </a:lnTo>
                <a:lnTo>
                  <a:pt x="1023" y="256"/>
                </a:lnTo>
                <a:lnTo>
                  <a:pt x="1018" y="260"/>
                </a:lnTo>
                <a:lnTo>
                  <a:pt x="1015" y="259"/>
                </a:lnTo>
                <a:lnTo>
                  <a:pt x="1014" y="260"/>
                </a:lnTo>
                <a:lnTo>
                  <a:pt x="1013" y="260"/>
                </a:lnTo>
                <a:lnTo>
                  <a:pt x="1008" y="254"/>
                </a:lnTo>
                <a:lnTo>
                  <a:pt x="1008" y="251"/>
                </a:lnTo>
                <a:lnTo>
                  <a:pt x="1009" y="242"/>
                </a:lnTo>
                <a:lnTo>
                  <a:pt x="1009" y="239"/>
                </a:lnTo>
                <a:lnTo>
                  <a:pt x="1025" y="220"/>
                </a:lnTo>
                <a:lnTo>
                  <a:pt x="1030" y="209"/>
                </a:lnTo>
                <a:lnTo>
                  <a:pt x="1024" y="194"/>
                </a:lnTo>
                <a:lnTo>
                  <a:pt x="1021" y="184"/>
                </a:lnTo>
                <a:lnTo>
                  <a:pt x="1021" y="183"/>
                </a:lnTo>
                <a:lnTo>
                  <a:pt x="1007" y="177"/>
                </a:lnTo>
                <a:lnTo>
                  <a:pt x="994" y="170"/>
                </a:lnTo>
                <a:lnTo>
                  <a:pt x="992" y="168"/>
                </a:lnTo>
                <a:lnTo>
                  <a:pt x="990" y="167"/>
                </a:lnTo>
                <a:lnTo>
                  <a:pt x="989" y="165"/>
                </a:lnTo>
                <a:lnTo>
                  <a:pt x="989" y="161"/>
                </a:lnTo>
                <a:lnTo>
                  <a:pt x="981" y="158"/>
                </a:lnTo>
                <a:lnTo>
                  <a:pt x="981" y="156"/>
                </a:lnTo>
                <a:lnTo>
                  <a:pt x="973" y="142"/>
                </a:lnTo>
                <a:lnTo>
                  <a:pt x="970" y="136"/>
                </a:lnTo>
                <a:lnTo>
                  <a:pt x="968" y="134"/>
                </a:lnTo>
                <a:lnTo>
                  <a:pt x="964" y="136"/>
                </a:lnTo>
                <a:lnTo>
                  <a:pt x="959" y="135"/>
                </a:lnTo>
                <a:lnTo>
                  <a:pt x="957" y="136"/>
                </a:lnTo>
                <a:lnTo>
                  <a:pt x="955" y="139"/>
                </a:lnTo>
                <a:lnTo>
                  <a:pt x="955" y="141"/>
                </a:lnTo>
                <a:lnTo>
                  <a:pt x="950" y="143"/>
                </a:lnTo>
                <a:lnTo>
                  <a:pt x="947" y="147"/>
                </a:lnTo>
                <a:lnTo>
                  <a:pt x="945" y="147"/>
                </a:lnTo>
                <a:lnTo>
                  <a:pt x="945" y="149"/>
                </a:lnTo>
                <a:lnTo>
                  <a:pt x="946" y="149"/>
                </a:lnTo>
                <a:lnTo>
                  <a:pt x="944" y="152"/>
                </a:lnTo>
                <a:lnTo>
                  <a:pt x="936" y="155"/>
                </a:lnTo>
                <a:lnTo>
                  <a:pt x="934" y="155"/>
                </a:lnTo>
                <a:lnTo>
                  <a:pt x="932" y="153"/>
                </a:lnTo>
                <a:lnTo>
                  <a:pt x="930" y="153"/>
                </a:lnTo>
                <a:lnTo>
                  <a:pt x="925" y="151"/>
                </a:lnTo>
                <a:lnTo>
                  <a:pt x="921" y="152"/>
                </a:lnTo>
                <a:lnTo>
                  <a:pt x="919" y="152"/>
                </a:lnTo>
                <a:lnTo>
                  <a:pt x="912" y="153"/>
                </a:lnTo>
                <a:lnTo>
                  <a:pt x="911" y="153"/>
                </a:lnTo>
                <a:lnTo>
                  <a:pt x="908" y="158"/>
                </a:lnTo>
                <a:lnTo>
                  <a:pt x="907" y="159"/>
                </a:lnTo>
                <a:lnTo>
                  <a:pt x="908" y="161"/>
                </a:lnTo>
                <a:lnTo>
                  <a:pt x="907" y="164"/>
                </a:lnTo>
                <a:lnTo>
                  <a:pt x="902" y="168"/>
                </a:lnTo>
                <a:lnTo>
                  <a:pt x="900" y="173"/>
                </a:lnTo>
                <a:lnTo>
                  <a:pt x="899" y="177"/>
                </a:lnTo>
                <a:lnTo>
                  <a:pt x="897" y="177"/>
                </a:lnTo>
                <a:lnTo>
                  <a:pt x="897" y="178"/>
                </a:lnTo>
                <a:lnTo>
                  <a:pt x="896" y="179"/>
                </a:lnTo>
                <a:lnTo>
                  <a:pt x="890" y="180"/>
                </a:lnTo>
                <a:lnTo>
                  <a:pt x="888" y="183"/>
                </a:lnTo>
                <a:lnTo>
                  <a:pt x="888" y="185"/>
                </a:lnTo>
                <a:lnTo>
                  <a:pt x="887" y="186"/>
                </a:lnTo>
                <a:lnTo>
                  <a:pt x="888" y="188"/>
                </a:lnTo>
                <a:lnTo>
                  <a:pt x="888" y="189"/>
                </a:lnTo>
                <a:lnTo>
                  <a:pt x="889" y="191"/>
                </a:lnTo>
                <a:lnTo>
                  <a:pt x="889" y="194"/>
                </a:lnTo>
                <a:lnTo>
                  <a:pt x="887" y="198"/>
                </a:lnTo>
                <a:lnTo>
                  <a:pt x="884" y="201"/>
                </a:lnTo>
                <a:lnTo>
                  <a:pt x="884" y="203"/>
                </a:lnTo>
                <a:lnTo>
                  <a:pt x="886" y="204"/>
                </a:lnTo>
                <a:lnTo>
                  <a:pt x="884" y="205"/>
                </a:lnTo>
                <a:lnTo>
                  <a:pt x="884" y="210"/>
                </a:lnTo>
                <a:lnTo>
                  <a:pt x="883" y="211"/>
                </a:lnTo>
                <a:lnTo>
                  <a:pt x="882" y="214"/>
                </a:lnTo>
                <a:lnTo>
                  <a:pt x="883" y="219"/>
                </a:lnTo>
                <a:lnTo>
                  <a:pt x="883" y="220"/>
                </a:lnTo>
                <a:lnTo>
                  <a:pt x="880" y="227"/>
                </a:lnTo>
                <a:lnTo>
                  <a:pt x="880" y="228"/>
                </a:lnTo>
                <a:lnTo>
                  <a:pt x="878" y="238"/>
                </a:lnTo>
                <a:lnTo>
                  <a:pt x="877" y="241"/>
                </a:lnTo>
                <a:lnTo>
                  <a:pt x="878" y="245"/>
                </a:lnTo>
                <a:lnTo>
                  <a:pt x="880" y="247"/>
                </a:lnTo>
                <a:lnTo>
                  <a:pt x="880" y="250"/>
                </a:lnTo>
                <a:lnTo>
                  <a:pt x="878" y="250"/>
                </a:lnTo>
                <a:lnTo>
                  <a:pt x="878" y="257"/>
                </a:lnTo>
                <a:lnTo>
                  <a:pt x="880" y="259"/>
                </a:lnTo>
                <a:lnTo>
                  <a:pt x="880" y="262"/>
                </a:lnTo>
                <a:lnTo>
                  <a:pt x="881" y="262"/>
                </a:lnTo>
                <a:lnTo>
                  <a:pt x="881" y="265"/>
                </a:lnTo>
                <a:lnTo>
                  <a:pt x="878" y="266"/>
                </a:lnTo>
                <a:lnTo>
                  <a:pt x="878" y="270"/>
                </a:lnTo>
                <a:lnTo>
                  <a:pt x="876" y="272"/>
                </a:lnTo>
                <a:lnTo>
                  <a:pt x="875" y="275"/>
                </a:lnTo>
                <a:lnTo>
                  <a:pt x="875" y="277"/>
                </a:lnTo>
                <a:lnTo>
                  <a:pt x="872" y="279"/>
                </a:lnTo>
                <a:lnTo>
                  <a:pt x="866" y="277"/>
                </a:lnTo>
                <a:lnTo>
                  <a:pt x="865" y="277"/>
                </a:lnTo>
                <a:lnTo>
                  <a:pt x="863" y="278"/>
                </a:lnTo>
                <a:lnTo>
                  <a:pt x="856" y="285"/>
                </a:lnTo>
                <a:lnTo>
                  <a:pt x="853" y="289"/>
                </a:lnTo>
                <a:lnTo>
                  <a:pt x="853" y="300"/>
                </a:lnTo>
                <a:lnTo>
                  <a:pt x="852" y="301"/>
                </a:lnTo>
                <a:lnTo>
                  <a:pt x="852" y="302"/>
                </a:lnTo>
                <a:lnTo>
                  <a:pt x="853" y="303"/>
                </a:lnTo>
                <a:lnTo>
                  <a:pt x="852" y="306"/>
                </a:lnTo>
                <a:lnTo>
                  <a:pt x="851" y="307"/>
                </a:lnTo>
                <a:lnTo>
                  <a:pt x="850" y="307"/>
                </a:lnTo>
                <a:lnTo>
                  <a:pt x="847" y="309"/>
                </a:lnTo>
                <a:lnTo>
                  <a:pt x="846" y="309"/>
                </a:lnTo>
                <a:lnTo>
                  <a:pt x="844" y="312"/>
                </a:lnTo>
                <a:lnTo>
                  <a:pt x="844" y="314"/>
                </a:lnTo>
                <a:lnTo>
                  <a:pt x="841" y="317"/>
                </a:lnTo>
                <a:lnTo>
                  <a:pt x="841" y="315"/>
                </a:lnTo>
                <a:lnTo>
                  <a:pt x="839" y="312"/>
                </a:lnTo>
                <a:lnTo>
                  <a:pt x="837" y="306"/>
                </a:lnTo>
                <a:lnTo>
                  <a:pt x="833" y="303"/>
                </a:lnTo>
                <a:lnTo>
                  <a:pt x="825" y="300"/>
                </a:lnTo>
                <a:lnTo>
                  <a:pt x="819" y="299"/>
                </a:lnTo>
                <a:lnTo>
                  <a:pt x="813" y="294"/>
                </a:lnTo>
                <a:lnTo>
                  <a:pt x="812" y="293"/>
                </a:lnTo>
                <a:lnTo>
                  <a:pt x="810" y="290"/>
                </a:lnTo>
                <a:lnTo>
                  <a:pt x="802" y="285"/>
                </a:lnTo>
                <a:lnTo>
                  <a:pt x="799" y="285"/>
                </a:lnTo>
                <a:lnTo>
                  <a:pt x="796" y="288"/>
                </a:lnTo>
                <a:lnTo>
                  <a:pt x="794" y="297"/>
                </a:lnTo>
                <a:lnTo>
                  <a:pt x="789" y="300"/>
                </a:lnTo>
                <a:lnTo>
                  <a:pt x="783" y="301"/>
                </a:lnTo>
                <a:lnTo>
                  <a:pt x="771" y="308"/>
                </a:lnTo>
                <a:lnTo>
                  <a:pt x="770" y="308"/>
                </a:lnTo>
                <a:lnTo>
                  <a:pt x="766" y="302"/>
                </a:lnTo>
                <a:lnTo>
                  <a:pt x="765" y="301"/>
                </a:lnTo>
                <a:lnTo>
                  <a:pt x="763" y="301"/>
                </a:lnTo>
                <a:lnTo>
                  <a:pt x="756" y="302"/>
                </a:lnTo>
                <a:lnTo>
                  <a:pt x="745" y="296"/>
                </a:lnTo>
                <a:lnTo>
                  <a:pt x="742" y="296"/>
                </a:lnTo>
                <a:lnTo>
                  <a:pt x="738" y="297"/>
                </a:lnTo>
                <a:lnTo>
                  <a:pt x="737" y="295"/>
                </a:lnTo>
                <a:lnTo>
                  <a:pt x="735" y="284"/>
                </a:lnTo>
                <a:lnTo>
                  <a:pt x="735" y="283"/>
                </a:lnTo>
                <a:lnTo>
                  <a:pt x="732" y="281"/>
                </a:lnTo>
                <a:lnTo>
                  <a:pt x="728" y="275"/>
                </a:lnTo>
                <a:lnTo>
                  <a:pt x="728" y="274"/>
                </a:lnTo>
                <a:lnTo>
                  <a:pt x="727" y="271"/>
                </a:lnTo>
                <a:lnTo>
                  <a:pt x="727" y="269"/>
                </a:lnTo>
                <a:lnTo>
                  <a:pt x="721" y="263"/>
                </a:lnTo>
                <a:lnTo>
                  <a:pt x="717" y="257"/>
                </a:lnTo>
                <a:lnTo>
                  <a:pt x="706" y="233"/>
                </a:lnTo>
                <a:lnTo>
                  <a:pt x="704" y="232"/>
                </a:lnTo>
                <a:lnTo>
                  <a:pt x="691" y="229"/>
                </a:lnTo>
                <a:lnTo>
                  <a:pt x="682" y="235"/>
                </a:lnTo>
                <a:lnTo>
                  <a:pt x="682" y="237"/>
                </a:lnTo>
                <a:lnTo>
                  <a:pt x="681" y="239"/>
                </a:lnTo>
                <a:lnTo>
                  <a:pt x="679" y="242"/>
                </a:lnTo>
                <a:lnTo>
                  <a:pt x="684" y="253"/>
                </a:lnTo>
                <a:lnTo>
                  <a:pt x="682" y="259"/>
                </a:lnTo>
                <a:lnTo>
                  <a:pt x="679" y="259"/>
                </a:lnTo>
                <a:lnTo>
                  <a:pt x="667" y="252"/>
                </a:lnTo>
                <a:lnTo>
                  <a:pt x="666" y="252"/>
                </a:lnTo>
                <a:lnTo>
                  <a:pt x="663" y="259"/>
                </a:lnTo>
                <a:lnTo>
                  <a:pt x="651" y="260"/>
                </a:lnTo>
                <a:lnTo>
                  <a:pt x="640" y="262"/>
                </a:lnTo>
                <a:lnTo>
                  <a:pt x="651" y="275"/>
                </a:lnTo>
                <a:lnTo>
                  <a:pt x="651" y="289"/>
                </a:lnTo>
                <a:lnTo>
                  <a:pt x="650" y="291"/>
                </a:lnTo>
                <a:lnTo>
                  <a:pt x="646" y="303"/>
                </a:lnTo>
                <a:lnTo>
                  <a:pt x="642" y="309"/>
                </a:lnTo>
                <a:lnTo>
                  <a:pt x="634" y="318"/>
                </a:lnTo>
                <a:lnTo>
                  <a:pt x="646" y="325"/>
                </a:lnTo>
                <a:lnTo>
                  <a:pt x="636" y="338"/>
                </a:lnTo>
                <a:lnTo>
                  <a:pt x="634" y="339"/>
                </a:lnTo>
                <a:lnTo>
                  <a:pt x="633" y="339"/>
                </a:lnTo>
                <a:lnTo>
                  <a:pt x="614" y="331"/>
                </a:lnTo>
                <a:lnTo>
                  <a:pt x="595" y="321"/>
                </a:lnTo>
                <a:lnTo>
                  <a:pt x="580" y="322"/>
                </a:lnTo>
                <a:lnTo>
                  <a:pt x="578" y="322"/>
                </a:lnTo>
                <a:lnTo>
                  <a:pt x="572" y="315"/>
                </a:lnTo>
                <a:lnTo>
                  <a:pt x="570" y="314"/>
                </a:lnTo>
                <a:lnTo>
                  <a:pt x="559" y="318"/>
                </a:lnTo>
                <a:lnTo>
                  <a:pt x="558" y="319"/>
                </a:lnTo>
                <a:lnTo>
                  <a:pt x="558" y="320"/>
                </a:lnTo>
                <a:lnTo>
                  <a:pt x="557" y="331"/>
                </a:lnTo>
                <a:lnTo>
                  <a:pt x="557" y="334"/>
                </a:lnTo>
                <a:lnTo>
                  <a:pt x="559" y="357"/>
                </a:lnTo>
                <a:lnTo>
                  <a:pt x="559" y="362"/>
                </a:lnTo>
                <a:lnTo>
                  <a:pt x="551" y="377"/>
                </a:lnTo>
                <a:lnTo>
                  <a:pt x="548" y="382"/>
                </a:lnTo>
                <a:lnTo>
                  <a:pt x="547" y="382"/>
                </a:lnTo>
                <a:lnTo>
                  <a:pt x="523" y="368"/>
                </a:lnTo>
                <a:lnTo>
                  <a:pt x="522" y="368"/>
                </a:lnTo>
                <a:lnTo>
                  <a:pt x="518" y="375"/>
                </a:lnTo>
                <a:lnTo>
                  <a:pt x="501" y="389"/>
                </a:lnTo>
                <a:lnTo>
                  <a:pt x="501" y="391"/>
                </a:lnTo>
                <a:lnTo>
                  <a:pt x="499" y="393"/>
                </a:lnTo>
                <a:lnTo>
                  <a:pt x="492" y="419"/>
                </a:lnTo>
                <a:lnTo>
                  <a:pt x="492" y="422"/>
                </a:lnTo>
                <a:lnTo>
                  <a:pt x="487" y="429"/>
                </a:lnTo>
                <a:lnTo>
                  <a:pt x="485" y="431"/>
                </a:lnTo>
                <a:lnTo>
                  <a:pt x="483" y="432"/>
                </a:lnTo>
                <a:lnTo>
                  <a:pt x="476" y="434"/>
                </a:lnTo>
                <a:lnTo>
                  <a:pt x="474" y="436"/>
                </a:lnTo>
                <a:lnTo>
                  <a:pt x="472" y="443"/>
                </a:lnTo>
                <a:lnTo>
                  <a:pt x="485" y="468"/>
                </a:lnTo>
                <a:lnTo>
                  <a:pt x="486" y="469"/>
                </a:lnTo>
                <a:lnTo>
                  <a:pt x="485" y="484"/>
                </a:lnTo>
                <a:lnTo>
                  <a:pt x="484" y="486"/>
                </a:lnTo>
                <a:lnTo>
                  <a:pt x="483" y="487"/>
                </a:lnTo>
                <a:lnTo>
                  <a:pt x="480" y="489"/>
                </a:lnTo>
                <a:lnTo>
                  <a:pt x="472" y="497"/>
                </a:lnTo>
                <a:lnTo>
                  <a:pt x="468" y="502"/>
                </a:lnTo>
                <a:lnTo>
                  <a:pt x="453" y="533"/>
                </a:lnTo>
                <a:lnTo>
                  <a:pt x="443" y="545"/>
                </a:lnTo>
                <a:lnTo>
                  <a:pt x="443" y="547"/>
                </a:lnTo>
                <a:lnTo>
                  <a:pt x="445" y="559"/>
                </a:lnTo>
                <a:lnTo>
                  <a:pt x="446" y="560"/>
                </a:lnTo>
                <a:lnTo>
                  <a:pt x="446" y="567"/>
                </a:lnTo>
                <a:lnTo>
                  <a:pt x="427" y="579"/>
                </a:lnTo>
                <a:lnTo>
                  <a:pt x="416" y="582"/>
                </a:lnTo>
                <a:lnTo>
                  <a:pt x="405" y="583"/>
                </a:lnTo>
                <a:lnTo>
                  <a:pt x="410" y="612"/>
                </a:lnTo>
                <a:lnTo>
                  <a:pt x="410" y="619"/>
                </a:lnTo>
                <a:lnTo>
                  <a:pt x="406" y="625"/>
                </a:lnTo>
                <a:lnTo>
                  <a:pt x="406" y="627"/>
                </a:lnTo>
                <a:lnTo>
                  <a:pt x="404" y="651"/>
                </a:lnTo>
                <a:lnTo>
                  <a:pt x="404" y="665"/>
                </a:lnTo>
                <a:lnTo>
                  <a:pt x="403" y="669"/>
                </a:lnTo>
                <a:lnTo>
                  <a:pt x="399" y="671"/>
                </a:lnTo>
                <a:lnTo>
                  <a:pt x="399" y="674"/>
                </a:lnTo>
                <a:lnTo>
                  <a:pt x="398" y="676"/>
                </a:lnTo>
                <a:lnTo>
                  <a:pt x="397" y="686"/>
                </a:lnTo>
                <a:lnTo>
                  <a:pt x="396" y="689"/>
                </a:lnTo>
                <a:lnTo>
                  <a:pt x="390" y="699"/>
                </a:lnTo>
                <a:lnTo>
                  <a:pt x="379" y="719"/>
                </a:lnTo>
                <a:lnTo>
                  <a:pt x="367" y="738"/>
                </a:lnTo>
                <a:lnTo>
                  <a:pt x="380" y="748"/>
                </a:lnTo>
                <a:lnTo>
                  <a:pt x="381" y="749"/>
                </a:lnTo>
                <a:lnTo>
                  <a:pt x="385" y="749"/>
                </a:lnTo>
                <a:lnTo>
                  <a:pt x="386" y="750"/>
                </a:lnTo>
                <a:lnTo>
                  <a:pt x="387" y="752"/>
                </a:lnTo>
                <a:lnTo>
                  <a:pt x="390" y="775"/>
                </a:lnTo>
                <a:lnTo>
                  <a:pt x="390" y="778"/>
                </a:lnTo>
                <a:lnTo>
                  <a:pt x="389" y="779"/>
                </a:lnTo>
                <a:lnTo>
                  <a:pt x="381" y="793"/>
                </a:lnTo>
                <a:lnTo>
                  <a:pt x="381" y="794"/>
                </a:lnTo>
                <a:lnTo>
                  <a:pt x="380" y="794"/>
                </a:lnTo>
                <a:lnTo>
                  <a:pt x="365" y="791"/>
                </a:lnTo>
                <a:lnTo>
                  <a:pt x="350" y="787"/>
                </a:lnTo>
                <a:lnTo>
                  <a:pt x="340" y="789"/>
                </a:lnTo>
                <a:lnTo>
                  <a:pt x="330" y="797"/>
                </a:lnTo>
                <a:lnTo>
                  <a:pt x="327" y="800"/>
                </a:lnTo>
                <a:lnTo>
                  <a:pt x="318" y="813"/>
                </a:lnTo>
                <a:lnTo>
                  <a:pt x="311" y="829"/>
                </a:lnTo>
                <a:lnTo>
                  <a:pt x="305" y="834"/>
                </a:lnTo>
                <a:lnTo>
                  <a:pt x="307" y="843"/>
                </a:lnTo>
                <a:lnTo>
                  <a:pt x="307" y="848"/>
                </a:lnTo>
                <a:lnTo>
                  <a:pt x="298" y="864"/>
                </a:lnTo>
                <a:lnTo>
                  <a:pt x="300" y="871"/>
                </a:lnTo>
                <a:lnTo>
                  <a:pt x="307" y="890"/>
                </a:lnTo>
                <a:lnTo>
                  <a:pt x="303" y="897"/>
                </a:lnTo>
                <a:lnTo>
                  <a:pt x="303" y="901"/>
                </a:lnTo>
                <a:lnTo>
                  <a:pt x="305" y="915"/>
                </a:lnTo>
                <a:lnTo>
                  <a:pt x="305" y="917"/>
                </a:lnTo>
                <a:lnTo>
                  <a:pt x="304" y="920"/>
                </a:lnTo>
                <a:lnTo>
                  <a:pt x="303" y="924"/>
                </a:lnTo>
                <a:lnTo>
                  <a:pt x="301" y="927"/>
                </a:lnTo>
                <a:lnTo>
                  <a:pt x="301" y="928"/>
                </a:lnTo>
                <a:lnTo>
                  <a:pt x="310" y="951"/>
                </a:lnTo>
                <a:lnTo>
                  <a:pt x="311" y="956"/>
                </a:lnTo>
                <a:lnTo>
                  <a:pt x="311" y="960"/>
                </a:lnTo>
                <a:lnTo>
                  <a:pt x="309" y="983"/>
                </a:lnTo>
                <a:lnTo>
                  <a:pt x="305" y="1006"/>
                </a:lnTo>
                <a:lnTo>
                  <a:pt x="305" y="1007"/>
                </a:lnTo>
                <a:lnTo>
                  <a:pt x="312" y="1014"/>
                </a:lnTo>
                <a:lnTo>
                  <a:pt x="316" y="1019"/>
                </a:lnTo>
                <a:lnTo>
                  <a:pt x="317" y="1020"/>
                </a:lnTo>
                <a:lnTo>
                  <a:pt x="322" y="1020"/>
                </a:lnTo>
                <a:lnTo>
                  <a:pt x="324" y="1022"/>
                </a:lnTo>
                <a:lnTo>
                  <a:pt x="335" y="1038"/>
                </a:lnTo>
                <a:lnTo>
                  <a:pt x="336" y="1038"/>
                </a:lnTo>
                <a:lnTo>
                  <a:pt x="336" y="1039"/>
                </a:lnTo>
                <a:lnTo>
                  <a:pt x="335" y="1047"/>
                </a:lnTo>
                <a:lnTo>
                  <a:pt x="330" y="1057"/>
                </a:lnTo>
                <a:lnTo>
                  <a:pt x="329" y="1058"/>
                </a:lnTo>
                <a:lnTo>
                  <a:pt x="329" y="1064"/>
                </a:lnTo>
                <a:lnTo>
                  <a:pt x="328" y="1065"/>
                </a:lnTo>
                <a:lnTo>
                  <a:pt x="328" y="1067"/>
                </a:lnTo>
                <a:lnTo>
                  <a:pt x="327" y="1067"/>
                </a:lnTo>
                <a:lnTo>
                  <a:pt x="322" y="1065"/>
                </a:lnTo>
                <a:lnTo>
                  <a:pt x="319" y="1065"/>
                </a:lnTo>
                <a:lnTo>
                  <a:pt x="310" y="1069"/>
                </a:lnTo>
                <a:lnTo>
                  <a:pt x="309" y="1070"/>
                </a:lnTo>
                <a:lnTo>
                  <a:pt x="309" y="1071"/>
                </a:lnTo>
                <a:lnTo>
                  <a:pt x="311" y="1076"/>
                </a:lnTo>
                <a:lnTo>
                  <a:pt x="311" y="1079"/>
                </a:lnTo>
                <a:lnTo>
                  <a:pt x="312" y="1085"/>
                </a:lnTo>
                <a:lnTo>
                  <a:pt x="315" y="1092"/>
                </a:lnTo>
                <a:lnTo>
                  <a:pt x="318" y="1100"/>
                </a:lnTo>
                <a:lnTo>
                  <a:pt x="323" y="1112"/>
                </a:lnTo>
                <a:lnTo>
                  <a:pt x="324" y="1114"/>
                </a:lnTo>
                <a:lnTo>
                  <a:pt x="324" y="1120"/>
                </a:lnTo>
                <a:lnTo>
                  <a:pt x="323" y="1123"/>
                </a:lnTo>
                <a:lnTo>
                  <a:pt x="323" y="1124"/>
                </a:lnTo>
                <a:lnTo>
                  <a:pt x="322" y="1125"/>
                </a:lnTo>
                <a:lnTo>
                  <a:pt x="319" y="1129"/>
                </a:lnTo>
                <a:lnTo>
                  <a:pt x="319" y="1133"/>
                </a:lnTo>
                <a:lnTo>
                  <a:pt x="321" y="1139"/>
                </a:lnTo>
                <a:lnTo>
                  <a:pt x="321" y="1142"/>
                </a:lnTo>
                <a:lnTo>
                  <a:pt x="318" y="1149"/>
                </a:lnTo>
                <a:lnTo>
                  <a:pt x="317" y="1151"/>
                </a:lnTo>
                <a:lnTo>
                  <a:pt x="311" y="1160"/>
                </a:lnTo>
                <a:lnTo>
                  <a:pt x="304" y="1165"/>
                </a:lnTo>
                <a:lnTo>
                  <a:pt x="293" y="1165"/>
                </a:lnTo>
                <a:lnTo>
                  <a:pt x="293" y="1166"/>
                </a:lnTo>
                <a:lnTo>
                  <a:pt x="292" y="1167"/>
                </a:lnTo>
                <a:lnTo>
                  <a:pt x="292" y="1170"/>
                </a:lnTo>
                <a:lnTo>
                  <a:pt x="293" y="1172"/>
                </a:lnTo>
                <a:lnTo>
                  <a:pt x="293" y="1173"/>
                </a:lnTo>
                <a:lnTo>
                  <a:pt x="294" y="1174"/>
                </a:lnTo>
                <a:lnTo>
                  <a:pt x="294" y="1180"/>
                </a:lnTo>
                <a:lnTo>
                  <a:pt x="293" y="1180"/>
                </a:lnTo>
                <a:lnTo>
                  <a:pt x="292" y="1184"/>
                </a:lnTo>
                <a:lnTo>
                  <a:pt x="291" y="1185"/>
                </a:lnTo>
                <a:lnTo>
                  <a:pt x="285" y="1187"/>
                </a:lnTo>
                <a:lnTo>
                  <a:pt x="285" y="1193"/>
                </a:lnTo>
                <a:lnTo>
                  <a:pt x="290" y="1209"/>
                </a:lnTo>
                <a:lnTo>
                  <a:pt x="290" y="1215"/>
                </a:lnTo>
                <a:lnTo>
                  <a:pt x="291" y="1217"/>
                </a:lnTo>
                <a:lnTo>
                  <a:pt x="291" y="1218"/>
                </a:lnTo>
                <a:lnTo>
                  <a:pt x="290" y="1219"/>
                </a:lnTo>
                <a:lnTo>
                  <a:pt x="290" y="1221"/>
                </a:lnTo>
                <a:lnTo>
                  <a:pt x="288" y="1222"/>
                </a:lnTo>
                <a:lnTo>
                  <a:pt x="287" y="1228"/>
                </a:lnTo>
                <a:lnTo>
                  <a:pt x="287" y="1234"/>
                </a:lnTo>
                <a:lnTo>
                  <a:pt x="286" y="1237"/>
                </a:lnTo>
                <a:lnTo>
                  <a:pt x="286" y="1239"/>
                </a:lnTo>
                <a:lnTo>
                  <a:pt x="285" y="1241"/>
                </a:lnTo>
                <a:lnTo>
                  <a:pt x="284" y="1246"/>
                </a:lnTo>
                <a:lnTo>
                  <a:pt x="282" y="1248"/>
                </a:lnTo>
                <a:lnTo>
                  <a:pt x="276" y="1248"/>
                </a:lnTo>
                <a:lnTo>
                  <a:pt x="275" y="1247"/>
                </a:lnTo>
                <a:lnTo>
                  <a:pt x="275" y="1242"/>
                </a:lnTo>
                <a:lnTo>
                  <a:pt x="274" y="1240"/>
                </a:lnTo>
                <a:lnTo>
                  <a:pt x="274" y="1239"/>
                </a:lnTo>
                <a:lnTo>
                  <a:pt x="273" y="1236"/>
                </a:lnTo>
                <a:lnTo>
                  <a:pt x="273" y="1233"/>
                </a:lnTo>
                <a:lnTo>
                  <a:pt x="272" y="1230"/>
                </a:lnTo>
                <a:lnTo>
                  <a:pt x="271" y="1230"/>
                </a:lnTo>
                <a:lnTo>
                  <a:pt x="269" y="1229"/>
                </a:lnTo>
                <a:lnTo>
                  <a:pt x="266" y="1230"/>
                </a:lnTo>
                <a:lnTo>
                  <a:pt x="263" y="1229"/>
                </a:lnTo>
                <a:lnTo>
                  <a:pt x="263" y="1228"/>
                </a:lnTo>
                <a:lnTo>
                  <a:pt x="265" y="1228"/>
                </a:lnTo>
                <a:lnTo>
                  <a:pt x="265" y="1227"/>
                </a:lnTo>
                <a:lnTo>
                  <a:pt x="263" y="1225"/>
                </a:lnTo>
                <a:lnTo>
                  <a:pt x="263" y="1223"/>
                </a:lnTo>
                <a:lnTo>
                  <a:pt x="262" y="1224"/>
                </a:lnTo>
                <a:lnTo>
                  <a:pt x="262" y="1228"/>
                </a:lnTo>
                <a:lnTo>
                  <a:pt x="261" y="1228"/>
                </a:lnTo>
                <a:lnTo>
                  <a:pt x="261" y="1227"/>
                </a:lnTo>
                <a:lnTo>
                  <a:pt x="260" y="1224"/>
                </a:lnTo>
                <a:lnTo>
                  <a:pt x="260" y="1229"/>
                </a:lnTo>
                <a:lnTo>
                  <a:pt x="257" y="1229"/>
                </a:lnTo>
                <a:lnTo>
                  <a:pt x="257" y="1227"/>
                </a:lnTo>
                <a:lnTo>
                  <a:pt x="255" y="1224"/>
                </a:lnTo>
                <a:lnTo>
                  <a:pt x="254" y="1224"/>
                </a:lnTo>
                <a:lnTo>
                  <a:pt x="254" y="1228"/>
                </a:lnTo>
                <a:lnTo>
                  <a:pt x="253" y="1228"/>
                </a:lnTo>
                <a:lnTo>
                  <a:pt x="253" y="1227"/>
                </a:lnTo>
                <a:lnTo>
                  <a:pt x="251" y="1225"/>
                </a:lnTo>
                <a:lnTo>
                  <a:pt x="251" y="1223"/>
                </a:lnTo>
                <a:lnTo>
                  <a:pt x="250" y="1224"/>
                </a:lnTo>
                <a:lnTo>
                  <a:pt x="249" y="1224"/>
                </a:lnTo>
                <a:lnTo>
                  <a:pt x="249" y="1225"/>
                </a:lnTo>
                <a:lnTo>
                  <a:pt x="248" y="1223"/>
                </a:lnTo>
                <a:lnTo>
                  <a:pt x="247" y="1223"/>
                </a:lnTo>
                <a:lnTo>
                  <a:pt x="247" y="1218"/>
                </a:lnTo>
                <a:lnTo>
                  <a:pt x="245" y="1218"/>
                </a:lnTo>
                <a:lnTo>
                  <a:pt x="245" y="1221"/>
                </a:lnTo>
                <a:lnTo>
                  <a:pt x="244" y="1219"/>
                </a:lnTo>
                <a:lnTo>
                  <a:pt x="245" y="1217"/>
                </a:lnTo>
                <a:lnTo>
                  <a:pt x="245" y="1215"/>
                </a:lnTo>
                <a:lnTo>
                  <a:pt x="247" y="1213"/>
                </a:lnTo>
                <a:lnTo>
                  <a:pt x="245" y="1213"/>
                </a:lnTo>
                <a:lnTo>
                  <a:pt x="245" y="1212"/>
                </a:lnTo>
                <a:lnTo>
                  <a:pt x="244" y="1211"/>
                </a:lnTo>
                <a:lnTo>
                  <a:pt x="244" y="1213"/>
                </a:lnTo>
                <a:lnTo>
                  <a:pt x="242" y="1213"/>
                </a:lnTo>
                <a:lnTo>
                  <a:pt x="242" y="1210"/>
                </a:lnTo>
                <a:lnTo>
                  <a:pt x="241" y="1208"/>
                </a:lnTo>
                <a:lnTo>
                  <a:pt x="242" y="1206"/>
                </a:lnTo>
                <a:lnTo>
                  <a:pt x="242" y="1205"/>
                </a:lnTo>
                <a:lnTo>
                  <a:pt x="241" y="1205"/>
                </a:lnTo>
                <a:lnTo>
                  <a:pt x="240" y="1204"/>
                </a:lnTo>
                <a:lnTo>
                  <a:pt x="238" y="1204"/>
                </a:lnTo>
                <a:lnTo>
                  <a:pt x="241" y="1199"/>
                </a:lnTo>
                <a:lnTo>
                  <a:pt x="241" y="1198"/>
                </a:lnTo>
                <a:lnTo>
                  <a:pt x="242" y="1198"/>
                </a:lnTo>
                <a:lnTo>
                  <a:pt x="242" y="1200"/>
                </a:lnTo>
                <a:lnTo>
                  <a:pt x="241" y="1203"/>
                </a:lnTo>
                <a:lnTo>
                  <a:pt x="242" y="1203"/>
                </a:lnTo>
                <a:lnTo>
                  <a:pt x="243" y="1202"/>
                </a:lnTo>
                <a:lnTo>
                  <a:pt x="243" y="1199"/>
                </a:lnTo>
                <a:lnTo>
                  <a:pt x="242" y="1198"/>
                </a:lnTo>
                <a:lnTo>
                  <a:pt x="242" y="1196"/>
                </a:lnTo>
                <a:lnTo>
                  <a:pt x="241" y="1193"/>
                </a:lnTo>
                <a:lnTo>
                  <a:pt x="241" y="1192"/>
                </a:lnTo>
                <a:lnTo>
                  <a:pt x="242" y="1190"/>
                </a:lnTo>
                <a:lnTo>
                  <a:pt x="241" y="1188"/>
                </a:lnTo>
                <a:lnTo>
                  <a:pt x="241" y="1186"/>
                </a:lnTo>
                <a:lnTo>
                  <a:pt x="240" y="1184"/>
                </a:lnTo>
                <a:lnTo>
                  <a:pt x="240" y="1182"/>
                </a:lnTo>
                <a:lnTo>
                  <a:pt x="238" y="1181"/>
                </a:lnTo>
                <a:lnTo>
                  <a:pt x="237" y="1179"/>
                </a:lnTo>
                <a:lnTo>
                  <a:pt x="237" y="1176"/>
                </a:lnTo>
                <a:lnTo>
                  <a:pt x="238" y="1175"/>
                </a:lnTo>
                <a:lnTo>
                  <a:pt x="240" y="1172"/>
                </a:lnTo>
                <a:lnTo>
                  <a:pt x="240" y="1169"/>
                </a:lnTo>
                <a:lnTo>
                  <a:pt x="242" y="1168"/>
                </a:lnTo>
                <a:lnTo>
                  <a:pt x="243" y="1170"/>
                </a:lnTo>
                <a:lnTo>
                  <a:pt x="243" y="1174"/>
                </a:lnTo>
                <a:lnTo>
                  <a:pt x="244" y="1178"/>
                </a:lnTo>
                <a:lnTo>
                  <a:pt x="244" y="1174"/>
                </a:lnTo>
                <a:lnTo>
                  <a:pt x="245" y="1172"/>
                </a:lnTo>
                <a:lnTo>
                  <a:pt x="245" y="1165"/>
                </a:lnTo>
                <a:lnTo>
                  <a:pt x="244" y="1165"/>
                </a:lnTo>
                <a:lnTo>
                  <a:pt x="243" y="1163"/>
                </a:lnTo>
                <a:lnTo>
                  <a:pt x="242" y="1165"/>
                </a:lnTo>
                <a:lnTo>
                  <a:pt x="242" y="1166"/>
                </a:lnTo>
                <a:lnTo>
                  <a:pt x="240" y="1165"/>
                </a:lnTo>
                <a:lnTo>
                  <a:pt x="240" y="1166"/>
                </a:lnTo>
                <a:lnTo>
                  <a:pt x="236" y="1166"/>
                </a:lnTo>
                <a:lnTo>
                  <a:pt x="234" y="1168"/>
                </a:lnTo>
                <a:lnTo>
                  <a:pt x="234" y="1169"/>
                </a:lnTo>
                <a:lnTo>
                  <a:pt x="235" y="1169"/>
                </a:lnTo>
                <a:lnTo>
                  <a:pt x="235" y="1180"/>
                </a:lnTo>
                <a:lnTo>
                  <a:pt x="236" y="1182"/>
                </a:lnTo>
                <a:lnTo>
                  <a:pt x="237" y="1184"/>
                </a:lnTo>
                <a:lnTo>
                  <a:pt x="238" y="1184"/>
                </a:lnTo>
                <a:lnTo>
                  <a:pt x="240" y="1186"/>
                </a:lnTo>
                <a:lnTo>
                  <a:pt x="240" y="1188"/>
                </a:lnTo>
                <a:lnTo>
                  <a:pt x="238" y="1192"/>
                </a:lnTo>
                <a:lnTo>
                  <a:pt x="237" y="1194"/>
                </a:lnTo>
                <a:lnTo>
                  <a:pt x="235" y="1197"/>
                </a:lnTo>
                <a:lnTo>
                  <a:pt x="232" y="1197"/>
                </a:lnTo>
                <a:lnTo>
                  <a:pt x="231" y="1194"/>
                </a:lnTo>
                <a:lnTo>
                  <a:pt x="231" y="1193"/>
                </a:lnTo>
                <a:lnTo>
                  <a:pt x="232" y="1190"/>
                </a:lnTo>
                <a:lnTo>
                  <a:pt x="232" y="1188"/>
                </a:lnTo>
                <a:lnTo>
                  <a:pt x="231" y="1186"/>
                </a:lnTo>
                <a:lnTo>
                  <a:pt x="231" y="1182"/>
                </a:lnTo>
                <a:lnTo>
                  <a:pt x="230" y="1181"/>
                </a:lnTo>
                <a:lnTo>
                  <a:pt x="230" y="1180"/>
                </a:lnTo>
                <a:lnTo>
                  <a:pt x="228" y="1180"/>
                </a:lnTo>
                <a:lnTo>
                  <a:pt x="225" y="1178"/>
                </a:lnTo>
                <a:lnTo>
                  <a:pt x="224" y="1178"/>
                </a:lnTo>
                <a:lnTo>
                  <a:pt x="223" y="1179"/>
                </a:lnTo>
                <a:lnTo>
                  <a:pt x="225" y="1181"/>
                </a:lnTo>
                <a:lnTo>
                  <a:pt x="226" y="1181"/>
                </a:lnTo>
                <a:lnTo>
                  <a:pt x="230" y="1185"/>
                </a:lnTo>
                <a:lnTo>
                  <a:pt x="230" y="1194"/>
                </a:lnTo>
                <a:lnTo>
                  <a:pt x="229" y="1196"/>
                </a:lnTo>
                <a:lnTo>
                  <a:pt x="228" y="1196"/>
                </a:lnTo>
                <a:lnTo>
                  <a:pt x="225" y="1193"/>
                </a:lnTo>
                <a:lnTo>
                  <a:pt x="224" y="1193"/>
                </a:lnTo>
                <a:lnTo>
                  <a:pt x="224" y="1194"/>
                </a:lnTo>
                <a:lnTo>
                  <a:pt x="228" y="1198"/>
                </a:lnTo>
                <a:lnTo>
                  <a:pt x="230" y="1202"/>
                </a:lnTo>
                <a:lnTo>
                  <a:pt x="234" y="1203"/>
                </a:lnTo>
                <a:lnTo>
                  <a:pt x="234" y="1206"/>
                </a:lnTo>
                <a:lnTo>
                  <a:pt x="232" y="1209"/>
                </a:lnTo>
                <a:lnTo>
                  <a:pt x="232" y="1210"/>
                </a:lnTo>
                <a:lnTo>
                  <a:pt x="236" y="1213"/>
                </a:lnTo>
                <a:lnTo>
                  <a:pt x="235" y="1215"/>
                </a:lnTo>
                <a:lnTo>
                  <a:pt x="235" y="1216"/>
                </a:lnTo>
                <a:lnTo>
                  <a:pt x="234" y="1217"/>
                </a:lnTo>
                <a:lnTo>
                  <a:pt x="234" y="1218"/>
                </a:lnTo>
                <a:lnTo>
                  <a:pt x="232" y="1218"/>
                </a:lnTo>
                <a:lnTo>
                  <a:pt x="231" y="1217"/>
                </a:lnTo>
                <a:lnTo>
                  <a:pt x="229" y="1217"/>
                </a:lnTo>
                <a:lnTo>
                  <a:pt x="229" y="1221"/>
                </a:lnTo>
                <a:lnTo>
                  <a:pt x="228" y="1222"/>
                </a:lnTo>
                <a:lnTo>
                  <a:pt x="228" y="1225"/>
                </a:lnTo>
                <a:lnTo>
                  <a:pt x="226" y="1228"/>
                </a:lnTo>
                <a:lnTo>
                  <a:pt x="226" y="1233"/>
                </a:lnTo>
                <a:lnTo>
                  <a:pt x="225" y="1231"/>
                </a:lnTo>
                <a:lnTo>
                  <a:pt x="225" y="1235"/>
                </a:lnTo>
                <a:lnTo>
                  <a:pt x="224" y="1230"/>
                </a:lnTo>
                <a:lnTo>
                  <a:pt x="223" y="1230"/>
                </a:lnTo>
                <a:lnTo>
                  <a:pt x="223" y="1235"/>
                </a:lnTo>
                <a:lnTo>
                  <a:pt x="224" y="1236"/>
                </a:lnTo>
                <a:lnTo>
                  <a:pt x="222" y="1239"/>
                </a:lnTo>
                <a:lnTo>
                  <a:pt x="219" y="1239"/>
                </a:lnTo>
                <a:lnTo>
                  <a:pt x="219" y="1237"/>
                </a:lnTo>
                <a:lnTo>
                  <a:pt x="220" y="1236"/>
                </a:lnTo>
                <a:lnTo>
                  <a:pt x="220" y="1235"/>
                </a:lnTo>
                <a:lnTo>
                  <a:pt x="219" y="1236"/>
                </a:lnTo>
                <a:lnTo>
                  <a:pt x="218" y="1236"/>
                </a:lnTo>
                <a:lnTo>
                  <a:pt x="217" y="1237"/>
                </a:lnTo>
                <a:lnTo>
                  <a:pt x="216" y="1237"/>
                </a:lnTo>
                <a:lnTo>
                  <a:pt x="216" y="1236"/>
                </a:lnTo>
                <a:lnTo>
                  <a:pt x="214" y="1236"/>
                </a:lnTo>
                <a:lnTo>
                  <a:pt x="216" y="1240"/>
                </a:lnTo>
                <a:lnTo>
                  <a:pt x="213" y="1242"/>
                </a:lnTo>
                <a:lnTo>
                  <a:pt x="206" y="1242"/>
                </a:lnTo>
                <a:lnTo>
                  <a:pt x="207" y="1241"/>
                </a:lnTo>
                <a:lnTo>
                  <a:pt x="207" y="1239"/>
                </a:lnTo>
                <a:lnTo>
                  <a:pt x="206" y="1237"/>
                </a:lnTo>
                <a:lnTo>
                  <a:pt x="205" y="1235"/>
                </a:lnTo>
                <a:lnTo>
                  <a:pt x="204" y="1235"/>
                </a:lnTo>
                <a:lnTo>
                  <a:pt x="204" y="1236"/>
                </a:lnTo>
                <a:lnTo>
                  <a:pt x="203" y="1234"/>
                </a:lnTo>
                <a:lnTo>
                  <a:pt x="201" y="1234"/>
                </a:lnTo>
                <a:lnTo>
                  <a:pt x="201" y="1231"/>
                </a:lnTo>
                <a:lnTo>
                  <a:pt x="200" y="1231"/>
                </a:lnTo>
                <a:lnTo>
                  <a:pt x="200" y="1235"/>
                </a:lnTo>
                <a:lnTo>
                  <a:pt x="199" y="1234"/>
                </a:lnTo>
                <a:lnTo>
                  <a:pt x="199" y="1230"/>
                </a:lnTo>
                <a:lnTo>
                  <a:pt x="198" y="1230"/>
                </a:lnTo>
                <a:lnTo>
                  <a:pt x="199" y="1229"/>
                </a:lnTo>
                <a:lnTo>
                  <a:pt x="198" y="1228"/>
                </a:lnTo>
                <a:lnTo>
                  <a:pt x="197" y="1229"/>
                </a:lnTo>
                <a:lnTo>
                  <a:pt x="194" y="1229"/>
                </a:lnTo>
                <a:lnTo>
                  <a:pt x="198" y="1233"/>
                </a:lnTo>
                <a:lnTo>
                  <a:pt x="199" y="1235"/>
                </a:lnTo>
                <a:lnTo>
                  <a:pt x="199" y="1236"/>
                </a:lnTo>
                <a:lnTo>
                  <a:pt x="201" y="1236"/>
                </a:lnTo>
                <a:lnTo>
                  <a:pt x="203" y="1237"/>
                </a:lnTo>
                <a:lnTo>
                  <a:pt x="203" y="1240"/>
                </a:lnTo>
                <a:lnTo>
                  <a:pt x="199" y="1240"/>
                </a:lnTo>
                <a:lnTo>
                  <a:pt x="199" y="1241"/>
                </a:lnTo>
                <a:lnTo>
                  <a:pt x="200" y="1241"/>
                </a:lnTo>
                <a:lnTo>
                  <a:pt x="200" y="1242"/>
                </a:lnTo>
                <a:lnTo>
                  <a:pt x="197" y="1243"/>
                </a:lnTo>
                <a:lnTo>
                  <a:pt x="197" y="1245"/>
                </a:lnTo>
                <a:lnTo>
                  <a:pt x="198" y="1245"/>
                </a:lnTo>
                <a:lnTo>
                  <a:pt x="195" y="1246"/>
                </a:lnTo>
                <a:lnTo>
                  <a:pt x="192" y="1245"/>
                </a:lnTo>
                <a:lnTo>
                  <a:pt x="194" y="1247"/>
                </a:lnTo>
                <a:lnTo>
                  <a:pt x="193" y="1248"/>
                </a:lnTo>
                <a:lnTo>
                  <a:pt x="192" y="1247"/>
                </a:lnTo>
                <a:lnTo>
                  <a:pt x="191" y="1247"/>
                </a:lnTo>
                <a:lnTo>
                  <a:pt x="191" y="1248"/>
                </a:lnTo>
                <a:lnTo>
                  <a:pt x="189" y="1248"/>
                </a:lnTo>
                <a:lnTo>
                  <a:pt x="188" y="1247"/>
                </a:lnTo>
                <a:lnTo>
                  <a:pt x="187" y="1248"/>
                </a:lnTo>
                <a:lnTo>
                  <a:pt x="188" y="1248"/>
                </a:lnTo>
                <a:lnTo>
                  <a:pt x="188" y="1249"/>
                </a:lnTo>
                <a:lnTo>
                  <a:pt x="186" y="1251"/>
                </a:lnTo>
                <a:lnTo>
                  <a:pt x="185" y="1251"/>
                </a:lnTo>
                <a:lnTo>
                  <a:pt x="185" y="1248"/>
                </a:lnTo>
                <a:lnTo>
                  <a:pt x="184" y="1249"/>
                </a:lnTo>
                <a:lnTo>
                  <a:pt x="184" y="1253"/>
                </a:lnTo>
                <a:lnTo>
                  <a:pt x="185" y="1253"/>
                </a:lnTo>
                <a:lnTo>
                  <a:pt x="187" y="1252"/>
                </a:lnTo>
                <a:lnTo>
                  <a:pt x="189" y="1252"/>
                </a:lnTo>
                <a:lnTo>
                  <a:pt x="191" y="1253"/>
                </a:lnTo>
                <a:lnTo>
                  <a:pt x="187" y="1256"/>
                </a:lnTo>
                <a:lnTo>
                  <a:pt x="188" y="1255"/>
                </a:lnTo>
                <a:lnTo>
                  <a:pt x="189" y="1255"/>
                </a:lnTo>
                <a:lnTo>
                  <a:pt x="189" y="1256"/>
                </a:lnTo>
                <a:lnTo>
                  <a:pt x="188" y="1256"/>
                </a:lnTo>
                <a:lnTo>
                  <a:pt x="187" y="1258"/>
                </a:lnTo>
                <a:lnTo>
                  <a:pt x="186" y="1258"/>
                </a:lnTo>
                <a:lnTo>
                  <a:pt x="186" y="1259"/>
                </a:lnTo>
                <a:lnTo>
                  <a:pt x="185" y="1260"/>
                </a:lnTo>
                <a:lnTo>
                  <a:pt x="182" y="1261"/>
                </a:lnTo>
                <a:lnTo>
                  <a:pt x="179" y="1260"/>
                </a:lnTo>
                <a:lnTo>
                  <a:pt x="175" y="1260"/>
                </a:lnTo>
                <a:lnTo>
                  <a:pt x="174" y="1261"/>
                </a:lnTo>
                <a:lnTo>
                  <a:pt x="178" y="1262"/>
                </a:lnTo>
                <a:lnTo>
                  <a:pt x="179" y="1262"/>
                </a:lnTo>
                <a:lnTo>
                  <a:pt x="176" y="1261"/>
                </a:lnTo>
                <a:lnTo>
                  <a:pt x="176" y="1260"/>
                </a:lnTo>
                <a:lnTo>
                  <a:pt x="179" y="1260"/>
                </a:lnTo>
                <a:lnTo>
                  <a:pt x="181" y="1261"/>
                </a:lnTo>
                <a:lnTo>
                  <a:pt x="181" y="1264"/>
                </a:lnTo>
                <a:lnTo>
                  <a:pt x="180" y="1264"/>
                </a:lnTo>
                <a:lnTo>
                  <a:pt x="175" y="1265"/>
                </a:lnTo>
                <a:lnTo>
                  <a:pt x="180" y="1265"/>
                </a:lnTo>
                <a:lnTo>
                  <a:pt x="180" y="1266"/>
                </a:lnTo>
                <a:lnTo>
                  <a:pt x="175" y="1271"/>
                </a:lnTo>
                <a:lnTo>
                  <a:pt x="173" y="1272"/>
                </a:lnTo>
                <a:lnTo>
                  <a:pt x="169" y="1272"/>
                </a:lnTo>
                <a:lnTo>
                  <a:pt x="168" y="1271"/>
                </a:lnTo>
                <a:lnTo>
                  <a:pt x="168" y="1272"/>
                </a:lnTo>
                <a:lnTo>
                  <a:pt x="169" y="1273"/>
                </a:lnTo>
                <a:lnTo>
                  <a:pt x="169" y="1279"/>
                </a:lnTo>
                <a:lnTo>
                  <a:pt x="168" y="1279"/>
                </a:lnTo>
                <a:lnTo>
                  <a:pt x="166" y="1283"/>
                </a:lnTo>
                <a:lnTo>
                  <a:pt x="164" y="1284"/>
                </a:lnTo>
                <a:lnTo>
                  <a:pt x="163" y="1284"/>
                </a:lnTo>
                <a:lnTo>
                  <a:pt x="162" y="1285"/>
                </a:lnTo>
                <a:lnTo>
                  <a:pt x="161" y="1285"/>
                </a:lnTo>
                <a:lnTo>
                  <a:pt x="161" y="1288"/>
                </a:lnTo>
                <a:lnTo>
                  <a:pt x="160" y="1289"/>
                </a:lnTo>
                <a:lnTo>
                  <a:pt x="160" y="1290"/>
                </a:lnTo>
                <a:lnTo>
                  <a:pt x="157" y="1290"/>
                </a:lnTo>
                <a:lnTo>
                  <a:pt x="156" y="1291"/>
                </a:lnTo>
                <a:lnTo>
                  <a:pt x="156" y="1292"/>
                </a:lnTo>
                <a:lnTo>
                  <a:pt x="155" y="1294"/>
                </a:lnTo>
                <a:lnTo>
                  <a:pt x="154" y="1294"/>
                </a:lnTo>
                <a:lnTo>
                  <a:pt x="154" y="1292"/>
                </a:lnTo>
                <a:lnTo>
                  <a:pt x="153" y="1295"/>
                </a:lnTo>
                <a:lnTo>
                  <a:pt x="151" y="1296"/>
                </a:lnTo>
                <a:lnTo>
                  <a:pt x="151" y="1298"/>
                </a:lnTo>
                <a:lnTo>
                  <a:pt x="150" y="1299"/>
                </a:lnTo>
                <a:lnTo>
                  <a:pt x="149" y="1298"/>
                </a:lnTo>
                <a:lnTo>
                  <a:pt x="148" y="1299"/>
                </a:lnTo>
                <a:lnTo>
                  <a:pt x="148" y="1298"/>
                </a:lnTo>
                <a:lnTo>
                  <a:pt x="147" y="1298"/>
                </a:lnTo>
                <a:lnTo>
                  <a:pt x="147" y="1301"/>
                </a:lnTo>
                <a:lnTo>
                  <a:pt x="144" y="1301"/>
                </a:lnTo>
                <a:lnTo>
                  <a:pt x="142" y="1303"/>
                </a:lnTo>
                <a:lnTo>
                  <a:pt x="141" y="1303"/>
                </a:lnTo>
                <a:lnTo>
                  <a:pt x="141" y="1305"/>
                </a:lnTo>
                <a:lnTo>
                  <a:pt x="139" y="1307"/>
                </a:lnTo>
                <a:lnTo>
                  <a:pt x="139" y="1309"/>
                </a:lnTo>
                <a:lnTo>
                  <a:pt x="138" y="1310"/>
                </a:lnTo>
                <a:lnTo>
                  <a:pt x="137" y="1309"/>
                </a:lnTo>
                <a:lnTo>
                  <a:pt x="137" y="1308"/>
                </a:lnTo>
                <a:lnTo>
                  <a:pt x="136" y="1308"/>
                </a:lnTo>
                <a:lnTo>
                  <a:pt x="135" y="1310"/>
                </a:lnTo>
                <a:lnTo>
                  <a:pt x="135" y="1311"/>
                </a:lnTo>
                <a:lnTo>
                  <a:pt x="132" y="1311"/>
                </a:lnTo>
                <a:lnTo>
                  <a:pt x="132" y="1310"/>
                </a:lnTo>
                <a:lnTo>
                  <a:pt x="131" y="1310"/>
                </a:lnTo>
                <a:lnTo>
                  <a:pt x="131" y="1309"/>
                </a:lnTo>
                <a:lnTo>
                  <a:pt x="132" y="1308"/>
                </a:lnTo>
                <a:lnTo>
                  <a:pt x="132" y="1305"/>
                </a:lnTo>
                <a:lnTo>
                  <a:pt x="131" y="1303"/>
                </a:lnTo>
                <a:lnTo>
                  <a:pt x="131" y="1302"/>
                </a:lnTo>
                <a:lnTo>
                  <a:pt x="130" y="1302"/>
                </a:lnTo>
                <a:lnTo>
                  <a:pt x="130" y="1303"/>
                </a:lnTo>
                <a:lnTo>
                  <a:pt x="131" y="1305"/>
                </a:lnTo>
                <a:lnTo>
                  <a:pt x="130" y="1307"/>
                </a:lnTo>
                <a:lnTo>
                  <a:pt x="130" y="1308"/>
                </a:lnTo>
                <a:lnTo>
                  <a:pt x="126" y="1311"/>
                </a:lnTo>
                <a:lnTo>
                  <a:pt x="127" y="1313"/>
                </a:lnTo>
                <a:lnTo>
                  <a:pt x="126" y="1314"/>
                </a:lnTo>
                <a:lnTo>
                  <a:pt x="119" y="1314"/>
                </a:lnTo>
                <a:lnTo>
                  <a:pt x="118" y="1315"/>
                </a:lnTo>
                <a:lnTo>
                  <a:pt x="114" y="1315"/>
                </a:lnTo>
                <a:lnTo>
                  <a:pt x="116" y="1316"/>
                </a:lnTo>
                <a:lnTo>
                  <a:pt x="114" y="1316"/>
                </a:lnTo>
                <a:lnTo>
                  <a:pt x="113" y="1315"/>
                </a:lnTo>
                <a:lnTo>
                  <a:pt x="114" y="1317"/>
                </a:lnTo>
                <a:lnTo>
                  <a:pt x="113" y="1319"/>
                </a:lnTo>
                <a:lnTo>
                  <a:pt x="112" y="1317"/>
                </a:lnTo>
                <a:lnTo>
                  <a:pt x="112" y="1319"/>
                </a:lnTo>
                <a:lnTo>
                  <a:pt x="104" y="1319"/>
                </a:lnTo>
                <a:lnTo>
                  <a:pt x="99" y="1317"/>
                </a:lnTo>
                <a:lnTo>
                  <a:pt x="98" y="1316"/>
                </a:lnTo>
                <a:lnTo>
                  <a:pt x="98" y="1315"/>
                </a:lnTo>
                <a:lnTo>
                  <a:pt x="95" y="1316"/>
                </a:lnTo>
                <a:lnTo>
                  <a:pt x="94" y="1317"/>
                </a:lnTo>
                <a:lnTo>
                  <a:pt x="94" y="1316"/>
                </a:lnTo>
                <a:lnTo>
                  <a:pt x="91" y="1317"/>
                </a:lnTo>
                <a:lnTo>
                  <a:pt x="91" y="1320"/>
                </a:lnTo>
                <a:lnTo>
                  <a:pt x="87" y="1320"/>
                </a:lnTo>
                <a:lnTo>
                  <a:pt x="87" y="1317"/>
                </a:lnTo>
                <a:lnTo>
                  <a:pt x="89" y="1315"/>
                </a:lnTo>
                <a:lnTo>
                  <a:pt x="91" y="1315"/>
                </a:lnTo>
                <a:lnTo>
                  <a:pt x="91" y="1314"/>
                </a:lnTo>
                <a:lnTo>
                  <a:pt x="92" y="1314"/>
                </a:lnTo>
                <a:lnTo>
                  <a:pt x="92" y="1315"/>
                </a:lnTo>
                <a:lnTo>
                  <a:pt x="93" y="1315"/>
                </a:lnTo>
                <a:lnTo>
                  <a:pt x="93" y="1311"/>
                </a:lnTo>
                <a:lnTo>
                  <a:pt x="91" y="1314"/>
                </a:lnTo>
                <a:lnTo>
                  <a:pt x="89" y="1314"/>
                </a:lnTo>
                <a:lnTo>
                  <a:pt x="88" y="1315"/>
                </a:lnTo>
                <a:lnTo>
                  <a:pt x="86" y="1316"/>
                </a:lnTo>
                <a:lnTo>
                  <a:pt x="85" y="1316"/>
                </a:lnTo>
                <a:lnTo>
                  <a:pt x="86" y="1315"/>
                </a:lnTo>
                <a:lnTo>
                  <a:pt x="87" y="1313"/>
                </a:lnTo>
                <a:lnTo>
                  <a:pt x="87" y="1311"/>
                </a:lnTo>
                <a:lnTo>
                  <a:pt x="85" y="1315"/>
                </a:lnTo>
                <a:lnTo>
                  <a:pt x="83" y="1315"/>
                </a:lnTo>
                <a:lnTo>
                  <a:pt x="83" y="1313"/>
                </a:lnTo>
                <a:lnTo>
                  <a:pt x="82" y="1313"/>
                </a:lnTo>
                <a:lnTo>
                  <a:pt x="82" y="1314"/>
                </a:lnTo>
                <a:lnTo>
                  <a:pt x="81" y="1314"/>
                </a:lnTo>
                <a:lnTo>
                  <a:pt x="79" y="1311"/>
                </a:lnTo>
                <a:lnTo>
                  <a:pt x="81" y="1310"/>
                </a:lnTo>
                <a:lnTo>
                  <a:pt x="86" y="1310"/>
                </a:lnTo>
                <a:lnTo>
                  <a:pt x="87" y="1309"/>
                </a:lnTo>
                <a:lnTo>
                  <a:pt x="82" y="1309"/>
                </a:lnTo>
                <a:lnTo>
                  <a:pt x="79" y="1305"/>
                </a:lnTo>
                <a:lnTo>
                  <a:pt x="77" y="1305"/>
                </a:lnTo>
                <a:lnTo>
                  <a:pt x="80" y="1309"/>
                </a:lnTo>
                <a:lnTo>
                  <a:pt x="79" y="1310"/>
                </a:lnTo>
                <a:lnTo>
                  <a:pt x="76" y="1310"/>
                </a:lnTo>
                <a:lnTo>
                  <a:pt x="75" y="1309"/>
                </a:lnTo>
                <a:lnTo>
                  <a:pt x="76" y="1308"/>
                </a:lnTo>
                <a:lnTo>
                  <a:pt x="76" y="1307"/>
                </a:lnTo>
                <a:lnTo>
                  <a:pt x="75" y="1305"/>
                </a:lnTo>
                <a:lnTo>
                  <a:pt x="75" y="1309"/>
                </a:lnTo>
                <a:lnTo>
                  <a:pt x="74" y="1310"/>
                </a:lnTo>
                <a:lnTo>
                  <a:pt x="75" y="1310"/>
                </a:lnTo>
                <a:lnTo>
                  <a:pt x="75" y="1311"/>
                </a:lnTo>
                <a:lnTo>
                  <a:pt x="76" y="1313"/>
                </a:lnTo>
                <a:lnTo>
                  <a:pt x="77" y="1313"/>
                </a:lnTo>
                <a:lnTo>
                  <a:pt x="77" y="1314"/>
                </a:lnTo>
                <a:lnTo>
                  <a:pt x="79" y="1314"/>
                </a:lnTo>
                <a:lnTo>
                  <a:pt x="79" y="1315"/>
                </a:lnTo>
                <a:lnTo>
                  <a:pt x="75" y="1315"/>
                </a:lnTo>
                <a:lnTo>
                  <a:pt x="71" y="1314"/>
                </a:lnTo>
                <a:lnTo>
                  <a:pt x="70" y="1314"/>
                </a:lnTo>
                <a:lnTo>
                  <a:pt x="68" y="1311"/>
                </a:lnTo>
                <a:lnTo>
                  <a:pt x="68" y="1310"/>
                </a:lnTo>
                <a:lnTo>
                  <a:pt x="69" y="1309"/>
                </a:lnTo>
                <a:lnTo>
                  <a:pt x="69" y="1308"/>
                </a:lnTo>
                <a:lnTo>
                  <a:pt x="70" y="1307"/>
                </a:lnTo>
                <a:lnTo>
                  <a:pt x="70" y="1305"/>
                </a:lnTo>
                <a:lnTo>
                  <a:pt x="74" y="1305"/>
                </a:lnTo>
                <a:lnTo>
                  <a:pt x="73" y="1304"/>
                </a:lnTo>
                <a:lnTo>
                  <a:pt x="74" y="1303"/>
                </a:lnTo>
                <a:lnTo>
                  <a:pt x="76" y="1302"/>
                </a:lnTo>
                <a:lnTo>
                  <a:pt x="77" y="1301"/>
                </a:lnTo>
                <a:lnTo>
                  <a:pt x="81" y="1298"/>
                </a:lnTo>
                <a:lnTo>
                  <a:pt x="79" y="1298"/>
                </a:lnTo>
                <a:lnTo>
                  <a:pt x="75" y="1302"/>
                </a:lnTo>
                <a:lnTo>
                  <a:pt x="74" y="1302"/>
                </a:lnTo>
                <a:lnTo>
                  <a:pt x="71" y="1298"/>
                </a:lnTo>
                <a:lnTo>
                  <a:pt x="73" y="1296"/>
                </a:lnTo>
                <a:lnTo>
                  <a:pt x="74" y="1296"/>
                </a:lnTo>
                <a:lnTo>
                  <a:pt x="75" y="1295"/>
                </a:lnTo>
                <a:lnTo>
                  <a:pt x="74" y="1294"/>
                </a:lnTo>
                <a:lnTo>
                  <a:pt x="73" y="1294"/>
                </a:lnTo>
                <a:lnTo>
                  <a:pt x="73" y="1295"/>
                </a:lnTo>
                <a:lnTo>
                  <a:pt x="71" y="1295"/>
                </a:lnTo>
                <a:lnTo>
                  <a:pt x="71" y="1301"/>
                </a:lnTo>
                <a:lnTo>
                  <a:pt x="69" y="1301"/>
                </a:lnTo>
                <a:lnTo>
                  <a:pt x="67" y="1298"/>
                </a:lnTo>
                <a:lnTo>
                  <a:pt x="62" y="1298"/>
                </a:lnTo>
                <a:lnTo>
                  <a:pt x="60" y="1297"/>
                </a:lnTo>
                <a:lnTo>
                  <a:pt x="57" y="1295"/>
                </a:lnTo>
                <a:lnTo>
                  <a:pt x="56" y="1295"/>
                </a:lnTo>
                <a:lnTo>
                  <a:pt x="55" y="1294"/>
                </a:lnTo>
                <a:lnTo>
                  <a:pt x="54" y="1294"/>
                </a:lnTo>
                <a:lnTo>
                  <a:pt x="49" y="1291"/>
                </a:lnTo>
                <a:lnTo>
                  <a:pt x="46" y="1289"/>
                </a:lnTo>
                <a:lnTo>
                  <a:pt x="45" y="1289"/>
                </a:lnTo>
                <a:lnTo>
                  <a:pt x="44" y="1288"/>
                </a:lnTo>
                <a:lnTo>
                  <a:pt x="44" y="1283"/>
                </a:lnTo>
                <a:lnTo>
                  <a:pt x="43" y="1282"/>
                </a:lnTo>
                <a:lnTo>
                  <a:pt x="38" y="1282"/>
                </a:lnTo>
                <a:lnTo>
                  <a:pt x="37" y="1280"/>
                </a:lnTo>
                <a:lnTo>
                  <a:pt x="36" y="1278"/>
                </a:lnTo>
                <a:lnTo>
                  <a:pt x="32" y="1278"/>
                </a:lnTo>
                <a:lnTo>
                  <a:pt x="30" y="1276"/>
                </a:lnTo>
                <a:lnTo>
                  <a:pt x="31" y="1274"/>
                </a:lnTo>
                <a:lnTo>
                  <a:pt x="29" y="1272"/>
                </a:lnTo>
                <a:lnTo>
                  <a:pt x="27" y="1270"/>
                </a:lnTo>
                <a:lnTo>
                  <a:pt x="26" y="1266"/>
                </a:lnTo>
                <a:lnTo>
                  <a:pt x="25" y="1264"/>
                </a:lnTo>
                <a:lnTo>
                  <a:pt x="25" y="1262"/>
                </a:lnTo>
                <a:lnTo>
                  <a:pt x="24" y="1261"/>
                </a:lnTo>
                <a:lnTo>
                  <a:pt x="23" y="1259"/>
                </a:lnTo>
                <a:lnTo>
                  <a:pt x="25" y="1256"/>
                </a:lnTo>
                <a:lnTo>
                  <a:pt x="25" y="1255"/>
                </a:lnTo>
                <a:lnTo>
                  <a:pt x="26" y="1254"/>
                </a:lnTo>
                <a:lnTo>
                  <a:pt x="26" y="1253"/>
                </a:lnTo>
                <a:lnTo>
                  <a:pt x="25" y="1251"/>
                </a:lnTo>
                <a:lnTo>
                  <a:pt x="25" y="1249"/>
                </a:lnTo>
                <a:lnTo>
                  <a:pt x="26" y="1249"/>
                </a:lnTo>
                <a:lnTo>
                  <a:pt x="26" y="1248"/>
                </a:lnTo>
                <a:lnTo>
                  <a:pt x="27" y="1248"/>
                </a:lnTo>
                <a:lnTo>
                  <a:pt x="27" y="1247"/>
                </a:lnTo>
                <a:lnTo>
                  <a:pt x="26" y="1247"/>
                </a:lnTo>
                <a:lnTo>
                  <a:pt x="26" y="1245"/>
                </a:lnTo>
                <a:lnTo>
                  <a:pt x="25" y="1243"/>
                </a:lnTo>
                <a:lnTo>
                  <a:pt x="25" y="1242"/>
                </a:lnTo>
                <a:lnTo>
                  <a:pt x="26" y="1242"/>
                </a:lnTo>
                <a:lnTo>
                  <a:pt x="26" y="1243"/>
                </a:lnTo>
                <a:lnTo>
                  <a:pt x="27" y="1243"/>
                </a:lnTo>
                <a:lnTo>
                  <a:pt x="29" y="1246"/>
                </a:lnTo>
                <a:lnTo>
                  <a:pt x="29" y="1247"/>
                </a:lnTo>
                <a:lnTo>
                  <a:pt x="30" y="1245"/>
                </a:lnTo>
                <a:lnTo>
                  <a:pt x="29" y="1245"/>
                </a:lnTo>
                <a:lnTo>
                  <a:pt x="27" y="1243"/>
                </a:lnTo>
                <a:lnTo>
                  <a:pt x="26" y="1241"/>
                </a:lnTo>
                <a:lnTo>
                  <a:pt x="27" y="1241"/>
                </a:lnTo>
                <a:lnTo>
                  <a:pt x="27" y="1240"/>
                </a:lnTo>
                <a:lnTo>
                  <a:pt x="25" y="1240"/>
                </a:lnTo>
                <a:lnTo>
                  <a:pt x="25" y="1239"/>
                </a:lnTo>
                <a:lnTo>
                  <a:pt x="26" y="1239"/>
                </a:lnTo>
                <a:lnTo>
                  <a:pt x="26" y="1236"/>
                </a:lnTo>
                <a:lnTo>
                  <a:pt x="33" y="1241"/>
                </a:lnTo>
                <a:lnTo>
                  <a:pt x="32" y="1243"/>
                </a:lnTo>
                <a:lnTo>
                  <a:pt x="32" y="1248"/>
                </a:lnTo>
                <a:lnTo>
                  <a:pt x="33" y="1249"/>
                </a:lnTo>
                <a:lnTo>
                  <a:pt x="33" y="1245"/>
                </a:lnTo>
                <a:lnTo>
                  <a:pt x="37" y="1245"/>
                </a:lnTo>
                <a:lnTo>
                  <a:pt x="37" y="1242"/>
                </a:lnTo>
                <a:lnTo>
                  <a:pt x="40" y="1242"/>
                </a:lnTo>
                <a:lnTo>
                  <a:pt x="43" y="1245"/>
                </a:lnTo>
                <a:lnTo>
                  <a:pt x="43" y="1246"/>
                </a:lnTo>
                <a:lnTo>
                  <a:pt x="49" y="1252"/>
                </a:lnTo>
                <a:lnTo>
                  <a:pt x="54" y="1252"/>
                </a:lnTo>
                <a:lnTo>
                  <a:pt x="50" y="1251"/>
                </a:lnTo>
                <a:lnTo>
                  <a:pt x="49" y="1251"/>
                </a:lnTo>
                <a:lnTo>
                  <a:pt x="49" y="1249"/>
                </a:lnTo>
                <a:lnTo>
                  <a:pt x="48" y="1248"/>
                </a:lnTo>
                <a:lnTo>
                  <a:pt x="48" y="1246"/>
                </a:lnTo>
                <a:lnTo>
                  <a:pt x="50" y="1243"/>
                </a:lnTo>
                <a:lnTo>
                  <a:pt x="50" y="1242"/>
                </a:lnTo>
                <a:lnTo>
                  <a:pt x="54" y="1240"/>
                </a:lnTo>
                <a:lnTo>
                  <a:pt x="71" y="1235"/>
                </a:lnTo>
                <a:lnTo>
                  <a:pt x="71" y="1234"/>
                </a:lnTo>
                <a:lnTo>
                  <a:pt x="60" y="1236"/>
                </a:lnTo>
                <a:lnTo>
                  <a:pt x="57" y="1237"/>
                </a:lnTo>
                <a:lnTo>
                  <a:pt x="52" y="1239"/>
                </a:lnTo>
                <a:lnTo>
                  <a:pt x="50" y="1240"/>
                </a:lnTo>
                <a:lnTo>
                  <a:pt x="46" y="1247"/>
                </a:lnTo>
                <a:lnTo>
                  <a:pt x="44" y="1243"/>
                </a:lnTo>
                <a:lnTo>
                  <a:pt x="44" y="1240"/>
                </a:lnTo>
                <a:lnTo>
                  <a:pt x="46" y="1240"/>
                </a:lnTo>
                <a:lnTo>
                  <a:pt x="48" y="1239"/>
                </a:lnTo>
                <a:lnTo>
                  <a:pt x="46" y="1239"/>
                </a:lnTo>
                <a:lnTo>
                  <a:pt x="46" y="1237"/>
                </a:lnTo>
                <a:lnTo>
                  <a:pt x="43" y="1237"/>
                </a:lnTo>
                <a:lnTo>
                  <a:pt x="39" y="1234"/>
                </a:lnTo>
                <a:lnTo>
                  <a:pt x="39" y="1231"/>
                </a:lnTo>
                <a:lnTo>
                  <a:pt x="40" y="1230"/>
                </a:lnTo>
                <a:lnTo>
                  <a:pt x="42" y="1230"/>
                </a:lnTo>
                <a:lnTo>
                  <a:pt x="46" y="1229"/>
                </a:lnTo>
                <a:lnTo>
                  <a:pt x="48" y="1228"/>
                </a:lnTo>
                <a:lnTo>
                  <a:pt x="50" y="1228"/>
                </a:lnTo>
                <a:lnTo>
                  <a:pt x="50" y="1227"/>
                </a:lnTo>
                <a:lnTo>
                  <a:pt x="45" y="1227"/>
                </a:lnTo>
                <a:lnTo>
                  <a:pt x="48" y="1222"/>
                </a:lnTo>
                <a:lnTo>
                  <a:pt x="52" y="1217"/>
                </a:lnTo>
                <a:lnTo>
                  <a:pt x="56" y="1216"/>
                </a:lnTo>
                <a:lnTo>
                  <a:pt x="58" y="1213"/>
                </a:lnTo>
                <a:lnTo>
                  <a:pt x="61" y="1212"/>
                </a:lnTo>
                <a:lnTo>
                  <a:pt x="58" y="1212"/>
                </a:lnTo>
                <a:lnTo>
                  <a:pt x="54" y="1216"/>
                </a:lnTo>
                <a:lnTo>
                  <a:pt x="51" y="1217"/>
                </a:lnTo>
                <a:lnTo>
                  <a:pt x="50" y="1216"/>
                </a:lnTo>
                <a:lnTo>
                  <a:pt x="49" y="1213"/>
                </a:lnTo>
                <a:lnTo>
                  <a:pt x="55" y="1213"/>
                </a:lnTo>
                <a:lnTo>
                  <a:pt x="55" y="1212"/>
                </a:lnTo>
                <a:lnTo>
                  <a:pt x="54" y="1211"/>
                </a:lnTo>
                <a:lnTo>
                  <a:pt x="54" y="1212"/>
                </a:lnTo>
                <a:lnTo>
                  <a:pt x="52" y="1212"/>
                </a:lnTo>
                <a:lnTo>
                  <a:pt x="51" y="1211"/>
                </a:lnTo>
                <a:lnTo>
                  <a:pt x="50" y="1212"/>
                </a:lnTo>
                <a:lnTo>
                  <a:pt x="49" y="1212"/>
                </a:lnTo>
                <a:lnTo>
                  <a:pt x="48" y="1211"/>
                </a:lnTo>
                <a:lnTo>
                  <a:pt x="46" y="1212"/>
                </a:lnTo>
                <a:lnTo>
                  <a:pt x="45" y="1212"/>
                </a:lnTo>
                <a:lnTo>
                  <a:pt x="45" y="1210"/>
                </a:lnTo>
                <a:lnTo>
                  <a:pt x="46" y="1209"/>
                </a:lnTo>
                <a:lnTo>
                  <a:pt x="46" y="1208"/>
                </a:lnTo>
                <a:lnTo>
                  <a:pt x="48" y="1206"/>
                </a:lnTo>
                <a:lnTo>
                  <a:pt x="49" y="1206"/>
                </a:lnTo>
                <a:lnTo>
                  <a:pt x="52" y="1203"/>
                </a:lnTo>
                <a:lnTo>
                  <a:pt x="54" y="1204"/>
                </a:lnTo>
                <a:lnTo>
                  <a:pt x="54" y="1202"/>
                </a:lnTo>
                <a:lnTo>
                  <a:pt x="55" y="1200"/>
                </a:lnTo>
                <a:lnTo>
                  <a:pt x="55" y="1197"/>
                </a:lnTo>
                <a:lnTo>
                  <a:pt x="63" y="1193"/>
                </a:lnTo>
                <a:lnTo>
                  <a:pt x="68" y="1193"/>
                </a:lnTo>
                <a:lnTo>
                  <a:pt x="67" y="1192"/>
                </a:lnTo>
                <a:lnTo>
                  <a:pt x="60" y="1193"/>
                </a:lnTo>
                <a:lnTo>
                  <a:pt x="56" y="1196"/>
                </a:lnTo>
                <a:lnTo>
                  <a:pt x="55" y="1196"/>
                </a:lnTo>
                <a:lnTo>
                  <a:pt x="56" y="1194"/>
                </a:lnTo>
                <a:lnTo>
                  <a:pt x="56" y="1193"/>
                </a:lnTo>
                <a:lnTo>
                  <a:pt x="57" y="1192"/>
                </a:lnTo>
                <a:lnTo>
                  <a:pt x="57" y="1186"/>
                </a:lnTo>
                <a:lnTo>
                  <a:pt x="58" y="1185"/>
                </a:lnTo>
                <a:lnTo>
                  <a:pt x="57" y="1185"/>
                </a:lnTo>
                <a:lnTo>
                  <a:pt x="56" y="1187"/>
                </a:lnTo>
                <a:lnTo>
                  <a:pt x="56" y="1192"/>
                </a:lnTo>
                <a:lnTo>
                  <a:pt x="55" y="1193"/>
                </a:lnTo>
                <a:lnTo>
                  <a:pt x="55" y="1196"/>
                </a:lnTo>
                <a:lnTo>
                  <a:pt x="54" y="1197"/>
                </a:lnTo>
                <a:lnTo>
                  <a:pt x="52" y="1200"/>
                </a:lnTo>
                <a:lnTo>
                  <a:pt x="51" y="1202"/>
                </a:lnTo>
                <a:lnTo>
                  <a:pt x="49" y="1203"/>
                </a:lnTo>
                <a:lnTo>
                  <a:pt x="49" y="1204"/>
                </a:lnTo>
                <a:lnTo>
                  <a:pt x="46" y="1205"/>
                </a:lnTo>
                <a:lnTo>
                  <a:pt x="46" y="1206"/>
                </a:lnTo>
                <a:lnTo>
                  <a:pt x="45" y="1205"/>
                </a:lnTo>
                <a:lnTo>
                  <a:pt x="45" y="1204"/>
                </a:lnTo>
                <a:lnTo>
                  <a:pt x="44" y="1204"/>
                </a:lnTo>
                <a:lnTo>
                  <a:pt x="44" y="1206"/>
                </a:lnTo>
                <a:lnTo>
                  <a:pt x="45" y="1206"/>
                </a:lnTo>
                <a:lnTo>
                  <a:pt x="45" y="1208"/>
                </a:lnTo>
                <a:lnTo>
                  <a:pt x="43" y="1210"/>
                </a:lnTo>
                <a:lnTo>
                  <a:pt x="42" y="1210"/>
                </a:lnTo>
                <a:lnTo>
                  <a:pt x="42" y="1208"/>
                </a:lnTo>
                <a:lnTo>
                  <a:pt x="40" y="1208"/>
                </a:lnTo>
                <a:lnTo>
                  <a:pt x="40" y="1202"/>
                </a:lnTo>
                <a:lnTo>
                  <a:pt x="42" y="1203"/>
                </a:lnTo>
                <a:lnTo>
                  <a:pt x="51" y="1199"/>
                </a:lnTo>
                <a:lnTo>
                  <a:pt x="51" y="1198"/>
                </a:lnTo>
                <a:lnTo>
                  <a:pt x="50" y="1198"/>
                </a:lnTo>
                <a:lnTo>
                  <a:pt x="48" y="1199"/>
                </a:lnTo>
                <a:lnTo>
                  <a:pt x="46" y="1200"/>
                </a:lnTo>
                <a:lnTo>
                  <a:pt x="40" y="1199"/>
                </a:lnTo>
                <a:lnTo>
                  <a:pt x="39" y="1199"/>
                </a:lnTo>
                <a:lnTo>
                  <a:pt x="39" y="1197"/>
                </a:lnTo>
                <a:lnTo>
                  <a:pt x="38" y="1197"/>
                </a:lnTo>
                <a:lnTo>
                  <a:pt x="38" y="1194"/>
                </a:lnTo>
                <a:lnTo>
                  <a:pt x="37" y="1194"/>
                </a:lnTo>
                <a:lnTo>
                  <a:pt x="36" y="1196"/>
                </a:lnTo>
                <a:lnTo>
                  <a:pt x="37" y="1198"/>
                </a:lnTo>
                <a:lnTo>
                  <a:pt x="37" y="1200"/>
                </a:lnTo>
                <a:lnTo>
                  <a:pt x="35" y="1203"/>
                </a:lnTo>
                <a:lnTo>
                  <a:pt x="33" y="1202"/>
                </a:lnTo>
                <a:lnTo>
                  <a:pt x="33" y="1203"/>
                </a:lnTo>
                <a:lnTo>
                  <a:pt x="32" y="1204"/>
                </a:lnTo>
                <a:lnTo>
                  <a:pt x="30" y="1205"/>
                </a:lnTo>
                <a:lnTo>
                  <a:pt x="31" y="1205"/>
                </a:lnTo>
                <a:lnTo>
                  <a:pt x="33" y="1204"/>
                </a:lnTo>
                <a:lnTo>
                  <a:pt x="37" y="1204"/>
                </a:lnTo>
                <a:lnTo>
                  <a:pt x="39" y="1208"/>
                </a:lnTo>
                <a:lnTo>
                  <a:pt x="39" y="1210"/>
                </a:lnTo>
                <a:lnTo>
                  <a:pt x="38" y="1210"/>
                </a:lnTo>
                <a:lnTo>
                  <a:pt x="36" y="1211"/>
                </a:lnTo>
                <a:lnTo>
                  <a:pt x="35" y="1210"/>
                </a:lnTo>
                <a:lnTo>
                  <a:pt x="35" y="1211"/>
                </a:lnTo>
                <a:lnTo>
                  <a:pt x="32" y="1211"/>
                </a:lnTo>
                <a:lnTo>
                  <a:pt x="32" y="1213"/>
                </a:lnTo>
                <a:lnTo>
                  <a:pt x="31" y="1213"/>
                </a:lnTo>
                <a:lnTo>
                  <a:pt x="30" y="1215"/>
                </a:lnTo>
                <a:lnTo>
                  <a:pt x="29" y="1215"/>
                </a:lnTo>
                <a:lnTo>
                  <a:pt x="29" y="1213"/>
                </a:lnTo>
                <a:lnTo>
                  <a:pt x="30" y="1212"/>
                </a:lnTo>
                <a:lnTo>
                  <a:pt x="30" y="1210"/>
                </a:lnTo>
                <a:lnTo>
                  <a:pt x="29" y="1206"/>
                </a:lnTo>
                <a:lnTo>
                  <a:pt x="27" y="1205"/>
                </a:lnTo>
                <a:lnTo>
                  <a:pt x="27" y="1213"/>
                </a:lnTo>
                <a:lnTo>
                  <a:pt x="25" y="1216"/>
                </a:lnTo>
                <a:lnTo>
                  <a:pt x="23" y="1216"/>
                </a:lnTo>
                <a:lnTo>
                  <a:pt x="23" y="1215"/>
                </a:lnTo>
                <a:lnTo>
                  <a:pt x="20" y="1212"/>
                </a:lnTo>
                <a:lnTo>
                  <a:pt x="21" y="1210"/>
                </a:lnTo>
                <a:lnTo>
                  <a:pt x="21" y="1205"/>
                </a:lnTo>
                <a:lnTo>
                  <a:pt x="20" y="1206"/>
                </a:lnTo>
                <a:lnTo>
                  <a:pt x="20" y="1215"/>
                </a:lnTo>
                <a:lnTo>
                  <a:pt x="19" y="1215"/>
                </a:lnTo>
                <a:lnTo>
                  <a:pt x="19" y="1212"/>
                </a:lnTo>
                <a:lnTo>
                  <a:pt x="18" y="1211"/>
                </a:lnTo>
                <a:lnTo>
                  <a:pt x="18" y="1205"/>
                </a:lnTo>
                <a:lnTo>
                  <a:pt x="17" y="1205"/>
                </a:lnTo>
                <a:lnTo>
                  <a:pt x="17" y="1210"/>
                </a:lnTo>
                <a:lnTo>
                  <a:pt x="15" y="1211"/>
                </a:lnTo>
                <a:lnTo>
                  <a:pt x="13" y="1204"/>
                </a:lnTo>
                <a:lnTo>
                  <a:pt x="12" y="1204"/>
                </a:lnTo>
                <a:lnTo>
                  <a:pt x="11" y="1203"/>
                </a:lnTo>
                <a:lnTo>
                  <a:pt x="11" y="1197"/>
                </a:lnTo>
                <a:lnTo>
                  <a:pt x="12" y="1196"/>
                </a:lnTo>
                <a:lnTo>
                  <a:pt x="13" y="1196"/>
                </a:lnTo>
                <a:lnTo>
                  <a:pt x="12" y="1194"/>
                </a:lnTo>
                <a:lnTo>
                  <a:pt x="12" y="1193"/>
                </a:lnTo>
                <a:lnTo>
                  <a:pt x="13" y="1193"/>
                </a:lnTo>
                <a:lnTo>
                  <a:pt x="15" y="1190"/>
                </a:lnTo>
                <a:lnTo>
                  <a:pt x="15" y="1187"/>
                </a:lnTo>
                <a:lnTo>
                  <a:pt x="17" y="1186"/>
                </a:lnTo>
                <a:lnTo>
                  <a:pt x="18" y="1186"/>
                </a:lnTo>
                <a:lnTo>
                  <a:pt x="18" y="1185"/>
                </a:lnTo>
                <a:lnTo>
                  <a:pt x="19" y="1185"/>
                </a:lnTo>
                <a:lnTo>
                  <a:pt x="19" y="1186"/>
                </a:lnTo>
                <a:lnTo>
                  <a:pt x="20" y="1188"/>
                </a:lnTo>
                <a:lnTo>
                  <a:pt x="21" y="1187"/>
                </a:lnTo>
                <a:lnTo>
                  <a:pt x="21" y="1186"/>
                </a:lnTo>
                <a:lnTo>
                  <a:pt x="20" y="1185"/>
                </a:lnTo>
                <a:lnTo>
                  <a:pt x="20" y="1182"/>
                </a:lnTo>
                <a:lnTo>
                  <a:pt x="21" y="1180"/>
                </a:lnTo>
                <a:lnTo>
                  <a:pt x="24" y="1178"/>
                </a:lnTo>
                <a:lnTo>
                  <a:pt x="24" y="1187"/>
                </a:lnTo>
                <a:lnTo>
                  <a:pt x="23" y="1187"/>
                </a:lnTo>
                <a:lnTo>
                  <a:pt x="24" y="1188"/>
                </a:lnTo>
                <a:lnTo>
                  <a:pt x="24" y="1192"/>
                </a:lnTo>
                <a:lnTo>
                  <a:pt x="21" y="1194"/>
                </a:lnTo>
                <a:lnTo>
                  <a:pt x="20" y="1194"/>
                </a:lnTo>
                <a:lnTo>
                  <a:pt x="20" y="1197"/>
                </a:lnTo>
                <a:lnTo>
                  <a:pt x="21" y="1197"/>
                </a:lnTo>
                <a:lnTo>
                  <a:pt x="24" y="1194"/>
                </a:lnTo>
                <a:lnTo>
                  <a:pt x="25" y="1194"/>
                </a:lnTo>
                <a:lnTo>
                  <a:pt x="25" y="1191"/>
                </a:lnTo>
                <a:lnTo>
                  <a:pt x="26" y="1190"/>
                </a:lnTo>
                <a:lnTo>
                  <a:pt x="25" y="1188"/>
                </a:lnTo>
                <a:lnTo>
                  <a:pt x="25" y="1186"/>
                </a:lnTo>
                <a:lnTo>
                  <a:pt x="26" y="1184"/>
                </a:lnTo>
                <a:lnTo>
                  <a:pt x="26" y="1182"/>
                </a:lnTo>
                <a:lnTo>
                  <a:pt x="27" y="1182"/>
                </a:lnTo>
                <a:lnTo>
                  <a:pt x="29" y="1184"/>
                </a:lnTo>
                <a:lnTo>
                  <a:pt x="33" y="1184"/>
                </a:lnTo>
                <a:lnTo>
                  <a:pt x="33" y="1188"/>
                </a:lnTo>
                <a:lnTo>
                  <a:pt x="35" y="1188"/>
                </a:lnTo>
                <a:lnTo>
                  <a:pt x="36" y="1187"/>
                </a:lnTo>
                <a:lnTo>
                  <a:pt x="36" y="1185"/>
                </a:lnTo>
                <a:lnTo>
                  <a:pt x="40" y="1185"/>
                </a:lnTo>
                <a:lnTo>
                  <a:pt x="40" y="1182"/>
                </a:lnTo>
                <a:lnTo>
                  <a:pt x="36" y="1185"/>
                </a:lnTo>
                <a:lnTo>
                  <a:pt x="35" y="1184"/>
                </a:lnTo>
                <a:lnTo>
                  <a:pt x="35" y="1182"/>
                </a:lnTo>
                <a:lnTo>
                  <a:pt x="37" y="1180"/>
                </a:lnTo>
                <a:lnTo>
                  <a:pt x="37" y="1179"/>
                </a:lnTo>
                <a:lnTo>
                  <a:pt x="39" y="1178"/>
                </a:lnTo>
                <a:lnTo>
                  <a:pt x="40" y="1178"/>
                </a:lnTo>
                <a:lnTo>
                  <a:pt x="40" y="1175"/>
                </a:lnTo>
                <a:lnTo>
                  <a:pt x="42" y="1175"/>
                </a:lnTo>
                <a:lnTo>
                  <a:pt x="42" y="1176"/>
                </a:lnTo>
                <a:lnTo>
                  <a:pt x="43" y="1178"/>
                </a:lnTo>
                <a:lnTo>
                  <a:pt x="46" y="1178"/>
                </a:lnTo>
                <a:lnTo>
                  <a:pt x="52" y="1173"/>
                </a:lnTo>
                <a:lnTo>
                  <a:pt x="52" y="1172"/>
                </a:lnTo>
                <a:lnTo>
                  <a:pt x="54" y="1172"/>
                </a:lnTo>
                <a:lnTo>
                  <a:pt x="54" y="1170"/>
                </a:lnTo>
                <a:lnTo>
                  <a:pt x="57" y="1169"/>
                </a:lnTo>
                <a:lnTo>
                  <a:pt x="58" y="1168"/>
                </a:lnTo>
                <a:lnTo>
                  <a:pt x="56" y="1169"/>
                </a:lnTo>
                <a:lnTo>
                  <a:pt x="50" y="1172"/>
                </a:lnTo>
                <a:lnTo>
                  <a:pt x="46" y="1175"/>
                </a:lnTo>
                <a:lnTo>
                  <a:pt x="46" y="1176"/>
                </a:lnTo>
                <a:lnTo>
                  <a:pt x="44" y="1176"/>
                </a:lnTo>
                <a:lnTo>
                  <a:pt x="43" y="1175"/>
                </a:lnTo>
                <a:lnTo>
                  <a:pt x="43" y="1169"/>
                </a:lnTo>
                <a:lnTo>
                  <a:pt x="42" y="1170"/>
                </a:lnTo>
                <a:lnTo>
                  <a:pt x="42" y="1173"/>
                </a:lnTo>
                <a:lnTo>
                  <a:pt x="39" y="1175"/>
                </a:lnTo>
                <a:lnTo>
                  <a:pt x="38" y="1175"/>
                </a:lnTo>
                <a:lnTo>
                  <a:pt x="37" y="1174"/>
                </a:lnTo>
                <a:lnTo>
                  <a:pt x="36" y="1174"/>
                </a:lnTo>
                <a:lnTo>
                  <a:pt x="35" y="1172"/>
                </a:lnTo>
                <a:lnTo>
                  <a:pt x="33" y="1170"/>
                </a:lnTo>
                <a:lnTo>
                  <a:pt x="33" y="1168"/>
                </a:lnTo>
                <a:lnTo>
                  <a:pt x="32" y="1168"/>
                </a:lnTo>
                <a:lnTo>
                  <a:pt x="32" y="1169"/>
                </a:lnTo>
                <a:lnTo>
                  <a:pt x="31" y="1169"/>
                </a:lnTo>
                <a:lnTo>
                  <a:pt x="30" y="1168"/>
                </a:lnTo>
                <a:lnTo>
                  <a:pt x="31" y="1168"/>
                </a:lnTo>
                <a:lnTo>
                  <a:pt x="32" y="1167"/>
                </a:lnTo>
                <a:lnTo>
                  <a:pt x="35" y="1166"/>
                </a:lnTo>
                <a:lnTo>
                  <a:pt x="35" y="1163"/>
                </a:lnTo>
                <a:lnTo>
                  <a:pt x="37" y="1161"/>
                </a:lnTo>
                <a:lnTo>
                  <a:pt x="39" y="1160"/>
                </a:lnTo>
                <a:lnTo>
                  <a:pt x="44" y="1160"/>
                </a:lnTo>
                <a:lnTo>
                  <a:pt x="44" y="1157"/>
                </a:lnTo>
                <a:lnTo>
                  <a:pt x="43" y="1156"/>
                </a:lnTo>
                <a:lnTo>
                  <a:pt x="45" y="1151"/>
                </a:lnTo>
                <a:lnTo>
                  <a:pt x="49" y="1148"/>
                </a:lnTo>
                <a:lnTo>
                  <a:pt x="57" y="1145"/>
                </a:lnTo>
                <a:lnTo>
                  <a:pt x="56" y="1145"/>
                </a:lnTo>
                <a:lnTo>
                  <a:pt x="56" y="1142"/>
                </a:lnTo>
                <a:lnTo>
                  <a:pt x="54" y="1144"/>
                </a:lnTo>
                <a:lnTo>
                  <a:pt x="54" y="1145"/>
                </a:lnTo>
                <a:lnTo>
                  <a:pt x="52" y="1147"/>
                </a:lnTo>
                <a:lnTo>
                  <a:pt x="50" y="1147"/>
                </a:lnTo>
                <a:lnTo>
                  <a:pt x="50" y="1144"/>
                </a:lnTo>
                <a:lnTo>
                  <a:pt x="49" y="1142"/>
                </a:lnTo>
                <a:lnTo>
                  <a:pt x="49" y="1139"/>
                </a:lnTo>
                <a:lnTo>
                  <a:pt x="52" y="1136"/>
                </a:lnTo>
                <a:lnTo>
                  <a:pt x="52" y="1133"/>
                </a:lnTo>
                <a:lnTo>
                  <a:pt x="54" y="1132"/>
                </a:lnTo>
                <a:lnTo>
                  <a:pt x="54" y="1130"/>
                </a:lnTo>
                <a:lnTo>
                  <a:pt x="56" y="1130"/>
                </a:lnTo>
                <a:lnTo>
                  <a:pt x="58" y="1128"/>
                </a:lnTo>
                <a:lnTo>
                  <a:pt x="58" y="1126"/>
                </a:lnTo>
                <a:lnTo>
                  <a:pt x="60" y="1126"/>
                </a:lnTo>
                <a:lnTo>
                  <a:pt x="60" y="1125"/>
                </a:lnTo>
                <a:lnTo>
                  <a:pt x="61" y="1124"/>
                </a:lnTo>
                <a:lnTo>
                  <a:pt x="63" y="1124"/>
                </a:lnTo>
                <a:lnTo>
                  <a:pt x="63" y="1123"/>
                </a:lnTo>
                <a:lnTo>
                  <a:pt x="67" y="1119"/>
                </a:lnTo>
                <a:lnTo>
                  <a:pt x="69" y="1119"/>
                </a:lnTo>
                <a:lnTo>
                  <a:pt x="73" y="1120"/>
                </a:lnTo>
                <a:lnTo>
                  <a:pt x="69" y="1128"/>
                </a:lnTo>
                <a:lnTo>
                  <a:pt x="69" y="1131"/>
                </a:lnTo>
                <a:lnTo>
                  <a:pt x="68" y="1132"/>
                </a:lnTo>
                <a:lnTo>
                  <a:pt x="68" y="1133"/>
                </a:lnTo>
                <a:lnTo>
                  <a:pt x="67" y="1141"/>
                </a:lnTo>
                <a:lnTo>
                  <a:pt x="67" y="1144"/>
                </a:lnTo>
                <a:lnTo>
                  <a:pt x="68" y="1142"/>
                </a:lnTo>
                <a:lnTo>
                  <a:pt x="68" y="1141"/>
                </a:lnTo>
                <a:lnTo>
                  <a:pt x="69" y="1137"/>
                </a:lnTo>
                <a:lnTo>
                  <a:pt x="69" y="1132"/>
                </a:lnTo>
                <a:lnTo>
                  <a:pt x="70" y="1131"/>
                </a:lnTo>
                <a:lnTo>
                  <a:pt x="71" y="1125"/>
                </a:lnTo>
                <a:lnTo>
                  <a:pt x="75" y="1122"/>
                </a:lnTo>
                <a:lnTo>
                  <a:pt x="76" y="1118"/>
                </a:lnTo>
                <a:lnTo>
                  <a:pt x="79" y="1116"/>
                </a:lnTo>
                <a:lnTo>
                  <a:pt x="85" y="1114"/>
                </a:lnTo>
                <a:lnTo>
                  <a:pt x="88" y="1116"/>
                </a:lnTo>
                <a:lnTo>
                  <a:pt x="91" y="1116"/>
                </a:lnTo>
                <a:lnTo>
                  <a:pt x="92" y="1113"/>
                </a:lnTo>
                <a:lnTo>
                  <a:pt x="83" y="1113"/>
                </a:lnTo>
                <a:lnTo>
                  <a:pt x="83" y="1112"/>
                </a:lnTo>
                <a:lnTo>
                  <a:pt x="85" y="1112"/>
                </a:lnTo>
                <a:lnTo>
                  <a:pt x="85" y="1110"/>
                </a:lnTo>
                <a:lnTo>
                  <a:pt x="86" y="1110"/>
                </a:lnTo>
                <a:lnTo>
                  <a:pt x="88" y="1106"/>
                </a:lnTo>
                <a:lnTo>
                  <a:pt x="87" y="1106"/>
                </a:lnTo>
                <a:lnTo>
                  <a:pt x="85" y="1107"/>
                </a:lnTo>
                <a:lnTo>
                  <a:pt x="83" y="1108"/>
                </a:lnTo>
                <a:lnTo>
                  <a:pt x="81" y="1113"/>
                </a:lnTo>
                <a:lnTo>
                  <a:pt x="77" y="1114"/>
                </a:lnTo>
                <a:lnTo>
                  <a:pt x="76" y="1116"/>
                </a:lnTo>
                <a:lnTo>
                  <a:pt x="74" y="1119"/>
                </a:lnTo>
                <a:lnTo>
                  <a:pt x="70" y="1119"/>
                </a:lnTo>
                <a:lnTo>
                  <a:pt x="70" y="1117"/>
                </a:lnTo>
                <a:lnTo>
                  <a:pt x="74" y="1113"/>
                </a:lnTo>
                <a:lnTo>
                  <a:pt x="74" y="1112"/>
                </a:lnTo>
                <a:lnTo>
                  <a:pt x="73" y="1112"/>
                </a:lnTo>
                <a:lnTo>
                  <a:pt x="69" y="1117"/>
                </a:lnTo>
                <a:lnTo>
                  <a:pt x="67" y="1118"/>
                </a:lnTo>
                <a:lnTo>
                  <a:pt x="66" y="1118"/>
                </a:lnTo>
                <a:lnTo>
                  <a:pt x="63" y="1119"/>
                </a:lnTo>
                <a:lnTo>
                  <a:pt x="62" y="1119"/>
                </a:lnTo>
                <a:lnTo>
                  <a:pt x="58" y="1123"/>
                </a:lnTo>
                <a:lnTo>
                  <a:pt x="56" y="1123"/>
                </a:lnTo>
                <a:lnTo>
                  <a:pt x="56" y="1122"/>
                </a:lnTo>
                <a:lnTo>
                  <a:pt x="54" y="1119"/>
                </a:lnTo>
                <a:lnTo>
                  <a:pt x="54" y="1116"/>
                </a:lnTo>
                <a:lnTo>
                  <a:pt x="52" y="1116"/>
                </a:lnTo>
                <a:lnTo>
                  <a:pt x="52" y="1118"/>
                </a:lnTo>
                <a:lnTo>
                  <a:pt x="54" y="1119"/>
                </a:lnTo>
                <a:lnTo>
                  <a:pt x="54" y="1122"/>
                </a:lnTo>
                <a:lnTo>
                  <a:pt x="55" y="1123"/>
                </a:lnTo>
                <a:lnTo>
                  <a:pt x="55" y="1124"/>
                </a:lnTo>
                <a:lnTo>
                  <a:pt x="54" y="1123"/>
                </a:lnTo>
                <a:lnTo>
                  <a:pt x="52" y="1124"/>
                </a:lnTo>
                <a:lnTo>
                  <a:pt x="51" y="1124"/>
                </a:lnTo>
                <a:lnTo>
                  <a:pt x="50" y="1125"/>
                </a:lnTo>
                <a:lnTo>
                  <a:pt x="54" y="1125"/>
                </a:lnTo>
                <a:lnTo>
                  <a:pt x="52" y="1128"/>
                </a:lnTo>
                <a:lnTo>
                  <a:pt x="51" y="1129"/>
                </a:lnTo>
                <a:lnTo>
                  <a:pt x="51" y="1131"/>
                </a:lnTo>
                <a:lnTo>
                  <a:pt x="52" y="1131"/>
                </a:lnTo>
                <a:lnTo>
                  <a:pt x="51" y="1133"/>
                </a:lnTo>
                <a:lnTo>
                  <a:pt x="51" y="1135"/>
                </a:lnTo>
                <a:lnTo>
                  <a:pt x="49" y="1135"/>
                </a:lnTo>
                <a:lnTo>
                  <a:pt x="46" y="1133"/>
                </a:lnTo>
                <a:lnTo>
                  <a:pt x="45" y="1132"/>
                </a:lnTo>
                <a:lnTo>
                  <a:pt x="45" y="1133"/>
                </a:lnTo>
                <a:lnTo>
                  <a:pt x="44" y="1135"/>
                </a:lnTo>
                <a:lnTo>
                  <a:pt x="44" y="1137"/>
                </a:lnTo>
                <a:lnTo>
                  <a:pt x="42" y="1142"/>
                </a:lnTo>
                <a:lnTo>
                  <a:pt x="39" y="1142"/>
                </a:lnTo>
                <a:lnTo>
                  <a:pt x="39" y="1154"/>
                </a:lnTo>
                <a:lnTo>
                  <a:pt x="38" y="1155"/>
                </a:lnTo>
                <a:lnTo>
                  <a:pt x="36" y="1155"/>
                </a:lnTo>
                <a:lnTo>
                  <a:pt x="36" y="1154"/>
                </a:lnTo>
                <a:lnTo>
                  <a:pt x="35" y="1156"/>
                </a:lnTo>
                <a:lnTo>
                  <a:pt x="32" y="1155"/>
                </a:lnTo>
                <a:lnTo>
                  <a:pt x="32" y="1150"/>
                </a:lnTo>
                <a:lnTo>
                  <a:pt x="36" y="1150"/>
                </a:lnTo>
                <a:lnTo>
                  <a:pt x="36" y="1149"/>
                </a:lnTo>
                <a:lnTo>
                  <a:pt x="37" y="1148"/>
                </a:lnTo>
                <a:lnTo>
                  <a:pt x="35" y="1148"/>
                </a:lnTo>
                <a:lnTo>
                  <a:pt x="35" y="1149"/>
                </a:lnTo>
                <a:lnTo>
                  <a:pt x="33" y="1149"/>
                </a:lnTo>
                <a:lnTo>
                  <a:pt x="33" y="1148"/>
                </a:lnTo>
                <a:lnTo>
                  <a:pt x="32" y="1147"/>
                </a:lnTo>
                <a:lnTo>
                  <a:pt x="33" y="1147"/>
                </a:lnTo>
                <a:lnTo>
                  <a:pt x="33" y="1144"/>
                </a:lnTo>
                <a:lnTo>
                  <a:pt x="32" y="1142"/>
                </a:lnTo>
                <a:lnTo>
                  <a:pt x="36" y="1138"/>
                </a:lnTo>
                <a:lnTo>
                  <a:pt x="33" y="1138"/>
                </a:lnTo>
                <a:lnTo>
                  <a:pt x="31" y="1141"/>
                </a:lnTo>
                <a:lnTo>
                  <a:pt x="31" y="1142"/>
                </a:lnTo>
                <a:lnTo>
                  <a:pt x="30" y="1143"/>
                </a:lnTo>
                <a:lnTo>
                  <a:pt x="29" y="1143"/>
                </a:lnTo>
                <a:lnTo>
                  <a:pt x="27" y="1144"/>
                </a:lnTo>
                <a:lnTo>
                  <a:pt x="26" y="1143"/>
                </a:lnTo>
                <a:lnTo>
                  <a:pt x="26" y="1142"/>
                </a:lnTo>
                <a:lnTo>
                  <a:pt x="27" y="1141"/>
                </a:lnTo>
                <a:lnTo>
                  <a:pt x="27" y="1139"/>
                </a:lnTo>
                <a:lnTo>
                  <a:pt x="26" y="1139"/>
                </a:lnTo>
                <a:lnTo>
                  <a:pt x="26" y="1138"/>
                </a:lnTo>
                <a:lnTo>
                  <a:pt x="29" y="1138"/>
                </a:lnTo>
                <a:lnTo>
                  <a:pt x="33" y="1136"/>
                </a:lnTo>
                <a:lnTo>
                  <a:pt x="29" y="1136"/>
                </a:lnTo>
                <a:lnTo>
                  <a:pt x="30" y="1135"/>
                </a:lnTo>
                <a:lnTo>
                  <a:pt x="30" y="1132"/>
                </a:lnTo>
                <a:lnTo>
                  <a:pt x="29" y="1132"/>
                </a:lnTo>
                <a:lnTo>
                  <a:pt x="30" y="1129"/>
                </a:lnTo>
                <a:lnTo>
                  <a:pt x="31" y="1128"/>
                </a:lnTo>
                <a:lnTo>
                  <a:pt x="31" y="1125"/>
                </a:lnTo>
                <a:lnTo>
                  <a:pt x="32" y="1125"/>
                </a:lnTo>
                <a:lnTo>
                  <a:pt x="35" y="1123"/>
                </a:lnTo>
                <a:lnTo>
                  <a:pt x="33" y="1123"/>
                </a:lnTo>
                <a:lnTo>
                  <a:pt x="32" y="1124"/>
                </a:lnTo>
                <a:lnTo>
                  <a:pt x="31" y="1124"/>
                </a:lnTo>
                <a:lnTo>
                  <a:pt x="31" y="1125"/>
                </a:lnTo>
                <a:lnTo>
                  <a:pt x="30" y="1125"/>
                </a:lnTo>
                <a:lnTo>
                  <a:pt x="29" y="1126"/>
                </a:lnTo>
                <a:lnTo>
                  <a:pt x="29" y="1128"/>
                </a:lnTo>
                <a:lnTo>
                  <a:pt x="27" y="1130"/>
                </a:lnTo>
                <a:lnTo>
                  <a:pt x="27" y="1132"/>
                </a:lnTo>
                <a:lnTo>
                  <a:pt x="25" y="1136"/>
                </a:lnTo>
                <a:lnTo>
                  <a:pt x="25" y="1138"/>
                </a:lnTo>
                <a:lnTo>
                  <a:pt x="23" y="1139"/>
                </a:lnTo>
                <a:lnTo>
                  <a:pt x="21" y="1142"/>
                </a:lnTo>
                <a:lnTo>
                  <a:pt x="20" y="1143"/>
                </a:lnTo>
                <a:lnTo>
                  <a:pt x="20" y="1144"/>
                </a:lnTo>
                <a:lnTo>
                  <a:pt x="19" y="1143"/>
                </a:lnTo>
                <a:lnTo>
                  <a:pt x="18" y="1143"/>
                </a:lnTo>
                <a:lnTo>
                  <a:pt x="18" y="1142"/>
                </a:lnTo>
                <a:lnTo>
                  <a:pt x="19" y="1142"/>
                </a:lnTo>
                <a:lnTo>
                  <a:pt x="17" y="1141"/>
                </a:lnTo>
                <a:lnTo>
                  <a:pt x="15" y="1139"/>
                </a:lnTo>
                <a:lnTo>
                  <a:pt x="17" y="1139"/>
                </a:lnTo>
                <a:lnTo>
                  <a:pt x="17" y="1138"/>
                </a:lnTo>
                <a:lnTo>
                  <a:pt x="18" y="1138"/>
                </a:lnTo>
                <a:lnTo>
                  <a:pt x="18" y="1137"/>
                </a:lnTo>
                <a:lnTo>
                  <a:pt x="17" y="1137"/>
                </a:lnTo>
                <a:lnTo>
                  <a:pt x="13" y="1138"/>
                </a:lnTo>
                <a:lnTo>
                  <a:pt x="12" y="1138"/>
                </a:lnTo>
                <a:lnTo>
                  <a:pt x="15" y="1135"/>
                </a:lnTo>
                <a:lnTo>
                  <a:pt x="15" y="1133"/>
                </a:lnTo>
                <a:lnTo>
                  <a:pt x="14" y="1133"/>
                </a:lnTo>
                <a:lnTo>
                  <a:pt x="9" y="1132"/>
                </a:lnTo>
                <a:lnTo>
                  <a:pt x="9" y="1129"/>
                </a:lnTo>
                <a:lnTo>
                  <a:pt x="13" y="1129"/>
                </a:lnTo>
                <a:lnTo>
                  <a:pt x="12" y="1128"/>
                </a:lnTo>
                <a:lnTo>
                  <a:pt x="11" y="1128"/>
                </a:lnTo>
                <a:lnTo>
                  <a:pt x="9" y="1126"/>
                </a:lnTo>
                <a:lnTo>
                  <a:pt x="8" y="1126"/>
                </a:lnTo>
                <a:lnTo>
                  <a:pt x="9" y="1125"/>
                </a:lnTo>
                <a:lnTo>
                  <a:pt x="11" y="1123"/>
                </a:lnTo>
                <a:lnTo>
                  <a:pt x="15" y="1123"/>
                </a:lnTo>
                <a:lnTo>
                  <a:pt x="14" y="1122"/>
                </a:lnTo>
                <a:lnTo>
                  <a:pt x="13" y="1119"/>
                </a:lnTo>
                <a:lnTo>
                  <a:pt x="14" y="1118"/>
                </a:lnTo>
                <a:lnTo>
                  <a:pt x="13" y="1116"/>
                </a:lnTo>
                <a:lnTo>
                  <a:pt x="13" y="1114"/>
                </a:lnTo>
                <a:lnTo>
                  <a:pt x="14" y="1112"/>
                </a:lnTo>
                <a:lnTo>
                  <a:pt x="15" y="1111"/>
                </a:lnTo>
                <a:lnTo>
                  <a:pt x="19" y="1114"/>
                </a:lnTo>
                <a:lnTo>
                  <a:pt x="20" y="1114"/>
                </a:lnTo>
                <a:lnTo>
                  <a:pt x="21" y="1118"/>
                </a:lnTo>
                <a:lnTo>
                  <a:pt x="23" y="1119"/>
                </a:lnTo>
                <a:lnTo>
                  <a:pt x="25" y="1120"/>
                </a:lnTo>
                <a:lnTo>
                  <a:pt x="29" y="1120"/>
                </a:lnTo>
                <a:lnTo>
                  <a:pt x="31" y="1119"/>
                </a:lnTo>
                <a:lnTo>
                  <a:pt x="30" y="1118"/>
                </a:lnTo>
                <a:lnTo>
                  <a:pt x="31" y="1117"/>
                </a:lnTo>
                <a:lnTo>
                  <a:pt x="32" y="1117"/>
                </a:lnTo>
                <a:lnTo>
                  <a:pt x="33" y="1116"/>
                </a:lnTo>
                <a:lnTo>
                  <a:pt x="33" y="1111"/>
                </a:lnTo>
                <a:lnTo>
                  <a:pt x="32" y="1108"/>
                </a:lnTo>
                <a:lnTo>
                  <a:pt x="33" y="1105"/>
                </a:lnTo>
                <a:lnTo>
                  <a:pt x="33" y="1101"/>
                </a:lnTo>
                <a:lnTo>
                  <a:pt x="35" y="1100"/>
                </a:lnTo>
                <a:lnTo>
                  <a:pt x="33" y="1099"/>
                </a:lnTo>
                <a:lnTo>
                  <a:pt x="33" y="1098"/>
                </a:lnTo>
                <a:lnTo>
                  <a:pt x="35" y="1095"/>
                </a:lnTo>
                <a:lnTo>
                  <a:pt x="35" y="1094"/>
                </a:lnTo>
                <a:lnTo>
                  <a:pt x="33" y="1095"/>
                </a:lnTo>
                <a:lnTo>
                  <a:pt x="33" y="1096"/>
                </a:lnTo>
                <a:lnTo>
                  <a:pt x="31" y="1095"/>
                </a:lnTo>
                <a:lnTo>
                  <a:pt x="31" y="1094"/>
                </a:lnTo>
                <a:lnTo>
                  <a:pt x="32" y="1093"/>
                </a:lnTo>
                <a:lnTo>
                  <a:pt x="32" y="1092"/>
                </a:lnTo>
                <a:lnTo>
                  <a:pt x="31" y="1092"/>
                </a:lnTo>
                <a:lnTo>
                  <a:pt x="30" y="1094"/>
                </a:lnTo>
                <a:lnTo>
                  <a:pt x="29" y="1095"/>
                </a:lnTo>
                <a:lnTo>
                  <a:pt x="29" y="1096"/>
                </a:lnTo>
                <a:lnTo>
                  <a:pt x="25" y="1096"/>
                </a:lnTo>
                <a:lnTo>
                  <a:pt x="25" y="1102"/>
                </a:lnTo>
                <a:lnTo>
                  <a:pt x="24" y="1102"/>
                </a:lnTo>
                <a:lnTo>
                  <a:pt x="21" y="1104"/>
                </a:lnTo>
                <a:lnTo>
                  <a:pt x="19" y="1106"/>
                </a:lnTo>
                <a:lnTo>
                  <a:pt x="15" y="1108"/>
                </a:lnTo>
                <a:lnTo>
                  <a:pt x="13" y="1108"/>
                </a:lnTo>
                <a:lnTo>
                  <a:pt x="12" y="1107"/>
                </a:lnTo>
                <a:lnTo>
                  <a:pt x="11" y="1105"/>
                </a:lnTo>
                <a:lnTo>
                  <a:pt x="9" y="1104"/>
                </a:lnTo>
                <a:lnTo>
                  <a:pt x="7" y="1100"/>
                </a:lnTo>
                <a:lnTo>
                  <a:pt x="6" y="1099"/>
                </a:lnTo>
                <a:lnTo>
                  <a:pt x="8" y="1100"/>
                </a:lnTo>
                <a:lnTo>
                  <a:pt x="9" y="1100"/>
                </a:lnTo>
                <a:lnTo>
                  <a:pt x="12" y="1104"/>
                </a:lnTo>
                <a:lnTo>
                  <a:pt x="13" y="1102"/>
                </a:lnTo>
                <a:lnTo>
                  <a:pt x="6" y="1095"/>
                </a:lnTo>
                <a:lnTo>
                  <a:pt x="9" y="1095"/>
                </a:lnTo>
                <a:lnTo>
                  <a:pt x="8" y="1094"/>
                </a:lnTo>
                <a:lnTo>
                  <a:pt x="7" y="1094"/>
                </a:lnTo>
                <a:lnTo>
                  <a:pt x="6" y="1093"/>
                </a:lnTo>
                <a:lnTo>
                  <a:pt x="5" y="1093"/>
                </a:lnTo>
                <a:lnTo>
                  <a:pt x="2" y="1089"/>
                </a:lnTo>
                <a:lnTo>
                  <a:pt x="0" y="1087"/>
                </a:lnTo>
                <a:lnTo>
                  <a:pt x="4" y="1087"/>
                </a:lnTo>
                <a:lnTo>
                  <a:pt x="5" y="1089"/>
                </a:lnTo>
                <a:lnTo>
                  <a:pt x="7" y="1089"/>
                </a:lnTo>
                <a:lnTo>
                  <a:pt x="11" y="1093"/>
                </a:lnTo>
                <a:lnTo>
                  <a:pt x="14" y="1094"/>
                </a:lnTo>
                <a:lnTo>
                  <a:pt x="15" y="1095"/>
                </a:lnTo>
                <a:lnTo>
                  <a:pt x="15" y="1098"/>
                </a:lnTo>
                <a:lnTo>
                  <a:pt x="17" y="1100"/>
                </a:lnTo>
                <a:lnTo>
                  <a:pt x="18" y="1101"/>
                </a:lnTo>
                <a:lnTo>
                  <a:pt x="18" y="1099"/>
                </a:lnTo>
                <a:lnTo>
                  <a:pt x="19" y="1100"/>
                </a:lnTo>
                <a:lnTo>
                  <a:pt x="20" y="1102"/>
                </a:lnTo>
                <a:lnTo>
                  <a:pt x="21" y="1102"/>
                </a:lnTo>
                <a:lnTo>
                  <a:pt x="19" y="1100"/>
                </a:lnTo>
                <a:lnTo>
                  <a:pt x="19" y="1098"/>
                </a:lnTo>
                <a:lnTo>
                  <a:pt x="21" y="1099"/>
                </a:lnTo>
                <a:lnTo>
                  <a:pt x="20" y="1098"/>
                </a:lnTo>
                <a:lnTo>
                  <a:pt x="20" y="1095"/>
                </a:lnTo>
                <a:lnTo>
                  <a:pt x="19" y="1095"/>
                </a:lnTo>
                <a:lnTo>
                  <a:pt x="19" y="1094"/>
                </a:lnTo>
                <a:lnTo>
                  <a:pt x="18" y="1094"/>
                </a:lnTo>
                <a:lnTo>
                  <a:pt x="18" y="1092"/>
                </a:lnTo>
                <a:lnTo>
                  <a:pt x="15" y="1092"/>
                </a:lnTo>
                <a:lnTo>
                  <a:pt x="14" y="1090"/>
                </a:lnTo>
                <a:lnTo>
                  <a:pt x="13" y="1090"/>
                </a:lnTo>
                <a:lnTo>
                  <a:pt x="13" y="1089"/>
                </a:lnTo>
                <a:lnTo>
                  <a:pt x="14" y="1088"/>
                </a:lnTo>
                <a:lnTo>
                  <a:pt x="15" y="1088"/>
                </a:lnTo>
                <a:lnTo>
                  <a:pt x="17" y="1087"/>
                </a:lnTo>
                <a:lnTo>
                  <a:pt x="18" y="1087"/>
                </a:lnTo>
                <a:lnTo>
                  <a:pt x="17" y="1085"/>
                </a:lnTo>
                <a:lnTo>
                  <a:pt x="18" y="1083"/>
                </a:lnTo>
                <a:lnTo>
                  <a:pt x="21" y="1081"/>
                </a:lnTo>
                <a:lnTo>
                  <a:pt x="21" y="1082"/>
                </a:lnTo>
                <a:lnTo>
                  <a:pt x="25" y="1082"/>
                </a:lnTo>
                <a:lnTo>
                  <a:pt x="25" y="1081"/>
                </a:lnTo>
                <a:lnTo>
                  <a:pt x="24" y="1081"/>
                </a:lnTo>
                <a:lnTo>
                  <a:pt x="23" y="1080"/>
                </a:lnTo>
                <a:lnTo>
                  <a:pt x="24" y="1079"/>
                </a:lnTo>
                <a:lnTo>
                  <a:pt x="23" y="1079"/>
                </a:lnTo>
                <a:lnTo>
                  <a:pt x="20" y="1081"/>
                </a:lnTo>
                <a:lnTo>
                  <a:pt x="18" y="1081"/>
                </a:lnTo>
                <a:lnTo>
                  <a:pt x="17" y="1082"/>
                </a:lnTo>
                <a:lnTo>
                  <a:pt x="17" y="1083"/>
                </a:lnTo>
                <a:lnTo>
                  <a:pt x="15" y="1086"/>
                </a:lnTo>
                <a:lnTo>
                  <a:pt x="13" y="1086"/>
                </a:lnTo>
                <a:lnTo>
                  <a:pt x="11" y="1085"/>
                </a:lnTo>
                <a:lnTo>
                  <a:pt x="9" y="1083"/>
                </a:lnTo>
                <a:lnTo>
                  <a:pt x="9" y="1086"/>
                </a:lnTo>
                <a:lnTo>
                  <a:pt x="8" y="1087"/>
                </a:lnTo>
                <a:lnTo>
                  <a:pt x="8" y="1085"/>
                </a:lnTo>
                <a:lnTo>
                  <a:pt x="6" y="1085"/>
                </a:lnTo>
                <a:lnTo>
                  <a:pt x="5" y="1083"/>
                </a:lnTo>
                <a:lnTo>
                  <a:pt x="5" y="1082"/>
                </a:lnTo>
                <a:lnTo>
                  <a:pt x="4" y="1080"/>
                </a:lnTo>
                <a:lnTo>
                  <a:pt x="4" y="1076"/>
                </a:lnTo>
                <a:lnTo>
                  <a:pt x="2" y="1075"/>
                </a:lnTo>
                <a:lnTo>
                  <a:pt x="2" y="1074"/>
                </a:lnTo>
                <a:lnTo>
                  <a:pt x="4" y="1073"/>
                </a:lnTo>
                <a:lnTo>
                  <a:pt x="6" y="1075"/>
                </a:lnTo>
                <a:lnTo>
                  <a:pt x="6" y="1080"/>
                </a:lnTo>
                <a:lnTo>
                  <a:pt x="7" y="1081"/>
                </a:lnTo>
                <a:lnTo>
                  <a:pt x="7" y="1074"/>
                </a:lnTo>
                <a:lnTo>
                  <a:pt x="8" y="1073"/>
                </a:lnTo>
                <a:lnTo>
                  <a:pt x="9" y="1073"/>
                </a:lnTo>
                <a:lnTo>
                  <a:pt x="8" y="1071"/>
                </a:lnTo>
                <a:lnTo>
                  <a:pt x="7" y="1073"/>
                </a:lnTo>
                <a:lnTo>
                  <a:pt x="4" y="1073"/>
                </a:lnTo>
                <a:lnTo>
                  <a:pt x="4" y="1067"/>
                </a:lnTo>
                <a:lnTo>
                  <a:pt x="6" y="1064"/>
                </a:lnTo>
                <a:lnTo>
                  <a:pt x="8" y="1063"/>
                </a:lnTo>
                <a:lnTo>
                  <a:pt x="12" y="1064"/>
                </a:lnTo>
                <a:lnTo>
                  <a:pt x="14" y="1067"/>
                </a:lnTo>
                <a:lnTo>
                  <a:pt x="17" y="1068"/>
                </a:lnTo>
                <a:lnTo>
                  <a:pt x="21" y="1068"/>
                </a:lnTo>
                <a:lnTo>
                  <a:pt x="21" y="1070"/>
                </a:lnTo>
                <a:lnTo>
                  <a:pt x="23" y="1070"/>
                </a:lnTo>
                <a:lnTo>
                  <a:pt x="23" y="1065"/>
                </a:lnTo>
                <a:lnTo>
                  <a:pt x="24" y="1065"/>
                </a:lnTo>
                <a:lnTo>
                  <a:pt x="25" y="1063"/>
                </a:lnTo>
                <a:lnTo>
                  <a:pt x="27" y="1064"/>
                </a:lnTo>
                <a:lnTo>
                  <a:pt x="29" y="1064"/>
                </a:lnTo>
                <a:lnTo>
                  <a:pt x="30" y="1065"/>
                </a:lnTo>
                <a:lnTo>
                  <a:pt x="30" y="1064"/>
                </a:lnTo>
                <a:lnTo>
                  <a:pt x="29" y="1063"/>
                </a:lnTo>
                <a:lnTo>
                  <a:pt x="30" y="1062"/>
                </a:lnTo>
                <a:lnTo>
                  <a:pt x="31" y="1062"/>
                </a:lnTo>
                <a:lnTo>
                  <a:pt x="31" y="1063"/>
                </a:lnTo>
                <a:lnTo>
                  <a:pt x="32" y="1062"/>
                </a:lnTo>
                <a:lnTo>
                  <a:pt x="35" y="1061"/>
                </a:lnTo>
                <a:lnTo>
                  <a:pt x="36" y="1061"/>
                </a:lnTo>
                <a:lnTo>
                  <a:pt x="36" y="1064"/>
                </a:lnTo>
                <a:lnTo>
                  <a:pt x="37" y="1064"/>
                </a:lnTo>
                <a:lnTo>
                  <a:pt x="37" y="1063"/>
                </a:lnTo>
                <a:lnTo>
                  <a:pt x="38" y="1062"/>
                </a:lnTo>
                <a:lnTo>
                  <a:pt x="38" y="1061"/>
                </a:lnTo>
                <a:lnTo>
                  <a:pt x="39" y="1059"/>
                </a:lnTo>
                <a:lnTo>
                  <a:pt x="44" y="1059"/>
                </a:lnTo>
                <a:lnTo>
                  <a:pt x="45" y="1061"/>
                </a:lnTo>
                <a:lnTo>
                  <a:pt x="46" y="1061"/>
                </a:lnTo>
                <a:lnTo>
                  <a:pt x="49" y="1059"/>
                </a:lnTo>
                <a:lnTo>
                  <a:pt x="51" y="1059"/>
                </a:lnTo>
                <a:lnTo>
                  <a:pt x="54" y="1061"/>
                </a:lnTo>
                <a:lnTo>
                  <a:pt x="55" y="1062"/>
                </a:lnTo>
                <a:lnTo>
                  <a:pt x="56" y="1062"/>
                </a:lnTo>
                <a:lnTo>
                  <a:pt x="56" y="1065"/>
                </a:lnTo>
                <a:lnTo>
                  <a:pt x="55" y="1067"/>
                </a:lnTo>
                <a:lnTo>
                  <a:pt x="57" y="1065"/>
                </a:lnTo>
                <a:lnTo>
                  <a:pt x="58" y="1064"/>
                </a:lnTo>
                <a:lnTo>
                  <a:pt x="61" y="1064"/>
                </a:lnTo>
                <a:lnTo>
                  <a:pt x="61" y="1067"/>
                </a:lnTo>
                <a:lnTo>
                  <a:pt x="60" y="1068"/>
                </a:lnTo>
                <a:lnTo>
                  <a:pt x="60" y="1069"/>
                </a:lnTo>
                <a:lnTo>
                  <a:pt x="61" y="1069"/>
                </a:lnTo>
                <a:lnTo>
                  <a:pt x="61" y="1067"/>
                </a:lnTo>
                <a:lnTo>
                  <a:pt x="62" y="1064"/>
                </a:lnTo>
                <a:lnTo>
                  <a:pt x="64" y="1062"/>
                </a:lnTo>
                <a:lnTo>
                  <a:pt x="67" y="1062"/>
                </a:lnTo>
                <a:lnTo>
                  <a:pt x="70" y="1058"/>
                </a:lnTo>
                <a:lnTo>
                  <a:pt x="70" y="1055"/>
                </a:lnTo>
                <a:lnTo>
                  <a:pt x="71" y="1055"/>
                </a:lnTo>
                <a:lnTo>
                  <a:pt x="71" y="1056"/>
                </a:lnTo>
                <a:lnTo>
                  <a:pt x="73" y="1056"/>
                </a:lnTo>
                <a:lnTo>
                  <a:pt x="79" y="1057"/>
                </a:lnTo>
                <a:lnTo>
                  <a:pt x="80" y="1058"/>
                </a:lnTo>
                <a:lnTo>
                  <a:pt x="81" y="1058"/>
                </a:lnTo>
                <a:lnTo>
                  <a:pt x="81" y="1062"/>
                </a:lnTo>
                <a:lnTo>
                  <a:pt x="82" y="1062"/>
                </a:lnTo>
                <a:lnTo>
                  <a:pt x="82" y="1063"/>
                </a:lnTo>
                <a:lnTo>
                  <a:pt x="85" y="1062"/>
                </a:lnTo>
                <a:lnTo>
                  <a:pt x="86" y="1063"/>
                </a:lnTo>
                <a:lnTo>
                  <a:pt x="87" y="1067"/>
                </a:lnTo>
                <a:lnTo>
                  <a:pt x="87" y="1069"/>
                </a:lnTo>
                <a:lnTo>
                  <a:pt x="88" y="1069"/>
                </a:lnTo>
                <a:lnTo>
                  <a:pt x="87" y="1070"/>
                </a:lnTo>
                <a:lnTo>
                  <a:pt x="87" y="1071"/>
                </a:lnTo>
                <a:lnTo>
                  <a:pt x="86" y="1071"/>
                </a:lnTo>
                <a:lnTo>
                  <a:pt x="85" y="1073"/>
                </a:lnTo>
                <a:lnTo>
                  <a:pt x="82" y="1076"/>
                </a:lnTo>
                <a:lnTo>
                  <a:pt x="86" y="1073"/>
                </a:lnTo>
                <a:lnTo>
                  <a:pt x="88" y="1073"/>
                </a:lnTo>
                <a:lnTo>
                  <a:pt x="89" y="1074"/>
                </a:lnTo>
                <a:lnTo>
                  <a:pt x="92" y="1075"/>
                </a:lnTo>
                <a:lnTo>
                  <a:pt x="93" y="1076"/>
                </a:lnTo>
                <a:lnTo>
                  <a:pt x="93" y="1077"/>
                </a:lnTo>
                <a:lnTo>
                  <a:pt x="92" y="1082"/>
                </a:lnTo>
                <a:lnTo>
                  <a:pt x="93" y="1081"/>
                </a:lnTo>
                <a:lnTo>
                  <a:pt x="94" y="1079"/>
                </a:lnTo>
                <a:lnTo>
                  <a:pt x="94" y="1074"/>
                </a:lnTo>
                <a:lnTo>
                  <a:pt x="92" y="1074"/>
                </a:lnTo>
                <a:lnTo>
                  <a:pt x="91" y="1073"/>
                </a:lnTo>
                <a:lnTo>
                  <a:pt x="89" y="1068"/>
                </a:lnTo>
                <a:lnTo>
                  <a:pt x="88" y="1067"/>
                </a:lnTo>
                <a:lnTo>
                  <a:pt x="88" y="1065"/>
                </a:lnTo>
                <a:lnTo>
                  <a:pt x="87" y="1063"/>
                </a:lnTo>
                <a:lnTo>
                  <a:pt x="87" y="1062"/>
                </a:lnTo>
                <a:lnTo>
                  <a:pt x="88" y="1062"/>
                </a:lnTo>
                <a:lnTo>
                  <a:pt x="89" y="1061"/>
                </a:lnTo>
                <a:lnTo>
                  <a:pt x="94" y="1061"/>
                </a:lnTo>
                <a:lnTo>
                  <a:pt x="96" y="1058"/>
                </a:lnTo>
                <a:lnTo>
                  <a:pt x="100" y="1058"/>
                </a:lnTo>
                <a:lnTo>
                  <a:pt x="100" y="1059"/>
                </a:lnTo>
                <a:lnTo>
                  <a:pt x="101" y="1061"/>
                </a:lnTo>
                <a:lnTo>
                  <a:pt x="102" y="1061"/>
                </a:lnTo>
                <a:lnTo>
                  <a:pt x="106" y="1062"/>
                </a:lnTo>
                <a:lnTo>
                  <a:pt x="106" y="1061"/>
                </a:lnTo>
                <a:lnTo>
                  <a:pt x="105" y="1061"/>
                </a:lnTo>
                <a:lnTo>
                  <a:pt x="102" y="1058"/>
                </a:lnTo>
                <a:lnTo>
                  <a:pt x="102" y="1057"/>
                </a:lnTo>
                <a:lnTo>
                  <a:pt x="105" y="1056"/>
                </a:lnTo>
                <a:lnTo>
                  <a:pt x="105" y="1053"/>
                </a:lnTo>
                <a:lnTo>
                  <a:pt x="106" y="1053"/>
                </a:lnTo>
                <a:lnTo>
                  <a:pt x="113" y="1052"/>
                </a:lnTo>
                <a:lnTo>
                  <a:pt x="114" y="1052"/>
                </a:lnTo>
                <a:lnTo>
                  <a:pt x="117" y="1050"/>
                </a:lnTo>
                <a:lnTo>
                  <a:pt x="116" y="1050"/>
                </a:lnTo>
                <a:lnTo>
                  <a:pt x="114" y="1051"/>
                </a:lnTo>
                <a:lnTo>
                  <a:pt x="113" y="1051"/>
                </a:lnTo>
                <a:lnTo>
                  <a:pt x="106" y="1053"/>
                </a:lnTo>
                <a:lnTo>
                  <a:pt x="104" y="1052"/>
                </a:lnTo>
                <a:lnTo>
                  <a:pt x="102" y="1052"/>
                </a:lnTo>
                <a:lnTo>
                  <a:pt x="102" y="1051"/>
                </a:lnTo>
                <a:lnTo>
                  <a:pt x="101" y="1050"/>
                </a:lnTo>
                <a:lnTo>
                  <a:pt x="101" y="1045"/>
                </a:lnTo>
                <a:lnTo>
                  <a:pt x="100" y="1045"/>
                </a:lnTo>
                <a:lnTo>
                  <a:pt x="100" y="1043"/>
                </a:lnTo>
                <a:lnTo>
                  <a:pt x="102" y="1042"/>
                </a:lnTo>
                <a:lnTo>
                  <a:pt x="102" y="1038"/>
                </a:lnTo>
                <a:lnTo>
                  <a:pt x="106" y="1034"/>
                </a:lnTo>
                <a:lnTo>
                  <a:pt x="106" y="1033"/>
                </a:lnTo>
                <a:lnTo>
                  <a:pt x="107" y="1032"/>
                </a:lnTo>
                <a:lnTo>
                  <a:pt x="107" y="1031"/>
                </a:lnTo>
                <a:lnTo>
                  <a:pt x="108" y="1031"/>
                </a:lnTo>
                <a:lnTo>
                  <a:pt x="112" y="1027"/>
                </a:lnTo>
                <a:lnTo>
                  <a:pt x="108" y="1030"/>
                </a:lnTo>
                <a:lnTo>
                  <a:pt x="101" y="1037"/>
                </a:lnTo>
                <a:lnTo>
                  <a:pt x="99" y="1036"/>
                </a:lnTo>
                <a:lnTo>
                  <a:pt x="99" y="1037"/>
                </a:lnTo>
                <a:lnTo>
                  <a:pt x="100" y="1038"/>
                </a:lnTo>
                <a:lnTo>
                  <a:pt x="100" y="1039"/>
                </a:lnTo>
                <a:lnTo>
                  <a:pt x="98" y="1043"/>
                </a:lnTo>
                <a:lnTo>
                  <a:pt x="98" y="1045"/>
                </a:lnTo>
                <a:lnTo>
                  <a:pt x="100" y="1047"/>
                </a:lnTo>
                <a:lnTo>
                  <a:pt x="100" y="1051"/>
                </a:lnTo>
                <a:lnTo>
                  <a:pt x="101" y="1052"/>
                </a:lnTo>
                <a:lnTo>
                  <a:pt x="101" y="1053"/>
                </a:lnTo>
                <a:lnTo>
                  <a:pt x="102" y="1053"/>
                </a:lnTo>
                <a:lnTo>
                  <a:pt x="101" y="1056"/>
                </a:lnTo>
                <a:lnTo>
                  <a:pt x="98" y="1056"/>
                </a:lnTo>
                <a:lnTo>
                  <a:pt x="98" y="1055"/>
                </a:lnTo>
                <a:lnTo>
                  <a:pt x="94" y="1055"/>
                </a:lnTo>
                <a:lnTo>
                  <a:pt x="94" y="1057"/>
                </a:lnTo>
                <a:lnTo>
                  <a:pt x="93" y="1057"/>
                </a:lnTo>
                <a:lnTo>
                  <a:pt x="88" y="1059"/>
                </a:lnTo>
                <a:lnTo>
                  <a:pt x="86" y="1059"/>
                </a:lnTo>
                <a:lnTo>
                  <a:pt x="86" y="1061"/>
                </a:lnTo>
                <a:lnTo>
                  <a:pt x="85" y="1061"/>
                </a:lnTo>
                <a:lnTo>
                  <a:pt x="83" y="1058"/>
                </a:lnTo>
                <a:lnTo>
                  <a:pt x="85" y="1057"/>
                </a:lnTo>
                <a:lnTo>
                  <a:pt x="87" y="1056"/>
                </a:lnTo>
                <a:lnTo>
                  <a:pt x="87" y="1055"/>
                </a:lnTo>
                <a:lnTo>
                  <a:pt x="86" y="1056"/>
                </a:lnTo>
                <a:lnTo>
                  <a:pt x="83" y="1056"/>
                </a:lnTo>
                <a:lnTo>
                  <a:pt x="80" y="1055"/>
                </a:lnTo>
                <a:lnTo>
                  <a:pt x="73" y="1053"/>
                </a:lnTo>
                <a:lnTo>
                  <a:pt x="69" y="1051"/>
                </a:lnTo>
                <a:lnTo>
                  <a:pt x="69" y="1049"/>
                </a:lnTo>
                <a:lnTo>
                  <a:pt x="71" y="1046"/>
                </a:lnTo>
                <a:lnTo>
                  <a:pt x="73" y="1042"/>
                </a:lnTo>
                <a:lnTo>
                  <a:pt x="74" y="1042"/>
                </a:lnTo>
                <a:lnTo>
                  <a:pt x="74" y="1040"/>
                </a:lnTo>
                <a:lnTo>
                  <a:pt x="75" y="1039"/>
                </a:lnTo>
                <a:lnTo>
                  <a:pt x="75" y="1036"/>
                </a:lnTo>
                <a:lnTo>
                  <a:pt x="71" y="1043"/>
                </a:lnTo>
                <a:lnTo>
                  <a:pt x="70" y="1046"/>
                </a:lnTo>
                <a:lnTo>
                  <a:pt x="69" y="1047"/>
                </a:lnTo>
                <a:lnTo>
                  <a:pt x="68" y="1046"/>
                </a:lnTo>
                <a:lnTo>
                  <a:pt x="68" y="1045"/>
                </a:lnTo>
                <a:lnTo>
                  <a:pt x="67" y="1045"/>
                </a:lnTo>
                <a:lnTo>
                  <a:pt x="67" y="1051"/>
                </a:lnTo>
                <a:lnTo>
                  <a:pt x="68" y="1052"/>
                </a:lnTo>
                <a:lnTo>
                  <a:pt x="66" y="1052"/>
                </a:lnTo>
                <a:lnTo>
                  <a:pt x="66" y="1053"/>
                </a:lnTo>
                <a:lnTo>
                  <a:pt x="67" y="1055"/>
                </a:lnTo>
                <a:lnTo>
                  <a:pt x="67" y="1057"/>
                </a:lnTo>
                <a:lnTo>
                  <a:pt x="63" y="1061"/>
                </a:lnTo>
                <a:lnTo>
                  <a:pt x="61" y="1061"/>
                </a:lnTo>
                <a:lnTo>
                  <a:pt x="57" y="1059"/>
                </a:lnTo>
                <a:lnTo>
                  <a:pt x="54" y="1057"/>
                </a:lnTo>
                <a:lnTo>
                  <a:pt x="52" y="1055"/>
                </a:lnTo>
                <a:lnTo>
                  <a:pt x="48" y="1057"/>
                </a:lnTo>
                <a:lnTo>
                  <a:pt x="45" y="1057"/>
                </a:lnTo>
                <a:lnTo>
                  <a:pt x="43" y="1056"/>
                </a:lnTo>
                <a:lnTo>
                  <a:pt x="45" y="1055"/>
                </a:lnTo>
                <a:lnTo>
                  <a:pt x="46" y="1053"/>
                </a:lnTo>
                <a:lnTo>
                  <a:pt x="46" y="1052"/>
                </a:lnTo>
                <a:lnTo>
                  <a:pt x="43" y="1056"/>
                </a:lnTo>
                <a:lnTo>
                  <a:pt x="39" y="1056"/>
                </a:lnTo>
                <a:lnTo>
                  <a:pt x="37" y="1057"/>
                </a:lnTo>
                <a:lnTo>
                  <a:pt x="36" y="1056"/>
                </a:lnTo>
                <a:lnTo>
                  <a:pt x="36" y="1053"/>
                </a:lnTo>
                <a:lnTo>
                  <a:pt x="35" y="1055"/>
                </a:lnTo>
                <a:lnTo>
                  <a:pt x="35" y="1057"/>
                </a:lnTo>
                <a:lnTo>
                  <a:pt x="32" y="1057"/>
                </a:lnTo>
                <a:lnTo>
                  <a:pt x="31" y="1058"/>
                </a:lnTo>
                <a:lnTo>
                  <a:pt x="25" y="1058"/>
                </a:lnTo>
                <a:lnTo>
                  <a:pt x="23" y="1062"/>
                </a:lnTo>
                <a:lnTo>
                  <a:pt x="20" y="1063"/>
                </a:lnTo>
                <a:lnTo>
                  <a:pt x="19" y="1063"/>
                </a:lnTo>
                <a:lnTo>
                  <a:pt x="17" y="1062"/>
                </a:lnTo>
                <a:lnTo>
                  <a:pt x="15" y="1059"/>
                </a:lnTo>
                <a:lnTo>
                  <a:pt x="14" y="1059"/>
                </a:lnTo>
                <a:lnTo>
                  <a:pt x="14" y="1061"/>
                </a:lnTo>
                <a:lnTo>
                  <a:pt x="11" y="1061"/>
                </a:lnTo>
                <a:lnTo>
                  <a:pt x="11" y="1059"/>
                </a:lnTo>
                <a:lnTo>
                  <a:pt x="9" y="1059"/>
                </a:lnTo>
                <a:lnTo>
                  <a:pt x="9" y="1058"/>
                </a:lnTo>
                <a:lnTo>
                  <a:pt x="13" y="1058"/>
                </a:lnTo>
                <a:lnTo>
                  <a:pt x="12" y="1057"/>
                </a:lnTo>
                <a:lnTo>
                  <a:pt x="8" y="1057"/>
                </a:lnTo>
                <a:lnTo>
                  <a:pt x="6" y="1056"/>
                </a:lnTo>
                <a:lnTo>
                  <a:pt x="5" y="1056"/>
                </a:lnTo>
                <a:lnTo>
                  <a:pt x="6" y="1053"/>
                </a:lnTo>
                <a:lnTo>
                  <a:pt x="8" y="1053"/>
                </a:lnTo>
                <a:lnTo>
                  <a:pt x="12" y="1056"/>
                </a:lnTo>
                <a:lnTo>
                  <a:pt x="12" y="1055"/>
                </a:lnTo>
                <a:lnTo>
                  <a:pt x="13" y="1055"/>
                </a:lnTo>
                <a:lnTo>
                  <a:pt x="9" y="1051"/>
                </a:lnTo>
                <a:lnTo>
                  <a:pt x="2" y="1051"/>
                </a:lnTo>
                <a:lnTo>
                  <a:pt x="4" y="1050"/>
                </a:lnTo>
                <a:lnTo>
                  <a:pt x="2" y="1049"/>
                </a:lnTo>
                <a:lnTo>
                  <a:pt x="2" y="1047"/>
                </a:lnTo>
                <a:lnTo>
                  <a:pt x="1" y="1047"/>
                </a:lnTo>
                <a:lnTo>
                  <a:pt x="4" y="1045"/>
                </a:lnTo>
                <a:lnTo>
                  <a:pt x="5" y="1045"/>
                </a:lnTo>
                <a:lnTo>
                  <a:pt x="6" y="1044"/>
                </a:lnTo>
                <a:lnTo>
                  <a:pt x="7" y="1044"/>
                </a:lnTo>
                <a:lnTo>
                  <a:pt x="7" y="1043"/>
                </a:lnTo>
                <a:lnTo>
                  <a:pt x="8" y="1044"/>
                </a:lnTo>
                <a:lnTo>
                  <a:pt x="9" y="1043"/>
                </a:lnTo>
                <a:lnTo>
                  <a:pt x="11" y="1040"/>
                </a:lnTo>
                <a:lnTo>
                  <a:pt x="13" y="1040"/>
                </a:lnTo>
                <a:lnTo>
                  <a:pt x="15" y="1043"/>
                </a:lnTo>
                <a:lnTo>
                  <a:pt x="15" y="1046"/>
                </a:lnTo>
                <a:lnTo>
                  <a:pt x="17" y="1047"/>
                </a:lnTo>
                <a:lnTo>
                  <a:pt x="17" y="1043"/>
                </a:lnTo>
                <a:lnTo>
                  <a:pt x="14" y="1040"/>
                </a:lnTo>
                <a:lnTo>
                  <a:pt x="14" y="1039"/>
                </a:lnTo>
                <a:lnTo>
                  <a:pt x="21" y="1038"/>
                </a:lnTo>
                <a:lnTo>
                  <a:pt x="30" y="1038"/>
                </a:lnTo>
                <a:lnTo>
                  <a:pt x="29" y="1037"/>
                </a:lnTo>
                <a:lnTo>
                  <a:pt x="26" y="1037"/>
                </a:lnTo>
                <a:lnTo>
                  <a:pt x="9" y="1039"/>
                </a:lnTo>
                <a:lnTo>
                  <a:pt x="7" y="1042"/>
                </a:lnTo>
                <a:lnTo>
                  <a:pt x="5" y="1042"/>
                </a:lnTo>
                <a:lnTo>
                  <a:pt x="4" y="1040"/>
                </a:lnTo>
                <a:lnTo>
                  <a:pt x="4" y="1039"/>
                </a:lnTo>
                <a:lnTo>
                  <a:pt x="2" y="1038"/>
                </a:lnTo>
                <a:lnTo>
                  <a:pt x="2" y="1037"/>
                </a:lnTo>
                <a:lnTo>
                  <a:pt x="4" y="1036"/>
                </a:lnTo>
                <a:lnTo>
                  <a:pt x="4" y="1034"/>
                </a:lnTo>
                <a:lnTo>
                  <a:pt x="5" y="1034"/>
                </a:lnTo>
                <a:lnTo>
                  <a:pt x="5" y="1036"/>
                </a:lnTo>
                <a:lnTo>
                  <a:pt x="6" y="1037"/>
                </a:lnTo>
                <a:lnTo>
                  <a:pt x="6" y="1034"/>
                </a:lnTo>
                <a:lnTo>
                  <a:pt x="8" y="1033"/>
                </a:lnTo>
                <a:lnTo>
                  <a:pt x="7" y="1032"/>
                </a:lnTo>
                <a:lnTo>
                  <a:pt x="7" y="1033"/>
                </a:lnTo>
                <a:lnTo>
                  <a:pt x="4" y="1033"/>
                </a:lnTo>
                <a:lnTo>
                  <a:pt x="2" y="1034"/>
                </a:lnTo>
                <a:lnTo>
                  <a:pt x="1" y="1034"/>
                </a:lnTo>
                <a:lnTo>
                  <a:pt x="1" y="1033"/>
                </a:lnTo>
                <a:lnTo>
                  <a:pt x="5" y="1031"/>
                </a:lnTo>
                <a:lnTo>
                  <a:pt x="9" y="1031"/>
                </a:lnTo>
                <a:lnTo>
                  <a:pt x="11" y="1030"/>
                </a:lnTo>
                <a:lnTo>
                  <a:pt x="11" y="1028"/>
                </a:lnTo>
                <a:lnTo>
                  <a:pt x="12" y="1030"/>
                </a:lnTo>
                <a:lnTo>
                  <a:pt x="14" y="1031"/>
                </a:lnTo>
                <a:lnTo>
                  <a:pt x="15" y="1031"/>
                </a:lnTo>
                <a:lnTo>
                  <a:pt x="17" y="1030"/>
                </a:lnTo>
                <a:lnTo>
                  <a:pt x="24" y="1032"/>
                </a:lnTo>
                <a:lnTo>
                  <a:pt x="26" y="1032"/>
                </a:lnTo>
                <a:lnTo>
                  <a:pt x="25" y="1031"/>
                </a:lnTo>
                <a:lnTo>
                  <a:pt x="29" y="1031"/>
                </a:lnTo>
                <a:lnTo>
                  <a:pt x="29" y="1030"/>
                </a:lnTo>
                <a:lnTo>
                  <a:pt x="30" y="1030"/>
                </a:lnTo>
                <a:lnTo>
                  <a:pt x="30" y="1028"/>
                </a:lnTo>
                <a:lnTo>
                  <a:pt x="31" y="1027"/>
                </a:lnTo>
                <a:lnTo>
                  <a:pt x="35" y="1027"/>
                </a:lnTo>
                <a:lnTo>
                  <a:pt x="35" y="1028"/>
                </a:lnTo>
                <a:lnTo>
                  <a:pt x="36" y="1031"/>
                </a:lnTo>
                <a:lnTo>
                  <a:pt x="37" y="1031"/>
                </a:lnTo>
                <a:lnTo>
                  <a:pt x="37" y="1030"/>
                </a:lnTo>
                <a:lnTo>
                  <a:pt x="36" y="1030"/>
                </a:lnTo>
                <a:lnTo>
                  <a:pt x="35" y="1027"/>
                </a:lnTo>
                <a:lnTo>
                  <a:pt x="33" y="1026"/>
                </a:lnTo>
                <a:lnTo>
                  <a:pt x="31" y="1026"/>
                </a:lnTo>
                <a:lnTo>
                  <a:pt x="30" y="1027"/>
                </a:lnTo>
                <a:lnTo>
                  <a:pt x="29" y="1027"/>
                </a:lnTo>
                <a:lnTo>
                  <a:pt x="27" y="1030"/>
                </a:lnTo>
                <a:lnTo>
                  <a:pt x="25" y="1030"/>
                </a:lnTo>
                <a:lnTo>
                  <a:pt x="24" y="1031"/>
                </a:lnTo>
                <a:lnTo>
                  <a:pt x="23" y="1031"/>
                </a:lnTo>
                <a:lnTo>
                  <a:pt x="21" y="1030"/>
                </a:lnTo>
                <a:lnTo>
                  <a:pt x="21" y="1028"/>
                </a:lnTo>
                <a:lnTo>
                  <a:pt x="20" y="1027"/>
                </a:lnTo>
                <a:lnTo>
                  <a:pt x="15" y="1028"/>
                </a:lnTo>
                <a:lnTo>
                  <a:pt x="13" y="1027"/>
                </a:lnTo>
                <a:lnTo>
                  <a:pt x="11" y="1025"/>
                </a:lnTo>
                <a:lnTo>
                  <a:pt x="8" y="1024"/>
                </a:lnTo>
                <a:lnTo>
                  <a:pt x="9" y="1022"/>
                </a:lnTo>
                <a:lnTo>
                  <a:pt x="8" y="1022"/>
                </a:lnTo>
                <a:lnTo>
                  <a:pt x="8" y="1021"/>
                </a:lnTo>
                <a:lnTo>
                  <a:pt x="9" y="1021"/>
                </a:lnTo>
                <a:lnTo>
                  <a:pt x="12" y="1022"/>
                </a:lnTo>
                <a:lnTo>
                  <a:pt x="13" y="1021"/>
                </a:lnTo>
                <a:lnTo>
                  <a:pt x="17" y="1021"/>
                </a:lnTo>
                <a:lnTo>
                  <a:pt x="11" y="1019"/>
                </a:lnTo>
                <a:lnTo>
                  <a:pt x="9" y="1018"/>
                </a:lnTo>
                <a:lnTo>
                  <a:pt x="17" y="1018"/>
                </a:lnTo>
                <a:lnTo>
                  <a:pt x="17" y="1019"/>
                </a:lnTo>
                <a:lnTo>
                  <a:pt x="21" y="1019"/>
                </a:lnTo>
                <a:lnTo>
                  <a:pt x="18" y="1016"/>
                </a:lnTo>
                <a:lnTo>
                  <a:pt x="14" y="1016"/>
                </a:lnTo>
                <a:lnTo>
                  <a:pt x="17" y="1015"/>
                </a:lnTo>
                <a:lnTo>
                  <a:pt x="18" y="1014"/>
                </a:lnTo>
                <a:lnTo>
                  <a:pt x="14" y="1014"/>
                </a:lnTo>
                <a:lnTo>
                  <a:pt x="13" y="1015"/>
                </a:lnTo>
                <a:lnTo>
                  <a:pt x="2" y="1015"/>
                </a:lnTo>
                <a:lnTo>
                  <a:pt x="1" y="1014"/>
                </a:lnTo>
                <a:lnTo>
                  <a:pt x="0" y="1012"/>
                </a:lnTo>
                <a:lnTo>
                  <a:pt x="0" y="1010"/>
                </a:lnTo>
                <a:lnTo>
                  <a:pt x="1" y="1009"/>
                </a:lnTo>
                <a:lnTo>
                  <a:pt x="1" y="1007"/>
                </a:lnTo>
                <a:lnTo>
                  <a:pt x="2" y="1006"/>
                </a:lnTo>
                <a:lnTo>
                  <a:pt x="2" y="1004"/>
                </a:lnTo>
                <a:lnTo>
                  <a:pt x="4" y="1004"/>
                </a:lnTo>
                <a:lnTo>
                  <a:pt x="5" y="1003"/>
                </a:lnTo>
                <a:lnTo>
                  <a:pt x="5" y="1004"/>
                </a:lnTo>
                <a:lnTo>
                  <a:pt x="6" y="1004"/>
                </a:lnTo>
                <a:lnTo>
                  <a:pt x="6" y="1006"/>
                </a:lnTo>
                <a:lnTo>
                  <a:pt x="7" y="1006"/>
                </a:lnTo>
                <a:lnTo>
                  <a:pt x="8" y="1007"/>
                </a:lnTo>
                <a:lnTo>
                  <a:pt x="9" y="1007"/>
                </a:lnTo>
                <a:lnTo>
                  <a:pt x="9" y="1006"/>
                </a:lnTo>
                <a:lnTo>
                  <a:pt x="8" y="1004"/>
                </a:lnTo>
                <a:lnTo>
                  <a:pt x="8" y="1003"/>
                </a:lnTo>
                <a:lnTo>
                  <a:pt x="9" y="1003"/>
                </a:lnTo>
                <a:lnTo>
                  <a:pt x="11" y="1002"/>
                </a:lnTo>
                <a:lnTo>
                  <a:pt x="6" y="1003"/>
                </a:lnTo>
                <a:lnTo>
                  <a:pt x="6" y="1002"/>
                </a:lnTo>
                <a:lnTo>
                  <a:pt x="8" y="1000"/>
                </a:lnTo>
                <a:lnTo>
                  <a:pt x="13" y="999"/>
                </a:lnTo>
                <a:lnTo>
                  <a:pt x="14" y="997"/>
                </a:lnTo>
                <a:lnTo>
                  <a:pt x="14" y="996"/>
                </a:lnTo>
                <a:lnTo>
                  <a:pt x="17" y="996"/>
                </a:lnTo>
                <a:lnTo>
                  <a:pt x="17" y="995"/>
                </a:lnTo>
                <a:lnTo>
                  <a:pt x="15" y="995"/>
                </a:lnTo>
                <a:lnTo>
                  <a:pt x="15" y="994"/>
                </a:lnTo>
                <a:lnTo>
                  <a:pt x="18" y="990"/>
                </a:lnTo>
                <a:lnTo>
                  <a:pt x="25" y="990"/>
                </a:lnTo>
                <a:lnTo>
                  <a:pt x="26" y="991"/>
                </a:lnTo>
                <a:lnTo>
                  <a:pt x="27" y="990"/>
                </a:lnTo>
                <a:lnTo>
                  <a:pt x="29" y="990"/>
                </a:lnTo>
                <a:lnTo>
                  <a:pt x="30" y="991"/>
                </a:lnTo>
                <a:lnTo>
                  <a:pt x="31" y="991"/>
                </a:lnTo>
                <a:lnTo>
                  <a:pt x="35" y="995"/>
                </a:lnTo>
                <a:lnTo>
                  <a:pt x="33" y="996"/>
                </a:lnTo>
                <a:lnTo>
                  <a:pt x="30" y="996"/>
                </a:lnTo>
                <a:lnTo>
                  <a:pt x="29" y="999"/>
                </a:lnTo>
                <a:lnTo>
                  <a:pt x="30" y="999"/>
                </a:lnTo>
                <a:lnTo>
                  <a:pt x="33" y="996"/>
                </a:lnTo>
                <a:lnTo>
                  <a:pt x="42" y="995"/>
                </a:lnTo>
                <a:lnTo>
                  <a:pt x="43" y="996"/>
                </a:lnTo>
                <a:lnTo>
                  <a:pt x="43" y="999"/>
                </a:lnTo>
                <a:lnTo>
                  <a:pt x="42" y="1001"/>
                </a:lnTo>
                <a:lnTo>
                  <a:pt x="40" y="1004"/>
                </a:lnTo>
                <a:lnTo>
                  <a:pt x="43" y="1002"/>
                </a:lnTo>
                <a:lnTo>
                  <a:pt x="43" y="1001"/>
                </a:lnTo>
                <a:lnTo>
                  <a:pt x="44" y="997"/>
                </a:lnTo>
                <a:lnTo>
                  <a:pt x="45" y="996"/>
                </a:lnTo>
                <a:lnTo>
                  <a:pt x="45" y="997"/>
                </a:lnTo>
                <a:lnTo>
                  <a:pt x="48" y="999"/>
                </a:lnTo>
                <a:lnTo>
                  <a:pt x="49" y="1001"/>
                </a:lnTo>
                <a:lnTo>
                  <a:pt x="50" y="1002"/>
                </a:lnTo>
                <a:lnTo>
                  <a:pt x="52" y="1002"/>
                </a:lnTo>
                <a:lnTo>
                  <a:pt x="52" y="1001"/>
                </a:lnTo>
                <a:lnTo>
                  <a:pt x="51" y="1001"/>
                </a:lnTo>
                <a:lnTo>
                  <a:pt x="50" y="1000"/>
                </a:lnTo>
                <a:lnTo>
                  <a:pt x="50" y="999"/>
                </a:lnTo>
                <a:lnTo>
                  <a:pt x="49" y="999"/>
                </a:lnTo>
                <a:lnTo>
                  <a:pt x="49" y="997"/>
                </a:lnTo>
                <a:lnTo>
                  <a:pt x="48" y="997"/>
                </a:lnTo>
                <a:lnTo>
                  <a:pt x="48" y="996"/>
                </a:lnTo>
                <a:lnTo>
                  <a:pt x="57" y="996"/>
                </a:lnTo>
                <a:lnTo>
                  <a:pt x="58" y="997"/>
                </a:lnTo>
                <a:lnTo>
                  <a:pt x="61" y="999"/>
                </a:lnTo>
                <a:lnTo>
                  <a:pt x="66" y="1000"/>
                </a:lnTo>
                <a:lnTo>
                  <a:pt x="68" y="997"/>
                </a:lnTo>
                <a:lnTo>
                  <a:pt x="68" y="995"/>
                </a:lnTo>
                <a:lnTo>
                  <a:pt x="69" y="994"/>
                </a:lnTo>
                <a:lnTo>
                  <a:pt x="70" y="994"/>
                </a:lnTo>
                <a:lnTo>
                  <a:pt x="71" y="993"/>
                </a:lnTo>
                <a:lnTo>
                  <a:pt x="73" y="993"/>
                </a:lnTo>
                <a:lnTo>
                  <a:pt x="75" y="994"/>
                </a:lnTo>
                <a:lnTo>
                  <a:pt x="76" y="995"/>
                </a:lnTo>
                <a:lnTo>
                  <a:pt x="77" y="995"/>
                </a:lnTo>
                <a:lnTo>
                  <a:pt x="77" y="996"/>
                </a:lnTo>
                <a:lnTo>
                  <a:pt x="79" y="996"/>
                </a:lnTo>
                <a:lnTo>
                  <a:pt x="79" y="994"/>
                </a:lnTo>
                <a:lnTo>
                  <a:pt x="80" y="994"/>
                </a:lnTo>
                <a:lnTo>
                  <a:pt x="80" y="993"/>
                </a:lnTo>
                <a:lnTo>
                  <a:pt x="79" y="993"/>
                </a:lnTo>
                <a:lnTo>
                  <a:pt x="77" y="994"/>
                </a:lnTo>
                <a:lnTo>
                  <a:pt x="77" y="993"/>
                </a:lnTo>
                <a:lnTo>
                  <a:pt x="74" y="993"/>
                </a:lnTo>
                <a:lnTo>
                  <a:pt x="74" y="991"/>
                </a:lnTo>
                <a:lnTo>
                  <a:pt x="73" y="991"/>
                </a:lnTo>
                <a:lnTo>
                  <a:pt x="69" y="993"/>
                </a:lnTo>
                <a:lnTo>
                  <a:pt x="67" y="995"/>
                </a:lnTo>
                <a:lnTo>
                  <a:pt x="67" y="996"/>
                </a:lnTo>
                <a:lnTo>
                  <a:pt x="66" y="997"/>
                </a:lnTo>
                <a:lnTo>
                  <a:pt x="56" y="995"/>
                </a:lnTo>
                <a:lnTo>
                  <a:pt x="49" y="995"/>
                </a:lnTo>
                <a:lnTo>
                  <a:pt x="46" y="994"/>
                </a:lnTo>
                <a:lnTo>
                  <a:pt x="43" y="994"/>
                </a:lnTo>
                <a:lnTo>
                  <a:pt x="42" y="993"/>
                </a:lnTo>
                <a:lnTo>
                  <a:pt x="39" y="993"/>
                </a:lnTo>
                <a:lnTo>
                  <a:pt x="37" y="995"/>
                </a:lnTo>
                <a:lnTo>
                  <a:pt x="33" y="991"/>
                </a:lnTo>
                <a:lnTo>
                  <a:pt x="42" y="990"/>
                </a:lnTo>
                <a:lnTo>
                  <a:pt x="43" y="990"/>
                </a:lnTo>
                <a:lnTo>
                  <a:pt x="43" y="989"/>
                </a:lnTo>
                <a:lnTo>
                  <a:pt x="30" y="989"/>
                </a:lnTo>
                <a:lnTo>
                  <a:pt x="25" y="988"/>
                </a:lnTo>
                <a:lnTo>
                  <a:pt x="18" y="988"/>
                </a:lnTo>
                <a:lnTo>
                  <a:pt x="15" y="989"/>
                </a:lnTo>
                <a:lnTo>
                  <a:pt x="14" y="990"/>
                </a:lnTo>
                <a:lnTo>
                  <a:pt x="12" y="989"/>
                </a:lnTo>
                <a:lnTo>
                  <a:pt x="11" y="989"/>
                </a:lnTo>
                <a:lnTo>
                  <a:pt x="9" y="990"/>
                </a:lnTo>
                <a:lnTo>
                  <a:pt x="9" y="991"/>
                </a:lnTo>
                <a:lnTo>
                  <a:pt x="7" y="989"/>
                </a:lnTo>
                <a:lnTo>
                  <a:pt x="7" y="988"/>
                </a:lnTo>
                <a:lnTo>
                  <a:pt x="5" y="988"/>
                </a:lnTo>
                <a:lnTo>
                  <a:pt x="4" y="987"/>
                </a:lnTo>
                <a:lnTo>
                  <a:pt x="4" y="985"/>
                </a:lnTo>
                <a:lnTo>
                  <a:pt x="5" y="985"/>
                </a:lnTo>
                <a:lnTo>
                  <a:pt x="5" y="984"/>
                </a:lnTo>
                <a:lnTo>
                  <a:pt x="2" y="982"/>
                </a:lnTo>
                <a:lnTo>
                  <a:pt x="2" y="978"/>
                </a:lnTo>
                <a:lnTo>
                  <a:pt x="4" y="979"/>
                </a:lnTo>
                <a:lnTo>
                  <a:pt x="6" y="981"/>
                </a:lnTo>
                <a:lnTo>
                  <a:pt x="7" y="981"/>
                </a:lnTo>
                <a:lnTo>
                  <a:pt x="7" y="979"/>
                </a:lnTo>
                <a:lnTo>
                  <a:pt x="8" y="979"/>
                </a:lnTo>
                <a:lnTo>
                  <a:pt x="9" y="982"/>
                </a:lnTo>
                <a:lnTo>
                  <a:pt x="9" y="983"/>
                </a:lnTo>
                <a:lnTo>
                  <a:pt x="8" y="983"/>
                </a:lnTo>
                <a:lnTo>
                  <a:pt x="8" y="984"/>
                </a:lnTo>
                <a:lnTo>
                  <a:pt x="9" y="984"/>
                </a:lnTo>
                <a:lnTo>
                  <a:pt x="9" y="985"/>
                </a:lnTo>
                <a:lnTo>
                  <a:pt x="11" y="985"/>
                </a:lnTo>
                <a:lnTo>
                  <a:pt x="11" y="984"/>
                </a:lnTo>
                <a:lnTo>
                  <a:pt x="12" y="984"/>
                </a:lnTo>
                <a:lnTo>
                  <a:pt x="12" y="985"/>
                </a:lnTo>
                <a:lnTo>
                  <a:pt x="13" y="985"/>
                </a:lnTo>
                <a:lnTo>
                  <a:pt x="13" y="983"/>
                </a:lnTo>
                <a:lnTo>
                  <a:pt x="15" y="982"/>
                </a:lnTo>
                <a:lnTo>
                  <a:pt x="15" y="979"/>
                </a:lnTo>
                <a:lnTo>
                  <a:pt x="17" y="979"/>
                </a:lnTo>
                <a:lnTo>
                  <a:pt x="19" y="981"/>
                </a:lnTo>
                <a:lnTo>
                  <a:pt x="20" y="979"/>
                </a:lnTo>
                <a:lnTo>
                  <a:pt x="19" y="978"/>
                </a:lnTo>
                <a:lnTo>
                  <a:pt x="17" y="978"/>
                </a:lnTo>
                <a:lnTo>
                  <a:pt x="17" y="977"/>
                </a:lnTo>
                <a:lnTo>
                  <a:pt x="12" y="972"/>
                </a:lnTo>
                <a:lnTo>
                  <a:pt x="7" y="972"/>
                </a:lnTo>
                <a:lnTo>
                  <a:pt x="7" y="970"/>
                </a:lnTo>
                <a:lnTo>
                  <a:pt x="8" y="970"/>
                </a:lnTo>
                <a:lnTo>
                  <a:pt x="6" y="967"/>
                </a:lnTo>
                <a:lnTo>
                  <a:pt x="6" y="966"/>
                </a:lnTo>
                <a:lnTo>
                  <a:pt x="7" y="966"/>
                </a:lnTo>
                <a:lnTo>
                  <a:pt x="6" y="965"/>
                </a:lnTo>
                <a:lnTo>
                  <a:pt x="6" y="964"/>
                </a:lnTo>
                <a:lnTo>
                  <a:pt x="9" y="964"/>
                </a:lnTo>
                <a:lnTo>
                  <a:pt x="9" y="963"/>
                </a:lnTo>
                <a:lnTo>
                  <a:pt x="11" y="963"/>
                </a:lnTo>
                <a:lnTo>
                  <a:pt x="13" y="965"/>
                </a:lnTo>
                <a:lnTo>
                  <a:pt x="13" y="966"/>
                </a:lnTo>
                <a:lnTo>
                  <a:pt x="14" y="966"/>
                </a:lnTo>
                <a:lnTo>
                  <a:pt x="14" y="970"/>
                </a:lnTo>
                <a:lnTo>
                  <a:pt x="17" y="972"/>
                </a:lnTo>
                <a:lnTo>
                  <a:pt x="19" y="973"/>
                </a:lnTo>
                <a:lnTo>
                  <a:pt x="21" y="976"/>
                </a:lnTo>
                <a:lnTo>
                  <a:pt x="23" y="981"/>
                </a:lnTo>
                <a:lnTo>
                  <a:pt x="24" y="979"/>
                </a:lnTo>
                <a:lnTo>
                  <a:pt x="25" y="976"/>
                </a:lnTo>
                <a:lnTo>
                  <a:pt x="25" y="975"/>
                </a:lnTo>
                <a:lnTo>
                  <a:pt x="26" y="975"/>
                </a:lnTo>
                <a:lnTo>
                  <a:pt x="27" y="976"/>
                </a:lnTo>
                <a:lnTo>
                  <a:pt x="26" y="973"/>
                </a:lnTo>
                <a:lnTo>
                  <a:pt x="20" y="972"/>
                </a:lnTo>
                <a:lnTo>
                  <a:pt x="20" y="971"/>
                </a:lnTo>
                <a:lnTo>
                  <a:pt x="19" y="971"/>
                </a:lnTo>
                <a:lnTo>
                  <a:pt x="19" y="970"/>
                </a:lnTo>
                <a:lnTo>
                  <a:pt x="20" y="967"/>
                </a:lnTo>
                <a:lnTo>
                  <a:pt x="20" y="966"/>
                </a:lnTo>
                <a:lnTo>
                  <a:pt x="23" y="964"/>
                </a:lnTo>
                <a:lnTo>
                  <a:pt x="23" y="965"/>
                </a:lnTo>
                <a:lnTo>
                  <a:pt x="25" y="966"/>
                </a:lnTo>
                <a:lnTo>
                  <a:pt x="29" y="966"/>
                </a:lnTo>
                <a:lnTo>
                  <a:pt x="30" y="967"/>
                </a:lnTo>
                <a:lnTo>
                  <a:pt x="30" y="969"/>
                </a:lnTo>
                <a:lnTo>
                  <a:pt x="31" y="970"/>
                </a:lnTo>
                <a:lnTo>
                  <a:pt x="31" y="971"/>
                </a:lnTo>
                <a:lnTo>
                  <a:pt x="32" y="971"/>
                </a:lnTo>
                <a:lnTo>
                  <a:pt x="31" y="969"/>
                </a:lnTo>
                <a:lnTo>
                  <a:pt x="31" y="966"/>
                </a:lnTo>
                <a:lnTo>
                  <a:pt x="32" y="965"/>
                </a:lnTo>
                <a:lnTo>
                  <a:pt x="36" y="965"/>
                </a:lnTo>
                <a:lnTo>
                  <a:pt x="38" y="964"/>
                </a:lnTo>
                <a:lnTo>
                  <a:pt x="39" y="963"/>
                </a:lnTo>
                <a:lnTo>
                  <a:pt x="40" y="964"/>
                </a:lnTo>
                <a:lnTo>
                  <a:pt x="42" y="964"/>
                </a:lnTo>
                <a:lnTo>
                  <a:pt x="42" y="973"/>
                </a:lnTo>
                <a:lnTo>
                  <a:pt x="39" y="977"/>
                </a:lnTo>
                <a:lnTo>
                  <a:pt x="38" y="979"/>
                </a:lnTo>
                <a:lnTo>
                  <a:pt x="42" y="976"/>
                </a:lnTo>
                <a:lnTo>
                  <a:pt x="43" y="973"/>
                </a:lnTo>
                <a:lnTo>
                  <a:pt x="43" y="969"/>
                </a:lnTo>
                <a:lnTo>
                  <a:pt x="44" y="969"/>
                </a:lnTo>
                <a:lnTo>
                  <a:pt x="46" y="972"/>
                </a:lnTo>
                <a:lnTo>
                  <a:pt x="48" y="973"/>
                </a:lnTo>
                <a:lnTo>
                  <a:pt x="48" y="976"/>
                </a:lnTo>
                <a:lnTo>
                  <a:pt x="49" y="975"/>
                </a:lnTo>
                <a:lnTo>
                  <a:pt x="54" y="975"/>
                </a:lnTo>
                <a:lnTo>
                  <a:pt x="61" y="976"/>
                </a:lnTo>
                <a:lnTo>
                  <a:pt x="49" y="972"/>
                </a:lnTo>
                <a:lnTo>
                  <a:pt x="49" y="971"/>
                </a:lnTo>
                <a:lnTo>
                  <a:pt x="48" y="969"/>
                </a:lnTo>
                <a:lnTo>
                  <a:pt x="46" y="969"/>
                </a:lnTo>
                <a:lnTo>
                  <a:pt x="44" y="965"/>
                </a:lnTo>
                <a:lnTo>
                  <a:pt x="42" y="964"/>
                </a:lnTo>
                <a:lnTo>
                  <a:pt x="42" y="961"/>
                </a:lnTo>
                <a:lnTo>
                  <a:pt x="43" y="961"/>
                </a:lnTo>
                <a:lnTo>
                  <a:pt x="45" y="963"/>
                </a:lnTo>
                <a:lnTo>
                  <a:pt x="46" y="963"/>
                </a:lnTo>
                <a:lnTo>
                  <a:pt x="45" y="961"/>
                </a:lnTo>
                <a:lnTo>
                  <a:pt x="44" y="961"/>
                </a:lnTo>
                <a:lnTo>
                  <a:pt x="44" y="959"/>
                </a:lnTo>
                <a:lnTo>
                  <a:pt x="43" y="959"/>
                </a:lnTo>
                <a:lnTo>
                  <a:pt x="44" y="957"/>
                </a:lnTo>
                <a:lnTo>
                  <a:pt x="49" y="952"/>
                </a:lnTo>
                <a:lnTo>
                  <a:pt x="51" y="952"/>
                </a:lnTo>
                <a:lnTo>
                  <a:pt x="58" y="948"/>
                </a:lnTo>
                <a:lnTo>
                  <a:pt x="60" y="950"/>
                </a:lnTo>
                <a:lnTo>
                  <a:pt x="60" y="951"/>
                </a:lnTo>
                <a:lnTo>
                  <a:pt x="61" y="953"/>
                </a:lnTo>
                <a:lnTo>
                  <a:pt x="62" y="957"/>
                </a:lnTo>
                <a:lnTo>
                  <a:pt x="62" y="958"/>
                </a:lnTo>
                <a:lnTo>
                  <a:pt x="64" y="959"/>
                </a:lnTo>
                <a:lnTo>
                  <a:pt x="66" y="960"/>
                </a:lnTo>
                <a:lnTo>
                  <a:pt x="68" y="966"/>
                </a:lnTo>
                <a:lnTo>
                  <a:pt x="69" y="967"/>
                </a:lnTo>
                <a:lnTo>
                  <a:pt x="69" y="969"/>
                </a:lnTo>
                <a:lnTo>
                  <a:pt x="68" y="972"/>
                </a:lnTo>
                <a:lnTo>
                  <a:pt x="70" y="970"/>
                </a:lnTo>
                <a:lnTo>
                  <a:pt x="69" y="967"/>
                </a:lnTo>
                <a:lnTo>
                  <a:pt x="66" y="959"/>
                </a:lnTo>
                <a:lnTo>
                  <a:pt x="63" y="953"/>
                </a:lnTo>
                <a:lnTo>
                  <a:pt x="62" y="951"/>
                </a:lnTo>
                <a:lnTo>
                  <a:pt x="62" y="947"/>
                </a:lnTo>
                <a:lnTo>
                  <a:pt x="63" y="946"/>
                </a:lnTo>
                <a:lnTo>
                  <a:pt x="67" y="946"/>
                </a:lnTo>
                <a:lnTo>
                  <a:pt x="68" y="947"/>
                </a:lnTo>
                <a:lnTo>
                  <a:pt x="69" y="950"/>
                </a:lnTo>
                <a:lnTo>
                  <a:pt x="69" y="946"/>
                </a:lnTo>
                <a:lnTo>
                  <a:pt x="68" y="945"/>
                </a:lnTo>
                <a:lnTo>
                  <a:pt x="69" y="944"/>
                </a:lnTo>
                <a:lnTo>
                  <a:pt x="73" y="942"/>
                </a:lnTo>
                <a:lnTo>
                  <a:pt x="74" y="941"/>
                </a:lnTo>
                <a:lnTo>
                  <a:pt x="75" y="941"/>
                </a:lnTo>
                <a:lnTo>
                  <a:pt x="76" y="942"/>
                </a:lnTo>
                <a:lnTo>
                  <a:pt x="82" y="944"/>
                </a:lnTo>
                <a:lnTo>
                  <a:pt x="82" y="951"/>
                </a:lnTo>
                <a:lnTo>
                  <a:pt x="87" y="956"/>
                </a:lnTo>
                <a:lnTo>
                  <a:pt x="87" y="959"/>
                </a:lnTo>
                <a:lnTo>
                  <a:pt x="88" y="963"/>
                </a:lnTo>
                <a:lnTo>
                  <a:pt x="87" y="964"/>
                </a:lnTo>
                <a:lnTo>
                  <a:pt x="87" y="965"/>
                </a:lnTo>
                <a:lnTo>
                  <a:pt x="85" y="970"/>
                </a:lnTo>
                <a:lnTo>
                  <a:pt x="85" y="971"/>
                </a:lnTo>
                <a:lnTo>
                  <a:pt x="87" y="973"/>
                </a:lnTo>
                <a:lnTo>
                  <a:pt x="88" y="973"/>
                </a:lnTo>
                <a:lnTo>
                  <a:pt x="92" y="972"/>
                </a:lnTo>
                <a:lnTo>
                  <a:pt x="93" y="971"/>
                </a:lnTo>
                <a:lnTo>
                  <a:pt x="94" y="971"/>
                </a:lnTo>
                <a:lnTo>
                  <a:pt x="95" y="972"/>
                </a:lnTo>
                <a:lnTo>
                  <a:pt x="94" y="970"/>
                </a:lnTo>
                <a:lnTo>
                  <a:pt x="88" y="972"/>
                </a:lnTo>
                <a:lnTo>
                  <a:pt x="86" y="970"/>
                </a:lnTo>
                <a:lnTo>
                  <a:pt x="87" y="969"/>
                </a:lnTo>
                <a:lnTo>
                  <a:pt x="88" y="966"/>
                </a:lnTo>
                <a:lnTo>
                  <a:pt x="89" y="965"/>
                </a:lnTo>
                <a:lnTo>
                  <a:pt x="89" y="964"/>
                </a:lnTo>
                <a:lnTo>
                  <a:pt x="88" y="958"/>
                </a:lnTo>
                <a:lnTo>
                  <a:pt x="89" y="957"/>
                </a:lnTo>
                <a:lnTo>
                  <a:pt x="92" y="957"/>
                </a:lnTo>
                <a:lnTo>
                  <a:pt x="96" y="959"/>
                </a:lnTo>
                <a:lnTo>
                  <a:pt x="98" y="958"/>
                </a:lnTo>
                <a:lnTo>
                  <a:pt x="98" y="957"/>
                </a:lnTo>
                <a:lnTo>
                  <a:pt x="101" y="957"/>
                </a:lnTo>
                <a:lnTo>
                  <a:pt x="102" y="958"/>
                </a:lnTo>
                <a:lnTo>
                  <a:pt x="102" y="959"/>
                </a:lnTo>
                <a:lnTo>
                  <a:pt x="104" y="960"/>
                </a:lnTo>
                <a:lnTo>
                  <a:pt x="105" y="960"/>
                </a:lnTo>
                <a:lnTo>
                  <a:pt x="102" y="957"/>
                </a:lnTo>
                <a:lnTo>
                  <a:pt x="100" y="954"/>
                </a:lnTo>
                <a:lnTo>
                  <a:pt x="94" y="956"/>
                </a:lnTo>
                <a:lnTo>
                  <a:pt x="88" y="954"/>
                </a:lnTo>
                <a:lnTo>
                  <a:pt x="86" y="952"/>
                </a:lnTo>
                <a:lnTo>
                  <a:pt x="83" y="948"/>
                </a:lnTo>
                <a:lnTo>
                  <a:pt x="86" y="948"/>
                </a:lnTo>
                <a:lnTo>
                  <a:pt x="86" y="947"/>
                </a:lnTo>
                <a:lnTo>
                  <a:pt x="81" y="940"/>
                </a:lnTo>
                <a:lnTo>
                  <a:pt x="77" y="940"/>
                </a:lnTo>
                <a:lnTo>
                  <a:pt x="77" y="939"/>
                </a:lnTo>
                <a:lnTo>
                  <a:pt x="74" y="939"/>
                </a:lnTo>
                <a:lnTo>
                  <a:pt x="66" y="942"/>
                </a:lnTo>
                <a:lnTo>
                  <a:pt x="62" y="944"/>
                </a:lnTo>
                <a:lnTo>
                  <a:pt x="61" y="942"/>
                </a:lnTo>
                <a:lnTo>
                  <a:pt x="60" y="942"/>
                </a:lnTo>
                <a:lnTo>
                  <a:pt x="58" y="940"/>
                </a:lnTo>
                <a:lnTo>
                  <a:pt x="57" y="940"/>
                </a:lnTo>
                <a:lnTo>
                  <a:pt x="56" y="941"/>
                </a:lnTo>
                <a:lnTo>
                  <a:pt x="55" y="941"/>
                </a:lnTo>
                <a:lnTo>
                  <a:pt x="55" y="940"/>
                </a:lnTo>
                <a:lnTo>
                  <a:pt x="56" y="939"/>
                </a:lnTo>
                <a:lnTo>
                  <a:pt x="60" y="939"/>
                </a:lnTo>
                <a:lnTo>
                  <a:pt x="63" y="938"/>
                </a:lnTo>
                <a:lnTo>
                  <a:pt x="63" y="936"/>
                </a:lnTo>
                <a:lnTo>
                  <a:pt x="73" y="936"/>
                </a:lnTo>
                <a:lnTo>
                  <a:pt x="71" y="934"/>
                </a:lnTo>
                <a:lnTo>
                  <a:pt x="69" y="935"/>
                </a:lnTo>
                <a:lnTo>
                  <a:pt x="66" y="935"/>
                </a:lnTo>
                <a:lnTo>
                  <a:pt x="66" y="934"/>
                </a:lnTo>
                <a:lnTo>
                  <a:pt x="69" y="934"/>
                </a:lnTo>
                <a:lnTo>
                  <a:pt x="68" y="933"/>
                </a:lnTo>
                <a:lnTo>
                  <a:pt x="56" y="934"/>
                </a:lnTo>
                <a:lnTo>
                  <a:pt x="56" y="928"/>
                </a:lnTo>
                <a:lnTo>
                  <a:pt x="57" y="927"/>
                </a:lnTo>
                <a:lnTo>
                  <a:pt x="58" y="927"/>
                </a:lnTo>
                <a:lnTo>
                  <a:pt x="68" y="926"/>
                </a:lnTo>
                <a:lnTo>
                  <a:pt x="69" y="926"/>
                </a:lnTo>
                <a:lnTo>
                  <a:pt x="70" y="927"/>
                </a:lnTo>
                <a:lnTo>
                  <a:pt x="70" y="930"/>
                </a:lnTo>
                <a:lnTo>
                  <a:pt x="71" y="930"/>
                </a:lnTo>
                <a:lnTo>
                  <a:pt x="71" y="924"/>
                </a:lnTo>
                <a:lnTo>
                  <a:pt x="73" y="926"/>
                </a:lnTo>
                <a:lnTo>
                  <a:pt x="73" y="927"/>
                </a:lnTo>
                <a:lnTo>
                  <a:pt x="74" y="924"/>
                </a:lnTo>
                <a:lnTo>
                  <a:pt x="76" y="922"/>
                </a:lnTo>
                <a:lnTo>
                  <a:pt x="77" y="922"/>
                </a:lnTo>
                <a:lnTo>
                  <a:pt x="83" y="928"/>
                </a:lnTo>
                <a:lnTo>
                  <a:pt x="83" y="929"/>
                </a:lnTo>
                <a:lnTo>
                  <a:pt x="85" y="929"/>
                </a:lnTo>
                <a:lnTo>
                  <a:pt x="83" y="928"/>
                </a:lnTo>
                <a:lnTo>
                  <a:pt x="83" y="927"/>
                </a:lnTo>
                <a:lnTo>
                  <a:pt x="85" y="924"/>
                </a:lnTo>
                <a:lnTo>
                  <a:pt x="83" y="924"/>
                </a:lnTo>
                <a:lnTo>
                  <a:pt x="82" y="923"/>
                </a:lnTo>
                <a:lnTo>
                  <a:pt x="85" y="922"/>
                </a:lnTo>
                <a:lnTo>
                  <a:pt x="92" y="922"/>
                </a:lnTo>
                <a:lnTo>
                  <a:pt x="91" y="923"/>
                </a:lnTo>
                <a:lnTo>
                  <a:pt x="91" y="924"/>
                </a:lnTo>
                <a:lnTo>
                  <a:pt x="89" y="924"/>
                </a:lnTo>
                <a:lnTo>
                  <a:pt x="89" y="927"/>
                </a:lnTo>
                <a:lnTo>
                  <a:pt x="92" y="926"/>
                </a:lnTo>
                <a:lnTo>
                  <a:pt x="92" y="929"/>
                </a:lnTo>
                <a:lnTo>
                  <a:pt x="93" y="932"/>
                </a:lnTo>
                <a:lnTo>
                  <a:pt x="93" y="933"/>
                </a:lnTo>
                <a:lnTo>
                  <a:pt x="94" y="930"/>
                </a:lnTo>
                <a:lnTo>
                  <a:pt x="94" y="929"/>
                </a:lnTo>
                <a:lnTo>
                  <a:pt x="93" y="928"/>
                </a:lnTo>
                <a:lnTo>
                  <a:pt x="93" y="927"/>
                </a:lnTo>
                <a:lnTo>
                  <a:pt x="94" y="924"/>
                </a:lnTo>
                <a:lnTo>
                  <a:pt x="96" y="926"/>
                </a:lnTo>
                <a:lnTo>
                  <a:pt x="100" y="927"/>
                </a:lnTo>
                <a:lnTo>
                  <a:pt x="102" y="928"/>
                </a:lnTo>
                <a:lnTo>
                  <a:pt x="105" y="932"/>
                </a:lnTo>
                <a:lnTo>
                  <a:pt x="108" y="932"/>
                </a:lnTo>
                <a:lnTo>
                  <a:pt x="110" y="933"/>
                </a:lnTo>
                <a:lnTo>
                  <a:pt x="110" y="936"/>
                </a:lnTo>
                <a:lnTo>
                  <a:pt x="111" y="935"/>
                </a:lnTo>
                <a:lnTo>
                  <a:pt x="111" y="933"/>
                </a:lnTo>
                <a:lnTo>
                  <a:pt x="112" y="932"/>
                </a:lnTo>
                <a:lnTo>
                  <a:pt x="120" y="929"/>
                </a:lnTo>
                <a:lnTo>
                  <a:pt x="119" y="928"/>
                </a:lnTo>
                <a:lnTo>
                  <a:pt x="108" y="930"/>
                </a:lnTo>
                <a:lnTo>
                  <a:pt x="105" y="927"/>
                </a:lnTo>
                <a:lnTo>
                  <a:pt x="105" y="924"/>
                </a:lnTo>
                <a:lnTo>
                  <a:pt x="106" y="923"/>
                </a:lnTo>
                <a:lnTo>
                  <a:pt x="107" y="923"/>
                </a:lnTo>
                <a:lnTo>
                  <a:pt x="108" y="926"/>
                </a:lnTo>
                <a:lnTo>
                  <a:pt x="108" y="928"/>
                </a:lnTo>
                <a:lnTo>
                  <a:pt x="110" y="928"/>
                </a:lnTo>
                <a:lnTo>
                  <a:pt x="110" y="926"/>
                </a:lnTo>
                <a:lnTo>
                  <a:pt x="108" y="922"/>
                </a:lnTo>
                <a:lnTo>
                  <a:pt x="108" y="921"/>
                </a:lnTo>
                <a:lnTo>
                  <a:pt x="110" y="921"/>
                </a:lnTo>
                <a:lnTo>
                  <a:pt x="111" y="920"/>
                </a:lnTo>
                <a:lnTo>
                  <a:pt x="113" y="918"/>
                </a:lnTo>
                <a:lnTo>
                  <a:pt x="123" y="915"/>
                </a:lnTo>
                <a:lnTo>
                  <a:pt x="131" y="915"/>
                </a:lnTo>
                <a:lnTo>
                  <a:pt x="135" y="918"/>
                </a:lnTo>
                <a:lnTo>
                  <a:pt x="136" y="918"/>
                </a:lnTo>
                <a:lnTo>
                  <a:pt x="135" y="916"/>
                </a:lnTo>
                <a:lnTo>
                  <a:pt x="132" y="915"/>
                </a:lnTo>
                <a:lnTo>
                  <a:pt x="131" y="913"/>
                </a:lnTo>
                <a:lnTo>
                  <a:pt x="132" y="913"/>
                </a:lnTo>
                <a:lnTo>
                  <a:pt x="132" y="910"/>
                </a:lnTo>
                <a:lnTo>
                  <a:pt x="131" y="910"/>
                </a:lnTo>
                <a:lnTo>
                  <a:pt x="130" y="911"/>
                </a:lnTo>
                <a:lnTo>
                  <a:pt x="125" y="913"/>
                </a:lnTo>
                <a:lnTo>
                  <a:pt x="124" y="914"/>
                </a:lnTo>
                <a:lnTo>
                  <a:pt x="114" y="915"/>
                </a:lnTo>
                <a:lnTo>
                  <a:pt x="110" y="918"/>
                </a:lnTo>
                <a:lnTo>
                  <a:pt x="108" y="920"/>
                </a:lnTo>
                <a:lnTo>
                  <a:pt x="104" y="920"/>
                </a:lnTo>
                <a:lnTo>
                  <a:pt x="102" y="918"/>
                </a:lnTo>
                <a:lnTo>
                  <a:pt x="104" y="917"/>
                </a:lnTo>
                <a:lnTo>
                  <a:pt x="105" y="917"/>
                </a:lnTo>
                <a:lnTo>
                  <a:pt x="102" y="915"/>
                </a:lnTo>
                <a:lnTo>
                  <a:pt x="105" y="915"/>
                </a:lnTo>
                <a:lnTo>
                  <a:pt x="107" y="911"/>
                </a:lnTo>
                <a:lnTo>
                  <a:pt x="116" y="909"/>
                </a:lnTo>
                <a:lnTo>
                  <a:pt x="113" y="909"/>
                </a:lnTo>
                <a:lnTo>
                  <a:pt x="106" y="911"/>
                </a:lnTo>
                <a:lnTo>
                  <a:pt x="105" y="913"/>
                </a:lnTo>
                <a:lnTo>
                  <a:pt x="102" y="913"/>
                </a:lnTo>
                <a:lnTo>
                  <a:pt x="100" y="914"/>
                </a:lnTo>
                <a:lnTo>
                  <a:pt x="86" y="916"/>
                </a:lnTo>
                <a:lnTo>
                  <a:pt x="85" y="915"/>
                </a:lnTo>
                <a:lnTo>
                  <a:pt x="86" y="915"/>
                </a:lnTo>
                <a:lnTo>
                  <a:pt x="87" y="914"/>
                </a:lnTo>
                <a:lnTo>
                  <a:pt x="87" y="913"/>
                </a:lnTo>
                <a:lnTo>
                  <a:pt x="86" y="913"/>
                </a:lnTo>
                <a:lnTo>
                  <a:pt x="86" y="909"/>
                </a:lnTo>
                <a:lnTo>
                  <a:pt x="88" y="908"/>
                </a:lnTo>
                <a:lnTo>
                  <a:pt x="89" y="907"/>
                </a:lnTo>
                <a:lnTo>
                  <a:pt x="96" y="908"/>
                </a:lnTo>
                <a:lnTo>
                  <a:pt x="95" y="907"/>
                </a:lnTo>
                <a:lnTo>
                  <a:pt x="94" y="904"/>
                </a:lnTo>
                <a:lnTo>
                  <a:pt x="93" y="904"/>
                </a:lnTo>
                <a:lnTo>
                  <a:pt x="88" y="905"/>
                </a:lnTo>
                <a:lnTo>
                  <a:pt x="87" y="904"/>
                </a:lnTo>
                <a:lnTo>
                  <a:pt x="86" y="901"/>
                </a:lnTo>
                <a:lnTo>
                  <a:pt x="85" y="899"/>
                </a:lnTo>
                <a:lnTo>
                  <a:pt x="85" y="898"/>
                </a:lnTo>
                <a:lnTo>
                  <a:pt x="82" y="898"/>
                </a:lnTo>
                <a:lnTo>
                  <a:pt x="82" y="897"/>
                </a:lnTo>
                <a:lnTo>
                  <a:pt x="83" y="897"/>
                </a:lnTo>
                <a:lnTo>
                  <a:pt x="91" y="892"/>
                </a:lnTo>
                <a:lnTo>
                  <a:pt x="92" y="891"/>
                </a:lnTo>
                <a:lnTo>
                  <a:pt x="94" y="890"/>
                </a:lnTo>
                <a:lnTo>
                  <a:pt x="98" y="889"/>
                </a:lnTo>
                <a:lnTo>
                  <a:pt x="99" y="889"/>
                </a:lnTo>
                <a:lnTo>
                  <a:pt x="100" y="890"/>
                </a:lnTo>
                <a:lnTo>
                  <a:pt x="101" y="892"/>
                </a:lnTo>
                <a:lnTo>
                  <a:pt x="102" y="892"/>
                </a:lnTo>
                <a:lnTo>
                  <a:pt x="105" y="895"/>
                </a:lnTo>
                <a:lnTo>
                  <a:pt x="105" y="896"/>
                </a:lnTo>
                <a:lnTo>
                  <a:pt x="106" y="898"/>
                </a:lnTo>
                <a:lnTo>
                  <a:pt x="108" y="898"/>
                </a:lnTo>
                <a:lnTo>
                  <a:pt x="111" y="897"/>
                </a:lnTo>
                <a:lnTo>
                  <a:pt x="113" y="893"/>
                </a:lnTo>
                <a:lnTo>
                  <a:pt x="116" y="892"/>
                </a:lnTo>
                <a:lnTo>
                  <a:pt x="120" y="892"/>
                </a:lnTo>
                <a:lnTo>
                  <a:pt x="120" y="893"/>
                </a:lnTo>
                <a:lnTo>
                  <a:pt x="119" y="895"/>
                </a:lnTo>
                <a:lnTo>
                  <a:pt x="119" y="896"/>
                </a:lnTo>
                <a:lnTo>
                  <a:pt x="116" y="898"/>
                </a:lnTo>
                <a:lnTo>
                  <a:pt x="117" y="898"/>
                </a:lnTo>
                <a:lnTo>
                  <a:pt x="123" y="895"/>
                </a:lnTo>
                <a:lnTo>
                  <a:pt x="125" y="895"/>
                </a:lnTo>
                <a:lnTo>
                  <a:pt x="127" y="892"/>
                </a:lnTo>
                <a:lnTo>
                  <a:pt x="129" y="892"/>
                </a:lnTo>
                <a:lnTo>
                  <a:pt x="132" y="895"/>
                </a:lnTo>
                <a:lnTo>
                  <a:pt x="133" y="896"/>
                </a:lnTo>
                <a:lnTo>
                  <a:pt x="133" y="897"/>
                </a:lnTo>
                <a:lnTo>
                  <a:pt x="135" y="898"/>
                </a:lnTo>
                <a:lnTo>
                  <a:pt x="135" y="903"/>
                </a:lnTo>
                <a:lnTo>
                  <a:pt x="136" y="905"/>
                </a:lnTo>
                <a:lnTo>
                  <a:pt x="136" y="908"/>
                </a:lnTo>
                <a:lnTo>
                  <a:pt x="137" y="909"/>
                </a:lnTo>
                <a:lnTo>
                  <a:pt x="142" y="910"/>
                </a:lnTo>
                <a:lnTo>
                  <a:pt x="143" y="911"/>
                </a:lnTo>
                <a:lnTo>
                  <a:pt x="147" y="916"/>
                </a:lnTo>
                <a:lnTo>
                  <a:pt x="150" y="916"/>
                </a:lnTo>
                <a:lnTo>
                  <a:pt x="153" y="918"/>
                </a:lnTo>
                <a:lnTo>
                  <a:pt x="153" y="922"/>
                </a:lnTo>
                <a:lnTo>
                  <a:pt x="154" y="920"/>
                </a:lnTo>
                <a:lnTo>
                  <a:pt x="154" y="917"/>
                </a:lnTo>
                <a:lnTo>
                  <a:pt x="149" y="913"/>
                </a:lnTo>
                <a:lnTo>
                  <a:pt x="145" y="911"/>
                </a:lnTo>
                <a:lnTo>
                  <a:pt x="143" y="909"/>
                </a:lnTo>
                <a:lnTo>
                  <a:pt x="139" y="908"/>
                </a:lnTo>
                <a:lnTo>
                  <a:pt x="137" y="904"/>
                </a:lnTo>
                <a:lnTo>
                  <a:pt x="137" y="897"/>
                </a:lnTo>
                <a:lnTo>
                  <a:pt x="136" y="897"/>
                </a:lnTo>
                <a:lnTo>
                  <a:pt x="136" y="895"/>
                </a:lnTo>
                <a:lnTo>
                  <a:pt x="135" y="893"/>
                </a:lnTo>
                <a:lnTo>
                  <a:pt x="133" y="893"/>
                </a:lnTo>
                <a:lnTo>
                  <a:pt x="129" y="889"/>
                </a:lnTo>
                <a:lnTo>
                  <a:pt x="129" y="887"/>
                </a:lnTo>
                <a:lnTo>
                  <a:pt x="127" y="887"/>
                </a:lnTo>
                <a:lnTo>
                  <a:pt x="127" y="889"/>
                </a:lnTo>
                <a:lnTo>
                  <a:pt x="129" y="890"/>
                </a:lnTo>
                <a:lnTo>
                  <a:pt x="124" y="890"/>
                </a:lnTo>
                <a:lnTo>
                  <a:pt x="125" y="889"/>
                </a:lnTo>
                <a:lnTo>
                  <a:pt x="126" y="886"/>
                </a:lnTo>
                <a:lnTo>
                  <a:pt x="127" y="886"/>
                </a:lnTo>
                <a:lnTo>
                  <a:pt x="129" y="883"/>
                </a:lnTo>
                <a:lnTo>
                  <a:pt x="130" y="881"/>
                </a:lnTo>
                <a:lnTo>
                  <a:pt x="130" y="880"/>
                </a:lnTo>
                <a:lnTo>
                  <a:pt x="133" y="880"/>
                </a:lnTo>
                <a:lnTo>
                  <a:pt x="135" y="881"/>
                </a:lnTo>
                <a:lnTo>
                  <a:pt x="135" y="885"/>
                </a:lnTo>
                <a:lnTo>
                  <a:pt x="136" y="886"/>
                </a:lnTo>
                <a:lnTo>
                  <a:pt x="136" y="887"/>
                </a:lnTo>
                <a:lnTo>
                  <a:pt x="137" y="889"/>
                </a:lnTo>
                <a:lnTo>
                  <a:pt x="139" y="890"/>
                </a:lnTo>
                <a:lnTo>
                  <a:pt x="142" y="892"/>
                </a:lnTo>
                <a:lnTo>
                  <a:pt x="143" y="892"/>
                </a:lnTo>
                <a:lnTo>
                  <a:pt x="144" y="893"/>
                </a:lnTo>
                <a:lnTo>
                  <a:pt x="144" y="895"/>
                </a:lnTo>
                <a:lnTo>
                  <a:pt x="143" y="896"/>
                </a:lnTo>
                <a:lnTo>
                  <a:pt x="143" y="897"/>
                </a:lnTo>
                <a:lnTo>
                  <a:pt x="144" y="898"/>
                </a:lnTo>
                <a:lnTo>
                  <a:pt x="143" y="901"/>
                </a:lnTo>
                <a:lnTo>
                  <a:pt x="143" y="902"/>
                </a:lnTo>
                <a:lnTo>
                  <a:pt x="144" y="901"/>
                </a:lnTo>
                <a:lnTo>
                  <a:pt x="147" y="901"/>
                </a:lnTo>
                <a:lnTo>
                  <a:pt x="150" y="904"/>
                </a:lnTo>
                <a:lnTo>
                  <a:pt x="153" y="904"/>
                </a:lnTo>
                <a:lnTo>
                  <a:pt x="151" y="902"/>
                </a:lnTo>
                <a:lnTo>
                  <a:pt x="149" y="901"/>
                </a:lnTo>
                <a:lnTo>
                  <a:pt x="148" y="899"/>
                </a:lnTo>
                <a:lnTo>
                  <a:pt x="149" y="899"/>
                </a:lnTo>
                <a:lnTo>
                  <a:pt x="154" y="902"/>
                </a:lnTo>
                <a:lnTo>
                  <a:pt x="155" y="902"/>
                </a:lnTo>
                <a:lnTo>
                  <a:pt x="155" y="903"/>
                </a:lnTo>
                <a:lnTo>
                  <a:pt x="156" y="904"/>
                </a:lnTo>
                <a:lnTo>
                  <a:pt x="156" y="905"/>
                </a:lnTo>
                <a:lnTo>
                  <a:pt x="157" y="905"/>
                </a:lnTo>
                <a:lnTo>
                  <a:pt x="158" y="907"/>
                </a:lnTo>
                <a:lnTo>
                  <a:pt x="160" y="907"/>
                </a:lnTo>
                <a:lnTo>
                  <a:pt x="156" y="902"/>
                </a:lnTo>
                <a:lnTo>
                  <a:pt x="155" y="901"/>
                </a:lnTo>
                <a:lnTo>
                  <a:pt x="151" y="901"/>
                </a:lnTo>
                <a:lnTo>
                  <a:pt x="150" y="899"/>
                </a:lnTo>
                <a:lnTo>
                  <a:pt x="148" y="895"/>
                </a:lnTo>
                <a:lnTo>
                  <a:pt x="147" y="895"/>
                </a:lnTo>
                <a:lnTo>
                  <a:pt x="156" y="893"/>
                </a:lnTo>
                <a:lnTo>
                  <a:pt x="157" y="892"/>
                </a:lnTo>
                <a:lnTo>
                  <a:pt x="156" y="891"/>
                </a:lnTo>
                <a:lnTo>
                  <a:pt x="154" y="892"/>
                </a:lnTo>
                <a:lnTo>
                  <a:pt x="153" y="892"/>
                </a:lnTo>
                <a:lnTo>
                  <a:pt x="151" y="891"/>
                </a:lnTo>
                <a:lnTo>
                  <a:pt x="154" y="889"/>
                </a:lnTo>
                <a:lnTo>
                  <a:pt x="153" y="889"/>
                </a:lnTo>
                <a:lnTo>
                  <a:pt x="150" y="891"/>
                </a:lnTo>
                <a:lnTo>
                  <a:pt x="147" y="892"/>
                </a:lnTo>
                <a:lnTo>
                  <a:pt x="145" y="892"/>
                </a:lnTo>
                <a:lnTo>
                  <a:pt x="143" y="890"/>
                </a:lnTo>
                <a:lnTo>
                  <a:pt x="148" y="890"/>
                </a:lnTo>
                <a:lnTo>
                  <a:pt x="149" y="889"/>
                </a:lnTo>
                <a:lnTo>
                  <a:pt x="148" y="887"/>
                </a:lnTo>
                <a:lnTo>
                  <a:pt x="142" y="889"/>
                </a:lnTo>
                <a:lnTo>
                  <a:pt x="141" y="889"/>
                </a:lnTo>
                <a:lnTo>
                  <a:pt x="139" y="887"/>
                </a:lnTo>
                <a:lnTo>
                  <a:pt x="139" y="884"/>
                </a:lnTo>
                <a:lnTo>
                  <a:pt x="138" y="884"/>
                </a:lnTo>
                <a:lnTo>
                  <a:pt x="138" y="881"/>
                </a:lnTo>
                <a:lnTo>
                  <a:pt x="137" y="880"/>
                </a:lnTo>
                <a:lnTo>
                  <a:pt x="137" y="878"/>
                </a:lnTo>
                <a:lnTo>
                  <a:pt x="138" y="878"/>
                </a:lnTo>
                <a:lnTo>
                  <a:pt x="142" y="881"/>
                </a:lnTo>
                <a:lnTo>
                  <a:pt x="142" y="883"/>
                </a:lnTo>
                <a:lnTo>
                  <a:pt x="143" y="883"/>
                </a:lnTo>
                <a:lnTo>
                  <a:pt x="143" y="880"/>
                </a:lnTo>
                <a:lnTo>
                  <a:pt x="142" y="879"/>
                </a:lnTo>
                <a:lnTo>
                  <a:pt x="142" y="878"/>
                </a:lnTo>
                <a:lnTo>
                  <a:pt x="139" y="877"/>
                </a:lnTo>
                <a:lnTo>
                  <a:pt x="153" y="878"/>
                </a:lnTo>
                <a:lnTo>
                  <a:pt x="156" y="880"/>
                </a:lnTo>
                <a:lnTo>
                  <a:pt x="156" y="878"/>
                </a:lnTo>
                <a:lnTo>
                  <a:pt x="154" y="877"/>
                </a:lnTo>
                <a:lnTo>
                  <a:pt x="154" y="874"/>
                </a:lnTo>
                <a:lnTo>
                  <a:pt x="155" y="873"/>
                </a:lnTo>
                <a:lnTo>
                  <a:pt x="166" y="871"/>
                </a:lnTo>
                <a:lnTo>
                  <a:pt x="157" y="871"/>
                </a:lnTo>
                <a:lnTo>
                  <a:pt x="156" y="872"/>
                </a:lnTo>
                <a:lnTo>
                  <a:pt x="155" y="871"/>
                </a:lnTo>
                <a:lnTo>
                  <a:pt x="155" y="868"/>
                </a:lnTo>
                <a:lnTo>
                  <a:pt x="154" y="867"/>
                </a:lnTo>
                <a:lnTo>
                  <a:pt x="151" y="864"/>
                </a:lnTo>
                <a:lnTo>
                  <a:pt x="150" y="864"/>
                </a:lnTo>
                <a:lnTo>
                  <a:pt x="150" y="862"/>
                </a:lnTo>
                <a:lnTo>
                  <a:pt x="151" y="861"/>
                </a:lnTo>
                <a:lnTo>
                  <a:pt x="160" y="860"/>
                </a:lnTo>
                <a:lnTo>
                  <a:pt x="162" y="858"/>
                </a:lnTo>
                <a:lnTo>
                  <a:pt x="160" y="858"/>
                </a:lnTo>
                <a:lnTo>
                  <a:pt x="158" y="856"/>
                </a:lnTo>
                <a:lnTo>
                  <a:pt x="158" y="855"/>
                </a:lnTo>
                <a:lnTo>
                  <a:pt x="156" y="854"/>
                </a:lnTo>
                <a:lnTo>
                  <a:pt x="157" y="852"/>
                </a:lnTo>
                <a:lnTo>
                  <a:pt x="157" y="850"/>
                </a:lnTo>
                <a:lnTo>
                  <a:pt x="160" y="852"/>
                </a:lnTo>
                <a:lnTo>
                  <a:pt x="161" y="852"/>
                </a:lnTo>
                <a:lnTo>
                  <a:pt x="163" y="849"/>
                </a:lnTo>
                <a:lnTo>
                  <a:pt x="167" y="853"/>
                </a:lnTo>
                <a:lnTo>
                  <a:pt x="167" y="850"/>
                </a:lnTo>
                <a:lnTo>
                  <a:pt x="170" y="850"/>
                </a:lnTo>
                <a:lnTo>
                  <a:pt x="172" y="852"/>
                </a:lnTo>
                <a:lnTo>
                  <a:pt x="172" y="850"/>
                </a:lnTo>
                <a:lnTo>
                  <a:pt x="170" y="850"/>
                </a:lnTo>
                <a:lnTo>
                  <a:pt x="170" y="848"/>
                </a:lnTo>
                <a:lnTo>
                  <a:pt x="172" y="847"/>
                </a:lnTo>
                <a:lnTo>
                  <a:pt x="173" y="847"/>
                </a:lnTo>
                <a:lnTo>
                  <a:pt x="174" y="848"/>
                </a:lnTo>
                <a:lnTo>
                  <a:pt x="176" y="852"/>
                </a:lnTo>
                <a:lnTo>
                  <a:pt x="178" y="853"/>
                </a:lnTo>
                <a:lnTo>
                  <a:pt x="178" y="856"/>
                </a:lnTo>
                <a:lnTo>
                  <a:pt x="176" y="858"/>
                </a:lnTo>
                <a:lnTo>
                  <a:pt x="175" y="860"/>
                </a:lnTo>
                <a:lnTo>
                  <a:pt x="175" y="862"/>
                </a:lnTo>
                <a:lnTo>
                  <a:pt x="176" y="860"/>
                </a:lnTo>
                <a:lnTo>
                  <a:pt x="178" y="859"/>
                </a:lnTo>
                <a:lnTo>
                  <a:pt x="180" y="859"/>
                </a:lnTo>
                <a:lnTo>
                  <a:pt x="182" y="856"/>
                </a:lnTo>
                <a:lnTo>
                  <a:pt x="189" y="854"/>
                </a:lnTo>
                <a:lnTo>
                  <a:pt x="192" y="853"/>
                </a:lnTo>
                <a:lnTo>
                  <a:pt x="191" y="853"/>
                </a:lnTo>
                <a:lnTo>
                  <a:pt x="188" y="854"/>
                </a:lnTo>
                <a:lnTo>
                  <a:pt x="182" y="854"/>
                </a:lnTo>
                <a:lnTo>
                  <a:pt x="181" y="855"/>
                </a:lnTo>
                <a:lnTo>
                  <a:pt x="180" y="855"/>
                </a:lnTo>
                <a:lnTo>
                  <a:pt x="180" y="854"/>
                </a:lnTo>
                <a:lnTo>
                  <a:pt x="179" y="853"/>
                </a:lnTo>
                <a:lnTo>
                  <a:pt x="179" y="850"/>
                </a:lnTo>
                <a:lnTo>
                  <a:pt x="180" y="849"/>
                </a:lnTo>
                <a:lnTo>
                  <a:pt x="192" y="846"/>
                </a:lnTo>
                <a:lnTo>
                  <a:pt x="192" y="844"/>
                </a:lnTo>
                <a:lnTo>
                  <a:pt x="191" y="846"/>
                </a:lnTo>
                <a:lnTo>
                  <a:pt x="187" y="847"/>
                </a:lnTo>
                <a:lnTo>
                  <a:pt x="186" y="847"/>
                </a:lnTo>
                <a:lnTo>
                  <a:pt x="185" y="846"/>
                </a:lnTo>
                <a:lnTo>
                  <a:pt x="184" y="846"/>
                </a:lnTo>
                <a:lnTo>
                  <a:pt x="184" y="843"/>
                </a:lnTo>
                <a:lnTo>
                  <a:pt x="182" y="843"/>
                </a:lnTo>
                <a:lnTo>
                  <a:pt x="182" y="844"/>
                </a:lnTo>
                <a:lnTo>
                  <a:pt x="184" y="846"/>
                </a:lnTo>
                <a:lnTo>
                  <a:pt x="184" y="847"/>
                </a:lnTo>
                <a:lnTo>
                  <a:pt x="179" y="847"/>
                </a:lnTo>
                <a:lnTo>
                  <a:pt x="178" y="844"/>
                </a:lnTo>
                <a:lnTo>
                  <a:pt x="179" y="842"/>
                </a:lnTo>
                <a:lnTo>
                  <a:pt x="182" y="842"/>
                </a:lnTo>
                <a:lnTo>
                  <a:pt x="181" y="840"/>
                </a:lnTo>
                <a:lnTo>
                  <a:pt x="182" y="840"/>
                </a:lnTo>
                <a:lnTo>
                  <a:pt x="184" y="841"/>
                </a:lnTo>
                <a:lnTo>
                  <a:pt x="185" y="841"/>
                </a:lnTo>
                <a:lnTo>
                  <a:pt x="185" y="840"/>
                </a:lnTo>
                <a:lnTo>
                  <a:pt x="187" y="837"/>
                </a:lnTo>
                <a:lnTo>
                  <a:pt x="188" y="837"/>
                </a:lnTo>
                <a:lnTo>
                  <a:pt x="187" y="838"/>
                </a:lnTo>
                <a:lnTo>
                  <a:pt x="187" y="841"/>
                </a:lnTo>
                <a:lnTo>
                  <a:pt x="188" y="841"/>
                </a:lnTo>
                <a:lnTo>
                  <a:pt x="188" y="842"/>
                </a:lnTo>
                <a:lnTo>
                  <a:pt x="189" y="841"/>
                </a:lnTo>
                <a:lnTo>
                  <a:pt x="191" y="837"/>
                </a:lnTo>
                <a:lnTo>
                  <a:pt x="192" y="836"/>
                </a:lnTo>
                <a:lnTo>
                  <a:pt x="193" y="836"/>
                </a:lnTo>
                <a:lnTo>
                  <a:pt x="195" y="838"/>
                </a:lnTo>
                <a:lnTo>
                  <a:pt x="195" y="837"/>
                </a:lnTo>
                <a:lnTo>
                  <a:pt x="194" y="836"/>
                </a:lnTo>
                <a:lnTo>
                  <a:pt x="194" y="835"/>
                </a:lnTo>
                <a:lnTo>
                  <a:pt x="192" y="835"/>
                </a:lnTo>
                <a:lnTo>
                  <a:pt x="194" y="832"/>
                </a:lnTo>
                <a:lnTo>
                  <a:pt x="198" y="832"/>
                </a:lnTo>
                <a:lnTo>
                  <a:pt x="200" y="830"/>
                </a:lnTo>
                <a:lnTo>
                  <a:pt x="203" y="830"/>
                </a:lnTo>
                <a:lnTo>
                  <a:pt x="203" y="834"/>
                </a:lnTo>
                <a:lnTo>
                  <a:pt x="205" y="836"/>
                </a:lnTo>
                <a:lnTo>
                  <a:pt x="205" y="837"/>
                </a:lnTo>
                <a:lnTo>
                  <a:pt x="206" y="838"/>
                </a:lnTo>
                <a:lnTo>
                  <a:pt x="206" y="842"/>
                </a:lnTo>
                <a:lnTo>
                  <a:pt x="212" y="848"/>
                </a:lnTo>
                <a:lnTo>
                  <a:pt x="212" y="850"/>
                </a:lnTo>
                <a:lnTo>
                  <a:pt x="211" y="853"/>
                </a:lnTo>
                <a:lnTo>
                  <a:pt x="211" y="855"/>
                </a:lnTo>
                <a:lnTo>
                  <a:pt x="207" y="860"/>
                </a:lnTo>
                <a:lnTo>
                  <a:pt x="210" y="859"/>
                </a:lnTo>
                <a:lnTo>
                  <a:pt x="211" y="859"/>
                </a:lnTo>
                <a:lnTo>
                  <a:pt x="213" y="856"/>
                </a:lnTo>
                <a:lnTo>
                  <a:pt x="214" y="856"/>
                </a:lnTo>
                <a:lnTo>
                  <a:pt x="218" y="860"/>
                </a:lnTo>
                <a:lnTo>
                  <a:pt x="224" y="860"/>
                </a:lnTo>
                <a:lnTo>
                  <a:pt x="224" y="861"/>
                </a:lnTo>
                <a:lnTo>
                  <a:pt x="225" y="865"/>
                </a:lnTo>
                <a:lnTo>
                  <a:pt x="225" y="859"/>
                </a:lnTo>
                <a:lnTo>
                  <a:pt x="224" y="858"/>
                </a:lnTo>
                <a:lnTo>
                  <a:pt x="217" y="856"/>
                </a:lnTo>
                <a:lnTo>
                  <a:pt x="216" y="855"/>
                </a:lnTo>
                <a:lnTo>
                  <a:pt x="216" y="852"/>
                </a:lnTo>
                <a:lnTo>
                  <a:pt x="217" y="852"/>
                </a:lnTo>
                <a:lnTo>
                  <a:pt x="217" y="849"/>
                </a:lnTo>
                <a:lnTo>
                  <a:pt x="218" y="849"/>
                </a:lnTo>
                <a:lnTo>
                  <a:pt x="220" y="848"/>
                </a:lnTo>
                <a:lnTo>
                  <a:pt x="226" y="847"/>
                </a:lnTo>
                <a:lnTo>
                  <a:pt x="228" y="847"/>
                </a:lnTo>
                <a:lnTo>
                  <a:pt x="230" y="849"/>
                </a:lnTo>
                <a:lnTo>
                  <a:pt x="232" y="847"/>
                </a:lnTo>
                <a:lnTo>
                  <a:pt x="235" y="848"/>
                </a:lnTo>
                <a:lnTo>
                  <a:pt x="236" y="848"/>
                </a:lnTo>
                <a:lnTo>
                  <a:pt x="238" y="850"/>
                </a:lnTo>
                <a:lnTo>
                  <a:pt x="243" y="848"/>
                </a:lnTo>
                <a:lnTo>
                  <a:pt x="245" y="849"/>
                </a:lnTo>
                <a:lnTo>
                  <a:pt x="248" y="852"/>
                </a:lnTo>
                <a:lnTo>
                  <a:pt x="248" y="850"/>
                </a:lnTo>
                <a:lnTo>
                  <a:pt x="249" y="849"/>
                </a:lnTo>
                <a:lnTo>
                  <a:pt x="249" y="848"/>
                </a:lnTo>
                <a:lnTo>
                  <a:pt x="253" y="848"/>
                </a:lnTo>
                <a:lnTo>
                  <a:pt x="253" y="847"/>
                </a:lnTo>
                <a:lnTo>
                  <a:pt x="249" y="846"/>
                </a:lnTo>
                <a:lnTo>
                  <a:pt x="247" y="844"/>
                </a:lnTo>
                <a:lnTo>
                  <a:pt x="245" y="842"/>
                </a:lnTo>
                <a:lnTo>
                  <a:pt x="247" y="840"/>
                </a:lnTo>
                <a:lnTo>
                  <a:pt x="249" y="838"/>
                </a:lnTo>
                <a:lnTo>
                  <a:pt x="253" y="838"/>
                </a:lnTo>
                <a:lnTo>
                  <a:pt x="253" y="837"/>
                </a:lnTo>
                <a:lnTo>
                  <a:pt x="250" y="837"/>
                </a:lnTo>
                <a:lnTo>
                  <a:pt x="250" y="836"/>
                </a:lnTo>
                <a:lnTo>
                  <a:pt x="251" y="835"/>
                </a:lnTo>
                <a:lnTo>
                  <a:pt x="253" y="835"/>
                </a:lnTo>
                <a:lnTo>
                  <a:pt x="253" y="834"/>
                </a:lnTo>
                <a:lnTo>
                  <a:pt x="250" y="834"/>
                </a:lnTo>
                <a:lnTo>
                  <a:pt x="248" y="835"/>
                </a:lnTo>
                <a:lnTo>
                  <a:pt x="247" y="836"/>
                </a:lnTo>
                <a:lnTo>
                  <a:pt x="244" y="836"/>
                </a:lnTo>
                <a:lnTo>
                  <a:pt x="244" y="837"/>
                </a:lnTo>
                <a:lnTo>
                  <a:pt x="243" y="837"/>
                </a:lnTo>
                <a:lnTo>
                  <a:pt x="243" y="835"/>
                </a:lnTo>
                <a:lnTo>
                  <a:pt x="244" y="835"/>
                </a:lnTo>
                <a:lnTo>
                  <a:pt x="244" y="832"/>
                </a:lnTo>
                <a:lnTo>
                  <a:pt x="247" y="830"/>
                </a:lnTo>
                <a:lnTo>
                  <a:pt x="249" y="830"/>
                </a:lnTo>
                <a:lnTo>
                  <a:pt x="250" y="829"/>
                </a:lnTo>
                <a:lnTo>
                  <a:pt x="253" y="825"/>
                </a:lnTo>
                <a:lnTo>
                  <a:pt x="257" y="823"/>
                </a:lnTo>
                <a:lnTo>
                  <a:pt x="259" y="823"/>
                </a:lnTo>
                <a:lnTo>
                  <a:pt x="260" y="824"/>
                </a:lnTo>
                <a:lnTo>
                  <a:pt x="261" y="824"/>
                </a:lnTo>
                <a:lnTo>
                  <a:pt x="262" y="823"/>
                </a:lnTo>
                <a:lnTo>
                  <a:pt x="263" y="823"/>
                </a:lnTo>
                <a:lnTo>
                  <a:pt x="266" y="818"/>
                </a:lnTo>
                <a:lnTo>
                  <a:pt x="267" y="817"/>
                </a:lnTo>
                <a:lnTo>
                  <a:pt x="271" y="816"/>
                </a:lnTo>
                <a:lnTo>
                  <a:pt x="275" y="816"/>
                </a:lnTo>
                <a:lnTo>
                  <a:pt x="275" y="813"/>
                </a:lnTo>
                <a:lnTo>
                  <a:pt x="274" y="812"/>
                </a:lnTo>
                <a:lnTo>
                  <a:pt x="274" y="810"/>
                </a:lnTo>
                <a:lnTo>
                  <a:pt x="269" y="810"/>
                </a:lnTo>
                <a:lnTo>
                  <a:pt x="269" y="809"/>
                </a:lnTo>
                <a:lnTo>
                  <a:pt x="267" y="809"/>
                </a:lnTo>
                <a:lnTo>
                  <a:pt x="261" y="810"/>
                </a:lnTo>
                <a:lnTo>
                  <a:pt x="260" y="810"/>
                </a:lnTo>
                <a:lnTo>
                  <a:pt x="260" y="806"/>
                </a:lnTo>
                <a:lnTo>
                  <a:pt x="261" y="806"/>
                </a:lnTo>
                <a:lnTo>
                  <a:pt x="263" y="804"/>
                </a:lnTo>
                <a:lnTo>
                  <a:pt x="265" y="804"/>
                </a:lnTo>
                <a:lnTo>
                  <a:pt x="265" y="801"/>
                </a:lnTo>
                <a:lnTo>
                  <a:pt x="266" y="800"/>
                </a:lnTo>
                <a:lnTo>
                  <a:pt x="268" y="799"/>
                </a:lnTo>
                <a:lnTo>
                  <a:pt x="274" y="797"/>
                </a:lnTo>
                <a:lnTo>
                  <a:pt x="275" y="797"/>
                </a:lnTo>
                <a:lnTo>
                  <a:pt x="276" y="795"/>
                </a:lnTo>
                <a:lnTo>
                  <a:pt x="276" y="793"/>
                </a:lnTo>
                <a:lnTo>
                  <a:pt x="275" y="794"/>
                </a:lnTo>
                <a:lnTo>
                  <a:pt x="274" y="793"/>
                </a:lnTo>
                <a:lnTo>
                  <a:pt x="272" y="793"/>
                </a:lnTo>
                <a:lnTo>
                  <a:pt x="267" y="792"/>
                </a:lnTo>
                <a:lnTo>
                  <a:pt x="266" y="791"/>
                </a:lnTo>
                <a:lnTo>
                  <a:pt x="266" y="789"/>
                </a:lnTo>
                <a:lnTo>
                  <a:pt x="267" y="789"/>
                </a:lnTo>
                <a:lnTo>
                  <a:pt x="272" y="785"/>
                </a:lnTo>
                <a:lnTo>
                  <a:pt x="268" y="785"/>
                </a:lnTo>
                <a:lnTo>
                  <a:pt x="266" y="788"/>
                </a:lnTo>
                <a:lnTo>
                  <a:pt x="265" y="793"/>
                </a:lnTo>
                <a:lnTo>
                  <a:pt x="263" y="795"/>
                </a:lnTo>
                <a:lnTo>
                  <a:pt x="255" y="800"/>
                </a:lnTo>
                <a:lnTo>
                  <a:pt x="253" y="803"/>
                </a:lnTo>
                <a:lnTo>
                  <a:pt x="251" y="805"/>
                </a:lnTo>
                <a:lnTo>
                  <a:pt x="250" y="805"/>
                </a:lnTo>
                <a:lnTo>
                  <a:pt x="249" y="806"/>
                </a:lnTo>
                <a:lnTo>
                  <a:pt x="244" y="809"/>
                </a:lnTo>
                <a:lnTo>
                  <a:pt x="243" y="809"/>
                </a:lnTo>
                <a:lnTo>
                  <a:pt x="241" y="811"/>
                </a:lnTo>
                <a:lnTo>
                  <a:pt x="240" y="813"/>
                </a:lnTo>
                <a:lnTo>
                  <a:pt x="241" y="813"/>
                </a:lnTo>
                <a:lnTo>
                  <a:pt x="243" y="811"/>
                </a:lnTo>
                <a:lnTo>
                  <a:pt x="247" y="810"/>
                </a:lnTo>
                <a:lnTo>
                  <a:pt x="251" y="806"/>
                </a:lnTo>
                <a:lnTo>
                  <a:pt x="254" y="805"/>
                </a:lnTo>
                <a:lnTo>
                  <a:pt x="256" y="807"/>
                </a:lnTo>
                <a:lnTo>
                  <a:pt x="257" y="807"/>
                </a:lnTo>
                <a:lnTo>
                  <a:pt x="259" y="809"/>
                </a:lnTo>
                <a:lnTo>
                  <a:pt x="259" y="812"/>
                </a:lnTo>
                <a:lnTo>
                  <a:pt x="257" y="812"/>
                </a:lnTo>
                <a:lnTo>
                  <a:pt x="256" y="813"/>
                </a:lnTo>
                <a:lnTo>
                  <a:pt x="256" y="815"/>
                </a:lnTo>
                <a:lnTo>
                  <a:pt x="255" y="816"/>
                </a:lnTo>
                <a:lnTo>
                  <a:pt x="255" y="818"/>
                </a:lnTo>
                <a:lnTo>
                  <a:pt x="254" y="819"/>
                </a:lnTo>
                <a:lnTo>
                  <a:pt x="253" y="822"/>
                </a:lnTo>
                <a:lnTo>
                  <a:pt x="248" y="823"/>
                </a:lnTo>
                <a:lnTo>
                  <a:pt x="245" y="825"/>
                </a:lnTo>
                <a:lnTo>
                  <a:pt x="242" y="825"/>
                </a:lnTo>
                <a:lnTo>
                  <a:pt x="241" y="827"/>
                </a:lnTo>
                <a:lnTo>
                  <a:pt x="241" y="828"/>
                </a:lnTo>
                <a:lnTo>
                  <a:pt x="240" y="830"/>
                </a:lnTo>
                <a:lnTo>
                  <a:pt x="238" y="831"/>
                </a:lnTo>
                <a:lnTo>
                  <a:pt x="236" y="832"/>
                </a:lnTo>
                <a:lnTo>
                  <a:pt x="231" y="836"/>
                </a:lnTo>
                <a:lnTo>
                  <a:pt x="229" y="836"/>
                </a:lnTo>
                <a:lnTo>
                  <a:pt x="228" y="837"/>
                </a:lnTo>
                <a:lnTo>
                  <a:pt x="224" y="837"/>
                </a:lnTo>
                <a:lnTo>
                  <a:pt x="223" y="840"/>
                </a:lnTo>
                <a:lnTo>
                  <a:pt x="220" y="840"/>
                </a:lnTo>
                <a:lnTo>
                  <a:pt x="217" y="842"/>
                </a:lnTo>
                <a:lnTo>
                  <a:pt x="216" y="843"/>
                </a:lnTo>
                <a:lnTo>
                  <a:pt x="212" y="843"/>
                </a:lnTo>
                <a:lnTo>
                  <a:pt x="211" y="842"/>
                </a:lnTo>
                <a:lnTo>
                  <a:pt x="210" y="840"/>
                </a:lnTo>
                <a:lnTo>
                  <a:pt x="210" y="838"/>
                </a:lnTo>
                <a:lnTo>
                  <a:pt x="209" y="836"/>
                </a:lnTo>
                <a:lnTo>
                  <a:pt x="210" y="835"/>
                </a:lnTo>
                <a:lnTo>
                  <a:pt x="209" y="834"/>
                </a:lnTo>
                <a:lnTo>
                  <a:pt x="207" y="834"/>
                </a:lnTo>
                <a:lnTo>
                  <a:pt x="206" y="832"/>
                </a:lnTo>
                <a:lnTo>
                  <a:pt x="206" y="830"/>
                </a:lnTo>
                <a:lnTo>
                  <a:pt x="207" y="830"/>
                </a:lnTo>
                <a:lnTo>
                  <a:pt x="206" y="829"/>
                </a:lnTo>
                <a:lnTo>
                  <a:pt x="206" y="828"/>
                </a:lnTo>
                <a:lnTo>
                  <a:pt x="205" y="828"/>
                </a:lnTo>
                <a:lnTo>
                  <a:pt x="205" y="825"/>
                </a:lnTo>
                <a:lnTo>
                  <a:pt x="207" y="824"/>
                </a:lnTo>
                <a:lnTo>
                  <a:pt x="211" y="823"/>
                </a:lnTo>
                <a:lnTo>
                  <a:pt x="216" y="821"/>
                </a:lnTo>
                <a:lnTo>
                  <a:pt x="218" y="818"/>
                </a:lnTo>
                <a:lnTo>
                  <a:pt x="217" y="818"/>
                </a:lnTo>
                <a:lnTo>
                  <a:pt x="216" y="819"/>
                </a:lnTo>
                <a:lnTo>
                  <a:pt x="214" y="819"/>
                </a:lnTo>
                <a:lnTo>
                  <a:pt x="214" y="817"/>
                </a:lnTo>
                <a:lnTo>
                  <a:pt x="216" y="817"/>
                </a:lnTo>
                <a:lnTo>
                  <a:pt x="214" y="816"/>
                </a:lnTo>
                <a:lnTo>
                  <a:pt x="214" y="817"/>
                </a:lnTo>
                <a:lnTo>
                  <a:pt x="213" y="817"/>
                </a:lnTo>
                <a:lnTo>
                  <a:pt x="213" y="818"/>
                </a:lnTo>
                <a:lnTo>
                  <a:pt x="212" y="818"/>
                </a:lnTo>
                <a:lnTo>
                  <a:pt x="210" y="819"/>
                </a:lnTo>
                <a:lnTo>
                  <a:pt x="207" y="822"/>
                </a:lnTo>
                <a:lnTo>
                  <a:pt x="205" y="822"/>
                </a:lnTo>
                <a:lnTo>
                  <a:pt x="203" y="824"/>
                </a:lnTo>
                <a:lnTo>
                  <a:pt x="199" y="824"/>
                </a:lnTo>
                <a:lnTo>
                  <a:pt x="199" y="825"/>
                </a:lnTo>
                <a:lnTo>
                  <a:pt x="198" y="825"/>
                </a:lnTo>
                <a:lnTo>
                  <a:pt x="197" y="827"/>
                </a:lnTo>
                <a:lnTo>
                  <a:pt x="194" y="828"/>
                </a:lnTo>
                <a:lnTo>
                  <a:pt x="195" y="825"/>
                </a:lnTo>
                <a:lnTo>
                  <a:pt x="195" y="822"/>
                </a:lnTo>
                <a:lnTo>
                  <a:pt x="203" y="818"/>
                </a:lnTo>
                <a:lnTo>
                  <a:pt x="205" y="818"/>
                </a:lnTo>
                <a:lnTo>
                  <a:pt x="205" y="817"/>
                </a:lnTo>
                <a:lnTo>
                  <a:pt x="197" y="818"/>
                </a:lnTo>
                <a:lnTo>
                  <a:pt x="194" y="817"/>
                </a:lnTo>
                <a:lnTo>
                  <a:pt x="200" y="813"/>
                </a:lnTo>
                <a:lnTo>
                  <a:pt x="206" y="809"/>
                </a:lnTo>
                <a:lnTo>
                  <a:pt x="209" y="809"/>
                </a:lnTo>
                <a:lnTo>
                  <a:pt x="206" y="807"/>
                </a:lnTo>
                <a:lnTo>
                  <a:pt x="205" y="806"/>
                </a:lnTo>
                <a:lnTo>
                  <a:pt x="210" y="805"/>
                </a:lnTo>
                <a:lnTo>
                  <a:pt x="210" y="806"/>
                </a:lnTo>
                <a:lnTo>
                  <a:pt x="211" y="806"/>
                </a:lnTo>
                <a:lnTo>
                  <a:pt x="212" y="805"/>
                </a:lnTo>
                <a:lnTo>
                  <a:pt x="217" y="804"/>
                </a:lnTo>
                <a:lnTo>
                  <a:pt x="219" y="801"/>
                </a:lnTo>
                <a:lnTo>
                  <a:pt x="222" y="801"/>
                </a:lnTo>
                <a:lnTo>
                  <a:pt x="222" y="800"/>
                </a:lnTo>
                <a:lnTo>
                  <a:pt x="220" y="799"/>
                </a:lnTo>
                <a:lnTo>
                  <a:pt x="219" y="799"/>
                </a:lnTo>
                <a:lnTo>
                  <a:pt x="217" y="801"/>
                </a:lnTo>
                <a:lnTo>
                  <a:pt x="216" y="801"/>
                </a:lnTo>
                <a:lnTo>
                  <a:pt x="213" y="803"/>
                </a:lnTo>
                <a:lnTo>
                  <a:pt x="212" y="804"/>
                </a:lnTo>
                <a:lnTo>
                  <a:pt x="211" y="804"/>
                </a:lnTo>
                <a:lnTo>
                  <a:pt x="212" y="801"/>
                </a:lnTo>
                <a:lnTo>
                  <a:pt x="218" y="799"/>
                </a:lnTo>
                <a:lnTo>
                  <a:pt x="219" y="797"/>
                </a:lnTo>
                <a:lnTo>
                  <a:pt x="218" y="797"/>
                </a:lnTo>
                <a:lnTo>
                  <a:pt x="218" y="798"/>
                </a:lnTo>
                <a:lnTo>
                  <a:pt x="217" y="798"/>
                </a:lnTo>
                <a:lnTo>
                  <a:pt x="217" y="797"/>
                </a:lnTo>
                <a:lnTo>
                  <a:pt x="213" y="799"/>
                </a:lnTo>
                <a:lnTo>
                  <a:pt x="211" y="799"/>
                </a:lnTo>
                <a:lnTo>
                  <a:pt x="211" y="798"/>
                </a:lnTo>
                <a:lnTo>
                  <a:pt x="212" y="797"/>
                </a:lnTo>
                <a:lnTo>
                  <a:pt x="213" y="797"/>
                </a:lnTo>
                <a:lnTo>
                  <a:pt x="213" y="792"/>
                </a:lnTo>
                <a:lnTo>
                  <a:pt x="214" y="792"/>
                </a:lnTo>
                <a:lnTo>
                  <a:pt x="214" y="787"/>
                </a:lnTo>
                <a:lnTo>
                  <a:pt x="213" y="786"/>
                </a:lnTo>
                <a:lnTo>
                  <a:pt x="213" y="785"/>
                </a:lnTo>
                <a:lnTo>
                  <a:pt x="214" y="784"/>
                </a:lnTo>
                <a:lnTo>
                  <a:pt x="218" y="787"/>
                </a:lnTo>
                <a:lnTo>
                  <a:pt x="222" y="786"/>
                </a:lnTo>
                <a:lnTo>
                  <a:pt x="223" y="785"/>
                </a:lnTo>
                <a:lnTo>
                  <a:pt x="223" y="784"/>
                </a:lnTo>
                <a:lnTo>
                  <a:pt x="222" y="785"/>
                </a:lnTo>
                <a:lnTo>
                  <a:pt x="218" y="785"/>
                </a:lnTo>
                <a:lnTo>
                  <a:pt x="219" y="784"/>
                </a:lnTo>
                <a:lnTo>
                  <a:pt x="219" y="782"/>
                </a:lnTo>
                <a:lnTo>
                  <a:pt x="220" y="782"/>
                </a:lnTo>
                <a:lnTo>
                  <a:pt x="220" y="780"/>
                </a:lnTo>
                <a:lnTo>
                  <a:pt x="222" y="780"/>
                </a:lnTo>
                <a:lnTo>
                  <a:pt x="222" y="776"/>
                </a:lnTo>
                <a:lnTo>
                  <a:pt x="224" y="776"/>
                </a:lnTo>
                <a:lnTo>
                  <a:pt x="224" y="775"/>
                </a:lnTo>
                <a:lnTo>
                  <a:pt x="228" y="775"/>
                </a:lnTo>
                <a:lnTo>
                  <a:pt x="229" y="778"/>
                </a:lnTo>
                <a:lnTo>
                  <a:pt x="230" y="778"/>
                </a:lnTo>
                <a:lnTo>
                  <a:pt x="229" y="775"/>
                </a:lnTo>
                <a:lnTo>
                  <a:pt x="228" y="774"/>
                </a:lnTo>
                <a:lnTo>
                  <a:pt x="224" y="773"/>
                </a:lnTo>
                <a:lnTo>
                  <a:pt x="225" y="772"/>
                </a:lnTo>
                <a:lnTo>
                  <a:pt x="228" y="770"/>
                </a:lnTo>
                <a:lnTo>
                  <a:pt x="228" y="769"/>
                </a:lnTo>
                <a:lnTo>
                  <a:pt x="229" y="769"/>
                </a:lnTo>
                <a:lnTo>
                  <a:pt x="231" y="770"/>
                </a:lnTo>
                <a:lnTo>
                  <a:pt x="230" y="769"/>
                </a:lnTo>
                <a:lnTo>
                  <a:pt x="230" y="768"/>
                </a:lnTo>
                <a:lnTo>
                  <a:pt x="232" y="768"/>
                </a:lnTo>
                <a:lnTo>
                  <a:pt x="234" y="767"/>
                </a:lnTo>
                <a:lnTo>
                  <a:pt x="232" y="766"/>
                </a:lnTo>
                <a:lnTo>
                  <a:pt x="232" y="762"/>
                </a:lnTo>
                <a:lnTo>
                  <a:pt x="234" y="762"/>
                </a:lnTo>
                <a:lnTo>
                  <a:pt x="234" y="761"/>
                </a:lnTo>
                <a:lnTo>
                  <a:pt x="235" y="761"/>
                </a:lnTo>
                <a:lnTo>
                  <a:pt x="237" y="763"/>
                </a:lnTo>
                <a:lnTo>
                  <a:pt x="237" y="761"/>
                </a:lnTo>
                <a:lnTo>
                  <a:pt x="235" y="761"/>
                </a:lnTo>
                <a:lnTo>
                  <a:pt x="235" y="760"/>
                </a:lnTo>
                <a:lnTo>
                  <a:pt x="237" y="760"/>
                </a:lnTo>
                <a:lnTo>
                  <a:pt x="240" y="762"/>
                </a:lnTo>
                <a:lnTo>
                  <a:pt x="241" y="761"/>
                </a:lnTo>
                <a:lnTo>
                  <a:pt x="240" y="761"/>
                </a:lnTo>
                <a:lnTo>
                  <a:pt x="240" y="758"/>
                </a:lnTo>
                <a:lnTo>
                  <a:pt x="238" y="758"/>
                </a:lnTo>
                <a:lnTo>
                  <a:pt x="238" y="757"/>
                </a:lnTo>
                <a:lnTo>
                  <a:pt x="237" y="757"/>
                </a:lnTo>
                <a:lnTo>
                  <a:pt x="237" y="756"/>
                </a:lnTo>
                <a:lnTo>
                  <a:pt x="234" y="756"/>
                </a:lnTo>
                <a:lnTo>
                  <a:pt x="234" y="755"/>
                </a:lnTo>
                <a:lnTo>
                  <a:pt x="235" y="755"/>
                </a:lnTo>
                <a:lnTo>
                  <a:pt x="235" y="754"/>
                </a:lnTo>
                <a:lnTo>
                  <a:pt x="237" y="754"/>
                </a:lnTo>
                <a:lnTo>
                  <a:pt x="241" y="757"/>
                </a:lnTo>
                <a:lnTo>
                  <a:pt x="241" y="756"/>
                </a:lnTo>
                <a:lnTo>
                  <a:pt x="240" y="755"/>
                </a:lnTo>
                <a:lnTo>
                  <a:pt x="240" y="754"/>
                </a:lnTo>
                <a:lnTo>
                  <a:pt x="238" y="755"/>
                </a:lnTo>
                <a:lnTo>
                  <a:pt x="238" y="752"/>
                </a:lnTo>
                <a:lnTo>
                  <a:pt x="240" y="752"/>
                </a:lnTo>
                <a:lnTo>
                  <a:pt x="240" y="751"/>
                </a:lnTo>
                <a:lnTo>
                  <a:pt x="241" y="752"/>
                </a:lnTo>
                <a:lnTo>
                  <a:pt x="241" y="754"/>
                </a:lnTo>
                <a:lnTo>
                  <a:pt x="242" y="755"/>
                </a:lnTo>
                <a:lnTo>
                  <a:pt x="244" y="755"/>
                </a:lnTo>
                <a:lnTo>
                  <a:pt x="245" y="756"/>
                </a:lnTo>
                <a:lnTo>
                  <a:pt x="245" y="757"/>
                </a:lnTo>
                <a:lnTo>
                  <a:pt x="248" y="760"/>
                </a:lnTo>
                <a:lnTo>
                  <a:pt x="249" y="760"/>
                </a:lnTo>
                <a:lnTo>
                  <a:pt x="250" y="758"/>
                </a:lnTo>
                <a:lnTo>
                  <a:pt x="248" y="757"/>
                </a:lnTo>
                <a:lnTo>
                  <a:pt x="247" y="756"/>
                </a:lnTo>
                <a:lnTo>
                  <a:pt x="248" y="755"/>
                </a:lnTo>
                <a:lnTo>
                  <a:pt x="248" y="754"/>
                </a:lnTo>
                <a:lnTo>
                  <a:pt x="247" y="752"/>
                </a:lnTo>
                <a:lnTo>
                  <a:pt x="242" y="752"/>
                </a:lnTo>
                <a:lnTo>
                  <a:pt x="242" y="751"/>
                </a:lnTo>
                <a:lnTo>
                  <a:pt x="243" y="750"/>
                </a:lnTo>
                <a:lnTo>
                  <a:pt x="245" y="750"/>
                </a:lnTo>
                <a:lnTo>
                  <a:pt x="245" y="749"/>
                </a:lnTo>
                <a:lnTo>
                  <a:pt x="248" y="749"/>
                </a:lnTo>
                <a:lnTo>
                  <a:pt x="249" y="750"/>
                </a:lnTo>
                <a:lnTo>
                  <a:pt x="249" y="748"/>
                </a:lnTo>
                <a:lnTo>
                  <a:pt x="248" y="748"/>
                </a:lnTo>
                <a:lnTo>
                  <a:pt x="248" y="746"/>
                </a:lnTo>
                <a:lnTo>
                  <a:pt x="249" y="745"/>
                </a:lnTo>
                <a:lnTo>
                  <a:pt x="249" y="746"/>
                </a:lnTo>
                <a:lnTo>
                  <a:pt x="251" y="749"/>
                </a:lnTo>
                <a:lnTo>
                  <a:pt x="253" y="748"/>
                </a:lnTo>
                <a:lnTo>
                  <a:pt x="254" y="748"/>
                </a:lnTo>
                <a:lnTo>
                  <a:pt x="253" y="746"/>
                </a:lnTo>
                <a:lnTo>
                  <a:pt x="253" y="745"/>
                </a:lnTo>
                <a:lnTo>
                  <a:pt x="254" y="745"/>
                </a:lnTo>
                <a:lnTo>
                  <a:pt x="255" y="746"/>
                </a:lnTo>
                <a:lnTo>
                  <a:pt x="255" y="745"/>
                </a:lnTo>
                <a:lnTo>
                  <a:pt x="254" y="745"/>
                </a:lnTo>
                <a:lnTo>
                  <a:pt x="254" y="741"/>
                </a:lnTo>
                <a:lnTo>
                  <a:pt x="253" y="739"/>
                </a:lnTo>
                <a:lnTo>
                  <a:pt x="254" y="739"/>
                </a:lnTo>
                <a:lnTo>
                  <a:pt x="254" y="737"/>
                </a:lnTo>
                <a:lnTo>
                  <a:pt x="255" y="737"/>
                </a:lnTo>
                <a:lnTo>
                  <a:pt x="256" y="738"/>
                </a:lnTo>
                <a:lnTo>
                  <a:pt x="259" y="739"/>
                </a:lnTo>
                <a:lnTo>
                  <a:pt x="259" y="743"/>
                </a:lnTo>
                <a:lnTo>
                  <a:pt x="260" y="744"/>
                </a:lnTo>
                <a:lnTo>
                  <a:pt x="260" y="745"/>
                </a:lnTo>
                <a:lnTo>
                  <a:pt x="263" y="748"/>
                </a:lnTo>
                <a:lnTo>
                  <a:pt x="263" y="752"/>
                </a:lnTo>
                <a:lnTo>
                  <a:pt x="267" y="751"/>
                </a:lnTo>
                <a:lnTo>
                  <a:pt x="268" y="752"/>
                </a:lnTo>
                <a:lnTo>
                  <a:pt x="269" y="752"/>
                </a:lnTo>
                <a:lnTo>
                  <a:pt x="271" y="754"/>
                </a:lnTo>
                <a:lnTo>
                  <a:pt x="271" y="756"/>
                </a:lnTo>
                <a:lnTo>
                  <a:pt x="267" y="760"/>
                </a:lnTo>
                <a:lnTo>
                  <a:pt x="266" y="764"/>
                </a:lnTo>
                <a:lnTo>
                  <a:pt x="267" y="764"/>
                </a:lnTo>
                <a:lnTo>
                  <a:pt x="267" y="763"/>
                </a:lnTo>
                <a:lnTo>
                  <a:pt x="268" y="760"/>
                </a:lnTo>
                <a:lnTo>
                  <a:pt x="272" y="757"/>
                </a:lnTo>
                <a:lnTo>
                  <a:pt x="273" y="756"/>
                </a:lnTo>
                <a:lnTo>
                  <a:pt x="272" y="756"/>
                </a:lnTo>
                <a:lnTo>
                  <a:pt x="272" y="755"/>
                </a:lnTo>
                <a:lnTo>
                  <a:pt x="273" y="752"/>
                </a:lnTo>
                <a:lnTo>
                  <a:pt x="273" y="751"/>
                </a:lnTo>
                <a:lnTo>
                  <a:pt x="274" y="751"/>
                </a:lnTo>
                <a:lnTo>
                  <a:pt x="274" y="752"/>
                </a:lnTo>
                <a:lnTo>
                  <a:pt x="275" y="752"/>
                </a:lnTo>
                <a:lnTo>
                  <a:pt x="278" y="750"/>
                </a:lnTo>
                <a:lnTo>
                  <a:pt x="282" y="750"/>
                </a:lnTo>
                <a:lnTo>
                  <a:pt x="284" y="749"/>
                </a:lnTo>
                <a:lnTo>
                  <a:pt x="274" y="750"/>
                </a:lnTo>
                <a:lnTo>
                  <a:pt x="275" y="749"/>
                </a:lnTo>
                <a:lnTo>
                  <a:pt x="275" y="745"/>
                </a:lnTo>
                <a:lnTo>
                  <a:pt x="279" y="745"/>
                </a:lnTo>
                <a:lnTo>
                  <a:pt x="279" y="744"/>
                </a:lnTo>
                <a:lnTo>
                  <a:pt x="278" y="744"/>
                </a:lnTo>
                <a:lnTo>
                  <a:pt x="278" y="742"/>
                </a:lnTo>
                <a:lnTo>
                  <a:pt x="280" y="742"/>
                </a:lnTo>
                <a:lnTo>
                  <a:pt x="279" y="743"/>
                </a:lnTo>
                <a:lnTo>
                  <a:pt x="280" y="743"/>
                </a:lnTo>
                <a:lnTo>
                  <a:pt x="287" y="738"/>
                </a:lnTo>
                <a:lnTo>
                  <a:pt x="288" y="737"/>
                </a:lnTo>
                <a:lnTo>
                  <a:pt x="284" y="738"/>
                </a:lnTo>
                <a:lnTo>
                  <a:pt x="282" y="739"/>
                </a:lnTo>
                <a:lnTo>
                  <a:pt x="282" y="735"/>
                </a:lnTo>
                <a:lnTo>
                  <a:pt x="281" y="735"/>
                </a:lnTo>
                <a:lnTo>
                  <a:pt x="279" y="737"/>
                </a:lnTo>
                <a:lnTo>
                  <a:pt x="281" y="737"/>
                </a:lnTo>
                <a:lnTo>
                  <a:pt x="280" y="739"/>
                </a:lnTo>
                <a:lnTo>
                  <a:pt x="279" y="741"/>
                </a:lnTo>
                <a:lnTo>
                  <a:pt x="276" y="738"/>
                </a:lnTo>
                <a:lnTo>
                  <a:pt x="275" y="736"/>
                </a:lnTo>
                <a:lnTo>
                  <a:pt x="275" y="735"/>
                </a:lnTo>
                <a:lnTo>
                  <a:pt x="274" y="735"/>
                </a:lnTo>
                <a:lnTo>
                  <a:pt x="274" y="732"/>
                </a:lnTo>
                <a:lnTo>
                  <a:pt x="273" y="732"/>
                </a:lnTo>
                <a:lnTo>
                  <a:pt x="273" y="729"/>
                </a:lnTo>
                <a:lnTo>
                  <a:pt x="274" y="729"/>
                </a:lnTo>
                <a:lnTo>
                  <a:pt x="274" y="727"/>
                </a:lnTo>
                <a:lnTo>
                  <a:pt x="273" y="727"/>
                </a:lnTo>
                <a:lnTo>
                  <a:pt x="273" y="726"/>
                </a:lnTo>
                <a:lnTo>
                  <a:pt x="274" y="726"/>
                </a:lnTo>
                <a:lnTo>
                  <a:pt x="276" y="725"/>
                </a:lnTo>
                <a:lnTo>
                  <a:pt x="279" y="723"/>
                </a:lnTo>
                <a:lnTo>
                  <a:pt x="280" y="723"/>
                </a:lnTo>
                <a:lnTo>
                  <a:pt x="281" y="724"/>
                </a:lnTo>
                <a:lnTo>
                  <a:pt x="282" y="724"/>
                </a:lnTo>
                <a:lnTo>
                  <a:pt x="281" y="723"/>
                </a:lnTo>
                <a:lnTo>
                  <a:pt x="281" y="721"/>
                </a:lnTo>
                <a:lnTo>
                  <a:pt x="280" y="721"/>
                </a:lnTo>
                <a:lnTo>
                  <a:pt x="279" y="720"/>
                </a:lnTo>
                <a:lnTo>
                  <a:pt x="290" y="719"/>
                </a:lnTo>
                <a:lnTo>
                  <a:pt x="291" y="718"/>
                </a:lnTo>
                <a:lnTo>
                  <a:pt x="292" y="718"/>
                </a:lnTo>
                <a:lnTo>
                  <a:pt x="292" y="717"/>
                </a:lnTo>
                <a:lnTo>
                  <a:pt x="286" y="717"/>
                </a:lnTo>
                <a:lnTo>
                  <a:pt x="285" y="715"/>
                </a:lnTo>
                <a:lnTo>
                  <a:pt x="284" y="715"/>
                </a:lnTo>
                <a:lnTo>
                  <a:pt x="285" y="714"/>
                </a:lnTo>
                <a:lnTo>
                  <a:pt x="290" y="714"/>
                </a:lnTo>
                <a:lnTo>
                  <a:pt x="290" y="713"/>
                </a:lnTo>
                <a:lnTo>
                  <a:pt x="288" y="712"/>
                </a:lnTo>
                <a:lnTo>
                  <a:pt x="290" y="712"/>
                </a:lnTo>
                <a:lnTo>
                  <a:pt x="288" y="712"/>
                </a:lnTo>
                <a:lnTo>
                  <a:pt x="286" y="713"/>
                </a:lnTo>
                <a:lnTo>
                  <a:pt x="285" y="714"/>
                </a:lnTo>
                <a:lnTo>
                  <a:pt x="284" y="713"/>
                </a:lnTo>
                <a:lnTo>
                  <a:pt x="286" y="712"/>
                </a:lnTo>
                <a:lnTo>
                  <a:pt x="287" y="709"/>
                </a:lnTo>
                <a:lnTo>
                  <a:pt x="288" y="708"/>
                </a:lnTo>
                <a:lnTo>
                  <a:pt x="291" y="708"/>
                </a:lnTo>
                <a:lnTo>
                  <a:pt x="294" y="705"/>
                </a:lnTo>
                <a:lnTo>
                  <a:pt x="298" y="705"/>
                </a:lnTo>
                <a:lnTo>
                  <a:pt x="301" y="701"/>
                </a:lnTo>
                <a:lnTo>
                  <a:pt x="307" y="704"/>
                </a:lnTo>
                <a:lnTo>
                  <a:pt x="306" y="701"/>
                </a:lnTo>
                <a:lnTo>
                  <a:pt x="304" y="700"/>
                </a:lnTo>
                <a:lnTo>
                  <a:pt x="299" y="700"/>
                </a:lnTo>
                <a:lnTo>
                  <a:pt x="298" y="702"/>
                </a:lnTo>
                <a:lnTo>
                  <a:pt x="294" y="702"/>
                </a:lnTo>
                <a:lnTo>
                  <a:pt x="287" y="708"/>
                </a:lnTo>
                <a:lnTo>
                  <a:pt x="282" y="711"/>
                </a:lnTo>
                <a:lnTo>
                  <a:pt x="281" y="711"/>
                </a:lnTo>
                <a:lnTo>
                  <a:pt x="282" y="712"/>
                </a:lnTo>
                <a:lnTo>
                  <a:pt x="282" y="713"/>
                </a:lnTo>
                <a:lnTo>
                  <a:pt x="279" y="715"/>
                </a:lnTo>
                <a:lnTo>
                  <a:pt x="276" y="715"/>
                </a:lnTo>
                <a:lnTo>
                  <a:pt x="276" y="717"/>
                </a:lnTo>
                <a:lnTo>
                  <a:pt x="275" y="718"/>
                </a:lnTo>
                <a:lnTo>
                  <a:pt x="275" y="719"/>
                </a:lnTo>
                <a:lnTo>
                  <a:pt x="272" y="723"/>
                </a:lnTo>
                <a:lnTo>
                  <a:pt x="267" y="724"/>
                </a:lnTo>
                <a:lnTo>
                  <a:pt x="266" y="724"/>
                </a:lnTo>
                <a:lnTo>
                  <a:pt x="267" y="723"/>
                </a:lnTo>
                <a:lnTo>
                  <a:pt x="269" y="721"/>
                </a:lnTo>
                <a:lnTo>
                  <a:pt x="271" y="720"/>
                </a:lnTo>
                <a:lnTo>
                  <a:pt x="272" y="720"/>
                </a:lnTo>
                <a:lnTo>
                  <a:pt x="274" y="717"/>
                </a:lnTo>
                <a:lnTo>
                  <a:pt x="274" y="715"/>
                </a:lnTo>
                <a:lnTo>
                  <a:pt x="271" y="717"/>
                </a:lnTo>
                <a:lnTo>
                  <a:pt x="269" y="715"/>
                </a:lnTo>
                <a:lnTo>
                  <a:pt x="266" y="715"/>
                </a:lnTo>
                <a:lnTo>
                  <a:pt x="267" y="713"/>
                </a:lnTo>
                <a:lnTo>
                  <a:pt x="268" y="713"/>
                </a:lnTo>
                <a:lnTo>
                  <a:pt x="278" y="711"/>
                </a:lnTo>
                <a:lnTo>
                  <a:pt x="284" y="708"/>
                </a:lnTo>
                <a:lnTo>
                  <a:pt x="286" y="706"/>
                </a:lnTo>
                <a:lnTo>
                  <a:pt x="285" y="706"/>
                </a:lnTo>
                <a:lnTo>
                  <a:pt x="281" y="708"/>
                </a:lnTo>
                <a:lnTo>
                  <a:pt x="267" y="712"/>
                </a:lnTo>
                <a:lnTo>
                  <a:pt x="267" y="711"/>
                </a:lnTo>
                <a:lnTo>
                  <a:pt x="273" y="705"/>
                </a:lnTo>
                <a:lnTo>
                  <a:pt x="275" y="705"/>
                </a:lnTo>
                <a:lnTo>
                  <a:pt x="279" y="708"/>
                </a:lnTo>
                <a:lnTo>
                  <a:pt x="279" y="707"/>
                </a:lnTo>
                <a:lnTo>
                  <a:pt x="280" y="707"/>
                </a:lnTo>
                <a:lnTo>
                  <a:pt x="281" y="706"/>
                </a:lnTo>
                <a:lnTo>
                  <a:pt x="281" y="705"/>
                </a:lnTo>
                <a:lnTo>
                  <a:pt x="280" y="705"/>
                </a:lnTo>
                <a:lnTo>
                  <a:pt x="279" y="707"/>
                </a:lnTo>
                <a:lnTo>
                  <a:pt x="278" y="707"/>
                </a:lnTo>
                <a:lnTo>
                  <a:pt x="276" y="705"/>
                </a:lnTo>
                <a:lnTo>
                  <a:pt x="276" y="704"/>
                </a:lnTo>
                <a:lnTo>
                  <a:pt x="280" y="702"/>
                </a:lnTo>
                <a:lnTo>
                  <a:pt x="282" y="704"/>
                </a:lnTo>
                <a:lnTo>
                  <a:pt x="282" y="701"/>
                </a:lnTo>
                <a:lnTo>
                  <a:pt x="284" y="701"/>
                </a:lnTo>
                <a:lnTo>
                  <a:pt x="284" y="702"/>
                </a:lnTo>
                <a:lnTo>
                  <a:pt x="286" y="702"/>
                </a:lnTo>
                <a:lnTo>
                  <a:pt x="288" y="700"/>
                </a:lnTo>
                <a:lnTo>
                  <a:pt x="291" y="700"/>
                </a:lnTo>
                <a:lnTo>
                  <a:pt x="291" y="699"/>
                </a:lnTo>
                <a:lnTo>
                  <a:pt x="290" y="698"/>
                </a:lnTo>
                <a:lnTo>
                  <a:pt x="290" y="696"/>
                </a:lnTo>
                <a:lnTo>
                  <a:pt x="293" y="693"/>
                </a:lnTo>
                <a:lnTo>
                  <a:pt x="294" y="693"/>
                </a:lnTo>
                <a:lnTo>
                  <a:pt x="297" y="690"/>
                </a:lnTo>
                <a:lnTo>
                  <a:pt x="299" y="692"/>
                </a:lnTo>
                <a:lnTo>
                  <a:pt x="299" y="694"/>
                </a:lnTo>
                <a:lnTo>
                  <a:pt x="300" y="693"/>
                </a:lnTo>
                <a:lnTo>
                  <a:pt x="304" y="693"/>
                </a:lnTo>
                <a:lnTo>
                  <a:pt x="305" y="694"/>
                </a:lnTo>
                <a:lnTo>
                  <a:pt x="305" y="695"/>
                </a:lnTo>
                <a:lnTo>
                  <a:pt x="306" y="696"/>
                </a:lnTo>
                <a:lnTo>
                  <a:pt x="305" y="696"/>
                </a:lnTo>
                <a:lnTo>
                  <a:pt x="305" y="698"/>
                </a:lnTo>
                <a:lnTo>
                  <a:pt x="306" y="698"/>
                </a:lnTo>
                <a:lnTo>
                  <a:pt x="307" y="696"/>
                </a:lnTo>
                <a:lnTo>
                  <a:pt x="306" y="695"/>
                </a:lnTo>
                <a:lnTo>
                  <a:pt x="306" y="693"/>
                </a:lnTo>
                <a:lnTo>
                  <a:pt x="310" y="692"/>
                </a:lnTo>
                <a:lnTo>
                  <a:pt x="313" y="688"/>
                </a:lnTo>
                <a:lnTo>
                  <a:pt x="317" y="689"/>
                </a:lnTo>
                <a:lnTo>
                  <a:pt x="318" y="688"/>
                </a:lnTo>
                <a:lnTo>
                  <a:pt x="318" y="686"/>
                </a:lnTo>
                <a:lnTo>
                  <a:pt x="319" y="686"/>
                </a:lnTo>
                <a:lnTo>
                  <a:pt x="324" y="684"/>
                </a:lnTo>
                <a:lnTo>
                  <a:pt x="325" y="684"/>
                </a:lnTo>
                <a:lnTo>
                  <a:pt x="324" y="683"/>
                </a:lnTo>
                <a:lnTo>
                  <a:pt x="324" y="682"/>
                </a:lnTo>
                <a:lnTo>
                  <a:pt x="327" y="682"/>
                </a:lnTo>
                <a:lnTo>
                  <a:pt x="329" y="678"/>
                </a:lnTo>
                <a:lnTo>
                  <a:pt x="332" y="675"/>
                </a:lnTo>
                <a:lnTo>
                  <a:pt x="332" y="672"/>
                </a:lnTo>
                <a:lnTo>
                  <a:pt x="334" y="672"/>
                </a:lnTo>
                <a:lnTo>
                  <a:pt x="337" y="666"/>
                </a:lnTo>
                <a:lnTo>
                  <a:pt x="338" y="664"/>
                </a:lnTo>
                <a:lnTo>
                  <a:pt x="337" y="664"/>
                </a:lnTo>
                <a:lnTo>
                  <a:pt x="336" y="666"/>
                </a:lnTo>
                <a:lnTo>
                  <a:pt x="332" y="670"/>
                </a:lnTo>
                <a:lnTo>
                  <a:pt x="327" y="677"/>
                </a:lnTo>
                <a:lnTo>
                  <a:pt x="322" y="681"/>
                </a:lnTo>
                <a:lnTo>
                  <a:pt x="321" y="681"/>
                </a:lnTo>
                <a:lnTo>
                  <a:pt x="319" y="683"/>
                </a:lnTo>
                <a:lnTo>
                  <a:pt x="315" y="683"/>
                </a:lnTo>
                <a:lnTo>
                  <a:pt x="313" y="682"/>
                </a:lnTo>
                <a:lnTo>
                  <a:pt x="315" y="680"/>
                </a:lnTo>
                <a:lnTo>
                  <a:pt x="318" y="680"/>
                </a:lnTo>
                <a:lnTo>
                  <a:pt x="319" y="677"/>
                </a:lnTo>
                <a:lnTo>
                  <a:pt x="317" y="677"/>
                </a:lnTo>
                <a:lnTo>
                  <a:pt x="317" y="675"/>
                </a:lnTo>
                <a:lnTo>
                  <a:pt x="313" y="675"/>
                </a:lnTo>
                <a:lnTo>
                  <a:pt x="316" y="672"/>
                </a:lnTo>
                <a:lnTo>
                  <a:pt x="317" y="672"/>
                </a:lnTo>
                <a:lnTo>
                  <a:pt x="318" y="674"/>
                </a:lnTo>
                <a:lnTo>
                  <a:pt x="319" y="674"/>
                </a:lnTo>
                <a:lnTo>
                  <a:pt x="321" y="672"/>
                </a:lnTo>
                <a:lnTo>
                  <a:pt x="328" y="672"/>
                </a:lnTo>
                <a:lnTo>
                  <a:pt x="327" y="671"/>
                </a:lnTo>
                <a:lnTo>
                  <a:pt x="323" y="671"/>
                </a:lnTo>
                <a:lnTo>
                  <a:pt x="321" y="670"/>
                </a:lnTo>
                <a:lnTo>
                  <a:pt x="319" y="671"/>
                </a:lnTo>
                <a:lnTo>
                  <a:pt x="318" y="671"/>
                </a:lnTo>
                <a:lnTo>
                  <a:pt x="318" y="670"/>
                </a:lnTo>
                <a:lnTo>
                  <a:pt x="312" y="670"/>
                </a:lnTo>
                <a:lnTo>
                  <a:pt x="312" y="671"/>
                </a:lnTo>
                <a:lnTo>
                  <a:pt x="310" y="674"/>
                </a:lnTo>
                <a:lnTo>
                  <a:pt x="309" y="674"/>
                </a:lnTo>
                <a:lnTo>
                  <a:pt x="309" y="672"/>
                </a:lnTo>
                <a:lnTo>
                  <a:pt x="311" y="670"/>
                </a:lnTo>
                <a:lnTo>
                  <a:pt x="312" y="668"/>
                </a:lnTo>
                <a:lnTo>
                  <a:pt x="312" y="666"/>
                </a:lnTo>
                <a:lnTo>
                  <a:pt x="317" y="666"/>
                </a:lnTo>
                <a:lnTo>
                  <a:pt x="318" y="664"/>
                </a:lnTo>
                <a:lnTo>
                  <a:pt x="316" y="665"/>
                </a:lnTo>
                <a:lnTo>
                  <a:pt x="316" y="664"/>
                </a:lnTo>
                <a:lnTo>
                  <a:pt x="319" y="661"/>
                </a:lnTo>
                <a:lnTo>
                  <a:pt x="319" y="662"/>
                </a:lnTo>
                <a:lnTo>
                  <a:pt x="323" y="662"/>
                </a:lnTo>
                <a:lnTo>
                  <a:pt x="322" y="661"/>
                </a:lnTo>
                <a:lnTo>
                  <a:pt x="321" y="661"/>
                </a:lnTo>
                <a:lnTo>
                  <a:pt x="321" y="657"/>
                </a:lnTo>
                <a:lnTo>
                  <a:pt x="319" y="656"/>
                </a:lnTo>
                <a:lnTo>
                  <a:pt x="319" y="653"/>
                </a:lnTo>
                <a:lnTo>
                  <a:pt x="318" y="652"/>
                </a:lnTo>
                <a:lnTo>
                  <a:pt x="322" y="652"/>
                </a:lnTo>
                <a:lnTo>
                  <a:pt x="322" y="655"/>
                </a:lnTo>
                <a:lnTo>
                  <a:pt x="323" y="656"/>
                </a:lnTo>
                <a:lnTo>
                  <a:pt x="323" y="655"/>
                </a:lnTo>
                <a:lnTo>
                  <a:pt x="324" y="653"/>
                </a:lnTo>
                <a:lnTo>
                  <a:pt x="325" y="655"/>
                </a:lnTo>
                <a:lnTo>
                  <a:pt x="325" y="656"/>
                </a:lnTo>
                <a:lnTo>
                  <a:pt x="327" y="657"/>
                </a:lnTo>
                <a:lnTo>
                  <a:pt x="327" y="659"/>
                </a:lnTo>
                <a:lnTo>
                  <a:pt x="328" y="661"/>
                </a:lnTo>
                <a:lnTo>
                  <a:pt x="327" y="657"/>
                </a:lnTo>
                <a:lnTo>
                  <a:pt x="325" y="655"/>
                </a:lnTo>
                <a:lnTo>
                  <a:pt x="325" y="652"/>
                </a:lnTo>
                <a:lnTo>
                  <a:pt x="331" y="651"/>
                </a:lnTo>
                <a:lnTo>
                  <a:pt x="329" y="650"/>
                </a:lnTo>
                <a:lnTo>
                  <a:pt x="324" y="651"/>
                </a:lnTo>
                <a:lnTo>
                  <a:pt x="324" y="650"/>
                </a:lnTo>
                <a:lnTo>
                  <a:pt x="325" y="650"/>
                </a:lnTo>
                <a:lnTo>
                  <a:pt x="327" y="649"/>
                </a:lnTo>
                <a:lnTo>
                  <a:pt x="323" y="649"/>
                </a:lnTo>
                <a:lnTo>
                  <a:pt x="323" y="647"/>
                </a:lnTo>
                <a:lnTo>
                  <a:pt x="322" y="646"/>
                </a:lnTo>
                <a:lnTo>
                  <a:pt x="324" y="644"/>
                </a:lnTo>
                <a:lnTo>
                  <a:pt x="323" y="644"/>
                </a:lnTo>
                <a:lnTo>
                  <a:pt x="323" y="638"/>
                </a:lnTo>
                <a:lnTo>
                  <a:pt x="322" y="640"/>
                </a:lnTo>
                <a:lnTo>
                  <a:pt x="321" y="644"/>
                </a:lnTo>
                <a:lnTo>
                  <a:pt x="319" y="646"/>
                </a:lnTo>
                <a:lnTo>
                  <a:pt x="318" y="645"/>
                </a:lnTo>
                <a:lnTo>
                  <a:pt x="318" y="643"/>
                </a:lnTo>
                <a:lnTo>
                  <a:pt x="319" y="643"/>
                </a:lnTo>
                <a:lnTo>
                  <a:pt x="321" y="640"/>
                </a:lnTo>
                <a:lnTo>
                  <a:pt x="321" y="639"/>
                </a:lnTo>
                <a:lnTo>
                  <a:pt x="319" y="639"/>
                </a:lnTo>
                <a:lnTo>
                  <a:pt x="318" y="643"/>
                </a:lnTo>
                <a:lnTo>
                  <a:pt x="318" y="644"/>
                </a:lnTo>
                <a:lnTo>
                  <a:pt x="316" y="644"/>
                </a:lnTo>
                <a:lnTo>
                  <a:pt x="315" y="641"/>
                </a:lnTo>
                <a:lnTo>
                  <a:pt x="316" y="639"/>
                </a:lnTo>
                <a:lnTo>
                  <a:pt x="316" y="637"/>
                </a:lnTo>
                <a:lnTo>
                  <a:pt x="315" y="637"/>
                </a:lnTo>
                <a:lnTo>
                  <a:pt x="315" y="638"/>
                </a:lnTo>
                <a:lnTo>
                  <a:pt x="313" y="638"/>
                </a:lnTo>
                <a:lnTo>
                  <a:pt x="313" y="632"/>
                </a:lnTo>
                <a:lnTo>
                  <a:pt x="315" y="629"/>
                </a:lnTo>
                <a:lnTo>
                  <a:pt x="316" y="628"/>
                </a:lnTo>
                <a:lnTo>
                  <a:pt x="316" y="627"/>
                </a:lnTo>
                <a:lnTo>
                  <a:pt x="319" y="623"/>
                </a:lnTo>
                <a:lnTo>
                  <a:pt x="322" y="623"/>
                </a:lnTo>
                <a:lnTo>
                  <a:pt x="323" y="625"/>
                </a:lnTo>
                <a:lnTo>
                  <a:pt x="323" y="628"/>
                </a:lnTo>
                <a:lnTo>
                  <a:pt x="324" y="628"/>
                </a:lnTo>
                <a:lnTo>
                  <a:pt x="324" y="632"/>
                </a:lnTo>
                <a:lnTo>
                  <a:pt x="327" y="633"/>
                </a:lnTo>
                <a:lnTo>
                  <a:pt x="328" y="632"/>
                </a:lnTo>
                <a:lnTo>
                  <a:pt x="329" y="634"/>
                </a:lnTo>
                <a:lnTo>
                  <a:pt x="330" y="634"/>
                </a:lnTo>
                <a:lnTo>
                  <a:pt x="331" y="633"/>
                </a:lnTo>
                <a:lnTo>
                  <a:pt x="331" y="632"/>
                </a:lnTo>
                <a:lnTo>
                  <a:pt x="330" y="631"/>
                </a:lnTo>
                <a:lnTo>
                  <a:pt x="327" y="631"/>
                </a:lnTo>
                <a:lnTo>
                  <a:pt x="327" y="627"/>
                </a:lnTo>
                <a:lnTo>
                  <a:pt x="323" y="623"/>
                </a:lnTo>
                <a:lnTo>
                  <a:pt x="322" y="621"/>
                </a:lnTo>
                <a:lnTo>
                  <a:pt x="322" y="620"/>
                </a:lnTo>
                <a:lnTo>
                  <a:pt x="325" y="616"/>
                </a:lnTo>
                <a:lnTo>
                  <a:pt x="325" y="615"/>
                </a:lnTo>
                <a:lnTo>
                  <a:pt x="327" y="615"/>
                </a:lnTo>
                <a:lnTo>
                  <a:pt x="328" y="616"/>
                </a:lnTo>
                <a:lnTo>
                  <a:pt x="328" y="618"/>
                </a:lnTo>
                <a:lnTo>
                  <a:pt x="329" y="618"/>
                </a:lnTo>
                <a:lnTo>
                  <a:pt x="328" y="616"/>
                </a:lnTo>
                <a:lnTo>
                  <a:pt x="328" y="613"/>
                </a:lnTo>
                <a:lnTo>
                  <a:pt x="327" y="613"/>
                </a:lnTo>
                <a:lnTo>
                  <a:pt x="324" y="614"/>
                </a:lnTo>
                <a:lnTo>
                  <a:pt x="324" y="610"/>
                </a:lnTo>
                <a:lnTo>
                  <a:pt x="325" y="610"/>
                </a:lnTo>
                <a:lnTo>
                  <a:pt x="325" y="607"/>
                </a:lnTo>
                <a:lnTo>
                  <a:pt x="327" y="604"/>
                </a:lnTo>
                <a:lnTo>
                  <a:pt x="327" y="603"/>
                </a:lnTo>
                <a:lnTo>
                  <a:pt x="331" y="600"/>
                </a:lnTo>
                <a:lnTo>
                  <a:pt x="332" y="598"/>
                </a:lnTo>
                <a:lnTo>
                  <a:pt x="334" y="600"/>
                </a:lnTo>
                <a:lnTo>
                  <a:pt x="337" y="601"/>
                </a:lnTo>
                <a:lnTo>
                  <a:pt x="338" y="603"/>
                </a:lnTo>
                <a:lnTo>
                  <a:pt x="342" y="603"/>
                </a:lnTo>
                <a:lnTo>
                  <a:pt x="342" y="604"/>
                </a:lnTo>
                <a:lnTo>
                  <a:pt x="343" y="606"/>
                </a:lnTo>
                <a:lnTo>
                  <a:pt x="343" y="607"/>
                </a:lnTo>
                <a:lnTo>
                  <a:pt x="346" y="607"/>
                </a:lnTo>
                <a:lnTo>
                  <a:pt x="346" y="608"/>
                </a:lnTo>
                <a:lnTo>
                  <a:pt x="347" y="612"/>
                </a:lnTo>
                <a:lnTo>
                  <a:pt x="348" y="610"/>
                </a:lnTo>
                <a:lnTo>
                  <a:pt x="348" y="609"/>
                </a:lnTo>
                <a:lnTo>
                  <a:pt x="347" y="607"/>
                </a:lnTo>
                <a:lnTo>
                  <a:pt x="347" y="604"/>
                </a:lnTo>
                <a:lnTo>
                  <a:pt x="346" y="603"/>
                </a:lnTo>
                <a:lnTo>
                  <a:pt x="346" y="601"/>
                </a:lnTo>
                <a:lnTo>
                  <a:pt x="342" y="601"/>
                </a:lnTo>
                <a:lnTo>
                  <a:pt x="340" y="600"/>
                </a:lnTo>
                <a:lnTo>
                  <a:pt x="338" y="598"/>
                </a:lnTo>
                <a:lnTo>
                  <a:pt x="337" y="596"/>
                </a:lnTo>
                <a:lnTo>
                  <a:pt x="338" y="596"/>
                </a:lnTo>
                <a:lnTo>
                  <a:pt x="338" y="595"/>
                </a:lnTo>
                <a:lnTo>
                  <a:pt x="340" y="594"/>
                </a:lnTo>
                <a:lnTo>
                  <a:pt x="338" y="592"/>
                </a:lnTo>
                <a:lnTo>
                  <a:pt x="340" y="590"/>
                </a:lnTo>
                <a:lnTo>
                  <a:pt x="341" y="589"/>
                </a:lnTo>
                <a:lnTo>
                  <a:pt x="342" y="586"/>
                </a:lnTo>
                <a:lnTo>
                  <a:pt x="341" y="586"/>
                </a:lnTo>
                <a:lnTo>
                  <a:pt x="337" y="589"/>
                </a:lnTo>
                <a:lnTo>
                  <a:pt x="329" y="591"/>
                </a:lnTo>
                <a:lnTo>
                  <a:pt x="329" y="590"/>
                </a:lnTo>
                <a:lnTo>
                  <a:pt x="328" y="589"/>
                </a:lnTo>
                <a:lnTo>
                  <a:pt x="327" y="589"/>
                </a:lnTo>
                <a:lnTo>
                  <a:pt x="331" y="584"/>
                </a:lnTo>
                <a:lnTo>
                  <a:pt x="332" y="584"/>
                </a:lnTo>
                <a:lnTo>
                  <a:pt x="335" y="582"/>
                </a:lnTo>
                <a:lnTo>
                  <a:pt x="342" y="579"/>
                </a:lnTo>
                <a:lnTo>
                  <a:pt x="343" y="580"/>
                </a:lnTo>
                <a:lnTo>
                  <a:pt x="344" y="580"/>
                </a:lnTo>
                <a:lnTo>
                  <a:pt x="344" y="579"/>
                </a:lnTo>
                <a:lnTo>
                  <a:pt x="347" y="578"/>
                </a:lnTo>
                <a:lnTo>
                  <a:pt x="348" y="577"/>
                </a:lnTo>
                <a:lnTo>
                  <a:pt x="350" y="576"/>
                </a:lnTo>
                <a:lnTo>
                  <a:pt x="353" y="573"/>
                </a:lnTo>
                <a:lnTo>
                  <a:pt x="362" y="571"/>
                </a:lnTo>
                <a:lnTo>
                  <a:pt x="365" y="571"/>
                </a:lnTo>
                <a:lnTo>
                  <a:pt x="365" y="573"/>
                </a:lnTo>
                <a:lnTo>
                  <a:pt x="362" y="576"/>
                </a:lnTo>
                <a:lnTo>
                  <a:pt x="365" y="576"/>
                </a:lnTo>
                <a:lnTo>
                  <a:pt x="365" y="578"/>
                </a:lnTo>
                <a:lnTo>
                  <a:pt x="363" y="579"/>
                </a:lnTo>
                <a:lnTo>
                  <a:pt x="363" y="582"/>
                </a:lnTo>
                <a:lnTo>
                  <a:pt x="362" y="583"/>
                </a:lnTo>
                <a:lnTo>
                  <a:pt x="363" y="584"/>
                </a:lnTo>
                <a:lnTo>
                  <a:pt x="365" y="584"/>
                </a:lnTo>
                <a:lnTo>
                  <a:pt x="365" y="583"/>
                </a:lnTo>
                <a:lnTo>
                  <a:pt x="366" y="580"/>
                </a:lnTo>
                <a:lnTo>
                  <a:pt x="366" y="579"/>
                </a:lnTo>
                <a:lnTo>
                  <a:pt x="371" y="579"/>
                </a:lnTo>
                <a:lnTo>
                  <a:pt x="372" y="578"/>
                </a:lnTo>
                <a:lnTo>
                  <a:pt x="373" y="578"/>
                </a:lnTo>
                <a:lnTo>
                  <a:pt x="375" y="580"/>
                </a:lnTo>
                <a:lnTo>
                  <a:pt x="375" y="578"/>
                </a:lnTo>
                <a:lnTo>
                  <a:pt x="373" y="577"/>
                </a:lnTo>
                <a:lnTo>
                  <a:pt x="371" y="578"/>
                </a:lnTo>
                <a:lnTo>
                  <a:pt x="366" y="576"/>
                </a:lnTo>
                <a:lnTo>
                  <a:pt x="367" y="572"/>
                </a:lnTo>
                <a:lnTo>
                  <a:pt x="372" y="570"/>
                </a:lnTo>
                <a:lnTo>
                  <a:pt x="374" y="571"/>
                </a:lnTo>
                <a:lnTo>
                  <a:pt x="374" y="572"/>
                </a:lnTo>
                <a:lnTo>
                  <a:pt x="373" y="573"/>
                </a:lnTo>
                <a:lnTo>
                  <a:pt x="373" y="575"/>
                </a:lnTo>
                <a:lnTo>
                  <a:pt x="374" y="575"/>
                </a:lnTo>
                <a:lnTo>
                  <a:pt x="375" y="572"/>
                </a:lnTo>
                <a:lnTo>
                  <a:pt x="381" y="571"/>
                </a:lnTo>
                <a:lnTo>
                  <a:pt x="383" y="571"/>
                </a:lnTo>
                <a:lnTo>
                  <a:pt x="383" y="567"/>
                </a:lnTo>
                <a:lnTo>
                  <a:pt x="384" y="566"/>
                </a:lnTo>
                <a:lnTo>
                  <a:pt x="385" y="566"/>
                </a:lnTo>
                <a:lnTo>
                  <a:pt x="389" y="563"/>
                </a:lnTo>
                <a:lnTo>
                  <a:pt x="389" y="560"/>
                </a:lnTo>
                <a:lnTo>
                  <a:pt x="387" y="560"/>
                </a:lnTo>
                <a:lnTo>
                  <a:pt x="385" y="563"/>
                </a:lnTo>
                <a:lnTo>
                  <a:pt x="381" y="564"/>
                </a:lnTo>
                <a:lnTo>
                  <a:pt x="380" y="565"/>
                </a:lnTo>
                <a:lnTo>
                  <a:pt x="379" y="567"/>
                </a:lnTo>
                <a:lnTo>
                  <a:pt x="374" y="566"/>
                </a:lnTo>
                <a:lnTo>
                  <a:pt x="373" y="566"/>
                </a:lnTo>
                <a:lnTo>
                  <a:pt x="373" y="565"/>
                </a:lnTo>
                <a:lnTo>
                  <a:pt x="372" y="565"/>
                </a:lnTo>
                <a:lnTo>
                  <a:pt x="372" y="566"/>
                </a:lnTo>
                <a:lnTo>
                  <a:pt x="371" y="569"/>
                </a:lnTo>
                <a:lnTo>
                  <a:pt x="369" y="570"/>
                </a:lnTo>
                <a:lnTo>
                  <a:pt x="367" y="571"/>
                </a:lnTo>
                <a:lnTo>
                  <a:pt x="365" y="569"/>
                </a:lnTo>
                <a:lnTo>
                  <a:pt x="367" y="567"/>
                </a:lnTo>
                <a:lnTo>
                  <a:pt x="365" y="565"/>
                </a:lnTo>
                <a:lnTo>
                  <a:pt x="365" y="566"/>
                </a:lnTo>
                <a:lnTo>
                  <a:pt x="361" y="569"/>
                </a:lnTo>
                <a:lnTo>
                  <a:pt x="360" y="569"/>
                </a:lnTo>
                <a:lnTo>
                  <a:pt x="358" y="570"/>
                </a:lnTo>
                <a:lnTo>
                  <a:pt x="354" y="570"/>
                </a:lnTo>
                <a:lnTo>
                  <a:pt x="349" y="575"/>
                </a:lnTo>
                <a:lnTo>
                  <a:pt x="343" y="577"/>
                </a:lnTo>
                <a:lnTo>
                  <a:pt x="342" y="577"/>
                </a:lnTo>
                <a:lnTo>
                  <a:pt x="342" y="575"/>
                </a:lnTo>
                <a:lnTo>
                  <a:pt x="344" y="572"/>
                </a:lnTo>
                <a:lnTo>
                  <a:pt x="346" y="572"/>
                </a:lnTo>
                <a:lnTo>
                  <a:pt x="346" y="570"/>
                </a:lnTo>
                <a:lnTo>
                  <a:pt x="347" y="569"/>
                </a:lnTo>
                <a:lnTo>
                  <a:pt x="354" y="564"/>
                </a:lnTo>
                <a:lnTo>
                  <a:pt x="363" y="564"/>
                </a:lnTo>
                <a:lnTo>
                  <a:pt x="362" y="563"/>
                </a:lnTo>
                <a:lnTo>
                  <a:pt x="358" y="563"/>
                </a:lnTo>
                <a:lnTo>
                  <a:pt x="358" y="561"/>
                </a:lnTo>
                <a:lnTo>
                  <a:pt x="359" y="561"/>
                </a:lnTo>
                <a:lnTo>
                  <a:pt x="360" y="560"/>
                </a:lnTo>
                <a:lnTo>
                  <a:pt x="355" y="560"/>
                </a:lnTo>
                <a:lnTo>
                  <a:pt x="355" y="558"/>
                </a:lnTo>
                <a:lnTo>
                  <a:pt x="354" y="557"/>
                </a:lnTo>
                <a:lnTo>
                  <a:pt x="354" y="560"/>
                </a:lnTo>
                <a:lnTo>
                  <a:pt x="355" y="561"/>
                </a:lnTo>
                <a:lnTo>
                  <a:pt x="354" y="561"/>
                </a:lnTo>
                <a:lnTo>
                  <a:pt x="354" y="563"/>
                </a:lnTo>
                <a:lnTo>
                  <a:pt x="350" y="565"/>
                </a:lnTo>
                <a:lnTo>
                  <a:pt x="349" y="565"/>
                </a:lnTo>
                <a:lnTo>
                  <a:pt x="347" y="564"/>
                </a:lnTo>
                <a:lnTo>
                  <a:pt x="347" y="561"/>
                </a:lnTo>
                <a:lnTo>
                  <a:pt x="346" y="561"/>
                </a:lnTo>
                <a:lnTo>
                  <a:pt x="344" y="563"/>
                </a:lnTo>
                <a:lnTo>
                  <a:pt x="342" y="563"/>
                </a:lnTo>
                <a:lnTo>
                  <a:pt x="341" y="560"/>
                </a:lnTo>
                <a:lnTo>
                  <a:pt x="341" y="558"/>
                </a:lnTo>
                <a:lnTo>
                  <a:pt x="347" y="555"/>
                </a:lnTo>
                <a:lnTo>
                  <a:pt x="348" y="553"/>
                </a:lnTo>
                <a:lnTo>
                  <a:pt x="348" y="552"/>
                </a:lnTo>
                <a:lnTo>
                  <a:pt x="347" y="552"/>
                </a:lnTo>
                <a:lnTo>
                  <a:pt x="347" y="549"/>
                </a:lnTo>
                <a:lnTo>
                  <a:pt x="344" y="548"/>
                </a:lnTo>
                <a:lnTo>
                  <a:pt x="346" y="547"/>
                </a:lnTo>
                <a:lnTo>
                  <a:pt x="347" y="547"/>
                </a:lnTo>
                <a:lnTo>
                  <a:pt x="347" y="546"/>
                </a:lnTo>
                <a:lnTo>
                  <a:pt x="344" y="546"/>
                </a:lnTo>
                <a:lnTo>
                  <a:pt x="344" y="543"/>
                </a:lnTo>
                <a:lnTo>
                  <a:pt x="342" y="543"/>
                </a:lnTo>
                <a:lnTo>
                  <a:pt x="341" y="542"/>
                </a:lnTo>
                <a:lnTo>
                  <a:pt x="340" y="542"/>
                </a:lnTo>
                <a:lnTo>
                  <a:pt x="340" y="541"/>
                </a:lnTo>
                <a:lnTo>
                  <a:pt x="344" y="539"/>
                </a:lnTo>
                <a:lnTo>
                  <a:pt x="346" y="539"/>
                </a:lnTo>
                <a:lnTo>
                  <a:pt x="346" y="540"/>
                </a:lnTo>
                <a:lnTo>
                  <a:pt x="348" y="541"/>
                </a:lnTo>
                <a:lnTo>
                  <a:pt x="349" y="542"/>
                </a:lnTo>
                <a:lnTo>
                  <a:pt x="350" y="545"/>
                </a:lnTo>
                <a:lnTo>
                  <a:pt x="350" y="548"/>
                </a:lnTo>
                <a:lnTo>
                  <a:pt x="355" y="548"/>
                </a:lnTo>
                <a:lnTo>
                  <a:pt x="358" y="547"/>
                </a:lnTo>
                <a:lnTo>
                  <a:pt x="352" y="547"/>
                </a:lnTo>
                <a:lnTo>
                  <a:pt x="352" y="545"/>
                </a:lnTo>
                <a:lnTo>
                  <a:pt x="353" y="543"/>
                </a:lnTo>
                <a:lnTo>
                  <a:pt x="353" y="542"/>
                </a:lnTo>
                <a:lnTo>
                  <a:pt x="352" y="541"/>
                </a:lnTo>
                <a:lnTo>
                  <a:pt x="353" y="541"/>
                </a:lnTo>
                <a:lnTo>
                  <a:pt x="354" y="539"/>
                </a:lnTo>
                <a:lnTo>
                  <a:pt x="360" y="539"/>
                </a:lnTo>
                <a:lnTo>
                  <a:pt x="361" y="537"/>
                </a:lnTo>
                <a:lnTo>
                  <a:pt x="362" y="539"/>
                </a:lnTo>
                <a:lnTo>
                  <a:pt x="367" y="541"/>
                </a:lnTo>
                <a:lnTo>
                  <a:pt x="368" y="541"/>
                </a:lnTo>
                <a:lnTo>
                  <a:pt x="368" y="540"/>
                </a:lnTo>
                <a:lnTo>
                  <a:pt x="367" y="539"/>
                </a:lnTo>
                <a:lnTo>
                  <a:pt x="361" y="537"/>
                </a:lnTo>
                <a:lnTo>
                  <a:pt x="360" y="536"/>
                </a:lnTo>
                <a:lnTo>
                  <a:pt x="362" y="534"/>
                </a:lnTo>
                <a:lnTo>
                  <a:pt x="366" y="532"/>
                </a:lnTo>
                <a:lnTo>
                  <a:pt x="371" y="532"/>
                </a:lnTo>
                <a:lnTo>
                  <a:pt x="369" y="530"/>
                </a:lnTo>
                <a:lnTo>
                  <a:pt x="361" y="532"/>
                </a:lnTo>
                <a:lnTo>
                  <a:pt x="360" y="533"/>
                </a:lnTo>
                <a:lnTo>
                  <a:pt x="359" y="536"/>
                </a:lnTo>
                <a:lnTo>
                  <a:pt x="358" y="537"/>
                </a:lnTo>
                <a:lnTo>
                  <a:pt x="355" y="537"/>
                </a:lnTo>
                <a:lnTo>
                  <a:pt x="352" y="539"/>
                </a:lnTo>
                <a:lnTo>
                  <a:pt x="350" y="537"/>
                </a:lnTo>
                <a:lnTo>
                  <a:pt x="349" y="537"/>
                </a:lnTo>
                <a:lnTo>
                  <a:pt x="349" y="534"/>
                </a:lnTo>
                <a:lnTo>
                  <a:pt x="350" y="533"/>
                </a:lnTo>
                <a:lnTo>
                  <a:pt x="350" y="532"/>
                </a:lnTo>
                <a:lnTo>
                  <a:pt x="352" y="532"/>
                </a:lnTo>
                <a:lnTo>
                  <a:pt x="353" y="530"/>
                </a:lnTo>
                <a:lnTo>
                  <a:pt x="358" y="530"/>
                </a:lnTo>
                <a:lnTo>
                  <a:pt x="356" y="529"/>
                </a:lnTo>
                <a:lnTo>
                  <a:pt x="352" y="529"/>
                </a:lnTo>
                <a:lnTo>
                  <a:pt x="348" y="527"/>
                </a:lnTo>
                <a:lnTo>
                  <a:pt x="348" y="526"/>
                </a:lnTo>
                <a:lnTo>
                  <a:pt x="349" y="526"/>
                </a:lnTo>
                <a:lnTo>
                  <a:pt x="350" y="527"/>
                </a:lnTo>
                <a:lnTo>
                  <a:pt x="352" y="527"/>
                </a:lnTo>
                <a:lnTo>
                  <a:pt x="353" y="526"/>
                </a:lnTo>
                <a:lnTo>
                  <a:pt x="355" y="528"/>
                </a:lnTo>
                <a:lnTo>
                  <a:pt x="356" y="528"/>
                </a:lnTo>
                <a:lnTo>
                  <a:pt x="359" y="527"/>
                </a:lnTo>
                <a:lnTo>
                  <a:pt x="360" y="527"/>
                </a:lnTo>
                <a:lnTo>
                  <a:pt x="362" y="528"/>
                </a:lnTo>
                <a:lnTo>
                  <a:pt x="363" y="528"/>
                </a:lnTo>
                <a:lnTo>
                  <a:pt x="362" y="526"/>
                </a:lnTo>
                <a:lnTo>
                  <a:pt x="361" y="524"/>
                </a:lnTo>
                <a:lnTo>
                  <a:pt x="352" y="522"/>
                </a:lnTo>
                <a:lnTo>
                  <a:pt x="350" y="521"/>
                </a:lnTo>
                <a:lnTo>
                  <a:pt x="352" y="520"/>
                </a:lnTo>
                <a:lnTo>
                  <a:pt x="361" y="521"/>
                </a:lnTo>
                <a:lnTo>
                  <a:pt x="362" y="522"/>
                </a:lnTo>
                <a:lnTo>
                  <a:pt x="362" y="523"/>
                </a:lnTo>
                <a:lnTo>
                  <a:pt x="369" y="523"/>
                </a:lnTo>
                <a:lnTo>
                  <a:pt x="371" y="522"/>
                </a:lnTo>
                <a:lnTo>
                  <a:pt x="369" y="521"/>
                </a:lnTo>
                <a:lnTo>
                  <a:pt x="374" y="521"/>
                </a:lnTo>
                <a:lnTo>
                  <a:pt x="377" y="520"/>
                </a:lnTo>
                <a:lnTo>
                  <a:pt x="378" y="518"/>
                </a:lnTo>
                <a:lnTo>
                  <a:pt x="369" y="518"/>
                </a:lnTo>
                <a:lnTo>
                  <a:pt x="366" y="521"/>
                </a:lnTo>
                <a:lnTo>
                  <a:pt x="365" y="521"/>
                </a:lnTo>
                <a:lnTo>
                  <a:pt x="363" y="520"/>
                </a:lnTo>
                <a:lnTo>
                  <a:pt x="363" y="516"/>
                </a:lnTo>
                <a:lnTo>
                  <a:pt x="366" y="515"/>
                </a:lnTo>
                <a:lnTo>
                  <a:pt x="371" y="516"/>
                </a:lnTo>
                <a:lnTo>
                  <a:pt x="372" y="515"/>
                </a:lnTo>
                <a:lnTo>
                  <a:pt x="371" y="515"/>
                </a:lnTo>
                <a:lnTo>
                  <a:pt x="365" y="514"/>
                </a:lnTo>
                <a:lnTo>
                  <a:pt x="363" y="514"/>
                </a:lnTo>
                <a:lnTo>
                  <a:pt x="363" y="515"/>
                </a:lnTo>
                <a:lnTo>
                  <a:pt x="362" y="514"/>
                </a:lnTo>
                <a:lnTo>
                  <a:pt x="363" y="511"/>
                </a:lnTo>
                <a:lnTo>
                  <a:pt x="366" y="510"/>
                </a:lnTo>
                <a:lnTo>
                  <a:pt x="369" y="510"/>
                </a:lnTo>
                <a:lnTo>
                  <a:pt x="373" y="512"/>
                </a:lnTo>
                <a:lnTo>
                  <a:pt x="383" y="512"/>
                </a:lnTo>
                <a:lnTo>
                  <a:pt x="380" y="511"/>
                </a:lnTo>
                <a:lnTo>
                  <a:pt x="374" y="510"/>
                </a:lnTo>
                <a:lnTo>
                  <a:pt x="373" y="510"/>
                </a:lnTo>
                <a:lnTo>
                  <a:pt x="373" y="508"/>
                </a:lnTo>
                <a:lnTo>
                  <a:pt x="369" y="508"/>
                </a:lnTo>
                <a:lnTo>
                  <a:pt x="369" y="504"/>
                </a:lnTo>
                <a:lnTo>
                  <a:pt x="367" y="504"/>
                </a:lnTo>
                <a:lnTo>
                  <a:pt x="367" y="500"/>
                </a:lnTo>
                <a:lnTo>
                  <a:pt x="366" y="499"/>
                </a:lnTo>
                <a:lnTo>
                  <a:pt x="363" y="500"/>
                </a:lnTo>
                <a:lnTo>
                  <a:pt x="362" y="499"/>
                </a:lnTo>
                <a:lnTo>
                  <a:pt x="365" y="497"/>
                </a:lnTo>
                <a:lnTo>
                  <a:pt x="372" y="497"/>
                </a:lnTo>
                <a:lnTo>
                  <a:pt x="373" y="496"/>
                </a:lnTo>
                <a:lnTo>
                  <a:pt x="373" y="493"/>
                </a:lnTo>
                <a:lnTo>
                  <a:pt x="377" y="493"/>
                </a:lnTo>
                <a:lnTo>
                  <a:pt x="378" y="491"/>
                </a:lnTo>
                <a:lnTo>
                  <a:pt x="379" y="491"/>
                </a:lnTo>
                <a:lnTo>
                  <a:pt x="380" y="490"/>
                </a:lnTo>
                <a:lnTo>
                  <a:pt x="381" y="490"/>
                </a:lnTo>
                <a:lnTo>
                  <a:pt x="381" y="492"/>
                </a:lnTo>
                <a:lnTo>
                  <a:pt x="380" y="493"/>
                </a:lnTo>
                <a:lnTo>
                  <a:pt x="379" y="493"/>
                </a:lnTo>
                <a:lnTo>
                  <a:pt x="378" y="494"/>
                </a:lnTo>
                <a:lnTo>
                  <a:pt x="379" y="497"/>
                </a:lnTo>
                <a:lnTo>
                  <a:pt x="380" y="498"/>
                </a:lnTo>
                <a:lnTo>
                  <a:pt x="381" y="498"/>
                </a:lnTo>
                <a:lnTo>
                  <a:pt x="380" y="497"/>
                </a:lnTo>
                <a:lnTo>
                  <a:pt x="381" y="494"/>
                </a:lnTo>
                <a:lnTo>
                  <a:pt x="381" y="493"/>
                </a:lnTo>
                <a:lnTo>
                  <a:pt x="384" y="493"/>
                </a:lnTo>
                <a:lnTo>
                  <a:pt x="385" y="492"/>
                </a:lnTo>
                <a:lnTo>
                  <a:pt x="385" y="490"/>
                </a:lnTo>
                <a:lnTo>
                  <a:pt x="384" y="489"/>
                </a:lnTo>
                <a:lnTo>
                  <a:pt x="384" y="484"/>
                </a:lnTo>
                <a:lnTo>
                  <a:pt x="385" y="483"/>
                </a:lnTo>
                <a:lnTo>
                  <a:pt x="386" y="484"/>
                </a:lnTo>
                <a:lnTo>
                  <a:pt x="386" y="486"/>
                </a:lnTo>
                <a:lnTo>
                  <a:pt x="387" y="490"/>
                </a:lnTo>
                <a:lnTo>
                  <a:pt x="387" y="491"/>
                </a:lnTo>
                <a:lnTo>
                  <a:pt x="389" y="493"/>
                </a:lnTo>
                <a:lnTo>
                  <a:pt x="390" y="492"/>
                </a:lnTo>
                <a:lnTo>
                  <a:pt x="392" y="492"/>
                </a:lnTo>
                <a:lnTo>
                  <a:pt x="392" y="490"/>
                </a:lnTo>
                <a:lnTo>
                  <a:pt x="393" y="490"/>
                </a:lnTo>
                <a:lnTo>
                  <a:pt x="394" y="487"/>
                </a:lnTo>
                <a:lnTo>
                  <a:pt x="394" y="485"/>
                </a:lnTo>
                <a:lnTo>
                  <a:pt x="393" y="484"/>
                </a:lnTo>
                <a:lnTo>
                  <a:pt x="394" y="484"/>
                </a:lnTo>
                <a:lnTo>
                  <a:pt x="400" y="483"/>
                </a:lnTo>
                <a:lnTo>
                  <a:pt x="403" y="485"/>
                </a:lnTo>
                <a:lnTo>
                  <a:pt x="405" y="485"/>
                </a:lnTo>
                <a:lnTo>
                  <a:pt x="406" y="486"/>
                </a:lnTo>
                <a:lnTo>
                  <a:pt x="406" y="487"/>
                </a:lnTo>
                <a:lnTo>
                  <a:pt x="408" y="487"/>
                </a:lnTo>
                <a:lnTo>
                  <a:pt x="408" y="484"/>
                </a:lnTo>
                <a:lnTo>
                  <a:pt x="406" y="483"/>
                </a:lnTo>
                <a:lnTo>
                  <a:pt x="404" y="483"/>
                </a:lnTo>
                <a:lnTo>
                  <a:pt x="398" y="481"/>
                </a:lnTo>
                <a:lnTo>
                  <a:pt x="394" y="481"/>
                </a:lnTo>
                <a:lnTo>
                  <a:pt x="394" y="480"/>
                </a:lnTo>
                <a:lnTo>
                  <a:pt x="396" y="479"/>
                </a:lnTo>
                <a:lnTo>
                  <a:pt x="396" y="478"/>
                </a:lnTo>
                <a:lnTo>
                  <a:pt x="397" y="477"/>
                </a:lnTo>
                <a:lnTo>
                  <a:pt x="396" y="475"/>
                </a:lnTo>
                <a:lnTo>
                  <a:pt x="397" y="474"/>
                </a:lnTo>
                <a:lnTo>
                  <a:pt x="397" y="473"/>
                </a:lnTo>
                <a:lnTo>
                  <a:pt x="398" y="472"/>
                </a:lnTo>
                <a:lnTo>
                  <a:pt x="402" y="472"/>
                </a:lnTo>
                <a:lnTo>
                  <a:pt x="402" y="473"/>
                </a:lnTo>
                <a:lnTo>
                  <a:pt x="400" y="474"/>
                </a:lnTo>
                <a:lnTo>
                  <a:pt x="400" y="478"/>
                </a:lnTo>
                <a:lnTo>
                  <a:pt x="402" y="478"/>
                </a:lnTo>
                <a:lnTo>
                  <a:pt x="402" y="475"/>
                </a:lnTo>
                <a:lnTo>
                  <a:pt x="403" y="474"/>
                </a:lnTo>
                <a:lnTo>
                  <a:pt x="402" y="474"/>
                </a:lnTo>
                <a:lnTo>
                  <a:pt x="402" y="473"/>
                </a:lnTo>
                <a:lnTo>
                  <a:pt x="411" y="472"/>
                </a:lnTo>
                <a:lnTo>
                  <a:pt x="412" y="473"/>
                </a:lnTo>
                <a:lnTo>
                  <a:pt x="414" y="477"/>
                </a:lnTo>
                <a:lnTo>
                  <a:pt x="415" y="477"/>
                </a:lnTo>
                <a:lnTo>
                  <a:pt x="415" y="474"/>
                </a:lnTo>
                <a:lnTo>
                  <a:pt x="414" y="473"/>
                </a:lnTo>
                <a:lnTo>
                  <a:pt x="414" y="472"/>
                </a:lnTo>
                <a:lnTo>
                  <a:pt x="410" y="471"/>
                </a:lnTo>
                <a:lnTo>
                  <a:pt x="404" y="471"/>
                </a:lnTo>
                <a:lnTo>
                  <a:pt x="408" y="467"/>
                </a:lnTo>
                <a:lnTo>
                  <a:pt x="410" y="469"/>
                </a:lnTo>
                <a:lnTo>
                  <a:pt x="411" y="469"/>
                </a:lnTo>
                <a:lnTo>
                  <a:pt x="412" y="468"/>
                </a:lnTo>
                <a:lnTo>
                  <a:pt x="414" y="468"/>
                </a:lnTo>
                <a:lnTo>
                  <a:pt x="416" y="466"/>
                </a:lnTo>
                <a:lnTo>
                  <a:pt x="419" y="467"/>
                </a:lnTo>
                <a:lnTo>
                  <a:pt x="424" y="466"/>
                </a:lnTo>
                <a:lnTo>
                  <a:pt x="424" y="467"/>
                </a:lnTo>
                <a:lnTo>
                  <a:pt x="422" y="467"/>
                </a:lnTo>
                <a:lnTo>
                  <a:pt x="422" y="471"/>
                </a:lnTo>
                <a:lnTo>
                  <a:pt x="421" y="472"/>
                </a:lnTo>
                <a:lnTo>
                  <a:pt x="421" y="474"/>
                </a:lnTo>
                <a:lnTo>
                  <a:pt x="423" y="479"/>
                </a:lnTo>
                <a:lnTo>
                  <a:pt x="425" y="479"/>
                </a:lnTo>
                <a:lnTo>
                  <a:pt x="425" y="478"/>
                </a:lnTo>
                <a:lnTo>
                  <a:pt x="424" y="475"/>
                </a:lnTo>
                <a:lnTo>
                  <a:pt x="422" y="473"/>
                </a:lnTo>
                <a:lnTo>
                  <a:pt x="425" y="468"/>
                </a:lnTo>
                <a:lnTo>
                  <a:pt x="425" y="467"/>
                </a:lnTo>
                <a:lnTo>
                  <a:pt x="429" y="467"/>
                </a:lnTo>
                <a:lnTo>
                  <a:pt x="430" y="468"/>
                </a:lnTo>
                <a:lnTo>
                  <a:pt x="434" y="468"/>
                </a:lnTo>
                <a:lnTo>
                  <a:pt x="437" y="472"/>
                </a:lnTo>
                <a:lnTo>
                  <a:pt x="440" y="472"/>
                </a:lnTo>
                <a:lnTo>
                  <a:pt x="441" y="473"/>
                </a:lnTo>
                <a:lnTo>
                  <a:pt x="441" y="479"/>
                </a:lnTo>
                <a:lnTo>
                  <a:pt x="445" y="483"/>
                </a:lnTo>
                <a:lnTo>
                  <a:pt x="446" y="483"/>
                </a:lnTo>
                <a:lnTo>
                  <a:pt x="446" y="481"/>
                </a:lnTo>
                <a:lnTo>
                  <a:pt x="443" y="479"/>
                </a:lnTo>
                <a:lnTo>
                  <a:pt x="443" y="477"/>
                </a:lnTo>
                <a:lnTo>
                  <a:pt x="445" y="474"/>
                </a:lnTo>
                <a:lnTo>
                  <a:pt x="445" y="471"/>
                </a:lnTo>
                <a:lnTo>
                  <a:pt x="442" y="469"/>
                </a:lnTo>
                <a:lnTo>
                  <a:pt x="441" y="468"/>
                </a:lnTo>
                <a:lnTo>
                  <a:pt x="442" y="467"/>
                </a:lnTo>
                <a:lnTo>
                  <a:pt x="445" y="467"/>
                </a:lnTo>
                <a:lnTo>
                  <a:pt x="455" y="471"/>
                </a:lnTo>
                <a:lnTo>
                  <a:pt x="456" y="471"/>
                </a:lnTo>
                <a:lnTo>
                  <a:pt x="455" y="469"/>
                </a:lnTo>
                <a:lnTo>
                  <a:pt x="455" y="468"/>
                </a:lnTo>
                <a:lnTo>
                  <a:pt x="454" y="468"/>
                </a:lnTo>
                <a:lnTo>
                  <a:pt x="454" y="466"/>
                </a:lnTo>
                <a:lnTo>
                  <a:pt x="450" y="468"/>
                </a:lnTo>
                <a:lnTo>
                  <a:pt x="448" y="466"/>
                </a:lnTo>
                <a:lnTo>
                  <a:pt x="442" y="465"/>
                </a:lnTo>
                <a:lnTo>
                  <a:pt x="440" y="465"/>
                </a:lnTo>
                <a:lnTo>
                  <a:pt x="437" y="467"/>
                </a:lnTo>
                <a:lnTo>
                  <a:pt x="436" y="466"/>
                </a:lnTo>
                <a:lnTo>
                  <a:pt x="437" y="466"/>
                </a:lnTo>
                <a:lnTo>
                  <a:pt x="440" y="463"/>
                </a:lnTo>
                <a:lnTo>
                  <a:pt x="436" y="462"/>
                </a:lnTo>
                <a:lnTo>
                  <a:pt x="436" y="463"/>
                </a:lnTo>
                <a:lnTo>
                  <a:pt x="435" y="463"/>
                </a:lnTo>
                <a:lnTo>
                  <a:pt x="434" y="465"/>
                </a:lnTo>
                <a:lnTo>
                  <a:pt x="428" y="462"/>
                </a:lnTo>
                <a:lnTo>
                  <a:pt x="428" y="461"/>
                </a:lnTo>
                <a:lnTo>
                  <a:pt x="430" y="461"/>
                </a:lnTo>
                <a:lnTo>
                  <a:pt x="430" y="460"/>
                </a:lnTo>
                <a:lnTo>
                  <a:pt x="431" y="460"/>
                </a:lnTo>
                <a:lnTo>
                  <a:pt x="431" y="456"/>
                </a:lnTo>
                <a:lnTo>
                  <a:pt x="430" y="456"/>
                </a:lnTo>
                <a:lnTo>
                  <a:pt x="427" y="457"/>
                </a:lnTo>
                <a:lnTo>
                  <a:pt x="425" y="457"/>
                </a:lnTo>
                <a:lnTo>
                  <a:pt x="425" y="460"/>
                </a:lnTo>
                <a:lnTo>
                  <a:pt x="415" y="460"/>
                </a:lnTo>
                <a:lnTo>
                  <a:pt x="416" y="461"/>
                </a:lnTo>
                <a:lnTo>
                  <a:pt x="417" y="461"/>
                </a:lnTo>
                <a:lnTo>
                  <a:pt x="418" y="462"/>
                </a:lnTo>
                <a:lnTo>
                  <a:pt x="417" y="463"/>
                </a:lnTo>
                <a:lnTo>
                  <a:pt x="411" y="466"/>
                </a:lnTo>
                <a:lnTo>
                  <a:pt x="409" y="466"/>
                </a:lnTo>
                <a:lnTo>
                  <a:pt x="411" y="465"/>
                </a:lnTo>
                <a:lnTo>
                  <a:pt x="412" y="462"/>
                </a:lnTo>
                <a:lnTo>
                  <a:pt x="412" y="460"/>
                </a:lnTo>
                <a:lnTo>
                  <a:pt x="411" y="460"/>
                </a:lnTo>
                <a:lnTo>
                  <a:pt x="406" y="462"/>
                </a:lnTo>
                <a:lnTo>
                  <a:pt x="400" y="462"/>
                </a:lnTo>
                <a:lnTo>
                  <a:pt x="399" y="463"/>
                </a:lnTo>
                <a:lnTo>
                  <a:pt x="398" y="463"/>
                </a:lnTo>
                <a:lnTo>
                  <a:pt x="397" y="465"/>
                </a:lnTo>
                <a:lnTo>
                  <a:pt x="397" y="463"/>
                </a:lnTo>
                <a:lnTo>
                  <a:pt x="400" y="460"/>
                </a:lnTo>
                <a:lnTo>
                  <a:pt x="399" y="460"/>
                </a:lnTo>
                <a:lnTo>
                  <a:pt x="402" y="457"/>
                </a:lnTo>
                <a:lnTo>
                  <a:pt x="403" y="455"/>
                </a:lnTo>
                <a:lnTo>
                  <a:pt x="408" y="449"/>
                </a:lnTo>
                <a:lnTo>
                  <a:pt x="409" y="448"/>
                </a:lnTo>
                <a:lnTo>
                  <a:pt x="408" y="447"/>
                </a:lnTo>
                <a:lnTo>
                  <a:pt x="408" y="446"/>
                </a:lnTo>
                <a:lnTo>
                  <a:pt x="409" y="446"/>
                </a:lnTo>
                <a:lnTo>
                  <a:pt x="409" y="444"/>
                </a:lnTo>
                <a:lnTo>
                  <a:pt x="410" y="443"/>
                </a:lnTo>
                <a:lnTo>
                  <a:pt x="414" y="444"/>
                </a:lnTo>
                <a:lnTo>
                  <a:pt x="415" y="443"/>
                </a:lnTo>
                <a:lnTo>
                  <a:pt x="416" y="443"/>
                </a:lnTo>
                <a:lnTo>
                  <a:pt x="417" y="446"/>
                </a:lnTo>
                <a:lnTo>
                  <a:pt x="417" y="447"/>
                </a:lnTo>
                <a:lnTo>
                  <a:pt x="416" y="448"/>
                </a:lnTo>
                <a:lnTo>
                  <a:pt x="417" y="448"/>
                </a:lnTo>
                <a:lnTo>
                  <a:pt x="421" y="444"/>
                </a:lnTo>
                <a:lnTo>
                  <a:pt x="422" y="444"/>
                </a:lnTo>
                <a:lnTo>
                  <a:pt x="424" y="443"/>
                </a:lnTo>
                <a:lnTo>
                  <a:pt x="427" y="441"/>
                </a:lnTo>
                <a:lnTo>
                  <a:pt x="422" y="442"/>
                </a:lnTo>
                <a:lnTo>
                  <a:pt x="417" y="441"/>
                </a:lnTo>
                <a:lnTo>
                  <a:pt x="418" y="440"/>
                </a:lnTo>
                <a:lnTo>
                  <a:pt x="417" y="438"/>
                </a:lnTo>
                <a:lnTo>
                  <a:pt x="425" y="438"/>
                </a:lnTo>
                <a:lnTo>
                  <a:pt x="427" y="437"/>
                </a:lnTo>
                <a:lnTo>
                  <a:pt x="427" y="436"/>
                </a:lnTo>
                <a:lnTo>
                  <a:pt x="428" y="436"/>
                </a:lnTo>
                <a:lnTo>
                  <a:pt x="429" y="435"/>
                </a:lnTo>
                <a:lnTo>
                  <a:pt x="430" y="435"/>
                </a:lnTo>
                <a:lnTo>
                  <a:pt x="433" y="432"/>
                </a:lnTo>
                <a:lnTo>
                  <a:pt x="433" y="435"/>
                </a:lnTo>
                <a:lnTo>
                  <a:pt x="434" y="436"/>
                </a:lnTo>
                <a:lnTo>
                  <a:pt x="433" y="437"/>
                </a:lnTo>
                <a:lnTo>
                  <a:pt x="431" y="437"/>
                </a:lnTo>
                <a:lnTo>
                  <a:pt x="431" y="438"/>
                </a:lnTo>
                <a:lnTo>
                  <a:pt x="433" y="438"/>
                </a:lnTo>
                <a:lnTo>
                  <a:pt x="431" y="440"/>
                </a:lnTo>
                <a:lnTo>
                  <a:pt x="431" y="442"/>
                </a:lnTo>
                <a:lnTo>
                  <a:pt x="430" y="444"/>
                </a:lnTo>
                <a:lnTo>
                  <a:pt x="434" y="441"/>
                </a:lnTo>
                <a:lnTo>
                  <a:pt x="434" y="438"/>
                </a:lnTo>
                <a:lnTo>
                  <a:pt x="435" y="437"/>
                </a:lnTo>
                <a:lnTo>
                  <a:pt x="441" y="436"/>
                </a:lnTo>
                <a:lnTo>
                  <a:pt x="443" y="437"/>
                </a:lnTo>
                <a:lnTo>
                  <a:pt x="445" y="440"/>
                </a:lnTo>
                <a:lnTo>
                  <a:pt x="445" y="441"/>
                </a:lnTo>
                <a:lnTo>
                  <a:pt x="448" y="448"/>
                </a:lnTo>
                <a:lnTo>
                  <a:pt x="448" y="451"/>
                </a:lnTo>
                <a:lnTo>
                  <a:pt x="449" y="454"/>
                </a:lnTo>
                <a:lnTo>
                  <a:pt x="452" y="456"/>
                </a:lnTo>
                <a:lnTo>
                  <a:pt x="452" y="457"/>
                </a:lnTo>
                <a:lnTo>
                  <a:pt x="450" y="457"/>
                </a:lnTo>
                <a:lnTo>
                  <a:pt x="450" y="459"/>
                </a:lnTo>
                <a:lnTo>
                  <a:pt x="452" y="460"/>
                </a:lnTo>
                <a:lnTo>
                  <a:pt x="453" y="460"/>
                </a:lnTo>
                <a:lnTo>
                  <a:pt x="454" y="456"/>
                </a:lnTo>
                <a:lnTo>
                  <a:pt x="454" y="455"/>
                </a:lnTo>
                <a:lnTo>
                  <a:pt x="452" y="454"/>
                </a:lnTo>
                <a:lnTo>
                  <a:pt x="450" y="454"/>
                </a:lnTo>
                <a:lnTo>
                  <a:pt x="450" y="448"/>
                </a:lnTo>
                <a:lnTo>
                  <a:pt x="448" y="446"/>
                </a:lnTo>
                <a:lnTo>
                  <a:pt x="447" y="443"/>
                </a:lnTo>
                <a:lnTo>
                  <a:pt x="447" y="442"/>
                </a:lnTo>
                <a:lnTo>
                  <a:pt x="449" y="441"/>
                </a:lnTo>
                <a:lnTo>
                  <a:pt x="449" y="440"/>
                </a:lnTo>
                <a:lnTo>
                  <a:pt x="448" y="440"/>
                </a:lnTo>
                <a:lnTo>
                  <a:pt x="447" y="438"/>
                </a:lnTo>
                <a:lnTo>
                  <a:pt x="448" y="436"/>
                </a:lnTo>
                <a:lnTo>
                  <a:pt x="450" y="434"/>
                </a:lnTo>
                <a:lnTo>
                  <a:pt x="458" y="430"/>
                </a:lnTo>
                <a:lnTo>
                  <a:pt x="462" y="429"/>
                </a:lnTo>
                <a:lnTo>
                  <a:pt x="461" y="426"/>
                </a:lnTo>
                <a:lnTo>
                  <a:pt x="453" y="429"/>
                </a:lnTo>
                <a:lnTo>
                  <a:pt x="448" y="434"/>
                </a:lnTo>
                <a:lnTo>
                  <a:pt x="446" y="434"/>
                </a:lnTo>
                <a:lnTo>
                  <a:pt x="436" y="432"/>
                </a:lnTo>
                <a:lnTo>
                  <a:pt x="435" y="432"/>
                </a:lnTo>
                <a:lnTo>
                  <a:pt x="434" y="431"/>
                </a:lnTo>
                <a:lnTo>
                  <a:pt x="435" y="429"/>
                </a:lnTo>
                <a:lnTo>
                  <a:pt x="435" y="428"/>
                </a:lnTo>
                <a:lnTo>
                  <a:pt x="436" y="426"/>
                </a:lnTo>
                <a:lnTo>
                  <a:pt x="435" y="425"/>
                </a:lnTo>
                <a:lnTo>
                  <a:pt x="441" y="425"/>
                </a:lnTo>
                <a:lnTo>
                  <a:pt x="442" y="426"/>
                </a:lnTo>
                <a:lnTo>
                  <a:pt x="443" y="426"/>
                </a:lnTo>
                <a:lnTo>
                  <a:pt x="443" y="429"/>
                </a:lnTo>
                <a:lnTo>
                  <a:pt x="445" y="428"/>
                </a:lnTo>
                <a:lnTo>
                  <a:pt x="445" y="426"/>
                </a:lnTo>
                <a:lnTo>
                  <a:pt x="442" y="424"/>
                </a:lnTo>
                <a:lnTo>
                  <a:pt x="442" y="423"/>
                </a:lnTo>
                <a:lnTo>
                  <a:pt x="443" y="423"/>
                </a:lnTo>
                <a:lnTo>
                  <a:pt x="442" y="422"/>
                </a:lnTo>
                <a:lnTo>
                  <a:pt x="442" y="420"/>
                </a:lnTo>
                <a:lnTo>
                  <a:pt x="441" y="420"/>
                </a:lnTo>
                <a:lnTo>
                  <a:pt x="441" y="423"/>
                </a:lnTo>
                <a:lnTo>
                  <a:pt x="437" y="423"/>
                </a:lnTo>
                <a:lnTo>
                  <a:pt x="437" y="422"/>
                </a:lnTo>
                <a:lnTo>
                  <a:pt x="436" y="422"/>
                </a:lnTo>
                <a:lnTo>
                  <a:pt x="434" y="423"/>
                </a:lnTo>
                <a:lnTo>
                  <a:pt x="433" y="423"/>
                </a:lnTo>
                <a:lnTo>
                  <a:pt x="433" y="419"/>
                </a:lnTo>
                <a:lnTo>
                  <a:pt x="437" y="414"/>
                </a:lnTo>
                <a:lnTo>
                  <a:pt x="436" y="413"/>
                </a:lnTo>
                <a:lnTo>
                  <a:pt x="437" y="411"/>
                </a:lnTo>
                <a:lnTo>
                  <a:pt x="441" y="412"/>
                </a:lnTo>
                <a:lnTo>
                  <a:pt x="442" y="414"/>
                </a:lnTo>
                <a:lnTo>
                  <a:pt x="448" y="416"/>
                </a:lnTo>
                <a:lnTo>
                  <a:pt x="447" y="414"/>
                </a:lnTo>
                <a:lnTo>
                  <a:pt x="447" y="413"/>
                </a:lnTo>
                <a:lnTo>
                  <a:pt x="453" y="416"/>
                </a:lnTo>
                <a:lnTo>
                  <a:pt x="449" y="412"/>
                </a:lnTo>
                <a:lnTo>
                  <a:pt x="448" y="412"/>
                </a:lnTo>
                <a:lnTo>
                  <a:pt x="446" y="413"/>
                </a:lnTo>
                <a:lnTo>
                  <a:pt x="445" y="412"/>
                </a:lnTo>
                <a:lnTo>
                  <a:pt x="442" y="408"/>
                </a:lnTo>
                <a:lnTo>
                  <a:pt x="450" y="407"/>
                </a:lnTo>
                <a:lnTo>
                  <a:pt x="453" y="408"/>
                </a:lnTo>
                <a:lnTo>
                  <a:pt x="459" y="416"/>
                </a:lnTo>
                <a:lnTo>
                  <a:pt x="460" y="416"/>
                </a:lnTo>
                <a:lnTo>
                  <a:pt x="460" y="413"/>
                </a:lnTo>
                <a:lnTo>
                  <a:pt x="459" y="413"/>
                </a:lnTo>
                <a:lnTo>
                  <a:pt x="458" y="412"/>
                </a:lnTo>
                <a:lnTo>
                  <a:pt x="458" y="410"/>
                </a:lnTo>
                <a:lnTo>
                  <a:pt x="453" y="406"/>
                </a:lnTo>
                <a:lnTo>
                  <a:pt x="452" y="406"/>
                </a:lnTo>
                <a:lnTo>
                  <a:pt x="452" y="405"/>
                </a:lnTo>
                <a:lnTo>
                  <a:pt x="453" y="404"/>
                </a:lnTo>
                <a:lnTo>
                  <a:pt x="453" y="403"/>
                </a:lnTo>
                <a:lnTo>
                  <a:pt x="450" y="405"/>
                </a:lnTo>
                <a:lnTo>
                  <a:pt x="442" y="403"/>
                </a:lnTo>
                <a:lnTo>
                  <a:pt x="442" y="400"/>
                </a:lnTo>
                <a:lnTo>
                  <a:pt x="443" y="398"/>
                </a:lnTo>
                <a:lnTo>
                  <a:pt x="443" y="395"/>
                </a:lnTo>
                <a:lnTo>
                  <a:pt x="442" y="395"/>
                </a:lnTo>
                <a:lnTo>
                  <a:pt x="442" y="399"/>
                </a:lnTo>
                <a:lnTo>
                  <a:pt x="441" y="395"/>
                </a:lnTo>
                <a:lnTo>
                  <a:pt x="441" y="394"/>
                </a:lnTo>
                <a:lnTo>
                  <a:pt x="440" y="397"/>
                </a:lnTo>
                <a:lnTo>
                  <a:pt x="441" y="400"/>
                </a:lnTo>
                <a:lnTo>
                  <a:pt x="441" y="401"/>
                </a:lnTo>
                <a:lnTo>
                  <a:pt x="437" y="405"/>
                </a:lnTo>
                <a:lnTo>
                  <a:pt x="436" y="407"/>
                </a:lnTo>
                <a:lnTo>
                  <a:pt x="434" y="408"/>
                </a:lnTo>
                <a:lnTo>
                  <a:pt x="433" y="411"/>
                </a:lnTo>
                <a:lnTo>
                  <a:pt x="431" y="412"/>
                </a:lnTo>
                <a:lnTo>
                  <a:pt x="427" y="416"/>
                </a:lnTo>
                <a:lnTo>
                  <a:pt x="423" y="417"/>
                </a:lnTo>
                <a:lnTo>
                  <a:pt x="422" y="418"/>
                </a:lnTo>
                <a:lnTo>
                  <a:pt x="418" y="419"/>
                </a:lnTo>
                <a:lnTo>
                  <a:pt x="417" y="418"/>
                </a:lnTo>
                <a:lnTo>
                  <a:pt x="415" y="419"/>
                </a:lnTo>
                <a:lnTo>
                  <a:pt x="414" y="417"/>
                </a:lnTo>
                <a:lnTo>
                  <a:pt x="419" y="413"/>
                </a:lnTo>
                <a:lnTo>
                  <a:pt x="419" y="412"/>
                </a:lnTo>
                <a:lnTo>
                  <a:pt x="416" y="411"/>
                </a:lnTo>
                <a:lnTo>
                  <a:pt x="416" y="410"/>
                </a:lnTo>
                <a:lnTo>
                  <a:pt x="419" y="410"/>
                </a:lnTo>
                <a:lnTo>
                  <a:pt x="430" y="408"/>
                </a:lnTo>
                <a:lnTo>
                  <a:pt x="429" y="407"/>
                </a:lnTo>
                <a:lnTo>
                  <a:pt x="425" y="407"/>
                </a:lnTo>
                <a:lnTo>
                  <a:pt x="424" y="405"/>
                </a:lnTo>
                <a:lnTo>
                  <a:pt x="425" y="405"/>
                </a:lnTo>
                <a:lnTo>
                  <a:pt x="427" y="404"/>
                </a:lnTo>
                <a:lnTo>
                  <a:pt x="419" y="405"/>
                </a:lnTo>
                <a:lnTo>
                  <a:pt x="417" y="405"/>
                </a:lnTo>
                <a:lnTo>
                  <a:pt x="417" y="403"/>
                </a:lnTo>
                <a:lnTo>
                  <a:pt x="416" y="403"/>
                </a:lnTo>
                <a:lnTo>
                  <a:pt x="416" y="404"/>
                </a:lnTo>
                <a:lnTo>
                  <a:pt x="415" y="403"/>
                </a:lnTo>
                <a:lnTo>
                  <a:pt x="415" y="400"/>
                </a:lnTo>
                <a:lnTo>
                  <a:pt x="416" y="399"/>
                </a:lnTo>
                <a:lnTo>
                  <a:pt x="419" y="399"/>
                </a:lnTo>
                <a:lnTo>
                  <a:pt x="423" y="398"/>
                </a:lnTo>
                <a:lnTo>
                  <a:pt x="428" y="398"/>
                </a:lnTo>
                <a:lnTo>
                  <a:pt x="429" y="397"/>
                </a:lnTo>
                <a:lnTo>
                  <a:pt x="428" y="395"/>
                </a:lnTo>
                <a:lnTo>
                  <a:pt x="418" y="397"/>
                </a:lnTo>
                <a:lnTo>
                  <a:pt x="424" y="391"/>
                </a:lnTo>
                <a:lnTo>
                  <a:pt x="427" y="391"/>
                </a:lnTo>
                <a:lnTo>
                  <a:pt x="428" y="392"/>
                </a:lnTo>
                <a:lnTo>
                  <a:pt x="433" y="392"/>
                </a:lnTo>
                <a:lnTo>
                  <a:pt x="435" y="394"/>
                </a:lnTo>
                <a:lnTo>
                  <a:pt x="434" y="394"/>
                </a:lnTo>
                <a:lnTo>
                  <a:pt x="434" y="395"/>
                </a:lnTo>
                <a:lnTo>
                  <a:pt x="433" y="397"/>
                </a:lnTo>
                <a:lnTo>
                  <a:pt x="433" y="398"/>
                </a:lnTo>
                <a:lnTo>
                  <a:pt x="437" y="392"/>
                </a:lnTo>
                <a:lnTo>
                  <a:pt x="437" y="391"/>
                </a:lnTo>
                <a:lnTo>
                  <a:pt x="437" y="392"/>
                </a:lnTo>
                <a:lnTo>
                  <a:pt x="440" y="392"/>
                </a:lnTo>
                <a:lnTo>
                  <a:pt x="446" y="388"/>
                </a:lnTo>
                <a:lnTo>
                  <a:pt x="448" y="388"/>
                </a:lnTo>
                <a:lnTo>
                  <a:pt x="447" y="392"/>
                </a:lnTo>
                <a:lnTo>
                  <a:pt x="448" y="391"/>
                </a:lnTo>
                <a:lnTo>
                  <a:pt x="448" y="389"/>
                </a:lnTo>
                <a:lnTo>
                  <a:pt x="449" y="389"/>
                </a:lnTo>
                <a:lnTo>
                  <a:pt x="450" y="388"/>
                </a:lnTo>
                <a:lnTo>
                  <a:pt x="450" y="387"/>
                </a:lnTo>
                <a:lnTo>
                  <a:pt x="456" y="385"/>
                </a:lnTo>
                <a:lnTo>
                  <a:pt x="458" y="385"/>
                </a:lnTo>
                <a:lnTo>
                  <a:pt x="460" y="386"/>
                </a:lnTo>
                <a:lnTo>
                  <a:pt x="460" y="391"/>
                </a:lnTo>
                <a:lnTo>
                  <a:pt x="461" y="391"/>
                </a:lnTo>
                <a:lnTo>
                  <a:pt x="461" y="387"/>
                </a:lnTo>
                <a:lnTo>
                  <a:pt x="465" y="383"/>
                </a:lnTo>
                <a:lnTo>
                  <a:pt x="465" y="382"/>
                </a:lnTo>
                <a:lnTo>
                  <a:pt x="466" y="380"/>
                </a:lnTo>
                <a:lnTo>
                  <a:pt x="465" y="380"/>
                </a:lnTo>
                <a:lnTo>
                  <a:pt x="467" y="377"/>
                </a:lnTo>
                <a:lnTo>
                  <a:pt x="470" y="379"/>
                </a:lnTo>
                <a:lnTo>
                  <a:pt x="470" y="377"/>
                </a:lnTo>
                <a:lnTo>
                  <a:pt x="462" y="376"/>
                </a:lnTo>
                <a:lnTo>
                  <a:pt x="461" y="375"/>
                </a:lnTo>
                <a:lnTo>
                  <a:pt x="461" y="374"/>
                </a:lnTo>
                <a:lnTo>
                  <a:pt x="462" y="373"/>
                </a:lnTo>
                <a:lnTo>
                  <a:pt x="462" y="371"/>
                </a:lnTo>
                <a:lnTo>
                  <a:pt x="461" y="371"/>
                </a:lnTo>
                <a:lnTo>
                  <a:pt x="460" y="374"/>
                </a:lnTo>
                <a:lnTo>
                  <a:pt x="459" y="374"/>
                </a:lnTo>
                <a:lnTo>
                  <a:pt x="458" y="375"/>
                </a:lnTo>
                <a:lnTo>
                  <a:pt x="450" y="375"/>
                </a:lnTo>
                <a:lnTo>
                  <a:pt x="449" y="374"/>
                </a:lnTo>
                <a:lnTo>
                  <a:pt x="449" y="373"/>
                </a:lnTo>
                <a:lnTo>
                  <a:pt x="448" y="371"/>
                </a:lnTo>
                <a:lnTo>
                  <a:pt x="448" y="370"/>
                </a:lnTo>
                <a:lnTo>
                  <a:pt x="447" y="371"/>
                </a:lnTo>
                <a:lnTo>
                  <a:pt x="447" y="373"/>
                </a:lnTo>
                <a:lnTo>
                  <a:pt x="441" y="376"/>
                </a:lnTo>
                <a:lnTo>
                  <a:pt x="441" y="377"/>
                </a:lnTo>
                <a:lnTo>
                  <a:pt x="442" y="379"/>
                </a:lnTo>
                <a:lnTo>
                  <a:pt x="442" y="377"/>
                </a:lnTo>
                <a:lnTo>
                  <a:pt x="443" y="379"/>
                </a:lnTo>
                <a:lnTo>
                  <a:pt x="442" y="380"/>
                </a:lnTo>
                <a:lnTo>
                  <a:pt x="440" y="380"/>
                </a:lnTo>
                <a:lnTo>
                  <a:pt x="437" y="379"/>
                </a:lnTo>
                <a:lnTo>
                  <a:pt x="436" y="375"/>
                </a:lnTo>
                <a:lnTo>
                  <a:pt x="437" y="374"/>
                </a:lnTo>
                <a:lnTo>
                  <a:pt x="437" y="373"/>
                </a:lnTo>
                <a:lnTo>
                  <a:pt x="440" y="373"/>
                </a:lnTo>
                <a:lnTo>
                  <a:pt x="440" y="370"/>
                </a:lnTo>
                <a:lnTo>
                  <a:pt x="446" y="364"/>
                </a:lnTo>
                <a:lnTo>
                  <a:pt x="446" y="368"/>
                </a:lnTo>
                <a:lnTo>
                  <a:pt x="447" y="368"/>
                </a:lnTo>
                <a:lnTo>
                  <a:pt x="447" y="367"/>
                </a:lnTo>
                <a:lnTo>
                  <a:pt x="449" y="367"/>
                </a:lnTo>
                <a:lnTo>
                  <a:pt x="452" y="364"/>
                </a:lnTo>
                <a:lnTo>
                  <a:pt x="452" y="361"/>
                </a:lnTo>
                <a:lnTo>
                  <a:pt x="453" y="361"/>
                </a:lnTo>
                <a:lnTo>
                  <a:pt x="453" y="362"/>
                </a:lnTo>
                <a:lnTo>
                  <a:pt x="455" y="363"/>
                </a:lnTo>
                <a:lnTo>
                  <a:pt x="455" y="364"/>
                </a:lnTo>
                <a:lnTo>
                  <a:pt x="454" y="365"/>
                </a:lnTo>
                <a:lnTo>
                  <a:pt x="455" y="365"/>
                </a:lnTo>
                <a:lnTo>
                  <a:pt x="455" y="367"/>
                </a:lnTo>
                <a:lnTo>
                  <a:pt x="456" y="368"/>
                </a:lnTo>
                <a:lnTo>
                  <a:pt x="455" y="369"/>
                </a:lnTo>
                <a:lnTo>
                  <a:pt x="455" y="370"/>
                </a:lnTo>
                <a:lnTo>
                  <a:pt x="452" y="368"/>
                </a:lnTo>
                <a:lnTo>
                  <a:pt x="450" y="369"/>
                </a:lnTo>
                <a:lnTo>
                  <a:pt x="452" y="370"/>
                </a:lnTo>
                <a:lnTo>
                  <a:pt x="452" y="371"/>
                </a:lnTo>
                <a:lnTo>
                  <a:pt x="450" y="373"/>
                </a:lnTo>
                <a:lnTo>
                  <a:pt x="452" y="374"/>
                </a:lnTo>
                <a:lnTo>
                  <a:pt x="453" y="374"/>
                </a:lnTo>
                <a:lnTo>
                  <a:pt x="453" y="371"/>
                </a:lnTo>
                <a:lnTo>
                  <a:pt x="455" y="371"/>
                </a:lnTo>
                <a:lnTo>
                  <a:pt x="456" y="370"/>
                </a:lnTo>
                <a:lnTo>
                  <a:pt x="456" y="369"/>
                </a:lnTo>
                <a:lnTo>
                  <a:pt x="460" y="369"/>
                </a:lnTo>
                <a:lnTo>
                  <a:pt x="460" y="368"/>
                </a:lnTo>
                <a:lnTo>
                  <a:pt x="461" y="368"/>
                </a:lnTo>
                <a:lnTo>
                  <a:pt x="462" y="365"/>
                </a:lnTo>
                <a:lnTo>
                  <a:pt x="464" y="364"/>
                </a:lnTo>
                <a:lnTo>
                  <a:pt x="461" y="360"/>
                </a:lnTo>
                <a:lnTo>
                  <a:pt x="461" y="358"/>
                </a:lnTo>
                <a:lnTo>
                  <a:pt x="462" y="357"/>
                </a:lnTo>
                <a:lnTo>
                  <a:pt x="464" y="358"/>
                </a:lnTo>
                <a:lnTo>
                  <a:pt x="465" y="358"/>
                </a:lnTo>
                <a:lnTo>
                  <a:pt x="465" y="352"/>
                </a:lnTo>
                <a:lnTo>
                  <a:pt x="466" y="351"/>
                </a:lnTo>
                <a:lnTo>
                  <a:pt x="468" y="351"/>
                </a:lnTo>
                <a:lnTo>
                  <a:pt x="468" y="354"/>
                </a:lnTo>
                <a:lnTo>
                  <a:pt x="470" y="355"/>
                </a:lnTo>
                <a:lnTo>
                  <a:pt x="470" y="358"/>
                </a:lnTo>
                <a:lnTo>
                  <a:pt x="468" y="358"/>
                </a:lnTo>
                <a:lnTo>
                  <a:pt x="468" y="361"/>
                </a:lnTo>
                <a:lnTo>
                  <a:pt x="470" y="361"/>
                </a:lnTo>
                <a:lnTo>
                  <a:pt x="471" y="360"/>
                </a:lnTo>
                <a:lnTo>
                  <a:pt x="472" y="361"/>
                </a:lnTo>
                <a:lnTo>
                  <a:pt x="471" y="363"/>
                </a:lnTo>
                <a:lnTo>
                  <a:pt x="471" y="365"/>
                </a:lnTo>
                <a:lnTo>
                  <a:pt x="470" y="367"/>
                </a:lnTo>
                <a:lnTo>
                  <a:pt x="470" y="368"/>
                </a:lnTo>
                <a:lnTo>
                  <a:pt x="471" y="371"/>
                </a:lnTo>
                <a:lnTo>
                  <a:pt x="471" y="373"/>
                </a:lnTo>
                <a:lnTo>
                  <a:pt x="470" y="374"/>
                </a:lnTo>
                <a:lnTo>
                  <a:pt x="470" y="375"/>
                </a:lnTo>
                <a:lnTo>
                  <a:pt x="468" y="376"/>
                </a:lnTo>
                <a:lnTo>
                  <a:pt x="473" y="380"/>
                </a:lnTo>
                <a:lnTo>
                  <a:pt x="476" y="381"/>
                </a:lnTo>
                <a:lnTo>
                  <a:pt x="476" y="389"/>
                </a:lnTo>
                <a:lnTo>
                  <a:pt x="477" y="392"/>
                </a:lnTo>
                <a:lnTo>
                  <a:pt x="477" y="393"/>
                </a:lnTo>
                <a:lnTo>
                  <a:pt x="479" y="393"/>
                </a:lnTo>
                <a:lnTo>
                  <a:pt x="479" y="394"/>
                </a:lnTo>
                <a:lnTo>
                  <a:pt x="480" y="395"/>
                </a:lnTo>
                <a:lnTo>
                  <a:pt x="485" y="401"/>
                </a:lnTo>
                <a:lnTo>
                  <a:pt x="487" y="403"/>
                </a:lnTo>
                <a:lnTo>
                  <a:pt x="489" y="401"/>
                </a:lnTo>
                <a:lnTo>
                  <a:pt x="487" y="401"/>
                </a:lnTo>
                <a:lnTo>
                  <a:pt x="486" y="400"/>
                </a:lnTo>
                <a:lnTo>
                  <a:pt x="486" y="397"/>
                </a:lnTo>
                <a:lnTo>
                  <a:pt x="480" y="393"/>
                </a:lnTo>
                <a:lnTo>
                  <a:pt x="478" y="392"/>
                </a:lnTo>
                <a:lnTo>
                  <a:pt x="478" y="388"/>
                </a:lnTo>
                <a:lnTo>
                  <a:pt x="479" y="387"/>
                </a:lnTo>
                <a:lnTo>
                  <a:pt x="479" y="386"/>
                </a:lnTo>
                <a:lnTo>
                  <a:pt x="478" y="383"/>
                </a:lnTo>
                <a:lnTo>
                  <a:pt x="479" y="382"/>
                </a:lnTo>
                <a:lnTo>
                  <a:pt x="476" y="379"/>
                </a:lnTo>
                <a:lnTo>
                  <a:pt x="479" y="379"/>
                </a:lnTo>
                <a:lnTo>
                  <a:pt x="480" y="380"/>
                </a:lnTo>
                <a:lnTo>
                  <a:pt x="484" y="388"/>
                </a:lnTo>
                <a:lnTo>
                  <a:pt x="484" y="389"/>
                </a:lnTo>
                <a:lnTo>
                  <a:pt x="486" y="391"/>
                </a:lnTo>
                <a:lnTo>
                  <a:pt x="486" y="386"/>
                </a:lnTo>
                <a:lnTo>
                  <a:pt x="484" y="385"/>
                </a:lnTo>
                <a:lnTo>
                  <a:pt x="484" y="383"/>
                </a:lnTo>
                <a:lnTo>
                  <a:pt x="483" y="382"/>
                </a:lnTo>
                <a:lnTo>
                  <a:pt x="481" y="380"/>
                </a:lnTo>
                <a:lnTo>
                  <a:pt x="481" y="379"/>
                </a:lnTo>
                <a:lnTo>
                  <a:pt x="484" y="379"/>
                </a:lnTo>
                <a:lnTo>
                  <a:pt x="485" y="382"/>
                </a:lnTo>
                <a:lnTo>
                  <a:pt x="487" y="385"/>
                </a:lnTo>
                <a:lnTo>
                  <a:pt x="489" y="385"/>
                </a:lnTo>
                <a:lnTo>
                  <a:pt x="490" y="383"/>
                </a:lnTo>
                <a:lnTo>
                  <a:pt x="489" y="383"/>
                </a:lnTo>
                <a:lnTo>
                  <a:pt x="487" y="382"/>
                </a:lnTo>
                <a:lnTo>
                  <a:pt x="486" y="382"/>
                </a:lnTo>
                <a:lnTo>
                  <a:pt x="486" y="381"/>
                </a:lnTo>
                <a:lnTo>
                  <a:pt x="487" y="380"/>
                </a:lnTo>
                <a:lnTo>
                  <a:pt x="489" y="377"/>
                </a:lnTo>
                <a:lnTo>
                  <a:pt x="483" y="376"/>
                </a:lnTo>
                <a:lnTo>
                  <a:pt x="483" y="374"/>
                </a:lnTo>
                <a:lnTo>
                  <a:pt x="484" y="373"/>
                </a:lnTo>
                <a:lnTo>
                  <a:pt x="484" y="371"/>
                </a:lnTo>
                <a:lnTo>
                  <a:pt x="485" y="371"/>
                </a:lnTo>
                <a:lnTo>
                  <a:pt x="486" y="370"/>
                </a:lnTo>
                <a:lnTo>
                  <a:pt x="486" y="369"/>
                </a:lnTo>
                <a:lnTo>
                  <a:pt x="487" y="369"/>
                </a:lnTo>
                <a:lnTo>
                  <a:pt x="490" y="371"/>
                </a:lnTo>
                <a:lnTo>
                  <a:pt x="495" y="374"/>
                </a:lnTo>
                <a:lnTo>
                  <a:pt x="496" y="373"/>
                </a:lnTo>
                <a:lnTo>
                  <a:pt x="495" y="373"/>
                </a:lnTo>
                <a:lnTo>
                  <a:pt x="496" y="371"/>
                </a:lnTo>
                <a:lnTo>
                  <a:pt x="491" y="369"/>
                </a:lnTo>
                <a:lnTo>
                  <a:pt x="490" y="369"/>
                </a:lnTo>
                <a:lnTo>
                  <a:pt x="489" y="367"/>
                </a:lnTo>
                <a:lnTo>
                  <a:pt x="489" y="365"/>
                </a:lnTo>
                <a:lnTo>
                  <a:pt x="486" y="367"/>
                </a:lnTo>
                <a:lnTo>
                  <a:pt x="481" y="370"/>
                </a:lnTo>
                <a:lnTo>
                  <a:pt x="479" y="369"/>
                </a:lnTo>
                <a:lnTo>
                  <a:pt x="479" y="368"/>
                </a:lnTo>
                <a:lnTo>
                  <a:pt x="480" y="367"/>
                </a:lnTo>
                <a:lnTo>
                  <a:pt x="478" y="365"/>
                </a:lnTo>
                <a:lnTo>
                  <a:pt x="477" y="364"/>
                </a:lnTo>
                <a:lnTo>
                  <a:pt x="479" y="365"/>
                </a:lnTo>
                <a:lnTo>
                  <a:pt x="480" y="365"/>
                </a:lnTo>
                <a:lnTo>
                  <a:pt x="483" y="363"/>
                </a:lnTo>
                <a:lnTo>
                  <a:pt x="484" y="364"/>
                </a:lnTo>
                <a:lnTo>
                  <a:pt x="484" y="362"/>
                </a:lnTo>
                <a:lnTo>
                  <a:pt x="487" y="362"/>
                </a:lnTo>
                <a:lnTo>
                  <a:pt x="486" y="361"/>
                </a:lnTo>
                <a:lnTo>
                  <a:pt x="486" y="360"/>
                </a:lnTo>
                <a:lnTo>
                  <a:pt x="484" y="358"/>
                </a:lnTo>
                <a:lnTo>
                  <a:pt x="490" y="361"/>
                </a:lnTo>
                <a:lnTo>
                  <a:pt x="492" y="361"/>
                </a:lnTo>
                <a:lnTo>
                  <a:pt x="491" y="360"/>
                </a:lnTo>
                <a:lnTo>
                  <a:pt x="490" y="360"/>
                </a:lnTo>
                <a:lnTo>
                  <a:pt x="486" y="356"/>
                </a:lnTo>
                <a:lnTo>
                  <a:pt x="486" y="354"/>
                </a:lnTo>
                <a:lnTo>
                  <a:pt x="485" y="354"/>
                </a:lnTo>
                <a:lnTo>
                  <a:pt x="485" y="356"/>
                </a:lnTo>
                <a:lnTo>
                  <a:pt x="474" y="356"/>
                </a:lnTo>
                <a:lnTo>
                  <a:pt x="474" y="355"/>
                </a:lnTo>
                <a:lnTo>
                  <a:pt x="476" y="354"/>
                </a:lnTo>
                <a:lnTo>
                  <a:pt x="481" y="354"/>
                </a:lnTo>
                <a:lnTo>
                  <a:pt x="481" y="351"/>
                </a:lnTo>
                <a:lnTo>
                  <a:pt x="476" y="350"/>
                </a:lnTo>
                <a:lnTo>
                  <a:pt x="472" y="349"/>
                </a:lnTo>
                <a:lnTo>
                  <a:pt x="472" y="346"/>
                </a:lnTo>
                <a:lnTo>
                  <a:pt x="473" y="344"/>
                </a:lnTo>
                <a:lnTo>
                  <a:pt x="474" y="343"/>
                </a:lnTo>
                <a:lnTo>
                  <a:pt x="476" y="344"/>
                </a:lnTo>
                <a:lnTo>
                  <a:pt x="477" y="344"/>
                </a:lnTo>
                <a:lnTo>
                  <a:pt x="478" y="345"/>
                </a:lnTo>
                <a:lnTo>
                  <a:pt x="478" y="344"/>
                </a:lnTo>
                <a:lnTo>
                  <a:pt x="479" y="344"/>
                </a:lnTo>
                <a:lnTo>
                  <a:pt x="479" y="345"/>
                </a:lnTo>
                <a:lnTo>
                  <a:pt x="480" y="345"/>
                </a:lnTo>
                <a:lnTo>
                  <a:pt x="480" y="348"/>
                </a:lnTo>
                <a:lnTo>
                  <a:pt x="484" y="348"/>
                </a:lnTo>
                <a:lnTo>
                  <a:pt x="489" y="350"/>
                </a:lnTo>
                <a:lnTo>
                  <a:pt x="491" y="352"/>
                </a:lnTo>
                <a:lnTo>
                  <a:pt x="491" y="357"/>
                </a:lnTo>
                <a:lnTo>
                  <a:pt x="498" y="363"/>
                </a:lnTo>
                <a:lnTo>
                  <a:pt x="499" y="364"/>
                </a:lnTo>
                <a:lnTo>
                  <a:pt x="501" y="364"/>
                </a:lnTo>
                <a:lnTo>
                  <a:pt x="498" y="362"/>
                </a:lnTo>
                <a:lnTo>
                  <a:pt x="498" y="360"/>
                </a:lnTo>
                <a:lnTo>
                  <a:pt x="493" y="355"/>
                </a:lnTo>
                <a:lnTo>
                  <a:pt x="492" y="352"/>
                </a:lnTo>
                <a:lnTo>
                  <a:pt x="492" y="350"/>
                </a:lnTo>
                <a:lnTo>
                  <a:pt x="491" y="348"/>
                </a:lnTo>
                <a:lnTo>
                  <a:pt x="489" y="346"/>
                </a:lnTo>
                <a:lnTo>
                  <a:pt x="484" y="345"/>
                </a:lnTo>
                <a:lnTo>
                  <a:pt x="480" y="342"/>
                </a:lnTo>
                <a:lnTo>
                  <a:pt x="478" y="343"/>
                </a:lnTo>
                <a:lnTo>
                  <a:pt x="477" y="342"/>
                </a:lnTo>
                <a:lnTo>
                  <a:pt x="479" y="340"/>
                </a:lnTo>
                <a:lnTo>
                  <a:pt x="477" y="340"/>
                </a:lnTo>
                <a:lnTo>
                  <a:pt x="477" y="339"/>
                </a:lnTo>
                <a:lnTo>
                  <a:pt x="478" y="338"/>
                </a:lnTo>
                <a:lnTo>
                  <a:pt x="481" y="337"/>
                </a:lnTo>
                <a:lnTo>
                  <a:pt x="485" y="334"/>
                </a:lnTo>
                <a:lnTo>
                  <a:pt x="496" y="333"/>
                </a:lnTo>
                <a:lnTo>
                  <a:pt x="497" y="333"/>
                </a:lnTo>
                <a:lnTo>
                  <a:pt x="501" y="336"/>
                </a:lnTo>
                <a:lnTo>
                  <a:pt x="503" y="337"/>
                </a:lnTo>
                <a:lnTo>
                  <a:pt x="504" y="337"/>
                </a:lnTo>
                <a:lnTo>
                  <a:pt x="504" y="339"/>
                </a:lnTo>
                <a:lnTo>
                  <a:pt x="502" y="342"/>
                </a:lnTo>
                <a:lnTo>
                  <a:pt x="502" y="343"/>
                </a:lnTo>
                <a:lnTo>
                  <a:pt x="503" y="343"/>
                </a:lnTo>
                <a:lnTo>
                  <a:pt x="509" y="340"/>
                </a:lnTo>
                <a:lnTo>
                  <a:pt x="510" y="338"/>
                </a:lnTo>
                <a:lnTo>
                  <a:pt x="511" y="338"/>
                </a:lnTo>
                <a:lnTo>
                  <a:pt x="515" y="337"/>
                </a:lnTo>
                <a:lnTo>
                  <a:pt x="516" y="340"/>
                </a:lnTo>
                <a:lnTo>
                  <a:pt x="517" y="340"/>
                </a:lnTo>
                <a:lnTo>
                  <a:pt x="517" y="345"/>
                </a:lnTo>
                <a:lnTo>
                  <a:pt x="518" y="348"/>
                </a:lnTo>
                <a:lnTo>
                  <a:pt x="523" y="350"/>
                </a:lnTo>
                <a:lnTo>
                  <a:pt x="522" y="352"/>
                </a:lnTo>
                <a:lnTo>
                  <a:pt x="522" y="354"/>
                </a:lnTo>
                <a:lnTo>
                  <a:pt x="523" y="355"/>
                </a:lnTo>
                <a:lnTo>
                  <a:pt x="523" y="361"/>
                </a:lnTo>
                <a:lnTo>
                  <a:pt x="524" y="360"/>
                </a:lnTo>
                <a:lnTo>
                  <a:pt x="524" y="352"/>
                </a:lnTo>
                <a:lnTo>
                  <a:pt x="527" y="352"/>
                </a:lnTo>
                <a:lnTo>
                  <a:pt x="526" y="349"/>
                </a:lnTo>
                <a:lnTo>
                  <a:pt x="524" y="346"/>
                </a:lnTo>
                <a:lnTo>
                  <a:pt x="521" y="344"/>
                </a:lnTo>
                <a:lnTo>
                  <a:pt x="520" y="343"/>
                </a:lnTo>
                <a:lnTo>
                  <a:pt x="520" y="342"/>
                </a:lnTo>
                <a:lnTo>
                  <a:pt x="518" y="340"/>
                </a:lnTo>
                <a:lnTo>
                  <a:pt x="518" y="337"/>
                </a:lnTo>
                <a:lnTo>
                  <a:pt x="520" y="336"/>
                </a:lnTo>
                <a:lnTo>
                  <a:pt x="520" y="333"/>
                </a:lnTo>
                <a:lnTo>
                  <a:pt x="523" y="333"/>
                </a:lnTo>
                <a:lnTo>
                  <a:pt x="530" y="338"/>
                </a:lnTo>
                <a:lnTo>
                  <a:pt x="534" y="338"/>
                </a:lnTo>
                <a:lnTo>
                  <a:pt x="533" y="337"/>
                </a:lnTo>
                <a:lnTo>
                  <a:pt x="524" y="332"/>
                </a:lnTo>
                <a:lnTo>
                  <a:pt x="526" y="331"/>
                </a:lnTo>
                <a:lnTo>
                  <a:pt x="532" y="331"/>
                </a:lnTo>
                <a:lnTo>
                  <a:pt x="539" y="332"/>
                </a:lnTo>
                <a:lnTo>
                  <a:pt x="543" y="336"/>
                </a:lnTo>
                <a:lnTo>
                  <a:pt x="546" y="334"/>
                </a:lnTo>
                <a:lnTo>
                  <a:pt x="543" y="334"/>
                </a:lnTo>
                <a:lnTo>
                  <a:pt x="535" y="328"/>
                </a:lnTo>
                <a:lnTo>
                  <a:pt x="529" y="328"/>
                </a:lnTo>
                <a:lnTo>
                  <a:pt x="533" y="320"/>
                </a:lnTo>
                <a:lnTo>
                  <a:pt x="533" y="319"/>
                </a:lnTo>
                <a:lnTo>
                  <a:pt x="532" y="319"/>
                </a:lnTo>
                <a:lnTo>
                  <a:pt x="529" y="320"/>
                </a:lnTo>
                <a:lnTo>
                  <a:pt x="528" y="321"/>
                </a:lnTo>
                <a:lnTo>
                  <a:pt x="524" y="322"/>
                </a:lnTo>
                <a:lnTo>
                  <a:pt x="520" y="327"/>
                </a:lnTo>
                <a:lnTo>
                  <a:pt x="511" y="330"/>
                </a:lnTo>
                <a:lnTo>
                  <a:pt x="509" y="328"/>
                </a:lnTo>
                <a:lnTo>
                  <a:pt x="510" y="327"/>
                </a:lnTo>
                <a:lnTo>
                  <a:pt x="512" y="327"/>
                </a:lnTo>
                <a:lnTo>
                  <a:pt x="514" y="326"/>
                </a:lnTo>
                <a:lnTo>
                  <a:pt x="514" y="325"/>
                </a:lnTo>
                <a:lnTo>
                  <a:pt x="511" y="322"/>
                </a:lnTo>
                <a:lnTo>
                  <a:pt x="510" y="322"/>
                </a:lnTo>
                <a:lnTo>
                  <a:pt x="509" y="321"/>
                </a:lnTo>
                <a:lnTo>
                  <a:pt x="508" y="321"/>
                </a:lnTo>
                <a:lnTo>
                  <a:pt x="505" y="325"/>
                </a:lnTo>
                <a:lnTo>
                  <a:pt x="504" y="326"/>
                </a:lnTo>
                <a:lnTo>
                  <a:pt x="503" y="328"/>
                </a:lnTo>
                <a:lnTo>
                  <a:pt x="498" y="327"/>
                </a:lnTo>
                <a:lnTo>
                  <a:pt x="496" y="330"/>
                </a:lnTo>
                <a:lnTo>
                  <a:pt x="490" y="330"/>
                </a:lnTo>
                <a:lnTo>
                  <a:pt x="489" y="328"/>
                </a:lnTo>
                <a:lnTo>
                  <a:pt x="489" y="326"/>
                </a:lnTo>
                <a:lnTo>
                  <a:pt x="487" y="325"/>
                </a:lnTo>
                <a:lnTo>
                  <a:pt x="487" y="322"/>
                </a:lnTo>
                <a:lnTo>
                  <a:pt x="486" y="321"/>
                </a:lnTo>
                <a:lnTo>
                  <a:pt x="487" y="320"/>
                </a:lnTo>
                <a:lnTo>
                  <a:pt x="487" y="319"/>
                </a:lnTo>
                <a:lnTo>
                  <a:pt x="490" y="318"/>
                </a:lnTo>
                <a:lnTo>
                  <a:pt x="491" y="318"/>
                </a:lnTo>
                <a:lnTo>
                  <a:pt x="492" y="319"/>
                </a:lnTo>
                <a:lnTo>
                  <a:pt x="493" y="319"/>
                </a:lnTo>
                <a:lnTo>
                  <a:pt x="493" y="317"/>
                </a:lnTo>
                <a:lnTo>
                  <a:pt x="492" y="315"/>
                </a:lnTo>
                <a:lnTo>
                  <a:pt x="491" y="315"/>
                </a:lnTo>
                <a:lnTo>
                  <a:pt x="491" y="309"/>
                </a:lnTo>
                <a:lnTo>
                  <a:pt x="492" y="307"/>
                </a:lnTo>
                <a:lnTo>
                  <a:pt x="493" y="306"/>
                </a:lnTo>
                <a:lnTo>
                  <a:pt x="497" y="305"/>
                </a:lnTo>
                <a:lnTo>
                  <a:pt x="502" y="301"/>
                </a:lnTo>
                <a:lnTo>
                  <a:pt x="506" y="300"/>
                </a:lnTo>
                <a:lnTo>
                  <a:pt x="508" y="299"/>
                </a:lnTo>
                <a:lnTo>
                  <a:pt x="509" y="299"/>
                </a:lnTo>
                <a:lnTo>
                  <a:pt x="510" y="300"/>
                </a:lnTo>
                <a:lnTo>
                  <a:pt x="511" y="302"/>
                </a:lnTo>
                <a:lnTo>
                  <a:pt x="512" y="303"/>
                </a:lnTo>
                <a:lnTo>
                  <a:pt x="512" y="306"/>
                </a:lnTo>
                <a:lnTo>
                  <a:pt x="515" y="307"/>
                </a:lnTo>
                <a:lnTo>
                  <a:pt x="516" y="307"/>
                </a:lnTo>
                <a:lnTo>
                  <a:pt x="517" y="306"/>
                </a:lnTo>
                <a:lnTo>
                  <a:pt x="516" y="305"/>
                </a:lnTo>
                <a:lnTo>
                  <a:pt x="515" y="305"/>
                </a:lnTo>
                <a:lnTo>
                  <a:pt x="514" y="303"/>
                </a:lnTo>
                <a:lnTo>
                  <a:pt x="514" y="300"/>
                </a:lnTo>
                <a:lnTo>
                  <a:pt x="518" y="297"/>
                </a:lnTo>
                <a:lnTo>
                  <a:pt x="520" y="296"/>
                </a:lnTo>
                <a:lnTo>
                  <a:pt x="521" y="296"/>
                </a:lnTo>
                <a:lnTo>
                  <a:pt x="522" y="299"/>
                </a:lnTo>
                <a:lnTo>
                  <a:pt x="523" y="299"/>
                </a:lnTo>
                <a:lnTo>
                  <a:pt x="524" y="297"/>
                </a:lnTo>
                <a:lnTo>
                  <a:pt x="527" y="301"/>
                </a:lnTo>
                <a:lnTo>
                  <a:pt x="527" y="302"/>
                </a:lnTo>
                <a:lnTo>
                  <a:pt x="528" y="302"/>
                </a:lnTo>
                <a:lnTo>
                  <a:pt x="529" y="303"/>
                </a:lnTo>
                <a:lnTo>
                  <a:pt x="530" y="303"/>
                </a:lnTo>
                <a:lnTo>
                  <a:pt x="534" y="302"/>
                </a:lnTo>
                <a:lnTo>
                  <a:pt x="536" y="305"/>
                </a:lnTo>
                <a:lnTo>
                  <a:pt x="537" y="303"/>
                </a:lnTo>
                <a:lnTo>
                  <a:pt x="535" y="301"/>
                </a:lnTo>
                <a:lnTo>
                  <a:pt x="530" y="300"/>
                </a:lnTo>
                <a:lnTo>
                  <a:pt x="527" y="296"/>
                </a:lnTo>
                <a:lnTo>
                  <a:pt x="527" y="294"/>
                </a:lnTo>
                <a:lnTo>
                  <a:pt x="524" y="294"/>
                </a:lnTo>
                <a:lnTo>
                  <a:pt x="524" y="295"/>
                </a:lnTo>
                <a:lnTo>
                  <a:pt x="522" y="295"/>
                </a:lnTo>
                <a:lnTo>
                  <a:pt x="520" y="293"/>
                </a:lnTo>
                <a:lnTo>
                  <a:pt x="523" y="289"/>
                </a:lnTo>
                <a:lnTo>
                  <a:pt x="526" y="288"/>
                </a:lnTo>
                <a:lnTo>
                  <a:pt x="527" y="287"/>
                </a:lnTo>
                <a:lnTo>
                  <a:pt x="529" y="285"/>
                </a:lnTo>
                <a:lnTo>
                  <a:pt x="533" y="289"/>
                </a:lnTo>
                <a:lnTo>
                  <a:pt x="540" y="290"/>
                </a:lnTo>
                <a:lnTo>
                  <a:pt x="542" y="294"/>
                </a:lnTo>
                <a:lnTo>
                  <a:pt x="542" y="290"/>
                </a:lnTo>
                <a:lnTo>
                  <a:pt x="540" y="289"/>
                </a:lnTo>
                <a:lnTo>
                  <a:pt x="536" y="288"/>
                </a:lnTo>
                <a:lnTo>
                  <a:pt x="529" y="284"/>
                </a:lnTo>
                <a:lnTo>
                  <a:pt x="533" y="282"/>
                </a:lnTo>
                <a:lnTo>
                  <a:pt x="536" y="278"/>
                </a:lnTo>
                <a:lnTo>
                  <a:pt x="537" y="278"/>
                </a:lnTo>
                <a:lnTo>
                  <a:pt x="539" y="277"/>
                </a:lnTo>
                <a:lnTo>
                  <a:pt x="540" y="277"/>
                </a:lnTo>
                <a:lnTo>
                  <a:pt x="540" y="278"/>
                </a:lnTo>
                <a:lnTo>
                  <a:pt x="541" y="279"/>
                </a:lnTo>
                <a:lnTo>
                  <a:pt x="545" y="279"/>
                </a:lnTo>
                <a:lnTo>
                  <a:pt x="543" y="276"/>
                </a:lnTo>
                <a:lnTo>
                  <a:pt x="539" y="275"/>
                </a:lnTo>
                <a:lnTo>
                  <a:pt x="539" y="274"/>
                </a:lnTo>
                <a:lnTo>
                  <a:pt x="540" y="272"/>
                </a:lnTo>
                <a:lnTo>
                  <a:pt x="532" y="274"/>
                </a:lnTo>
                <a:lnTo>
                  <a:pt x="528" y="276"/>
                </a:lnTo>
                <a:lnTo>
                  <a:pt x="527" y="276"/>
                </a:lnTo>
                <a:lnTo>
                  <a:pt x="528" y="275"/>
                </a:lnTo>
                <a:lnTo>
                  <a:pt x="529" y="270"/>
                </a:lnTo>
                <a:lnTo>
                  <a:pt x="530" y="269"/>
                </a:lnTo>
                <a:lnTo>
                  <a:pt x="532" y="269"/>
                </a:lnTo>
                <a:lnTo>
                  <a:pt x="532" y="265"/>
                </a:lnTo>
                <a:lnTo>
                  <a:pt x="530" y="265"/>
                </a:lnTo>
                <a:lnTo>
                  <a:pt x="530" y="264"/>
                </a:lnTo>
                <a:lnTo>
                  <a:pt x="535" y="257"/>
                </a:lnTo>
                <a:lnTo>
                  <a:pt x="537" y="254"/>
                </a:lnTo>
                <a:lnTo>
                  <a:pt x="537" y="253"/>
                </a:lnTo>
                <a:lnTo>
                  <a:pt x="536" y="252"/>
                </a:lnTo>
                <a:lnTo>
                  <a:pt x="537" y="250"/>
                </a:lnTo>
                <a:lnTo>
                  <a:pt x="546" y="250"/>
                </a:lnTo>
                <a:lnTo>
                  <a:pt x="549" y="246"/>
                </a:lnTo>
                <a:lnTo>
                  <a:pt x="558" y="246"/>
                </a:lnTo>
                <a:lnTo>
                  <a:pt x="554" y="242"/>
                </a:lnTo>
                <a:lnTo>
                  <a:pt x="554" y="239"/>
                </a:lnTo>
                <a:lnTo>
                  <a:pt x="555" y="239"/>
                </a:lnTo>
                <a:lnTo>
                  <a:pt x="555" y="237"/>
                </a:lnTo>
                <a:lnTo>
                  <a:pt x="554" y="235"/>
                </a:lnTo>
                <a:lnTo>
                  <a:pt x="552" y="237"/>
                </a:lnTo>
                <a:lnTo>
                  <a:pt x="551" y="237"/>
                </a:lnTo>
                <a:lnTo>
                  <a:pt x="552" y="234"/>
                </a:lnTo>
                <a:lnTo>
                  <a:pt x="552" y="228"/>
                </a:lnTo>
                <a:lnTo>
                  <a:pt x="553" y="226"/>
                </a:lnTo>
                <a:lnTo>
                  <a:pt x="557" y="225"/>
                </a:lnTo>
                <a:lnTo>
                  <a:pt x="558" y="222"/>
                </a:lnTo>
                <a:lnTo>
                  <a:pt x="557" y="220"/>
                </a:lnTo>
                <a:lnTo>
                  <a:pt x="559" y="217"/>
                </a:lnTo>
                <a:lnTo>
                  <a:pt x="559" y="213"/>
                </a:lnTo>
                <a:lnTo>
                  <a:pt x="558" y="211"/>
                </a:lnTo>
                <a:lnTo>
                  <a:pt x="558" y="209"/>
                </a:lnTo>
                <a:lnTo>
                  <a:pt x="559" y="209"/>
                </a:lnTo>
                <a:lnTo>
                  <a:pt x="559" y="208"/>
                </a:lnTo>
                <a:lnTo>
                  <a:pt x="561" y="208"/>
                </a:lnTo>
                <a:lnTo>
                  <a:pt x="561" y="207"/>
                </a:lnTo>
                <a:lnTo>
                  <a:pt x="563" y="207"/>
                </a:lnTo>
                <a:lnTo>
                  <a:pt x="563" y="205"/>
                </a:lnTo>
                <a:lnTo>
                  <a:pt x="564" y="205"/>
                </a:lnTo>
                <a:lnTo>
                  <a:pt x="566" y="208"/>
                </a:lnTo>
                <a:lnTo>
                  <a:pt x="567" y="213"/>
                </a:lnTo>
                <a:lnTo>
                  <a:pt x="567" y="217"/>
                </a:lnTo>
                <a:lnTo>
                  <a:pt x="571" y="217"/>
                </a:lnTo>
                <a:lnTo>
                  <a:pt x="572" y="219"/>
                </a:lnTo>
                <a:lnTo>
                  <a:pt x="572" y="220"/>
                </a:lnTo>
                <a:lnTo>
                  <a:pt x="573" y="222"/>
                </a:lnTo>
                <a:lnTo>
                  <a:pt x="573" y="223"/>
                </a:lnTo>
                <a:lnTo>
                  <a:pt x="572" y="228"/>
                </a:lnTo>
                <a:lnTo>
                  <a:pt x="572" y="229"/>
                </a:lnTo>
                <a:lnTo>
                  <a:pt x="573" y="231"/>
                </a:lnTo>
                <a:lnTo>
                  <a:pt x="573" y="233"/>
                </a:lnTo>
                <a:lnTo>
                  <a:pt x="572" y="233"/>
                </a:lnTo>
                <a:lnTo>
                  <a:pt x="572" y="237"/>
                </a:lnTo>
                <a:lnTo>
                  <a:pt x="573" y="233"/>
                </a:lnTo>
                <a:lnTo>
                  <a:pt x="574" y="231"/>
                </a:lnTo>
                <a:lnTo>
                  <a:pt x="574" y="221"/>
                </a:lnTo>
                <a:lnTo>
                  <a:pt x="576" y="221"/>
                </a:lnTo>
                <a:lnTo>
                  <a:pt x="576" y="225"/>
                </a:lnTo>
                <a:lnTo>
                  <a:pt x="577" y="227"/>
                </a:lnTo>
                <a:lnTo>
                  <a:pt x="577" y="228"/>
                </a:lnTo>
                <a:lnTo>
                  <a:pt x="578" y="229"/>
                </a:lnTo>
                <a:lnTo>
                  <a:pt x="579" y="229"/>
                </a:lnTo>
                <a:lnTo>
                  <a:pt x="579" y="231"/>
                </a:lnTo>
                <a:lnTo>
                  <a:pt x="580" y="232"/>
                </a:lnTo>
                <a:lnTo>
                  <a:pt x="580" y="233"/>
                </a:lnTo>
                <a:lnTo>
                  <a:pt x="582" y="233"/>
                </a:lnTo>
                <a:lnTo>
                  <a:pt x="582" y="229"/>
                </a:lnTo>
                <a:lnTo>
                  <a:pt x="580" y="229"/>
                </a:lnTo>
                <a:lnTo>
                  <a:pt x="579" y="228"/>
                </a:lnTo>
                <a:lnTo>
                  <a:pt x="580" y="226"/>
                </a:lnTo>
                <a:lnTo>
                  <a:pt x="588" y="226"/>
                </a:lnTo>
                <a:lnTo>
                  <a:pt x="591" y="229"/>
                </a:lnTo>
                <a:lnTo>
                  <a:pt x="594" y="231"/>
                </a:lnTo>
                <a:lnTo>
                  <a:pt x="595" y="231"/>
                </a:lnTo>
                <a:lnTo>
                  <a:pt x="595" y="228"/>
                </a:lnTo>
                <a:lnTo>
                  <a:pt x="594" y="228"/>
                </a:lnTo>
                <a:lnTo>
                  <a:pt x="591" y="225"/>
                </a:lnTo>
                <a:lnTo>
                  <a:pt x="579" y="220"/>
                </a:lnTo>
                <a:lnTo>
                  <a:pt x="578" y="219"/>
                </a:lnTo>
                <a:lnTo>
                  <a:pt x="577" y="219"/>
                </a:lnTo>
                <a:lnTo>
                  <a:pt x="577" y="214"/>
                </a:lnTo>
                <a:lnTo>
                  <a:pt x="576" y="213"/>
                </a:lnTo>
                <a:lnTo>
                  <a:pt x="576" y="211"/>
                </a:lnTo>
                <a:lnTo>
                  <a:pt x="571" y="211"/>
                </a:lnTo>
                <a:lnTo>
                  <a:pt x="571" y="208"/>
                </a:lnTo>
                <a:lnTo>
                  <a:pt x="572" y="207"/>
                </a:lnTo>
                <a:lnTo>
                  <a:pt x="571" y="204"/>
                </a:lnTo>
                <a:lnTo>
                  <a:pt x="571" y="202"/>
                </a:lnTo>
                <a:lnTo>
                  <a:pt x="572" y="202"/>
                </a:lnTo>
                <a:lnTo>
                  <a:pt x="576" y="201"/>
                </a:lnTo>
                <a:lnTo>
                  <a:pt x="578" y="199"/>
                </a:lnTo>
                <a:lnTo>
                  <a:pt x="588" y="198"/>
                </a:lnTo>
                <a:lnTo>
                  <a:pt x="588" y="204"/>
                </a:lnTo>
                <a:lnTo>
                  <a:pt x="589" y="204"/>
                </a:lnTo>
                <a:lnTo>
                  <a:pt x="590" y="205"/>
                </a:lnTo>
                <a:lnTo>
                  <a:pt x="590" y="209"/>
                </a:lnTo>
                <a:lnTo>
                  <a:pt x="591" y="211"/>
                </a:lnTo>
                <a:lnTo>
                  <a:pt x="594" y="213"/>
                </a:lnTo>
                <a:lnTo>
                  <a:pt x="594" y="215"/>
                </a:lnTo>
                <a:lnTo>
                  <a:pt x="595" y="216"/>
                </a:lnTo>
                <a:lnTo>
                  <a:pt x="596" y="219"/>
                </a:lnTo>
                <a:lnTo>
                  <a:pt x="599" y="222"/>
                </a:lnTo>
                <a:lnTo>
                  <a:pt x="608" y="223"/>
                </a:lnTo>
                <a:lnTo>
                  <a:pt x="609" y="226"/>
                </a:lnTo>
                <a:lnTo>
                  <a:pt x="609" y="228"/>
                </a:lnTo>
                <a:lnTo>
                  <a:pt x="605" y="232"/>
                </a:lnTo>
                <a:lnTo>
                  <a:pt x="603" y="231"/>
                </a:lnTo>
                <a:lnTo>
                  <a:pt x="601" y="233"/>
                </a:lnTo>
                <a:lnTo>
                  <a:pt x="601" y="234"/>
                </a:lnTo>
                <a:lnTo>
                  <a:pt x="602" y="234"/>
                </a:lnTo>
                <a:lnTo>
                  <a:pt x="604" y="232"/>
                </a:lnTo>
                <a:lnTo>
                  <a:pt x="605" y="233"/>
                </a:lnTo>
                <a:lnTo>
                  <a:pt x="605" y="234"/>
                </a:lnTo>
                <a:lnTo>
                  <a:pt x="604" y="235"/>
                </a:lnTo>
                <a:lnTo>
                  <a:pt x="604" y="237"/>
                </a:lnTo>
                <a:lnTo>
                  <a:pt x="607" y="238"/>
                </a:lnTo>
                <a:lnTo>
                  <a:pt x="608" y="238"/>
                </a:lnTo>
                <a:lnTo>
                  <a:pt x="609" y="235"/>
                </a:lnTo>
                <a:lnTo>
                  <a:pt x="611" y="235"/>
                </a:lnTo>
                <a:lnTo>
                  <a:pt x="614" y="238"/>
                </a:lnTo>
                <a:lnTo>
                  <a:pt x="615" y="237"/>
                </a:lnTo>
                <a:lnTo>
                  <a:pt x="614" y="235"/>
                </a:lnTo>
                <a:lnTo>
                  <a:pt x="614" y="234"/>
                </a:lnTo>
                <a:lnTo>
                  <a:pt x="613" y="233"/>
                </a:lnTo>
                <a:lnTo>
                  <a:pt x="613" y="226"/>
                </a:lnTo>
                <a:lnTo>
                  <a:pt x="611" y="223"/>
                </a:lnTo>
                <a:lnTo>
                  <a:pt x="608" y="219"/>
                </a:lnTo>
                <a:lnTo>
                  <a:pt x="598" y="219"/>
                </a:lnTo>
                <a:lnTo>
                  <a:pt x="598" y="217"/>
                </a:lnTo>
                <a:lnTo>
                  <a:pt x="597" y="215"/>
                </a:lnTo>
                <a:lnTo>
                  <a:pt x="597" y="211"/>
                </a:lnTo>
                <a:lnTo>
                  <a:pt x="596" y="211"/>
                </a:lnTo>
                <a:lnTo>
                  <a:pt x="594" y="209"/>
                </a:lnTo>
                <a:lnTo>
                  <a:pt x="594" y="203"/>
                </a:lnTo>
                <a:lnTo>
                  <a:pt x="596" y="201"/>
                </a:lnTo>
                <a:lnTo>
                  <a:pt x="601" y="198"/>
                </a:lnTo>
                <a:lnTo>
                  <a:pt x="602" y="198"/>
                </a:lnTo>
                <a:lnTo>
                  <a:pt x="603" y="201"/>
                </a:lnTo>
                <a:lnTo>
                  <a:pt x="604" y="202"/>
                </a:lnTo>
                <a:lnTo>
                  <a:pt x="604" y="199"/>
                </a:lnTo>
                <a:lnTo>
                  <a:pt x="603" y="198"/>
                </a:lnTo>
                <a:lnTo>
                  <a:pt x="603" y="196"/>
                </a:lnTo>
                <a:lnTo>
                  <a:pt x="599" y="197"/>
                </a:lnTo>
                <a:lnTo>
                  <a:pt x="598" y="197"/>
                </a:lnTo>
                <a:lnTo>
                  <a:pt x="596" y="198"/>
                </a:lnTo>
                <a:lnTo>
                  <a:pt x="595" y="199"/>
                </a:lnTo>
                <a:lnTo>
                  <a:pt x="595" y="201"/>
                </a:lnTo>
                <a:lnTo>
                  <a:pt x="592" y="198"/>
                </a:lnTo>
                <a:lnTo>
                  <a:pt x="592" y="197"/>
                </a:lnTo>
                <a:lnTo>
                  <a:pt x="591" y="190"/>
                </a:lnTo>
                <a:lnTo>
                  <a:pt x="597" y="180"/>
                </a:lnTo>
                <a:lnTo>
                  <a:pt x="598" y="176"/>
                </a:lnTo>
                <a:lnTo>
                  <a:pt x="598" y="174"/>
                </a:lnTo>
                <a:lnTo>
                  <a:pt x="602" y="174"/>
                </a:lnTo>
                <a:lnTo>
                  <a:pt x="602" y="173"/>
                </a:lnTo>
                <a:lnTo>
                  <a:pt x="604" y="171"/>
                </a:lnTo>
                <a:lnTo>
                  <a:pt x="607" y="170"/>
                </a:lnTo>
                <a:lnTo>
                  <a:pt x="613" y="171"/>
                </a:lnTo>
                <a:lnTo>
                  <a:pt x="614" y="170"/>
                </a:lnTo>
                <a:lnTo>
                  <a:pt x="624" y="166"/>
                </a:lnTo>
                <a:lnTo>
                  <a:pt x="627" y="167"/>
                </a:lnTo>
                <a:lnTo>
                  <a:pt x="627" y="168"/>
                </a:lnTo>
                <a:lnTo>
                  <a:pt x="626" y="170"/>
                </a:lnTo>
                <a:lnTo>
                  <a:pt x="624" y="173"/>
                </a:lnTo>
                <a:lnTo>
                  <a:pt x="624" y="177"/>
                </a:lnTo>
                <a:lnTo>
                  <a:pt x="622" y="182"/>
                </a:lnTo>
                <a:lnTo>
                  <a:pt x="622" y="183"/>
                </a:lnTo>
                <a:lnTo>
                  <a:pt x="624" y="188"/>
                </a:lnTo>
                <a:lnTo>
                  <a:pt x="623" y="191"/>
                </a:lnTo>
                <a:lnTo>
                  <a:pt x="623" y="194"/>
                </a:lnTo>
                <a:lnTo>
                  <a:pt x="621" y="199"/>
                </a:lnTo>
                <a:lnTo>
                  <a:pt x="621" y="201"/>
                </a:lnTo>
                <a:lnTo>
                  <a:pt x="620" y="202"/>
                </a:lnTo>
                <a:lnTo>
                  <a:pt x="620" y="207"/>
                </a:lnTo>
                <a:lnTo>
                  <a:pt x="621" y="208"/>
                </a:lnTo>
                <a:lnTo>
                  <a:pt x="621" y="210"/>
                </a:lnTo>
                <a:lnTo>
                  <a:pt x="620" y="210"/>
                </a:lnTo>
                <a:lnTo>
                  <a:pt x="619" y="211"/>
                </a:lnTo>
                <a:lnTo>
                  <a:pt x="616" y="216"/>
                </a:lnTo>
                <a:lnTo>
                  <a:pt x="622" y="211"/>
                </a:lnTo>
                <a:lnTo>
                  <a:pt x="623" y="209"/>
                </a:lnTo>
                <a:lnTo>
                  <a:pt x="623" y="205"/>
                </a:lnTo>
                <a:lnTo>
                  <a:pt x="624" y="202"/>
                </a:lnTo>
                <a:lnTo>
                  <a:pt x="623" y="201"/>
                </a:lnTo>
                <a:lnTo>
                  <a:pt x="626" y="192"/>
                </a:lnTo>
                <a:lnTo>
                  <a:pt x="626" y="191"/>
                </a:lnTo>
                <a:lnTo>
                  <a:pt x="633" y="191"/>
                </a:lnTo>
                <a:lnTo>
                  <a:pt x="635" y="194"/>
                </a:lnTo>
                <a:lnTo>
                  <a:pt x="639" y="195"/>
                </a:lnTo>
                <a:lnTo>
                  <a:pt x="638" y="194"/>
                </a:lnTo>
                <a:lnTo>
                  <a:pt x="635" y="192"/>
                </a:lnTo>
                <a:lnTo>
                  <a:pt x="633" y="190"/>
                </a:lnTo>
                <a:lnTo>
                  <a:pt x="632" y="190"/>
                </a:lnTo>
                <a:lnTo>
                  <a:pt x="629" y="189"/>
                </a:lnTo>
                <a:lnTo>
                  <a:pt x="629" y="185"/>
                </a:lnTo>
                <a:lnTo>
                  <a:pt x="628" y="184"/>
                </a:lnTo>
                <a:lnTo>
                  <a:pt x="628" y="179"/>
                </a:lnTo>
                <a:lnTo>
                  <a:pt x="629" y="177"/>
                </a:lnTo>
                <a:lnTo>
                  <a:pt x="629" y="176"/>
                </a:lnTo>
                <a:lnTo>
                  <a:pt x="630" y="174"/>
                </a:lnTo>
                <a:lnTo>
                  <a:pt x="630" y="172"/>
                </a:lnTo>
                <a:lnTo>
                  <a:pt x="633" y="170"/>
                </a:lnTo>
                <a:lnTo>
                  <a:pt x="633" y="168"/>
                </a:lnTo>
                <a:lnTo>
                  <a:pt x="635" y="164"/>
                </a:lnTo>
                <a:lnTo>
                  <a:pt x="636" y="162"/>
                </a:lnTo>
                <a:lnTo>
                  <a:pt x="636" y="165"/>
                </a:lnTo>
                <a:lnTo>
                  <a:pt x="634" y="172"/>
                </a:lnTo>
                <a:lnTo>
                  <a:pt x="636" y="172"/>
                </a:lnTo>
                <a:lnTo>
                  <a:pt x="638" y="170"/>
                </a:lnTo>
                <a:lnTo>
                  <a:pt x="639" y="162"/>
                </a:lnTo>
                <a:lnTo>
                  <a:pt x="641" y="159"/>
                </a:lnTo>
                <a:lnTo>
                  <a:pt x="642" y="153"/>
                </a:lnTo>
                <a:lnTo>
                  <a:pt x="642" y="158"/>
                </a:lnTo>
                <a:lnTo>
                  <a:pt x="644" y="159"/>
                </a:lnTo>
                <a:lnTo>
                  <a:pt x="644" y="160"/>
                </a:lnTo>
                <a:lnTo>
                  <a:pt x="645" y="161"/>
                </a:lnTo>
                <a:lnTo>
                  <a:pt x="645" y="152"/>
                </a:lnTo>
                <a:lnTo>
                  <a:pt x="646" y="151"/>
                </a:lnTo>
                <a:lnTo>
                  <a:pt x="647" y="147"/>
                </a:lnTo>
                <a:lnTo>
                  <a:pt x="648" y="147"/>
                </a:lnTo>
                <a:lnTo>
                  <a:pt x="650" y="148"/>
                </a:lnTo>
                <a:lnTo>
                  <a:pt x="653" y="156"/>
                </a:lnTo>
                <a:lnTo>
                  <a:pt x="654" y="159"/>
                </a:lnTo>
                <a:lnTo>
                  <a:pt x="653" y="160"/>
                </a:lnTo>
                <a:lnTo>
                  <a:pt x="653" y="162"/>
                </a:lnTo>
                <a:lnTo>
                  <a:pt x="652" y="164"/>
                </a:lnTo>
                <a:lnTo>
                  <a:pt x="652" y="170"/>
                </a:lnTo>
                <a:lnTo>
                  <a:pt x="651" y="171"/>
                </a:lnTo>
                <a:lnTo>
                  <a:pt x="651" y="176"/>
                </a:lnTo>
                <a:lnTo>
                  <a:pt x="650" y="177"/>
                </a:lnTo>
                <a:lnTo>
                  <a:pt x="650" y="185"/>
                </a:lnTo>
                <a:lnTo>
                  <a:pt x="652" y="188"/>
                </a:lnTo>
                <a:lnTo>
                  <a:pt x="652" y="194"/>
                </a:lnTo>
                <a:lnTo>
                  <a:pt x="651" y="194"/>
                </a:lnTo>
                <a:lnTo>
                  <a:pt x="647" y="197"/>
                </a:lnTo>
                <a:lnTo>
                  <a:pt x="648" y="199"/>
                </a:lnTo>
                <a:lnTo>
                  <a:pt x="647" y="201"/>
                </a:lnTo>
                <a:lnTo>
                  <a:pt x="647" y="208"/>
                </a:lnTo>
                <a:lnTo>
                  <a:pt x="646" y="209"/>
                </a:lnTo>
                <a:lnTo>
                  <a:pt x="645" y="208"/>
                </a:lnTo>
                <a:lnTo>
                  <a:pt x="645" y="211"/>
                </a:lnTo>
                <a:lnTo>
                  <a:pt x="644" y="215"/>
                </a:lnTo>
                <a:lnTo>
                  <a:pt x="642" y="217"/>
                </a:lnTo>
                <a:lnTo>
                  <a:pt x="641" y="219"/>
                </a:lnTo>
                <a:lnTo>
                  <a:pt x="638" y="221"/>
                </a:lnTo>
                <a:lnTo>
                  <a:pt x="635" y="222"/>
                </a:lnTo>
                <a:lnTo>
                  <a:pt x="635" y="225"/>
                </a:lnTo>
                <a:lnTo>
                  <a:pt x="636" y="226"/>
                </a:lnTo>
                <a:lnTo>
                  <a:pt x="633" y="229"/>
                </a:lnTo>
                <a:lnTo>
                  <a:pt x="633" y="232"/>
                </a:lnTo>
                <a:lnTo>
                  <a:pt x="634" y="233"/>
                </a:lnTo>
                <a:lnTo>
                  <a:pt x="634" y="232"/>
                </a:lnTo>
                <a:lnTo>
                  <a:pt x="635" y="231"/>
                </a:lnTo>
                <a:lnTo>
                  <a:pt x="638" y="226"/>
                </a:lnTo>
                <a:lnTo>
                  <a:pt x="645" y="219"/>
                </a:lnTo>
                <a:lnTo>
                  <a:pt x="647" y="217"/>
                </a:lnTo>
                <a:lnTo>
                  <a:pt x="651" y="208"/>
                </a:lnTo>
                <a:lnTo>
                  <a:pt x="652" y="207"/>
                </a:lnTo>
                <a:lnTo>
                  <a:pt x="653" y="203"/>
                </a:lnTo>
                <a:lnTo>
                  <a:pt x="654" y="202"/>
                </a:lnTo>
                <a:lnTo>
                  <a:pt x="654" y="197"/>
                </a:lnTo>
                <a:lnTo>
                  <a:pt x="655" y="197"/>
                </a:lnTo>
                <a:lnTo>
                  <a:pt x="655" y="196"/>
                </a:lnTo>
                <a:lnTo>
                  <a:pt x="657" y="195"/>
                </a:lnTo>
                <a:lnTo>
                  <a:pt x="658" y="196"/>
                </a:lnTo>
                <a:lnTo>
                  <a:pt x="658" y="197"/>
                </a:lnTo>
                <a:lnTo>
                  <a:pt x="663" y="202"/>
                </a:lnTo>
                <a:lnTo>
                  <a:pt x="669" y="203"/>
                </a:lnTo>
                <a:lnTo>
                  <a:pt x="671" y="205"/>
                </a:lnTo>
                <a:lnTo>
                  <a:pt x="672" y="205"/>
                </a:lnTo>
                <a:lnTo>
                  <a:pt x="670" y="203"/>
                </a:lnTo>
                <a:lnTo>
                  <a:pt x="666" y="201"/>
                </a:lnTo>
                <a:lnTo>
                  <a:pt x="665" y="198"/>
                </a:lnTo>
                <a:lnTo>
                  <a:pt x="664" y="195"/>
                </a:lnTo>
                <a:lnTo>
                  <a:pt x="663" y="194"/>
                </a:lnTo>
                <a:lnTo>
                  <a:pt x="659" y="191"/>
                </a:lnTo>
                <a:lnTo>
                  <a:pt x="657" y="189"/>
                </a:lnTo>
                <a:lnTo>
                  <a:pt x="657" y="186"/>
                </a:lnTo>
                <a:lnTo>
                  <a:pt x="659" y="179"/>
                </a:lnTo>
                <a:lnTo>
                  <a:pt x="658" y="177"/>
                </a:lnTo>
                <a:lnTo>
                  <a:pt x="658" y="174"/>
                </a:lnTo>
                <a:lnTo>
                  <a:pt x="657" y="173"/>
                </a:lnTo>
                <a:lnTo>
                  <a:pt x="657" y="172"/>
                </a:lnTo>
                <a:lnTo>
                  <a:pt x="658" y="172"/>
                </a:lnTo>
                <a:lnTo>
                  <a:pt x="663" y="171"/>
                </a:lnTo>
                <a:lnTo>
                  <a:pt x="669" y="167"/>
                </a:lnTo>
                <a:lnTo>
                  <a:pt x="671" y="165"/>
                </a:lnTo>
                <a:lnTo>
                  <a:pt x="671" y="162"/>
                </a:lnTo>
                <a:lnTo>
                  <a:pt x="670" y="161"/>
                </a:lnTo>
                <a:lnTo>
                  <a:pt x="670" y="160"/>
                </a:lnTo>
                <a:lnTo>
                  <a:pt x="669" y="158"/>
                </a:lnTo>
                <a:lnTo>
                  <a:pt x="671" y="158"/>
                </a:lnTo>
                <a:lnTo>
                  <a:pt x="681" y="151"/>
                </a:lnTo>
                <a:lnTo>
                  <a:pt x="682" y="149"/>
                </a:lnTo>
                <a:lnTo>
                  <a:pt x="682" y="151"/>
                </a:lnTo>
                <a:lnTo>
                  <a:pt x="677" y="155"/>
                </a:lnTo>
                <a:lnTo>
                  <a:pt x="675" y="160"/>
                </a:lnTo>
                <a:lnTo>
                  <a:pt x="673" y="160"/>
                </a:lnTo>
                <a:lnTo>
                  <a:pt x="673" y="161"/>
                </a:lnTo>
                <a:lnTo>
                  <a:pt x="675" y="162"/>
                </a:lnTo>
                <a:lnTo>
                  <a:pt x="676" y="162"/>
                </a:lnTo>
                <a:lnTo>
                  <a:pt x="677" y="164"/>
                </a:lnTo>
                <a:lnTo>
                  <a:pt x="676" y="164"/>
                </a:lnTo>
                <a:lnTo>
                  <a:pt x="676" y="166"/>
                </a:lnTo>
                <a:lnTo>
                  <a:pt x="679" y="170"/>
                </a:lnTo>
                <a:lnTo>
                  <a:pt x="681" y="168"/>
                </a:lnTo>
                <a:lnTo>
                  <a:pt x="678" y="166"/>
                </a:lnTo>
                <a:lnTo>
                  <a:pt x="678" y="165"/>
                </a:lnTo>
                <a:lnTo>
                  <a:pt x="681" y="164"/>
                </a:lnTo>
                <a:lnTo>
                  <a:pt x="681" y="160"/>
                </a:lnTo>
                <a:lnTo>
                  <a:pt x="682" y="160"/>
                </a:lnTo>
                <a:lnTo>
                  <a:pt x="685" y="159"/>
                </a:lnTo>
                <a:lnTo>
                  <a:pt x="686" y="159"/>
                </a:lnTo>
                <a:lnTo>
                  <a:pt x="685" y="161"/>
                </a:lnTo>
                <a:lnTo>
                  <a:pt x="684" y="165"/>
                </a:lnTo>
                <a:lnTo>
                  <a:pt x="683" y="166"/>
                </a:lnTo>
                <a:lnTo>
                  <a:pt x="685" y="166"/>
                </a:lnTo>
                <a:lnTo>
                  <a:pt x="686" y="164"/>
                </a:lnTo>
                <a:lnTo>
                  <a:pt x="688" y="162"/>
                </a:lnTo>
                <a:lnTo>
                  <a:pt x="688" y="161"/>
                </a:lnTo>
                <a:lnTo>
                  <a:pt x="686" y="155"/>
                </a:lnTo>
                <a:lnTo>
                  <a:pt x="691" y="155"/>
                </a:lnTo>
                <a:lnTo>
                  <a:pt x="691" y="153"/>
                </a:lnTo>
                <a:lnTo>
                  <a:pt x="689" y="152"/>
                </a:lnTo>
                <a:lnTo>
                  <a:pt x="686" y="152"/>
                </a:lnTo>
                <a:lnTo>
                  <a:pt x="688" y="147"/>
                </a:lnTo>
                <a:lnTo>
                  <a:pt x="689" y="143"/>
                </a:lnTo>
                <a:lnTo>
                  <a:pt x="690" y="141"/>
                </a:lnTo>
                <a:lnTo>
                  <a:pt x="692" y="140"/>
                </a:lnTo>
                <a:lnTo>
                  <a:pt x="695" y="140"/>
                </a:lnTo>
                <a:lnTo>
                  <a:pt x="702" y="145"/>
                </a:lnTo>
                <a:lnTo>
                  <a:pt x="702" y="148"/>
                </a:lnTo>
                <a:lnTo>
                  <a:pt x="703" y="149"/>
                </a:lnTo>
                <a:lnTo>
                  <a:pt x="702" y="152"/>
                </a:lnTo>
                <a:lnTo>
                  <a:pt x="703" y="154"/>
                </a:lnTo>
                <a:lnTo>
                  <a:pt x="706" y="155"/>
                </a:lnTo>
                <a:lnTo>
                  <a:pt x="707" y="156"/>
                </a:lnTo>
                <a:lnTo>
                  <a:pt x="710" y="158"/>
                </a:lnTo>
                <a:lnTo>
                  <a:pt x="716" y="165"/>
                </a:lnTo>
                <a:lnTo>
                  <a:pt x="717" y="167"/>
                </a:lnTo>
                <a:lnTo>
                  <a:pt x="717" y="170"/>
                </a:lnTo>
                <a:lnTo>
                  <a:pt x="722" y="174"/>
                </a:lnTo>
                <a:lnTo>
                  <a:pt x="719" y="174"/>
                </a:lnTo>
                <a:lnTo>
                  <a:pt x="720" y="176"/>
                </a:lnTo>
                <a:lnTo>
                  <a:pt x="723" y="176"/>
                </a:lnTo>
                <a:lnTo>
                  <a:pt x="725" y="174"/>
                </a:lnTo>
                <a:lnTo>
                  <a:pt x="725" y="173"/>
                </a:lnTo>
                <a:lnTo>
                  <a:pt x="722" y="172"/>
                </a:lnTo>
                <a:lnTo>
                  <a:pt x="722" y="168"/>
                </a:lnTo>
                <a:lnTo>
                  <a:pt x="721" y="166"/>
                </a:lnTo>
                <a:lnTo>
                  <a:pt x="716" y="164"/>
                </a:lnTo>
                <a:lnTo>
                  <a:pt x="717" y="162"/>
                </a:lnTo>
                <a:lnTo>
                  <a:pt x="720" y="164"/>
                </a:lnTo>
                <a:lnTo>
                  <a:pt x="721" y="162"/>
                </a:lnTo>
                <a:lnTo>
                  <a:pt x="721" y="160"/>
                </a:lnTo>
                <a:lnTo>
                  <a:pt x="720" y="160"/>
                </a:lnTo>
                <a:lnTo>
                  <a:pt x="717" y="159"/>
                </a:lnTo>
                <a:lnTo>
                  <a:pt x="717" y="153"/>
                </a:lnTo>
                <a:lnTo>
                  <a:pt x="716" y="151"/>
                </a:lnTo>
                <a:lnTo>
                  <a:pt x="717" y="148"/>
                </a:lnTo>
                <a:lnTo>
                  <a:pt x="717" y="147"/>
                </a:lnTo>
                <a:lnTo>
                  <a:pt x="716" y="146"/>
                </a:lnTo>
                <a:lnTo>
                  <a:pt x="717" y="146"/>
                </a:lnTo>
                <a:lnTo>
                  <a:pt x="717" y="145"/>
                </a:lnTo>
                <a:lnTo>
                  <a:pt x="720" y="146"/>
                </a:lnTo>
                <a:lnTo>
                  <a:pt x="721" y="145"/>
                </a:lnTo>
                <a:lnTo>
                  <a:pt x="721" y="149"/>
                </a:lnTo>
                <a:lnTo>
                  <a:pt x="722" y="151"/>
                </a:lnTo>
                <a:lnTo>
                  <a:pt x="722" y="141"/>
                </a:lnTo>
                <a:lnTo>
                  <a:pt x="723" y="141"/>
                </a:lnTo>
                <a:lnTo>
                  <a:pt x="725" y="140"/>
                </a:lnTo>
                <a:lnTo>
                  <a:pt x="719" y="142"/>
                </a:lnTo>
                <a:lnTo>
                  <a:pt x="714" y="142"/>
                </a:lnTo>
                <a:lnTo>
                  <a:pt x="711" y="139"/>
                </a:lnTo>
                <a:lnTo>
                  <a:pt x="714" y="136"/>
                </a:lnTo>
                <a:lnTo>
                  <a:pt x="720" y="136"/>
                </a:lnTo>
                <a:lnTo>
                  <a:pt x="721" y="135"/>
                </a:lnTo>
                <a:lnTo>
                  <a:pt x="722" y="133"/>
                </a:lnTo>
                <a:lnTo>
                  <a:pt x="725" y="130"/>
                </a:lnTo>
                <a:lnTo>
                  <a:pt x="725" y="129"/>
                </a:lnTo>
                <a:lnTo>
                  <a:pt x="721" y="130"/>
                </a:lnTo>
                <a:lnTo>
                  <a:pt x="720" y="133"/>
                </a:lnTo>
                <a:lnTo>
                  <a:pt x="719" y="133"/>
                </a:lnTo>
                <a:lnTo>
                  <a:pt x="714" y="131"/>
                </a:lnTo>
                <a:lnTo>
                  <a:pt x="713" y="133"/>
                </a:lnTo>
                <a:lnTo>
                  <a:pt x="713" y="134"/>
                </a:lnTo>
                <a:lnTo>
                  <a:pt x="711" y="135"/>
                </a:lnTo>
                <a:lnTo>
                  <a:pt x="708" y="136"/>
                </a:lnTo>
                <a:lnTo>
                  <a:pt x="707" y="135"/>
                </a:lnTo>
                <a:lnTo>
                  <a:pt x="704" y="131"/>
                </a:lnTo>
                <a:lnTo>
                  <a:pt x="700" y="133"/>
                </a:lnTo>
                <a:lnTo>
                  <a:pt x="697" y="130"/>
                </a:lnTo>
                <a:lnTo>
                  <a:pt x="696" y="127"/>
                </a:lnTo>
                <a:lnTo>
                  <a:pt x="696" y="124"/>
                </a:lnTo>
                <a:lnTo>
                  <a:pt x="697" y="124"/>
                </a:lnTo>
                <a:lnTo>
                  <a:pt x="698" y="123"/>
                </a:lnTo>
                <a:lnTo>
                  <a:pt x="698" y="122"/>
                </a:lnTo>
                <a:lnTo>
                  <a:pt x="694" y="123"/>
                </a:lnTo>
                <a:lnTo>
                  <a:pt x="691" y="123"/>
                </a:lnTo>
                <a:lnTo>
                  <a:pt x="689" y="121"/>
                </a:lnTo>
                <a:lnTo>
                  <a:pt x="689" y="118"/>
                </a:lnTo>
                <a:lnTo>
                  <a:pt x="686" y="118"/>
                </a:lnTo>
                <a:lnTo>
                  <a:pt x="686" y="117"/>
                </a:lnTo>
                <a:lnTo>
                  <a:pt x="688" y="116"/>
                </a:lnTo>
                <a:lnTo>
                  <a:pt x="689" y="113"/>
                </a:lnTo>
                <a:lnTo>
                  <a:pt x="691" y="112"/>
                </a:lnTo>
                <a:lnTo>
                  <a:pt x="692" y="112"/>
                </a:lnTo>
                <a:lnTo>
                  <a:pt x="695" y="110"/>
                </a:lnTo>
                <a:lnTo>
                  <a:pt x="696" y="110"/>
                </a:lnTo>
                <a:lnTo>
                  <a:pt x="696" y="112"/>
                </a:lnTo>
                <a:lnTo>
                  <a:pt x="697" y="113"/>
                </a:lnTo>
                <a:lnTo>
                  <a:pt x="698" y="117"/>
                </a:lnTo>
                <a:lnTo>
                  <a:pt x="698" y="113"/>
                </a:lnTo>
                <a:lnTo>
                  <a:pt x="700" y="112"/>
                </a:lnTo>
                <a:lnTo>
                  <a:pt x="700" y="105"/>
                </a:lnTo>
                <a:lnTo>
                  <a:pt x="701" y="104"/>
                </a:lnTo>
                <a:lnTo>
                  <a:pt x="703" y="104"/>
                </a:lnTo>
                <a:lnTo>
                  <a:pt x="703" y="108"/>
                </a:lnTo>
                <a:lnTo>
                  <a:pt x="704" y="110"/>
                </a:lnTo>
                <a:lnTo>
                  <a:pt x="704" y="111"/>
                </a:lnTo>
                <a:lnTo>
                  <a:pt x="707" y="111"/>
                </a:lnTo>
                <a:lnTo>
                  <a:pt x="708" y="112"/>
                </a:lnTo>
                <a:lnTo>
                  <a:pt x="711" y="118"/>
                </a:lnTo>
                <a:lnTo>
                  <a:pt x="711" y="119"/>
                </a:lnTo>
                <a:lnTo>
                  <a:pt x="713" y="122"/>
                </a:lnTo>
                <a:lnTo>
                  <a:pt x="713" y="123"/>
                </a:lnTo>
                <a:lnTo>
                  <a:pt x="715" y="125"/>
                </a:lnTo>
                <a:lnTo>
                  <a:pt x="715" y="119"/>
                </a:lnTo>
                <a:lnTo>
                  <a:pt x="714" y="119"/>
                </a:lnTo>
                <a:lnTo>
                  <a:pt x="714" y="118"/>
                </a:lnTo>
                <a:lnTo>
                  <a:pt x="715" y="117"/>
                </a:lnTo>
                <a:lnTo>
                  <a:pt x="711" y="113"/>
                </a:lnTo>
                <a:lnTo>
                  <a:pt x="711" y="111"/>
                </a:lnTo>
                <a:lnTo>
                  <a:pt x="720" y="103"/>
                </a:lnTo>
                <a:lnTo>
                  <a:pt x="721" y="103"/>
                </a:lnTo>
                <a:lnTo>
                  <a:pt x="721" y="105"/>
                </a:lnTo>
                <a:lnTo>
                  <a:pt x="720" y="106"/>
                </a:lnTo>
                <a:lnTo>
                  <a:pt x="720" y="108"/>
                </a:lnTo>
                <a:lnTo>
                  <a:pt x="721" y="108"/>
                </a:lnTo>
                <a:lnTo>
                  <a:pt x="723" y="105"/>
                </a:lnTo>
                <a:lnTo>
                  <a:pt x="725" y="105"/>
                </a:lnTo>
                <a:lnTo>
                  <a:pt x="725" y="115"/>
                </a:lnTo>
                <a:lnTo>
                  <a:pt x="727" y="112"/>
                </a:lnTo>
                <a:lnTo>
                  <a:pt x="727" y="111"/>
                </a:lnTo>
                <a:lnTo>
                  <a:pt x="726" y="108"/>
                </a:lnTo>
                <a:lnTo>
                  <a:pt x="732" y="106"/>
                </a:lnTo>
                <a:lnTo>
                  <a:pt x="733" y="108"/>
                </a:lnTo>
                <a:lnTo>
                  <a:pt x="733" y="111"/>
                </a:lnTo>
                <a:lnTo>
                  <a:pt x="732" y="113"/>
                </a:lnTo>
                <a:lnTo>
                  <a:pt x="731" y="115"/>
                </a:lnTo>
                <a:lnTo>
                  <a:pt x="732" y="116"/>
                </a:lnTo>
                <a:lnTo>
                  <a:pt x="732" y="121"/>
                </a:lnTo>
                <a:lnTo>
                  <a:pt x="733" y="123"/>
                </a:lnTo>
                <a:lnTo>
                  <a:pt x="732" y="124"/>
                </a:lnTo>
                <a:lnTo>
                  <a:pt x="731" y="124"/>
                </a:lnTo>
                <a:lnTo>
                  <a:pt x="731" y="125"/>
                </a:lnTo>
                <a:lnTo>
                  <a:pt x="732" y="127"/>
                </a:lnTo>
                <a:lnTo>
                  <a:pt x="738" y="125"/>
                </a:lnTo>
                <a:lnTo>
                  <a:pt x="742" y="128"/>
                </a:lnTo>
                <a:lnTo>
                  <a:pt x="744" y="128"/>
                </a:lnTo>
                <a:lnTo>
                  <a:pt x="741" y="125"/>
                </a:lnTo>
                <a:lnTo>
                  <a:pt x="734" y="123"/>
                </a:lnTo>
                <a:lnTo>
                  <a:pt x="734" y="121"/>
                </a:lnTo>
                <a:lnTo>
                  <a:pt x="735" y="117"/>
                </a:lnTo>
                <a:lnTo>
                  <a:pt x="737" y="112"/>
                </a:lnTo>
                <a:lnTo>
                  <a:pt x="735" y="112"/>
                </a:lnTo>
                <a:lnTo>
                  <a:pt x="737" y="111"/>
                </a:lnTo>
                <a:lnTo>
                  <a:pt x="740" y="111"/>
                </a:lnTo>
                <a:lnTo>
                  <a:pt x="741" y="112"/>
                </a:lnTo>
                <a:lnTo>
                  <a:pt x="744" y="113"/>
                </a:lnTo>
                <a:lnTo>
                  <a:pt x="745" y="113"/>
                </a:lnTo>
                <a:lnTo>
                  <a:pt x="745" y="116"/>
                </a:lnTo>
                <a:lnTo>
                  <a:pt x="748" y="116"/>
                </a:lnTo>
                <a:lnTo>
                  <a:pt x="760" y="117"/>
                </a:lnTo>
                <a:lnTo>
                  <a:pt x="762" y="118"/>
                </a:lnTo>
                <a:lnTo>
                  <a:pt x="762" y="119"/>
                </a:lnTo>
                <a:lnTo>
                  <a:pt x="757" y="128"/>
                </a:lnTo>
                <a:lnTo>
                  <a:pt x="756" y="129"/>
                </a:lnTo>
                <a:lnTo>
                  <a:pt x="754" y="129"/>
                </a:lnTo>
                <a:lnTo>
                  <a:pt x="744" y="133"/>
                </a:lnTo>
                <a:lnTo>
                  <a:pt x="739" y="133"/>
                </a:lnTo>
                <a:lnTo>
                  <a:pt x="737" y="135"/>
                </a:lnTo>
                <a:lnTo>
                  <a:pt x="732" y="137"/>
                </a:lnTo>
                <a:lnTo>
                  <a:pt x="733" y="139"/>
                </a:lnTo>
                <a:lnTo>
                  <a:pt x="734" y="139"/>
                </a:lnTo>
                <a:lnTo>
                  <a:pt x="737" y="136"/>
                </a:lnTo>
                <a:lnTo>
                  <a:pt x="747" y="134"/>
                </a:lnTo>
                <a:lnTo>
                  <a:pt x="751" y="131"/>
                </a:lnTo>
                <a:lnTo>
                  <a:pt x="757" y="130"/>
                </a:lnTo>
                <a:lnTo>
                  <a:pt x="762" y="125"/>
                </a:lnTo>
                <a:lnTo>
                  <a:pt x="763" y="125"/>
                </a:lnTo>
                <a:lnTo>
                  <a:pt x="763" y="139"/>
                </a:lnTo>
                <a:lnTo>
                  <a:pt x="764" y="140"/>
                </a:lnTo>
                <a:lnTo>
                  <a:pt x="765" y="140"/>
                </a:lnTo>
                <a:lnTo>
                  <a:pt x="766" y="139"/>
                </a:lnTo>
                <a:lnTo>
                  <a:pt x="768" y="139"/>
                </a:lnTo>
                <a:lnTo>
                  <a:pt x="768" y="145"/>
                </a:lnTo>
                <a:lnTo>
                  <a:pt x="769" y="147"/>
                </a:lnTo>
                <a:lnTo>
                  <a:pt x="768" y="147"/>
                </a:lnTo>
                <a:lnTo>
                  <a:pt x="768" y="148"/>
                </a:lnTo>
                <a:lnTo>
                  <a:pt x="766" y="149"/>
                </a:lnTo>
                <a:lnTo>
                  <a:pt x="768" y="151"/>
                </a:lnTo>
                <a:lnTo>
                  <a:pt x="769" y="149"/>
                </a:lnTo>
                <a:lnTo>
                  <a:pt x="775" y="145"/>
                </a:lnTo>
                <a:lnTo>
                  <a:pt x="775" y="143"/>
                </a:lnTo>
                <a:lnTo>
                  <a:pt x="776" y="143"/>
                </a:lnTo>
                <a:lnTo>
                  <a:pt x="776" y="146"/>
                </a:lnTo>
                <a:lnTo>
                  <a:pt x="777" y="146"/>
                </a:lnTo>
                <a:lnTo>
                  <a:pt x="777" y="147"/>
                </a:lnTo>
                <a:lnTo>
                  <a:pt x="776" y="149"/>
                </a:lnTo>
                <a:lnTo>
                  <a:pt x="781" y="146"/>
                </a:lnTo>
                <a:lnTo>
                  <a:pt x="782" y="145"/>
                </a:lnTo>
                <a:lnTo>
                  <a:pt x="783" y="145"/>
                </a:lnTo>
                <a:lnTo>
                  <a:pt x="783" y="142"/>
                </a:lnTo>
                <a:lnTo>
                  <a:pt x="784" y="141"/>
                </a:lnTo>
                <a:lnTo>
                  <a:pt x="785" y="141"/>
                </a:lnTo>
                <a:lnTo>
                  <a:pt x="783" y="139"/>
                </a:lnTo>
                <a:lnTo>
                  <a:pt x="775" y="139"/>
                </a:lnTo>
                <a:lnTo>
                  <a:pt x="773" y="137"/>
                </a:lnTo>
                <a:lnTo>
                  <a:pt x="770" y="131"/>
                </a:lnTo>
                <a:lnTo>
                  <a:pt x="772" y="131"/>
                </a:lnTo>
                <a:lnTo>
                  <a:pt x="772" y="130"/>
                </a:lnTo>
                <a:lnTo>
                  <a:pt x="773" y="130"/>
                </a:lnTo>
                <a:lnTo>
                  <a:pt x="773" y="129"/>
                </a:lnTo>
                <a:lnTo>
                  <a:pt x="777" y="129"/>
                </a:lnTo>
                <a:lnTo>
                  <a:pt x="778" y="128"/>
                </a:lnTo>
                <a:lnTo>
                  <a:pt x="779" y="125"/>
                </a:lnTo>
                <a:lnTo>
                  <a:pt x="778" y="124"/>
                </a:lnTo>
                <a:lnTo>
                  <a:pt x="776" y="123"/>
                </a:lnTo>
                <a:lnTo>
                  <a:pt x="775" y="123"/>
                </a:lnTo>
                <a:lnTo>
                  <a:pt x="776" y="122"/>
                </a:lnTo>
                <a:lnTo>
                  <a:pt x="779" y="121"/>
                </a:lnTo>
                <a:lnTo>
                  <a:pt x="781" y="119"/>
                </a:lnTo>
                <a:lnTo>
                  <a:pt x="776" y="119"/>
                </a:lnTo>
                <a:lnTo>
                  <a:pt x="775" y="118"/>
                </a:lnTo>
                <a:lnTo>
                  <a:pt x="772" y="117"/>
                </a:lnTo>
                <a:lnTo>
                  <a:pt x="773" y="116"/>
                </a:lnTo>
                <a:lnTo>
                  <a:pt x="778" y="115"/>
                </a:lnTo>
                <a:lnTo>
                  <a:pt x="783" y="115"/>
                </a:lnTo>
                <a:lnTo>
                  <a:pt x="783" y="113"/>
                </a:lnTo>
                <a:lnTo>
                  <a:pt x="784" y="113"/>
                </a:lnTo>
                <a:lnTo>
                  <a:pt x="782" y="111"/>
                </a:lnTo>
                <a:lnTo>
                  <a:pt x="775" y="113"/>
                </a:lnTo>
                <a:lnTo>
                  <a:pt x="776" y="111"/>
                </a:lnTo>
                <a:lnTo>
                  <a:pt x="779" y="109"/>
                </a:lnTo>
                <a:lnTo>
                  <a:pt x="787" y="108"/>
                </a:lnTo>
                <a:lnTo>
                  <a:pt x="788" y="105"/>
                </a:lnTo>
                <a:lnTo>
                  <a:pt x="784" y="106"/>
                </a:lnTo>
                <a:lnTo>
                  <a:pt x="784" y="105"/>
                </a:lnTo>
                <a:lnTo>
                  <a:pt x="785" y="103"/>
                </a:lnTo>
                <a:lnTo>
                  <a:pt x="784" y="103"/>
                </a:lnTo>
                <a:lnTo>
                  <a:pt x="783" y="104"/>
                </a:lnTo>
                <a:lnTo>
                  <a:pt x="782" y="104"/>
                </a:lnTo>
                <a:lnTo>
                  <a:pt x="783" y="103"/>
                </a:lnTo>
                <a:lnTo>
                  <a:pt x="784" y="98"/>
                </a:lnTo>
                <a:lnTo>
                  <a:pt x="785" y="97"/>
                </a:lnTo>
                <a:lnTo>
                  <a:pt x="787" y="97"/>
                </a:lnTo>
                <a:lnTo>
                  <a:pt x="788" y="96"/>
                </a:lnTo>
                <a:lnTo>
                  <a:pt x="789" y="92"/>
                </a:lnTo>
                <a:lnTo>
                  <a:pt x="794" y="87"/>
                </a:lnTo>
                <a:lnTo>
                  <a:pt x="797" y="82"/>
                </a:lnTo>
                <a:lnTo>
                  <a:pt x="797" y="81"/>
                </a:lnTo>
                <a:lnTo>
                  <a:pt x="801" y="80"/>
                </a:lnTo>
                <a:lnTo>
                  <a:pt x="813" y="81"/>
                </a:lnTo>
                <a:lnTo>
                  <a:pt x="818" y="84"/>
                </a:lnTo>
                <a:lnTo>
                  <a:pt x="818" y="85"/>
                </a:lnTo>
                <a:lnTo>
                  <a:pt x="819" y="86"/>
                </a:lnTo>
                <a:lnTo>
                  <a:pt x="820" y="86"/>
                </a:lnTo>
                <a:lnTo>
                  <a:pt x="820" y="85"/>
                </a:lnTo>
                <a:lnTo>
                  <a:pt x="818" y="82"/>
                </a:lnTo>
                <a:lnTo>
                  <a:pt x="815" y="79"/>
                </a:lnTo>
                <a:lnTo>
                  <a:pt x="814" y="78"/>
                </a:lnTo>
                <a:lnTo>
                  <a:pt x="809" y="76"/>
                </a:lnTo>
                <a:lnTo>
                  <a:pt x="809" y="74"/>
                </a:lnTo>
                <a:lnTo>
                  <a:pt x="814" y="70"/>
                </a:lnTo>
                <a:lnTo>
                  <a:pt x="814" y="68"/>
                </a:lnTo>
                <a:lnTo>
                  <a:pt x="815" y="68"/>
                </a:lnTo>
                <a:lnTo>
                  <a:pt x="815" y="67"/>
                </a:lnTo>
                <a:lnTo>
                  <a:pt x="816" y="67"/>
                </a:lnTo>
                <a:lnTo>
                  <a:pt x="816" y="60"/>
                </a:lnTo>
                <a:lnTo>
                  <a:pt x="820" y="56"/>
                </a:lnTo>
                <a:lnTo>
                  <a:pt x="822" y="57"/>
                </a:lnTo>
                <a:lnTo>
                  <a:pt x="825" y="57"/>
                </a:lnTo>
                <a:lnTo>
                  <a:pt x="826" y="59"/>
                </a:lnTo>
                <a:lnTo>
                  <a:pt x="831" y="65"/>
                </a:lnTo>
                <a:lnTo>
                  <a:pt x="833" y="67"/>
                </a:lnTo>
                <a:lnTo>
                  <a:pt x="835" y="66"/>
                </a:lnTo>
                <a:lnTo>
                  <a:pt x="835" y="60"/>
                </a:lnTo>
                <a:lnTo>
                  <a:pt x="832" y="57"/>
                </a:lnTo>
                <a:lnTo>
                  <a:pt x="832" y="54"/>
                </a:lnTo>
                <a:lnTo>
                  <a:pt x="829" y="53"/>
                </a:lnTo>
                <a:lnTo>
                  <a:pt x="828" y="51"/>
                </a:lnTo>
                <a:lnTo>
                  <a:pt x="827" y="49"/>
                </a:lnTo>
                <a:lnTo>
                  <a:pt x="824" y="49"/>
                </a:lnTo>
                <a:lnTo>
                  <a:pt x="819" y="48"/>
                </a:lnTo>
                <a:lnTo>
                  <a:pt x="816" y="47"/>
                </a:lnTo>
                <a:lnTo>
                  <a:pt x="815" y="47"/>
                </a:lnTo>
                <a:lnTo>
                  <a:pt x="815" y="44"/>
                </a:lnTo>
                <a:lnTo>
                  <a:pt x="816" y="43"/>
                </a:lnTo>
                <a:lnTo>
                  <a:pt x="816" y="37"/>
                </a:lnTo>
                <a:lnTo>
                  <a:pt x="820" y="35"/>
                </a:lnTo>
                <a:lnTo>
                  <a:pt x="821" y="33"/>
                </a:lnTo>
                <a:lnTo>
                  <a:pt x="822" y="36"/>
                </a:lnTo>
                <a:lnTo>
                  <a:pt x="822" y="37"/>
                </a:lnTo>
                <a:lnTo>
                  <a:pt x="824" y="37"/>
                </a:lnTo>
                <a:lnTo>
                  <a:pt x="825" y="38"/>
                </a:lnTo>
                <a:lnTo>
                  <a:pt x="824" y="41"/>
                </a:lnTo>
                <a:lnTo>
                  <a:pt x="826" y="41"/>
                </a:lnTo>
                <a:lnTo>
                  <a:pt x="831" y="45"/>
                </a:lnTo>
                <a:lnTo>
                  <a:pt x="832" y="45"/>
                </a:lnTo>
                <a:lnTo>
                  <a:pt x="832" y="42"/>
                </a:lnTo>
                <a:lnTo>
                  <a:pt x="829" y="39"/>
                </a:lnTo>
                <a:lnTo>
                  <a:pt x="831" y="37"/>
                </a:lnTo>
                <a:lnTo>
                  <a:pt x="831" y="33"/>
                </a:lnTo>
                <a:lnTo>
                  <a:pt x="832" y="35"/>
                </a:lnTo>
                <a:lnTo>
                  <a:pt x="834" y="35"/>
                </a:lnTo>
                <a:lnTo>
                  <a:pt x="835" y="33"/>
                </a:lnTo>
                <a:lnTo>
                  <a:pt x="832" y="31"/>
                </a:lnTo>
                <a:lnTo>
                  <a:pt x="831" y="30"/>
                </a:lnTo>
                <a:lnTo>
                  <a:pt x="831" y="29"/>
                </a:lnTo>
                <a:lnTo>
                  <a:pt x="829" y="27"/>
                </a:lnTo>
                <a:lnTo>
                  <a:pt x="829" y="26"/>
                </a:lnTo>
                <a:lnTo>
                  <a:pt x="828" y="25"/>
                </a:lnTo>
                <a:lnTo>
                  <a:pt x="829" y="24"/>
                </a:lnTo>
                <a:lnTo>
                  <a:pt x="831" y="24"/>
                </a:lnTo>
                <a:lnTo>
                  <a:pt x="832" y="23"/>
                </a:lnTo>
                <a:lnTo>
                  <a:pt x="829" y="23"/>
                </a:lnTo>
                <a:lnTo>
                  <a:pt x="829" y="22"/>
                </a:lnTo>
                <a:lnTo>
                  <a:pt x="831" y="20"/>
                </a:lnTo>
                <a:lnTo>
                  <a:pt x="832" y="20"/>
                </a:lnTo>
                <a:lnTo>
                  <a:pt x="833" y="19"/>
                </a:lnTo>
                <a:lnTo>
                  <a:pt x="837" y="20"/>
                </a:lnTo>
                <a:lnTo>
                  <a:pt x="838" y="22"/>
                </a:lnTo>
                <a:lnTo>
                  <a:pt x="838" y="23"/>
                </a:lnTo>
                <a:lnTo>
                  <a:pt x="839" y="24"/>
                </a:lnTo>
                <a:lnTo>
                  <a:pt x="840" y="24"/>
                </a:lnTo>
                <a:lnTo>
                  <a:pt x="840" y="27"/>
                </a:lnTo>
                <a:lnTo>
                  <a:pt x="839" y="29"/>
                </a:lnTo>
                <a:lnTo>
                  <a:pt x="846" y="27"/>
                </a:lnTo>
                <a:lnTo>
                  <a:pt x="845" y="26"/>
                </a:lnTo>
                <a:lnTo>
                  <a:pt x="846" y="24"/>
                </a:lnTo>
                <a:lnTo>
                  <a:pt x="846" y="23"/>
                </a:lnTo>
                <a:lnTo>
                  <a:pt x="845" y="22"/>
                </a:lnTo>
                <a:lnTo>
                  <a:pt x="846" y="20"/>
                </a:lnTo>
                <a:lnTo>
                  <a:pt x="849" y="20"/>
                </a:lnTo>
                <a:lnTo>
                  <a:pt x="850" y="23"/>
                </a:lnTo>
                <a:lnTo>
                  <a:pt x="849" y="26"/>
                </a:lnTo>
                <a:lnTo>
                  <a:pt x="846" y="31"/>
                </a:lnTo>
                <a:lnTo>
                  <a:pt x="845" y="32"/>
                </a:lnTo>
                <a:lnTo>
                  <a:pt x="843" y="33"/>
                </a:lnTo>
                <a:lnTo>
                  <a:pt x="844" y="33"/>
                </a:lnTo>
                <a:lnTo>
                  <a:pt x="845" y="32"/>
                </a:lnTo>
                <a:lnTo>
                  <a:pt x="847" y="35"/>
                </a:lnTo>
                <a:lnTo>
                  <a:pt x="849" y="35"/>
                </a:lnTo>
                <a:lnTo>
                  <a:pt x="850" y="36"/>
                </a:lnTo>
                <a:lnTo>
                  <a:pt x="850" y="32"/>
                </a:lnTo>
                <a:lnTo>
                  <a:pt x="851" y="29"/>
                </a:lnTo>
                <a:lnTo>
                  <a:pt x="852" y="27"/>
                </a:lnTo>
                <a:lnTo>
                  <a:pt x="853" y="27"/>
                </a:lnTo>
                <a:lnTo>
                  <a:pt x="853" y="29"/>
                </a:lnTo>
                <a:lnTo>
                  <a:pt x="855" y="29"/>
                </a:lnTo>
                <a:lnTo>
                  <a:pt x="857" y="33"/>
                </a:lnTo>
                <a:lnTo>
                  <a:pt x="857" y="35"/>
                </a:lnTo>
                <a:lnTo>
                  <a:pt x="858" y="39"/>
                </a:lnTo>
                <a:lnTo>
                  <a:pt x="857" y="44"/>
                </a:lnTo>
                <a:lnTo>
                  <a:pt x="858" y="44"/>
                </a:lnTo>
                <a:lnTo>
                  <a:pt x="858" y="42"/>
                </a:lnTo>
                <a:lnTo>
                  <a:pt x="859" y="41"/>
                </a:lnTo>
                <a:lnTo>
                  <a:pt x="862" y="41"/>
                </a:lnTo>
                <a:lnTo>
                  <a:pt x="863" y="32"/>
                </a:lnTo>
                <a:lnTo>
                  <a:pt x="863" y="27"/>
                </a:lnTo>
                <a:lnTo>
                  <a:pt x="862" y="26"/>
                </a:lnTo>
                <a:lnTo>
                  <a:pt x="862" y="20"/>
                </a:lnTo>
                <a:lnTo>
                  <a:pt x="864" y="22"/>
                </a:lnTo>
                <a:lnTo>
                  <a:pt x="869" y="26"/>
                </a:lnTo>
                <a:lnTo>
                  <a:pt x="869" y="31"/>
                </a:lnTo>
                <a:lnTo>
                  <a:pt x="865" y="35"/>
                </a:lnTo>
                <a:lnTo>
                  <a:pt x="864" y="35"/>
                </a:lnTo>
                <a:lnTo>
                  <a:pt x="865" y="37"/>
                </a:lnTo>
                <a:lnTo>
                  <a:pt x="866" y="37"/>
                </a:lnTo>
                <a:lnTo>
                  <a:pt x="869" y="33"/>
                </a:lnTo>
                <a:lnTo>
                  <a:pt x="870" y="36"/>
                </a:lnTo>
                <a:lnTo>
                  <a:pt x="870" y="35"/>
                </a:lnTo>
                <a:lnTo>
                  <a:pt x="871" y="32"/>
                </a:lnTo>
                <a:lnTo>
                  <a:pt x="872" y="31"/>
                </a:lnTo>
                <a:lnTo>
                  <a:pt x="875" y="30"/>
                </a:lnTo>
                <a:lnTo>
                  <a:pt x="876" y="30"/>
                </a:lnTo>
                <a:lnTo>
                  <a:pt x="877" y="32"/>
                </a:lnTo>
                <a:lnTo>
                  <a:pt x="878" y="33"/>
                </a:lnTo>
                <a:lnTo>
                  <a:pt x="878" y="35"/>
                </a:lnTo>
                <a:lnTo>
                  <a:pt x="880" y="35"/>
                </a:lnTo>
                <a:lnTo>
                  <a:pt x="880" y="32"/>
                </a:lnTo>
                <a:lnTo>
                  <a:pt x="882" y="31"/>
                </a:lnTo>
                <a:lnTo>
                  <a:pt x="883" y="31"/>
                </a:lnTo>
                <a:lnTo>
                  <a:pt x="884" y="30"/>
                </a:lnTo>
                <a:lnTo>
                  <a:pt x="886" y="32"/>
                </a:lnTo>
                <a:lnTo>
                  <a:pt x="886" y="36"/>
                </a:lnTo>
                <a:lnTo>
                  <a:pt x="884" y="36"/>
                </a:lnTo>
                <a:lnTo>
                  <a:pt x="883" y="38"/>
                </a:lnTo>
                <a:lnTo>
                  <a:pt x="881" y="41"/>
                </a:lnTo>
                <a:lnTo>
                  <a:pt x="878" y="44"/>
                </a:lnTo>
                <a:lnTo>
                  <a:pt x="877" y="45"/>
                </a:lnTo>
                <a:lnTo>
                  <a:pt x="874" y="48"/>
                </a:lnTo>
                <a:lnTo>
                  <a:pt x="874" y="49"/>
                </a:lnTo>
                <a:lnTo>
                  <a:pt x="875" y="51"/>
                </a:lnTo>
                <a:lnTo>
                  <a:pt x="872" y="54"/>
                </a:lnTo>
                <a:lnTo>
                  <a:pt x="872" y="55"/>
                </a:lnTo>
                <a:lnTo>
                  <a:pt x="870" y="55"/>
                </a:lnTo>
                <a:lnTo>
                  <a:pt x="869" y="59"/>
                </a:lnTo>
                <a:lnTo>
                  <a:pt x="865" y="60"/>
                </a:lnTo>
                <a:lnTo>
                  <a:pt x="865" y="63"/>
                </a:lnTo>
                <a:lnTo>
                  <a:pt x="862" y="67"/>
                </a:lnTo>
                <a:lnTo>
                  <a:pt x="859" y="68"/>
                </a:lnTo>
                <a:lnTo>
                  <a:pt x="859" y="69"/>
                </a:lnTo>
                <a:lnTo>
                  <a:pt x="857" y="72"/>
                </a:lnTo>
                <a:lnTo>
                  <a:pt x="857" y="73"/>
                </a:lnTo>
                <a:lnTo>
                  <a:pt x="851" y="78"/>
                </a:lnTo>
                <a:lnTo>
                  <a:pt x="850" y="80"/>
                </a:lnTo>
                <a:lnTo>
                  <a:pt x="857" y="78"/>
                </a:lnTo>
                <a:lnTo>
                  <a:pt x="859" y="80"/>
                </a:lnTo>
                <a:lnTo>
                  <a:pt x="857" y="82"/>
                </a:lnTo>
                <a:lnTo>
                  <a:pt x="850" y="82"/>
                </a:lnTo>
                <a:lnTo>
                  <a:pt x="851" y="85"/>
                </a:lnTo>
                <a:lnTo>
                  <a:pt x="857" y="84"/>
                </a:lnTo>
                <a:lnTo>
                  <a:pt x="859" y="86"/>
                </a:lnTo>
                <a:lnTo>
                  <a:pt x="858" y="86"/>
                </a:lnTo>
                <a:lnTo>
                  <a:pt x="857" y="87"/>
                </a:lnTo>
                <a:lnTo>
                  <a:pt x="857" y="90"/>
                </a:lnTo>
                <a:lnTo>
                  <a:pt x="858" y="93"/>
                </a:lnTo>
                <a:lnTo>
                  <a:pt x="858" y="96"/>
                </a:lnTo>
                <a:lnTo>
                  <a:pt x="855" y="93"/>
                </a:lnTo>
                <a:lnTo>
                  <a:pt x="853" y="94"/>
                </a:lnTo>
                <a:lnTo>
                  <a:pt x="850" y="99"/>
                </a:lnTo>
                <a:lnTo>
                  <a:pt x="852" y="99"/>
                </a:lnTo>
                <a:lnTo>
                  <a:pt x="852" y="100"/>
                </a:lnTo>
                <a:lnTo>
                  <a:pt x="851" y="102"/>
                </a:lnTo>
                <a:lnTo>
                  <a:pt x="851" y="103"/>
                </a:lnTo>
                <a:lnTo>
                  <a:pt x="852" y="104"/>
                </a:lnTo>
                <a:lnTo>
                  <a:pt x="852" y="103"/>
                </a:lnTo>
                <a:lnTo>
                  <a:pt x="853" y="102"/>
                </a:lnTo>
                <a:lnTo>
                  <a:pt x="856" y="102"/>
                </a:lnTo>
                <a:lnTo>
                  <a:pt x="856" y="105"/>
                </a:lnTo>
                <a:lnTo>
                  <a:pt x="849" y="112"/>
                </a:lnTo>
                <a:lnTo>
                  <a:pt x="847" y="112"/>
                </a:lnTo>
                <a:lnTo>
                  <a:pt x="847" y="113"/>
                </a:lnTo>
                <a:lnTo>
                  <a:pt x="846" y="115"/>
                </a:lnTo>
                <a:lnTo>
                  <a:pt x="846" y="117"/>
                </a:lnTo>
                <a:lnTo>
                  <a:pt x="845" y="118"/>
                </a:lnTo>
                <a:lnTo>
                  <a:pt x="845" y="124"/>
                </a:lnTo>
                <a:lnTo>
                  <a:pt x="844" y="125"/>
                </a:lnTo>
                <a:lnTo>
                  <a:pt x="844" y="130"/>
                </a:lnTo>
                <a:lnTo>
                  <a:pt x="845" y="134"/>
                </a:lnTo>
                <a:lnTo>
                  <a:pt x="847" y="135"/>
                </a:lnTo>
                <a:lnTo>
                  <a:pt x="849" y="135"/>
                </a:lnTo>
                <a:lnTo>
                  <a:pt x="849" y="131"/>
                </a:lnTo>
                <a:lnTo>
                  <a:pt x="847" y="131"/>
                </a:lnTo>
                <a:lnTo>
                  <a:pt x="847" y="125"/>
                </a:lnTo>
                <a:lnTo>
                  <a:pt x="851" y="124"/>
                </a:lnTo>
                <a:lnTo>
                  <a:pt x="851" y="125"/>
                </a:lnTo>
                <a:lnTo>
                  <a:pt x="850" y="128"/>
                </a:lnTo>
                <a:lnTo>
                  <a:pt x="851" y="128"/>
                </a:lnTo>
                <a:lnTo>
                  <a:pt x="851" y="129"/>
                </a:lnTo>
                <a:lnTo>
                  <a:pt x="850" y="130"/>
                </a:lnTo>
                <a:lnTo>
                  <a:pt x="851" y="131"/>
                </a:lnTo>
                <a:lnTo>
                  <a:pt x="851" y="133"/>
                </a:lnTo>
                <a:lnTo>
                  <a:pt x="852" y="134"/>
                </a:lnTo>
                <a:lnTo>
                  <a:pt x="853" y="134"/>
                </a:lnTo>
                <a:lnTo>
                  <a:pt x="856" y="133"/>
                </a:lnTo>
                <a:lnTo>
                  <a:pt x="857" y="131"/>
                </a:lnTo>
                <a:lnTo>
                  <a:pt x="858" y="128"/>
                </a:lnTo>
                <a:lnTo>
                  <a:pt x="859" y="122"/>
                </a:lnTo>
                <a:lnTo>
                  <a:pt x="862" y="119"/>
                </a:lnTo>
                <a:lnTo>
                  <a:pt x="863" y="119"/>
                </a:lnTo>
                <a:lnTo>
                  <a:pt x="863" y="118"/>
                </a:lnTo>
                <a:lnTo>
                  <a:pt x="865" y="116"/>
                </a:lnTo>
                <a:lnTo>
                  <a:pt x="865" y="112"/>
                </a:lnTo>
                <a:lnTo>
                  <a:pt x="869" y="109"/>
                </a:lnTo>
                <a:lnTo>
                  <a:pt x="870" y="106"/>
                </a:lnTo>
                <a:lnTo>
                  <a:pt x="869" y="105"/>
                </a:lnTo>
                <a:lnTo>
                  <a:pt x="864" y="103"/>
                </a:lnTo>
                <a:lnTo>
                  <a:pt x="865" y="100"/>
                </a:lnTo>
                <a:lnTo>
                  <a:pt x="875" y="88"/>
                </a:lnTo>
                <a:lnTo>
                  <a:pt x="883" y="73"/>
                </a:lnTo>
                <a:lnTo>
                  <a:pt x="884" y="72"/>
                </a:lnTo>
                <a:lnTo>
                  <a:pt x="886" y="72"/>
                </a:lnTo>
                <a:lnTo>
                  <a:pt x="887" y="69"/>
                </a:lnTo>
                <a:lnTo>
                  <a:pt x="889" y="67"/>
                </a:lnTo>
                <a:lnTo>
                  <a:pt x="889" y="65"/>
                </a:lnTo>
                <a:lnTo>
                  <a:pt x="891" y="56"/>
                </a:lnTo>
                <a:lnTo>
                  <a:pt x="891" y="54"/>
                </a:lnTo>
                <a:lnTo>
                  <a:pt x="894" y="54"/>
                </a:lnTo>
                <a:lnTo>
                  <a:pt x="895" y="53"/>
                </a:lnTo>
                <a:lnTo>
                  <a:pt x="895" y="49"/>
                </a:lnTo>
                <a:lnTo>
                  <a:pt x="896" y="48"/>
                </a:lnTo>
                <a:lnTo>
                  <a:pt x="897" y="45"/>
                </a:lnTo>
                <a:lnTo>
                  <a:pt x="900" y="43"/>
                </a:lnTo>
                <a:lnTo>
                  <a:pt x="905" y="33"/>
                </a:lnTo>
                <a:lnTo>
                  <a:pt x="915" y="24"/>
                </a:lnTo>
                <a:lnTo>
                  <a:pt x="918" y="23"/>
                </a:lnTo>
                <a:lnTo>
                  <a:pt x="918" y="24"/>
                </a:lnTo>
                <a:lnTo>
                  <a:pt x="920" y="26"/>
                </a:lnTo>
                <a:lnTo>
                  <a:pt x="919" y="27"/>
                </a:lnTo>
                <a:lnTo>
                  <a:pt x="919" y="29"/>
                </a:lnTo>
                <a:lnTo>
                  <a:pt x="920" y="29"/>
                </a:lnTo>
                <a:lnTo>
                  <a:pt x="920" y="31"/>
                </a:lnTo>
                <a:lnTo>
                  <a:pt x="919" y="32"/>
                </a:lnTo>
                <a:lnTo>
                  <a:pt x="919" y="33"/>
                </a:lnTo>
                <a:lnTo>
                  <a:pt x="916" y="36"/>
                </a:lnTo>
                <a:lnTo>
                  <a:pt x="916" y="38"/>
                </a:lnTo>
                <a:lnTo>
                  <a:pt x="918" y="38"/>
                </a:lnTo>
                <a:lnTo>
                  <a:pt x="918" y="39"/>
                </a:lnTo>
                <a:lnTo>
                  <a:pt x="919" y="39"/>
                </a:lnTo>
                <a:lnTo>
                  <a:pt x="919" y="38"/>
                </a:lnTo>
                <a:lnTo>
                  <a:pt x="920" y="37"/>
                </a:lnTo>
                <a:lnTo>
                  <a:pt x="920" y="41"/>
                </a:lnTo>
                <a:lnTo>
                  <a:pt x="919" y="42"/>
                </a:lnTo>
                <a:lnTo>
                  <a:pt x="919" y="44"/>
                </a:lnTo>
                <a:lnTo>
                  <a:pt x="918" y="47"/>
                </a:lnTo>
                <a:lnTo>
                  <a:pt x="918" y="51"/>
                </a:lnTo>
                <a:lnTo>
                  <a:pt x="916" y="55"/>
                </a:lnTo>
                <a:lnTo>
                  <a:pt x="903" y="62"/>
                </a:lnTo>
                <a:lnTo>
                  <a:pt x="905" y="63"/>
                </a:lnTo>
                <a:lnTo>
                  <a:pt x="911" y="61"/>
                </a:lnTo>
                <a:lnTo>
                  <a:pt x="912" y="60"/>
                </a:lnTo>
                <a:lnTo>
                  <a:pt x="915" y="62"/>
                </a:lnTo>
                <a:lnTo>
                  <a:pt x="916" y="63"/>
                </a:lnTo>
                <a:lnTo>
                  <a:pt x="914" y="73"/>
                </a:lnTo>
                <a:lnTo>
                  <a:pt x="914" y="76"/>
                </a:lnTo>
                <a:lnTo>
                  <a:pt x="913" y="78"/>
                </a:lnTo>
                <a:lnTo>
                  <a:pt x="913" y="84"/>
                </a:lnTo>
                <a:lnTo>
                  <a:pt x="912" y="86"/>
                </a:lnTo>
                <a:lnTo>
                  <a:pt x="911" y="87"/>
                </a:lnTo>
                <a:lnTo>
                  <a:pt x="911" y="99"/>
                </a:lnTo>
                <a:lnTo>
                  <a:pt x="913" y="99"/>
                </a:lnTo>
                <a:lnTo>
                  <a:pt x="913" y="97"/>
                </a:lnTo>
                <a:lnTo>
                  <a:pt x="914" y="96"/>
                </a:lnTo>
                <a:lnTo>
                  <a:pt x="915" y="97"/>
                </a:lnTo>
                <a:lnTo>
                  <a:pt x="916" y="96"/>
                </a:lnTo>
                <a:lnTo>
                  <a:pt x="915" y="93"/>
                </a:lnTo>
                <a:lnTo>
                  <a:pt x="915" y="92"/>
                </a:lnTo>
                <a:lnTo>
                  <a:pt x="916" y="91"/>
                </a:lnTo>
                <a:lnTo>
                  <a:pt x="916" y="90"/>
                </a:lnTo>
                <a:lnTo>
                  <a:pt x="918" y="91"/>
                </a:lnTo>
                <a:lnTo>
                  <a:pt x="919" y="91"/>
                </a:lnTo>
                <a:lnTo>
                  <a:pt x="921" y="90"/>
                </a:lnTo>
                <a:lnTo>
                  <a:pt x="921" y="88"/>
                </a:lnTo>
                <a:lnTo>
                  <a:pt x="922" y="86"/>
                </a:lnTo>
                <a:lnTo>
                  <a:pt x="922" y="85"/>
                </a:lnTo>
                <a:lnTo>
                  <a:pt x="924" y="84"/>
                </a:lnTo>
                <a:lnTo>
                  <a:pt x="928" y="82"/>
                </a:lnTo>
                <a:lnTo>
                  <a:pt x="928" y="86"/>
                </a:lnTo>
                <a:lnTo>
                  <a:pt x="933" y="84"/>
                </a:lnTo>
                <a:lnTo>
                  <a:pt x="934" y="84"/>
                </a:lnTo>
                <a:lnTo>
                  <a:pt x="936" y="85"/>
                </a:lnTo>
                <a:lnTo>
                  <a:pt x="933" y="82"/>
                </a:lnTo>
                <a:lnTo>
                  <a:pt x="932" y="80"/>
                </a:lnTo>
                <a:lnTo>
                  <a:pt x="930" y="78"/>
                </a:lnTo>
                <a:lnTo>
                  <a:pt x="930" y="76"/>
                </a:lnTo>
                <a:lnTo>
                  <a:pt x="931" y="75"/>
                </a:lnTo>
                <a:lnTo>
                  <a:pt x="931" y="73"/>
                </a:lnTo>
                <a:lnTo>
                  <a:pt x="930" y="73"/>
                </a:lnTo>
                <a:lnTo>
                  <a:pt x="932" y="68"/>
                </a:lnTo>
                <a:lnTo>
                  <a:pt x="933" y="67"/>
                </a:lnTo>
                <a:lnTo>
                  <a:pt x="934" y="67"/>
                </a:lnTo>
                <a:lnTo>
                  <a:pt x="936" y="68"/>
                </a:lnTo>
                <a:lnTo>
                  <a:pt x="938" y="68"/>
                </a:lnTo>
                <a:lnTo>
                  <a:pt x="942" y="70"/>
                </a:lnTo>
                <a:lnTo>
                  <a:pt x="943" y="70"/>
                </a:lnTo>
                <a:lnTo>
                  <a:pt x="942" y="68"/>
                </a:lnTo>
                <a:lnTo>
                  <a:pt x="937" y="65"/>
                </a:lnTo>
                <a:lnTo>
                  <a:pt x="936" y="63"/>
                </a:lnTo>
                <a:lnTo>
                  <a:pt x="936" y="61"/>
                </a:lnTo>
                <a:lnTo>
                  <a:pt x="938" y="57"/>
                </a:lnTo>
                <a:lnTo>
                  <a:pt x="937" y="57"/>
                </a:lnTo>
                <a:lnTo>
                  <a:pt x="934" y="55"/>
                </a:lnTo>
                <a:lnTo>
                  <a:pt x="936" y="51"/>
                </a:lnTo>
                <a:lnTo>
                  <a:pt x="937" y="50"/>
                </a:lnTo>
                <a:lnTo>
                  <a:pt x="945" y="50"/>
                </a:lnTo>
                <a:lnTo>
                  <a:pt x="945" y="48"/>
                </a:lnTo>
                <a:lnTo>
                  <a:pt x="944" y="48"/>
                </a:lnTo>
                <a:lnTo>
                  <a:pt x="943" y="45"/>
                </a:lnTo>
                <a:lnTo>
                  <a:pt x="944" y="43"/>
                </a:lnTo>
                <a:lnTo>
                  <a:pt x="944" y="41"/>
                </a:lnTo>
                <a:lnTo>
                  <a:pt x="945" y="39"/>
                </a:lnTo>
                <a:lnTo>
                  <a:pt x="946" y="39"/>
                </a:lnTo>
                <a:lnTo>
                  <a:pt x="958" y="42"/>
                </a:lnTo>
                <a:lnTo>
                  <a:pt x="951" y="39"/>
                </a:lnTo>
                <a:lnTo>
                  <a:pt x="951" y="38"/>
                </a:lnTo>
                <a:lnTo>
                  <a:pt x="952" y="38"/>
                </a:lnTo>
                <a:lnTo>
                  <a:pt x="953" y="37"/>
                </a:lnTo>
                <a:lnTo>
                  <a:pt x="953" y="36"/>
                </a:lnTo>
                <a:lnTo>
                  <a:pt x="952" y="35"/>
                </a:lnTo>
                <a:lnTo>
                  <a:pt x="952" y="33"/>
                </a:lnTo>
                <a:lnTo>
                  <a:pt x="951" y="35"/>
                </a:lnTo>
                <a:lnTo>
                  <a:pt x="951" y="33"/>
                </a:lnTo>
                <a:lnTo>
                  <a:pt x="950" y="33"/>
                </a:lnTo>
                <a:lnTo>
                  <a:pt x="950" y="32"/>
                </a:lnTo>
                <a:lnTo>
                  <a:pt x="947" y="32"/>
                </a:lnTo>
                <a:lnTo>
                  <a:pt x="947" y="31"/>
                </a:lnTo>
                <a:lnTo>
                  <a:pt x="949" y="29"/>
                </a:lnTo>
                <a:lnTo>
                  <a:pt x="949" y="27"/>
                </a:lnTo>
                <a:lnTo>
                  <a:pt x="947" y="29"/>
                </a:lnTo>
                <a:lnTo>
                  <a:pt x="946" y="31"/>
                </a:lnTo>
                <a:lnTo>
                  <a:pt x="945" y="32"/>
                </a:lnTo>
                <a:lnTo>
                  <a:pt x="939" y="30"/>
                </a:lnTo>
                <a:lnTo>
                  <a:pt x="937" y="27"/>
                </a:lnTo>
                <a:lnTo>
                  <a:pt x="937" y="23"/>
                </a:lnTo>
                <a:lnTo>
                  <a:pt x="938" y="22"/>
                </a:lnTo>
                <a:lnTo>
                  <a:pt x="946" y="24"/>
                </a:lnTo>
                <a:lnTo>
                  <a:pt x="945" y="23"/>
                </a:lnTo>
                <a:lnTo>
                  <a:pt x="945" y="22"/>
                </a:lnTo>
                <a:lnTo>
                  <a:pt x="940" y="17"/>
                </a:lnTo>
                <a:lnTo>
                  <a:pt x="940" y="14"/>
                </a:lnTo>
                <a:lnTo>
                  <a:pt x="942" y="13"/>
                </a:lnTo>
                <a:lnTo>
                  <a:pt x="951" y="16"/>
                </a:lnTo>
                <a:lnTo>
                  <a:pt x="952" y="18"/>
                </a:lnTo>
                <a:lnTo>
                  <a:pt x="952" y="20"/>
                </a:lnTo>
                <a:lnTo>
                  <a:pt x="953" y="23"/>
                </a:lnTo>
                <a:lnTo>
                  <a:pt x="955" y="23"/>
                </a:lnTo>
                <a:lnTo>
                  <a:pt x="956" y="20"/>
                </a:lnTo>
                <a:lnTo>
                  <a:pt x="955" y="19"/>
                </a:lnTo>
                <a:lnTo>
                  <a:pt x="955" y="16"/>
                </a:lnTo>
                <a:lnTo>
                  <a:pt x="956" y="14"/>
                </a:lnTo>
                <a:lnTo>
                  <a:pt x="955" y="14"/>
                </a:lnTo>
                <a:lnTo>
                  <a:pt x="953" y="13"/>
                </a:lnTo>
                <a:lnTo>
                  <a:pt x="953" y="6"/>
                </a:lnTo>
                <a:lnTo>
                  <a:pt x="955" y="4"/>
                </a:lnTo>
                <a:lnTo>
                  <a:pt x="957" y="5"/>
                </a:lnTo>
                <a:lnTo>
                  <a:pt x="958" y="5"/>
                </a:lnTo>
                <a:lnTo>
                  <a:pt x="958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6" name="Freeform 11">
            <a:extLst>
              <a:ext uri="{FF2B5EF4-FFF2-40B4-BE49-F238E27FC236}">
                <a16:creationId xmlns:a16="http://schemas.microsoft.com/office/drawing/2014/main" id="{BB70B0D4-DFF2-4F92-BE3A-A14BA1776870}"/>
              </a:ext>
            </a:extLst>
          </p:cNvPr>
          <p:cNvSpPr>
            <a:spLocks/>
          </p:cNvSpPr>
          <p:nvPr/>
        </p:nvSpPr>
        <p:spPr bwMode="auto">
          <a:xfrm>
            <a:off x="1595380" y="4921902"/>
            <a:ext cx="276748" cy="175322"/>
          </a:xfrm>
          <a:custGeom>
            <a:avLst/>
            <a:gdLst/>
            <a:ahLst/>
            <a:cxnLst>
              <a:cxn ang="0">
                <a:pos x="114" y="0"/>
              </a:cxn>
              <a:cxn ang="0">
                <a:pos x="115" y="4"/>
              </a:cxn>
              <a:cxn ang="0">
                <a:pos x="121" y="6"/>
              </a:cxn>
              <a:cxn ang="0">
                <a:pos x="129" y="7"/>
              </a:cxn>
              <a:cxn ang="0">
                <a:pos x="156" y="21"/>
              </a:cxn>
              <a:cxn ang="0">
                <a:pos x="149" y="37"/>
              </a:cxn>
              <a:cxn ang="0">
                <a:pos x="150" y="45"/>
              </a:cxn>
              <a:cxn ang="0">
                <a:pos x="164" y="49"/>
              </a:cxn>
              <a:cxn ang="0">
                <a:pos x="177" y="58"/>
              </a:cxn>
              <a:cxn ang="0">
                <a:pos x="185" y="51"/>
              </a:cxn>
              <a:cxn ang="0">
                <a:pos x="191" y="57"/>
              </a:cxn>
              <a:cxn ang="0">
                <a:pos x="189" y="64"/>
              </a:cxn>
              <a:cxn ang="0">
                <a:pos x="189" y="77"/>
              </a:cxn>
              <a:cxn ang="0">
                <a:pos x="179" y="72"/>
              </a:cxn>
              <a:cxn ang="0">
                <a:pos x="171" y="81"/>
              </a:cxn>
              <a:cxn ang="0">
                <a:pos x="176" y="88"/>
              </a:cxn>
              <a:cxn ang="0">
                <a:pos x="173" y="96"/>
              </a:cxn>
              <a:cxn ang="0">
                <a:pos x="164" y="88"/>
              </a:cxn>
              <a:cxn ang="0">
                <a:pos x="150" y="92"/>
              </a:cxn>
              <a:cxn ang="0">
                <a:pos x="146" y="80"/>
              </a:cxn>
              <a:cxn ang="0">
                <a:pos x="143" y="80"/>
              </a:cxn>
              <a:cxn ang="0">
                <a:pos x="139" y="87"/>
              </a:cxn>
              <a:cxn ang="0">
                <a:pos x="136" y="100"/>
              </a:cxn>
              <a:cxn ang="0">
                <a:pos x="131" y="107"/>
              </a:cxn>
              <a:cxn ang="0">
                <a:pos x="129" y="113"/>
              </a:cxn>
              <a:cxn ang="0">
                <a:pos x="129" y="121"/>
              </a:cxn>
              <a:cxn ang="0">
                <a:pos x="124" y="114"/>
              </a:cxn>
              <a:cxn ang="0">
                <a:pos x="121" y="106"/>
              </a:cxn>
              <a:cxn ang="0">
                <a:pos x="115" y="105"/>
              </a:cxn>
              <a:cxn ang="0">
                <a:pos x="107" y="98"/>
              </a:cxn>
              <a:cxn ang="0">
                <a:pos x="99" y="84"/>
              </a:cxn>
              <a:cxn ang="0">
                <a:pos x="90" y="94"/>
              </a:cxn>
              <a:cxn ang="0">
                <a:pos x="89" y="105"/>
              </a:cxn>
              <a:cxn ang="0">
                <a:pos x="81" y="112"/>
              </a:cxn>
              <a:cxn ang="0">
                <a:pos x="71" y="112"/>
              </a:cxn>
              <a:cxn ang="0">
                <a:pos x="61" y="115"/>
              </a:cxn>
              <a:cxn ang="0">
                <a:pos x="44" y="113"/>
              </a:cxn>
              <a:cxn ang="0">
                <a:pos x="38" y="102"/>
              </a:cxn>
              <a:cxn ang="0">
                <a:pos x="33" y="89"/>
              </a:cxn>
              <a:cxn ang="0">
                <a:pos x="23" y="83"/>
              </a:cxn>
              <a:cxn ang="0">
                <a:pos x="12" y="90"/>
              </a:cxn>
              <a:cxn ang="0">
                <a:pos x="7" y="102"/>
              </a:cxn>
              <a:cxn ang="0">
                <a:pos x="1" y="99"/>
              </a:cxn>
              <a:cxn ang="0">
                <a:pos x="6" y="92"/>
              </a:cxn>
              <a:cxn ang="0">
                <a:pos x="5" y="84"/>
              </a:cxn>
              <a:cxn ang="0">
                <a:pos x="7" y="75"/>
              </a:cxn>
              <a:cxn ang="0">
                <a:pos x="20" y="64"/>
              </a:cxn>
              <a:cxn ang="0">
                <a:pos x="21" y="52"/>
              </a:cxn>
              <a:cxn ang="0">
                <a:pos x="33" y="43"/>
              </a:cxn>
              <a:cxn ang="0">
                <a:pos x="43" y="34"/>
              </a:cxn>
              <a:cxn ang="0">
                <a:pos x="44" y="26"/>
              </a:cxn>
              <a:cxn ang="0">
                <a:pos x="43" y="22"/>
              </a:cxn>
              <a:cxn ang="0">
                <a:pos x="45" y="18"/>
              </a:cxn>
              <a:cxn ang="0">
                <a:pos x="53" y="24"/>
              </a:cxn>
              <a:cxn ang="0">
                <a:pos x="64" y="18"/>
              </a:cxn>
              <a:cxn ang="0">
                <a:pos x="69" y="13"/>
              </a:cxn>
              <a:cxn ang="0">
                <a:pos x="76" y="15"/>
              </a:cxn>
              <a:cxn ang="0">
                <a:pos x="90" y="14"/>
              </a:cxn>
              <a:cxn ang="0">
                <a:pos x="99" y="10"/>
              </a:cxn>
              <a:cxn ang="0">
                <a:pos x="111" y="13"/>
              </a:cxn>
              <a:cxn ang="0">
                <a:pos x="105" y="9"/>
              </a:cxn>
              <a:cxn ang="0">
                <a:pos x="105" y="3"/>
              </a:cxn>
            </a:cxnLst>
            <a:rect l="0" t="0" r="r" b="b"/>
            <a:pathLst>
              <a:path w="191" h="121">
                <a:moveTo>
                  <a:pt x="110" y="0"/>
                </a:moveTo>
                <a:lnTo>
                  <a:pt x="112" y="0"/>
                </a:lnTo>
                <a:lnTo>
                  <a:pt x="112" y="2"/>
                </a:lnTo>
                <a:lnTo>
                  <a:pt x="113" y="2"/>
                </a:lnTo>
                <a:lnTo>
                  <a:pt x="113" y="0"/>
                </a:lnTo>
                <a:lnTo>
                  <a:pt x="114" y="0"/>
                </a:lnTo>
                <a:lnTo>
                  <a:pt x="114" y="1"/>
                </a:lnTo>
                <a:lnTo>
                  <a:pt x="115" y="1"/>
                </a:lnTo>
                <a:lnTo>
                  <a:pt x="115" y="2"/>
                </a:lnTo>
                <a:lnTo>
                  <a:pt x="117" y="2"/>
                </a:lnTo>
                <a:lnTo>
                  <a:pt x="117" y="3"/>
                </a:lnTo>
                <a:lnTo>
                  <a:pt x="115" y="4"/>
                </a:lnTo>
                <a:lnTo>
                  <a:pt x="117" y="4"/>
                </a:lnTo>
                <a:lnTo>
                  <a:pt x="117" y="6"/>
                </a:lnTo>
                <a:lnTo>
                  <a:pt x="119" y="6"/>
                </a:lnTo>
                <a:lnTo>
                  <a:pt x="119" y="4"/>
                </a:lnTo>
                <a:lnTo>
                  <a:pt x="120" y="4"/>
                </a:lnTo>
                <a:lnTo>
                  <a:pt x="121" y="6"/>
                </a:lnTo>
                <a:lnTo>
                  <a:pt x="123" y="6"/>
                </a:lnTo>
                <a:lnTo>
                  <a:pt x="121" y="7"/>
                </a:lnTo>
                <a:lnTo>
                  <a:pt x="123" y="7"/>
                </a:lnTo>
                <a:lnTo>
                  <a:pt x="124" y="8"/>
                </a:lnTo>
                <a:lnTo>
                  <a:pt x="127" y="8"/>
                </a:lnTo>
                <a:lnTo>
                  <a:pt x="129" y="7"/>
                </a:lnTo>
                <a:lnTo>
                  <a:pt x="130" y="7"/>
                </a:lnTo>
                <a:lnTo>
                  <a:pt x="135" y="8"/>
                </a:lnTo>
                <a:lnTo>
                  <a:pt x="138" y="8"/>
                </a:lnTo>
                <a:lnTo>
                  <a:pt x="141" y="9"/>
                </a:lnTo>
                <a:lnTo>
                  <a:pt x="151" y="16"/>
                </a:lnTo>
                <a:lnTo>
                  <a:pt x="156" y="21"/>
                </a:lnTo>
                <a:lnTo>
                  <a:pt x="156" y="25"/>
                </a:lnTo>
                <a:lnTo>
                  <a:pt x="154" y="27"/>
                </a:lnTo>
                <a:lnTo>
                  <a:pt x="154" y="28"/>
                </a:lnTo>
                <a:lnTo>
                  <a:pt x="151" y="33"/>
                </a:lnTo>
                <a:lnTo>
                  <a:pt x="150" y="34"/>
                </a:lnTo>
                <a:lnTo>
                  <a:pt x="149" y="37"/>
                </a:lnTo>
                <a:lnTo>
                  <a:pt x="149" y="39"/>
                </a:lnTo>
                <a:lnTo>
                  <a:pt x="150" y="40"/>
                </a:lnTo>
                <a:lnTo>
                  <a:pt x="150" y="44"/>
                </a:lnTo>
                <a:lnTo>
                  <a:pt x="149" y="44"/>
                </a:lnTo>
                <a:lnTo>
                  <a:pt x="149" y="45"/>
                </a:lnTo>
                <a:lnTo>
                  <a:pt x="150" y="45"/>
                </a:lnTo>
                <a:lnTo>
                  <a:pt x="152" y="46"/>
                </a:lnTo>
                <a:lnTo>
                  <a:pt x="154" y="45"/>
                </a:lnTo>
                <a:lnTo>
                  <a:pt x="154" y="46"/>
                </a:lnTo>
                <a:lnTo>
                  <a:pt x="156" y="45"/>
                </a:lnTo>
                <a:lnTo>
                  <a:pt x="157" y="46"/>
                </a:lnTo>
                <a:lnTo>
                  <a:pt x="164" y="49"/>
                </a:lnTo>
                <a:lnTo>
                  <a:pt x="166" y="49"/>
                </a:lnTo>
                <a:lnTo>
                  <a:pt x="166" y="53"/>
                </a:lnTo>
                <a:lnTo>
                  <a:pt x="167" y="55"/>
                </a:lnTo>
                <a:lnTo>
                  <a:pt x="171" y="56"/>
                </a:lnTo>
                <a:lnTo>
                  <a:pt x="174" y="58"/>
                </a:lnTo>
                <a:lnTo>
                  <a:pt x="177" y="58"/>
                </a:lnTo>
                <a:lnTo>
                  <a:pt x="180" y="57"/>
                </a:lnTo>
                <a:lnTo>
                  <a:pt x="180" y="55"/>
                </a:lnTo>
                <a:lnTo>
                  <a:pt x="181" y="53"/>
                </a:lnTo>
                <a:lnTo>
                  <a:pt x="183" y="53"/>
                </a:lnTo>
                <a:lnTo>
                  <a:pt x="183" y="52"/>
                </a:lnTo>
                <a:lnTo>
                  <a:pt x="185" y="51"/>
                </a:lnTo>
                <a:lnTo>
                  <a:pt x="185" y="50"/>
                </a:lnTo>
                <a:lnTo>
                  <a:pt x="187" y="50"/>
                </a:lnTo>
                <a:lnTo>
                  <a:pt x="191" y="53"/>
                </a:lnTo>
                <a:lnTo>
                  <a:pt x="191" y="55"/>
                </a:lnTo>
                <a:lnTo>
                  <a:pt x="189" y="56"/>
                </a:lnTo>
                <a:lnTo>
                  <a:pt x="191" y="57"/>
                </a:lnTo>
                <a:lnTo>
                  <a:pt x="189" y="59"/>
                </a:lnTo>
                <a:lnTo>
                  <a:pt x="189" y="61"/>
                </a:lnTo>
                <a:lnTo>
                  <a:pt x="188" y="62"/>
                </a:lnTo>
                <a:lnTo>
                  <a:pt x="188" y="63"/>
                </a:lnTo>
                <a:lnTo>
                  <a:pt x="189" y="63"/>
                </a:lnTo>
                <a:lnTo>
                  <a:pt x="189" y="64"/>
                </a:lnTo>
                <a:lnTo>
                  <a:pt x="187" y="66"/>
                </a:lnTo>
                <a:lnTo>
                  <a:pt x="187" y="71"/>
                </a:lnTo>
                <a:lnTo>
                  <a:pt x="189" y="71"/>
                </a:lnTo>
                <a:lnTo>
                  <a:pt x="191" y="72"/>
                </a:lnTo>
                <a:lnTo>
                  <a:pt x="191" y="76"/>
                </a:lnTo>
                <a:lnTo>
                  <a:pt x="189" y="77"/>
                </a:lnTo>
                <a:lnTo>
                  <a:pt x="183" y="77"/>
                </a:lnTo>
                <a:lnTo>
                  <a:pt x="183" y="76"/>
                </a:lnTo>
                <a:lnTo>
                  <a:pt x="182" y="76"/>
                </a:lnTo>
                <a:lnTo>
                  <a:pt x="181" y="75"/>
                </a:lnTo>
                <a:lnTo>
                  <a:pt x="181" y="72"/>
                </a:lnTo>
                <a:lnTo>
                  <a:pt x="179" y="72"/>
                </a:lnTo>
                <a:lnTo>
                  <a:pt x="175" y="74"/>
                </a:lnTo>
                <a:lnTo>
                  <a:pt x="174" y="74"/>
                </a:lnTo>
                <a:lnTo>
                  <a:pt x="174" y="76"/>
                </a:lnTo>
                <a:lnTo>
                  <a:pt x="173" y="77"/>
                </a:lnTo>
                <a:lnTo>
                  <a:pt x="173" y="80"/>
                </a:lnTo>
                <a:lnTo>
                  <a:pt x="171" y="81"/>
                </a:lnTo>
                <a:lnTo>
                  <a:pt x="173" y="81"/>
                </a:lnTo>
                <a:lnTo>
                  <a:pt x="173" y="82"/>
                </a:lnTo>
                <a:lnTo>
                  <a:pt x="171" y="83"/>
                </a:lnTo>
                <a:lnTo>
                  <a:pt x="173" y="84"/>
                </a:lnTo>
                <a:lnTo>
                  <a:pt x="176" y="84"/>
                </a:lnTo>
                <a:lnTo>
                  <a:pt x="176" y="88"/>
                </a:lnTo>
                <a:lnTo>
                  <a:pt x="175" y="88"/>
                </a:lnTo>
                <a:lnTo>
                  <a:pt x="175" y="92"/>
                </a:lnTo>
                <a:lnTo>
                  <a:pt x="177" y="93"/>
                </a:lnTo>
                <a:lnTo>
                  <a:pt x="177" y="95"/>
                </a:lnTo>
                <a:lnTo>
                  <a:pt x="176" y="96"/>
                </a:lnTo>
                <a:lnTo>
                  <a:pt x="173" y="96"/>
                </a:lnTo>
                <a:lnTo>
                  <a:pt x="173" y="94"/>
                </a:lnTo>
                <a:lnTo>
                  <a:pt x="170" y="93"/>
                </a:lnTo>
                <a:lnTo>
                  <a:pt x="169" y="90"/>
                </a:lnTo>
                <a:lnTo>
                  <a:pt x="169" y="89"/>
                </a:lnTo>
                <a:lnTo>
                  <a:pt x="168" y="88"/>
                </a:lnTo>
                <a:lnTo>
                  <a:pt x="164" y="88"/>
                </a:lnTo>
                <a:lnTo>
                  <a:pt x="162" y="89"/>
                </a:lnTo>
                <a:lnTo>
                  <a:pt x="158" y="89"/>
                </a:lnTo>
                <a:lnTo>
                  <a:pt x="158" y="93"/>
                </a:lnTo>
                <a:lnTo>
                  <a:pt x="152" y="93"/>
                </a:lnTo>
                <a:lnTo>
                  <a:pt x="151" y="92"/>
                </a:lnTo>
                <a:lnTo>
                  <a:pt x="150" y="92"/>
                </a:lnTo>
                <a:lnTo>
                  <a:pt x="150" y="90"/>
                </a:lnTo>
                <a:lnTo>
                  <a:pt x="149" y="89"/>
                </a:lnTo>
                <a:lnTo>
                  <a:pt x="149" y="88"/>
                </a:lnTo>
                <a:lnTo>
                  <a:pt x="148" y="88"/>
                </a:lnTo>
                <a:lnTo>
                  <a:pt x="148" y="81"/>
                </a:lnTo>
                <a:lnTo>
                  <a:pt x="146" y="80"/>
                </a:lnTo>
                <a:lnTo>
                  <a:pt x="146" y="81"/>
                </a:lnTo>
                <a:lnTo>
                  <a:pt x="145" y="81"/>
                </a:lnTo>
                <a:lnTo>
                  <a:pt x="145" y="82"/>
                </a:lnTo>
                <a:lnTo>
                  <a:pt x="144" y="82"/>
                </a:lnTo>
                <a:lnTo>
                  <a:pt x="143" y="81"/>
                </a:lnTo>
                <a:lnTo>
                  <a:pt x="143" y="80"/>
                </a:lnTo>
                <a:lnTo>
                  <a:pt x="141" y="80"/>
                </a:lnTo>
                <a:lnTo>
                  <a:pt x="139" y="81"/>
                </a:lnTo>
                <a:lnTo>
                  <a:pt x="139" y="82"/>
                </a:lnTo>
                <a:lnTo>
                  <a:pt x="138" y="83"/>
                </a:lnTo>
                <a:lnTo>
                  <a:pt x="139" y="84"/>
                </a:lnTo>
                <a:lnTo>
                  <a:pt x="139" y="87"/>
                </a:lnTo>
                <a:lnTo>
                  <a:pt x="141" y="89"/>
                </a:lnTo>
                <a:lnTo>
                  <a:pt x="141" y="92"/>
                </a:lnTo>
                <a:lnTo>
                  <a:pt x="138" y="96"/>
                </a:lnTo>
                <a:lnTo>
                  <a:pt x="137" y="98"/>
                </a:lnTo>
                <a:lnTo>
                  <a:pt x="136" y="98"/>
                </a:lnTo>
                <a:lnTo>
                  <a:pt x="136" y="100"/>
                </a:lnTo>
                <a:lnTo>
                  <a:pt x="132" y="102"/>
                </a:lnTo>
                <a:lnTo>
                  <a:pt x="132" y="104"/>
                </a:lnTo>
                <a:lnTo>
                  <a:pt x="131" y="104"/>
                </a:lnTo>
                <a:lnTo>
                  <a:pt x="132" y="105"/>
                </a:lnTo>
                <a:lnTo>
                  <a:pt x="131" y="106"/>
                </a:lnTo>
                <a:lnTo>
                  <a:pt x="131" y="107"/>
                </a:lnTo>
                <a:lnTo>
                  <a:pt x="130" y="107"/>
                </a:lnTo>
                <a:lnTo>
                  <a:pt x="129" y="108"/>
                </a:lnTo>
                <a:lnTo>
                  <a:pt x="130" y="111"/>
                </a:lnTo>
                <a:lnTo>
                  <a:pt x="127" y="112"/>
                </a:lnTo>
                <a:lnTo>
                  <a:pt x="127" y="113"/>
                </a:lnTo>
                <a:lnTo>
                  <a:pt x="129" y="113"/>
                </a:lnTo>
                <a:lnTo>
                  <a:pt x="129" y="114"/>
                </a:lnTo>
                <a:lnTo>
                  <a:pt x="130" y="115"/>
                </a:lnTo>
                <a:lnTo>
                  <a:pt x="131" y="115"/>
                </a:lnTo>
                <a:lnTo>
                  <a:pt x="131" y="118"/>
                </a:lnTo>
                <a:lnTo>
                  <a:pt x="130" y="119"/>
                </a:lnTo>
                <a:lnTo>
                  <a:pt x="129" y="121"/>
                </a:lnTo>
                <a:lnTo>
                  <a:pt x="127" y="121"/>
                </a:lnTo>
                <a:lnTo>
                  <a:pt x="126" y="120"/>
                </a:lnTo>
                <a:lnTo>
                  <a:pt x="125" y="120"/>
                </a:lnTo>
                <a:lnTo>
                  <a:pt x="125" y="117"/>
                </a:lnTo>
                <a:lnTo>
                  <a:pt x="124" y="115"/>
                </a:lnTo>
                <a:lnTo>
                  <a:pt x="124" y="114"/>
                </a:lnTo>
                <a:lnTo>
                  <a:pt x="123" y="113"/>
                </a:lnTo>
                <a:lnTo>
                  <a:pt x="120" y="112"/>
                </a:lnTo>
                <a:lnTo>
                  <a:pt x="119" y="112"/>
                </a:lnTo>
                <a:lnTo>
                  <a:pt x="119" y="111"/>
                </a:lnTo>
                <a:lnTo>
                  <a:pt x="121" y="108"/>
                </a:lnTo>
                <a:lnTo>
                  <a:pt x="121" y="106"/>
                </a:lnTo>
                <a:lnTo>
                  <a:pt x="120" y="105"/>
                </a:lnTo>
                <a:lnTo>
                  <a:pt x="118" y="105"/>
                </a:lnTo>
                <a:lnTo>
                  <a:pt x="118" y="104"/>
                </a:lnTo>
                <a:lnTo>
                  <a:pt x="117" y="104"/>
                </a:lnTo>
                <a:lnTo>
                  <a:pt x="117" y="105"/>
                </a:lnTo>
                <a:lnTo>
                  <a:pt x="115" y="105"/>
                </a:lnTo>
                <a:lnTo>
                  <a:pt x="113" y="104"/>
                </a:lnTo>
                <a:lnTo>
                  <a:pt x="112" y="104"/>
                </a:lnTo>
                <a:lnTo>
                  <a:pt x="112" y="102"/>
                </a:lnTo>
                <a:lnTo>
                  <a:pt x="110" y="99"/>
                </a:lnTo>
                <a:lnTo>
                  <a:pt x="108" y="98"/>
                </a:lnTo>
                <a:lnTo>
                  <a:pt x="107" y="98"/>
                </a:lnTo>
                <a:lnTo>
                  <a:pt x="106" y="96"/>
                </a:lnTo>
                <a:lnTo>
                  <a:pt x="105" y="96"/>
                </a:lnTo>
                <a:lnTo>
                  <a:pt x="105" y="83"/>
                </a:lnTo>
                <a:lnTo>
                  <a:pt x="101" y="83"/>
                </a:lnTo>
                <a:lnTo>
                  <a:pt x="100" y="84"/>
                </a:lnTo>
                <a:lnTo>
                  <a:pt x="99" y="84"/>
                </a:lnTo>
                <a:lnTo>
                  <a:pt x="99" y="88"/>
                </a:lnTo>
                <a:lnTo>
                  <a:pt x="98" y="88"/>
                </a:lnTo>
                <a:lnTo>
                  <a:pt x="94" y="92"/>
                </a:lnTo>
                <a:lnTo>
                  <a:pt x="92" y="93"/>
                </a:lnTo>
                <a:lnTo>
                  <a:pt x="90" y="93"/>
                </a:lnTo>
                <a:lnTo>
                  <a:pt x="90" y="94"/>
                </a:lnTo>
                <a:lnTo>
                  <a:pt x="89" y="94"/>
                </a:lnTo>
                <a:lnTo>
                  <a:pt x="89" y="95"/>
                </a:lnTo>
                <a:lnTo>
                  <a:pt x="90" y="96"/>
                </a:lnTo>
                <a:lnTo>
                  <a:pt x="92" y="99"/>
                </a:lnTo>
                <a:lnTo>
                  <a:pt x="92" y="102"/>
                </a:lnTo>
                <a:lnTo>
                  <a:pt x="89" y="105"/>
                </a:lnTo>
                <a:lnTo>
                  <a:pt x="88" y="105"/>
                </a:lnTo>
                <a:lnTo>
                  <a:pt x="87" y="106"/>
                </a:lnTo>
                <a:lnTo>
                  <a:pt x="87" y="109"/>
                </a:lnTo>
                <a:lnTo>
                  <a:pt x="86" y="111"/>
                </a:lnTo>
                <a:lnTo>
                  <a:pt x="82" y="112"/>
                </a:lnTo>
                <a:lnTo>
                  <a:pt x="81" y="112"/>
                </a:lnTo>
                <a:lnTo>
                  <a:pt x="80" y="114"/>
                </a:lnTo>
                <a:lnTo>
                  <a:pt x="80" y="115"/>
                </a:lnTo>
                <a:lnTo>
                  <a:pt x="77" y="115"/>
                </a:lnTo>
                <a:lnTo>
                  <a:pt x="75" y="114"/>
                </a:lnTo>
                <a:lnTo>
                  <a:pt x="74" y="114"/>
                </a:lnTo>
                <a:lnTo>
                  <a:pt x="71" y="112"/>
                </a:lnTo>
                <a:lnTo>
                  <a:pt x="67" y="111"/>
                </a:lnTo>
                <a:lnTo>
                  <a:pt x="67" y="112"/>
                </a:lnTo>
                <a:lnTo>
                  <a:pt x="65" y="112"/>
                </a:lnTo>
                <a:lnTo>
                  <a:pt x="65" y="113"/>
                </a:lnTo>
                <a:lnTo>
                  <a:pt x="63" y="113"/>
                </a:lnTo>
                <a:lnTo>
                  <a:pt x="61" y="115"/>
                </a:lnTo>
                <a:lnTo>
                  <a:pt x="56" y="115"/>
                </a:lnTo>
                <a:lnTo>
                  <a:pt x="55" y="117"/>
                </a:lnTo>
                <a:lnTo>
                  <a:pt x="52" y="118"/>
                </a:lnTo>
                <a:lnTo>
                  <a:pt x="48" y="118"/>
                </a:lnTo>
                <a:lnTo>
                  <a:pt x="48" y="117"/>
                </a:lnTo>
                <a:lnTo>
                  <a:pt x="44" y="113"/>
                </a:lnTo>
                <a:lnTo>
                  <a:pt x="44" y="111"/>
                </a:lnTo>
                <a:lnTo>
                  <a:pt x="40" y="107"/>
                </a:lnTo>
                <a:lnTo>
                  <a:pt x="38" y="107"/>
                </a:lnTo>
                <a:lnTo>
                  <a:pt x="38" y="105"/>
                </a:lnTo>
                <a:lnTo>
                  <a:pt x="39" y="104"/>
                </a:lnTo>
                <a:lnTo>
                  <a:pt x="38" y="102"/>
                </a:lnTo>
                <a:lnTo>
                  <a:pt x="34" y="102"/>
                </a:lnTo>
                <a:lnTo>
                  <a:pt x="34" y="99"/>
                </a:lnTo>
                <a:lnTo>
                  <a:pt x="37" y="94"/>
                </a:lnTo>
                <a:lnTo>
                  <a:pt x="36" y="93"/>
                </a:lnTo>
                <a:lnTo>
                  <a:pt x="34" y="90"/>
                </a:lnTo>
                <a:lnTo>
                  <a:pt x="33" y="89"/>
                </a:lnTo>
                <a:lnTo>
                  <a:pt x="36" y="87"/>
                </a:lnTo>
                <a:lnTo>
                  <a:pt x="36" y="86"/>
                </a:lnTo>
                <a:lnTo>
                  <a:pt x="34" y="84"/>
                </a:lnTo>
                <a:lnTo>
                  <a:pt x="28" y="82"/>
                </a:lnTo>
                <a:lnTo>
                  <a:pt x="25" y="82"/>
                </a:lnTo>
                <a:lnTo>
                  <a:pt x="23" y="83"/>
                </a:lnTo>
                <a:lnTo>
                  <a:pt x="19" y="86"/>
                </a:lnTo>
                <a:lnTo>
                  <a:pt x="17" y="86"/>
                </a:lnTo>
                <a:lnTo>
                  <a:pt x="15" y="87"/>
                </a:lnTo>
                <a:lnTo>
                  <a:pt x="13" y="88"/>
                </a:lnTo>
                <a:lnTo>
                  <a:pt x="12" y="89"/>
                </a:lnTo>
                <a:lnTo>
                  <a:pt x="12" y="90"/>
                </a:lnTo>
                <a:lnTo>
                  <a:pt x="11" y="92"/>
                </a:lnTo>
                <a:lnTo>
                  <a:pt x="12" y="92"/>
                </a:lnTo>
                <a:lnTo>
                  <a:pt x="12" y="94"/>
                </a:lnTo>
                <a:lnTo>
                  <a:pt x="14" y="94"/>
                </a:lnTo>
                <a:lnTo>
                  <a:pt x="14" y="95"/>
                </a:lnTo>
                <a:lnTo>
                  <a:pt x="7" y="102"/>
                </a:lnTo>
                <a:lnTo>
                  <a:pt x="5" y="101"/>
                </a:lnTo>
                <a:lnTo>
                  <a:pt x="3" y="101"/>
                </a:lnTo>
                <a:lnTo>
                  <a:pt x="1" y="102"/>
                </a:lnTo>
                <a:lnTo>
                  <a:pt x="0" y="102"/>
                </a:lnTo>
                <a:lnTo>
                  <a:pt x="1" y="101"/>
                </a:lnTo>
                <a:lnTo>
                  <a:pt x="1" y="99"/>
                </a:lnTo>
                <a:lnTo>
                  <a:pt x="0" y="99"/>
                </a:lnTo>
                <a:lnTo>
                  <a:pt x="0" y="98"/>
                </a:lnTo>
                <a:lnTo>
                  <a:pt x="1" y="96"/>
                </a:lnTo>
                <a:lnTo>
                  <a:pt x="3" y="95"/>
                </a:lnTo>
                <a:lnTo>
                  <a:pt x="6" y="95"/>
                </a:lnTo>
                <a:lnTo>
                  <a:pt x="6" y="92"/>
                </a:lnTo>
                <a:lnTo>
                  <a:pt x="7" y="92"/>
                </a:lnTo>
                <a:lnTo>
                  <a:pt x="7" y="90"/>
                </a:lnTo>
                <a:lnTo>
                  <a:pt x="8" y="88"/>
                </a:lnTo>
                <a:lnTo>
                  <a:pt x="7" y="87"/>
                </a:lnTo>
                <a:lnTo>
                  <a:pt x="7" y="86"/>
                </a:lnTo>
                <a:lnTo>
                  <a:pt x="5" y="84"/>
                </a:lnTo>
                <a:lnTo>
                  <a:pt x="5" y="82"/>
                </a:lnTo>
                <a:lnTo>
                  <a:pt x="6" y="81"/>
                </a:lnTo>
                <a:lnTo>
                  <a:pt x="7" y="78"/>
                </a:lnTo>
                <a:lnTo>
                  <a:pt x="8" y="77"/>
                </a:lnTo>
                <a:lnTo>
                  <a:pt x="7" y="76"/>
                </a:lnTo>
                <a:lnTo>
                  <a:pt x="7" y="75"/>
                </a:lnTo>
                <a:lnTo>
                  <a:pt x="13" y="69"/>
                </a:lnTo>
                <a:lnTo>
                  <a:pt x="17" y="68"/>
                </a:lnTo>
                <a:lnTo>
                  <a:pt x="17" y="66"/>
                </a:lnTo>
                <a:lnTo>
                  <a:pt x="18" y="65"/>
                </a:lnTo>
                <a:lnTo>
                  <a:pt x="19" y="65"/>
                </a:lnTo>
                <a:lnTo>
                  <a:pt x="20" y="64"/>
                </a:lnTo>
                <a:lnTo>
                  <a:pt x="20" y="58"/>
                </a:lnTo>
                <a:lnTo>
                  <a:pt x="21" y="58"/>
                </a:lnTo>
                <a:lnTo>
                  <a:pt x="21" y="56"/>
                </a:lnTo>
                <a:lnTo>
                  <a:pt x="20" y="56"/>
                </a:lnTo>
                <a:lnTo>
                  <a:pt x="20" y="55"/>
                </a:lnTo>
                <a:lnTo>
                  <a:pt x="21" y="52"/>
                </a:lnTo>
                <a:lnTo>
                  <a:pt x="23" y="51"/>
                </a:lnTo>
                <a:lnTo>
                  <a:pt x="27" y="50"/>
                </a:lnTo>
                <a:lnTo>
                  <a:pt x="31" y="46"/>
                </a:lnTo>
                <a:lnTo>
                  <a:pt x="31" y="44"/>
                </a:lnTo>
                <a:lnTo>
                  <a:pt x="32" y="44"/>
                </a:lnTo>
                <a:lnTo>
                  <a:pt x="33" y="43"/>
                </a:lnTo>
                <a:lnTo>
                  <a:pt x="33" y="41"/>
                </a:lnTo>
                <a:lnTo>
                  <a:pt x="34" y="41"/>
                </a:lnTo>
                <a:lnTo>
                  <a:pt x="38" y="39"/>
                </a:lnTo>
                <a:lnTo>
                  <a:pt x="38" y="38"/>
                </a:lnTo>
                <a:lnTo>
                  <a:pt x="39" y="35"/>
                </a:lnTo>
                <a:lnTo>
                  <a:pt x="43" y="34"/>
                </a:lnTo>
                <a:lnTo>
                  <a:pt x="43" y="31"/>
                </a:lnTo>
                <a:lnTo>
                  <a:pt x="44" y="31"/>
                </a:lnTo>
                <a:lnTo>
                  <a:pt x="44" y="29"/>
                </a:lnTo>
                <a:lnTo>
                  <a:pt x="45" y="29"/>
                </a:lnTo>
                <a:lnTo>
                  <a:pt x="46" y="28"/>
                </a:lnTo>
                <a:lnTo>
                  <a:pt x="44" y="26"/>
                </a:lnTo>
                <a:lnTo>
                  <a:pt x="44" y="27"/>
                </a:lnTo>
                <a:lnTo>
                  <a:pt x="39" y="27"/>
                </a:lnTo>
                <a:lnTo>
                  <a:pt x="39" y="26"/>
                </a:lnTo>
                <a:lnTo>
                  <a:pt x="42" y="24"/>
                </a:lnTo>
                <a:lnTo>
                  <a:pt x="42" y="22"/>
                </a:lnTo>
                <a:lnTo>
                  <a:pt x="43" y="22"/>
                </a:lnTo>
                <a:lnTo>
                  <a:pt x="44" y="21"/>
                </a:lnTo>
                <a:lnTo>
                  <a:pt x="44" y="20"/>
                </a:lnTo>
                <a:lnTo>
                  <a:pt x="43" y="20"/>
                </a:lnTo>
                <a:lnTo>
                  <a:pt x="43" y="19"/>
                </a:lnTo>
                <a:lnTo>
                  <a:pt x="44" y="19"/>
                </a:lnTo>
                <a:lnTo>
                  <a:pt x="45" y="18"/>
                </a:lnTo>
                <a:lnTo>
                  <a:pt x="45" y="19"/>
                </a:lnTo>
                <a:lnTo>
                  <a:pt x="52" y="19"/>
                </a:lnTo>
                <a:lnTo>
                  <a:pt x="51" y="21"/>
                </a:lnTo>
                <a:lnTo>
                  <a:pt x="52" y="22"/>
                </a:lnTo>
                <a:lnTo>
                  <a:pt x="53" y="22"/>
                </a:lnTo>
                <a:lnTo>
                  <a:pt x="53" y="24"/>
                </a:lnTo>
                <a:lnTo>
                  <a:pt x="55" y="24"/>
                </a:lnTo>
                <a:lnTo>
                  <a:pt x="56" y="22"/>
                </a:lnTo>
                <a:lnTo>
                  <a:pt x="62" y="22"/>
                </a:lnTo>
                <a:lnTo>
                  <a:pt x="62" y="19"/>
                </a:lnTo>
                <a:lnTo>
                  <a:pt x="64" y="19"/>
                </a:lnTo>
                <a:lnTo>
                  <a:pt x="64" y="18"/>
                </a:lnTo>
                <a:lnTo>
                  <a:pt x="65" y="18"/>
                </a:lnTo>
                <a:lnTo>
                  <a:pt x="65" y="16"/>
                </a:lnTo>
                <a:lnTo>
                  <a:pt x="64" y="15"/>
                </a:lnTo>
                <a:lnTo>
                  <a:pt x="67" y="14"/>
                </a:lnTo>
                <a:lnTo>
                  <a:pt x="68" y="13"/>
                </a:lnTo>
                <a:lnTo>
                  <a:pt x="69" y="13"/>
                </a:lnTo>
                <a:lnTo>
                  <a:pt x="71" y="12"/>
                </a:lnTo>
                <a:lnTo>
                  <a:pt x="73" y="12"/>
                </a:lnTo>
                <a:lnTo>
                  <a:pt x="71" y="14"/>
                </a:lnTo>
                <a:lnTo>
                  <a:pt x="70" y="14"/>
                </a:lnTo>
                <a:lnTo>
                  <a:pt x="71" y="15"/>
                </a:lnTo>
                <a:lnTo>
                  <a:pt x="76" y="15"/>
                </a:lnTo>
                <a:lnTo>
                  <a:pt x="79" y="13"/>
                </a:lnTo>
                <a:lnTo>
                  <a:pt x="79" y="12"/>
                </a:lnTo>
                <a:lnTo>
                  <a:pt x="80" y="13"/>
                </a:lnTo>
                <a:lnTo>
                  <a:pt x="82" y="13"/>
                </a:lnTo>
                <a:lnTo>
                  <a:pt x="82" y="14"/>
                </a:lnTo>
                <a:lnTo>
                  <a:pt x="90" y="14"/>
                </a:lnTo>
                <a:lnTo>
                  <a:pt x="90" y="13"/>
                </a:lnTo>
                <a:lnTo>
                  <a:pt x="92" y="13"/>
                </a:lnTo>
                <a:lnTo>
                  <a:pt x="93" y="12"/>
                </a:lnTo>
                <a:lnTo>
                  <a:pt x="94" y="12"/>
                </a:lnTo>
                <a:lnTo>
                  <a:pt x="94" y="10"/>
                </a:lnTo>
                <a:lnTo>
                  <a:pt x="99" y="10"/>
                </a:lnTo>
                <a:lnTo>
                  <a:pt x="99" y="13"/>
                </a:lnTo>
                <a:lnTo>
                  <a:pt x="106" y="13"/>
                </a:lnTo>
                <a:lnTo>
                  <a:pt x="106" y="12"/>
                </a:lnTo>
                <a:lnTo>
                  <a:pt x="107" y="10"/>
                </a:lnTo>
                <a:lnTo>
                  <a:pt x="108" y="10"/>
                </a:lnTo>
                <a:lnTo>
                  <a:pt x="111" y="13"/>
                </a:lnTo>
                <a:lnTo>
                  <a:pt x="111" y="9"/>
                </a:lnTo>
                <a:lnTo>
                  <a:pt x="112" y="9"/>
                </a:lnTo>
                <a:lnTo>
                  <a:pt x="112" y="8"/>
                </a:lnTo>
                <a:lnTo>
                  <a:pt x="108" y="8"/>
                </a:lnTo>
                <a:lnTo>
                  <a:pt x="107" y="9"/>
                </a:lnTo>
                <a:lnTo>
                  <a:pt x="105" y="9"/>
                </a:lnTo>
                <a:lnTo>
                  <a:pt x="104" y="8"/>
                </a:lnTo>
                <a:lnTo>
                  <a:pt x="104" y="7"/>
                </a:lnTo>
                <a:lnTo>
                  <a:pt x="102" y="6"/>
                </a:lnTo>
                <a:lnTo>
                  <a:pt x="104" y="6"/>
                </a:lnTo>
                <a:lnTo>
                  <a:pt x="105" y="4"/>
                </a:lnTo>
                <a:lnTo>
                  <a:pt x="105" y="3"/>
                </a:lnTo>
                <a:lnTo>
                  <a:pt x="106" y="2"/>
                </a:lnTo>
                <a:lnTo>
                  <a:pt x="106" y="1"/>
                </a:lnTo>
                <a:lnTo>
                  <a:pt x="110" y="1"/>
                </a:lnTo>
                <a:lnTo>
                  <a:pt x="11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" name="Freeform 12">
            <a:extLst>
              <a:ext uri="{FF2B5EF4-FFF2-40B4-BE49-F238E27FC236}">
                <a16:creationId xmlns:a16="http://schemas.microsoft.com/office/drawing/2014/main" id="{BA351282-E383-46EE-940D-3C4BCB5003EB}"/>
              </a:ext>
            </a:extLst>
          </p:cNvPr>
          <p:cNvSpPr>
            <a:spLocks noEditPoints="1"/>
          </p:cNvSpPr>
          <p:nvPr/>
        </p:nvSpPr>
        <p:spPr bwMode="auto">
          <a:xfrm>
            <a:off x="1911249" y="2344238"/>
            <a:ext cx="798366" cy="1832910"/>
          </a:xfrm>
          <a:custGeom>
            <a:avLst/>
            <a:gdLst/>
            <a:ahLst/>
            <a:cxnLst>
              <a:cxn ang="0">
                <a:pos x="240" y="1154"/>
              </a:cxn>
              <a:cxn ang="0">
                <a:pos x="319" y="1067"/>
              </a:cxn>
              <a:cxn ang="0">
                <a:pos x="329" y="1106"/>
              </a:cxn>
              <a:cxn ang="0">
                <a:pos x="298" y="1128"/>
              </a:cxn>
              <a:cxn ang="0">
                <a:pos x="336" y="1063"/>
              </a:cxn>
              <a:cxn ang="0">
                <a:pos x="346" y="1031"/>
              </a:cxn>
              <a:cxn ang="0">
                <a:pos x="299" y="980"/>
              </a:cxn>
              <a:cxn ang="0">
                <a:pos x="323" y="958"/>
              </a:cxn>
              <a:cxn ang="0">
                <a:pos x="330" y="947"/>
              </a:cxn>
              <a:cxn ang="0">
                <a:pos x="329" y="932"/>
              </a:cxn>
              <a:cxn ang="0">
                <a:pos x="256" y="772"/>
              </a:cxn>
              <a:cxn ang="0">
                <a:pos x="412" y="559"/>
              </a:cxn>
              <a:cxn ang="0">
                <a:pos x="474" y="387"/>
              </a:cxn>
              <a:cxn ang="0">
                <a:pos x="534" y="367"/>
              </a:cxn>
              <a:cxn ang="0">
                <a:pos x="458" y="59"/>
              </a:cxn>
              <a:cxn ang="0">
                <a:pos x="523" y="133"/>
              </a:cxn>
              <a:cxn ang="0">
                <a:pos x="541" y="253"/>
              </a:cxn>
              <a:cxn ang="0">
                <a:pos x="546" y="357"/>
              </a:cxn>
              <a:cxn ang="0">
                <a:pos x="503" y="361"/>
              </a:cxn>
              <a:cxn ang="0">
                <a:pos x="468" y="363"/>
              </a:cxn>
              <a:cxn ang="0">
                <a:pos x="456" y="372"/>
              </a:cxn>
              <a:cxn ang="0">
                <a:pos x="437" y="400"/>
              </a:cxn>
              <a:cxn ang="0">
                <a:pos x="439" y="436"/>
              </a:cxn>
              <a:cxn ang="0">
                <a:pos x="424" y="467"/>
              </a:cxn>
              <a:cxn ang="0">
                <a:pos x="442" y="490"/>
              </a:cxn>
              <a:cxn ang="0">
                <a:pos x="402" y="554"/>
              </a:cxn>
              <a:cxn ang="0">
                <a:pos x="358" y="584"/>
              </a:cxn>
              <a:cxn ang="0">
                <a:pos x="337" y="611"/>
              </a:cxn>
              <a:cxn ang="0">
                <a:pos x="317" y="620"/>
              </a:cxn>
              <a:cxn ang="0">
                <a:pos x="299" y="643"/>
              </a:cxn>
              <a:cxn ang="0">
                <a:pos x="288" y="650"/>
              </a:cxn>
              <a:cxn ang="0">
                <a:pos x="262" y="680"/>
              </a:cxn>
              <a:cxn ang="0">
                <a:pos x="262" y="736"/>
              </a:cxn>
              <a:cxn ang="0">
                <a:pos x="257" y="757"/>
              </a:cxn>
              <a:cxn ang="0">
                <a:pos x="256" y="791"/>
              </a:cxn>
              <a:cxn ang="0">
                <a:pos x="263" y="841"/>
              </a:cxn>
              <a:cxn ang="0">
                <a:pos x="307" y="874"/>
              </a:cxn>
              <a:cxn ang="0">
                <a:pos x="329" y="903"/>
              </a:cxn>
              <a:cxn ang="0">
                <a:pos x="302" y="941"/>
              </a:cxn>
              <a:cxn ang="0">
                <a:pos x="316" y="950"/>
              </a:cxn>
              <a:cxn ang="0">
                <a:pos x="302" y="970"/>
              </a:cxn>
              <a:cxn ang="0">
                <a:pos x="274" y="977"/>
              </a:cxn>
              <a:cxn ang="0">
                <a:pos x="251" y="1001"/>
              </a:cxn>
              <a:cxn ang="0">
                <a:pos x="241" y="1017"/>
              </a:cxn>
              <a:cxn ang="0">
                <a:pos x="241" y="1043"/>
              </a:cxn>
              <a:cxn ang="0">
                <a:pos x="236" y="1069"/>
              </a:cxn>
              <a:cxn ang="0">
                <a:pos x="230" y="1093"/>
              </a:cxn>
              <a:cxn ang="0">
                <a:pos x="226" y="1136"/>
              </a:cxn>
              <a:cxn ang="0">
                <a:pos x="198" y="1203"/>
              </a:cxn>
              <a:cxn ang="0">
                <a:pos x="154" y="1203"/>
              </a:cxn>
              <a:cxn ang="0">
                <a:pos x="123" y="1261"/>
              </a:cxn>
              <a:cxn ang="0">
                <a:pos x="75" y="1227"/>
              </a:cxn>
              <a:cxn ang="0">
                <a:pos x="66" y="1164"/>
              </a:cxn>
              <a:cxn ang="0">
                <a:pos x="40" y="1113"/>
              </a:cxn>
              <a:cxn ang="0">
                <a:pos x="24" y="1073"/>
              </a:cxn>
              <a:cxn ang="0">
                <a:pos x="29" y="1037"/>
              </a:cxn>
              <a:cxn ang="0">
                <a:pos x="12" y="1030"/>
              </a:cxn>
              <a:cxn ang="0">
                <a:pos x="0" y="984"/>
              </a:cxn>
              <a:cxn ang="0">
                <a:pos x="43" y="906"/>
              </a:cxn>
              <a:cxn ang="0">
                <a:pos x="50" y="697"/>
              </a:cxn>
              <a:cxn ang="0">
                <a:pos x="143" y="406"/>
              </a:cxn>
              <a:cxn ang="0">
                <a:pos x="296" y="72"/>
              </a:cxn>
            </a:cxnLst>
            <a:rect l="0" t="0" r="r" b="b"/>
            <a:pathLst>
              <a:path w="551" h="1265">
                <a:moveTo>
                  <a:pt x="192" y="1207"/>
                </a:moveTo>
                <a:lnTo>
                  <a:pt x="194" y="1207"/>
                </a:lnTo>
                <a:lnTo>
                  <a:pt x="194" y="1208"/>
                </a:lnTo>
                <a:lnTo>
                  <a:pt x="193" y="1208"/>
                </a:lnTo>
                <a:lnTo>
                  <a:pt x="193" y="1210"/>
                </a:lnTo>
                <a:lnTo>
                  <a:pt x="191" y="1209"/>
                </a:lnTo>
                <a:lnTo>
                  <a:pt x="191" y="1208"/>
                </a:lnTo>
                <a:lnTo>
                  <a:pt x="192" y="1207"/>
                </a:lnTo>
                <a:close/>
                <a:moveTo>
                  <a:pt x="225" y="1155"/>
                </a:moveTo>
                <a:lnTo>
                  <a:pt x="226" y="1155"/>
                </a:lnTo>
                <a:lnTo>
                  <a:pt x="226" y="1156"/>
                </a:lnTo>
                <a:lnTo>
                  <a:pt x="225" y="1158"/>
                </a:lnTo>
                <a:lnTo>
                  <a:pt x="224" y="1156"/>
                </a:lnTo>
                <a:lnTo>
                  <a:pt x="225" y="1155"/>
                </a:lnTo>
                <a:close/>
                <a:moveTo>
                  <a:pt x="250" y="1111"/>
                </a:moveTo>
                <a:lnTo>
                  <a:pt x="251" y="1111"/>
                </a:lnTo>
                <a:lnTo>
                  <a:pt x="251" y="1112"/>
                </a:lnTo>
                <a:lnTo>
                  <a:pt x="253" y="1112"/>
                </a:lnTo>
                <a:lnTo>
                  <a:pt x="253" y="1113"/>
                </a:lnTo>
                <a:lnTo>
                  <a:pt x="254" y="1115"/>
                </a:lnTo>
                <a:lnTo>
                  <a:pt x="253" y="1115"/>
                </a:lnTo>
                <a:lnTo>
                  <a:pt x="251" y="1116"/>
                </a:lnTo>
                <a:lnTo>
                  <a:pt x="250" y="1118"/>
                </a:lnTo>
                <a:lnTo>
                  <a:pt x="251" y="1121"/>
                </a:lnTo>
                <a:lnTo>
                  <a:pt x="251" y="1122"/>
                </a:lnTo>
                <a:lnTo>
                  <a:pt x="250" y="1124"/>
                </a:lnTo>
                <a:lnTo>
                  <a:pt x="250" y="1125"/>
                </a:lnTo>
                <a:lnTo>
                  <a:pt x="249" y="1125"/>
                </a:lnTo>
                <a:lnTo>
                  <a:pt x="249" y="1128"/>
                </a:lnTo>
                <a:lnTo>
                  <a:pt x="247" y="1131"/>
                </a:lnTo>
                <a:lnTo>
                  <a:pt x="247" y="1135"/>
                </a:lnTo>
                <a:lnTo>
                  <a:pt x="245" y="1135"/>
                </a:lnTo>
                <a:lnTo>
                  <a:pt x="244" y="1136"/>
                </a:lnTo>
                <a:lnTo>
                  <a:pt x="244" y="1137"/>
                </a:lnTo>
                <a:lnTo>
                  <a:pt x="245" y="1137"/>
                </a:lnTo>
                <a:lnTo>
                  <a:pt x="245" y="1138"/>
                </a:lnTo>
                <a:lnTo>
                  <a:pt x="244" y="1138"/>
                </a:lnTo>
                <a:lnTo>
                  <a:pt x="244" y="1140"/>
                </a:lnTo>
                <a:lnTo>
                  <a:pt x="243" y="1142"/>
                </a:lnTo>
                <a:lnTo>
                  <a:pt x="243" y="1147"/>
                </a:lnTo>
                <a:lnTo>
                  <a:pt x="242" y="1147"/>
                </a:lnTo>
                <a:lnTo>
                  <a:pt x="242" y="1152"/>
                </a:lnTo>
                <a:lnTo>
                  <a:pt x="240" y="1154"/>
                </a:lnTo>
                <a:lnTo>
                  <a:pt x="238" y="1154"/>
                </a:lnTo>
                <a:lnTo>
                  <a:pt x="238" y="1159"/>
                </a:lnTo>
                <a:lnTo>
                  <a:pt x="236" y="1167"/>
                </a:lnTo>
                <a:lnTo>
                  <a:pt x="235" y="1168"/>
                </a:lnTo>
                <a:lnTo>
                  <a:pt x="235" y="1172"/>
                </a:lnTo>
                <a:lnTo>
                  <a:pt x="234" y="1172"/>
                </a:lnTo>
                <a:lnTo>
                  <a:pt x="234" y="1173"/>
                </a:lnTo>
                <a:lnTo>
                  <a:pt x="232" y="1173"/>
                </a:lnTo>
                <a:lnTo>
                  <a:pt x="232" y="1180"/>
                </a:lnTo>
                <a:lnTo>
                  <a:pt x="231" y="1181"/>
                </a:lnTo>
                <a:lnTo>
                  <a:pt x="231" y="1184"/>
                </a:lnTo>
                <a:lnTo>
                  <a:pt x="230" y="1185"/>
                </a:lnTo>
                <a:lnTo>
                  <a:pt x="230" y="1190"/>
                </a:lnTo>
                <a:lnTo>
                  <a:pt x="229" y="1191"/>
                </a:lnTo>
                <a:lnTo>
                  <a:pt x="229" y="1192"/>
                </a:lnTo>
                <a:lnTo>
                  <a:pt x="226" y="1198"/>
                </a:lnTo>
                <a:lnTo>
                  <a:pt x="225" y="1199"/>
                </a:lnTo>
                <a:lnTo>
                  <a:pt x="224" y="1199"/>
                </a:lnTo>
                <a:lnTo>
                  <a:pt x="223" y="1198"/>
                </a:lnTo>
                <a:lnTo>
                  <a:pt x="223" y="1186"/>
                </a:lnTo>
                <a:lnTo>
                  <a:pt x="224" y="1185"/>
                </a:lnTo>
                <a:lnTo>
                  <a:pt x="223" y="1184"/>
                </a:lnTo>
                <a:lnTo>
                  <a:pt x="223" y="1173"/>
                </a:lnTo>
                <a:lnTo>
                  <a:pt x="224" y="1171"/>
                </a:lnTo>
                <a:lnTo>
                  <a:pt x="225" y="1169"/>
                </a:lnTo>
                <a:lnTo>
                  <a:pt x="225" y="1167"/>
                </a:lnTo>
                <a:lnTo>
                  <a:pt x="232" y="1149"/>
                </a:lnTo>
                <a:lnTo>
                  <a:pt x="232" y="1148"/>
                </a:lnTo>
                <a:lnTo>
                  <a:pt x="236" y="1148"/>
                </a:lnTo>
                <a:lnTo>
                  <a:pt x="237" y="1147"/>
                </a:lnTo>
                <a:lnTo>
                  <a:pt x="237" y="1144"/>
                </a:lnTo>
                <a:lnTo>
                  <a:pt x="242" y="1135"/>
                </a:lnTo>
                <a:lnTo>
                  <a:pt x="243" y="1130"/>
                </a:lnTo>
                <a:lnTo>
                  <a:pt x="244" y="1124"/>
                </a:lnTo>
                <a:lnTo>
                  <a:pt x="244" y="1123"/>
                </a:lnTo>
                <a:lnTo>
                  <a:pt x="245" y="1123"/>
                </a:lnTo>
                <a:lnTo>
                  <a:pt x="247" y="1122"/>
                </a:lnTo>
                <a:lnTo>
                  <a:pt x="247" y="1116"/>
                </a:lnTo>
                <a:lnTo>
                  <a:pt x="248" y="1115"/>
                </a:lnTo>
                <a:lnTo>
                  <a:pt x="249" y="1112"/>
                </a:lnTo>
                <a:lnTo>
                  <a:pt x="250" y="1112"/>
                </a:lnTo>
                <a:lnTo>
                  <a:pt x="250" y="1111"/>
                </a:lnTo>
                <a:close/>
                <a:moveTo>
                  <a:pt x="319" y="1067"/>
                </a:moveTo>
                <a:lnTo>
                  <a:pt x="322" y="1067"/>
                </a:lnTo>
                <a:lnTo>
                  <a:pt x="322" y="1068"/>
                </a:lnTo>
                <a:lnTo>
                  <a:pt x="323" y="1069"/>
                </a:lnTo>
                <a:lnTo>
                  <a:pt x="323" y="1074"/>
                </a:lnTo>
                <a:lnTo>
                  <a:pt x="324" y="1075"/>
                </a:lnTo>
                <a:lnTo>
                  <a:pt x="324" y="1073"/>
                </a:lnTo>
                <a:lnTo>
                  <a:pt x="327" y="1070"/>
                </a:lnTo>
                <a:lnTo>
                  <a:pt x="327" y="1069"/>
                </a:lnTo>
                <a:lnTo>
                  <a:pt x="325" y="1068"/>
                </a:lnTo>
                <a:lnTo>
                  <a:pt x="327" y="1068"/>
                </a:lnTo>
                <a:lnTo>
                  <a:pt x="329" y="1067"/>
                </a:lnTo>
                <a:lnTo>
                  <a:pt x="329" y="1068"/>
                </a:lnTo>
                <a:lnTo>
                  <a:pt x="328" y="1069"/>
                </a:lnTo>
                <a:lnTo>
                  <a:pt x="330" y="1069"/>
                </a:lnTo>
                <a:lnTo>
                  <a:pt x="331" y="1068"/>
                </a:lnTo>
                <a:lnTo>
                  <a:pt x="333" y="1068"/>
                </a:lnTo>
                <a:lnTo>
                  <a:pt x="333" y="1069"/>
                </a:lnTo>
                <a:lnTo>
                  <a:pt x="334" y="1070"/>
                </a:lnTo>
                <a:lnTo>
                  <a:pt x="334" y="1072"/>
                </a:lnTo>
                <a:lnTo>
                  <a:pt x="335" y="1072"/>
                </a:lnTo>
                <a:lnTo>
                  <a:pt x="336" y="1074"/>
                </a:lnTo>
                <a:lnTo>
                  <a:pt x="336" y="1075"/>
                </a:lnTo>
                <a:lnTo>
                  <a:pt x="334" y="1075"/>
                </a:lnTo>
                <a:lnTo>
                  <a:pt x="333" y="1076"/>
                </a:lnTo>
                <a:lnTo>
                  <a:pt x="331" y="1079"/>
                </a:lnTo>
                <a:lnTo>
                  <a:pt x="331" y="1078"/>
                </a:lnTo>
                <a:lnTo>
                  <a:pt x="330" y="1078"/>
                </a:lnTo>
                <a:lnTo>
                  <a:pt x="330" y="1082"/>
                </a:lnTo>
                <a:lnTo>
                  <a:pt x="325" y="1082"/>
                </a:lnTo>
                <a:lnTo>
                  <a:pt x="325" y="1081"/>
                </a:lnTo>
                <a:lnTo>
                  <a:pt x="324" y="1082"/>
                </a:lnTo>
                <a:lnTo>
                  <a:pt x="324" y="1087"/>
                </a:lnTo>
                <a:lnTo>
                  <a:pt x="323" y="1088"/>
                </a:lnTo>
                <a:lnTo>
                  <a:pt x="323" y="1092"/>
                </a:lnTo>
                <a:lnTo>
                  <a:pt x="324" y="1092"/>
                </a:lnTo>
                <a:lnTo>
                  <a:pt x="324" y="1097"/>
                </a:lnTo>
                <a:lnTo>
                  <a:pt x="323" y="1098"/>
                </a:lnTo>
                <a:lnTo>
                  <a:pt x="323" y="1103"/>
                </a:lnTo>
                <a:lnTo>
                  <a:pt x="324" y="1103"/>
                </a:lnTo>
                <a:lnTo>
                  <a:pt x="324" y="1104"/>
                </a:lnTo>
                <a:lnTo>
                  <a:pt x="325" y="1105"/>
                </a:lnTo>
                <a:lnTo>
                  <a:pt x="329" y="1105"/>
                </a:lnTo>
                <a:lnTo>
                  <a:pt x="329" y="1106"/>
                </a:lnTo>
                <a:lnTo>
                  <a:pt x="330" y="1107"/>
                </a:lnTo>
                <a:lnTo>
                  <a:pt x="329" y="1109"/>
                </a:lnTo>
                <a:lnTo>
                  <a:pt x="327" y="1109"/>
                </a:lnTo>
                <a:lnTo>
                  <a:pt x="325" y="1110"/>
                </a:lnTo>
                <a:lnTo>
                  <a:pt x="324" y="1110"/>
                </a:lnTo>
                <a:lnTo>
                  <a:pt x="321" y="1113"/>
                </a:lnTo>
                <a:lnTo>
                  <a:pt x="319" y="1116"/>
                </a:lnTo>
                <a:lnTo>
                  <a:pt x="318" y="1116"/>
                </a:lnTo>
                <a:lnTo>
                  <a:pt x="318" y="1118"/>
                </a:lnTo>
                <a:lnTo>
                  <a:pt x="321" y="1118"/>
                </a:lnTo>
                <a:lnTo>
                  <a:pt x="321" y="1121"/>
                </a:lnTo>
                <a:lnTo>
                  <a:pt x="319" y="1122"/>
                </a:lnTo>
                <a:lnTo>
                  <a:pt x="316" y="1123"/>
                </a:lnTo>
                <a:lnTo>
                  <a:pt x="315" y="1123"/>
                </a:lnTo>
                <a:lnTo>
                  <a:pt x="315" y="1124"/>
                </a:lnTo>
                <a:lnTo>
                  <a:pt x="313" y="1124"/>
                </a:lnTo>
                <a:lnTo>
                  <a:pt x="309" y="1128"/>
                </a:lnTo>
                <a:lnTo>
                  <a:pt x="307" y="1128"/>
                </a:lnTo>
                <a:lnTo>
                  <a:pt x="306" y="1129"/>
                </a:lnTo>
                <a:lnTo>
                  <a:pt x="310" y="1129"/>
                </a:lnTo>
                <a:lnTo>
                  <a:pt x="309" y="1130"/>
                </a:lnTo>
                <a:lnTo>
                  <a:pt x="305" y="1132"/>
                </a:lnTo>
                <a:lnTo>
                  <a:pt x="305" y="1140"/>
                </a:lnTo>
                <a:lnTo>
                  <a:pt x="304" y="1141"/>
                </a:lnTo>
                <a:lnTo>
                  <a:pt x="304" y="1143"/>
                </a:lnTo>
                <a:lnTo>
                  <a:pt x="303" y="1144"/>
                </a:lnTo>
                <a:lnTo>
                  <a:pt x="299" y="1146"/>
                </a:lnTo>
                <a:lnTo>
                  <a:pt x="297" y="1146"/>
                </a:lnTo>
                <a:lnTo>
                  <a:pt x="299" y="1141"/>
                </a:lnTo>
                <a:lnTo>
                  <a:pt x="299" y="1137"/>
                </a:lnTo>
                <a:lnTo>
                  <a:pt x="302" y="1137"/>
                </a:lnTo>
                <a:lnTo>
                  <a:pt x="302" y="1135"/>
                </a:lnTo>
                <a:lnTo>
                  <a:pt x="303" y="1132"/>
                </a:lnTo>
                <a:lnTo>
                  <a:pt x="302" y="1132"/>
                </a:lnTo>
                <a:lnTo>
                  <a:pt x="300" y="1134"/>
                </a:lnTo>
                <a:lnTo>
                  <a:pt x="300" y="1135"/>
                </a:lnTo>
                <a:lnTo>
                  <a:pt x="299" y="1135"/>
                </a:lnTo>
                <a:lnTo>
                  <a:pt x="299" y="1132"/>
                </a:lnTo>
                <a:lnTo>
                  <a:pt x="300" y="1132"/>
                </a:lnTo>
                <a:lnTo>
                  <a:pt x="300" y="1131"/>
                </a:lnTo>
                <a:lnTo>
                  <a:pt x="299" y="1130"/>
                </a:lnTo>
                <a:lnTo>
                  <a:pt x="300" y="1129"/>
                </a:lnTo>
                <a:lnTo>
                  <a:pt x="298" y="1128"/>
                </a:lnTo>
                <a:lnTo>
                  <a:pt x="297" y="1122"/>
                </a:lnTo>
                <a:lnTo>
                  <a:pt x="294" y="1119"/>
                </a:lnTo>
                <a:lnTo>
                  <a:pt x="294" y="1118"/>
                </a:lnTo>
                <a:lnTo>
                  <a:pt x="296" y="1116"/>
                </a:lnTo>
                <a:lnTo>
                  <a:pt x="298" y="1113"/>
                </a:lnTo>
                <a:lnTo>
                  <a:pt x="298" y="1109"/>
                </a:lnTo>
                <a:lnTo>
                  <a:pt x="297" y="1109"/>
                </a:lnTo>
                <a:lnTo>
                  <a:pt x="297" y="1106"/>
                </a:lnTo>
                <a:lnTo>
                  <a:pt x="296" y="1105"/>
                </a:lnTo>
                <a:lnTo>
                  <a:pt x="296" y="1097"/>
                </a:lnTo>
                <a:lnTo>
                  <a:pt x="297" y="1094"/>
                </a:lnTo>
                <a:lnTo>
                  <a:pt x="304" y="1087"/>
                </a:lnTo>
                <a:lnTo>
                  <a:pt x="310" y="1076"/>
                </a:lnTo>
                <a:lnTo>
                  <a:pt x="311" y="1075"/>
                </a:lnTo>
                <a:lnTo>
                  <a:pt x="313" y="1074"/>
                </a:lnTo>
                <a:lnTo>
                  <a:pt x="316" y="1074"/>
                </a:lnTo>
                <a:lnTo>
                  <a:pt x="316" y="1073"/>
                </a:lnTo>
                <a:lnTo>
                  <a:pt x="317" y="1072"/>
                </a:lnTo>
                <a:lnTo>
                  <a:pt x="317" y="1070"/>
                </a:lnTo>
                <a:lnTo>
                  <a:pt x="319" y="1068"/>
                </a:lnTo>
                <a:lnTo>
                  <a:pt x="319" y="1067"/>
                </a:lnTo>
                <a:close/>
                <a:moveTo>
                  <a:pt x="337" y="1062"/>
                </a:moveTo>
                <a:lnTo>
                  <a:pt x="342" y="1062"/>
                </a:lnTo>
                <a:lnTo>
                  <a:pt x="342" y="1063"/>
                </a:lnTo>
                <a:lnTo>
                  <a:pt x="347" y="1063"/>
                </a:lnTo>
                <a:lnTo>
                  <a:pt x="347" y="1064"/>
                </a:lnTo>
                <a:lnTo>
                  <a:pt x="346" y="1064"/>
                </a:lnTo>
                <a:lnTo>
                  <a:pt x="346" y="1066"/>
                </a:lnTo>
                <a:lnTo>
                  <a:pt x="343" y="1064"/>
                </a:lnTo>
                <a:lnTo>
                  <a:pt x="342" y="1066"/>
                </a:lnTo>
                <a:lnTo>
                  <a:pt x="341" y="1066"/>
                </a:lnTo>
                <a:lnTo>
                  <a:pt x="338" y="1068"/>
                </a:lnTo>
                <a:lnTo>
                  <a:pt x="338" y="1069"/>
                </a:lnTo>
                <a:lnTo>
                  <a:pt x="340" y="1069"/>
                </a:lnTo>
                <a:lnTo>
                  <a:pt x="340" y="1070"/>
                </a:lnTo>
                <a:lnTo>
                  <a:pt x="338" y="1073"/>
                </a:lnTo>
                <a:lnTo>
                  <a:pt x="337" y="1073"/>
                </a:lnTo>
                <a:lnTo>
                  <a:pt x="336" y="1072"/>
                </a:lnTo>
                <a:lnTo>
                  <a:pt x="334" y="1068"/>
                </a:lnTo>
                <a:lnTo>
                  <a:pt x="335" y="1067"/>
                </a:lnTo>
                <a:lnTo>
                  <a:pt x="335" y="1066"/>
                </a:lnTo>
                <a:lnTo>
                  <a:pt x="336" y="1064"/>
                </a:lnTo>
                <a:lnTo>
                  <a:pt x="336" y="1063"/>
                </a:lnTo>
                <a:lnTo>
                  <a:pt x="337" y="1063"/>
                </a:lnTo>
                <a:lnTo>
                  <a:pt x="337" y="1062"/>
                </a:lnTo>
                <a:close/>
                <a:moveTo>
                  <a:pt x="25" y="1056"/>
                </a:moveTo>
                <a:lnTo>
                  <a:pt x="26" y="1056"/>
                </a:lnTo>
                <a:lnTo>
                  <a:pt x="26" y="1061"/>
                </a:lnTo>
                <a:lnTo>
                  <a:pt x="25" y="1062"/>
                </a:lnTo>
                <a:lnTo>
                  <a:pt x="25" y="1060"/>
                </a:lnTo>
                <a:lnTo>
                  <a:pt x="24" y="1060"/>
                </a:lnTo>
                <a:lnTo>
                  <a:pt x="24" y="1061"/>
                </a:lnTo>
                <a:lnTo>
                  <a:pt x="23" y="1062"/>
                </a:lnTo>
                <a:lnTo>
                  <a:pt x="23" y="1064"/>
                </a:lnTo>
                <a:lnTo>
                  <a:pt x="20" y="1064"/>
                </a:lnTo>
                <a:lnTo>
                  <a:pt x="20" y="1066"/>
                </a:lnTo>
                <a:lnTo>
                  <a:pt x="19" y="1066"/>
                </a:lnTo>
                <a:lnTo>
                  <a:pt x="19" y="1064"/>
                </a:lnTo>
                <a:lnTo>
                  <a:pt x="18" y="1064"/>
                </a:lnTo>
                <a:lnTo>
                  <a:pt x="17" y="1063"/>
                </a:lnTo>
                <a:lnTo>
                  <a:pt x="17" y="1061"/>
                </a:lnTo>
                <a:lnTo>
                  <a:pt x="19" y="1061"/>
                </a:lnTo>
                <a:lnTo>
                  <a:pt x="18" y="1060"/>
                </a:lnTo>
                <a:lnTo>
                  <a:pt x="17" y="1060"/>
                </a:lnTo>
                <a:lnTo>
                  <a:pt x="15" y="1058"/>
                </a:lnTo>
                <a:lnTo>
                  <a:pt x="17" y="1057"/>
                </a:lnTo>
                <a:lnTo>
                  <a:pt x="24" y="1057"/>
                </a:lnTo>
                <a:lnTo>
                  <a:pt x="25" y="1056"/>
                </a:lnTo>
                <a:close/>
                <a:moveTo>
                  <a:pt x="12" y="1038"/>
                </a:moveTo>
                <a:lnTo>
                  <a:pt x="13" y="1038"/>
                </a:lnTo>
                <a:lnTo>
                  <a:pt x="12" y="1039"/>
                </a:lnTo>
                <a:lnTo>
                  <a:pt x="12" y="1038"/>
                </a:lnTo>
                <a:close/>
                <a:moveTo>
                  <a:pt x="13" y="1037"/>
                </a:moveTo>
                <a:lnTo>
                  <a:pt x="14" y="1037"/>
                </a:lnTo>
                <a:lnTo>
                  <a:pt x="13" y="1038"/>
                </a:lnTo>
                <a:lnTo>
                  <a:pt x="13" y="1037"/>
                </a:lnTo>
                <a:close/>
                <a:moveTo>
                  <a:pt x="242" y="1036"/>
                </a:moveTo>
                <a:lnTo>
                  <a:pt x="243" y="1037"/>
                </a:lnTo>
                <a:lnTo>
                  <a:pt x="243" y="1039"/>
                </a:lnTo>
                <a:lnTo>
                  <a:pt x="242" y="1039"/>
                </a:lnTo>
                <a:lnTo>
                  <a:pt x="241" y="1038"/>
                </a:lnTo>
                <a:lnTo>
                  <a:pt x="241" y="1037"/>
                </a:lnTo>
                <a:lnTo>
                  <a:pt x="242" y="1036"/>
                </a:lnTo>
                <a:close/>
                <a:moveTo>
                  <a:pt x="341" y="1030"/>
                </a:moveTo>
                <a:lnTo>
                  <a:pt x="343" y="1030"/>
                </a:lnTo>
                <a:lnTo>
                  <a:pt x="346" y="1031"/>
                </a:lnTo>
                <a:lnTo>
                  <a:pt x="347" y="1031"/>
                </a:lnTo>
                <a:lnTo>
                  <a:pt x="344" y="1033"/>
                </a:lnTo>
                <a:lnTo>
                  <a:pt x="343" y="1033"/>
                </a:lnTo>
                <a:lnTo>
                  <a:pt x="342" y="1032"/>
                </a:lnTo>
                <a:lnTo>
                  <a:pt x="341" y="1030"/>
                </a:lnTo>
                <a:close/>
                <a:moveTo>
                  <a:pt x="241" y="1029"/>
                </a:moveTo>
                <a:lnTo>
                  <a:pt x="242" y="1029"/>
                </a:lnTo>
                <a:lnTo>
                  <a:pt x="242" y="1030"/>
                </a:lnTo>
                <a:lnTo>
                  <a:pt x="241" y="1030"/>
                </a:lnTo>
                <a:lnTo>
                  <a:pt x="242" y="1031"/>
                </a:lnTo>
                <a:lnTo>
                  <a:pt x="241" y="1031"/>
                </a:lnTo>
                <a:lnTo>
                  <a:pt x="241" y="1032"/>
                </a:lnTo>
                <a:lnTo>
                  <a:pt x="243" y="1035"/>
                </a:lnTo>
                <a:lnTo>
                  <a:pt x="244" y="1033"/>
                </a:lnTo>
                <a:lnTo>
                  <a:pt x="244" y="1036"/>
                </a:lnTo>
                <a:lnTo>
                  <a:pt x="242" y="1036"/>
                </a:lnTo>
                <a:lnTo>
                  <a:pt x="241" y="1035"/>
                </a:lnTo>
                <a:lnTo>
                  <a:pt x="241" y="1033"/>
                </a:lnTo>
                <a:lnTo>
                  <a:pt x="240" y="1033"/>
                </a:lnTo>
                <a:lnTo>
                  <a:pt x="240" y="1030"/>
                </a:lnTo>
                <a:lnTo>
                  <a:pt x="241" y="1029"/>
                </a:lnTo>
                <a:close/>
                <a:moveTo>
                  <a:pt x="276" y="987"/>
                </a:moveTo>
                <a:lnTo>
                  <a:pt x="278" y="988"/>
                </a:lnTo>
                <a:lnTo>
                  <a:pt x="276" y="988"/>
                </a:lnTo>
                <a:lnTo>
                  <a:pt x="276" y="987"/>
                </a:lnTo>
                <a:close/>
                <a:moveTo>
                  <a:pt x="304" y="982"/>
                </a:moveTo>
                <a:lnTo>
                  <a:pt x="305" y="982"/>
                </a:lnTo>
                <a:lnTo>
                  <a:pt x="305" y="983"/>
                </a:lnTo>
                <a:lnTo>
                  <a:pt x="304" y="984"/>
                </a:lnTo>
                <a:lnTo>
                  <a:pt x="303" y="984"/>
                </a:lnTo>
                <a:lnTo>
                  <a:pt x="303" y="986"/>
                </a:lnTo>
                <a:lnTo>
                  <a:pt x="304" y="986"/>
                </a:lnTo>
                <a:lnTo>
                  <a:pt x="303" y="987"/>
                </a:lnTo>
                <a:lnTo>
                  <a:pt x="300" y="987"/>
                </a:lnTo>
                <a:lnTo>
                  <a:pt x="299" y="988"/>
                </a:lnTo>
                <a:lnTo>
                  <a:pt x="299" y="986"/>
                </a:lnTo>
                <a:lnTo>
                  <a:pt x="302" y="983"/>
                </a:lnTo>
                <a:lnTo>
                  <a:pt x="303" y="983"/>
                </a:lnTo>
                <a:lnTo>
                  <a:pt x="304" y="982"/>
                </a:lnTo>
                <a:close/>
                <a:moveTo>
                  <a:pt x="298" y="977"/>
                </a:moveTo>
                <a:lnTo>
                  <a:pt x="299" y="978"/>
                </a:lnTo>
                <a:lnTo>
                  <a:pt x="298" y="980"/>
                </a:lnTo>
                <a:lnTo>
                  <a:pt x="299" y="980"/>
                </a:lnTo>
                <a:lnTo>
                  <a:pt x="299" y="981"/>
                </a:lnTo>
                <a:lnTo>
                  <a:pt x="297" y="981"/>
                </a:lnTo>
                <a:lnTo>
                  <a:pt x="297" y="982"/>
                </a:lnTo>
                <a:lnTo>
                  <a:pt x="296" y="983"/>
                </a:lnTo>
                <a:lnTo>
                  <a:pt x="294" y="982"/>
                </a:lnTo>
                <a:lnTo>
                  <a:pt x="293" y="983"/>
                </a:lnTo>
                <a:lnTo>
                  <a:pt x="292" y="983"/>
                </a:lnTo>
                <a:lnTo>
                  <a:pt x="293" y="982"/>
                </a:lnTo>
                <a:lnTo>
                  <a:pt x="293" y="981"/>
                </a:lnTo>
                <a:lnTo>
                  <a:pt x="294" y="981"/>
                </a:lnTo>
                <a:lnTo>
                  <a:pt x="293" y="980"/>
                </a:lnTo>
                <a:lnTo>
                  <a:pt x="294" y="980"/>
                </a:lnTo>
                <a:lnTo>
                  <a:pt x="294" y="978"/>
                </a:lnTo>
                <a:lnTo>
                  <a:pt x="297" y="978"/>
                </a:lnTo>
                <a:lnTo>
                  <a:pt x="298" y="977"/>
                </a:lnTo>
                <a:close/>
                <a:moveTo>
                  <a:pt x="310" y="970"/>
                </a:moveTo>
                <a:lnTo>
                  <a:pt x="311" y="970"/>
                </a:lnTo>
                <a:lnTo>
                  <a:pt x="311" y="974"/>
                </a:lnTo>
                <a:lnTo>
                  <a:pt x="309" y="976"/>
                </a:lnTo>
                <a:lnTo>
                  <a:pt x="309" y="978"/>
                </a:lnTo>
                <a:lnTo>
                  <a:pt x="307" y="980"/>
                </a:lnTo>
                <a:lnTo>
                  <a:pt x="306" y="980"/>
                </a:lnTo>
                <a:lnTo>
                  <a:pt x="305" y="978"/>
                </a:lnTo>
                <a:lnTo>
                  <a:pt x="305" y="976"/>
                </a:lnTo>
                <a:lnTo>
                  <a:pt x="306" y="975"/>
                </a:lnTo>
                <a:lnTo>
                  <a:pt x="306" y="974"/>
                </a:lnTo>
                <a:lnTo>
                  <a:pt x="309" y="971"/>
                </a:lnTo>
                <a:lnTo>
                  <a:pt x="310" y="971"/>
                </a:lnTo>
                <a:lnTo>
                  <a:pt x="310" y="970"/>
                </a:lnTo>
                <a:close/>
                <a:moveTo>
                  <a:pt x="319" y="963"/>
                </a:moveTo>
                <a:lnTo>
                  <a:pt x="322" y="963"/>
                </a:lnTo>
                <a:lnTo>
                  <a:pt x="322" y="964"/>
                </a:lnTo>
                <a:lnTo>
                  <a:pt x="318" y="965"/>
                </a:lnTo>
                <a:lnTo>
                  <a:pt x="318" y="964"/>
                </a:lnTo>
                <a:lnTo>
                  <a:pt x="319" y="964"/>
                </a:lnTo>
                <a:lnTo>
                  <a:pt x="319" y="963"/>
                </a:lnTo>
                <a:close/>
                <a:moveTo>
                  <a:pt x="305" y="960"/>
                </a:moveTo>
                <a:lnTo>
                  <a:pt x="309" y="964"/>
                </a:lnTo>
                <a:lnTo>
                  <a:pt x="305" y="960"/>
                </a:lnTo>
                <a:close/>
                <a:moveTo>
                  <a:pt x="322" y="956"/>
                </a:moveTo>
                <a:lnTo>
                  <a:pt x="324" y="956"/>
                </a:lnTo>
                <a:lnTo>
                  <a:pt x="324" y="958"/>
                </a:lnTo>
                <a:lnTo>
                  <a:pt x="323" y="958"/>
                </a:lnTo>
                <a:lnTo>
                  <a:pt x="323" y="959"/>
                </a:lnTo>
                <a:lnTo>
                  <a:pt x="322" y="959"/>
                </a:lnTo>
                <a:lnTo>
                  <a:pt x="321" y="958"/>
                </a:lnTo>
                <a:lnTo>
                  <a:pt x="322" y="957"/>
                </a:lnTo>
                <a:lnTo>
                  <a:pt x="322" y="956"/>
                </a:lnTo>
                <a:close/>
                <a:moveTo>
                  <a:pt x="305" y="956"/>
                </a:moveTo>
                <a:lnTo>
                  <a:pt x="312" y="956"/>
                </a:lnTo>
                <a:lnTo>
                  <a:pt x="316" y="959"/>
                </a:lnTo>
                <a:lnTo>
                  <a:pt x="313" y="959"/>
                </a:lnTo>
                <a:lnTo>
                  <a:pt x="313" y="958"/>
                </a:lnTo>
                <a:lnTo>
                  <a:pt x="312" y="958"/>
                </a:lnTo>
                <a:lnTo>
                  <a:pt x="312" y="960"/>
                </a:lnTo>
                <a:lnTo>
                  <a:pt x="315" y="960"/>
                </a:lnTo>
                <a:lnTo>
                  <a:pt x="313" y="962"/>
                </a:lnTo>
                <a:lnTo>
                  <a:pt x="312" y="962"/>
                </a:lnTo>
                <a:lnTo>
                  <a:pt x="310" y="959"/>
                </a:lnTo>
                <a:lnTo>
                  <a:pt x="309" y="959"/>
                </a:lnTo>
                <a:lnTo>
                  <a:pt x="309" y="958"/>
                </a:lnTo>
                <a:lnTo>
                  <a:pt x="307" y="958"/>
                </a:lnTo>
                <a:lnTo>
                  <a:pt x="307" y="957"/>
                </a:lnTo>
                <a:lnTo>
                  <a:pt x="305" y="956"/>
                </a:lnTo>
                <a:close/>
                <a:moveTo>
                  <a:pt x="317" y="950"/>
                </a:moveTo>
                <a:lnTo>
                  <a:pt x="321" y="950"/>
                </a:lnTo>
                <a:lnTo>
                  <a:pt x="322" y="951"/>
                </a:lnTo>
                <a:lnTo>
                  <a:pt x="322" y="953"/>
                </a:lnTo>
                <a:lnTo>
                  <a:pt x="319" y="956"/>
                </a:lnTo>
                <a:lnTo>
                  <a:pt x="318" y="954"/>
                </a:lnTo>
                <a:lnTo>
                  <a:pt x="319" y="954"/>
                </a:lnTo>
                <a:lnTo>
                  <a:pt x="319" y="952"/>
                </a:lnTo>
                <a:lnTo>
                  <a:pt x="317" y="950"/>
                </a:lnTo>
                <a:close/>
                <a:moveTo>
                  <a:pt x="294" y="949"/>
                </a:moveTo>
                <a:lnTo>
                  <a:pt x="296" y="949"/>
                </a:lnTo>
                <a:lnTo>
                  <a:pt x="300" y="950"/>
                </a:lnTo>
                <a:lnTo>
                  <a:pt x="299" y="950"/>
                </a:lnTo>
                <a:lnTo>
                  <a:pt x="300" y="951"/>
                </a:lnTo>
                <a:lnTo>
                  <a:pt x="299" y="952"/>
                </a:lnTo>
                <a:lnTo>
                  <a:pt x="298" y="952"/>
                </a:lnTo>
                <a:lnTo>
                  <a:pt x="297" y="951"/>
                </a:lnTo>
                <a:lnTo>
                  <a:pt x="296" y="951"/>
                </a:lnTo>
                <a:lnTo>
                  <a:pt x="296" y="950"/>
                </a:lnTo>
                <a:lnTo>
                  <a:pt x="294" y="949"/>
                </a:lnTo>
                <a:close/>
                <a:moveTo>
                  <a:pt x="329" y="946"/>
                </a:moveTo>
                <a:lnTo>
                  <a:pt x="330" y="947"/>
                </a:lnTo>
                <a:lnTo>
                  <a:pt x="330" y="950"/>
                </a:lnTo>
                <a:lnTo>
                  <a:pt x="329" y="949"/>
                </a:lnTo>
                <a:lnTo>
                  <a:pt x="329" y="947"/>
                </a:lnTo>
                <a:lnTo>
                  <a:pt x="328" y="947"/>
                </a:lnTo>
                <a:lnTo>
                  <a:pt x="329" y="946"/>
                </a:lnTo>
                <a:close/>
                <a:moveTo>
                  <a:pt x="329" y="943"/>
                </a:moveTo>
                <a:lnTo>
                  <a:pt x="329" y="946"/>
                </a:lnTo>
                <a:lnTo>
                  <a:pt x="328" y="946"/>
                </a:lnTo>
                <a:lnTo>
                  <a:pt x="327" y="945"/>
                </a:lnTo>
                <a:lnTo>
                  <a:pt x="329" y="943"/>
                </a:lnTo>
                <a:close/>
                <a:moveTo>
                  <a:pt x="317" y="934"/>
                </a:moveTo>
                <a:lnTo>
                  <a:pt x="318" y="934"/>
                </a:lnTo>
                <a:lnTo>
                  <a:pt x="319" y="935"/>
                </a:lnTo>
                <a:lnTo>
                  <a:pt x="322" y="935"/>
                </a:lnTo>
                <a:lnTo>
                  <a:pt x="319" y="937"/>
                </a:lnTo>
                <a:lnTo>
                  <a:pt x="317" y="939"/>
                </a:lnTo>
                <a:lnTo>
                  <a:pt x="317" y="940"/>
                </a:lnTo>
                <a:lnTo>
                  <a:pt x="316" y="939"/>
                </a:lnTo>
                <a:lnTo>
                  <a:pt x="316" y="943"/>
                </a:lnTo>
                <a:lnTo>
                  <a:pt x="315" y="943"/>
                </a:lnTo>
                <a:lnTo>
                  <a:pt x="315" y="945"/>
                </a:lnTo>
                <a:lnTo>
                  <a:pt x="313" y="945"/>
                </a:lnTo>
                <a:lnTo>
                  <a:pt x="313" y="944"/>
                </a:lnTo>
                <a:lnTo>
                  <a:pt x="312" y="943"/>
                </a:lnTo>
                <a:lnTo>
                  <a:pt x="312" y="939"/>
                </a:lnTo>
                <a:lnTo>
                  <a:pt x="313" y="939"/>
                </a:lnTo>
                <a:lnTo>
                  <a:pt x="313" y="938"/>
                </a:lnTo>
                <a:lnTo>
                  <a:pt x="317" y="934"/>
                </a:lnTo>
                <a:close/>
                <a:moveTo>
                  <a:pt x="323" y="932"/>
                </a:moveTo>
                <a:lnTo>
                  <a:pt x="324" y="932"/>
                </a:lnTo>
                <a:lnTo>
                  <a:pt x="323" y="933"/>
                </a:lnTo>
                <a:lnTo>
                  <a:pt x="322" y="933"/>
                </a:lnTo>
                <a:lnTo>
                  <a:pt x="323" y="932"/>
                </a:lnTo>
                <a:close/>
                <a:moveTo>
                  <a:pt x="325" y="931"/>
                </a:moveTo>
                <a:lnTo>
                  <a:pt x="325" y="932"/>
                </a:lnTo>
                <a:lnTo>
                  <a:pt x="324" y="932"/>
                </a:lnTo>
                <a:lnTo>
                  <a:pt x="325" y="931"/>
                </a:lnTo>
                <a:close/>
                <a:moveTo>
                  <a:pt x="330" y="926"/>
                </a:moveTo>
                <a:lnTo>
                  <a:pt x="331" y="927"/>
                </a:lnTo>
                <a:lnTo>
                  <a:pt x="331" y="928"/>
                </a:lnTo>
                <a:lnTo>
                  <a:pt x="330" y="929"/>
                </a:lnTo>
                <a:lnTo>
                  <a:pt x="329" y="928"/>
                </a:lnTo>
                <a:lnTo>
                  <a:pt x="329" y="932"/>
                </a:lnTo>
                <a:lnTo>
                  <a:pt x="327" y="932"/>
                </a:lnTo>
                <a:lnTo>
                  <a:pt x="327" y="931"/>
                </a:lnTo>
                <a:lnTo>
                  <a:pt x="329" y="927"/>
                </a:lnTo>
                <a:lnTo>
                  <a:pt x="330" y="926"/>
                </a:lnTo>
                <a:close/>
                <a:moveTo>
                  <a:pt x="329" y="926"/>
                </a:moveTo>
                <a:lnTo>
                  <a:pt x="329" y="927"/>
                </a:lnTo>
                <a:lnTo>
                  <a:pt x="327" y="929"/>
                </a:lnTo>
                <a:lnTo>
                  <a:pt x="327" y="931"/>
                </a:lnTo>
                <a:lnTo>
                  <a:pt x="325" y="931"/>
                </a:lnTo>
                <a:lnTo>
                  <a:pt x="325" y="929"/>
                </a:lnTo>
                <a:lnTo>
                  <a:pt x="329" y="926"/>
                </a:lnTo>
                <a:close/>
                <a:moveTo>
                  <a:pt x="334" y="906"/>
                </a:moveTo>
                <a:lnTo>
                  <a:pt x="336" y="906"/>
                </a:lnTo>
                <a:lnTo>
                  <a:pt x="335" y="907"/>
                </a:lnTo>
                <a:lnTo>
                  <a:pt x="334" y="906"/>
                </a:lnTo>
                <a:close/>
                <a:moveTo>
                  <a:pt x="321" y="878"/>
                </a:moveTo>
                <a:lnTo>
                  <a:pt x="322" y="879"/>
                </a:lnTo>
                <a:lnTo>
                  <a:pt x="323" y="879"/>
                </a:lnTo>
                <a:lnTo>
                  <a:pt x="323" y="880"/>
                </a:lnTo>
                <a:lnTo>
                  <a:pt x="324" y="882"/>
                </a:lnTo>
                <a:lnTo>
                  <a:pt x="324" y="883"/>
                </a:lnTo>
                <a:lnTo>
                  <a:pt x="323" y="884"/>
                </a:lnTo>
                <a:lnTo>
                  <a:pt x="321" y="884"/>
                </a:lnTo>
                <a:lnTo>
                  <a:pt x="321" y="878"/>
                </a:lnTo>
                <a:close/>
                <a:moveTo>
                  <a:pt x="306" y="853"/>
                </a:moveTo>
                <a:lnTo>
                  <a:pt x="309" y="855"/>
                </a:lnTo>
                <a:lnTo>
                  <a:pt x="309" y="858"/>
                </a:lnTo>
                <a:lnTo>
                  <a:pt x="310" y="859"/>
                </a:lnTo>
                <a:lnTo>
                  <a:pt x="310" y="860"/>
                </a:lnTo>
                <a:lnTo>
                  <a:pt x="309" y="859"/>
                </a:lnTo>
                <a:lnTo>
                  <a:pt x="309" y="860"/>
                </a:lnTo>
                <a:lnTo>
                  <a:pt x="310" y="865"/>
                </a:lnTo>
                <a:lnTo>
                  <a:pt x="311" y="866"/>
                </a:lnTo>
                <a:lnTo>
                  <a:pt x="312" y="866"/>
                </a:lnTo>
                <a:lnTo>
                  <a:pt x="312" y="867"/>
                </a:lnTo>
                <a:lnTo>
                  <a:pt x="313" y="867"/>
                </a:lnTo>
                <a:lnTo>
                  <a:pt x="313" y="870"/>
                </a:lnTo>
                <a:lnTo>
                  <a:pt x="315" y="870"/>
                </a:lnTo>
                <a:lnTo>
                  <a:pt x="315" y="871"/>
                </a:lnTo>
                <a:lnTo>
                  <a:pt x="313" y="871"/>
                </a:lnTo>
                <a:lnTo>
                  <a:pt x="306" y="864"/>
                </a:lnTo>
                <a:lnTo>
                  <a:pt x="306" y="853"/>
                </a:lnTo>
                <a:close/>
                <a:moveTo>
                  <a:pt x="256" y="772"/>
                </a:moveTo>
                <a:lnTo>
                  <a:pt x="257" y="772"/>
                </a:lnTo>
                <a:lnTo>
                  <a:pt x="257" y="773"/>
                </a:lnTo>
                <a:lnTo>
                  <a:pt x="256" y="773"/>
                </a:lnTo>
                <a:lnTo>
                  <a:pt x="256" y="772"/>
                </a:lnTo>
                <a:close/>
                <a:moveTo>
                  <a:pt x="292" y="654"/>
                </a:moveTo>
                <a:lnTo>
                  <a:pt x="294" y="654"/>
                </a:lnTo>
                <a:lnTo>
                  <a:pt x="294" y="655"/>
                </a:lnTo>
                <a:lnTo>
                  <a:pt x="297" y="655"/>
                </a:lnTo>
                <a:lnTo>
                  <a:pt x="297" y="658"/>
                </a:lnTo>
                <a:lnTo>
                  <a:pt x="296" y="658"/>
                </a:lnTo>
                <a:lnTo>
                  <a:pt x="296" y="659"/>
                </a:lnTo>
                <a:lnTo>
                  <a:pt x="293" y="661"/>
                </a:lnTo>
                <a:lnTo>
                  <a:pt x="292" y="661"/>
                </a:lnTo>
                <a:lnTo>
                  <a:pt x="291" y="658"/>
                </a:lnTo>
                <a:lnTo>
                  <a:pt x="291" y="657"/>
                </a:lnTo>
                <a:lnTo>
                  <a:pt x="292" y="656"/>
                </a:lnTo>
                <a:lnTo>
                  <a:pt x="292" y="654"/>
                </a:lnTo>
                <a:close/>
                <a:moveTo>
                  <a:pt x="411" y="568"/>
                </a:moveTo>
                <a:lnTo>
                  <a:pt x="411" y="570"/>
                </a:lnTo>
                <a:lnTo>
                  <a:pt x="410" y="571"/>
                </a:lnTo>
                <a:lnTo>
                  <a:pt x="410" y="570"/>
                </a:lnTo>
                <a:lnTo>
                  <a:pt x="411" y="568"/>
                </a:lnTo>
                <a:close/>
                <a:moveTo>
                  <a:pt x="415" y="558"/>
                </a:moveTo>
                <a:lnTo>
                  <a:pt x="415" y="560"/>
                </a:lnTo>
                <a:lnTo>
                  <a:pt x="414" y="562"/>
                </a:lnTo>
                <a:lnTo>
                  <a:pt x="415" y="562"/>
                </a:lnTo>
                <a:lnTo>
                  <a:pt x="415" y="563"/>
                </a:lnTo>
                <a:lnTo>
                  <a:pt x="414" y="564"/>
                </a:lnTo>
                <a:lnTo>
                  <a:pt x="414" y="566"/>
                </a:lnTo>
                <a:lnTo>
                  <a:pt x="411" y="566"/>
                </a:lnTo>
                <a:lnTo>
                  <a:pt x="412" y="562"/>
                </a:lnTo>
                <a:lnTo>
                  <a:pt x="412" y="560"/>
                </a:lnTo>
                <a:lnTo>
                  <a:pt x="414" y="560"/>
                </a:lnTo>
                <a:lnTo>
                  <a:pt x="414" y="559"/>
                </a:lnTo>
                <a:lnTo>
                  <a:pt x="415" y="558"/>
                </a:lnTo>
                <a:close/>
                <a:moveTo>
                  <a:pt x="398" y="557"/>
                </a:moveTo>
                <a:lnTo>
                  <a:pt x="398" y="558"/>
                </a:lnTo>
                <a:lnTo>
                  <a:pt x="397" y="558"/>
                </a:lnTo>
                <a:lnTo>
                  <a:pt x="398" y="557"/>
                </a:lnTo>
                <a:close/>
                <a:moveTo>
                  <a:pt x="411" y="556"/>
                </a:moveTo>
                <a:lnTo>
                  <a:pt x="414" y="558"/>
                </a:lnTo>
                <a:lnTo>
                  <a:pt x="411" y="560"/>
                </a:lnTo>
                <a:lnTo>
                  <a:pt x="412" y="559"/>
                </a:lnTo>
                <a:lnTo>
                  <a:pt x="411" y="558"/>
                </a:lnTo>
                <a:lnTo>
                  <a:pt x="410" y="559"/>
                </a:lnTo>
                <a:lnTo>
                  <a:pt x="411" y="556"/>
                </a:lnTo>
                <a:close/>
                <a:moveTo>
                  <a:pt x="429" y="471"/>
                </a:moveTo>
                <a:lnTo>
                  <a:pt x="430" y="471"/>
                </a:lnTo>
                <a:lnTo>
                  <a:pt x="430" y="472"/>
                </a:lnTo>
                <a:lnTo>
                  <a:pt x="429" y="471"/>
                </a:lnTo>
                <a:close/>
                <a:moveTo>
                  <a:pt x="440" y="398"/>
                </a:moveTo>
                <a:lnTo>
                  <a:pt x="442" y="398"/>
                </a:lnTo>
                <a:lnTo>
                  <a:pt x="442" y="399"/>
                </a:lnTo>
                <a:lnTo>
                  <a:pt x="440" y="398"/>
                </a:lnTo>
                <a:close/>
                <a:moveTo>
                  <a:pt x="474" y="392"/>
                </a:moveTo>
                <a:lnTo>
                  <a:pt x="476" y="392"/>
                </a:lnTo>
                <a:lnTo>
                  <a:pt x="477" y="393"/>
                </a:lnTo>
                <a:lnTo>
                  <a:pt x="477" y="394"/>
                </a:lnTo>
                <a:lnTo>
                  <a:pt x="476" y="394"/>
                </a:lnTo>
                <a:lnTo>
                  <a:pt x="476" y="396"/>
                </a:lnTo>
                <a:lnTo>
                  <a:pt x="471" y="396"/>
                </a:lnTo>
                <a:lnTo>
                  <a:pt x="471" y="394"/>
                </a:lnTo>
                <a:lnTo>
                  <a:pt x="472" y="393"/>
                </a:lnTo>
                <a:lnTo>
                  <a:pt x="473" y="393"/>
                </a:lnTo>
                <a:lnTo>
                  <a:pt x="473" y="394"/>
                </a:lnTo>
                <a:lnTo>
                  <a:pt x="474" y="393"/>
                </a:lnTo>
                <a:lnTo>
                  <a:pt x="474" y="392"/>
                </a:lnTo>
                <a:close/>
                <a:moveTo>
                  <a:pt x="465" y="391"/>
                </a:moveTo>
                <a:lnTo>
                  <a:pt x="466" y="391"/>
                </a:lnTo>
                <a:lnTo>
                  <a:pt x="468" y="392"/>
                </a:lnTo>
                <a:lnTo>
                  <a:pt x="468" y="396"/>
                </a:lnTo>
                <a:lnTo>
                  <a:pt x="466" y="396"/>
                </a:lnTo>
                <a:lnTo>
                  <a:pt x="465" y="394"/>
                </a:lnTo>
                <a:lnTo>
                  <a:pt x="465" y="391"/>
                </a:lnTo>
                <a:close/>
                <a:moveTo>
                  <a:pt x="483" y="384"/>
                </a:moveTo>
                <a:lnTo>
                  <a:pt x="485" y="386"/>
                </a:lnTo>
                <a:lnTo>
                  <a:pt x="485" y="387"/>
                </a:lnTo>
                <a:lnTo>
                  <a:pt x="484" y="387"/>
                </a:lnTo>
                <a:lnTo>
                  <a:pt x="483" y="386"/>
                </a:lnTo>
                <a:lnTo>
                  <a:pt x="483" y="384"/>
                </a:lnTo>
                <a:close/>
                <a:moveTo>
                  <a:pt x="467" y="384"/>
                </a:moveTo>
                <a:lnTo>
                  <a:pt x="468" y="384"/>
                </a:lnTo>
                <a:lnTo>
                  <a:pt x="472" y="386"/>
                </a:lnTo>
                <a:lnTo>
                  <a:pt x="473" y="386"/>
                </a:lnTo>
                <a:lnTo>
                  <a:pt x="473" y="387"/>
                </a:lnTo>
                <a:lnTo>
                  <a:pt x="474" y="387"/>
                </a:lnTo>
                <a:lnTo>
                  <a:pt x="474" y="388"/>
                </a:lnTo>
                <a:lnTo>
                  <a:pt x="473" y="390"/>
                </a:lnTo>
                <a:lnTo>
                  <a:pt x="473" y="388"/>
                </a:lnTo>
                <a:lnTo>
                  <a:pt x="472" y="387"/>
                </a:lnTo>
                <a:lnTo>
                  <a:pt x="471" y="387"/>
                </a:lnTo>
                <a:lnTo>
                  <a:pt x="471" y="390"/>
                </a:lnTo>
                <a:lnTo>
                  <a:pt x="467" y="386"/>
                </a:lnTo>
                <a:lnTo>
                  <a:pt x="467" y="384"/>
                </a:lnTo>
                <a:close/>
                <a:moveTo>
                  <a:pt x="485" y="379"/>
                </a:moveTo>
                <a:lnTo>
                  <a:pt x="486" y="379"/>
                </a:lnTo>
                <a:lnTo>
                  <a:pt x="486" y="380"/>
                </a:lnTo>
                <a:lnTo>
                  <a:pt x="485" y="380"/>
                </a:lnTo>
                <a:lnTo>
                  <a:pt x="485" y="382"/>
                </a:lnTo>
                <a:lnTo>
                  <a:pt x="483" y="382"/>
                </a:lnTo>
                <a:lnTo>
                  <a:pt x="481" y="381"/>
                </a:lnTo>
                <a:lnTo>
                  <a:pt x="481" y="380"/>
                </a:lnTo>
                <a:lnTo>
                  <a:pt x="484" y="380"/>
                </a:lnTo>
                <a:lnTo>
                  <a:pt x="485" y="379"/>
                </a:lnTo>
                <a:close/>
                <a:moveTo>
                  <a:pt x="483" y="376"/>
                </a:moveTo>
                <a:lnTo>
                  <a:pt x="484" y="376"/>
                </a:lnTo>
                <a:lnTo>
                  <a:pt x="485" y="378"/>
                </a:lnTo>
                <a:lnTo>
                  <a:pt x="484" y="379"/>
                </a:lnTo>
                <a:lnTo>
                  <a:pt x="483" y="379"/>
                </a:lnTo>
                <a:lnTo>
                  <a:pt x="483" y="376"/>
                </a:lnTo>
                <a:close/>
                <a:moveTo>
                  <a:pt x="497" y="363"/>
                </a:moveTo>
                <a:lnTo>
                  <a:pt x="498" y="363"/>
                </a:lnTo>
                <a:lnTo>
                  <a:pt x="499" y="364"/>
                </a:lnTo>
                <a:lnTo>
                  <a:pt x="499" y="366"/>
                </a:lnTo>
                <a:lnTo>
                  <a:pt x="501" y="367"/>
                </a:lnTo>
                <a:lnTo>
                  <a:pt x="501" y="368"/>
                </a:lnTo>
                <a:lnTo>
                  <a:pt x="499" y="368"/>
                </a:lnTo>
                <a:lnTo>
                  <a:pt x="499" y="369"/>
                </a:lnTo>
                <a:lnTo>
                  <a:pt x="501" y="370"/>
                </a:lnTo>
                <a:lnTo>
                  <a:pt x="499" y="370"/>
                </a:lnTo>
                <a:lnTo>
                  <a:pt x="498" y="369"/>
                </a:lnTo>
                <a:lnTo>
                  <a:pt x="497" y="367"/>
                </a:lnTo>
                <a:lnTo>
                  <a:pt x="496" y="366"/>
                </a:lnTo>
                <a:lnTo>
                  <a:pt x="497" y="363"/>
                </a:lnTo>
                <a:close/>
                <a:moveTo>
                  <a:pt x="534" y="362"/>
                </a:moveTo>
                <a:lnTo>
                  <a:pt x="535" y="363"/>
                </a:lnTo>
                <a:lnTo>
                  <a:pt x="535" y="364"/>
                </a:lnTo>
                <a:lnTo>
                  <a:pt x="534" y="364"/>
                </a:lnTo>
                <a:lnTo>
                  <a:pt x="534" y="367"/>
                </a:lnTo>
                <a:lnTo>
                  <a:pt x="533" y="368"/>
                </a:lnTo>
                <a:lnTo>
                  <a:pt x="530" y="367"/>
                </a:lnTo>
                <a:lnTo>
                  <a:pt x="530" y="363"/>
                </a:lnTo>
                <a:lnTo>
                  <a:pt x="534" y="363"/>
                </a:lnTo>
                <a:lnTo>
                  <a:pt x="534" y="362"/>
                </a:lnTo>
                <a:close/>
                <a:moveTo>
                  <a:pt x="490" y="361"/>
                </a:moveTo>
                <a:lnTo>
                  <a:pt x="491" y="361"/>
                </a:lnTo>
                <a:lnTo>
                  <a:pt x="492" y="362"/>
                </a:lnTo>
                <a:lnTo>
                  <a:pt x="493" y="364"/>
                </a:lnTo>
                <a:lnTo>
                  <a:pt x="493" y="367"/>
                </a:lnTo>
                <a:lnTo>
                  <a:pt x="491" y="367"/>
                </a:lnTo>
                <a:lnTo>
                  <a:pt x="490" y="366"/>
                </a:lnTo>
                <a:lnTo>
                  <a:pt x="490" y="361"/>
                </a:lnTo>
                <a:close/>
                <a:moveTo>
                  <a:pt x="402" y="0"/>
                </a:moveTo>
                <a:lnTo>
                  <a:pt x="403" y="3"/>
                </a:lnTo>
                <a:lnTo>
                  <a:pt x="409" y="4"/>
                </a:lnTo>
                <a:lnTo>
                  <a:pt x="411" y="6"/>
                </a:lnTo>
                <a:lnTo>
                  <a:pt x="414" y="7"/>
                </a:lnTo>
                <a:lnTo>
                  <a:pt x="415" y="9"/>
                </a:lnTo>
                <a:lnTo>
                  <a:pt x="415" y="11"/>
                </a:lnTo>
                <a:lnTo>
                  <a:pt x="414" y="13"/>
                </a:lnTo>
                <a:lnTo>
                  <a:pt x="412" y="13"/>
                </a:lnTo>
                <a:lnTo>
                  <a:pt x="412" y="16"/>
                </a:lnTo>
                <a:lnTo>
                  <a:pt x="414" y="17"/>
                </a:lnTo>
                <a:lnTo>
                  <a:pt x="420" y="20"/>
                </a:lnTo>
                <a:lnTo>
                  <a:pt x="423" y="24"/>
                </a:lnTo>
                <a:lnTo>
                  <a:pt x="427" y="26"/>
                </a:lnTo>
                <a:lnTo>
                  <a:pt x="429" y="31"/>
                </a:lnTo>
                <a:lnTo>
                  <a:pt x="429" y="34"/>
                </a:lnTo>
                <a:lnTo>
                  <a:pt x="434" y="34"/>
                </a:lnTo>
                <a:lnTo>
                  <a:pt x="434" y="35"/>
                </a:lnTo>
                <a:lnTo>
                  <a:pt x="435" y="36"/>
                </a:lnTo>
                <a:lnTo>
                  <a:pt x="435" y="37"/>
                </a:lnTo>
                <a:lnTo>
                  <a:pt x="436" y="41"/>
                </a:lnTo>
                <a:lnTo>
                  <a:pt x="436" y="42"/>
                </a:lnTo>
                <a:lnTo>
                  <a:pt x="437" y="43"/>
                </a:lnTo>
                <a:lnTo>
                  <a:pt x="441" y="44"/>
                </a:lnTo>
                <a:lnTo>
                  <a:pt x="445" y="48"/>
                </a:lnTo>
                <a:lnTo>
                  <a:pt x="447" y="49"/>
                </a:lnTo>
                <a:lnTo>
                  <a:pt x="448" y="53"/>
                </a:lnTo>
                <a:lnTo>
                  <a:pt x="455" y="55"/>
                </a:lnTo>
                <a:lnTo>
                  <a:pt x="458" y="58"/>
                </a:lnTo>
                <a:lnTo>
                  <a:pt x="458" y="59"/>
                </a:lnTo>
                <a:lnTo>
                  <a:pt x="460" y="61"/>
                </a:lnTo>
                <a:lnTo>
                  <a:pt x="460" y="62"/>
                </a:lnTo>
                <a:lnTo>
                  <a:pt x="461" y="62"/>
                </a:lnTo>
                <a:lnTo>
                  <a:pt x="461" y="65"/>
                </a:lnTo>
                <a:lnTo>
                  <a:pt x="462" y="66"/>
                </a:lnTo>
                <a:lnTo>
                  <a:pt x="472" y="66"/>
                </a:lnTo>
                <a:lnTo>
                  <a:pt x="474" y="67"/>
                </a:lnTo>
                <a:lnTo>
                  <a:pt x="476" y="67"/>
                </a:lnTo>
                <a:lnTo>
                  <a:pt x="474" y="68"/>
                </a:lnTo>
                <a:lnTo>
                  <a:pt x="478" y="68"/>
                </a:lnTo>
                <a:lnTo>
                  <a:pt x="481" y="71"/>
                </a:lnTo>
                <a:lnTo>
                  <a:pt x="483" y="71"/>
                </a:lnTo>
                <a:lnTo>
                  <a:pt x="485" y="72"/>
                </a:lnTo>
                <a:lnTo>
                  <a:pt x="487" y="72"/>
                </a:lnTo>
                <a:lnTo>
                  <a:pt x="489" y="73"/>
                </a:lnTo>
                <a:lnTo>
                  <a:pt x="490" y="75"/>
                </a:lnTo>
                <a:lnTo>
                  <a:pt x="491" y="77"/>
                </a:lnTo>
                <a:lnTo>
                  <a:pt x="493" y="75"/>
                </a:lnTo>
                <a:lnTo>
                  <a:pt x="495" y="77"/>
                </a:lnTo>
                <a:lnTo>
                  <a:pt x="496" y="80"/>
                </a:lnTo>
                <a:lnTo>
                  <a:pt x="497" y="83"/>
                </a:lnTo>
                <a:lnTo>
                  <a:pt x="503" y="86"/>
                </a:lnTo>
                <a:lnTo>
                  <a:pt x="504" y="87"/>
                </a:lnTo>
                <a:lnTo>
                  <a:pt x="504" y="90"/>
                </a:lnTo>
                <a:lnTo>
                  <a:pt x="505" y="90"/>
                </a:lnTo>
                <a:lnTo>
                  <a:pt x="505" y="91"/>
                </a:lnTo>
                <a:lnTo>
                  <a:pt x="508" y="93"/>
                </a:lnTo>
                <a:lnTo>
                  <a:pt x="508" y="105"/>
                </a:lnTo>
                <a:lnTo>
                  <a:pt x="509" y="106"/>
                </a:lnTo>
                <a:lnTo>
                  <a:pt x="512" y="104"/>
                </a:lnTo>
                <a:lnTo>
                  <a:pt x="515" y="104"/>
                </a:lnTo>
                <a:lnTo>
                  <a:pt x="515" y="105"/>
                </a:lnTo>
                <a:lnTo>
                  <a:pt x="517" y="112"/>
                </a:lnTo>
                <a:lnTo>
                  <a:pt x="517" y="115"/>
                </a:lnTo>
                <a:lnTo>
                  <a:pt x="521" y="117"/>
                </a:lnTo>
                <a:lnTo>
                  <a:pt x="522" y="118"/>
                </a:lnTo>
                <a:lnTo>
                  <a:pt x="526" y="123"/>
                </a:lnTo>
                <a:lnTo>
                  <a:pt x="528" y="124"/>
                </a:lnTo>
                <a:lnTo>
                  <a:pt x="529" y="126"/>
                </a:lnTo>
                <a:lnTo>
                  <a:pt x="529" y="128"/>
                </a:lnTo>
                <a:lnTo>
                  <a:pt x="528" y="130"/>
                </a:lnTo>
                <a:lnTo>
                  <a:pt x="527" y="132"/>
                </a:lnTo>
                <a:lnTo>
                  <a:pt x="523" y="133"/>
                </a:lnTo>
                <a:lnTo>
                  <a:pt x="522" y="134"/>
                </a:lnTo>
                <a:lnTo>
                  <a:pt x="522" y="153"/>
                </a:lnTo>
                <a:lnTo>
                  <a:pt x="523" y="158"/>
                </a:lnTo>
                <a:lnTo>
                  <a:pt x="523" y="159"/>
                </a:lnTo>
                <a:lnTo>
                  <a:pt x="524" y="163"/>
                </a:lnTo>
                <a:lnTo>
                  <a:pt x="524" y="167"/>
                </a:lnTo>
                <a:lnTo>
                  <a:pt x="522" y="169"/>
                </a:lnTo>
                <a:lnTo>
                  <a:pt x="521" y="170"/>
                </a:lnTo>
                <a:lnTo>
                  <a:pt x="522" y="171"/>
                </a:lnTo>
                <a:lnTo>
                  <a:pt x="520" y="176"/>
                </a:lnTo>
                <a:lnTo>
                  <a:pt x="520" y="181"/>
                </a:lnTo>
                <a:lnTo>
                  <a:pt x="522" y="182"/>
                </a:lnTo>
                <a:lnTo>
                  <a:pt x="527" y="182"/>
                </a:lnTo>
                <a:lnTo>
                  <a:pt x="529" y="183"/>
                </a:lnTo>
                <a:lnTo>
                  <a:pt x="533" y="184"/>
                </a:lnTo>
                <a:lnTo>
                  <a:pt x="534" y="185"/>
                </a:lnTo>
                <a:lnTo>
                  <a:pt x="534" y="188"/>
                </a:lnTo>
                <a:lnTo>
                  <a:pt x="533" y="190"/>
                </a:lnTo>
                <a:lnTo>
                  <a:pt x="533" y="192"/>
                </a:lnTo>
                <a:lnTo>
                  <a:pt x="534" y="194"/>
                </a:lnTo>
                <a:lnTo>
                  <a:pt x="534" y="197"/>
                </a:lnTo>
                <a:lnTo>
                  <a:pt x="533" y="200"/>
                </a:lnTo>
                <a:lnTo>
                  <a:pt x="528" y="201"/>
                </a:lnTo>
                <a:lnTo>
                  <a:pt x="527" y="202"/>
                </a:lnTo>
                <a:lnTo>
                  <a:pt x="527" y="210"/>
                </a:lnTo>
                <a:lnTo>
                  <a:pt x="526" y="212"/>
                </a:lnTo>
                <a:lnTo>
                  <a:pt x="526" y="214"/>
                </a:lnTo>
                <a:lnTo>
                  <a:pt x="528" y="216"/>
                </a:lnTo>
                <a:lnTo>
                  <a:pt x="529" y="219"/>
                </a:lnTo>
                <a:lnTo>
                  <a:pt x="529" y="224"/>
                </a:lnTo>
                <a:lnTo>
                  <a:pt x="530" y="225"/>
                </a:lnTo>
                <a:lnTo>
                  <a:pt x="532" y="228"/>
                </a:lnTo>
                <a:lnTo>
                  <a:pt x="533" y="231"/>
                </a:lnTo>
                <a:lnTo>
                  <a:pt x="534" y="231"/>
                </a:lnTo>
                <a:lnTo>
                  <a:pt x="536" y="233"/>
                </a:lnTo>
                <a:lnTo>
                  <a:pt x="539" y="239"/>
                </a:lnTo>
                <a:lnTo>
                  <a:pt x="540" y="241"/>
                </a:lnTo>
                <a:lnTo>
                  <a:pt x="541" y="243"/>
                </a:lnTo>
                <a:lnTo>
                  <a:pt x="542" y="245"/>
                </a:lnTo>
                <a:lnTo>
                  <a:pt x="543" y="251"/>
                </a:lnTo>
                <a:lnTo>
                  <a:pt x="543" y="252"/>
                </a:lnTo>
                <a:lnTo>
                  <a:pt x="542" y="253"/>
                </a:lnTo>
                <a:lnTo>
                  <a:pt x="541" y="253"/>
                </a:lnTo>
                <a:lnTo>
                  <a:pt x="540" y="255"/>
                </a:lnTo>
                <a:lnTo>
                  <a:pt x="539" y="257"/>
                </a:lnTo>
                <a:lnTo>
                  <a:pt x="539" y="258"/>
                </a:lnTo>
                <a:lnTo>
                  <a:pt x="540" y="262"/>
                </a:lnTo>
                <a:lnTo>
                  <a:pt x="540" y="264"/>
                </a:lnTo>
                <a:lnTo>
                  <a:pt x="539" y="267"/>
                </a:lnTo>
                <a:lnTo>
                  <a:pt x="539" y="277"/>
                </a:lnTo>
                <a:lnTo>
                  <a:pt x="538" y="278"/>
                </a:lnTo>
                <a:lnTo>
                  <a:pt x="535" y="280"/>
                </a:lnTo>
                <a:lnTo>
                  <a:pt x="535" y="281"/>
                </a:lnTo>
                <a:lnTo>
                  <a:pt x="533" y="283"/>
                </a:lnTo>
                <a:lnTo>
                  <a:pt x="533" y="286"/>
                </a:lnTo>
                <a:lnTo>
                  <a:pt x="532" y="286"/>
                </a:lnTo>
                <a:lnTo>
                  <a:pt x="529" y="288"/>
                </a:lnTo>
                <a:lnTo>
                  <a:pt x="528" y="290"/>
                </a:lnTo>
                <a:lnTo>
                  <a:pt x="529" y="292"/>
                </a:lnTo>
                <a:lnTo>
                  <a:pt x="529" y="296"/>
                </a:lnTo>
                <a:lnTo>
                  <a:pt x="530" y="299"/>
                </a:lnTo>
                <a:lnTo>
                  <a:pt x="530" y="300"/>
                </a:lnTo>
                <a:lnTo>
                  <a:pt x="529" y="301"/>
                </a:lnTo>
                <a:lnTo>
                  <a:pt x="529" y="305"/>
                </a:lnTo>
                <a:lnTo>
                  <a:pt x="530" y="307"/>
                </a:lnTo>
                <a:lnTo>
                  <a:pt x="530" y="310"/>
                </a:lnTo>
                <a:lnTo>
                  <a:pt x="532" y="316"/>
                </a:lnTo>
                <a:lnTo>
                  <a:pt x="534" y="318"/>
                </a:lnTo>
                <a:lnTo>
                  <a:pt x="539" y="320"/>
                </a:lnTo>
                <a:lnTo>
                  <a:pt x="540" y="321"/>
                </a:lnTo>
                <a:lnTo>
                  <a:pt x="542" y="329"/>
                </a:lnTo>
                <a:lnTo>
                  <a:pt x="543" y="330"/>
                </a:lnTo>
                <a:lnTo>
                  <a:pt x="543" y="331"/>
                </a:lnTo>
                <a:lnTo>
                  <a:pt x="545" y="331"/>
                </a:lnTo>
                <a:lnTo>
                  <a:pt x="545" y="333"/>
                </a:lnTo>
                <a:lnTo>
                  <a:pt x="546" y="338"/>
                </a:lnTo>
                <a:lnTo>
                  <a:pt x="546" y="342"/>
                </a:lnTo>
                <a:lnTo>
                  <a:pt x="548" y="347"/>
                </a:lnTo>
                <a:lnTo>
                  <a:pt x="548" y="350"/>
                </a:lnTo>
                <a:lnTo>
                  <a:pt x="551" y="353"/>
                </a:lnTo>
                <a:lnTo>
                  <a:pt x="551" y="355"/>
                </a:lnTo>
                <a:lnTo>
                  <a:pt x="549" y="357"/>
                </a:lnTo>
                <a:lnTo>
                  <a:pt x="548" y="357"/>
                </a:lnTo>
                <a:lnTo>
                  <a:pt x="545" y="356"/>
                </a:lnTo>
                <a:lnTo>
                  <a:pt x="545" y="357"/>
                </a:lnTo>
                <a:lnTo>
                  <a:pt x="546" y="357"/>
                </a:lnTo>
                <a:lnTo>
                  <a:pt x="545" y="359"/>
                </a:lnTo>
                <a:lnTo>
                  <a:pt x="542" y="357"/>
                </a:lnTo>
                <a:lnTo>
                  <a:pt x="542" y="359"/>
                </a:lnTo>
                <a:lnTo>
                  <a:pt x="541" y="359"/>
                </a:lnTo>
                <a:lnTo>
                  <a:pt x="541" y="361"/>
                </a:lnTo>
                <a:lnTo>
                  <a:pt x="539" y="361"/>
                </a:lnTo>
                <a:lnTo>
                  <a:pt x="539" y="357"/>
                </a:lnTo>
                <a:lnTo>
                  <a:pt x="538" y="357"/>
                </a:lnTo>
                <a:lnTo>
                  <a:pt x="538" y="359"/>
                </a:lnTo>
                <a:lnTo>
                  <a:pt x="534" y="359"/>
                </a:lnTo>
                <a:lnTo>
                  <a:pt x="534" y="355"/>
                </a:lnTo>
                <a:lnTo>
                  <a:pt x="533" y="354"/>
                </a:lnTo>
                <a:lnTo>
                  <a:pt x="530" y="354"/>
                </a:lnTo>
                <a:lnTo>
                  <a:pt x="530" y="355"/>
                </a:lnTo>
                <a:lnTo>
                  <a:pt x="529" y="357"/>
                </a:lnTo>
                <a:lnTo>
                  <a:pt x="527" y="357"/>
                </a:lnTo>
                <a:lnTo>
                  <a:pt x="527" y="356"/>
                </a:lnTo>
                <a:lnTo>
                  <a:pt x="522" y="356"/>
                </a:lnTo>
                <a:lnTo>
                  <a:pt x="522" y="354"/>
                </a:lnTo>
                <a:lnTo>
                  <a:pt x="521" y="354"/>
                </a:lnTo>
                <a:lnTo>
                  <a:pt x="521" y="356"/>
                </a:lnTo>
                <a:lnTo>
                  <a:pt x="520" y="356"/>
                </a:lnTo>
                <a:lnTo>
                  <a:pt x="520" y="361"/>
                </a:lnTo>
                <a:lnTo>
                  <a:pt x="518" y="361"/>
                </a:lnTo>
                <a:lnTo>
                  <a:pt x="517" y="360"/>
                </a:lnTo>
                <a:lnTo>
                  <a:pt x="517" y="355"/>
                </a:lnTo>
                <a:lnTo>
                  <a:pt x="516" y="355"/>
                </a:lnTo>
                <a:lnTo>
                  <a:pt x="516" y="356"/>
                </a:lnTo>
                <a:lnTo>
                  <a:pt x="515" y="357"/>
                </a:lnTo>
                <a:lnTo>
                  <a:pt x="512" y="357"/>
                </a:lnTo>
                <a:lnTo>
                  <a:pt x="511" y="355"/>
                </a:lnTo>
                <a:lnTo>
                  <a:pt x="509" y="355"/>
                </a:lnTo>
                <a:lnTo>
                  <a:pt x="509" y="359"/>
                </a:lnTo>
                <a:lnTo>
                  <a:pt x="511" y="361"/>
                </a:lnTo>
                <a:lnTo>
                  <a:pt x="508" y="362"/>
                </a:lnTo>
                <a:lnTo>
                  <a:pt x="508" y="363"/>
                </a:lnTo>
                <a:lnTo>
                  <a:pt x="507" y="364"/>
                </a:lnTo>
                <a:lnTo>
                  <a:pt x="507" y="366"/>
                </a:lnTo>
                <a:lnTo>
                  <a:pt x="505" y="367"/>
                </a:lnTo>
                <a:lnTo>
                  <a:pt x="504" y="367"/>
                </a:lnTo>
                <a:lnTo>
                  <a:pt x="505" y="364"/>
                </a:lnTo>
                <a:lnTo>
                  <a:pt x="504" y="362"/>
                </a:lnTo>
                <a:lnTo>
                  <a:pt x="503" y="361"/>
                </a:lnTo>
                <a:lnTo>
                  <a:pt x="501" y="361"/>
                </a:lnTo>
                <a:lnTo>
                  <a:pt x="499" y="360"/>
                </a:lnTo>
                <a:lnTo>
                  <a:pt x="498" y="360"/>
                </a:lnTo>
                <a:lnTo>
                  <a:pt x="498" y="357"/>
                </a:lnTo>
                <a:lnTo>
                  <a:pt x="496" y="357"/>
                </a:lnTo>
                <a:lnTo>
                  <a:pt x="495" y="356"/>
                </a:lnTo>
                <a:lnTo>
                  <a:pt x="493" y="353"/>
                </a:lnTo>
                <a:lnTo>
                  <a:pt x="492" y="350"/>
                </a:lnTo>
                <a:lnTo>
                  <a:pt x="487" y="347"/>
                </a:lnTo>
                <a:lnTo>
                  <a:pt x="486" y="347"/>
                </a:lnTo>
                <a:lnTo>
                  <a:pt x="486" y="348"/>
                </a:lnTo>
                <a:lnTo>
                  <a:pt x="487" y="349"/>
                </a:lnTo>
                <a:lnTo>
                  <a:pt x="487" y="350"/>
                </a:lnTo>
                <a:lnTo>
                  <a:pt x="489" y="351"/>
                </a:lnTo>
                <a:lnTo>
                  <a:pt x="489" y="360"/>
                </a:lnTo>
                <a:lnTo>
                  <a:pt x="487" y="361"/>
                </a:lnTo>
                <a:lnTo>
                  <a:pt x="487" y="362"/>
                </a:lnTo>
                <a:lnTo>
                  <a:pt x="486" y="362"/>
                </a:lnTo>
                <a:lnTo>
                  <a:pt x="486" y="360"/>
                </a:lnTo>
                <a:lnTo>
                  <a:pt x="485" y="359"/>
                </a:lnTo>
                <a:lnTo>
                  <a:pt x="483" y="357"/>
                </a:lnTo>
                <a:lnTo>
                  <a:pt x="483" y="359"/>
                </a:lnTo>
                <a:lnTo>
                  <a:pt x="481" y="360"/>
                </a:lnTo>
                <a:lnTo>
                  <a:pt x="480" y="360"/>
                </a:lnTo>
                <a:lnTo>
                  <a:pt x="480" y="357"/>
                </a:lnTo>
                <a:lnTo>
                  <a:pt x="481" y="357"/>
                </a:lnTo>
                <a:lnTo>
                  <a:pt x="481" y="355"/>
                </a:lnTo>
                <a:lnTo>
                  <a:pt x="479" y="353"/>
                </a:lnTo>
                <a:lnTo>
                  <a:pt x="479" y="351"/>
                </a:lnTo>
                <a:lnTo>
                  <a:pt x="477" y="350"/>
                </a:lnTo>
                <a:lnTo>
                  <a:pt x="474" y="351"/>
                </a:lnTo>
                <a:lnTo>
                  <a:pt x="474" y="353"/>
                </a:lnTo>
                <a:lnTo>
                  <a:pt x="473" y="354"/>
                </a:lnTo>
                <a:lnTo>
                  <a:pt x="474" y="356"/>
                </a:lnTo>
                <a:lnTo>
                  <a:pt x="474" y="357"/>
                </a:lnTo>
                <a:lnTo>
                  <a:pt x="473" y="357"/>
                </a:lnTo>
                <a:lnTo>
                  <a:pt x="473" y="360"/>
                </a:lnTo>
                <a:lnTo>
                  <a:pt x="474" y="361"/>
                </a:lnTo>
                <a:lnTo>
                  <a:pt x="473" y="364"/>
                </a:lnTo>
                <a:lnTo>
                  <a:pt x="471" y="363"/>
                </a:lnTo>
                <a:lnTo>
                  <a:pt x="470" y="361"/>
                </a:lnTo>
                <a:lnTo>
                  <a:pt x="468" y="361"/>
                </a:lnTo>
                <a:lnTo>
                  <a:pt x="468" y="363"/>
                </a:lnTo>
                <a:lnTo>
                  <a:pt x="470" y="364"/>
                </a:lnTo>
                <a:lnTo>
                  <a:pt x="471" y="364"/>
                </a:lnTo>
                <a:lnTo>
                  <a:pt x="473" y="366"/>
                </a:lnTo>
                <a:lnTo>
                  <a:pt x="474" y="366"/>
                </a:lnTo>
                <a:lnTo>
                  <a:pt x="476" y="368"/>
                </a:lnTo>
                <a:lnTo>
                  <a:pt x="476" y="370"/>
                </a:lnTo>
                <a:lnTo>
                  <a:pt x="474" y="370"/>
                </a:lnTo>
                <a:lnTo>
                  <a:pt x="473" y="372"/>
                </a:lnTo>
                <a:lnTo>
                  <a:pt x="473" y="369"/>
                </a:lnTo>
                <a:lnTo>
                  <a:pt x="471" y="367"/>
                </a:lnTo>
                <a:lnTo>
                  <a:pt x="470" y="368"/>
                </a:lnTo>
                <a:lnTo>
                  <a:pt x="471" y="369"/>
                </a:lnTo>
                <a:lnTo>
                  <a:pt x="471" y="370"/>
                </a:lnTo>
                <a:lnTo>
                  <a:pt x="470" y="372"/>
                </a:lnTo>
                <a:lnTo>
                  <a:pt x="471" y="372"/>
                </a:lnTo>
                <a:lnTo>
                  <a:pt x="471" y="375"/>
                </a:lnTo>
                <a:lnTo>
                  <a:pt x="467" y="375"/>
                </a:lnTo>
                <a:lnTo>
                  <a:pt x="471" y="376"/>
                </a:lnTo>
                <a:lnTo>
                  <a:pt x="472" y="376"/>
                </a:lnTo>
                <a:lnTo>
                  <a:pt x="473" y="374"/>
                </a:lnTo>
                <a:lnTo>
                  <a:pt x="472" y="374"/>
                </a:lnTo>
                <a:lnTo>
                  <a:pt x="471" y="372"/>
                </a:lnTo>
                <a:lnTo>
                  <a:pt x="472" y="370"/>
                </a:lnTo>
                <a:lnTo>
                  <a:pt x="473" y="372"/>
                </a:lnTo>
                <a:lnTo>
                  <a:pt x="473" y="373"/>
                </a:lnTo>
                <a:lnTo>
                  <a:pt x="476" y="374"/>
                </a:lnTo>
                <a:lnTo>
                  <a:pt x="476" y="375"/>
                </a:lnTo>
                <a:lnTo>
                  <a:pt x="473" y="376"/>
                </a:lnTo>
                <a:lnTo>
                  <a:pt x="473" y="379"/>
                </a:lnTo>
                <a:lnTo>
                  <a:pt x="474" y="379"/>
                </a:lnTo>
                <a:lnTo>
                  <a:pt x="477" y="380"/>
                </a:lnTo>
                <a:lnTo>
                  <a:pt x="477" y="384"/>
                </a:lnTo>
                <a:lnTo>
                  <a:pt x="474" y="381"/>
                </a:lnTo>
                <a:lnTo>
                  <a:pt x="473" y="381"/>
                </a:lnTo>
                <a:lnTo>
                  <a:pt x="471" y="379"/>
                </a:lnTo>
                <a:lnTo>
                  <a:pt x="470" y="380"/>
                </a:lnTo>
                <a:lnTo>
                  <a:pt x="470" y="381"/>
                </a:lnTo>
                <a:lnTo>
                  <a:pt x="468" y="381"/>
                </a:lnTo>
                <a:lnTo>
                  <a:pt x="465" y="378"/>
                </a:lnTo>
                <a:lnTo>
                  <a:pt x="461" y="376"/>
                </a:lnTo>
                <a:lnTo>
                  <a:pt x="460" y="374"/>
                </a:lnTo>
                <a:lnTo>
                  <a:pt x="459" y="374"/>
                </a:lnTo>
                <a:lnTo>
                  <a:pt x="456" y="372"/>
                </a:lnTo>
                <a:lnTo>
                  <a:pt x="454" y="370"/>
                </a:lnTo>
                <a:lnTo>
                  <a:pt x="453" y="369"/>
                </a:lnTo>
                <a:lnTo>
                  <a:pt x="452" y="367"/>
                </a:lnTo>
                <a:lnTo>
                  <a:pt x="449" y="366"/>
                </a:lnTo>
                <a:lnTo>
                  <a:pt x="449" y="364"/>
                </a:lnTo>
                <a:lnTo>
                  <a:pt x="449" y="366"/>
                </a:lnTo>
                <a:lnTo>
                  <a:pt x="450" y="369"/>
                </a:lnTo>
                <a:lnTo>
                  <a:pt x="453" y="372"/>
                </a:lnTo>
                <a:lnTo>
                  <a:pt x="458" y="374"/>
                </a:lnTo>
                <a:lnTo>
                  <a:pt x="464" y="380"/>
                </a:lnTo>
                <a:lnTo>
                  <a:pt x="465" y="380"/>
                </a:lnTo>
                <a:lnTo>
                  <a:pt x="465" y="381"/>
                </a:lnTo>
                <a:lnTo>
                  <a:pt x="467" y="384"/>
                </a:lnTo>
                <a:lnTo>
                  <a:pt x="465" y="384"/>
                </a:lnTo>
                <a:lnTo>
                  <a:pt x="464" y="385"/>
                </a:lnTo>
                <a:lnTo>
                  <a:pt x="462" y="385"/>
                </a:lnTo>
                <a:lnTo>
                  <a:pt x="462" y="386"/>
                </a:lnTo>
                <a:lnTo>
                  <a:pt x="460" y="386"/>
                </a:lnTo>
                <a:lnTo>
                  <a:pt x="454" y="385"/>
                </a:lnTo>
                <a:lnTo>
                  <a:pt x="453" y="385"/>
                </a:lnTo>
                <a:lnTo>
                  <a:pt x="455" y="388"/>
                </a:lnTo>
                <a:lnTo>
                  <a:pt x="456" y="390"/>
                </a:lnTo>
                <a:lnTo>
                  <a:pt x="456" y="387"/>
                </a:lnTo>
                <a:lnTo>
                  <a:pt x="459" y="391"/>
                </a:lnTo>
                <a:lnTo>
                  <a:pt x="460" y="392"/>
                </a:lnTo>
                <a:lnTo>
                  <a:pt x="460" y="394"/>
                </a:lnTo>
                <a:lnTo>
                  <a:pt x="459" y="396"/>
                </a:lnTo>
                <a:lnTo>
                  <a:pt x="456" y="393"/>
                </a:lnTo>
                <a:lnTo>
                  <a:pt x="456" y="398"/>
                </a:lnTo>
                <a:lnTo>
                  <a:pt x="454" y="398"/>
                </a:lnTo>
                <a:lnTo>
                  <a:pt x="454" y="397"/>
                </a:lnTo>
                <a:lnTo>
                  <a:pt x="453" y="398"/>
                </a:lnTo>
                <a:lnTo>
                  <a:pt x="450" y="398"/>
                </a:lnTo>
                <a:lnTo>
                  <a:pt x="447" y="397"/>
                </a:lnTo>
                <a:lnTo>
                  <a:pt x="446" y="397"/>
                </a:lnTo>
                <a:lnTo>
                  <a:pt x="447" y="398"/>
                </a:lnTo>
                <a:lnTo>
                  <a:pt x="443" y="398"/>
                </a:lnTo>
                <a:lnTo>
                  <a:pt x="442" y="397"/>
                </a:lnTo>
                <a:lnTo>
                  <a:pt x="440" y="397"/>
                </a:lnTo>
                <a:lnTo>
                  <a:pt x="440" y="398"/>
                </a:lnTo>
                <a:lnTo>
                  <a:pt x="437" y="399"/>
                </a:lnTo>
                <a:lnTo>
                  <a:pt x="436" y="400"/>
                </a:lnTo>
                <a:lnTo>
                  <a:pt x="437" y="400"/>
                </a:lnTo>
                <a:lnTo>
                  <a:pt x="437" y="402"/>
                </a:lnTo>
                <a:lnTo>
                  <a:pt x="436" y="403"/>
                </a:lnTo>
                <a:lnTo>
                  <a:pt x="437" y="404"/>
                </a:lnTo>
                <a:lnTo>
                  <a:pt x="439" y="404"/>
                </a:lnTo>
                <a:lnTo>
                  <a:pt x="440" y="405"/>
                </a:lnTo>
                <a:lnTo>
                  <a:pt x="440" y="406"/>
                </a:lnTo>
                <a:lnTo>
                  <a:pt x="442" y="406"/>
                </a:lnTo>
                <a:lnTo>
                  <a:pt x="442" y="405"/>
                </a:lnTo>
                <a:lnTo>
                  <a:pt x="443" y="405"/>
                </a:lnTo>
                <a:lnTo>
                  <a:pt x="445" y="407"/>
                </a:lnTo>
                <a:lnTo>
                  <a:pt x="447" y="410"/>
                </a:lnTo>
                <a:lnTo>
                  <a:pt x="447" y="411"/>
                </a:lnTo>
                <a:lnTo>
                  <a:pt x="443" y="415"/>
                </a:lnTo>
                <a:lnTo>
                  <a:pt x="441" y="415"/>
                </a:lnTo>
                <a:lnTo>
                  <a:pt x="440" y="413"/>
                </a:lnTo>
                <a:lnTo>
                  <a:pt x="440" y="412"/>
                </a:lnTo>
                <a:lnTo>
                  <a:pt x="439" y="410"/>
                </a:lnTo>
                <a:lnTo>
                  <a:pt x="439" y="409"/>
                </a:lnTo>
                <a:lnTo>
                  <a:pt x="436" y="406"/>
                </a:lnTo>
                <a:lnTo>
                  <a:pt x="435" y="406"/>
                </a:lnTo>
                <a:lnTo>
                  <a:pt x="434" y="405"/>
                </a:lnTo>
                <a:lnTo>
                  <a:pt x="433" y="403"/>
                </a:lnTo>
                <a:lnTo>
                  <a:pt x="431" y="402"/>
                </a:lnTo>
                <a:lnTo>
                  <a:pt x="430" y="403"/>
                </a:lnTo>
                <a:lnTo>
                  <a:pt x="429" y="403"/>
                </a:lnTo>
                <a:lnTo>
                  <a:pt x="428" y="405"/>
                </a:lnTo>
                <a:lnTo>
                  <a:pt x="434" y="406"/>
                </a:lnTo>
                <a:lnTo>
                  <a:pt x="435" y="407"/>
                </a:lnTo>
                <a:lnTo>
                  <a:pt x="437" y="412"/>
                </a:lnTo>
                <a:lnTo>
                  <a:pt x="440" y="416"/>
                </a:lnTo>
                <a:lnTo>
                  <a:pt x="442" y="422"/>
                </a:lnTo>
                <a:lnTo>
                  <a:pt x="443" y="424"/>
                </a:lnTo>
                <a:lnTo>
                  <a:pt x="440" y="424"/>
                </a:lnTo>
                <a:lnTo>
                  <a:pt x="441" y="425"/>
                </a:lnTo>
                <a:lnTo>
                  <a:pt x="441" y="428"/>
                </a:lnTo>
                <a:lnTo>
                  <a:pt x="440" y="430"/>
                </a:lnTo>
                <a:lnTo>
                  <a:pt x="441" y="431"/>
                </a:lnTo>
                <a:lnTo>
                  <a:pt x="442" y="431"/>
                </a:lnTo>
                <a:lnTo>
                  <a:pt x="441" y="433"/>
                </a:lnTo>
                <a:lnTo>
                  <a:pt x="436" y="433"/>
                </a:lnTo>
                <a:lnTo>
                  <a:pt x="437" y="435"/>
                </a:lnTo>
                <a:lnTo>
                  <a:pt x="437" y="436"/>
                </a:lnTo>
                <a:lnTo>
                  <a:pt x="439" y="436"/>
                </a:lnTo>
                <a:lnTo>
                  <a:pt x="437" y="437"/>
                </a:lnTo>
                <a:lnTo>
                  <a:pt x="435" y="437"/>
                </a:lnTo>
                <a:lnTo>
                  <a:pt x="435" y="439"/>
                </a:lnTo>
                <a:lnTo>
                  <a:pt x="434" y="439"/>
                </a:lnTo>
                <a:lnTo>
                  <a:pt x="433" y="440"/>
                </a:lnTo>
                <a:lnTo>
                  <a:pt x="433" y="441"/>
                </a:lnTo>
                <a:lnTo>
                  <a:pt x="434" y="442"/>
                </a:lnTo>
                <a:lnTo>
                  <a:pt x="433" y="442"/>
                </a:lnTo>
                <a:lnTo>
                  <a:pt x="428" y="443"/>
                </a:lnTo>
                <a:lnTo>
                  <a:pt x="427" y="443"/>
                </a:lnTo>
                <a:lnTo>
                  <a:pt x="427" y="445"/>
                </a:lnTo>
                <a:lnTo>
                  <a:pt x="428" y="445"/>
                </a:lnTo>
                <a:lnTo>
                  <a:pt x="428" y="446"/>
                </a:lnTo>
                <a:lnTo>
                  <a:pt x="427" y="447"/>
                </a:lnTo>
                <a:lnTo>
                  <a:pt x="427" y="448"/>
                </a:lnTo>
                <a:lnTo>
                  <a:pt x="425" y="448"/>
                </a:lnTo>
                <a:lnTo>
                  <a:pt x="425" y="453"/>
                </a:lnTo>
                <a:lnTo>
                  <a:pt x="424" y="453"/>
                </a:lnTo>
                <a:lnTo>
                  <a:pt x="424" y="455"/>
                </a:lnTo>
                <a:lnTo>
                  <a:pt x="422" y="456"/>
                </a:lnTo>
                <a:lnTo>
                  <a:pt x="421" y="455"/>
                </a:lnTo>
                <a:lnTo>
                  <a:pt x="421" y="453"/>
                </a:lnTo>
                <a:lnTo>
                  <a:pt x="420" y="453"/>
                </a:lnTo>
                <a:lnTo>
                  <a:pt x="418" y="454"/>
                </a:lnTo>
                <a:lnTo>
                  <a:pt x="418" y="456"/>
                </a:lnTo>
                <a:lnTo>
                  <a:pt x="420" y="456"/>
                </a:lnTo>
                <a:lnTo>
                  <a:pt x="421" y="458"/>
                </a:lnTo>
                <a:lnTo>
                  <a:pt x="421" y="460"/>
                </a:lnTo>
                <a:lnTo>
                  <a:pt x="427" y="460"/>
                </a:lnTo>
                <a:lnTo>
                  <a:pt x="429" y="461"/>
                </a:lnTo>
                <a:lnTo>
                  <a:pt x="430" y="461"/>
                </a:lnTo>
                <a:lnTo>
                  <a:pt x="430" y="462"/>
                </a:lnTo>
                <a:lnTo>
                  <a:pt x="429" y="464"/>
                </a:lnTo>
                <a:lnTo>
                  <a:pt x="427" y="464"/>
                </a:lnTo>
                <a:lnTo>
                  <a:pt x="428" y="465"/>
                </a:lnTo>
                <a:lnTo>
                  <a:pt x="428" y="466"/>
                </a:lnTo>
                <a:lnTo>
                  <a:pt x="430" y="468"/>
                </a:lnTo>
                <a:lnTo>
                  <a:pt x="430" y="470"/>
                </a:lnTo>
                <a:lnTo>
                  <a:pt x="429" y="470"/>
                </a:lnTo>
                <a:lnTo>
                  <a:pt x="429" y="471"/>
                </a:lnTo>
                <a:lnTo>
                  <a:pt x="427" y="468"/>
                </a:lnTo>
                <a:lnTo>
                  <a:pt x="425" y="468"/>
                </a:lnTo>
                <a:lnTo>
                  <a:pt x="424" y="467"/>
                </a:lnTo>
                <a:lnTo>
                  <a:pt x="424" y="466"/>
                </a:lnTo>
                <a:lnTo>
                  <a:pt x="423" y="465"/>
                </a:lnTo>
                <a:lnTo>
                  <a:pt x="422" y="465"/>
                </a:lnTo>
                <a:lnTo>
                  <a:pt x="422" y="470"/>
                </a:lnTo>
                <a:lnTo>
                  <a:pt x="424" y="472"/>
                </a:lnTo>
                <a:lnTo>
                  <a:pt x="427" y="472"/>
                </a:lnTo>
                <a:lnTo>
                  <a:pt x="428" y="474"/>
                </a:lnTo>
                <a:lnTo>
                  <a:pt x="427" y="474"/>
                </a:lnTo>
                <a:lnTo>
                  <a:pt x="428" y="476"/>
                </a:lnTo>
                <a:lnTo>
                  <a:pt x="428" y="477"/>
                </a:lnTo>
                <a:lnTo>
                  <a:pt x="430" y="477"/>
                </a:lnTo>
                <a:lnTo>
                  <a:pt x="430" y="479"/>
                </a:lnTo>
                <a:lnTo>
                  <a:pt x="431" y="479"/>
                </a:lnTo>
                <a:lnTo>
                  <a:pt x="431" y="482"/>
                </a:lnTo>
                <a:lnTo>
                  <a:pt x="433" y="480"/>
                </a:lnTo>
                <a:lnTo>
                  <a:pt x="433" y="477"/>
                </a:lnTo>
                <a:lnTo>
                  <a:pt x="435" y="479"/>
                </a:lnTo>
                <a:lnTo>
                  <a:pt x="435" y="482"/>
                </a:lnTo>
                <a:lnTo>
                  <a:pt x="436" y="482"/>
                </a:lnTo>
                <a:lnTo>
                  <a:pt x="436" y="479"/>
                </a:lnTo>
                <a:lnTo>
                  <a:pt x="437" y="479"/>
                </a:lnTo>
                <a:lnTo>
                  <a:pt x="437" y="483"/>
                </a:lnTo>
                <a:lnTo>
                  <a:pt x="440" y="485"/>
                </a:lnTo>
                <a:lnTo>
                  <a:pt x="439" y="486"/>
                </a:lnTo>
                <a:lnTo>
                  <a:pt x="437" y="485"/>
                </a:lnTo>
                <a:lnTo>
                  <a:pt x="437" y="484"/>
                </a:lnTo>
                <a:lnTo>
                  <a:pt x="436" y="483"/>
                </a:lnTo>
                <a:lnTo>
                  <a:pt x="435" y="485"/>
                </a:lnTo>
                <a:lnTo>
                  <a:pt x="434" y="486"/>
                </a:lnTo>
                <a:lnTo>
                  <a:pt x="433" y="485"/>
                </a:lnTo>
                <a:lnTo>
                  <a:pt x="433" y="484"/>
                </a:lnTo>
                <a:lnTo>
                  <a:pt x="431" y="484"/>
                </a:lnTo>
                <a:lnTo>
                  <a:pt x="431" y="485"/>
                </a:lnTo>
                <a:lnTo>
                  <a:pt x="433" y="485"/>
                </a:lnTo>
                <a:lnTo>
                  <a:pt x="434" y="487"/>
                </a:lnTo>
                <a:lnTo>
                  <a:pt x="434" y="486"/>
                </a:lnTo>
                <a:lnTo>
                  <a:pt x="437" y="486"/>
                </a:lnTo>
                <a:lnTo>
                  <a:pt x="437" y="492"/>
                </a:lnTo>
                <a:lnTo>
                  <a:pt x="439" y="492"/>
                </a:lnTo>
                <a:lnTo>
                  <a:pt x="440" y="491"/>
                </a:lnTo>
                <a:lnTo>
                  <a:pt x="441" y="491"/>
                </a:lnTo>
                <a:lnTo>
                  <a:pt x="441" y="490"/>
                </a:lnTo>
                <a:lnTo>
                  <a:pt x="442" y="490"/>
                </a:lnTo>
                <a:lnTo>
                  <a:pt x="442" y="493"/>
                </a:lnTo>
                <a:lnTo>
                  <a:pt x="441" y="493"/>
                </a:lnTo>
                <a:lnTo>
                  <a:pt x="441" y="495"/>
                </a:lnTo>
                <a:lnTo>
                  <a:pt x="440" y="495"/>
                </a:lnTo>
                <a:lnTo>
                  <a:pt x="439" y="496"/>
                </a:lnTo>
                <a:lnTo>
                  <a:pt x="436" y="501"/>
                </a:lnTo>
                <a:lnTo>
                  <a:pt x="433" y="504"/>
                </a:lnTo>
                <a:lnTo>
                  <a:pt x="431" y="503"/>
                </a:lnTo>
                <a:lnTo>
                  <a:pt x="431" y="502"/>
                </a:lnTo>
                <a:lnTo>
                  <a:pt x="430" y="502"/>
                </a:lnTo>
                <a:lnTo>
                  <a:pt x="430" y="505"/>
                </a:lnTo>
                <a:lnTo>
                  <a:pt x="431" y="505"/>
                </a:lnTo>
                <a:lnTo>
                  <a:pt x="431" y="507"/>
                </a:lnTo>
                <a:lnTo>
                  <a:pt x="430" y="507"/>
                </a:lnTo>
                <a:lnTo>
                  <a:pt x="429" y="508"/>
                </a:lnTo>
                <a:lnTo>
                  <a:pt x="428" y="508"/>
                </a:lnTo>
                <a:lnTo>
                  <a:pt x="428" y="507"/>
                </a:lnTo>
                <a:lnTo>
                  <a:pt x="427" y="507"/>
                </a:lnTo>
                <a:lnTo>
                  <a:pt x="422" y="515"/>
                </a:lnTo>
                <a:lnTo>
                  <a:pt x="420" y="515"/>
                </a:lnTo>
                <a:lnTo>
                  <a:pt x="418" y="519"/>
                </a:lnTo>
                <a:lnTo>
                  <a:pt x="416" y="522"/>
                </a:lnTo>
                <a:lnTo>
                  <a:pt x="415" y="525"/>
                </a:lnTo>
                <a:lnTo>
                  <a:pt x="415" y="527"/>
                </a:lnTo>
                <a:lnTo>
                  <a:pt x="414" y="530"/>
                </a:lnTo>
                <a:lnTo>
                  <a:pt x="414" y="534"/>
                </a:lnTo>
                <a:lnTo>
                  <a:pt x="412" y="535"/>
                </a:lnTo>
                <a:lnTo>
                  <a:pt x="412" y="539"/>
                </a:lnTo>
                <a:lnTo>
                  <a:pt x="411" y="539"/>
                </a:lnTo>
                <a:lnTo>
                  <a:pt x="411" y="540"/>
                </a:lnTo>
                <a:lnTo>
                  <a:pt x="410" y="540"/>
                </a:lnTo>
                <a:lnTo>
                  <a:pt x="410" y="542"/>
                </a:lnTo>
                <a:lnTo>
                  <a:pt x="409" y="545"/>
                </a:lnTo>
                <a:lnTo>
                  <a:pt x="408" y="548"/>
                </a:lnTo>
                <a:lnTo>
                  <a:pt x="408" y="550"/>
                </a:lnTo>
                <a:lnTo>
                  <a:pt x="405" y="551"/>
                </a:lnTo>
                <a:lnTo>
                  <a:pt x="404" y="551"/>
                </a:lnTo>
                <a:lnTo>
                  <a:pt x="403" y="552"/>
                </a:lnTo>
                <a:lnTo>
                  <a:pt x="403" y="553"/>
                </a:lnTo>
                <a:lnTo>
                  <a:pt x="405" y="553"/>
                </a:lnTo>
                <a:lnTo>
                  <a:pt x="404" y="556"/>
                </a:lnTo>
                <a:lnTo>
                  <a:pt x="403" y="557"/>
                </a:lnTo>
                <a:lnTo>
                  <a:pt x="402" y="554"/>
                </a:lnTo>
                <a:lnTo>
                  <a:pt x="402" y="553"/>
                </a:lnTo>
                <a:lnTo>
                  <a:pt x="400" y="553"/>
                </a:lnTo>
                <a:lnTo>
                  <a:pt x="398" y="556"/>
                </a:lnTo>
                <a:lnTo>
                  <a:pt x="396" y="553"/>
                </a:lnTo>
                <a:lnTo>
                  <a:pt x="394" y="558"/>
                </a:lnTo>
                <a:lnTo>
                  <a:pt x="393" y="559"/>
                </a:lnTo>
                <a:lnTo>
                  <a:pt x="392" y="559"/>
                </a:lnTo>
                <a:lnTo>
                  <a:pt x="392" y="566"/>
                </a:lnTo>
                <a:lnTo>
                  <a:pt x="391" y="568"/>
                </a:lnTo>
                <a:lnTo>
                  <a:pt x="390" y="568"/>
                </a:lnTo>
                <a:lnTo>
                  <a:pt x="390" y="562"/>
                </a:lnTo>
                <a:lnTo>
                  <a:pt x="389" y="560"/>
                </a:lnTo>
                <a:lnTo>
                  <a:pt x="389" y="568"/>
                </a:lnTo>
                <a:lnTo>
                  <a:pt x="387" y="570"/>
                </a:lnTo>
                <a:lnTo>
                  <a:pt x="386" y="569"/>
                </a:lnTo>
                <a:lnTo>
                  <a:pt x="386" y="565"/>
                </a:lnTo>
                <a:lnTo>
                  <a:pt x="387" y="563"/>
                </a:lnTo>
                <a:lnTo>
                  <a:pt x="385" y="565"/>
                </a:lnTo>
                <a:lnTo>
                  <a:pt x="385" y="570"/>
                </a:lnTo>
                <a:lnTo>
                  <a:pt x="381" y="570"/>
                </a:lnTo>
                <a:lnTo>
                  <a:pt x="380" y="571"/>
                </a:lnTo>
                <a:lnTo>
                  <a:pt x="379" y="570"/>
                </a:lnTo>
                <a:lnTo>
                  <a:pt x="379" y="569"/>
                </a:lnTo>
                <a:lnTo>
                  <a:pt x="377" y="569"/>
                </a:lnTo>
                <a:lnTo>
                  <a:pt x="377" y="570"/>
                </a:lnTo>
                <a:lnTo>
                  <a:pt x="375" y="570"/>
                </a:lnTo>
                <a:lnTo>
                  <a:pt x="375" y="572"/>
                </a:lnTo>
                <a:lnTo>
                  <a:pt x="377" y="575"/>
                </a:lnTo>
                <a:lnTo>
                  <a:pt x="373" y="573"/>
                </a:lnTo>
                <a:lnTo>
                  <a:pt x="372" y="573"/>
                </a:lnTo>
                <a:lnTo>
                  <a:pt x="369" y="575"/>
                </a:lnTo>
                <a:lnTo>
                  <a:pt x="369" y="577"/>
                </a:lnTo>
                <a:lnTo>
                  <a:pt x="365" y="582"/>
                </a:lnTo>
                <a:lnTo>
                  <a:pt x="365" y="588"/>
                </a:lnTo>
                <a:lnTo>
                  <a:pt x="363" y="588"/>
                </a:lnTo>
                <a:lnTo>
                  <a:pt x="363" y="589"/>
                </a:lnTo>
                <a:lnTo>
                  <a:pt x="362" y="590"/>
                </a:lnTo>
                <a:lnTo>
                  <a:pt x="361" y="590"/>
                </a:lnTo>
                <a:lnTo>
                  <a:pt x="360" y="589"/>
                </a:lnTo>
                <a:lnTo>
                  <a:pt x="360" y="587"/>
                </a:lnTo>
                <a:lnTo>
                  <a:pt x="359" y="585"/>
                </a:lnTo>
                <a:lnTo>
                  <a:pt x="359" y="584"/>
                </a:lnTo>
                <a:lnTo>
                  <a:pt x="358" y="584"/>
                </a:lnTo>
                <a:lnTo>
                  <a:pt x="358" y="582"/>
                </a:lnTo>
                <a:lnTo>
                  <a:pt x="355" y="582"/>
                </a:lnTo>
                <a:lnTo>
                  <a:pt x="353" y="579"/>
                </a:lnTo>
                <a:lnTo>
                  <a:pt x="353" y="578"/>
                </a:lnTo>
                <a:lnTo>
                  <a:pt x="352" y="578"/>
                </a:lnTo>
                <a:lnTo>
                  <a:pt x="350" y="579"/>
                </a:lnTo>
                <a:lnTo>
                  <a:pt x="350" y="581"/>
                </a:lnTo>
                <a:lnTo>
                  <a:pt x="353" y="581"/>
                </a:lnTo>
                <a:lnTo>
                  <a:pt x="352" y="583"/>
                </a:lnTo>
                <a:lnTo>
                  <a:pt x="353" y="584"/>
                </a:lnTo>
                <a:lnTo>
                  <a:pt x="354" y="584"/>
                </a:lnTo>
                <a:lnTo>
                  <a:pt x="355" y="585"/>
                </a:lnTo>
                <a:lnTo>
                  <a:pt x="354" y="587"/>
                </a:lnTo>
                <a:lnTo>
                  <a:pt x="352" y="587"/>
                </a:lnTo>
                <a:lnTo>
                  <a:pt x="353" y="588"/>
                </a:lnTo>
                <a:lnTo>
                  <a:pt x="354" y="590"/>
                </a:lnTo>
                <a:lnTo>
                  <a:pt x="354" y="593"/>
                </a:lnTo>
                <a:lnTo>
                  <a:pt x="353" y="593"/>
                </a:lnTo>
                <a:lnTo>
                  <a:pt x="352" y="590"/>
                </a:lnTo>
                <a:lnTo>
                  <a:pt x="347" y="585"/>
                </a:lnTo>
                <a:lnTo>
                  <a:pt x="347" y="587"/>
                </a:lnTo>
                <a:lnTo>
                  <a:pt x="348" y="589"/>
                </a:lnTo>
                <a:lnTo>
                  <a:pt x="347" y="590"/>
                </a:lnTo>
                <a:lnTo>
                  <a:pt x="347" y="589"/>
                </a:lnTo>
                <a:lnTo>
                  <a:pt x="346" y="588"/>
                </a:lnTo>
                <a:lnTo>
                  <a:pt x="344" y="588"/>
                </a:lnTo>
                <a:lnTo>
                  <a:pt x="344" y="599"/>
                </a:lnTo>
                <a:lnTo>
                  <a:pt x="343" y="601"/>
                </a:lnTo>
                <a:lnTo>
                  <a:pt x="342" y="601"/>
                </a:lnTo>
                <a:lnTo>
                  <a:pt x="342" y="599"/>
                </a:lnTo>
                <a:lnTo>
                  <a:pt x="341" y="601"/>
                </a:lnTo>
                <a:lnTo>
                  <a:pt x="340" y="601"/>
                </a:lnTo>
                <a:lnTo>
                  <a:pt x="338" y="602"/>
                </a:lnTo>
                <a:lnTo>
                  <a:pt x="338" y="605"/>
                </a:lnTo>
                <a:lnTo>
                  <a:pt x="337" y="607"/>
                </a:lnTo>
                <a:lnTo>
                  <a:pt x="337" y="608"/>
                </a:lnTo>
                <a:lnTo>
                  <a:pt x="338" y="608"/>
                </a:lnTo>
                <a:lnTo>
                  <a:pt x="337" y="609"/>
                </a:lnTo>
                <a:lnTo>
                  <a:pt x="336" y="609"/>
                </a:lnTo>
                <a:lnTo>
                  <a:pt x="335" y="607"/>
                </a:lnTo>
                <a:lnTo>
                  <a:pt x="334" y="609"/>
                </a:lnTo>
                <a:lnTo>
                  <a:pt x="335" y="611"/>
                </a:lnTo>
                <a:lnTo>
                  <a:pt x="337" y="611"/>
                </a:lnTo>
                <a:lnTo>
                  <a:pt x="337" y="612"/>
                </a:lnTo>
                <a:lnTo>
                  <a:pt x="336" y="612"/>
                </a:lnTo>
                <a:lnTo>
                  <a:pt x="335" y="613"/>
                </a:lnTo>
                <a:lnTo>
                  <a:pt x="335" y="614"/>
                </a:lnTo>
                <a:lnTo>
                  <a:pt x="334" y="614"/>
                </a:lnTo>
                <a:lnTo>
                  <a:pt x="333" y="613"/>
                </a:lnTo>
                <a:lnTo>
                  <a:pt x="333" y="612"/>
                </a:lnTo>
                <a:lnTo>
                  <a:pt x="331" y="611"/>
                </a:lnTo>
                <a:lnTo>
                  <a:pt x="331" y="609"/>
                </a:lnTo>
                <a:lnTo>
                  <a:pt x="329" y="607"/>
                </a:lnTo>
                <a:lnTo>
                  <a:pt x="329" y="606"/>
                </a:lnTo>
                <a:lnTo>
                  <a:pt x="328" y="606"/>
                </a:lnTo>
                <a:lnTo>
                  <a:pt x="328" y="608"/>
                </a:lnTo>
                <a:lnTo>
                  <a:pt x="327" y="608"/>
                </a:lnTo>
                <a:lnTo>
                  <a:pt x="324" y="607"/>
                </a:lnTo>
                <a:lnTo>
                  <a:pt x="322" y="607"/>
                </a:lnTo>
                <a:lnTo>
                  <a:pt x="322" y="608"/>
                </a:lnTo>
                <a:lnTo>
                  <a:pt x="329" y="612"/>
                </a:lnTo>
                <a:lnTo>
                  <a:pt x="328" y="613"/>
                </a:lnTo>
                <a:lnTo>
                  <a:pt x="324" y="613"/>
                </a:lnTo>
                <a:lnTo>
                  <a:pt x="324" y="615"/>
                </a:lnTo>
                <a:lnTo>
                  <a:pt x="323" y="615"/>
                </a:lnTo>
                <a:lnTo>
                  <a:pt x="323" y="614"/>
                </a:lnTo>
                <a:lnTo>
                  <a:pt x="322" y="613"/>
                </a:lnTo>
                <a:lnTo>
                  <a:pt x="322" y="612"/>
                </a:lnTo>
                <a:lnTo>
                  <a:pt x="325" y="612"/>
                </a:lnTo>
                <a:lnTo>
                  <a:pt x="325" y="611"/>
                </a:lnTo>
                <a:lnTo>
                  <a:pt x="321" y="609"/>
                </a:lnTo>
                <a:lnTo>
                  <a:pt x="319" y="611"/>
                </a:lnTo>
                <a:lnTo>
                  <a:pt x="321" y="611"/>
                </a:lnTo>
                <a:lnTo>
                  <a:pt x="321" y="613"/>
                </a:lnTo>
                <a:lnTo>
                  <a:pt x="322" y="615"/>
                </a:lnTo>
                <a:lnTo>
                  <a:pt x="322" y="616"/>
                </a:lnTo>
                <a:lnTo>
                  <a:pt x="316" y="614"/>
                </a:lnTo>
                <a:lnTo>
                  <a:pt x="315" y="614"/>
                </a:lnTo>
                <a:lnTo>
                  <a:pt x="315" y="615"/>
                </a:lnTo>
                <a:lnTo>
                  <a:pt x="316" y="615"/>
                </a:lnTo>
                <a:lnTo>
                  <a:pt x="317" y="616"/>
                </a:lnTo>
                <a:lnTo>
                  <a:pt x="317" y="618"/>
                </a:lnTo>
                <a:lnTo>
                  <a:pt x="318" y="619"/>
                </a:lnTo>
                <a:lnTo>
                  <a:pt x="318" y="620"/>
                </a:lnTo>
                <a:lnTo>
                  <a:pt x="317" y="621"/>
                </a:lnTo>
                <a:lnTo>
                  <a:pt x="317" y="620"/>
                </a:lnTo>
                <a:lnTo>
                  <a:pt x="313" y="620"/>
                </a:lnTo>
                <a:lnTo>
                  <a:pt x="313" y="624"/>
                </a:lnTo>
                <a:lnTo>
                  <a:pt x="312" y="626"/>
                </a:lnTo>
                <a:lnTo>
                  <a:pt x="311" y="626"/>
                </a:lnTo>
                <a:lnTo>
                  <a:pt x="311" y="630"/>
                </a:lnTo>
                <a:lnTo>
                  <a:pt x="307" y="626"/>
                </a:lnTo>
                <a:lnTo>
                  <a:pt x="306" y="626"/>
                </a:lnTo>
                <a:lnTo>
                  <a:pt x="306" y="627"/>
                </a:lnTo>
                <a:lnTo>
                  <a:pt x="307" y="628"/>
                </a:lnTo>
                <a:lnTo>
                  <a:pt x="309" y="628"/>
                </a:lnTo>
                <a:lnTo>
                  <a:pt x="309" y="630"/>
                </a:lnTo>
                <a:lnTo>
                  <a:pt x="306" y="630"/>
                </a:lnTo>
                <a:lnTo>
                  <a:pt x="305" y="628"/>
                </a:lnTo>
                <a:lnTo>
                  <a:pt x="303" y="631"/>
                </a:lnTo>
                <a:lnTo>
                  <a:pt x="300" y="631"/>
                </a:lnTo>
                <a:lnTo>
                  <a:pt x="302" y="632"/>
                </a:lnTo>
                <a:lnTo>
                  <a:pt x="313" y="632"/>
                </a:lnTo>
                <a:lnTo>
                  <a:pt x="315" y="633"/>
                </a:lnTo>
                <a:lnTo>
                  <a:pt x="315" y="636"/>
                </a:lnTo>
                <a:lnTo>
                  <a:pt x="313" y="636"/>
                </a:lnTo>
                <a:lnTo>
                  <a:pt x="313" y="633"/>
                </a:lnTo>
                <a:lnTo>
                  <a:pt x="312" y="636"/>
                </a:lnTo>
                <a:lnTo>
                  <a:pt x="311" y="636"/>
                </a:lnTo>
                <a:lnTo>
                  <a:pt x="307" y="634"/>
                </a:lnTo>
                <a:lnTo>
                  <a:pt x="307" y="637"/>
                </a:lnTo>
                <a:lnTo>
                  <a:pt x="309" y="638"/>
                </a:lnTo>
                <a:lnTo>
                  <a:pt x="312" y="638"/>
                </a:lnTo>
                <a:lnTo>
                  <a:pt x="312" y="640"/>
                </a:lnTo>
                <a:lnTo>
                  <a:pt x="310" y="640"/>
                </a:lnTo>
                <a:lnTo>
                  <a:pt x="307" y="639"/>
                </a:lnTo>
                <a:lnTo>
                  <a:pt x="307" y="640"/>
                </a:lnTo>
                <a:lnTo>
                  <a:pt x="310" y="642"/>
                </a:lnTo>
                <a:lnTo>
                  <a:pt x="310" y="644"/>
                </a:lnTo>
                <a:lnTo>
                  <a:pt x="309" y="645"/>
                </a:lnTo>
                <a:lnTo>
                  <a:pt x="307" y="645"/>
                </a:lnTo>
                <a:lnTo>
                  <a:pt x="307" y="646"/>
                </a:lnTo>
                <a:lnTo>
                  <a:pt x="304" y="646"/>
                </a:lnTo>
                <a:lnTo>
                  <a:pt x="304" y="645"/>
                </a:lnTo>
                <a:lnTo>
                  <a:pt x="303" y="643"/>
                </a:lnTo>
                <a:lnTo>
                  <a:pt x="302" y="642"/>
                </a:lnTo>
                <a:lnTo>
                  <a:pt x="300" y="642"/>
                </a:lnTo>
                <a:lnTo>
                  <a:pt x="302" y="643"/>
                </a:lnTo>
                <a:lnTo>
                  <a:pt x="299" y="643"/>
                </a:lnTo>
                <a:lnTo>
                  <a:pt x="299" y="646"/>
                </a:lnTo>
                <a:lnTo>
                  <a:pt x="300" y="648"/>
                </a:lnTo>
                <a:lnTo>
                  <a:pt x="302" y="645"/>
                </a:lnTo>
                <a:lnTo>
                  <a:pt x="303" y="646"/>
                </a:lnTo>
                <a:lnTo>
                  <a:pt x="302" y="649"/>
                </a:lnTo>
                <a:lnTo>
                  <a:pt x="299" y="651"/>
                </a:lnTo>
                <a:lnTo>
                  <a:pt x="299" y="652"/>
                </a:lnTo>
                <a:lnTo>
                  <a:pt x="298" y="651"/>
                </a:lnTo>
                <a:lnTo>
                  <a:pt x="298" y="650"/>
                </a:lnTo>
                <a:lnTo>
                  <a:pt x="299" y="649"/>
                </a:lnTo>
                <a:lnTo>
                  <a:pt x="298" y="649"/>
                </a:lnTo>
                <a:lnTo>
                  <a:pt x="298" y="650"/>
                </a:lnTo>
                <a:lnTo>
                  <a:pt x="297" y="651"/>
                </a:lnTo>
                <a:lnTo>
                  <a:pt x="297" y="652"/>
                </a:lnTo>
                <a:lnTo>
                  <a:pt x="293" y="652"/>
                </a:lnTo>
                <a:lnTo>
                  <a:pt x="294" y="651"/>
                </a:lnTo>
                <a:lnTo>
                  <a:pt x="293" y="650"/>
                </a:lnTo>
                <a:lnTo>
                  <a:pt x="291" y="650"/>
                </a:lnTo>
                <a:lnTo>
                  <a:pt x="292" y="649"/>
                </a:lnTo>
                <a:lnTo>
                  <a:pt x="296" y="649"/>
                </a:lnTo>
                <a:lnTo>
                  <a:pt x="297" y="648"/>
                </a:lnTo>
                <a:lnTo>
                  <a:pt x="294" y="646"/>
                </a:lnTo>
                <a:lnTo>
                  <a:pt x="293" y="645"/>
                </a:lnTo>
                <a:lnTo>
                  <a:pt x="291" y="646"/>
                </a:lnTo>
                <a:lnTo>
                  <a:pt x="290" y="648"/>
                </a:lnTo>
                <a:lnTo>
                  <a:pt x="290" y="649"/>
                </a:lnTo>
                <a:lnTo>
                  <a:pt x="287" y="649"/>
                </a:lnTo>
                <a:lnTo>
                  <a:pt x="287" y="639"/>
                </a:lnTo>
                <a:lnTo>
                  <a:pt x="285" y="639"/>
                </a:lnTo>
                <a:lnTo>
                  <a:pt x="284" y="636"/>
                </a:lnTo>
                <a:lnTo>
                  <a:pt x="284" y="634"/>
                </a:lnTo>
                <a:lnTo>
                  <a:pt x="282" y="633"/>
                </a:lnTo>
                <a:lnTo>
                  <a:pt x="284" y="631"/>
                </a:lnTo>
                <a:lnTo>
                  <a:pt x="282" y="631"/>
                </a:lnTo>
                <a:lnTo>
                  <a:pt x="281" y="633"/>
                </a:lnTo>
                <a:lnTo>
                  <a:pt x="280" y="633"/>
                </a:lnTo>
                <a:lnTo>
                  <a:pt x="278" y="631"/>
                </a:lnTo>
                <a:lnTo>
                  <a:pt x="278" y="632"/>
                </a:lnTo>
                <a:lnTo>
                  <a:pt x="284" y="638"/>
                </a:lnTo>
                <a:lnTo>
                  <a:pt x="286" y="643"/>
                </a:lnTo>
                <a:lnTo>
                  <a:pt x="286" y="649"/>
                </a:lnTo>
                <a:lnTo>
                  <a:pt x="287" y="650"/>
                </a:lnTo>
                <a:lnTo>
                  <a:pt x="288" y="650"/>
                </a:lnTo>
                <a:lnTo>
                  <a:pt x="288" y="655"/>
                </a:lnTo>
                <a:lnTo>
                  <a:pt x="290" y="656"/>
                </a:lnTo>
                <a:lnTo>
                  <a:pt x="291" y="658"/>
                </a:lnTo>
                <a:lnTo>
                  <a:pt x="291" y="659"/>
                </a:lnTo>
                <a:lnTo>
                  <a:pt x="290" y="661"/>
                </a:lnTo>
                <a:lnTo>
                  <a:pt x="290" y="662"/>
                </a:lnTo>
                <a:lnTo>
                  <a:pt x="291" y="662"/>
                </a:lnTo>
                <a:lnTo>
                  <a:pt x="290" y="663"/>
                </a:lnTo>
                <a:lnTo>
                  <a:pt x="288" y="662"/>
                </a:lnTo>
                <a:lnTo>
                  <a:pt x="285" y="662"/>
                </a:lnTo>
                <a:lnTo>
                  <a:pt x="286" y="663"/>
                </a:lnTo>
                <a:lnTo>
                  <a:pt x="292" y="665"/>
                </a:lnTo>
                <a:lnTo>
                  <a:pt x="292" y="668"/>
                </a:lnTo>
                <a:lnTo>
                  <a:pt x="293" y="668"/>
                </a:lnTo>
                <a:lnTo>
                  <a:pt x="293" y="669"/>
                </a:lnTo>
                <a:lnTo>
                  <a:pt x="292" y="669"/>
                </a:lnTo>
                <a:lnTo>
                  <a:pt x="290" y="671"/>
                </a:lnTo>
                <a:lnTo>
                  <a:pt x="288" y="671"/>
                </a:lnTo>
                <a:lnTo>
                  <a:pt x="288" y="667"/>
                </a:lnTo>
                <a:lnTo>
                  <a:pt x="287" y="667"/>
                </a:lnTo>
                <a:lnTo>
                  <a:pt x="287" y="673"/>
                </a:lnTo>
                <a:lnTo>
                  <a:pt x="286" y="673"/>
                </a:lnTo>
                <a:lnTo>
                  <a:pt x="285" y="674"/>
                </a:lnTo>
                <a:lnTo>
                  <a:pt x="286" y="675"/>
                </a:lnTo>
                <a:lnTo>
                  <a:pt x="285" y="677"/>
                </a:lnTo>
                <a:lnTo>
                  <a:pt x="284" y="679"/>
                </a:lnTo>
                <a:lnTo>
                  <a:pt x="282" y="679"/>
                </a:lnTo>
                <a:lnTo>
                  <a:pt x="281" y="677"/>
                </a:lnTo>
                <a:lnTo>
                  <a:pt x="281" y="676"/>
                </a:lnTo>
                <a:lnTo>
                  <a:pt x="279" y="676"/>
                </a:lnTo>
                <a:lnTo>
                  <a:pt x="276" y="679"/>
                </a:lnTo>
                <a:lnTo>
                  <a:pt x="276" y="681"/>
                </a:lnTo>
                <a:lnTo>
                  <a:pt x="278" y="682"/>
                </a:lnTo>
                <a:lnTo>
                  <a:pt x="278" y="683"/>
                </a:lnTo>
                <a:lnTo>
                  <a:pt x="273" y="682"/>
                </a:lnTo>
                <a:lnTo>
                  <a:pt x="272" y="682"/>
                </a:lnTo>
                <a:lnTo>
                  <a:pt x="271" y="681"/>
                </a:lnTo>
                <a:lnTo>
                  <a:pt x="267" y="674"/>
                </a:lnTo>
                <a:lnTo>
                  <a:pt x="266" y="674"/>
                </a:lnTo>
                <a:lnTo>
                  <a:pt x="265" y="676"/>
                </a:lnTo>
                <a:lnTo>
                  <a:pt x="263" y="677"/>
                </a:lnTo>
                <a:lnTo>
                  <a:pt x="262" y="677"/>
                </a:lnTo>
                <a:lnTo>
                  <a:pt x="262" y="680"/>
                </a:lnTo>
                <a:lnTo>
                  <a:pt x="265" y="683"/>
                </a:lnTo>
                <a:lnTo>
                  <a:pt x="265" y="686"/>
                </a:lnTo>
                <a:lnTo>
                  <a:pt x="262" y="686"/>
                </a:lnTo>
                <a:lnTo>
                  <a:pt x="263" y="687"/>
                </a:lnTo>
                <a:lnTo>
                  <a:pt x="263" y="692"/>
                </a:lnTo>
                <a:lnTo>
                  <a:pt x="265" y="693"/>
                </a:lnTo>
                <a:lnTo>
                  <a:pt x="267" y="693"/>
                </a:lnTo>
                <a:lnTo>
                  <a:pt x="267" y="694"/>
                </a:lnTo>
                <a:lnTo>
                  <a:pt x="268" y="694"/>
                </a:lnTo>
                <a:lnTo>
                  <a:pt x="268" y="697"/>
                </a:lnTo>
                <a:lnTo>
                  <a:pt x="269" y="697"/>
                </a:lnTo>
                <a:lnTo>
                  <a:pt x="269" y="698"/>
                </a:lnTo>
                <a:lnTo>
                  <a:pt x="268" y="698"/>
                </a:lnTo>
                <a:lnTo>
                  <a:pt x="272" y="700"/>
                </a:lnTo>
                <a:lnTo>
                  <a:pt x="273" y="700"/>
                </a:lnTo>
                <a:lnTo>
                  <a:pt x="275" y="701"/>
                </a:lnTo>
                <a:lnTo>
                  <a:pt x="272" y="704"/>
                </a:lnTo>
                <a:lnTo>
                  <a:pt x="272" y="705"/>
                </a:lnTo>
                <a:lnTo>
                  <a:pt x="271" y="704"/>
                </a:lnTo>
                <a:lnTo>
                  <a:pt x="272" y="701"/>
                </a:lnTo>
                <a:lnTo>
                  <a:pt x="271" y="701"/>
                </a:lnTo>
                <a:lnTo>
                  <a:pt x="271" y="702"/>
                </a:lnTo>
                <a:lnTo>
                  <a:pt x="269" y="702"/>
                </a:lnTo>
                <a:lnTo>
                  <a:pt x="269" y="710"/>
                </a:lnTo>
                <a:lnTo>
                  <a:pt x="268" y="711"/>
                </a:lnTo>
                <a:lnTo>
                  <a:pt x="268" y="716"/>
                </a:lnTo>
                <a:lnTo>
                  <a:pt x="267" y="717"/>
                </a:lnTo>
                <a:lnTo>
                  <a:pt x="268" y="717"/>
                </a:lnTo>
                <a:lnTo>
                  <a:pt x="268" y="718"/>
                </a:lnTo>
                <a:lnTo>
                  <a:pt x="266" y="720"/>
                </a:lnTo>
                <a:lnTo>
                  <a:pt x="267" y="720"/>
                </a:lnTo>
                <a:lnTo>
                  <a:pt x="267" y="722"/>
                </a:lnTo>
                <a:lnTo>
                  <a:pt x="268" y="723"/>
                </a:lnTo>
                <a:lnTo>
                  <a:pt x="265" y="723"/>
                </a:lnTo>
                <a:lnTo>
                  <a:pt x="265" y="726"/>
                </a:lnTo>
                <a:lnTo>
                  <a:pt x="263" y="726"/>
                </a:lnTo>
                <a:lnTo>
                  <a:pt x="263" y="728"/>
                </a:lnTo>
                <a:lnTo>
                  <a:pt x="262" y="729"/>
                </a:lnTo>
                <a:lnTo>
                  <a:pt x="262" y="730"/>
                </a:lnTo>
                <a:lnTo>
                  <a:pt x="263" y="731"/>
                </a:lnTo>
                <a:lnTo>
                  <a:pt x="263" y="734"/>
                </a:lnTo>
                <a:lnTo>
                  <a:pt x="262" y="735"/>
                </a:lnTo>
                <a:lnTo>
                  <a:pt x="262" y="736"/>
                </a:lnTo>
                <a:lnTo>
                  <a:pt x="263" y="736"/>
                </a:lnTo>
                <a:lnTo>
                  <a:pt x="263" y="737"/>
                </a:lnTo>
                <a:lnTo>
                  <a:pt x="262" y="737"/>
                </a:lnTo>
                <a:lnTo>
                  <a:pt x="262" y="740"/>
                </a:lnTo>
                <a:lnTo>
                  <a:pt x="263" y="740"/>
                </a:lnTo>
                <a:lnTo>
                  <a:pt x="266" y="738"/>
                </a:lnTo>
                <a:lnTo>
                  <a:pt x="265" y="740"/>
                </a:lnTo>
                <a:lnTo>
                  <a:pt x="265" y="741"/>
                </a:lnTo>
                <a:lnTo>
                  <a:pt x="263" y="741"/>
                </a:lnTo>
                <a:lnTo>
                  <a:pt x="265" y="742"/>
                </a:lnTo>
                <a:lnTo>
                  <a:pt x="265" y="748"/>
                </a:lnTo>
                <a:lnTo>
                  <a:pt x="267" y="747"/>
                </a:lnTo>
                <a:lnTo>
                  <a:pt x="269" y="747"/>
                </a:lnTo>
                <a:lnTo>
                  <a:pt x="269" y="748"/>
                </a:lnTo>
                <a:lnTo>
                  <a:pt x="271" y="749"/>
                </a:lnTo>
                <a:lnTo>
                  <a:pt x="271" y="750"/>
                </a:lnTo>
                <a:lnTo>
                  <a:pt x="269" y="751"/>
                </a:lnTo>
                <a:lnTo>
                  <a:pt x="269" y="755"/>
                </a:lnTo>
                <a:lnTo>
                  <a:pt x="268" y="756"/>
                </a:lnTo>
                <a:lnTo>
                  <a:pt x="266" y="754"/>
                </a:lnTo>
                <a:lnTo>
                  <a:pt x="265" y="750"/>
                </a:lnTo>
                <a:lnTo>
                  <a:pt x="262" y="748"/>
                </a:lnTo>
                <a:lnTo>
                  <a:pt x="262" y="750"/>
                </a:lnTo>
                <a:lnTo>
                  <a:pt x="263" y="751"/>
                </a:lnTo>
                <a:lnTo>
                  <a:pt x="261" y="751"/>
                </a:lnTo>
                <a:lnTo>
                  <a:pt x="261" y="749"/>
                </a:lnTo>
                <a:lnTo>
                  <a:pt x="260" y="748"/>
                </a:lnTo>
                <a:lnTo>
                  <a:pt x="257" y="747"/>
                </a:lnTo>
                <a:lnTo>
                  <a:pt x="254" y="747"/>
                </a:lnTo>
                <a:lnTo>
                  <a:pt x="255" y="748"/>
                </a:lnTo>
                <a:lnTo>
                  <a:pt x="255" y="749"/>
                </a:lnTo>
                <a:lnTo>
                  <a:pt x="256" y="749"/>
                </a:lnTo>
                <a:lnTo>
                  <a:pt x="260" y="750"/>
                </a:lnTo>
                <a:lnTo>
                  <a:pt x="256" y="754"/>
                </a:lnTo>
                <a:lnTo>
                  <a:pt x="255" y="754"/>
                </a:lnTo>
                <a:lnTo>
                  <a:pt x="256" y="755"/>
                </a:lnTo>
                <a:lnTo>
                  <a:pt x="255" y="755"/>
                </a:lnTo>
                <a:lnTo>
                  <a:pt x="253" y="754"/>
                </a:lnTo>
                <a:lnTo>
                  <a:pt x="253" y="755"/>
                </a:lnTo>
                <a:lnTo>
                  <a:pt x="257" y="756"/>
                </a:lnTo>
                <a:lnTo>
                  <a:pt x="259" y="757"/>
                </a:lnTo>
                <a:lnTo>
                  <a:pt x="257" y="759"/>
                </a:lnTo>
                <a:lnTo>
                  <a:pt x="257" y="757"/>
                </a:lnTo>
                <a:lnTo>
                  <a:pt x="255" y="757"/>
                </a:lnTo>
                <a:lnTo>
                  <a:pt x="255" y="756"/>
                </a:lnTo>
                <a:lnTo>
                  <a:pt x="251" y="757"/>
                </a:lnTo>
                <a:lnTo>
                  <a:pt x="254" y="757"/>
                </a:lnTo>
                <a:lnTo>
                  <a:pt x="254" y="759"/>
                </a:lnTo>
                <a:lnTo>
                  <a:pt x="253" y="760"/>
                </a:lnTo>
                <a:lnTo>
                  <a:pt x="250" y="760"/>
                </a:lnTo>
                <a:lnTo>
                  <a:pt x="251" y="761"/>
                </a:lnTo>
                <a:lnTo>
                  <a:pt x="256" y="762"/>
                </a:lnTo>
                <a:lnTo>
                  <a:pt x="251" y="762"/>
                </a:lnTo>
                <a:lnTo>
                  <a:pt x="251" y="763"/>
                </a:lnTo>
                <a:lnTo>
                  <a:pt x="253" y="763"/>
                </a:lnTo>
                <a:lnTo>
                  <a:pt x="254" y="765"/>
                </a:lnTo>
                <a:lnTo>
                  <a:pt x="255" y="765"/>
                </a:lnTo>
                <a:lnTo>
                  <a:pt x="255" y="766"/>
                </a:lnTo>
                <a:lnTo>
                  <a:pt x="254" y="766"/>
                </a:lnTo>
                <a:lnTo>
                  <a:pt x="256" y="768"/>
                </a:lnTo>
                <a:lnTo>
                  <a:pt x="255" y="769"/>
                </a:lnTo>
                <a:lnTo>
                  <a:pt x="255" y="773"/>
                </a:lnTo>
                <a:lnTo>
                  <a:pt x="256" y="773"/>
                </a:lnTo>
                <a:lnTo>
                  <a:pt x="256" y="774"/>
                </a:lnTo>
                <a:lnTo>
                  <a:pt x="255" y="774"/>
                </a:lnTo>
                <a:lnTo>
                  <a:pt x="254" y="773"/>
                </a:lnTo>
                <a:lnTo>
                  <a:pt x="254" y="774"/>
                </a:lnTo>
                <a:lnTo>
                  <a:pt x="253" y="775"/>
                </a:lnTo>
                <a:lnTo>
                  <a:pt x="253" y="777"/>
                </a:lnTo>
                <a:lnTo>
                  <a:pt x="254" y="779"/>
                </a:lnTo>
                <a:lnTo>
                  <a:pt x="255" y="780"/>
                </a:lnTo>
                <a:lnTo>
                  <a:pt x="256" y="780"/>
                </a:lnTo>
                <a:lnTo>
                  <a:pt x="256" y="781"/>
                </a:lnTo>
                <a:lnTo>
                  <a:pt x="260" y="784"/>
                </a:lnTo>
                <a:lnTo>
                  <a:pt x="257" y="784"/>
                </a:lnTo>
                <a:lnTo>
                  <a:pt x="255" y="783"/>
                </a:lnTo>
                <a:lnTo>
                  <a:pt x="255" y="784"/>
                </a:lnTo>
                <a:lnTo>
                  <a:pt x="256" y="785"/>
                </a:lnTo>
                <a:lnTo>
                  <a:pt x="257" y="785"/>
                </a:lnTo>
                <a:lnTo>
                  <a:pt x="259" y="786"/>
                </a:lnTo>
                <a:lnTo>
                  <a:pt x="256" y="786"/>
                </a:lnTo>
                <a:lnTo>
                  <a:pt x="255" y="785"/>
                </a:lnTo>
                <a:lnTo>
                  <a:pt x="256" y="787"/>
                </a:lnTo>
                <a:lnTo>
                  <a:pt x="256" y="788"/>
                </a:lnTo>
                <a:lnTo>
                  <a:pt x="257" y="791"/>
                </a:lnTo>
                <a:lnTo>
                  <a:pt x="256" y="791"/>
                </a:lnTo>
                <a:lnTo>
                  <a:pt x="255" y="792"/>
                </a:lnTo>
                <a:lnTo>
                  <a:pt x="255" y="793"/>
                </a:lnTo>
                <a:lnTo>
                  <a:pt x="256" y="794"/>
                </a:lnTo>
                <a:lnTo>
                  <a:pt x="256" y="797"/>
                </a:lnTo>
                <a:lnTo>
                  <a:pt x="255" y="797"/>
                </a:lnTo>
                <a:lnTo>
                  <a:pt x="255" y="798"/>
                </a:lnTo>
                <a:lnTo>
                  <a:pt x="256" y="799"/>
                </a:lnTo>
                <a:lnTo>
                  <a:pt x="256" y="800"/>
                </a:lnTo>
                <a:lnTo>
                  <a:pt x="255" y="802"/>
                </a:lnTo>
                <a:lnTo>
                  <a:pt x="256" y="802"/>
                </a:lnTo>
                <a:lnTo>
                  <a:pt x="256" y="804"/>
                </a:lnTo>
                <a:lnTo>
                  <a:pt x="255" y="805"/>
                </a:lnTo>
                <a:lnTo>
                  <a:pt x="255" y="808"/>
                </a:lnTo>
                <a:lnTo>
                  <a:pt x="256" y="808"/>
                </a:lnTo>
                <a:lnTo>
                  <a:pt x="256" y="809"/>
                </a:lnTo>
                <a:lnTo>
                  <a:pt x="255" y="809"/>
                </a:lnTo>
                <a:lnTo>
                  <a:pt x="255" y="810"/>
                </a:lnTo>
                <a:lnTo>
                  <a:pt x="257" y="809"/>
                </a:lnTo>
                <a:lnTo>
                  <a:pt x="259" y="809"/>
                </a:lnTo>
                <a:lnTo>
                  <a:pt x="259" y="810"/>
                </a:lnTo>
                <a:lnTo>
                  <a:pt x="256" y="811"/>
                </a:lnTo>
                <a:lnTo>
                  <a:pt x="255" y="812"/>
                </a:lnTo>
                <a:lnTo>
                  <a:pt x="255" y="816"/>
                </a:lnTo>
                <a:lnTo>
                  <a:pt x="256" y="817"/>
                </a:lnTo>
                <a:lnTo>
                  <a:pt x="257" y="817"/>
                </a:lnTo>
                <a:lnTo>
                  <a:pt x="256" y="818"/>
                </a:lnTo>
                <a:lnTo>
                  <a:pt x="257" y="818"/>
                </a:lnTo>
                <a:lnTo>
                  <a:pt x="257" y="820"/>
                </a:lnTo>
                <a:lnTo>
                  <a:pt x="259" y="820"/>
                </a:lnTo>
                <a:lnTo>
                  <a:pt x="260" y="826"/>
                </a:lnTo>
                <a:lnTo>
                  <a:pt x="259" y="826"/>
                </a:lnTo>
                <a:lnTo>
                  <a:pt x="259" y="827"/>
                </a:lnTo>
                <a:lnTo>
                  <a:pt x="260" y="827"/>
                </a:lnTo>
                <a:lnTo>
                  <a:pt x="260" y="830"/>
                </a:lnTo>
                <a:lnTo>
                  <a:pt x="261" y="830"/>
                </a:lnTo>
                <a:lnTo>
                  <a:pt x="261" y="831"/>
                </a:lnTo>
                <a:lnTo>
                  <a:pt x="262" y="831"/>
                </a:lnTo>
                <a:lnTo>
                  <a:pt x="262" y="833"/>
                </a:lnTo>
                <a:lnTo>
                  <a:pt x="261" y="833"/>
                </a:lnTo>
                <a:lnTo>
                  <a:pt x="256" y="837"/>
                </a:lnTo>
                <a:lnTo>
                  <a:pt x="259" y="837"/>
                </a:lnTo>
                <a:lnTo>
                  <a:pt x="261" y="840"/>
                </a:lnTo>
                <a:lnTo>
                  <a:pt x="263" y="841"/>
                </a:lnTo>
                <a:lnTo>
                  <a:pt x="262" y="842"/>
                </a:lnTo>
                <a:lnTo>
                  <a:pt x="262" y="843"/>
                </a:lnTo>
                <a:lnTo>
                  <a:pt x="265" y="843"/>
                </a:lnTo>
                <a:lnTo>
                  <a:pt x="266" y="842"/>
                </a:lnTo>
                <a:lnTo>
                  <a:pt x="272" y="841"/>
                </a:lnTo>
                <a:lnTo>
                  <a:pt x="273" y="841"/>
                </a:lnTo>
                <a:lnTo>
                  <a:pt x="273" y="842"/>
                </a:lnTo>
                <a:lnTo>
                  <a:pt x="275" y="845"/>
                </a:lnTo>
                <a:lnTo>
                  <a:pt x="276" y="845"/>
                </a:lnTo>
                <a:lnTo>
                  <a:pt x="274" y="847"/>
                </a:lnTo>
                <a:lnTo>
                  <a:pt x="274" y="852"/>
                </a:lnTo>
                <a:lnTo>
                  <a:pt x="276" y="854"/>
                </a:lnTo>
                <a:lnTo>
                  <a:pt x="279" y="854"/>
                </a:lnTo>
                <a:lnTo>
                  <a:pt x="279" y="852"/>
                </a:lnTo>
                <a:lnTo>
                  <a:pt x="280" y="849"/>
                </a:lnTo>
                <a:lnTo>
                  <a:pt x="282" y="847"/>
                </a:lnTo>
                <a:lnTo>
                  <a:pt x="287" y="846"/>
                </a:lnTo>
                <a:lnTo>
                  <a:pt x="288" y="846"/>
                </a:lnTo>
                <a:lnTo>
                  <a:pt x="290" y="847"/>
                </a:lnTo>
                <a:lnTo>
                  <a:pt x="290" y="852"/>
                </a:lnTo>
                <a:lnTo>
                  <a:pt x="288" y="853"/>
                </a:lnTo>
                <a:lnTo>
                  <a:pt x="290" y="853"/>
                </a:lnTo>
                <a:lnTo>
                  <a:pt x="294" y="858"/>
                </a:lnTo>
                <a:lnTo>
                  <a:pt x="294" y="859"/>
                </a:lnTo>
                <a:lnTo>
                  <a:pt x="298" y="863"/>
                </a:lnTo>
                <a:lnTo>
                  <a:pt x="302" y="865"/>
                </a:lnTo>
                <a:lnTo>
                  <a:pt x="300" y="865"/>
                </a:lnTo>
                <a:lnTo>
                  <a:pt x="299" y="866"/>
                </a:lnTo>
                <a:lnTo>
                  <a:pt x="299" y="869"/>
                </a:lnTo>
                <a:lnTo>
                  <a:pt x="302" y="869"/>
                </a:lnTo>
                <a:lnTo>
                  <a:pt x="302" y="867"/>
                </a:lnTo>
                <a:lnTo>
                  <a:pt x="303" y="866"/>
                </a:lnTo>
                <a:lnTo>
                  <a:pt x="304" y="866"/>
                </a:lnTo>
                <a:lnTo>
                  <a:pt x="305" y="867"/>
                </a:lnTo>
                <a:lnTo>
                  <a:pt x="309" y="867"/>
                </a:lnTo>
                <a:lnTo>
                  <a:pt x="309" y="870"/>
                </a:lnTo>
                <a:lnTo>
                  <a:pt x="310" y="871"/>
                </a:lnTo>
                <a:lnTo>
                  <a:pt x="310" y="872"/>
                </a:lnTo>
                <a:lnTo>
                  <a:pt x="309" y="872"/>
                </a:lnTo>
                <a:lnTo>
                  <a:pt x="315" y="874"/>
                </a:lnTo>
                <a:lnTo>
                  <a:pt x="316" y="877"/>
                </a:lnTo>
                <a:lnTo>
                  <a:pt x="315" y="878"/>
                </a:lnTo>
                <a:lnTo>
                  <a:pt x="307" y="874"/>
                </a:lnTo>
                <a:lnTo>
                  <a:pt x="306" y="873"/>
                </a:lnTo>
                <a:lnTo>
                  <a:pt x="304" y="870"/>
                </a:lnTo>
                <a:lnTo>
                  <a:pt x="304" y="872"/>
                </a:lnTo>
                <a:lnTo>
                  <a:pt x="306" y="874"/>
                </a:lnTo>
                <a:lnTo>
                  <a:pt x="309" y="879"/>
                </a:lnTo>
                <a:lnTo>
                  <a:pt x="307" y="878"/>
                </a:lnTo>
                <a:lnTo>
                  <a:pt x="307" y="879"/>
                </a:lnTo>
                <a:lnTo>
                  <a:pt x="312" y="884"/>
                </a:lnTo>
                <a:lnTo>
                  <a:pt x="313" y="883"/>
                </a:lnTo>
                <a:lnTo>
                  <a:pt x="313" y="886"/>
                </a:lnTo>
                <a:lnTo>
                  <a:pt x="315" y="889"/>
                </a:lnTo>
                <a:lnTo>
                  <a:pt x="315" y="890"/>
                </a:lnTo>
                <a:lnTo>
                  <a:pt x="316" y="889"/>
                </a:lnTo>
                <a:lnTo>
                  <a:pt x="316" y="888"/>
                </a:lnTo>
                <a:lnTo>
                  <a:pt x="315" y="886"/>
                </a:lnTo>
                <a:lnTo>
                  <a:pt x="315" y="885"/>
                </a:lnTo>
                <a:lnTo>
                  <a:pt x="316" y="884"/>
                </a:lnTo>
                <a:lnTo>
                  <a:pt x="318" y="884"/>
                </a:lnTo>
                <a:lnTo>
                  <a:pt x="322" y="888"/>
                </a:lnTo>
                <a:lnTo>
                  <a:pt x="322" y="892"/>
                </a:lnTo>
                <a:lnTo>
                  <a:pt x="323" y="894"/>
                </a:lnTo>
                <a:lnTo>
                  <a:pt x="323" y="895"/>
                </a:lnTo>
                <a:lnTo>
                  <a:pt x="324" y="896"/>
                </a:lnTo>
                <a:lnTo>
                  <a:pt x="324" y="895"/>
                </a:lnTo>
                <a:lnTo>
                  <a:pt x="323" y="894"/>
                </a:lnTo>
                <a:lnTo>
                  <a:pt x="323" y="892"/>
                </a:lnTo>
                <a:lnTo>
                  <a:pt x="322" y="890"/>
                </a:lnTo>
                <a:lnTo>
                  <a:pt x="323" y="888"/>
                </a:lnTo>
                <a:lnTo>
                  <a:pt x="324" y="886"/>
                </a:lnTo>
                <a:lnTo>
                  <a:pt x="325" y="886"/>
                </a:lnTo>
                <a:lnTo>
                  <a:pt x="325" y="891"/>
                </a:lnTo>
                <a:lnTo>
                  <a:pt x="327" y="897"/>
                </a:lnTo>
                <a:lnTo>
                  <a:pt x="329" y="901"/>
                </a:lnTo>
                <a:lnTo>
                  <a:pt x="329" y="902"/>
                </a:lnTo>
                <a:lnTo>
                  <a:pt x="331" y="903"/>
                </a:lnTo>
                <a:lnTo>
                  <a:pt x="333" y="903"/>
                </a:lnTo>
                <a:lnTo>
                  <a:pt x="333" y="906"/>
                </a:lnTo>
                <a:lnTo>
                  <a:pt x="334" y="907"/>
                </a:lnTo>
                <a:lnTo>
                  <a:pt x="335" y="907"/>
                </a:lnTo>
                <a:lnTo>
                  <a:pt x="335" y="910"/>
                </a:lnTo>
                <a:lnTo>
                  <a:pt x="334" y="910"/>
                </a:lnTo>
                <a:lnTo>
                  <a:pt x="330" y="906"/>
                </a:lnTo>
                <a:lnTo>
                  <a:pt x="329" y="903"/>
                </a:lnTo>
                <a:lnTo>
                  <a:pt x="328" y="903"/>
                </a:lnTo>
                <a:lnTo>
                  <a:pt x="328" y="904"/>
                </a:lnTo>
                <a:lnTo>
                  <a:pt x="330" y="907"/>
                </a:lnTo>
                <a:lnTo>
                  <a:pt x="330" y="908"/>
                </a:lnTo>
                <a:lnTo>
                  <a:pt x="329" y="909"/>
                </a:lnTo>
                <a:lnTo>
                  <a:pt x="327" y="914"/>
                </a:lnTo>
                <a:lnTo>
                  <a:pt x="322" y="914"/>
                </a:lnTo>
                <a:lnTo>
                  <a:pt x="322" y="916"/>
                </a:lnTo>
                <a:lnTo>
                  <a:pt x="324" y="915"/>
                </a:lnTo>
                <a:lnTo>
                  <a:pt x="328" y="915"/>
                </a:lnTo>
                <a:lnTo>
                  <a:pt x="328" y="913"/>
                </a:lnTo>
                <a:lnTo>
                  <a:pt x="330" y="909"/>
                </a:lnTo>
                <a:lnTo>
                  <a:pt x="331" y="908"/>
                </a:lnTo>
                <a:lnTo>
                  <a:pt x="331" y="909"/>
                </a:lnTo>
                <a:lnTo>
                  <a:pt x="333" y="909"/>
                </a:lnTo>
                <a:lnTo>
                  <a:pt x="333" y="915"/>
                </a:lnTo>
                <a:lnTo>
                  <a:pt x="335" y="915"/>
                </a:lnTo>
                <a:lnTo>
                  <a:pt x="336" y="916"/>
                </a:lnTo>
                <a:lnTo>
                  <a:pt x="336" y="917"/>
                </a:lnTo>
                <a:lnTo>
                  <a:pt x="334" y="920"/>
                </a:lnTo>
                <a:lnTo>
                  <a:pt x="331" y="921"/>
                </a:lnTo>
                <a:lnTo>
                  <a:pt x="331" y="920"/>
                </a:lnTo>
                <a:lnTo>
                  <a:pt x="330" y="920"/>
                </a:lnTo>
                <a:lnTo>
                  <a:pt x="329" y="919"/>
                </a:lnTo>
                <a:lnTo>
                  <a:pt x="327" y="921"/>
                </a:lnTo>
                <a:lnTo>
                  <a:pt x="323" y="922"/>
                </a:lnTo>
                <a:lnTo>
                  <a:pt x="322" y="922"/>
                </a:lnTo>
                <a:lnTo>
                  <a:pt x="322" y="923"/>
                </a:lnTo>
                <a:lnTo>
                  <a:pt x="321" y="925"/>
                </a:lnTo>
                <a:lnTo>
                  <a:pt x="321" y="926"/>
                </a:lnTo>
                <a:lnTo>
                  <a:pt x="322" y="926"/>
                </a:lnTo>
                <a:lnTo>
                  <a:pt x="322" y="927"/>
                </a:lnTo>
                <a:lnTo>
                  <a:pt x="321" y="928"/>
                </a:lnTo>
                <a:lnTo>
                  <a:pt x="319" y="928"/>
                </a:lnTo>
                <a:lnTo>
                  <a:pt x="318" y="927"/>
                </a:lnTo>
                <a:lnTo>
                  <a:pt x="319" y="929"/>
                </a:lnTo>
                <a:lnTo>
                  <a:pt x="319" y="931"/>
                </a:lnTo>
                <a:lnTo>
                  <a:pt x="318" y="931"/>
                </a:lnTo>
                <a:lnTo>
                  <a:pt x="313" y="935"/>
                </a:lnTo>
                <a:lnTo>
                  <a:pt x="311" y="935"/>
                </a:lnTo>
                <a:lnTo>
                  <a:pt x="305" y="941"/>
                </a:lnTo>
                <a:lnTo>
                  <a:pt x="302" y="940"/>
                </a:lnTo>
                <a:lnTo>
                  <a:pt x="302" y="941"/>
                </a:lnTo>
                <a:lnTo>
                  <a:pt x="303" y="943"/>
                </a:lnTo>
                <a:lnTo>
                  <a:pt x="300" y="943"/>
                </a:lnTo>
                <a:lnTo>
                  <a:pt x="302" y="944"/>
                </a:lnTo>
                <a:lnTo>
                  <a:pt x="303" y="944"/>
                </a:lnTo>
                <a:lnTo>
                  <a:pt x="302" y="945"/>
                </a:lnTo>
                <a:lnTo>
                  <a:pt x="303" y="946"/>
                </a:lnTo>
                <a:lnTo>
                  <a:pt x="305" y="946"/>
                </a:lnTo>
                <a:lnTo>
                  <a:pt x="304" y="947"/>
                </a:lnTo>
                <a:lnTo>
                  <a:pt x="300" y="947"/>
                </a:lnTo>
                <a:lnTo>
                  <a:pt x="298" y="946"/>
                </a:lnTo>
                <a:lnTo>
                  <a:pt x="297" y="945"/>
                </a:lnTo>
                <a:lnTo>
                  <a:pt x="299" y="945"/>
                </a:lnTo>
                <a:lnTo>
                  <a:pt x="299" y="943"/>
                </a:lnTo>
                <a:lnTo>
                  <a:pt x="297" y="943"/>
                </a:lnTo>
                <a:lnTo>
                  <a:pt x="297" y="944"/>
                </a:lnTo>
                <a:lnTo>
                  <a:pt x="296" y="943"/>
                </a:lnTo>
                <a:lnTo>
                  <a:pt x="294" y="944"/>
                </a:lnTo>
                <a:lnTo>
                  <a:pt x="294" y="946"/>
                </a:lnTo>
                <a:lnTo>
                  <a:pt x="293" y="947"/>
                </a:lnTo>
                <a:lnTo>
                  <a:pt x="292" y="947"/>
                </a:lnTo>
                <a:lnTo>
                  <a:pt x="291" y="946"/>
                </a:lnTo>
                <a:lnTo>
                  <a:pt x="297" y="952"/>
                </a:lnTo>
                <a:lnTo>
                  <a:pt x="294" y="952"/>
                </a:lnTo>
                <a:lnTo>
                  <a:pt x="294" y="953"/>
                </a:lnTo>
                <a:lnTo>
                  <a:pt x="298" y="953"/>
                </a:lnTo>
                <a:lnTo>
                  <a:pt x="299" y="952"/>
                </a:lnTo>
                <a:lnTo>
                  <a:pt x="299" y="953"/>
                </a:lnTo>
                <a:lnTo>
                  <a:pt x="302" y="950"/>
                </a:lnTo>
                <a:lnTo>
                  <a:pt x="304" y="949"/>
                </a:lnTo>
                <a:lnTo>
                  <a:pt x="309" y="951"/>
                </a:lnTo>
                <a:lnTo>
                  <a:pt x="309" y="952"/>
                </a:lnTo>
                <a:lnTo>
                  <a:pt x="310" y="952"/>
                </a:lnTo>
                <a:lnTo>
                  <a:pt x="311" y="951"/>
                </a:lnTo>
                <a:lnTo>
                  <a:pt x="310" y="949"/>
                </a:lnTo>
                <a:lnTo>
                  <a:pt x="309" y="947"/>
                </a:lnTo>
                <a:lnTo>
                  <a:pt x="311" y="947"/>
                </a:lnTo>
                <a:lnTo>
                  <a:pt x="309" y="945"/>
                </a:lnTo>
                <a:lnTo>
                  <a:pt x="309" y="944"/>
                </a:lnTo>
                <a:lnTo>
                  <a:pt x="311" y="944"/>
                </a:lnTo>
                <a:lnTo>
                  <a:pt x="313" y="946"/>
                </a:lnTo>
                <a:lnTo>
                  <a:pt x="313" y="947"/>
                </a:lnTo>
                <a:lnTo>
                  <a:pt x="316" y="949"/>
                </a:lnTo>
                <a:lnTo>
                  <a:pt x="316" y="950"/>
                </a:lnTo>
                <a:lnTo>
                  <a:pt x="315" y="950"/>
                </a:lnTo>
                <a:lnTo>
                  <a:pt x="316" y="951"/>
                </a:lnTo>
                <a:lnTo>
                  <a:pt x="317" y="951"/>
                </a:lnTo>
                <a:lnTo>
                  <a:pt x="318" y="953"/>
                </a:lnTo>
                <a:lnTo>
                  <a:pt x="317" y="954"/>
                </a:lnTo>
                <a:lnTo>
                  <a:pt x="313" y="954"/>
                </a:lnTo>
                <a:lnTo>
                  <a:pt x="313" y="956"/>
                </a:lnTo>
                <a:lnTo>
                  <a:pt x="312" y="956"/>
                </a:lnTo>
                <a:lnTo>
                  <a:pt x="311" y="954"/>
                </a:lnTo>
                <a:lnTo>
                  <a:pt x="305" y="954"/>
                </a:lnTo>
                <a:lnTo>
                  <a:pt x="305" y="952"/>
                </a:lnTo>
                <a:lnTo>
                  <a:pt x="304" y="952"/>
                </a:lnTo>
                <a:lnTo>
                  <a:pt x="304" y="953"/>
                </a:lnTo>
                <a:lnTo>
                  <a:pt x="303" y="953"/>
                </a:lnTo>
                <a:lnTo>
                  <a:pt x="302" y="954"/>
                </a:lnTo>
                <a:lnTo>
                  <a:pt x="303" y="954"/>
                </a:lnTo>
                <a:lnTo>
                  <a:pt x="303" y="956"/>
                </a:lnTo>
                <a:lnTo>
                  <a:pt x="304" y="956"/>
                </a:lnTo>
                <a:lnTo>
                  <a:pt x="304" y="957"/>
                </a:lnTo>
                <a:lnTo>
                  <a:pt x="302" y="957"/>
                </a:lnTo>
                <a:lnTo>
                  <a:pt x="305" y="960"/>
                </a:lnTo>
                <a:lnTo>
                  <a:pt x="304" y="960"/>
                </a:lnTo>
                <a:lnTo>
                  <a:pt x="304" y="963"/>
                </a:lnTo>
                <a:lnTo>
                  <a:pt x="306" y="963"/>
                </a:lnTo>
                <a:lnTo>
                  <a:pt x="306" y="965"/>
                </a:lnTo>
                <a:lnTo>
                  <a:pt x="307" y="964"/>
                </a:lnTo>
                <a:lnTo>
                  <a:pt x="307" y="965"/>
                </a:lnTo>
                <a:lnTo>
                  <a:pt x="309" y="965"/>
                </a:lnTo>
                <a:lnTo>
                  <a:pt x="309" y="968"/>
                </a:lnTo>
                <a:lnTo>
                  <a:pt x="307" y="969"/>
                </a:lnTo>
                <a:lnTo>
                  <a:pt x="307" y="968"/>
                </a:lnTo>
                <a:lnTo>
                  <a:pt x="306" y="968"/>
                </a:lnTo>
                <a:lnTo>
                  <a:pt x="305" y="969"/>
                </a:lnTo>
                <a:lnTo>
                  <a:pt x="304" y="969"/>
                </a:lnTo>
                <a:lnTo>
                  <a:pt x="303" y="970"/>
                </a:lnTo>
                <a:lnTo>
                  <a:pt x="304" y="970"/>
                </a:lnTo>
                <a:lnTo>
                  <a:pt x="304" y="971"/>
                </a:lnTo>
                <a:lnTo>
                  <a:pt x="300" y="974"/>
                </a:lnTo>
                <a:lnTo>
                  <a:pt x="299" y="974"/>
                </a:lnTo>
                <a:lnTo>
                  <a:pt x="299" y="972"/>
                </a:lnTo>
                <a:lnTo>
                  <a:pt x="300" y="972"/>
                </a:lnTo>
                <a:lnTo>
                  <a:pt x="302" y="971"/>
                </a:lnTo>
                <a:lnTo>
                  <a:pt x="302" y="970"/>
                </a:lnTo>
                <a:lnTo>
                  <a:pt x="300" y="970"/>
                </a:lnTo>
                <a:lnTo>
                  <a:pt x="298" y="972"/>
                </a:lnTo>
                <a:lnTo>
                  <a:pt x="296" y="972"/>
                </a:lnTo>
                <a:lnTo>
                  <a:pt x="294" y="975"/>
                </a:lnTo>
                <a:lnTo>
                  <a:pt x="292" y="975"/>
                </a:lnTo>
                <a:lnTo>
                  <a:pt x="292" y="976"/>
                </a:lnTo>
                <a:lnTo>
                  <a:pt x="291" y="976"/>
                </a:lnTo>
                <a:lnTo>
                  <a:pt x="291" y="980"/>
                </a:lnTo>
                <a:lnTo>
                  <a:pt x="290" y="981"/>
                </a:lnTo>
                <a:lnTo>
                  <a:pt x="288" y="983"/>
                </a:lnTo>
                <a:lnTo>
                  <a:pt x="288" y="984"/>
                </a:lnTo>
                <a:lnTo>
                  <a:pt x="290" y="984"/>
                </a:lnTo>
                <a:lnTo>
                  <a:pt x="290" y="986"/>
                </a:lnTo>
                <a:lnTo>
                  <a:pt x="287" y="988"/>
                </a:lnTo>
                <a:lnTo>
                  <a:pt x="286" y="987"/>
                </a:lnTo>
                <a:lnTo>
                  <a:pt x="286" y="992"/>
                </a:lnTo>
                <a:lnTo>
                  <a:pt x="285" y="990"/>
                </a:lnTo>
                <a:lnTo>
                  <a:pt x="285" y="987"/>
                </a:lnTo>
                <a:lnTo>
                  <a:pt x="284" y="987"/>
                </a:lnTo>
                <a:lnTo>
                  <a:pt x="281" y="984"/>
                </a:lnTo>
                <a:lnTo>
                  <a:pt x="281" y="986"/>
                </a:lnTo>
                <a:lnTo>
                  <a:pt x="282" y="988"/>
                </a:lnTo>
                <a:lnTo>
                  <a:pt x="281" y="989"/>
                </a:lnTo>
                <a:lnTo>
                  <a:pt x="281" y="987"/>
                </a:lnTo>
                <a:lnTo>
                  <a:pt x="280" y="987"/>
                </a:lnTo>
                <a:lnTo>
                  <a:pt x="280" y="983"/>
                </a:lnTo>
                <a:lnTo>
                  <a:pt x="279" y="981"/>
                </a:lnTo>
                <a:lnTo>
                  <a:pt x="280" y="980"/>
                </a:lnTo>
                <a:lnTo>
                  <a:pt x="280" y="970"/>
                </a:lnTo>
                <a:lnTo>
                  <a:pt x="279" y="970"/>
                </a:lnTo>
                <a:lnTo>
                  <a:pt x="279" y="975"/>
                </a:lnTo>
                <a:lnTo>
                  <a:pt x="278" y="976"/>
                </a:lnTo>
                <a:lnTo>
                  <a:pt x="278" y="975"/>
                </a:lnTo>
                <a:lnTo>
                  <a:pt x="276" y="974"/>
                </a:lnTo>
                <a:lnTo>
                  <a:pt x="276" y="972"/>
                </a:lnTo>
                <a:lnTo>
                  <a:pt x="278" y="970"/>
                </a:lnTo>
                <a:lnTo>
                  <a:pt x="278" y="969"/>
                </a:lnTo>
                <a:lnTo>
                  <a:pt x="276" y="968"/>
                </a:lnTo>
                <a:lnTo>
                  <a:pt x="276" y="970"/>
                </a:lnTo>
                <a:lnTo>
                  <a:pt x="275" y="971"/>
                </a:lnTo>
                <a:lnTo>
                  <a:pt x="275" y="972"/>
                </a:lnTo>
                <a:lnTo>
                  <a:pt x="274" y="972"/>
                </a:lnTo>
                <a:lnTo>
                  <a:pt x="274" y="977"/>
                </a:lnTo>
                <a:lnTo>
                  <a:pt x="275" y="978"/>
                </a:lnTo>
                <a:lnTo>
                  <a:pt x="274" y="980"/>
                </a:lnTo>
                <a:lnTo>
                  <a:pt x="274" y="982"/>
                </a:lnTo>
                <a:lnTo>
                  <a:pt x="275" y="981"/>
                </a:lnTo>
                <a:lnTo>
                  <a:pt x="275" y="974"/>
                </a:lnTo>
                <a:lnTo>
                  <a:pt x="276" y="974"/>
                </a:lnTo>
                <a:lnTo>
                  <a:pt x="276" y="975"/>
                </a:lnTo>
                <a:lnTo>
                  <a:pt x="278" y="976"/>
                </a:lnTo>
                <a:lnTo>
                  <a:pt x="278" y="987"/>
                </a:lnTo>
                <a:lnTo>
                  <a:pt x="275" y="987"/>
                </a:lnTo>
                <a:lnTo>
                  <a:pt x="275" y="983"/>
                </a:lnTo>
                <a:lnTo>
                  <a:pt x="274" y="983"/>
                </a:lnTo>
                <a:lnTo>
                  <a:pt x="273" y="982"/>
                </a:lnTo>
                <a:lnTo>
                  <a:pt x="273" y="984"/>
                </a:lnTo>
                <a:lnTo>
                  <a:pt x="274" y="984"/>
                </a:lnTo>
                <a:lnTo>
                  <a:pt x="274" y="988"/>
                </a:lnTo>
                <a:lnTo>
                  <a:pt x="273" y="989"/>
                </a:lnTo>
                <a:lnTo>
                  <a:pt x="272" y="988"/>
                </a:lnTo>
                <a:lnTo>
                  <a:pt x="271" y="988"/>
                </a:lnTo>
                <a:lnTo>
                  <a:pt x="272" y="989"/>
                </a:lnTo>
                <a:lnTo>
                  <a:pt x="272" y="990"/>
                </a:lnTo>
                <a:lnTo>
                  <a:pt x="273" y="990"/>
                </a:lnTo>
                <a:lnTo>
                  <a:pt x="273" y="992"/>
                </a:lnTo>
                <a:lnTo>
                  <a:pt x="272" y="992"/>
                </a:lnTo>
                <a:lnTo>
                  <a:pt x="268" y="989"/>
                </a:lnTo>
                <a:lnTo>
                  <a:pt x="268" y="993"/>
                </a:lnTo>
                <a:lnTo>
                  <a:pt x="267" y="994"/>
                </a:lnTo>
                <a:lnTo>
                  <a:pt x="267" y="995"/>
                </a:lnTo>
                <a:lnTo>
                  <a:pt x="268" y="995"/>
                </a:lnTo>
                <a:lnTo>
                  <a:pt x="269" y="996"/>
                </a:lnTo>
                <a:lnTo>
                  <a:pt x="268" y="997"/>
                </a:lnTo>
                <a:lnTo>
                  <a:pt x="262" y="996"/>
                </a:lnTo>
                <a:lnTo>
                  <a:pt x="265" y="999"/>
                </a:lnTo>
                <a:lnTo>
                  <a:pt x="263" y="1000"/>
                </a:lnTo>
                <a:lnTo>
                  <a:pt x="261" y="1000"/>
                </a:lnTo>
                <a:lnTo>
                  <a:pt x="260" y="1001"/>
                </a:lnTo>
                <a:lnTo>
                  <a:pt x="260" y="1002"/>
                </a:lnTo>
                <a:lnTo>
                  <a:pt x="255" y="1002"/>
                </a:lnTo>
                <a:lnTo>
                  <a:pt x="251" y="999"/>
                </a:lnTo>
                <a:lnTo>
                  <a:pt x="251" y="1000"/>
                </a:lnTo>
                <a:lnTo>
                  <a:pt x="249" y="1000"/>
                </a:lnTo>
                <a:lnTo>
                  <a:pt x="250" y="1001"/>
                </a:lnTo>
                <a:lnTo>
                  <a:pt x="251" y="1001"/>
                </a:lnTo>
                <a:lnTo>
                  <a:pt x="251" y="1003"/>
                </a:lnTo>
                <a:lnTo>
                  <a:pt x="250" y="1003"/>
                </a:lnTo>
                <a:lnTo>
                  <a:pt x="251" y="1005"/>
                </a:lnTo>
                <a:lnTo>
                  <a:pt x="254" y="1003"/>
                </a:lnTo>
                <a:lnTo>
                  <a:pt x="254" y="1006"/>
                </a:lnTo>
                <a:lnTo>
                  <a:pt x="253" y="1007"/>
                </a:lnTo>
                <a:lnTo>
                  <a:pt x="253" y="1008"/>
                </a:lnTo>
                <a:lnTo>
                  <a:pt x="251" y="1007"/>
                </a:lnTo>
                <a:lnTo>
                  <a:pt x="249" y="1006"/>
                </a:lnTo>
                <a:lnTo>
                  <a:pt x="247" y="1006"/>
                </a:lnTo>
                <a:lnTo>
                  <a:pt x="247" y="1007"/>
                </a:lnTo>
                <a:lnTo>
                  <a:pt x="248" y="1007"/>
                </a:lnTo>
                <a:lnTo>
                  <a:pt x="250" y="1009"/>
                </a:lnTo>
                <a:lnTo>
                  <a:pt x="249" y="1009"/>
                </a:lnTo>
                <a:lnTo>
                  <a:pt x="245" y="1011"/>
                </a:lnTo>
                <a:lnTo>
                  <a:pt x="230" y="1008"/>
                </a:lnTo>
                <a:lnTo>
                  <a:pt x="216" y="1007"/>
                </a:lnTo>
                <a:lnTo>
                  <a:pt x="217" y="1008"/>
                </a:lnTo>
                <a:lnTo>
                  <a:pt x="217" y="1009"/>
                </a:lnTo>
                <a:lnTo>
                  <a:pt x="213" y="1009"/>
                </a:lnTo>
                <a:lnTo>
                  <a:pt x="213" y="1011"/>
                </a:lnTo>
                <a:lnTo>
                  <a:pt x="215" y="1009"/>
                </a:lnTo>
                <a:lnTo>
                  <a:pt x="215" y="1011"/>
                </a:lnTo>
                <a:lnTo>
                  <a:pt x="216" y="1011"/>
                </a:lnTo>
                <a:lnTo>
                  <a:pt x="218" y="1012"/>
                </a:lnTo>
                <a:lnTo>
                  <a:pt x="219" y="1011"/>
                </a:lnTo>
                <a:lnTo>
                  <a:pt x="219" y="1009"/>
                </a:lnTo>
                <a:lnTo>
                  <a:pt x="220" y="1009"/>
                </a:lnTo>
                <a:lnTo>
                  <a:pt x="222" y="1011"/>
                </a:lnTo>
                <a:lnTo>
                  <a:pt x="222" y="1013"/>
                </a:lnTo>
                <a:lnTo>
                  <a:pt x="223" y="1013"/>
                </a:lnTo>
                <a:lnTo>
                  <a:pt x="224" y="1012"/>
                </a:lnTo>
                <a:lnTo>
                  <a:pt x="224" y="1008"/>
                </a:lnTo>
                <a:lnTo>
                  <a:pt x="225" y="1009"/>
                </a:lnTo>
                <a:lnTo>
                  <a:pt x="228" y="1011"/>
                </a:lnTo>
                <a:lnTo>
                  <a:pt x="234" y="1011"/>
                </a:lnTo>
                <a:lnTo>
                  <a:pt x="235" y="1012"/>
                </a:lnTo>
                <a:lnTo>
                  <a:pt x="240" y="1012"/>
                </a:lnTo>
                <a:lnTo>
                  <a:pt x="238" y="1013"/>
                </a:lnTo>
                <a:lnTo>
                  <a:pt x="240" y="1014"/>
                </a:lnTo>
                <a:lnTo>
                  <a:pt x="240" y="1015"/>
                </a:lnTo>
                <a:lnTo>
                  <a:pt x="241" y="1015"/>
                </a:lnTo>
                <a:lnTo>
                  <a:pt x="241" y="1017"/>
                </a:lnTo>
                <a:lnTo>
                  <a:pt x="242" y="1017"/>
                </a:lnTo>
                <a:lnTo>
                  <a:pt x="242" y="1018"/>
                </a:lnTo>
                <a:lnTo>
                  <a:pt x="241" y="1018"/>
                </a:lnTo>
                <a:lnTo>
                  <a:pt x="242" y="1019"/>
                </a:lnTo>
                <a:lnTo>
                  <a:pt x="243" y="1019"/>
                </a:lnTo>
                <a:lnTo>
                  <a:pt x="245" y="1021"/>
                </a:lnTo>
                <a:lnTo>
                  <a:pt x="244" y="1023"/>
                </a:lnTo>
                <a:lnTo>
                  <a:pt x="242" y="1023"/>
                </a:lnTo>
                <a:lnTo>
                  <a:pt x="242" y="1024"/>
                </a:lnTo>
                <a:lnTo>
                  <a:pt x="241" y="1025"/>
                </a:lnTo>
                <a:lnTo>
                  <a:pt x="238" y="1025"/>
                </a:lnTo>
                <a:lnTo>
                  <a:pt x="238" y="1026"/>
                </a:lnTo>
                <a:lnTo>
                  <a:pt x="236" y="1026"/>
                </a:lnTo>
                <a:lnTo>
                  <a:pt x="231" y="1025"/>
                </a:lnTo>
                <a:lnTo>
                  <a:pt x="224" y="1021"/>
                </a:lnTo>
                <a:lnTo>
                  <a:pt x="223" y="1023"/>
                </a:lnTo>
                <a:lnTo>
                  <a:pt x="225" y="1023"/>
                </a:lnTo>
                <a:lnTo>
                  <a:pt x="234" y="1027"/>
                </a:lnTo>
                <a:lnTo>
                  <a:pt x="235" y="1027"/>
                </a:lnTo>
                <a:lnTo>
                  <a:pt x="236" y="1029"/>
                </a:lnTo>
                <a:lnTo>
                  <a:pt x="236" y="1032"/>
                </a:lnTo>
                <a:lnTo>
                  <a:pt x="237" y="1032"/>
                </a:lnTo>
                <a:lnTo>
                  <a:pt x="237" y="1031"/>
                </a:lnTo>
                <a:lnTo>
                  <a:pt x="238" y="1031"/>
                </a:lnTo>
                <a:lnTo>
                  <a:pt x="238" y="1033"/>
                </a:lnTo>
                <a:lnTo>
                  <a:pt x="232" y="1032"/>
                </a:lnTo>
                <a:lnTo>
                  <a:pt x="236" y="1036"/>
                </a:lnTo>
                <a:lnTo>
                  <a:pt x="235" y="1036"/>
                </a:lnTo>
                <a:lnTo>
                  <a:pt x="236" y="1037"/>
                </a:lnTo>
                <a:lnTo>
                  <a:pt x="237" y="1037"/>
                </a:lnTo>
                <a:lnTo>
                  <a:pt x="237" y="1036"/>
                </a:lnTo>
                <a:lnTo>
                  <a:pt x="236" y="1036"/>
                </a:lnTo>
                <a:lnTo>
                  <a:pt x="238" y="1035"/>
                </a:lnTo>
                <a:lnTo>
                  <a:pt x="240" y="1035"/>
                </a:lnTo>
                <a:lnTo>
                  <a:pt x="240" y="1037"/>
                </a:lnTo>
                <a:lnTo>
                  <a:pt x="238" y="1037"/>
                </a:lnTo>
                <a:lnTo>
                  <a:pt x="238" y="1038"/>
                </a:lnTo>
                <a:lnTo>
                  <a:pt x="236" y="1038"/>
                </a:lnTo>
                <a:lnTo>
                  <a:pt x="236" y="1039"/>
                </a:lnTo>
                <a:lnTo>
                  <a:pt x="237" y="1039"/>
                </a:lnTo>
                <a:lnTo>
                  <a:pt x="240" y="1042"/>
                </a:lnTo>
                <a:lnTo>
                  <a:pt x="240" y="1043"/>
                </a:lnTo>
                <a:lnTo>
                  <a:pt x="241" y="1043"/>
                </a:lnTo>
                <a:lnTo>
                  <a:pt x="241" y="1046"/>
                </a:lnTo>
                <a:lnTo>
                  <a:pt x="240" y="1046"/>
                </a:lnTo>
                <a:lnTo>
                  <a:pt x="240" y="1048"/>
                </a:lnTo>
                <a:lnTo>
                  <a:pt x="241" y="1048"/>
                </a:lnTo>
                <a:lnTo>
                  <a:pt x="238" y="1050"/>
                </a:lnTo>
                <a:lnTo>
                  <a:pt x="236" y="1049"/>
                </a:lnTo>
                <a:lnTo>
                  <a:pt x="234" y="1046"/>
                </a:lnTo>
                <a:lnTo>
                  <a:pt x="232" y="1044"/>
                </a:lnTo>
                <a:lnTo>
                  <a:pt x="232" y="1046"/>
                </a:lnTo>
                <a:lnTo>
                  <a:pt x="235" y="1048"/>
                </a:lnTo>
                <a:lnTo>
                  <a:pt x="235" y="1049"/>
                </a:lnTo>
                <a:lnTo>
                  <a:pt x="234" y="1049"/>
                </a:lnTo>
                <a:lnTo>
                  <a:pt x="235" y="1050"/>
                </a:lnTo>
                <a:lnTo>
                  <a:pt x="236" y="1052"/>
                </a:lnTo>
                <a:lnTo>
                  <a:pt x="237" y="1054"/>
                </a:lnTo>
                <a:lnTo>
                  <a:pt x="236" y="1055"/>
                </a:lnTo>
                <a:lnTo>
                  <a:pt x="236" y="1056"/>
                </a:lnTo>
                <a:lnTo>
                  <a:pt x="235" y="1056"/>
                </a:lnTo>
                <a:lnTo>
                  <a:pt x="236" y="1057"/>
                </a:lnTo>
                <a:lnTo>
                  <a:pt x="237" y="1057"/>
                </a:lnTo>
                <a:lnTo>
                  <a:pt x="238" y="1058"/>
                </a:lnTo>
                <a:lnTo>
                  <a:pt x="237" y="1060"/>
                </a:lnTo>
                <a:lnTo>
                  <a:pt x="236" y="1058"/>
                </a:lnTo>
                <a:lnTo>
                  <a:pt x="235" y="1060"/>
                </a:lnTo>
                <a:lnTo>
                  <a:pt x="236" y="1061"/>
                </a:lnTo>
                <a:lnTo>
                  <a:pt x="235" y="1061"/>
                </a:lnTo>
                <a:lnTo>
                  <a:pt x="234" y="1058"/>
                </a:lnTo>
                <a:lnTo>
                  <a:pt x="234" y="1057"/>
                </a:lnTo>
                <a:lnTo>
                  <a:pt x="232" y="1058"/>
                </a:lnTo>
                <a:lnTo>
                  <a:pt x="232" y="1060"/>
                </a:lnTo>
                <a:lnTo>
                  <a:pt x="234" y="1062"/>
                </a:lnTo>
                <a:lnTo>
                  <a:pt x="235" y="1062"/>
                </a:lnTo>
                <a:lnTo>
                  <a:pt x="236" y="1063"/>
                </a:lnTo>
                <a:lnTo>
                  <a:pt x="237" y="1063"/>
                </a:lnTo>
                <a:lnTo>
                  <a:pt x="237" y="1066"/>
                </a:lnTo>
                <a:lnTo>
                  <a:pt x="240" y="1068"/>
                </a:lnTo>
                <a:lnTo>
                  <a:pt x="238" y="1068"/>
                </a:lnTo>
                <a:lnTo>
                  <a:pt x="237" y="1067"/>
                </a:lnTo>
                <a:lnTo>
                  <a:pt x="237" y="1068"/>
                </a:lnTo>
                <a:lnTo>
                  <a:pt x="238" y="1069"/>
                </a:lnTo>
                <a:lnTo>
                  <a:pt x="238" y="1070"/>
                </a:lnTo>
                <a:lnTo>
                  <a:pt x="236" y="1070"/>
                </a:lnTo>
                <a:lnTo>
                  <a:pt x="236" y="1069"/>
                </a:lnTo>
                <a:lnTo>
                  <a:pt x="235" y="1068"/>
                </a:lnTo>
                <a:lnTo>
                  <a:pt x="235" y="1069"/>
                </a:lnTo>
                <a:lnTo>
                  <a:pt x="231" y="1069"/>
                </a:lnTo>
                <a:lnTo>
                  <a:pt x="232" y="1068"/>
                </a:lnTo>
                <a:lnTo>
                  <a:pt x="231" y="1067"/>
                </a:lnTo>
                <a:lnTo>
                  <a:pt x="234" y="1067"/>
                </a:lnTo>
                <a:lnTo>
                  <a:pt x="228" y="1061"/>
                </a:lnTo>
                <a:lnTo>
                  <a:pt x="226" y="1061"/>
                </a:lnTo>
                <a:lnTo>
                  <a:pt x="226" y="1063"/>
                </a:lnTo>
                <a:lnTo>
                  <a:pt x="228" y="1063"/>
                </a:lnTo>
                <a:lnTo>
                  <a:pt x="229" y="1064"/>
                </a:lnTo>
                <a:lnTo>
                  <a:pt x="231" y="1066"/>
                </a:lnTo>
                <a:lnTo>
                  <a:pt x="230" y="1067"/>
                </a:lnTo>
                <a:lnTo>
                  <a:pt x="230" y="1069"/>
                </a:lnTo>
                <a:lnTo>
                  <a:pt x="229" y="1069"/>
                </a:lnTo>
                <a:lnTo>
                  <a:pt x="228" y="1068"/>
                </a:lnTo>
                <a:lnTo>
                  <a:pt x="226" y="1068"/>
                </a:lnTo>
                <a:lnTo>
                  <a:pt x="226" y="1069"/>
                </a:lnTo>
                <a:lnTo>
                  <a:pt x="225" y="1069"/>
                </a:lnTo>
                <a:lnTo>
                  <a:pt x="235" y="1080"/>
                </a:lnTo>
                <a:lnTo>
                  <a:pt x="236" y="1081"/>
                </a:lnTo>
                <a:lnTo>
                  <a:pt x="235" y="1081"/>
                </a:lnTo>
                <a:lnTo>
                  <a:pt x="232" y="1080"/>
                </a:lnTo>
                <a:lnTo>
                  <a:pt x="232" y="1079"/>
                </a:lnTo>
                <a:lnTo>
                  <a:pt x="229" y="1074"/>
                </a:lnTo>
                <a:lnTo>
                  <a:pt x="224" y="1069"/>
                </a:lnTo>
                <a:lnTo>
                  <a:pt x="224" y="1072"/>
                </a:lnTo>
                <a:lnTo>
                  <a:pt x="226" y="1073"/>
                </a:lnTo>
                <a:lnTo>
                  <a:pt x="229" y="1075"/>
                </a:lnTo>
                <a:lnTo>
                  <a:pt x="230" y="1078"/>
                </a:lnTo>
                <a:lnTo>
                  <a:pt x="234" y="1081"/>
                </a:lnTo>
                <a:lnTo>
                  <a:pt x="234" y="1082"/>
                </a:lnTo>
                <a:lnTo>
                  <a:pt x="235" y="1082"/>
                </a:lnTo>
                <a:lnTo>
                  <a:pt x="236" y="1083"/>
                </a:lnTo>
                <a:lnTo>
                  <a:pt x="236" y="1086"/>
                </a:lnTo>
                <a:lnTo>
                  <a:pt x="232" y="1085"/>
                </a:lnTo>
                <a:lnTo>
                  <a:pt x="231" y="1085"/>
                </a:lnTo>
                <a:lnTo>
                  <a:pt x="231" y="1086"/>
                </a:lnTo>
                <a:lnTo>
                  <a:pt x="232" y="1087"/>
                </a:lnTo>
                <a:lnTo>
                  <a:pt x="232" y="1091"/>
                </a:lnTo>
                <a:lnTo>
                  <a:pt x="231" y="1091"/>
                </a:lnTo>
                <a:lnTo>
                  <a:pt x="231" y="1092"/>
                </a:lnTo>
                <a:lnTo>
                  <a:pt x="230" y="1093"/>
                </a:lnTo>
                <a:lnTo>
                  <a:pt x="229" y="1092"/>
                </a:lnTo>
                <a:lnTo>
                  <a:pt x="229" y="1093"/>
                </a:lnTo>
                <a:lnTo>
                  <a:pt x="228" y="1093"/>
                </a:lnTo>
                <a:lnTo>
                  <a:pt x="229" y="1094"/>
                </a:lnTo>
                <a:lnTo>
                  <a:pt x="228" y="1094"/>
                </a:lnTo>
                <a:lnTo>
                  <a:pt x="228" y="1095"/>
                </a:lnTo>
                <a:lnTo>
                  <a:pt x="232" y="1095"/>
                </a:lnTo>
                <a:lnTo>
                  <a:pt x="234" y="1099"/>
                </a:lnTo>
                <a:lnTo>
                  <a:pt x="235" y="1101"/>
                </a:lnTo>
                <a:lnTo>
                  <a:pt x="235" y="1103"/>
                </a:lnTo>
                <a:lnTo>
                  <a:pt x="234" y="1103"/>
                </a:lnTo>
                <a:lnTo>
                  <a:pt x="235" y="1104"/>
                </a:lnTo>
                <a:lnTo>
                  <a:pt x="232" y="1104"/>
                </a:lnTo>
                <a:lnTo>
                  <a:pt x="232" y="1106"/>
                </a:lnTo>
                <a:lnTo>
                  <a:pt x="234" y="1106"/>
                </a:lnTo>
                <a:lnTo>
                  <a:pt x="235" y="1107"/>
                </a:lnTo>
                <a:lnTo>
                  <a:pt x="232" y="1107"/>
                </a:lnTo>
                <a:lnTo>
                  <a:pt x="232" y="1110"/>
                </a:lnTo>
                <a:lnTo>
                  <a:pt x="230" y="1109"/>
                </a:lnTo>
                <a:lnTo>
                  <a:pt x="229" y="1110"/>
                </a:lnTo>
                <a:lnTo>
                  <a:pt x="229" y="1111"/>
                </a:lnTo>
                <a:lnTo>
                  <a:pt x="230" y="1112"/>
                </a:lnTo>
                <a:lnTo>
                  <a:pt x="230" y="1113"/>
                </a:lnTo>
                <a:lnTo>
                  <a:pt x="229" y="1113"/>
                </a:lnTo>
                <a:lnTo>
                  <a:pt x="230" y="1115"/>
                </a:lnTo>
                <a:lnTo>
                  <a:pt x="226" y="1117"/>
                </a:lnTo>
                <a:lnTo>
                  <a:pt x="225" y="1118"/>
                </a:lnTo>
                <a:lnTo>
                  <a:pt x="226" y="1121"/>
                </a:lnTo>
                <a:lnTo>
                  <a:pt x="225" y="1122"/>
                </a:lnTo>
                <a:lnTo>
                  <a:pt x="225" y="1125"/>
                </a:lnTo>
                <a:lnTo>
                  <a:pt x="226" y="1128"/>
                </a:lnTo>
                <a:lnTo>
                  <a:pt x="228" y="1129"/>
                </a:lnTo>
                <a:lnTo>
                  <a:pt x="228" y="1130"/>
                </a:lnTo>
                <a:lnTo>
                  <a:pt x="229" y="1130"/>
                </a:lnTo>
                <a:lnTo>
                  <a:pt x="229" y="1131"/>
                </a:lnTo>
                <a:lnTo>
                  <a:pt x="230" y="1132"/>
                </a:lnTo>
                <a:lnTo>
                  <a:pt x="229" y="1134"/>
                </a:lnTo>
                <a:lnTo>
                  <a:pt x="230" y="1134"/>
                </a:lnTo>
                <a:lnTo>
                  <a:pt x="230" y="1136"/>
                </a:lnTo>
                <a:lnTo>
                  <a:pt x="229" y="1135"/>
                </a:lnTo>
                <a:lnTo>
                  <a:pt x="228" y="1135"/>
                </a:lnTo>
                <a:lnTo>
                  <a:pt x="228" y="1136"/>
                </a:lnTo>
                <a:lnTo>
                  <a:pt x="226" y="1136"/>
                </a:lnTo>
                <a:lnTo>
                  <a:pt x="225" y="1135"/>
                </a:lnTo>
                <a:lnTo>
                  <a:pt x="224" y="1135"/>
                </a:lnTo>
                <a:lnTo>
                  <a:pt x="225" y="1136"/>
                </a:lnTo>
                <a:lnTo>
                  <a:pt x="225" y="1137"/>
                </a:lnTo>
                <a:lnTo>
                  <a:pt x="224" y="1138"/>
                </a:lnTo>
                <a:lnTo>
                  <a:pt x="224" y="1141"/>
                </a:lnTo>
                <a:lnTo>
                  <a:pt x="225" y="1142"/>
                </a:lnTo>
                <a:lnTo>
                  <a:pt x="225" y="1144"/>
                </a:lnTo>
                <a:lnTo>
                  <a:pt x="224" y="1147"/>
                </a:lnTo>
                <a:lnTo>
                  <a:pt x="224" y="1150"/>
                </a:lnTo>
                <a:lnTo>
                  <a:pt x="223" y="1154"/>
                </a:lnTo>
                <a:lnTo>
                  <a:pt x="223" y="1155"/>
                </a:lnTo>
                <a:lnTo>
                  <a:pt x="224" y="1155"/>
                </a:lnTo>
                <a:lnTo>
                  <a:pt x="224" y="1156"/>
                </a:lnTo>
                <a:lnTo>
                  <a:pt x="223" y="1156"/>
                </a:lnTo>
                <a:lnTo>
                  <a:pt x="222" y="1158"/>
                </a:lnTo>
                <a:lnTo>
                  <a:pt x="220" y="1158"/>
                </a:lnTo>
                <a:lnTo>
                  <a:pt x="222" y="1159"/>
                </a:lnTo>
                <a:lnTo>
                  <a:pt x="222" y="1166"/>
                </a:lnTo>
                <a:lnTo>
                  <a:pt x="219" y="1166"/>
                </a:lnTo>
                <a:lnTo>
                  <a:pt x="219" y="1165"/>
                </a:lnTo>
                <a:lnTo>
                  <a:pt x="218" y="1166"/>
                </a:lnTo>
                <a:lnTo>
                  <a:pt x="217" y="1166"/>
                </a:lnTo>
                <a:lnTo>
                  <a:pt x="217" y="1167"/>
                </a:lnTo>
                <a:lnTo>
                  <a:pt x="216" y="1169"/>
                </a:lnTo>
                <a:lnTo>
                  <a:pt x="216" y="1171"/>
                </a:lnTo>
                <a:lnTo>
                  <a:pt x="215" y="1172"/>
                </a:lnTo>
                <a:lnTo>
                  <a:pt x="215" y="1175"/>
                </a:lnTo>
                <a:lnTo>
                  <a:pt x="213" y="1175"/>
                </a:lnTo>
                <a:lnTo>
                  <a:pt x="213" y="1177"/>
                </a:lnTo>
                <a:lnTo>
                  <a:pt x="210" y="1184"/>
                </a:lnTo>
                <a:lnTo>
                  <a:pt x="209" y="1190"/>
                </a:lnTo>
                <a:lnTo>
                  <a:pt x="207" y="1197"/>
                </a:lnTo>
                <a:lnTo>
                  <a:pt x="206" y="1198"/>
                </a:lnTo>
                <a:lnTo>
                  <a:pt x="206" y="1199"/>
                </a:lnTo>
                <a:lnTo>
                  <a:pt x="203" y="1203"/>
                </a:lnTo>
                <a:lnTo>
                  <a:pt x="200" y="1208"/>
                </a:lnTo>
                <a:lnTo>
                  <a:pt x="200" y="1209"/>
                </a:lnTo>
                <a:lnTo>
                  <a:pt x="198" y="1209"/>
                </a:lnTo>
                <a:lnTo>
                  <a:pt x="197" y="1208"/>
                </a:lnTo>
                <a:lnTo>
                  <a:pt x="198" y="1205"/>
                </a:lnTo>
                <a:lnTo>
                  <a:pt x="199" y="1204"/>
                </a:lnTo>
                <a:lnTo>
                  <a:pt x="198" y="1203"/>
                </a:lnTo>
                <a:lnTo>
                  <a:pt x="195" y="1204"/>
                </a:lnTo>
                <a:lnTo>
                  <a:pt x="194" y="1204"/>
                </a:lnTo>
                <a:lnTo>
                  <a:pt x="194" y="1203"/>
                </a:lnTo>
                <a:lnTo>
                  <a:pt x="193" y="1203"/>
                </a:lnTo>
                <a:lnTo>
                  <a:pt x="193" y="1202"/>
                </a:lnTo>
                <a:lnTo>
                  <a:pt x="192" y="1202"/>
                </a:lnTo>
                <a:lnTo>
                  <a:pt x="191" y="1201"/>
                </a:lnTo>
                <a:lnTo>
                  <a:pt x="191" y="1202"/>
                </a:lnTo>
                <a:lnTo>
                  <a:pt x="188" y="1204"/>
                </a:lnTo>
                <a:lnTo>
                  <a:pt x="188" y="1202"/>
                </a:lnTo>
                <a:lnTo>
                  <a:pt x="189" y="1201"/>
                </a:lnTo>
                <a:lnTo>
                  <a:pt x="188" y="1201"/>
                </a:lnTo>
                <a:lnTo>
                  <a:pt x="186" y="1202"/>
                </a:lnTo>
                <a:lnTo>
                  <a:pt x="185" y="1203"/>
                </a:lnTo>
                <a:lnTo>
                  <a:pt x="185" y="1204"/>
                </a:lnTo>
                <a:lnTo>
                  <a:pt x="184" y="1204"/>
                </a:lnTo>
                <a:lnTo>
                  <a:pt x="182" y="1203"/>
                </a:lnTo>
                <a:lnTo>
                  <a:pt x="182" y="1202"/>
                </a:lnTo>
                <a:lnTo>
                  <a:pt x="181" y="1202"/>
                </a:lnTo>
                <a:lnTo>
                  <a:pt x="180" y="1203"/>
                </a:lnTo>
                <a:lnTo>
                  <a:pt x="180" y="1205"/>
                </a:lnTo>
                <a:lnTo>
                  <a:pt x="176" y="1205"/>
                </a:lnTo>
                <a:lnTo>
                  <a:pt x="176" y="1202"/>
                </a:lnTo>
                <a:lnTo>
                  <a:pt x="174" y="1204"/>
                </a:lnTo>
                <a:lnTo>
                  <a:pt x="172" y="1204"/>
                </a:lnTo>
                <a:lnTo>
                  <a:pt x="170" y="1203"/>
                </a:lnTo>
                <a:lnTo>
                  <a:pt x="169" y="1203"/>
                </a:lnTo>
                <a:lnTo>
                  <a:pt x="169" y="1204"/>
                </a:lnTo>
                <a:lnTo>
                  <a:pt x="168" y="1204"/>
                </a:lnTo>
                <a:lnTo>
                  <a:pt x="167" y="1203"/>
                </a:lnTo>
                <a:lnTo>
                  <a:pt x="167" y="1202"/>
                </a:lnTo>
                <a:lnTo>
                  <a:pt x="166" y="1202"/>
                </a:lnTo>
                <a:lnTo>
                  <a:pt x="166" y="1204"/>
                </a:lnTo>
                <a:lnTo>
                  <a:pt x="163" y="1203"/>
                </a:lnTo>
                <a:lnTo>
                  <a:pt x="161" y="1203"/>
                </a:lnTo>
                <a:lnTo>
                  <a:pt x="160" y="1204"/>
                </a:lnTo>
                <a:lnTo>
                  <a:pt x="158" y="1203"/>
                </a:lnTo>
                <a:lnTo>
                  <a:pt x="157" y="1203"/>
                </a:lnTo>
                <a:lnTo>
                  <a:pt x="157" y="1204"/>
                </a:lnTo>
                <a:lnTo>
                  <a:pt x="156" y="1205"/>
                </a:lnTo>
                <a:lnTo>
                  <a:pt x="156" y="1204"/>
                </a:lnTo>
                <a:lnTo>
                  <a:pt x="155" y="1204"/>
                </a:lnTo>
                <a:lnTo>
                  <a:pt x="154" y="1203"/>
                </a:lnTo>
                <a:lnTo>
                  <a:pt x="153" y="1203"/>
                </a:lnTo>
                <a:lnTo>
                  <a:pt x="151" y="1204"/>
                </a:lnTo>
                <a:lnTo>
                  <a:pt x="150" y="1204"/>
                </a:lnTo>
                <a:lnTo>
                  <a:pt x="150" y="1208"/>
                </a:lnTo>
                <a:lnTo>
                  <a:pt x="151" y="1208"/>
                </a:lnTo>
                <a:lnTo>
                  <a:pt x="151" y="1209"/>
                </a:lnTo>
                <a:lnTo>
                  <a:pt x="153" y="1209"/>
                </a:lnTo>
                <a:lnTo>
                  <a:pt x="154" y="1211"/>
                </a:lnTo>
                <a:lnTo>
                  <a:pt x="154" y="1214"/>
                </a:lnTo>
                <a:lnTo>
                  <a:pt x="153" y="1214"/>
                </a:lnTo>
                <a:lnTo>
                  <a:pt x="153" y="1215"/>
                </a:lnTo>
                <a:lnTo>
                  <a:pt x="151" y="1216"/>
                </a:lnTo>
                <a:lnTo>
                  <a:pt x="151" y="1215"/>
                </a:lnTo>
                <a:lnTo>
                  <a:pt x="148" y="1215"/>
                </a:lnTo>
                <a:lnTo>
                  <a:pt x="148" y="1212"/>
                </a:lnTo>
                <a:lnTo>
                  <a:pt x="145" y="1212"/>
                </a:lnTo>
                <a:lnTo>
                  <a:pt x="145" y="1211"/>
                </a:lnTo>
                <a:lnTo>
                  <a:pt x="144" y="1212"/>
                </a:lnTo>
                <a:lnTo>
                  <a:pt x="143" y="1212"/>
                </a:lnTo>
                <a:lnTo>
                  <a:pt x="142" y="1214"/>
                </a:lnTo>
                <a:lnTo>
                  <a:pt x="141" y="1216"/>
                </a:lnTo>
                <a:lnTo>
                  <a:pt x="138" y="1217"/>
                </a:lnTo>
                <a:lnTo>
                  <a:pt x="138" y="1218"/>
                </a:lnTo>
                <a:lnTo>
                  <a:pt x="137" y="1218"/>
                </a:lnTo>
                <a:lnTo>
                  <a:pt x="136" y="1220"/>
                </a:lnTo>
                <a:lnTo>
                  <a:pt x="136" y="1221"/>
                </a:lnTo>
                <a:lnTo>
                  <a:pt x="135" y="1222"/>
                </a:lnTo>
                <a:lnTo>
                  <a:pt x="135" y="1223"/>
                </a:lnTo>
                <a:lnTo>
                  <a:pt x="133" y="1223"/>
                </a:lnTo>
                <a:lnTo>
                  <a:pt x="131" y="1226"/>
                </a:lnTo>
                <a:lnTo>
                  <a:pt x="130" y="1229"/>
                </a:lnTo>
                <a:lnTo>
                  <a:pt x="130" y="1238"/>
                </a:lnTo>
                <a:lnTo>
                  <a:pt x="133" y="1241"/>
                </a:lnTo>
                <a:lnTo>
                  <a:pt x="133" y="1245"/>
                </a:lnTo>
                <a:lnTo>
                  <a:pt x="137" y="1248"/>
                </a:lnTo>
                <a:lnTo>
                  <a:pt x="137" y="1252"/>
                </a:lnTo>
                <a:lnTo>
                  <a:pt x="136" y="1252"/>
                </a:lnTo>
                <a:lnTo>
                  <a:pt x="133" y="1255"/>
                </a:lnTo>
                <a:lnTo>
                  <a:pt x="132" y="1257"/>
                </a:lnTo>
                <a:lnTo>
                  <a:pt x="131" y="1260"/>
                </a:lnTo>
                <a:lnTo>
                  <a:pt x="130" y="1260"/>
                </a:lnTo>
                <a:lnTo>
                  <a:pt x="129" y="1261"/>
                </a:lnTo>
                <a:lnTo>
                  <a:pt x="123" y="1261"/>
                </a:lnTo>
                <a:lnTo>
                  <a:pt x="120" y="1258"/>
                </a:lnTo>
                <a:lnTo>
                  <a:pt x="116" y="1258"/>
                </a:lnTo>
                <a:lnTo>
                  <a:pt x="114" y="1259"/>
                </a:lnTo>
                <a:lnTo>
                  <a:pt x="112" y="1258"/>
                </a:lnTo>
                <a:lnTo>
                  <a:pt x="107" y="1259"/>
                </a:lnTo>
                <a:lnTo>
                  <a:pt x="106" y="1259"/>
                </a:lnTo>
                <a:lnTo>
                  <a:pt x="106" y="1260"/>
                </a:lnTo>
                <a:lnTo>
                  <a:pt x="105" y="1260"/>
                </a:lnTo>
                <a:lnTo>
                  <a:pt x="105" y="1261"/>
                </a:lnTo>
                <a:lnTo>
                  <a:pt x="100" y="1261"/>
                </a:lnTo>
                <a:lnTo>
                  <a:pt x="97" y="1264"/>
                </a:lnTo>
                <a:lnTo>
                  <a:pt x="95" y="1265"/>
                </a:lnTo>
                <a:lnTo>
                  <a:pt x="92" y="1265"/>
                </a:lnTo>
                <a:lnTo>
                  <a:pt x="85" y="1263"/>
                </a:lnTo>
                <a:lnTo>
                  <a:pt x="82" y="1263"/>
                </a:lnTo>
                <a:lnTo>
                  <a:pt x="81" y="1261"/>
                </a:lnTo>
                <a:lnTo>
                  <a:pt x="80" y="1261"/>
                </a:lnTo>
                <a:lnTo>
                  <a:pt x="80" y="1260"/>
                </a:lnTo>
                <a:lnTo>
                  <a:pt x="77" y="1260"/>
                </a:lnTo>
                <a:lnTo>
                  <a:pt x="77" y="1261"/>
                </a:lnTo>
                <a:lnTo>
                  <a:pt x="73" y="1261"/>
                </a:lnTo>
                <a:lnTo>
                  <a:pt x="73" y="1260"/>
                </a:lnTo>
                <a:lnTo>
                  <a:pt x="74" y="1258"/>
                </a:lnTo>
                <a:lnTo>
                  <a:pt x="75" y="1258"/>
                </a:lnTo>
                <a:lnTo>
                  <a:pt x="75" y="1259"/>
                </a:lnTo>
                <a:lnTo>
                  <a:pt x="76" y="1259"/>
                </a:lnTo>
                <a:lnTo>
                  <a:pt x="77" y="1258"/>
                </a:lnTo>
                <a:lnTo>
                  <a:pt x="77" y="1257"/>
                </a:lnTo>
                <a:lnTo>
                  <a:pt x="79" y="1257"/>
                </a:lnTo>
                <a:lnTo>
                  <a:pt x="79" y="1255"/>
                </a:lnTo>
                <a:lnTo>
                  <a:pt x="76" y="1252"/>
                </a:lnTo>
                <a:lnTo>
                  <a:pt x="76" y="1247"/>
                </a:lnTo>
                <a:lnTo>
                  <a:pt x="77" y="1246"/>
                </a:lnTo>
                <a:lnTo>
                  <a:pt x="81" y="1244"/>
                </a:lnTo>
                <a:lnTo>
                  <a:pt x="81" y="1242"/>
                </a:lnTo>
                <a:lnTo>
                  <a:pt x="82" y="1241"/>
                </a:lnTo>
                <a:lnTo>
                  <a:pt x="82" y="1239"/>
                </a:lnTo>
                <a:lnTo>
                  <a:pt x="80" y="1236"/>
                </a:lnTo>
                <a:lnTo>
                  <a:pt x="79" y="1236"/>
                </a:lnTo>
                <a:lnTo>
                  <a:pt x="77" y="1235"/>
                </a:lnTo>
                <a:lnTo>
                  <a:pt x="76" y="1235"/>
                </a:lnTo>
                <a:lnTo>
                  <a:pt x="76" y="1228"/>
                </a:lnTo>
                <a:lnTo>
                  <a:pt x="75" y="1227"/>
                </a:lnTo>
                <a:lnTo>
                  <a:pt x="73" y="1226"/>
                </a:lnTo>
                <a:lnTo>
                  <a:pt x="71" y="1224"/>
                </a:lnTo>
                <a:lnTo>
                  <a:pt x="71" y="1221"/>
                </a:lnTo>
                <a:lnTo>
                  <a:pt x="70" y="1221"/>
                </a:lnTo>
                <a:lnTo>
                  <a:pt x="70" y="1220"/>
                </a:lnTo>
                <a:lnTo>
                  <a:pt x="69" y="1218"/>
                </a:lnTo>
                <a:lnTo>
                  <a:pt x="69" y="1216"/>
                </a:lnTo>
                <a:lnTo>
                  <a:pt x="67" y="1214"/>
                </a:lnTo>
                <a:lnTo>
                  <a:pt x="67" y="1212"/>
                </a:lnTo>
                <a:lnTo>
                  <a:pt x="63" y="1207"/>
                </a:lnTo>
                <a:lnTo>
                  <a:pt x="61" y="1203"/>
                </a:lnTo>
                <a:lnTo>
                  <a:pt x="61" y="1199"/>
                </a:lnTo>
                <a:lnTo>
                  <a:pt x="60" y="1199"/>
                </a:lnTo>
                <a:lnTo>
                  <a:pt x="60" y="1197"/>
                </a:lnTo>
                <a:lnTo>
                  <a:pt x="58" y="1195"/>
                </a:lnTo>
                <a:lnTo>
                  <a:pt x="56" y="1192"/>
                </a:lnTo>
                <a:lnTo>
                  <a:pt x="64" y="1196"/>
                </a:lnTo>
                <a:lnTo>
                  <a:pt x="64" y="1197"/>
                </a:lnTo>
                <a:lnTo>
                  <a:pt x="67" y="1199"/>
                </a:lnTo>
                <a:lnTo>
                  <a:pt x="68" y="1199"/>
                </a:lnTo>
                <a:lnTo>
                  <a:pt x="68" y="1198"/>
                </a:lnTo>
                <a:lnTo>
                  <a:pt x="71" y="1198"/>
                </a:lnTo>
                <a:lnTo>
                  <a:pt x="73" y="1197"/>
                </a:lnTo>
                <a:lnTo>
                  <a:pt x="73" y="1195"/>
                </a:lnTo>
                <a:lnTo>
                  <a:pt x="70" y="1193"/>
                </a:lnTo>
                <a:lnTo>
                  <a:pt x="69" y="1192"/>
                </a:lnTo>
                <a:lnTo>
                  <a:pt x="68" y="1189"/>
                </a:lnTo>
                <a:lnTo>
                  <a:pt x="64" y="1186"/>
                </a:lnTo>
                <a:lnTo>
                  <a:pt x="63" y="1184"/>
                </a:lnTo>
                <a:lnTo>
                  <a:pt x="66" y="1181"/>
                </a:lnTo>
                <a:lnTo>
                  <a:pt x="68" y="1180"/>
                </a:lnTo>
                <a:lnTo>
                  <a:pt x="73" y="1183"/>
                </a:lnTo>
                <a:lnTo>
                  <a:pt x="75" y="1181"/>
                </a:lnTo>
                <a:lnTo>
                  <a:pt x="75" y="1180"/>
                </a:lnTo>
                <a:lnTo>
                  <a:pt x="76" y="1179"/>
                </a:lnTo>
                <a:lnTo>
                  <a:pt x="76" y="1174"/>
                </a:lnTo>
                <a:lnTo>
                  <a:pt x="75" y="1171"/>
                </a:lnTo>
                <a:lnTo>
                  <a:pt x="75" y="1167"/>
                </a:lnTo>
                <a:lnTo>
                  <a:pt x="74" y="1166"/>
                </a:lnTo>
                <a:lnTo>
                  <a:pt x="71" y="1166"/>
                </a:lnTo>
                <a:lnTo>
                  <a:pt x="70" y="1167"/>
                </a:lnTo>
                <a:lnTo>
                  <a:pt x="68" y="1167"/>
                </a:lnTo>
                <a:lnTo>
                  <a:pt x="66" y="1164"/>
                </a:lnTo>
                <a:lnTo>
                  <a:pt x="66" y="1161"/>
                </a:lnTo>
                <a:lnTo>
                  <a:pt x="64" y="1161"/>
                </a:lnTo>
                <a:lnTo>
                  <a:pt x="64" y="1160"/>
                </a:lnTo>
                <a:lnTo>
                  <a:pt x="63" y="1159"/>
                </a:lnTo>
                <a:lnTo>
                  <a:pt x="62" y="1155"/>
                </a:lnTo>
                <a:lnTo>
                  <a:pt x="63" y="1154"/>
                </a:lnTo>
                <a:lnTo>
                  <a:pt x="62" y="1153"/>
                </a:lnTo>
                <a:lnTo>
                  <a:pt x="60" y="1152"/>
                </a:lnTo>
                <a:lnTo>
                  <a:pt x="60" y="1150"/>
                </a:lnTo>
                <a:lnTo>
                  <a:pt x="58" y="1150"/>
                </a:lnTo>
                <a:lnTo>
                  <a:pt x="58" y="1149"/>
                </a:lnTo>
                <a:lnTo>
                  <a:pt x="56" y="1147"/>
                </a:lnTo>
                <a:lnTo>
                  <a:pt x="55" y="1147"/>
                </a:lnTo>
                <a:lnTo>
                  <a:pt x="54" y="1146"/>
                </a:lnTo>
                <a:lnTo>
                  <a:pt x="52" y="1146"/>
                </a:lnTo>
                <a:lnTo>
                  <a:pt x="51" y="1144"/>
                </a:lnTo>
                <a:lnTo>
                  <a:pt x="51" y="1142"/>
                </a:lnTo>
                <a:lnTo>
                  <a:pt x="52" y="1141"/>
                </a:lnTo>
                <a:lnTo>
                  <a:pt x="52" y="1138"/>
                </a:lnTo>
                <a:lnTo>
                  <a:pt x="51" y="1138"/>
                </a:lnTo>
                <a:lnTo>
                  <a:pt x="51" y="1137"/>
                </a:lnTo>
                <a:lnTo>
                  <a:pt x="50" y="1137"/>
                </a:lnTo>
                <a:lnTo>
                  <a:pt x="48" y="1135"/>
                </a:lnTo>
                <a:lnTo>
                  <a:pt x="48" y="1132"/>
                </a:lnTo>
                <a:lnTo>
                  <a:pt x="46" y="1132"/>
                </a:lnTo>
                <a:lnTo>
                  <a:pt x="48" y="1131"/>
                </a:lnTo>
                <a:lnTo>
                  <a:pt x="48" y="1130"/>
                </a:lnTo>
                <a:lnTo>
                  <a:pt x="45" y="1128"/>
                </a:lnTo>
                <a:lnTo>
                  <a:pt x="45" y="1125"/>
                </a:lnTo>
                <a:lnTo>
                  <a:pt x="44" y="1125"/>
                </a:lnTo>
                <a:lnTo>
                  <a:pt x="45" y="1123"/>
                </a:lnTo>
                <a:lnTo>
                  <a:pt x="44" y="1123"/>
                </a:lnTo>
                <a:lnTo>
                  <a:pt x="42" y="1121"/>
                </a:lnTo>
                <a:lnTo>
                  <a:pt x="43" y="1121"/>
                </a:lnTo>
                <a:lnTo>
                  <a:pt x="43" y="1119"/>
                </a:lnTo>
                <a:lnTo>
                  <a:pt x="42" y="1119"/>
                </a:lnTo>
                <a:lnTo>
                  <a:pt x="42" y="1118"/>
                </a:lnTo>
                <a:lnTo>
                  <a:pt x="43" y="1118"/>
                </a:lnTo>
                <a:lnTo>
                  <a:pt x="43" y="1113"/>
                </a:lnTo>
                <a:lnTo>
                  <a:pt x="42" y="1113"/>
                </a:lnTo>
                <a:lnTo>
                  <a:pt x="42" y="1112"/>
                </a:lnTo>
                <a:lnTo>
                  <a:pt x="40" y="1112"/>
                </a:lnTo>
                <a:lnTo>
                  <a:pt x="40" y="1113"/>
                </a:lnTo>
                <a:lnTo>
                  <a:pt x="39" y="1112"/>
                </a:lnTo>
                <a:lnTo>
                  <a:pt x="40" y="1111"/>
                </a:lnTo>
                <a:lnTo>
                  <a:pt x="40" y="1110"/>
                </a:lnTo>
                <a:lnTo>
                  <a:pt x="42" y="1109"/>
                </a:lnTo>
                <a:lnTo>
                  <a:pt x="40" y="1109"/>
                </a:lnTo>
                <a:lnTo>
                  <a:pt x="42" y="1107"/>
                </a:lnTo>
                <a:lnTo>
                  <a:pt x="40" y="1106"/>
                </a:lnTo>
                <a:lnTo>
                  <a:pt x="39" y="1104"/>
                </a:lnTo>
                <a:lnTo>
                  <a:pt x="38" y="1104"/>
                </a:lnTo>
                <a:lnTo>
                  <a:pt x="37" y="1105"/>
                </a:lnTo>
                <a:lnTo>
                  <a:pt x="37" y="1112"/>
                </a:lnTo>
                <a:lnTo>
                  <a:pt x="36" y="1111"/>
                </a:lnTo>
                <a:lnTo>
                  <a:pt x="35" y="1111"/>
                </a:lnTo>
                <a:lnTo>
                  <a:pt x="35" y="1109"/>
                </a:lnTo>
                <a:lnTo>
                  <a:pt x="33" y="1109"/>
                </a:lnTo>
                <a:lnTo>
                  <a:pt x="33" y="1103"/>
                </a:lnTo>
                <a:lnTo>
                  <a:pt x="35" y="1101"/>
                </a:lnTo>
                <a:lnTo>
                  <a:pt x="35" y="1100"/>
                </a:lnTo>
                <a:lnTo>
                  <a:pt x="33" y="1100"/>
                </a:lnTo>
                <a:lnTo>
                  <a:pt x="35" y="1099"/>
                </a:lnTo>
                <a:lnTo>
                  <a:pt x="33" y="1099"/>
                </a:lnTo>
                <a:lnTo>
                  <a:pt x="33" y="1091"/>
                </a:lnTo>
                <a:lnTo>
                  <a:pt x="32" y="1092"/>
                </a:lnTo>
                <a:lnTo>
                  <a:pt x="31" y="1091"/>
                </a:lnTo>
                <a:lnTo>
                  <a:pt x="31" y="1088"/>
                </a:lnTo>
                <a:lnTo>
                  <a:pt x="30" y="1087"/>
                </a:lnTo>
                <a:lnTo>
                  <a:pt x="31" y="1086"/>
                </a:lnTo>
                <a:lnTo>
                  <a:pt x="33" y="1086"/>
                </a:lnTo>
                <a:lnTo>
                  <a:pt x="35" y="1085"/>
                </a:lnTo>
                <a:lnTo>
                  <a:pt x="30" y="1085"/>
                </a:lnTo>
                <a:lnTo>
                  <a:pt x="27" y="1083"/>
                </a:lnTo>
                <a:lnTo>
                  <a:pt x="26" y="1083"/>
                </a:lnTo>
                <a:lnTo>
                  <a:pt x="26" y="1085"/>
                </a:lnTo>
                <a:lnTo>
                  <a:pt x="25" y="1085"/>
                </a:lnTo>
                <a:lnTo>
                  <a:pt x="25" y="1082"/>
                </a:lnTo>
                <a:lnTo>
                  <a:pt x="29" y="1079"/>
                </a:lnTo>
                <a:lnTo>
                  <a:pt x="30" y="1079"/>
                </a:lnTo>
                <a:lnTo>
                  <a:pt x="29" y="1078"/>
                </a:lnTo>
                <a:lnTo>
                  <a:pt x="26" y="1078"/>
                </a:lnTo>
                <a:lnTo>
                  <a:pt x="26" y="1076"/>
                </a:lnTo>
                <a:lnTo>
                  <a:pt x="24" y="1074"/>
                </a:lnTo>
                <a:lnTo>
                  <a:pt x="23" y="1074"/>
                </a:lnTo>
                <a:lnTo>
                  <a:pt x="24" y="1073"/>
                </a:lnTo>
                <a:lnTo>
                  <a:pt x="24" y="1072"/>
                </a:lnTo>
                <a:lnTo>
                  <a:pt x="25" y="1072"/>
                </a:lnTo>
                <a:lnTo>
                  <a:pt x="24" y="1070"/>
                </a:lnTo>
                <a:lnTo>
                  <a:pt x="25" y="1069"/>
                </a:lnTo>
                <a:lnTo>
                  <a:pt x="27" y="1069"/>
                </a:lnTo>
                <a:lnTo>
                  <a:pt x="27" y="1067"/>
                </a:lnTo>
                <a:lnTo>
                  <a:pt x="26" y="1066"/>
                </a:lnTo>
                <a:lnTo>
                  <a:pt x="26" y="1064"/>
                </a:lnTo>
                <a:lnTo>
                  <a:pt x="29" y="1061"/>
                </a:lnTo>
                <a:lnTo>
                  <a:pt x="29" y="1052"/>
                </a:lnTo>
                <a:lnTo>
                  <a:pt x="30" y="1052"/>
                </a:lnTo>
                <a:lnTo>
                  <a:pt x="30" y="1049"/>
                </a:lnTo>
                <a:lnTo>
                  <a:pt x="29" y="1051"/>
                </a:lnTo>
                <a:lnTo>
                  <a:pt x="27" y="1051"/>
                </a:lnTo>
                <a:lnTo>
                  <a:pt x="25" y="1052"/>
                </a:lnTo>
                <a:lnTo>
                  <a:pt x="21" y="1052"/>
                </a:lnTo>
                <a:lnTo>
                  <a:pt x="21" y="1051"/>
                </a:lnTo>
                <a:lnTo>
                  <a:pt x="19" y="1051"/>
                </a:lnTo>
                <a:lnTo>
                  <a:pt x="17" y="1054"/>
                </a:lnTo>
                <a:lnTo>
                  <a:pt x="15" y="1054"/>
                </a:lnTo>
                <a:lnTo>
                  <a:pt x="12" y="1050"/>
                </a:lnTo>
                <a:lnTo>
                  <a:pt x="12" y="1049"/>
                </a:lnTo>
                <a:lnTo>
                  <a:pt x="13" y="1048"/>
                </a:lnTo>
                <a:lnTo>
                  <a:pt x="18" y="1044"/>
                </a:lnTo>
                <a:lnTo>
                  <a:pt x="20" y="1042"/>
                </a:lnTo>
                <a:lnTo>
                  <a:pt x="23" y="1042"/>
                </a:lnTo>
                <a:lnTo>
                  <a:pt x="23" y="1039"/>
                </a:lnTo>
                <a:lnTo>
                  <a:pt x="24" y="1039"/>
                </a:lnTo>
                <a:lnTo>
                  <a:pt x="24" y="1038"/>
                </a:lnTo>
                <a:lnTo>
                  <a:pt x="25" y="1037"/>
                </a:lnTo>
                <a:lnTo>
                  <a:pt x="26" y="1038"/>
                </a:lnTo>
                <a:lnTo>
                  <a:pt x="26" y="1039"/>
                </a:lnTo>
                <a:lnTo>
                  <a:pt x="29" y="1042"/>
                </a:lnTo>
                <a:lnTo>
                  <a:pt x="29" y="1043"/>
                </a:lnTo>
                <a:lnTo>
                  <a:pt x="30" y="1044"/>
                </a:lnTo>
                <a:lnTo>
                  <a:pt x="30" y="1045"/>
                </a:lnTo>
                <a:lnTo>
                  <a:pt x="32" y="1045"/>
                </a:lnTo>
                <a:lnTo>
                  <a:pt x="32" y="1044"/>
                </a:lnTo>
                <a:lnTo>
                  <a:pt x="31" y="1043"/>
                </a:lnTo>
                <a:lnTo>
                  <a:pt x="31" y="1040"/>
                </a:lnTo>
                <a:lnTo>
                  <a:pt x="30" y="1039"/>
                </a:lnTo>
                <a:lnTo>
                  <a:pt x="30" y="1038"/>
                </a:lnTo>
                <a:lnTo>
                  <a:pt x="29" y="1037"/>
                </a:lnTo>
                <a:lnTo>
                  <a:pt x="30" y="1036"/>
                </a:lnTo>
                <a:lnTo>
                  <a:pt x="32" y="1035"/>
                </a:lnTo>
                <a:lnTo>
                  <a:pt x="32" y="1033"/>
                </a:lnTo>
                <a:lnTo>
                  <a:pt x="31" y="1033"/>
                </a:lnTo>
                <a:lnTo>
                  <a:pt x="29" y="1035"/>
                </a:lnTo>
                <a:lnTo>
                  <a:pt x="26" y="1035"/>
                </a:lnTo>
                <a:lnTo>
                  <a:pt x="26" y="1036"/>
                </a:lnTo>
                <a:lnTo>
                  <a:pt x="24" y="1036"/>
                </a:lnTo>
                <a:lnTo>
                  <a:pt x="21" y="1038"/>
                </a:lnTo>
                <a:lnTo>
                  <a:pt x="21" y="1039"/>
                </a:lnTo>
                <a:lnTo>
                  <a:pt x="20" y="1040"/>
                </a:lnTo>
                <a:lnTo>
                  <a:pt x="18" y="1040"/>
                </a:lnTo>
                <a:lnTo>
                  <a:pt x="18" y="1042"/>
                </a:lnTo>
                <a:lnTo>
                  <a:pt x="17" y="1042"/>
                </a:lnTo>
                <a:lnTo>
                  <a:pt x="15" y="1040"/>
                </a:lnTo>
                <a:lnTo>
                  <a:pt x="17" y="1038"/>
                </a:lnTo>
                <a:lnTo>
                  <a:pt x="17" y="1037"/>
                </a:lnTo>
                <a:lnTo>
                  <a:pt x="19" y="1032"/>
                </a:lnTo>
                <a:lnTo>
                  <a:pt x="21" y="1030"/>
                </a:lnTo>
                <a:lnTo>
                  <a:pt x="20" y="1030"/>
                </a:lnTo>
                <a:lnTo>
                  <a:pt x="21" y="1029"/>
                </a:lnTo>
                <a:lnTo>
                  <a:pt x="21" y="1027"/>
                </a:lnTo>
                <a:lnTo>
                  <a:pt x="24" y="1027"/>
                </a:lnTo>
                <a:lnTo>
                  <a:pt x="23" y="1026"/>
                </a:lnTo>
                <a:lnTo>
                  <a:pt x="21" y="1026"/>
                </a:lnTo>
                <a:lnTo>
                  <a:pt x="20" y="1027"/>
                </a:lnTo>
                <a:lnTo>
                  <a:pt x="20" y="1029"/>
                </a:lnTo>
                <a:lnTo>
                  <a:pt x="19" y="1027"/>
                </a:lnTo>
                <a:lnTo>
                  <a:pt x="19" y="1025"/>
                </a:lnTo>
                <a:lnTo>
                  <a:pt x="18" y="1024"/>
                </a:lnTo>
                <a:lnTo>
                  <a:pt x="18" y="1032"/>
                </a:lnTo>
                <a:lnTo>
                  <a:pt x="17" y="1033"/>
                </a:lnTo>
                <a:lnTo>
                  <a:pt x="15" y="1036"/>
                </a:lnTo>
                <a:lnTo>
                  <a:pt x="14" y="1037"/>
                </a:lnTo>
                <a:lnTo>
                  <a:pt x="14" y="1036"/>
                </a:lnTo>
                <a:lnTo>
                  <a:pt x="13" y="1036"/>
                </a:lnTo>
                <a:lnTo>
                  <a:pt x="12" y="1037"/>
                </a:lnTo>
                <a:lnTo>
                  <a:pt x="11" y="1036"/>
                </a:lnTo>
                <a:lnTo>
                  <a:pt x="12" y="1035"/>
                </a:lnTo>
                <a:lnTo>
                  <a:pt x="12" y="1033"/>
                </a:lnTo>
                <a:lnTo>
                  <a:pt x="13" y="1033"/>
                </a:lnTo>
                <a:lnTo>
                  <a:pt x="13" y="1030"/>
                </a:lnTo>
                <a:lnTo>
                  <a:pt x="12" y="1030"/>
                </a:lnTo>
                <a:lnTo>
                  <a:pt x="12" y="1031"/>
                </a:lnTo>
                <a:lnTo>
                  <a:pt x="11" y="1032"/>
                </a:lnTo>
                <a:lnTo>
                  <a:pt x="11" y="1033"/>
                </a:lnTo>
                <a:lnTo>
                  <a:pt x="10" y="1033"/>
                </a:lnTo>
                <a:lnTo>
                  <a:pt x="10" y="1032"/>
                </a:lnTo>
                <a:lnTo>
                  <a:pt x="12" y="1029"/>
                </a:lnTo>
                <a:lnTo>
                  <a:pt x="12" y="1027"/>
                </a:lnTo>
                <a:lnTo>
                  <a:pt x="10" y="1030"/>
                </a:lnTo>
                <a:lnTo>
                  <a:pt x="10" y="1031"/>
                </a:lnTo>
                <a:lnTo>
                  <a:pt x="8" y="1032"/>
                </a:lnTo>
                <a:lnTo>
                  <a:pt x="7" y="1031"/>
                </a:lnTo>
                <a:lnTo>
                  <a:pt x="6" y="1031"/>
                </a:lnTo>
                <a:lnTo>
                  <a:pt x="5" y="1033"/>
                </a:lnTo>
                <a:lnTo>
                  <a:pt x="5" y="1031"/>
                </a:lnTo>
                <a:lnTo>
                  <a:pt x="4" y="1029"/>
                </a:lnTo>
                <a:lnTo>
                  <a:pt x="4" y="1027"/>
                </a:lnTo>
                <a:lnTo>
                  <a:pt x="5" y="1026"/>
                </a:lnTo>
                <a:lnTo>
                  <a:pt x="6" y="1027"/>
                </a:lnTo>
                <a:lnTo>
                  <a:pt x="6" y="1025"/>
                </a:lnTo>
                <a:lnTo>
                  <a:pt x="7" y="1024"/>
                </a:lnTo>
                <a:lnTo>
                  <a:pt x="7" y="1023"/>
                </a:lnTo>
                <a:lnTo>
                  <a:pt x="6" y="1023"/>
                </a:lnTo>
                <a:lnTo>
                  <a:pt x="6" y="1021"/>
                </a:lnTo>
                <a:lnTo>
                  <a:pt x="5" y="1020"/>
                </a:lnTo>
                <a:lnTo>
                  <a:pt x="6" y="1019"/>
                </a:lnTo>
                <a:lnTo>
                  <a:pt x="6" y="1015"/>
                </a:lnTo>
                <a:lnTo>
                  <a:pt x="7" y="1015"/>
                </a:lnTo>
                <a:lnTo>
                  <a:pt x="7" y="1014"/>
                </a:lnTo>
                <a:lnTo>
                  <a:pt x="6" y="1014"/>
                </a:lnTo>
                <a:lnTo>
                  <a:pt x="6" y="1008"/>
                </a:lnTo>
                <a:lnTo>
                  <a:pt x="4" y="1006"/>
                </a:lnTo>
                <a:lnTo>
                  <a:pt x="4" y="1005"/>
                </a:lnTo>
                <a:lnTo>
                  <a:pt x="5" y="1003"/>
                </a:lnTo>
                <a:lnTo>
                  <a:pt x="2" y="1003"/>
                </a:lnTo>
                <a:lnTo>
                  <a:pt x="2" y="1001"/>
                </a:lnTo>
                <a:lnTo>
                  <a:pt x="4" y="1000"/>
                </a:lnTo>
                <a:lnTo>
                  <a:pt x="4" y="997"/>
                </a:lnTo>
                <a:lnTo>
                  <a:pt x="5" y="997"/>
                </a:lnTo>
                <a:lnTo>
                  <a:pt x="5" y="993"/>
                </a:lnTo>
                <a:lnTo>
                  <a:pt x="4" y="993"/>
                </a:lnTo>
                <a:lnTo>
                  <a:pt x="4" y="987"/>
                </a:lnTo>
                <a:lnTo>
                  <a:pt x="1" y="986"/>
                </a:lnTo>
                <a:lnTo>
                  <a:pt x="0" y="984"/>
                </a:lnTo>
                <a:lnTo>
                  <a:pt x="0" y="982"/>
                </a:lnTo>
                <a:lnTo>
                  <a:pt x="1" y="982"/>
                </a:lnTo>
                <a:lnTo>
                  <a:pt x="2" y="981"/>
                </a:lnTo>
                <a:lnTo>
                  <a:pt x="0" y="981"/>
                </a:lnTo>
                <a:lnTo>
                  <a:pt x="0" y="977"/>
                </a:lnTo>
                <a:lnTo>
                  <a:pt x="5" y="972"/>
                </a:lnTo>
                <a:lnTo>
                  <a:pt x="10" y="972"/>
                </a:lnTo>
                <a:lnTo>
                  <a:pt x="11" y="975"/>
                </a:lnTo>
                <a:lnTo>
                  <a:pt x="11" y="976"/>
                </a:lnTo>
                <a:lnTo>
                  <a:pt x="12" y="978"/>
                </a:lnTo>
                <a:lnTo>
                  <a:pt x="13" y="980"/>
                </a:lnTo>
                <a:lnTo>
                  <a:pt x="13" y="981"/>
                </a:lnTo>
                <a:lnTo>
                  <a:pt x="14" y="983"/>
                </a:lnTo>
                <a:lnTo>
                  <a:pt x="14" y="988"/>
                </a:lnTo>
                <a:lnTo>
                  <a:pt x="15" y="989"/>
                </a:lnTo>
                <a:lnTo>
                  <a:pt x="21" y="989"/>
                </a:lnTo>
                <a:lnTo>
                  <a:pt x="23" y="987"/>
                </a:lnTo>
                <a:lnTo>
                  <a:pt x="24" y="982"/>
                </a:lnTo>
                <a:lnTo>
                  <a:pt x="25" y="980"/>
                </a:lnTo>
                <a:lnTo>
                  <a:pt x="25" y="978"/>
                </a:lnTo>
                <a:lnTo>
                  <a:pt x="26" y="975"/>
                </a:lnTo>
                <a:lnTo>
                  <a:pt x="26" y="969"/>
                </a:lnTo>
                <a:lnTo>
                  <a:pt x="27" y="963"/>
                </a:lnTo>
                <a:lnTo>
                  <a:pt x="29" y="962"/>
                </a:lnTo>
                <a:lnTo>
                  <a:pt x="29" y="960"/>
                </a:lnTo>
                <a:lnTo>
                  <a:pt x="30" y="959"/>
                </a:lnTo>
                <a:lnTo>
                  <a:pt x="30" y="958"/>
                </a:lnTo>
                <a:lnTo>
                  <a:pt x="29" y="956"/>
                </a:lnTo>
                <a:lnTo>
                  <a:pt x="29" y="950"/>
                </a:lnTo>
                <a:lnTo>
                  <a:pt x="24" y="934"/>
                </a:lnTo>
                <a:lnTo>
                  <a:pt x="24" y="928"/>
                </a:lnTo>
                <a:lnTo>
                  <a:pt x="30" y="926"/>
                </a:lnTo>
                <a:lnTo>
                  <a:pt x="31" y="925"/>
                </a:lnTo>
                <a:lnTo>
                  <a:pt x="32" y="921"/>
                </a:lnTo>
                <a:lnTo>
                  <a:pt x="33" y="921"/>
                </a:lnTo>
                <a:lnTo>
                  <a:pt x="33" y="915"/>
                </a:lnTo>
                <a:lnTo>
                  <a:pt x="32" y="914"/>
                </a:lnTo>
                <a:lnTo>
                  <a:pt x="32" y="913"/>
                </a:lnTo>
                <a:lnTo>
                  <a:pt x="31" y="911"/>
                </a:lnTo>
                <a:lnTo>
                  <a:pt x="31" y="908"/>
                </a:lnTo>
                <a:lnTo>
                  <a:pt x="32" y="907"/>
                </a:lnTo>
                <a:lnTo>
                  <a:pt x="32" y="906"/>
                </a:lnTo>
                <a:lnTo>
                  <a:pt x="43" y="906"/>
                </a:lnTo>
                <a:lnTo>
                  <a:pt x="50" y="901"/>
                </a:lnTo>
                <a:lnTo>
                  <a:pt x="56" y="892"/>
                </a:lnTo>
                <a:lnTo>
                  <a:pt x="57" y="890"/>
                </a:lnTo>
                <a:lnTo>
                  <a:pt x="60" y="883"/>
                </a:lnTo>
                <a:lnTo>
                  <a:pt x="60" y="880"/>
                </a:lnTo>
                <a:lnTo>
                  <a:pt x="58" y="874"/>
                </a:lnTo>
                <a:lnTo>
                  <a:pt x="58" y="870"/>
                </a:lnTo>
                <a:lnTo>
                  <a:pt x="61" y="866"/>
                </a:lnTo>
                <a:lnTo>
                  <a:pt x="62" y="865"/>
                </a:lnTo>
                <a:lnTo>
                  <a:pt x="62" y="864"/>
                </a:lnTo>
                <a:lnTo>
                  <a:pt x="63" y="861"/>
                </a:lnTo>
                <a:lnTo>
                  <a:pt x="63" y="855"/>
                </a:lnTo>
                <a:lnTo>
                  <a:pt x="62" y="853"/>
                </a:lnTo>
                <a:lnTo>
                  <a:pt x="57" y="841"/>
                </a:lnTo>
                <a:lnTo>
                  <a:pt x="54" y="833"/>
                </a:lnTo>
                <a:lnTo>
                  <a:pt x="51" y="826"/>
                </a:lnTo>
                <a:lnTo>
                  <a:pt x="50" y="820"/>
                </a:lnTo>
                <a:lnTo>
                  <a:pt x="50" y="817"/>
                </a:lnTo>
                <a:lnTo>
                  <a:pt x="48" y="812"/>
                </a:lnTo>
                <a:lnTo>
                  <a:pt x="48" y="811"/>
                </a:lnTo>
                <a:lnTo>
                  <a:pt x="49" y="810"/>
                </a:lnTo>
                <a:lnTo>
                  <a:pt x="58" y="806"/>
                </a:lnTo>
                <a:lnTo>
                  <a:pt x="61" y="806"/>
                </a:lnTo>
                <a:lnTo>
                  <a:pt x="66" y="808"/>
                </a:lnTo>
                <a:lnTo>
                  <a:pt x="67" y="808"/>
                </a:lnTo>
                <a:lnTo>
                  <a:pt x="67" y="806"/>
                </a:lnTo>
                <a:lnTo>
                  <a:pt x="68" y="805"/>
                </a:lnTo>
                <a:lnTo>
                  <a:pt x="68" y="799"/>
                </a:lnTo>
                <a:lnTo>
                  <a:pt x="69" y="798"/>
                </a:lnTo>
                <a:lnTo>
                  <a:pt x="74" y="788"/>
                </a:lnTo>
                <a:lnTo>
                  <a:pt x="75" y="780"/>
                </a:lnTo>
                <a:lnTo>
                  <a:pt x="75" y="779"/>
                </a:lnTo>
                <a:lnTo>
                  <a:pt x="74" y="779"/>
                </a:lnTo>
                <a:lnTo>
                  <a:pt x="63" y="763"/>
                </a:lnTo>
                <a:lnTo>
                  <a:pt x="61" y="761"/>
                </a:lnTo>
                <a:lnTo>
                  <a:pt x="56" y="761"/>
                </a:lnTo>
                <a:lnTo>
                  <a:pt x="55" y="760"/>
                </a:lnTo>
                <a:lnTo>
                  <a:pt x="51" y="755"/>
                </a:lnTo>
                <a:lnTo>
                  <a:pt x="44" y="748"/>
                </a:lnTo>
                <a:lnTo>
                  <a:pt x="44" y="747"/>
                </a:lnTo>
                <a:lnTo>
                  <a:pt x="48" y="724"/>
                </a:lnTo>
                <a:lnTo>
                  <a:pt x="50" y="701"/>
                </a:lnTo>
                <a:lnTo>
                  <a:pt x="50" y="697"/>
                </a:lnTo>
                <a:lnTo>
                  <a:pt x="49" y="692"/>
                </a:lnTo>
                <a:lnTo>
                  <a:pt x="40" y="669"/>
                </a:lnTo>
                <a:lnTo>
                  <a:pt x="40" y="668"/>
                </a:lnTo>
                <a:lnTo>
                  <a:pt x="42" y="665"/>
                </a:lnTo>
                <a:lnTo>
                  <a:pt x="43" y="661"/>
                </a:lnTo>
                <a:lnTo>
                  <a:pt x="44" y="658"/>
                </a:lnTo>
                <a:lnTo>
                  <a:pt x="44" y="656"/>
                </a:lnTo>
                <a:lnTo>
                  <a:pt x="42" y="642"/>
                </a:lnTo>
                <a:lnTo>
                  <a:pt x="42" y="638"/>
                </a:lnTo>
                <a:lnTo>
                  <a:pt x="46" y="631"/>
                </a:lnTo>
                <a:lnTo>
                  <a:pt x="39" y="612"/>
                </a:lnTo>
                <a:lnTo>
                  <a:pt x="37" y="605"/>
                </a:lnTo>
                <a:lnTo>
                  <a:pt x="46" y="589"/>
                </a:lnTo>
                <a:lnTo>
                  <a:pt x="46" y="584"/>
                </a:lnTo>
                <a:lnTo>
                  <a:pt x="44" y="575"/>
                </a:lnTo>
                <a:lnTo>
                  <a:pt x="50" y="570"/>
                </a:lnTo>
                <a:lnTo>
                  <a:pt x="57" y="554"/>
                </a:lnTo>
                <a:lnTo>
                  <a:pt x="66" y="541"/>
                </a:lnTo>
                <a:lnTo>
                  <a:pt x="69" y="538"/>
                </a:lnTo>
                <a:lnTo>
                  <a:pt x="79" y="530"/>
                </a:lnTo>
                <a:lnTo>
                  <a:pt x="89" y="528"/>
                </a:lnTo>
                <a:lnTo>
                  <a:pt x="104" y="532"/>
                </a:lnTo>
                <a:lnTo>
                  <a:pt x="119" y="535"/>
                </a:lnTo>
                <a:lnTo>
                  <a:pt x="120" y="535"/>
                </a:lnTo>
                <a:lnTo>
                  <a:pt x="120" y="534"/>
                </a:lnTo>
                <a:lnTo>
                  <a:pt x="128" y="520"/>
                </a:lnTo>
                <a:lnTo>
                  <a:pt x="129" y="519"/>
                </a:lnTo>
                <a:lnTo>
                  <a:pt x="129" y="516"/>
                </a:lnTo>
                <a:lnTo>
                  <a:pt x="126" y="493"/>
                </a:lnTo>
                <a:lnTo>
                  <a:pt x="125" y="491"/>
                </a:lnTo>
                <a:lnTo>
                  <a:pt x="124" y="490"/>
                </a:lnTo>
                <a:lnTo>
                  <a:pt x="120" y="490"/>
                </a:lnTo>
                <a:lnTo>
                  <a:pt x="119" y="489"/>
                </a:lnTo>
                <a:lnTo>
                  <a:pt x="106" y="479"/>
                </a:lnTo>
                <a:lnTo>
                  <a:pt x="118" y="460"/>
                </a:lnTo>
                <a:lnTo>
                  <a:pt x="129" y="440"/>
                </a:lnTo>
                <a:lnTo>
                  <a:pt x="135" y="430"/>
                </a:lnTo>
                <a:lnTo>
                  <a:pt x="136" y="427"/>
                </a:lnTo>
                <a:lnTo>
                  <a:pt x="137" y="417"/>
                </a:lnTo>
                <a:lnTo>
                  <a:pt x="138" y="415"/>
                </a:lnTo>
                <a:lnTo>
                  <a:pt x="138" y="412"/>
                </a:lnTo>
                <a:lnTo>
                  <a:pt x="142" y="410"/>
                </a:lnTo>
                <a:lnTo>
                  <a:pt x="143" y="406"/>
                </a:lnTo>
                <a:lnTo>
                  <a:pt x="143" y="392"/>
                </a:lnTo>
                <a:lnTo>
                  <a:pt x="145" y="368"/>
                </a:lnTo>
                <a:lnTo>
                  <a:pt x="145" y="366"/>
                </a:lnTo>
                <a:lnTo>
                  <a:pt x="149" y="360"/>
                </a:lnTo>
                <a:lnTo>
                  <a:pt x="149" y="353"/>
                </a:lnTo>
                <a:lnTo>
                  <a:pt x="144" y="324"/>
                </a:lnTo>
                <a:lnTo>
                  <a:pt x="155" y="323"/>
                </a:lnTo>
                <a:lnTo>
                  <a:pt x="166" y="320"/>
                </a:lnTo>
                <a:lnTo>
                  <a:pt x="185" y="308"/>
                </a:lnTo>
                <a:lnTo>
                  <a:pt x="185" y="301"/>
                </a:lnTo>
                <a:lnTo>
                  <a:pt x="184" y="300"/>
                </a:lnTo>
                <a:lnTo>
                  <a:pt x="182" y="288"/>
                </a:lnTo>
                <a:lnTo>
                  <a:pt x="182" y="286"/>
                </a:lnTo>
                <a:lnTo>
                  <a:pt x="192" y="274"/>
                </a:lnTo>
                <a:lnTo>
                  <a:pt x="207" y="243"/>
                </a:lnTo>
                <a:lnTo>
                  <a:pt x="211" y="238"/>
                </a:lnTo>
                <a:lnTo>
                  <a:pt x="219" y="230"/>
                </a:lnTo>
                <a:lnTo>
                  <a:pt x="222" y="228"/>
                </a:lnTo>
                <a:lnTo>
                  <a:pt x="223" y="227"/>
                </a:lnTo>
                <a:lnTo>
                  <a:pt x="224" y="225"/>
                </a:lnTo>
                <a:lnTo>
                  <a:pt x="225" y="210"/>
                </a:lnTo>
                <a:lnTo>
                  <a:pt x="224" y="209"/>
                </a:lnTo>
                <a:lnTo>
                  <a:pt x="211" y="184"/>
                </a:lnTo>
                <a:lnTo>
                  <a:pt x="213" y="177"/>
                </a:lnTo>
                <a:lnTo>
                  <a:pt x="215" y="175"/>
                </a:lnTo>
                <a:lnTo>
                  <a:pt x="222" y="173"/>
                </a:lnTo>
                <a:lnTo>
                  <a:pt x="224" y="172"/>
                </a:lnTo>
                <a:lnTo>
                  <a:pt x="226" y="170"/>
                </a:lnTo>
                <a:lnTo>
                  <a:pt x="231" y="163"/>
                </a:lnTo>
                <a:lnTo>
                  <a:pt x="231" y="160"/>
                </a:lnTo>
                <a:lnTo>
                  <a:pt x="238" y="134"/>
                </a:lnTo>
                <a:lnTo>
                  <a:pt x="240" y="132"/>
                </a:lnTo>
                <a:lnTo>
                  <a:pt x="240" y="130"/>
                </a:lnTo>
                <a:lnTo>
                  <a:pt x="257" y="116"/>
                </a:lnTo>
                <a:lnTo>
                  <a:pt x="261" y="109"/>
                </a:lnTo>
                <a:lnTo>
                  <a:pt x="262" y="109"/>
                </a:lnTo>
                <a:lnTo>
                  <a:pt x="286" y="123"/>
                </a:lnTo>
                <a:lnTo>
                  <a:pt x="287" y="123"/>
                </a:lnTo>
                <a:lnTo>
                  <a:pt x="290" y="118"/>
                </a:lnTo>
                <a:lnTo>
                  <a:pt x="298" y="103"/>
                </a:lnTo>
                <a:lnTo>
                  <a:pt x="298" y="98"/>
                </a:lnTo>
                <a:lnTo>
                  <a:pt x="296" y="75"/>
                </a:lnTo>
                <a:lnTo>
                  <a:pt x="296" y="72"/>
                </a:lnTo>
                <a:lnTo>
                  <a:pt x="297" y="61"/>
                </a:lnTo>
                <a:lnTo>
                  <a:pt x="297" y="60"/>
                </a:lnTo>
                <a:lnTo>
                  <a:pt x="298" y="59"/>
                </a:lnTo>
                <a:lnTo>
                  <a:pt x="309" y="55"/>
                </a:lnTo>
                <a:lnTo>
                  <a:pt x="311" y="56"/>
                </a:lnTo>
                <a:lnTo>
                  <a:pt x="317" y="63"/>
                </a:lnTo>
                <a:lnTo>
                  <a:pt x="319" y="63"/>
                </a:lnTo>
                <a:lnTo>
                  <a:pt x="334" y="62"/>
                </a:lnTo>
                <a:lnTo>
                  <a:pt x="353" y="72"/>
                </a:lnTo>
                <a:lnTo>
                  <a:pt x="372" y="80"/>
                </a:lnTo>
                <a:lnTo>
                  <a:pt x="373" y="80"/>
                </a:lnTo>
                <a:lnTo>
                  <a:pt x="375" y="79"/>
                </a:lnTo>
                <a:lnTo>
                  <a:pt x="385" y="66"/>
                </a:lnTo>
                <a:lnTo>
                  <a:pt x="373" y="59"/>
                </a:lnTo>
                <a:lnTo>
                  <a:pt x="381" y="50"/>
                </a:lnTo>
                <a:lnTo>
                  <a:pt x="385" y="44"/>
                </a:lnTo>
                <a:lnTo>
                  <a:pt x="389" y="32"/>
                </a:lnTo>
                <a:lnTo>
                  <a:pt x="390" y="30"/>
                </a:lnTo>
                <a:lnTo>
                  <a:pt x="390" y="16"/>
                </a:lnTo>
                <a:lnTo>
                  <a:pt x="379" y="3"/>
                </a:lnTo>
                <a:lnTo>
                  <a:pt x="390" y="1"/>
                </a:lnTo>
                <a:lnTo>
                  <a:pt x="402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" name="Freeform 14">
            <a:extLst>
              <a:ext uri="{FF2B5EF4-FFF2-40B4-BE49-F238E27FC236}">
                <a16:creationId xmlns:a16="http://schemas.microsoft.com/office/drawing/2014/main" id="{8676A42F-24A8-42BF-9A01-A480B74E9ECB}"/>
              </a:ext>
            </a:extLst>
          </p:cNvPr>
          <p:cNvSpPr>
            <a:spLocks/>
          </p:cNvSpPr>
          <p:nvPr/>
        </p:nvSpPr>
        <p:spPr bwMode="auto">
          <a:xfrm>
            <a:off x="1989492" y="5255159"/>
            <a:ext cx="5796" cy="8694"/>
          </a:xfrm>
          <a:custGeom>
            <a:avLst/>
            <a:gdLst/>
            <a:ahLst/>
            <a:cxnLst>
              <a:cxn ang="0">
                <a:pos x="3" y="0"/>
              </a:cxn>
              <a:cxn ang="0">
                <a:pos x="4" y="1"/>
              </a:cxn>
              <a:cxn ang="0">
                <a:pos x="4" y="3"/>
              </a:cxn>
              <a:cxn ang="0">
                <a:pos x="3" y="4"/>
              </a:cxn>
              <a:cxn ang="0">
                <a:pos x="3" y="6"/>
              </a:cxn>
              <a:cxn ang="0">
                <a:pos x="1" y="6"/>
              </a:cxn>
              <a:cxn ang="0">
                <a:pos x="0" y="5"/>
              </a:cxn>
              <a:cxn ang="0">
                <a:pos x="0" y="3"/>
              </a:cxn>
              <a:cxn ang="0">
                <a:pos x="1" y="1"/>
              </a:cxn>
              <a:cxn ang="0">
                <a:pos x="2" y="1"/>
              </a:cxn>
              <a:cxn ang="0">
                <a:pos x="3" y="0"/>
              </a:cxn>
            </a:cxnLst>
            <a:rect l="0" t="0" r="r" b="b"/>
            <a:pathLst>
              <a:path w="4" h="6">
                <a:moveTo>
                  <a:pt x="3" y="0"/>
                </a:moveTo>
                <a:lnTo>
                  <a:pt x="4" y="1"/>
                </a:lnTo>
                <a:lnTo>
                  <a:pt x="4" y="3"/>
                </a:lnTo>
                <a:lnTo>
                  <a:pt x="3" y="4"/>
                </a:lnTo>
                <a:lnTo>
                  <a:pt x="3" y="6"/>
                </a:lnTo>
                <a:lnTo>
                  <a:pt x="1" y="6"/>
                </a:lnTo>
                <a:lnTo>
                  <a:pt x="0" y="5"/>
                </a:lnTo>
                <a:lnTo>
                  <a:pt x="0" y="3"/>
                </a:lnTo>
                <a:lnTo>
                  <a:pt x="1" y="1"/>
                </a:lnTo>
                <a:lnTo>
                  <a:pt x="2" y="1"/>
                </a:lnTo>
                <a:lnTo>
                  <a:pt x="3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" name="Freeform 15">
            <a:extLst>
              <a:ext uri="{FF2B5EF4-FFF2-40B4-BE49-F238E27FC236}">
                <a16:creationId xmlns:a16="http://schemas.microsoft.com/office/drawing/2014/main" id="{6520FA5E-8833-4D0F-AFBD-065121FA5E52}"/>
              </a:ext>
            </a:extLst>
          </p:cNvPr>
          <p:cNvSpPr>
            <a:spLocks/>
          </p:cNvSpPr>
          <p:nvPr/>
        </p:nvSpPr>
        <p:spPr bwMode="auto">
          <a:xfrm>
            <a:off x="2048898" y="5004492"/>
            <a:ext cx="192709" cy="127507"/>
          </a:xfrm>
          <a:custGeom>
            <a:avLst/>
            <a:gdLst/>
            <a:ahLst/>
            <a:cxnLst>
              <a:cxn ang="0">
                <a:pos x="123" y="6"/>
              </a:cxn>
              <a:cxn ang="0">
                <a:pos x="128" y="13"/>
              </a:cxn>
              <a:cxn ang="0">
                <a:pos x="129" y="17"/>
              </a:cxn>
              <a:cxn ang="0">
                <a:pos x="131" y="21"/>
              </a:cxn>
              <a:cxn ang="0">
                <a:pos x="124" y="21"/>
              </a:cxn>
              <a:cxn ang="0">
                <a:pos x="122" y="26"/>
              </a:cxn>
              <a:cxn ang="0">
                <a:pos x="118" y="31"/>
              </a:cxn>
              <a:cxn ang="0">
                <a:pos x="115" y="31"/>
              </a:cxn>
              <a:cxn ang="0">
                <a:pos x="111" y="36"/>
              </a:cxn>
              <a:cxn ang="0">
                <a:pos x="104" y="38"/>
              </a:cxn>
              <a:cxn ang="0">
                <a:pos x="96" y="42"/>
              </a:cxn>
              <a:cxn ang="0">
                <a:pos x="97" y="50"/>
              </a:cxn>
              <a:cxn ang="0">
                <a:pos x="97" y="63"/>
              </a:cxn>
              <a:cxn ang="0">
                <a:pos x="91" y="64"/>
              </a:cxn>
              <a:cxn ang="0">
                <a:pos x="81" y="69"/>
              </a:cxn>
              <a:cxn ang="0">
                <a:pos x="80" y="73"/>
              </a:cxn>
              <a:cxn ang="0">
                <a:pos x="81" y="75"/>
              </a:cxn>
              <a:cxn ang="0">
                <a:pos x="81" y="84"/>
              </a:cxn>
              <a:cxn ang="0">
                <a:pos x="78" y="87"/>
              </a:cxn>
              <a:cxn ang="0">
                <a:pos x="68" y="85"/>
              </a:cxn>
              <a:cxn ang="0">
                <a:pos x="65" y="82"/>
              </a:cxn>
              <a:cxn ang="0">
                <a:pos x="60" y="84"/>
              </a:cxn>
              <a:cxn ang="0">
                <a:pos x="53" y="78"/>
              </a:cxn>
              <a:cxn ang="0">
                <a:pos x="49" y="75"/>
              </a:cxn>
              <a:cxn ang="0">
                <a:pos x="42" y="85"/>
              </a:cxn>
              <a:cxn ang="0">
                <a:pos x="33" y="85"/>
              </a:cxn>
              <a:cxn ang="0">
                <a:pos x="27" y="82"/>
              </a:cxn>
              <a:cxn ang="0">
                <a:pos x="22" y="88"/>
              </a:cxn>
              <a:cxn ang="0">
                <a:pos x="17" y="86"/>
              </a:cxn>
              <a:cxn ang="0">
                <a:pos x="9" y="82"/>
              </a:cxn>
              <a:cxn ang="0">
                <a:pos x="16" y="79"/>
              </a:cxn>
              <a:cxn ang="0">
                <a:pos x="18" y="79"/>
              </a:cxn>
              <a:cxn ang="0">
                <a:pos x="22" y="75"/>
              </a:cxn>
              <a:cxn ang="0">
                <a:pos x="15" y="68"/>
              </a:cxn>
              <a:cxn ang="0">
                <a:pos x="9" y="62"/>
              </a:cxn>
              <a:cxn ang="0">
                <a:pos x="10" y="54"/>
              </a:cxn>
              <a:cxn ang="0">
                <a:pos x="4" y="54"/>
              </a:cxn>
              <a:cxn ang="0">
                <a:pos x="10" y="45"/>
              </a:cxn>
              <a:cxn ang="0">
                <a:pos x="6" y="41"/>
              </a:cxn>
              <a:cxn ang="0">
                <a:pos x="3" y="41"/>
              </a:cxn>
              <a:cxn ang="0">
                <a:pos x="0" y="36"/>
              </a:cxn>
              <a:cxn ang="0">
                <a:pos x="5" y="31"/>
              </a:cxn>
              <a:cxn ang="0">
                <a:pos x="15" y="21"/>
              </a:cxn>
              <a:cxn ang="0">
                <a:pos x="22" y="23"/>
              </a:cxn>
              <a:cxn ang="0">
                <a:pos x="43" y="26"/>
              </a:cxn>
              <a:cxn ang="0">
                <a:pos x="47" y="29"/>
              </a:cxn>
              <a:cxn ang="0">
                <a:pos x="50" y="30"/>
              </a:cxn>
              <a:cxn ang="0">
                <a:pos x="54" y="26"/>
              </a:cxn>
              <a:cxn ang="0">
                <a:pos x="58" y="24"/>
              </a:cxn>
              <a:cxn ang="0">
                <a:pos x="61" y="20"/>
              </a:cxn>
              <a:cxn ang="0">
                <a:pos x="65" y="17"/>
              </a:cxn>
              <a:cxn ang="0">
                <a:pos x="69" y="14"/>
              </a:cxn>
              <a:cxn ang="0">
                <a:pos x="87" y="15"/>
              </a:cxn>
              <a:cxn ang="0">
                <a:pos x="96" y="12"/>
              </a:cxn>
              <a:cxn ang="0">
                <a:pos x="100" y="11"/>
              </a:cxn>
              <a:cxn ang="0">
                <a:pos x="110" y="11"/>
              </a:cxn>
              <a:cxn ang="0">
                <a:pos x="110" y="2"/>
              </a:cxn>
              <a:cxn ang="0">
                <a:pos x="122" y="0"/>
              </a:cxn>
            </a:cxnLst>
            <a:rect l="0" t="0" r="r" b="b"/>
            <a:pathLst>
              <a:path w="133" h="88">
                <a:moveTo>
                  <a:pt x="122" y="0"/>
                </a:moveTo>
                <a:lnTo>
                  <a:pt x="124" y="2"/>
                </a:lnTo>
                <a:lnTo>
                  <a:pt x="124" y="5"/>
                </a:lnTo>
                <a:lnTo>
                  <a:pt x="123" y="6"/>
                </a:lnTo>
                <a:lnTo>
                  <a:pt x="124" y="8"/>
                </a:lnTo>
                <a:lnTo>
                  <a:pt x="127" y="11"/>
                </a:lnTo>
                <a:lnTo>
                  <a:pt x="128" y="11"/>
                </a:lnTo>
                <a:lnTo>
                  <a:pt x="128" y="13"/>
                </a:lnTo>
                <a:lnTo>
                  <a:pt x="127" y="13"/>
                </a:lnTo>
                <a:lnTo>
                  <a:pt x="127" y="15"/>
                </a:lnTo>
                <a:lnTo>
                  <a:pt x="128" y="15"/>
                </a:lnTo>
                <a:lnTo>
                  <a:pt x="129" y="17"/>
                </a:lnTo>
                <a:lnTo>
                  <a:pt x="130" y="19"/>
                </a:lnTo>
                <a:lnTo>
                  <a:pt x="133" y="20"/>
                </a:lnTo>
                <a:lnTo>
                  <a:pt x="133" y="23"/>
                </a:lnTo>
                <a:lnTo>
                  <a:pt x="131" y="21"/>
                </a:lnTo>
                <a:lnTo>
                  <a:pt x="129" y="21"/>
                </a:lnTo>
                <a:lnTo>
                  <a:pt x="129" y="20"/>
                </a:lnTo>
                <a:lnTo>
                  <a:pt x="125" y="20"/>
                </a:lnTo>
                <a:lnTo>
                  <a:pt x="124" y="21"/>
                </a:lnTo>
                <a:lnTo>
                  <a:pt x="122" y="21"/>
                </a:lnTo>
                <a:lnTo>
                  <a:pt x="121" y="24"/>
                </a:lnTo>
                <a:lnTo>
                  <a:pt x="121" y="25"/>
                </a:lnTo>
                <a:lnTo>
                  <a:pt x="122" y="26"/>
                </a:lnTo>
                <a:lnTo>
                  <a:pt x="122" y="29"/>
                </a:lnTo>
                <a:lnTo>
                  <a:pt x="123" y="30"/>
                </a:lnTo>
                <a:lnTo>
                  <a:pt x="123" y="31"/>
                </a:lnTo>
                <a:lnTo>
                  <a:pt x="118" y="31"/>
                </a:lnTo>
                <a:lnTo>
                  <a:pt x="117" y="30"/>
                </a:lnTo>
                <a:lnTo>
                  <a:pt x="116" y="30"/>
                </a:lnTo>
                <a:lnTo>
                  <a:pt x="116" y="31"/>
                </a:lnTo>
                <a:lnTo>
                  <a:pt x="115" y="31"/>
                </a:lnTo>
                <a:lnTo>
                  <a:pt x="114" y="30"/>
                </a:lnTo>
                <a:lnTo>
                  <a:pt x="114" y="35"/>
                </a:lnTo>
                <a:lnTo>
                  <a:pt x="112" y="35"/>
                </a:lnTo>
                <a:lnTo>
                  <a:pt x="111" y="36"/>
                </a:lnTo>
                <a:lnTo>
                  <a:pt x="109" y="36"/>
                </a:lnTo>
                <a:lnTo>
                  <a:pt x="108" y="37"/>
                </a:lnTo>
                <a:lnTo>
                  <a:pt x="106" y="37"/>
                </a:lnTo>
                <a:lnTo>
                  <a:pt x="104" y="38"/>
                </a:lnTo>
                <a:lnTo>
                  <a:pt x="102" y="38"/>
                </a:lnTo>
                <a:lnTo>
                  <a:pt x="102" y="41"/>
                </a:lnTo>
                <a:lnTo>
                  <a:pt x="96" y="41"/>
                </a:lnTo>
                <a:lnTo>
                  <a:pt x="96" y="42"/>
                </a:lnTo>
                <a:lnTo>
                  <a:pt x="94" y="43"/>
                </a:lnTo>
                <a:lnTo>
                  <a:pt x="93" y="45"/>
                </a:lnTo>
                <a:lnTo>
                  <a:pt x="93" y="47"/>
                </a:lnTo>
                <a:lnTo>
                  <a:pt x="97" y="50"/>
                </a:lnTo>
                <a:lnTo>
                  <a:pt x="98" y="50"/>
                </a:lnTo>
                <a:lnTo>
                  <a:pt x="98" y="52"/>
                </a:lnTo>
                <a:lnTo>
                  <a:pt x="97" y="54"/>
                </a:lnTo>
                <a:lnTo>
                  <a:pt x="97" y="63"/>
                </a:lnTo>
                <a:lnTo>
                  <a:pt x="96" y="64"/>
                </a:lnTo>
                <a:lnTo>
                  <a:pt x="92" y="64"/>
                </a:lnTo>
                <a:lnTo>
                  <a:pt x="91" y="63"/>
                </a:lnTo>
                <a:lnTo>
                  <a:pt x="91" y="64"/>
                </a:lnTo>
                <a:lnTo>
                  <a:pt x="87" y="64"/>
                </a:lnTo>
                <a:lnTo>
                  <a:pt x="87" y="67"/>
                </a:lnTo>
                <a:lnTo>
                  <a:pt x="81" y="68"/>
                </a:lnTo>
                <a:lnTo>
                  <a:pt x="81" y="69"/>
                </a:lnTo>
                <a:lnTo>
                  <a:pt x="80" y="69"/>
                </a:lnTo>
                <a:lnTo>
                  <a:pt x="79" y="70"/>
                </a:lnTo>
                <a:lnTo>
                  <a:pt x="80" y="72"/>
                </a:lnTo>
                <a:lnTo>
                  <a:pt x="80" y="73"/>
                </a:lnTo>
                <a:lnTo>
                  <a:pt x="84" y="73"/>
                </a:lnTo>
                <a:lnTo>
                  <a:pt x="84" y="74"/>
                </a:lnTo>
                <a:lnTo>
                  <a:pt x="85" y="75"/>
                </a:lnTo>
                <a:lnTo>
                  <a:pt x="81" y="75"/>
                </a:lnTo>
                <a:lnTo>
                  <a:pt x="80" y="78"/>
                </a:lnTo>
                <a:lnTo>
                  <a:pt x="80" y="79"/>
                </a:lnTo>
                <a:lnTo>
                  <a:pt x="81" y="81"/>
                </a:lnTo>
                <a:lnTo>
                  <a:pt x="81" y="84"/>
                </a:lnTo>
                <a:lnTo>
                  <a:pt x="84" y="85"/>
                </a:lnTo>
                <a:lnTo>
                  <a:pt x="81" y="86"/>
                </a:lnTo>
                <a:lnTo>
                  <a:pt x="80" y="86"/>
                </a:lnTo>
                <a:lnTo>
                  <a:pt x="78" y="87"/>
                </a:lnTo>
                <a:lnTo>
                  <a:pt x="77" y="88"/>
                </a:lnTo>
                <a:lnTo>
                  <a:pt x="74" y="87"/>
                </a:lnTo>
                <a:lnTo>
                  <a:pt x="72" y="85"/>
                </a:lnTo>
                <a:lnTo>
                  <a:pt x="68" y="85"/>
                </a:lnTo>
                <a:lnTo>
                  <a:pt x="68" y="84"/>
                </a:lnTo>
                <a:lnTo>
                  <a:pt x="67" y="84"/>
                </a:lnTo>
                <a:lnTo>
                  <a:pt x="66" y="82"/>
                </a:lnTo>
                <a:lnTo>
                  <a:pt x="65" y="82"/>
                </a:lnTo>
                <a:lnTo>
                  <a:pt x="65" y="84"/>
                </a:lnTo>
                <a:lnTo>
                  <a:pt x="62" y="86"/>
                </a:lnTo>
                <a:lnTo>
                  <a:pt x="60" y="86"/>
                </a:lnTo>
                <a:lnTo>
                  <a:pt x="60" y="84"/>
                </a:lnTo>
                <a:lnTo>
                  <a:pt x="55" y="82"/>
                </a:lnTo>
                <a:lnTo>
                  <a:pt x="55" y="79"/>
                </a:lnTo>
                <a:lnTo>
                  <a:pt x="54" y="79"/>
                </a:lnTo>
                <a:lnTo>
                  <a:pt x="53" y="78"/>
                </a:lnTo>
                <a:lnTo>
                  <a:pt x="52" y="78"/>
                </a:lnTo>
                <a:lnTo>
                  <a:pt x="52" y="74"/>
                </a:lnTo>
                <a:lnTo>
                  <a:pt x="50" y="74"/>
                </a:lnTo>
                <a:lnTo>
                  <a:pt x="49" y="75"/>
                </a:lnTo>
                <a:lnTo>
                  <a:pt x="49" y="76"/>
                </a:lnTo>
                <a:lnTo>
                  <a:pt x="47" y="79"/>
                </a:lnTo>
                <a:lnTo>
                  <a:pt x="47" y="82"/>
                </a:lnTo>
                <a:lnTo>
                  <a:pt x="42" y="85"/>
                </a:lnTo>
                <a:lnTo>
                  <a:pt x="38" y="85"/>
                </a:lnTo>
                <a:lnTo>
                  <a:pt x="37" y="84"/>
                </a:lnTo>
                <a:lnTo>
                  <a:pt x="35" y="84"/>
                </a:lnTo>
                <a:lnTo>
                  <a:pt x="33" y="85"/>
                </a:lnTo>
                <a:lnTo>
                  <a:pt x="29" y="85"/>
                </a:lnTo>
                <a:lnTo>
                  <a:pt x="29" y="84"/>
                </a:lnTo>
                <a:lnTo>
                  <a:pt x="28" y="84"/>
                </a:lnTo>
                <a:lnTo>
                  <a:pt x="27" y="82"/>
                </a:lnTo>
                <a:lnTo>
                  <a:pt x="25" y="82"/>
                </a:lnTo>
                <a:lnTo>
                  <a:pt x="25" y="86"/>
                </a:lnTo>
                <a:lnTo>
                  <a:pt x="23" y="87"/>
                </a:lnTo>
                <a:lnTo>
                  <a:pt x="22" y="88"/>
                </a:lnTo>
                <a:lnTo>
                  <a:pt x="19" y="88"/>
                </a:lnTo>
                <a:lnTo>
                  <a:pt x="19" y="87"/>
                </a:lnTo>
                <a:lnTo>
                  <a:pt x="18" y="87"/>
                </a:lnTo>
                <a:lnTo>
                  <a:pt x="17" y="86"/>
                </a:lnTo>
                <a:lnTo>
                  <a:pt x="11" y="86"/>
                </a:lnTo>
                <a:lnTo>
                  <a:pt x="10" y="85"/>
                </a:lnTo>
                <a:lnTo>
                  <a:pt x="10" y="82"/>
                </a:lnTo>
                <a:lnTo>
                  <a:pt x="9" y="82"/>
                </a:lnTo>
                <a:lnTo>
                  <a:pt x="9" y="81"/>
                </a:lnTo>
                <a:lnTo>
                  <a:pt x="13" y="81"/>
                </a:lnTo>
                <a:lnTo>
                  <a:pt x="16" y="80"/>
                </a:lnTo>
                <a:lnTo>
                  <a:pt x="16" y="79"/>
                </a:lnTo>
                <a:lnTo>
                  <a:pt x="15" y="79"/>
                </a:lnTo>
                <a:lnTo>
                  <a:pt x="15" y="78"/>
                </a:lnTo>
                <a:lnTo>
                  <a:pt x="17" y="78"/>
                </a:lnTo>
                <a:lnTo>
                  <a:pt x="18" y="79"/>
                </a:lnTo>
                <a:lnTo>
                  <a:pt x="21" y="79"/>
                </a:lnTo>
                <a:lnTo>
                  <a:pt x="21" y="78"/>
                </a:lnTo>
                <a:lnTo>
                  <a:pt x="22" y="76"/>
                </a:lnTo>
                <a:lnTo>
                  <a:pt x="22" y="75"/>
                </a:lnTo>
                <a:lnTo>
                  <a:pt x="21" y="75"/>
                </a:lnTo>
                <a:lnTo>
                  <a:pt x="21" y="74"/>
                </a:lnTo>
                <a:lnTo>
                  <a:pt x="17" y="69"/>
                </a:lnTo>
                <a:lnTo>
                  <a:pt x="15" y="68"/>
                </a:lnTo>
                <a:lnTo>
                  <a:pt x="12" y="66"/>
                </a:lnTo>
                <a:lnTo>
                  <a:pt x="10" y="66"/>
                </a:lnTo>
                <a:lnTo>
                  <a:pt x="9" y="64"/>
                </a:lnTo>
                <a:lnTo>
                  <a:pt x="9" y="62"/>
                </a:lnTo>
                <a:lnTo>
                  <a:pt x="10" y="58"/>
                </a:lnTo>
                <a:lnTo>
                  <a:pt x="10" y="56"/>
                </a:lnTo>
                <a:lnTo>
                  <a:pt x="11" y="55"/>
                </a:lnTo>
                <a:lnTo>
                  <a:pt x="10" y="54"/>
                </a:lnTo>
                <a:lnTo>
                  <a:pt x="9" y="55"/>
                </a:lnTo>
                <a:lnTo>
                  <a:pt x="6" y="55"/>
                </a:lnTo>
                <a:lnTo>
                  <a:pt x="5" y="54"/>
                </a:lnTo>
                <a:lnTo>
                  <a:pt x="4" y="54"/>
                </a:lnTo>
                <a:lnTo>
                  <a:pt x="4" y="52"/>
                </a:lnTo>
                <a:lnTo>
                  <a:pt x="5" y="52"/>
                </a:lnTo>
                <a:lnTo>
                  <a:pt x="5" y="50"/>
                </a:lnTo>
                <a:lnTo>
                  <a:pt x="10" y="45"/>
                </a:lnTo>
                <a:lnTo>
                  <a:pt x="11" y="43"/>
                </a:lnTo>
                <a:lnTo>
                  <a:pt x="11" y="42"/>
                </a:lnTo>
                <a:lnTo>
                  <a:pt x="7" y="42"/>
                </a:lnTo>
                <a:lnTo>
                  <a:pt x="6" y="41"/>
                </a:lnTo>
                <a:lnTo>
                  <a:pt x="5" y="41"/>
                </a:lnTo>
                <a:lnTo>
                  <a:pt x="4" y="39"/>
                </a:lnTo>
                <a:lnTo>
                  <a:pt x="3" y="39"/>
                </a:lnTo>
                <a:lnTo>
                  <a:pt x="3" y="41"/>
                </a:lnTo>
                <a:lnTo>
                  <a:pt x="2" y="41"/>
                </a:lnTo>
                <a:lnTo>
                  <a:pt x="2" y="39"/>
                </a:lnTo>
                <a:lnTo>
                  <a:pt x="0" y="38"/>
                </a:lnTo>
                <a:lnTo>
                  <a:pt x="0" y="36"/>
                </a:lnTo>
                <a:lnTo>
                  <a:pt x="2" y="35"/>
                </a:lnTo>
                <a:lnTo>
                  <a:pt x="2" y="33"/>
                </a:lnTo>
                <a:lnTo>
                  <a:pt x="4" y="31"/>
                </a:lnTo>
                <a:lnTo>
                  <a:pt x="5" y="31"/>
                </a:lnTo>
                <a:lnTo>
                  <a:pt x="10" y="26"/>
                </a:lnTo>
                <a:lnTo>
                  <a:pt x="13" y="26"/>
                </a:lnTo>
                <a:lnTo>
                  <a:pt x="13" y="21"/>
                </a:lnTo>
                <a:lnTo>
                  <a:pt x="15" y="21"/>
                </a:lnTo>
                <a:lnTo>
                  <a:pt x="17" y="23"/>
                </a:lnTo>
                <a:lnTo>
                  <a:pt x="18" y="23"/>
                </a:lnTo>
                <a:lnTo>
                  <a:pt x="21" y="21"/>
                </a:lnTo>
                <a:lnTo>
                  <a:pt x="22" y="23"/>
                </a:lnTo>
                <a:lnTo>
                  <a:pt x="25" y="24"/>
                </a:lnTo>
                <a:lnTo>
                  <a:pt x="30" y="24"/>
                </a:lnTo>
                <a:lnTo>
                  <a:pt x="33" y="26"/>
                </a:lnTo>
                <a:lnTo>
                  <a:pt x="43" y="26"/>
                </a:lnTo>
                <a:lnTo>
                  <a:pt x="44" y="27"/>
                </a:lnTo>
                <a:lnTo>
                  <a:pt x="46" y="27"/>
                </a:lnTo>
                <a:lnTo>
                  <a:pt x="46" y="29"/>
                </a:lnTo>
                <a:lnTo>
                  <a:pt x="47" y="29"/>
                </a:lnTo>
                <a:lnTo>
                  <a:pt x="48" y="27"/>
                </a:lnTo>
                <a:lnTo>
                  <a:pt x="48" y="29"/>
                </a:lnTo>
                <a:lnTo>
                  <a:pt x="49" y="30"/>
                </a:lnTo>
                <a:lnTo>
                  <a:pt x="50" y="30"/>
                </a:lnTo>
                <a:lnTo>
                  <a:pt x="50" y="27"/>
                </a:lnTo>
                <a:lnTo>
                  <a:pt x="52" y="27"/>
                </a:lnTo>
                <a:lnTo>
                  <a:pt x="52" y="26"/>
                </a:lnTo>
                <a:lnTo>
                  <a:pt x="54" y="26"/>
                </a:lnTo>
                <a:lnTo>
                  <a:pt x="54" y="25"/>
                </a:lnTo>
                <a:lnTo>
                  <a:pt x="55" y="25"/>
                </a:lnTo>
                <a:lnTo>
                  <a:pt x="58" y="23"/>
                </a:lnTo>
                <a:lnTo>
                  <a:pt x="58" y="24"/>
                </a:lnTo>
                <a:lnTo>
                  <a:pt x="59" y="23"/>
                </a:lnTo>
                <a:lnTo>
                  <a:pt x="60" y="23"/>
                </a:lnTo>
                <a:lnTo>
                  <a:pt x="60" y="21"/>
                </a:lnTo>
                <a:lnTo>
                  <a:pt x="61" y="20"/>
                </a:lnTo>
                <a:lnTo>
                  <a:pt x="61" y="19"/>
                </a:lnTo>
                <a:lnTo>
                  <a:pt x="62" y="18"/>
                </a:lnTo>
                <a:lnTo>
                  <a:pt x="62" y="17"/>
                </a:lnTo>
                <a:lnTo>
                  <a:pt x="65" y="17"/>
                </a:lnTo>
                <a:lnTo>
                  <a:pt x="66" y="15"/>
                </a:lnTo>
                <a:lnTo>
                  <a:pt x="67" y="15"/>
                </a:lnTo>
                <a:lnTo>
                  <a:pt x="67" y="17"/>
                </a:lnTo>
                <a:lnTo>
                  <a:pt x="69" y="14"/>
                </a:lnTo>
                <a:lnTo>
                  <a:pt x="72" y="13"/>
                </a:lnTo>
                <a:lnTo>
                  <a:pt x="72" y="14"/>
                </a:lnTo>
                <a:lnTo>
                  <a:pt x="86" y="14"/>
                </a:lnTo>
                <a:lnTo>
                  <a:pt x="87" y="15"/>
                </a:lnTo>
                <a:lnTo>
                  <a:pt x="91" y="15"/>
                </a:lnTo>
                <a:lnTo>
                  <a:pt x="91" y="13"/>
                </a:lnTo>
                <a:lnTo>
                  <a:pt x="92" y="12"/>
                </a:lnTo>
                <a:lnTo>
                  <a:pt x="96" y="12"/>
                </a:lnTo>
                <a:lnTo>
                  <a:pt x="96" y="9"/>
                </a:lnTo>
                <a:lnTo>
                  <a:pt x="97" y="9"/>
                </a:lnTo>
                <a:lnTo>
                  <a:pt x="99" y="11"/>
                </a:lnTo>
                <a:lnTo>
                  <a:pt x="100" y="11"/>
                </a:lnTo>
                <a:lnTo>
                  <a:pt x="102" y="9"/>
                </a:lnTo>
                <a:lnTo>
                  <a:pt x="106" y="9"/>
                </a:lnTo>
                <a:lnTo>
                  <a:pt x="109" y="11"/>
                </a:lnTo>
                <a:lnTo>
                  <a:pt x="110" y="11"/>
                </a:lnTo>
                <a:lnTo>
                  <a:pt x="111" y="12"/>
                </a:lnTo>
                <a:lnTo>
                  <a:pt x="111" y="9"/>
                </a:lnTo>
                <a:lnTo>
                  <a:pt x="110" y="9"/>
                </a:lnTo>
                <a:lnTo>
                  <a:pt x="110" y="2"/>
                </a:lnTo>
                <a:lnTo>
                  <a:pt x="112" y="2"/>
                </a:lnTo>
                <a:lnTo>
                  <a:pt x="114" y="1"/>
                </a:lnTo>
                <a:lnTo>
                  <a:pt x="118" y="1"/>
                </a:lnTo>
                <a:lnTo>
                  <a:pt x="122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" name="Freeform 16">
            <a:extLst>
              <a:ext uri="{FF2B5EF4-FFF2-40B4-BE49-F238E27FC236}">
                <a16:creationId xmlns:a16="http://schemas.microsoft.com/office/drawing/2014/main" id="{F9B144F5-8EED-43EE-8B58-210EE1D0ABDF}"/>
              </a:ext>
            </a:extLst>
          </p:cNvPr>
          <p:cNvSpPr>
            <a:spLocks/>
          </p:cNvSpPr>
          <p:nvPr/>
        </p:nvSpPr>
        <p:spPr bwMode="auto">
          <a:xfrm>
            <a:off x="2261892" y="4753825"/>
            <a:ext cx="346297" cy="170975"/>
          </a:xfrm>
          <a:custGeom>
            <a:avLst/>
            <a:gdLst/>
            <a:ahLst/>
            <a:cxnLst>
              <a:cxn ang="0">
                <a:pos x="112" y="5"/>
              </a:cxn>
              <a:cxn ang="0">
                <a:pos x="119" y="14"/>
              </a:cxn>
              <a:cxn ang="0">
                <a:pos x="124" y="21"/>
              </a:cxn>
              <a:cxn ang="0">
                <a:pos x="123" y="26"/>
              </a:cxn>
              <a:cxn ang="0">
                <a:pos x="131" y="25"/>
              </a:cxn>
              <a:cxn ang="0">
                <a:pos x="137" y="21"/>
              </a:cxn>
              <a:cxn ang="0">
                <a:pos x="145" y="18"/>
              </a:cxn>
              <a:cxn ang="0">
                <a:pos x="155" y="15"/>
              </a:cxn>
              <a:cxn ang="0">
                <a:pos x="162" y="13"/>
              </a:cxn>
              <a:cxn ang="0">
                <a:pos x="170" y="20"/>
              </a:cxn>
              <a:cxn ang="0">
                <a:pos x="179" y="15"/>
              </a:cxn>
              <a:cxn ang="0">
                <a:pos x="178" y="12"/>
              </a:cxn>
              <a:cxn ang="0">
                <a:pos x="187" y="11"/>
              </a:cxn>
              <a:cxn ang="0">
                <a:pos x="195" y="13"/>
              </a:cxn>
              <a:cxn ang="0">
                <a:pos x="205" y="14"/>
              </a:cxn>
              <a:cxn ang="0">
                <a:pos x="212" y="16"/>
              </a:cxn>
              <a:cxn ang="0">
                <a:pos x="218" y="26"/>
              </a:cxn>
              <a:cxn ang="0">
                <a:pos x="226" y="28"/>
              </a:cxn>
              <a:cxn ang="0">
                <a:pos x="238" y="33"/>
              </a:cxn>
              <a:cxn ang="0">
                <a:pos x="235" y="44"/>
              </a:cxn>
              <a:cxn ang="0">
                <a:pos x="232" y="54"/>
              </a:cxn>
              <a:cxn ang="0">
                <a:pos x="228" y="61"/>
              </a:cxn>
              <a:cxn ang="0">
                <a:pos x="214" y="79"/>
              </a:cxn>
              <a:cxn ang="0">
                <a:pos x="204" y="79"/>
              </a:cxn>
              <a:cxn ang="0">
                <a:pos x="197" y="69"/>
              </a:cxn>
              <a:cxn ang="0">
                <a:pos x="191" y="68"/>
              </a:cxn>
              <a:cxn ang="0">
                <a:pos x="186" y="71"/>
              </a:cxn>
              <a:cxn ang="0">
                <a:pos x="178" y="70"/>
              </a:cxn>
              <a:cxn ang="0">
                <a:pos x="166" y="67"/>
              </a:cxn>
              <a:cxn ang="0">
                <a:pos x="154" y="73"/>
              </a:cxn>
              <a:cxn ang="0">
                <a:pos x="148" y="83"/>
              </a:cxn>
              <a:cxn ang="0">
                <a:pos x="138" y="87"/>
              </a:cxn>
              <a:cxn ang="0">
                <a:pos x="135" y="92"/>
              </a:cxn>
              <a:cxn ang="0">
                <a:pos x="126" y="93"/>
              </a:cxn>
              <a:cxn ang="0">
                <a:pos x="118" y="89"/>
              </a:cxn>
              <a:cxn ang="0">
                <a:pos x="112" y="93"/>
              </a:cxn>
              <a:cxn ang="0">
                <a:pos x="100" y="99"/>
              </a:cxn>
              <a:cxn ang="0">
                <a:pos x="83" y="101"/>
              </a:cxn>
              <a:cxn ang="0">
                <a:pos x="83" y="113"/>
              </a:cxn>
              <a:cxn ang="0">
                <a:pos x="75" y="117"/>
              </a:cxn>
              <a:cxn ang="0">
                <a:pos x="38" y="118"/>
              </a:cxn>
              <a:cxn ang="0">
                <a:pos x="32" y="113"/>
              </a:cxn>
              <a:cxn ang="0">
                <a:pos x="21" y="104"/>
              </a:cxn>
              <a:cxn ang="0">
                <a:pos x="12" y="102"/>
              </a:cxn>
              <a:cxn ang="0">
                <a:pos x="8" y="99"/>
              </a:cxn>
              <a:cxn ang="0">
                <a:pos x="7" y="94"/>
              </a:cxn>
              <a:cxn ang="0">
                <a:pos x="2" y="85"/>
              </a:cxn>
              <a:cxn ang="0">
                <a:pos x="0" y="74"/>
              </a:cxn>
              <a:cxn ang="0">
                <a:pos x="5" y="68"/>
              </a:cxn>
              <a:cxn ang="0">
                <a:pos x="8" y="54"/>
              </a:cxn>
              <a:cxn ang="0">
                <a:pos x="17" y="49"/>
              </a:cxn>
              <a:cxn ang="0">
                <a:pos x="27" y="51"/>
              </a:cxn>
              <a:cxn ang="0">
                <a:pos x="39" y="44"/>
              </a:cxn>
              <a:cxn ang="0">
                <a:pos x="45" y="38"/>
              </a:cxn>
              <a:cxn ang="0">
                <a:pos x="54" y="24"/>
              </a:cxn>
              <a:cxn ang="0">
                <a:pos x="67" y="14"/>
              </a:cxn>
              <a:cxn ang="0">
                <a:pos x="74" y="8"/>
              </a:cxn>
              <a:cxn ang="0">
                <a:pos x="83" y="6"/>
              </a:cxn>
              <a:cxn ang="0">
                <a:pos x="89" y="11"/>
              </a:cxn>
              <a:cxn ang="0">
                <a:pos x="94" y="14"/>
              </a:cxn>
              <a:cxn ang="0">
                <a:pos x="99" y="9"/>
              </a:cxn>
              <a:cxn ang="0">
                <a:pos x="110" y="0"/>
              </a:cxn>
            </a:cxnLst>
            <a:rect l="0" t="0" r="r" b="b"/>
            <a:pathLst>
              <a:path w="239" h="118">
                <a:moveTo>
                  <a:pt x="110" y="0"/>
                </a:moveTo>
                <a:lnTo>
                  <a:pt x="110" y="1"/>
                </a:lnTo>
                <a:lnTo>
                  <a:pt x="111" y="2"/>
                </a:lnTo>
                <a:lnTo>
                  <a:pt x="112" y="2"/>
                </a:lnTo>
                <a:lnTo>
                  <a:pt x="112" y="5"/>
                </a:lnTo>
                <a:lnTo>
                  <a:pt x="114" y="9"/>
                </a:lnTo>
                <a:lnTo>
                  <a:pt x="114" y="11"/>
                </a:lnTo>
                <a:lnTo>
                  <a:pt x="117" y="11"/>
                </a:lnTo>
                <a:lnTo>
                  <a:pt x="117" y="13"/>
                </a:lnTo>
                <a:lnTo>
                  <a:pt x="119" y="14"/>
                </a:lnTo>
                <a:lnTo>
                  <a:pt x="121" y="14"/>
                </a:lnTo>
                <a:lnTo>
                  <a:pt x="123" y="13"/>
                </a:lnTo>
                <a:lnTo>
                  <a:pt x="123" y="14"/>
                </a:lnTo>
                <a:lnTo>
                  <a:pt x="124" y="15"/>
                </a:lnTo>
                <a:lnTo>
                  <a:pt x="124" y="21"/>
                </a:lnTo>
                <a:lnTo>
                  <a:pt x="125" y="21"/>
                </a:lnTo>
                <a:lnTo>
                  <a:pt x="125" y="22"/>
                </a:lnTo>
                <a:lnTo>
                  <a:pt x="124" y="22"/>
                </a:lnTo>
                <a:lnTo>
                  <a:pt x="123" y="25"/>
                </a:lnTo>
                <a:lnTo>
                  <a:pt x="123" y="26"/>
                </a:lnTo>
                <a:lnTo>
                  <a:pt x="124" y="27"/>
                </a:lnTo>
                <a:lnTo>
                  <a:pt x="126" y="27"/>
                </a:lnTo>
                <a:lnTo>
                  <a:pt x="127" y="26"/>
                </a:lnTo>
                <a:lnTo>
                  <a:pt x="127" y="25"/>
                </a:lnTo>
                <a:lnTo>
                  <a:pt x="131" y="25"/>
                </a:lnTo>
                <a:lnTo>
                  <a:pt x="135" y="28"/>
                </a:lnTo>
                <a:lnTo>
                  <a:pt x="136" y="27"/>
                </a:lnTo>
                <a:lnTo>
                  <a:pt x="136" y="24"/>
                </a:lnTo>
                <a:lnTo>
                  <a:pt x="137" y="22"/>
                </a:lnTo>
                <a:lnTo>
                  <a:pt x="137" y="21"/>
                </a:lnTo>
                <a:lnTo>
                  <a:pt x="138" y="20"/>
                </a:lnTo>
                <a:lnTo>
                  <a:pt x="138" y="19"/>
                </a:lnTo>
                <a:lnTo>
                  <a:pt x="139" y="19"/>
                </a:lnTo>
                <a:lnTo>
                  <a:pt x="141" y="18"/>
                </a:lnTo>
                <a:lnTo>
                  <a:pt x="145" y="18"/>
                </a:lnTo>
                <a:lnTo>
                  <a:pt x="145" y="14"/>
                </a:lnTo>
                <a:lnTo>
                  <a:pt x="150" y="14"/>
                </a:lnTo>
                <a:lnTo>
                  <a:pt x="150" y="13"/>
                </a:lnTo>
                <a:lnTo>
                  <a:pt x="151" y="13"/>
                </a:lnTo>
                <a:lnTo>
                  <a:pt x="155" y="15"/>
                </a:lnTo>
                <a:lnTo>
                  <a:pt x="157" y="15"/>
                </a:lnTo>
                <a:lnTo>
                  <a:pt x="157" y="14"/>
                </a:lnTo>
                <a:lnTo>
                  <a:pt x="158" y="14"/>
                </a:lnTo>
                <a:lnTo>
                  <a:pt x="158" y="13"/>
                </a:lnTo>
                <a:lnTo>
                  <a:pt x="162" y="13"/>
                </a:lnTo>
                <a:lnTo>
                  <a:pt x="166" y="18"/>
                </a:lnTo>
                <a:lnTo>
                  <a:pt x="167" y="18"/>
                </a:lnTo>
                <a:lnTo>
                  <a:pt x="167" y="19"/>
                </a:lnTo>
                <a:lnTo>
                  <a:pt x="169" y="19"/>
                </a:lnTo>
                <a:lnTo>
                  <a:pt x="170" y="20"/>
                </a:lnTo>
                <a:lnTo>
                  <a:pt x="173" y="20"/>
                </a:lnTo>
                <a:lnTo>
                  <a:pt x="175" y="18"/>
                </a:lnTo>
                <a:lnTo>
                  <a:pt x="175" y="16"/>
                </a:lnTo>
                <a:lnTo>
                  <a:pt x="178" y="16"/>
                </a:lnTo>
                <a:lnTo>
                  <a:pt x="179" y="15"/>
                </a:lnTo>
                <a:lnTo>
                  <a:pt x="178" y="14"/>
                </a:lnTo>
                <a:lnTo>
                  <a:pt x="176" y="14"/>
                </a:lnTo>
                <a:lnTo>
                  <a:pt x="176" y="13"/>
                </a:lnTo>
                <a:lnTo>
                  <a:pt x="178" y="13"/>
                </a:lnTo>
                <a:lnTo>
                  <a:pt x="178" y="12"/>
                </a:lnTo>
                <a:lnTo>
                  <a:pt x="181" y="12"/>
                </a:lnTo>
                <a:lnTo>
                  <a:pt x="181" y="13"/>
                </a:lnTo>
                <a:lnTo>
                  <a:pt x="183" y="13"/>
                </a:lnTo>
                <a:lnTo>
                  <a:pt x="185" y="11"/>
                </a:lnTo>
                <a:lnTo>
                  <a:pt x="187" y="11"/>
                </a:lnTo>
                <a:lnTo>
                  <a:pt x="189" y="12"/>
                </a:lnTo>
                <a:lnTo>
                  <a:pt x="193" y="13"/>
                </a:lnTo>
                <a:lnTo>
                  <a:pt x="194" y="13"/>
                </a:lnTo>
                <a:lnTo>
                  <a:pt x="195" y="12"/>
                </a:lnTo>
                <a:lnTo>
                  <a:pt x="195" y="13"/>
                </a:lnTo>
                <a:lnTo>
                  <a:pt x="197" y="12"/>
                </a:lnTo>
                <a:lnTo>
                  <a:pt x="201" y="12"/>
                </a:lnTo>
                <a:lnTo>
                  <a:pt x="203" y="13"/>
                </a:lnTo>
                <a:lnTo>
                  <a:pt x="204" y="13"/>
                </a:lnTo>
                <a:lnTo>
                  <a:pt x="205" y="14"/>
                </a:lnTo>
                <a:lnTo>
                  <a:pt x="206" y="16"/>
                </a:lnTo>
                <a:lnTo>
                  <a:pt x="207" y="16"/>
                </a:lnTo>
                <a:lnTo>
                  <a:pt x="208" y="15"/>
                </a:lnTo>
                <a:lnTo>
                  <a:pt x="211" y="15"/>
                </a:lnTo>
                <a:lnTo>
                  <a:pt x="212" y="16"/>
                </a:lnTo>
                <a:lnTo>
                  <a:pt x="214" y="18"/>
                </a:lnTo>
                <a:lnTo>
                  <a:pt x="216" y="19"/>
                </a:lnTo>
                <a:lnTo>
                  <a:pt x="217" y="21"/>
                </a:lnTo>
                <a:lnTo>
                  <a:pt x="217" y="24"/>
                </a:lnTo>
                <a:lnTo>
                  <a:pt x="218" y="26"/>
                </a:lnTo>
                <a:lnTo>
                  <a:pt x="219" y="26"/>
                </a:lnTo>
                <a:lnTo>
                  <a:pt x="222" y="27"/>
                </a:lnTo>
                <a:lnTo>
                  <a:pt x="223" y="27"/>
                </a:lnTo>
                <a:lnTo>
                  <a:pt x="224" y="28"/>
                </a:lnTo>
                <a:lnTo>
                  <a:pt x="226" y="28"/>
                </a:lnTo>
                <a:lnTo>
                  <a:pt x="226" y="30"/>
                </a:lnTo>
                <a:lnTo>
                  <a:pt x="229" y="31"/>
                </a:lnTo>
                <a:lnTo>
                  <a:pt x="231" y="31"/>
                </a:lnTo>
                <a:lnTo>
                  <a:pt x="234" y="33"/>
                </a:lnTo>
                <a:lnTo>
                  <a:pt x="238" y="33"/>
                </a:lnTo>
                <a:lnTo>
                  <a:pt x="239" y="34"/>
                </a:lnTo>
                <a:lnTo>
                  <a:pt x="239" y="39"/>
                </a:lnTo>
                <a:lnTo>
                  <a:pt x="238" y="40"/>
                </a:lnTo>
                <a:lnTo>
                  <a:pt x="236" y="40"/>
                </a:lnTo>
                <a:lnTo>
                  <a:pt x="235" y="44"/>
                </a:lnTo>
                <a:lnTo>
                  <a:pt x="235" y="46"/>
                </a:lnTo>
                <a:lnTo>
                  <a:pt x="234" y="46"/>
                </a:lnTo>
                <a:lnTo>
                  <a:pt x="234" y="48"/>
                </a:lnTo>
                <a:lnTo>
                  <a:pt x="232" y="49"/>
                </a:lnTo>
                <a:lnTo>
                  <a:pt x="232" y="54"/>
                </a:lnTo>
                <a:lnTo>
                  <a:pt x="231" y="55"/>
                </a:lnTo>
                <a:lnTo>
                  <a:pt x="231" y="58"/>
                </a:lnTo>
                <a:lnTo>
                  <a:pt x="230" y="59"/>
                </a:lnTo>
                <a:lnTo>
                  <a:pt x="230" y="61"/>
                </a:lnTo>
                <a:lnTo>
                  <a:pt x="228" y="61"/>
                </a:lnTo>
                <a:lnTo>
                  <a:pt x="228" y="62"/>
                </a:lnTo>
                <a:lnTo>
                  <a:pt x="223" y="67"/>
                </a:lnTo>
                <a:lnTo>
                  <a:pt x="223" y="77"/>
                </a:lnTo>
                <a:lnTo>
                  <a:pt x="222" y="79"/>
                </a:lnTo>
                <a:lnTo>
                  <a:pt x="214" y="79"/>
                </a:lnTo>
                <a:lnTo>
                  <a:pt x="213" y="80"/>
                </a:lnTo>
                <a:lnTo>
                  <a:pt x="211" y="80"/>
                </a:lnTo>
                <a:lnTo>
                  <a:pt x="208" y="81"/>
                </a:lnTo>
                <a:lnTo>
                  <a:pt x="207" y="82"/>
                </a:lnTo>
                <a:lnTo>
                  <a:pt x="204" y="79"/>
                </a:lnTo>
                <a:lnTo>
                  <a:pt x="201" y="75"/>
                </a:lnTo>
                <a:lnTo>
                  <a:pt x="200" y="73"/>
                </a:lnTo>
                <a:lnTo>
                  <a:pt x="200" y="71"/>
                </a:lnTo>
                <a:lnTo>
                  <a:pt x="197" y="71"/>
                </a:lnTo>
                <a:lnTo>
                  <a:pt x="197" y="69"/>
                </a:lnTo>
                <a:lnTo>
                  <a:pt x="195" y="69"/>
                </a:lnTo>
                <a:lnTo>
                  <a:pt x="195" y="68"/>
                </a:lnTo>
                <a:lnTo>
                  <a:pt x="193" y="68"/>
                </a:lnTo>
                <a:lnTo>
                  <a:pt x="193" y="67"/>
                </a:lnTo>
                <a:lnTo>
                  <a:pt x="191" y="68"/>
                </a:lnTo>
                <a:lnTo>
                  <a:pt x="188" y="68"/>
                </a:lnTo>
                <a:lnTo>
                  <a:pt x="188" y="69"/>
                </a:lnTo>
                <a:lnTo>
                  <a:pt x="187" y="69"/>
                </a:lnTo>
                <a:lnTo>
                  <a:pt x="187" y="70"/>
                </a:lnTo>
                <a:lnTo>
                  <a:pt x="186" y="71"/>
                </a:lnTo>
                <a:lnTo>
                  <a:pt x="186" y="70"/>
                </a:lnTo>
                <a:lnTo>
                  <a:pt x="182" y="70"/>
                </a:lnTo>
                <a:lnTo>
                  <a:pt x="180" y="71"/>
                </a:lnTo>
                <a:lnTo>
                  <a:pt x="179" y="71"/>
                </a:lnTo>
                <a:lnTo>
                  <a:pt x="178" y="70"/>
                </a:lnTo>
                <a:lnTo>
                  <a:pt x="173" y="70"/>
                </a:lnTo>
                <a:lnTo>
                  <a:pt x="170" y="68"/>
                </a:lnTo>
                <a:lnTo>
                  <a:pt x="168" y="68"/>
                </a:lnTo>
                <a:lnTo>
                  <a:pt x="167" y="67"/>
                </a:lnTo>
                <a:lnTo>
                  <a:pt x="166" y="67"/>
                </a:lnTo>
                <a:lnTo>
                  <a:pt x="157" y="69"/>
                </a:lnTo>
                <a:lnTo>
                  <a:pt x="154" y="69"/>
                </a:lnTo>
                <a:lnTo>
                  <a:pt x="152" y="70"/>
                </a:lnTo>
                <a:lnTo>
                  <a:pt x="154" y="71"/>
                </a:lnTo>
                <a:lnTo>
                  <a:pt x="154" y="73"/>
                </a:lnTo>
                <a:lnTo>
                  <a:pt x="151" y="75"/>
                </a:lnTo>
                <a:lnTo>
                  <a:pt x="150" y="75"/>
                </a:lnTo>
                <a:lnTo>
                  <a:pt x="150" y="76"/>
                </a:lnTo>
                <a:lnTo>
                  <a:pt x="149" y="81"/>
                </a:lnTo>
                <a:lnTo>
                  <a:pt x="148" y="83"/>
                </a:lnTo>
                <a:lnTo>
                  <a:pt x="144" y="87"/>
                </a:lnTo>
                <a:lnTo>
                  <a:pt x="143" y="86"/>
                </a:lnTo>
                <a:lnTo>
                  <a:pt x="142" y="86"/>
                </a:lnTo>
                <a:lnTo>
                  <a:pt x="141" y="87"/>
                </a:lnTo>
                <a:lnTo>
                  <a:pt x="138" y="87"/>
                </a:lnTo>
                <a:lnTo>
                  <a:pt x="138" y="88"/>
                </a:lnTo>
                <a:lnTo>
                  <a:pt x="137" y="89"/>
                </a:lnTo>
                <a:lnTo>
                  <a:pt x="137" y="91"/>
                </a:lnTo>
                <a:lnTo>
                  <a:pt x="136" y="91"/>
                </a:lnTo>
                <a:lnTo>
                  <a:pt x="135" y="92"/>
                </a:lnTo>
                <a:lnTo>
                  <a:pt x="132" y="92"/>
                </a:lnTo>
                <a:lnTo>
                  <a:pt x="132" y="93"/>
                </a:lnTo>
                <a:lnTo>
                  <a:pt x="130" y="94"/>
                </a:lnTo>
                <a:lnTo>
                  <a:pt x="129" y="95"/>
                </a:lnTo>
                <a:lnTo>
                  <a:pt x="126" y="93"/>
                </a:lnTo>
                <a:lnTo>
                  <a:pt x="123" y="93"/>
                </a:lnTo>
                <a:lnTo>
                  <a:pt x="123" y="91"/>
                </a:lnTo>
                <a:lnTo>
                  <a:pt x="121" y="89"/>
                </a:lnTo>
                <a:lnTo>
                  <a:pt x="119" y="91"/>
                </a:lnTo>
                <a:lnTo>
                  <a:pt x="118" y="89"/>
                </a:lnTo>
                <a:lnTo>
                  <a:pt x="118" y="88"/>
                </a:lnTo>
                <a:lnTo>
                  <a:pt x="117" y="88"/>
                </a:lnTo>
                <a:lnTo>
                  <a:pt x="113" y="89"/>
                </a:lnTo>
                <a:lnTo>
                  <a:pt x="112" y="89"/>
                </a:lnTo>
                <a:lnTo>
                  <a:pt x="112" y="93"/>
                </a:lnTo>
                <a:lnTo>
                  <a:pt x="111" y="94"/>
                </a:lnTo>
                <a:lnTo>
                  <a:pt x="111" y="95"/>
                </a:lnTo>
                <a:lnTo>
                  <a:pt x="108" y="98"/>
                </a:lnTo>
                <a:lnTo>
                  <a:pt x="102" y="98"/>
                </a:lnTo>
                <a:lnTo>
                  <a:pt x="100" y="99"/>
                </a:lnTo>
                <a:lnTo>
                  <a:pt x="95" y="98"/>
                </a:lnTo>
                <a:lnTo>
                  <a:pt x="92" y="99"/>
                </a:lnTo>
                <a:lnTo>
                  <a:pt x="88" y="99"/>
                </a:lnTo>
                <a:lnTo>
                  <a:pt x="83" y="100"/>
                </a:lnTo>
                <a:lnTo>
                  <a:pt x="83" y="101"/>
                </a:lnTo>
                <a:lnTo>
                  <a:pt x="82" y="104"/>
                </a:lnTo>
                <a:lnTo>
                  <a:pt x="80" y="104"/>
                </a:lnTo>
                <a:lnTo>
                  <a:pt x="80" y="111"/>
                </a:lnTo>
                <a:lnTo>
                  <a:pt x="81" y="112"/>
                </a:lnTo>
                <a:lnTo>
                  <a:pt x="83" y="113"/>
                </a:lnTo>
                <a:lnTo>
                  <a:pt x="82" y="113"/>
                </a:lnTo>
                <a:lnTo>
                  <a:pt x="81" y="114"/>
                </a:lnTo>
                <a:lnTo>
                  <a:pt x="80" y="114"/>
                </a:lnTo>
                <a:lnTo>
                  <a:pt x="77" y="117"/>
                </a:lnTo>
                <a:lnTo>
                  <a:pt x="75" y="117"/>
                </a:lnTo>
                <a:lnTo>
                  <a:pt x="74" y="116"/>
                </a:lnTo>
                <a:lnTo>
                  <a:pt x="71" y="116"/>
                </a:lnTo>
                <a:lnTo>
                  <a:pt x="63" y="117"/>
                </a:lnTo>
                <a:lnTo>
                  <a:pt x="60" y="118"/>
                </a:lnTo>
                <a:lnTo>
                  <a:pt x="38" y="118"/>
                </a:lnTo>
                <a:lnTo>
                  <a:pt x="37" y="117"/>
                </a:lnTo>
                <a:lnTo>
                  <a:pt x="34" y="116"/>
                </a:lnTo>
                <a:lnTo>
                  <a:pt x="34" y="114"/>
                </a:lnTo>
                <a:lnTo>
                  <a:pt x="33" y="114"/>
                </a:lnTo>
                <a:lnTo>
                  <a:pt x="32" y="113"/>
                </a:lnTo>
                <a:lnTo>
                  <a:pt x="30" y="113"/>
                </a:lnTo>
                <a:lnTo>
                  <a:pt x="29" y="111"/>
                </a:lnTo>
                <a:lnTo>
                  <a:pt x="27" y="111"/>
                </a:lnTo>
                <a:lnTo>
                  <a:pt x="26" y="110"/>
                </a:lnTo>
                <a:lnTo>
                  <a:pt x="21" y="104"/>
                </a:lnTo>
                <a:lnTo>
                  <a:pt x="20" y="102"/>
                </a:lnTo>
                <a:lnTo>
                  <a:pt x="18" y="102"/>
                </a:lnTo>
                <a:lnTo>
                  <a:pt x="15" y="101"/>
                </a:lnTo>
                <a:lnTo>
                  <a:pt x="14" y="101"/>
                </a:lnTo>
                <a:lnTo>
                  <a:pt x="12" y="102"/>
                </a:lnTo>
                <a:lnTo>
                  <a:pt x="12" y="101"/>
                </a:lnTo>
                <a:lnTo>
                  <a:pt x="11" y="101"/>
                </a:lnTo>
                <a:lnTo>
                  <a:pt x="9" y="100"/>
                </a:lnTo>
                <a:lnTo>
                  <a:pt x="9" y="99"/>
                </a:lnTo>
                <a:lnTo>
                  <a:pt x="8" y="99"/>
                </a:lnTo>
                <a:lnTo>
                  <a:pt x="9" y="98"/>
                </a:lnTo>
                <a:lnTo>
                  <a:pt x="9" y="97"/>
                </a:lnTo>
                <a:lnTo>
                  <a:pt x="8" y="95"/>
                </a:lnTo>
                <a:lnTo>
                  <a:pt x="8" y="94"/>
                </a:lnTo>
                <a:lnTo>
                  <a:pt x="7" y="94"/>
                </a:lnTo>
                <a:lnTo>
                  <a:pt x="5" y="92"/>
                </a:lnTo>
                <a:lnTo>
                  <a:pt x="5" y="86"/>
                </a:lnTo>
                <a:lnTo>
                  <a:pt x="3" y="86"/>
                </a:lnTo>
                <a:lnTo>
                  <a:pt x="3" y="85"/>
                </a:lnTo>
                <a:lnTo>
                  <a:pt x="2" y="85"/>
                </a:lnTo>
                <a:lnTo>
                  <a:pt x="2" y="81"/>
                </a:lnTo>
                <a:lnTo>
                  <a:pt x="1" y="81"/>
                </a:lnTo>
                <a:lnTo>
                  <a:pt x="1" y="80"/>
                </a:lnTo>
                <a:lnTo>
                  <a:pt x="0" y="80"/>
                </a:lnTo>
                <a:lnTo>
                  <a:pt x="0" y="74"/>
                </a:lnTo>
                <a:lnTo>
                  <a:pt x="2" y="71"/>
                </a:lnTo>
                <a:lnTo>
                  <a:pt x="2" y="70"/>
                </a:lnTo>
                <a:lnTo>
                  <a:pt x="3" y="69"/>
                </a:lnTo>
                <a:lnTo>
                  <a:pt x="3" y="68"/>
                </a:lnTo>
                <a:lnTo>
                  <a:pt x="5" y="68"/>
                </a:lnTo>
                <a:lnTo>
                  <a:pt x="3" y="64"/>
                </a:lnTo>
                <a:lnTo>
                  <a:pt x="3" y="63"/>
                </a:lnTo>
                <a:lnTo>
                  <a:pt x="5" y="62"/>
                </a:lnTo>
                <a:lnTo>
                  <a:pt x="7" y="56"/>
                </a:lnTo>
                <a:lnTo>
                  <a:pt x="8" y="54"/>
                </a:lnTo>
                <a:lnTo>
                  <a:pt x="11" y="51"/>
                </a:lnTo>
                <a:lnTo>
                  <a:pt x="11" y="50"/>
                </a:lnTo>
                <a:lnTo>
                  <a:pt x="13" y="48"/>
                </a:lnTo>
                <a:lnTo>
                  <a:pt x="15" y="48"/>
                </a:lnTo>
                <a:lnTo>
                  <a:pt x="17" y="49"/>
                </a:lnTo>
                <a:lnTo>
                  <a:pt x="21" y="51"/>
                </a:lnTo>
                <a:lnTo>
                  <a:pt x="23" y="50"/>
                </a:lnTo>
                <a:lnTo>
                  <a:pt x="24" y="50"/>
                </a:lnTo>
                <a:lnTo>
                  <a:pt x="25" y="49"/>
                </a:lnTo>
                <a:lnTo>
                  <a:pt x="27" y="51"/>
                </a:lnTo>
                <a:lnTo>
                  <a:pt x="29" y="51"/>
                </a:lnTo>
                <a:lnTo>
                  <a:pt x="37" y="48"/>
                </a:lnTo>
                <a:lnTo>
                  <a:pt x="38" y="48"/>
                </a:lnTo>
                <a:lnTo>
                  <a:pt x="39" y="45"/>
                </a:lnTo>
                <a:lnTo>
                  <a:pt x="39" y="44"/>
                </a:lnTo>
                <a:lnTo>
                  <a:pt x="43" y="44"/>
                </a:lnTo>
                <a:lnTo>
                  <a:pt x="43" y="43"/>
                </a:lnTo>
                <a:lnTo>
                  <a:pt x="44" y="43"/>
                </a:lnTo>
                <a:lnTo>
                  <a:pt x="44" y="39"/>
                </a:lnTo>
                <a:lnTo>
                  <a:pt x="45" y="38"/>
                </a:lnTo>
                <a:lnTo>
                  <a:pt x="49" y="38"/>
                </a:lnTo>
                <a:lnTo>
                  <a:pt x="52" y="34"/>
                </a:lnTo>
                <a:lnTo>
                  <a:pt x="52" y="28"/>
                </a:lnTo>
                <a:lnTo>
                  <a:pt x="54" y="26"/>
                </a:lnTo>
                <a:lnTo>
                  <a:pt x="54" y="24"/>
                </a:lnTo>
                <a:lnTo>
                  <a:pt x="56" y="21"/>
                </a:lnTo>
                <a:lnTo>
                  <a:pt x="62" y="19"/>
                </a:lnTo>
                <a:lnTo>
                  <a:pt x="64" y="16"/>
                </a:lnTo>
                <a:lnTo>
                  <a:pt x="64" y="14"/>
                </a:lnTo>
                <a:lnTo>
                  <a:pt x="67" y="14"/>
                </a:lnTo>
                <a:lnTo>
                  <a:pt x="70" y="11"/>
                </a:lnTo>
                <a:lnTo>
                  <a:pt x="70" y="8"/>
                </a:lnTo>
                <a:lnTo>
                  <a:pt x="71" y="8"/>
                </a:lnTo>
                <a:lnTo>
                  <a:pt x="71" y="7"/>
                </a:lnTo>
                <a:lnTo>
                  <a:pt x="74" y="8"/>
                </a:lnTo>
                <a:lnTo>
                  <a:pt x="75" y="7"/>
                </a:lnTo>
                <a:lnTo>
                  <a:pt x="77" y="8"/>
                </a:lnTo>
                <a:lnTo>
                  <a:pt x="80" y="8"/>
                </a:lnTo>
                <a:lnTo>
                  <a:pt x="82" y="6"/>
                </a:lnTo>
                <a:lnTo>
                  <a:pt x="83" y="6"/>
                </a:lnTo>
                <a:lnTo>
                  <a:pt x="88" y="7"/>
                </a:lnTo>
                <a:lnTo>
                  <a:pt x="89" y="7"/>
                </a:lnTo>
                <a:lnTo>
                  <a:pt x="88" y="8"/>
                </a:lnTo>
                <a:lnTo>
                  <a:pt x="88" y="9"/>
                </a:lnTo>
                <a:lnTo>
                  <a:pt x="89" y="11"/>
                </a:lnTo>
                <a:lnTo>
                  <a:pt x="89" y="14"/>
                </a:lnTo>
                <a:lnTo>
                  <a:pt x="91" y="14"/>
                </a:lnTo>
                <a:lnTo>
                  <a:pt x="93" y="13"/>
                </a:lnTo>
                <a:lnTo>
                  <a:pt x="94" y="13"/>
                </a:lnTo>
                <a:lnTo>
                  <a:pt x="94" y="14"/>
                </a:lnTo>
                <a:lnTo>
                  <a:pt x="96" y="14"/>
                </a:lnTo>
                <a:lnTo>
                  <a:pt x="99" y="12"/>
                </a:lnTo>
                <a:lnTo>
                  <a:pt x="99" y="11"/>
                </a:lnTo>
                <a:lnTo>
                  <a:pt x="100" y="11"/>
                </a:lnTo>
                <a:lnTo>
                  <a:pt x="99" y="9"/>
                </a:lnTo>
                <a:lnTo>
                  <a:pt x="100" y="7"/>
                </a:lnTo>
                <a:lnTo>
                  <a:pt x="100" y="6"/>
                </a:lnTo>
                <a:lnTo>
                  <a:pt x="105" y="6"/>
                </a:lnTo>
                <a:lnTo>
                  <a:pt x="105" y="5"/>
                </a:lnTo>
                <a:lnTo>
                  <a:pt x="11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" name="Freeform 17">
            <a:extLst>
              <a:ext uri="{FF2B5EF4-FFF2-40B4-BE49-F238E27FC236}">
                <a16:creationId xmlns:a16="http://schemas.microsoft.com/office/drawing/2014/main" id="{F42E69B3-83C8-4E05-A7B8-E8039A3279C5}"/>
              </a:ext>
            </a:extLst>
          </p:cNvPr>
          <p:cNvSpPr>
            <a:spLocks/>
          </p:cNvSpPr>
          <p:nvPr/>
        </p:nvSpPr>
        <p:spPr bwMode="auto">
          <a:xfrm>
            <a:off x="2385052" y="5066796"/>
            <a:ext cx="252116" cy="366582"/>
          </a:xfrm>
          <a:custGeom>
            <a:avLst/>
            <a:gdLst/>
            <a:ahLst/>
            <a:cxnLst>
              <a:cxn ang="0">
                <a:pos x="45" y="0"/>
              </a:cxn>
              <a:cxn ang="0">
                <a:pos x="60" y="7"/>
              </a:cxn>
              <a:cxn ang="0">
                <a:pos x="72" y="17"/>
              </a:cxn>
              <a:cxn ang="0">
                <a:pos x="79" y="26"/>
              </a:cxn>
              <a:cxn ang="0">
                <a:pos x="82" y="39"/>
              </a:cxn>
              <a:cxn ang="0">
                <a:pos x="94" y="52"/>
              </a:cxn>
              <a:cxn ang="0">
                <a:pos x="102" y="57"/>
              </a:cxn>
              <a:cxn ang="0">
                <a:pos x="108" y="67"/>
              </a:cxn>
              <a:cxn ang="0">
                <a:pos x="109" y="73"/>
              </a:cxn>
              <a:cxn ang="0">
                <a:pos x="106" y="79"/>
              </a:cxn>
              <a:cxn ang="0">
                <a:pos x="116" y="87"/>
              </a:cxn>
              <a:cxn ang="0">
                <a:pos x="134" y="94"/>
              </a:cxn>
              <a:cxn ang="0">
                <a:pos x="145" y="91"/>
              </a:cxn>
              <a:cxn ang="0">
                <a:pos x="152" y="87"/>
              </a:cxn>
              <a:cxn ang="0">
                <a:pos x="160" y="98"/>
              </a:cxn>
              <a:cxn ang="0">
                <a:pos x="152" y="100"/>
              </a:cxn>
              <a:cxn ang="0">
                <a:pos x="159" y="117"/>
              </a:cxn>
              <a:cxn ang="0">
                <a:pos x="153" y="128"/>
              </a:cxn>
              <a:cxn ang="0">
                <a:pos x="149" y="147"/>
              </a:cxn>
              <a:cxn ang="0">
                <a:pos x="154" y="160"/>
              </a:cxn>
              <a:cxn ang="0">
                <a:pos x="166" y="168"/>
              </a:cxn>
              <a:cxn ang="0">
                <a:pos x="170" y="183"/>
              </a:cxn>
              <a:cxn ang="0">
                <a:pos x="153" y="195"/>
              </a:cxn>
              <a:cxn ang="0">
                <a:pos x="152" y="204"/>
              </a:cxn>
              <a:cxn ang="0">
                <a:pos x="153" y="222"/>
              </a:cxn>
              <a:cxn ang="0">
                <a:pos x="144" y="226"/>
              </a:cxn>
              <a:cxn ang="0">
                <a:pos x="129" y="226"/>
              </a:cxn>
              <a:cxn ang="0">
                <a:pos x="116" y="230"/>
              </a:cxn>
              <a:cxn ang="0">
                <a:pos x="108" y="233"/>
              </a:cxn>
              <a:cxn ang="0">
                <a:pos x="101" y="239"/>
              </a:cxn>
              <a:cxn ang="0">
                <a:pos x="91" y="236"/>
              </a:cxn>
              <a:cxn ang="0">
                <a:pos x="79" y="251"/>
              </a:cxn>
              <a:cxn ang="0">
                <a:pos x="72" y="252"/>
              </a:cxn>
              <a:cxn ang="0">
                <a:pos x="71" y="236"/>
              </a:cxn>
              <a:cxn ang="0">
                <a:pos x="57" y="226"/>
              </a:cxn>
              <a:cxn ang="0">
                <a:pos x="51" y="215"/>
              </a:cxn>
              <a:cxn ang="0">
                <a:pos x="52" y="201"/>
              </a:cxn>
              <a:cxn ang="0">
                <a:pos x="62" y="193"/>
              </a:cxn>
              <a:cxn ang="0">
                <a:pos x="45" y="181"/>
              </a:cxn>
              <a:cxn ang="0">
                <a:pos x="36" y="180"/>
              </a:cxn>
              <a:cxn ang="0">
                <a:pos x="27" y="173"/>
              </a:cxn>
              <a:cxn ang="0">
                <a:pos x="14" y="156"/>
              </a:cxn>
              <a:cxn ang="0">
                <a:pos x="21" y="153"/>
              </a:cxn>
              <a:cxn ang="0">
                <a:pos x="27" y="150"/>
              </a:cxn>
              <a:cxn ang="0">
                <a:pos x="15" y="130"/>
              </a:cxn>
              <a:cxn ang="0">
                <a:pos x="31" y="129"/>
              </a:cxn>
              <a:cxn ang="0">
                <a:pos x="27" y="124"/>
              </a:cxn>
              <a:cxn ang="0">
                <a:pos x="15" y="113"/>
              </a:cxn>
              <a:cxn ang="0">
                <a:pos x="14" y="98"/>
              </a:cxn>
              <a:cxn ang="0">
                <a:pos x="21" y="79"/>
              </a:cxn>
              <a:cxn ang="0">
                <a:pos x="14" y="76"/>
              </a:cxn>
              <a:cxn ang="0">
                <a:pos x="7" y="75"/>
              </a:cxn>
              <a:cxn ang="0">
                <a:pos x="8" y="62"/>
              </a:cxn>
              <a:cxn ang="0">
                <a:pos x="17" y="60"/>
              </a:cxn>
              <a:cxn ang="0">
                <a:pos x="10" y="51"/>
              </a:cxn>
              <a:cxn ang="0">
                <a:pos x="6" y="44"/>
              </a:cxn>
              <a:cxn ang="0">
                <a:pos x="4" y="37"/>
              </a:cxn>
              <a:cxn ang="0">
                <a:pos x="2" y="29"/>
              </a:cxn>
              <a:cxn ang="0">
                <a:pos x="2" y="15"/>
              </a:cxn>
              <a:cxn ang="0">
                <a:pos x="8" y="13"/>
              </a:cxn>
              <a:cxn ang="0">
                <a:pos x="17" y="9"/>
              </a:cxn>
              <a:cxn ang="0">
                <a:pos x="26" y="5"/>
              </a:cxn>
            </a:cxnLst>
            <a:rect l="0" t="0" r="r" b="b"/>
            <a:pathLst>
              <a:path w="174" h="253">
                <a:moveTo>
                  <a:pt x="29" y="0"/>
                </a:moveTo>
                <a:lnTo>
                  <a:pt x="34" y="0"/>
                </a:lnTo>
                <a:lnTo>
                  <a:pt x="35" y="1"/>
                </a:lnTo>
                <a:lnTo>
                  <a:pt x="38" y="2"/>
                </a:lnTo>
                <a:lnTo>
                  <a:pt x="39" y="2"/>
                </a:lnTo>
                <a:lnTo>
                  <a:pt x="42" y="1"/>
                </a:lnTo>
                <a:lnTo>
                  <a:pt x="44" y="1"/>
                </a:lnTo>
                <a:lnTo>
                  <a:pt x="45" y="0"/>
                </a:lnTo>
                <a:lnTo>
                  <a:pt x="47" y="1"/>
                </a:lnTo>
                <a:lnTo>
                  <a:pt x="53" y="1"/>
                </a:lnTo>
                <a:lnTo>
                  <a:pt x="53" y="2"/>
                </a:lnTo>
                <a:lnTo>
                  <a:pt x="54" y="2"/>
                </a:lnTo>
                <a:lnTo>
                  <a:pt x="54" y="1"/>
                </a:lnTo>
                <a:lnTo>
                  <a:pt x="56" y="2"/>
                </a:lnTo>
                <a:lnTo>
                  <a:pt x="58" y="4"/>
                </a:lnTo>
                <a:lnTo>
                  <a:pt x="60" y="7"/>
                </a:lnTo>
                <a:lnTo>
                  <a:pt x="62" y="8"/>
                </a:lnTo>
                <a:lnTo>
                  <a:pt x="62" y="11"/>
                </a:lnTo>
                <a:lnTo>
                  <a:pt x="63" y="12"/>
                </a:lnTo>
                <a:lnTo>
                  <a:pt x="64" y="12"/>
                </a:lnTo>
                <a:lnTo>
                  <a:pt x="65" y="13"/>
                </a:lnTo>
                <a:lnTo>
                  <a:pt x="66" y="13"/>
                </a:lnTo>
                <a:lnTo>
                  <a:pt x="70" y="17"/>
                </a:lnTo>
                <a:lnTo>
                  <a:pt x="72" y="17"/>
                </a:lnTo>
                <a:lnTo>
                  <a:pt x="73" y="19"/>
                </a:lnTo>
                <a:lnTo>
                  <a:pt x="73" y="20"/>
                </a:lnTo>
                <a:lnTo>
                  <a:pt x="75" y="20"/>
                </a:lnTo>
                <a:lnTo>
                  <a:pt x="75" y="23"/>
                </a:lnTo>
                <a:lnTo>
                  <a:pt x="76" y="24"/>
                </a:lnTo>
                <a:lnTo>
                  <a:pt x="76" y="25"/>
                </a:lnTo>
                <a:lnTo>
                  <a:pt x="77" y="26"/>
                </a:lnTo>
                <a:lnTo>
                  <a:pt x="79" y="26"/>
                </a:lnTo>
                <a:lnTo>
                  <a:pt x="79" y="25"/>
                </a:lnTo>
                <a:lnTo>
                  <a:pt x="81" y="25"/>
                </a:lnTo>
                <a:lnTo>
                  <a:pt x="81" y="31"/>
                </a:lnTo>
                <a:lnTo>
                  <a:pt x="79" y="32"/>
                </a:lnTo>
                <a:lnTo>
                  <a:pt x="79" y="35"/>
                </a:lnTo>
                <a:lnTo>
                  <a:pt x="81" y="37"/>
                </a:lnTo>
                <a:lnTo>
                  <a:pt x="82" y="38"/>
                </a:lnTo>
                <a:lnTo>
                  <a:pt x="82" y="39"/>
                </a:lnTo>
                <a:lnTo>
                  <a:pt x="81" y="41"/>
                </a:lnTo>
                <a:lnTo>
                  <a:pt x="79" y="41"/>
                </a:lnTo>
                <a:lnTo>
                  <a:pt x="82" y="43"/>
                </a:lnTo>
                <a:lnTo>
                  <a:pt x="83" y="43"/>
                </a:lnTo>
                <a:lnTo>
                  <a:pt x="84" y="45"/>
                </a:lnTo>
                <a:lnTo>
                  <a:pt x="90" y="51"/>
                </a:lnTo>
                <a:lnTo>
                  <a:pt x="93" y="52"/>
                </a:lnTo>
                <a:lnTo>
                  <a:pt x="94" y="52"/>
                </a:lnTo>
                <a:lnTo>
                  <a:pt x="94" y="54"/>
                </a:lnTo>
                <a:lnTo>
                  <a:pt x="95" y="54"/>
                </a:lnTo>
                <a:lnTo>
                  <a:pt x="95" y="52"/>
                </a:lnTo>
                <a:lnTo>
                  <a:pt x="96" y="52"/>
                </a:lnTo>
                <a:lnTo>
                  <a:pt x="98" y="55"/>
                </a:lnTo>
                <a:lnTo>
                  <a:pt x="98" y="56"/>
                </a:lnTo>
                <a:lnTo>
                  <a:pt x="100" y="57"/>
                </a:lnTo>
                <a:lnTo>
                  <a:pt x="102" y="57"/>
                </a:lnTo>
                <a:lnTo>
                  <a:pt x="107" y="58"/>
                </a:lnTo>
                <a:lnTo>
                  <a:pt x="108" y="60"/>
                </a:lnTo>
                <a:lnTo>
                  <a:pt x="109" y="60"/>
                </a:lnTo>
                <a:lnTo>
                  <a:pt x="110" y="61"/>
                </a:lnTo>
                <a:lnTo>
                  <a:pt x="110" y="63"/>
                </a:lnTo>
                <a:lnTo>
                  <a:pt x="109" y="63"/>
                </a:lnTo>
                <a:lnTo>
                  <a:pt x="109" y="66"/>
                </a:lnTo>
                <a:lnTo>
                  <a:pt x="108" y="67"/>
                </a:lnTo>
                <a:lnTo>
                  <a:pt x="108" y="68"/>
                </a:lnTo>
                <a:lnTo>
                  <a:pt x="107" y="69"/>
                </a:lnTo>
                <a:lnTo>
                  <a:pt x="106" y="69"/>
                </a:lnTo>
                <a:lnTo>
                  <a:pt x="104" y="70"/>
                </a:lnTo>
                <a:lnTo>
                  <a:pt x="104" y="72"/>
                </a:lnTo>
                <a:lnTo>
                  <a:pt x="106" y="72"/>
                </a:lnTo>
                <a:lnTo>
                  <a:pt x="106" y="73"/>
                </a:lnTo>
                <a:lnTo>
                  <a:pt x="109" y="73"/>
                </a:lnTo>
                <a:lnTo>
                  <a:pt x="110" y="74"/>
                </a:lnTo>
                <a:lnTo>
                  <a:pt x="112" y="74"/>
                </a:lnTo>
                <a:lnTo>
                  <a:pt x="113" y="75"/>
                </a:lnTo>
                <a:lnTo>
                  <a:pt x="113" y="78"/>
                </a:lnTo>
                <a:lnTo>
                  <a:pt x="110" y="78"/>
                </a:lnTo>
                <a:lnTo>
                  <a:pt x="109" y="79"/>
                </a:lnTo>
                <a:lnTo>
                  <a:pt x="107" y="78"/>
                </a:lnTo>
                <a:lnTo>
                  <a:pt x="106" y="79"/>
                </a:lnTo>
                <a:lnTo>
                  <a:pt x="104" y="79"/>
                </a:lnTo>
                <a:lnTo>
                  <a:pt x="104" y="80"/>
                </a:lnTo>
                <a:lnTo>
                  <a:pt x="107" y="82"/>
                </a:lnTo>
                <a:lnTo>
                  <a:pt x="107" y="84"/>
                </a:lnTo>
                <a:lnTo>
                  <a:pt x="114" y="84"/>
                </a:lnTo>
                <a:lnTo>
                  <a:pt x="115" y="85"/>
                </a:lnTo>
                <a:lnTo>
                  <a:pt x="115" y="86"/>
                </a:lnTo>
                <a:lnTo>
                  <a:pt x="116" y="87"/>
                </a:lnTo>
                <a:lnTo>
                  <a:pt x="118" y="90"/>
                </a:lnTo>
                <a:lnTo>
                  <a:pt x="123" y="90"/>
                </a:lnTo>
                <a:lnTo>
                  <a:pt x="126" y="88"/>
                </a:lnTo>
                <a:lnTo>
                  <a:pt x="127" y="88"/>
                </a:lnTo>
                <a:lnTo>
                  <a:pt x="131" y="91"/>
                </a:lnTo>
                <a:lnTo>
                  <a:pt x="132" y="91"/>
                </a:lnTo>
                <a:lnTo>
                  <a:pt x="133" y="94"/>
                </a:lnTo>
                <a:lnTo>
                  <a:pt x="134" y="94"/>
                </a:lnTo>
                <a:lnTo>
                  <a:pt x="134" y="97"/>
                </a:lnTo>
                <a:lnTo>
                  <a:pt x="135" y="97"/>
                </a:lnTo>
                <a:lnTo>
                  <a:pt x="135" y="99"/>
                </a:lnTo>
                <a:lnTo>
                  <a:pt x="137" y="99"/>
                </a:lnTo>
                <a:lnTo>
                  <a:pt x="138" y="100"/>
                </a:lnTo>
                <a:lnTo>
                  <a:pt x="139" y="100"/>
                </a:lnTo>
                <a:lnTo>
                  <a:pt x="140" y="99"/>
                </a:lnTo>
                <a:lnTo>
                  <a:pt x="145" y="91"/>
                </a:lnTo>
                <a:lnTo>
                  <a:pt x="145" y="90"/>
                </a:lnTo>
                <a:lnTo>
                  <a:pt x="146" y="90"/>
                </a:lnTo>
                <a:lnTo>
                  <a:pt x="147" y="88"/>
                </a:lnTo>
                <a:lnTo>
                  <a:pt x="149" y="88"/>
                </a:lnTo>
                <a:lnTo>
                  <a:pt x="150" y="87"/>
                </a:lnTo>
                <a:lnTo>
                  <a:pt x="150" y="86"/>
                </a:lnTo>
                <a:lnTo>
                  <a:pt x="152" y="86"/>
                </a:lnTo>
                <a:lnTo>
                  <a:pt x="152" y="87"/>
                </a:lnTo>
                <a:lnTo>
                  <a:pt x="156" y="90"/>
                </a:lnTo>
                <a:lnTo>
                  <a:pt x="158" y="92"/>
                </a:lnTo>
                <a:lnTo>
                  <a:pt x="162" y="92"/>
                </a:lnTo>
                <a:lnTo>
                  <a:pt x="163" y="93"/>
                </a:lnTo>
                <a:lnTo>
                  <a:pt x="164" y="95"/>
                </a:lnTo>
                <a:lnTo>
                  <a:pt x="164" y="97"/>
                </a:lnTo>
                <a:lnTo>
                  <a:pt x="163" y="98"/>
                </a:lnTo>
                <a:lnTo>
                  <a:pt x="160" y="98"/>
                </a:lnTo>
                <a:lnTo>
                  <a:pt x="158" y="95"/>
                </a:lnTo>
                <a:lnTo>
                  <a:pt x="157" y="95"/>
                </a:lnTo>
                <a:lnTo>
                  <a:pt x="157" y="97"/>
                </a:lnTo>
                <a:lnTo>
                  <a:pt x="156" y="97"/>
                </a:lnTo>
                <a:lnTo>
                  <a:pt x="156" y="99"/>
                </a:lnTo>
                <a:lnTo>
                  <a:pt x="154" y="99"/>
                </a:lnTo>
                <a:lnTo>
                  <a:pt x="153" y="100"/>
                </a:lnTo>
                <a:lnTo>
                  <a:pt x="152" y="100"/>
                </a:lnTo>
                <a:lnTo>
                  <a:pt x="152" y="103"/>
                </a:lnTo>
                <a:lnTo>
                  <a:pt x="153" y="104"/>
                </a:lnTo>
                <a:lnTo>
                  <a:pt x="153" y="106"/>
                </a:lnTo>
                <a:lnTo>
                  <a:pt x="158" y="111"/>
                </a:lnTo>
                <a:lnTo>
                  <a:pt x="160" y="111"/>
                </a:lnTo>
                <a:lnTo>
                  <a:pt x="162" y="112"/>
                </a:lnTo>
                <a:lnTo>
                  <a:pt x="162" y="116"/>
                </a:lnTo>
                <a:lnTo>
                  <a:pt x="159" y="117"/>
                </a:lnTo>
                <a:lnTo>
                  <a:pt x="158" y="118"/>
                </a:lnTo>
                <a:lnTo>
                  <a:pt x="158" y="121"/>
                </a:lnTo>
                <a:lnTo>
                  <a:pt x="157" y="122"/>
                </a:lnTo>
                <a:lnTo>
                  <a:pt x="157" y="123"/>
                </a:lnTo>
                <a:lnTo>
                  <a:pt x="158" y="124"/>
                </a:lnTo>
                <a:lnTo>
                  <a:pt x="158" y="125"/>
                </a:lnTo>
                <a:lnTo>
                  <a:pt x="156" y="125"/>
                </a:lnTo>
                <a:lnTo>
                  <a:pt x="153" y="128"/>
                </a:lnTo>
                <a:lnTo>
                  <a:pt x="153" y="129"/>
                </a:lnTo>
                <a:lnTo>
                  <a:pt x="150" y="129"/>
                </a:lnTo>
                <a:lnTo>
                  <a:pt x="149" y="130"/>
                </a:lnTo>
                <a:lnTo>
                  <a:pt x="149" y="136"/>
                </a:lnTo>
                <a:lnTo>
                  <a:pt x="147" y="138"/>
                </a:lnTo>
                <a:lnTo>
                  <a:pt x="147" y="142"/>
                </a:lnTo>
                <a:lnTo>
                  <a:pt x="149" y="143"/>
                </a:lnTo>
                <a:lnTo>
                  <a:pt x="149" y="147"/>
                </a:lnTo>
                <a:lnTo>
                  <a:pt x="150" y="148"/>
                </a:lnTo>
                <a:lnTo>
                  <a:pt x="150" y="149"/>
                </a:lnTo>
                <a:lnTo>
                  <a:pt x="151" y="149"/>
                </a:lnTo>
                <a:lnTo>
                  <a:pt x="152" y="150"/>
                </a:lnTo>
                <a:lnTo>
                  <a:pt x="152" y="155"/>
                </a:lnTo>
                <a:lnTo>
                  <a:pt x="153" y="156"/>
                </a:lnTo>
                <a:lnTo>
                  <a:pt x="153" y="159"/>
                </a:lnTo>
                <a:lnTo>
                  <a:pt x="154" y="160"/>
                </a:lnTo>
                <a:lnTo>
                  <a:pt x="154" y="161"/>
                </a:lnTo>
                <a:lnTo>
                  <a:pt x="157" y="161"/>
                </a:lnTo>
                <a:lnTo>
                  <a:pt x="157" y="162"/>
                </a:lnTo>
                <a:lnTo>
                  <a:pt x="159" y="162"/>
                </a:lnTo>
                <a:lnTo>
                  <a:pt x="159" y="165"/>
                </a:lnTo>
                <a:lnTo>
                  <a:pt x="163" y="165"/>
                </a:lnTo>
                <a:lnTo>
                  <a:pt x="163" y="166"/>
                </a:lnTo>
                <a:lnTo>
                  <a:pt x="166" y="168"/>
                </a:lnTo>
                <a:lnTo>
                  <a:pt x="166" y="171"/>
                </a:lnTo>
                <a:lnTo>
                  <a:pt x="171" y="176"/>
                </a:lnTo>
                <a:lnTo>
                  <a:pt x="172" y="176"/>
                </a:lnTo>
                <a:lnTo>
                  <a:pt x="174" y="177"/>
                </a:lnTo>
                <a:lnTo>
                  <a:pt x="174" y="179"/>
                </a:lnTo>
                <a:lnTo>
                  <a:pt x="172" y="181"/>
                </a:lnTo>
                <a:lnTo>
                  <a:pt x="171" y="183"/>
                </a:lnTo>
                <a:lnTo>
                  <a:pt x="170" y="183"/>
                </a:lnTo>
                <a:lnTo>
                  <a:pt x="170" y="185"/>
                </a:lnTo>
                <a:lnTo>
                  <a:pt x="166" y="189"/>
                </a:lnTo>
                <a:lnTo>
                  <a:pt x="165" y="189"/>
                </a:lnTo>
                <a:lnTo>
                  <a:pt x="164" y="190"/>
                </a:lnTo>
                <a:lnTo>
                  <a:pt x="164" y="192"/>
                </a:lnTo>
                <a:lnTo>
                  <a:pt x="163" y="193"/>
                </a:lnTo>
                <a:lnTo>
                  <a:pt x="163" y="195"/>
                </a:lnTo>
                <a:lnTo>
                  <a:pt x="153" y="195"/>
                </a:lnTo>
                <a:lnTo>
                  <a:pt x="153" y="196"/>
                </a:lnTo>
                <a:lnTo>
                  <a:pt x="152" y="197"/>
                </a:lnTo>
                <a:lnTo>
                  <a:pt x="151" y="197"/>
                </a:lnTo>
                <a:lnTo>
                  <a:pt x="151" y="198"/>
                </a:lnTo>
                <a:lnTo>
                  <a:pt x="150" y="198"/>
                </a:lnTo>
                <a:lnTo>
                  <a:pt x="151" y="201"/>
                </a:lnTo>
                <a:lnTo>
                  <a:pt x="152" y="202"/>
                </a:lnTo>
                <a:lnTo>
                  <a:pt x="152" y="204"/>
                </a:lnTo>
                <a:lnTo>
                  <a:pt x="151" y="205"/>
                </a:lnTo>
                <a:lnTo>
                  <a:pt x="151" y="209"/>
                </a:lnTo>
                <a:lnTo>
                  <a:pt x="150" y="211"/>
                </a:lnTo>
                <a:lnTo>
                  <a:pt x="150" y="213"/>
                </a:lnTo>
                <a:lnTo>
                  <a:pt x="152" y="214"/>
                </a:lnTo>
                <a:lnTo>
                  <a:pt x="154" y="216"/>
                </a:lnTo>
                <a:lnTo>
                  <a:pt x="154" y="221"/>
                </a:lnTo>
                <a:lnTo>
                  <a:pt x="153" y="222"/>
                </a:lnTo>
                <a:lnTo>
                  <a:pt x="152" y="222"/>
                </a:lnTo>
                <a:lnTo>
                  <a:pt x="151" y="223"/>
                </a:lnTo>
                <a:lnTo>
                  <a:pt x="151" y="226"/>
                </a:lnTo>
                <a:lnTo>
                  <a:pt x="150" y="226"/>
                </a:lnTo>
                <a:lnTo>
                  <a:pt x="150" y="227"/>
                </a:lnTo>
                <a:lnTo>
                  <a:pt x="145" y="227"/>
                </a:lnTo>
                <a:lnTo>
                  <a:pt x="145" y="226"/>
                </a:lnTo>
                <a:lnTo>
                  <a:pt x="144" y="226"/>
                </a:lnTo>
                <a:lnTo>
                  <a:pt x="144" y="223"/>
                </a:lnTo>
                <a:lnTo>
                  <a:pt x="143" y="223"/>
                </a:lnTo>
                <a:lnTo>
                  <a:pt x="143" y="224"/>
                </a:lnTo>
                <a:lnTo>
                  <a:pt x="137" y="227"/>
                </a:lnTo>
                <a:lnTo>
                  <a:pt x="134" y="228"/>
                </a:lnTo>
                <a:lnTo>
                  <a:pt x="133" y="228"/>
                </a:lnTo>
                <a:lnTo>
                  <a:pt x="132" y="227"/>
                </a:lnTo>
                <a:lnTo>
                  <a:pt x="129" y="226"/>
                </a:lnTo>
                <a:lnTo>
                  <a:pt x="128" y="226"/>
                </a:lnTo>
                <a:lnTo>
                  <a:pt x="127" y="227"/>
                </a:lnTo>
                <a:lnTo>
                  <a:pt x="125" y="227"/>
                </a:lnTo>
                <a:lnTo>
                  <a:pt x="120" y="230"/>
                </a:lnTo>
                <a:lnTo>
                  <a:pt x="119" y="230"/>
                </a:lnTo>
                <a:lnTo>
                  <a:pt x="119" y="232"/>
                </a:lnTo>
                <a:lnTo>
                  <a:pt x="118" y="232"/>
                </a:lnTo>
                <a:lnTo>
                  <a:pt x="116" y="230"/>
                </a:lnTo>
                <a:lnTo>
                  <a:pt x="114" y="230"/>
                </a:lnTo>
                <a:lnTo>
                  <a:pt x="112" y="232"/>
                </a:lnTo>
                <a:lnTo>
                  <a:pt x="110" y="230"/>
                </a:lnTo>
                <a:lnTo>
                  <a:pt x="110" y="232"/>
                </a:lnTo>
                <a:lnTo>
                  <a:pt x="109" y="232"/>
                </a:lnTo>
                <a:lnTo>
                  <a:pt x="109" y="230"/>
                </a:lnTo>
                <a:lnTo>
                  <a:pt x="108" y="230"/>
                </a:lnTo>
                <a:lnTo>
                  <a:pt x="108" y="233"/>
                </a:lnTo>
                <a:lnTo>
                  <a:pt x="106" y="232"/>
                </a:lnTo>
                <a:lnTo>
                  <a:pt x="104" y="233"/>
                </a:lnTo>
                <a:lnTo>
                  <a:pt x="102" y="236"/>
                </a:lnTo>
                <a:lnTo>
                  <a:pt x="102" y="238"/>
                </a:lnTo>
                <a:lnTo>
                  <a:pt x="103" y="239"/>
                </a:lnTo>
                <a:lnTo>
                  <a:pt x="102" y="239"/>
                </a:lnTo>
                <a:lnTo>
                  <a:pt x="102" y="240"/>
                </a:lnTo>
                <a:lnTo>
                  <a:pt x="101" y="239"/>
                </a:lnTo>
                <a:lnTo>
                  <a:pt x="100" y="239"/>
                </a:lnTo>
                <a:lnTo>
                  <a:pt x="98" y="238"/>
                </a:lnTo>
                <a:lnTo>
                  <a:pt x="98" y="236"/>
                </a:lnTo>
                <a:lnTo>
                  <a:pt x="97" y="235"/>
                </a:lnTo>
                <a:lnTo>
                  <a:pt x="95" y="234"/>
                </a:lnTo>
                <a:lnTo>
                  <a:pt x="93" y="234"/>
                </a:lnTo>
                <a:lnTo>
                  <a:pt x="91" y="235"/>
                </a:lnTo>
                <a:lnTo>
                  <a:pt x="91" y="236"/>
                </a:lnTo>
                <a:lnTo>
                  <a:pt x="90" y="236"/>
                </a:lnTo>
                <a:lnTo>
                  <a:pt x="89" y="238"/>
                </a:lnTo>
                <a:lnTo>
                  <a:pt x="85" y="238"/>
                </a:lnTo>
                <a:lnTo>
                  <a:pt x="82" y="240"/>
                </a:lnTo>
                <a:lnTo>
                  <a:pt x="81" y="240"/>
                </a:lnTo>
                <a:lnTo>
                  <a:pt x="81" y="241"/>
                </a:lnTo>
                <a:lnTo>
                  <a:pt x="79" y="242"/>
                </a:lnTo>
                <a:lnTo>
                  <a:pt x="79" y="251"/>
                </a:lnTo>
                <a:lnTo>
                  <a:pt x="78" y="252"/>
                </a:lnTo>
                <a:lnTo>
                  <a:pt x="78" y="253"/>
                </a:lnTo>
                <a:lnTo>
                  <a:pt x="76" y="253"/>
                </a:lnTo>
                <a:lnTo>
                  <a:pt x="76" y="252"/>
                </a:lnTo>
                <a:lnTo>
                  <a:pt x="75" y="252"/>
                </a:lnTo>
                <a:lnTo>
                  <a:pt x="75" y="253"/>
                </a:lnTo>
                <a:lnTo>
                  <a:pt x="72" y="253"/>
                </a:lnTo>
                <a:lnTo>
                  <a:pt x="72" y="252"/>
                </a:lnTo>
                <a:lnTo>
                  <a:pt x="71" y="251"/>
                </a:lnTo>
                <a:lnTo>
                  <a:pt x="72" y="250"/>
                </a:lnTo>
                <a:lnTo>
                  <a:pt x="72" y="248"/>
                </a:lnTo>
                <a:lnTo>
                  <a:pt x="73" y="247"/>
                </a:lnTo>
                <a:lnTo>
                  <a:pt x="72" y="246"/>
                </a:lnTo>
                <a:lnTo>
                  <a:pt x="72" y="245"/>
                </a:lnTo>
                <a:lnTo>
                  <a:pt x="71" y="241"/>
                </a:lnTo>
                <a:lnTo>
                  <a:pt x="71" y="236"/>
                </a:lnTo>
                <a:lnTo>
                  <a:pt x="69" y="233"/>
                </a:lnTo>
                <a:lnTo>
                  <a:pt x="69" y="232"/>
                </a:lnTo>
                <a:lnTo>
                  <a:pt x="67" y="232"/>
                </a:lnTo>
                <a:lnTo>
                  <a:pt x="67" y="230"/>
                </a:lnTo>
                <a:lnTo>
                  <a:pt x="62" y="227"/>
                </a:lnTo>
                <a:lnTo>
                  <a:pt x="58" y="227"/>
                </a:lnTo>
                <a:lnTo>
                  <a:pt x="58" y="226"/>
                </a:lnTo>
                <a:lnTo>
                  <a:pt x="57" y="226"/>
                </a:lnTo>
                <a:lnTo>
                  <a:pt x="57" y="223"/>
                </a:lnTo>
                <a:lnTo>
                  <a:pt x="56" y="223"/>
                </a:lnTo>
                <a:lnTo>
                  <a:pt x="56" y="222"/>
                </a:lnTo>
                <a:lnTo>
                  <a:pt x="57" y="221"/>
                </a:lnTo>
                <a:lnTo>
                  <a:pt x="56" y="220"/>
                </a:lnTo>
                <a:lnTo>
                  <a:pt x="54" y="216"/>
                </a:lnTo>
                <a:lnTo>
                  <a:pt x="53" y="216"/>
                </a:lnTo>
                <a:lnTo>
                  <a:pt x="51" y="215"/>
                </a:lnTo>
                <a:lnTo>
                  <a:pt x="51" y="210"/>
                </a:lnTo>
                <a:lnTo>
                  <a:pt x="52" y="209"/>
                </a:lnTo>
                <a:lnTo>
                  <a:pt x="52" y="207"/>
                </a:lnTo>
                <a:lnTo>
                  <a:pt x="48" y="203"/>
                </a:lnTo>
                <a:lnTo>
                  <a:pt x="48" y="202"/>
                </a:lnTo>
                <a:lnTo>
                  <a:pt x="50" y="202"/>
                </a:lnTo>
                <a:lnTo>
                  <a:pt x="50" y="201"/>
                </a:lnTo>
                <a:lnTo>
                  <a:pt x="52" y="201"/>
                </a:lnTo>
                <a:lnTo>
                  <a:pt x="54" y="202"/>
                </a:lnTo>
                <a:lnTo>
                  <a:pt x="56" y="203"/>
                </a:lnTo>
                <a:lnTo>
                  <a:pt x="57" y="202"/>
                </a:lnTo>
                <a:lnTo>
                  <a:pt x="57" y="198"/>
                </a:lnTo>
                <a:lnTo>
                  <a:pt x="59" y="198"/>
                </a:lnTo>
                <a:lnTo>
                  <a:pt x="63" y="197"/>
                </a:lnTo>
                <a:lnTo>
                  <a:pt x="63" y="193"/>
                </a:lnTo>
                <a:lnTo>
                  <a:pt x="62" y="193"/>
                </a:lnTo>
                <a:lnTo>
                  <a:pt x="59" y="192"/>
                </a:lnTo>
                <a:lnTo>
                  <a:pt x="57" y="190"/>
                </a:lnTo>
                <a:lnTo>
                  <a:pt x="53" y="190"/>
                </a:lnTo>
                <a:lnTo>
                  <a:pt x="53" y="189"/>
                </a:lnTo>
                <a:lnTo>
                  <a:pt x="50" y="186"/>
                </a:lnTo>
                <a:lnTo>
                  <a:pt x="46" y="183"/>
                </a:lnTo>
                <a:lnTo>
                  <a:pt x="45" y="183"/>
                </a:lnTo>
                <a:lnTo>
                  <a:pt x="45" y="181"/>
                </a:lnTo>
                <a:lnTo>
                  <a:pt x="44" y="180"/>
                </a:lnTo>
                <a:lnTo>
                  <a:pt x="44" y="181"/>
                </a:lnTo>
                <a:lnTo>
                  <a:pt x="42" y="181"/>
                </a:lnTo>
                <a:lnTo>
                  <a:pt x="42" y="183"/>
                </a:lnTo>
                <a:lnTo>
                  <a:pt x="40" y="183"/>
                </a:lnTo>
                <a:lnTo>
                  <a:pt x="39" y="181"/>
                </a:lnTo>
                <a:lnTo>
                  <a:pt x="38" y="181"/>
                </a:lnTo>
                <a:lnTo>
                  <a:pt x="36" y="180"/>
                </a:lnTo>
                <a:lnTo>
                  <a:pt x="35" y="178"/>
                </a:lnTo>
                <a:lnTo>
                  <a:pt x="34" y="179"/>
                </a:lnTo>
                <a:lnTo>
                  <a:pt x="34" y="178"/>
                </a:lnTo>
                <a:lnTo>
                  <a:pt x="31" y="178"/>
                </a:lnTo>
                <a:lnTo>
                  <a:pt x="31" y="177"/>
                </a:lnTo>
                <a:lnTo>
                  <a:pt x="29" y="176"/>
                </a:lnTo>
                <a:lnTo>
                  <a:pt x="28" y="176"/>
                </a:lnTo>
                <a:lnTo>
                  <a:pt x="27" y="173"/>
                </a:lnTo>
                <a:lnTo>
                  <a:pt x="26" y="172"/>
                </a:lnTo>
                <a:lnTo>
                  <a:pt x="26" y="171"/>
                </a:lnTo>
                <a:lnTo>
                  <a:pt x="21" y="166"/>
                </a:lnTo>
                <a:lnTo>
                  <a:pt x="21" y="165"/>
                </a:lnTo>
                <a:lnTo>
                  <a:pt x="15" y="162"/>
                </a:lnTo>
                <a:lnTo>
                  <a:pt x="13" y="160"/>
                </a:lnTo>
                <a:lnTo>
                  <a:pt x="13" y="158"/>
                </a:lnTo>
                <a:lnTo>
                  <a:pt x="14" y="156"/>
                </a:lnTo>
                <a:lnTo>
                  <a:pt x="15" y="156"/>
                </a:lnTo>
                <a:lnTo>
                  <a:pt x="15" y="155"/>
                </a:lnTo>
                <a:lnTo>
                  <a:pt x="16" y="154"/>
                </a:lnTo>
                <a:lnTo>
                  <a:pt x="16" y="153"/>
                </a:lnTo>
                <a:lnTo>
                  <a:pt x="17" y="154"/>
                </a:lnTo>
                <a:lnTo>
                  <a:pt x="19" y="154"/>
                </a:lnTo>
                <a:lnTo>
                  <a:pt x="19" y="153"/>
                </a:lnTo>
                <a:lnTo>
                  <a:pt x="21" y="153"/>
                </a:lnTo>
                <a:lnTo>
                  <a:pt x="22" y="154"/>
                </a:lnTo>
                <a:lnTo>
                  <a:pt x="22" y="155"/>
                </a:lnTo>
                <a:lnTo>
                  <a:pt x="23" y="156"/>
                </a:lnTo>
                <a:lnTo>
                  <a:pt x="23" y="154"/>
                </a:lnTo>
                <a:lnTo>
                  <a:pt x="25" y="154"/>
                </a:lnTo>
                <a:lnTo>
                  <a:pt x="26" y="155"/>
                </a:lnTo>
                <a:lnTo>
                  <a:pt x="26" y="152"/>
                </a:lnTo>
                <a:lnTo>
                  <a:pt x="27" y="150"/>
                </a:lnTo>
                <a:lnTo>
                  <a:pt x="27" y="148"/>
                </a:lnTo>
                <a:lnTo>
                  <a:pt x="25" y="143"/>
                </a:lnTo>
                <a:lnTo>
                  <a:pt x="21" y="138"/>
                </a:lnTo>
                <a:lnTo>
                  <a:pt x="19" y="135"/>
                </a:lnTo>
                <a:lnTo>
                  <a:pt x="16" y="133"/>
                </a:lnTo>
                <a:lnTo>
                  <a:pt x="15" y="133"/>
                </a:lnTo>
                <a:lnTo>
                  <a:pt x="16" y="131"/>
                </a:lnTo>
                <a:lnTo>
                  <a:pt x="15" y="130"/>
                </a:lnTo>
                <a:lnTo>
                  <a:pt x="16" y="129"/>
                </a:lnTo>
                <a:lnTo>
                  <a:pt x="19" y="129"/>
                </a:lnTo>
                <a:lnTo>
                  <a:pt x="21" y="131"/>
                </a:lnTo>
                <a:lnTo>
                  <a:pt x="22" y="131"/>
                </a:lnTo>
                <a:lnTo>
                  <a:pt x="25" y="130"/>
                </a:lnTo>
                <a:lnTo>
                  <a:pt x="27" y="131"/>
                </a:lnTo>
                <a:lnTo>
                  <a:pt x="28" y="131"/>
                </a:lnTo>
                <a:lnTo>
                  <a:pt x="31" y="129"/>
                </a:lnTo>
                <a:lnTo>
                  <a:pt x="32" y="129"/>
                </a:lnTo>
                <a:lnTo>
                  <a:pt x="32" y="127"/>
                </a:lnTo>
                <a:lnTo>
                  <a:pt x="31" y="125"/>
                </a:lnTo>
                <a:lnTo>
                  <a:pt x="31" y="127"/>
                </a:lnTo>
                <a:lnTo>
                  <a:pt x="29" y="127"/>
                </a:lnTo>
                <a:lnTo>
                  <a:pt x="29" y="125"/>
                </a:lnTo>
                <a:lnTo>
                  <a:pt x="28" y="124"/>
                </a:lnTo>
                <a:lnTo>
                  <a:pt x="27" y="124"/>
                </a:lnTo>
                <a:lnTo>
                  <a:pt x="27" y="123"/>
                </a:lnTo>
                <a:lnTo>
                  <a:pt x="26" y="123"/>
                </a:lnTo>
                <a:lnTo>
                  <a:pt x="26" y="121"/>
                </a:lnTo>
                <a:lnTo>
                  <a:pt x="23" y="121"/>
                </a:lnTo>
                <a:lnTo>
                  <a:pt x="21" y="118"/>
                </a:lnTo>
                <a:lnTo>
                  <a:pt x="21" y="116"/>
                </a:lnTo>
                <a:lnTo>
                  <a:pt x="19" y="113"/>
                </a:lnTo>
                <a:lnTo>
                  <a:pt x="15" y="113"/>
                </a:lnTo>
                <a:lnTo>
                  <a:pt x="13" y="112"/>
                </a:lnTo>
                <a:lnTo>
                  <a:pt x="10" y="110"/>
                </a:lnTo>
                <a:lnTo>
                  <a:pt x="10" y="106"/>
                </a:lnTo>
                <a:lnTo>
                  <a:pt x="11" y="105"/>
                </a:lnTo>
                <a:lnTo>
                  <a:pt x="11" y="99"/>
                </a:lnTo>
                <a:lnTo>
                  <a:pt x="13" y="99"/>
                </a:lnTo>
                <a:lnTo>
                  <a:pt x="13" y="98"/>
                </a:lnTo>
                <a:lnTo>
                  <a:pt x="14" y="98"/>
                </a:lnTo>
                <a:lnTo>
                  <a:pt x="14" y="94"/>
                </a:lnTo>
                <a:lnTo>
                  <a:pt x="16" y="92"/>
                </a:lnTo>
                <a:lnTo>
                  <a:pt x="17" y="90"/>
                </a:lnTo>
                <a:lnTo>
                  <a:pt x="17" y="88"/>
                </a:lnTo>
                <a:lnTo>
                  <a:pt x="19" y="88"/>
                </a:lnTo>
                <a:lnTo>
                  <a:pt x="19" y="87"/>
                </a:lnTo>
                <a:lnTo>
                  <a:pt x="20" y="86"/>
                </a:lnTo>
                <a:lnTo>
                  <a:pt x="21" y="79"/>
                </a:lnTo>
                <a:lnTo>
                  <a:pt x="21" y="76"/>
                </a:lnTo>
                <a:lnTo>
                  <a:pt x="20" y="76"/>
                </a:lnTo>
                <a:lnTo>
                  <a:pt x="19" y="75"/>
                </a:lnTo>
                <a:lnTo>
                  <a:pt x="17" y="76"/>
                </a:lnTo>
                <a:lnTo>
                  <a:pt x="16" y="75"/>
                </a:lnTo>
                <a:lnTo>
                  <a:pt x="15" y="75"/>
                </a:lnTo>
                <a:lnTo>
                  <a:pt x="15" y="76"/>
                </a:lnTo>
                <a:lnTo>
                  <a:pt x="14" y="76"/>
                </a:lnTo>
                <a:lnTo>
                  <a:pt x="14" y="75"/>
                </a:lnTo>
                <a:lnTo>
                  <a:pt x="13" y="75"/>
                </a:lnTo>
                <a:lnTo>
                  <a:pt x="9" y="78"/>
                </a:lnTo>
                <a:lnTo>
                  <a:pt x="8" y="78"/>
                </a:lnTo>
                <a:lnTo>
                  <a:pt x="7" y="79"/>
                </a:lnTo>
                <a:lnTo>
                  <a:pt x="6" y="76"/>
                </a:lnTo>
                <a:lnTo>
                  <a:pt x="6" y="75"/>
                </a:lnTo>
                <a:lnTo>
                  <a:pt x="7" y="75"/>
                </a:lnTo>
                <a:lnTo>
                  <a:pt x="8" y="76"/>
                </a:lnTo>
                <a:lnTo>
                  <a:pt x="11" y="73"/>
                </a:lnTo>
                <a:lnTo>
                  <a:pt x="10" y="72"/>
                </a:lnTo>
                <a:lnTo>
                  <a:pt x="10" y="73"/>
                </a:lnTo>
                <a:lnTo>
                  <a:pt x="9" y="72"/>
                </a:lnTo>
                <a:lnTo>
                  <a:pt x="9" y="64"/>
                </a:lnTo>
                <a:lnTo>
                  <a:pt x="8" y="63"/>
                </a:lnTo>
                <a:lnTo>
                  <a:pt x="8" y="62"/>
                </a:lnTo>
                <a:lnTo>
                  <a:pt x="11" y="62"/>
                </a:lnTo>
                <a:lnTo>
                  <a:pt x="11" y="60"/>
                </a:lnTo>
                <a:lnTo>
                  <a:pt x="10" y="58"/>
                </a:lnTo>
                <a:lnTo>
                  <a:pt x="13" y="58"/>
                </a:lnTo>
                <a:lnTo>
                  <a:pt x="13" y="60"/>
                </a:lnTo>
                <a:lnTo>
                  <a:pt x="14" y="61"/>
                </a:lnTo>
                <a:lnTo>
                  <a:pt x="17" y="61"/>
                </a:lnTo>
                <a:lnTo>
                  <a:pt x="17" y="60"/>
                </a:lnTo>
                <a:lnTo>
                  <a:pt x="19" y="61"/>
                </a:lnTo>
                <a:lnTo>
                  <a:pt x="22" y="61"/>
                </a:lnTo>
                <a:lnTo>
                  <a:pt x="22" y="57"/>
                </a:lnTo>
                <a:lnTo>
                  <a:pt x="21" y="57"/>
                </a:lnTo>
                <a:lnTo>
                  <a:pt x="21" y="56"/>
                </a:lnTo>
                <a:lnTo>
                  <a:pt x="13" y="54"/>
                </a:lnTo>
                <a:lnTo>
                  <a:pt x="10" y="52"/>
                </a:lnTo>
                <a:lnTo>
                  <a:pt x="10" y="51"/>
                </a:lnTo>
                <a:lnTo>
                  <a:pt x="9" y="51"/>
                </a:lnTo>
                <a:lnTo>
                  <a:pt x="9" y="49"/>
                </a:lnTo>
                <a:lnTo>
                  <a:pt x="6" y="49"/>
                </a:lnTo>
                <a:lnTo>
                  <a:pt x="6" y="48"/>
                </a:lnTo>
                <a:lnTo>
                  <a:pt x="4" y="47"/>
                </a:lnTo>
                <a:lnTo>
                  <a:pt x="7" y="45"/>
                </a:lnTo>
                <a:lnTo>
                  <a:pt x="7" y="44"/>
                </a:lnTo>
                <a:lnTo>
                  <a:pt x="6" y="44"/>
                </a:lnTo>
                <a:lnTo>
                  <a:pt x="6" y="41"/>
                </a:lnTo>
                <a:lnTo>
                  <a:pt x="9" y="41"/>
                </a:lnTo>
                <a:lnTo>
                  <a:pt x="10" y="39"/>
                </a:lnTo>
                <a:lnTo>
                  <a:pt x="9" y="39"/>
                </a:lnTo>
                <a:lnTo>
                  <a:pt x="9" y="38"/>
                </a:lnTo>
                <a:lnTo>
                  <a:pt x="7" y="38"/>
                </a:lnTo>
                <a:lnTo>
                  <a:pt x="7" y="37"/>
                </a:lnTo>
                <a:lnTo>
                  <a:pt x="4" y="37"/>
                </a:lnTo>
                <a:lnTo>
                  <a:pt x="4" y="38"/>
                </a:lnTo>
                <a:lnTo>
                  <a:pt x="3" y="38"/>
                </a:lnTo>
                <a:lnTo>
                  <a:pt x="2" y="37"/>
                </a:lnTo>
                <a:lnTo>
                  <a:pt x="2" y="33"/>
                </a:lnTo>
                <a:lnTo>
                  <a:pt x="4" y="31"/>
                </a:lnTo>
                <a:lnTo>
                  <a:pt x="4" y="30"/>
                </a:lnTo>
                <a:lnTo>
                  <a:pt x="3" y="29"/>
                </a:lnTo>
                <a:lnTo>
                  <a:pt x="2" y="29"/>
                </a:lnTo>
                <a:lnTo>
                  <a:pt x="2" y="25"/>
                </a:lnTo>
                <a:lnTo>
                  <a:pt x="0" y="23"/>
                </a:lnTo>
                <a:lnTo>
                  <a:pt x="0" y="19"/>
                </a:lnTo>
                <a:lnTo>
                  <a:pt x="1" y="19"/>
                </a:lnTo>
                <a:lnTo>
                  <a:pt x="2" y="18"/>
                </a:lnTo>
                <a:lnTo>
                  <a:pt x="1" y="18"/>
                </a:lnTo>
                <a:lnTo>
                  <a:pt x="1" y="15"/>
                </a:lnTo>
                <a:lnTo>
                  <a:pt x="2" y="15"/>
                </a:lnTo>
                <a:lnTo>
                  <a:pt x="2" y="14"/>
                </a:lnTo>
                <a:lnTo>
                  <a:pt x="4" y="14"/>
                </a:lnTo>
                <a:lnTo>
                  <a:pt x="4" y="15"/>
                </a:lnTo>
                <a:lnTo>
                  <a:pt x="6" y="15"/>
                </a:lnTo>
                <a:lnTo>
                  <a:pt x="6" y="14"/>
                </a:lnTo>
                <a:lnTo>
                  <a:pt x="4" y="14"/>
                </a:lnTo>
                <a:lnTo>
                  <a:pt x="4" y="13"/>
                </a:lnTo>
                <a:lnTo>
                  <a:pt x="8" y="13"/>
                </a:lnTo>
                <a:lnTo>
                  <a:pt x="8" y="9"/>
                </a:lnTo>
                <a:lnTo>
                  <a:pt x="10" y="9"/>
                </a:lnTo>
                <a:lnTo>
                  <a:pt x="10" y="11"/>
                </a:lnTo>
                <a:lnTo>
                  <a:pt x="11" y="11"/>
                </a:lnTo>
                <a:lnTo>
                  <a:pt x="15" y="12"/>
                </a:lnTo>
                <a:lnTo>
                  <a:pt x="16" y="12"/>
                </a:lnTo>
                <a:lnTo>
                  <a:pt x="17" y="11"/>
                </a:lnTo>
                <a:lnTo>
                  <a:pt x="17" y="9"/>
                </a:lnTo>
                <a:lnTo>
                  <a:pt x="19" y="9"/>
                </a:lnTo>
                <a:lnTo>
                  <a:pt x="19" y="8"/>
                </a:lnTo>
                <a:lnTo>
                  <a:pt x="22" y="8"/>
                </a:lnTo>
                <a:lnTo>
                  <a:pt x="22" y="7"/>
                </a:lnTo>
                <a:lnTo>
                  <a:pt x="23" y="6"/>
                </a:lnTo>
                <a:lnTo>
                  <a:pt x="25" y="6"/>
                </a:lnTo>
                <a:lnTo>
                  <a:pt x="25" y="5"/>
                </a:lnTo>
                <a:lnTo>
                  <a:pt x="26" y="5"/>
                </a:lnTo>
                <a:lnTo>
                  <a:pt x="27" y="4"/>
                </a:lnTo>
                <a:lnTo>
                  <a:pt x="26" y="2"/>
                </a:lnTo>
                <a:lnTo>
                  <a:pt x="27" y="1"/>
                </a:lnTo>
                <a:lnTo>
                  <a:pt x="28" y="1"/>
                </a:lnTo>
                <a:lnTo>
                  <a:pt x="29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" name="Freeform 18">
            <a:extLst>
              <a:ext uri="{FF2B5EF4-FFF2-40B4-BE49-F238E27FC236}">
                <a16:creationId xmlns:a16="http://schemas.microsoft.com/office/drawing/2014/main" id="{D6B50ACF-985A-4049-AF41-2965E4C4B48A}"/>
              </a:ext>
            </a:extLst>
          </p:cNvPr>
          <p:cNvSpPr>
            <a:spLocks noEditPoints="1"/>
          </p:cNvSpPr>
          <p:nvPr/>
        </p:nvSpPr>
        <p:spPr bwMode="auto">
          <a:xfrm>
            <a:off x="2431418" y="2181957"/>
            <a:ext cx="2584909" cy="3305033"/>
          </a:xfrm>
          <a:custGeom>
            <a:avLst/>
            <a:gdLst/>
            <a:ahLst/>
            <a:cxnLst>
              <a:cxn ang="0">
                <a:pos x="130" y="1431"/>
              </a:cxn>
              <a:cxn ang="0">
                <a:pos x="423" y="1007"/>
              </a:cxn>
              <a:cxn ang="0">
                <a:pos x="861" y="574"/>
              </a:cxn>
              <a:cxn ang="0">
                <a:pos x="1465" y="195"/>
              </a:cxn>
              <a:cxn ang="0">
                <a:pos x="1501" y="128"/>
              </a:cxn>
              <a:cxn ang="0">
                <a:pos x="1264" y="132"/>
              </a:cxn>
              <a:cxn ang="0">
                <a:pos x="566" y="43"/>
              </a:cxn>
              <a:cxn ang="0">
                <a:pos x="578" y="63"/>
              </a:cxn>
              <a:cxn ang="0">
                <a:pos x="655" y="92"/>
              </a:cxn>
              <a:cxn ang="0">
                <a:pos x="797" y="190"/>
              </a:cxn>
              <a:cxn ang="0">
                <a:pos x="914" y="318"/>
              </a:cxn>
              <a:cxn ang="0">
                <a:pos x="643" y="386"/>
              </a:cxn>
              <a:cxn ang="0">
                <a:pos x="555" y="333"/>
              </a:cxn>
              <a:cxn ang="0">
                <a:pos x="584" y="388"/>
              </a:cxn>
              <a:cxn ang="0">
                <a:pos x="635" y="455"/>
              </a:cxn>
              <a:cxn ang="0">
                <a:pos x="637" y="543"/>
              </a:cxn>
              <a:cxn ang="0">
                <a:pos x="690" y="628"/>
              </a:cxn>
              <a:cxn ang="0">
                <a:pos x="722" y="582"/>
              </a:cxn>
              <a:cxn ang="0">
                <a:pos x="796" y="573"/>
              </a:cxn>
              <a:cxn ang="0">
                <a:pos x="877" y="574"/>
              </a:cxn>
              <a:cxn ang="0">
                <a:pos x="1002" y="437"/>
              </a:cxn>
              <a:cxn ang="0">
                <a:pos x="1044" y="331"/>
              </a:cxn>
              <a:cxn ang="0">
                <a:pos x="1038" y="171"/>
              </a:cxn>
              <a:cxn ang="0">
                <a:pos x="1125" y="359"/>
              </a:cxn>
              <a:cxn ang="0">
                <a:pos x="1238" y="266"/>
              </a:cxn>
              <a:cxn ang="0">
                <a:pos x="1373" y="190"/>
              </a:cxn>
              <a:cxn ang="0">
                <a:pos x="1447" y="174"/>
              </a:cxn>
              <a:cxn ang="0">
                <a:pos x="1532" y="158"/>
              </a:cxn>
              <a:cxn ang="0">
                <a:pos x="1666" y="173"/>
              </a:cxn>
              <a:cxn ang="0">
                <a:pos x="1747" y="15"/>
              </a:cxn>
              <a:cxn ang="0">
                <a:pos x="1758" y="1511"/>
              </a:cxn>
              <a:cxn ang="0">
                <a:pos x="1718" y="1637"/>
              </a:cxn>
              <a:cxn ang="0">
                <a:pos x="1652" y="1700"/>
              </a:cxn>
              <a:cxn ang="0">
                <a:pos x="1549" y="1690"/>
              </a:cxn>
              <a:cxn ang="0">
                <a:pos x="1450" y="1672"/>
              </a:cxn>
              <a:cxn ang="0">
                <a:pos x="1333" y="1646"/>
              </a:cxn>
              <a:cxn ang="0">
                <a:pos x="1234" y="1745"/>
              </a:cxn>
              <a:cxn ang="0">
                <a:pos x="1157" y="1877"/>
              </a:cxn>
              <a:cxn ang="0">
                <a:pos x="1233" y="1996"/>
              </a:cxn>
              <a:cxn ang="0">
                <a:pos x="1180" y="2015"/>
              </a:cxn>
              <a:cxn ang="0">
                <a:pos x="1150" y="2077"/>
              </a:cxn>
              <a:cxn ang="0">
                <a:pos x="1178" y="2164"/>
              </a:cxn>
              <a:cxn ang="0">
                <a:pos x="1153" y="2256"/>
              </a:cxn>
              <a:cxn ang="0">
                <a:pos x="1026" y="2205"/>
              </a:cxn>
              <a:cxn ang="0">
                <a:pos x="844" y="2141"/>
              </a:cxn>
              <a:cxn ang="0">
                <a:pos x="724" y="2039"/>
              </a:cxn>
              <a:cxn ang="0">
                <a:pos x="765" y="2018"/>
              </a:cxn>
              <a:cxn ang="0">
                <a:pos x="799" y="1961"/>
              </a:cxn>
              <a:cxn ang="0">
                <a:pos x="784" y="1928"/>
              </a:cxn>
              <a:cxn ang="0">
                <a:pos x="858" y="1823"/>
              </a:cxn>
              <a:cxn ang="0">
                <a:pos x="780" y="1754"/>
              </a:cxn>
              <a:cxn ang="0">
                <a:pos x="664" y="1680"/>
              </a:cxn>
              <a:cxn ang="0">
                <a:pos x="583" y="1592"/>
              </a:cxn>
              <a:cxn ang="0">
                <a:pos x="498" y="1532"/>
              </a:cxn>
              <a:cxn ang="0">
                <a:pos x="493" y="1458"/>
              </a:cxn>
              <a:cxn ang="0">
                <a:pos x="432" y="1340"/>
              </a:cxn>
              <a:cxn ang="0">
                <a:pos x="343" y="1246"/>
              </a:cxn>
              <a:cxn ang="0">
                <a:pos x="358" y="1026"/>
              </a:cxn>
              <a:cxn ang="0">
                <a:pos x="373" y="960"/>
              </a:cxn>
              <a:cxn ang="0">
                <a:pos x="417" y="883"/>
              </a:cxn>
              <a:cxn ang="0">
                <a:pos x="442" y="614"/>
              </a:cxn>
              <a:cxn ang="0">
                <a:pos x="399" y="361"/>
              </a:cxn>
              <a:cxn ang="0">
                <a:pos x="460" y="52"/>
              </a:cxn>
            </a:cxnLst>
            <a:rect l="0" t="0" r="r" b="b"/>
            <a:pathLst>
              <a:path w="1784" h="2281">
                <a:moveTo>
                  <a:pt x="1190" y="2120"/>
                </a:moveTo>
                <a:lnTo>
                  <a:pt x="1190" y="2121"/>
                </a:lnTo>
                <a:lnTo>
                  <a:pt x="1192" y="2121"/>
                </a:lnTo>
                <a:lnTo>
                  <a:pt x="1187" y="2125"/>
                </a:lnTo>
                <a:lnTo>
                  <a:pt x="1184" y="2125"/>
                </a:lnTo>
                <a:lnTo>
                  <a:pt x="1183" y="2124"/>
                </a:lnTo>
                <a:lnTo>
                  <a:pt x="1182" y="2124"/>
                </a:lnTo>
                <a:lnTo>
                  <a:pt x="1181" y="2122"/>
                </a:lnTo>
                <a:lnTo>
                  <a:pt x="1182" y="2121"/>
                </a:lnTo>
                <a:lnTo>
                  <a:pt x="1189" y="2121"/>
                </a:lnTo>
                <a:lnTo>
                  <a:pt x="1190" y="2120"/>
                </a:lnTo>
                <a:close/>
                <a:moveTo>
                  <a:pt x="757" y="2043"/>
                </a:moveTo>
                <a:lnTo>
                  <a:pt x="758" y="2045"/>
                </a:lnTo>
                <a:lnTo>
                  <a:pt x="759" y="2043"/>
                </a:lnTo>
                <a:lnTo>
                  <a:pt x="757" y="2043"/>
                </a:lnTo>
                <a:close/>
                <a:moveTo>
                  <a:pt x="1194" y="2023"/>
                </a:moveTo>
                <a:lnTo>
                  <a:pt x="1195" y="2023"/>
                </a:lnTo>
                <a:lnTo>
                  <a:pt x="1195" y="2026"/>
                </a:lnTo>
                <a:lnTo>
                  <a:pt x="1196" y="2027"/>
                </a:lnTo>
                <a:lnTo>
                  <a:pt x="1196" y="2029"/>
                </a:lnTo>
                <a:lnTo>
                  <a:pt x="1198" y="2030"/>
                </a:lnTo>
                <a:lnTo>
                  <a:pt x="1198" y="2035"/>
                </a:lnTo>
                <a:lnTo>
                  <a:pt x="1196" y="2035"/>
                </a:lnTo>
                <a:lnTo>
                  <a:pt x="1196" y="2034"/>
                </a:lnTo>
                <a:lnTo>
                  <a:pt x="1195" y="2033"/>
                </a:lnTo>
                <a:lnTo>
                  <a:pt x="1195" y="2032"/>
                </a:lnTo>
                <a:lnTo>
                  <a:pt x="1194" y="2029"/>
                </a:lnTo>
                <a:lnTo>
                  <a:pt x="1194" y="2023"/>
                </a:lnTo>
                <a:close/>
                <a:moveTo>
                  <a:pt x="1231" y="1993"/>
                </a:moveTo>
                <a:lnTo>
                  <a:pt x="1232" y="1995"/>
                </a:lnTo>
                <a:lnTo>
                  <a:pt x="1232" y="1993"/>
                </a:lnTo>
                <a:lnTo>
                  <a:pt x="1231" y="1993"/>
                </a:lnTo>
                <a:close/>
                <a:moveTo>
                  <a:pt x="72" y="1381"/>
                </a:moveTo>
                <a:lnTo>
                  <a:pt x="74" y="1381"/>
                </a:lnTo>
                <a:lnTo>
                  <a:pt x="75" y="1382"/>
                </a:lnTo>
                <a:lnTo>
                  <a:pt x="77" y="1387"/>
                </a:lnTo>
                <a:lnTo>
                  <a:pt x="80" y="1388"/>
                </a:lnTo>
                <a:lnTo>
                  <a:pt x="83" y="1388"/>
                </a:lnTo>
                <a:lnTo>
                  <a:pt x="86" y="1389"/>
                </a:lnTo>
                <a:lnTo>
                  <a:pt x="89" y="1393"/>
                </a:lnTo>
                <a:lnTo>
                  <a:pt x="93" y="1394"/>
                </a:lnTo>
                <a:lnTo>
                  <a:pt x="94" y="1395"/>
                </a:lnTo>
                <a:lnTo>
                  <a:pt x="95" y="1395"/>
                </a:lnTo>
                <a:lnTo>
                  <a:pt x="96" y="1396"/>
                </a:lnTo>
                <a:lnTo>
                  <a:pt x="99" y="1396"/>
                </a:lnTo>
                <a:lnTo>
                  <a:pt x="99" y="1395"/>
                </a:lnTo>
                <a:lnTo>
                  <a:pt x="100" y="1395"/>
                </a:lnTo>
                <a:lnTo>
                  <a:pt x="101" y="1396"/>
                </a:lnTo>
                <a:lnTo>
                  <a:pt x="101" y="1399"/>
                </a:lnTo>
                <a:lnTo>
                  <a:pt x="102" y="1400"/>
                </a:lnTo>
                <a:lnTo>
                  <a:pt x="105" y="1400"/>
                </a:lnTo>
                <a:lnTo>
                  <a:pt x="106" y="1399"/>
                </a:lnTo>
                <a:lnTo>
                  <a:pt x="111" y="1397"/>
                </a:lnTo>
                <a:lnTo>
                  <a:pt x="112" y="1397"/>
                </a:lnTo>
                <a:lnTo>
                  <a:pt x="119" y="1399"/>
                </a:lnTo>
                <a:lnTo>
                  <a:pt x="122" y="1396"/>
                </a:lnTo>
                <a:lnTo>
                  <a:pt x="125" y="1399"/>
                </a:lnTo>
                <a:lnTo>
                  <a:pt x="125" y="1400"/>
                </a:lnTo>
                <a:lnTo>
                  <a:pt x="126" y="1403"/>
                </a:lnTo>
                <a:lnTo>
                  <a:pt x="126" y="1405"/>
                </a:lnTo>
                <a:lnTo>
                  <a:pt x="127" y="1406"/>
                </a:lnTo>
                <a:lnTo>
                  <a:pt x="131" y="1406"/>
                </a:lnTo>
                <a:lnTo>
                  <a:pt x="131" y="1407"/>
                </a:lnTo>
                <a:lnTo>
                  <a:pt x="132" y="1407"/>
                </a:lnTo>
                <a:lnTo>
                  <a:pt x="131" y="1408"/>
                </a:lnTo>
                <a:lnTo>
                  <a:pt x="132" y="1409"/>
                </a:lnTo>
                <a:lnTo>
                  <a:pt x="134" y="1410"/>
                </a:lnTo>
                <a:lnTo>
                  <a:pt x="136" y="1412"/>
                </a:lnTo>
                <a:lnTo>
                  <a:pt x="136" y="1419"/>
                </a:lnTo>
                <a:lnTo>
                  <a:pt x="134" y="1419"/>
                </a:lnTo>
                <a:lnTo>
                  <a:pt x="133" y="1420"/>
                </a:lnTo>
                <a:lnTo>
                  <a:pt x="133" y="1421"/>
                </a:lnTo>
                <a:lnTo>
                  <a:pt x="132" y="1421"/>
                </a:lnTo>
                <a:lnTo>
                  <a:pt x="132" y="1422"/>
                </a:lnTo>
                <a:lnTo>
                  <a:pt x="131" y="1422"/>
                </a:lnTo>
                <a:lnTo>
                  <a:pt x="131" y="1424"/>
                </a:lnTo>
                <a:lnTo>
                  <a:pt x="130" y="1425"/>
                </a:lnTo>
                <a:lnTo>
                  <a:pt x="130" y="1431"/>
                </a:lnTo>
                <a:lnTo>
                  <a:pt x="128" y="1433"/>
                </a:lnTo>
                <a:lnTo>
                  <a:pt x="128" y="1443"/>
                </a:lnTo>
                <a:lnTo>
                  <a:pt x="130" y="1445"/>
                </a:lnTo>
                <a:lnTo>
                  <a:pt x="132" y="1449"/>
                </a:lnTo>
                <a:lnTo>
                  <a:pt x="130" y="1450"/>
                </a:lnTo>
                <a:lnTo>
                  <a:pt x="121" y="1450"/>
                </a:lnTo>
                <a:lnTo>
                  <a:pt x="112" y="1449"/>
                </a:lnTo>
                <a:lnTo>
                  <a:pt x="88" y="1448"/>
                </a:lnTo>
                <a:lnTo>
                  <a:pt x="70" y="1448"/>
                </a:lnTo>
                <a:lnTo>
                  <a:pt x="55" y="1446"/>
                </a:lnTo>
                <a:lnTo>
                  <a:pt x="31" y="1445"/>
                </a:lnTo>
                <a:lnTo>
                  <a:pt x="14" y="1444"/>
                </a:lnTo>
                <a:lnTo>
                  <a:pt x="2" y="1444"/>
                </a:lnTo>
                <a:lnTo>
                  <a:pt x="0" y="1443"/>
                </a:lnTo>
                <a:lnTo>
                  <a:pt x="0" y="1442"/>
                </a:lnTo>
                <a:lnTo>
                  <a:pt x="4" y="1437"/>
                </a:lnTo>
                <a:lnTo>
                  <a:pt x="8" y="1432"/>
                </a:lnTo>
                <a:lnTo>
                  <a:pt x="10" y="1427"/>
                </a:lnTo>
                <a:lnTo>
                  <a:pt x="12" y="1427"/>
                </a:lnTo>
                <a:lnTo>
                  <a:pt x="12" y="1424"/>
                </a:lnTo>
                <a:lnTo>
                  <a:pt x="13" y="1422"/>
                </a:lnTo>
                <a:lnTo>
                  <a:pt x="14" y="1420"/>
                </a:lnTo>
                <a:lnTo>
                  <a:pt x="14" y="1415"/>
                </a:lnTo>
                <a:lnTo>
                  <a:pt x="13" y="1412"/>
                </a:lnTo>
                <a:lnTo>
                  <a:pt x="13" y="1407"/>
                </a:lnTo>
                <a:lnTo>
                  <a:pt x="15" y="1405"/>
                </a:lnTo>
                <a:lnTo>
                  <a:pt x="16" y="1406"/>
                </a:lnTo>
                <a:lnTo>
                  <a:pt x="33" y="1406"/>
                </a:lnTo>
                <a:lnTo>
                  <a:pt x="37" y="1405"/>
                </a:lnTo>
                <a:lnTo>
                  <a:pt x="43" y="1399"/>
                </a:lnTo>
                <a:lnTo>
                  <a:pt x="50" y="1389"/>
                </a:lnTo>
                <a:lnTo>
                  <a:pt x="51" y="1389"/>
                </a:lnTo>
                <a:lnTo>
                  <a:pt x="55" y="1382"/>
                </a:lnTo>
                <a:lnTo>
                  <a:pt x="57" y="1382"/>
                </a:lnTo>
                <a:lnTo>
                  <a:pt x="56" y="1383"/>
                </a:lnTo>
                <a:lnTo>
                  <a:pt x="56" y="1384"/>
                </a:lnTo>
                <a:lnTo>
                  <a:pt x="55" y="1385"/>
                </a:lnTo>
                <a:lnTo>
                  <a:pt x="53" y="1385"/>
                </a:lnTo>
                <a:lnTo>
                  <a:pt x="53" y="1388"/>
                </a:lnTo>
                <a:lnTo>
                  <a:pt x="52" y="1388"/>
                </a:lnTo>
                <a:lnTo>
                  <a:pt x="52" y="1389"/>
                </a:lnTo>
                <a:lnTo>
                  <a:pt x="51" y="1391"/>
                </a:lnTo>
                <a:lnTo>
                  <a:pt x="49" y="1394"/>
                </a:lnTo>
                <a:lnTo>
                  <a:pt x="45" y="1399"/>
                </a:lnTo>
                <a:lnTo>
                  <a:pt x="39" y="1403"/>
                </a:lnTo>
                <a:lnTo>
                  <a:pt x="39" y="1405"/>
                </a:lnTo>
                <a:lnTo>
                  <a:pt x="38" y="1405"/>
                </a:lnTo>
                <a:lnTo>
                  <a:pt x="38" y="1406"/>
                </a:lnTo>
                <a:lnTo>
                  <a:pt x="39" y="1406"/>
                </a:lnTo>
                <a:lnTo>
                  <a:pt x="39" y="1407"/>
                </a:lnTo>
                <a:lnTo>
                  <a:pt x="40" y="1407"/>
                </a:lnTo>
                <a:lnTo>
                  <a:pt x="47" y="1406"/>
                </a:lnTo>
                <a:lnTo>
                  <a:pt x="50" y="1407"/>
                </a:lnTo>
                <a:lnTo>
                  <a:pt x="52" y="1409"/>
                </a:lnTo>
                <a:lnTo>
                  <a:pt x="62" y="1409"/>
                </a:lnTo>
                <a:lnTo>
                  <a:pt x="63" y="1408"/>
                </a:lnTo>
                <a:lnTo>
                  <a:pt x="66" y="1408"/>
                </a:lnTo>
                <a:lnTo>
                  <a:pt x="68" y="1407"/>
                </a:lnTo>
                <a:lnTo>
                  <a:pt x="68" y="1401"/>
                </a:lnTo>
                <a:lnTo>
                  <a:pt x="66" y="1393"/>
                </a:lnTo>
                <a:lnTo>
                  <a:pt x="66" y="1391"/>
                </a:lnTo>
                <a:lnTo>
                  <a:pt x="65" y="1390"/>
                </a:lnTo>
                <a:lnTo>
                  <a:pt x="65" y="1388"/>
                </a:lnTo>
                <a:lnTo>
                  <a:pt x="66" y="1387"/>
                </a:lnTo>
                <a:lnTo>
                  <a:pt x="68" y="1387"/>
                </a:lnTo>
                <a:lnTo>
                  <a:pt x="68" y="1388"/>
                </a:lnTo>
                <a:lnTo>
                  <a:pt x="69" y="1388"/>
                </a:lnTo>
                <a:lnTo>
                  <a:pt x="69" y="1387"/>
                </a:lnTo>
                <a:lnTo>
                  <a:pt x="70" y="1385"/>
                </a:lnTo>
                <a:lnTo>
                  <a:pt x="69" y="1384"/>
                </a:lnTo>
                <a:lnTo>
                  <a:pt x="72" y="1381"/>
                </a:lnTo>
                <a:close/>
                <a:moveTo>
                  <a:pt x="423" y="1007"/>
                </a:moveTo>
                <a:lnTo>
                  <a:pt x="425" y="1007"/>
                </a:lnTo>
                <a:lnTo>
                  <a:pt x="429" y="1009"/>
                </a:lnTo>
                <a:lnTo>
                  <a:pt x="429" y="1010"/>
                </a:lnTo>
                <a:lnTo>
                  <a:pt x="426" y="1009"/>
                </a:lnTo>
                <a:lnTo>
                  <a:pt x="425" y="1008"/>
                </a:lnTo>
                <a:lnTo>
                  <a:pt x="423" y="1007"/>
                </a:lnTo>
                <a:close/>
                <a:moveTo>
                  <a:pt x="345" y="1007"/>
                </a:moveTo>
                <a:lnTo>
                  <a:pt x="347" y="1007"/>
                </a:lnTo>
                <a:lnTo>
                  <a:pt x="348" y="1008"/>
                </a:lnTo>
                <a:lnTo>
                  <a:pt x="349" y="1008"/>
                </a:lnTo>
                <a:lnTo>
                  <a:pt x="349" y="1009"/>
                </a:lnTo>
                <a:lnTo>
                  <a:pt x="348" y="1009"/>
                </a:lnTo>
                <a:lnTo>
                  <a:pt x="345" y="1010"/>
                </a:lnTo>
                <a:lnTo>
                  <a:pt x="345" y="1007"/>
                </a:lnTo>
                <a:close/>
                <a:moveTo>
                  <a:pt x="308" y="1001"/>
                </a:moveTo>
                <a:lnTo>
                  <a:pt x="310" y="1001"/>
                </a:lnTo>
                <a:lnTo>
                  <a:pt x="311" y="1002"/>
                </a:lnTo>
                <a:lnTo>
                  <a:pt x="311" y="1003"/>
                </a:lnTo>
                <a:lnTo>
                  <a:pt x="312" y="1004"/>
                </a:lnTo>
                <a:lnTo>
                  <a:pt x="312" y="1008"/>
                </a:lnTo>
                <a:lnTo>
                  <a:pt x="311" y="1008"/>
                </a:lnTo>
                <a:lnTo>
                  <a:pt x="311" y="1007"/>
                </a:lnTo>
                <a:lnTo>
                  <a:pt x="310" y="1007"/>
                </a:lnTo>
                <a:lnTo>
                  <a:pt x="310" y="1004"/>
                </a:lnTo>
                <a:lnTo>
                  <a:pt x="308" y="1001"/>
                </a:lnTo>
                <a:close/>
                <a:moveTo>
                  <a:pt x="376" y="979"/>
                </a:moveTo>
                <a:lnTo>
                  <a:pt x="378" y="979"/>
                </a:lnTo>
                <a:lnTo>
                  <a:pt x="378" y="981"/>
                </a:lnTo>
                <a:lnTo>
                  <a:pt x="380" y="981"/>
                </a:lnTo>
                <a:lnTo>
                  <a:pt x="384" y="984"/>
                </a:lnTo>
                <a:lnTo>
                  <a:pt x="384" y="985"/>
                </a:lnTo>
                <a:lnTo>
                  <a:pt x="382" y="985"/>
                </a:lnTo>
                <a:lnTo>
                  <a:pt x="382" y="986"/>
                </a:lnTo>
                <a:lnTo>
                  <a:pt x="380" y="986"/>
                </a:lnTo>
                <a:lnTo>
                  <a:pt x="376" y="983"/>
                </a:lnTo>
                <a:lnTo>
                  <a:pt x="376" y="979"/>
                </a:lnTo>
                <a:close/>
                <a:moveTo>
                  <a:pt x="372" y="978"/>
                </a:moveTo>
                <a:lnTo>
                  <a:pt x="374" y="978"/>
                </a:lnTo>
                <a:lnTo>
                  <a:pt x="374" y="979"/>
                </a:lnTo>
                <a:lnTo>
                  <a:pt x="375" y="979"/>
                </a:lnTo>
                <a:lnTo>
                  <a:pt x="375" y="983"/>
                </a:lnTo>
                <a:lnTo>
                  <a:pt x="374" y="983"/>
                </a:lnTo>
                <a:lnTo>
                  <a:pt x="374" y="982"/>
                </a:lnTo>
                <a:lnTo>
                  <a:pt x="372" y="979"/>
                </a:lnTo>
                <a:lnTo>
                  <a:pt x="372" y="978"/>
                </a:lnTo>
                <a:close/>
                <a:moveTo>
                  <a:pt x="378" y="954"/>
                </a:moveTo>
                <a:lnTo>
                  <a:pt x="380" y="954"/>
                </a:lnTo>
                <a:lnTo>
                  <a:pt x="380" y="958"/>
                </a:lnTo>
                <a:lnTo>
                  <a:pt x="379" y="960"/>
                </a:lnTo>
                <a:lnTo>
                  <a:pt x="378" y="959"/>
                </a:lnTo>
                <a:lnTo>
                  <a:pt x="378" y="958"/>
                </a:lnTo>
                <a:lnTo>
                  <a:pt x="376" y="957"/>
                </a:lnTo>
                <a:lnTo>
                  <a:pt x="378" y="955"/>
                </a:lnTo>
                <a:lnTo>
                  <a:pt x="378" y="954"/>
                </a:lnTo>
                <a:close/>
                <a:moveTo>
                  <a:pt x="687" y="608"/>
                </a:moveTo>
                <a:lnTo>
                  <a:pt x="692" y="613"/>
                </a:lnTo>
                <a:lnTo>
                  <a:pt x="692" y="615"/>
                </a:lnTo>
                <a:lnTo>
                  <a:pt x="691" y="616"/>
                </a:lnTo>
                <a:lnTo>
                  <a:pt x="690" y="616"/>
                </a:lnTo>
                <a:lnTo>
                  <a:pt x="685" y="611"/>
                </a:lnTo>
                <a:lnTo>
                  <a:pt x="685" y="609"/>
                </a:lnTo>
                <a:lnTo>
                  <a:pt x="686" y="609"/>
                </a:lnTo>
                <a:lnTo>
                  <a:pt x="687" y="608"/>
                </a:lnTo>
                <a:close/>
                <a:moveTo>
                  <a:pt x="858" y="576"/>
                </a:moveTo>
                <a:lnTo>
                  <a:pt x="859" y="576"/>
                </a:lnTo>
                <a:lnTo>
                  <a:pt x="859" y="577"/>
                </a:lnTo>
                <a:lnTo>
                  <a:pt x="857" y="578"/>
                </a:lnTo>
                <a:lnTo>
                  <a:pt x="858" y="576"/>
                </a:lnTo>
                <a:close/>
                <a:moveTo>
                  <a:pt x="864" y="572"/>
                </a:moveTo>
                <a:lnTo>
                  <a:pt x="869" y="572"/>
                </a:lnTo>
                <a:lnTo>
                  <a:pt x="873" y="573"/>
                </a:lnTo>
                <a:lnTo>
                  <a:pt x="875" y="574"/>
                </a:lnTo>
                <a:lnTo>
                  <a:pt x="877" y="579"/>
                </a:lnTo>
                <a:lnTo>
                  <a:pt x="877" y="586"/>
                </a:lnTo>
                <a:lnTo>
                  <a:pt x="876" y="588"/>
                </a:lnTo>
                <a:lnTo>
                  <a:pt x="873" y="586"/>
                </a:lnTo>
                <a:lnTo>
                  <a:pt x="872" y="585"/>
                </a:lnTo>
                <a:lnTo>
                  <a:pt x="872" y="583"/>
                </a:lnTo>
                <a:lnTo>
                  <a:pt x="870" y="580"/>
                </a:lnTo>
                <a:lnTo>
                  <a:pt x="869" y="578"/>
                </a:lnTo>
                <a:lnTo>
                  <a:pt x="867" y="578"/>
                </a:lnTo>
                <a:lnTo>
                  <a:pt x="866" y="577"/>
                </a:lnTo>
                <a:lnTo>
                  <a:pt x="863" y="574"/>
                </a:lnTo>
                <a:lnTo>
                  <a:pt x="861" y="574"/>
                </a:lnTo>
                <a:lnTo>
                  <a:pt x="861" y="573"/>
                </a:lnTo>
                <a:lnTo>
                  <a:pt x="864" y="572"/>
                </a:lnTo>
                <a:close/>
                <a:moveTo>
                  <a:pt x="687" y="545"/>
                </a:moveTo>
                <a:lnTo>
                  <a:pt x="691" y="545"/>
                </a:lnTo>
                <a:lnTo>
                  <a:pt x="691" y="546"/>
                </a:lnTo>
                <a:lnTo>
                  <a:pt x="692" y="546"/>
                </a:lnTo>
                <a:lnTo>
                  <a:pt x="692" y="547"/>
                </a:lnTo>
                <a:lnTo>
                  <a:pt x="691" y="548"/>
                </a:lnTo>
                <a:lnTo>
                  <a:pt x="686" y="548"/>
                </a:lnTo>
                <a:lnTo>
                  <a:pt x="686" y="546"/>
                </a:lnTo>
                <a:lnTo>
                  <a:pt x="687" y="545"/>
                </a:lnTo>
                <a:close/>
                <a:moveTo>
                  <a:pt x="679" y="533"/>
                </a:moveTo>
                <a:lnTo>
                  <a:pt x="681" y="534"/>
                </a:lnTo>
                <a:lnTo>
                  <a:pt x="683" y="535"/>
                </a:lnTo>
                <a:lnTo>
                  <a:pt x="685" y="542"/>
                </a:lnTo>
                <a:lnTo>
                  <a:pt x="685" y="545"/>
                </a:lnTo>
                <a:lnTo>
                  <a:pt x="684" y="543"/>
                </a:lnTo>
                <a:lnTo>
                  <a:pt x="683" y="541"/>
                </a:lnTo>
                <a:lnTo>
                  <a:pt x="683" y="539"/>
                </a:lnTo>
                <a:lnTo>
                  <a:pt x="681" y="541"/>
                </a:lnTo>
                <a:lnTo>
                  <a:pt x="681" y="543"/>
                </a:lnTo>
                <a:lnTo>
                  <a:pt x="684" y="546"/>
                </a:lnTo>
                <a:lnTo>
                  <a:pt x="685" y="546"/>
                </a:lnTo>
                <a:lnTo>
                  <a:pt x="685" y="551"/>
                </a:lnTo>
                <a:lnTo>
                  <a:pt x="684" y="551"/>
                </a:lnTo>
                <a:lnTo>
                  <a:pt x="684" y="552"/>
                </a:lnTo>
                <a:lnTo>
                  <a:pt x="683" y="553"/>
                </a:lnTo>
                <a:lnTo>
                  <a:pt x="680" y="554"/>
                </a:lnTo>
                <a:lnTo>
                  <a:pt x="679" y="553"/>
                </a:lnTo>
                <a:lnTo>
                  <a:pt x="679" y="548"/>
                </a:lnTo>
                <a:lnTo>
                  <a:pt x="678" y="547"/>
                </a:lnTo>
                <a:lnTo>
                  <a:pt x="674" y="547"/>
                </a:lnTo>
                <a:lnTo>
                  <a:pt x="672" y="546"/>
                </a:lnTo>
                <a:lnTo>
                  <a:pt x="670" y="541"/>
                </a:lnTo>
                <a:lnTo>
                  <a:pt x="670" y="539"/>
                </a:lnTo>
                <a:lnTo>
                  <a:pt x="671" y="536"/>
                </a:lnTo>
                <a:lnTo>
                  <a:pt x="672" y="535"/>
                </a:lnTo>
                <a:lnTo>
                  <a:pt x="676" y="535"/>
                </a:lnTo>
                <a:lnTo>
                  <a:pt x="677" y="534"/>
                </a:lnTo>
                <a:lnTo>
                  <a:pt x="678" y="534"/>
                </a:lnTo>
                <a:lnTo>
                  <a:pt x="679" y="533"/>
                </a:lnTo>
                <a:close/>
                <a:moveTo>
                  <a:pt x="690" y="531"/>
                </a:moveTo>
                <a:lnTo>
                  <a:pt x="691" y="531"/>
                </a:lnTo>
                <a:lnTo>
                  <a:pt x="691" y="533"/>
                </a:lnTo>
                <a:lnTo>
                  <a:pt x="692" y="533"/>
                </a:lnTo>
                <a:lnTo>
                  <a:pt x="692" y="534"/>
                </a:lnTo>
                <a:lnTo>
                  <a:pt x="693" y="534"/>
                </a:lnTo>
                <a:lnTo>
                  <a:pt x="693" y="535"/>
                </a:lnTo>
                <a:lnTo>
                  <a:pt x="702" y="535"/>
                </a:lnTo>
                <a:lnTo>
                  <a:pt x="701" y="536"/>
                </a:lnTo>
                <a:lnTo>
                  <a:pt x="697" y="536"/>
                </a:lnTo>
                <a:lnTo>
                  <a:pt x="695" y="537"/>
                </a:lnTo>
                <a:lnTo>
                  <a:pt x="692" y="537"/>
                </a:lnTo>
                <a:lnTo>
                  <a:pt x="689" y="536"/>
                </a:lnTo>
                <a:lnTo>
                  <a:pt x="689" y="533"/>
                </a:lnTo>
                <a:lnTo>
                  <a:pt x="690" y="531"/>
                </a:lnTo>
                <a:close/>
                <a:moveTo>
                  <a:pt x="963" y="367"/>
                </a:moveTo>
                <a:lnTo>
                  <a:pt x="966" y="367"/>
                </a:lnTo>
                <a:lnTo>
                  <a:pt x="971" y="369"/>
                </a:lnTo>
                <a:lnTo>
                  <a:pt x="971" y="370"/>
                </a:lnTo>
                <a:lnTo>
                  <a:pt x="972" y="373"/>
                </a:lnTo>
                <a:lnTo>
                  <a:pt x="972" y="379"/>
                </a:lnTo>
                <a:lnTo>
                  <a:pt x="971" y="379"/>
                </a:lnTo>
                <a:lnTo>
                  <a:pt x="969" y="377"/>
                </a:lnTo>
                <a:lnTo>
                  <a:pt x="964" y="374"/>
                </a:lnTo>
                <a:lnTo>
                  <a:pt x="962" y="369"/>
                </a:lnTo>
                <a:lnTo>
                  <a:pt x="963" y="367"/>
                </a:lnTo>
                <a:close/>
                <a:moveTo>
                  <a:pt x="537" y="327"/>
                </a:moveTo>
                <a:lnTo>
                  <a:pt x="537" y="328"/>
                </a:lnTo>
                <a:lnTo>
                  <a:pt x="538" y="328"/>
                </a:lnTo>
                <a:lnTo>
                  <a:pt x="540" y="330"/>
                </a:lnTo>
                <a:lnTo>
                  <a:pt x="540" y="331"/>
                </a:lnTo>
                <a:lnTo>
                  <a:pt x="538" y="332"/>
                </a:lnTo>
                <a:lnTo>
                  <a:pt x="536" y="330"/>
                </a:lnTo>
                <a:lnTo>
                  <a:pt x="536" y="328"/>
                </a:lnTo>
                <a:lnTo>
                  <a:pt x="537" y="327"/>
                </a:lnTo>
                <a:close/>
                <a:moveTo>
                  <a:pt x="1463" y="195"/>
                </a:moveTo>
                <a:lnTo>
                  <a:pt x="1465" y="195"/>
                </a:lnTo>
                <a:lnTo>
                  <a:pt x="1465" y="196"/>
                </a:lnTo>
                <a:lnTo>
                  <a:pt x="1463" y="196"/>
                </a:lnTo>
                <a:lnTo>
                  <a:pt x="1463" y="197"/>
                </a:lnTo>
                <a:lnTo>
                  <a:pt x="1465" y="197"/>
                </a:lnTo>
                <a:lnTo>
                  <a:pt x="1465" y="203"/>
                </a:lnTo>
                <a:lnTo>
                  <a:pt x="1463" y="203"/>
                </a:lnTo>
                <a:lnTo>
                  <a:pt x="1460" y="204"/>
                </a:lnTo>
                <a:lnTo>
                  <a:pt x="1459" y="204"/>
                </a:lnTo>
                <a:lnTo>
                  <a:pt x="1459" y="201"/>
                </a:lnTo>
                <a:lnTo>
                  <a:pt x="1460" y="199"/>
                </a:lnTo>
                <a:lnTo>
                  <a:pt x="1460" y="198"/>
                </a:lnTo>
                <a:lnTo>
                  <a:pt x="1463" y="195"/>
                </a:lnTo>
                <a:close/>
                <a:moveTo>
                  <a:pt x="1447" y="191"/>
                </a:moveTo>
                <a:lnTo>
                  <a:pt x="1449" y="191"/>
                </a:lnTo>
                <a:lnTo>
                  <a:pt x="1450" y="193"/>
                </a:lnTo>
                <a:lnTo>
                  <a:pt x="1449" y="196"/>
                </a:lnTo>
                <a:lnTo>
                  <a:pt x="1449" y="199"/>
                </a:lnTo>
                <a:lnTo>
                  <a:pt x="1447" y="199"/>
                </a:lnTo>
                <a:lnTo>
                  <a:pt x="1444" y="197"/>
                </a:lnTo>
                <a:lnTo>
                  <a:pt x="1444" y="193"/>
                </a:lnTo>
                <a:lnTo>
                  <a:pt x="1447" y="191"/>
                </a:lnTo>
                <a:close/>
                <a:moveTo>
                  <a:pt x="1331" y="175"/>
                </a:moveTo>
                <a:lnTo>
                  <a:pt x="1336" y="175"/>
                </a:lnTo>
                <a:lnTo>
                  <a:pt x="1344" y="177"/>
                </a:lnTo>
                <a:lnTo>
                  <a:pt x="1343" y="178"/>
                </a:lnTo>
                <a:lnTo>
                  <a:pt x="1331" y="180"/>
                </a:lnTo>
                <a:lnTo>
                  <a:pt x="1327" y="184"/>
                </a:lnTo>
                <a:lnTo>
                  <a:pt x="1324" y="184"/>
                </a:lnTo>
                <a:lnTo>
                  <a:pt x="1322" y="187"/>
                </a:lnTo>
                <a:lnTo>
                  <a:pt x="1318" y="187"/>
                </a:lnTo>
                <a:lnTo>
                  <a:pt x="1318" y="189"/>
                </a:lnTo>
                <a:lnTo>
                  <a:pt x="1314" y="189"/>
                </a:lnTo>
                <a:lnTo>
                  <a:pt x="1317" y="186"/>
                </a:lnTo>
                <a:lnTo>
                  <a:pt x="1318" y="184"/>
                </a:lnTo>
                <a:lnTo>
                  <a:pt x="1331" y="175"/>
                </a:lnTo>
                <a:close/>
                <a:moveTo>
                  <a:pt x="1230" y="153"/>
                </a:moveTo>
                <a:lnTo>
                  <a:pt x="1231" y="153"/>
                </a:lnTo>
                <a:lnTo>
                  <a:pt x="1242" y="155"/>
                </a:lnTo>
                <a:lnTo>
                  <a:pt x="1243" y="155"/>
                </a:lnTo>
                <a:lnTo>
                  <a:pt x="1244" y="156"/>
                </a:lnTo>
                <a:lnTo>
                  <a:pt x="1230" y="153"/>
                </a:lnTo>
                <a:close/>
                <a:moveTo>
                  <a:pt x="1459" y="138"/>
                </a:moveTo>
                <a:lnTo>
                  <a:pt x="1461" y="138"/>
                </a:lnTo>
                <a:lnTo>
                  <a:pt x="1466" y="142"/>
                </a:lnTo>
                <a:lnTo>
                  <a:pt x="1467" y="142"/>
                </a:lnTo>
                <a:lnTo>
                  <a:pt x="1467" y="143"/>
                </a:lnTo>
                <a:lnTo>
                  <a:pt x="1460" y="141"/>
                </a:lnTo>
                <a:lnTo>
                  <a:pt x="1459" y="141"/>
                </a:lnTo>
                <a:lnTo>
                  <a:pt x="1459" y="138"/>
                </a:lnTo>
                <a:close/>
                <a:moveTo>
                  <a:pt x="1263" y="138"/>
                </a:moveTo>
                <a:lnTo>
                  <a:pt x="1264" y="138"/>
                </a:lnTo>
                <a:lnTo>
                  <a:pt x="1264" y="140"/>
                </a:lnTo>
                <a:lnTo>
                  <a:pt x="1263" y="141"/>
                </a:lnTo>
                <a:lnTo>
                  <a:pt x="1261" y="142"/>
                </a:lnTo>
                <a:lnTo>
                  <a:pt x="1260" y="141"/>
                </a:lnTo>
                <a:lnTo>
                  <a:pt x="1263" y="140"/>
                </a:lnTo>
                <a:lnTo>
                  <a:pt x="1263" y="138"/>
                </a:lnTo>
                <a:close/>
                <a:moveTo>
                  <a:pt x="1275" y="128"/>
                </a:moveTo>
                <a:lnTo>
                  <a:pt x="1275" y="129"/>
                </a:lnTo>
                <a:lnTo>
                  <a:pt x="1273" y="131"/>
                </a:lnTo>
                <a:lnTo>
                  <a:pt x="1271" y="131"/>
                </a:lnTo>
                <a:lnTo>
                  <a:pt x="1275" y="128"/>
                </a:lnTo>
                <a:close/>
                <a:moveTo>
                  <a:pt x="1488" y="124"/>
                </a:moveTo>
                <a:lnTo>
                  <a:pt x="1493" y="124"/>
                </a:lnTo>
                <a:lnTo>
                  <a:pt x="1493" y="127"/>
                </a:lnTo>
                <a:lnTo>
                  <a:pt x="1492" y="128"/>
                </a:lnTo>
                <a:lnTo>
                  <a:pt x="1491" y="127"/>
                </a:lnTo>
                <a:lnTo>
                  <a:pt x="1490" y="127"/>
                </a:lnTo>
                <a:lnTo>
                  <a:pt x="1488" y="125"/>
                </a:lnTo>
                <a:lnTo>
                  <a:pt x="1488" y="124"/>
                </a:lnTo>
                <a:close/>
                <a:moveTo>
                  <a:pt x="1506" y="123"/>
                </a:moveTo>
                <a:lnTo>
                  <a:pt x="1507" y="123"/>
                </a:lnTo>
                <a:lnTo>
                  <a:pt x="1511" y="124"/>
                </a:lnTo>
                <a:lnTo>
                  <a:pt x="1512" y="125"/>
                </a:lnTo>
                <a:lnTo>
                  <a:pt x="1513" y="128"/>
                </a:lnTo>
                <a:lnTo>
                  <a:pt x="1507" y="125"/>
                </a:lnTo>
                <a:lnTo>
                  <a:pt x="1504" y="128"/>
                </a:lnTo>
                <a:lnTo>
                  <a:pt x="1501" y="128"/>
                </a:lnTo>
                <a:lnTo>
                  <a:pt x="1503" y="125"/>
                </a:lnTo>
                <a:lnTo>
                  <a:pt x="1506" y="123"/>
                </a:lnTo>
                <a:close/>
                <a:moveTo>
                  <a:pt x="1285" y="122"/>
                </a:moveTo>
                <a:lnTo>
                  <a:pt x="1286" y="122"/>
                </a:lnTo>
                <a:lnTo>
                  <a:pt x="1286" y="123"/>
                </a:lnTo>
                <a:lnTo>
                  <a:pt x="1285" y="124"/>
                </a:lnTo>
                <a:lnTo>
                  <a:pt x="1282" y="125"/>
                </a:lnTo>
                <a:lnTo>
                  <a:pt x="1281" y="125"/>
                </a:lnTo>
                <a:lnTo>
                  <a:pt x="1285" y="122"/>
                </a:lnTo>
                <a:close/>
                <a:moveTo>
                  <a:pt x="1476" y="116"/>
                </a:moveTo>
                <a:lnTo>
                  <a:pt x="1479" y="116"/>
                </a:lnTo>
                <a:lnTo>
                  <a:pt x="1480" y="117"/>
                </a:lnTo>
                <a:lnTo>
                  <a:pt x="1480" y="119"/>
                </a:lnTo>
                <a:lnTo>
                  <a:pt x="1479" y="121"/>
                </a:lnTo>
                <a:lnTo>
                  <a:pt x="1479" y="122"/>
                </a:lnTo>
                <a:lnTo>
                  <a:pt x="1478" y="122"/>
                </a:lnTo>
                <a:lnTo>
                  <a:pt x="1475" y="123"/>
                </a:lnTo>
                <a:lnTo>
                  <a:pt x="1475" y="122"/>
                </a:lnTo>
                <a:lnTo>
                  <a:pt x="1474" y="122"/>
                </a:lnTo>
                <a:lnTo>
                  <a:pt x="1476" y="117"/>
                </a:lnTo>
                <a:lnTo>
                  <a:pt x="1476" y="116"/>
                </a:lnTo>
                <a:close/>
                <a:moveTo>
                  <a:pt x="1652" y="76"/>
                </a:moveTo>
                <a:lnTo>
                  <a:pt x="1653" y="76"/>
                </a:lnTo>
                <a:lnTo>
                  <a:pt x="1667" y="87"/>
                </a:lnTo>
                <a:lnTo>
                  <a:pt x="1670" y="90"/>
                </a:lnTo>
                <a:lnTo>
                  <a:pt x="1670" y="91"/>
                </a:lnTo>
                <a:lnTo>
                  <a:pt x="1668" y="92"/>
                </a:lnTo>
                <a:lnTo>
                  <a:pt x="1672" y="95"/>
                </a:lnTo>
                <a:lnTo>
                  <a:pt x="1672" y="100"/>
                </a:lnTo>
                <a:lnTo>
                  <a:pt x="1671" y="99"/>
                </a:lnTo>
                <a:lnTo>
                  <a:pt x="1671" y="98"/>
                </a:lnTo>
                <a:lnTo>
                  <a:pt x="1670" y="98"/>
                </a:lnTo>
                <a:lnTo>
                  <a:pt x="1668" y="97"/>
                </a:lnTo>
                <a:lnTo>
                  <a:pt x="1667" y="94"/>
                </a:lnTo>
                <a:lnTo>
                  <a:pt x="1666" y="94"/>
                </a:lnTo>
                <a:lnTo>
                  <a:pt x="1665" y="90"/>
                </a:lnTo>
                <a:lnTo>
                  <a:pt x="1664" y="88"/>
                </a:lnTo>
                <a:lnTo>
                  <a:pt x="1652" y="79"/>
                </a:lnTo>
                <a:lnTo>
                  <a:pt x="1652" y="76"/>
                </a:lnTo>
                <a:close/>
                <a:moveTo>
                  <a:pt x="616" y="68"/>
                </a:moveTo>
                <a:lnTo>
                  <a:pt x="623" y="75"/>
                </a:lnTo>
                <a:lnTo>
                  <a:pt x="623" y="76"/>
                </a:lnTo>
                <a:lnTo>
                  <a:pt x="608" y="75"/>
                </a:lnTo>
                <a:lnTo>
                  <a:pt x="605" y="74"/>
                </a:lnTo>
                <a:lnTo>
                  <a:pt x="605" y="72"/>
                </a:lnTo>
                <a:lnTo>
                  <a:pt x="606" y="70"/>
                </a:lnTo>
                <a:lnTo>
                  <a:pt x="608" y="70"/>
                </a:lnTo>
                <a:lnTo>
                  <a:pt x="611" y="69"/>
                </a:lnTo>
                <a:lnTo>
                  <a:pt x="616" y="68"/>
                </a:lnTo>
                <a:close/>
                <a:moveTo>
                  <a:pt x="1243" y="55"/>
                </a:moveTo>
                <a:lnTo>
                  <a:pt x="1251" y="56"/>
                </a:lnTo>
                <a:lnTo>
                  <a:pt x="1269" y="69"/>
                </a:lnTo>
                <a:lnTo>
                  <a:pt x="1282" y="81"/>
                </a:lnTo>
                <a:lnTo>
                  <a:pt x="1288" y="86"/>
                </a:lnTo>
                <a:lnTo>
                  <a:pt x="1291" y="90"/>
                </a:lnTo>
                <a:lnTo>
                  <a:pt x="1295" y="99"/>
                </a:lnTo>
                <a:lnTo>
                  <a:pt x="1294" y="104"/>
                </a:lnTo>
                <a:lnTo>
                  <a:pt x="1292" y="110"/>
                </a:lnTo>
                <a:lnTo>
                  <a:pt x="1288" y="116"/>
                </a:lnTo>
                <a:lnTo>
                  <a:pt x="1286" y="117"/>
                </a:lnTo>
                <a:lnTo>
                  <a:pt x="1287" y="116"/>
                </a:lnTo>
                <a:lnTo>
                  <a:pt x="1287" y="110"/>
                </a:lnTo>
                <a:lnTo>
                  <a:pt x="1289" y="105"/>
                </a:lnTo>
                <a:lnTo>
                  <a:pt x="1291" y="100"/>
                </a:lnTo>
                <a:lnTo>
                  <a:pt x="1291" y="98"/>
                </a:lnTo>
                <a:lnTo>
                  <a:pt x="1289" y="99"/>
                </a:lnTo>
                <a:lnTo>
                  <a:pt x="1287" y="100"/>
                </a:lnTo>
                <a:lnTo>
                  <a:pt x="1282" y="106"/>
                </a:lnTo>
                <a:lnTo>
                  <a:pt x="1280" y="109"/>
                </a:lnTo>
                <a:lnTo>
                  <a:pt x="1276" y="115"/>
                </a:lnTo>
                <a:lnTo>
                  <a:pt x="1275" y="116"/>
                </a:lnTo>
                <a:lnTo>
                  <a:pt x="1277" y="116"/>
                </a:lnTo>
                <a:lnTo>
                  <a:pt x="1277" y="119"/>
                </a:lnTo>
                <a:lnTo>
                  <a:pt x="1274" y="121"/>
                </a:lnTo>
                <a:lnTo>
                  <a:pt x="1270" y="130"/>
                </a:lnTo>
                <a:lnTo>
                  <a:pt x="1268" y="131"/>
                </a:lnTo>
                <a:lnTo>
                  <a:pt x="1267" y="131"/>
                </a:lnTo>
                <a:lnTo>
                  <a:pt x="1264" y="132"/>
                </a:lnTo>
                <a:lnTo>
                  <a:pt x="1262" y="136"/>
                </a:lnTo>
                <a:lnTo>
                  <a:pt x="1257" y="140"/>
                </a:lnTo>
                <a:lnTo>
                  <a:pt x="1254" y="138"/>
                </a:lnTo>
                <a:lnTo>
                  <a:pt x="1252" y="140"/>
                </a:lnTo>
                <a:lnTo>
                  <a:pt x="1250" y="143"/>
                </a:lnTo>
                <a:lnTo>
                  <a:pt x="1231" y="149"/>
                </a:lnTo>
                <a:lnTo>
                  <a:pt x="1230" y="148"/>
                </a:lnTo>
                <a:lnTo>
                  <a:pt x="1230" y="147"/>
                </a:lnTo>
                <a:lnTo>
                  <a:pt x="1229" y="147"/>
                </a:lnTo>
                <a:lnTo>
                  <a:pt x="1229" y="146"/>
                </a:lnTo>
                <a:lnTo>
                  <a:pt x="1227" y="146"/>
                </a:lnTo>
                <a:lnTo>
                  <a:pt x="1226" y="147"/>
                </a:lnTo>
                <a:lnTo>
                  <a:pt x="1226" y="148"/>
                </a:lnTo>
                <a:lnTo>
                  <a:pt x="1223" y="148"/>
                </a:lnTo>
                <a:lnTo>
                  <a:pt x="1221" y="147"/>
                </a:lnTo>
                <a:lnTo>
                  <a:pt x="1219" y="143"/>
                </a:lnTo>
                <a:lnTo>
                  <a:pt x="1214" y="138"/>
                </a:lnTo>
                <a:lnTo>
                  <a:pt x="1213" y="138"/>
                </a:lnTo>
                <a:lnTo>
                  <a:pt x="1212" y="136"/>
                </a:lnTo>
                <a:lnTo>
                  <a:pt x="1212" y="135"/>
                </a:lnTo>
                <a:lnTo>
                  <a:pt x="1211" y="135"/>
                </a:lnTo>
                <a:lnTo>
                  <a:pt x="1209" y="132"/>
                </a:lnTo>
                <a:lnTo>
                  <a:pt x="1211" y="131"/>
                </a:lnTo>
                <a:lnTo>
                  <a:pt x="1211" y="130"/>
                </a:lnTo>
                <a:lnTo>
                  <a:pt x="1209" y="129"/>
                </a:lnTo>
                <a:lnTo>
                  <a:pt x="1208" y="129"/>
                </a:lnTo>
                <a:lnTo>
                  <a:pt x="1207" y="131"/>
                </a:lnTo>
                <a:lnTo>
                  <a:pt x="1206" y="129"/>
                </a:lnTo>
                <a:lnTo>
                  <a:pt x="1206" y="128"/>
                </a:lnTo>
                <a:lnTo>
                  <a:pt x="1207" y="125"/>
                </a:lnTo>
                <a:lnTo>
                  <a:pt x="1207" y="122"/>
                </a:lnTo>
                <a:lnTo>
                  <a:pt x="1208" y="121"/>
                </a:lnTo>
                <a:lnTo>
                  <a:pt x="1208" y="119"/>
                </a:lnTo>
                <a:lnTo>
                  <a:pt x="1207" y="117"/>
                </a:lnTo>
                <a:lnTo>
                  <a:pt x="1207" y="118"/>
                </a:lnTo>
                <a:lnTo>
                  <a:pt x="1206" y="117"/>
                </a:lnTo>
                <a:lnTo>
                  <a:pt x="1206" y="115"/>
                </a:lnTo>
                <a:lnTo>
                  <a:pt x="1208" y="112"/>
                </a:lnTo>
                <a:lnTo>
                  <a:pt x="1206" y="111"/>
                </a:lnTo>
                <a:lnTo>
                  <a:pt x="1206" y="109"/>
                </a:lnTo>
                <a:lnTo>
                  <a:pt x="1207" y="105"/>
                </a:lnTo>
                <a:lnTo>
                  <a:pt x="1208" y="103"/>
                </a:lnTo>
                <a:lnTo>
                  <a:pt x="1208" y="91"/>
                </a:lnTo>
                <a:lnTo>
                  <a:pt x="1209" y="87"/>
                </a:lnTo>
                <a:lnTo>
                  <a:pt x="1209" y="85"/>
                </a:lnTo>
                <a:lnTo>
                  <a:pt x="1211" y="81"/>
                </a:lnTo>
                <a:lnTo>
                  <a:pt x="1214" y="76"/>
                </a:lnTo>
                <a:lnTo>
                  <a:pt x="1215" y="74"/>
                </a:lnTo>
                <a:lnTo>
                  <a:pt x="1215" y="73"/>
                </a:lnTo>
                <a:lnTo>
                  <a:pt x="1219" y="70"/>
                </a:lnTo>
                <a:lnTo>
                  <a:pt x="1221" y="67"/>
                </a:lnTo>
                <a:lnTo>
                  <a:pt x="1231" y="58"/>
                </a:lnTo>
                <a:lnTo>
                  <a:pt x="1236" y="56"/>
                </a:lnTo>
                <a:lnTo>
                  <a:pt x="1243" y="55"/>
                </a:lnTo>
                <a:close/>
                <a:moveTo>
                  <a:pt x="521" y="0"/>
                </a:moveTo>
                <a:lnTo>
                  <a:pt x="522" y="0"/>
                </a:lnTo>
                <a:lnTo>
                  <a:pt x="524" y="1"/>
                </a:lnTo>
                <a:lnTo>
                  <a:pt x="532" y="11"/>
                </a:lnTo>
                <a:lnTo>
                  <a:pt x="534" y="12"/>
                </a:lnTo>
                <a:lnTo>
                  <a:pt x="537" y="11"/>
                </a:lnTo>
                <a:lnTo>
                  <a:pt x="538" y="12"/>
                </a:lnTo>
                <a:lnTo>
                  <a:pt x="543" y="14"/>
                </a:lnTo>
                <a:lnTo>
                  <a:pt x="544" y="17"/>
                </a:lnTo>
                <a:lnTo>
                  <a:pt x="543" y="18"/>
                </a:lnTo>
                <a:lnTo>
                  <a:pt x="543" y="19"/>
                </a:lnTo>
                <a:lnTo>
                  <a:pt x="544" y="20"/>
                </a:lnTo>
                <a:lnTo>
                  <a:pt x="548" y="23"/>
                </a:lnTo>
                <a:lnTo>
                  <a:pt x="553" y="21"/>
                </a:lnTo>
                <a:lnTo>
                  <a:pt x="561" y="24"/>
                </a:lnTo>
                <a:lnTo>
                  <a:pt x="565" y="26"/>
                </a:lnTo>
                <a:lnTo>
                  <a:pt x="566" y="29"/>
                </a:lnTo>
                <a:lnTo>
                  <a:pt x="567" y="29"/>
                </a:lnTo>
                <a:lnTo>
                  <a:pt x="568" y="27"/>
                </a:lnTo>
                <a:lnTo>
                  <a:pt x="569" y="27"/>
                </a:lnTo>
                <a:lnTo>
                  <a:pt x="569" y="38"/>
                </a:lnTo>
                <a:lnTo>
                  <a:pt x="568" y="39"/>
                </a:lnTo>
                <a:lnTo>
                  <a:pt x="567" y="42"/>
                </a:lnTo>
                <a:lnTo>
                  <a:pt x="566" y="43"/>
                </a:lnTo>
                <a:lnTo>
                  <a:pt x="559" y="48"/>
                </a:lnTo>
                <a:lnTo>
                  <a:pt x="543" y="42"/>
                </a:lnTo>
                <a:lnTo>
                  <a:pt x="541" y="39"/>
                </a:lnTo>
                <a:lnTo>
                  <a:pt x="540" y="39"/>
                </a:lnTo>
                <a:lnTo>
                  <a:pt x="537" y="41"/>
                </a:lnTo>
                <a:lnTo>
                  <a:pt x="531" y="38"/>
                </a:lnTo>
                <a:lnTo>
                  <a:pt x="530" y="39"/>
                </a:lnTo>
                <a:lnTo>
                  <a:pt x="529" y="38"/>
                </a:lnTo>
                <a:lnTo>
                  <a:pt x="529" y="33"/>
                </a:lnTo>
                <a:lnTo>
                  <a:pt x="530" y="32"/>
                </a:lnTo>
                <a:lnTo>
                  <a:pt x="530" y="31"/>
                </a:lnTo>
                <a:lnTo>
                  <a:pt x="529" y="30"/>
                </a:lnTo>
                <a:lnTo>
                  <a:pt x="529" y="29"/>
                </a:lnTo>
                <a:lnTo>
                  <a:pt x="528" y="27"/>
                </a:lnTo>
                <a:lnTo>
                  <a:pt x="528" y="26"/>
                </a:lnTo>
                <a:lnTo>
                  <a:pt x="527" y="26"/>
                </a:lnTo>
                <a:lnTo>
                  <a:pt x="527" y="36"/>
                </a:lnTo>
                <a:lnTo>
                  <a:pt x="524" y="38"/>
                </a:lnTo>
                <a:lnTo>
                  <a:pt x="521" y="38"/>
                </a:lnTo>
                <a:lnTo>
                  <a:pt x="523" y="41"/>
                </a:lnTo>
                <a:lnTo>
                  <a:pt x="524" y="41"/>
                </a:lnTo>
                <a:lnTo>
                  <a:pt x="524" y="45"/>
                </a:lnTo>
                <a:lnTo>
                  <a:pt x="523" y="47"/>
                </a:lnTo>
                <a:lnTo>
                  <a:pt x="523" y="50"/>
                </a:lnTo>
                <a:lnTo>
                  <a:pt x="525" y="47"/>
                </a:lnTo>
                <a:lnTo>
                  <a:pt x="528" y="45"/>
                </a:lnTo>
                <a:lnTo>
                  <a:pt x="532" y="48"/>
                </a:lnTo>
                <a:lnTo>
                  <a:pt x="534" y="49"/>
                </a:lnTo>
                <a:lnTo>
                  <a:pt x="538" y="47"/>
                </a:lnTo>
                <a:lnTo>
                  <a:pt x="538" y="48"/>
                </a:lnTo>
                <a:lnTo>
                  <a:pt x="540" y="48"/>
                </a:lnTo>
                <a:lnTo>
                  <a:pt x="540" y="49"/>
                </a:lnTo>
                <a:lnTo>
                  <a:pt x="541" y="50"/>
                </a:lnTo>
                <a:lnTo>
                  <a:pt x="540" y="50"/>
                </a:lnTo>
                <a:lnTo>
                  <a:pt x="538" y="52"/>
                </a:lnTo>
                <a:lnTo>
                  <a:pt x="540" y="52"/>
                </a:lnTo>
                <a:lnTo>
                  <a:pt x="543" y="55"/>
                </a:lnTo>
                <a:lnTo>
                  <a:pt x="542" y="57"/>
                </a:lnTo>
                <a:lnTo>
                  <a:pt x="540" y="57"/>
                </a:lnTo>
                <a:lnTo>
                  <a:pt x="540" y="58"/>
                </a:lnTo>
                <a:lnTo>
                  <a:pt x="538" y="61"/>
                </a:lnTo>
                <a:lnTo>
                  <a:pt x="537" y="61"/>
                </a:lnTo>
                <a:lnTo>
                  <a:pt x="536" y="62"/>
                </a:lnTo>
                <a:lnTo>
                  <a:pt x="532" y="64"/>
                </a:lnTo>
                <a:lnTo>
                  <a:pt x="530" y="66"/>
                </a:lnTo>
                <a:lnTo>
                  <a:pt x="532" y="67"/>
                </a:lnTo>
                <a:lnTo>
                  <a:pt x="534" y="66"/>
                </a:lnTo>
                <a:lnTo>
                  <a:pt x="538" y="62"/>
                </a:lnTo>
                <a:lnTo>
                  <a:pt x="540" y="62"/>
                </a:lnTo>
                <a:lnTo>
                  <a:pt x="540" y="61"/>
                </a:lnTo>
                <a:lnTo>
                  <a:pt x="541" y="58"/>
                </a:lnTo>
                <a:lnTo>
                  <a:pt x="544" y="58"/>
                </a:lnTo>
                <a:lnTo>
                  <a:pt x="544" y="56"/>
                </a:lnTo>
                <a:lnTo>
                  <a:pt x="546" y="56"/>
                </a:lnTo>
                <a:lnTo>
                  <a:pt x="547" y="60"/>
                </a:lnTo>
                <a:lnTo>
                  <a:pt x="548" y="60"/>
                </a:lnTo>
                <a:lnTo>
                  <a:pt x="549" y="57"/>
                </a:lnTo>
                <a:lnTo>
                  <a:pt x="552" y="57"/>
                </a:lnTo>
                <a:lnTo>
                  <a:pt x="555" y="58"/>
                </a:lnTo>
                <a:lnTo>
                  <a:pt x="559" y="58"/>
                </a:lnTo>
                <a:lnTo>
                  <a:pt x="560" y="60"/>
                </a:lnTo>
                <a:lnTo>
                  <a:pt x="555" y="64"/>
                </a:lnTo>
                <a:lnTo>
                  <a:pt x="554" y="68"/>
                </a:lnTo>
                <a:lnTo>
                  <a:pt x="560" y="62"/>
                </a:lnTo>
                <a:lnTo>
                  <a:pt x="563" y="61"/>
                </a:lnTo>
                <a:lnTo>
                  <a:pt x="568" y="61"/>
                </a:lnTo>
                <a:lnTo>
                  <a:pt x="559" y="74"/>
                </a:lnTo>
                <a:lnTo>
                  <a:pt x="558" y="78"/>
                </a:lnTo>
                <a:lnTo>
                  <a:pt x="556" y="79"/>
                </a:lnTo>
                <a:lnTo>
                  <a:pt x="556" y="81"/>
                </a:lnTo>
                <a:lnTo>
                  <a:pt x="558" y="81"/>
                </a:lnTo>
                <a:lnTo>
                  <a:pt x="558" y="80"/>
                </a:lnTo>
                <a:lnTo>
                  <a:pt x="560" y="80"/>
                </a:lnTo>
                <a:lnTo>
                  <a:pt x="560" y="79"/>
                </a:lnTo>
                <a:lnTo>
                  <a:pt x="562" y="72"/>
                </a:lnTo>
                <a:lnTo>
                  <a:pt x="563" y="70"/>
                </a:lnTo>
                <a:lnTo>
                  <a:pt x="577" y="64"/>
                </a:lnTo>
                <a:lnTo>
                  <a:pt x="578" y="63"/>
                </a:lnTo>
                <a:lnTo>
                  <a:pt x="579" y="64"/>
                </a:lnTo>
                <a:lnTo>
                  <a:pt x="579" y="66"/>
                </a:lnTo>
                <a:lnTo>
                  <a:pt x="580" y="66"/>
                </a:lnTo>
                <a:lnTo>
                  <a:pt x="583" y="63"/>
                </a:lnTo>
                <a:lnTo>
                  <a:pt x="585" y="66"/>
                </a:lnTo>
                <a:lnTo>
                  <a:pt x="586" y="66"/>
                </a:lnTo>
                <a:lnTo>
                  <a:pt x="586" y="69"/>
                </a:lnTo>
                <a:lnTo>
                  <a:pt x="584" y="70"/>
                </a:lnTo>
                <a:lnTo>
                  <a:pt x="583" y="70"/>
                </a:lnTo>
                <a:lnTo>
                  <a:pt x="581" y="73"/>
                </a:lnTo>
                <a:lnTo>
                  <a:pt x="583" y="73"/>
                </a:lnTo>
                <a:lnTo>
                  <a:pt x="585" y="72"/>
                </a:lnTo>
                <a:lnTo>
                  <a:pt x="584" y="74"/>
                </a:lnTo>
                <a:lnTo>
                  <a:pt x="581" y="78"/>
                </a:lnTo>
                <a:lnTo>
                  <a:pt x="579" y="82"/>
                </a:lnTo>
                <a:lnTo>
                  <a:pt x="575" y="82"/>
                </a:lnTo>
                <a:lnTo>
                  <a:pt x="574" y="85"/>
                </a:lnTo>
                <a:lnTo>
                  <a:pt x="577" y="85"/>
                </a:lnTo>
                <a:lnTo>
                  <a:pt x="577" y="84"/>
                </a:lnTo>
                <a:lnTo>
                  <a:pt x="581" y="82"/>
                </a:lnTo>
                <a:lnTo>
                  <a:pt x="583" y="82"/>
                </a:lnTo>
                <a:lnTo>
                  <a:pt x="584" y="85"/>
                </a:lnTo>
                <a:lnTo>
                  <a:pt x="580" y="87"/>
                </a:lnTo>
                <a:lnTo>
                  <a:pt x="579" y="88"/>
                </a:lnTo>
                <a:lnTo>
                  <a:pt x="578" y="88"/>
                </a:lnTo>
                <a:lnTo>
                  <a:pt x="577" y="90"/>
                </a:lnTo>
                <a:lnTo>
                  <a:pt x="581" y="90"/>
                </a:lnTo>
                <a:lnTo>
                  <a:pt x="581" y="92"/>
                </a:lnTo>
                <a:lnTo>
                  <a:pt x="583" y="92"/>
                </a:lnTo>
                <a:lnTo>
                  <a:pt x="584" y="91"/>
                </a:lnTo>
                <a:lnTo>
                  <a:pt x="586" y="91"/>
                </a:lnTo>
                <a:lnTo>
                  <a:pt x="587" y="92"/>
                </a:lnTo>
                <a:lnTo>
                  <a:pt x="586" y="95"/>
                </a:lnTo>
                <a:lnTo>
                  <a:pt x="581" y="99"/>
                </a:lnTo>
                <a:lnTo>
                  <a:pt x="577" y="104"/>
                </a:lnTo>
                <a:lnTo>
                  <a:pt x="574" y="104"/>
                </a:lnTo>
                <a:lnTo>
                  <a:pt x="571" y="106"/>
                </a:lnTo>
                <a:lnTo>
                  <a:pt x="568" y="106"/>
                </a:lnTo>
                <a:lnTo>
                  <a:pt x="565" y="110"/>
                </a:lnTo>
                <a:lnTo>
                  <a:pt x="565" y="122"/>
                </a:lnTo>
                <a:lnTo>
                  <a:pt x="566" y="119"/>
                </a:lnTo>
                <a:lnTo>
                  <a:pt x="566" y="113"/>
                </a:lnTo>
                <a:lnTo>
                  <a:pt x="567" y="110"/>
                </a:lnTo>
                <a:lnTo>
                  <a:pt x="569" y="109"/>
                </a:lnTo>
                <a:lnTo>
                  <a:pt x="574" y="109"/>
                </a:lnTo>
                <a:lnTo>
                  <a:pt x="578" y="105"/>
                </a:lnTo>
                <a:lnTo>
                  <a:pt x="583" y="105"/>
                </a:lnTo>
                <a:lnTo>
                  <a:pt x="583" y="101"/>
                </a:lnTo>
                <a:lnTo>
                  <a:pt x="584" y="100"/>
                </a:lnTo>
                <a:lnTo>
                  <a:pt x="584" y="99"/>
                </a:lnTo>
                <a:lnTo>
                  <a:pt x="589" y="95"/>
                </a:lnTo>
                <a:lnTo>
                  <a:pt x="589" y="81"/>
                </a:lnTo>
                <a:lnTo>
                  <a:pt x="590" y="79"/>
                </a:lnTo>
                <a:lnTo>
                  <a:pt x="591" y="78"/>
                </a:lnTo>
                <a:lnTo>
                  <a:pt x="596" y="78"/>
                </a:lnTo>
                <a:lnTo>
                  <a:pt x="596" y="80"/>
                </a:lnTo>
                <a:lnTo>
                  <a:pt x="594" y="81"/>
                </a:lnTo>
                <a:lnTo>
                  <a:pt x="596" y="81"/>
                </a:lnTo>
                <a:lnTo>
                  <a:pt x="597" y="79"/>
                </a:lnTo>
                <a:lnTo>
                  <a:pt x="598" y="80"/>
                </a:lnTo>
                <a:lnTo>
                  <a:pt x="602" y="80"/>
                </a:lnTo>
                <a:lnTo>
                  <a:pt x="600" y="79"/>
                </a:lnTo>
                <a:lnTo>
                  <a:pt x="600" y="76"/>
                </a:lnTo>
                <a:lnTo>
                  <a:pt x="612" y="79"/>
                </a:lnTo>
                <a:lnTo>
                  <a:pt x="624" y="80"/>
                </a:lnTo>
                <a:lnTo>
                  <a:pt x="624" y="82"/>
                </a:lnTo>
                <a:lnTo>
                  <a:pt x="625" y="84"/>
                </a:lnTo>
                <a:lnTo>
                  <a:pt x="629" y="85"/>
                </a:lnTo>
                <a:lnTo>
                  <a:pt x="631" y="85"/>
                </a:lnTo>
                <a:lnTo>
                  <a:pt x="634" y="87"/>
                </a:lnTo>
                <a:lnTo>
                  <a:pt x="648" y="90"/>
                </a:lnTo>
                <a:lnTo>
                  <a:pt x="648" y="91"/>
                </a:lnTo>
                <a:lnTo>
                  <a:pt x="647" y="93"/>
                </a:lnTo>
                <a:lnTo>
                  <a:pt x="647" y="94"/>
                </a:lnTo>
                <a:lnTo>
                  <a:pt x="650" y="91"/>
                </a:lnTo>
                <a:lnTo>
                  <a:pt x="654" y="91"/>
                </a:lnTo>
                <a:lnTo>
                  <a:pt x="654" y="92"/>
                </a:lnTo>
                <a:lnTo>
                  <a:pt x="655" y="92"/>
                </a:lnTo>
                <a:lnTo>
                  <a:pt x="655" y="93"/>
                </a:lnTo>
                <a:lnTo>
                  <a:pt x="654" y="94"/>
                </a:lnTo>
                <a:lnTo>
                  <a:pt x="655" y="94"/>
                </a:lnTo>
                <a:lnTo>
                  <a:pt x="655" y="95"/>
                </a:lnTo>
                <a:lnTo>
                  <a:pt x="656" y="95"/>
                </a:lnTo>
                <a:lnTo>
                  <a:pt x="656" y="94"/>
                </a:lnTo>
                <a:lnTo>
                  <a:pt x="658" y="94"/>
                </a:lnTo>
                <a:lnTo>
                  <a:pt x="658" y="93"/>
                </a:lnTo>
                <a:lnTo>
                  <a:pt x="659" y="92"/>
                </a:lnTo>
                <a:lnTo>
                  <a:pt x="660" y="92"/>
                </a:lnTo>
                <a:lnTo>
                  <a:pt x="659" y="90"/>
                </a:lnTo>
                <a:lnTo>
                  <a:pt x="656" y="86"/>
                </a:lnTo>
                <a:lnTo>
                  <a:pt x="655" y="85"/>
                </a:lnTo>
                <a:lnTo>
                  <a:pt x="656" y="84"/>
                </a:lnTo>
                <a:lnTo>
                  <a:pt x="660" y="85"/>
                </a:lnTo>
                <a:lnTo>
                  <a:pt x="662" y="85"/>
                </a:lnTo>
                <a:lnTo>
                  <a:pt x="683" y="94"/>
                </a:lnTo>
                <a:lnTo>
                  <a:pt x="685" y="94"/>
                </a:lnTo>
                <a:lnTo>
                  <a:pt x="690" y="97"/>
                </a:lnTo>
                <a:lnTo>
                  <a:pt x="692" y="99"/>
                </a:lnTo>
                <a:lnTo>
                  <a:pt x="692" y="101"/>
                </a:lnTo>
                <a:lnTo>
                  <a:pt x="695" y="101"/>
                </a:lnTo>
                <a:lnTo>
                  <a:pt x="702" y="104"/>
                </a:lnTo>
                <a:lnTo>
                  <a:pt x="703" y="105"/>
                </a:lnTo>
                <a:lnTo>
                  <a:pt x="702" y="107"/>
                </a:lnTo>
                <a:lnTo>
                  <a:pt x="704" y="110"/>
                </a:lnTo>
                <a:lnTo>
                  <a:pt x="712" y="113"/>
                </a:lnTo>
                <a:lnTo>
                  <a:pt x="720" y="119"/>
                </a:lnTo>
                <a:lnTo>
                  <a:pt x="722" y="119"/>
                </a:lnTo>
                <a:lnTo>
                  <a:pt x="722" y="122"/>
                </a:lnTo>
                <a:lnTo>
                  <a:pt x="723" y="122"/>
                </a:lnTo>
                <a:lnTo>
                  <a:pt x="724" y="123"/>
                </a:lnTo>
                <a:lnTo>
                  <a:pt x="727" y="123"/>
                </a:lnTo>
                <a:lnTo>
                  <a:pt x="734" y="129"/>
                </a:lnTo>
                <a:lnTo>
                  <a:pt x="734" y="131"/>
                </a:lnTo>
                <a:lnTo>
                  <a:pt x="735" y="131"/>
                </a:lnTo>
                <a:lnTo>
                  <a:pt x="737" y="134"/>
                </a:lnTo>
                <a:lnTo>
                  <a:pt x="741" y="135"/>
                </a:lnTo>
                <a:lnTo>
                  <a:pt x="742" y="135"/>
                </a:lnTo>
                <a:lnTo>
                  <a:pt x="742" y="138"/>
                </a:lnTo>
                <a:lnTo>
                  <a:pt x="743" y="140"/>
                </a:lnTo>
                <a:lnTo>
                  <a:pt x="748" y="142"/>
                </a:lnTo>
                <a:lnTo>
                  <a:pt x="751" y="146"/>
                </a:lnTo>
                <a:lnTo>
                  <a:pt x="752" y="146"/>
                </a:lnTo>
                <a:lnTo>
                  <a:pt x="752" y="147"/>
                </a:lnTo>
                <a:lnTo>
                  <a:pt x="754" y="147"/>
                </a:lnTo>
                <a:lnTo>
                  <a:pt x="755" y="148"/>
                </a:lnTo>
                <a:lnTo>
                  <a:pt x="758" y="148"/>
                </a:lnTo>
                <a:lnTo>
                  <a:pt x="758" y="149"/>
                </a:lnTo>
                <a:lnTo>
                  <a:pt x="761" y="150"/>
                </a:lnTo>
                <a:lnTo>
                  <a:pt x="763" y="152"/>
                </a:lnTo>
                <a:lnTo>
                  <a:pt x="764" y="154"/>
                </a:lnTo>
                <a:lnTo>
                  <a:pt x="767" y="156"/>
                </a:lnTo>
                <a:lnTo>
                  <a:pt x="773" y="164"/>
                </a:lnTo>
                <a:lnTo>
                  <a:pt x="774" y="167"/>
                </a:lnTo>
                <a:lnTo>
                  <a:pt x="776" y="170"/>
                </a:lnTo>
                <a:lnTo>
                  <a:pt x="777" y="171"/>
                </a:lnTo>
                <a:lnTo>
                  <a:pt x="778" y="173"/>
                </a:lnTo>
                <a:lnTo>
                  <a:pt x="778" y="174"/>
                </a:lnTo>
                <a:lnTo>
                  <a:pt x="779" y="175"/>
                </a:lnTo>
                <a:lnTo>
                  <a:pt x="783" y="175"/>
                </a:lnTo>
                <a:lnTo>
                  <a:pt x="784" y="177"/>
                </a:lnTo>
                <a:lnTo>
                  <a:pt x="784" y="180"/>
                </a:lnTo>
                <a:lnTo>
                  <a:pt x="789" y="181"/>
                </a:lnTo>
                <a:lnTo>
                  <a:pt x="790" y="185"/>
                </a:lnTo>
                <a:lnTo>
                  <a:pt x="791" y="186"/>
                </a:lnTo>
                <a:lnTo>
                  <a:pt x="791" y="193"/>
                </a:lnTo>
                <a:lnTo>
                  <a:pt x="794" y="193"/>
                </a:lnTo>
                <a:lnTo>
                  <a:pt x="794" y="191"/>
                </a:lnTo>
                <a:lnTo>
                  <a:pt x="795" y="192"/>
                </a:lnTo>
                <a:lnTo>
                  <a:pt x="795" y="193"/>
                </a:lnTo>
                <a:lnTo>
                  <a:pt x="796" y="193"/>
                </a:lnTo>
                <a:lnTo>
                  <a:pt x="805" y="199"/>
                </a:lnTo>
                <a:lnTo>
                  <a:pt x="808" y="199"/>
                </a:lnTo>
                <a:lnTo>
                  <a:pt x="805" y="197"/>
                </a:lnTo>
                <a:lnTo>
                  <a:pt x="801" y="195"/>
                </a:lnTo>
                <a:lnTo>
                  <a:pt x="797" y="192"/>
                </a:lnTo>
                <a:lnTo>
                  <a:pt x="797" y="190"/>
                </a:lnTo>
                <a:lnTo>
                  <a:pt x="798" y="190"/>
                </a:lnTo>
                <a:lnTo>
                  <a:pt x="799" y="191"/>
                </a:lnTo>
                <a:lnTo>
                  <a:pt x="801" y="191"/>
                </a:lnTo>
                <a:lnTo>
                  <a:pt x="801" y="189"/>
                </a:lnTo>
                <a:lnTo>
                  <a:pt x="803" y="189"/>
                </a:lnTo>
                <a:lnTo>
                  <a:pt x="809" y="195"/>
                </a:lnTo>
                <a:lnTo>
                  <a:pt x="814" y="196"/>
                </a:lnTo>
                <a:lnTo>
                  <a:pt x="814" y="197"/>
                </a:lnTo>
                <a:lnTo>
                  <a:pt x="815" y="198"/>
                </a:lnTo>
                <a:lnTo>
                  <a:pt x="815" y="202"/>
                </a:lnTo>
                <a:lnTo>
                  <a:pt x="819" y="204"/>
                </a:lnTo>
                <a:lnTo>
                  <a:pt x="828" y="213"/>
                </a:lnTo>
                <a:lnTo>
                  <a:pt x="833" y="215"/>
                </a:lnTo>
                <a:lnTo>
                  <a:pt x="839" y="223"/>
                </a:lnTo>
                <a:lnTo>
                  <a:pt x="844" y="226"/>
                </a:lnTo>
                <a:lnTo>
                  <a:pt x="846" y="226"/>
                </a:lnTo>
                <a:lnTo>
                  <a:pt x="848" y="227"/>
                </a:lnTo>
                <a:lnTo>
                  <a:pt x="853" y="227"/>
                </a:lnTo>
                <a:lnTo>
                  <a:pt x="854" y="226"/>
                </a:lnTo>
                <a:lnTo>
                  <a:pt x="853" y="226"/>
                </a:lnTo>
                <a:lnTo>
                  <a:pt x="853" y="224"/>
                </a:lnTo>
                <a:lnTo>
                  <a:pt x="851" y="218"/>
                </a:lnTo>
                <a:lnTo>
                  <a:pt x="851" y="217"/>
                </a:lnTo>
                <a:lnTo>
                  <a:pt x="847" y="214"/>
                </a:lnTo>
                <a:lnTo>
                  <a:pt x="848" y="213"/>
                </a:lnTo>
                <a:lnTo>
                  <a:pt x="850" y="213"/>
                </a:lnTo>
                <a:lnTo>
                  <a:pt x="857" y="220"/>
                </a:lnTo>
                <a:lnTo>
                  <a:pt x="857" y="224"/>
                </a:lnTo>
                <a:lnTo>
                  <a:pt x="859" y="229"/>
                </a:lnTo>
                <a:lnTo>
                  <a:pt x="860" y="230"/>
                </a:lnTo>
                <a:lnTo>
                  <a:pt x="861" y="230"/>
                </a:lnTo>
                <a:lnTo>
                  <a:pt x="861" y="232"/>
                </a:lnTo>
                <a:lnTo>
                  <a:pt x="863" y="232"/>
                </a:lnTo>
                <a:lnTo>
                  <a:pt x="865" y="235"/>
                </a:lnTo>
                <a:lnTo>
                  <a:pt x="866" y="238"/>
                </a:lnTo>
                <a:lnTo>
                  <a:pt x="872" y="242"/>
                </a:lnTo>
                <a:lnTo>
                  <a:pt x="872" y="244"/>
                </a:lnTo>
                <a:lnTo>
                  <a:pt x="873" y="242"/>
                </a:lnTo>
                <a:lnTo>
                  <a:pt x="875" y="242"/>
                </a:lnTo>
                <a:lnTo>
                  <a:pt x="875" y="244"/>
                </a:lnTo>
                <a:lnTo>
                  <a:pt x="877" y="246"/>
                </a:lnTo>
                <a:lnTo>
                  <a:pt x="877" y="248"/>
                </a:lnTo>
                <a:lnTo>
                  <a:pt x="876" y="250"/>
                </a:lnTo>
                <a:lnTo>
                  <a:pt x="873" y="250"/>
                </a:lnTo>
                <a:lnTo>
                  <a:pt x="876" y="254"/>
                </a:lnTo>
                <a:lnTo>
                  <a:pt x="879" y="259"/>
                </a:lnTo>
                <a:lnTo>
                  <a:pt x="881" y="260"/>
                </a:lnTo>
                <a:lnTo>
                  <a:pt x="882" y="260"/>
                </a:lnTo>
                <a:lnTo>
                  <a:pt x="884" y="257"/>
                </a:lnTo>
                <a:lnTo>
                  <a:pt x="884" y="256"/>
                </a:lnTo>
                <a:lnTo>
                  <a:pt x="883" y="256"/>
                </a:lnTo>
                <a:lnTo>
                  <a:pt x="883" y="254"/>
                </a:lnTo>
                <a:lnTo>
                  <a:pt x="884" y="253"/>
                </a:lnTo>
                <a:lnTo>
                  <a:pt x="888" y="253"/>
                </a:lnTo>
                <a:lnTo>
                  <a:pt x="888" y="256"/>
                </a:lnTo>
                <a:lnTo>
                  <a:pt x="889" y="257"/>
                </a:lnTo>
                <a:lnTo>
                  <a:pt x="889" y="258"/>
                </a:lnTo>
                <a:lnTo>
                  <a:pt x="894" y="263"/>
                </a:lnTo>
                <a:lnTo>
                  <a:pt x="895" y="263"/>
                </a:lnTo>
                <a:lnTo>
                  <a:pt x="898" y="261"/>
                </a:lnTo>
                <a:lnTo>
                  <a:pt x="901" y="263"/>
                </a:lnTo>
                <a:lnTo>
                  <a:pt x="902" y="266"/>
                </a:lnTo>
                <a:lnTo>
                  <a:pt x="904" y="271"/>
                </a:lnTo>
                <a:lnTo>
                  <a:pt x="904" y="275"/>
                </a:lnTo>
                <a:lnTo>
                  <a:pt x="902" y="279"/>
                </a:lnTo>
                <a:lnTo>
                  <a:pt x="901" y="281"/>
                </a:lnTo>
                <a:lnTo>
                  <a:pt x="901" y="282"/>
                </a:lnTo>
                <a:lnTo>
                  <a:pt x="902" y="283"/>
                </a:lnTo>
                <a:lnTo>
                  <a:pt x="902" y="291"/>
                </a:lnTo>
                <a:lnTo>
                  <a:pt x="904" y="291"/>
                </a:lnTo>
                <a:lnTo>
                  <a:pt x="907" y="294"/>
                </a:lnTo>
                <a:lnTo>
                  <a:pt x="908" y="296"/>
                </a:lnTo>
                <a:lnTo>
                  <a:pt x="908" y="309"/>
                </a:lnTo>
                <a:lnTo>
                  <a:pt x="907" y="312"/>
                </a:lnTo>
                <a:lnTo>
                  <a:pt x="907" y="315"/>
                </a:lnTo>
                <a:lnTo>
                  <a:pt x="908" y="318"/>
                </a:lnTo>
                <a:lnTo>
                  <a:pt x="912" y="320"/>
                </a:lnTo>
                <a:lnTo>
                  <a:pt x="914" y="318"/>
                </a:lnTo>
                <a:lnTo>
                  <a:pt x="915" y="318"/>
                </a:lnTo>
                <a:lnTo>
                  <a:pt x="916" y="319"/>
                </a:lnTo>
                <a:lnTo>
                  <a:pt x="916" y="320"/>
                </a:lnTo>
                <a:lnTo>
                  <a:pt x="917" y="320"/>
                </a:lnTo>
                <a:lnTo>
                  <a:pt x="917" y="322"/>
                </a:lnTo>
                <a:lnTo>
                  <a:pt x="916" y="324"/>
                </a:lnTo>
                <a:lnTo>
                  <a:pt x="916" y="326"/>
                </a:lnTo>
                <a:lnTo>
                  <a:pt x="917" y="327"/>
                </a:lnTo>
                <a:lnTo>
                  <a:pt x="919" y="330"/>
                </a:lnTo>
                <a:lnTo>
                  <a:pt x="917" y="331"/>
                </a:lnTo>
                <a:lnTo>
                  <a:pt x="917" y="332"/>
                </a:lnTo>
                <a:lnTo>
                  <a:pt x="916" y="332"/>
                </a:lnTo>
                <a:lnTo>
                  <a:pt x="916" y="340"/>
                </a:lnTo>
                <a:lnTo>
                  <a:pt x="917" y="342"/>
                </a:lnTo>
                <a:lnTo>
                  <a:pt x="916" y="343"/>
                </a:lnTo>
                <a:lnTo>
                  <a:pt x="914" y="343"/>
                </a:lnTo>
                <a:lnTo>
                  <a:pt x="913" y="344"/>
                </a:lnTo>
                <a:lnTo>
                  <a:pt x="915" y="346"/>
                </a:lnTo>
                <a:lnTo>
                  <a:pt x="915" y="347"/>
                </a:lnTo>
                <a:lnTo>
                  <a:pt x="913" y="353"/>
                </a:lnTo>
                <a:lnTo>
                  <a:pt x="909" y="363"/>
                </a:lnTo>
                <a:lnTo>
                  <a:pt x="908" y="365"/>
                </a:lnTo>
                <a:lnTo>
                  <a:pt x="903" y="370"/>
                </a:lnTo>
                <a:lnTo>
                  <a:pt x="898" y="377"/>
                </a:lnTo>
                <a:lnTo>
                  <a:pt x="896" y="380"/>
                </a:lnTo>
                <a:lnTo>
                  <a:pt x="895" y="382"/>
                </a:lnTo>
                <a:lnTo>
                  <a:pt x="894" y="383"/>
                </a:lnTo>
                <a:lnTo>
                  <a:pt x="894" y="385"/>
                </a:lnTo>
                <a:lnTo>
                  <a:pt x="891" y="385"/>
                </a:lnTo>
                <a:lnTo>
                  <a:pt x="891" y="386"/>
                </a:lnTo>
                <a:lnTo>
                  <a:pt x="890" y="387"/>
                </a:lnTo>
                <a:lnTo>
                  <a:pt x="890" y="392"/>
                </a:lnTo>
                <a:lnTo>
                  <a:pt x="889" y="393"/>
                </a:lnTo>
                <a:lnTo>
                  <a:pt x="888" y="395"/>
                </a:lnTo>
                <a:lnTo>
                  <a:pt x="886" y="395"/>
                </a:lnTo>
                <a:lnTo>
                  <a:pt x="885" y="396"/>
                </a:lnTo>
                <a:lnTo>
                  <a:pt x="884" y="400"/>
                </a:lnTo>
                <a:lnTo>
                  <a:pt x="883" y="401"/>
                </a:lnTo>
                <a:lnTo>
                  <a:pt x="881" y="402"/>
                </a:lnTo>
                <a:lnTo>
                  <a:pt x="878" y="406"/>
                </a:lnTo>
                <a:lnTo>
                  <a:pt x="877" y="407"/>
                </a:lnTo>
                <a:lnTo>
                  <a:pt x="872" y="408"/>
                </a:lnTo>
                <a:lnTo>
                  <a:pt x="863" y="418"/>
                </a:lnTo>
                <a:lnTo>
                  <a:pt x="853" y="423"/>
                </a:lnTo>
                <a:lnTo>
                  <a:pt x="852" y="425"/>
                </a:lnTo>
                <a:lnTo>
                  <a:pt x="850" y="425"/>
                </a:lnTo>
                <a:lnTo>
                  <a:pt x="847" y="428"/>
                </a:lnTo>
                <a:lnTo>
                  <a:pt x="836" y="430"/>
                </a:lnTo>
                <a:lnTo>
                  <a:pt x="834" y="433"/>
                </a:lnTo>
                <a:lnTo>
                  <a:pt x="832" y="435"/>
                </a:lnTo>
                <a:lnTo>
                  <a:pt x="820" y="438"/>
                </a:lnTo>
                <a:lnTo>
                  <a:pt x="816" y="437"/>
                </a:lnTo>
                <a:lnTo>
                  <a:pt x="815" y="437"/>
                </a:lnTo>
                <a:lnTo>
                  <a:pt x="815" y="438"/>
                </a:lnTo>
                <a:lnTo>
                  <a:pt x="798" y="443"/>
                </a:lnTo>
                <a:lnTo>
                  <a:pt x="785" y="441"/>
                </a:lnTo>
                <a:lnTo>
                  <a:pt x="772" y="439"/>
                </a:lnTo>
                <a:lnTo>
                  <a:pt x="767" y="437"/>
                </a:lnTo>
                <a:lnTo>
                  <a:pt x="760" y="436"/>
                </a:lnTo>
                <a:lnTo>
                  <a:pt x="757" y="433"/>
                </a:lnTo>
                <a:lnTo>
                  <a:pt x="752" y="429"/>
                </a:lnTo>
                <a:lnTo>
                  <a:pt x="748" y="428"/>
                </a:lnTo>
                <a:lnTo>
                  <a:pt x="745" y="425"/>
                </a:lnTo>
                <a:lnTo>
                  <a:pt x="728" y="419"/>
                </a:lnTo>
                <a:lnTo>
                  <a:pt x="726" y="419"/>
                </a:lnTo>
                <a:lnTo>
                  <a:pt x="722" y="418"/>
                </a:lnTo>
                <a:lnTo>
                  <a:pt x="717" y="419"/>
                </a:lnTo>
                <a:lnTo>
                  <a:pt x="712" y="417"/>
                </a:lnTo>
                <a:lnTo>
                  <a:pt x="708" y="418"/>
                </a:lnTo>
                <a:lnTo>
                  <a:pt x="703" y="416"/>
                </a:lnTo>
                <a:lnTo>
                  <a:pt x="681" y="411"/>
                </a:lnTo>
                <a:lnTo>
                  <a:pt x="677" y="408"/>
                </a:lnTo>
                <a:lnTo>
                  <a:pt x="672" y="408"/>
                </a:lnTo>
                <a:lnTo>
                  <a:pt x="665" y="405"/>
                </a:lnTo>
                <a:lnTo>
                  <a:pt x="662" y="401"/>
                </a:lnTo>
                <a:lnTo>
                  <a:pt x="658" y="400"/>
                </a:lnTo>
                <a:lnTo>
                  <a:pt x="656" y="398"/>
                </a:lnTo>
                <a:lnTo>
                  <a:pt x="643" y="386"/>
                </a:lnTo>
                <a:lnTo>
                  <a:pt x="640" y="385"/>
                </a:lnTo>
                <a:lnTo>
                  <a:pt x="637" y="386"/>
                </a:lnTo>
                <a:lnTo>
                  <a:pt x="634" y="389"/>
                </a:lnTo>
                <a:lnTo>
                  <a:pt x="630" y="392"/>
                </a:lnTo>
                <a:lnTo>
                  <a:pt x="624" y="392"/>
                </a:lnTo>
                <a:lnTo>
                  <a:pt x="623" y="387"/>
                </a:lnTo>
                <a:lnTo>
                  <a:pt x="622" y="385"/>
                </a:lnTo>
                <a:lnTo>
                  <a:pt x="622" y="382"/>
                </a:lnTo>
                <a:lnTo>
                  <a:pt x="623" y="381"/>
                </a:lnTo>
                <a:lnTo>
                  <a:pt x="624" y="381"/>
                </a:lnTo>
                <a:lnTo>
                  <a:pt x="627" y="382"/>
                </a:lnTo>
                <a:lnTo>
                  <a:pt x="628" y="381"/>
                </a:lnTo>
                <a:lnTo>
                  <a:pt x="629" y="381"/>
                </a:lnTo>
                <a:lnTo>
                  <a:pt x="629" y="380"/>
                </a:lnTo>
                <a:lnTo>
                  <a:pt x="628" y="379"/>
                </a:lnTo>
                <a:lnTo>
                  <a:pt x="627" y="380"/>
                </a:lnTo>
                <a:lnTo>
                  <a:pt x="628" y="380"/>
                </a:lnTo>
                <a:lnTo>
                  <a:pt x="627" y="381"/>
                </a:lnTo>
                <a:lnTo>
                  <a:pt x="618" y="377"/>
                </a:lnTo>
                <a:lnTo>
                  <a:pt x="615" y="377"/>
                </a:lnTo>
                <a:lnTo>
                  <a:pt x="615" y="376"/>
                </a:lnTo>
                <a:lnTo>
                  <a:pt x="614" y="376"/>
                </a:lnTo>
                <a:lnTo>
                  <a:pt x="612" y="379"/>
                </a:lnTo>
                <a:lnTo>
                  <a:pt x="611" y="379"/>
                </a:lnTo>
                <a:lnTo>
                  <a:pt x="610" y="377"/>
                </a:lnTo>
                <a:lnTo>
                  <a:pt x="612" y="375"/>
                </a:lnTo>
                <a:lnTo>
                  <a:pt x="612" y="374"/>
                </a:lnTo>
                <a:lnTo>
                  <a:pt x="614" y="371"/>
                </a:lnTo>
                <a:lnTo>
                  <a:pt x="614" y="368"/>
                </a:lnTo>
                <a:lnTo>
                  <a:pt x="612" y="368"/>
                </a:lnTo>
                <a:lnTo>
                  <a:pt x="612" y="370"/>
                </a:lnTo>
                <a:lnTo>
                  <a:pt x="611" y="371"/>
                </a:lnTo>
                <a:lnTo>
                  <a:pt x="610" y="374"/>
                </a:lnTo>
                <a:lnTo>
                  <a:pt x="609" y="375"/>
                </a:lnTo>
                <a:lnTo>
                  <a:pt x="609" y="376"/>
                </a:lnTo>
                <a:lnTo>
                  <a:pt x="604" y="376"/>
                </a:lnTo>
                <a:lnTo>
                  <a:pt x="602" y="374"/>
                </a:lnTo>
                <a:lnTo>
                  <a:pt x="600" y="374"/>
                </a:lnTo>
                <a:lnTo>
                  <a:pt x="600" y="376"/>
                </a:lnTo>
                <a:lnTo>
                  <a:pt x="598" y="374"/>
                </a:lnTo>
                <a:lnTo>
                  <a:pt x="597" y="369"/>
                </a:lnTo>
                <a:lnTo>
                  <a:pt x="597" y="368"/>
                </a:lnTo>
                <a:lnTo>
                  <a:pt x="593" y="364"/>
                </a:lnTo>
                <a:lnTo>
                  <a:pt x="591" y="364"/>
                </a:lnTo>
                <a:lnTo>
                  <a:pt x="591" y="363"/>
                </a:lnTo>
                <a:lnTo>
                  <a:pt x="590" y="361"/>
                </a:lnTo>
                <a:lnTo>
                  <a:pt x="589" y="362"/>
                </a:lnTo>
                <a:lnTo>
                  <a:pt x="590" y="363"/>
                </a:lnTo>
                <a:lnTo>
                  <a:pt x="590" y="365"/>
                </a:lnTo>
                <a:lnTo>
                  <a:pt x="587" y="363"/>
                </a:lnTo>
                <a:lnTo>
                  <a:pt x="586" y="361"/>
                </a:lnTo>
                <a:lnTo>
                  <a:pt x="586" y="364"/>
                </a:lnTo>
                <a:lnTo>
                  <a:pt x="587" y="367"/>
                </a:lnTo>
                <a:lnTo>
                  <a:pt x="586" y="367"/>
                </a:lnTo>
                <a:lnTo>
                  <a:pt x="587" y="368"/>
                </a:lnTo>
                <a:lnTo>
                  <a:pt x="587" y="369"/>
                </a:lnTo>
                <a:lnTo>
                  <a:pt x="589" y="370"/>
                </a:lnTo>
                <a:lnTo>
                  <a:pt x="587" y="370"/>
                </a:lnTo>
                <a:lnTo>
                  <a:pt x="586" y="368"/>
                </a:lnTo>
                <a:lnTo>
                  <a:pt x="585" y="368"/>
                </a:lnTo>
                <a:lnTo>
                  <a:pt x="585" y="369"/>
                </a:lnTo>
                <a:lnTo>
                  <a:pt x="587" y="370"/>
                </a:lnTo>
                <a:lnTo>
                  <a:pt x="587" y="371"/>
                </a:lnTo>
                <a:lnTo>
                  <a:pt x="586" y="373"/>
                </a:lnTo>
                <a:lnTo>
                  <a:pt x="585" y="371"/>
                </a:lnTo>
                <a:lnTo>
                  <a:pt x="568" y="358"/>
                </a:lnTo>
                <a:lnTo>
                  <a:pt x="558" y="345"/>
                </a:lnTo>
                <a:lnTo>
                  <a:pt x="556" y="344"/>
                </a:lnTo>
                <a:lnTo>
                  <a:pt x="556" y="342"/>
                </a:lnTo>
                <a:lnTo>
                  <a:pt x="555" y="339"/>
                </a:lnTo>
                <a:lnTo>
                  <a:pt x="556" y="338"/>
                </a:lnTo>
                <a:lnTo>
                  <a:pt x="556" y="336"/>
                </a:lnTo>
                <a:lnTo>
                  <a:pt x="558" y="334"/>
                </a:lnTo>
                <a:lnTo>
                  <a:pt x="561" y="334"/>
                </a:lnTo>
                <a:lnTo>
                  <a:pt x="563" y="333"/>
                </a:lnTo>
                <a:lnTo>
                  <a:pt x="561" y="332"/>
                </a:lnTo>
                <a:lnTo>
                  <a:pt x="556" y="333"/>
                </a:lnTo>
                <a:lnTo>
                  <a:pt x="555" y="333"/>
                </a:lnTo>
                <a:lnTo>
                  <a:pt x="553" y="332"/>
                </a:lnTo>
                <a:lnTo>
                  <a:pt x="549" y="328"/>
                </a:lnTo>
                <a:lnTo>
                  <a:pt x="541" y="328"/>
                </a:lnTo>
                <a:lnTo>
                  <a:pt x="541" y="327"/>
                </a:lnTo>
                <a:lnTo>
                  <a:pt x="538" y="326"/>
                </a:lnTo>
                <a:lnTo>
                  <a:pt x="538" y="325"/>
                </a:lnTo>
                <a:lnTo>
                  <a:pt x="536" y="326"/>
                </a:lnTo>
                <a:lnTo>
                  <a:pt x="535" y="326"/>
                </a:lnTo>
                <a:lnTo>
                  <a:pt x="534" y="327"/>
                </a:lnTo>
                <a:lnTo>
                  <a:pt x="532" y="327"/>
                </a:lnTo>
                <a:lnTo>
                  <a:pt x="530" y="326"/>
                </a:lnTo>
                <a:lnTo>
                  <a:pt x="525" y="327"/>
                </a:lnTo>
                <a:lnTo>
                  <a:pt x="524" y="327"/>
                </a:lnTo>
                <a:lnTo>
                  <a:pt x="519" y="325"/>
                </a:lnTo>
                <a:lnTo>
                  <a:pt x="517" y="325"/>
                </a:lnTo>
                <a:lnTo>
                  <a:pt x="516" y="326"/>
                </a:lnTo>
                <a:lnTo>
                  <a:pt x="519" y="326"/>
                </a:lnTo>
                <a:lnTo>
                  <a:pt x="518" y="327"/>
                </a:lnTo>
                <a:lnTo>
                  <a:pt x="518" y="330"/>
                </a:lnTo>
                <a:lnTo>
                  <a:pt x="527" y="330"/>
                </a:lnTo>
                <a:lnTo>
                  <a:pt x="530" y="328"/>
                </a:lnTo>
                <a:lnTo>
                  <a:pt x="532" y="328"/>
                </a:lnTo>
                <a:lnTo>
                  <a:pt x="534" y="330"/>
                </a:lnTo>
                <a:lnTo>
                  <a:pt x="535" y="332"/>
                </a:lnTo>
                <a:lnTo>
                  <a:pt x="536" y="333"/>
                </a:lnTo>
                <a:lnTo>
                  <a:pt x="537" y="336"/>
                </a:lnTo>
                <a:lnTo>
                  <a:pt x="536" y="334"/>
                </a:lnTo>
                <a:lnTo>
                  <a:pt x="534" y="334"/>
                </a:lnTo>
                <a:lnTo>
                  <a:pt x="535" y="337"/>
                </a:lnTo>
                <a:lnTo>
                  <a:pt x="540" y="337"/>
                </a:lnTo>
                <a:lnTo>
                  <a:pt x="543" y="339"/>
                </a:lnTo>
                <a:lnTo>
                  <a:pt x="544" y="342"/>
                </a:lnTo>
                <a:lnTo>
                  <a:pt x="546" y="343"/>
                </a:lnTo>
                <a:lnTo>
                  <a:pt x="546" y="345"/>
                </a:lnTo>
                <a:lnTo>
                  <a:pt x="544" y="347"/>
                </a:lnTo>
                <a:lnTo>
                  <a:pt x="543" y="349"/>
                </a:lnTo>
                <a:lnTo>
                  <a:pt x="540" y="347"/>
                </a:lnTo>
                <a:lnTo>
                  <a:pt x="538" y="347"/>
                </a:lnTo>
                <a:lnTo>
                  <a:pt x="540" y="349"/>
                </a:lnTo>
                <a:lnTo>
                  <a:pt x="542" y="349"/>
                </a:lnTo>
                <a:lnTo>
                  <a:pt x="543" y="350"/>
                </a:lnTo>
                <a:lnTo>
                  <a:pt x="542" y="350"/>
                </a:lnTo>
                <a:lnTo>
                  <a:pt x="542" y="353"/>
                </a:lnTo>
                <a:lnTo>
                  <a:pt x="540" y="355"/>
                </a:lnTo>
                <a:lnTo>
                  <a:pt x="544" y="355"/>
                </a:lnTo>
                <a:lnTo>
                  <a:pt x="546" y="356"/>
                </a:lnTo>
                <a:lnTo>
                  <a:pt x="547" y="358"/>
                </a:lnTo>
                <a:lnTo>
                  <a:pt x="549" y="359"/>
                </a:lnTo>
                <a:lnTo>
                  <a:pt x="550" y="361"/>
                </a:lnTo>
                <a:lnTo>
                  <a:pt x="550" y="363"/>
                </a:lnTo>
                <a:lnTo>
                  <a:pt x="552" y="364"/>
                </a:lnTo>
                <a:lnTo>
                  <a:pt x="560" y="367"/>
                </a:lnTo>
                <a:lnTo>
                  <a:pt x="561" y="368"/>
                </a:lnTo>
                <a:lnTo>
                  <a:pt x="561" y="371"/>
                </a:lnTo>
                <a:lnTo>
                  <a:pt x="556" y="371"/>
                </a:lnTo>
                <a:lnTo>
                  <a:pt x="554" y="370"/>
                </a:lnTo>
                <a:lnTo>
                  <a:pt x="563" y="376"/>
                </a:lnTo>
                <a:lnTo>
                  <a:pt x="572" y="376"/>
                </a:lnTo>
                <a:lnTo>
                  <a:pt x="578" y="380"/>
                </a:lnTo>
                <a:lnTo>
                  <a:pt x="578" y="382"/>
                </a:lnTo>
                <a:lnTo>
                  <a:pt x="577" y="382"/>
                </a:lnTo>
                <a:lnTo>
                  <a:pt x="574" y="381"/>
                </a:lnTo>
                <a:lnTo>
                  <a:pt x="571" y="380"/>
                </a:lnTo>
                <a:lnTo>
                  <a:pt x="569" y="380"/>
                </a:lnTo>
                <a:lnTo>
                  <a:pt x="568" y="382"/>
                </a:lnTo>
                <a:lnTo>
                  <a:pt x="568" y="385"/>
                </a:lnTo>
                <a:lnTo>
                  <a:pt x="566" y="387"/>
                </a:lnTo>
                <a:lnTo>
                  <a:pt x="565" y="387"/>
                </a:lnTo>
                <a:lnTo>
                  <a:pt x="563" y="386"/>
                </a:lnTo>
                <a:lnTo>
                  <a:pt x="559" y="386"/>
                </a:lnTo>
                <a:lnTo>
                  <a:pt x="560" y="388"/>
                </a:lnTo>
                <a:lnTo>
                  <a:pt x="568" y="388"/>
                </a:lnTo>
                <a:lnTo>
                  <a:pt x="568" y="386"/>
                </a:lnTo>
                <a:lnTo>
                  <a:pt x="573" y="386"/>
                </a:lnTo>
                <a:lnTo>
                  <a:pt x="573" y="383"/>
                </a:lnTo>
                <a:lnTo>
                  <a:pt x="575" y="383"/>
                </a:lnTo>
                <a:lnTo>
                  <a:pt x="583" y="387"/>
                </a:lnTo>
                <a:lnTo>
                  <a:pt x="584" y="388"/>
                </a:lnTo>
                <a:lnTo>
                  <a:pt x="584" y="390"/>
                </a:lnTo>
                <a:lnTo>
                  <a:pt x="585" y="390"/>
                </a:lnTo>
                <a:lnTo>
                  <a:pt x="587" y="393"/>
                </a:lnTo>
                <a:lnTo>
                  <a:pt x="585" y="394"/>
                </a:lnTo>
                <a:lnTo>
                  <a:pt x="572" y="388"/>
                </a:lnTo>
                <a:lnTo>
                  <a:pt x="571" y="389"/>
                </a:lnTo>
                <a:lnTo>
                  <a:pt x="572" y="389"/>
                </a:lnTo>
                <a:lnTo>
                  <a:pt x="572" y="390"/>
                </a:lnTo>
                <a:lnTo>
                  <a:pt x="567" y="390"/>
                </a:lnTo>
                <a:lnTo>
                  <a:pt x="566" y="392"/>
                </a:lnTo>
                <a:lnTo>
                  <a:pt x="563" y="392"/>
                </a:lnTo>
                <a:lnTo>
                  <a:pt x="562" y="393"/>
                </a:lnTo>
                <a:lnTo>
                  <a:pt x="563" y="395"/>
                </a:lnTo>
                <a:lnTo>
                  <a:pt x="568" y="395"/>
                </a:lnTo>
                <a:lnTo>
                  <a:pt x="572" y="393"/>
                </a:lnTo>
                <a:lnTo>
                  <a:pt x="574" y="393"/>
                </a:lnTo>
                <a:lnTo>
                  <a:pt x="577" y="394"/>
                </a:lnTo>
                <a:lnTo>
                  <a:pt x="577" y="395"/>
                </a:lnTo>
                <a:lnTo>
                  <a:pt x="578" y="396"/>
                </a:lnTo>
                <a:lnTo>
                  <a:pt x="578" y="398"/>
                </a:lnTo>
                <a:lnTo>
                  <a:pt x="579" y="399"/>
                </a:lnTo>
                <a:lnTo>
                  <a:pt x="586" y="400"/>
                </a:lnTo>
                <a:lnTo>
                  <a:pt x="587" y="399"/>
                </a:lnTo>
                <a:lnTo>
                  <a:pt x="589" y="396"/>
                </a:lnTo>
                <a:lnTo>
                  <a:pt x="590" y="396"/>
                </a:lnTo>
                <a:lnTo>
                  <a:pt x="591" y="398"/>
                </a:lnTo>
                <a:lnTo>
                  <a:pt x="591" y="400"/>
                </a:lnTo>
                <a:lnTo>
                  <a:pt x="589" y="400"/>
                </a:lnTo>
                <a:lnTo>
                  <a:pt x="591" y="401"/>
                </a:lnTo>
                <a:lnTo>
                  <a:pt x="594" y="402"/>
                </a:lnTo>
                <a:lnTo>
                  <a:pt x="596" y="404"/>
                </a:lnTo>
                <a:lnTo>
                  <a:pt x="593" y="405"/>
                </a:lnTo>
                <a:lnTo>
                  <a:pt x="589" y="405"/>
                </a:lnTo>
                <a:lnTo>
                  <a:pt x="586" y="406"/>
                </a:lnTo>
                <a:lnTo>
                  <a:pt x="587" y="407"/>
                </a:lnTo>
                <a:lnTo>
                  <a:pt x="591" y="410"/>
                </a:lnTo>
                <a:lnTo>
                  <a:pt x="593" y="411"/>
                </a:lnTo>
                <a:lnTo>
                  <a:pt x="591" y="413"/>
                </a:lnTo>
                <a:lnTo>
                  <a:pt x="584" y="412"/>
                </a:lnTo>
                <a:lnTo>
                  <a:pt x="580" y="413"/>
                </a:lnTo>
                <a:lnTo>
                  <a:pt x="579" y="413"/>
                </a:lnTo>
                <a:lnTo>
                  <a:pt x="578" y="416"/>
                </a:lnTo>
                <a:lnTo>
                  <a:pt x="585" y="416"/>
                </a:lnTo>
                <a:lnTo>
                  <a:pt x="590" y="414"/>
                </a:lnTo>
                <a:lnTo>
                  <a:pt x="591" y="416"/>
                </a:lnTo>
                <a:lnTo>
                  <a:pt x="591" y="417"/>
                </a:lnTo>
                <a:lnTo>
                  <a:pt x="600" y="420"/>
                </a:lnTo>
                <a:lnTo>
                  <a:pt x="602" y="422"/>
                </a:lnTo>
                <a:lnTo>
                  <a:pt x="602" y="425"/>
                </a:lnTo>
                <a:lnTo>
                  <a:pt x="603" y="424"/>
                </a:lnTo>
                <a:lnTo>
                  <a:pt x="604" y="424"/>
                </a:lnTo>
                <a:lnTo>
                  <a:pt x="604" y="423"/>
                </a:lnTo>
                <a:lnTo>
                  <a:pt x="611" y="423"/>
                </a:lnTo>
                <a:lnTo>
                  <a:pt x="611" y="424"/>
                </a:lnTo>
                <a:lnTo>
                  <a:pt x="612" y="425"/>
                </a:lnTo>
                <a:lnTo>
                  <a:pt x="614" y="425"/>
                </a:lnTo>
                <a:lnTo>
                  <a:pt x="614" y="426"/>
                </a:lnTo>
                <a:lnTo>
                  <a:pt x="612" y="428"/>
                </a:lnTo>
                <a:lnTo>
                  <a:pt x="612" y="429"/>
                </a:lnTo>
                <a:lnTo>
                  <a:pt x="614" y="429"/>
                </a:lnTo>
                <a:lnTo>
                  <a:pt x="616" y="430"/>
                </a:lnTo>
                <a:lnTo>
                  <a:pt x="617" y="431"/>
                </a:lnTo>
                <a:lnTo>
                  <a:pt x="621" y="431"/>
                </a:lnTo>
                <a:lnTo>
                  <a:pt x="628" y="437"/>
                </a:lnTo>
                <a:lnTo>
                  <a:pt x="629" y="439"/>
                </a:lnTo>
                <a:lnTo>
                  <a:pt x="629" y="438"/>
                </a:lnTo>
                <a:lnTo>
                  <a:pt x="630" y="439"/>
                </a:lnTo>
                <a:lnTo>
                  <a:pt x="630" y="442"/>
                </a:lnTo>
                <a:lnTo>
                  <a:pt x="633" y="443"/>
                </a:lnTo>
                <a:lnTo>
                  <a:pt x="634" y="445"/>
                </a:lnTo>
                <a:lnTo>
                  <a:pt x="635" y="447"/>
                </a:lnTo>
                <a:lnTo>
                  <a:pt x="636" y="449"/>
                </a:lnTo>
                <a:lnTo>
                  <a:pt x="637" y="450"/>
                </a:lnTo>
                <a:lnTo>
                  <a:pt x="636" y="451"/>
                </a:lnTo>
                <a:lnTo>
                  <a:pt x="636" y="453"/>
                </a:lnTo>
                <a:lnTo>
                  <a:pt x="634" y="454"/>
                </a:lnTo>
                <a:lnTo>
                  <a:pt x="635" y="454"/>
                </a:lnTo>
                <a:lnTo>
                  <a:pt x="635" y="455"/>
                </a:lnTo>
                <a:lnTo>
                  <a:pt x="636" y="456"/>
                </a:lnTo>
                <a:lnTo>
                  <a:pt x="636" y="459"/>
                </a:lnTo>
                <a:lnTo>
                  <a:pt x="637" y="459"/>
                </a:lnTo>
                <a:lnTo>
                  <a:pt x="639" y="457"/>
                </a:lnTo>
                <a:lnTo>
                  <a:pt x="640" y="457"/>
                </a:lnTo>
                <a:lnTo>
                  <a:pt x="640" y="459"/>
                </a:lnTo>
                <a:lnTo>
                  <a:pt x="642" y="459"/>
                </a:lnTo>
                <a:lnTo>
                  <a:pt x="642" y="460"/>
                </a:lnTo>
                <a:lnTo>
                  <a:pt x="643" y="461"/>
                </a:lnTo>
                <a:lnTo>
                  <a:pt x="642" y="462"/>
                </a:lnTo>
                <a:lnTo>
                  <a:pt x="641" y="465"/>
                </a:lnTo>
                <a:lnTo>
                  <a:pt x="642" y="467"/>
                </a:lnTo>
                <a:lnTo>
                  <a:pt x="645" y="466"/>
                </a:lnTo>
                <a:lnTo>
                  <a:pt x="645" y="469"/>
                </a:lnTo>
                <a:lnTo>
                  <a:pt x="643" y="471"/>
                </a:lnTo>
                <a:lnTo>
                  <a:pt x="643" y="473"/>
                </a:lnTo>
                <a:lnTo>
                  <a:pt x="647" y="476"/>
                </a:lnTo>
                <a:lnTo>
                  <a:pt x="647" y="478"/>
                </a:lnTo>
                <a:lnTo>
                  <a:pt x="646" y="479"/>
                </a:lnTo>
                <a:lnTo>
                  <a:pt x="645" y="479"/>
                </a:lnTo>
                <a:lnTo>
                  <a:pt x="639" y="472"/>
                </a:lnTo>
                <a:lnTo>
                  <a:pt x="635" y="468"/>
                </a:lnTo>
                <a:lnTo>
                  <a:pt x="635" y="473"/>
                </a:lnTo>
                <a:lnTo>
                  <a:pt x="636" y="476"/>
                </a:lnTo>
                <a:lnTo>
                  <a:pt x="635" y="476"/>
                </a:lnTo>
                <a:lnTo>
                  <a:pt x="636" y="478"/>
                </a:lnTo>
                <a:lnTo>
                  <a:pt x="639" y="478"/>
                </a:lnTo>
                <a:lnTo>
                  <a:pt x="639" y="479"/>
                </a:lnTo>
                <a:lnTo>
                  <a:pt x="636" y="481"/>
                </a:lnTo>
                <a:lnTo>
                  <a:pt x="636" y="482"/>
                </a:lnTo>
                <a:lnTo>
                  <a:pt x="637" y="482"/>
                </a:lnTo>
                <a:lnTo>
                  <a:pt x="637" y="484"/>
                </a:lnTo>
                <a:lnTo>
                  <a:pt x="639" y="486"/>
                </a:lnTo>
                <a:lnTo>
                  <a:pt x="639" y="488"/>
                </a:lnTo>
                <a:lnTo>
                  <a:pt x="640" y="490"/>
                </a:lnTo>
                <a:lnTo>
                  <a:pt x="637" y="492"/>
                </a:lnTo>
                <a:lnTo>
                  <a:pt x="637" y="496"/>
                </a:lnTo>
                <a:lnTo>
                  <a:pt x="636" y="498"/>
                </a:lnTo>
                <a:lnTo>
                  <a:pt x="634" y="499"/>
                </a:lnTo>
                <a:lnTo>
                  <a:pt x="633" y="502"/>
                </a:lnTo>
                <a:lnTo>
                  <a:pt x="635" y="502"/>
                </a:lnTo>
                <a:lnTo>
                  <a:pt x="635" y="505"/>
                </a:lnTo>
                <a:lnTo>
                  <a:pt x="634" y="505"/>
                </a:lnTo>
                <a:lnTo>
                  <a:pt x="629" y="504"/>
                </a:lnTo>
                <a:lnTo>
                  <a:pt x="627" y="506"/>
                </a:lnTo>
                <a:lnTo>
                  <a:pt x="628" y="509"/>
                </a:lnTo>
                <a:lnTo>
                  <a:pt x="627" y="510"/>
                </a:lnTo>
                <a:lnTo>
                  <a:pt x="627" y="509"/>
                </a:lnTo>
                <a:lnTo>
                  <a:pt x="625" y="509"/>
                </a:lnTo>
                <a:lnTo>
                  <a:pt x="624" y="508"/>
                </a:lnTo>
                <a:lnTo>
                  <a:pt x="623" y="509"/>
                </a:lnTo>
                <a:lnTo>
                  <a:pt x="622" y="509"/>
                </a:lnTo>
                <a:lnTo>
                  <a:pt x="622" y="510"/>
                </a:lnTo>
                <a:lnTo>
                  <a:pt x="623" y="510"/>
                </a:lnTo>
                <a:lnTo>
                  <a:pt x="622" y="511"/>
                </a:lnTo>
                <a:lnTo>
                  <a:pt x="619" y="510"/>
                </a:lnTo>
                <a:lnTo>
                  <a:pt x="619" y="511"/>
                </a:lnTo>
                <a:lnTo>
                  <a:pt x="625" y="514"/>
                </a:lnTo>
                <a:lnTo>
                  <a:pt x="627" y="516"/>
                </a:lnTo>
                <a:lnTo>
                  <a:pt x="627" y="517"/>
                </a:lnTo>
                <a:lnTo>
                  <a:pt x="625" y="518"/>
                </a:lnTo>
                <a:lnTo>
                  <a:pt x="627" y="522"/>
                </a:lnTo>
                <a:lnTo>
                  <a:pt x="628" y="523"/>
                </a:lnTo>
                <a:lnTo>
                  <a:pt x="629" y="523"/>
                </a:lnTo>
                <a:lnTo>
                  <a:pt x="629" y="524"/>
                </a:lnTo>
                <a:lnTo>
                  <a:pt x="630" y="525"/>
                </a:lnTo>
                <a:lnTo>
                  <a:pt x="633" y="525"/>
                </a:lnTo>
                <a:lnTo>
                  <a:pt x="634" y="527"/>
                </a:lnTo>
                <a:lnTo>
                  <a:pt x="631" y="528"/>
                </a:lnTo>
                <a:lnTo>
                  <a:pt x="634" y="528"/>
                </a:lnTo>
                <a:lnTo>
                  <a:pt x="635" y="530"/>
                </a:lnTo>
                <a:lnTo>
                  <a:pt x="635" y="533"/>
                </a:lnTo>
                <a:lnTo>
                  <a:pt x="633" y="533"/>
                </a:lnTo>
                <a:lnTo>
                  <a:pt x="635" y="535"/>
                </a:lnTo>
                <a:lnTo>
                  <a:pt x="635" y="539"/>
                </a:lnTo>
                <a:lnTo>
                  <a:pt x="639" y="540"/>
                </a:lnTo>
                <a:lnTo>
                  <a:pt x="639" y="542"/>
                </a:lnTo>
                <a:lnTo>
                  <a:pt x="637" y="543"/>
                </a:lnTo>
                <a:lnTo>
                  <a:pt x="640" y="546"/>
                </a:lnTo>
                <a:lnTo>
                  <a:pt x="641" y="546"/>
                </a:lnTo>
                <a:lnTo>
                  <a:pt x="640" y="548"/>
                </a:lnTo>
                <a:lnTo>
                  <a:pt x="639" y="549"/>
                </a:lnTo>
                <a:lnTo>
                  <a:pt x="637" y="549"/>
                </a:lnTo>
                <a:lnTo>
                  <a:pt x="636" y="551"/>
                </a:lnTo>
                <a:lnTo>
                  <a:pt x="636" y="553"/>
                </a:lnTo>
                <a:lnTo>
                  <a:pt x="637" y="553"/>
                </a:lnTo>
                <a:lnTo>
                  <a:pt x="640" y="554"/>
                </a:lnTo>
                <a:lnTo>
                  <a:pt x="641" y="555"/>
                </a:lnTo>
                <a:lnTo>
                  <a:pt x="642" y="558"/>
                </a:lnTo>
                <a:lnTo>
                  <a:pt x="642" y="559"/>
                </a:lnTo>
                <a:lnTo>
                  <a:pt x="643" y="559"/>
                </a:lnTo>
                <a:lnTo>
                  <a:pt x="643" y="562"/>
                </a:lnTo>
                <a:lnTo>
                  <a:pt x="645" y="562"/>
                </a:lnTo>
                <a:lnTo>
                  <a:pt x="645" y="564"/>
                </a:lnTo>
                <a:lnTo>
                  <a:pt x="646" y="565"/>
                </a:lnTo>
                <a:lnTo>
                  <a:pt x="646" y="566"/>
                </a:lnTo>
                <a:lnTo>
                  <a:pt x="645" y="567"/>
                </a:lnTo>
                <a:lnTo>
                  <a:pt x="643" y="570"/>
                </a:lnTo>
                <a:lnTo>
                  <a:pt x="642" y="571"/>
                </a:lnTo>
                <a:lnTo>
                  <a:pt x="640" y="572"/>
                </a:lnTo>
                <a:lnTo>
                  <a:pt x="639" y="573"/>
                </a:lnTo>
                <a:lnTo>
                  <a:pt x="640" y="574"/>
                </a:lnTo>
                <a:lnTo>
                  <a:pt x="643" y="574"/>
                </a:lnTo>
                <a:lnTo>
                  <a:pt x="646" y="573"/>
                </a:lnTo>
                <a:lnTo>
                  <a:pt x="648" y="573"/>
                </a:lnTo>
                <a:lnTo>
                  <a:pt x="649" y="576"/>
                </a:lnTo>
                <a:lnTo>
                  <a:pt x="647" y="578"/>
                </a:lnTo>
                <a:lnTo>
                  <a:pt x="643" y="578"/>
                </a:lnTo>
                <a:lnTo>
                  <a:pt x="642" y="579"/>
                </a:lnTo>
                <a:lnTo>
                  <a:pt x="642" y="580"/>
                </a:lnTo>
                <a:lnTo>
                  <a:pt x="641" y="580"/>
                </a:lnTo>
                <a:lnTo>
                  <a:pt x="645" y="584"/>
                </a:lnTo>
                <a:lnTo>
                  <a:pt x="646" y="586"/>
                </a:lnTo>
                <a:lnTo>
                  <a:pt x="648" y="589"/>
                </a:lnTo>
                <a:lnTo>
                  <a:pt x="646" y="591"/>
                </a:lnTo>
                <a:lnTo>
                  <a:pt x="643" y="592"/>
                </a:lnTo>
                <a:lnTo>
                  <a:pt x="641" y="595"/>
                </a:lnTo>
                <a:lnTo>
                  <a:pt x="639" y="594"/>
                </a:lnTo>
                <a:lnTo>
                  <a:pt x="637" y="595"/>
                </a:lnTo>
                <a:lnTo>
                  <a:pt x="640" y="595"/>
                </a:lnTo>
                <a:lnTo>
                  <a:pt x="640" y="596"/>
                </a:lnTo>
                <a:lnTo>
                  <a:pt x="642" y="597"/>
                </a:lnTo>
                <a:lnTo>
                  <a:pt x="646" y="597"/>
                </a:lnTo>
                <a:lnTo>
                  <a:pt x="647" y="599"/>
                </a:lnTo>
                <a:lnTo>
                  <a:pt x="649" y="601"/>
                </a:lnTo>
                <a:lnTo>
                  <a:pt x="648" y="603"/>
                </a:lnTo>
                <a:lnTo>
                  <a:pt x="647" y="604"/>
                </a:lnTo>
                <a:lnTo>
                  <a:pt x="649" y="608"/>
                </a:lnTo>
                <a:lnTo>
                  <a:pt x="650" y="608"/>
                </a:lnTo>
                <a:lnTo>
                  <a:pt x="654" y="609"/>
                </a:lnTo>
                <a:lnTo>
                  <a:pt x="654" y="610"/>
                </a:lnTo>
                <a:lnTo>
                  <a:pt x="655" y="611"/>
                </a:lnTo>
                <a:lnTo>
                  <a:pt x="660" y="611"/>
                </a:lnTo>
                <a:lnTo>
                  <a:pt x="662" y="614"/>
                </a:lnTo>
                <a:lnTo>
                  <a:pt x="661" y="615"/>
                </a:lnTo>
                <a:lnTo>
                  <a:pt x="662" y="616"/>
                </a:lnTo>
                <a:lnTo>
                  <a:pt x="662" y="619"/>
                </a:lnTo>
                <a:lnTo>
                  <a:pt x="664" y="620"/>
                </a:lnTo>
                <a:lnTo>
                  <a:pt x="666" y="621"/>
                </a:lnTo>
                <a:lnTo>
                  <a:pt x="668" y="619"/>
                </a:lnTo>
                <a:lnTo>
                  <a:pt x="671" y="617"/>
                </a:lnTo>
                <a:lnTo>
                  <a:pt x="673" y="617"/>
                </a:lnTo>
                <a:lnTo>
                  <a:pt x="674" y="615"/>
                </a:lnTo>
                <a:lnTo>
                  <a:pt x="674" y="613"/>
                </a:lnTo>
                <a:lnTo>
                  <a:pt x="673" y="611"/>
                </a:lnTo>
                <a:lnTo>
                  <a:pt x="673" y="610"/>
                </a:lnTo>
                <a:lnTo>
                  <a:pt x="672" y="609"/>
                </a:lnTo>
                <a:lnTo>
                  <a:pt x="673" y="609"/>
                </a:lnTo>
                <a:lnTo>
                  <a:pt x="676" y="611"/>
                </a:lnTo>
                <a:lnTo>
                  <a:pt x="679" y="614"/>
                </a:lnTo>
                <a:lnTo>
                  <a:pt x="683" y="615"/>
                </a:lnTo>
                <a:lnTo>
                  <a:pt x="685" y="617"/>
                </a:lnTo>
                <a:lnTo>
                  <a:pt x="686" y="620"/>
                </a:lnTo>
                <a:lnTo>
                  <a:pt x="686" y="623"/>
                </a:lnTo>
                <a:lnTo>
                  <a:pt x="689" y="626"/>
                </a:lnTo>
                <a:lnTo>
                  <a:pt x="690" y="628"/>
                </a:lnTo>
                <a:lnTo>
                  <a:pt x="690" y="629"/>
                </a:lnTo>
                <a:lnTo>
                  <a:pt x="691" y="629"/>
                </a:lnTo>
                <a:lnTo>
                  <a:pt x="693" y="627"/>
                </a:lnTo>
                <a:lnTo>
                  <a:pt x="698" y="632"/>
                </a:lnTo>
                <a:lnTo>
                  <a:pt x="698" y="634"/>
                </a:lnTo>
                <a:lnTo>
                  <a:pt x="701" y="635"/>
                </a:lnTo>
                <a:lnTo>
                  <a:pt x="701" y="638"/>
                </a:lnTo>
                <a:lnTo>
                  <a:pt x="699" y="639"/>
                </a:lnTo>
                <a:lnTo>
                  <a:pt x="701" y="641"/>
                </a:lnTo>
                <a:lnTo>
                  <a:pt x="703" y="644"/>
                </a:lnTo>
                <a:lnTo>
                  <a:pt x="702" y="645"/>
                </a:lnTo>
                <a:lnTo>
                  <a:pt x="702" y="646"/>
                </a:lnTo>
                <a:lnTo>
                  <a:pt x="703" y="647"/>
                </a:lnTo>
                <a:lnTo>
                  <a:pt x="707" y="648"/>
                </a:lnTo>
                <a:lnTo>
                  <a:pt x="709" y="648"/>
                </a:lnTo>
                <a:lnTo>
                  <a:pt x="711" y="651"/>
                </a:lnTo>
                <a:lnTo>
                  <a:pt x="715" y="651"/>
                </a:lnTo>
                <a:lnTo>
                  <a:pt x="715" y="652"/>
                </a:lnTo>
                <a:lnTo>
                  <a:pt x="717" y="653"/>
                </a:lnTo>
                <a:lnTo>
                  <a:pt x="718" y="653"/>
                </a:lnTo>
                <a:lnTo>
                  <a:pt x="720" y="656"/>
                </a:lnTo>
                <a:lnTo>
                  <a:pt x="721" y="656"/>
                </a:lnTo>
                <a:lnTo>
                  <a:pt x="723" y="654"/>
                </a:lnTo>
                <a:lnTo>
                  <a:pt x="724" y="654"/>
                </a:lnTo>
                <a:lnTo>
                  <a:pt x="724" y="656"/>
                </a:lnTo>
                <a:lnTo>
                  <a:pt x="726" y="657"/>
                </a:lnTo>
                <a:lnTo>
                  <a:pt x="728" y="657"/>
                </a:lnTo>
                <a:lnTo>
                  <a:pt x="729" y="656"/>
                </a:lnTo>
                <a:lnTo>
                  <a:pt x="732" y="656"/>
                </a:lnTo>
                <a:lnTo>
                  <a:pt x="733" y="658"/>
                </a:lnTo>
                <a:lnTo>
                  <a:pt x="734" y="658"/>
                </a:lnTo>
                <a:lnTo>
                  <a:pt x="740" y="659"/>
                </a:lnTo>
                <a:lnTo>
                  <a:pt x="741" y="659"/>
                </a:lnTo>
                <a:lnTo>
                  <a:pt x="742" y="660"/>
                </a:lnTo>
                <a:lnTo>
                  <a:pt x="743" y="663"/>
                </a:lnTo>
                <a:lnTo>
                  <a:pt x="743" y="664"/>
                </a:lnTo>
                <a:lnTo>
                  <a:pt x="746" y="666"/>
                </a:lnTo>
                <a:lnTo>
                  <a:pt x="752" y="669"/>
                </a:lnTo>
                <a:lnTo>
                  <a:pt x="759" y="666"/>
                </a:lnTo>
                <a:lnTo>
                  <a:pt x="759" y="660"/>
                </a:lnTo>
                <a:lnTo>
                  <a:pt x="761" y="658"/>
                </a:lnTo>
                <a:lnTo>
                  <a:pt x="768" y="658"/>
                </a:lnTo>
                <a:lnTo>
                  <a:pt x="770" y="657"/>
                </a:lnTo>
                <a:lnTo>
                  <a:pt x="773" y="654"/>
                </a:lnTo>
                <a:lnTo>
                  <a:pt x="774" y="653"/>
                </a:lnTo>
                <a:lnTo>
                  <a:pt x="776" y="653"/>
                </a:lnTo>
                <a:lnTo>
                  <a:pt x="778" y="647"/>
                </a:lnTo>
                <a:lnTo>
                  <a:pt x="779" y="645"/>
                </a:lnTo>
                <a:lnTo>
                  <a:pt x="779" y="642"/>
                </a:lnTo>
                <a:lnTo>
                  <a:pt x="777" y="634"/>
                </a:lnTo>
                <a:lnTo>
                  <a:pt x="777" y="633"/>
                </a:lnTo>
                <a:lnTo>
                  <a:pt x="773" y="629"/>
                </a:lnTo>
                <a:lnTo>
                  <a:pt x="772" y="627"/>
                </a:lnTo>
                <a:lnTo>
                  <a:pt x="771" y="626"/>
                </a:lnTo>
                <a:lnTo>
                  <a:pt x="772" y="623"/>
                </a:lnTo>
                <a:lnTo>
                  <a:pt x="776" y="622"/>
                </a:lnTo>
                <a:lnTo>
                  <a:pt x="777" y="620"/>
                </a:lnTo>
                <a:lnTo>
                  <a:pt x="776" y="619"/>
                </a:lnTo>
                <a:lnTo>
                  <a:pt x="776" y="617"/>
                </a:lnTo>
                <a:lnTo>
                  <a:pt x="773" y="617"/>
                </a:lnTo>
                <a:lnTo>
                  <a:pt x="771" y="615"/>
                </a:lnTo>
                <a:lnTo>
                  <a:pt x="772" y="614"/>
                </a:lnTo>
                <a:lnTo>
                  <a:pt x="768" y="614"/>
                </a:lnTo>
                <a:lnTo>
                  <a:pt x="766" y="611"/>
                </a:lnTo>
                <a:lnTo>
                  <a:pt x="767" y="608"/>
                </a:lnTo>
                <a:lnTo>
                  <a:pt x="765" y="605"/>
                </a:lnTo>
                <a:lnTo>
                  <a:pt x="763" y="607"/>
                </a:lnTo>
                <a:lnTo>
                  <a:pt x="760" y="609"/>
                </a:lnTo>
                <a:lnTo>
                  <a:pt x="760" y="611"/>
                </a:lnTo>
                <a:lnTo>
                  <a:pt x="753" y="611"/>
                </a:lnTo>
                <a:lnTo>
                  <a:pt x="749" y="614"/>
                </a:lnTo>
                <a:lnTo>
                  <a:pt x="747" y="615"/>
                </a:lnTo>
                <a:lnTo>
                  <a:pt x="745" y="614"/>
                </a:lnTo>
                <a:lnTo>
                  <a:pt x="739" y="610"/>
                </a:lnTo>
                <a:lnTo>
                  <a:pt x="735" y="605"/>
                </a:lnTo>
                <a:lnTo>
                  <a:pt x="726" y="591"/>
                </a:lnTo>
                <a:lnTo>
                  <a:pt x="724" y="586"/>
                </a:lnTo>
                <a:lnTo>
                  <a:pt x="722" y="582"/>
                </a:lnTo>
                <a:lnTo>
                  <a:pt x="718" y="578"/>
                </a:lnTo>
                <a:lnTo>
                  <a:pt x="715" y="578"/>
                </a:lnTo>
                <a:lnTo>
                  <a:pt x="712" y="573"/>
                </a:lnTo>
                <a:lnTo>
                  <a:pt x="714" y="571"/>
                </a:lnTo>
                <a:lnTo>
                  <a:pt x="712" y="570"/>
                </a:lnTo>
                <a:lnTo>
                  <a:pt x="712" y="567"/>
                </a:lnTo>
                <a:lnTo>
                  <a:pt x="714" y="568"/>
                </a:lnTo>
                <a:lnTo>
                  <a:pt x="715" y="567"/>
                </a:lnTo>
                <a:lnTo>
                  <a:pt x="711" y="565"/>
                </a:lnTo>
                <a:lnTo>
                  <a:pt x="711" y="564"/>
                </a:lnTo>
                <a:lnTo>
                  <a:pt x="709" y="559"/>
                </a:lnTo>
                <a:lnTo>
                  <a:pt x="710" y="557"/>
                </a:lnTo>
                <a:lnTo>
                  <a:pt x="714" y="558"/>
                </a:lnTo>
                <a:lnTo>
                  <a:pt x="715" y="560"/>
                </a:lnTo>
                <a:lnTo>
                  <a:pt x="717" y="560"/>
                </a:lnTo>
                <a:lnTo>
                  <a:pt x="718" y="558"/>
                </a:lnTo>
                <a:lnTo>
                  <a:pt x="720" y="557"/>
                </a:lnTo>
                <a:lnTo>
                  <a:pt x="723" y="555"/>
                </a:lnTo>
                <a:lnTo>
                  <a:pt x="726" y="553"/>
                </a:lnTo>
                <a:lnTo>
                  <a:pt x="724" y="551"/>
                </a:lnTo>
                <a:lnTo>
                  <a:pt x="726" y="548"/>
                </a:lnTo>
                <a:lnTo>
                  <a:pt x="726" y="547"/>
                </a:lnTo>
                <a:lnTo>
                  <a:pt x="727" y="545"/>
                </a:lnTo>
                <a:lnTo>
                  <a:pt x="728" y="543"/>
                </a:lnTo>
                <a:lnTo>
                  <a:pt x="727" y="539"/>
                </a:lnTo>
                <a:lnTo>
                  <a:pt x="726" y="537"/>
                </a:lnTo>
                <a:lnTo>
                  <a:pt x="726" y="536"/>
                </a:lnTo>
                <a:lnTo>
                  <a:pt x="729" y="535"/>
                </a:lnTo>
                <a:lnTo>
                  <a:pt x="730" y="535"/>
                </a:lnTo>
                <a:lnTo>
                  <a:pt x="732" y="534"/>
                </a:lnTo>
                <a:lnTo>
                  <a:pt x="734" y="533"/>
                </a:lnTo>
                <a:lnTo>
                  <a:pt x="735" y="534"/>
                </a:lnTo>
                <a:lnTo>
                  <a:pt x="742" y="536"/>
                </a:lnTo>
                <a:lnTo>
                  <a:pt x="749" y="540"/>
                </a:lnTo>
                <a:lnTo>
                  <a:pt x="754" y="543"/>
                </a:lnTo>
                <a:lnTo>
                  <a:pt x="757" y="546"/>
                </a:lnTo>
                <a:lnTo>
                  <a:pt x="759" y="546"/>
                </a:lnTo>
                <a:lnTo>
                  <a:pt x="761" y="547"/>
                </a:lnTo>
                <a:lnTo>
                  <a:pt x="763" y="548"/>
                </a:lnTo>
                <a:lnTo>
                  <a:pt x="764" y="551"/>
                </a:lnTo>
                <a:lnTo>
                  <a:pt x="763" y="553"/>
                </a:lnTo>
                <a:lnTo>
                  <a:pt x="764" y="554"/>
                </a:lnTo>
                <a:lnTo>
                  <a:pt x="766" y="559"/>
                </a:lnTo>
                <a:lnTo>
                  <a:pt x="777" y="565"/>
                </a:lnTo>
                <a:lnTo>
                  <a:pt x="782" y="566"/>
                </a:lnTo>
                <a:lnTo>
                  <a:pt x="786" y="566"/>
                </a:lnTo>
                <a:lnTo>
                  <a:pt x="790" y="565"/>
                </a:lnTo>
                <a:lnTo>
                  <a:pt x="791" y="566"/>
                </a:lnTo>
                <a:lnTo>
                  <a:pt x="791" y="571"/>
                </a:lnTo>
                <a:lnTo>
                  <a:pt x="792" y="572"/>
                </a:lnTo>
                <a:lnTo>
                  <a:pt x="792" y="573"/>
                </a:lnTo>
                <a:lnTo>
                  <a:pt x="791" y="572"/>
                </a:lnTo>
                <a:lnTo>
                  <a:pt x="789" y="571"/>
                </a:lnTo>
                <a:lnTo>
                  <a:pt x="788" y="570"/>
                </a:lnTo>
                <a:lnTo>
                  <a:pt x="786" y="572"/>
                </a:lnTo>
                <a:lnTo>
                  <a:pt x="778" y="572"/>
                </a:lnTo>
                <a:lnTo>
                  <a:pt x="777" y="574"/>
                </a:lnTo>
                <a:lnTo>
                  <a:pt x="777" y="576"/>
                </a:lnTo>
                <a:lnTo>
                  <a:pt x="780" y="580"/>
                </a:lnTo>
                <a:lnTo>
                  <a:pt x="780" y="582"/>
                </a:lnTo>
                <a:lnTo>
                  <a:pt x="779" y="583"/>
                </a:lnTo>
                <a:lnTo>
                  <a:pt x="777" y="584"/>
                </a:lnTo>
                <a:lnTo>
                  <a:pt x="777" y="585"/>
                </a:lnTo>
                <a:lnTo>
                  <a:pt x="778" y="586"/>
                </a:lnTo>
                <a:lnTo>
                  <a:pt x="778" y="585"/>
                </a:lnTo>
                <a:lnTo>
                  <a:pt x="779" y="585"/>
                </a:lnTo>
                <a:lnTo>
                  <a:pt x="780" y="584"/>
                </a:lnTo>
                <a:lnTo>
                  <a:pt x="782" y="584"/>
                </a:lnTo>
                <a:lnTo>
                  <a:pt x="782" y="583"/>
                </a:lnTo>
                <a:lnTo>
                  <a:pt x="783" y="582"/>
                </a:lnTo>
                <a:lnTo>
                  <a:pt x="783" y="578"/>
                </a:lnTo>
                <a:lnTo>
                  <a:pt x="785" y="578"/>
                </a:lnTo>
                <a:lnTo>
                  <a:pt x="786" y="577"/>
                </a:lnTo>
                <a:lnTo>
                  <a:pt x="790" y="574"/>
                </a:lnTo>
                <a:lnTo>
                  <a:pt x="791" y="574"/>
                </a:lnTo>
                <a:lnTo>
                  <a:pt x="794" y="576"/>
                </a:lnTo>
                <a:lnTo>
                  <a:pt x="795" y="576"/>
                </a:lnTo>
                <a:lnTo>
                  <a:pt x="796" y="573"/>
                </a:lnTo>
                <a:lnTo>
                  <a:pt x="792" y="570"/>
                </a:lnTo>
                <a:lnTo>
                  <a:pt x="792" y="568"/>
                </a:lnTo>
                <a:lnTo>
                  <a:pt x="794" y="568"/>
                </a:lnTo>
                <a:lnTo>
                  <a:pt x="797" y="572"/>
                </a:lnTo>
                <a:lnTo>
                  <a:pt x="802" y="573"/>
                </a:lnTo>
                <a:lnTo>
                  <a:pt x="807" y="576"/>
                </a:lnTo>
                <a:lnTo>
                  <a:pt x="813" y="576"/>
                </a:lnTo>
                <a:lnTo>
                  <a:pt x="814" y="577"/>
                </a:lnTo>
                <a:lnTo>
                  <a:pt x="820" y="580"/>
                </a:lnTo>
                <a:lnTo>
                  <a:pt x="823" y="584"/>
                </a:lnTo>
                <a:lnTo>
                  <a:pt x="828" y="585"/>
                </a:lnTo>
                <a:lnTo>
                  <a:pt x="830" y="585"/>
                </a:lnTo>
                <a:lnTo>
                  <a:pt x="832" y="586"/>
                </a:lnTo>
                <a:lnTo>
                  <a:pt x="832" y="588"/>
                </a:lnTo>
                <a:lnTo>
                  <a:pt x="836" y="592"/>
                </a:lnTo>
                <a:lnTo>
                  <a:pt x="841" y="596"/>
                </a:lnTo>
                <a:lnTo>
                  <a:pt x="848" y="595"/>
                </a:lnTo>
                <a:lnTo>
                  <a:pt x="850" y="594"/>
                </a:lnTo>
                <a:lnTo>
                  <a:pt x="848" y="592"/>
                </a:lnTo>
                <a:lnTo>
                  <a:pt x="850" y="592"/>
                </a:lnTo>
                <a:lnTo>
                  <a:pt x="852" y="591"/>
                </a:lnTo>
                <a:lnTo>
                  <a:pt x="853" y="591"/>
                </a:lnTo>
                <a:lnTo>
                  <a:pt x="855" y="590"/>
                </a:lnTo>
                <a:lnTo>
                  <a:pt x="857" y="590"/>
                </a:lnTo>
                <a:lnTo>
                  <a:pt x="855" y="588"/>
                </a:lnTo>
                <a:lnTo>
                  <a:pt x="854" y="589"/>
                </a:lnTo>
                <a:lnTo>
                  <a:pt x="852" y="590"/>
                </a:lnTo>
                <a:lnTo>
                  <a:pt x="851" y="590"/>
                </a:lnTo>
                <a:lnTo>
                  <a:pt x="851" y="589"/>
                </a:lnTo>
                <a:lnTo>
                  <a:pt x="852" y="584"/>
                </a:lnTo>
                <a:lnTo>
                  <a:pt x="852" y="583"/>
                </a:lnTo>
                <a:lnTo>
                  <a:pt x="855" y="583"/>
                </a:lnTo>
                <a:lnTo>
                  <a:pt x="854" y="582"/>
                </a:lnTo>
                <a:lnTo>
                  <a:pt x="853" y="582"/>
                </a:lnTo>
                <a:lnTo>
                  <a:pt x="853" y="580"/>
                </a:lnTo>
                <a:lnTo>
                  <a:pt x="855" y="579"/>
                </a:lnTo>
                <a:lnTo>
                  <a:pt x="859" y="578"/>
                </a:lnTo>
                <a:lnTo>
                  <a:pt x="861" y="580"/>
                </a:lnTo>
                <a:lnTo>
                  <a:pt x="863" y="580"/>
                </a:lnTo>
                <a:lnTo>
                  <a:pt x="866" y="579"/>
                </a:lnTo>
                <a:lnTo>
                  <a:pt x="867" y="579"/>
                </a:lnTo>
                <a:lnTo>
                  <a:pt x="870" y="580"/>
                </a:lnTo>
                <a:lnTo>
                  <a:pt x="870" y="582"/>
                </a:lnTo>
                <a:lnTo>
                  <a:pt x="871" y="583"/>
                </a:lnTo>
                <a:lnTo>
                  <a:pt x="871" y="585"/>
                </a:lnTo>
                <a:lnTo>
                  <a:pt x="872" y="586"/>
                </a:lnTo>
                <a:lnTo>
                  <a:pt x="875" y="588"/>
                </a:lnTo>
                <a:lnTo>
                  <a:pt x="876" y="589"/>
                </a:lnTo>
                <a:lnTo>
                  <a:pt x="878" y="589"/>
                </a:lnTo>
                <a:lnTo>
                  <a:pt x="878" y="591"/>
                </a:lnTo>
                <a:lnTo>
                  <a:pt x="879" y="592"/>
                </a:lnTo>
                <a:lnTo>
                  <a:pt x="879" y="594"/>
                </a:lnTo>
                <a:lnTo>
                  <a:pt x="878" y="594"/>
                </a:lnTo>
                <a:lnTo>
                  <a:pt x="873" y="592"/>
                </a:lnTo>
                <a:lnTo>
                  <a:pt x="867" y="592"/>
                </a:lnTo>
                <a:lnTo>
                  <a:pt x="866" y="591"/>
                </a:lnTo>
                <a:lnTo>
                  <a:pt x="865" y="589"/>
                </a:lnTo>
                <a:lnTo>
                  <a:pt x="864" y="588"/>
                </a:lnTo>
                <a:lnTo>
                  <a:pt x="863" y="585"/>
                </a:lnTo>
                <a:lnTo>
                  <a:pt x="861" y="585"/>
                </a:lnTo>
                <a:lnTo>
                  <a:pt x="860" y="584"/>
                </a:lnTo>
                <a:lnTo>
                  <a:pt x="858" y="584"/>
                </a:lnTo>
                <a:lnTo>
                  <a:pt x="863" y="588"/>
                </a:lnTo>
                <a:lnTo>
                  <a:pt x="864" y="590"/>
                </a:lnTo>
                <a:lnTo>
                  <a:pt x="866" y="592"/>
                </a:lnTo>
                <a:lnTo>
                  <a:pt x="867" y="595"/>
                </a:lnTo>
                <a:lnTo>
                  <a:pt x="869" y="595"/>
                </a:lnTo>
                <a:lnTo>
                  <a:pt x="875" y="594"/>
                </a:lnTo>
                <a:lnTo>
                  <a:pt x="876" y="594"/>
                </a:lnTo>
                <a:lnTo>
                  <a:pt x="877" y="595"/>
                </a:lnTo>
                <a:lnTo>
                  <a:pt x="879" y="596"/>
                </a:lnTo>
                <a:lnTo>
                  <a:pt x="882" y="596"/>
                </a:lnTo>
                <a:lnTo>
                  <a:pt x="882" y="591"/>
                </a:lnTo>
                <a:lnTo>
                  <a:pt x="879" y="586"/>
                </a:lnTo>
                <a:lnTo>
                  <a:pt x="878" y="580"/>
                </a:lnTo>
                <a:lnTo>
                  <a:pt x="878" y="579"/>
                </a:lnTo>
                <a:lnTo>
                  <a:pt x="877" y="579"/>
                </a:lnTo>
                <a:lnTo>
                  <a:pt x="877" y="574"/>
                </a:lnTo>
                <a:lnTo>
                  <a:pt x="878" y="573"/>
                </a:lnTo>
                <a:lnTo>
                  <a:pt x="879" y="573"/>
                </a:lnTo>
                <a:lnTo>
                  <a:pt x="881" y="574"/>
                </a:lnTo>
                <a:lnTo>
                  <a:pt x="882" y="574"/>
                </a:lnTo>
                <a:lnTo>
                  <a:pt x="882" y="573"/>
                </a:lnTo>
                <a:lnTo>
                  <a:pt x="878" y="570"/>
                </a:lnTo>
                <a:lnTo>
                  <a:pt x="877" y="567"/>
                </a:lnTo>
                <a:lnTo>
                  <a:pt x="876" y="558"/>
                </a:lnTo>
                <a:lnTo>
                  <a:pt x="875" y="557"/>
                </a:lnTo>
                <a:lnTo>
                  <a:pt x="875" y="555"/>
                </a:lnTo>
                <a:lnTo>
                  <a:pt x="872" y="553"/>
                </a:lnTo>
                <a:lnTo>
                  <a:pt x="872" y="552"/>
                </a:lnTo>
                <a:lnTo>
                  <a:pt x="871" y="549"/>
                </a:lnTo>
                <a:lnTo>
                  <a:pt x="871" y="548"/>
                </a:lnTo>
                <a:lnTo>
                  <a:pt x="870" y="547"/>
                </a:lnTo>
                <a:lnTo>
                  <a:pt x="865" y="545"/>
                </a:lnTo>
                <a:lnTo>
                  <a:pt x="864" y="543"/>
                </a:lnTo>
                <a:lnTo>
                  <a:pt x="854" y="523"/>
                </a:lnTo>
                <a:lnTo>
                  <a:pt x="851" y="518"/>
                </a:lnTo>
                <a:lnTo>
                  <a:pt x="848" y="515"/>
                </a:lnTo>
                <a:lnTo>
                  <a:pt x="848" y="512"/>
                </a:lnTo>
                <a:lnTo>
                  <a:pt x="847" y="510"/>
                </a:lnTo>
                <a:lnTo>
                  <a:pt x="847" y="500"/>
                </a:lnTo>
                <a:lnTo>
                  <a:pt x="848" y="498"/>
                </a:lnTo>
                <a:lnTo>
                  <a:pt x="848" y="496"/>
                </a:lnTo>
                <a:lnTo>
                  <a:pt x="850" y="494"/>
                </a:lnTo>
                <a:lnTo>
                  <a:pt x="852" y="490"/>
                </a:lnTo>
                <a:lnTo>
                  <a:pt x="859" y="484"/>
                </a:lnTo>
                <a:lnTo>
                  <a:pt x="863" y="482"/>
                </a:lnTo>
                <a:lnTo>
                  <a:pt x="871" y="476"/>
                </a:lnTo>
                <a:lnTo>
                  <a:pt x="879" y="468"/>
                </a:lnTo>
                <a:lnTo>
                  <a:pt x="886" y="456"/>
                </a:lnTo>
                <a:lnTo>
                  <a:pt x="890" y="451"/>
                </a:lnTo>
                <a:lnTo>
                  <a:pt x="894" y="449"/>
                </a:lnTo>
                <a:lnTo>
                  <a:pt x="902" y="448"/>
                </a:lnTo>
                <a:lnTo>
                  <a:pt x="907" y="445"/>
                </a:lnTo>
                <a:lnTo>
                  <a:pt x="916" y="442"/>
                </a:lnTo>
                <a:lnTo>
                  <a:pt x="919" y="439"/>
                </a:lnTo>
                <a:lnTo>
                  <a:pt x="920" y="439"/>
                </a:lnTo>
                <a:lnTo>
                  <a:pt x="920" y="438"/>
                </a:lnTo>
                <a:lnTo>
                  <a:pt x="921" y="436"/>
                </a:lnTo>
                <a:lnTo>
                  <a:pt x="922" y="436"/>
                </a:lnTo>
                <a:lnTo>
                  <a:pt x="925" y="432"/>
                </a:lnTo>
                <a:lnTo>
                  <a:pt x="928" y="431"/>
                </a:lnTo>
                <a:lnTo>
                  <a:pt x="929" y="431"/>
                </a:lnTo>
                <a:lnTo>
                  <a:pt x="928" y="430"/>
                </a:lnTo>
                <a:lnTo>
                  <a:pt x="929" y="429"/>
                </a:lnTo>
                <a:lnTo>
                  <a:pt x="938" y="418"/>
                </a:lnTo>
                <a:lnTo>
                  <a:pt x="945" y="406"/>
                </a:lnTo>
                <a:lnTo>
                  <a:pt x="948" y="395"/>
                </a:lnTo>
                <a:lnTo>
                  <a:pt x="951" y="393"/>
                </a:lnTo>
                <a:lnTo>
                  <a:pt x="952" y="393"/>
                </a:lnTo>
                <a:lnTo>
                  <a:pt x="959" y="395"/>
                </a:lnTo>
                <a:lnTo>
                  <a:pt x="971" y="401"/>
                </a:lnTo>
                <a:lnTo>
                  <a:pt x="972" y="402"/>
                </a:lnTo>
                <a:lnTo>
                  <a:pt x="972" y="404"/>
                </a:lnTo>
                <a:lnTo>
                  <a:pt x="969" y="406"/>
                </a:lnTo>
                <a:lnTo>
                  <a:pt x="968" y="408"/>
                </a:lnTo>
                <a:lnTo>
                  <a:pt x="976" y="407"/>
                </a:lnTo>
                <a:lnTo>
                  <a:pt x="984" y="405"/>
                </a:lnTo>
                <a:lnTo>
                  <a:pt x="991" y="405"/>
                </a:lnTo>
                <a:lnTo>
                  <a:pt x="997" y="402"/>
                </a:lnTo>
                <a:lnTo>
                  <a:pt x="999" y="404"/>
                </a:lnTo>
                <a:lnTo>
                  <a:pt x="1000" y="406"/>
                </a:lnTo>
                <a:lnTo>
                  <a:pt x="1001" y="411"/>
                </a:lnTo>
                <a:lnTo>
                  <a:pt x="1002" y="412"/>
                </a:lnTo>
                <a:lnTo>
                  <a:pt x="1003" y="414"/>
                </a:lnTo>
                <a:lnTo>
                  <a:pt x="1009" y="414"/>
                </a:lnTo>
                <a:lnTo>
                  <a:pt x="1015" y="420"/>
                </a:lnTo>
                <a:lnTo>
                  <a:pt x="1015" y="424"/>
                </a:lnTo>
                <a:lnTo>
                  <a:pt x="1014" y="426"/>
                </a:lnTo>
                <a:lnTo>
                  <a:pt x="1008" y="430"/>
                </a:lnTo>
                <a:lnTo>
                  <a:pt x="1006" y="431"/>
                </a:lnTo>
                <a:lnTo>
                  <a:pt x="1004" y="433"/>
                </a:lnTo>
                <a:lnTo>
                  <a:pt x="1004" y="435"/>
                </a:lnTo>
                <a:lnTo>
                  <a:pt x="1003" y="436"/>
                </a:lnTo>
                <a:lnTo>
                  <a:pt x="1002" y="436"/>
                </a:lnTo>
                <a:lnTo>
                  <a:pt x="1002" y="437"/>
                </a:lnTo>
                <a:lnTo>
                  <a:pt x="1000" y="437"/>
                </a:lnTo>
                <a:lnTo>
                  <a:pt x="999" y="438"/>
                </a:lnTo>
                <a:lnTo>
                  <a:pt x="999" y="439"/>
                </a:lnTo>
                <a:lnTo>
                  <a:pt x="1001" y="442"/>
                </a:lnTo>
                <a:lnTo>
                  <a:pt x="1001" y="444"/>
                </a:lnTo>
                <a:lnTo>
                  <a:pt x="1006" y="444"/>
                </a:lnTo>
                <a:lnTo>
                  <a:pt x="1006" y="447"/>
                </a:lnTo>
                <a:lnTo>
                  <a:pt x="1008" y="451"/>
                </a:lnTo>
                <a:lnTo>
                  <a:pt x="1008" y="445"/>
                </a:lnTo>
                <a:lnTo>
                  <a:pt x="1007" y="443"/>
                </a:lnTo>
                <a:lnTo>
                  <a:pt x="1003" y="442"/>
                </a:lnTo>
                <a:lnTo>
                  <a:pt x="1002" y="441"/>
                </a:lnTo>
                <a:lnTo>
                  <a:pt x="1003" y="438"/>
                </a:lnTo>
                <a:lnTo>
                  <a:pt x="1007" y="435"/>
                </a:lnTo>
                <a:lnTo>
                  <a:pt x="1008" y="435"/>
                </a:lnTo>
                <a:lnTo>
                  <a:pt x="1009" y="433"/>
                </a:lnTo>
                <a:lnTo>
                  <a:pt x="1010" y="433"/>
                </a:lnTo>
                <a:lnTo>
                  <a:pt x="1013" y="432"/>
                </a:lnTo>
                <a:lnTo>
                  <a:pt x="1014" y="432"/>
                </a:lnTo>
                <a:lnTo>
                  <a:pt x="1014" y="430"/>
                </a:lnTo>
                <a:lnTo>
                  <a:pt x="1015" y="430"/>
                </a:lnTo>
                <a:lnTo>
                  <a:pt x="1016" y="429"/>
                </a:lnTo>
                <a:lnTo>
                  <a:pt x="1019" y="430"/>
                </a:lnTo>
                <a:lnTo>
                  <a:pt x="1021" y="429"/>
                </a:lnTo>
                <a:lnTo>
                  <a:pt x="1022" y="430"/>
                </a:lnTo>
                <a:lnTo>
                  <a:pt x="1024" y="432"/>
                </a:lnTo>
                <a:lnTo>
                  <a:pt x="1026" y="433"/>
                </a:lnTo>
                <a:lnTo>
                  <a:pt x="1031" y="441"/>
                </a:lnTo>
                <a:lnTo>
                  <a:pt x="1031" y="443"/>
                </a:lnTo>
                <a:lnTo>
                  <a:pt x="1029" y="444"/>
                </a:lnTo>
                <a:lnTo>
                  <a:pt x="1029" y="449"/>
                </a:lnTo>
                <a:lnTo>
                  <a:pt x="1032" y="453"/>
                </a:lnTo>
                <a:lnTo>
                  <a:pt x="1035" y="461"/>
                </a:lnTo>
                <a:lnTo>
                  <a:pt x="1035" y="462"/>
                </a:lnTo>
                <a:lnTo>
                  <a:pt x="1037" y="459"/>
                </a:lnTo>
                <a:lnTo>
                  <a:pt x="1035" y="455"/>
                </a:lnTo>
                <a:lnTo>
                  <a:pt x="1033" y="450"/>
                </a:lnTo>
                <a:lnTo>
                  <a:pt x="1033" y="448"/>
                </a:lnTo>
                <a:lnTo>
                  <a:pt x="1034" y="443"/>
                </a:lnTo>
                <a:lnTo>
                  <a:pt x="1035" y="439"/>
                </a:lnTo>
                <a:lnTo>
                  <a:pt x="1034" y="438"/>
                </a:lnTo>
                <a:lnTo>
                  <a:pt x="1033" y="433"/>
                </a:lnTo>
                <a:lnTo>
                  <a:pt x="1032" y="432"/>
                </a:lnTo>
                <a:lnTo>
                  <a:pt x="1032" y="422"/>
                </a:lnTo>
                <a:lnTo>
                  <a:pt x="1033" y="416"/>
                </a:lnTo>
                <a:lnTo>
                  <a:pt x="1034" y="411"/>
                </a:lnTo>
                <a:lnTo>
                  <a:pt x="1035" y="410"/>
                </a:lnTo>
                <a:lnTo>
                  <a:pt x="1037" y="406"/>
                </a:lnTo>
                <a:lnTo>
                  <a:pt x="1038" y="405"/>
                </a:lnTo>
                <a:lnTo>
                  <a:pt x="1038" y="401"/>
                </a:lnTo>
                <a:lnTo>
                  <a:pt x="1039" y="401"/>
                </a:lnTo>
                <a:lnTo>
                  <a:pt x="1043" y="396"/>
                </a:lnTo>
                <a:lnTo>
                  <a:pt x="1044" y="395"/>
                </a:lnTo>
                <a:lnTo>
                  <a:pt x="1044" y="392"/>
                </a:lnTo>
                <a:lnTo>
                  <a:pt x="1045" y="386"/>
                </a:lnTo>
                <a:lnTo>
                  <a:pt x="1045" y="383"/>
                </a:lnTo>
                <a:lnTo>
                  <a:pt x="1046" y="381"/>
                </a:lnTo>
                <a:lnTo>
                  <a:pt x="1049" y="380"/>
                </a:lnTo>
                <a:lnTo>
                  <a:pt x="1052" y="379"/>
                </a:lnTo>
                <a:lnTo>
                  <a:pt x="1052" y="377"/>
                </a:lnTo>
                <a:lnTo>
                  <a:pt x="1049" y="377"/>
                </a:lnTo>
                <a:lnTo>
                  <a:pt x="1047" y="376"/>
                </a:lnTo>
                <a:lnTo>
                  <a:pt x="1047" y="375"/>
                </a:lnTo>
                <a:lnTo>
                  <a:pt x="1045" y="368"/>
                </a:lnTo>
                <a:lnTo>
                  <a:pt x="1044" y="367"/>
                </a:lnTo>
                <a:lnTo>
                  <a:pt x="1044" y="364"/>
                </a:lnTo>
                <a:lnTo>
                  <a:pt x="1049" y="362"/>
                </a:lnTo>
                <a:lnTo>
                  <a:pt x="1049" y="353"/>
                </a:lnTo>
                <a:lnTo>
                  <a:pt x="1050" y="351"/>
                </a:lnTo>
                <a:lnTo>
                  <a:pt x="1049" y="350"/>
                </a:lnTo>
                <a:lnTo>
                  <a:pt x="1049" y="347"/>
                </a:lnTo>
                <a:lnTo>
                  <a:pt x="1046" y="345"/>
                </a:lnTo>
                <a:lnTo>
                  <a:pt x="1046" y="342"/>
                </a:lnTo>
                <a:lnTo>
                  <a:pt x="1041" y="337"/>
                </a:lnTo>
                <a:lnTo>
                  <a:pt x="1041" y="334"/>
                </a:lnTo>
                <a:lnTo>
                  <a:pt x="1043" y="333"/>
                </a:lnTo>
                <a:lnTo>
                  <a:pt x="1044" y="333"/>
                </a:lnTo>
                <a:lnTo>
                  <a:pt x="1044" y="331"/>
                </a:lnTo>
                <a:lnTo>
                  <a:pt x="1040" y="333"/>
                </a:lnTo>
                <a:lnTo>
                  <a:pt x="1039" y="332"/>
                </a:lnTo>
                <a:lnTo>
                  <a:pt x="1039" y="331"/>
                </a:lnTo>
                <a:lnTo>
                  <a:pt x="1037" y="330"/>
                </a:lnTo>
                <a:lnTo>
                  <a:pt x="1034" y="327"/>
                </a:lnTo>
                <a:lnTo>
                  <a:pt x="1029" y="325"/>
                </a:lnTo>
                <a:lnTo>
                  <a:pt x="1025" y="325"/>
                </a:lnTo>
                <a:lnTo>
                  <a:pt x="1022" y="324"/>
                </a:lnTo>
                <a:lnTo>
                  <a:pt x="1020" y="324"/>
                </a:lnTo>
                <a:lnTo>
                  <a:pt x="1019" y="320"/>
                </a:lnTo>
                <a:lnTo>
                  <a:pt x="1019" y="313"/>
                </a:lnTo>
                <a:lnTo>
                  <a:pt x="1020" y="306"/>
                </a:lnTo>
                <a:lnTo>
                  <a:pt x="1022" y="296"/>
                </a:lnTo>
                <a:lnTo>
                  <a:pt x="1028" y="279"/>
                </a:lnTo>
                <a:lnTo>
                  <a:pt x="1029" y="275"/>
                </a:lnTo>
                <a:lnTo>
                  <a:pt x="1029" y="269"/>
                </a:lnTo>
                <a:lnTo>
                  <a:pt x="1031" y="269"/>
                </a:lnTo>
                <a:lnTo>
                  <a:pt x="1031" y="267"/>
                </a:lnTo>
                <a:lnTo>
                  <a:pt x="1032" y="267"/>
                </a:lnTo>
                <a:lnTo>
                  <a:pt x="1032" y="270"/>
                </a:lnTo>
                <a:lnTo>
                  <a:pt x="1033" y="270"/>
                </a:lnTo>
                <a:lnTo>
                  <a:pt x="1034" y="269"/>
                </a:lnTo>
                <a:lnTo>
                  <a:pt x="1034" y="265"/>
                </a:lnTo>
                <a:lnTo>
                  <a:pt x="1032" y="265"/>
                </a:lnTo>
                <a:lnTo>
                  <a:pt x="1031" y="264"/>
                </a:lnTo>
                <a:lnTo>
                  <a:pt x="1032" y="263"/>
                </a:lnTo>
                <a:lnTo>
                  <a:pt x="1033" y="260"/>
                </a:lnTo>
                <a:lnTo>
                  <a:pt x="1033" y="257"/>
                </a:lnTo>
                <a:lnTo>
                  <a:pt x="1034" y="256"/>
                </a:lnTo>
                <a:lnTo>
                  <a:pt x="1034" y="254"/>
                </a:lnTo>
                <a:lnTo>
                  <a:pt x="1033" y="253"/>
                </a:lnTo>
                <a:lnTo>
                  <a:pt x="1033" y="251"/>
                </a:lnTo>
                <a:lnTo>
                  <a:pt x="1032" y="250"/>
                </a:lnTo>
                <a:lnTo>
                  <a:pt x="1032" y="245"/>
                </a:lnTo>
                <a:lnTo>
                  <a:pt x="1037" y="245"/>
                </a:lnTo>
                <a:lnTo>
                  <a:pt x="1038" y="244"/>
                </a:lnTo>
                <a:lnTo>
                  <a:pt x="1039" y="241"/>
                </a:lnTo>
                <a:lnTo>
                  <a:pt x="1040" y="240"/>
                </a:lnTo>
                <a:lnTo>
                  <a:pt x="1038" y="239"/>
                </a:lnTo>
                <a:lnTo>
                  <a:pt x="1034" y="241"/>
                </a:lnTo>
                <a:lnTo>
                  <a:pt x="1033" y="240"/>
                </a:lnTo>
                <a:lnTo>
                  <a:pt x="1034" y="235"/>
                </a:lnTo>
                <a:lnTo>
                  <a:pt x="1035" y="234"/>
                </a:lnTo>
                <a:lnTo>
                  <a:pt x="1038" y="234"/>
                </a:lnTo>
                <a:lnTo>
                  <a:pt x="1037" y="233"/>
                </a:lnTo>
                <a:lnTo>
                  <a:pt x="1034" y="233"/>
                </a:lnTo>
                <a:lnTo>
                  <a:pt x="1035" y="230"/>
                </a:lnTo>
                <a:lnTo>
                  <a:pt x="1043" y="226"/>
                </a:lnTo>
                <a:lnTo>
                  <a:pt x="1046" y="226"/>
                </a:lnTo>
                <a:lnTo>
                  <a:pt x="1045" y="224"/>
                </a:lnTo>
                <a:lnTo>
                  <a:pt x="1041" y="224"/>
                </a:lnTo>
                <a:lnTo>
                  <a:pt x="1039" y="226"/>
                </a:lnTo>
                <a:lnTo>
                  <a:pt x="1038" y="228"/>
                </a:lnTo>
                <a:lnTo>
                  <a:pt x="1035" y="228"/>
                </a:lnTo>
                <a:lnTo>
                  <a:pt x="1035" y="222"/>
                </a:lnTo>
                <a:lnTo>
                  <a:pt x="1037" y="220"/>
                </a:lnTo>
                <a:lnTo>
                  <a:pt x="1037" y="213"/>
                </a:lnTo>
                <a:lnTo>
                  <a:pt x="1038" y="207"/>
                </a:lnTo>
                <a:lnTo>
                  <a:pt x="1039" y="203"/>
                </a:lnTo>
                <a:lnTo>
                  <a:pt x="1039" y="201"/>
                </a:lnTo>
                <a:lnTo>
                  <a:pt x="1038" y="198"/>
                </a:lnTo>
                <a:lnTo>
                  <a:pt x="1035" y="195"/>
                </a:lnTo>
                <a:lnTo>
                  <a:pt x="1018" y="178"/>
                </a:lnTo>
                <a:lnTo>
                  <a:pt x="1000" y="162"/>
                </a:lnTo>
                <a:lnTo>
                  <a:pt x="997" y="158"/>
                </a:lnTo>
                <a:lnTo>
                  <a:pt x="1000" y="156"/>
                </a:lnTo>
                <a:lnTo>
                  <a:pt x="1002" y="156"/>
                </a:lnTo>
                <a:lnTo>
                  <a:pt x="1007" y="155"/>
                </a:lnTo>
                <a:lnTo>
                  <a:pt x="1012" y="159"/>
                </a:lnTo>
                <a:lnTo>
                  <a:pt x="1013" y="159"/>
                </a:lnTo>
                <a:lnTo>
                  <a:pt x="1015" y="161"/>
                </a:lnTo>
                <a:lnTo>
                  <a:pt x="1018" y="162"/>
                </a:lnTo>
                <a:lnTo>
                  <a:pt x="1019" y="164"/>
                </a:lnTo>
                <a:lnTo>
                  <a:pt x="1020" y="164"/>
                </a:lnTo>
                <a:lnTo>
                  <a:pt x="1021" y="165"/>
                </a:lnTo>
                <a:lnTo>
                  <a:pt x="1022" y="165"/>
                </a:lnTo>
                <a:lnTo>
                  <a:pt x="1027" y="170"/>
                </a:lnTo>
                <a:lnTo>
                  <a:pt x="1038" y="171"/>
                </a:lnTo>
                <a:lnTo>
                  <a:pt x="1050" y="170"/>
                </a:lnTo>
                <a:lnTo>
                  <a:pt x="1083" y="170"/>
                </a:lnTo>
                <a:lnTo>
                  <a:pt x="1095" y="173"/>
                </a:lnTo>
                <a:lnTo>
                  <a:pt x="1108" y="180"/>
                </a:lnTo>
                <a:lnTo>
                  <a:pt x="1111" y="181"/>
                </a:lnTo>
                <a:lnTo>
                  <a:pt x="1111" y="185"/>
                </a:lnTo>
                <a:lnTo>
                  <a:pt x="1112" y="187"/>
                </a:lnTo>
                <a:lnTo>
                  <a:pt x="1112" y="189"/>
                </a:lnTo>
                <a:lnTo>
                  <a:pt x="1113" y="190"/>
                </a:lnTo>
                <a:lnTo>
                  <a:pt x="1113" y="191"/>
                </a:lnTo>
                <a:lnTo>
                  <a:pt x="1114" y="192"/>
                </a:lnTo>
                <a:lnTo>
                  <a:pt x="1114" y="196"/>
                </a:lnTo>
                <a:lnTo>
                  <a:pt x="1117" y="197"/>
                </a:lnTo>
                <a:lnTo>
                  <a:pt x="1120" y="202"/>
                </a:lnTo>
                <a:lnTo>
                  <a:pt x="1122" y="205"/>
                </a:lnTo>
                <a:lnTo>
                  <a:pt x="1125" y="208"/>
                </a:lnTo>
                <a:lnTo>
                  <a:pt x="1125" y="209"/>
                </a:lnTo>
                <a:lnTo>
                  <a:pt x="1127" y="208"/>
                </a:lnTo>
                <a:lnTo>
                  <a:pt x="1130" y="210"/>
                </a:lnTo>
                <a:lnTo>
                  <a:pt x="1131" y="210"/>
                </a:lnTo>
                <a:lnTo>
                  <a:pt x="1132" y="213"/>
                </a:lnTo>
                <a:lnTo>
                  <a:pt x="1136" y="217"/>
                </a:lnTo>
                <a:lnTo>
                  <a:pt x="1133" y="220"/>
                </a:lnTo>
                <a:lnTo>
                  <a:pt x="1136" y="220"/>
                </a:lnTo>
                <a:lnTo>
                  <a:pt x="1136" y="229"/>
                </a:lnTo>
                <a:lnTo>
                  <a:pt x="1137" y="230"/>
                </a:lnTo>
                <a:lnTo>
                  <a:pt x="1137" y="233"/>
                </a:lnTo>
                <a:lnTo>
                  <a:pt x="1138" y="234"/>
                </a:lnTo>
                <a:lnTo>
                  <a:pt x="1139" y="234"/>
                </a:lnTo>
                <a:lnTo>
                  <a:pt x="1139" y="236"/>
                </a:lnTo>
                <a:lnTo>
                  <a:pt x="1140" y="236"/>
                </a:lnTo>
                <a:lnTo>
                  <a:pt x="1140" y="239"/>
                </a:lnTo>
                <a:lnTo>
                  <a:pt x="1142" y="242"/>
                </a:lnTo>
                <a:lnTo>
                  <a:pt x="1143" y="245"/>
                </a:lnTo>
                <a:lnTo>
                  <a:pt x="1143" y="253"/>
                </a:lnTo>
                <a:lnTo>
                  <a:pt x="1140" y="254"/>
                </a:lnTo>
                <a:lnTo>
                  <a:pt x="1137" y="253"/>
                </a:lnTo>
                <a:lnTo>
                  <a:pt x="1128" y="253"/>
                </a:lnTo>
                <a:lnTo>
                  <a:pt x="1121" y="254"/>
                </a:lnTo>
                <a:lnTo>
                  <a:pt x="1113" y="258"/>
                </a:lnTo>
                <a:lnTo>
                  <a:pt x="1096" y="260"/>
                </a:lnTo>
                <a:lnTo>
                  <a:pt x="1089" y="263"/>
                </a:lnTo>
                <a:lnTo>
                  <a:pt x="1086" y="263"/>
                </a:lnTo>
                <a:lnTo>
                  <a:pt x="1083" y="264"/>
                </a:lnTo>
                <a:lnTo>
                  <a:pt x="1083" y="266"/>
                </a:lnTo>
                <a:lnTo>
                  <a:pt x="1084" y="267"/>
                </a:lnTo>
                <a:lnTo>
                  <a:pt x="1086" y="267"/>
                </a:lnTo>
                <a:lnTo>
                  <a:pt x="1086" y="271"/>
                </a:lnTo>
                <a:lnTo>
                  <a:pt x="1084" y="275"/>
                </a:lnTo>
                <a:lnTo>
                  <a:pt x="1084" y="278"/>
                </a:lnTo>
                <a:lnTo>
                  <a:pt x="1077" y="278"/>
                </a:lnTo>
                <a:lnTo>
                  <a:pt x="1071" y="284"/>
                </a:lnTo>
                <a:lnTo>
                  <a:pt x="1069" y="289"/>
                </a:lnTo>
                <a:lnTo>
                  <a:pt x="1068" y="295"/>
                </a:lnTo>
                <a:lnTo>
                  <a:pt x="1068" y="299"/>
                </a:lnTo>
                <a:lnTo>
                  <a:pt x="1066" y="300"/>
                </a:lnTo>
                <a:lnTo>
                  <a:pt x="1066" y="302"/>
                </a:lnTo>
                <a:lnTo>
                  <a:pt x="1068" y="304"/>
                </a:lnTo>
                <a:lnTo>
                  <a:pt x="1069" y="308"/>
                </a:lnTo>
                <a:lnTo>
                  <a:pt x="1072" y="312"/>
                </a:lnTo>
                <a:lnTo>
                  <a:pt x="1077" y="315"/>
                </a:lnTo>
                <a:lnTo>
                  <a:pt x="1080" y="318"/>
                </a:lnTo>
                <a:lnTo>
                  <a:pt x="1083" y="320"/>
                </a:lnTo>
                <a:lnTo>
                  <a:pt x="1088" y="321"/>
                </a:lnTo>
                <a:lnTo>
                  <a:pt x="1091" y="322"/>
                </a:lnTo>
                <a:lnTo>
                  <a:pt x="1095" y="326"/>
                </a:lnTo>
                <a:lnTo>
                  <a:pt x="1097" y="331"/>
                </a:lnTo>
                <a:lnTo>
                  <a:pt x="1097" y="333"/>
                </a:lnTo>
                <a:lnTo>
                  <a:pt x="1099" y="336"/>
                </a:lnTo>
                <a:lnTo>
                  <a:pt x="1103" y="346"/>
                </a:lnTo>
                <a:lnTo>
                  <a:pt x="1105" y="347"/>
                </a:lnTo>
                <a:lnTo>
                  <a:pt x="1105" y="351"/>
                </a:lnTo>
                <a:lnTo>
                  <a:pt x="1106" y="353"/>
                </a:lnTo>
                <a:lnTo>
                  <a:pt x="1107" y="355"/>
                </a:lnTo>
                <a:lnTo>
                  <a:pt x="1112" y="357"/>
                </a:lnTo>
                <a:lnTo>
                  <a:pt x="1112" y="358"/>
                </a:lnTo>
                <a:lnTo>
                  <a:pt x="1114" y="361"/>
                </a:lnTo>
                <a:lnTo>
                  <a:pt x="1125" y="359"/>
                </a:lnTo>
                <a:lnTo>
                  <a:pt x="1133" y="356"/>
                </a:lnTo>
                <a:lnTo>
                  <a:pt x="1137" y="356"/>
                </a:lnTo>
                <a:lnTo>
                  <a:pt x="1138" y="358"/>
                </a:lnTo>
                <a:lnTo>
                  <a:pt x="1138" y="361"/>
                </a:lnTo>
                <a:lnTo>
                  <a:pt x="1136" y="361"/>
                </a:lnTo>
                <a:lnTo>
                  <a:pt x="1136" y="362"/>
                </a:lnTo>
                <a:lnTo>
                  <a:pt x="1134" y="364"/>
                </a:lnTo>
                <a:lnTo>
                  <a:pt x="1128" y="370"/>
                </a:lnTo>
                <a:lnTo>
                  <a:pt x="1130" y="370"/>
                </a:lnTo>
                <a:lnTo>
                  <a:pt x="1132" y="369"/>
                </a:lnTo>
                <a:lnTo>
                  <a:pt x="1133" y="368"/>
                </a:lnTo>
                <a:lnTo>
                  <a:pt x="1136" y="364"/>
                </a:lnTo>
                <a:lnTo>
                  <a:pt x="1137" y="363"/>
                </a:lnTo>
                <a:lnTo>
                  <a:pt x="1147" y="359"/>
                </a:lnTo>
                <a:lnTo>
                  <a:pt x="1152" y="359"/>
                </a:lnTo>
                <a:lnTo>
                  <a:pt x="1155" y="357"/>
                </a:lnTo>
                <a:lnTo>
                  <a:pt x="1156" y="358"/>
                </a:lnTo>
                <a:lnTo>
                  <a:pt x="1173" y="350"/>
                </a:lnTo>
                <a:lnTo>
                  <a:pt x="1174" y="351"/>
                </a:lnTo>
                <a:lnTo>
                  <a:pt x="1178" y="353"/>
                </a:lnTo>
                <a:lnTo>
                  <a:pt x="1180" y="355"/>
                </a:lnTo>
                <a:lnTo>
                  <a:pt x="1178" y="357"/>
                </a:lnTo>
                <a:lnTo>
                  <a:pt x="1180" y="357"/>
                </a:lnTo>
                <a:lnTo>
                  <a:pt x="1180" y="356"/>
                </a:lnTo>
                <a:lnTo>
                  <a:pt x="1181" y="355"/>
                </a:lnTo>
                <a:lnTo>
                  <a:pt x="1180" y="352"/>
                </a:lnTo>
                <a:lnTo>
                  <a:pt x="1180" y="350"/>
                </a:lnTo>
                <a:lnTo>
                  <a:pt x="1181" y="349"/>
                </a:lnTo>
                <a:lnTo>
                  <a:pt x="1181" y="347"/>
                </a:lnTo>
                <a:lnTo>
                  <a:pt x="1183" y="344"/>
                </a:lnTo>
                <a:lnTo>
                  <a:pt x="1184" y="344"/>
                </a:lnTo>
                <a:lnTo>
                  <a:pt x="1186" y="343"/>
                </a:lnTo>
                <a:lnTo>
                  <a:pt x="1186" y="339"/>
                </a:lnTo>
                <a:lnTo>
                  <a:pt x="1187" y="336"/>
                </a:lnTo>
                <a:lnTo>
                  <a:pt x="1187" y="328"/>
                </a:lnTo>
                <a:lnTo>
                  <a:pt x="1186" y="327"/>
                </a:lnTo>
                <a:lnTo>
                  <a:pt x="1184" y="324"/>
                </a:lnTo>
                <a:lnTo>
                  <a:pt x="1184" y="320"/>
                </a:lnTo>
                <a:lnTo>
                  <a:pt x="1188" y="316"/>
                </a:lnTo>
                <a:lnTo>
                  <a:pt x="1188" y="306"/>
                </a:lnTo>
                <a:lnTo>
                  <a:pt x="1187" y="306"/>
                </a:lnTo>
                <a:lnTo>
                  <a:pt x="1188" y="303"/>
                </a:lnTo>
                <a:lnTo>
                  <a:pt x="1193" y="299"/>
                </a:lnTo>
                <a:lnTo>
                  <a:pt x="1195" y="294"/>
                </a:lnTo>
                <a:lnTo>
                  <a:pt x="1195" y="291"/>
                </a:lnTo>
                <a:lnTo>
                  <a:pt x="1194" y="289"/>
                </a:lnTo>
                <a:lnTo>
                  <a:pt x="1189" y="282"/>
                </a:lnTo>
                <a:lnTo>
                  <a:pt x="1189" y="279"/>
                </a:lnTo>
                <a:lnTo>
                  <a:pt x="1190" y="277"/>
                </a:lnTo>
                <a:lnTo>
                  <a:pt x="1198" y="271"/>
                </a:lnTo>
                <a:lnTo>
                  <a:pt x="1199" y="271"/>
                </a:lnTo>
                <a:lnTo>
                  <a:pt x="1201" y="272"/>
                </a:lnTo>
                <a:lnTo>
                  <a:pt x="1201" y="273"/>
                </a:lnTo>
                <a:lnTo>
                  <a:pt x="1200" y="275"/>
                </a:lnTo>
                <a:lnTo>
                  <a:pt x="1200" y="278"/>
                </a:lnTo>
                <a:lnTo>
                  <a:pt x="1201" y="278"/>
                </a:lnTo>
                <a:lnTo>
                  <a:pt x="1202" y="277"/>
                </a:lnTo>
                <a:lnTo>
                  <a:pt x="1204" y="273"/>
                </a:lnTo>
                <a:lnTo>
                  <a:pt x="1206" y="271"/>
                </a:lnTo>
                <a:lnTo>
                  <a:pt x="1206" y="270"/>
                </a:lnTo>
                <a:lnTo>
                  <a:pt x="1208" y="267"/>
                </a:lnTo>
                <a:lnTo>
                  <a:pt x="1212" y="267"/>
                </a:lnTo>
                <a:lnTo>
                  <a:pt x="1215" y="270"/>
                </a:lnTo>
                <a:lnTo>
                  <a:pt x="1219" y="270"/>
                </a:lnTo>
                <a:lnTo>
                  <a:pt x="1225" y="265"/>
                </a:lnTo>
                <a:lnTo>
                  <a:pt x="1226" y="264"/>
                </a:lnTo>
                <a:lnTo>
                  <a:pt x="1229" y="266"/>
                </a:lnTo>
                <a:lnTo>
                  <a:pt x="1226" y="266"/>
                </a:lnTo>
                <a:lnTo>
                  <a:pt x="1236" y="267"/>
                </a:lnTo>
                <a:lnTo>
                  <a:pt x="1239" y="270"/>
                </a:lnTo>
                <a:lnTo>
                  <a:pt x="1238" y="271"/>
                </a:lnTo>
                <a:lnTo>
                  <a:pt x="1240" y="273"/>
                </a:lnTo>
                <a:lnTo>
                  <a:pt x="1243" y="273"/>
                </a:lnTo>
                <a:lnTo>
                  <a:pt x="1244" y="272"/>
                </a:lnTo>
                <a:lnTo>
                  <a:pt x="1243" y="271"/>
                </a:lnTo>
                <a:lnTo>
                  <a:pt x="1242" y="271"/>
                </a:lnTo>
                <a:lnTo>
                  <a:pt x="1242" y="269"/>
                </a:lnTo>
                <a:lnTo>
                  <a:pt x="1238" y="266"/>
                </a:lnTo>
                <a:lnTo>
                  <a:pt x="1237" y="266"/>
                </a:lnTo>
                <a:lnTo>
                  <a:pt x="1236" y="265"/>
                </a:lnTo>
                <a:lnTo>
                  <a:pt x="1234" y="263"/>
                </a:lnTo>
                <a:lnTo>
                  <a:pt x="1233" y="261"/>
                </a:lnTo>
                <a:lnTo>
                  <a:pt x="1231" y="263"/>
                </a:lnTo>
                <a:lnTo>
                  <a:pt x="1230" y="263"/>
                </a:lnTo>
                <a:lnTo>
                  <a:pt x="1230" y="260"/>
                </a:lnTo>
                <a:lnTo>
                  <a:pt x="1231" y="259"/>
                </a:lnTo>
                <a:lnTo>
                  <a:pt x="1231" y="251"/>
                </a:lnTo>
                <a:lnTo>
                  <a:pt x="1221" y="240"/>
                </a:lnTo>
                <a:lnTo>
                  <a:pt x="1224" y="239"/>
                </a:lnTo>
                <a:lnTo>
                  <a:pt x="1232" y="247"/>
                </a:lnTo>
                <a:lnTo>
                  <a:pt x="1238" y="250"/>
                </a:lnTo>
                <a:lnTo>
                  <a:pt x="1245" y="247"/>
                </a:lnTo>
                <a:lnTo>
                  <a:pt x="1246" y="246"/>
                </a:lnTo>
                <a:lnTo>
                  <a:pt x="1252" y="244"/>
                </a:lnTo>
                <a:lnTo>
                  <a:pt x="1261" y="238"/>
                </a:lnTo>
                <a:lnTo>
                  <a:pt x="1267" y="234"/>
                </a:lnTo>
                <a:lnTo>
                  <a:pt x="1273" y="228"/>
                </a:lnTo>
                <a:lnTo>
                  <a:pt x="1280" y="222"/>
                </a:lnTo>
                <a:lnTo>
                  <a:pt x="1282" y="222"/>
                </a:lnTo>
                <a:lnTo>
                  <a:pt x="1281" y="226"/>
                </a:lnTo>
                <a:lnTo>
                  <a:pt x="1276" y="228"/>
                </a:lnTo>
                <a:lnTo>
                  <a:pt x="1275" y="230"/>
                </a:lnTo>
                <a:lnTo>
                  <a:pt x="1281" y="226"/>
                </a:lnTo>
                <a:lnTo>
                  <a:pt x="1283" y="222"/>
                </a:lnTo>
                <a:lnTo>
                  <a:pt x="1285" y="221"/>
                </a:lnTo>
                <a:lnTo>
                  <a:pt x="1286" y="218"/>
                </a:lnTo>
                <a:lnTo>
                  <a:pt x="1291" y="214"/>
                </a:lnTo>
                <a:lnTo>
                  <a:pt x="1293" y="213"/>
                </a:lnTo>
                <a:lnTo>
                  <a:pt x="1296" y="209"/>
                </a:lnTo>
                <a:lnTo>
                  <a:pt x="1300" y="208"/>
                </a:lnTo>
                <a:lnTo>
                  <a:pt x="1308" y="198"/>
                </a:lnTo>
                <a:lnTo>
                  <a:pt x="1311" y="195"/>
                </a:lnTo>
                <a:lnTo>
                  <a:pt x="1312" y="193"/>
                </a:lnTo>
                <a:lnTo>
                  <a:pt x="1313" y="190"/>
                </a:lnTo>
                <a:lnTo>
                  <a:pt x="1314" y="189"/>
                </a:lnTo>
                <a:lnTo>
                  <a:pt x="1316" y="190"/>
                </a:lnTo>
                <a:lnTo>
                  <a:pt x="1317" y="192"/>
                </a:lnTo>
                <a:lnTo>
                  <a:pt x="1319" y="193"/>
                </a:lnTo>
                <a:lnTo>
                  <a:pt x="1322" y="193"/>
                </a:lnTo>
                <a:lnTo>
                  <a:pt x="1326" y="192"/>
                </a:lnTo>
                <a:lnTo>
                  <a:pt x="1327" y="192"/>
                </a:lnTo>
                <a:lnTo>
                  <a:pt x="1329" y="190"/>
                </a:lnTo>
                <a:lnTo>
                  <a:pt x="1330" y="189"/>
                </a:lnTo>
                <a:lnTo>
                  <a:pt x="1332" y="189"/>
                </a:lnTo>
                <a:lnTo>
                  <a:pt x="1338" y="186"/>
                </a:lnTo>
                <a:lnTo>
                  <a:pt x="1342" y="183"/>
                </a:lnTo>
                <a:lnTo>
                  <a:pt x="1343" y="183"/>
                </a:lnTo>
                <a:lnTo>
                  <a:pt x="1344" y="184"/>
                </a:lnTo>
                <a:lnTo>
                  <a:pt x="1345" y="184"/>
                </a:lnTo>
                <a:lnTo>
                  <a:pt x="1348" y="183"/>
                </a:lnTo>
                <a:lnTo>
                  <a:pt x="1349" y="181"/>
                </a:lnTo>
                <a:lnTo>
                  <a:pt x="1348" y="181"/>
                </a:lnTo>
                <a:lnTo>
                  <a:pt x="1347" y="180"/>
                </a:lnTo>
                <a:lnTo>
                  <a:pt x="1348" y="177"/>
                </a:lnTo>
                <a:lnTo>
                  <a:pt x="1354" y="177"/>
                </a:lnTo>
                <a:lnTo>
                  <a:pt x="1368" y="171"/>
                </a:lnTo>
                <a:lnTo>
                  <a:pt x="1373" y="166"/>
                </a:lnTo>
                <a:lnTo>
                  <a:pt x="1375" y="166"/>
                </a:lnTo>
                <a:lnTo>
                  <a:pt x="1374" y="168"/>
                </a:lnTo>
                <a:lnTo>
                  <a:pt x="1374" y="171"/>
                </a:lnTo>
                <a:lnTo>
                  <a:pt x="1372" y="173"/>
                </a:lnTo>
                <a:lnTo>
                  <a:pt x="1368" y="173"/>
                </a:lnTo>
                <a:lnTo>
                  <a:pt x="1368" y="177"/>
                </a:lnTo>
                <a:lnTo>
                  <a:pt x="1369" y="178"/>
                </a:lnTo>
                <a:lnTo>
                  <a:pt x="1373" y="174"/>
                </a:lnTo>
                <a:lnTo>
                  <a:pt x="1379" y="175"/>
                </a:lnTo>
                <a:lnTo>
                  <a:pt x="1380" y="175"/>
                </a:lnTo>
                <a:lnTo>
                  <a:pt x="1381" y="178"/>
                </a:lnTo>
                <a:lnTo>
                  <a:pt x="1379" y="178"/>
                </a:lnTo>
                <a:lnTo>
                  <a:pt x="1378" y="180"/>
                </a:lnTo>
                <a:lnTo>
                  <a:pt x="1379" y="181"/>
                </a:lnTo>
                <a:lnTo>
                  <a:pt x="1379" y="184"/>
                </a:lnTo>
                <a:lnTo>
                  <a:pt x="1376" y="186"/>
                </a:lnTo>
                <a:lnTo>
                  <a:pt x="1373" y="187"/>
                </a:lnTo>
                <a:lnTo>
                  <a:pt x="1372" y="189"/>
                </a:lnTo>
                <a:lnTo>
                  <a:pt x="1373" y="190"/>
                </a:lnTo>
                <a:lnTo>
                  <a:pt x="1376" y="196"/>
                </a:lnTo>
                <a:lnTo>
                  <a:pt x="1378" y="197"/>
                </a:lnTo>
                <a:lnTo>
                  <a:pt x="1380" y="195"/>
                </a:lnTo>
                <a:lnTo>
                  <a:pt x="1382" y="193"/>
                </a:lnTo>
                <a:lnTo>
                  <a:pt x="1383" y="193"/>
                </a:lnTo>
                <a:lnTo>
                  <a:pt x="1392" y="185"/>
                </a:lnTo>
                <a:lnTo>
                  <a:pt x="1394" y="184"/>
                </a:lnTo>
                <a:lnTo>
                  <a:pt x="1395" y="183"/>
                </a:lnTo>
                <a:lnTo>
                  <a:pt x="1397" y="180"/>
                </a:lnTo>
                <a:lnTo>
                  <a:pt x="1397" y="177"/>
                </a:lnTo>
                <a:lnTo>
                  <a:pt x="1394" y="174"/>
                </a:lnTo>
                <a:lnTo>
                  <a:pt x="1391" y="173"/>
                </a:lnTo>
                <a:lnTo>
                  <a:pt x="1389" y="171"/>
                </a:lnTo>
                <a:lnTo>
                  <a:pt x="1389" y="170"/>
                </a:lnTo>
                <a:lnTo>
                  <a:pt x="1388" y="168"/>
                </a:lnTo>
                <a:lnTo>
                  <a:pt x="1388" y="166"/>
                </a:lnTo>
                <a:lnTo>
                  <a:pt x="1387" y="165"/>
                </a:lnTo>
                <a:lnTo>
                  <a:pt x="1387" y="161"/>
                </a:lnTo>
                <a:lnTo>
                  <a:pt x="1392" y="161"/>
                </a:lnTo>
                <a:lnTo>
                  <a:pt x="1392" y="160"/>
                </a:lnTo>
                <a:lnTo>
                  <a:pt x="1393" y="160"/>
                </a:lnTo>
                <a:lnTo>
                  <a:pt x="1393" y="156"/>
                </a:lnTo>
                <a:lnTo>
                  <a:pt x="1392" y="156"/>
                </a:lnTo>
                <a:lnTo>
                  <a:pt x="1387" y="159"/>
                </a:lnTo>
                <a:lnTo>
                  <a:pt x="1386" y="160"/>
                </a:lnTo>
                <a:lnTo>
                  <a:pt x="1385" y="164"/>
                </a:lnTo>
                <a:lnTo>
                  <a:pt x="1383" y="165"/>
                </a:lnTo>
                <a:lnTo>
                  <a:pt x="1379" y="165"/>
                </a:lnTo>
                <a:lnTo>
                  <a:pt x="1378" y="164"/>
                </a:lnTo>
                <a:lnTo>
                  <a:pt x="1378" y="162"/>
                </a:lnTo>
                <a:lnTo>
                  <a:pt x="1380" y="160"/>
                </a:lnTo>
                <a:lnTo>
                  <a:pt x="1385" y="158"/>
                </a:lnTo>
                <a:lnTo>
                  <a:pt x="1400" y="144"/>
                </a:lnTo>
                <a:lnTo>
                  <a:pt x="1406" y="142"/>
                </a:lnTo>
                <a:lnTo>
                  <a:pt x="1411" y="137"/>
                </a:lnTo>
                <a:lnTo>
                  <a:pt x="1414" y="135"/>
                </a:lnTo>
                <a:lnTo>
                  <a:pt x="1418" y="131"/>
                </a:lnTo>
                <a:lnTo>
                  <a:pt x="1423" y="130"/>
                </a:lnTo>
                <a:lnTo>
                  <a:pt x="1426" y="127"/>
                </a:lnTo>
                <a:lnTo>
                  <a:pt x="1445" y="121"/>
                </a:lnTo>
                <a:lnTo>
                  <a:pt x="1455" y="117"/>
                </a:lnTo>
                <a:lnTo>
                  <a:pt x="1463" y="117"/>
                </a:lnTo>
                <a:lnTo>
                  <a:pt x="1465" y="116"/>
                </a:lnTo>
                <a:lnTo>
                  <a:pt x="1473" y="116"/>
                </a:lnTo>
                <a:lnTo>
                  <a:pt x="1474" y="117"/>
                </a:lnTo>
                <a:lnTo>
                  <a:pt x="1474" y="118"/>
                </a:lnTo>
                <a:lnTo>
                  <a:pt x="1473" y="118"/>
                </a:lnTo>
                <a:lnTo>
                  <a:pt x="1473" y="119"/>
                </a:lnTo>
                <a:lnTo>
                  <a:pt x="1468" y="119"/>
                </a:lnTo>
                <a:lnTo>
                  <a:pt x="1466" y="122"/>
                </a:lnTo>
                <a:lnTo>
                  <a:pt x="1449" y="124"/>
                </a:lnTo>
                <a:lnTo>
                  <a:pt x="1434" y="128"/>
                </a:lnTo>
                <a:lnTo>
                  <a:pt x="1434" y="129"/>
                </a:lnTo>
                <a:lnTo>
                  <a:pt x="1435" y="130"/>
                </a:lnTo>
                <a:lnTo>
                  <a:pt x="1435" y="131"/>
                </a:lnTo>
                <a:lnTo>
                  <a:pt x="1436" y="132"/>
                </a:lnTo>
                <a:lnTo>
                  <a:pt x="1438" y="134"/>
                </a:lnTo>
                <a:lnTo>
                  <a:pt x="1439" y="132"/>
                </a:lnTo>
                <a:lnTo>
                  <a:pt x="1438" y="132"/>
                </a:lnTo>
                <a:lnTo>
                  <a:pt x="1438" y="131"/>
                </a:lnTo>
                <a:lnTo>
                  <a:pt x="1437" y="131"/>
                </a:lnTo>
                <a:lnTo>
                  <a:pt x="1437" y="130"/>
                </a:lnTo>
                <a:lnTo>
                  <a:pt x="1438" y="129"/>
                </a:lnTo>
                <a:lnTo>
                  <a:pt x="1449" y="131"/>
                </a:lnTo>
                <a:lnTo>
                  <a:pt x="1450" y="132"/>
                </a:lnTo>
                <a:lnTo>
                  <a:pt x="1451" y="135"/>
                </a:lnTo>
                <a:lnTo>
                  <a:pt x="1447" y="140"/>
                </a:lnTo>
                <a:lnTo>
                  <a:pt x="1445" y="140"/>
                </a:lnTo>
                <a:lnTo>
                  <a:pt x="1444" y="141"/>
                </a:lnTo>
                <a:lnTo>
                  <a:pt x="1443" y="144"/>
                </a:lnTo>
                <a:lnTo>
                  <a:pt x="1443" y="153"/>
                </a:lnTo>
                <a:lnTo>
                  <a:pt x="1438" y="158"/>
                </a:lnTo>
                <a:lnTo>
                  <a:pt x="1438" y="160"/>
                </a:lnTo>
                <a:lnTo>
                  <a:pt x="1439" y="162"/>
                </a:lnTo>
                <a:lnTo>
                  <a:pt x="1442" y="165"/>
                </a:lnTo>
                <a:lnTo>
                  <a:pt x="1445" y="172"/>
                </a:lnTo>
                <a:lnTo>
                  <a:pt x="1445" y="173"/>
                </a:lnTo>
                <a:lnTo>
                  <a:pt x="1447" y="174"/>
                </a:lnTo>
                <a:lnTo>
                  <a:pt x="1447" y="183"/>
                </a:lnTo>
                <a:lnTo>
                  <a:pt x="1448" y="185"/>
                </a:lnTo>
                <a:lnTo>
                  <a:pt x="1448" y="187"/>
                </a:lnTo>
                <a:lnTo>
                  <a:pt x="1447" y="189"/>
                </a:lnTo>
                <a:lnTo>
                  <a:pt x="1444" y="189"/>
                </a:lnTo>
                <a:lnTo>
                  <a:pt x="1444" y="190"/>
                </a:lnTo>
                <a:lnTo>
                  <a:pt x="1443" y="192"/>
                </a:lnTo>
                <a:lnTo>
                  <a:pt x="1442" y="193"/>
                </a:lnTo>
                <a:lnTo>
                  <a:pt x="1442" y="192"/>
                </a:lnTo>
                <a:lnTo>
                  <a:pt x="1436" y="186"/>
                </a:lnTo>
                <a:lnTo>
                  <a:pt x="1434" y="185"/>
                </a:lnTo>
                <a:lnTo>
                  <a:pt x="1432" y="186"/>
                </a:lnTo>
                <a:lnTo>
                  <a:pt x="1436" y="190"/>
                </a:lnTo>
                <a:lnTo>
                  <a:pt x="1436" y="191"/>
                </a:lnTo>
                <a:lnTo>
                  <a:pt x="1437" y="193"/>
                </a:lnTo>
                <a:lnTo>
                  <a:pt x="1436" y="195"/>
                </a:lnTo>
                <a:lnTo>
                  <a:pt x="1435" y="195"/>
                </a:lnTo>
                <a:lnTo>
                  <a:pt x="1431" y="191"/>
                </a:lnTo>
                <a:lnTo>
                  <a:pt x="1426" y="190"/>
                </a:lnTo>
                <a:lnTo>
                  <a:pt x="1425" y="191"/>
                </a:lnTo>
                <a:lnTo>
                  <a:pt x="1424" y="193"/>
                </a:lnTo>
                <a:lnTo>
                  <a:pt x="1423" y="193"/>
                </a:lnTo>
                <a:lnTo>
                  <a:pt x="1423" y="192"/>
                </a:lnTo>
                <a:lnTo>
                  <a:pt x="1422" y="192"/>
                </a:lnTo>
                <a:lnTo>
                  <a:pt x="1420" y="195"/>
                </a:lnTo>
                <a:lnTo>
                  <a:pt x="1418" y="198"/>
                </a:lnTo>
                <a:lnTo>
                  <a:pt x="1417" y="202"/>
                </a:lnTo>
                <a:lnTo>
                  <a:pt x="1418" y="203"/>
                </a:lnTo>
                <a:lnTo>
                  <a:pt x="1422" y="205"/>
                </a:lnTo>
                <a:lnTo>
                  <a:pt x="1424" y="204"/>
                </a:lnTo>
                <a:lnTo>
                  <a:pt x="1428" y="203"/>
                </a:lnTo>
                <a:lnTo>
                  <a:pt x="1442" y="204"/>
                </a:lnTo>
                <a:lnTo>
                  <a:pt x="1443" y="204"/>
                </a:lnTo>
                <a:lnTo>
                  <a:pt x="1445" y="207"/>
                </a:lnTo>
                <a:lnTo>
                  <a:pt x="1445" y="208"/>
                </a:lnTo>
                <a:lnTo>
                  <a:pt x="1450" y="208"/>
                </a:lnTo>
                <a:lnTo>
                  <a:pt x="1454" y="204"/>
                </a:lnTo>
                <a:lnTo>
                  <a:pt x="1456" y="198"/>
                </a:lnTo>
                <a:lnTo>
                  <a:pt x="1459" y="196"/>
                </a:lnTo>
                <a:lnTo>
                  <a:pt x="1460" y="196"/>
                </a:lnTo>
                <a:lnTo>
                  <a:pt x="1457" y="201"/>
                </a:lnTo>
                <a:lnTo>
                  <a:pt x="1457" y="205"/>
                </a:lnTo>
                <a:lnTo>
                  <a:pt x="1459" y="209"/>
                </a:lnTo>
                <a:lnTo>
                  <a:pt x="1461" y="208"/>
                </a:lnTo>
                <a:lnTo>
                  <a:pt x="1469" y="198"/>
                </a:lnTo>
                <a:lnTo>
                  <a:pt x="1472" y="197"/>
                </a:lnTo>
                <a:lnTo>
                  <a:pt x="1473" y="197"/>
                </a:lnTo>
                <a:lnTo>
                  <a:pt x="1474" y="199"/>
                </a:lnTo>
                <a:lnTo>
                  <a:pt x="1478" y="210"/>
                </a:lnTo>
                <a:lnTo>
                  <a:pt x="1479" y="213"/>
                </a:lnTo>
                <a:lnTo>
                  <a:pt x="1486" y="213"/>
                </a:lnTo>
                <a:lnTo>
                  <a:pt x="1487" y="211"/>
                </a:lnTo>
                <a:lnTo>
                  <a:pt x="1487" y="209"/>
                </a:lnTo>
                <a:lnTo>
                  <a:pt x="1488" y="207"/>
                </a:lnTo>
                <a:lnTo>
                  <a:pt x="1490" y="205"/>
                </a:lnTo>
                <a:lnTo>
                  <a:pt x="1490" y="204"/>
                </a:lnTo>
                <a:lnTo>
                  <a:pt x="1488" y="201"/>
                </a:lnTo>
                <a:lnTo>
                  <a:pt x="1488" y="198"/>
                </a:lnTo>
                <a:lnTo>
                  <a:pt x="1487" y="198"/>
                </a:lnTo>
                <a:lnTo>
                  <a:pt x="1486" y="196"/>
                </a:lnTo>
                <a:lnTo>
                  <a:pt x="1488" y="196"/>
                </a:lnTo>
                <a:lnTo>
                  <a:pt x="1488" y="193"/>
                </a:lnTo>
                <a:lnTo>
                  <a:pt x="1490" y="190"/>
                </a:lnTo>
                <a:lnTo>
                  <a:pt x="1490" y="187"/>
                </a:lnTo>
                <a:lnTo>
                  <a:pt x="1492" y="183"/>
                </a:lnTo>
                <a:lnTo>
                  <a:pt x="1493" y="181"/>
                </a:lnTo>
                <a:lnTo>
                  <a:pt x="1494" y="183"/>
                </a:lnTo>
                <a:lnTo>
                  <a:pt x="1496" y="181"/>
                </a:lnTo>
                <a:lnTo>
                  <a:pt x="1497" y="178"/>
                </a:lnTo>
                <a:lnTo>
                  <a:pt x="1500" y="177"/>
                </a:lnTo>
                <a:lnTo>
                  <a:pt x="1501" y="175"/>
                </a:lnTo>
                <a:lnTo>
                  <a:pt x="1501" y="173"/>
                </a:lnTo>
                <a:lnTo>
                  <a:pt x="1503" y="172"/>
                </a:lnTo>
                <a:lnTo>
                  <a:pt x="1509" y="168"/>
                </a:lnTo>
                <a:lnTo>
                  <a:pt x="1513" y="167"/>
                </a:lnTo>
                <a:lnTo>
                  <a:pt x="1518" y="167"/>
                </a:lnTo>
                <a:lnTo>
                  <a:pt x="1525" y="165"/>
                </a:lnTo>
                <a:lnTo>
                  <a:pt x="1532" y="158"/>
                </a:lnTo>
                <a:lnTo>
                  <a:pt x="1535" y="156"/>
                </a:lnTo>
                <a:lnTo>
                  <a:pt x="1537" y="158"/>
                </a:lnTo>
                <a:lnTo>
                  <a:pt x="1541" y="161"/>
                </a:lnTo>
                <a:lnTo>
                  <a:pt x="1543" y="161"/>
                </a:lnTo>
                <a:lnTo>
                  <a:pt x="1556" y="160"/>
                </a:lnTo>
                <a:lnTo>
                  <a:pt x="1556" y="161"/>
                </a:lnTo>
                <a:lnTo>
                  <a:pt x="1555" y="166"/>
                </a:lnTo>
                <a:lnTo>
                  <a:pt x="1556" y="165"/>
                </a:lnTo>
                <a:lnTo>
                  <a:pt x="1559" y="160"/>
                </a:lnTo>
                <a:lnTo>
                  <a:pt x="1560" y="159"/>
                </a:lnTo>
                <a:lnTo>
                  <a:pt x="1562" y="159"/>
                </a:lnTo>
                <a:lnTo>
                  <a:pt x="1571" y="167"/>
                </a:lnTo>
                <a:lnTo>
                  <a:pt x="1580" y="170"/>
                </a:lnTo>
                <a:lnTo>
                  <a:pt x="1591" y="168"/>
                </a:lnTo>
                <a:lnTo>
                  <a:pt x="1593" y="166"/>
                </a:lnTo>
                <a:lnTo>
                  <a:pt x="1594" y="164"/>
                </a:lnTo>
                <a:lnTo>
                  <a:pt x="1596" y="159"/>
                </a:lnTo>
                <a:lnTo>
                  <a:pt x="1597" y="156"/>
                </a:lnTo>
                <a:lnTo>
                  <a:pt x="1599" y="154"/>
                </a:lnTo>
                <a:lnTo>
                  <a:pt x="1600" y="152"/>
                </a:lnTo>
                <a:lnTo>
                  <a:pt x="1602" y="148"/>
                </a:lnTo>
                <a:lnTo>
                  <a:pt x="1603" y="147"/>
                </a:lnTo>
                <a:lnTo>
                  <a:pt x="1616" y="146"/>
                </a:lnTo>
                <a:lnTo>
                  <a:pt x="1618" y="141"/>
                </a:lnTo>
                <a:lnTo>
                  <a:pt x="1617" y="140"/>
                </a:lnTo>
                <a:lnTo>
                  <a:pt x="1617" y="135"/>
                </a:lnTo>
                <a:lnTo>
                  <a:pt x="1618" y="134"/>
                </a:lnTo>
                <a:lnTo>
                  <a:pt x="1627" y="130"/>
                </a:lnTo>
                <a:lnTo>
                  <a:pt x="1629" y="130"/>
                </a:lnTo>
                <a:lnTo>
                  <a:pt x="1629" y="131"/>
                </a:lnTo>
                <a:lnTo>
                  <a:pt x="1628" y="135"/>
                </a:lnTo>
                <a:lnTo>
                  <a:pt x="1628" y="137"/>
                </a:lnTo>
                <a:lnTo>
                  <a:pt x="1629" y="138"/>
                </a:lnTo>
                <a:lnTo>
                  <a:pt x="1630" y="141"/>
                </a:lnTo>
                <a:lnTo>
                  <a:pt x="1630" y="143"/>
                </a:lnTo>
                <a:lnTo>
                  <a:pt x="1635" y="146"/>
                </a:lnTo>
                <a:lnTo>
                  <a:pt x="1634" y="148"/>
                </a:lnTo>
                <a:lnTo>
                  <a:pt x="1636" y="148"/>
                </a:lnTo>
                <a:lnTo>
                  <a:pt x="1637" y="147"/>
                </a:lnTo>
                <a:lnTo>
                  <a:pt x="1637" y="144"/>
                </a:lnTo>
                <a:lnTo>
                  <a:pt x="1636" y="144"/>
                </a:lnTo>
                <a:lnTo>
                  <a:pt x="1635" y="143"/>
                </a:lnTo>
                <a:lnTo>
                  <a:pt x="1635" y="142"/>
                </a:lnTo>
                <a:lnTo>
                  <a:pt x="1631" y="142"/>
                </a:lnTo>
                <a:lnTo>
                  <a:pt x="1631" y="137"/>
                </a:lnTo>
                <a:lnTo>
                  <a:pt x="1630" y="137"/>
                </a:lnTo>
                <a:lnTo>
                  <a:pt x="1630" y="129"/>
                </a:lnTo>
                <a:lnTo>
                  <a:pt x="1631" y="129"/>
                </a:lnTo>
                <a:lnTo>
                  <a:pt x="1631" y="128"/>
                </a:lnTo>
                <a:lnTo>
                  <a:pt x="1643" y="122"/>
                </a:lnTo>
                <a:lnTo>
                  <a:pt x="1656" y="117"/>
                </a:lnTo>
                <a:lnTo>
                  <a:pt x="1671" y="117"/>
                </a:lnTo>
                <a:lnTo>
                  <a:pt x="1672" y="118"/>
                </a:lnTo>
                <a:lnTo>
                  <a:pt x="1671" y="119"/>
                </a:lnTo>
                <a:lnTo>
                  <a:pt x="1668" y="118"/>
                </a:lnTo>
                <a:lnTo>
                  <a:pt x="1667" y="118"/>
                </a:lnTo>
                <a:lnTo>
                  <a:pt x="1666" y="119"/>
                </a:lnTo>
                <a:lnTo>
                  <a:pt x="1660" y="121"/>
                </a:lnTo>
                <a:lnTo>
                  <a:pt x="1658" y="123"/>
                </a:lnTo>
                <a:lnTo>
                  <a:pt x="1656" y="125"/>
                </a:lnTo>
                <a:lnTo>
                  <a:pt x="1660" y="125"/>
                </a:lnTo>
                <a:lnTo>
                  <a:pt x="1666" y="129"/>
                </a:lnTo>
                <a:lnTo>
                  <a:pt x="1679" y="144"/>
                </a:lnTo>
                <a:lnTo>
                  <a:pt x="1679" y="150"/>
                </a:lnTo>
                <a:lnTo>
                  <a:pt x="1678" y="152"/>
                </a:lnTo>
                <a:lnTo>
                  <a:pt x="1675" y="152"/>
                </a:lnTo>
                <a:lnTo>
                  <a:pt x="1673" y="150"/>
                </a:lnTo>
                <a:lnTo>
                  <a:pt x="1671" y="150"/>
                </a:lnTo>
                <a:lnTo>
                  <a:pt x="1668" y="153"/>
                </a:lnTo>
                <a:lnTo>
                  <a:pt x="1667" y="155"/>
                </a:lnTo>
                <a:lnTo>
                  <a:pt x="1667" y="158"/>
                </a:lnTo>
                <a:lnTo>
                  <a:pt x="1666" y="159"/>
                </a:lnTo>
                <a:lnTo>
                  <a:pt x="1666" y="160"/>
                </a:lnTo>
                <a:lnTo>
                  <a:pt x="1665" y="160"/>
                </a:lnTo>
                <a:lnTo>
                  <a:pt x="1664" y="161"/>
                </a:lnTo>
                <a:lnTo>
                  <a:pt x="1664" y="167"/>
                </a:lnTo>
                <a:lnTo>
                  <a:pt x="1666" y="170"/>
                </a:lnTo>
                <a:lnTo>
                  <a:pt x="1666" y="173"/>
                </a:lnTo>
                <a:lnTo>
                  <a:pt x="1665" y="175"/>
                </a:lnTo>
                <a:lnTo>
                  <a:pt x="1665" y="185"/>
                </a:lnTo>
                <a:lnTo>
                  <a:pt x="1666" y="186"/>
                </a:lnTo>
                <a:lnTo>
                  <a:pt x="1678" y="190"/>
                </a:lnTo>
                <a:lnTo>
                  <a:pt x="1690" y="195"/>
                </a:lnTo>
                <a:lnTo>
                  <a:pt x="1697" y="189"/>
                </a:lnTo>
                <a:lnTo>
                  <a:pt x="1699" y="186"/>
                </a:lnTo>
                <a:lnTo>
                  <a:pt x="1702" y="179"/>
                </a:lnTo>
                <a:lnTo>
                  <a:pt x="1702" y="173"/>
                </a:lnTo>
                <a:lnTo>
                  <a:pt x="1698" y="166"/>
                </a:lnTo>
                <a:lnTo>
                  <a:pt x="1696" y="162"/>
                </a:lnTo>
                <a:lnTo>
                  <a:pt x="1695" y="161"/>
                </a:lnTo>
                <a:lnTo>
                  <a:pt x="1693" y="161"/>
                </a:lnTo>
                <a:lnTo>
                  <a:pt x="1693" y="156"/>
                </a:lnTo>
                <a:lnTo>
                  <a:pt x="1696" y="154"/>
                </a:lnTo>
                <a:lnTo>
                  <a:pt x="1699" y="149"/>
                </a:lnTo>
                <a:lnTo>
                  <a:pt x="1701" y="149"/>
                </a:lnTo>
                <a:lnTo>
                  <a:pt x="1705" y="153"/>
                </a:lnTo>
                <a:lnTo>
                  <a:pt x="1706" y="154"/>
                </a:lnTo>
                <a:lnTo>
                  <a:pt x="1723" y="149"/>
                </a:lnTo>
                <a:lnTo>
                  <a:pt x="1727" y="147"/>
                </a:lnTo>
                <a:lnTo>
                  <a:pt x="1733" y="138"/>
                </a:lnTo>
                <a:lnTo>
                  <a:pt x="1734" y="137"/>
                </a:lnTo>
                <a:lnTo>
                  <a:pt x="1735" y="132"/>
                </a:lnTo>
                <a:lnTo>
                  <a:pt x="1736" y="131"/>
                </a:lnTo>
                <a:lnTo>
                  <a:pt x="1737" y="129"/>
                </a:lnTo>
                <a:lnTo>
                  <a:pt x="1740" y="129"/>
                </a:lnTo>
                <a:lnTo>
                  <a:pt x="1745" y="128"/>
                </a:lnTo>
                <a:lnTo>
                  <a:pt x="1743" y="128"/>
                </a:lnTo>
                <a:lnTo>
                  <a:pt x="1742" y="127"/>
                </a:lnTo>
                <a:lnTo>
                  <a:pt x="1742" y="124"/>
                </a:lnTo>
                <a:lnTo>
                  <a:pt x="1743" y="122"/>
                </a:lnTo>
                <a:lnTo>
                  <a:pt x="1743" y="113"/>
                </a:lnTo>
                <a:lnTo>
                  <a:pt x="1742" y="112"/>
                </a:lnTo>
                <a:lnTo>
                  <a:pt x="1743" y="109"/>
                </a:lnTo>
                <a:lnTo>
                  <a:pt x="1742" y="107"/>
                </a:lnTo>
                <a:lnTo>
                  <a:pt x="1741" y="103"/>
                </a:lnTo>
                <a:lnTo>
                  <a:pt x="1739" y="98"/>
                </a:lnTo>
                <a:lnTo>
                  <a:pt x="1736" y="95"/>
                </a:lnTo>
                <a:lnTo>
                  <a:pt x="1734" y="97"/>
                </a:lnTo>
                <a:lnTo>
                  <a:pt x="1734" y="103"/>
                </a:lnTo>
                <a:lnTo>
                  <a:pt x="1735" y="103"/>
                </a:lnTo>
                <a:lnTo>
                  <a:pt x="1734" y="105"/>
                </a:lnTo>
                <a:lnTo>
                  <a:pt x="1732" y="104"/>
                </a:lnTo>
                <a:lnTo>
                  <a:pt x="1729" y="104"/>
                </a:lnTo>
                <a:lnTo>
                  <a:pt x="1728" y="101"/>
                </a:lnTo>
                <a:lnTo>
                  <a:pt x="1728" y="85"/>
                </a:lnTo>
                <a:lnTo>
                  <a:pt x="1727" y="82"/>
                </a:lnTo>
                <a:lnTo>
                  <a:pt x="1727" y="80"/>
                </a:lnTo>
                <a:lnTo>
                  <a:pt x="1726" y="78"/>
                </a:lnTo>
                <a:lnTo>
                  <a:pt x="1722" y="74"/>
                </a:lnTo>
                <a:lnTo>
                  <a:pt x="1722" y="69"/>
                </a:lnTo>
                <a:lnTo>
                  <a:pt x="1721" y="68"/>
                </a:lnTo>
                <a:lnTo>
                  <a:pt x="1717" y="63"/>
                </a:lnTo>
                <a:lnTo>
                  <a:pt x="1716" y="63"/>
                </a:lnTo>
                <a:lnTo>
                  <a:pt x="1715" y="57"/>
                </a:lnTo>
                <a:lnTo>
                  <a:pt x="1712" y="55"/>
                </a:lnTo>
                <a:lnTo>
                  <a:pt x="1712" y="51"/>
                </a:lnTo>
                <a:lnTo>
                  <a:pt x="1709" y="48"/>
                </a:lnTo>
                <a:lnTo>
                  <a:pt x="1710" y="45"/>
                </a:lnTo>
                <a:lnTo>
                  <a:pt x="1710" y="42"/>
                </a:lnTo>
                <a:lnTo>
                  <a:pt x="1711" y="39"/>
                </a:lnTo>
                <a:lnTo>
                  <a:pt x="1714" y="37"/>
                </a:lnTo>
                <a:lnTo>
                  <a:pt x="1732" y="37"/>
                </a:lnTo>
                <a:lnTo>
                  <a:pt x="1732" y="32"/>
                </a:lnTo>
                <a:lnTo>
                  <a:pt x="1730" y="31"/>
                </a:lnTo>
                <a:lnTo>
                  <a:pt x="1730" y="29"/>
                </a:lnTo>
                <a:lnTo>
                  <a:pt x="1732" y="29"/>
                </a:lnTo>
                <a:lnTo>
                  <a:pt x="1733" y="30"/>
                </a:lnTo>
                <a:lnTo>
                  <a:pt x="1734" y="30"/>
                </a:lnTo>
                <a:lnTo>
                  <a:pt x="1734" y="27"/>
                </a:lnTo>
                <a:lnTo>
                  <a:pt x="1733" y="27"/>
                </a:lnTo>
                <a:lnTo>
                  <a:pt x="1733" y="18"/>
                </a:lnTo>
                <a:lnTo>
                  <a:pt x="1734" y="17"/>
                </a:lnTo>
                <a:lnTo>
                  <a:pt x="1736" y="15"/>
                </a:lnTo>
                <a:lnTo>
                  <a:pt x="1742" y="13"/>
                </a:lnTo>
                <a:lnTo>
                  <a:pt x="1745" y="13"/>
                </a:lnTo>
                <a:lnTo>
                  <a:pt x="1747" y="15"/>
                </a:lnTo>
                <a:lnTo>
                  <a:pt x="1748" y="15"/>
                </a:lnTo>
                <a:lnTo>
                  <a:pt x="1749" y="13"/>
                </a:lnTo>
                <a:lnTo>
                  <a:pt x="1751" y="13"/>
                </a:lnTo>
                <a:lnTo>
                  <a:pt x="1751" y="15"/>
                </a:lnTo>
                <a:lnTo>
                  <a:pt x="1752" y="17"/>
                </a:lnTo>
                <a:lnTo>
                  <a:pt x="1759" y="18"/>
                </a:lnTo>
                <a:lnTo>
                  <a:pt x="1762" y="21"/>
                </a:lnTo>
                <a:lnTo>
                  <a:pt x="1778" y="25"/>
                </a:lnTo>
                <a:lnTo>
                  <a:pt x="1784" y="26"/>
                </a:lnTo>
                <a:lnTo>
                  <a:pt x="1784" y="1480"/>
                </a:lnTo>
                <a:lnTo>
                  <a:pt x="1783" y="1480"/>
                </a:lnTo>
                <a:lnTo>
                  <a:pt x="1782" y="1479"/>
                </a:lnTo>
                <a:lnTo>
                  <a:pt x="1780" y="1479"/>
                </a:lnTo>
                <a:lnTo>
                  <a:pt x="1780" y="1475"/>
                </a:lnTo>
                <a:lnTo>
                  <a:pt x="1778" y="1475"/>
                </a:lnTo>
                <a:lnTo>
                  <a:pt x="1778" y="1476"/>
                </a:lnTo>
                <a:lnTo>
                  <a:pt x="1777" y="1476"/>
                </a:lnTo>
                <a:lnTo>
                  <a:pt x="1776" y="1475"/>
                </a:lnTo>
                <a:lnTo>
                  <a:pt x="1772" y="1475"/>
                </a:lnTo>
                <a:lnTo>
                  <a:pt x="1772" y="1477"/>
                </a:lnTo>
                <a:lnTo>
                  <a:pt x="1771" y="1477"/>
                </a:lnTo>
                <a:lnTo>
                  <a:pt x="1771" y="1479"/>
                </a:lnTo>
                <a:lnTo>
                  <a:pt x="1770" y="1479"/>
                </a:lnTo>
                <a:lnTo>
                  <a:pt x="1768" y="1477"/>
                </a:lnTo>
                <a:lnTo>
                  <a:pt x="1768" y="1475"/>
                </a:lnTo>
                <a:lnTo>
                  <a:pt x="1766" y="1475"/>
                </a:lnTo>
                <a:lnTo>
                  <a:pt x="1765" y="1474"/>
                </a:lnTo>
                <a:lnTo>
                  <a:pt x="1764" y="1471"/>
                </a:lnTo>
                <a:lnTo>
                  <a:pt x="1760" y="1470"/>
                </a:lnTo>
                <a:lnTo>
                  <a:pt x="1759" y="1470"/>
                </a:lnTo>
                <a:lnTo>
                  <a:pt x="1758" y="1471"/>
                </a:lnTo>
                <a:lnTo>
                  <a:pt x="1758" y="1473"/>
                </a:lnTo>
                <a:lnTo>
                  <a:pt x="1757" y="1474"/>
                </a:lnTo>
                <a:lnTo>
                  <a:pt x="1754" y="1474"/>
                </a:lnTo>
                <a:lnTo>
                  <a:pt x="1754" y="1475"/>
                </a:lnTo>
                <a:lnTo>
                  <a:pt x="1755" y="1477"/>
                </a:lnTo>
                <a:lnTo>
                  <a:pt x="1755" y="1480"/>
                </a:lnTo>
                <a:lnTo>
                  <a:pt x="1754" y="1481"/>
                </a:lnTo>
                <a:lnTo>
                  <a:pt x="1754" y="1482"/>
                </a:lnTo>
                <a:lnTo>
                  <a:pt x="1753" y="1481"/>
                </a:lnTo>
                <a:lnTo>
                  <a:pt x="1753" y="1480"/>
                </a:lnTo>
                <a:lnTo>
                  <a:pt x="1752" y="1480"/>
                </a:lnTo>
                <a:lnTo>
                  <a:pt x="1752" y="1479"/>
                </a:lnTo>
                <a:lnTo>
                  <a:pt x="1746" y="1479"/>
                </a:lnTo>
                <a:lnTo>
                  <a:pt x="1745" y="1480"/>
                </a:lnTo>
                <a:lnTo>
                  <a:pt x="1745" y="1483"/>
                </a:lnTo>
                <a:lnTo>
                  <a:pt x="1749" y="1483"/>
                </a:lnTo>
                <a:lnTo>
                  <a:pt x="1749" y="1485"/>
                </a:lnTo>
                <a:lnTo>
                  <a:pt x="1751" y="1486"/>
                </a:lnTo>
                <a:lnTo>
                  <a:pt x="1752" y="1486"/>
                </a:lnTo>
                <a:lnTo>
                  <a:pt x="1754" y="1488"/>
                </a:lnTo>
                <a:lnTo>
                  <a:pt x="1754" y="1489"/>
                </a:lnTo>
                <a:lnTo>
                  <a:pt x="1751" y="1493"/>
                </a:lnTo>
                <a:lnTo>
                  <a:pt x="1751" y="1495"/>
                </a:lnTo>
                <a:lnTo>
                  <a:pt x="1748" y="1495"/>
                </a:lnTo>
                <a:lnTo>
                  <a:pt x="1748" y="1496"/>
                </a:lnTo>
                <a:lnTo>
                  <a:pt x="1747" y="1496"/>
                </a:lnTo>
                <a:lnTo>
                  <a:pt x="1747" y="1500"/>
                </a:lnTo>
                <a:lnTo>
                  <a:pt x="1746" y="1501"/>
                </a:lnTo>
                <a:lnTo>
                  <a:pt x="1741" y="1499"/>
                </a:lnTo>
                <a:lnTo>
                  <a:pt x="1741" y="1501"/>
                </a:lnTo>
                <a:lnTo>
                  <a:pt x="1742" y="1502"/>
                </a:lnTo>
                <a:lnTo>
                  <a:pt x="1747" y="1502"/>
                </a:lnTo>
                <a:lnTo>
                  <a:pt x="1749" y="1504"/>
                </a:lnTo>
                <a:lnTo>
                  <a:pt x="1751" y="1505"/>
                </a:lnTo>
                <a:lnTo>
                  <a:pt x="1751" y="1506"/>
                </a:lnTo>
                <a:lnTo>
                  <a:pt x="1752" y="1506"/>
                </a:lnTo>
                <a:lnTo>
                  <a:pt x="1758" y="1507"/>
                </a:lnTo>
                <a:lnTo>
                  <a:pt x="1759" y="1507"/>
                </a:lnTo>
                <a:lnTo>
                  <a:pt x="1761" y="1505"/>
                </a:lnTo>
                <a:lnTo>
                  <a:pt x="1767" y="1505"/>
                </a:lnTo>
                <a:lnTo>
                  <a:pt x="1768" y="1506"/>
                </a:lnTo>
                <a:lnTo>
                  <a:pt x="1768" y="1510"/>
                </a:lnTo>
                <a:lnTo>
                  <a:pt x="1762" y="1516"/>
                </a:lnTo>
                <a:lnTo>
                  <a:pt x="1761" y="1516"/>
                </a:lnTo>
                <a:lnTo>
                  <a:pt x="1759" y="1513"/>
                </a:lnTo>
                <a:lnTo>
                  <a:pt x="1759" y="1511"/>
                </a:lnTo>
                <a:lnTo>
                  <a:pt x="1758" y="1511"/>
                </a:lnTo>
                <a:lnTo>
                  <a:pt x="1757" y="1510"/>
                </a:lnTo>
                <a:lnTo>
                  <a:pt x="1755" y="1511"/>
                </a:lnTo>
                <a:lnTo>
                  <a:pt x="1754" y="1513"/>
                </a:lnTo>
                <a:lnTo>
                  <a:pt x="1754" y="1516"/>
                </a:lnTo>
                <a:lnTo>
                  <a:pt x="1752" y="1518"/>
                </a:lnTo>
                <a:lnTo>
                  <a:pt x="1752" y="1523"/>
                </a:lnTo>
                <a:lnTo>
                  <a:pt x="1753" y="1525"/>
                </a:lnTo>
                <a:lnTo>
                  <a:pt x="1754" y="1526"/>
                </a:lnTo>
                <a:lnTo>
                  <a:pt x="1760" y="1526"/>
                </a:lnTo>
                <a:lnTo>
                  <a:pt x="1761" y="1528"/>
                </a:lnTo>
                <a:lnTo>
                  <a:pt x="1766" y="1531"/>
                </a:lnTo>
                <a:lnTo>
                  <a:pt x="1768" y="1531"/>
                </a:lnTo>
                <a:lnTo>
                  <a:pt x="1773" y="1529"/>
                </a:lnTo>
                <a:lnTo>
                  <a:pt x="1778" y="1533"/>
                </a:lnTo>
                <a:lnTo>
                  <a:pt x="1780" y="1535"/>
                </a:lnTo>
                <a:lnTo>
                  <a:pt x="1784" y="1536"/>
                </a:lnTo>
                <a:lnTo>
                  <a:pt x="1784" y="1550"/>
                </a:lnTo>
                <a:lnTo>
                  <a:pt x="1782" y="1548"/>
                </a:lnTo>
                <a:lnTo>
                  <a:pt x="1773" y="1548"/>
                </a:lnTo>
                <a:lnTo>
                  <a:pt x="1772" y="1549"/>
                </a:lnTo>
                <a:lnTo>
                  <a:pt x="1770" y="1549"/>
                </a:lnTo>
                <a:lnTo>
                  <a:pt x="1765" y="1544"/>
                </a:lnTo>
                <a:lnTo>
                  <a:pt x="1764" y="1544"/>
                </a:lnTo>
                <a:lnTo>
                  <a:pt x="1761" y="1547"/>
                </a:lnTo>
                <a:lnTo>
                  <a:pt x="1757" y="1547"/>
                </a:lnTo>
                <a:lnTo>
                  <a:pt x="1755" y="1545"/>
                </a:lnTo>
                <a:lnTo>
                  <a:pt x="1752" y="1545"/>
                </a:lnTo>
                <a:lnTo>
                  <a:pt x="1749" y="1548"/>
                </a:lnTo>
                <a:lnTo>
                  <a:pt x="1745" y="1548"/>
                </a:lnTo>
                <a:lnTo>
                  <a:pt x="1748" y="1551"/>
                </a:lnTo>
                <a:lnTo>
                  <a:pt x="1741" y="1559"/>
                </a:lnTo>
                <a:lnTo>
                  <a:pt x="1740" y="1559"/>
                </a:lnTo>
                <a:lnTo>
                  <a:pt x="1739" y="1561"/>
                </a:lnTo>
                <a:lnTo>
                  <a:pt x="1739" y="1562"/>
                </a:lnTo>
                <a:lnTo>
                  <a:pt x="1736" y="1562"/>
                </a:lnTo>
                <a:lnTo>
                  <a:pt x="1735" y="1563"/>
                </a:lnTo>
                <a:lnTo>
                  <a:pt x="1733" y="1565"/>
                </a:lnTo>
                <a:lnTo>
                  <a:pt x="1732" y="1567"/>
                </a:lnTo>
                <a:lnTo>
                  <a:pt x="1732" y="1569"/>
                </a:lnTo>
                <a:lnTo>
                  <a:pt x="1733" y="1569"/>
                </a:lnTo>
                <a:lnTo>
                  <a:pt x="1733" y="1571"/>
                </a:lnTo>
                <a:lnTo>
                  <a:pt x="1734" y="1572"/>
                </a:lnTo>
                <a:lnTo>
                  <a:pt x="1737" y="1572"/>
                </a:lnTo>
                <a:lnTo>
                  <a:pt x="1737" y="1579"/>
                </a:lnTo>
                <a:lnTo>
                  <a:pt x="1739" y="1580"/>
                </a:lnTo>
                <a:lnTo>
                  <a:pt x="1742" y="1581"/>
                </a:lnTo>
                <a:lnTo>
                  <a:pt x="1743" y="1581"/>
                </a:lnTo>
                <a:lnTo>
                  <a:pt x="1743" y="1587"/>
                </a:lnTo>
                <a:lnTo>
                  <a:pt x="1745" y="1588"/>
                </a:lnTo>
                <a:lnTo>
                  <a:pt x="1747" y="1592"/>
                </a:lnTo>
                <a:lnTo>
                  <a:pt x="1741" y="1598"/>
                </a:lnTo>
                <a:lnTo>
                  <a:pt x="1740" y="1598"/>
                </a:lnTo>
                <a:lnTo>
                  <a:pt x="1736" y="1600"/>
                </a:lnTo>
                <a:lnTo>
                  <a:pt x="1735" y="1600"/>
                </a:lnTo>
                <a:lnTo>
                  <a:pt x="1734" y="1604"/>
                </a:lnTo>
                <a:lnTo>
                  <a:pt x="1732" y="1605"/>
                </a:lnTo>
                <a:lnTo>
                  <a:pt x="1724" y="1605"/>
                </a:lnTo>
                <a:lnTo>
                  <a:pt x="1721" y="1606"/>
                </a:lnTo>
                <a:lnTo>
                  <a:pt x="1718" y="1609"/>
                </a:lnTo>
                <a:lnTo>
                  <a:pt x="1712" y="1616"/>
                </a:lnTo>
                <a:lnTo>
                  <a:pt x="1704" y="1616"/>
                </a:lnTo>
                <a:lnTo>
                  <a:pt x="1703" y="1617"/>
                </a:lnTo>
                <a:lnTo>
                  <a:pt x="1703" y="1619"/>
                </a:lnTo>
                <a:lnTo>
                  <a:pt x="1705" y="1624"/>
                </a:lnTo>
                <a:lnTo>
                  <a:pt x="1706" y="1624"/>
                </a:lnTo>
                <a:lnTo>
                  <a:pt x="1708" y="1625"/>
                </a:lnTo>
                <a:lnTo>
                  <a:pt x="1709" y="1624"/>
                </a:lnTo>
                <a:lnTo>
                  <a:pt x="1709" y="1623"/>
                </a:lnTo>
                <a:lnTo>
                  <a:pt x="1711" y="1623"/>
                </a:lnTo>
                <a:lnTo>
                  <a:pt x="1715" y="1627"/>
                </a:lnTo>
                <a:lnTo>
                  <a:pt x="1722" y="1628"/>
                </a:lnTo>
                <a:lnTo>
                  <a:pt x="1723" y="1630"/>
                </a:lnTo>
                <a:lnTo>
                  <a:pt x="1723" y="1631"/>
                </a:lnTo>
                <a:lnTo>
                  <a:pt x="1722" y="1631"/>
                </a:lnTo>
                <a:lnTo>
                  <a:pt x="1722" y="1634"/>
                </a:lnTo>
                <a:lnTo>
                  <a:pt x="1721" y="1634"/>
                </a:lnTo>
                <a:lnTo>
                  <a:pt x="1718" y="1636"/>
                </a:lnTo>
                <a:lnTo>
                  <a:pt x="1718" y="1637"/>
                </a:lnTo>
                <a:lnTo>
                  <a:pt x="1720" y="1639"/>
                </a:lnTo>
                <a:lnTo>
                  <a:pt x="1724" y="1639"/>
                </a:lnTo>
                <a:lnTo>
                  <a:pt x="1724" y="1641"/>
                </a:lnTo>
                <a:lnTo>
                  <a:pt x="1726" y="1641"/>
                </a:lnTo>
                <a:lnTo>
                  <a:pt x="1742" y="1642"/>
                </a:lnTo>
                <a:lnTo>
                  <a:pt x="1742" y="1645"/>
                </a:lnTo>
                <a:lnTo>
                  <a:pt x="1743" y="1646"/>
                </a:lnTo>
                <a:lnTo>
                  <a:pt x="1743" y="1647"/>
                </a:lnTo>
                <a:lnTo>
                  <a:pt x="1747" y="1651"/>
                </a:lnTo>
                <a:lnTo>
                  <a:pt x="1749" y="1651"/>
                </a:lnTo>
                <a:lnTo>
                  <a:pt x="1752" y="1652"/>
                </a:lnTo>
                <a:lnTo>
                  <a:pt x="1758" y="1652"/>
                </a:lnTo>
                <a:lnTo>
                  <a:pt x="1759" y="1653"/>
                </a:lnTo>
                <a:lnTo>
                  <a:pt x="1759" y="1652"/>
                </a:lnTo>
                <a:lnTo>
                  <a:pt x="1760" y="1652"/>
                </a:lnTo>
                <a:lnTo>
                  <a:pt x="1762" y="1653"/>
                </a:lnTo>
                <a:lnTo>
                  <a:pt x="1764" y="1654"/>
                </a:lnTo>
                <a:lnTo>
                  <a:pt x="1766" y="1654"/>
                </a:lnTo>
                <a:lnTo>
                  <a:pt x="1766" y="1655"/>
                </a:lnTo>
                <a:lnTo>
                  <a:pt x="1768" y="1661"/>
                </a:lnTo>
                <a:lnTo>
                  <a:pt x="1771" y="1664"/>
                </a:lnTo>
                <a:lnTo>
                  <a:pt x="1773" y="1665"/>
                </a:lnTo>
                <a:lnTo>
                  <a:pt x="1773" y="1666"/>
                </a:lnTo>
                <a:lnTo>
                  <a:pt x="1771" y="1666"/>
                </a:lnTo>
                <a:lnTo>
                  <a:pt x="1768" y="1668"/>
                </a:lnTo>
                <a:lnTo>
                  <a:pt x="1767" y="1672"/>
                </a:lnTo>
                <a:lnTo>
                  <a:pt x="1765" y="1683"/>
                </a:lnTo>
                <a:lnTo>
                  <a:pt x="1765" y="1685"/>
                </a:lnTo>
                <a:lnTo>
                  <a:pt x="1764" y="1691"/>
                </a:lnTo>
                <a:lnTo>
                  <a:pt x="1764" y="1694"/>
                </a:lnTo>
                <a:lnTo>
                  <a:pt x="1762" y="1696"/>
                </a:lnTo>
                <a:lnTo>
                  <a:pt x="1761" y="1697"/>
                </a:lnTo>
                <a:lnTo>
                  <a:pt x="1749" y="1702"/>
                </a:lnTo>
                <a:lnTo>
                  <a:pt x="1737" y="1705"/>
                </a:lnTo>
                <a:lnTo>
                  <a:pt x="1734" y="1705"/>
                </a:lnTo>
                <a:lnTo>
                  <a:pt x="1716" y="1704"/>
                </a:lnTo>
                <a:lnTo>
                  <a:pt x="1714" y="1703"/>
                </a:lnTo>
                <a:lnTo>
                  <a:pt x="1712" y="1702"/>
                </a:lnTo>
                <a:lnTo>
                  <a:pt x="1711" y="1700"/>
                </a:lnTo>
                <a:lnTo>
                  <a:pt x="1710" y="1698"/>
                </a:lnTo>
                <a:lnTo>
                  <a:pt x="1710" y="1696"/>
                </a:lnTo>
                <a:lnTo>
                  <a:pt x="1709" y="1694"/>
                </a:lnTo>
                <a:lnTo>
                  <a:pt x="1706" y="1692"/>
                </a:lnTo>
                <a:lnTo>
                  <a:pt x="1704" y="1692"/>
                </a:lnTo>
                <a:lnTo>
                  <a:pt x="1703" y="1694"/>
                </a:lnTo>
                <a:lnTo>
                  <a:pt x="1702" y="1694"/>
                </a:lnTo>
                <a:lnTo>
                  <a:pt x="1702" y="1695"/>
                </a:lnTo>
                <a:lnTo>
                  <a:pt x="1701" y="1698"/>
                </a:lnTo>
                <a:lnTo>
                  <a:pt x="1699" y="1700"/>
                </a:lnTo>
                <a:lnTo>
                  <a:pt x="1699" y="1701"/>
                </a:lnTo>
                <a:lnTo>
                  <a:pt x="1701" y="1703"/>
                </a:lnTo>
                <a:lnTo>
                  <a:pt x="1699" y="1704"/>
                </a:lnTo>
                <a:lnTo>
                  <a:pt x="1699" y="1705"/>
                </a:lnTo>
                <a:lnTo>
                  <a:pt x="1697" y="1708"/>
                </a:lnTo>
                <a:lnTo>
                  <a:pt x="1696" y="1711"/>
                </a:lnTo>
                <a:lnTo>
                  <a:pt x="1693" y="1714"/>
                </a:lnTo>
                <a:lnTo>
                  <a:pt x="1690" y="1714"/>
                </a:lnTo>
                <a:lnTo>
                  <a:pt x="1687" y="1715"/>
                </a:lnTo>
                <a:lnTo>
                  <a:pt x="1685" y="1717"/>
                </a:lnTo>
                <a:lnTo>
                  <a:pt x="1684" y="1717"/>
                </a:lnTo>
                <a:lnTo>
                  <a:pt x="1681" y="1716"/>
                </a:lnTo>
                <a:lnTo>
                  <a:pt x="1680" y="1715"/>
                </a:lnTo>
                <a:lnTo>
                  <a:pt x="1680" y="1714"/>
                </a:lnTo>
                <a:lnTo>
                  <a:pt x="1681" y="1713"/>
                </a:lnTo>
                <a:lnTo>
                  <a:pt x="1685" y="1713"/>
                </a:lnTo>
                <a:lnTo>
                  <a:pt x="1685" y="1710"/>
                </a:lnTo>
                <a:lnTo>
                  <a:pt x="1683" y="1709"/>
                </a:lnTo>
                <a:lnTo>
                  <a:pt x="1681" y="1709"/>
                </a:lnTo>
                <a:lnTo>
                  <a:pt x="1680" y="1708"/>
                </a:lnTo>
                <a:lnTo>
                  <a:pt x="1678" y="1708"/>
                </a:lnTo>
                <a:lnTo>
                  <a:pt x="1673" y="1709"/>
                </a:lnTo>
                <a:lnTo>
                  <a:pt x="1671" y="1707"/>
                </a:lnTo>
                <a:lnTo>
                  <a:pt x="1671" y="1705"/>
                </a:lnTo>
                <a:lnTo>
                  <a:pt x="1670" y="1705"/>
                </a:lnTo>
                <a:lnTo>
                  <a:pt x="1658" y="1704"/>
                </a:lnTo>
                <a:lnTo>
                  <a:pt x="1656" y="1703"/>
                </a:lnTo>
                <a:lnTo>
                  <a:pt x="1653" y="1701"/>
                </a:lnTo>
                <a:lnTo>
                  <a:pt x="1652" y="1700"/>
                </a:lnTo>
                <a:lnTo>
                  <a:pt x="1652" y="1697"/>
                </a:lnTo>
                <a:lnTo>
                  <a:pt x="1647" y="1697"/>
                </a:lnTo>
                <a:lnTo>
                  <a:pt x="1647" y="1696"/>
                </a:lnTo>
                <a:lnTo>
                  <a:pt x="1646" y="1695"/>
                </a:lnTo>
                <a:lnTo>
                  <a:pt x="1647" y="1692"/>
                </a:lnTo>
                <a:lnTo>
                  <a:pt x="1643" y="1692"/>
                </a:lnTo>
                <a:lnTo>
                  <a:pt x="1642" y="1691"/>
                </a:lnTo>
                <a:lnTo>
                  <a:pt x="1642" y="1688"/>
                </a:lnTo>
                <a:lnTo>
                  <a:pt x="1643" y="1688"/>
                </a:lnTo>
                <a:lnTo>
                  <a:pt x="1643" y="1686"/>
                </a:lnTo>
                <a:lnTo>
                  <a:pt x="1644" y="1685"/>
                </a:lnTo>
                <a:lnTo>
                  <a:pt x="1644" y="1682"/>
                </a:lnTo>
                <a:lnTo>
                  <a:pt x="1643" y="1679"/>
                </a:lnTo>
                <a:lnTo>
                  <a:pt x="1641" y="1679"/>
                </a:lnTo>
                <a:lnTo>
                  <a:pt x="1636" y="1678"/>
                </a:lnTo>
                <a:lnTo>
                  <a:pt x="1635" y="1678"/>
                </a:lnTo>
                <a:lnTo>
                  <a:pt x="1635" y="1676"/>
                </a:lnTo>
                <a:lnTo>
                  <a:pt x="1633" y="1673"/>
                </a:lnTo>
                <a:lnTo>
                  <a:pt x="1630" y="1673"/>
                </a:lnTo>
                <a:lnTo>
                  <a:pt x="1628" y="1676"/>
                </a:lnTo>
                <a:lnTo>
                  <a:pt x="1628" y="1677"/>
                </a:lnTo>
                <a:lnTo>
                  <a:pt x="1627" y="1678"/>
                </a:lnTo>
                <a:lnTo>
                  <a:pt x="1627" y="1679"/>
                </a:lnTo>
                <a:lnTo>
                  <a:pt x="1625" y="1679"/>
                </a:lnTo>
                <a:lnTo>
                  <a:pt x="1624" y="1678"/>
                </a:lnTo>
                <a:lnTo>
                  <a:pt x="1623" y="1678"/>
                </a:lnTo>
                <a:lnTo>
                  <a:pt x="1623" y="1677"/>
                </a:lnTo>
                <a:lnTo>
                  <a:pt x="1618" y="1677"/>
                </a:lnTo>
                <a:lnTo>
                  <a:pt x="1617" y="1678"/>
                </a:lnTo>
                <a:lnTo>
                  <a:pt x="1616" y="1677"/>
                </a:lnTo>
                <a:lnTo>
                  <a:pt x="1616" y="1676"/>
                </a:lnTo>
                <a:lnTo>
                  <a:pt x="1612" y="1676"/>
                </a:lnTo>
                <a:lnTo>
                  <a:pt x="1610" y="1674"/>
                </a:lnTo>
                <a:lnTo>
                  <a:pt x="1609" y="1674"/>
                </a:lnTo>
                <a:lnTo>
                  <a:pt x="1609" y="1677"/>
                </a:lnTo>
                <a:lnTo>
                  <a:pt x="1608" y="1678"/>
                </a:lnTo>
                <a:lnTo>
                  <a:pt x="1608" y="1689"/>
                </a:lnTo>
                <a:lnTo>
                  <a:pt x="1606" y="1690"/>
                </a:lnTo>
                <a:lnTo>
                  <a:pt x="1602" y="1689"/>
                </a:lnTo>
                <a:lnTo>
                  <a:pt x="1599" y="1689"/>
                </a:lnTo>
                <a:lnTo>
                  <a:pt x="1599" y="1690"/>
                </a:lnTo>
                <a:lnTo>
                  <a:pt x="1598" y="1691"/>
                </a:lnTo>
                <a:lnTo>
                  <a:pt x="1598" y="1692"/>
                </a:lnTo>
                <a:lnTo>
                  <a:pt x="1594" y="1692"/>
                </a:lnTo>
                <a:lnTo>
                  <a:pt x="1592" y="1690"/>
                </a:lnTo>
                <a:lnTo>
                  <a:pt x="1591" y="1690"/>
                </a:lnTo>
                <a:lnTo>
                  <a:pt x="1591" y="1689"/>
                </a:lnTo>
                <a:lnTo>
                  <a:pt x="1590" y="1688"/>
                </a:lnTo>
                <a:lnTo>
                  <a:pt x="1590" y="1685"/>
                </a:lnTo>
                <a:lnTo>
                  <a:pt x="1588" y="1684"/>
                </a:lnTo>
                <a:lnTo>
                  <a:pt x="1588" y="1683"/>
                </a:lnTo>
                <a:lnTo>
                  <a:pt x="1587" y="1683"/>
                </a:lnTo>
                <a:lnTo>
                  <a:pt x="1586" y="1682"/>
                </a:lnTo>
                <a:lnTo>
                  <a:pt x="1585" y="1682"/>
                </a:lnTo>
                <a:lnTo>
                  <a:pt x="1585" y="1678"/>
                </a:lnTo>
                <a:lnTo>
                  <a:pt x="1584" y="1677"/>
                </a:lnTo>
                <a:lnTo>
                  <a:pt x="1584" y="1676"/>
                </a:lnTo>
                <a:lnTo>
                  <a:pt x="1583" y="1677"/>
                </a:lnTo>
                <a:lnTo>
                  <a:pt x="1578" y="1679"/>
                </a:lnTo>
                <a:lnTo>
                  <a:pt x="1574" y="1678"/>
                </a:lnTo>
                <a:lnTo>
                  <a:pt x="1573" y="1678"/>
                </a:lnTo>
                <a:lnTo>
                  <a:pt x="1572" y="1679"/>
                </a:lnTo>
                <a:lnTo>
                  <a:pt x="1569" y="1679"/>
                </a:lnTo>
                <a:lnTo>
                  <a:pt x="1567" y="1678"/>
                </a:lnTo>
                <a:lnTo>
                  <a:pt x="1563" y="1678"/>
                </a:lnTo>
                <a:lnTo>
                  <a:pt x="1563" y="1680"/>
                </a:lnTo>
                <a:lnTo>
                  <a:pt x="1565" y="1683"/>
                </a:lnTo>
                <a:lnTo>
                  <a:pt x="1565" y="1685"/>
                </a:lnTo>
                <a:lnTo>
                  <a:pt x="1563" y="1685"/>
                </a:lnTo>
                <a:lnTo>
                  <a:pt x="1561" y="1684"/>
                </a:lnTo>
                <a:lnTo>
                  <a:pt x="1560" y="1684"/>
                </a:lnTo>
                <a:lnTo>
                  <a:pt x="1556" y="1678"/>
                </a:lnTo>
                <a:lnTo>
                  <a:pt x="1555" y="1678"/>
                </a:lnTo>
                <a:lnTo>
                  <a:pt x="1553" y="1680"/>
                </a:lnTo>
                <a:lnTo>
                  <a:pt x="1553" y="1685"/>
                </a:lnTo>
                <a:lnTo>
                  <a:pt x="1550" y="1685"/>
                </a:lnTo>
                <a:lnTo>
                  <a:pt x="1549" y="1686"/>
                </a:lnTo>
                <a:lnTo>
                  <a:pt x="1549" y="1690"/>
                </a:lnTo>
                <a:lnTo>
                  <a:pt x="1548" y="1691"/>
                </a:lnTo>
                <a:lnTo>
                  <a:pt x="1546" y="1691"/>
                </a:lnTo>
                <a:lnTo>
                  <a:pt x="1542" y="1689"/>
                </a:lnTo>
                <a:lnTo>
                  <a:pt x="1541" y="1689"/>
                </a:lnTo>
                <a:lnTo>
                  <a:pt x="1541" y="1691"/>
                </a:lnTo>
                <a:lnTo>
                  <a:pt x="1538" y="1700"/>
                </a:lnTo>
                <a:lnTo>
                  <a:pt x="1538" y="1701"/>
                </a:lnTo>
                <a:lnTo>
                  <a:pt x="1531" y="1707"/>
                </a:lnTo>
                <a:lnTo>
                  <a:pt x="1525" y="1710"/>
                </a:lnTo>
                <a:lnTo>
                  <a:pt x="1522" y="1714"/>
                </a:lnTo>
                <a:lnTo>
                  <a:pt x="1521" y="1714"/>
                </a:lnTo>
                <a:lnTo>
                  <a:pt x="1518" y="1713"/>
                </a:lnTo>
                <a:lnTo>
                  <a:pt x="1517" y="1711"/>
                </a:lnTo>
                <a:lnTo>
                  <a:pt x="1517" y="1710"/>
                </a:lnTo>
                <a:lnTo>
                  <a:pt x="1515" y="1709"/>
                </a:lnTo>
                <a:lnTo>
                  <a:pt x="1513" y="1708"/>
                </a:lnTo>
                <a:lnTo>
                  <a:pt x="1513" y="1707"/>
                </a:lnTo>
                <a:lnTo>
                  <a:pt x="1512" y="1705"/>
                </a:lnTo>
                <a:lnTo>
                  <a:pt x="1507" y="1705"/>
                </a:lnTo>
                <a:lnTo>
                  <a:pt x="1507" y="1707"/>
                </a:lnTo>
                <a:lnTo>
                  <a:pt x="1506" y="1705"/>
                </a:lnTo>
                <a:lnTo>
                  <a:pt x="1505" y="1705"/>
                </a:lnTo>
                <a:lnTo>
                  <a:pt x="1496" y="1696"/>
                </a:lnTo>
                <a:lnTo>
                  <a:pt x="1496" y="1692"/>
                </a:lnTo>
                <a:lnTo>
                  <a:pt x="1494" y="1691"/>
                </a:lnTo>
                <a:lnTo>
                  <a:pt x="1488" y="1689"/>
                </a:lnTo>
                <a:lnTo>
                  <a:pt x="1485" y="1685"/>
                </a:lnTo>
                <a:lnTo>
                  <a:pt x="1481" y="1683"/>
                </a:lnTo>
                <a:lnTo>
                  <a:pt x="1480" y="1682"/>
                </a:lnTo>
                <a:lnTo>
                  <a:pt x="1479" y="1682"/>
                </a:lnTo>
                <a:lnTo>
                  <a:pt x="1478" y="1680"/>
                </a:lnTo>
                <a:lnTo>
                  <a:pt x="1478" y="1682"/>
                </a:lnTo>
                <a:lnTo>
                  <a:pt x="1474" y="1682"/>
                </a:lnTo>
                <a:lnTo>
                  <a:pt x="1473" y="1683"/>
                </a:lnTo>
                <a:lnTo>
                  <a:pt x="1473" y="1686"/>
                </a:lnTo>
                <a:lnTo>
                  <a:pt x="1472" y="1688"/>
                </a:lnTo>
                <a:lnTo>
                  <a:pt x="1473" y="1689"/>
                </a:lnTo>
                <a:lnTo>
                  <a:pt x="1475" y="1689"/>
                </a:lnTo>
                <a:lnTo>
                  <a:pt x="1478" y="1690"/>
                </a:lnTo>
                <a:lnTo>
                  <a:pt x="1478" y="1694"/>
                </a:lnTo>
                <a:lnTo>
                  <a:pt x="1476" y="1695"/>
                </a:lnTo>
                <a:lnTo>
                  <a:pt x="1476" y="1696"/>
                </a:lnTo>
                <a:lnTo>
                  <a:pt x="1478" y="1697"/>
                </a:lnTo>
                <a:lnTo>
                  <a:pt x="1478" y="1702"/>
                </a:lnTo>
                <a:lnTo>
                  <a:pt x="1479" y="1707"/>
                </a:lnTo>
                <a:lnTo>
                  <a:pt x="1479" y="1709"/>
                </a:lnTo>
                <a:lnTo>
                  <a:pt x="1478" y="1711"/>
                </a:lnTo>
                <a:lnTo>
                  <a:pt x="1475" y="1714"/>
                </a:lnTo>
                <a:lnTo>
                  <a:pt x="1473" y="1714"/>
                </a:lnTo>
                <a:lnTo>
                  <a:pt x="1472" y="1715"/>
                </a:lnTo>
                <a:lnTo>
                  <a:pt x="1470" y="1715"/>
                </a:lnTo>
                <a:lnTo>
                  <a:pt x="1467" y="1711"/>
                </a:lnTo>
                <a:lnTo>
                  <a:pt x="1467" y="1709"/>
                </a:lnTo>
                <a:lnTo>
                  <a:pt x="1466" y="1708"/>
                </a:lnTo>
                <a:lnTo>
                  <a:pt x="1467" y="1707"/>
                </a:lnTo>
                <a:lnTo>
                  <a:pt x="1467" y="1704"/>
                </a:lnTo>
                <a:lnTo>
                  <a:pt x="1468" y="1703"/>
                </a:lnTo>
                <a:lnTo>
                  <a:pt x="1468" y="1698"/>
                </a:lnTo>
                <a:lnTo>
                  <a:pt x="1470" y="1695"/>
                </a:lnTo>
                <a:lnTo>
                  <a:pt x="1470" y="1692"/>
                </a:lnTo>
                <a:lnTo>
                  <a:pt x="1468" y="1692"/>
                </a:lnTo>
                <a:lnTo>
                  <a:pt x="1468" y="1691"/>
                </a:lnTo>
                <a:lnTo>
                  <a:pt x="1467" y="1691"/>
                </a:lnTo>
                <a:lnTo>
                  <a:pt x="1467" y="1690"/>
                </a:lnTo>
                <a:lnTo>
                  <a:pt x="1463" y="1690"/>
                </a:lnTo>
                <a:lnTo>
                  <a:pt x="1462" y="1689"/>
                </a:lnTo>
                <a:lnTo>
                  <a:pt x="1461" y="1689"/>
                </a:lnTo>
                <a:lnTo>
                  <a:pt x="1461" y="1688"/>
                </a:lnTo>
                <a:lnTo>
                  <a:pt x="1459" y="1685"/>
                </a:lnTo>
                <a:lnTo>
                  <a:pt x="1457" y="1685"/>
                </a:lnTo>
                <a:lnTo>
                  <a:pt x="1456" y="1683"/>
                </a:lnTo>
                <a:lnTo>
                  <a:pt x="1456" y="1680"/>
                </a:lnTo>
                <a:lnTo>
                  <a:pt x="1455" y="1678"/>
                </a:lnTo>
                <a:lnTo>
                  <a:pt x="1455" y="1677"/>
                </a:lnTo>
                <a:lnTo>
                  <a:pt x="1454" y="1676"/>
                </a:lnTo>
                <a:lnTo>
                  <a:pt x="1451" y="1676"/>
                </a:lnTo>
                <a:lnTo>
                  <a:pt x="1451" y="1674"/>
                </a:lnTo>
                <a:lnTo>
                  <a:pt x="1450" y="1672"/>
                </a:lnTo>
                <a:lnTo>
                  <a:pt x="1449" y="1672"/>
                </a:lnTo>
                <a:lnTo>
                  <a:pt x="1447" y="1670"/>
                </a:lnTo>
                <a:lnTo>
                  <a:pt x="1444" y="1671"/>
                </a:lnTo>
                <a:lnTo>
                  <a:pt x="1436" y="1668"/>
                </a:lnTo>
                <a:lnTo>
                  <a:pt x="1436" y="1667"/>
                </a:lnTo>
                <a:lnTo>
                  <a:pt x="1435" y="1666"/>
                </a:lnTo>
                <a:lnTo>
                  <a:pt x="1435" y="1665"/>
                </a:lnTo>
                <a:lnTo>
                  <a:pt x="1432" y="1662"/>
                </a:lnTo>
                <a:lnTo>
                  <a:pt x="1434" y="1661"/>
                </a:lnTo>
                <a:lnTo>
                  <a:pt x="1434" y="1660"/>
                </a:lnTo>
                <a:lnTo>
                  <a:pt x="1432" y="1659"/>
                </a:lnTo>
                <a:lnTo>
                  <a:pt x="1434" y="1659"/>
                </a:lnTo>
                <a:lnTo>
                  <a:pt x="1434" y="1657"/>
                </a:lnTo>
                <a:lnTo>
                  <a:pt x="1431" y="1655"/>
                </a:lnTo>
                <a:lnTo>
                  <a:pt x="1428" y="1653"/>
                </a:lnTo>
                <a:lnTo>
                  <a:pt x="1426" y="1653"/>
                </a:lnTo>
                <a:lnTo>
                  <a:pt x="1425" y="1651"/>
                </a:lnTo>
                <a:lnTo>
                  <a:pt x="1424" y="1649"/>
                </a:lnTo>
                <a:lnTo>
                  <a:pt x="1417" y="1649"/>
                </a:lnTo>
                <a:lnTo>
                  <a:pt x="1417" y="1648"/>
                </a:lnTo>
                <a:lnTo>
                  <a:pt x="1414" y="1648"/>
                </a:lnTo>
                <a:lnTo>
                  <a:pt x="1414" y="1651"/>
                </a:lnTo>
                <a:lnTo>
                  <a:pt x="1410" y="1649"/>
                </a:lnTo>
                <a:lnTo>
                  <a:pt x="1409" y="1651"/>
                </a:lnTo>
                <a:lnTo>
                  <a:pt x="1407" y="1651"/>
                </a:lnTo>
                <a:lnTo>
                  <a:pt x="1407" y="1652"/>
                </a:lnTo>
                <a:lnTo>
                  <a:pt x="1406" y="1652"/>
                </a:lnTo>
                <a:lnTo>
                  <a:pt x="1406" y="1653"/>
                </a:lnTo>
                <a:lnTo>
                  <a:pt x="1405" y="1652"/>
                </a:lnTo>
                <a:lnTo>
                  <a:pt x="1403" y="1652"/>
                </a:lnTo>
                <a:lnTo>
                  <a:pt x="1404" y="1651"/>
                </a:lnTo>
                <a:lnTo>
                  <a:pt x="1403" y="1649"/>
                </a:lnTo>
                <a:lnTo>
                  <a:pt x="1400" y="1651"/>
                </a:lnTo>
                <a:lnTo>
                  <a:pt x="1400" y="1649"/>
                </a:lnTo>
                <a:lnTo>
                  <a:pt x="1399" y="1649"/>
                </a:lnTo>
                <a:lnTo>
                  <a:pt x="1399" y="1648"/>
                </a:lnTo>
                <a:lnTo>
                  <a:pt x="1398" y="1649"/>
                </a:lnTo>
                <a:lnTo>
                  <a:pt x="1398" y="1651"/>
                </a:lnTo>
                <a:lnTo>
                  <a:pt x="1395" y="1651"/>
                </a:lnTo>
                <a:lnTo>
                  <a:pt x="1395" y="1652"/>
                </a:lnTo>
                <a:lnTo>
                  <a:pt x="1388" y="1652"/>
                </a:lnTo>
                <a:lnTo>
                  <a:pt x="1387" y="1651"/>
                </a:lnTo>
                <a:lnTo>
                  <a:pt x="1387" y="1649"/>
                </a:lnTo>
                <a:lnTo>
                  <a:pt x="1386" y="1649"/>
                </a:lnTo>
                <a:lnTo>
                  <a:pt x="1386" y="1648"/>
                </a:lnTo>
                <a:lnTo>
                  <a:pt x="1385" y="1643"/>
                </a:lnTo>
                <a:lnTo>
                  <a:pt x="1381" y="1636"/>
                </a:lnTo>
                <a:lnTo>
                  <a:pt x="1381" y="1634"/>
                </a:lnTo>
                <a:lnTo>
                  <a:pt x="1380" y="1631"/>
                </a:lnTo>
                <a:lnTo>
                  <a:pt x="1379" y="1630"/>
                </a:lnTo>
                <a:lnTo>
                  <a:pt x="1379" y="1631"/>
                </a:lnTo>
                <a:lnTo>
                  <a:pt x="1376" y="1634"/>
                </a:lnTo>
                <a:lnTo>
                  <a:pt x="1373" y="1634"/>
                </a:lnTo>
                <a:lnTo>
                  <a:pt x="1372" y="1635"/>
                </a:lnTo>
                <a:lnTo>
                  <a:pt x="1370" y="1637"/>
                </a:lnTo>
                <a:lnTo>
                  <a:pt x="1369" y="1639"/>
                </a:lnTo>
                <a:lnTo>
                  <a:pt x="1364" y="1639"/>
                </a:lnTo>
                <a:lnTo>
                  <a:pt x="1364" y="1637"/>
                </a:lnTo>
                <a:lnTo>
                  <a:pt x="1361" y="1637"/>
                </a:lnTo>
                <a:lnTo>
                  <a:pt x="1358" y="1640"/>
                </a:lnTo>
                <a:lnTo>
                  <a:pt x="1356" y="1643"/>
                </a:lnTo>
                <a:lnTo>
                  <a:pt x="1356" y="1645"/>
                </a:lnTo>
                <a:lnTo>
                  <a:pt x="1357" y="1647"/>
                </a:lnTo>
                <a:lnTo>
                  <a:pt x="1357" y="1649"/>
                </a:lnTo>
                <a:lnTo>
                  <a:pt x="1352" y="1652"/>
                </a:lnTo>
                <a:lnTo>
                  <a:pt x="1351" y="1653"/>
                </a:lnTo>
                <a:lnTo>
                  <a:pt x="1350" y="1651"/>
                </a:lnTo>
                <a:lnTo>
                  <a:pt x="1350" y="1648"/>
                </a:lnTo>
                <a:lnTo>
                  <a:pt x="1349" y="1647"/>
                </a:lnTo>
                <a:lnTo>
                  <a:pt x="1347" y="1647"/>
                </a:lnTo>
                <a:lnTo>
                  <a:pt x="1347" y="1648"/>
                </a:lnTo>
                <a:lnTo>
                  <a:pt x="1345" y="1649"/>
                </a:lnTo>
                <a:lnTo>
                  <a:pt x="1343" y="1651"/>
                </a:lnTo>
                <a:lnTo>
                  <a:pt x="1339" y="1652"/>
                </a:lnTo>
                <a:lnTo>
                  <a:pt x="1335" y="1649"/>
                </a:lnTo>
                <a:lnTo>
                  <a:pt x="1335" y="1648"/>
                </a:lnTo>
                <a:lnTo>
                  <a:pt x="1333" y="1647"/>
                </a:lnTo>
                <a:lnTo>
                  <a:pt x="1333" y="1646"/>
                </a:lnTo>
                <a:lnTo>
                  <a:pt x="1338" y="1646"/>
                </a:lnTo>
                <a:lnTo>
                  <a:pt x="1339" y="1645"/>
                </a:lnTo>
                <a:lnTo>
                  <a:pt x="1339" y="1640"/>
                </a:lnTo>
                <a:lnTo>
                  <a:pt x="1336" y="1640"/>
                </a:lnTo>
                <a:lnTo>
                  <a:pt x="1336" y="1639"/>
                </a:lnTo>
                <a:lnTo>
                  <a:pt x="1333" y="1636"/>
                </a:lnTo>
                <a:lnTo>
                  <a:pt x="1332" y="1637"/>
                </a:lnTo>
                <a:lnTo>
                  <a:pt x="1320" y="1637"/>
                </a:lnTo>
                <a:lnTo>
                  <a:pt x="1319" y="1636"/>
                </a:lnTo>
                <a:lnTo>
                  <a:pt x="1319" y="1635"/>
                </a:lnTo>
                <a:lnTo>
                  <a:pt x="1318" y="1634"/>
                </a:lnTo>
                <a:lnTo>
                  <a:pt x="1318" y="1633"/>
                </a:lnTo>
                <a:lnTo>
                  <a:pt x="1317" y="1633"/>
                </a:lnTo>
                <a:lnTo>
                  <a:pt x="1316" y="1631"/>
                </a:lnTo>
                <a:lnTo>
                  <a:pt x="1314" y="1631"/>
                </a:lnTo>
                <a:lnTo>
                  <a:pt x="1313" y="1633"/>
                </a:lnTo>
                <a:lnTo>
                  <a:pt x="1313" y="1635"/>
                </a:lnTo>
                <a:lnTo>
                  <a:pt x="1316" y="1641"/>
                </a:lnTo>
                <a:lnTo>
                  <a:pt x="1312" y="1645"/>
                </a:lnTo>
                <a:lnTo>
                  <a:pt x="1310" y="1645"/>
                </a:lnTo>
                <a:lnTo>
                  <a:pt x="1310" y="1642"/>
                </a:lnTo>
                <a:lnTo>
                  <a:pt x="1311" y="1642"/>
                </a:lnTo>
                <a:lnTo>
                  <a:pt x="1311" y="1641"/>
                </a:lnTo>
                <a:lnTo>
                  <a:pt x="1308" y="1641"/>
                </a:lnTo>
                <a:lnTo>
                  <a:pt x="1307" y="1640"/>
                </a:lnTo>
                <a:lnTo>
                  <a:pt x="1306" y="1640"/>
                </a:lnTo>
                <a:lnTo>
                  <a:pt x="1306" y="1643"/>
                </a:lnTo>
                <a:lnTo>
                  <a:pt x="1305" y="1643"/>
                </a:lnTo>
                <a:lnTo>
                  <a:pt x="1304" y="1645"/>
                </a:lnTo>
                <a:lnTo>
                  <a:pt x="1304" y="1652"/>
                </a:lnTo>
                <a:lnTo>
                  <a:pt x="1301" y="1652"/>
                </a:lnTo>
                <a:lnTo>
                  <a:pt x="1301" y="1654"/>
                </a:lnTo>
                <a:lnTo>
                  <a:pt x="1296" y="1654"/>
                </a:lnTo>
                <a:lnTo>
                  <a:pt x="1296" y="1655"/>
                </a:lnTo>
                <a:lnTo>
                  <a:pt x="1298" y="1655"/>
                </a:lnTo>
                <a:lnTo>
                  <a:pt x="1298" y="1657"/>
                </a:lnTo>
                <a:lnTo>
                  <a:pt x="1296" y="1657"/>
                </a:lnTo>
                <a:lnTo>
                  <a:pt x="1296" y="1658"/>
                </a:lnTo>
                <a:lnTo>
                  <a:pt x="1295" y="1658"/>
                </a:lnTo>
                <a:lnTo>
                  <a:pt x="1295" y="1659"/>
                </a:lnTo>
                <a:lnTo>
                  <a:pt x="1296" y="1660"/>
                </a:lnTo>
                <a:lnTo>
                  <a:pt x="1296" y="1661"/>
                </a:lnTo>
                <a:lnTo>
                  <a:pt x="1295" y="1662"/>
                </a:lnTo>
                <a:lnTo>
                  <a:pt x="1291" y="1665"/>
                </a:lnTo>
                <a:lnTo>
                  <a:pt x="1282" y="1666"/>
                </a:lnTo>
                <a:lnTo>
                  <a:pt x="1273" y="1676"/>
                </a:lnTo>
                <a:lnTo>
                  <a:pt x="1257" y="1676"/>
                </a:lnTo>
                <a:lnTo>
                  <a:pt x="1257" y="1677"/>
                </a:lnTo>
                <a:lnTo>
                  <a:pt x="1256" y="1678"/>
                </a:lnTo>
                <a:lnTo>
                  <a:pt x="1256" y="1682"/>
                </a:lnTo>
                <a:lnTo>
                  <a:pt x="1255" y="1683"/>
                </a:lnTo>
                <a:lnTo>
                  <a:pt x="1254" y="1685"/>
                </a:lnTo>
                <a:lnTo>
                  <a:pt x="1255" y="1686"/>
                </a:lnTo>
                <a:lnTo>
                  <a:pt x="1257" y="1691"/>
                </a:lnTo>
                <a:lnTo>
                  <a:pt x="1256" y="1694"/>
                </a:lnTo>
                <a:lnTo>
                  <a:pt x="1255" y="1695"/>
                </a:lnTo>
                <a:lnTo>
                  <a:pt x="1251" y="1696"/>
                </a:lnTo>
                <a:lnTo>
                  <a:pt x="1245" y="1697"/>
                </a:lnTo>
                <a:lnTo>
                  <a:pt x="1244" y="1700"/>
                </a:lnTo>
                <a:lnTo>
                  <a:pt x="1239" y="1704"/>
                </a:lnTo>
                <a:lnTo>
                  <a:pt x="1232" y="1710"/>
                </a:lnTo>
                <a:lnTo>
                  <a:pt x="1229" y="1710"/>
                </a:lnTo>
                <a:lnTo>
                  <a:pt x="1223" y="1707"/>
                </a:lnTo>
                <a:lnTo>
                  <a:pt x="1221" y="1707"/>
                </a:lnTo>
                <a:lnTo>
                  <a:pt x="1221" y="1708"/>
                </a:lnTo>
                <a:lnTo>
                  <a:pt x="1223" y="1709"/>
                </a:lnTo>
                <a:lnTo>
                  <a:pt x="1225" y="1709"/>
                </a:lnTo>
                <a:lnTo>
                  <a:pt x="1225" y="1711"/>
                </a:lnTo>
                <a:lnTo>
                  <a:pt x="1226" y="1713"/>
                </a:lnTo>
                <a:lnTo>
                  <a:pt x="1226" y="1727"/>
                </a:lnTo>
                <a:lnTo>
                  <a:pt x="1227" y="1732"/>
                </a:lnTo>
                <a:lnTo>
                  <a:pt x="1230" y="1735"/>
                </a:lnTo>
                <a:lnTo>
                  <a:pt x="1231" y="1738"/>
                </a:lnTo>
                <a:lnTo>
                  <a:pt x="1230" y="1740"/>
                </a:lnTo>
                <a:lnTo>
                  <a:pt x="1230" y="1741"/>
                </a:lnTo>
                <a:lnTo>
                  <a:pt x="1233" y="1743"/>
                </a:lnTo>
                <a:lnTo>
                  <a:pt x="1233" y="1744"/>
                </a:lnTo>
                <a:lnTo>
                  <a:pt x="1234" y="1745"/>
                </a:lnTo>
                <a:lnTo>
                  <a:pt x="1234" y="1748"/>
                </a:lnTo>
                <a:lnTo>
                  <a:pt x="1230" y="1753"/>
                </a:lnTo>
                <a:lnTo>
                  <a:pt x="1226" y="1756"/>
                </a:lnTo>
                <a:lnTo>
                  <a:pt x="1218" y="1759"/>
                </a:lnTo>
                <a:lnTo>
                  <a:pt x="1215" y="1762"/>
                </a:lnTo>
                <a:lnTo>
                  <a:pt x="1214" y="1762"/>
                </a:lnTo>
                <a:lnTo>
                  <a:pt x="1212" y="1760"/>
                </a:lnTo>
                <a:lnTo>
                  <a:pt x="1211" y="1758"/>
                </a:lnTo>
                <a:lnTo>
                  <a:pt x="1207" y="1758"/>
                </a:lnTo>
                <a:lnTo>
                  <a:pt x="1207" y="1757"/>
                </a:lnTo>
                <a:lnTo>
                  <a:pt x="1206" y="1756"/>
                </a:lnTo>
                <a:lnTo>
                  <a:pt x="1206" y="1754"/>
                </a:lnTo>
                <a:lnTo>
                  <a:pt x="1204" y="1752"/>
                </a:lnTo>
                <a:lnTo>
                  <a:pt x="1202" y="1750"/>
                </a:lnTo>
                <a:lnTo>
                  <a:pt x="1202" y="1747"/>
                </a:lnTo>
                <a:lnTo>
                  <a:pt x="1201" y="1746"/>
                </a:lnTo>
                <a:lnTo>
                  <a:pt x="1201" y="1744"/>
                </a:lnTo>
                <a:lnTo>
                  <a:pt x="1200" y="1743"/>
                </a:lnTo>
                <a:lnTo>
                  <a:pt x="1199" y="1740"/>
                </a:lnTo>
                <a:lnTo>
                  <a:pt x="1198" y="1740"/>
                </a:lnTo>
                <a:lnTo>
                  <a:pt x="1198" y="1738"/>
                </a:lnTo>
                <a:lnTo>
                  <a:pt x="1196" y="1738"/>
                </a:lnTo>
                <a:lnTo>
                  <a:pt x="1194" y="1733"/>
                </a:lnTo>
                <a:lnTo>
                  <a:pt x="1192" y="1732"/>
                </a:lnTo>
                <a:lnTo>
                  <a:pt x="1190" y="1731"/>
                </a:lnTo>
                <a:lnTo>
                  <a:pt x="1189" y="1728"/>
                </a:lnTo>
                <a:lnTo>
                  <a:pt x="1188" y="1728"/>
                </a:lnTo>
                <a:lnTo>
                  <a:pt x="1188" y="1727"/>
                </a:lnTo>
                <a:lnTo>
                  <a:pt x="1187" y="1727"/>
                </a:lnTo>
                <a:lnTo>
                  <a:pt x="1187" y="1726"/>
                </a:lnTo>
                <a:lnTo>
                  <a:pt x="1181" y="1720"/>
                </a:lnTo>
                <a:lnTo>
                  <a:pt x="1176" y="1720"/>
                </a:lnTo>
                <a:lnTo>
                  <a:pt x="1175" y="1722"/>
                </a:lnTo>
                <a:lnTo>
                  <a:pt x="1174" y="1723"/>
                </a:lnTo>
                <a:lnTo>
                  <a:pt x="1174" y="1725"/>
                </a:lnTo>
                <a:lnTo>
                  <a:pt x="1173" y="1727"/>
                </a:lnTo>
                <a:lnTo>
                  <a:pt x="1171" y="1728"/>
                </a:lnTo>
                <a:lnTo>
                  <a:pt x="1169" y="1729"/>
                </a:lnTo>
                <a:lnTo>
                  <a:pt x="1168" y="1729"/>
                </a:lnTo>
                <a:lnTo>
                  <a:pt x="1168" y="1733"/>
                </a:lnTo>
                <a:lnTo>
                  <a:pt x="1169" y="1733"/>
                </a:lnTo>
                <a:lnTo>
                  <a:pt x="1168" y="1734"/>
                </a:lnTo>
                <a:lnTo>
                  <a:pt x="1167" y="1737"/>
                </a:lnTo>
                <a:lnTo>
                  <a:pt x="1167" y="1739"/>
                </a:lnTo>
                <a:lnTo>
                  <a:pt x="1169" y="1743"/>
                </a:lnTo>
                <a:lnTo>
                  <a:pt x="1169" y="1745"/>
                </a:lnTo>
                <a:lnTo>
                  <a:pt x="1168" y="1746"/>
                </a:lnTo>
                <a:lnTo>
                  <a:pt x="1165" y="1750"/>
                </a:lnTo>
                <a:lnTo>
                  <a:pt x="1163" y="1752"/>
                </a:lnTo>
                <a:lnTo>
                  <a:pt x="1151" y="1758"/>
                </a:lnTo>
                <a:lnTo>
                  <a:pt x="1151" y="1760"/>
                </a:lnTo>
                <a:lnTo>
                  <a:pt x="1147" y="1777"/>
                </a:lnTo>
                <a:lnTo>
                  <a:pt x="1145" y="1793"/>
                </a:lnTo>
                <a:lnTo>
                  <a:pt x="1147" y="1794"/>
                </a:lnTo>
                <a:lnTo>
                  <a:pt x="1153" y="1799"/>
                </a:lnTo>
                <a:lnTo>
                  <a:pt x="1156" y="1801"/>
                </a:lnTo>
                <a:lnTo>
                  <a:pt x="1157" y="1805"/>
                </a:lnTo>
                <a:lnTo>
                  <a:pt x="1156" y="1808"/>
                </a:lnTo>
                <a:lnTo>
                  <a:pt x="1153" y="1811"/>
                </a:lnTo>
                <a:lnTo>
                  <a:pt x="1152" y="1814"/>
                </a:lnTo>
                <a:lnTo>
                  <a:pt x="1151" y="1814"/>
                </a:lnTo>
                <a:lnTo>
                  <a:pt x="1150" y="1815"/>
                </a:lnTo>
                <a:lnTo>
                  <a:pt x="1145" y="1818"/>
                </a:lnTo>
                <a:lnTo>
                  <a:pt x="1145" y="1820"/>
                </a:lnTo>
                <a:lnTo>
                  <a:pt x="1133" y="1851"/>
                </a:lnTo>
                <a:lnTo>
                  <a:pt x="1144" y="1856"/>
                </a:lnTo>
                <a:lnTo>
                  <a:pt x="1153" y="1860"/>
                </a:lnTo>
                <a:lnTo>
                  <a:pt x="1158" y="1861"/>
                </a:lnTo>
                <a:lnTo>
                  <a:pt x="1159" y="1861"/>
                </a:lnTo>
                <a:lnTo>
                  <a:pt x="1159" y="1863"/>
                </a:lnTo>
                <a:lnTo>
                  <a:pt x="1158" y="1864"/>
                </a:lnTo>
                <a:lnTo>
                  <a:pt x="1158" y="1866"/>
                </a:lnTo>
                <a:lnTo>
                  <a:pt x="1159" y="1867"/>
                </a:lnTo>
                <a:lnTo>
                  <a:pt x="1159" y="1873"/>
                </a:lnTo>
                <a:lnTo>
                  <a:pt x="1163" y="1873"/>
                </a:lnTo>
                <a:lnTo>
                  <a:pt x="1163" y="1874"/>
                </a:lnTo>
                <a:lnTo>
                  <a:pt x="1161" y="1876"/>
                </a:lnTo>
                <a:lnTo>
                  <a:pt x="1157" y="1877"/>
                </a:lnTo>
                <a:lnTo>
                  <a:pt x="1157" y="1880"/>
                </a:lnTo>
                <a:lnTo>
                  <a:pt x="1161" y="1883"/>
                </a:lnTo>
                <a:lnTo>
                  <a:pt x="1162" y="1886"/>
                </a:lnTo>
                <a:lnTo>
                  <a:pt x="1162" y="1887"/>
                </a:lnTo>
                <a:lnTo>
                  <a:pt x="1161" y="1887"/>
                </a:lnTo>
                <a:lnTo>
                  <a:pt x="1161" y="1888"/>
                </a:lnTo>
                <a:lnTo>
                  <a:pt x="1159" y="1889"/>
                </a:lnTo>
                <a:lnTo>
                  <a:pt x="1161" y="1889"/>
                </a:lnTo>
                <a:lnTo>
                  <a:pt x="1161" y="1891"/>
                </a:lnTo>
                <a:lnTo>
                  <a:pt x="1162" y="1892"/>
                </a:lnTo>
                <a:lnTo>
                  <a:pt x="1170" y="1898"/>
                </a:lnTo>
                <a:lnTo>
                  <a:pt x="1171" y="1897"/>
                </a:lnTo>
                <a:lnTo>
                  <a:pt x="1171" y="1888"/>
                </a:lnTo>
                <a:lnTo>
                  <a:pt x="1174" y="1888"/>
                </a:lnTo>
                <a:lnTo>
                  <a:pt x="1182" y="1893"/>
                </a:lnTo>
                <a:lnTo>
                  <a:pt x="1199" y="1892"/>
                </a:lnTo>
                <a:lnTo>
                  <a:pt x="1202" y="1893"/>
                </a:lnTo>
                <a:lnTo>
                  <a:pt x="1205" y="1895"/>
                </a:lnTo>
                <a:lnTo>
                  <a:pt x="1212" y="1910"/>
                </a:lnTo>
                <a:lnTo>
                  <a:pt x="1217" y="1915"/>
                </a:lnTo>
                <a:lnTo>
                  <a:pt x="1219" y="1915"/>
                </a:lnTo>
                <a:lnTo>
                  <a:pt x="1220" y="1916"/>
                </a:lnTo>
                <a:lnTo>
                  <a:pt x="1220" y="1917"/>
                </a:lnTo>
                <a:lnTo>
                  <a:pt x="1226" y="1934"/>
                </a:lnTo>
                <a:lnTo>
                  <a:pt x="1239" y="1954"/>
                </a:lnTo>
                <a:lnTo>
                  <a:pt x="1237" y="1957"/>
                </a:lnTo>
                <a:lnTo>
                  <a:pt x="1236" y="1959"/>
                </a:lnTo>
                <a:lnTo>
                  <a:pt x="1230" y="1960"/>
                </a:lnTo>
                <a:lnTo>
                  <a:pt x="1229" y="1959"/>
                </a:lnTo>
                <a:lnTo>
                  <a:pt x="1227" y="1956"/>
                </a:lnTo>
                <a:lnTo>
                  <a:pt x="1226" y="1956"/>
                </a:lnTo>
                <a:lnTo>
                  <a:pt x="1226" y="1955"/>
                </a:lnTo>
                <a:lnTo>
                  <a:pt x="1224" y="1954"/>
                </a:lnTo>
                <a:lnTo>
                  <a:pt x="1220" y="1955"/>
                </a:lnTo>
                <a:lnTo>
                  <a:pt x="1219" y="1956"/>
                </a:lnTo>
                <a:lnTo>
                  <a:pt x="1218" y="1960"/>
                </a:lnTo>
                <a:lnTo>
                  <a:pt x="1217" y="1961"/>
                </a:lnTo>
                <a:lnTo>
                  <a:pt x="1218" y="1961"/>
                </a:lnTo>
                <a:lnTo>
                  <a:pt x="1220" y="1963"/>
                </a:lnTo>
                <a:lnTo>
                  <a:pt x="1220" y="1965"/>
                </a:lnTo>
                <a:lnTo>
                  <a:pt x="1221" y="1965"/>
                </a:lnTo>
                <a:lnTo>
                  <a:pt x="1220" y="1967"/>
                </a:lnTo>
                <a:lnTo>
                  <a:pt x="1225" y="1967"/>
                </a:lnTo>
                <a:lnTo>
                  <a:pt x="1227" y="1968"/>
                </a:lnTo>
                <a:lnTo>
                  <a:pt x="1229" y="1968"/>
                </a:lnTo>
                <a:lnTo>
                  <a:pt x="1229" y="1969"/>
                </a:lnTo>
                <a:lnTo>
                  <a:pt x="1232" y="1972"/>
                </a:lnTo>
                <a:lnTo>
                  <a:pt x="1236" y="1972"/>
                </a:lnTo>
                <a:lnTo>
                  <a:pt x="1240" y="1977"/>
                </a:lnTo>
                <a:lnTo>
                  <a:pt x="1249" y="1981"/>
                </a:lnTo>
                <a:lnTo>
                  <a:pt x="1250" y="1984"/>
                </a:lnTo>
                <a:lnTo>
                  <a:pt x="1251" y="1985"/>
                </a:lnTo>
                <a:lnTo>
                  <a:pt x="1252" y="1985"/>
                </a:lnTo>
                <a:lnTo>
                  <a:pt x="1252" y="1986"/>
                </a:lnTo>
                <a:lnTo>
                  <a:pt x="1250" y="1986"/>
                </a:lnTo>
                <a:lnTo>
                  <a:pt x="1250" y="1985"/>
                </a:lnTo>
                <a:lnTo>
                  <a:pt x="1248" y="1985"/>
                </a:lnTo>
                <a:lnTo>
                  <a:pt x="1245" y="1983"/>
                </a:lnTo>
                <a:lnTo>
                  <a:pt x="1246" y="1981"/>
                </a:lnTo>
                <a:lnTo>
                  <a:pt x="1245" y="1981"/>
                </a:lnTo>
                <a:lnTo>
                  <a:pt x="1243" y="1984"/>
                </a:lnTo>
                <a:lnTo>
                  <a:pt x="1243" y="1985"/>
                </a:lnTo>
                <a:lnTo>
                  <a:pt x="1242" y="1985"/>
                </a:lnTo>
                <a:lnTo>
                  <a:pt x="1242" y="1986"/>
                </a:lnTo>
                <a:lnTo>
                  <a:pt x="1244" y="1986"/>
                </a:lnTo>
                <a:lnTo>
                  <a:pt x="1244" y="1992"/>
                </a:lnTo>
                <a:lnTo>
                  <a:pt x="1242" y="1990"/>
                </a:lnTo>
                <a:lnTo>
                  <a:pt x="1240" y="1990"/>
                </a:lnTo>
                <a:lnTo>
                  <a:pt x="1240" y="1991"/>
                </a:lnTo>
                <a:lnTo>
                  <a:pt x="1239" y="1991"/>
                </a:lnTo>
                <a:lnTo>
                  <a:pt x="1237" y="1992"/>
                </a:lnTo>
                <a:lnTo>
                  <a:pt x="1237" y="1996"/>
                </a:lnTo>
                <a:lnTo>
                  <a:pt x="1236" y="1996"/>
                </a:lnTo>
                <a:lnTo>
                  <a:pt x="1236" y="1993"/>
                </a:lnTo>
                <a:lnTo>
                  <a:pt x="1234" y="1992"/>
                </a:lnTo>
                <a:lnTo>
                  <a:pt x="1234" y="1995"/>
                </a:lnTo>
                <a:lnTo>
                  <a:pt x="1233" y="1993"/>
                </a:lnTo>
                <a:lnTo>
                  <a:pt x="1233" y="1996"/>
                </a:lnTo>
                <a:lnTo>
                  <a:pt x="1234" y="1997"/>
                </a:lnTo>
                <a:lnTo>
                  <a:pt x="1233" y="1997"/>
                </a:lnTo>
                <a:lnTo>
                  <a:pt x="1232" y="1996"/>
                </a:lnTo>
                <a:lnTo>
                  <a:pt x="1232" y="1998"/>
                </a:lnTo>
                <a:lnTo>
                  <a:pt x="1231" y="1998"/>
                </a:lnTo>
                <a:lnTo>
                  <a:pt x="1231" y="1997"/>
                </a:lnTo>
                <a:lnTo>
                  <a:pt x="1227" y="1993"/>
                </a:lnTo>
                <a:lnTo>
                  <a:pt x="1226" y="1995"/>
                </a:lnTo>
                <a:lnTo>
                  <a:pt x="1225" y="1995"/>
                </a:lnTo>
                <a:lnTo>
                  <a:pt x="1225" y="1996"/>
                </a:lnTo>
                <a:lnTo>
                  <a:pt x="1224" y="1996"/>
                </a:lnTo>
                <a:lnTo>
                  <a:pt x="1224" y="1997"/>
                </a:lnTo>
                <a:lnTo>
                  <a:pt x="1226" y="1997"/>
                </a:lnTo>
                <a:lnTo>
                  <a:pt x="1227" y="1999"/>
                </a:lnTo>
                <a:lnTo>
                  <a:pt x="1227" y="2002"/>
                </a:lnTo>
                <a:lnTo>
                  <a:pt x="1225" y="2002"/>
                </a:lnTo>
                <a:lnTo>
                  <a:pt x="1225" y="2004"/>
                </a:lnTo>
                <a:lnTo>
                  <a:pt x="1226" y="2003"/>
                </a:lnTo>
                <a:lnTo>
                  <a:pt x="1229" y="2003"/>
                </a:lnTo>
                <a:lnTo>
                  <a:pt x="1229" y="2008"/>
                </a:lnTo>
                <a:lnTo>
                  <a:pt x="1230" y="2010"/>
                </a:lnTo>
                <a:lnTo>
                  <a:pt x="1229" y="2011"/>
                </a:lnTo>
                <a:lnTo>
                  <a:pt x="1227" y="2011"/>
                </a:lnTo>
                <a:lnTo>
                  <a:pt x="1227" y="2012"/>
                </a:lnTo>
                <a:lnTo>
                  <a:pt x="1226" y="2011"/>
                </a:lnTo>
                <a:lnTo>
                  <a:pt x="1226" y="2009"/>
                </a:lnTo>
                <a:lnTo>
                  <a:pt x="1224" y="2006"/>
                </a:lnTo>
                <a:lnTo>
                  <a:pt x="1224" y="2005"/>
                </a:lnTo>
                <a:lnTo>
                  <a:pt x="1221" y="2003"/>
                </a:lnTo>
                <a:lnTo>
                  <a:pt x="1220" y="2003"/>
                </a:lnTo>
                <a:lnTo>
                  <a:pt x="1219" y="2004"/>
                </a:lnTo>
                <a:lnTo>
                  <a:pt x="1219" y="2005"/>
                </a:lnTo>
                <a:lnTo>
                  <a:pt x="1217" y="2005"/>
                </a:lnTo>
                <a:lnTo>
                  <a:pt x="1215" y="2006"/>
                </a:lnTo>
                <a:lnTo>
                  <a:pt x="1214" y="2009"/>
                </a:lnTo>
                <a:lnTo>
                  <a:pt x="1212" y="2009"/>
                </a:lnTo>
                <a:lnTo>
                  <a:pt x="1212" y="2010"/>
                </a:lnTo>
                <a:lnTo>
                  <a:pt x="1214" y="2010"/>
                </a:lnTo>
                <a:lnTo>
                  <a:pt x="1214" y="2011"/>
                </a:lnTo>
                <a:lnTo>
                  <a:pt x="1209" y="2011"/>
                </a:lnTo>
                <a:lnTo>
                  <a:pt x="1209" y="2014"/>
                </a:lnTo>
                <a:lnTo>
                  <a:pt x="1208" y="2015"/>
                </a:lnTo>
                <a:lnTo>
                  <a:pt x="1207" y="2015"/>
                </a:lnTo>
                <a:lnTo>
                  <a:pt x="1206" y="2016"/>
                </a:lnTo>
                <a:lnTo>
                  <a:pt x="1207" y="2016"/>
                </a:lnTo>
                <a:lnTo>
                  <a:pt x="1207" y="2018"/>
                </a:lnTo>
                <a:lnTo>
                  <a:pt x="1206" y="2018"/>
                </a:lnTo>
                <a:lnTo>
                  <a:pt x="1205" y="2017"/>
                </a:lnTo>
                <a:lnTo>
                  <a:pt x="1204" y="2017"/>
                </a:lnTo>
                <a:lnTo>
                  <a:pt x="1202" y="2018"/>
                </a:lnTo>
                <a:lnTo>
                  <a:pt x="1201" y="2016"/>
                </a:lnTo>
                <a:lnTo>
                  <a:pt x="1200" y="2016"/>
                </a:lnTo>
                <a:lnTo>
                  <a:pt x="1200" y="2017"/>
                </a:lnTo>
                <a:lnTo>
                  <a:pt x="1199" y="2017"/>
                </a:lnTo>
                <a:lnTo>
                  <a:pt x="1199" y="2018"/>
                </a:lnTo>
                <a:lnTo>
                  <a:pt x="1198" y="2018"/>
                </a:lnTo>
                <a:lnTo>
                  <a:pt x="1198" y="2020"/>
                </a:lnTo>
                <a:lnTo>
                  <a:pt x="1196" y="2018"/>
                </a:lnTo>
                <a:lnTo>
                  <a:pt x="1196" y="2017"/>
                </a:lnTo>
                <a:lnTo>
                  <a:pt x="1195" y="2017"/>
                </a:lnTo>
                <a:lnTo>
                  <a:pt x="1195" y="2018"/>
                </a:lnTo>
                <a:lnTo>
                  <a:pt x="1194" y="2018"/>
                </a:lnTo>
                <a:lnTo>
                  <a:pt x="1193" y="2020"/>
                </a:lnTo>
                <a:lnTo>
                  <a:pt x="1193" y="2018"/>
                </a:lnTo>
                <a:lnTo>
                  <a:pt x="1190" y="2018"/>
                </a:lnTo>
                <a:lnTo>
                  <a:pt x="1190" y="2024"/>
                </a:lnTo>
                <a:lnTo>
                  <a:pt x="1189" y="2026"/>
                </a:lnTo>
                <a:lnTo>
                  <a:pt x="1188" y="2022"/>
                </a:lnTo>
                <a:lnTo>
                  <a:pt x="1187" y="2022"/>
                </a:lnTo>
                <a:lnTo>
                  <a:pt x="1187" y="2020"/>
                </a:lnTo>
                <a:lnTo>
                  <a:pt x="1186" y="2020"/>
                </a:lnTo>
                <a:lnTo>
                  <a:pt x="1184" y="2018"/>
                </a:lnTo>
                <a:lnTo>
                  <a:pt x="1184" y="2020"/>
                </a:lnTo>
                <a:lnTo>
                  <a:pt x="1183" y="2020"/>
                </a:lnTo>
                <a:lnTo>
                  <a:pt x="1182" y="2018"/>
                </a:lnTo>
                <a:lnTo>
                  <a:pt x="1182" y="2016"/>
                </a:lnTo>
                <a:lnTo>
                  <a:pt x="1181" y="2016"/>
                </a:lnTo>
                <a:lnTo>
                  <a:pt x="1180" y="2015"/>
                </a:lnTo>
                <a:lnTo>
                  <a:pt x="1178" y="2015"/>
                </a:lnTo>
                <a:lnTo>
                  <a:pt x="1178" y="2017"/>
                </a:lnTo>
                <a:lnTo>
                  <a:pt x="1180" y="2017"/>
                </a:lnTo>
                <a:lnTo>
                  <a:pt x="1181" y="2018"/>
                </a:lnTo>
                <a:lnTo>
                  <a:pt x="1181" y="2023"/>
                </a:lnTo>
                <a:lnTo>
                  <a:pt x="1183" y="2024"/>
                </a:lnTo>
                <a:lnTo>
                  <a:pt x="1182" y="2026"/>
                </a:lnTo>
                <a:lnTo>
                  <a:pt x="1182" y="2028"/>
                </a:lnTo>
                <a:lnTo>
                  <a:pt x="1181" y="2028"/>
                </a:lnTo>
                <a:lnTo>
                  <a:pt x="1181" y="2027"/>
                </a:lnTo>
                <a:lnTo>
                  <a:pt x="1180" y="2026"/>
                </a:lnTo>
                <a:lnTo>
                  <a:pt x="1180" y="2024"/>
                </a:lnTo>
                <a:lnTo>
                  <a:pt x="1177" y="2022"/>
                </a:lnTo>
                <a:lnTo>
                  <a:pt x="1177" y="2021"/>
                </a:lnTo>
                <a:lnTo>
                  <a:pt x="1174" y="2021"/>
                </a:lnTo>
                <a:lnTo>
                  <a:pt x="1174" y="2018"/>
                </a:lnTo>
                <a:lnTo>
                  <a:pt x="1176" y="2018"/>
                </a:lnTo>
                <a:lnTo>
                  <a:pt x="1175" y="2017"/>
                </a:lnTo>
                <a:lnTo>
                  <a:pt x="1173" y="2017"/>
                </a:lnTo>
                <a:lnTo>
                  <a:pt x="1173" y="2016"/>
                </a:lnTo>
                <a:lnTo>
                  <a:pt x="1171" y="2016"/>
                </a:lnTo>
                <a:lnTo>
                  <a:pt x="1171" y="2017"/>
                </a:lnTo>
                <a:lnTo>
                  <a:pt x="1173" y="2018"/>
                </a:lnTo>
                <a:lnTo>
                  <a:pt x="1173" y="2021"/>
                </a:lnTo>
                <a:lnTo>
                  <a:pt x="1174" y="2021"/>
                </a:lnTo>
                <a:lnTo>
                  <a:pt x="1175" y="2022"/>
                </a:lnTo>
                <a:lnTo>
                  <a:pt x="1176" y="2022"/>
                </a:lnTo>
                <a:lnTo>
                  <a:pt x="1178" y="2024"/>
                </a:lnTo>
                <a:lnTo>
                  <a:pt x="1178" y="2029"/>
                </a:lnTo>
                <a:lnTo>
                  <a:pt x="1177" y="2029"/>
                </a:lnTo>
                <a:lnTo>
                  <a:pt x="1177" y="2028"/>
                </a:lnTo>
                <a:lnTo>
                  <a:pt x="1176" y="2027"/>
                </a:lnTo>
                <a:lnTo>
                  <a:pt x="1176" y="2028"/>
                </a:lnTo>
                <a:lnTo>
                  <a:pt x="1177" y="2030"/>
                </a:lnTo>
                <a:lnTo>
                  <a:pt x="1177" y="2032"/>
                </a:lnTo>
                <a:lnTo>
                  <a:pt x="1176" y="2033"/>
                </a:lnTo>
                <a:lnTo>
                  <a:pt x="1176" y="2035"/>
                </a:lnTo>
                <a:lnTo>
                  <a:pt x="1175" y="2036"/>
                </a:lnTo>
                <a:lnTo>
                  <a:pt x="1171" y="2036"/>
                </a:lnTo>
                <a:lnTo>
                  <a:pt x="1171" y="2038"/>
                </a:lnTo>
                <a:lnTo>
                  <a:pt x="1175" y="2038"/>
                </a:lnTo>
                <a:lnTo>
                  <a:pt x="1174" y="2039"/>
                </a:lnTo>
                <a:lnTo>
                  <a:pt x="1174" y="2040"/>
                </a:lnTo>
                <a:lnTo>
                  <a:pt x="1173" y="2040"/>
                </a:lnTo>
                <a:lnTo>
                  <a:pt x="1171" y="2042"/>
                </a:lnTo>
                <a:lnTo>
                  <a:pt x="1171" y="2049"/>
                </a:lnTo>
                <a:lnTo>
                  <a:pt x="1170" y="2051"/>
                </a:lnTo>
                <a:lnTo>
                  <a:pt x="1169" y="2049"/>
                </a:lnTo>
                <a:lnTo>
                  <a:pt x="1168" y="2049"/>
                </a:lnTo>
                <a:lnTo>
                  <a:pt x="1168" y="2051"/>
                </a:lnTo>
                <a:lnTo>
                  <a:pt x="1167" y="2052"/>
                </a:lnTo>
                <a:lnTo>
                  <a:pt x="1167" y="2054"/>
                </a:lnTo>
                <a:lnTo>
                  <a:pt x="1165" y="2057"/>
                </a:lnTo>
                <a:lnTo>
                  <a:pt x="1165" y="2058"/>
                </a:lnTo>
                <a:lnTo>
                  <a:pt x="1164" y="2059"/>
                </a:lnTo>
                <a:lnTo>
                  <a:pt x="1164" y="2063"/>
                </a:lnTo>
                <a:lnTo>
                  <a:pt x="1163" y="2064"/>
                </a:lnTo>
                <a:lnTo>
                  <a:pt x="1163" y="2063"/>
                </a:lnTo>
                <a:lnTo>
                  <a:pt x="1162" y="2064"/>
                </a:lnTo>
                <a:lnTo>
                  <a:pt x="1162" y="2065"/>
                </a:lnTo>
                <a:lnTo>
                  <a:pt x="1161" y="2066"/>
                </a:lnTo>
                <a:lnTo>
                  <a:pt x="1161" y="2065"/>
                </a:lnTo>
                <a:lnTo>
                  <a:pt x="1159" y="2064"/>
                </a:lnTo>
                <a:lnTo>
                  <a:pt x="1159" y="2070"/>
                </a:lnTo>
                <a:lnTo>
                  <a:pt x="1158" y="2072"/>
                </a:lnTo>
                <a:lnTo>
                  <a:pt x="1158" y="2075"/>
                </a:lnTo>
                <a:lnTo>
                  <a:pt x="1157" y="2073"/>
                </a:lnTo>
                <a:lnTo>
                  <a:pt x="1156" y="2071"/>
                </a:lnTo>
                <a:lnTo>
                  <a:pt x="1156" y="2067"/>
                </a:lnTo>
                <a:lnTo>
                  <a:pt x="1155" y="2066"/>
                </a:lnTo>
                <a:lnTo>
                  <a:pt x="1155" y="2071"/>
                </a:lnTo>
                <a:lnTo>
                  <a:pt x="1156" y="2071"/>
                </a:lnTo>
                <a:lnTo>
                  <a:pt x="1155" y="2072"/>
                </a:lnTo>
                <a:lnTo>
                  <a:pt x="1153" y="2075"/>
                </a:lnTo>
                <a:lnTo>
                  <a:pt x="1153" y="2076"/>
                </a:lnTo>
                <a:lnTo>
                  <a:pt x="1152" y="2075"/>
                </a:lnTo>
                <a:lnTo>
                  <a:pt x="1150" y="2076"/>
                </a:lnTo>
                <a:lnTo>
                  <a:pt x="1150" y="2077"/>
                </a:lnTo>
                <a:lnTo>
                  <a:pt x="1147" y="2079"/>
                </a:lnTo>
                <a:lnTo>
                  <a:pt x="1146" y="2079"/>
                </a:lnTo>
                <a:lnTo>
                  <a:pt x="1144" y="2082"/>
                </a:lnTo>
                <a:lnTo>
                  <a:pt x="1143" y="2082"/>
                </a:lnTo>
                <a:lnTo>
                  <a:pt x="1143" y="2089"/>
                </a:lnTo>
                <a:lnTo>
                  <a:pt x="1142" y="2089"/>
                </a:lnTo>
                <a:lnTo>
                  <a:pt x="1142" y="2091"/>
                </a:lnTo>
                <a:lnTo>
                  <a:pt x="1143" y="2094"/>
                </a:lnTo>
                <a:lnTo>
                  <a:pt x="1143" y="2095"/>
                </a:lnTo>
                <a:lnTo>
                  <a:pt x="1145" y="2097"/>
                </a:lnTo>
                <a:lnTo>
                  <a:pt x="1149" y="2097"/>
                </a:lnTo>
                <a:lnTo>
                  <a:pt x="1155" y="2098"/>
                </a:lnTo>
                <a:lnTo>
                  <a:pt x="1156" y="2100"/>
                </a:lnTo>
                <a:lnTo>
                  <a:pt x="1157" y="2100"/>
                </a:lnTo>
                <a:lnTo>
                  <a:pt x="1157" y="2101"/>
                </a:lnTo>
                <a:lnTo>
                  <a:pt x="1158" y="2104"/>
                </a:lnTo>
                <a:lnTo>
                  <a:pt x="1158" y="2106"/>
                </a:lnTo>
                <a:lnTo>
                  <a:pt x="1162" y="2109"/>
                </a:lnTo>
                <a:lnTo>
                  <a:pt x="1163" y="2109"/>
                </a:lnTo>
                <a:lnTo>
                  <a:pt x="1163" y="2108"/>
                </a:lnTo>
                <a:lnTo>
                  <a:pt x="1164" y="2107"/>
                </a:lnTo>
                <a:lnTo>
                  <a:pt x="1165" y="2108"/>
                </a:lnTo>
                <a:lnTo>
                  <a:pt x="1167" y="2110"/>
                </a:lnTo>
                <a:lnTo>
                  <a:pt x="1167" y="2115"/>
                </a:lnTo>
                <a:lnTo>
                  <a:pt x="1168" y="2118"/>
                </a:lnTo>
                <a:lnTo>
                  <a:pt x="1169" y="2119"/>
                </a:lnTo>
                <a:lnTo>
                  <a:pt x="1170" y="2119"/>
                </a:lnTo>
                <a:lnTo>
                  <a:pt x="1171" y="2124"/>
                </a:lnTo>
                <a:lnTo>
                  <a:pt x="1173" y="2125"/>
                </a:lnTo>
                <a:lnTo>
                  <a:pt x="1173" y="2127"/>
                </a:lnTo>
                <a:lnTo>
                  <a:pt x="1174" y="2128"/>
                </a:lnTo>
                <a:lnTo>
                  <a:pt x="1175" y="2128"/>
                </a:lnTo>
                <a:lnTo>
                  <a:pt x="1174" y="2129"/>
                </a:lnTo>
                <a:lnTo>
                  <a:pt x="1174" y="2131"/>
                </a:lnTo>
                <a:lnTo>
                  <a:pt x="1175" y="2131"/>
                </a:lnTo>
                <a:lnTo>
                  <a:pt x="1176" y="2132"/>
                </a:lnTo>
                <a:lnTo>
                  <a:pt x="1176" y="2134"/>
                </a:lnTo>
                <a:lnTo>
                  <a:pt x="1175" y="2134"/>
                </a:lnTo>
                <a:lnTo>
                  <a:pt x="1174" y="2135"/>
                </a:lnTo>
                <a:lnTo>
                  <a:pt x="1174" y="2139"/>
                </a:lnTo>
                <a:lnTo>
                  <a:pt x="1173" y="2140"/>
                </a:lnTo>
                <a:lnTo>
                  <a:pt x="1173" y="2141"/>
                </a:lnTo>
                <a:lnTo>
                  <a:pt x="1171" y="2144"/>
                </a:lnTo>
                <a:lnTo>
                  <a:pt x="1171" y="2143"/>
                </a:lnTo>
                <a:lnTo>
                  <a:pt x="1170" y="2143"/>
                </a:lnTo>
                <a:lnTo>
                  <a:pt x="1170" y="2145"/>
                </a:lnTo>
                <a:lnTo>
                  <a:pt x="1173" y="2147"/>
                </a:lnTo>
                <a:lnTo>
                  <a:pt x="1173" y="2150"/>
                </a:lnTo>
                <a:lnTo>
                  <a:pt x="1174" y="2149"/>
                </a:lnTo>
                <a:lnTo>
                  <a:pt x="1175" y="2146"/>
                </a:lnTo>
                <a:lnTo>
                  <a:pt x="1175" y="2140"/>
                </a:lnTo>
                <a:lnTo>
                  <a:pt x="1176" y="2140"/>
                </a:lnTo>
                <a:lnTo>
                  <a:pt x="1176" y="2137"/>
                </a:lnTo>
                <a:lnTo>
                  <a:pt x="1177" y="2135"/>
                </a:lnTo>
                <a:lnTo>
                  <a:pt x="1177" y="2129"/>
                </a:lnTo>
                <a:lnTo>
                  <a:pt x="1178" y="2128"/>
                </a:lnTo>
                <a:lnTo>
                  <a:pt x="1178" y="2127"/>
                </a:lnTo>
                <a:lnTo>
                  <a:pt x="1180" y="2126"/>
                </a:lnTo>
                <a:lnTo>
                  <a:pt x="1181" y="2126"/>
                </a:lnTo>
                <a:lnTo>
                  <a:pt x="1182" y="2127"/>
                </a:lnTo>
                <a:lnTo>
                  <a:pt x="1183" y="2127"/>
                </a:lnTo>
                <a:lnTo>
                  <a:pt x="1184" y="2128"/>
                </a:lnTo>
                <a:lnTo>
                  <a:pt x="1182" y="2131"/>
                </a:lnTo>
                <a:lnTo>
                  <a:pt x="1181" y="2134"/>
                </a:lnTo>
                <a:lnTo>
                  <a:pt x="1177" y="2143"/>
                </a:lnTo>
                <a:lnTo>
                  <a:pt x="1177" y="2149"/>
                </a:lnTo>
                <a:lnTo>
                  <a:pt x="1176" y="2152"/>
                </a:lnTo>
                <a:lnTo>
                  <a:pt x="1175" y="2155"/>
                </a:lnTo>
                <a:lnTo>
                  <a:pt x="1175" y="2157"/>
                </a:lnTo>
                <a:lnTo>
                  <a:pt x="1176" y="2158"/>
                </a:lnTo>
                <a:lnTo>
                  <a:pt x="1176" y="2159"/>
                </a:lnTo>
                <a:lnTo>
                  <a:pt x="1175" y="2161"/>
                </a:lnTo>
                <a:lnTo>
                  <a:pt x="1176" y="2162"/>
                </a:lnTo>
                <a:lnTo>
                  <a:pt x="1178" y="2159"/>
                </a:lnTo>
                <a:lnTo>
                  <a:pt x="1180" y="2159"/>
                </a:lnTo>
                <a:lnTo>
                  <a:pt x="1180" y="2162"/>
                </a:lnTo>
                <a:lnTo>
                  <a:pt x="1178" y="2163"/>
                </a:lnTo>
                <a:lnTo>
                  <a:pt x="1178" y="2164"/>
                </a:lnTo>
                <a:lnTo>
                  <a:pt x="1177" y="2164"/>
                </a:lnTo>
                <a:lnTo>
                  <a:pt x="1175" y="2167"/>
                </a:lnTo>
                <a:lnTo>
                  <a:pt x="1176" y="2168"/>
                </a:lnTo>
                <a:lnTo>
                  <a:pt x="1175" y="2169"/>
                </a:lnTo>
                <a:lnTo>
                  <a:pt x="1175" y="2171"/>
                </a:lnTo>
                <a:lnTo>
                  <a:pt x="1174" y="2172"/>
                </a:lnTo>
                <a:lnTo>
                  <a:pt x="1174" y="2174"/>
                </a:lnTo>
                <a:lnTo>
                  <a:pt x="1175" y="2177"/>
                </a:lnTo>
                <a:lnTo>
                  <a:pt x="1177" y="2181"/>
                </a:lnTo>
                <a:lnTo>
                  <a:pt x="1180" y="2182"/>
                </a:lnTo>
                <a:lnTo>
                  <a:pt x="1181" y="2183"/>
                </a:lnTo>
                <a:lnTo>
                  <a:pt x="1181" y="2184"/>
                </a:lnTo>
                <a:lnTo>
                  <a:pt x="1184" y="2187"/>
                </a:lnTo>
                <a:lnTo>
                  <a:pt x="1184" y="2189"/>
                </a:lnTo>
                <a:lnTo>
                  <a:pt x="1186" y="2192"/>
                </a:lnTo>
                <a:lnTo>
                  <a:pt x="1186" y="2198"/>
                </a:lnTo>
                <a:lnTo>
                  <a:pt x="1187" y="2200"/>
                </a:lnTo>
                <a:lnTo>
                  <a:pt x="1190" y="2201"/>
                </a:lnTo>
                <a:lnTo>
                  <a:pt x="1192" y="2202"/>
                </a:lnTo>
                <a:lnTo>
                  <a:pt x="1194" y="2208"/>
                </a:lnTo>
                <a:lnTo>
                  <a:pt x="1196" y="2212"/>
                </a:lnTo>
                <a:lnTo>
                  <a:pt x="1200" y="2215"/>
                </a:lnTo>
                <a:lnTo>
                  <a:pt x="1201" y="2215"/>
                </a:lnTo>
                <a:lnTo>
                  <a:pt x="1206" y="2226"/>
                </a:lnTo>
                <a:lnTo>
                  <a:pt x="1207" y="2227"/>
                </a:lnTo>
                <a:lnTo>
                  <a:pt x="1209" y="2229"/>
                </a:lnTo>
                <a:lnTo>
                  <a:pt x="1209" y="2230"/>
                </a:lnTo>
                <a:lnTo>
                  <a:pt x="1211" y="2231"/>
                </a:lnTo>
                <a:lnTo>
                  <a:pt x="1211" y="2233"/>
                </a:lnTo>
                <a:lnTo>
                  <a:pt x="1213" y="2239"/>
                </a:lnTo>
                <a:lnTo>
                  <a:pt x="1214" y="2241"/>
                </a:lnTo>
                <a:lnTo>
                  <a:pt x="1217" y="2242"/>
                </a:lnTo>
                <a:lnTo>
                  <a:pt x="1219" y="2242"/>
                </a:lnTo>
                <a:lnTo>
                  <a:pt x="1221" y="2244"/>
                </a:lnTo>
                <a:lnTo>
                  <a:pt x="1217" y="2251"/>
                </a:lnTo>
                <a:lnTo>
                  <a:pt x="1214" y="2257"/>
                </a:lnTo>
                <a:lnTo>
                  <a:pt x="1214" y="2258"/>
                </a:lnTo>
                <a:lnTo>
                  <a:pt x="1213" y="2260"/>
                </a:lnTo>
                <a:lnTo>
                  <a:pt x="1209" y="2262"/>
                </a:lnTo>
                <a:lnTo>
                  <a:pt x="1207" y="2263"/>
                </a:lnTo>
                <a:lnTo>
                  <a:pt x="1206" y="2264"/>
                </a:lnTo>
                <a:lnTo>
                  <a:pt x="1201" y="2266"/>
                </a:lnTo>
                <a:lnTo>
                  <a:pt x="1200" y="2266"/>
                </a:lnTo>
                <a:lnTo>
                  <a:pt x="1199" y="2268"/>
                </a:lnTo>
                <a:lnTo>
                  <a:pt x="1198" y="2272"/>
                </a:lnTo>
                <a:lnTo>
                  <a:pt x="1196" y="2273"/>
                </a:lnTo>
                <a:lnTo>
                  <a:pt x="1195" y="2272"/>
                </a:lnTo>
                <a:lnTo>
                  <a:pt x="1195" y="2273"/>
                </a:lnTo>
                <a:lnTo>
                  <a:pt x="1194" y="2274"/>
                </a:lnTo>
                <a:lnTo>
                  <a:pt x="1194" y="2275"/>
                </a:lnTo>
                <a:lnTo>
                  <a:pt x="1193" y="2275"/>
                </a:lnTo>
                <a:lnTo>
                  <a:pt x="1193" y="2280"/>
                </a:lnTo>
                <a:lnTo>
                  <a:pt x="1192" y="2280"/>
                </a:lnTo>
                <a:lnTo>
                  <a:pt x="1190" y="2281"/>
                </a:lnTo>
                <a:lnTo>
                  <a:pt x="1186" y="2281"/>
                </a:lnTo>
                <a:lnTo>
                  <a:pt x="1184" y="2280"/>
                </a:lnTo>
                <a:lnTo>
                  <a:pt x="1182" y="2279"/>
                </a:lnTo>
                <a:lnTo>
                  <a:pt x="1181" y="2279"/>
                </a:lnTo>
                <a:lnTo>
                  <a:pt x="1181" y="2280"/>
                </a:lnTo>
                <a:lnTo>
                  <a:pt x="1177" y="2280"/>
                </a:lnTo>
                <a:lnTo>
                  <a:pt x="1175" y="2278"/>
                </a:lnTo>
                <a:lnTo>
                  <a:pt x="1170" y="2278"/>
                </a:lnTo>
                <a:lnTo>
                  <a:pt x="1169" y="2276"/>
                </a:lnTo>
                <a:lnTo>
                  <a:pt x="1167" y="2275"/>
                </a:lnTo>
                <a:lnTo>
                  <a:pt x="1165" y="2274"/>
                </a:lnTo>
                <a:lnTo>
                  <a:pt x="1165" y="2269"/>
                </a:lnTo>
                <a:lnTo>
                  <a:pt x="1163" y="2267"/>
                </a:lnTo>
                <a:lnTo>
                  <a:pt x="1163" y="2264"/>
                </a:lnTo>
                <a:lnTo>
                  <a:pt x="1162" y="2264"/>
                </a:lnTo>
                <a:lnTo>
                  <a:pt x="1162" y="2263"/>
                </a:lnTo>
                <a:lnTo>
                  <a:pt x="1161" y="2262"/>
                </a:lnTo>
                <a:lnTo>
                  <a:pt x="1161" y="2260"/>
                </a:lnTo>
                <a:lnTo>
                  <a:pt x="1158" y="2260"/>
                </a:lnTo>
                <a:lnTo>
                  <a:pt x="1158" y="2261"/>
                </a:lnTo>
                <a:lnTo>
                  <a:pt x="1156" y="2261"/>
                </a:lnTo>
                <a:lnTo>
                  <a:pt x="1156" y="2260"/>
                </a:lnTo>
                <a:lnTo>
                  <a:pt x="1155" y="2258"/>
                </a:lnTo>
                <a:lnTo>
                  <a:pt x="1153" y="2256"/>
                </a:lnTo>
                <a:lnTo>
                  <a:pt x="1151" y="2254"/>
                </a:lnTo>
                <a:lnTo>
                  <a:pt x="1151" y="2253"/>
                </a:lnTo>
                <a:lnTo>
                  <a:pt x="1150" y="2251"/>
                </a:lnTo>
                <a:lnTo>
                  <a:pt x="1147" y="2251"/>
                </a:lnTo>
                <a:lnTo>
                  <a:pt x="1145" y="2249"/>
                </a:lnTo>
                <a:lnTo>
                  <a:pt x="1145" y="2247"/>
                </a:lnTo>
                <a:lnTo>
                  <a:pt x="1144" y="2245"/>
                </a:lnTo>
                <a:lnTo>
                  <a:pt x="1144" y="2244"/>
                </a:lnTo>
                <a:lnTo>
                  <a:pt x="1143" y="2245"/>
                </a:lnTo>
                <a:lnTo>
                  <a:pt x="1140" y="2245"/>
                </a:lnTo>
                <a:lnTo>
                  <a:pt x="1138" y="2248"/>
                </a:lnTo>
                <a:lnTo>
                  <a:pt x="1136" y="2248"/>
                </a:lnTo>
                <a:lnTo>
                  <a:pt x="1136" y="2243"/>
                </a:lnTo>
                <a:lnTo>
                  <a:pt x="1134" y="2243"/>
                </a:lnTo>
                <a:lnTo>
                  <a:pt x="1133" y="2242"/>
                </a:lnTo>
                <a:lnTo>
                  <a:pt x="1131" y="2242"/>
                </a:lnTo>
                <a:lnTo>
                  <a:pt x="1130" y="2241"/>
                </a:lnTo>
                <a:lnTo>
                  <a:pt x="1128" y="2241"/>
                </a:lnTo>
                <a:lnTo>
                  <a:pt x="1126" y="2239"/>
                </a:lnTo>
                <a:lnTo>
                  <a:pt x="1125" y="2239"/>
                </a:lnTo>
                <a:lnTo>
                  <a:pt x="1124" y="2237"/>
                </a:lnTo>
                <a:lnTo>
                  <a:pt x="1122" y="2236"/>
                </a:lnTo>
                <a:lnTo>
                  <a:pt x="1120" y="2236"/>
                </a:lnTo>
                <a:lnTo>
                  <a:pt x="1118" y="2237"/>
                </a:lnTo>
                <a:lnTo>
                  <a:pt x="1117" y="2237"/>
                </a:lnTo>
                <a:lnTo>
                  <a:pt x="1115" y="2236"/>
                </a:lnTo>
                <a:lnTo>
                  <a:pt x="1115" y="2235"/>
                </a:lnTo>
                <a:lnTo>
                  <a:pt x="1113" y="2235"/>
                </a:lnTo>
                <a:lnTo>
                  <a:pt x="1113" y="2233"/>
                </a:lnTo>
                <a:lnTo>
                  <a:pt x="1112" y="2233"/>
                </a:lnTo>
                <a:lnTo>
                  <a:pt x="1112" y="2235"/>
                </a:lnTo>
                <a:lnTo>
                  <a:pt x="1109" y="2235"/>
                </a:lnTo>
                <a:lnTo>
                  <a:pt x="1109" y="2233"/>
                </a:lnTo>
                <a:lnTo>
                  <a:pt x="1108" y="2231"/>
                </a:lnTo>
                <a:lnTo>
                  <a:pt x="1108" y="2230"/>
                </a:lnTo>
                <a:lnTo>
                  <a:pt x="1105" y="2229"/>
                </a:lnTo>
                <a:lnTo>
                  <a:pt x="1100" y="2226"/>
                </a:lnTo>
                <a:lnTo>
                  <a:pt x="1096" y="2223"/>
                </a:lnTo>
                <a:lnTo>
                  <a:pt x="1101" y="2211"/>
                </a:lnTo>
                <a:lnTo>
                  <a:pt x="1102" y="2210"/>
                </a:lnTo>
                <a:lnTo>
                  <a:pt x="1100" y="2207"/>
                </a:lnTo>
                <a:lnTo>
                  <a:pt x="1093" y="2205"/>
                </a:lnTo>
                <a:lnTo>
                  <a:pt x="1090" y="2205"/>
                </a:lnTo>
                <a:lnTo>
                  <a:pt x="1088" y="2206"/>
                </a:lnTo>
                <a:lnTo>
                  <a:pt x="1084" y="2206"/>
                </a:lnTo>
                <a:lnTo>
                  <a:pt x="1083" y="2205"/>
                </a:lnTo>
                <a:lnTo>
                  <a:pt x="1083" y="2204"/>
                </a:lnTo>
                <a:lnTo>
                  <a:pt x="1082" y="2202"/>
                </a:lnTo>
                <a:lnTo>
                  <a:pt x="1078" y="2198"/>
                </a:lnTo>
                <a:lnTo>
                  <a:pt x="1076" y="2195"/>
                </a:lnTo>
                <a:lnTo>
                  <a:pt x="1075" y="2196"/>
                </a:lnTo>
                <a:lnTo>
                  <a:pt x="1071" y="2196"/>
                </a:lnTo>
                <a:lnTo>
                  <a:pt x="1066" y="2193"/>
                </a:lnTo>
                <a:lnTo>
                  <a:pt x="1064" y="2193"/>
                </a:lnTo>
                <a:lnTo>
                  <a:pt x="1064" y="2194"/>
                </a:lnTo>
                <a:lnTo>
                  <a:pt x="1063" y="2195"/>
                </a:lnTo>
                <a:lnTo>
                  <a:pt x="1062" y="2198"/>
                </a:lnTo>
                <a:lnTo>
                  <a:pt x="1062" y="2201"/>
                </a:lnTo>
                <a:lnTo>
                  <a:pt x="1060" y="2201"/>
                </a:lnTo>
                <a:lnTo>
                  <a:pt x="1060" y="2200"/>
                </a:lnTo>
                <a:lnTo>
                  <a:pt x="1059" y="2198"/>
                </a:lnTo>
                <a:lnTo>
                  <a:pt x="1059" y="2196"/>
                </a:lnTo>
                <a:lnTo>
                  <a:pt x="1057" y="2194"/>
                </a:lnTo>
                <a:lnTo>
                  <a:pt x="1056" y="2194"/>
                </a:lnTo>
                <a:lnTo>
                  <a:pt x="1053" y="2193"/>
                </a:lnTo>
                <a:lnTo>
                  <a:pt x="1049" y="2193"/>
                </a:lnTo>
                <a:lnTo>
                  <a:pt x="1045" y="2195"/>
                </a:lnTo>
                <a:lnTo>
                  <a:pt x="1040" y="2195"/>
                </a:lnTo>
                <a:lnTo>
                  <a:pt x="1039" y="2196"/>
                </a:lnTo>
                <a:lnTo>
                  <a:pt x="1038" y="2199"/>
                </a:lnTo>
                <a:lnTo>
                  <a:pt x="1037" y="2200"/>
                </a:lnTo>
                <a:lnTo>
                  <a:pt x="1034" y="2200"/>
                </a:lnTo>
                <a:lnTo>
                  <a:pt x="1031" y="2201"/>
                </a:lnTo>
                <a:lnTo>
                  <a:pt x="1028" y="2201"/>
                </a:lnTo>
                <a:lnTo>
                  <a:pt x="1028" y="2202"/>
                </a:lnTo>
                <a:lnTo>
                  <a:pt x="1027" y="2204"/>
                </a:lnTo>
                <a:lnTo>
                  <a:pt x="1027" y="2205"/>
                </a:lnTo>
                <a:lnTo>
                  <a:pt x="1026" y="2205"/>
                </a:lnTo>
                <a:lnTo>
                  <a:pt x="1024" y="2202"/>
                </a:lnTo>
                <a:lnTo>
                  <a:pt x="1020" y="2202"/>
                </a:lnTo>
                <a:lnTo>
                  <a:pt x="1018" y="2201"/>
                </a:lnTo>
                <a:lnTo>
                  <a:pt x="1016" y="2200"/>
                </a:lnTo>
                <a:lnTo>
                  <a:pt x="1016" y="2199"/>
                </a:lnTo>
                <a:lnTo>
                  <a:pt x="1018" y="2198"/>
                </a:lnTo>
                <a:lnTo>
                  <a:pt x="1020" y="2196"/>
                </a:lnTo>
                <a:lnTo>
                  <a:pt x="1020" y="2193"/>
                </a:lnTo>
                <a:lnTo>
                  <a:pt x="1018" y="2193"/>
                </a:lnTo>
                <a:lnTo>
                  <a:pt x="1014" y="2192"/>
                </a:lnTo>
                <a:lnTo>
                  <a:pt x="1010" y="2188"/>
                </a:lnTo>
                <a:lnTo>
                  <a:pt x="1008" y="2187"/>
                </a:lnTo>
                <a:lnTo>
                  <a:pt x="1007" y="2187"/>
                </a:lnTo>
                <a:lnTo>
                  <a:pt x="1002" y="2186"/>
                </a:lnTo>
                <a:lnTo>
                  <a:pt x="995" y="2183"/>
                </a:lnTo>
                <a:lnTo>
                  <a:pt x="994" y="2182"/>
                </a:lnTo>
                <a:lnTo>
                  <a:pt x="993" y="2182"/>
                </a:lnTo>
                <a:lnTo>
                  <a:pt x="987" y="2176"/>
                </a:lnTo>
                <a:lnTo>
                  <a:pt x="985" y="2176"/>
                </a:lnTo>
                <a:lnTo>
                  <a:pt x="985" y="2175"/>
                </a:lnTo>
                <a:lnTo>
                  <a:pt x="987" y="2174"/>
                </a:lnTo>
                <a:lnTo>
                  <a:pt x="987" y="2172"/>
                </a:lnTo>
                <a:lnTo>
                  <a:pt x="983" y="2171"/>
                </a:lnTo>
                <a:lnTo>
                  <a:pt x="982" y="2171"/>
                </a:lnTo>
                <a:lnTo>
                  <a:pt x="979" y="2169"/>
                </a:lnTo>
                <a:lnTo>
                  <a:pt x="971" y="2169"/>
                </a:lnTo>
                <a:lnTo>
                  <a:pt x="971" y="2170"/>
                </a:lnTo>
                <a:lnTo>
                  <a:pt x="970" y="2171"/>
                </a:lnTo>
                <a:lnTo>
                  <a:pt x="969" y="2170"/>
                </a:lnTo>
                <a:lnTo>
                  <a:pt x="966" y="2169"/>
                </a:lnTo>
                <a:lnTo>
                  <a:pt x="964" y="2167"/>
                </a:lnTo>
                <a:lnTo>
                  <a:pt x="962" y="2165"/>
                </a:lnTo>
                <a:lnTo>
                  <a:pt x="952" y="2165"/>
                </a:lnTo>
                <a:lnTo>
                  <a:pt x="951" y="2167"/>
                </a:lnTo>
                <a:lnTo>
                  <a:pt x="947" y="2168"/>
                </a:lnTo>
                <a:lnTo>
                  <a:pt x="944" y="2168"/>
                </a:lnTo>
                <a:lnTo>
                  <a:pt x="941" y="2167"/>
                </a:lnTo>
                <a:lnTo>
                  <a:pt x="932" y="2167"/>
                </a:lnTo>
                <a:lnTo>
                  <a:pt x="931" y="2165"/>
                </a:lnTo>
                <a:lnTo>
                  <a:pt x="928" y="2167"/>
                </a:lnTo>
                <a:lnTo>
                  <a:pt x="926" y="2167"/>
                </a:lnTo>
                <a:lnTo>
                  <a:pt x="922" y="2163"/>
                </a:lnTo>
                <a:lnTo>
                  <a:pt x="920" y="2162"/>
                </a:lnTo>
                <a:lnTo>
                  <a:pt x="919" y="2162"/>
                </a:lnTo>
                <a:lnTo>
                  <a:pt x="919" y="2159"/>
                </a:lnTo>
                <a:lnTo>
                  <a:pt x="914" y="2159"/>
                </a:lnTo>
                <a:lnTo>
                  <a:pt x="912" y="2158"/>
                </a:lnTo>
                <a:lnTo>
                  <a:pt x="910" y="2158"/>
                </a:lnTo>
                <a:lnTo>
                  <a:pt x="909" y="2157"/>
                </a:lnTo>
                <a:lnTo>
                  <a:pt x="902" y="2157"/>
                </a:lnTo>
                <a:lnTo>
                  <a:pt x="896" y="2152"/>
                </a:lnTo>
                <a:lnTo>
                  <a:pt x="895" y="2151"/>
                </a:lnTo>
                <a:lnTo>
                  <a:pt x="891" y="2150"/>
                </a:lnTo>
                <a:lnTo>
                  <a:pt x="889" y="2149"/>
                </a:lnTo>
                <a:lnTo>
                  <a:pt x="888" y="2147"/>
                </a:lnTo>
                <a:lnTo>
                  <a:pt x="885" y="2147"/>
                </a:lnTo>
                <a:lnTo>
                  <a:pt x="883" y="2149"/>
                </a:lnTo>
                <a:lnTo>
                  <a:pt x="882" y="2150"/>
                </a:lnTo>
                <a:lnTo>
                  <a:pt x="879" y="2149"/>
                </a:lnTo>
                <a:lnTo>
                  <a:pt x="870" y="2145"/>
                </a:lnTo>
                <a:lnTo>
                  <a:pt x="866" y="2145"/>
                </a:lnTo>
                <a:lnTo>
                  <a:pt x="864" y="2146"/>
                </a:lnTo>
                <a:lnTo>
                  <a:pt x="863" y="2146"/>
                </a:lnTo>
                <a:lnTo>
                  <a:pt x="863" y="2147"/>
                </a:lnTo>
                <a:lnTo>
                  <a:pt x="859" y="2155"/>
                </a:lnTo>
                <a:lnTo>
                  <a:pt x="859" y="2156"/>
                </a:lnTo>
                <a:lnTo>
                  <a:pt x="858" y="2156"/>
                </a:lnTo>
                <a:lnTo>
                  <a:pt x="855" y="2153"/>
                </a:lnTo>
                <a:lnTo>
                  <a:pt x="855" y="2152"/>
                </a:lnTo>
                <a:lnTo>
                  <a:pt x="854" y="2151"/>
                </a:lnTo>
                <a:lnTo>
                  <a:pt x="854" y="2150"/>
                </a:lnTo>
                <a:lnTo>
                  <a:pt x="853" y="2149"/>
                </a:lnTo>
                <a:lnTo>
                  <a:pt x="850" y="2147"/>
                </a:lnTo>
                <a:lnTo>
                  <a:pt x="848" y="2146"/>
                </a:lnTo>
                <a:lnTo>
                  <a:pt x="847" y="2146"/>
                </a:lnTo>
                <a:lnTo>
                  <a:pt x="847" y="2144"/>
                </a:lnTo>
                <a:lnTo>
                  <a:pt x="846" y="2143"/>
                </a:lnTo>
                <a:lnTo>
                  <a:pt x="844" y="2141"/>
                </a:lnTo>
                <a:lnTo>
                  <a:pt x="836" y="2134"/>
                </a:lnTo>
                <a:lnTo>
                  <a:pt x="834" y="2129"/>
                </a:lnTo>
                <a:lnTo>
                  <a:pt x="832" y="2127"/>
                </a:lnTo>
                <a:lnTo>
                  <a:pt x="822" y="2119"/>
                </a:lnTo>
                <a:lnTo>
                  <a:pt x="820" y="2116"/>
                </a:lnTo>
                <a:lnTo>
                  <a:pt x="820" y="2115"/>
                </a:lnTo>
                <a:lnTo>
                  <a:pt x="817" y="2115"/>
                </a:lnTo>
                <a:lnTo>
                  <a:pt x="817" y="2113"/>
                </a:lnTo>
                <a:lnTo>
                  <a:pt x="815" y="2110"/>
                </a:lnTo>
                <a:lnTo>
                  <a:pt x="813" y="2110"/>
                </a:lnTo>
                <a:lnTo>
                  <a:pt x="807" y="2104"/>
                </a:lnTo>
                <a:lnTo>
                  <a:pt x="804" y="2103"/>
                </a:lnTo>
                <a:lnTo>
                  <a:pt x="801" y="2101"/>
                </a:lnTo>
                <a:lnTo>
                  <a:pt x="789" y="2098"/>
                </a:lnTo>
                <a:lnTo>
                  <a:pt x="788" y="2098"/>
                </a:lnTo>
                <a:lnTo>
                  <a:pt x="784" y="2097"/>
                </a:lnTo>
                <a:lnTo>
                  <a:pt x="783" y="2097"/>
                </a:lnTo>
                <a:lnTo>
                  <a:pt x="780" y="2092"/>
                </a:lnTo>
                <a:lnTo>
                  <a:pt x="778" y="2090"/>
                </a:lnTo>
                <a:lnTo>
                  <a:pt x="778" y="2088"/>
                </a:lnTo>
                <a:lnTo>
                  <a:pt x="774" y="2088"/>
                </a:lnTo>
                <a:lnTo>
                  <a:pt x="773" y="2085"/>
                </a:lnTo>
                <a:lnTo>
                  <a:pt x="772" y="2085"/>
                </a:lnTo>
                <a:lnTo>
                  <a:pt x="772" y="2083"/>
                </a:lnTo>
                <a:lnTo>
                  <a:pt x="770" y="2079"/>
                </a:lnTo>
                <a:lnTo>
                  <a:pt x="768" y="2079"/>
                </a:lnTo>
                <a:lnTo>
                  <a:pt x="766" y="2077"/>
                </a:lnTo>
                <a:lnTo>
                  <a:pt x="766" y="2079"/>
                </a:lnTo>
                <a:lnTo>
                  <a:pt x="767" y="2081"/>
                </a:lnTo>
                <a:lnTo>
                  <a:pt x="767" y="2083"/>
                </a:lnTo>
                <a:lnTo>
                  <a:pt x="763" y="2083"/>
                </a:lnTo>
                <a:lnTo>
                  <a:pt x="760" y="2081"/>
                </a:lnTo>
                <a:lnTo>
                  <a:pt x="759" y="2082"/>
                </a:lnTo>
                <a:lnTo>
                  <a:pt x="755" y="2082"/>
                </a:lnTo>
                <a:lnTo>
                  <a:pt x="755" y="2081"/>
                </a:lnTo>
                <a:lnTo>
                  <a:pt x="754" y="2081"/>
                </a:lnTo>
                <a:lnTo>
                  <a:pt x="754" y="2082"/>
                </a:lnTo>
                <a:lnTo>
                  <a:pt x="753" y="2081"/>
                </a:lnTo>
                <a:lnTo>
                  <a:pt x="753" y="2079"/>
                </a:lnTo>
                <a:lnTo>
                  <a:pt x="752" y="2079"/>
                </a:lnTo>
                <a:lnTo>
                  <a:pt x="752" y="2078"/>
                </a:lnTo>
                <a:lnTo>
                  <a:pt x="749" y="2077"/>
                </a:lnTo>
                <a:lnTo>
                  <a:pt x="748" y="2077"/>
                </a:lnTo>
                <a:lnTo>
                  <a:pt x="748" y="2075"/>
                </a:lnTo>
                <a:lnTo>
                  <a:pt x="746" y="2071"/>
                </a:lnTo>
                <a:lnTo>
                  <a:pt x="746" y="2067"/>
                </a:lnTo>
                <a:lnTo>
                  <a:pt x="745" y="2066"/>
                </a:lnTo>
                <a:lnTo>
                  <a:pt x="741" y="2061"/>
                </a:lnTo>
                <a:lnTo>
                  <a:pt x="737" y="2061"/>
                </a:lnTo>
                <a:lnTo>
                  <a:pt x="737" y="2060"/>
                </a:lnTo>
                <a:lnTo>
                  <a:pt x="736" y="2060"/>
                </a:lnTo>
                <a:lnTo>
                  <a:pt x="734" y="2059"/>
                </a:lnTo>
                <a:lnTo>
                  <a:pt x="730" y="2058"/>
                </a:lnTo>
                <a:lnTo>
                  <a:pt x="727" y="2055"/>
                </a:lnTo>
                <a:lnTo>
                  <a:pt x="724" y="2054"/>
                </a:lnTo>
                <a:lnTo>
                  <a:pt x="723" y="2054"/>
                </a:lnTo>
                <a:lnTo>
                  <a:pt x="722" y="2055"/>
                </a:lnTo>
                <a:lnTo>
                  <a:pt x="721" y="2055"/>
                </a:lnTo>
                <a:lnTo>
                  <a:pt x="718" y="2054"/>
                </a:lnTo>
                <a:lnTo>
                  <a:pt x="716" y="2052"/>
                </a:lnTo>
                <a:lnTo>
                  <a:pt x="716" y="2051"/>
                </a:lnTo>
                <a:lnTo>
                  <a:pt x="715" y="2051"/>
                </a:lnTo>
                <a:lnTo>
                  <a:pt x="715" y="2049"/>
                </a:lnTo>
                <a:lnTo>
                  <a:pt x="722" y="2049"/>
                </a:lnTo>
                <a:lnTo>
                  <a:pt x="724" y="2047"/>
                </a:lnTo>
                <a:lnTo>
                  <a:pt x="728" y="2047"/>
                </a:lnTo>
                <a:lnTo>
                  <a:pt x="730" y="2046"/>
                </a:lnTo>
                <a:lnTo>
                  <a:pt x="732" y="2045"/>
                </a:lnTo>
                <a:lnTo>
                  <a:pt x="732" y="2042"/>
                </a:lnTo>
                <a:lnTo>
                  <a:pt x="730" y="2042"/>
                </a:lnTo>
                <a:lnTo>
                  <a:pt x="724" y="2043"/>
                </a:lnTo>
                <a:lnTo>
                  <a:pt x="723" y="2043"/>
                </a:lnTo>
                <a:lnTo>
                  <a:pt x="723" y="2040"/>
                </a:lnTo>
                <a:lnTo>
                  <a:pt x="724" y="2041"/>
                </a:lnTo>
                <a:lnTo>
                  <a:pt x="724" y="2042"/>
                </a:lnTo>
                <a:lnTo>
                  <a:pt x="726" y="2042"/>
                </a:lnTo>
                <a:lnTo>
                  <a:pt x="726" y="2040"/>
                </a:lnTo>
                <a:lnTo>
                  <a:pt x="724" y="2039"/>
                </a:lnTo>
                <a:lnTo>
                  <a:pt x="722" y="2039"/>
                </a:lnTo>
                <a:lnTo>
                  <a:pt x="718" y="2042"/>
                </a:lnTo>
                <a:lnTo>
                  <a:pt x="718" y="2041"/>
                </a:lnTo>
                <a:lnTo>
                  <a:pt x="720" y="2040"/>
                </a:lnTo>
                <a:lnTo>
                  <a:pt x="721" y="2038"/>
                </a:lnTo>
                <a:lnTo>
                  <a:pt x="726" y="2035"/>
                </a:lnTo>
                <a:lnTo>
                  <a:pt x="729" y="2035"/>
                </a:lnTo>
                <a:lnTo>
                  <a:pt x="736" y="2040"/>
                </a:lnTo>
                <a:lnTo>
                  <a:pt x="737" y="2041"/>
                </a:lnTo>
                <a:lnTo>
                  <a:pt x="739" y="2041"/>
                </a:lnTo>
                <a:lnTo>
                  <a:pt x="739" y="2042"/>
                </a:lnTo>
                <a:lnTo>
                  <a:pt x="737" y="2042"/>
                </a:lnTo>
                <a:lnTo>
                  <a:pt x="737" y="2046"/>
                </a:lnTo>
                <a:lnTo>
                  <a:pt x="736" y="2046"/>
                </a:lnTo>
                <a:lnTo>
                  <a:pt x="736" y="2047"/>
                </a:lnTo>
                <a:lnTo>
                  <a:pt x="737" y="2047"/>
                </a:lnTo>
                <a:lnTo>
                  <a:pt x="740" y="2046"/>
                </a:lnTo>
                <a:lnTo>
                  <a:pt x="743" y="2046"/>
                </a:lnTo>
                <a:lnTo>
                  <a:pt x="743" y="2045"/>
                </a:lnTo>
                <a:lnTo>
                  <a:pt x="746" y="2045"/>
                </a:lnTo>
                <a:lnTo>
                  <a:pt x="745" y="2043"/>
                </a:lnTo>
                <a:lnTo>
                  <a:pt x="740" y="2043"/>
                </a:lnTo>
                <a:lnTo>
                  <a:pt x="740" y="2042"/>
                </a:lnTo>
                <a:lnTo>
                  <a:pt x="748" y="2042"/>
                </a:lnTo>
                <a:lnTo>
                  <a:pt x="749" y="2043"/>
                </a:lnTo>
                <a:lnTo>
                  <a:pt x="749" y="2042"/>
                </a:lnTo>
                <a:lnTo>
                  <a:pt x="752" y="2042"/>
                </a:lnTo>
                <a:lnTo>
                  <a:pt x="754" y="2040"/>
                </a:lnTo>
                <a:lnTo>
                  <a:pt x="755" y="2040"/>
                </a:lnTo>
                <a:lnTo>
                  <a:pt x="754" y="2041"/>
                </a:lnTo>
                <a:lnTo>
                  <a:pt x="759" y="2041"/>
                </a:lnTo>
                <a:lnTo>
                  <a:pt x="759" y="2042"/>
                </a:lnTo>
                <a:lnTo>
                  <a:pt x="760" y="2041"/>
                </a:lnTo>
                <a:lnTo>
                  <a:pt x="760" y="2042"/>
                </a:lnTo>
                <a:lnTo>
                  <a:pt x="761" y="2042"/>
                </a:lnTo>
                <a:lnTo>
                  <a:pt x="761" y="2043"/>
                </a:lnTo>
                <a:lnTo>
                  <a:pt x="764" y="2043"/>
                </a:lnTo>
                <a:lnTo>
                  <a:pt x="764" y="2042"/>
                </a:lnTo>
                <a:lnTo>
                  <a:pt x="763" y="2041"/>
                </a:lnTo>
                <a:lnTo>
                  <a:pt x="763" y="2040"/>
                </a:lnTo>
                <a:lnTo>
                  <a:pt x="764" y="2040"/>
                </a:lnTo>
                <a:lnTo>
                  <a:pt x="764" y="2039"/>
                </a:lnTo>
                <a:lnTo>
                  <a:pt x="765" y="2039"/>
                </a:lnTo>
                <a:lnTo>
                  <a:pt x="765" y="2038"/>
                </a:lnTo>
                <a:lnTo>
                  <a:pt x="764" y="2038"/>
                </a:lnTo>
                <a:lnTo>
                  <a:pt x="764" y="2036"/>
                </a:lnTo>
                <a:lnTo>
                  <a:pt x="763" y="2035"/>
                </a:lnTo>
                <a:lnTo>
                  <a:pt x="763" y="2034"/>
                </a:lnTo>
                <a:lnTo>
                  <a:pt x="764" y="2034"/>
                </a:lnTo>
                <a:lnTo>
                  <a:pt x="764" y="2035"/>
                </a:lnTo>
                <a:lnTo>
                  <a:pt x="765" y="2035"/>
                </a:lnTo>
                <a:lnTo>
                  <a:pt x="765" y="2034"/>
                </a:lnTo>
                <a:lnTo>
                  <a:pt x="764" y="2034"/>
                </a:lnTo>
                <a:lnTo>
                  <a:pt x="763" y="2033"/>
                </a:lnTo>
                <a:lnTo>
                  <a:pt x="763" y="2028"/>
                </a:lnTo>
                <a:lnTo>
                  <a:pt x="761" y="2027"/>
                </a:lnTo>
                <a:lnTo>
                  <a:pt x="760" y="2027"/>
                </a:lnTo>
                <a:lnTo>
                  <a:pt x="760" y="2026"/>
                </a:lnTo>
                <a:lnTo>
                  <a:pt x="759" y="2026"/>
                </a:lnTo>
                <a:lnTo>
                  <a:pt x="759" y="2027"/>
                </a:lnTo>
                <a:lnTo>
                  <a:pt x="760" y="2027"/>
                </a:lnTo>
                <a:lnTo>
                  <a:pt x="761" y="2028"/>
                </a:lnTo>
                <a:lnTo>
                  <a:pt x="760" y="2028"/>
                </a:lnTo>
                <a:lnTo>
                  <a:pt x="760" y="2034"/>
                </a:lnTo>
                <a:lnTo>
                  <a:pt x="759" y="2036"/>
                </a:lnTo>
                <a:lnTo>
                  <a:pt x="758" y="2036"/>
                </a:lnTo>
                <a:lnTo>
                  <a:pt x="758" y="2023"/>
                </a:lnTo>
                <a:lnTo>
                  <a:pt x="759" y="2022"/>
                </a:lnTo>
                <a:lnTo>
                  <a:pt x="759" y="2021"/>
                </a:lnTo>
                <a:lnTo>
                  <a:pt x="760" y="2022"/>
                </a:lnTo>
                <a:lnTo>
                  <a:pt x="759" y="2023"/>
                </a:lnTo>
                <a:lnTo>
                  <a:pt x="760" y="2023"/>
                </a:lnTo>
                <a:lnTo>
                  <a:pt x="760" y="2024"/>
                </a:lnTo>
                <a:lnTo>
                  <a:pt x="763" y="2024"/>
                </a:lnTo>
                <a:lnTo>
                  <a:pt x="763" y="2023"/>
                </a:lnTo>
                <a:lnTo>
                  <a:pt x="761" y="2023"/>
                </a:lnTo>
                <a:lnTo>
                  <a:pt x="761" y="2021"/>
                </a:lnTo>
                <a:lnTo>
                  <a:pt x="765" y="2018"/>
                </a:lnTo>
                <a:lnTo>
                  <a:pt x="767" y="2017"/>
                </a:lnTo>
                <a:lnTo>
                  <a:pt x="768" y="2016"/>
                </a:lnTo>
                <a:lnTo>
                  <a:pt x="768" y="2015"/>
                </a:lnTo>
                <a:lnTo>
                  <a:pt x="770" y="2014"/>
                </a:lnTo>
                <a:lnTo>
                  <a:pt x="770" y="2011"/>
                </a:lnTo>
                <a:lnTo>
                  <a:pt x="771" y="2004"/>
                </a:lnTo>
                <a:lnTo>
                  <a:pt x="772" y="2002"/>
                </a:lnTo>
                <a:lnTo>
                  <a:pt x="774" y="1999"/>
                </a:lnTo>
                <a:lnTo>
                  <a:pt x="777" y="1998"/>
                </a:lnTo>
                <a:lnTo>
                  <a:pt x="779" y="1998"/>
                </a:lnTo>
                <a:lnTo>
                  <a:pt x="777" y="1999"/>
                </a:lnTo>
                <a:lnTo>
                  <a:pt x="778" y="1999"/>
                </a:lnTo>
                <a:lnTo>
                  <a:pt x="778" y="2000"/>
                </a:lnTo>
                <a:lnTo>
                  <a:pt x="777" y="2002"/>
                </a:lnTo>
                <a:lnTo>
                  <a:pt x="777" y="2004"/>
                </a:lnTo>
                <a:lnTo>
                  <a:pt x="778" y="2004"/>
                </a:lnTo>
                <a:lnTo>
                  <a:pt x="778" y="2008"/>
                </a:lnTo>
                <a:lnTo>
                  <a:pt x="776" y="2010"/>
                </a:lnTo>
                <a:lnTo>
                  <a:pt x="776" y="2012"/>
                </a:lnTo>
                <a:lnTo>
                  <a:pt x="777" y="2012"/>
                </a:lnTo>
                <a:lnTo>
                  <a:pt x="778" y="2011"/>
                </a:lnTo>
                <a:lnTo>
                  <a:pt x="777" y="2011"/>
                </a:lnTo>
                <a:lnTo>
                  <a:pt x="777" y="2010"/>
                </a:lnTo>
                <a:lnTo>
                  <a:pt x="778" y="2009"/>
                </a:lnTo>
                <a:lnTo>
                  <a:pt x="779" y="2005"/>
                </a:lnTo>
                <a:lnTo>
                  <a:pt x="779" y="2004"/>
                </a:lnTo>
                <a:lnTo>
                  <a:pt x="780" y="2003"/>
                </a:lnTo>
                <a:lnTo>
                  <a:pt x="780" y="2002"/>
                </a:lnTo>
                <a:lnTo>
                  <a:pt x="782" y="1999"/>
                </a:lnTo>
                <a:lnTo>
                  <a:pt x="782" y="1996"/>
                </a:lnTo>
                <a:lnTo>
                  <a:pt x="783" y="1995"/>
                </a:lnTo>
                <a:lnTo>
                  <a:pt x="783" y="1993"/>
                </a:lnTo>
                <a:lnTo>
                  <a:pt x="785" y="1993"/>
                </a:lnTo>
                <a:lnTo>
                  <a:pt x="785" y="1992"/>
                </a:lnTo>
                <a:lnTo>
                  <a:pt x="789" y="1996"/>
                </a:lnTo>
                <a:lnTo>
                  <a:pt x="790" y="1996"/>
                </a:lnTo>
                <a:lnTo>
                  <a:pt x="794" y="1999"/>
                </a:lnTo>
                <a:lnTo>
                  <a:pt x="798" y="1999"/>
                </a:lnTo>
                <a:lnTo>
                  <a:pt x="799" y="1998"/>
                </a:lnTo>
                <a:lnTo>
                  <a:pt x="799" y="1995"/>
                </a:lnTo>
                <a:lnTo>
                  <a:pt x="798" y="1995"/>
                </a:lnTo>
                <a:lnTo>
                  <a:pt x="788" y="1989"/>
                </a:lnTo>
                <a:lnTo>
                  <a:pt x="788" y="1986"/>
                </a:lnTo>
                <a:lnTo>
                  <a:pt x="786" y="1985"/>
                </a:lnTo>
                <a:lnTo>
                  <a:pt x="786" y="1984"/>
                </a:lnTo>
                <a:lnTo>
                  <a:pt x="784" y="1983"/>
                </a:lnTo>
                <a:lnTo>
                  <a:pt x="780" y="1978"/>
                </a:lnTo>
                <a:lnTo>
                  <a:pt x="779" y="1977"/>
                </a:lnTo>
                <a:lnTo>
                  <a:pt x="774" y="1977"/>
                </a:lnTo>
                <a:lnTo>
                  <a:pt x="774" y="1978"/>
                </a:lnTo>
                <a:lnTo>
                  <a:pt x="776" y="1979"/>
                </a:lnTo>
                <a:lnTo>
                  <a:pt x="774" y="1980"/>
                </a:lnTo>
                <a:lnTo>
                  <a:pt x="774" y="1979"/>
                </a:lnTo>
                <a:lnTo>
                  <a:pt x="771" y="1977"/>
                </a:lnTo>
                <a:lnTo>
                  <a:pt x="770" y="1973"/>
                </a:lnTo>
                <a:lnTo>
                  <a:pt x="768" y="1973"/>
                </a:lnTo>
                <a:lnTo>
                  <a:pt x="768" y="1972"/>
                </a:lnTo>
                <a:lnTo>
                  <a:pt x="767" y="1971"/>
                </a:lnTo>
                <a:lnTo>
                  <a:pt x="767" y="1968"/>
                </a:lnTo>
                <a:lnTo>
                  <a:pt x="765" y="1963"/>
                </a:lnTo>
                <a:lnTo>
                  <a:pt x="765" y="1962"/>
                </a:lnTo>
                <a:lnTo>
                  <a:pt x="764" y="1961"/>
                </a:lnTo>
                <a:lnTo>
                  <a:pt x="764" y="1960"/>
                </a:lnTo>
                <a:lnTo>
                  <a:pt x="765" y="1961"/>
                </a:lnTo>
                <a:lnTo>
                  <a:pt x="767" y="1962"/>
                </a:lnTo>
                <a:lnTo>
                  <a:pt x="768" y="1963"/>
                </a:lnTo>
                <a:lnTo>
                  <a:pt x="777" y="1963"/>
                </a:lnTo>
                <a:lnTo>
                  <a:pt x="778" y="1962"/>
                </a:lnTo>
                <a:lnTo>
                  <a:pt x="779" y="1960"/>
                </a:lnTo>
                <a:lnTo>
                  <a:pt x="780" y="1960"/>
                </a:lnTo>
                <a:lnTo>
                  <a:pt x="782" y="1959"/>
                </a:lnTo>
                <a:lnTo>
                  <a:pt x="785" y="1959"/>
                </a:lnTo>
                <a:lnTo>
                  <a:pt x="786" y="1956"/>
                </a:lnTo>
                <a:lnTo>
                  <a:pt x="788" y="1957"/>
                </a:lnTo>
                <a:lnTo>
                  <a:pt x="788" y="1960"/>
                </a:lnTo>
                <a:lnTo>
                  <a:pt x="789" y="1960"/>
                </a:lnTo>
                <a:lnTo>
                  <a:pt x="795" y="1962"/>
                </a:lnTo>
                <a:lnTo>
                  <a:pt x="799" y="1961"/>
                </a:lnTo>
                <a:lnTo>
                  <a:pt x="801" y="1961"/>
                </a:lnTo>
                <a:lnTo>
                  <a:pt x="801" y="1960"/>
                </a:lnTo>
                <a:lnTo>
                  <a:pt x="799" y="1959"/>
                </a:lnTo>
                <a:lnTo>
                  <a:pt x="799" y="1957"/>
                </a:lnTo>
                <a:lnTo>
                  <a:pt x="798" y="1957"/>
                </a:lnTo>
                <a:lnTo>
                  <a:pt x="797" y="1956"/>
                </a:lnTo>
                <a:lnTo>
                  <a:pt x="791" y="1956"/>
                </a:lnTo>
                <a:lnTo>
                  <a:pt x="791" y="1955"/>
                </a:lnTo>
                <a:lnTo>
                  <a:pt x="792" y="1954"/>
                </a:lnTo>
                <a:lnTo>
                  <a:pt x="792" y="1950"/>
                </a:lnTo>
                <a:lnTo>
                  <a:pt x="794" y="1949"/>
                </a:lnTo>
                <a:lnTo>
                  <a:pt x="801" y="1949"/>
                </a:lnTo>
                <a:lnTo>
                  <a:pt x="804" y="1948"/>
                </a:lnTo>
                <a:lnTo>
                  <a:pt x="805" y="1948"/>
                </a:lnTo>
                <a:lnTo>
                  <a:pt x="808" y="1947"/>
                </a:lnTo>
                <a:lnTo>
                  <a:pt x="809" y="1947"/>
                </a:lnTo>
                <a:lnTo>
                  <a:pt x="811" y="1944"/>
                </a:lnTo>
                <a:lnTo>
                  <a:pt x="811" y="1943"/>
                </a:lnTo>
                <a:lnTo>
                  <a:pt x="816" y="1943"/>
                </a:lnTo>
                <a:lnTo>
                  <a:pt x="817" y="1942"/>
                </a:lnTo>
                <a:lnTo>
                  <a:pt x="819" y="1940"/>
                </a:lnTo>
                <a:lnTo>
                  <a:pt x="820" y="1938"/>
                </a:lnTo>
                <a:lnTo>
                  <a:pt x="821" y="1938"/>
                </a:lnTo>
                <a:lnTo>
                  <a:pt x="822" y="1940"/>
                </a:lnTo>
                <a:lnTo>
                  <a:pt x="823" y="1940"/>
                </a:lnTo>
                <a:lnTo>
                  <a:pt x="823" y="1938"/>
                </a:lnTo>
                <a:lnTo>
                  <a:pt x="828" y="1940"/>
                </a:lnTo>
                <a:lnTo>
                  <a:pt x="829" y="1940"/>
                </a:lnTo>
                <a:lnTo>
                  <a:pt x="829" y="1938"/>
                </a:lnTo>
                <a:lnTo>
                  <a:pt x="830" y="1936"/>
                </a:lnTo>
                <a:lnTo>
                  <a:pt x="830" y="1935"/>
                </a:lnTo>
                <a:lnTo>
                  <a:pt x="832" y="1934"/>
                </a:lnTo>
                <a:lnTo>
                  <a:pt x="833" y="1934"/>
                </a:lnTo>
                <a:lnTo>
                  <a:pt x="834" y="1932"/>
                </a:lnTo>
                <a:lnTo>
                  <a:pt x="832" y="1932"/>
                </a:lnTo>
                <a:lnTo>
                  <a:pt x="829" y="1935"/>
                </a:lnTo>
                <a:lnTo>
                  <a:pt x="828" y="1934"/>
                </a:lnTo>
                <a:lnTo>
                  <a:pt x="829" y="1931"/>
                </a:lnTo>
                <a:lnTo>
                  <a:pt x="828" y="1931"/>
                </a:lnTo>
                <a:lnTo>
                  <a:pt x="828" y="1928"/>
                </a:lnTo>
                <a:lnTo>
                  <a:pt x="829" y="1928"/>
                </a:lnTo>
                <a:lnTo>
                  <a:pt x="829" y="1925"/>
                </a:lnTo>
                <a:lnTo>
                  <a:pt x="828" y="1924"/>
                </a:lnTo>
                <a:lnTo>
                  <a:pt x="827" y="1924"/>
                </a:lnTo>
                <a:lnTo>
                  <a:pt x="826" y="1923"/>
                </a:lnTo>
                <a:lnTo>
                  <a:pt x="821" y="1923"/>
                </a:lnTo>
                <a:lnTo>
                  <a:pt x="820" y="1924"/>
                </a:lnTo>
                <a:lnTo>
                  <a:pt x="815" y="1924"/>
                </a:lnTo>
                <a:lnTo>
                  <a:pt x="815" y="1929"/>
                </a:lnTo>
                <a:lnTo>
                  <a:pt x="813" y="1929"/>
                </a:lnTo>
                <a:lnTo>
                  <a:pt x="811" y="1930"/>
                </a:lnTo>
                <a:lnTo>
                  <a:pt x="808" y="1930"/>
                </a:lnTo>
                <a:lnTo>
                  <a:pt x="805" y="1931"/>
                </a:lnTo>
                <a:lnTo>
                  <a:pt x="798" y="1931"/>
                </a:lnTo>
                <a:lnTo>
                  <a:pt x="798" y="1932"/>
                </a:lnTo>
                <a:lnTo>
                  <a:pt x="796" y="1932"/>
                </a:lnTo>
                <a:lnTo>
                  <a:pt x="796" y="1931"/>
                </a:lnTo>
                <a:lnTo>
                  <a:pt x="797" y="1930"/>
                </a:lnTo>
                <a:lnTo>
                  <a:pt x="797" y="1929"/>
                </a:lnTo>
                <a:lnTo>
                  <a:pt x="798" y="1928"/>
                </a:lnTo>
                <a:lnTo>
                  <a:pt x="798" y="1926"/>
                </a:lnTo>
                <a:lnTo>
                  <a:pt x="801" y="1926"/>
                </a:lnTo>
                <a:lnTo>
                  <a:pt x="808" y="1925"/>
                </a:lnTo>
                <a:lnTo>
                  <a:pt x="810" y="1923"/>
                </a:lnTo>
                <a:lnTo>
                  <a:pt x="809" y="1922"/>
                </a:lnTo>
                <a:lnTo>
                  <a:pt x="809" y="1924"/>
                </a:lnTo>
                <a:lnTo>
                  <a:pt x="807" y="1924"/>
                </a:lnTo>
                <a:lnTo>
                  <a:pt x="801" y="1925"/>
                </a:lnTo>
                <a:lnTo>
                  <a:pt x="798" y="1926"/>
                </a:lnTo>
                <a:lnTo>
                  <a:pt x="797" y="1926"/>
                </a:lnTo>
                <a:lnTo>
                  <a:pt x="796" y="1929"/>
                </a:lnTo>
                <a:lnTo>
                  <a:pt x="795" y="1930"/>
                </a:lnTo>
                <a:lnTo>
                  <a:pt x="795" y="1931"/>
                </a:lnTo>
                <a:lnTo>
                  <a:pt x="794" y="1932"/>
                </a:lnTo>
                <a:lnTo>
                  <a:pt x="786" y="1932"/>
                </a:lnTo>
                <a:lnTo>
                  <a:pt x="785" y="1934"/>
                </a:lnTo>
                <a:lnTo>
                  <a:pt x="784" y="1934"/>
                </a:lnTo>
                <a:lnTo>
                  <a:pt x="784" y="1928"/>
                </a:lnTo>
                <a:lnTo>
                  <a:pt x="786" y="1925"/>
                </a:lnTo>
                <a:lnTo>
                  <a:pt x="788" y="1925"/>
                </a:lnTo>
                <a:lnTo>
                  <a:pt x="788" y="1923"/>
                </a:lnTo>
                <a:lnTo>
                  <a:pt x="786" y="1922"/>
                </a:lnTo>
                <a:lnTo>
                  <a:pt x="783" y="1922"/>
                </a:lnTo>
                <a:lnTo>
                  <a:pt x="783" y="1920"/>
                </a:lnTo>
                <a:lnTo>
                  <a:pt x="785" y="1918"/>
                </a:lnTo>
                <a:lnTo>
                  <a:pt x="786" y="1916"/>
                </a:lnTo>
                <a:lnTo>
                  <a:pt x="786" y="1907"/>
                </a:lnTo>
                <a:lnTo>
                  <a:pt x="788" y="1905"/>
                </a:lnTo>
                <a:lnTo>
                  <a:pt x="790" y="1903"/>
                </a:lnTo>
                <a:lnTo>
                  <a:pt x="799" y="1901"/>
                </a:lnTo>
                <a:lnTo>
                  <a:pt x="799" y="1900"/>
                </a:lnTo>
                <a:lnTo>
                  <a:pt x="801" y="1900"/>
                </a:lnTo>
                <a:lnTo>
                  <a:pt x="802" y="1898"/>
                </a:lnTo>
                <a:lnTo>
                  <a:pt x="807" y="1898"/>
                </a:lnTo>
                <a:lnTo>
                  <a:pt x="807" y="1894"/>
                </a:lnTo>
                <a:lnTo>
                  <a:pt x="810" y="1887"/>
                </a:lnTo>
                <a:lnTo>
                  <a:pt x="813" y="1886"/>
                </a:lnTo>
                <a:lnTo>
                  <a:pt x="819" y="1887"/>
                </a:lnTo>
                <a:lnTo>
                  <a:pt x="821" y="1888"/>
                </a:lnTo>
                <a:lnTo>
                  <a:pt x="824" y="1888"/>
                </a:lnTo>
                <a:lnTo>
                  <a:pt x="830" y="1887"/>
                </a:lnTo>
                <a:lnTo>
                  <a:pt x="832" y="1887"/>
                </a:lnTo>
                <a:lnTo>
                  <a:pt x="834" y="1889"/>
                </a:lnTo>
                <a:lnTo>
                  <a:pt x="835" y="1888"/>
                </a:lnTo>
                <a:lnTo>
                  <a:pt x="838" y="1888"/>
                </a:lnTo>
                <a:lnTo>
                  <a:pt x="839" y="1889"/>
                </a:lnTo>
                <a:lnTo>
                  <a:pt x="841" y="1888"/>
                </a:lnTo>
                <a:lnTo>
                  <a:pt x="842" y="1888"/>
                </a:lnTo>
                <a:lnTo>
                  <a:pt x="847" y="1889"/>
                </a:lnTo>
                <a:lnTo>
                  <a:pt x="848" y="1889"/>
                </a:lnTo>
                <a:lnTo>
                  <a:pt x="850" y="1888"/>
                </a:lnTo>
                <a:lnTo>
                  <a:pt x="850" y="1887"/>
                </a:lnTo>
                <a:lnTo>
                  <a:pt x="851" y="1885"/>
                </a:lnTo>
                <a:lnTo>
                  <a:pt x="851" y="1879"/>
                </a:lnTo>
                <a:lnTo>
                  <a:pt x="850" y="1877"/>
                </a:lnTo>
                <a:lnTo>
                  <a:pt x="850" y="1876"/>
                </a:lnTo>
                <a:lnTo>
                  <a:pt x="851" y="1876"/>
                </a:lnTo>
                <a:lnTo>
                  <a:pt x="853" y="1875"/>
                </a:lnTo>
                <a:lnTo>
                  <a:pt x="852" y="1873"/>
                </a:lnTo>
                <a:lnTo>
                  <a:pt x="852" y="1872"/>
                </a:lnTo>
                <a:lnTo>
                  <a:pt x="853" y="1870"/>
                </a:lnTo>
                <a:lnTo>
                  <a:pt x="855" y="1867"/>
                </a:lnTo>
                <a:lnTo>
                  <a:pt x="855" y="1866"/>
                </a:lnTo>
                <a:lnTo>
                  <a:pt x="858" y="1863"/>
                </a:lnTo>
                <a:lnTo>
                  <a:pt x="859" y="1863"/>
                </a:lnTo>
                <a:lnTo>
                  <a:pt x="859" y="1860"/>
                </a:lnTo>
                <a:lnTo>
                  <a:pt x="854" y="1860"/>
                </a:lnTo>
                <a:lnTo>
                  <a:pt x="852" y="1858"/>
                </a:lnTo>
                <a:lnTo>
                  <a:pt x="857" y="1854"/>
                </a:lnTo>
                <a:lnTo>
                  <a:pt x="855" y="1854"/>
                </a:lnTo>
                <a:lnTo>
                  <a:pt x="855" y="1851"/>
                </a:lnTo>
                <a:lnTo>
                  <a:pt x="854" y="1848"/>
                </a:lnTo>
                <a:lnTo>
                  <a:pt x="853" y="1848"/>
                </a:lnTo>
                <a:lnTo>
                  <a:pt x="853" y="1846"/>
                </a:lnTo>
                <a:lnTo>
                  <a:pt x="854" y="1846"/>
                </a:lnTo>
                <a:lnTo>
                  <a:pt x="854" y="1844"/>
                </a:lnTo>
                <a:lnTo>
                  <a:pt x="853" y="1843"/>
                </a:lnTo>
                <a:lnTo>
                  <a:pt x="853" y="1842"/>
                </a:lnTo>
                <a:lnTo>
                  <a:pt x="852" y="1840"/>
                </a:lnTo>
                <a:lnTo>
                  <a:pt x="844" y="1840"/>
                </a:lnTo>
                <a:lnTo>
                  <a:pt x="845" y="1839"/>
                </a:lnTo>
                <a:lnTo>
                  <a:pt x="847" y="1831"/>
                </a:lnTo>
                <a:lnTo>
                  <a:pt x="847" y="1830"/>
                </a:lnTo>
                <a:lnTo>
                  <a:pt x="848" y="1830"/>
                </a:lnTo>
                <a:lnTo>
                  <a:pt x="848" y="1829"/>
                </a:lnTo>
                <a:lnTo>
                  <a:pt x="850" y="1829"/>
                </a:lnTo>
                <a:lnTo>
                  <a:pt x="850" y="1827"/>
                </a:lnTo>
                <a:lnTo>
                  <a:pt x="851" y="1826"/>
                </a:lnTo>
                <a:lnTo>
                  <a:pt x="852" y="1826"/>
                </a:lnTo>
                <a:lnTo>
                  <a:pt x="857" y="1827"/>
                </a:lnTo>
                <a:lnTo>
                  <a:pt x="859" y="1827"/>
                </a:lnTo>
                <a:lnTo>
                  <a:pt x="861" y="1825"/>
                </a:lnTo>
                <a:lnTo>
                  <a:pt x="861" y="1821"/>
                </a:lnTo>
                <a:lnTo>
                  <a:pt x="860" y="1821"/>
                </a:lnTo>
                <a:lnTo>
                  <a:pt x="859" y="1823"/>
                </a:lnTo>
                <a:lnTo>
                  <a:pt x="858" y="1823"/>
                </a:lnTo>
                <a:lnTo>
                  <a:pt x="858" y="1824"/>
                </a:lnTo>
                <a:lnTo>
                  <a:pt x="857" y="1824"/>
                </a:lnTo>
                <a:lnTo>
                  <a:pt x="857" y="1823"/>
                </a:lnTo>
                <a:lnTo>
                  <a:pt x="855" y="1821"/>
                </a:lnTo>
                <a:lnTo>
                  <a:pt x="854" y="1823"/>
                </a:lnTo>
                <a:lnTo>
                  <a:pt x="851" y="1821"/>
                </a:lnTo>
                <a:lnTo>
                  <a:pt x="850" y="1821"/>
                </a:lnTo>
                <a:lnTo>
                  <a:pt x="848" y="1820"/>
                </a:lnTo>
                <a:lnTo>
                  <a:pt x="848" y="1818"/>
                </a:lnTo>
                <a:lnTo>
                  <a:pt x="847" y="1818"/>
                </a:lnTo>
                <a:lnTo>
                  <a:pt x="846" y="1817"/>
                </a:lnTo>
                <a:lnTo>
                  <a:pt x="846" y="1813"/>
                </a:lnTo>
                <a:lnTo>
                  <a:pt x="847" y="1812"/>
                </a:lnTo>
                <a:lnTo>
                  <a:pt x="850" y="1813"/>
                </a:lnTo>
                <a:lnTo>
                  <a:pt x="852" y="1811"/>
                </a:lnTo>
                <a:lnTo>
                  <a:pt x="854" y="1811"/>
                </a:lnTo>
                <a:lnTo>
                  <a:pt x="855" y="1812"/>
                </a:lnTo>
                <a:lnTo>
                  <a:pt x="857" y="1811"/>
                </a:lnTo>
                <a:lnTo>
                  <a:pt x="857" y="1807"/>
                </a:lnTo>
                <a:lnTo>
                  <a:pt x="859" y="1805"/>
                </a:lnTo>
                <a:lnTo>
                  <a:pt x="861" y="1803"/>
                </a:lnTo>
                <a:lnTo>
                  <a:pt x="861" y="1802"/>
                </a:lnTo>
                <a:lnTo>
                  <a:pt x="865" y="1799"/>
                </a:lnTo>
                <a:lnTo>
                  <a:pt x="865" y="1796"/>
                </a:lnTo>
                <a:lnTo>
                  <a:pt x="866" y="1794"/>
                </a:lnTo>
                <a:lnTo>
                  <a:pt x="866" y="1791"/>
                </a:lnTo>
                <a:lnTo>
                  <a:pt x="864" y="1789"/>
                </a:lnTo>
                <a:lnTo>
                  <a:pt x="861" y="1784"/>
                </a:lnTo>
                <a:lnTo>
                  <a:pt x="861" y="1781"/>
                </a:lnTo>
                <a:lnTo>
                  <a:pt x="864" y="1778"/>
                </a:lnTo>
                <a:lnTo>
                  <a:pt x="865" y="1778"/>
                </a:lnTo>
                <a:lnTo>
                  <a:pt x="865" y="1776"/>
                </a:lnTo>
                <a:lnTo>
                  <a:pt x="860" y="1775"/>
                </a:lnTo>
                <a:lnTo>
                  <a:pt x="859" y="1775"/>
                </a:lnTo>
                <a:lnTo>
                  <a:pt x="855" y="1777"/>
                </a:lnTo>
                <a:lnTo>
                  <a:pt x="855" y="1778"/>
                </a:lnTo>
                <a:lnTo>
                  <a:pt x="853" y="1778"/>
                </a:lnTo>
                <a:lnTo>
                  <a:pt x="852" y="1780"/>
                </a:lnTo>
                <a:lnTo>
                  <a:pt x="851" y="1780"/>
                </a:lnTo>
                <a:lnTo>
                  <a:pt x="851" y="1778"/>
                </a:lnTo>
                <a:lnTo>
                  <a:pt x="848" y="1776"/>
                </a:lnTo>
                <a:lnTo>
                  <a:pt x="846" y="1776"/>
                </a:lnTo>
                <a:lnTo>
                  <a:pt x="845" y="1775"/>
                </a:lnTo>
                <a:lnTo>
                  <a:pt x="844" y="1775"/>
                </a:lnTo>
                <a:lnTo>
                  <a:pt x="842" y="1772"/>
                </a:lnTo>
                <a:lnTo>
                  <a:pt x="842" y="1769"/>
                </a:lnTo>
                <a:lnTo>
                  <a:pt x="841" y="1768"/>
                </a:lnTo>
                <a:lnTo>
                  <a:pt x="839" y="1766"/>
                </a:lnTo>
                <a:lnTo>
                  <a:pt x="838" y="1766"/>
                </a:lnTo>
                <a:lnTo>
                  <a:pt x="836" y="1765"/>
                </a:lnTo>
                <a:lnTo>
                  <a:pt x="834" y="1766"/>
                </a:lnTo>
                <a:lnTo>
                  <a:pt x="833" y="1766"/>
                </a:lnTo>
                <a:lnTo>
                  <a:pt x="832" y="1768"/>
                </a:lnTo>
                <a:lnTo>
                  <a:pt x="829" y="1766"/>
                </a:lnTo>
                <a:lnTo>
                  <a:pt x="828" y="1766"/>
                </a:lnTo>
                <a:lnTo>
                  <a:pt x="827" y="1764"/>
                </a:lnTo>
                <a:lnTo>
                  <a:pt x="824" y="1758"/>
                </a:lnTo>
                <a:lnTo>
                  <a:pt x="824" y="1757"/>
                </a:lnTo>
                <a:lnTo>
                  <a:pt x="822" y="1758"/>
                </a:lnTo>
                <a:lnTo>
                  <a:pt x="822" y="1759"/>
                </a:lnTo>
                <a:lnTo>
                  <a:pt x="820" y="1760"/>
                </a:lnTo>
                <a:lnTo>
                  <a:pt x="820" y="1762"/>
                </a:lnTo>
                <a:lnTo>
                  <a:pt x="815" y="1762"/>
                </a:lnTo>
                <a:lnTo>
                  <a:pt x="811" y="1758"/>
                </a:lnTo>
                <a:lnTo>
                  <a:pt x="807" y="1757"/>
                </a:lnTo>
                <a:lnTo>
                  <a:pt x="803" y="1753"/>
                </a:lnTo>
                <a:lnTo>
                  <a:pt x="803" y="1752"/>
                </a:lnTo>
                <a:lnTo>
                  <a:pt x="795" y="1752"/>
                </a:lnTo>
                <a:lnTo>
                  <a:pt x="794" y="1751"/>
                </a:lnTo>
                <a:lnTo>
                  <a:pt x="790" y="1751"/>
                </a:lnTo>
                <a:lnTo>
                  <a:pt x="790" y="1750"/>
                </a:lnTo>
                <a:lnTo>
                  <a:pt x="789" y="1746"/>
                </a:lnTo>
                <a:lnTo>
                  <a:pt x="788" y="1745"/>
                </a:lnTo>
                <a:lnTo>
                  <a:pt x="783" y="1745"/>
                </a:lnTo>
                <a:lnTo>
                  <a:pt x="782" y="1747"/>
                </a:lnTo>
                <a:lnTo>
                  <a:pt x="783" y="1750"/>
                </a:lnTo>
                <a:lnTo>
                  <a:pt x="783" y="1753"/>
                </a:lnTo>
                <a:lnTo>
                  <a:pt x="780" y="1754"/>
                </a:lnTo>
                <a:lnTo>
                  <a:pt x="779" y="1754"/>
                </a:lnTo>
                <a:lnTo>
                  <a:pt x="779" y="1753"/>
                </a:lnTo>
                <a:lnTo>
                  <a:pt x="778" y="1753"/>
                </a:lnTo>
                <a:lnTo>
                  <a:pt x="778" y="1754"/>
                </a:lnTo>
                <a:lnTo>
                  <a:pt x="776" y="1756"/>
                </a:lnTo>
                <a:lnTo>
                  <a:pt x="774" y="1756"/>
                </a:lnTo>
                <a:lnTo>
                  <a:pt x="774" y="1753"/>
                </a:lnTo>
                <a:lnTo>
                  <a:pt x="772" y="1748"/>
                </a:lnTo>
                <a:lnTo>
                  <a:pt x="770" y="1747"/>
                </a:lnTo>
                <a:lnTo>
                  <a:pt x="768" y="1746"/>
                </a:lnTo>
                <a:lnTo>
                  <a:pt x="765" y="1745"/>
                </a:lnTo>
                <a:lnTo>
                  <a:pt x="764" y="1744"/>
                </a:lnTo>
                <a:lnTo>
                  <a:pt x="760" y="1738"/>
                </a:lnTo>
                <a:lnTo>
                  <a:pt x="758" y="1737"/>
                </a:lnTo>
                <a:lnTo>
                  <a:pt x="758" y="1734"/>
                </a:lnTo>
                <a:lnTo>
                  <a:pt x="759" y="1733"/>
                </a:lnTo>
                <a:lnTo>
                  <a:pt x="757" y="1728"/>
                </a:lnTo>
                <a:lnTo>
                  <a:pt x="753" y="1727"/>
                </a:lnTo>
                <a:lnTo>
                  <a:pt x="753" y="1725"/>
                </a:lnTo>
                <a:lnTo>
                  <a:pt x="752" y="1723"/>
                </a:lnTo>
                <a:lnTo>
                  <a:pt x="752" y="1721"/>
                </a:lnTo>
                <a:lnTo>
                  <a:pt x="746" y="1721"/>
                </a:lnTo>
                <a:lnTo>
                  <a:pt x="741" y="1726"/>
                </a:lnTo>
                <a:lnTo>
                  <a:pt x="735" y="1727"/>
                </a:lnTo>
                <a:lnTo>
                  <a:pt x="729" y="1727"/>
                </a:lnTo>
                <a:lnTo>
                  <a:pt x="720" y="1732"/>
                </a:lnTo>
                <a:lnTo>
                  <a:pt x="720" y="1733"/>
                </a:lnTo>
                <a:lnTo>
                  <a:pt x="718" y="1733"/>
                </a:lnTo>
                <a:lnTo>
                  <a:pt x="718" y="1734"/>
                </a:lnTo>
                <a:lnTo>
                  <a:pt x="717" y="1735"/>
                </a:lnTo>
                <a:lnTo>
                  <a:pt x="714" y="1735"/>
                </a:lnTo>
                <a:lnTo>
                  <a:pt x="714" y="1732"/>
                </a:lnTo>
                <a:lnTo>
                  <a:pt x="712" y="1731"/>
                </a:lnTo>
                <a:lnTo>
                  <a:pt x="711" y="1731"/>
                </a:lnTo>
                <a:lnTo>
                  <a:pt x="710" y="1729"/>
                </a:lnTo>
                <a:lnTo>
                  <a:pt x="707" y="1729"/>
                </a:lnTo>
                <a:lnTo>
                  <a:pt x="705" y="1731"/>
                </a:lnTo>
                <a:lnTo>
                  <a:pt x="702" y="1731"/>
                </a:lnTo>
                <a:lnTo>
                  <a:pt x="698" y="1723"/>
                </a:lnTo>
                <a:lnTo>
                  <a:pt x="697" y="1723"/>
                </a:lnTo>
                <a:lnTo>
                  <a:pt x="697" y="1722"/>
                </a:lnTo>
                <a:lnTo>
                  <a:pt x="696" y="1721"/>
                </a:lnTo>
                <a:lnTo>
                  <a:pt x="683" y="1721"/>
                </a:lnTo>
                <a:lnTo>
                  <a:pt x="683" y="1722"/>
                </a:lnTo>
                <a:lnTo>
                  <a:pt x="681" y="1723"/>
                </a:lnTo>
                <a:lnTo>
                  <a:pt x="680" y="1723"/>
                </a:lnTo>
                <a:lnTo>
                  <a:pt x="680" y="1725"/>
                </a:lnTo>
                <a:lnTo>
                  <a:pt x="679" y="1725"/>
                </a:lnTo>
                <a:lnTo>
                  <a:pt x="679" y="1726"/>
                </a:lnTo>
                <a:lnTo>
                  <a:pt x="678" y="1727"/>
                </a:lnTo>
                <a:lnTo>
                  <a:pt x="676" y="1727"/>
                </a:lnTo>
                <a:lnTo>
                  <a:pt x="674" y="1726"/>
                </a:lnTo>
                <a:lnTo>
                  <a:pt x="673" y="1726"/>
                </a:lnTo>
                <a:lnTo>
                  <a:pt x="673" y="1725"/>
                </a:lnTo>
                <a:lnTo>
                  <a:pt x="672" y="1723"/>
                </a:lnTo>
                <a:lnTo>
                  <a:pt x="672" y="1720"/>
                </a:lnTo>
                <a:lnTo>
                  <a:pt x="671" y="1719"/>
                </a:lnTo>
                <a:lnTo>
                  <a:pt x="668" y="1719"/>
                </a:lnTo>
                <a:lnTo>
                  <a:pt x="666" y="1716"/>
                </a:lnTo>
                <a:lnTo>
                  <a:pt x="665" y="1708"/>
                </a:lnTo>
                <a:lnTo>
                  <a:pt x="665" y="1707"/>
                </a:lnTo>
                <a:lnTo>
                  <a:pt x="668" y="1705"/>
                </a:lnTo>
                <a:lnTo>
                  <a:pt x="667" y="1704"/>
                </a:lnTo>
                <a:lnTo>
                  <a:pt x="667" y="1698"/>
                </a:lnTo>
                <a:lnTo>
                  <a:pt x="666" y="1697"/>
                </a:lnTo>
                <a:lnTo>
                  <a:pt x="665" y="1697"/>
                </a:lnTo>
                <a:lnTo>
                  <a:pt x="665" y="1694"/>
                </a:lnTo>
                <a:lnTo>
                  <a:pt x="664" y="1692"/>
                </a:lnTo>
                <a:lnTo>
                  <a:pt x="664" y="1691"/>
                </a:lnTo>
                <a:lnTo>
                  <a:pt x="662" y="1690"/>
                </a:lnTo>
                <a:lnTo>
                  <a:pt x="664" y="1689"/>
                </a:lnTo>
                <a:lnTo>
                  <a:pt x="662" y="1688"/>
                </a:lnTo>
                <a:lnTo>
                  <a:pt x="661" y="1688"/>
                </a:lnTo>
                <a:lnTo>
                  <a:pt x="661" y="1686"/>
                </a:lnTo>
                <a:lnTo>
                  <a:pt x="660" y="1686"/>
                </a:lnTo>
                <a:lnTo>
                  <a:pt x="660" y="1683"/>
                </a:lnTo>
                <a:lnTo>
                  <a:pt x="664" y="1683"/>
                </a:lnTo>
                <a:lnTo>
                  <a:pt x="664" y="1680"/>
                </a:lnTo>
                <a:lnTo>
                  <a:pt x="662" y="1680"/>
                </a:lnTo>
                <a:lnTo>
                  <a:pt x="661" y="1679"/>
                </a:lnTo>
                <a:lnTo>
                  <a:pt x="660" y="1679"/>
                </a:lnTo>
                <a:lnTo>
                  <a:pt x="658" y="1680"/>
                </a:lnTo>
                <a:lnTo>
                  <a:pt x="656" y="1680"/>
                </a:lnTo>
                <a:lnTo>
                  <a:pt x="655" y="1679"/>
                </a:lnTo>
                <a:lnTo>
                  <a:pt x="654" y="1677"/>
                </a:lnTo>
                <a:lnTo>
                  <a:pt x="653" y="1671"/>
                </a:lnTo>
                <a:lnTo>
                  <a:pt x="653" y="1670"/>
                </a:lnTo>
                <a:lnTo>
                  <a:pt x="652" y="1668"/>
                </a:lnTo>
                <a:lnTo>
                  <a:pt x="650" y="1668"/>
                </a:lnTo>
                <a:lnTo>
                  <a:pt x="649" y="1670"/>
                </a:lnTo>
                <a:lnTo>
                  <a:pt x="648" y="1670"/>
                </a:lnTo>
                <a:lnTo>
                  <a:pt x="648" y="1668"/>
                </a:lnTo>
                <a:lnTo>
                  <a:pt x="647" y="1668"/>
                </a:lnTo>
                <a:lnTo>
                  <a:pt x="645" y="1670"/>
                </a:lnTo>
                <a:lnTo>
                  <a:pt x="641" y="1671"/>
                </a:lnTo>
                <a:lnTo>
                  <a:pt x="639" y="1672"/>
                </a:lnTo>
                <a:lnTo>
                  <a:pt x="635" y="1672"/>
                </a:lnTo>
                <a:lnTo>
                  <a:pt x="633" y="1670"/>
                </a:lnTo>
                <a:lnTo>
                  <a:pt x="633" y="1667"/>
                </a:lnTo>
                <a:lnTo>
                  <a:pt x="627" y="1667"/>
                </a:lnTo>
                <a:lnTo>
                  <a:pt x="624" y="1666"/>
                </a:lnTo>
                <a:lnTo>
                  <a:pt x="621" y="1666"/>
                </a:lnTo>
                <a:lnTo>
                  <a:pt x="619" y="1667"/>
                </a:lnTo>
                <a:lnTo>
                  <a:pt x="617" y="1667"/>
                </a:lnTo>
                <a:lnTo>
                  <a:pt x="615" y="1666"/>
                </a:lnTo>
                <a:lnTo>
                  <a:pt x="617" y="1665"/>
                </a:lnTo>
                <a:lnTo>
                  <a:pt x="619" y="1660"/>
                </a:lnTo>
                <a:lnTo>
                  <a:pt x="619" y="1658"/>
                </a:lnTo>
                <a:lnTo>
                  <a:pt x="618" y="1659"/>
                </a:lnTo>
                <a:lnTo>
                  <a:pt x="617" y="1659"/>
                </a:lnTo>
                <a:lnTo>
                  <a:pt x="614" y="1655"/>
                </a:lnTo>
                <a:lnTo>
                  <a:pt x="616" y="1655"/>
                </a:lnTo>
                <a:lnTo>
                  <a:pt x="616" y="1647"/>
                </a:lnTo>
                <a:lnTo>
                  <a:pt x="612" y="1643"/>
                </a:lnTo>
                <a:lnTo>
                  <a:pt x="612" y="1641"/>
                </a:lnTo>
                <a:lnTo>
                  <a:pt x="611" y="1641"/>
                </a:lnTo>
                <a:lnTo>
                  <a:pt x="610" y="1640"/>
                </a:lnTo>
                <a:lnTo>
                  <a:pt x="610" y="1637"/>
                </a:lnTo>
                <a:lnTo>
                  <a:pt x="612" y="1637"/>
                </a:lnTo>
                <a:lnTo>
                  <a:pt x="619" y="1635"/>
                </a:lnTo>
                <a:lnTo>
                  <a:pt x="622" y="1635"/>
                </a:lnTo>
                <a:lnTo>
                  <a:pt x="624" y="1633"/>
                </a:lnTo>
                <a:lnTo>
                  <a:pt x="624" y="1630"/>
                </a:lnTo>
                <a:lnTo>
                  <a:pt x="623" y="1628"/>
                </a:lnTo>
                <a:lnTo>
                  <a:pt x="621" y="1625"/>
                </a:lnTo>
                <a:lnTo>
                  <a:pt x="618" y="1624"/>
                </a:lnTo>
                <a:lnTo>
                  <a:pt x="618" y="1623"/>
                </a:lnTo>
                <a:lnTo>
                  <a:pt x="616" y="1623"/>
                </a:lnTo>
                <a:lnTo>
                  <a:pt x="616" y="1622"/>
                </a:lnTo>
                <a:lnTo>
                  <a:pt x="615" y="1622"/>
                </a:lnTo>
                <a:lnTo>
                  <a:pt x="615" y="1621"/>
                </a:lnTo>
                <a:lnTo>
                  <a:pt x="612" y="1618"/>
                </a:lnTo>
                <a:lnTo>
                  <a:pt x="610" y="1618"/>
                </a:lnTo>
                <a:lnTo>
                  <a:pt x="611" y="1617"/>
                </a:lnTo>
                <a:lnTo>
                  <a:pt x="611" y="1616"/>
                </a:lnTo>
                <a:lnTo>
                  <a:pt x="609" y="1614"/>
                </a:lnTo>
                <a:lnTo>
                  <a:pt x="609" y="1608"/>
                </a:lnTo>
                <a:lnTo>
                  <a:pt x="610" y="1606"/>
                </a:lnTo>
                <a:lnTo>
                  <a:pt x="610" y="1605"/>
                </a:lnTo>
                <a:lnTo>
                  <a:pt x="608" y="1603"/>
                </a:lnTo>
                <a:lnTo>
                  <a:pt x="608" y="1602"/>
                </a:lnTo>
                <a:lnTo>
                  <a:pt x="605" y="1599"/>
                </a:lnTo>
                <a:lnTo>
                  <a:pt x="604" y="1599"/>
                </a:lnTo>
                <a:lnTo>
                  <a:pt x="603" y="1597"/>
                </a:lnTo>
                <a:lnTo>
                  <a:pt x="603" y="1596"/>
                </a:lnTo>
                <a:lnTo>
                  <a:pt x="600" y="1594"/>
                </a:lnTo>
                <a:lnTo>
                  <a:pt x="599" y="1593"/>
                </a:lnTo>
                <a:lnTo>
                  <a:pt x="599" y="1592"/>
                </a:lnTo>
                <a:lnTo>
                  <a:pt x="598" y="1591"/>
                </a:lnTo>
                <a:lnTo>
                  <a:pt x="593" y="1591"/>
                </a:lnTo>
                <a:lnTo>
                  <a:pt x="590" y="1592"/>
                </a:lnTo>
                <a:lnTo>
                  <a:pt x="586" y="1596"/>
                </a:lnTo>
                <a:lnTo>
                  <a:pt x="585" y="1594"/>
                </a:lnTo>
                <a:lnTo>
                  <a:pt x="585" y="1591"/>
                </a:lnTo>
                <a:lnTo>
                  <a:pt x="584" y="1591"/>
                </a:lnTo>
                <a:lnTo>
                  <a:pt x="583" y="1592"/>
                </a:lnTo>
                <a:lnTo>
                  <a:pt x="581" y="1592"/>
                </a:lnTo>
                <a:lnTo>
                  <a:pt x="580" y="1591"/>
                </a:lnTo>
                <a:lnTo>
                  <a:pt x="577" y="1591"/>
                </a:lnTo>
                <a:lnTo>
                  <a:pt x="573" y="1590"/>
                </a:lnTo>
                <a:lnTo>
                  <a:pt x="572" y="1590"/>
                </a:lnTo>
                <a:lnTo>
                  <a:pt x="572" y="1591"/>
                </a:lnTo>
                <a:lnTo>
                  <a:pt x="571" y="1592"/>
                </a:lnTo>
                <a:lnTo>
                  <a:pt x="568" y="1592"/>
                </a:lnTo>
                <a:lnTo>
                  <a:pt x="568" y="1593"/>
                </a:lnTo>
                <a:lnTo>
                  <a:pt x="567" y="1594"/>
                </a:lnTo>
                <a:lnTo>
                  <a:pt x="566" y="1594"/>
                </a:lnTo>
                <a:lnTo>
                  <a:pt x="561" y="1598"/>
                </a:lnTo>
                <a:lnTo>
                  <a:pt x="559" y="1598"/>
                </a:lnTo>
                <a:lnTo>
                  <a:pt x="558" y="1597"/>
                </a:lnTo>
                <a:lnTo>
                  <a:pt x="556" y="1597"/>
                </a:lnTo>
                <a:lnTo>
                  <a:pt x="554" y="1598"/>
                </a:lnTo>
                <a:lnTo>
                  <a:pt x="553" y="1598"/>
                </a:lnTo>
                <a:lnTo>
                  <a:pt x="544" y="1593"/>
                </a:lnTo>
                <a:lnTo>
                  <a:pt x="542" y="1594"/>
                </a:lnTo>
                <a:lnTo>
                  <a:pt x="538" y="1593"/>
                </a:lnTo>
                <a:lnTo>
                  <a:pt x="537" y="1593"/>
                </a:lnTo>
                <a:lnTo>
                  <a:pt x="536" y="1596"/>
                </a:lnTo>
                <a:lnTo>
                  <a:pt x="537" y="1598"/>
                </a:lnTo>
                <a:lnTo>
                  <a:pt x="537" y="1599"/>
                </a:lnTo>
                <a:lnTo>
                  <a:pt x="536" y="1599"/>
                </a:lnTo>
                <a:lnTo>
                  <a:pt x="536" y="1602"/>
                </a:lnTo>
                <a:lnTo>
                  <a:pt x="535" y="1605"/>
                </a:lnTo>
                <a:lnTo>
                  <a:pt x="534" y="1608"/>
                </a:lnTo>
                <a:lnTo>
                  <a:pt x="531" y="1610"/>
                </a:lnTo>
                <a:lnTo>
                  <a:pt x="527" y="1612"/>
                </a:lnTo>
                <a:lnTo>
                  <a:pt x="525" y="1612"/>
                </a:lnTo>
                <a:lnTo>
                  <a:pt x="523" y="1611"/>
                </a:lnTo>
                <a:lnTo>
                  <a:pt x="522" y="1612"/>
                </a:lnTo>
                <a:lnTo>
                  <a:pt x="519" y="1614"/>
                </a:lnTo>
                <a:lnTo>
                  <a:pt x="518" y="1614"/>
                </a:lnTo>
                <a:lnTo>
                  <a:pt x="517" y="1612"/>
                </a:lnTo>
                <a:lnTo>
                  <a:pt x="517" y="1609"/>
                </a:lnTo>
                <a:lnTo>
                  <a:pt x="516" y="1609"/>
                </a:lnTo>
                <a:lnTo>
                  <a:pt x="515" y="1608"/>
                </a:lnTo>
                <a:lnTo>
                  <a:pt x="512" y="1609"/>
                </a:lnTo>
                <a:lnTo>
                  <a:pt x="512" y="1605"/>
                </a:lnTo>
                <a:lnTo>
                  <a:pt x="509" y="1602"/>
                </a:lnTo>
                <a:lnTo>
                  <a:pt x="509" y="1598"/>
                </a:lnTo>
                <a:lnTo>
                  <a:pt x="507" y="1597"/>
                </a:lnTo>
                <a:lnTo>
                  <a:pt x="506" y="1597"/>
                </a:lnTo>
                <a:lnTo>
                  <a:pt x="505" y="1596"/>
                </a:lnTo>
                <a:lnTo>
                  <a:pt x="504" y="1593"/>
                </a:lnTo>
                <a:lnTo>
                  <a:pt x="505" y="1592"/>
                </a:lnTo>
                <a:lnTo>
                  <a:pt x="505" y="1588"/>
                </a:lnTo>
                <a:lnTo>
                  <a:pt x="504" y="1587"/>
                </a:lnTo>
                <a:lnTo>
                  <a:pt x="504" y="1586"/>
                </a:lnTo>
                <a:lnTo>
                  <a:pt x="505" y="1584"/>
                </a:lnTo>
                <a:lnTo>
                  <a:pt x="505" y="1582"/>
                </a:lnTo>
                <a:lnTo>
                  <a:pt x="503" y="1580"/>
                </a:lnTo>
                <a:lnTo>
                  <a:pt x="504" y="1579"/>
                </a:lnTo>
                <a:lnTo>
                  <a:pt x="504" y="1578"/>
                </a:lnTo>
                <a:lnTo>
                  <a:pt x="506" y="1578"/>
                </a:lnTo>
                <a:lnTo>
                  <a:pt x="506" y="1576"/>
                </a:lnTo>
                <a:lnTo>
                  <a:pt x="504" y="1575"/>
                </a:lnTo>
                <a:lnTo>
                  <a:pt x="504" y="1574"/>
                </a:lnTo>
                <a:lnTo>
                  <a:pt x="503" y="1572"/>
                </a:lnTo>
                <a:lnTo>
                  <a:pt x="500" y="1569"/>
                </a:lnTo>
                <a:lnTo>
                  <a:pt x="500" y="1568"/>
                </a:lnTo>
                <a:lnTo>
                  <a:pt x="503" y="1567"/>
                </a:lnTo>
                <a:lnTo>
                  <a:pt x="504" y="1565"/>
                </a:lnTo>
                <a:lnTo>
                  <a:pt x="504" y="1561"/>
                </a:lnTo>
                <a:lnTo>
                  <a:pt x="502" y="1559"/>
                </a:lnTo>
                <a:lnTo>
                  <a:pt x="502" y="1556"/>
                </a:lnTo>
                <a:lnTo>
                  <a:pt x="499" y="1556"/>
                </a:lnTo>
                <a:lnTo>
                  <a:pt x="496" y="1553"/>
                </a:lnTo>
                <a:lnTo>
                  <a:pt x="494" y="1549"/>
                </a:lnTo>
                <a:lnTo>
                  <a:pt x="493" y="1548"/>
                </a:lnTo>
                <a:lnTo>
                  <a:pt x="491" y="1544"/>
                </a:lnTo>
                <a:lnTo>
                  <a:pt x="493" y="1541"/>
                </a:lnTo>
                <a:lnTo>
                  <a:pt x="494" y="1541"/>
                </a:lnTo>
                <a:lnTo>
                  <a:pt x="496" y="1539"/>
                </a:lnTo>
                <a:lnTo>
                  <a:pt x="496" y="1533"/>
                </a:lnTo>
                <a:lnTo>
                  <a:pt x="498" y="1532"/>
                </a:lnTo>
                <a:lnTo>
                  <a:pt x="503" y="1532"/>
                </a:lnTo>
                <a:lnTo>
                  <a:pt x="504" y="1531"/>
                </a:lnTo>
                <a:lnTo>
                  <a:pt x="506" y="1531"/>
                </a:lnTo>
                <a:lnTo>
                  <a:pt x="509" y="1532"/>
                </a:lnTo>
                <a:lnTo>
                  <a:pt x="512" y="1532"/>
                </a:lnTo>
                <a:lnTo>
                  <a:pt x="512" y="1537"/>
                </a:lnTo>
                <a:lnTo>
                  <a:pt x="513" y="1538"/>
                </a:lnTo>
                <a:lnTo>
                  <a:pt x="516" y="1538"/>
                </a:lnTo>
                <a:lnTo>
                  <a:pt x="518" y="1539"/>
                </a:lnTo>
                <a:lnTo>
                  <a:pt x="522" y="1539"/>
                </a:lnTo>
                <a:lnTo>
                  <a:pt x="523" y="1538"/>
                </a:lnTo>
                <a:lnTo>
                  <a:pt x="525" y="1541"/>
                </a:lnTo>
                <a:lnTo>
                  <a:pt x="527" y="1541"/>
                </a:lnTo>
                <a:lnTo>
                  <a:pt x="528" y="1539"/>
                </a:lnTo>
                <a:lnTo>
                  <a:pt x="530" y="1539"/>
                </a:lnTo>
                <a:lnTo>
                  <a:pt x="531" y="1538"/>
                </a:lnTo>
                <a:lnTo>
                  <a:pt x="531" y="1537"/>
                </a:lnTo>
                <a:lnTo>
                  <a:pt x="534" y="1537"/>
                </a:lnTo>
                <a:lnTo>
                  <a:pt x="538" y="1532"/>
                </a:lnTo>
                <a:lnTo>
                  <a:pt x="540" y="1532"/>
                </a:lnTo>
                <a:lnTo>
                  <a:pt x="540" y="1531"/>
                </a:lnTo>
                <a:lnTo>
                  <a:pt x="541" y="1529"/>
                </a:lnTo>
                <a:lnTo>
                  <a:pt x="542" y="1528"/>
                </a:lnTo>
                <a:lnTo>
                  <a:pt x="542" y="1526"/>
                </a:lnTo>
                <a:lnTo>
                  <a:pt x="541" y="1526"/>
                </a:lnTo>
                <a:lnTo>
                  <a:pt x="541" y="1525"/>
                </a:lnTo>
                <a:lnTo>
                  <a:pt x="542" y="1524"/>
                </a:lnTo>
                <a:lnTo>
                  <a:pt x="543" y="1525"/>
                </a:lnTo>
                <a:lnTo>
                  <a:pt x="546" y="1525"/>
                </a:lnTo>
                <a:lnTo>
                  <a:pt x="547" y="1524"/>
                </a:lnTo>
                <a:lnTo>
                  <a:pt x="547" y="1523"/>
                </a:lnTo>
                <a:lnTo>
                  <a:pt x="553" y="1523"/>
                </a:lnTo>
                <a:lnTo>
                  <a:pt x="552" y="1520"/>
                </a:lnTo>
                <a:lnTo>
                  <a:pt x="553" y="1516"/>
                </a:lnTo>
                <a:lnTo>
                  <a:pt x="553" y="1514"/>
                </a:lnTo>
                <a:lnTo>
                  <a:pt x="552" y="1513"/>
                </a:lnTo>
                <a:lnTo>
                  <a:pt x="549" y="1513"/>
                </a:lnTo>
                <a:lnTo>
                  <a:pt x="549" y="1511"/>
                </a:lnTo>
                <a:lnTo>
                  <a:pt x="547" y="1511"/>
                </a:lnTo>
                <a:lnTo>
                  <a:pt x="547" y="1512"/>
                </a:lnTo>
                <a:lnTo>
                  <a:pt x="546" y="1511"/>
                </a:lnTo>
                <a:lnTo>
                  <a:pt x="546" y="1510"/>
                </a:lnTo>
                <a:lnTo>
                  <a:pt x="544" y="1510"/>
                </a:lnTo>
                <a:lnTo>
                  <a:pt x="542" y="1508"/>
                </a:lnTo>
                <a:lnTo>
                  <a:pt x="540" y="1506"/>
                </a:lnTo>
                <a:lnTo>
                  <a:pt x="540" y="1505"/>
                </a:lnTo>
                <a:lnTo>
                  <a:pt x="538" y="1502"/>
                </a:lnTo>
                <a:lnTo>
                  <a:pt x="538" y="1501"/>
                </a:lnTo>
                <a:lnTo>
                  <a:pt x="540" y="1501"/>
                </a:lnTo>
                <a:lnTo>
                  <a:pt x="542" y="1499"/>
                </a:lnTo>
                <a:lnTo>
                  <a:pt x="543" y="1499"/>
                </a:lnTo>
                <a:lnTo>
                  <a:pt x="543" y="1498"/>
                </a:lnTo>
                <a:lnTo>
                  <a:pt x="541" y="1495"/>
                </a:lnTo>
                <a:lnTo>
                  <a:pt x="537" y="1495"/>
                </a:lnTo>
                <a:lnTo>
                  <a:pt x="536" y="1493"/>
                </a:lnTo>
                <a:lnTo>
                  <a:pt x="535" y="1492"/>
                </a:lnTo>
                <a:lnTo>
                  <a:pt x="529" y="1490"/>
                </a:lnTo>
                <a:lnTo>
                  <a:pt x="527" y="1489"/>
                </a:lnTo>
                <a:lnTo>
                  <a:pt x="525" y="1488"/>
                </a:lnTo>
                <a:lnTo>
                  <a:pt x="517" y="1490"/>
                </a:lnTo>
                <a:lnTo>
                  <a:pt x="513" y="1489"/>
                </a:lnTo>
                <a:lnTo>
                  <a:pt x="511" y="1489"/>
                </a:lnTo>
                <a:lnTo>
                  <a:pt x="512" y="1488"/>
                </a:lnTo>
                <a:lnTo>
                  <a:pt x="515" y="1483"/>
                </a:lnTo>
                <a:lnTo>
                  <a:pt x="515" y="1477"/>
                </a:lnTo>
                <a:lnTo>
                  <a:pt x="516" y="1477"/>
                </a:lnTo>
                <a:lnTo>
                  <a:pt x="516" y="1475"/>
                </a:lnTo>
                <a:lnTo>
                  <a:pt x="515" y="1471"/>
                </a:lnTo>
                <a:lnTo>
                  <a:pt x="512" y="1471"/>
                </a:lnTo>
                <a:lnTo>
                  <a:pt x="512" y="1469"/>
                </a:lnTo>
                <a:lnTo>
                  <a:pt x="511" y="1469"/>
                </a:lnTo>
                <a:lnTo>
                  <a:pt x="511" y="1468"/>
                </a:lnTo>
                <a:lnTo>
                  <a:pt x="507" y="1468"/>
                </a:lnTo>
                <a:lnTo>
                  <a:pt x="504" y="1465"/>
                </a:lnTo>
                <a:lnTo>
                  <a:pt x="503" y="1465"/>
                </a:lnTo>
                <a:lnTo>
                  <a:pt x="502" y="1464"/>
                </a:lnTo>
                <a:lnTo>
                  <a:pt x="500" y="1464"/>
                </a:lnTo>
                <a:lnTo>
                  <a:pt x="493" y="1458"/>
                </a:lnTo>
                <a:lnTo>
                  <a:pt x="493" y="1457"/>
                </a:lnTo>
                <a:lnTo>
                  <a:pt x="492" y="1456"/>
                </a:lnTo>
                <a:lnTo>
                  <a:pt x="492" y="1449"/>
                </a:lnTo>
                <a:lnTo>
                  <a:pt x="491" y="1449"/>
                </a:lnTo>
                <a:lnTo>
                  <a:pt x="491" y="1448"/>
                </a:lnTo>
                <a:lnTo>
                  <a:pt x="490" y="1444"/>
                </a:lnTo>
                <a:lnTo>
                  <a:pt x="488" y="1443"/>
                </a:lnTo>
                <a:lnTo>
                  <a:pt x="487" y="1443"/>
                </a:lnTo>
                <a:lnTo>
                  <a:pt x="487" y="1442"/>
                </a:lnTo>
                <a:lnTo>
                  <a:pt x="484" y="1440"/>
                </a:lnTo>
                <a:lnTo>
                  <a:pt x="482" y="1439"/>
                </a:lnTo>
                <a:lnTo>
                  <a:pt x="484" y="1437"/>
                </a:lnTo>
                <a:lnTo>
                  <a:pt x="486" y="1433"/>
                </a:lnTo>
                <a:lnTo>
                  <a:pt x="487" y="1430"/>
                </a:lnTo>
                <a:lnTo>
                  <a:pt x="485" y="1428"/>
                </a:lnTo>
                <a:lnTo>
                  <a:pt x="485" y="1426"/>
                </a:lnTo>
                <a:lnTo>
                  <a:pt x="480" y="1426"/>
                </a:lnTo>
                <a:lnTo>
                  <a:pt x="480" y="1425"/>
                </a:lnTo>
                <a:lnTo>
                  <a:pt x="479" y="1424"/>
                </a:lnTo>
                <a:lnTo>
                  <a:pt x="473" y="1419"/>
                </a:lnTo>
                <a:lnTo>
                  <a:pt x="471" y="1419"/>
                </a:lnTo>
                <a:lnTo>
                  <a:pt x="471" y="1418"/>
                </a:lnTo>
                <a:lnTo>
                  <a:pt x="469" y="1416"/>
                </a:lnTo>
                <a:lnTo>
                  <a:pt x="471" y="1415"/>
                </a:lnTo>
                <a:lnTo>
                  <a:pt x="471" y="1413"/>
                </a:lnTo>
                <a:lnTo>
                  <a:pt x="472" y="1413"/>
                </a:lnTo>
                <a:lnTo>
                  <a:pt x="473" y="1412"/>
                </a:lnTo>
                <a:lnTo>
                  <a:pt x="473" y="1409"/>
                </a:lnTo>
                <a:lnTo>
                  <a:pt x="472" y="1408"/>
                </a:lnTo>
                <a:lnTo>
                  <a:pt x="473" y="1407"/>
                </a:lnTo>
                <a:lnTo>
                  <a:pt x="475" y="1406"/>
                </a:lnTo>
                <a:lnTo>
                  <a:pt x="476" y="1406"/>
                </a:lnTo>
                <a:lnTo>
                  <a:pt x="478" y="1405"/>
                </a:lnTo>
                <a:lnTo>
                  <a:pt x="476" y="1403"/>
                </a:lnTo>
                <a:lnTo>
                  <a:pt x="476" y="1401"/>
                </a:lnTo>
                <a:lnTo>
                  <a:pt x="480" y="1401"/>
                </a:lnTo>
                <a:lnTo>
                  <a:pt x="480" y="1397"/>
                </a:lnTo>
                <a:lnTo>
                  <a:pt x="479" y="1396"/>
                </a:lnTo>
                <a:lnTo>
                  <a:pt x="479" y="1391"/>
                </a:lnTo>
                <a:lnTo>
                  <a:pt x="478" y="1391"/>
                </a:lnTo>
                <a:lnTo>
                  <a:pt x="478" y="1390"/>
                </a:lnTo>
                <a:lnTo>
                  <a:pt x="475" y="1388"/>
                </a:lnTo>
                <a:lnTo>
                  <a:pt x="474" y="1384"/>
                </a:lnTo>
                <a:lnTo>
                  <a:pt x="474" y="1383"/>
                </a:lnTo>
                <a:lnTo>
                  <a:pt x="473" y="1383"/>
                </a:lnTo>
                <a:lnTo>
                  <a:pt x="472" y="1382"/>
                </a:lnTo>
                <a:lnTo>
                  <a:pt x="472" y="1378"/>
                </a:lnTo>
                <a:lnTo>
                  <a:pt x="473" y="1376"/>
                </a:lnTo>
                <a:lnTo>
                  <a:pt x="476" y="1375"/>
                </a:lnTo>
                <a:lnTo>
                  <a:pt x="476" y="1372"/>
                </a:lnTo>
                <a:lnTo>
                  <a:pt x="475" y="1371"/>
                </a:lnTo>
                <a:lnTo>
                  <a:pt x="475" y="1367"/>
                </a:lnTo>
                <a:lnTo>
                  <a:pt x="476" y="1366"/>
                </a:lnTo>
                <a:lnTo>
                  <a:pt x="475" y="1365"/>
                </a:lnTo>
                <a:lnTo>
                  <a:pt x="476" y="1363"/>
                </a:lnTo>
                <a:lnTo>
                  <a:pt x="476" y="1359"/>
                </a:lnTo>
                <a:lnTo>
                  <a:pt x="475" y="1358"/>
                </a:lnTo>
                <a:lnTo>
                  <a:pt x="473" y="1357"/>
                </a:lnTo>
                <a:lnTo>
                  <a:pt x="472" y="1358"/>
                </a:lnTo>
                <a:lnTo>
                  <a:pt x="469" y="1358"/>
                </a:lnTo>
                <a:lnTo>
                  <a:pt x="468" y="1356"/>
                </a:lnTo>
                <a:lnTo>
                  <a:pt x="467" y="1354"/>
                </a:lnTo>
                <a:lnTo>
                  <a:pt x="467" y="1353"/>
                </a:lnTo>
                <a:lnTo>
                  <a:pt x="463" y="1353"/>
                </a:lnTo>
                <a:lnTo>
                  <a:pt x="462" y="1352"/>
                </a:lnTo>
                <a:lnTo>
                  <a:pt x="462" y="1348"/>
                </a:lnTo>
                <a:lnTo>
                  <a:pt x="457" y="1346"/>
                </a:lnTo>
                <a:lnTo>
                  <a:pt x="457" y="1344"/>
                </a:lnTo>
                <a:lnTo>
                  <a:pt x="449" y="1340"/>
                </a:lnTo>
                <a:lnTo>
                  <a:pt x="448" y="1340"/>
                </a:lnTo>
                <a:lnTo>
                  <a:pt x="447" y="1339"/>
                </a:lnTo>
                <a:lnTo>
                  <a:pt x="445" y="1339"/>
                </a:lnTo>
                <a:lnTo>
                  <a:pt x="443" y="1341"/>
                </a:lnTo>
                <a:lnTo>
                  <a:pt x="442" y="1341"/>
                </a:lnTo>
                <a:lnTo>
                  <a:pt x="437" y="1339"/>
                </a:lnTo>
                <a:lnTo>
                  <a:pt x="436" y="1339"/>
                </a:lnTo>
                <a:lnTo>
                  <a:pt x="434" y="1340"/>
                </a:lnTo>
                <a:lnTo>
                  <a:pt x="432" y="1340"/>
                </a:lnTo>
                <a:lnTo>
                  <a:pt x="430" y="1345"/>
                </a:lnTo>
                <a:lnTo>
                  <a:pt x="429" y="1346"/>
                </a:lnTo>
                <a:lnTo>
                  <a:pt x="425" y="1345"/>
                </a:lnTo>
                <a:lnTo>
                  <a:pt x="424" y="1345"/>
                </a:lnTo>
                <a:lnTo>
                  <a:pt x="420" y="1347"/>
                </a:lnTo>
                <a:lnTo>
                  <a:pt x="417" y="1352"/>
                </a:lnTo>
                <a:lnTo>
                  <a:pt x="416" y="1352"/>
                </a:lnTo>
                <a:lnTo>
                  <a:pt x="414" y="1351"/>
                </a:lnTo>
                <a:lnTo>
                  <a:pt x="413" y="1348"/>
                </a:lnTo>
                <a:lnTo>
                  <a:pt x="410" y="1345"/>
                </a:lnTo>
                <a:lnTo>
                  <a:pt x="410" y="1342"/>
                </a:lnTo>
                <a:lnTo>
                  <a:pt x="411" y="1340"/>
                </a:lnTo>
                <a:lnTo>
                  <a:pt x="411" y="1339"/>
                </a:lnTo>
                <a:lnTo>
                  <a:pt x="412" y="1338"/>
                </a:lnTo>
                <a:lnTo>
                  <a:pt x="412" y="1335"/>
                </a:lnTo>
                <a:lnTo>
                  <a:pt x="414" y="1335"/>
                </a:lnTo>
                <a:lnTo>
                  <a:pt x="414" y="1334"/>
                </a:lnTo>
                <a:lnTo>
                  <a:pt x="413" y="1334"/>
                </a:lnTo>
                <a:lnTo>
                  <a:pt x="413" y="1333"/>
                </a:lnTo>
                <a:lnTo>
                  <a:pt x="412" y="1332"/>
                </a:lnTo>
                <a:lnTo>
                  <a:pt x="411" y="1332"/>
                </a:lnTo>
                <a:lnTo>
                  <a:pt x="405" y="1329"/>
                </a:lnTo>
                <a:lnTo>
                  <a:pt x="404" y="1328"/>
                </a:lnTo>
                <a:lnTo>
                  <a:pt x="399" y="1326"/>
                </a:lnTo>
                <a:lnTo>
                  <a:pt x="397" y="1326"/>
                </a:lnTo>
                <a:lnTo>
                  <a:pt x="389" y="1329"/>
                </a:lnTo>
                <a:lnTo>
                  <a:pt x="388" y="1330"/>
                </a:lnTo>
                <a:lnTo>
                  <a:pt x="388" y="1333"/>
                </a:lnTo>
                <a:lnTo>
                  <a:pt x="387" y="1333"/>
                </a:lnTo>
                <a:lnTo>
                  <a:pt x="385" y="1332"/>
                </a:lnTo>
                <a:lnTo>
                  <a:pt x="382" y="1329"/>
                </a:lnTo>
                <a:lnTo>
                  <a:pt x="382" y="1326"/>
                </a:lnTo>
                <a:lnTo>
                  <a:pt x="380" y="1323"/>
                </a:lnTo>
                <a:lnTo>
                  <a:pt x="380" y="1322"/>
                </a:lnTo>
                <a:lnTo>
                  <a:pt x="379" y="1321"/>
                </a:lnTo>
                <a:lnTo>
                  <a:pt x="369" y="1321"/>
                </a:lnTo>
                <a:lnTo>
                  <a:pt x="369" y="1322"/>
                </a:lnTo>
                <a:lnTo>
                  <a:pt x="367" y="1324"/>
                </a:lnTo>
                <a:lnTo>
                  <a:pt x="366" y="1324"/>
                </a:lnTo>
                <a:lnTo>
                  <a:pt x="363" y="1322"/>
                </a:lnTo>
                <a:lnTo>
                  <a:pt x="361" y="1319"/>
                </a:lnTo>
                <a:lnTo>
                  <a:pt x="360" y="1317"/>
                </a:lnTo>
                <a:lnTo>
                  <a:pt x="361" y="1316"/>
                </a:lnTo>
                <a:lnTo>
                  <a:pt x="361" y="1310"/>
                </a:lnTo>
                <a:lnTo>
                  <a:pt x="362" y="1309"/>
                </a:lnTo>
                <a:lnTo>
                  <a:pt x="362" y="1307"/>
                </a:lnTo>
                <a:lnTo>
                  <a:pt x="361" y="1302"/>
                </a:lnTo>
                <a:lnTo>
                  <a:pt x="361" y="1299"/>
                </a:lnTo>
                <a:lnTo>
                  <a:pt x="360" y="1298"/>
                </a:lnTo>
                <a:lnTo>
                  <a:pt x="361" y="1296"/>
                </a:lnTo>
                <a:lnTo>
                  <a:pt x="360" y="1295"/>
                </a:lnTo>
                <a:lnTo>
                  <a:pt x="360" y="1293"/>
                </a:lnTo>
                <a:lnTo>
                  <a:pt x="357" y="1291"/>
                </a:lnTo>
                <a:lnTo>
                  <a:pt x="357" y="1289"/>
                </a:lnTo>
                <a:lnTo>
                  <a:pt x="358" y="1287"/>
                </a:lnTo>
                <a:lnTo>
                  <a:pt x="358" y="1286"/>
                </a:lnTo>
                <a:lnTo>
                  <a:pt x="357" y="1285"/>
                </a:lnTo>
                <a:lnTo>
                  <a:pt x="355" y="1284"/>
                </a:lnTo>
                <a:lnTo>
                  <a:pt x="354" y="1283"/>
                </a:lnTo>
                <a:lnTo>
                  <a:pt x="354" y="1281"/>
                </a:lnTo>
                <a:lnTo>
                  <a:pt x="353" y="1280"/>
                </a:lnTo>
                <a:lnTo>
                  <a:pt x="353" y="1276"/>
                </a:lnTo>
                <a:lnTo>
                  <a:pt x="348" y="1272"/>
                </a:lnTo>
                <a:lnTo>
                  <a:pt x="348" y="1270"/>
                </a:lnTo>
                <a:lnTo>
                  <a:pt x="349" y="1268"/>
                </a:lnTo>
                <a:lnTo>
                  <a:pt x="350" y="1266"/>
                </a:lnTo>
                <a:lnTo>
                  <a:pt x="350" y="1265"/>
                </a:lnTo>
                <a:lnTo>
                  <a:pt x="349" y="1265"/>
                </a:lnTo>
                <a:lnTo>
                  <a:pt x="347" y="1262"/>
                </a:lnTo>
                <a:lnTo>
                  <a:pt x="344" y="1261"/>
                </a:lnTo>
                <a:lnTo>
                  <a:pt x="343" y="1262"/>
                </a:lnTo>
                <a:lnTo>
                  <a:pt x="339" y="1264"/>
                </a:lnTo>
                <a:lnTo>
                  <a:pt x="337" y="1264"/>
                </a:lnTo>
                <a:lnTo>
                  <a:pt x="338" y="1261"/>
                </a:lnTo>
                <a:lnTo>
                  <a:pt x="342" y="1255"/>
                </a:lnTo>
                <a:lnTo>
                  <a:pt x="342" y="1250"/>
                </a:lnTo>
                <a:lnTo>
                  <a:pt x="343" y="1249"/>
                </a:lnTo>
                <a:lnTo>
                  <a:pt x="343" y="1246"/>
                </a:lnTo>
                <a:lnTo>
                  <a:pt x="342" y="1246"/>
                </a:lnTo>
                <a:lnTo>
                  <a:pt x="339" y="1243"/>
                </a:lnTo>
                <a:lnTo>
                  <a:pt x="341" y="1242"/>
                </a:lnTo>
                <a:lnTo>
                  <a:pt x="344" y="1240"/>
                </a:lnTo>
                <a:lnTo>
                  <a:pt x="347" y="1237"/>
                </a:lnTo>
                <a:lnTo>
                  <a:pt x="347" y="1228"/>
                </a:lnTo>
                <a:lnTo>
                  <a:pt x="345" y="1227"/>
                </a:lnTo>
                <a:lnTo>
                  <a:pt x="341" y="1224"/>
                </a:lnTo>
                <a:lnTo>
                  <a:pt x="338" y="1221"/>
                </a:lnTo>
                <a:lnTo>
                  <a:pt x="333" y="1219"/>
                </a:lnTo>
                <a:lnTo>
                  <a:pt x="332" y="1218"/>
                </a:lnTo>
                <a:lnTo>
                  <a:pt x="332" y="1217"/>
                </a:lnTo>
                <a:lnTo>
                  <a:pt x="333" y="1215"/>
                </a:lnTo>
                <a:lnTo>
                  <a:pt x="333" y="1210"/>
                </a:lnTo>
                <a:lnTo>
                  <a:pt x="325" y="1210"/>
                </a:lnTo>
                <a:lnTo>
                  <a:pt x="325" y="1205"/>
                </a:lnTo>
                <a:lnTo>
                  <a:pt x="327" y="1205"/>
                </a:lnTo>
                <a:lnTo>
                  <a:pt x="327" y="1198"/>
                </a:lnTo>
                <a:lnTo>
                  <a:pt x="329" y="1198"/>
                </a:lnTo>
                <a:lnTo>
                  <a:pt x="332" y="1197"/>
                </a:lnTo>
                <a:lnTo>
                  <a:pt x="332" y="1191"/>
                </a:lnTo>
                <a:lnTo>
                  <a:pt x="333" y="1190"/>
                </a:lnTo>
                <a:lnTo>
                  <a:pt x="335" y="1190"/>
                </a:lnTo>
                <a:lnTo>
                  <a:pt x="333" y="1188"/>
                </a:lnTo>
                <a:lnTo>
                  <a:pt x="335" y="1187"/>
                </a:lnTo>
                <a:lnTo>
                  <a:pt x="341" y="1187"/>
                </a:lnTo>
                <a:lnTo>
                  <a:pt x="343" y="1186"/>
                </a:lnTo>
                <a:lnTo>
                  <a:pt x="345" y="1184"/>
                </a:lnTo>
                <a:lnTo>
                  <a:pt x="344" y="1182"/>
                </a:lnTo>
                <a:lnTo>
                  <a:pt x="344" y="1181"/>
                </a:lnTo>
                <a:lnTo>
                  <a:pt x="339" y="1180"/>
                </a:lnTo>
                <a:lnTo>
                  <a:pt x="339" y="1174"/>
                </a:lnTo>
                <a:lnTo>
                  <a:pt x="338" y="1173"/>
                </a:lnTo>
                <a:lnTo>
                  <a:pt x="338" y="1166"/>
                </a:lnTo>
                <a:lnTo>
                  <a:pt x="336" y="1163"/>
                </a:lnTo>
                <a:lnTo>
                  <a:pt x="333" y="1160"/>
                </a:lnTo>
                <a:lnTo>
                  <a:pt x="333" y="1157"/>
                </a:lnTo>
                <a:lnTo>
                  <a:pt x="332" y="1155"/>
                </a:lnTo>
                <a:lnTo>
                  <a:pt x="331" y="1151"/>
                </a:lnTo>
                <a:lnTo>
                  <a:pt x="335" y="1141"/>
                </a:lnTo>
                <a:lnTo>
                  <a:pt x="332" y="1130"/>
                </a:lnTo>
                <a:lnTo>
                  <a:pt x="329" y="1115"/>
                </a:lnTo>
                <a:lnTo>
                  <a:pt x="329" y="1112"/>
                </a:lnTo>
                <a:lnTo>
                  <a:pt x="331" y="1102"/>
                </a:lnTo>
                <a:lnTo>
                  <a:pt x="337" y="1098"/>
                </a:lnTo>
                <a:lnTo>
                  <a:pt x="341" y="1094"/>
                </a:lnTo>
                <a:lnTo>
                  <a:pt x="341" y="1093"/>
                </a:lnTo>
                <a:lnTo>
                  <a:pt x="344" y="1086"/>
                </a:lnTo>
                <a:lnTo>
                  <a:pt x="347" y="1078"/>
                </a:lnTo>
                <a:lnTo>
                  <a:pt x="348" y="1072"/>
                </a:lnTo>
                <a:lnTo>
                  <a:pt x="349" y="1071"/>
                </a:lnTo>
                <a:lnTo>
                  <a:pt x="348" y="1069"/>
                </a:lnTo>
                <a:lnTo>
                  <a:pt x="349" y="1068"/>
                </a:lnTo>
                <a:lnTo>
                  <a:pt x="351" y="1066"/>
                </a:lnTo>
                <a:lnTo>
                  <a:pt x="356" y="1066"/>
                </a:lnTo>
                <a:lnTo>
                  <a:pt x="357" y="1065"/>
                </a:lnTo>
                <a:lnTo>
                  <a:pt x="356" y="1065"/>
                </a:lnTo>
                <a:lnTo>
                  <a:pt x="354" y="1064"/>
                </a:lnTo>
                <a:lnTo>
                  <a:pt x="358" y="1064"/>
                </a:lnTo>
                <a:lnTo>
                  <a:pt x="360" y="1062"/>
                </a:lnTo>
                <a:lnTo>
                  <a:pt x="361" y="1063"/>
                </a:lnTo>
                <a:lnTo>
                  <a:pt x="361" y="1061"/>
                </a:lnTo>
                <a:lnTo>
                  <a:pt x="358" y="1058"/>
                </a:lnTo>
                <a:lnTo>
                  <a:pt x="357" y="1056"/>
                </a:lnTo>
                <a:lnTo>
                  <a:pt x="357" y="1055"/>
                </a:lnTo>
                <a:lnTo>
                  <a:pt x="355" y="1053"/>
                </a:lnTo>
                <a:lnTo>
                  <a:pt x="354" y="1052"/>
                </a:lnTo>
                <a:lnTo>
                  <a:pt x="356" y="1049"/>
                </a:lnTo>
                <a:lnTo>
                  <a:pt x="356" y="1044"/>
                </a:lnTo>
                <a:lnTo>
                  <a:pt x="355" y="1040"/>
                </a:lnTo>
                <a:lnTo>
                  <a:pt x="354" y="1038"/>
                </a:lnTo>
                <a:lnTo>
                  <a:pt x="354" y="1035"/>
                </a:lnTo>
                <a:lnTo>
                  <a:pt x="353" y="1034"/>
                </a:lnTo>
                <a:lnTo>
                  <a:pt x="353" y="1033"/>
                </a:lnTo>
                <a:lnTo>
                  <a:pt x="354" y="1031"/>
                </a:lnTo>
                <a:lnTo>
                  <a:pt x="354" y="1029"/>
                </a:lnTo>
                <a:lnTo>
                  <a:pt x="357" y="1026"/>
                </a:lnTo>
                <a:lnTo>
                  <a:pt x="358" y="1026"/>
                </a:lnTo>
                <a:lnTo>
                  <a:pt x="360" y="1028"/>
                </a:lnTo>
                <a:lnTo>
                  <a:pt x="362" y="1031"/>
                </a:lnTo>
                <a:lnTo>
                  <a:pt x="362" y="1033"/>
                </a:lnTo>
                <a:lnTo>
                  <a:pt x="363" y="1034"/>
                </a:lnTo>
                <a:lnTo>
                  <a:pt x="368" y="1037"/>
                </a:lnTo>
                <a:lnTo>
                  <a:pt x="369" y="1037"/>
                </a:lnTo>
                <a:lnTo>
                  <a:pt x="370" y="1035"/>
                </a:lnTo>
                <a:lnTo>
                  <a:pt x="370" y="1033"/>
                </a:lnTo>
                <a:lnTo>
                  <a:pt x="372" y="1031"/>
                </a:lnTo>
                <a:lnTo>
                  <a:pt x="370" y="1027"/>
                </a:lnTo>
                <a:lnTo>
                  <a:pt x="373" y="1022"/>
                </a:lnTo>
                <a:lnTo>
                  <a:pt x="373" y="1021"/>
                </a:lnTo>
                <a:lnTo>
                  <a:pt x="374" y="1021"/>
                </a:lnTo>
                <a:lnTo>
                  <a:pt x="375" y="1020"/>
                </a:lnTo>
                <a:lnTo>
                  <a:pt x="378" y="1022"/>
                </a:lnTo>
                <a:lnTo>
                  <a:pt x="380" y="1023"/>
                </a:lnTo>
                <a:lnTo>
                  <a:pt x="381" y="1023"/>
                </a:lnTo>
                <a:lnTo>
                  <a:pt x="381" y="1025"/>
                </a:lnTo>
                <a:lnTo>
                  <a:pt x="382" y="1025"/>
                </a:lnTo>
                <a:lnTo>
                  <a:pt x="382" y="1026"/>
                </a:lnTo>
                <a:lnTo>
                  <a:pt x="384" y="1027"/>
                </a:lnTo>
                <a:lnTo>
                  <a:pt x="385" y="1027"/>
                </a:lnTo>
                <a:lnTo>
                  <a:pt x="386" y="1026"/>
                </a:lnTo>
                <a:lnTo>
                  <a:pt x="387" y="1027"/>
                </a:lnTo>
                <a:lnTo>
                  <a:pt x="389" y="1027"/>
                </a:lnTo>
                <a:lnTo>
                  <a:pt x="391" y="1025"/>
                </a:lnTo>
                <a:lnTo>
                  <a:pt x="393" y="1025"/>
                </a:lnTo>
                <a:lnTo>
                  <a:pt x="394" y="1023"/>
                </a:lnTo>
                <a:lnTo>
                  <a:pt x="397" y="1019"/>
                </a:lnTo>
                <a:lnTo>
                  <a:pt x="397" y="1018"/>
                </a:lnTo>
                <a:lnTo>
                  <a:pt x="394" y="1015"/>
                </a:lnTo>
                <a:lnTo>
                  <a:pt x="397" y="1015"/>
                </a:lnTo>
                <a:lnTo>
                  <a:pt x="397" y="1014"/>
                </a:lnTo>
                <a:lnTo>
                  <a:pt x="399" y="1010"/>
                </a:lnTo>
                <a:lnTo>
                  <a:pt x="400" y="1009"/>
                </a:lnTo>
                <a:lnTo>
                  <a:pt x="406" y="1009"/>
                </a:lnTo>
                <a:lnTo>
                  <a:pt x="417" y="1012"/>
                </a:lnTo>
                <a:lnTo>
                  <a:pt x="430" y="1014"/>
                </a:lnTo>
                <a:lnTo>
                  <a:pt x="432" y="1016"/>
                </a:lnTo>
                <a:lnTo>
                  <a:pt x="443" y="1020"/>
                </a:lnTo>
                <a:lnTo>
                  <a:pt x="444" y="1020"/>
                </a:lnTo>
                <a:lnTo>
                  <a:pt x="445" y="1019"/>
                </a:lnTo>
                <a:lnTo>
                  <a:pt x="447" y="1016"/>
                </a:lnTo>
                <a:lnTo>
                  <a:pt x="447" y="1013"/>
                </a:lnTo>
                <a:lnTo>
                  <a:pt x="448" y="1012"/>
                </a:lnTo>
                <a:lnTo>
                  <a:pt x="448" y="1009"/>
                </a:lnTo>
                <a:lnTo>
                  <a:pt x="447" y="1009"/>
                </a:lnTo>
                <a:lnTo>
                  <a:pt x="437" y="1008"/>
                </a:lnTo>
                <a:lnTo>
                  <a:pt x="436" y="1007"/>
                </a:lnTo>
                <a:lnTo>
                  <a:pt x="435" y="1003"/>
                </a:lnTo>
                <a:lnTo>
                  <a:pt x="434" y="1002"/>
                </a:lnTo>
                <a:lnTo>
                  <a:pt x="434" y="997"/>
                </a:lnTo>
                <a:lnTo>
                  <a:pt x="431" y="995"/>
                </a:lnTo>
                <a:lnTo>
                  <a:pt x="425" y="992"/>
                </a:lnTo>
                <a:lnTo>
                  <a:pt x="418" y="991"/>
                </a:lnTo>
                <a:lnTo>
                  <a:pt x="414" y="994"/>
                </a:lnTo>
                <a:lnTo>
                  <a:pt x="413" y="995"/>
                </a:lnTo>
                <a:lnTo>
                  <a:pt x="406" y="994"/>
                </a:lnTo>
                <a:lnTo>
                  <a:pt x="398" y="994"/>
                </a:lnTo>
                <a:lnTo>
                  <a:pt x="397" y="992"/>
                </a:lnTo>
                <a:lnTo>
                  <a:pt x="395" y="990"/>
                </a:lnTo>
                <a:lnTo>
                  <a:pt x="393" y="986"/>
                </a:lnTo>
                <a:lnTo>
                  <a:pt x="391" y="984"/>
                </a:lnTo>
                <a:lnTo>
                  <a:pt x="389" y="984"/>
                </a:lnTo>
                <a:lnTo>
                  <a:pt x="389" y="982"/>
                </a:lnTo>
                <a:lnTo>
                  <a:pt x="388" y="979"/>
                </a:lnTo>
                <a:lnTo>
                  <a:pt x="388" y="978"/>
                </a:lnTo>
                <a:lnTo>
                  <a:pt x="387" y="978"/>
                </a:lnTo>
                <a:lnTo>
                  <a:pt x="387" y="979"/>
                </a:lnTo>
                <a:lnTo>
                  <a:pt x="384" y="979"/>
                </a:lnTo>
                <a:lnTo>
                  <a:pt x="382" y="978"/>
                </a:lnTo>
                <a:lnTo>
                  <a:pt x="380" y="977"/>
                </a:lnTo>
                <a:lnTo>
                  <a:pt x="379" y="977"/>
                </a:lnTo>
                <a:lnTo>
                  <a:pt x="379" y="976"/>
                </a:lnTo>
                <a:lnTo>
                  <a:pt x="375" y="967"/>
                </a:lnTo>
                <a:lnTo>
                  <a:pt x="373" y="963"/>
                </a:lnTo>
                <a:lnTo>
                  <a:pt x="372" y="961"/>
                </a:lnTo>
                <a:lnTo>
                  <a:pt x="373" y="960"/>
                </a:lnTo>
                <a:lnTo>
                  <a:pt x="374" y="960"/>
                </a:lnTo>
                <a:lnTo>
                  <a:pt x="375" y="961"/>
                </a:lnTo>
                <a:lnTo>
                  <a:pt x="375" y="965"/>
                </a:lnTo>
                <a:lnTo>
                  <a:pt x="376" y="965"/>
                </a:lnTo>
                <a:lnTo>
                  <a:pt x="381" y="970"/>
                </a:lnTo>
                <a:lnTo>
                  <a:pt x="384" y="970"/>
                </a:lnTo>
                <a:lnTo>
                  <a:pt x="384" y="969"/>
                </a:lnTo>
                <a:lnTo>
                  <a:pt x="382" y="966"/>
                </a:lnTo>
                <a:lnTo>
                  <a:pt x="382" y="965"/>
                </a:lnTo>
                <a:lnTo>
                  <a:pt x="381" y="964"/>
                </a:lnTo>
                <a:lnTo>
                  <a:pt x="381" y="957"/>
                </a:lnTo>
                <a:lnTo>
                  <a:pt x="382" y="957"/>
                </a:lnTo>
                <a:lnTo>
                  <a:pt x="382" y="955"/>
                </a:lnTo>
                <a:lnTo>
                  <a:pt x="381" y="953"/>
                </a:lnTo>
                <a:lnTo>
                  <a:pt x="380" y="952"/>
                </a:lnTo>
                <a:lnTo>
                  <a:pt x="381" y="951"/>
                </a:lnTo>
                <a:lnTo>
                  <a:pt x="382" y="951"/>
                </a:lnTo>
                <a:lnTo>
                  <a:pt x="382" y="952"/>
                </a:lnTo>
                <a:lnTo>
                  <a:pt x="384" y="952"/>
                </a:lnTo>
                <a:lnTo>
                  <a:pt x="385" y="949"/>
                </a:lnTo>
                <a:lnTo>
                  <a:pt x="384" y="947"/>
                </a:lnTo>
                <a:lnTo>
                  <a:pt x="382" y="946"/>
                </a:lnTo>
                <a:lnTo>
                  <a:pt x="378" y="951"/>
                </a:lnTo>
                <a:lnTo>
                  <a:pt x="375" y="951"/>
                </a:lnTo>
                <a:lnTo>
                  <a:pt x="374" y="952"/>
                </a:lnTo>
                <a:lnTo>
                  <a:pt x="370" y="952"/>
                </a:lnTo>
                <a:lnTo>
                  <a:pt x="369" y="954"/>
                </a:lnTo>
                <a:lnTo>
                  <a:pt x="369" y="955"/>
                </a:lnTo>
                <a:lnTo>
                  <a:pt x="367" y="955"/>
                </a:lnTo>
                <a:lnTo>
                  <a:pt x="367" y="957"/>
                </a:lnTo>
                <a:lnTo>
                  <a:pt x="368" y="957"/>
                </a:lnTo>
                <a:lnTo>
                  <a:pt x="368" y="958"/>
                </a:lnTo>
                <a:lnTo>
                  <a:pt x="366" y="958"/>
                </a:lnTo>
                <a:lnTo>
                  <a:pt x="366" y="959"/>
                </a:lnTo>
                <a:lnTo>
                  <a:pt x="364" y="959"/>
                </a:lnTo>
                <a:lnTo>
                  <a:pt x="363" y="961"/>
                </a:lnTo>
                <a:lnTo>
                  <a:pt x="362" y="963"/>
                </a:lnTo>
                <a:lnTo>
                  <a:pt x="361" y="963"/>
                </a:lnTo>
                <a:lnTo>
                  <a:pt x="361" y="961"/>
                </a:lnTo>
                <a:lnTo>
                  <a:pt x="360" y="961"/>
                </a:lnTo>
                <a:lnTo>
                  <a:pt x="360" y="964"/>
                </a:lnTo>
                <a:lnTo>
                  <a:pt x="358" y="964"/>
                </a:lnTo>
                <a:lnTo>
                  <a:pt x="357" y="963"/>
                </a:lnTo>
                <a:lnTo>
                  <a:pt x="356" y="963"/>
                </a:lnTo>
                <a:lnTo>
                  <a:pt x="355" y="964"/>
                </a:lnTo>
                <a:lnTo>
                  <a:pt x="349" y="964"/>
                </a:lnTo>
                <a:lnTo>
                  <a:pt x="348" y="963"/>
                </a:lnTo>
                <a:lnTo>
                  <a:pt x="348" y="960"/>
                </a:lnTo>
                <a:lnTo>
                  <a:pt x="347" y="961"/>
                </a:lnTo>
                <a:lnTo>
                  <a:pt x="347" y="963"/>
                </a:lnTo>
                <a:lnTo>
                  <a:pt x="345" y="964"/>
                </a:lnTo>
                <a:lnTo>
                  <a:pt x="344" y="964"/>
                </a:lnTo>
                <a:lnTo>
                  <a:pt x="345" y="963"/>
                </a:lnTo>
                <a:lnTo>
                  <a:pt x="345" y="961"/>
                </a:lnTo>
                <a:lnTo>
                  <a:pt x="349" y="958"/>
                </a:lnTo>
                <a:lnTo>
                  <a:pt x="353" y="953"/>
                </a:lnTo>
                <a:lnTo>
                  <a:pt x="354" y="952"/>
                </a:lnTo>
                <a:lnTo>
                  <a:pt x="360" y="945"/>
                </a:lnTo>
                <a:lnTo>
                  <a:pt x="363" y="941"/>
                </a:lnTo>
                <a:lnTo>
                  <a:pt x="368" y="935"/>
                </a:lnTo>
                <a:lnTo>
                  <a:pt x="375" y="928"/>
                </a:lnTo>
                <a:lnTo>
                  <a:pt x="379" y="927"/>
                </a:lnTo>
                <a:lnTo>
                  <a:pt x="381" y="924"/>
                </a:lnTo>
                <a:lnTo>
                  <a:pt x="381" y="922"/>
                </a:lnTo>
                <a:lnTo>
                  <a:pt x="382" y="921"/>
                </a:lnTo>
                <a:lnTo>
                  <a:pt x="385" y="917"/>
                </a:lnTo>
                <a:lnTo>
                  <a:pt x="387" y="915"/>
                </a:lnTo>
                <a:lnTo>
                  <a:pt x="389" y="914"/>
                </a:lnTo>
                <a:lnTo>
                  <a:pt x="392" y="910"/>
                </a:lnTo>
                <a:lnTo>
                  <a:pt x="394" y="909"/>
                </a:lnTo>
                <a:lnTo>
                  <a:pt x="401" y="904"/>
                </a:lnTo>
                <a:lnTo>
                  <a:pt x="404" y="902"/>
                </a:lnTo>
                <a:lnTo>
                  <a:pt x="406" y="898"/>
                </a:lnTo>
                <a:lnTo>
                  <a:pt x="407" y="897"/>
                </a:lnTo>
                <a:lnTo>
                  <a:pt x="407" y="896"/>
                </a:lnTo>
                <a:lnTo>
                  <a:pt x="409" y="893"/>
                </a:lnTo>
                <a:lnTo>
                  <a:pt x="414" y="887"/>
                </a:lnTo>
                <a:lnTo>
                  <a:pt x="417" y="883"/>
                </a:lnTo>
                <a:lnTo>
                  <a:pt x="417" y="881"/>
                </a:lnTo>
                <a:lnTo>
                  <a:pt x="418" y="880"/>
                </a:lnTo>
                <a:lnTo>
                  <a:pt x="423" y="878"/>
                </a:lnTo>
                <a:lnTo>
                  <a:pt x="429" y="871"/>
                </a:lnTo>
                <a:lnTo>
                  <a:pt x="429" y="869"/>
                </a:lnTo>
                <a:lnTo>
                  <a:pt x="430" y="866"/>
                </a:lnTo>
                <a:lnTo>
                  <a:pt x="437" y="859"/>
                </a:lnTo>
                <a:lnTo>
                  <a:pt x="444" y="848"/>
                </a:lnTo>
                <a:lnTo>
                  <a:pt x="451" y="835"/>
                </a:lnTo>
                <a:lnTo>
                  <a:pt x="457" y="829"/>
                </a:lnTo>
                <a:lnTo>
                  <a:pt x="463" y="820"/>
                </a:lnTo>
                <a:lnTo>
                  <a:pt x="465" y="818"/>
                </a:lnTo>
                <a:lnTo>
                  <a:pt x="465" y="817"/>
                </a:lnTo>
                <a:lnTo>
                  <a:pt x="466" y="817"/>
                </a:lnTo>
                <a:lnTo>
                  <a:pt x="467" y="816"/>
                </a:lnTo>
                <a:lnTo>
                  <a:pt x="476" y="809"/>
                </a:lnTo>
                <a:lnTo>
                  <a:pt x="476" y="807"/>
                </a:lnTo>
                <a:lnTo>
                  <a:pt x="478" y="806"/>
                </a:lnTo>
                <a:lnTo>
                  <a:pt x="479" y="804"/>
                </a:lnTo>
                <a:lnTo>
                  <a:pt x="479" y="803"/>
                </a:lnTo>
                <a:lnTo>
                  <a:pt x="485" y="795"/>
                </a:lnTo>
                <a:lnTo>
                  <a:pt x="486" y="793"/>
                </a:lnTo>
                <a:lnTo>
                  <a:pt x="486" y="792"/>
                </a:lnTo>
                <a:lnTo>
                  <a:pt x="487" y="792"/>
                </a:lnTo>
                <a:lnTo>
                  <a:pt x="490" y="791"/>
                </a:lnTo>
                <a:lnTo>
                  <a:pt x="490" y="789"/>
                </a:lnTo>
                <a:lnTo>
                  <a:pt x="491" y="787"/>
                </a:lnTo>
                <a:lnTo>
                  <a:pt x="492" y="782"/>
                </a:lnTo>
                <a:lnTo>
                  <a:pt x="493" y="781"/>
                </a:lnTo>
                <a:lnTo>
                  <a:pt x="494" y="777"/>
                </a:lnTo>
                <a:lnTo>
                  <a:pt x="496" y="775"/>
                </a:lnTo>
                <a:lnTo>
                  <a:pt x="497" y="767"/>
                </a:lnTo>
                <a:lnTo>
                  <a:pt x="498" y="763"/>
                </a:lnTo>
                <a:lnTo>
                  <a:pt x="500" y="760"/>
                </a:lnTo>
                <a:lnTo>
                  <a:pt x="504" y="752"/>
                </a:lnTo>
                <a:lnTo>
                  <a:pt x="503" y="751"/>
                </a:lnTo>
                <a:lnTo>
                  <a:pt x="502" y="749"/>
                </a:lnTo>
                <a:lnTo>
                  <a:pt x="502" y="746"/>
                </a:lnTo>
                <a:lnTo>
                  <a:pt x="500" y="744"/>
                </a:lnTo>
                <a:lnTo>
                  <a:pt x="499" y="744"/>
                </a:lnTo>
                <a:lnTo>
                  <a:pt x="499" y="743"/>
                </a:lnTo>
                <a:lnTo>
                  <a:pt x="496" y="739"/>
                </a:lnTo>
                <a:lnTo>
                  <a:pt x="494" y="737"/>
                </a:lnTo>
                <a:lnTo>
                  <a:pt x="492" y="736"/>
                </a:lnTo>
                <a:lnTo>
                  <a:pt x="491" y="733"/>
                </a:lnTo>
                <a:lnTo>
                  <a:pt x="491" y="732"/>
                </a:lnTo>
                <a:lnTo>
                  <a:pt x="490" y="731"/>
                </a:lnTo>
                <a:lnTo>
                  <a:pt x="490" y="725"/>
                </a:lnTo>
                <a:lnTo>
                  <a:pt x="487" y="723"/>
                </a:lnTo>
                <a:lnTo>
                  <a:pt x="479" y="717"/>
                </a:lnTo>
                <a:lnTo>
                  <a:pt x="472" y="708"/>
                </a:lnTo>
                <a:lnTo>
                  <a:pt x="459" y="700"/>
                </a:lnTo>
                <a:lnTo>
                  <a:pt x="456" y="697"/>
                </a:lnTo>
                <a:lnTo>
                  <a:pt x="454" y="693"/>
                </a:lnTo>
                <a:lnTo>
                  <a:pt x="448" y="689"/>
                </a:lnTo>
                <a:lnTo>
                  <a:pt x="437" y="676"/>
                </a:lnTo>
                <a:lnTo>
                  <a:pt x="437" y="672"/>
                </a:lnTo>
                <a:lnTo>
                  <a:pt x="440" y="671"/>
                </a:lnTo>
                <a:lnTo>
                  <a:pt x="447" y="669"/>
                </a:lnTo>
                <a:lnTo>
                  <a:pt x="449" y="665"/>
                </a:lnTo>
                <a:lnTo>
                  <a:pt x="451" y="658"/>
                </a:lnTo>
                <a:lnTo>
                  <a:pt x="459" y="650"/>
                </a:lnTo>
                <a:lnTo>
                  <a:pt x="461" y="646"/>
                </a:lnTo>
                <a:lnTo>
                  <a:pt x="462" y="644"/>
                </a:lnTo>
                <a:lnTo>
                  <a:pt x="462" y="640"/>
                </a:lnTo>
                <a:lnTo>
                  <a:pt x="461" y="637"/>
                </a:lnTo>
                <a:lnTo>
                  <a:pt x="461" y="634"/>
                </a:lnTo>
                <a:lnTo>
                  <a:pt x="460" y="633"/>
                </a:lnTo>
                <a:lnTo>
                  <a:pt x="460" y="632"/>
                </a:lnTo>
                <a:lnTo>
                  <a:pt x="461" y="629"/>
                </a:lnTo>
                <a:lnTo>
                  <a:pt x="461" y="627"/>
                </a:lnTo>
                <a:lnTo>
                  <a:pt x="459" y="625"/>
                </a:lnTo>
                <a:lnTo>
                  <a:pt x="456" y="625"/>
                </a:lnTo>
                <a:lnTo>
                  <a:pt x="455" y="623"/>
                </a:lnTo>
                <a:lnTo>
                  <a:pt x="455" y="621"/>
                </a:lnTo>
                <a:lnTo>
                  <a:pt x="451" y="617"/>
                </a:lnTo>
                <a:lnTo>
                  <a:pt x="444" y="615"/>
                </a:lnTo>
                <a:lnTo>
                  <a:pt x="442" y="614"/>
                </a:lnTo>
                <a:lnTo>
                  <a:pt x="440" y="611"/>
                </a:lnTo>
                <a:lnTo>
                  <a:pt x="440" y="608"/>
                </a:lnTo>
                <a:lnTo>
                  <a:pt x="441" y="605"/>
                </a:lnTo>
                <a:lnTo>
                  <a:pt x="441" y="603"/>
                </a:lnTo>
                <a:lnTo>
                  <a:pt x="440" y="601"/>
                </a:lnTo>
                <a:lnTo>
                  <a:pt x="437" y="599"/>
                </a:lnTo>
                <a:lnTo>
                  <a:pt x="437" y="596"/>
                </a:lnTo>
                <a:lnTo>
                  <a:pt x="436" y="596"/>
                </a:lnTo>
                <a:lnTo>
                  <a:pt x="436" y="592"/>
                </a:lnTo>
                <a:lnTo>
                  <a:pt x="443" y="589"/>
                </a:lnTo>
                <a:lnTo>
                  <a:pt x="445" y="586"/>
                </a:lnTo>
                <a:lnTo>
                  <a:pt x="445" y="584"/>
                </a:lnTo>
                <a:lnTo>
                  <a:pt x="444" y="582"/>
                </a:lnTo>
                <a:lnTo>
                  <a:pt x="443" y="580"/>
                </a:lnTo>
                <a:lnTo>
                  <a:pt x="443" y="579"/>
                </a:lnTo>
                <a:lnTo>
                  <a:pt x="442" y="578"/>
                </a:lnTo>
                <a:lnTo>
                  <a:pt x="442" y="576"/>
                </a:lnTo>
                <a:lnTo>
                  <a:pt x="443" y="574"/>
                </a:lnTo>
                <a:lnTo>
                  <a:pt x="443" y="573"/>
                </a:lnTo>
                <a:lnTo>
                  <a:pt x="442" y="573"/>
                </a:lnTo>
                <a:lnTo>
                  <a:pt x="441" y="572"/>
                </a:lnTo>
                <a:lnTo>
                  <a:pt x="432" y="572"/>
                </a:lnTo>
                <a:lnTo>
                  <a:pt x="429" y="571"/>
                </a:lnTo>
                <a:lnTo>
                  <a:pt x="425" y="566"/>
                </a:lnTo>
                <a:lnTo>
                  <a:pt x="422" y="560"/>
                </a:lnTo>
                <a:lnTo>
                  <a:pt x="420" y="552"/>
                </a:lnTo>
                <a:lnTo>
                  <a:pt x="420" y="547"/>
                </a:lnTo>
                <a:lnTo>
                  <a:pt x="422" y="545"/>
                </a:lnTo>
                <a:lnTo>
                  <a:pt x="424" y="542"/>
                </a:lnTo>
                <a:lnTo>
                  <a:pt x="430" y="541"/>
                </a:lnTo>
                <a:lnTo>
                  <a:pt x="431" y="540"/>
                </a:lnTo>
                <a:lnTo>
                  <a:pt x="431" y="537"/>
                </a:lnTo>
                <a:lnTo>
                  <a:pt x="430" y="537"/>
                </a:lnTo>
                <a:lnTo>
                  <a:pt x="430" y="535"/>
                </a:lnTo>
                <a:lnTo>
                  <a:pt x="431" y="534"/>
                </a:lnTo>
                <a:lnTo>
                  <a:pt x="431" y="530"/>
                </a:lnTo>
                <a:lnTo>
                  <a:pt x="428" y="529"/>
                </a:lnTo>
                <a:lnTo>
                  <a:pt x="422" y="529"/>
                </a:lnTo>
                <a:lnTo>
                  <a:pt x="420" y="527"/>
                </a:lnTo>
                <a:lnTo>
                  <a:pt x="422" y="523"/>
                </a:lnTo>
                <a:lnTo>
                  <a:pt x="426" y="517"/>
                </a:lnTo>
                <a:lnTo>
                  <a:pt x="426" y="514"/>
                </a:lnTo>
                <a:lnTo>
                  <a:pt x="425" y="505"/>
                </a:lnTo>
                <a:lnTo>
                  <a:pt x="426" y="500"/>
                </a:lnTo>
                <a:lnTo>
                  <a:pt x="426" y="499"/>
                </a:lnTo>
                <a:lnTo>
                  <a:pt x="430" y="494"/>
                </a:lnTo>
                <a:lnTo>
                  <a:pt x="431" y="493"/>
                </a:lnTo>
                <a:lnTo>
                  <a:pt x="430" y="491"/>
                </a:lnTo>
                <a:lnTo>
                  <a:pt x="426" y="488"/>
                </a:lnTo>
                <a:lnTo>
                  <a:pt x="425" y="487"/>
                </a:lnTo>
                <a:lnTo>
                  <a:pt x="428" y="485"/>
                </a:lnTo>
                <a:lnTo>
                  <a:pt x="438" y="481"/>
                </a:lnTo>
                <a:lnTo>
                  <a:pt x="441" y="484"/>
                </a:lnTo>
                <a:lnTo>
                  <a:pt x="442" y="484"/>
                </a:lnTo>
                <a:lnTo>
                  <a:pt x="443" y="481"/>
                </a:lnTo>
                <a:lnTo>
                  <a:pt x="442" y="479"/>
                </a:lnTo>
                <a:lnTo>
                  <a:pt x="441" y="469"/>
                </a:lnTo>
                <a:lnTo>
                  <a:pt x="441" y="467"/>
                </a:lnTo>
                <a:lnTo>
                  <a:pt x="438" y="457"/>
                </a:lnTo>
                <a:lnTo>
                  <a:pt x="437" y="456"/>
                </a:lnTo>
                <a:lnTo>
                  <a:pt x="436" y="451"/>
                </a:lnTo>
                <a:lnTo>
                  <a:pt x="436" y="449"/>
                </a:lnTo>
                <a:lnTo>
                  <a:pt x="435" y="442"/>
                </a:lnTo>
                <a:lnTo>
                  <a:pt x="434" y="437"/>
                </a:lnTo>
                <a:lnTo>
                  <a:pt x="432" y="435"/>
                </a:lnTo>
                <a:lnTo>
                  <a:pt x="429" y="430"/>
                </a:lnTo>
                <a:lnTo>
                  <a:pt x="423" y="418"/>
                </a:lnTo>
                <a:lnTo>
                  <a:pt x="420" y="412"/>
                </a:lnTo>
                <a:lnTo>
                  <a:pt x="419" y="410"/>
                </a:lnTo>
                <a:lnTo>
                  <a:pt x="419" y="405"/>
                </a:lnTo>
                <a:lnTo>
                  <a:pt x="418" y="404"/>
                </a:lnTo>
                <a:lnTo>
                  <a:pt x="418" y="398"/>
                </a:lnTo>
                <a:lnTo>
                  <a:pt x="413" y="389"/>
                </a:lnTo>
                <a:lnTo>
                  <a:pt x="412" y="388"/>
                </a:lnTo>
                <a:lnTo>
                  <a:pt x="412" y="385"/>
                </a:lnTo>
                <a:lnTo>
                  <a:pt x="411" y="383"/>
                </a:lnTo>
                <a:lnTo>
                  <a:pt x="409" y="377"/>
                </a:lnTo>
                <a:lnTo>
                  <a:pt x="399" y="361"/>
                </a:lnTo>
                <a:lnTo>
                  <a:pt x="398" y="352"/>
                </a:lnTo>
                <a:lnTo>
                  <a:pt x="400" y="344"/>
                </a:lnTo>
                <a:lnTo>
                  <a:pt x="413" y="318"/>
                </a:lnTo>
                <a:lnTo>
                  <a:pt x="416" y="315"/>
                </a:lnTo>
                <a:lnTo>
                  <a:pt x="416" y="314"/>
                </a:lnTo>
                <a:lnTo>
                  <a:pt x="417" y="313"/>
                </a:lnTo>
                <a:lnTo>
                  <a:pt x="417" y="310"/>
                </a:lnTo>
                <a:lnTo>
                  <a:pt x="434" y="287"/>
                </a:lnTo>
                <a:lnTo>
                  <a:pt x="435" y="285"/>
                </a:lnTo>
                <a:lnTo>
                  <a:pt x="436" y="281"/>
                </a:lnTo>
                <a:lnTo>
                  <a:pt x="436" y="271"/>
                </a:lnTo>
                <a:lnTo>
                  <a:pt x="437" y="270"/>
                </a:lnTo>
                <a:lnTo>
                  <a:pt x="437" y="269"/>
                </a:lnTo>
                <a:lnTo>
                  <a:pt x="438" y="267"/>
                </a:lnTo>
                <a:lnTo>
                  <a:pt x="425" y="256"/>
                </a:lnTo>
                <a:lnTo>
                  <a:pt x="423" y="252"/>
                </a:lnTo>
                <a:lnTo>
                  <a:pt x="416" y="236"/>
                </a:lnTo>
                <a:lnTo>
                  <a:pt x="414" y="233"/>
                </a:lnTo>
                <a:lnTo>
                  <a:pt x="411" y="226"/>
                </a:lnTo>
                <a:lnTo>
                  <a:pt x="409" y="223"/>
                </a:lnTo>
                <a:lnTo>
                  <a:pt x="395" y="217"/>
                </a:lnTo>
                <a:lnTo>
                  <a:pt x="384" y="213"/>
                </a:lnTo>
                <a:lnTo>
                  <a:pt x="382" y="211"/>
                </a:lnTo>
                <a:lnTo>
                  <a:pt x="381" y="209"/>
                </a:lnTo>
                <a:lnTo>
                  <a:pt x="374" y="179"/>
                </a:lnTo>
                <a:lnTo>
                  <a:pt x="373" y="177"/>
                </a:lnTo>
                <a:lnTo>
                  <a:pt x="372" y="173"/>
                </a:lnTo>
                <a:lnTo>
                  <a:pt x="372" y="172"/>
                </a:lnTo>
                <a:lnTo>
                  <a:pt x="373" y="171"/>
                </a:lnTo>
                <a:lnTo>
                  <a:pt x="384" y="149"/>
                </a:lnTo>
                <a:lnTo>
                  <a:pt x="385" y="146"/>
                </a:lnTo>
                <a:lnTo>
                  <a:pt x="387" y="136"/>
                </a:lnTo>
                <a:lnTo>
                  <a:pt x="384" y="132"/>
                </a:lnTo>
                <a:lnTo>
                  <a:pt x="372" y="132"/>
                </a:lnTo>
                <a:lnTo>
                  <a:pt x="370" y="131"/>
                </a:lnTo>
                <a:lnTo>
                  <a:pt x="370" y="129"/>
                </a:lnTo>
                <a:lnTo>
                  <a:pt x="373" y="129"/>
                </a:lnTo>
                <a:lnTo>
                  <a:pt x="384" y="121"/>
                </a:lnTo>
                <a:lnTo>
                  <a:pt x="388" y="119"/>
                </a:lnTo>
                <a:lnTo>
                  <a:pt x="393" y="113"/>
                </a:lnTo>
                <a:lnTo>
                  <a:pt x="394" y="113"/>
                </a:lnTo>
                <a:lnTo>
                  <a:pt x="395" y="112"/>
                </a:lnTo>
                <a:lnTo>
                  <a:pt x="398" y="113"/>
                </a:lnTo>
                <a:lnTo>
                  <a:pt x="403" y="109"/>
                </a:lnTo>
                <a:lnTo>
                  <a:pt x="405" y="105"/>
                </a:lnTo>
                <a:lnTo>
                  <a:pt x="406" y="104"/>
                </a:lnTo>
                <a:lnTo>
                  <a:pt x="406" y="101"/>
                </a:lnTo>
                <a:lnTo>
                  <a:pt x="407" y="98"/>
                </a:lnTo>
                <a:lnTo>
                  <a:pt x="407" y="94"/>
                </a:lnTo>
                <a:lnTo>
                  <a:pt x="409" y="93"/>
                </a:lnTo>
                <a:lnTo>
                  <a:pt x="409" y="90"/>
                </a:lnTo>
                <a:lnTo>
                  <a:pt x="410" y="86"/>
                </a:lnTo>
                <a:lnTo>
                  <a:pt x="410" y="84"/>
                </a:lnTo>
                <a:lnTo>
                  <a:pt x="411" y="81"/>
                </a:lnTo>
                <a:lnTo>
                  <a:pt x="413" y="80"/>
                </a:lnTo>
                <a:lnTo>
                  <a:pt x="420" y="80"/>
                </a:lnTo>
                <a:lnTo>
                  <a:pt x="423" y="79"/>
                </a:lnTo>
                <a:lnTo>
                  <a:pt x="428" y="74"/>
                </a:lnTo>
                <a:lnTo>
                  <a:pt x="436" y="74"/>
                </a:lnTo>
                <a:lnTo>
                  <a:pt x="436" y="73"/>
                </a:lnTo>
                <a:lnTo>
                  <a:pt x="437" y="70"/>
                </a:lnTo>
                <a:lnTo>
                  <a:pt x="443" y="64"/>
                </a:lnTo>
                <a:lnTo>
                  <a:pt x="443" y="60"/>
                </a:lnTo>
                <a:lnTo>
                  <a:pt x="444" y="58"/>
                </a:lnTo>
                <a:lnTo>
                  <a:pt x="444" y="56"/>
                </a:lnTo>
                <a:lnTo>
                  <a:pt x="447" y="54"/>
                </a:lnTo>
                <a:lnTo>
                  <a:pt x="447" y="52"/>
                </a:lnTo>
                <a:lnTo>
                  <a:pt x="448" y="50"/>
                </a:lnTo>
                <a:lnTo>
                  <a:pt x="448" y="48"/>
                </a:lnTo>
                <a:lnTo>
                  <a:pt x="447" y="45"/>
                </a:lnTo>
                <a:lnTo>
                  <a:pt x="447" y="44"/>
                </a:lnTo>
                <a:lnTo>
                  <a:pt x="444" y="43"/>
                </a:lnTo>
                <a:lnTo>
                  <a:pt x="443" y="42"/>
                </a:lnTo>
                <a:lnTo>
                  <a:pt x="443" y="41"/>
                </a:lnTo>
                <a:lnTo>
                  <a:pt x="448" y="41"/>
                </a:lnTo>
                <a:lnTo>
                  <a:pt x="450" y="43"/>
                </a:lnTo>
                <a:lnTo>
                  <a:pt x="457" y="52"/>
                </a:lnTo>
                <a:lnTo>
                  <a:pt x="460" y="52"/>
                </a:lnTo>
                <a:lnTo>
                  <a:pt x="469" y="55"/>
                </a:lnTo>
                <a:lnTo>
                  <a:pt x="474" y="54"/>
                </a:lnTo>
                <a:lnTo>
                  <a:pt x="475" y="52"/>
                </a:lnTo>
                <a:lnTo>
                  <a:pt x="476" y="48"/>
                </a:lnTo>
                <a:lnTo>
                  <a:pt x="476" y="37"/>
                </a:lnTo>
                <a:lnTo>
                  <a:pt x="475" y="35"/>
                </a:lnTo>
                <a:lnTo>
                  <a:pt x="475" y="31"/>
                </a:lnTo>
                <a:lnTo>
                  <a:pt x="474" y="29"/>
                </a:lnTo>
                <a:lnTo>
                  <a:pt x="474" y="27"/>
                </a:lnTo>
                <a:lnTo>
                  <a:pt x="473" y="25"/>
                </a:lnTo>
                <a:lnTo>
                  <a:pt x="473" y="20"/>
                </a:lnTo>
                <a:lnTo>
                  <a:pt x="481" y="24"/>
                </a:lnTo>
                <a:lnTo>
                  <a:pt x="486" y="24"/>
                </a:lnTo>
                <a:lnTo>
                  <a:pt x="488" y="26"/>
                </a:lnTo>
                <a:lnTo>
                  <a:pt x="490" y="26"/>
                </a:lnTo>
                <a:lnTo>
                  <a:pt x="491" y="25"/>
                </a:lnTo>
                <a:lnTo>
                  <a:pt x="492" y="26"/>
                </a:lnTo>
                <a:lnTo>
                  <a:pt x="493" y="26"/>
                </a:lnTo>
                <a:lnTo>
                  <a:pt x="494" y="30"/>
                </a:lnTo>
                <a:lnTo>
                  <a:pt x="497" y="30"/>
                </a:lnTo>
                <a:lnTo>
                  <a:pt x="497" y="36"/>
                </a:lnTo>
                <a:lnTo>
                  <a:pt x="496" y="36"/>
                </a:lnTo>
                <a:lnTo>
                  <a:pt x="496" y="39"/>
                </a:lnTo>
                <a:lnTo>
                  <a:pt x="494" y="41"/>
                </a:lnTo>
                <a:lnTo>
                  <a:pt x="492" y="44"/>
                </a:lnTo>
                <a:lnTo>
                  <a:pt x="494" y="42"/>
                </a:lnTo>
                <a:lnTo>
                  <a:pt x="499" y="35"/>
                </a:lnTo>
                <a:lnTo>
                  <a:pt x="500" y="33"/>
                </a:lnTo>
                <a:lnTo>
                  <a:pt x="502" y="35"/>
                </a:lnTo>
                <a:lnTo>
                  <a:pt x="503" y="35"/>
                </a:lnTo>
                <a:lnTo>
                  <a:pt x="503" y="33"/>
                </a:lnTo>
                <a:lnTo>
                  <a:pt x="504" y="33"/>
                </a:lnTo>
                <a:lnTo>
                  <a:pt x="515" y="35"/>
                </a:lnTo>
                <a:lnTo>
                  <a:pt x="513" y="32"/>
                </a:lnTo>
                <a:lnTo>
                  <a:pt x="512" y="31"/>
                </a:lnTo>
                <a:lnTo>
                  <a:pt x="510" y="30"/>
                </a:lnTo>
                <a:lnTo>
                  <a:pt x="510" y="27"/>
                </a:lnTo>
                <a:lnTo>
                  <a:pt x="511" y="25"/>
                </a:lnTo>
                <a:lnTo>
                  <a:pt x="510" y="23"/>
                </a:lnTo>
                <a:lnTo>
                  <a:pt x="510" y="18"/>
                </a:lnTo>
                <a:lnTo>
                  <a:pt x="511" y="15"/>
                </a:lnTo>
                <a:lnTo>
                  <a:pt x="512" y="14"/>
                </a:lnTo>
                <a:lnTo>
                  <a:pt x="516" y="14"/>
                </a:lnTo>
                <a:lnTo>
                  <a:pt x="517" y="15"/>
                </a:lnTo>
                <a:lnTo>
                  <a:pt x="518" y="18"/>
                </a:lnTo>
                <a:lnTo>
                  <a:pt x="521" y="19"/>
                </a:lnTo>
                <a:lnTo>
                  <a:pt x="523" y="23"/>
                </a:lnTo>
                <a:lnTo>
                  <a:pt x="524" y="24"/>
                </a:lnTo>
                <a:lnTo>
                  <a:pt x="527" y="21"/>
                </a:lnTo>
                <a:lnTo>
                  <a:pt x="527" y="20"/>
                </a:lnTo>
                <a:lnTo>
                  <a:pt x="525" y="19"/>
                </a:lnTo>
                <a:lnTo>
                  <a:pt x="524" y="15"/>
                </a:lnTo>
                <a:lnTo>
                  <a:pt x="522" y="13"/>
                </a:lnTo>
                <a:lnTo>
                  <a:pt x="522" y="8"/>
                </a:lnTo>
                <a:lnTo>
                  <a:pt x="521" y="8"/>
                </a:lnTo>
                <a:lnTo>
                  <a:pt x="518" y="6"/>
                </a:lnTo>
                <a:lnTo>
                  <a:pt x="518" y="5"/>
                </a:lnTo>
                <a:lnTo>
                  <a:pt x="519" y="2"/>
                </a:lnTo>
                <a:lnTo>
                  <a:pt x="519" y="1"/>
                </a:lnTo>
                <a:lnTo>
                  <a:pt x="521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" name="Freeform 19">
            <a:extLst>
              <a:ext uri="{FF2B5EF4-FFF2-40B4-BE49-F238E27FC236}">
                <a16:creationId xmlns:a16="http://schemas.microsoft.com/office/drawing/2014/main" id="{E99383A3-E706-488B-ABBC-CB6E309A2C72}"/>
              </a:ext>
            </a:extLst>
          </p:cNvPr>
          <p:cNvSpPr>
            <a:spLocks noEditPoints="1"/>
          </p:cNvSpPr>
          <p:nvPr/>
        </p:nvSpPr>
        <p:spPr bwMode="auto">
          <a:xfrm>
            <a:off x="4374447" y="1844353"/>
            <a:ext cx="559291" cy="391214"/>
          </a:xfrm>
          <a:custGeom>
            <a:avLst/>
            <a:gdLst/>
            <a:ahLst/>
            <a:cxnLst>
              <a:cxn ang="0">
                <a:pos x="343" y="203"/>
              </a:cxn>
              <a:cxn ang="0">
                <a:pos x="363" y="216"/>
              </a:cxn>
              <a:cxn ang="0">
                <a:pos x="381" y="244"/>
              </a:cxn>
              <a:cxn ang="0">
                <a:pos x="382" y="257"/>
              </a:cxn>
              <a:cxn ang="0">
                <a:pos x="360" y="270"/>
              </a:cxn>
              <a:cxn ang="0">
                <a:pos x="346" y="253"/>
              </a:cxn>
              <a:cxn ang="0">
                <a:pos x="320" y="240"/>
              </a:cxn>
              <a:cxn ang="0">
                <a:pos x="302" y="220"/>
              </a:cxn>
              <a:cxn ang="0">
                <a:pos x="301" y="208"/>
              </a:cxn>
              <a:cxn ang="0">
                <a:pos x="298" y="196"/>
              </a:cxn>
              <a:cxn ang="0">
                <a:pos x="301" y="186"/>
              </a:cxn>
              <a:cxn ang="0">
                <a:pos x="309" y="176"/>
              </a:cxn>
              <a:cxn ang="0">
                <a:pos x="245" y="164"/>
              </a:cxn>
              <a:cxn ang="0">
                <a:pos x="232" y="159"/>
              </a:cxn>
              <a:cxn ang="0">
                <a:pos x="83" y="65"/>
              </a:cxn>
              <a:cxn ang="0">
                <a:pos x="63" y="54"/>
              </a:cxn>
              <a:cxn ang="0">
                <a:pos x="58" y="54"/>
              </a:cxn>
              <a:cxn ang="0">
                <a:pos x="71" y="69"/>
              </a:cxn>
              <a:cxn ang="0">
                <a:pos x="72" y="91"/>
              </a:cxn>
              <a:cxn ang="0">
                <a:pos x="68" y="103"/>
              </a:cxn>
              <a:cxn ang="0">
                <a:pos x="52" y="74"/>
              </a:cxn>
              <a:cxn ang="0">
                <a:pos x="41" y="54"/>
              </a:cxn>
              <a:cxn ang="0">
                <a:pos x="174" y="0"/>
              </a:cxn>
              <a:cxn ang="0">
                <a:pos x="196" y="61"/>
              </a:cxn>
              <a:cxn ang="0">
                <a:pos x="238" y="121"/>
              </a:cxn>
              <a:cxn ang="0">
                <a:pos x="255" y="139"/>
              </a:cxn>
              <a:cxn ang="0">
                <a:pos x="255" y="153"/>
              </a:cxn>
              <a:cxn ang="0">
                <a:pos x="227" y="145"/>
              </a:cxn>
              <a:cxn ang="0">
                <a:pos x="237" y="154"/>
              </a:cxn>
              <a:cxn ang="0">
                <a:pos x="218" y="137"/>
              </a:cxn>
              <a:cxn ang="0">
                <a:pos x="203" y="139"/>
              </a:cxn>
              <a:cxn ang="0">
                <a:pos x="205" y="148"/>
              </a:cxn>
              <a:cxn ang="0">
                <a:pos x="221" y="158"/>
              </a:cxn>
              <a:cxn ang="0">
                <a:pos x="216" y="154"/>
              </a:cxn>
              <a:cxn ang="0">
                <a:pos x="199" y="154"/>
              </a:cxn>
              <a:cxn ang="0">
                <a:pos x="190" y="154"/>
              </a:cxn>
              <a:cxn ang="0">
                <a:pos x="184" y="146"/>
              </a:cxn>
              <a:cxn ang="0">
                <a:pos x="170" y="136"/>
              </a:cxn>
              <a:cxn ang="0">
                <a:pos x="163" y="143"/>
              </a:cxn>
              <a:cxn ang="0">
                <a:pos x="153" y="154"/>
              </a:cxn>
              <a:cxn ang="0">
                <a:pos x="139" y="134"/>
              </a:cxn>
              <a:cxn ang="0">
                <a:pos x="137" y="142"/>
              </a:cxn>
              <a:cxn ang="0">
                <a:pos x="129" y="140"/>
              </a:cxn>
              <a:cxn ang="0">
                <a:pos x="102" y="128"/>
              </a:cxn>
              <a:cxn ang="0">
                <a:pos x="90" y="128"/>
              </a:cxn>
              <a:cxn ang="0">
                <a:pos x="95" y="122"/>
              </a:cxn>
              <a:cxn ang="0">
                <a:pos x="95" y="102"/>
              </a:cxn>
              <a:cxn ang="0">
                <a:pos x="107" y="96"/>
              </a:cxn>
              <a:cxn ang="0">
                <a:pos x="113" y="90"/>
              </a:cxn>
              <a:cxn ang="0">
                <a:pos x="110" y="81"/>
              </a:cxn>
              <a:cxn ang="0">
                <a:pos x="106" y="80"/>
              </a:cxn>
              <a:cxn ang="0">
                <a:pos x="95" y="76"/>
              </a:cxn>
              <a:cxn ang="0">
                <a:pos x="93" y="61"/>
              </a:cxn>
              <a:cxn ang="0">
                <a:pos x="102" y="45"/>
              </a:cxn>
              <a:cxn ang="0">
                <a:pos x="81" y="37"/>
              </a:cxn>
              <a:cxn ang="0">
                <a:pos x="71" y="47"/>
              </a:cxn>
              <a:cxn ang="0">
                <a:pos x="65" y="50"/>
              </a:cxn>
              <a:cxn ang="0">
                <a:pos x="56" y="38"/>
              </a:cxn>
              <a:cxn ang="0">
                <a:pos x="46" y="23"/>
              </a:cxn>
              <a:cxn ang="0">
                <a:pos x="35" y="32"/>
              </a:cxn>
              <a:cxn ang="0">
                <a:pos x="31" y="39"/>
              </a:cxn>
              <a:cxn ang="0">
                <a:pos x="4" y="18"/>
              </a:cxn>
            </a:cxnLst>
            <a:rect l="0" t="0" r="r" b="b"/>
            <a:pathLst>
              <a:path w="386" h="270">
                <a:moveTo>
                  <a:pt x="321" y="170"/>
                </a:moveTo>
                <a:lnTo>
                  <a:pt x="323" y="171"/>
                </a:lnTo>
                <a:lnTo>
                  <a:pt x="323" y="174"/>
                </a:lnTo>
                <a:lnTo>
                  <a:pt x="324" y="174"/>
                </a:lnTo>
                <a:lnTo>
                  <a:pt x="325" y="176"/>
                </a:lnTo>
                <a:lnTo>
                  <a:pt x="333" y="183"/>
                </a:lnTo>
                <a:lnTo>
                  <a:pt x="334" y="185"/>
                </a:lnTo>
                <a:lnTo>
                  <a:pt x="339" y="194"/>
                </a:lnTo>
                <a:lnTo>
                  <a:pt x="342" y="196"/>
                </a:lnTo>
                <a:lnTo>
                  <a:pt x="343" y="196"/>
                </a:lnTo>
                <a:lnTo>
                  <a:pt x="343" y="203"/>
                </a:lnTo>
                <a:lnTo>
                  <a:pt x="344" y="204"/>
                </a:lnTo>
                <a:lnTo>
                  <a:pt x="348" y="204"/>
                </a:lnTo>
                <a:lnTo>
                  <a:pt x="350" y="208"/>
                </a:lnTo>
                <a:lnTo>
                  <a:pt x="352" y="208"/>
                </a:lnTo>
                <a:lnTo>
                  <a:pt x="352" y="211"/>
                </a:lnTo>
                <a:lnTo>
                  <a:pt x="354" y="213"/>
                </a:lnTo>
                <a:lnTo>
                  <a:pt x="354" y="214"/>
                </a:lnTo>
                <a:lnTo>
                  <a:pt x="356" y="214"/>
                </a:lnTo>
                <a:lnTo>
                  <a:pt x="360" y="217"/>
                </a:lnTo>
                <a:lnTo>
                  <a:pt x="361" y="217"/>
                </a:lnTo>
                <a:lnTo>
                  <a:pt x="363" y="216"/>
                </a:lnTo>
                <a:lnTo>
                  <a:pt x="364" y="217"/>
                </a:lnTo>
                <a:lnTo>
                  <a:pt x="364" y="220"/>
                </a:lnTo>
                <a:lnTo>
                  <a:pt x="365" y="220"/>
                </a:lnTo>
                <a:lnTo>
                  <a:pt x="367" y="221"/>
                </a:lnTo>
                <a:lnTo>
                  <a:pt x="376" y="233"/>
                </a:lnTo>
                <a:lnTo>
                  <a:pt x="376" y="234"/>
                </a:lnTo>
                <a:lnTo>
                  <a:pt x="380" y="234"/>
                </a:lnTo>
                <a:lnTo>
                  <a:pt x="381" y="235"/>
                </a:lnTo>
                <a:lnTo>
                  <a:pt x="382" y="239"/>
                </a:lnTo>
                <a:lnTo>
                  <a:pt x="382" y="242"/>
                </a:lnTo>
                <a:lnTo>
                  <a:pt x="381" y="244"/>
                </a:lnTo>
                <a:lnTo>
                  <a:pt x="382" y="246"/>
                </a:lnTo>
                <a:lnTo>
                  <a:pt x="382" y="247"/>
                </a:lnTo>
                <a:lnTo>
                  <a:pt x="383" y="247"/>
                </a:lnTo>
                <a:lnTo>
                  <a:pt x="385" y="248"/>
                </a:lnTo>
                <a:lnTo>
                  <a:pt x="385" y="251"/>
                </a:lnTo>
                <a:lnTo>
                  <a:pt x="386" y="252"/>
                </a:lnTo>
                <a:lnTo>
                  <a:pt x="386" y="253"/>
                </a:lnTo>
                <a:lnTo>
                  <a:pt x="385" y="253"/>
                </a:lnTo>
                <a:lnTo>
                  <a:pt x="385" y="254"/>
                </a:lnTo>
                <a:lnTo>
                  <a:pt x="383" y="254"/>
                </a:lnTo>
                <a:lnTo>
                  <a:pt x="382" y="257"/>
                </a:lnTo>
                <a:lnTo>
                  <a:pt x="381" y="258"/>
                </a:lnTo>
                <a:lnTo>
                  <a:pt x="381" y="262"/>
                </a:lnTo>
                <a:lnTo>
                  <a:pt x="382" y="264"/>
                </a:lnTo>
                <a:lnTo>
                  <a:pt x="379" y="263"/>
                </a:lnTo>
                <a:lnTo>
                  <a:pt x="377" y="264"/>
                </a:lnTo>
                <a:lnTo>
                  <a:pt x="373" y="268"/>
                </a:lnTo>
                <a:lnTo>
                  <a:pt x="371" y="268"/>
                </a:lnTo>
                <a:lnTo>
                  <a:pt x="367" y="264"/>
                </a:lnTo>
                <a:lnTo>
                  <a:pt x="363" y="264"/>
                </a:lnTo>
                <a:lnTo>
                  <a:pt x="360" y="268"/>
                </a:lnTo>
                <a:lnTo>
                  <a:pt x="360" y="270"/>
                </a:lnTo>
                <a:lnTo>
                  <a:pt x="358" y="270"/>
                </a:lnTo>
                <a:lnTo>
                  <a:pt x="358" y="268"/>
                </a:lnTo>
                <a:lnTo>
                  <a:pt x="357" y="266"/>
                </a:lnTo>
                <a:lnTo>
                  <a:pt x="352" y="266"/>
                </a:lnTo>
                <a:lnTo>
                  <a:pt x="344" y="264"/>
                </a:lnTo>
                <a:lnTo>
                  <a:pt x="345" y="263"/>
                </a:lnTo>
                <a:lnTo>
                  <a:pt x="343" y="260"/>
                </a:lnTo>
                <a:lnTo>
                  <a:pt x="343" y="257"/>
                </a:lnTo>
                <a:lnTo>
                  <a:pt x="344" y="256"/>
                </a:lnTo>
                <a:lnTo>
                  <a:pt x="346" y="256"/>
                </a:lnTo>
                <a:lnTo>
                  <a:pt x="346" y="253"/>
                </a:lnTo>
                <a:lnTo>
                  <a:pt x="345" y="252"/>
                </a:lnTo>
                <a:lnTo>
                  <a:pt x="340" y="246"/>
                </a:lnTo>
                <a:lnTo>
                  <a:pt x="338" y="242"/>
                </a:lnTo>
                <a:lnTo>
                  <a:pt x="336" y="242"/>
                </a:lnTo>
                <a:lnTo>
                  <a:pt x="333" y="244"/>
                </a:lnTo>
                <a:lnTo>
                  <a:pt x="332" y="244"/>
                </a:lnTo>
                <a:lnTo>
                  <a:pt x="327" y="239"/>
                </a:lnTo>
                <a:lnTo>
                  <a:pt x="324" y="239"/>
                </a:lnTo>
                <a:lnTo>
                  <a:pt x="318" y="237"/>
                </a:lnTo>
                <a:lnTo>
                  <a:pt x="318" y="238"/>
                </a:lnTo>
                <a:lnTo>
                  <a:pt x="320" y="240"/>
                </a:lnTo>
                <a:lnTo>
                  <a:pt x="323" y="241"/>
                </a:lnTo>
                <a:lnTo>
                  <a:pt x="326" y="245"/>
                </a:lnTo>
                <a:lnTo>
                  <a:pt x="324" y="247"/>
                </a:lnTo>
                <a:lnTo>
                  <a:pt x="321" y="246"/>
                </a:lnTo>
                <a:lnTo>
                  <a:pt x="321" y="245"/>
                </a:lnTo>
                <a:lnTo>
                  <a:pt x="320" y="245"/>
                </a:lnTo>
                <a:lnTo>
                  <a:pt x="318" y="242"/>
                </a:lnTo>
                <a:lnTo>
                  <a:pt x="318" y="241"/>
                </a:lnTo>
                <a:lnTo>
                  <a:pt x="315" y="238"/>
                </a:lnTo>
                <a:lnTo>
                  <a:pt x="307" y="229"/>
                </a:lnTo>
                <a:lnTo>
                  <a:pt x="302" y="220"/>
                </a:lnTo>
                <a:lnTo>
                  <a:pt x="303" y="215"/>
                </a:lnTo>
                <a:lnTo>
                  <a:pt x="301" y="214"/>
                </a:lnTo>
                <a:lnTo>
                  <a:pt x="301" y="213"/>
                </a:lnTo>
                <a:lnTo>
                  <a:pt x="302" y="213"/>
                </a:lnTo>
                <a:lnTo>
                  <a:pt x="303" y="211"/>
                </a:lnTo>
                <a:lnTo>
                  <a:pt x="303" y="210"/>
                </a:lnTo>
                <a:lnTo>
                  <a:pt x="302" y="210"/>
                </a:lnTo>
                <a:lnTo>
                  <a:pt x="302" y="208"/>
                </a:lnTo>
                <a:lnTo>
                  <a:pt x="303" y="207"/>
                </a:lnTo>
                <a:lnTo>
                  <a:pt x="301" y="207"/>
                </a:lnTo>
                <a:lnTo>
                  <a:pt x="301" y="208"/>
                </a:lnTo>
                <a:lnTo>
                  <a:pt x="300" y="208"/>
                </a:lnTo>
                <a:lnTo>
                  <a:pt x="300" y="205"/>
                </a:lnTo>
                <a:lnTo>
                  <a:pt x="298" y="205"/>
                </a:lnTo>
                <a:lnTo>
                  <a:pt x="298" y="204"/>
                </a:lnTo>
                <a:lnTo>
                  <a:pt x="299" y="202"/>
                </a:lnTo>
                <a:lnTo>
                  <a:pt x="299" y="201"/>
                </a:lnTo>
                <a:lnTo>
                  <a:pt x="298" y="201"/>
                </a:lnTo>
                <a:lnTo>
                  <a:pt x="296" y="199"/>
                </a:lnTo>
                <a:lnTo>
                  <a:pt x="295" y="197"/>
                </a:lnTo>
                <a:lnTo>
                  <a:pt x="296" y="196"/>
                </a:lnTo>
                <a:lnTo>
                  <a:pt x="298" y="196"/>
                </a:lnTo>
                <a:lnTo>
                  <a:pt x="313" y="203"/>
                </a:lnTo>
                <a:lnTo>
                  <a:pt x="313" y="201"/>
                </a:lnTo>
                <a:lnTo>
                  <a:pt x="312" y="199"/>
                </a:lnTo>
                <a:lnTo>
                  <a:pt x="312" y="198"/>
                </a:lnTo>
                <a:lnTo>
                  <a:pt x="311" y="197"/>
                </a:lnTo>
                <a:lnTo>
                  <a:pt x="307" y="195"/>
                </a:lnTo>
                <a:lnTo>
                  <a:pt x="306" y="192"/>
                </a:lnTo>
                <a:lnTo>
                  <a:pt x="300" y="188"/>
                </a:lnTo>
                <a:lnTo>
                  <a:pt x="299" y="188"/>
                </a:lnTo>
                <a:lnTo>
                  <a:pt x="300" y="186"/>
                </a:lnTo>
                <a:lnTo>
                  <a:pt x="301" y="186"/>
                </a:lnTo>
                <a:lnTo>
                  <a:pt x="305" y="188"/>
                </a:lnTo>
                <a:lnTo>
                  <a:pt x="305" y="186"/>
                </a:lnTo>
                <a:lnTo>
                  <a:pt x="307" y="184"/>
                </a:lnTo>
                <a:lnTo>
                  <a:pt x="308" y="184"/>
                </a:lnTo>
                <a:lnTo>
                  <a:pt x="309" y="183"/>
                </a:lnTo>
                <a:lnTo>
                  <a:pt x="309" y="182"/>
                </a:lnTo>
                <a:lnTo>
                  <a:pt x="311" y="180"/>
                </a:lnTo>
                <a:lnTo>
                  <a:pt x="309" y="179"/>
                </a:lnTo>
                <a:lnTo>
                  <a:pt x="309" y="177"/>
                </a:lnTo>
                <a:lnTo>
                  <a:pt x="308" y="177"/>
                </a:lnTo>
                <a:lnTo>
                  <a:pt x="309" y="176"/>
                </a:lnTo>
                <a:lnTo>
                  <a:pt x="315" y="176"/>
                </a:lnTo>
                <a:lnTo>
                  <a:pt x="315" y="174"/>
                </a:lnTo>
                <a:lnTo>
                  <a:pt x="319" y="171"/>
                </a:lnTo>
                <a:lnTo>
                  <a:pt x="321" y="170"/>
                </a:lnTo>
                <a:close/>
                <a:moveTo>
                  <a:pt x="230" y="153"/>
                </a:moveTo>
                <a:lnTo>
                  <a:pt x="234" y="156"/>
                </a:lnTo>
                <a:lnTo>
                  <a:pt x="237" y="158"/>
                </a:lnTo>
                <a:lnTo>
                  <a:pt x="239" y="160"/>
                </a:lnTo>
                <a:lnTo>
                  <a:pt x="240" y="159"/>
                </a:lnTo>
                <a:lnTo>
                  <a:pt x="244" y="161"/>
                </a:lnTo>
                <a:lnTo>
                  <a:pt x="245" y="164"/>
                </a:lnTo>
                <a:lnTo>
                  <a:pt x="245" y="166"/>
                </a:lnTo>
                <a:lnTo>
                  <a:pt x="244" y="165"/>
                </a:lnTo>
                <a:lnTo>
                  <a:pt x="240" y="162"/>
                </a:lnTo>
                <a:lnTo>
                  <a:pt x="238" y="162"/>
                </a:lnTo>
                <a:lnTo>
                  <a:pt x="237" y="161"/>
                </a:lnTo>
                <a:lnTo>
                  <a:pt x="238" y="164"/>
                </a:lnTo>
                <a:lnTo>
                  <a:pt x="242" y="165"/>
                </a:lnTo>
                <a:lnTo>
                  <a:pt x="242" y="167"/>
                </a:lnTo>
                <a:lnTo>
                  <a:pt x="238" y="166"/>
                </a:lnTo>
                <a:lnTo>
                  <a:pt x="233" y="162"/>
                </a:lnTo>
                <a:lnTo>
                  <a:pt x="232" y="159"/>
                </a:lnTo>
                <a:lnTo>
                  <a:pt x="233" y="159"/>
                </a:lnTo>
                <a:lnTo>
                  <a:pt x="232" y="156"/>
                </a:lnTo>
                <a:lnTo>
                  <a:pt x="230" y="156"/>
                </a:lnTo>
                <a:lnTo>
                  <a:pt x="230" y="153"/>
                </a:lnTo>
                <a:close/>
                <a:moveTo>
                  <a:pt x="102" y="128"/>
                </a:moveTo>
                <a:lnTo>
                  <a:pt x="104" y="130"/>
                </a:lnTo>
                <a:lnTo>
                  <a:pt x="103" y="130"/>
                </a:lnTo>
                <a:lnTo>
                  <a:pt x="102" y="128"/>
                </a:lnTo>
                <a:close/>
                <a:moveTo>
                  <a:pt x="73" y="56"/>
                </a:moveTo>
                <a:lnTo>
                  <a:pt x="77" y="56"/>
                </a:lnTo>
                <a:lnTo>
                  <a:pt x="83" y="65"/>
                </a:lnTo>
                <a:lnTo>
                  <a:pt x="83" y="66"/>
                </a:lnTo>
                <a:lnTo>
                  <a:pt x="84" y="66"/>
                </a:lnTo>
                <a:lnTo>
                  <a:pt x="83" y="67"/>
                </a:lnTo>
                <a:lnTo>
                  <a:pt x="82" y="66"/>
                </a:lnTo>
                <a:lnTo>
                  <a:pt x="77" y="62"/>
                </a:lnTo>
                <a:lnTo>
                  <a:pt x="77" y="61"/>
                </a:lnTo>
                <a:lnTo>
                  <a:pt x="76" y="59"/>
                </a:lnTo>
                <a:lnTo>
                  <a:pt x="73" y="56"/>
                </a:lnTo>
                <a:close/>
                <a:moveTo>
                  <a:pt x="54" y="49"/>
                </a:moveTo>
                <a:lnTo>
                  <a:pt x="56" y="49"/>
                </a:lnTo>
                <a:lnTo>
                  <a:pt x="63" y="54"/>
                </a:lnTo>
                <a:lnTo>
                  <a:pt x="63" y="55"/>
                </a:lnTo>
                <a:lnTo>
                  <a:pt x="64" y="56"/>
                </a:lnTo>
                <a:lnTo>
                  <a:pt x="65" y="60"/>
                </a:lnTo>
                <a:lnTo>
                  <a:pt x="65" y="61"/>
                </a:lnTo>
                <a:lnTo>
                  <a:pt x="68" y="63"/>
                </a:lnTo>
                <a:lnTo>
                  <a:pt x="68" y="66"/>
                </a:lnTo>
                <a:lnTo>
                  <a:pt x="63" y="61"/>
                </a:lnTo>
                <a:lnTo>
                  <a:pt x="62" y="57"/>
                </a:lnTo>
                <a:lnTo>
                  <a:pt x="62" y="56"/>
                </a:lnTo>
                <a:lnTo>
                  <a:pt x="59" y="54"/>
                </a:lnTo>
                <a:lnTo>
                  <a:pt x="58" y="54"/>
                </a:lnTo>
                <a:lnTo>
                  <a:pt x="60" y="57"/>
                </a:lnTo>
                <a:lnTo>
                  <a:pt x="62" y="60"/>
                </a:lnTo>
                <a:lnTo>
                  <a:pt x="60" y="61"/>
                </a:lnTo>
                <a:lnTo>
                  <a:pt x="58" y="60"/>
                </a:lnTo>
                <a:lnTo>
                  <a:pt x="58" y="61"/>
                </a:lnTo>
                <a:lnTo>
                  <a:pt x="70" y="72"/>
                </a:lnTo>
                <a:lnTo>
                  <a:pt x="72" y="73"/>
                </a:lnTo>
                <a:lnTo>
                  <a:pt x="73" y="70"/>
                </a:lnTo>
                <a:lnTo>
                  <a:pt x="72" y="69"/>
                </a:lnTo>
                <a:lnTo>
                  <a:pt x="71" y="70"/>
                </a:lnTo>
                <a:lnTo>
                  <a:pt x="71" y="69"/>
                </a:lnTo>
                <a:lnTo>
                  <a:pt x="73" y="67"/>
                </a:lnTo>
                <a:lnTo>
                  <a:pt x="73" y="68"/>
                </a:lnTo>
                <a:lnTo>
                  <a:pt x="75" y="69"/>
                </a:lnTo>
                <a:lnTo>
                  <a:pt x="76" y="69"/>
                </a:lnTo>
                <a:lnTo>
                  <a:pt x="76" y="74"/>
                </a:lnTo>
                <a:lnTo>
                  <a:pt x="77" y="74"/>
                </a:lnTo>
                <a:lnTo>
                  <a:pt x="76" y="76"/>
                </a:lnTo>
                <a:lnTo>
                  <a:pt x="76" y="82"/>
                </a:lnTo>
                <a:lnTo>
                  <a:pt x="73" y="85"/>
                </a:lnTo>
                <a:lnTo>
                  <a:pt x="73" y="91"/>
                </a:lnTo>
                <a:lnTo>
                  <a:pt x="72" y="91"/>
                </a:lnTo>
                <a:lnTo>
                  <a:pt x="72" y="92"/>
                </a:lnTo>
                <a:lnTo>
                  <a:pt x="71" y="92"/>
                </a:lnTo>
                <a:lnTo>
                  <a:pt x="70" y="91"/>
                </a:lnTo>
                <a:lnTo>
                  <a:pt x="69" y="93"/>
                </a:lnTo>
                <a:lnTo>
                  <a:pt x="69" y="98"/>
                </a:lnTo>
                <a:lnTo>
                  <a:pt x="70" y="100"/>
                </a:lnTo>
                <a:lnTo>
                  <a:pt x="73" y="104"/>
                </a:lnTo>
                <a:lnTo>
                  <a:pt x="72" y="106"/>
                </a:lnTo>
                <a:lnTo>
                  <a:pt x="70" y="108"/>
                </a:lnTo>
                <a:lnTo>
                  <a:pt x="68" y="106"/>
                </a:lnTo>
                <a:lnTo>
                  <a:pt x="68" y="103"/>
                </a:lnTo>
                <a:lnTo>
                  <a:pt x="66" y="99"/>
                </a:lnTo>
                <a:lnTo>
                  <a:pt x="66" y="97"/>
                </a:lnTo>
                <a:lnTo>
                  <a:pt x="64" y="94"/>
                </a:lnTo>
                <a:lnTo>
                  <a:pt x="59" y="91"/>
                </a:lnTo>
                <a:lnTo>
                  <a:pt x="59" y="88"/>
                </a:lnTo>
                <a:lnTo>
                  <a:pt x="58" y="88"/>
                </a:lnTo>
                <a:lnTo>
                  <a:pt x="58" y="81"/>
                </a:lnTo>
                <a:lnTo>
                  <a:pt x="57" y="80"/>
                </a:lnTo>
                <a:lnTo>
                  <a:pt x="53" y="78"/>
                </a:lnTo>
                <a:lnTo>
                  <a:pt x="53" y="75"/>
                </a:lnTo>
                <a:lnTo>
                  <a:pt x="52" y="74"/>
                </a:lnTo>
                <a:lnTo>
                  <a:pt x="51" y="72"/>
                </a:lnTo>
                <a:lnTo>
                  <a:pt x="48" y="70"/>
                </a:lnTo>
                <a:lnTo>
                  <a:pt x="46" y="70"/>
                </a:lnTo>
                <a:lnTo>
                  <a:pt x="44" y="72"/>
                </a:lnTo>
                <a:lnTo>
                  <a:pt x="40" y="70"/>
                </a:lnTo>
                <a:lnTo>
                  <a:pt x="35" y="67"/>
                </a:lnTo>
                <a:lnTo>
                  <a:pt x="34" y="65"/>
                </a:lnTo>
                <a:lnTo>
                  <a:pt x="34" y="57"/>
                </a:lnTo>
                <a:lnTo>
                  <a:pt x="35" y="57"/>
                </a:lnTo>
                <a:lnTo>
                  <a:pt x="40" y="55"/>
                </a:lnTo>
                <a:lnTo>
                  <a:pt x="41" y="54"/>
                </a:lnTo>
                <a:lnTo>
                  <a:pt x="45" y="54"/>
                </a:lnTo>
                <a:lnTo>
                  <a:pt x="47" y="51"/>
                </a:lnTo>
                <a:lnTo>
                  <a:pt x="52" y="53"/>
                </a:lnTo>
                <a:lnTo>
                  <a:pt x="53" y="54"/>
                </a:lnTo>
                <a:lnTo>
                  <a:pt x="54" y="56"/>
                </a:lnTo>
                <a:lnTo>
                  <a:pt x="56" y="57"/>
                </a:lnTo>
                <a:lnTo>
                  <a:pt x="56" y="56"/>
                </a:lnTo>
                <a:lnTo>
                  <a:pt x="54" y="54"/>
                </a:lnTo>
                <a:lnTo>
                  <a:pt x="54" y="49"/>
                </a:lnTo>
                <a:close/>
                <a:moveTo>
                  <a:pt x="0" y="0"/>
                </a:moveTo>
                <a:lnTo>
                  <a:pt x="174" y="0"/>
                </a:lnTo>
                <a:lnTo>
                  <a:pt x="175" y="4"/>
                </a:lnTo>
                <a:lnTo>
                  <a:pt x="180" y="23"/>
                </a:lnTo>
                <a:lnTo>
                  <a:pt x="183" y="30"/>
                </a:lnTo>
                <a:lnTo>
                  <a:pt x="186" y="33"/>
                </a:lnTo>
                <a:lnTo>
                  <a:pt x="187" y="35"/>
                </a:lnTo>
                <a:lnTo>
                  <a:pt x="189" y="43"/>
                </a:lnTo>
                <a:lnTo>
                  <a:pt x="190" y="47"/>
                </a:lnTo>
                <a:lnTo>
                  <a:pt x="193" y="49"/>
                </a:lnTo>
                <a:lnTo>
                  <a:pt x="194" y="53"/>
                </a:lnTo>
                <a:lnTo>
                  <a:pt x="195" y="54"/>
                </a:lnTo>
                <a:lnTo>
                  <a:pt x="196" y="61"/>
                </a:lnTo>
                <a:lnTo>
                  <a:pt x="196" y="66"/>
                </a:lnTo>
                <a:lnTo>
                  <a:pt x="199" y="69"/>
                </a:lnTo>
                <a:lnTo>
                  <a:pt x="218" y="96"/>
                </a:lnTo>
                <a:lnTo>
                  <a:pt x="221" y="102"/>
                </a:lnTo>
                <a:lnTo>
                  <a:pt x="227" y="106"/>
                </a:lnTo>
                <a:lnTo>
                  <a:pt x="230" y="108"/>
                </a:lnTo>
                <a:lnTo>
                  <a:pt x="230" y="109"/>
                </a:lnTo>
                <a:lnTo>
                  <a:pt x="231" y="110"/>
                </a:lnTo>
                <a:lnTo>
                  <a:pt x="232" y="113"/>
                </a:lnTo>
                <a:lnTo>
                  <a:pt x="238" y="119"/>
                </a:lnTo>
                <a:lnTo>
                  <a:pt x="238" y="121"/>
                </a:lnTo>
                <a:lnTo>
                  <a:pt x="242" y="121"/>
                </a:lnTo>
                <a:lnTo>
                  <a:pt x="245" y="124"/>
                </a:lnTo>
                <a:lnTo>
                  <a:pt x="247" y="125"/>
                </a:lnTo>
                <a:lnTo>
                  <a:pt x="249" y="128"/>
                </a:lnTo>
                <a:lnTo>
                  <a:pt x="256" y="127"/>
                </a:lnTo>
                <a:lnTo>
                  <a:pt x="256" y="130"/>
                </a:lnTo>
                <a:lnTo>
                  <a:pt x="263" y="137"/>
                </a:lnTo>
                <a:lnTo>
                  <a:pt x="258" y="137"/>
                </a:lnTo>
                <a:lnTo>
                  <a:pt x="256" y="136"/>
                </a:lnTo>
                <a:lnTo>
                  <a:pt x="255" y="135"/>
                </a:lnTo>
                <a:lnTo>
                  <a:pt x="255" y="139"/>
                </a:lnTo>
                <a:lnTo>
                  <a:pt x="257" y="140"/>
                </a:lnTo>
                <a:lnTo>
                  <a:pt x="258" y="141"/>
                </a:lnTo>
                <a:lnTo>
                  <a:pt x="258" y="143"/>
                </a:lnTo>
                <a:lnTo>
                  <a:pt x="256" y="146"/>
                </a:lnTo>
                <a:lnTo>
                  <a:pt x="256" y="148"/>
                </a:lnTo>
                <a:lnTo>
                  <a:pt x="255" y="149"/>
                </a:lnTo>
                <a:lnTo>
                  <a:pt x="255" y="151"/>
                </a:lnTo>
                <a:lnTo>
                  <a:pt x="252" y="151"/>
                </a:lnTo>
                <a:lnTo>
                  <a:pt x="252" y="152"/>
                </a:lnTo>
                <a:lnTo>
                  <a:pt x="253" y="152"/>
                </a:lnTo>
                <a:lnTo>
                  <a:pt x="255" y="153"/>
                </a:lnTo>
                <a:lnTo>
                  <a:pt x="246" y="151"/>
                </a:lnTo>
                <a:lnTo>
                  <a:pt x="239" y="145"/>
                </a:lnTo>
                <a:lnTo>
                  <a:pt x="237" y="145"/>
                </a:lnTo>
                <a:lnTo>
                  <a:pt x="236" y="147"/>
                </a:lnTo>
                <a:lnTo>
                  <a:pt x="234" y="147"/>
                </a:lnTo>
                <a:lnTo>
                  <a:pt x="232" y="146"/>
                </a:lnTo>
                <a:lnTo>
                  <a:pt x="228" y="141"/>
                </a:lnTo>
                <a:lnTo>
                  <a:pt x="226" y="140"/>
                </a:lnTo>
                <a:lnTo>
                  <a:pt x="225" y="141"/>
                </a:lnTo>
                <a:lnTo>
                  <a:pt x="225" y="142"/>
                </a:lnTo>
                <a:lnTo>
                  <a:pt x="227" y="145"/>
                </a:lnTo>
                <a:lnTo>
                  <a:pt x="230" y="148"/>
                </a:lnTo>
                <a:lnTo>
                  <a:pt x="238" y="151"/>
                </a:lnTo>
                <a:lnTo>
                  <a:pt x="240" y="149"/>
                </a:lnTo>
                <a:lnTo>
                  <a:pt x="243" y="149"/>
                </a:lnTo>
                <a:lnTo>
                  <a:pt x="243" y="153"/>
                </a:lnTo>
                <a:lnTo>
                  <a:pt x="245" y="154"/>
                </a:lnTo>
                <a:lnTo>
                  <a:pt x="249" y="156"/>
                </a:lnTo>
                <a:lnTo>
                  <a:pt x="250" y="158"/>
                </a:lnTo>
                <a:lnTo>
                  <a:pt x="250" y="159"/>
                </a:lnTo>
                <a:lnTo>
                  <a:pt x="249" y="159"/>
                </a:lnTo>
                <a:lnTo>
                  <a:pt x="237" y="154"/>
                </a:lnTo>
                <a:lnTo>
                  <a:pt x="224" y="149"/>
                </a:lnTo>
                <a:lnTo>
                  <a:pt x="219" y="145"/>
                </a:lnTo>
                <a:lnTo>
                  <a:pt x="219" y="147"/>
                </a:lnTo>
                <a:lnTo>
                  <a:pt x="224" y="149"/>
                </a:lnTo>
                <a:lnTo>
                  <a:pt x="221" y="151"/>
                </a:lnTo>
                <a:lnTo>
                  <a:pt x="219" y="149"/>
                </a:lnTo>
                <a:lnTo>
                  <a:pt x="215" y="146"/>
                </a:lnTo>
                <a:lnTo>
                  <a:pt x="214" y="142"/>
                </a:lnTo>
                <a:lnTo>
                  <a:pt x="215" y="141"/>
                </a:lnTo>
                <a:lnTo>
                  <a:pt x="215" y="137"/>
                </a:lnTo>
                <a:lnTo>
                  <a:pt x="218" y="137"/>
                </a:lnTo>
                <a:lnTo>
                  <a:pt x="218" y="135"/>
                </a:lnTo>
                <a:lnTo>
                  <a:pt x="213" y="135"/>
                </a:lnTo>
                <a:lnTo>
                  <a:pt x="213" y="137"/>
                </a:lnTo>
                <a:lnTo>
                  <a:pt x="212" y="139"/>
                </a:lnTo>
                <a:lnTo>
                  <a:pt x="212" y="140"/>
                </a:lnTo>
                <a:lnTo>
                  <a:pt x="211" y="140"/>
                </a:lnTo>
                <a:lnTo>
                  <a:pt x="207" y="137"/>
                </a:lnTo>
                <a:lnTo>
                  <a:pt x="205" y="136"/>
                </a:lnTo>
                <a:lnTo>
                  <a:pt x="202" y="136"/>
                </a:lnTo>
                <a:lnTo>
                  <a:pt x="203" y="137"/>
                </a:lnTo>
                <a:lnTo>
                  <a:pt x="203" y="139"/>
                </a:lnTo>
                <a:lnTo>
                  <a:pt x="205" y="140"/>
                </a:lnTo>
                <a:lnTo>
                  <a:pt x="207" y="140"/>
                </a:lnTo>
                <a:lnTo>
                  <a:pt x="207" y="141"/>
                </a:lnTo>
                <a:lnTo>
                  <a:pt x="202" y="140"/>
                </a:lnTo>
                <a:lnTo>
                  <a:pt x="202" y="142"/>
                </a:lnTo>
                <a:lnTo>
                  <a:pt x="203" y="143"/>
                </a:lnTo>
                <a:lnTo>
                  <a:pt x="207" y="143"/>
                </a:lnTo>
                <a:lnTo>
                  <a:pt x="206" y="146"/>
                </a:lnTo>
                <a:lnTo>
                  <a:pt x="203" y="146"/>
                </a:lnTo>
                <a:lnTo>
                  <a:pt x="203" y="147"/>
                </a:lnTo>
                <a:lnTo>
                  <a:pt x="205" y="148"/>
                </a:lnTo>
                <a:lnTo>
                  <a:pt x="209" y="148"/>
                </a:lnTo>
                <a:lnTo>
                  <a:pt x="209" y="146"/>
                </a:lnTo>
                <a:lnTo>
                  <a:pt x="207" y="143"/>
                </a:lnTo>
                <a:lnTo>
                  <a:pt x="212" y="145"/>
                </a:lnTo>
                <a:lnTo>
                  <a:pt x="214" y="146"/>
                </a:lnTo>
                <a:lnTo>
                  <a:pt x="215" y="149"/>
                </a:lnTo>
                <a:lnTo>
                  <a:pt x="213" y="149"/>
                </a:lnTo>
                <a:lnTo>
                  <a:pt x="213" y="151"/>
                </a:lnTo>
                <a:lnTo>
                  <a:pt x="218" y="153"/>
                </a:lnTo>
                <a:lnTo>
                  <a:pt x="221" y="154"/>
                </a:lnTo>
                <a:lnTo>
                  <a:pt x="221" y="158"/>
                </a:lnTo>
                <a:lnTo>
                  <a:pt x="219" y="158"/>
                </a:lnTo>
                <a:lnTo>
                  <a:pt x="215" y="161"/>
                </a:lnTo>
                <a:lnTo>
                  <a:pt x="214" y="161"/>
                </a:lnTo>
                <a:lnTo>
                  <a:pt x="211" y="159"/>
                </a:lnTo>
                <a:lnTo>
                  <a:pt x="215" y="159"/>
                </a:lnTo>
                <a:lnTo>
                  <a:pt x="213" y="158"/>
                </a:lnTo>
                <a:lnTo>
                  <a:pt x="213" y="156"/>
                </a:lnTo>
                <a:lnTo>
                  <a:pt x="214" y="158"/>
                </a:lnTo>
                <a:lnTo>
                  <a:pt x="216" y="158"/>
                </a:lnTo>
                <a:lnTo>
                  <a:pt x="218" y="156"/>
                </a:lnTo>
                <a:lnTo>
                  <a:pt x="216" y="154"/>
                </a:lnTo>
                <a:lnTo>
                  <a:pt x="214" y="154"/>
                </a:lnTo>
                <a:lnTo>
                  <a:pt x="212" y="155"/>
                </a:lnTo>
                <a:lnTo>
                  <a:pt x="208" y="154"/>
                </a:lnTo>
                <a:lnTo>
                  <a:pt x="206" y="153"/>
                </a:lnTo>
                <a:lnTo>
                  <a:pt x="200" y="147"/>
                </a:lnTo>
                <a:lnTo>
                  <a:pt x="197" y="146"/>
                </a:lnTo>
                <a:lnTo>
                  <a:pt x="195" y="148"/>
                </a:lnTo>
                <a:lnTo>
                  <a:pt x="200" y="151"/>
                </a:lnTo>
                <a:lnTo>
                  <a:pt x="201" y="153"/>
                </a:lnTo>
                <a:lnTo>
                  <a:pt x="201" y="155"/>
                </a:lnTo>
                <a:lnTo>
                  <a:pt x="199" y="154"/>
                </a:lnTo>
                <a:lnTo>
                  <a:pt x="195" y="152"/>
                </a:lnTo>
                <a:lnTo>
                  <a:pt x="193" y="147"/>
                </a:lnTo>
                <a:lnTo>
                  <a:pt x="190" y="145"/>
                </a:lnTo>
                <a:lnTo>
                  <a:pt x="187" y="143"/>
                </a:lnTo>
                <a:lnTo>
                  <a:pt x="186" y="142"/>
                </a:lnTo>
                <a:lnTo>
                  <a:pt x="188" y="148"/>
                </a:lnTo>
                <a:lnTo>
                  <a:pt x="194" y="152"/>
                </a:lnTo>
                <a:lnTo>
                  <a:pt x="196" y="156"/>
                </a:lnTo>
                <a:lnTo>
                  <a:pt x="195" y="158"/>
                </a:lnTo>
                <a:lnTo>
                  <a:pt x="191" y="154"/>
                </a:lnTo>
                <a:lnTo>
                  <a:pt x="190" y="154"/>
                </a:lnTo>
                <a:lnTo>
                  <a:pt x="189" y="156"/>
                </a:lnTo>
                <a:lnTo>
                  <a:pt x="188" y="155"/>
                </a:lnTo>
                <a:lnTo>
                  <a:pt x="188" y="153"/>
                </a:lnTo>
                <a:lnTo>
                  <a:pt x="182" y="153"/>
                </a:lnTo>
                <a:lnTo>
                  <a:pt x="181" y="152"/>
                </a:lnTo>
                <a:lnTo>
                  <a:pt x="182" y="151"/>
                </a:lnTo>
                <a:lnTo>
                  <a:pt x="181" y="148"/>
                </a:lnTo>
                <a:lnTo>
                  <a:pt x="183" y="149"/>
                </a:lnTo>
                <a:lnTo>
                  <a:pt x="184" y="149"/>
                </a:lnTo>
                <a:lnTo>
                  <a:pt x="186" y="148"/>
                </a:lnTo>
                <a:lnTo>
                  <a:pt x="184" y="146"/>
                </a:lnTo>
                <a:lnTo>
                  <a:pt x="183" y="142"/>
                </a:lnTo>
                <a:lnTo>
                  <a:pt x="183" y="141"/>
                </a:lnTo>
                <a:lnTo>
                  <a:pt x="180" y="140"/>
                </a:lnTo>
                <a:lnTo>
                  <a:pt x="178" y="136"/>
                </a:lnTo>
                <a:lnTo>
                  <a:pt x="177" y="137"/>
                </a:lnTo>
                <a:lnTo>
                  <a:pt x="177" y="140"/>
                </a:lnTo>
                <a:lnTo>
                  <a:pt x="180" y="140"/>
                </a:lnTo>
                <a:lnTo>
                  <a:pt x="182" y="145"/>
                </a:lnTo>
                <a:lnTo>
                  <a:pt x="172" y="140"/>
                </a:lnTo>
                <a:lnTo>
                  <a:pt x="171" y="139"/>
                </a:lnTo>
                <a:lnTo>
                  <a:pt x="170" y="136"/>
                </a:lnTo>
                <a:lnTo>
                  <a:pt x="170" y="135"/>
                </a:lnTo>
                <a:lnTo>
                  <a:pt x="169" y="135"/>
                </a:lnTo>
                <a:lnTo>
                  <a:pt x="169" y="136"/>
                </a:lnTo>
                <a:lnTo>
                  <a:pt x="166" y="139"/>
                </a:lnTo>
                <a:lnTo>
                  <a:pt x="166" y="141"/>
                </a:lnTo>
                <a:lnTo>
                  <a:pt x="168" y="141"/>
                </a:lnTo>
                <a:lnTo>
                  <a:pt x="170" y="143"/>
                </a:lnTo>
                <a:lnTo>
                  <a:pt x="171" y="147"/>
                </a:lnTo>
                <a:lnTo>
                  <a:pt x="170" y="147"/>
                </a:lnTo>
                <a:lnTo>
                  <a:pt x="169" y="143"/>
                </a:lnTo>
                <a:lnTo>
                  <a:pt x="163" y="143"/>
                </a:lnTo>
                <a:lnTo>
                  <a:pt x="162" y="145"/>
                </a:lnTo>
                <a:lnTo>
                  <a:pt x="162" y="148"/>
                </a:lnTo>
                <a:lnTo>
                  <a:pt x="164" y="152"/>
                </a:lnTo>
                <a:lnTo>
                  <a:pt x="164" y="153"/>
                </a:lnTo>
                <a:lnTo>
                  <a:pt x="163" y="153"/>
                </a:lnTo>
                <a:lnTo>
                  <a:pt x="163" y="156"/>
                </a:lnTo>
                <a:lnTo>
                  <a:pt x="160" y="156"/>
                </a:lnTo>
                <a:lnTo>
                  <a:pt x="160" y="159"/>
                </a:lnTo>
                <a:lnTo>
                  <a:pt x="158" y="160"/>
                </a:lnTo>
                <a:lnTo>
                  <a:pt x="156" y="158"/>
                </a:lnTo>
                <a:lnTo>
                  <a:pt x="153" y="154"/>
                </a:lnTo>
                <a:lnTo>
                  <a:pt x="151" y="152"/>
                </a:lnTo>
                <a:lnTo>
                  <a:pt x="151" y="149"/>
                </a:lnTo>
                <a:lnTo>
                  <a:pt x="147" y="149"/>
                </a:lnTo>
                <a:lnTo>
                  <a:pt x="147" y="148"/>
                </a:lnTo>
                <a:lnTo>
                  <a:pt x="146" y="147"/>
                </a:lnTo>
                <a:lnTo>
                  <a:pt x="143" y="146"/>
                </a:lnTo>
                <a:lnTo>
                  <a:pt x="143" y="145"/>
                </a:lnTo>
                <a:lnTo>
                  <a:pt x="140" y="142"/>
                </a:lnTo>
                <a:lnTo>
                  <a:pt x="140" y="141"/>
                </a:lnTo>
                <a:lnTo>
                  <a:pt x="139" y="139"/>
                </a:lnTo>
                <a:lnTo>
                  <a:pt x="139" y="134"/>
                </a:lnTo>
                <a:lnTo>
                  <a:pt x="138" y="133"/>
                </a:lnTo>
                <a:lnTo>
                  <a:pt x="134" y="131"/>
                </a:lnTo>
                <a:lnTo>
                  <a:pt x="133" y="128"/>
                </a:lnTo>
                <a:lnTo>
                  <a:pt x="131" y="125"/>
                </a:lnTo>
                <a:lnTo>
                  <a:pt x="132" y="128"/>
                </a:lnTo>
                <a:lnTo>
                  <a:pt x="133" y="129"/>
                </a:lnTo>
                <a:lnTo>
                  <a:pt x="133" y="131"/>
                </a:lnTo>
                <a:lnTo>
                  <a:pt x="131" y="130"/>
                </a:lnTo>
                <a:lnTo>
                  <a:pt x="129" y="130"/>
                </a:lnTo>
                <a:lnTo>
                  <a:pt x="129" y="137"/>
                </a:lnTo>
                <a:lnTo>
                  <a:pt x="137" y="142"/>
                </a:lnTo>
                <a:lnTo>
                  <a:pt x="135" y="142"/>
                </a:lnTo>
                <a:lnTo>
                  <a:pt x="135" y="143"/>
                </a:lnTo>
                <a:lnTo>
                  <a:pt x="137" y="145"/>
                </a:lnTo>
                <a:lnTo>
                  <a:pt x="139" y="145"/>
                </a:lnTo>
                <a:lnTo>
                  <a:pt x="140" y="146"/>
                </a:lnTo>
                <a:lnTo>
                  <a:pt x="141" y="148"/>
                </a:lnTo>
                <a:lnTo>
                  <a:pt x="137" y="147"/>
                </a:lnTo>
                <a:lnTo>
                  <a:pt x="133" y="145"/>
                </a:lnTo>
                <a:lnTo>
                  <a:pt x="132" y="143"/>
                </a:lnTo>
                <a:lnTo>
                  <a:pt x="132" y="140"/>
                </a:lnTo>
                <a:lnTo>
                  <a:pt x="129" y="140"/>
                </a:lnTo>
                <a:lnTo>
                  <a:pt x="121" y="131"/>
                </a:lnTo>
                <a:lnTo>
                  <a:pt x="121" y="136"/>
                </a:lnTo>
                <a:lnTo>
                  <a:pt x="120" y="137"/>
                </a:lnTo>
                <a:lnTo>
                  <a:pt x="119" y="137"/>
                </a:lnTo>
                <a:lnTo>
                  <a:pt x="115" y="134"/>
                </a:lnTo>
                <a:lnTo>
                  <a:pt x="113" y="136"/>
                </a:lnTo>
                <a:lnTo>
                  <a:pt x="112" y="135"/>
                </a:lnTo>
                <a:lnTo>
                  <a:pt x="109" y="134"/>
                </a:lnTo>
                <a:lnTo>
                  <a:pt x="103" y="125"/>
                </a:lnTo>
                <a:lnTo>
                  <a:pt x="102" y="125"/>
                </a:lnTo>
                <a:lnTo>
                  <a:pt x="102" y="128"/>
                </a:lnTo>
                <a:lnTo>
                  <a:pt x="101" y="128"/>
                </a:lnTo>
                <a:lnTo>
                  <a:pt x="98" y="129"/>
                </a:lnTo>
                <a:lnTo>
                  <a:pt x="97" y="129"/>
                </a:lnTo>
                <a:lnTo>
                  <a:pt x="97" y="128"/>
                </a:lnTo>
                <a:lnTo>
                  <a:pt x="94" y="124"/>
                </a:lnTo>
                <a:lnTo>
                  <a:pt x="91" y="124"/>
                </a:lnTo>
                <a:lnTo>
                  <a:pt x="90" y="123"/>
                </a:lnTo>
                <a:lnTo>
                  <a:pt x="91" y="123"/>
                </a:lnTo>
                <a:lnTo>
                  <a:pt x="91" y="122"/>
                </a:lnTo>
                <a:lnTo>
                  <a:pt x="90" y="122"/>
                </a:lnTo>
                <a:lnTo>
                  <a:pt x="90" y="128"/>
                </a:lnTo>
                <a:lnTo>
                  <a:pt x="89" y="127"/>
                </a:lnTo>
                <a:lnTo>
                  <a:pt x="87" y="125"/>
                </a:lnTo>
                <a:lnTo>
                  <a:pt x="84" y="122"/>
                </a:lnTo>
                <a:lnTo>
                  <a:pt x="83" y="121"/>
                </a:lnTo>
                <a:lnTo>
                  <a:pt x="79" y="119"/>
                </a:lnTo>
                <a:lnTo>
                  <a:pt x="89" y="119"/>
                </a:lnTo>
                <a:lnTo>
                  <a:pt x="90" y="118"/>
                </a:lnTo>
                <a:lnTo>
                  <a:pt x="90" y="117"/>
                </a:lnTo>
                <a:lnTo>
                  <a:pt x="91" y="117"/>
                </a:lnTo>
                <a:lnTo>
                  <a:pt x="93" y="118"/>
                </a:lnTo>
                <a:lnTo>
                  <a:pt x="95" y="122"/>
                </a:lnTo>
                <a:lnTo>
                  <a:pt x="95" y="124"/>
                </a:lnTo>
                <a:lnTo>
                  <a:pt x="96" y="124"/>
                </a:lnTo>
                <a:lnTo>
                  <a:pt x="97" y="123"/>
                </a:lnTo>
                <a:lnTo>
                  <a:pt x="96" y="121"/>
                </a:lnTo>
                <a:lnTo>
                  <a:pt x="95" y="119"/>
                </a:lnTo>
                <a:lnTo>
                  <a:pt x="95" y="117"/>
                </a:lnTo>
                <a:lnTo>
                  <a:pt x="97" y="112"/>
                </a:lnTo>
                <a:lnTo>
                  <a:pt x="97" y="111"/>
                </a:lnTo>
                <a:lnTo>
                  <a:pt x="98" y="110"/>
                </a:lnTo>
                <a:lnTo>
                  <a:pt x="97" y="106"/>
                </a:lnTo>
                <a:lnTo>
                  <a:pt x="95" y="102"/>
                </a:lnTo>
                <a:lnTo>
                  <a:pt x="90" y="97"/>
                </a:lnTo>
                <a:lnTo>
                  <a:pt x="88" y="93"/>
                </a:lnTo>
                <a:lnTo>
                  <a:pt x="88" y="91"/>
                </a:lnTo>
                <a:lnTo>
                  <a:pt x="90" y="92"/>
                </a:lnTo>
                <a:lnTo>
                  <a:pt x="96" y="92"/>
                </a:lnTo>
                <a:lnTo>
                  <a:pt x="95" y="91"/>
                </a:lnTo>
                <a:lnTo>
                  <a:pt x="96" y="90"/>
                </a:lnTo>
                <a:lnTo>
                  <a:pt x="98" y="92"/>
                </a:lnTo>
                <a:lnTo>
                  <a:pt x="101" y="92"/>
                </a:lnTo>
                <a:lnTo>
                  <a:pt x="106" y="96"/>
                </a:lnTo>
                <a:lnTo>
                  <a:pt x="107" y="96"/>
                </a:lnTo>
                <a:lnTo>
                  <a:pt x="102" y="88"/>
                </a:lnTo>
                <a:lnTo>
                  <a:pt x="101" y="85"/>
                </a:lnTo>
                <a:lnTo>
                  <a:pt x="107" y="84"/>
                </a:lnTo>
                <a:lnTo>
                  <a:pt x="109" y="85"/>
                </a:lnTo>
                <a:lnTo>
                  <a:pt x="112" y="87"/>
                </a:lnTo>
                <a:lnTo>
                  <a:pt x="108" y="86"/>
                </a:lnTo>
                <a:lnTo>
                  <a:pt x="107" y="86"/>
                </a:lnTo>
                <a:lnTo>
                  <a:pt x="106" y="88"/>
                </a:lnTo>
                <a:lnTo>
                  <a:pt x="107" y="90"/>
                </a:lnTo>
                <a:lnTo>
                  <a:pt x="109" y="88"/>
                </a:lnTo>
                <a:lnTo>
                  <a:pt x="113" y="90"/>
                </a:lnTo>
                <a:lnTo>
                  <a:pt x="119" y="87"/>
                </a:lnTo>
                <a:lnTo>
                  <a:pt x="120" y="87"/>
                </a:lnTo>
                <a:lnTo>
                  <a:pt x="119" y="86"/>
                </a:lnTo>
                <a:lnTo>
                  <a:pt x="119" y="85"/>
                </a:lnTo>
                <a:lnTo>
                  <a:pt x="118" y="85"/>
                </a:lnTo>
                <a:lnTo>
                  <a:pt x="116" y="86"/>
                </a:lnTo>
                <a:lnTo>
                  <a:pt x="115" y="86"/>
                </a:lnTo>
                <a:lnTo>
                  <a:pt x="112" y="85"/>
                </a:lnTo>
                <a:lnTo>
                  <a:pt x="110" y="84"/>
                </a:lnTo>
                <a:lnTo>
                  <a:pt x="109" y="81"/>
                </a:lnTo>
                <a:lnTo>
                  <a:pt x="110" y="81"/>
                </a:lnTo>
                <a:lnTo>
                  <a:pt x="110" y="79"/>
                </a:lnTo>
                <a:lnTo>
                  <a:pt x="112" y="78"/>
                </a:lnTo>
                <a:lnTo>
                  <a:pt x="113" y="78"/>
                </a:lnTo>
                <a:lnTo>
                  <a:pt x="112" y="75"/>
                </a:lnTo>
                <a:lnTo>
                  <a:pt x="115" y="75"/>
                </a:lnTo>
                <a:lnTo>
                  <a:pt x="112" y="72"/>
                </a:lnTo>
                <a:lnTo>
                  <a:pt x="110" y="73"/>
                </a:lnTo>
                <a:lnTo>
                  <a:pt x="110" y="74"/>
                </a:lnTo>
                <a:lnTo>
                  <a:pt x="108" y="79"/>
                </a:lnTo>
                <a:lnTo>
                  <a:pt x="107" y="80"/>
                </a:lnTo>
                <a:lnTo>
                  <a:pt x="106" y="80"/>
                </a:lnTo>
                <a:lnTo>
                  <a:pt x="104" y="79"/>
                </a:lnTo>
                <a:lnTo>
                  <a:pt x="104" y="76"/>
                </a:lnTo>
                <a:lnTo>
                  <a:pt x="103" y="75"/>
                </a:lnTo>
                <a:lnTo>
                  <a:pt x="101" y="75"/>
                </a:lnTo>
                <a:lnTo>
                  <a:pt x="102" y="76"/>
                </a:lnTo>
                <a:lnTo>
                  <a:pt x="102" y="82"/>
                </a:lnTo>
                <a:lnTo>
                  <a:pt x="101" y="82"/>
                </a:lnTo>
                <a:lnTo>
                  <a:pt x="98" y="80"/>
                </a:lnTo>
                <a:lnTo>
                  <a:pt x="97" y="80"/>
                </a:lnTo>
                <a:lnTo>
                  <a:pt x="97" y="78"/>
                </a:lnTo>
                <a:lnTo>
                  <a:pt x="95" y="76"/>
                </a:lnTo>
                <a:lnTo>
                  <a:pt x="95" y="75"/>
                </a:lnTo>
                <a:lnTo>
                  <a:pt x="94" y="75"/>
                </a:lnTo>
                <a:lnTo>
                  <a:pt x="91" y="76"/>
                </a:lnTo>
                <a:lnTo>
                  <a:pt x="90" y="75"/>
                </a:lnTo>
                <a:lnTo>
                  <a:pt x="90" y="74"/>
                </a:lnTo>
                <a:lnTo>
                  <a:pt x="89" y="73"/>
                </a:lnTo>
                <a:lnTo>
                  <a:pt x="87" y="69"/>
                </a:lnTo>
                <a:lnTo>
                  <a:pt x="87" y="68"/>
                </a:lnTo>
                <a:lnTo>
                  <a:pt x="91" y="65"/>
                </a:lnTo>
                <a:lnTo>
                  <a:pt x="93" y="63"/>
                </a:lnTo>
                <a:lnTo>
                  <a:pt x="93" y="61"/>
                </a:lnTo>
                <a:lnTo>
                  <a:pt x="95" y="57"/>
                </a:lnTo>
                <a:lnTo>
                  <a:pt x="95" y="54"/>
                </a:lnTo>
                <a:lnTo>
                  <a:pt x="96" y="50"/>
                </a:lnTo>
                <a:lnTo>
                  <a:pt x="97" y="49"/>
                </a:lnTo>
                <a:lnTo>
                  <a:pt x="104" y="48"/>
                </a:lnTo>
                <a:lnTo>
                  <a:pt x="106" y="45"/>
                </a:lnTo>
                <a:lnTo>
                  <a:pt x="107" y="42"/>
                </a:lnTo>
                <a:lnTo>
                  <a:pt x="106" y="41"/>
                </a:lnTo>
                <a:lnTo>
                  <a:pt x="104" y="41"/>
                </a:lnTo>
                <a:lnTo>
                  <a:pt x="104" y="42"/>
                </a:lnTo>
                <a:lnTo>
                  <a:pt x="102" y="45"/>
                </a:lnTo>
                <a:lnTo>
                  <a:pt x="91" y="51"/>
                </a:lnTo>
                <a:lnTo>
                  <a:pt x="90" y="53"/>
                </a:lnTo>
                <a:lnTo>
                  <a:pt x="90" y="61"/>
                </a:lnTo>
                <a:lnTo>
                  <a:pt x="88" y="63"/>
                </a:lnTo>
                <a:lnTo>
                  <a:pt x="84" y="62"/>
                </a:lnTo>
                <a:lnTo>
                  <a:pt x="82" y="60"/>
                </a:lnTo>
                <a:lnTo>
                  <a:pt x="82" y="55"/>
                </a:lnTo>
                <a:lnTo>
                  <a:pt x="81" y="51"/>
                </a:lnTo>
                <a:lnTo>
                  <a:pt x="78" y="43"/>
                </a:lnTo>
                <a:lnTo>
                  <a:pt x="81" y="41"/>
                </a:lnTo>
                <a:lnTo>
                  <a:pt x="81" y="37"/>
                </a:lnTo>
                <a:lnTo>
                  <a:pt x="82" y="35"/>
                </a:lnTo>
                <a:lnTo>
                  <a:pt x="85" y="31"/>
                </a:lnTo>
                <a:lnTo>
                  <a:pt x="83" y="27"/>
                </a:lnTo>
                <a:lnTo>
                  <a:pt x="82" y="27"/>
                </a:lnTo>
                <a:lnTo>
                  <a:pt x="76" y="36"/>
                </a:lnTo>
                <a:lnTo>
                  <a:pt x="75" y="38"/>
                </a:lnTo>
                <a:lnTo>
                  <a:pt x="73" y="42"/>
                </a:lnTo>
                <a:lnTo>
                  <a:pt x="73" y="45"/>
                </a:lnTo>
                <a:lnTo>
                  <a:pt x="72" y="47"/>
                </a:lnTo>
                <a:lnTo>
                  <a:pt x="72" y="48"/>
                </a:lnTo>
                <a:lnTo>
                  <a:pt x="71" y="47"/>
                </a:lnTo>
                <a:lnTo>
                  <a:pt x="71" y="42"/>
                </a:lnTo>
                <a:lnTo>
                  <a:pt x="69" y="39"/>
                </a:lnTo>
                <a:lnTo>
                  <a:pt x="70" y="37"/>
                </a:lnTo>
                <a:lnTo>
                  <a:pt x="69" y="37"/>
                </a:lnTo>
                <a:lnTo>
                  <a:pt x="68" y="38"/>
                </a:lnTo>
                <a:lnTo>
                  <a:pt x="68" y="41"/>
                </a:lnTo>
                <a:lnTo>
                  <a:pt x="69" y="42"/>
                </a:lnTo>
                <a:lnTo>
                  <a:pt x="69" y="44"/>
                </a:lnTo>
                <a:lnTo>
                  <a:pt x="66" y="44"/>
                </a:lnTo>
                <a:lnTo>
                  <a:pt x="66" y="49"/>
                </a:lnTo>
                <a:lnTo>
                  <a:pt x="65" y="50"/>
                </a:lnTo>
                <a:lnTo>
                  <a:pt x="65" y="49"/>
                </a:lnTo>
                <a:lnTo>
                  <a:pt x="64" y="49"/>
                </a:lnTo>
                <a:lnTo>
                  <a:pt x="63" y="51"/>
                </a:lnTo>
                <a:lnTo>
                  <a:pt x="62" y="51"/>
                </a:lnTo>
                <a:lnTo>
                  <a:pt x="62" y="43"/>
                </a:lnTo>
                <a:lnTo>
                  <a:pt x="59" y="41"/>
                </a:lnTo>
                <a:lnTo>
                  <a:pt x="58" y="42"/>
                </a:lnTo>
                <a:lnTo>
                  <a:pt x="59" y="47"/>
                </a:lnTo>
                <a:lnTo>
                  <a:pt x="57" y="45"/>
                </a:lnTo>
                <a:lnTo>
                  <a:pt x="56" y="44"/>
                </a:lnTo>
                <a:lnTo>
                  <a:pt x="56" y="38"/>
                </a:lnTo>
                <a:lnTo>
                  <a:pt x="52" y="42"/>
                </a:lnTo>
                <a:lnTo>
                  <a:pt x="51" y="41"/>
                </a:lnTo>
                <a:lnTo>
                  <a:pt x="51" y="38"/>
                </a:lnTo>
                <a:lnTo>
                  <a:pt x="52" y="36"/>
                </a:lnTo>
                <a:lnTo>
                  <a:pt x="52" y="31"/>
                </a:lnTo>
                <a:lnTo>
                  <a:pt x="51" y="29"/>
                </a:lnTo>
                <a:lnTo>
                  <a:pt x="50" y="27"/>
                </a:lnTo>
                <a:lnTo>
                  <a:pt x="48" y="25"/>
                </a:lnTo>
                <a:lnTo>
                  <a:pt x="48" y="19"/>
                </a:lnTo>
                <a:lnTo>
                  <a:pt x="47" y="20"/>
                </a:lnTo>
                <a:lnTo>
                  <a:pt x="46" y="23"/>
                </a:lnTo>
                <a:lnTo>
                  <a:pt x="46" y="29"/>
                </a:lnTo>
                <a:lnTo>
                  <a:pt x="45" y="30"/>
                </a:lnTo>
                <a:lnTo>
                  <a:pt x="41" y="30"/>
                </a:lnTo>
                <a:lnTo>
                  <a:pt x="40" y="32"/>
                </a:lnTo>
                <a:lnTo>
                  <a:pt x="40" y="36"/>
                </a:lnTo>
                <a:lnTo>
                  <a:pt x="42" y="38"/>
                </a:lnTo>
                <a:lnTo>
                  <a:pt x="42" y="41"/>
                </a:lnTo>
                <a:lnTo>
                  <a:pt x="41" y="39"/>
                </a:lnTo>
                <a:lnTo>
                  <a:pt x="39" y="38"/>
                </a:lnTo>
                <a:lnTo>
                  <a:pt x="37" y="35"/>
                </a:lnTo>
                <a:lnTo>
                  <a:pt x="35" y="32"/>
                </a:lnTo>
                <a:lnTo>
                  <a:pt x="37" y="27"/>
                </a:lnTo>
                <a:lnTo>
                  <a:pt x="37" y="25"/>
                </a:lnTo>
                <a:lnTo>
                  <a:pt x="35" y="26"/>
                </a:lnTo>
                <a:lnTo>
                  <a:pt x="33" y="30"/>
                </a:lnTo>
                <a:lnTo>
                  <a:pt x="32" y="31"/>
                </a:lnTo>
                <a:lnTo>
                  <a:pt x="31" y="31"/>
                </a:lnTo>
                <a:lnTo>
                  <a:pt x="32" y="35"/>
                </a:lnTo>
                <a:lnTo>
                  <a:pt x="33" y="37"/>
                </a:lnTo>
                <a:lnTo>
                  <a:pt x="35" y="38"/>
                </a:lnTo>
                <a:lnTo>
                  <a:pt x="37" y="41"/>
                </a:lnTo>
                <a:lnTo>
                  <a:pt x="31" y="39"/>
                </a:lnTo>
                <a:lnTo>
                  <a:pt x="27" y="41"/>
                </a:lnTo>
                <a:lnTo>
                  <a:pt x="23" y="39"/>
                </a:lnTo>
                <a:lnTo>
                  <a:pt x="21" y="42"/>
                </a:lnTo>
                <a:lnTo>
                  <a:pt x="19" y="43"/>
                </a:lnTo>
                <a:lnTo>
                  <a:pt x="16" y="41"/>
                </a:lnTo>
                <a:lnTo>
                  <a:pt x="16" y="38"/>
                </a:lnTo>
                <a:lnTo>
                  <a:pt x="11" y="33"/>
                </a:lnTo>
                <a:lnTo>
                  <a:pt x="8" y="32"/>
                </a:lnTo>
                <a:lnTo>
                  <a:pt x="6" y="29"/>
                </a:lnTo>
                <a:lnTo>
                  <a:pt x="6" y="19"/>
                </a:lnTo>
                <a:lnTo>
                  <a:pt x="4" y="18"/>
                </a:lnTo>
                <a:lnTo>
                  <a:pt x="2" y="11"/>
                </a:lnTo>
                <a:lnTo>
                  <a:pt x="2" y="10"/>
                </a:lnTo>
                <a:lnTo>
                  <a:pt x="3" y="8"/>
                </a:lnTo>
                <a:lnTo>
                  <a:pt x="1" y="6"/>
                </a:lnTo>
                <a:lnTo>
                  <a:pt x="1" y="4"/>
                </a:lnTo>
                <a:lnTo>
                  <a:pt x="0" y="1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" name="Freeform 20">
            <a:extLst>
              <a:ext uri="{FF2B5EF4-FFF2-40B4-BE49-F238E27FC236}">
                <a16:creationId xmlns:a16="http://schemas.microsoft.com/office/drawing/2014/main" id="{E37101A0-865A-4752-9D38-58E5F2A25A2F}"/>
              </a:ext>
            </a:extLst>
          </p:cNvPr>
          <p:cNvSpPr>
            <a:spLocks noEditPoints="1"/>
          </p:cNvSpPr>
          <p:nvPr/>
        </p:nvSpPr>
        <p:spPr bwMode="auto">
          <a:xfrm>
            <a:off x="2469090" y="4878434"/>
            <a:ext cx="578128" cy="405703"/>
          </a:xfrm>
          <a:custGeom>
            <a:avLst/>
            <a:gdLst/>
            <a:ahLst/>
            <a:cxnLst>
              <a:cxn ang="0">
                <a:pos x="366" y="220"/>
              </a:cxn>
              <a:cxn ang="0">
                <a:pos x="274" y="1"/>
              </a:cxn>
              <a:cxn ang="0">
                <a:pos x="287" y="8"/>
              </a:cxn>
              <a:cxn ang="0">
                <a:pos x="291" y="15"/>
              </a:cxn>
              <a:cxn ang="0">
                <a:pos x="294" y="28"/>
              </a:cxn>
              <a:cxn ang="0">
                <a:pos x="303" y="43"/>
              </a:cxn>
              <a:cxn ang="0">
                <a:pos x="310" y="54"/>
              </a:cxn>
              <a:cxn ang="0">
                <a:pos x="318" y="69"/>
              </a:cxn>
              <a:cxn ang="0">
                <a:pos x="331" y="85"/>
              </a:cxn>
              <a:cxn ang="0">
                <a:pos x="337" y="117"/>
              </a:cxn>
              <a:cxn ang="0">
                <a:pos x="331" y="135"/>
              </a:cxn>
              <a:cxn ang="0">
                <a:pos x="334" y="167"/>
              </a:cxn>
              <a:cxn ang="0">
                <a:pos x="343" y="182"/>
              </a:cxn>
              <a:cxn ang="0">
                <a:pos x="361" y="181"/>
              </a:cxn>
              <a:cxn ang="0">
                <a:pos x="375" y="178"/>
              </a:cxn>
              <a:cxn ang="0">
                <a:pos x="397" y="186"/>
              </a:cxn>
              <a:cxn ang="0">
                <a:pos x="397" y="199"/>
              </a:cxn>
              <a:cxn ang="0">
                <a:pos x="378" y="212"/>
              </a:cxn>
              <a:cxn ang="0">
                <a:pos x="375" y="210"/>
              </a:cxn>
              <a:cxn ang="0">
                <a:pos x="368" y="202"/>
              </a:cxn>
              <a:cxn ang="0">
                <a:pos x="367" y="211"/>
              </a:cxn>
              <a:cxn ang="0">
                <a:pos x="360" y="221"/>
              </a:cxn>
              <a:cxn ang="0">
                <a:pos x="359" y="229"/>
              </a:cxn>
              <a:cxn ang="0">
                <a:pos x="358" y="237"/>
              </a:cxn>
              <a:cxn ang="0">
                <a:pos x="355" y="261"/>
              </a:cxn>
              <a:cxn ang="0">
                <a:pos x="322" y="260"/>
              </a:cxn>
              <a:cxn ang="0">
                <a:pos x="297" y="253"/>
              </a:cxn>
              <a:cxn ang="0">
                <a:pos x="272" y="254"/>
              </a:cxn>
              <a:cxn ang="0">
                <a:pos x="235" y="273"/>
              </a:cxn>
              <a:cxn ang="0">
                <a:pos x="214" y="279"/>
              </a:cxn>
              <a:cxn ang="0">
                <a:pos x="173" y="273"/>
              </a:cxn>
              <a:cxn ang="0">
                <a:pos x="123" y="267"/>
              </a:cxn>
              <a:cxn ang="0">
                <a:pos x="116" y="259"/>
              </a:cxn>
              <a:cxn ang="0">
                <a:pos x="100" y="241"/>
              </a:cxn>
              <a:cxn ang="0">
                <a:pos x="100" y="225"/>
              </a:cxn>
              <a:cxn ang="0">
                <a:pos x="92" y="216"/>
              </a:cxn>
              <a:cxn ang="0">
                <a:pos x="77" y="229"/>
              </a:cxn>
              <a:cxn ang="0">
                <a:pos x="58" y="217"/>
              </a:cxn>
              <a:cxn ang="0">
                <a:pos x="52" y="208"/>
              </a:cxn>
              <a:cxn ang="0">
                <a:pos x="49" y="199"/>
              </a:cxn>
              <a:cxn ang="0">
                <a:pos x="42" y="187"/>
              </a:cxn>
              <a:cxn ang="0">
                <a:pos x="25" y="173"/>
              </a:cxn>
              <a:cxn ang="0">
                <a:pos x="21" y="155"/>
              </a:cxn>
              <a:cxn ang="0">
                <a:pos x="8" y="143"/>
              </a:cxn>
              <a:cxn ang="0">
                <a:pos x="11" y="130"/>
              </a:cxn>
              <a:cxn ang="0">
                <a:pos x="26" y="124"/>
              </a:cxn>
              <a:cxn ang="0">
                <a:pos x="38" y="124"/>
              </a:cxn>
              <a:cxn ang="0">
                <a:pos x="44" y="104"/>
              </a:cxn>
              <a:cxn ang="0">
                <a:pos x="54" y="91"/>
              </a:cxn>
              <a:cxn ang="0">
                <a:pos x="58" y="77"/>
              </a:cxn>
              <a:cxn ang="0">
                <a:pos x="70" y="58"/>
              </a:cxn>
              <a:cxn ang="0">
                <a:pos x="87" y="33"/>
              </a:cxn>
              <a:cxn ang="0">
                <a:pos x="111" y="21"/>
              </a:cxn>
              <a:cxn ang="0">
                <a:pos x="122" y="11"/>
              </a:cxn>
              <a:cxn ang="0">
                <a:pos x="145" y="18"/>
              </a:cxn>
              <a:cxn ang="0">
                <a:pos x="168" y="24"/>
              </a:cxn>
              <a:cxn ang="0">
                <a:pos x="192" y="28"/>
              </a:cxn>
              <a:cxn ang="0">
                <a:pos x="237" y="19"/>
              </a:cxn>
              <a:cxn ang="0">
                <a:pos x="255" y="6"/>
              </a:cxn>
            </a:cxnLst>
            <a:rect l="0" t="0" r="r" b="b"/>
            <a:pathLst>
              <a:path w="399" h="280">
                <a:moveTo>
                  <a:pt x="365" y="217"/>
                </a:moveTo>
                <a:lnTo>
                  <a:pt x="368" y="218"/>
                </a:lnTo>
                <a:lnTo>
                  <a:pt x="369" y="220"/>
                </a:lnTo>
                <a:lnTo>
                  <a:pt x="368" y="221"/>
                </a:lnTo>
                <a:lnTo>
                  <a:pt x="368" y="222"/>
                </a:lnTo>
                <a:lnTo>
                  <a:pt x="367" y="222"/>
                </a:lnTo>
                <a:lnTo>
                  <a:pt x="367" y="221"/>
                </a:lnTo>
                <a:lnTo>
                  <a:pt x="368" y="220"/>
                </a:lnTo>
                <a:lnTo>
                  <a:pt x="367" y="218"/>
                </a:lnTo>
                <a:lnTo>
                  <a:pt x="367" y="220"/>
                </a:lnTo>
                <a:lnTo>
                  <a:pt x="366" y="220"/>
                </a:lnTo>
                <a:lnTo>
                  <a:pt x="366" y="221"/>
                </a:lnTo>
                <a:lnTo>
                  <a:pt x="365" y="221"/>
                </a:lnTo>
                <a:lnTo>
                  <a:pt x="362" y="223"/>
                </a:lnTo>
                <a:lnTo>
                  <a:pt x="361" y="223"/>
                </a:lnTo>
                <a:lnTo>
                  <a:pt x="361" y="222"/>
                </a:lnTo>
                <a:lnTo>
                  <a:pt x="363" y="221"/>
                </a:lnTo>
                <a:lnTo>
                  <a:pt x="366" y="218"/>
                </a:lnTo>
                <a:lnTo>
                  <a:pt x="365" y="217"/>
                </a:lnTo>
                <a:close/>
                <a:moveTo>
                  <a:pt x="269" y="0"/>
                </a:moveTo>
                <a:lnTo>
                  <a:pt x="274" y="0"/>
                </a:lnTo>
                <a:lnTo>
                  <a:pt x="274" y="1"/>
                </a:lnTo>
                <a:lnTo>
                  <a:pt x="278" y="1"/>
                </a:lnTo>
                <a:lnTo>
                  <a:pt x="279" y="2"/>
                </a:lnTo>
                <a:lnTo>
                  <a:pt x="281" y="3"/>
                </a:lnTo>
                <a:lnTo>
                  <a:pt x="281" y="5"/>
                </a:lnTo>
                <a:lnTo>
                  <a:pt x="284" y="5"/>
                </a:lnTo>
                <a:lnTo>
                  <a:pt x="284" y="6"/>
                </a:lnTo>
                <a:lnTo>
                  <a:pt x="285" y="6"/>
                </a:lnTo>
                <a:lnTo>
                  <a:pt x="285" y="7"/>
                </a:lnTo>
                <a:lnTo>
                  <a:pt x="284" y="7"/>
                </a:lnTo>
                <a:lnTo>
                  <a:pt x="284" y="8"/>
                </a:lnTo>
                <a:lnTo>
                  <a:pt x="287" y="8"/>
                </a:lnTo>
                <a:lnTo>
                  <a:pt x="287" y="11"/>
                </a:lnTo>
                <a:lnTo>
                  <a:pt x="286" y="11"/>
                </a:lnTo>
                <a:lnTo>
                  <a:pt x="287" y="12"/>
                </a:lnTo>
                <a:lnTo>
                  <a:pt x="287" y="13"/>
                </a:lnTo>
                <a:lnTo>
                  <a:pt x="288" y="14"/>
                </a:lnTo>
                <a:lnTo>
                  <a:pt x="290" y="14"/>
                </a:lnTo>
                <a:lnTo>
                  <a:pt x="290" y="15"/>
                </a:lnTo>
                <a:lnTo>
                  <a:pt x="288" y="15"/>
                </a:lnTo>
                <a:lnTo>
                  <a:pt x="288" y="16"/>
                </a:lnTo>
                <a:lnTo>
                  <a:pt x="290" y="16"/>
                </a:lnTo>
                <a:lnTo>
                  <a:pt x="291" y="15"/>
                </a:lnTo>
                <a:lnTo>
                  <a:pt x="291" y="18"/>
                </a:lnTo>
                <a:lnTo>
                  <a:pt x="292" y="18"/>
                </a:lnTo>
                <a:lnTo>
                  <a:pt x="292" y="20"/>
                </a:lnTo>
                <a:lnTo>
                  <a:pt x="293" y="20"/>
                </a:lnTo>
                <a:lnTo>
                  <a:pt x="292" y="21"/>
                </a:lnTo>
                <a:lnTo>
                  <a:pt x="292" y="22"/>
                </a:lnTo>
                <a:lnTo>
                  <a:pt x="293" y="22"/>
                </a:lnTo>
                <a:lnTo>
                  <a:pt x="294" y="24"/>
                </a:lnTo>
                <a:lnTo>
                  <a:pt x="294" y="26"/>
                </a:lnTo>
                <a:lnTo>
                  <a:pt x="296" y="27"/>
                </a:lnTo>
                <a:lnTo>
                  <a:pt x="294" y="28"/>
                </a:lnTo>
                <a:lnTo>
                  <a:pt x="296" y="30"/>
                </a:lnTo>
                <a:lnTo>
                  <a:pt x="296" y="31"/>
                </a:lnTo>
                <a:lnTo>
                  <a:pt x="298" y="33"/>
                </a:lnTo>
                <a:lnTo>
                  <a:pt x="297" y="33"/>
                </a:lnTo>
                <a:lnTo>
                  <a:pt x="298" y="34"/>
                </a:lnTo>
                <a:lnTo>
                  <a:pt x="297" y="34"/>
                </a:lnTo>
                <a:lnTo>
                  <a:pt x="297" y="36"/>
                </a:lnTo>
                <a:lnTo>
                  <a:pt x="298" y="38"/>
                </a:lnTo>
                <a:lnTo>
                  <a:pt x="300" y="42"/>
                </a:lnTo>
                <a:lnTo>
                  <a:pt x="301" y="43"/>
                </a:lnTo>
                <a:lnTo>
                  <a:pt x="303" y="43"/>
                </a:lnTo>
                <a:lnTo>
                  <a:pt x="304" y="44"/>
                </a:lnTo>
                <a:lnTo>
                  <a:pt x="304" y="46"/>
                </a:lnTo>
                <a:lnTo>
                  <a:pt x="305" y="46"/>
                </a:lnTo>
                <a:lnTo>
                  <a:pt x="305" y="49"/>
                </a:lnTo>
                <a:lnTo>
                  <a:pt x="306" y="49"/>
                </a:lnTo>
                <a:lnTo>
                  <a:pt x="306" y="50"/>
                </a:lnTo>
                <a:lnTo>
                  <a:pt x="310" y="50"/>
                </a:lnTo>
                <a:lnTo>
                  <a:pt x="310" y="51"/>
                </a:lnTo>
                <a:lnTo>
                  <a:pt x="309" y="52"/>
                </a:lnTo>
                <a:lnTo>
                  <a:pt x="309" y="54"/>
                </a:lnTo>
                <a:lnTo>
                  <a:pt x="310" y="54"/>
                </a:lnTo>
                <a:lnTo>
                  <a:pt x="310" y="57"/>
                </a:lnTo>
                <a:lnTo>
                  <a:pt x="311" y="59"/>
                </a:lnTo>
                <a:lnTo>
                  <a:pt x="312" y="61"/>
                </a:lnTo>
                <a:lnTo>
                  <a:pt x="315" y="61"/>
                </a:lnTo>
                <a:lnTo>
                  <a:pt x="315" y="62"/>
                </a:lnTo>
                <a:lnTo>
                  <a:pt x="316" y="62"/>
                </a:lnTo>
                <a:lnTo>
                  <a:pt x="317" y="63"/>
                </a:lnTo>
                <a:lnTo>
                  <a:pt x="317" y="65"/>
                </a:lnTo>
                <a:lnTo>
                  <a:pt x="319" y="68"/>
                </a:lnTo>
                <a:lnTo>
                  <a:pt x="319" y="69"/>
                </a:lnTo>
                <a:lnTo>
                  <a:pt x="318" y="69"/>
                </a:lnTo>
                <a:lnTo>
                  <a:pt x="321" y="71"/>
                </a:lnTo>
                <a:lnTo>
                  <a:pt x="321" y="73"/>
                </a:lnTo>
                <a:lnTo>
                  <a:pt x="322" y="73"/>
                </a:lnTo>
                <a:lnTo>
                  <a:pt x="324" y="75"/>
                </a:lnTo>
                <a:lnTo>
                  <a:pt x="324" y="76"/>
                </a:lnTo>
                <a:lnTo>
                  <a:pt x="325" y="76"/>
                </a:lnTo>
                <a:lnTo>
                  <a:pt x="327" y="77"/>
                </a:lnTo>
                <a:lnTo>
                  <a:pt x="329" y="77"/>
                </a:lnTo>
                <a:lnTo>
                  <a:pt x="329" y="79"/>
                </a:lnTo>
                <a:lnTo>
                  <a:pt x="331" y="81"/>
                </a:lnTo>
                <a:lnTo>
                  <a:pt x="331" y="85"/>
                </a:lnTo>
                <a:lnTo>
                  <a:pt x="332" y="86"/>
                </a:lnTo>
                <a:lnTo>
                  <a:pt x="332" y="89"/>
                </a:lnTo>
                <a:lnTo>
                  <a:pt x="334" y="91"/>
                </a:lnTo>
                <a:lnTo>
                  <a:pt x="335" y="94"/>
                </a:lnTo>
                <a:lnTo>
                  <a:pt x="335" y="95"/>
                </a:lnTo>
                <a:lnTo>
                  <a:pt x="337" y="100"/>
                </a:lnTo>
                <a:lnTo>
                  <a:pt x="337" y="107"/>
                </a:lnTo>
                <a:lnTo>
                  <a:pt x="336" y="107"/>
                </a:lnTo>
                <a:lnTo>
                  <a:pt x="336" y="110"/>
                </a:lnTo>
                <a:lnTo>
                  <a:pt x="337" y="111"/>
                </a:lnTo>
                <a:lnTo>
                  <a:pt x="337" y="117"/>
                </a:lnTo>
                <a:lnTo>
                  <a:pt x="336" y="117"/>
                </a:lnTo>
                <a:lnTo>
                  <a:pt x="336" y="119"/>
                </a:lnTo>
                <a:lnTo>
                  <a:pt x="335" y="119"/>
                </a:lnTo>
                <a:lnTo>
                  <a:pt x="335" y="123"/>
                </a:lnTo>
                <a:lnTo>
                  <a:pt x="334" y="124"/>
                </a:lnTo>
                <a:lnTo>
                  <a:pt x="332" y="124"/>
                </a:lnTo>
                <a:lnTo>
                  <a:pt x="332" y="129"/>
                </a:lnTo>
                <a:lnTo>
                  <a:pt x="334" y="129"/>
                </a:lnTo>
                <a:lnTo>
                  <a:pt x="332" y="131"/>
                </a:lnTo>
                <a:lnTo>
                  <a:pt x="332" y="135"/>
                </a:lnTo>
                <a:lnTo>
                  <a:pt x="331" y="135"/>
                </a:lnTo>
                <a:lnTo>
                  <a:pt x="331" y="141"/>
                </a:lnTo>
                <a:lnTo>
                  <a:pt x="332" y="143"/>
                </a:lnTo>
                <a:lnTo>
                  <a:pt x="332" y="153"/>
                </a:lnTo>
                <a:lnTo>
                  <a:pt x="334" y="154"/>
                </a:lnTo>
                <a:lnTo>
                  <a:pt x="334" y="162"/>
                </a:lnTo>
                <a:lnTo>
                  <a:pt x="335" y="162"/>
                </a:lnTo>
                <a:lnTo>
                  <a:pt x="334" y="163"/>
                </a:lnTo>
                <a:lnTo>
                  <a:pt x="331" y="163"/>
                </a:lnTo>
                <a:lnTo>
                  <a:pt x="330" y="165"/>
                </a:lnTo>
                <a:lnTo>
                  <a:pt x="332" y="166"/>
                </a:lnTo>
                <a:lnTo>
                  <a:pt x="334" y="167"/>
                </a:lnTo>
                <a:lnTo>
                  <a:pt x="334" y="169"/>
                </a:lnTo>
                <a:lnTo>
                  <a:pt x="335" y="171"/>
                </a:lnTo>
                <a:lnTo>
                  <a:pt x="335" y="172"/>
                </a:lnTo>
                <a:lnTo>
                  <a:pt x="336" y="173"/>
                </a:lnTo>
                <a:lnTo>
                  <a:pt x="337" y="173"/>
                </a:lnTo>
                <a:lnTo>
                  <a:pt x="340" y="175"/>
                </a:lnTo>
                <a:lnTo>
                  <a:pt x="340" y="177"/>
                </a:lnTo>
                <a:lnTo>
                  <a:pt x="341" y="180"/>
                </a:lnTo>
                <a:lnTo>
                  <a:pt x="341" y="181"/>
                </a:lnTo>
                <a:lnTo>
                  <a:pt x="342" y="181"/>
                </a:lnTo>
                <a:lnTo>
                  <a:pt x="343" y="182"/>
                </a:lnTo>
                <a:lnTo>
                  <a:pt x="344" y="182"/>
                </a:lnTo>
                <a:lnTo>
                  <a:pt x="348" y="184"/>
                </a:lnTo>
                <a:lnTo>
                  <a:pt x="352" y="186"/>
                </a:lnTo>
                <a:lnTo>
                  <a:pt x="358" y="187"/>
                </a:lnTo>
                <a:lnTo>
                  <a:pt x="359" y="187"/>
                </a:lnTo>
                <a:lnTo>
                  <a:pt x="360" y="186"/>
                </a:lnTo>
                <a:lnTo>
                  <a:pt x="361" y="186"/>
                </a:lnTo>
                <a:lnTo>
                  <a:pt x="360" y="185"/>
                </a:lnTo>
                <a:lnTo>
                  <a:pt x="360" y="184"/>
                </a:lnTo>
                <a:lnTo>
                  <a:pt x="361" y="182"/>
                </a:lnTo>
                <a:lnTo>
                  <a:pt x="361" y="181"/>
                </a:lnTo>
                <a:lnTo>
                  <a:pt x="362" y="181"/>
                </a:lnTo>
                <a:lnTo>
                  <a:pt x="363" y="182"/>
                </a:lnTo>
                <a:lnTo>
                  <a:pt x="365" y="182"/>
                </a:lnTo>
                <a:lnTo>
                  <a:pt x="366" y="184"/>
                </a:lnTo>
                <a:lnTo>
                  <a:pt x="367" y="184"/>
                </a:lnTo>
                <a:lnTo>
                  <a:pt x="368" y="182"/>
                </a:lnTo>
                <a:lnTo>
                  <a:pt x="368" y="181"/>
                </a:lnTo>
                <a:lnTo>
                  <a:pt x="369" y="181"/>
                </a:lnTo>
                <a:lnTo>
                  <a:pt x="372" y="179"/>
                </a:lnTo>
                <a:lnTo>
                  <a:pt x="374" y="179"/>
                </a:lnTo>
                <a:lnTo>
                  <a:pt x="375" y="178"/>
                </a:lnTo>
                <a:lnTo>
                  <a:pt x="377" y="178"/>
                </a:lnTo>
                <a:lnTo>
                  <a:pt x="377" y="177"/>
                </a:lnTo>
                <a:lnTo>
                  <a:pt x="378" y="177"/>
                </a:lnTo>
                <a:lnTo>
                  <a:pt x="378" y="175"/>
                </a:lnTo>
                <a:lnTo>
                  <a:pt x="383" y="175"/>
                </a:lnTo>
                <a:lnTo>
                  <a:pt x="383" y="174"/>
                </a:lnTo>
                <a:lnTo>
                  <a:pt x="387" y="174"/>
                </a:lnTo>
                <a:lnTo>
                  <a:pt x="393" y="177"/>
                </a:lnTo>
                <a:lnTo>
                  <a:pt x="398" y="181"/>
                </a:lnTo>
                <a:lnTo>
                  <a:pt x="398" y="184"/>
                </a:lnTo>
                <a:lnTo>
                  <a:pt x="397" y="186"/>
                </a:lnTo>
                <a:lnTo>
                  <a:pt x="398" y="186"/>
                </a:lnTo>
                <a:lnTo>
                  <a:pt x="398" y="187"/>
                </a:lnTo>
                <a:lnTo>
                  <a:pt x="396" y="187"/>
                </a:lnTo>
                <a:lnTo>
                  <a:pt x="396" y="188"/>
                </a:lnTo>
                <a:lnTo>
                  <a:pt x="397" y="188"/>
                </a:lnTo>
                <a:lnTo>
                  <a:pt x="397" y="190"/>
                </a:lnTo>
                <a:lnTo>
                  <a:pt x="398" y="191"/>
                </a:lnTo>
                <a:lnTo>
                  <a:pt x="399" y="191"/>
                </a:lnTo>
                <a:lnTo>
                  <a:pt x="398" y="192"/>
                </a:lnTo>
                <a:lnTo>
                  <a:pt x="398" y="193"/>
                </a:lnTo>
                <a:lnTo>
                  <a:pt x="397" y="199"/>
                </a:lnTo>
                <a:lnTo>
                  <a:pt x="397" y="203"/>
                </a:lnTo>
                <a:lnTo>
                  <a:pt x="396" y="203"/>
                </a:lnTo>
                <a:lnTo>
                  <a:pt x="396" y="206"/>
                </a:lnTo>
                <a:lnTo>
                  <a:pt x="394" y="208"/>
                </a:lnTo>
                <a:lnTo>
                  <a:pt x="396" y="209"/>
                </a:lnTo>
                <a:lnTo>
                  <a:pt x="396" y="210"/>
                </a:lnTo>
                <a:lnTo>
                  <a:pt x="394" y="210"/>
                </a:lnTo>
                <a:lnTo>
                  <a:pt x="393" y="211"/>
                </a:lnTo>
                <a:lnTo>
                  <a:pt x="391" y="211"/>
                </a:lnTo>
                <a:lnTo>
                  <a:pt x="383" y="212"/>
                </a:lnTo>
                <a:lnTo>
                  <a:pt x="378" y="212"/>
                </a:lnTo>
                <a:lnTo>
                  <a:pt x="377" y="214"/>
                </a:lnTo>
                <a:lnTo>
                  <a:pt x="372" y="216"/>
                </a:lnTo>
                <a:lnTo>
                  <a:pt x="371" y="217"/>
                </a:lnTo>
                <a:lnTo>
                  <a:pt x="369" y="220"/>
                </a:lnTo>
                <a:lnTo>
                  <a:pt x="369" y="217"/>
                </a:lnTo>
                <a:lnTo>
                  <a:pt x="368" y="216"/>
                </a:lnTo>
                <a:lnTo>
                  <a:pt x="369" y="215"/>
                </a:lnTo>
                <a:lnTo>
                  <a:pt x="372" y="215"/>
                </a:lnTo>
                <a:lnTo>
                  <a:pt x="374" y="214"/>
                </a:lnTo>
                <a:lnTo>
                  <a:pt x="375" y="212"/>
                </a:lnTo>
                <a:lnTo>
                  <a:pt x="375" y="210"/>
                </a:lnTo>
                <a:lnTo>
                  <a:pt x="373" y="208"/>
                </a:lnTo>
                <a:lnTo>
                  <a:pt x="374" y="209"/>
                </a:lnTo>
                <a:lnTo>
                  <a:pt x="374" y="210"/>
                </a:lnTo>
                <a:lnTo>
                  <a:pt x="372" y="210"/>
                </a:lnTo>
                <a:lnTo>
                  <a:pt x="372" y="204"/>
                </a:lnTo>
                <a:lnTo>
                  <a:pt x="374" y="203"/>
                </a:lnTo>
                <a:lnTo>
                  <a:pt x="374" y="202"/>
                </a:lnTo>
                <a:lnTo>
                  <a:pt x="372" y="200"/>
                </a:lnTo>
                <a:lnTo>
                  <a:pt x="371" y="200"/>
                </a:lnTo>
                <a:lnTo>
                  <a:pt x="368" y="199"/>
                </a:lnTo>
                <a:lnTo>
                  <a:pt x="368" y="202"/>
                </a:lnTo>
                <a:lnTo>
                  <a:pt x="366" y="202"/>
                </a:lnTo>
                <a:lnTo>
                  <a:pt x="363" y="204"/>
                </a:lnTo>
                <a:lnTo>
                  <a:pt x="363" y="205"/>
                </a:lnTo>
                <a:lnTo>
                  <a:pt x="365" y="205"/>
                </a:lnTo>
                <a:lnTo>
                  <a:pt x="365" y="206"/>
                </a:lnTo>
                <a:lnTo>
                  <a:pt x="363" y="206"/>
                </a:lnTo>
                <a:lnTo>
                  <a:pt x="363" y="208"/>
                </a:lnTo>
                <a:lnTo>
                  <a:pt x="365" y="208"/>
                </a:lnTo>
                <a:lnTo>
                  <a:pt x="365" y="209"/>
                </a:lnTo>
                <a:lnTo>
                  <a:pt x="366" y="209"/>
                </a:lnTo>
                <a:lnTo>
                  <a:pt x="367" y="211"/>
                </a:lnTo>
                <a:lnTo>
                  <a:pt x="366" y="211"/>
                </a:lnTo>
                <a:lnTo>
                  <a:pt x="367" y="212"/>
                </a:lnTo>
                <a:lnTo>
                  <a:pt x="366" y="212"/>
                </a:lnTo>
                <a:lnTo>
                  <a:pt x="366" y="214"/>
                </a:lnTo>
                <a:lnTo>
                  <a:pt x="367" y="214"/>
                </a:lnTo>
                <a:lnTo>
                  <a:pt x="367" y="215"/>
                </a:lnTo>
                <a:lnTo>
                  <a:pt x="363" y="215"/>
                </a:lnTo>
                <a:lnTo>
                  <a:pt x="361" y="217"/>
                </a:lnTo>
                <a:lnTo>
                  <a:pt x="361" y="220"/>
                </a:lnTo>
                <a:lnTo>
                  <a:pt x="360" y="220"/>
                </a:lnTo>
                <a:lnTo>
                  <a:pt x="360" y="221"/>
                </a:lnTo>
                <a:lnTo>
                  <a:pt x="361" y="222"/>
                </a:lnTo>
                <a:lnTo>
                  <a:pt x="360" y="222"/>
                </a:lnTo>
                <a:lnTo>
                  <a:pt x="359" y="223"/>
                </a:lnTo>
                <a:lnTo>
                  <a:pt x="360" y="223"/>
                </a:lnTo>
                <a:lnTo>
                  <a:pt x="360" y="224"/>
                </a:lnTo>
                <a:lnTo>
                  <a:pt x="361" y="225"/>
                </a:lnTo>
                <a:lnTo>
                  <a:pt x="359" y="225"/>
                </a:lnTo>
                <a:lnTo>
                  <a:pt x="359" y="227"/>
                </a:lnTo>
                <a:lnTo>
                  <a:pt x="360" y="227"/>
                </a:lnTo>
                <a:lnTo>
                  <a:pt x="360" y="228"/>
                </a:lnTo>
                <a:lnTo>
                  <a:pt x="359" y="229"/>
                </a:lnTo>
                <a:lnTo>
                  <a:pt x="359" y="233"/>
                </a:lnTo>
                <a:lnTo>
                  <a:pt x="360" y="231"/>
                </a:lnTo>
                <a:lnTo>
                  <a:pt x="360" y="229"/>
                </a:lnTo>
                <a:lnTo>
                  <a:pt x="361" y="229"/>
                </a:lnTo>
                <a:lnTo>
                  <a:pt x="362" y="227"/>
                </a:lnTo>
                <a:lnTo>
                  <a:pt x="363" y="227"/>
                </a:lnTo>
                <a:lnTo>
                  <a:pt x="365" y="225"/>
                </a:lnTo>
                <a:lnTo>
                  <a:pt x="366" y="225"/>
                </a:lnTo>
                <a:lnTo>
                  <a:pt x="363" y="230"/>
                </a:lnTo>
                <a:lnTo>
                  <a:pt x="361" y="231"/>
                </a:lnTo>
                <a:lnTo>
                  <a:pt x="358" y="237"/>
                </a:lnTo>
                <a:lnTo>
                  <a:pt x="356" y="239"/>
                </a:lnTo>
                <a:lnTo>
                  <a:pt x="355" y="239"/>
                </a:lnTo>
                <a:lnTo>
                  <a:pt x="355" y="240"/>
                </a:lnTo>
                <a:lnTo>
                  <a:pt x="354" y="240"/>
                </a:lnTo>
                <a:lnTo>
                  <a:pt x="354" y="245"/>
                </a:lnTo>
                <a:lnTo>
                  <a:pt x="355" y="246"/>
                </a:lnTo>
                <a:lnTo>
                  <a:pt x="355" y="249"/>
                </a:lnTo>
                <a:lnTo>
                  <a:pt x="354" y="249"/>
                </a:lnTo>
                <a:lnTo>
                  <a:pt x="354" y="252"/>
                </a:lnTo>
                <a:lnTo>
                  <a:pt x="355" y="257"/>
                </a:lnTo>
                <a:lnTo>
                  <a:pt x="355" y="261"/>
                </a:lnTo>
                <a:lnTo>
                  <a:pt x="353" y="266"/>
                </a:lnTo>
                <a:lnTo>
                  <a:pt x="353" y="270"/>
                </a:lnTo>
                <a:lnTo>
                  <a:pt x="352" y="271"/>
                </a:lnTo>
                <a:lnTo>
                  <a:pt x="352" y="274"/>
                </a:lnTo>
                <a:lnTo>
                  <a:pt x="346" y="274"/>
                </a:lnTo>
                <a:lnTo>
                  <a:pt x="336" y="273"/>
                </a:lnTo>
                <a:lnTo>
                  <a:pt x="328" y="270"/>
                </a:lnTo>
                <a:lnTo>
                  <a:pt x="327" y="268"/>
                </a:lnTo>
                <a:lnTo>
                  <a:pt x="324" y="261"/>
                </a:lnTo>
                <a:lnTo>
                  <a:pt x="324" y="260"/>
                </a:lnTo>
                <a:lnTo>
                  <a:pt x="322" y="260"/>
                </a:lnTo>
                <a:lnTo>
                  <a:pt x="318" y="261"/>
                </a:lnTo>
                <a:lnTo>
                  <a:pt x="316" y="263"/>
                </a:lnTo>
                <a:lnTo>
                  <a:pt x="313" y="260"/>
                </a:lnTo>
                <a:lnTo>
                  <a:pt x="312" y="258"/>
                </a:lnTo>
                <a:lnTo>
                  <a:pt x="310" y="259"/>
                </a:lnTo>
                <a:lnTo>
                  <a:pt x="301" y="259"/>
                </a:lnTo>
                <a:lnTo>
                  <a:pt x="300" y="258"/>
                </a:lnTo>
                <a:lnTo>
                  <a:pt x="300" y="257"/>
                </a:lnTo>
                <a:lnTo>
                  <a:pt x="299" y="257"/>
                </a:lnTo>
                <a:lnTo>
                  <a:pt x="297" y="255"/>
                </a:lnTo>
                <a:lnTo>
                  <a:pt x="297" y="253"/>
                </a:lnTo>
                <a:lnTo>
                  <a:pt x="296" y="253"/>
                </a:lnTo>
                <a:lnTo>
                  <a:pt x="296" y="252"/>
                </a:lnTo>
                <a:lnTo>
                  <a:pt x="294" y="253"/>
                </a:lnTo>
                <a:lnTo>
                  <a:pt x="294" y="252"/>
                </a:lnTo>
                <a:lnTo>
                  <a:pt x="290" y="251"/>
                </a:lnTo>
                <a:lnTo>
                  <a:pt x="286" y="249"/>
                </a:lnTo>
                <a:lnTo>
                  <a:pt x="285" y="249"/>
                </a:lnTo>
                <a:lnTo>
                  <a:pt x="280" y="251"/>
                </a:lnTo>
                <a:lnTo>
                  <a:pt x="276" y="253"/>
                </a:lnTo>
                <a:lnTo>
                  <a:pt x="273" y="253"/>
                </a:lnTo>
                <a:lnTo>
                  <a:pt x="272" y="254"/>
                </a:lnTo>
                <a:lnTo>
                  <a:pt x="269" y="254"/>
                </a:lnTo>
                <a:lnTo>
                  <a:pt x="261" y="255"/>
                </a:lnTo>
                <a:lnTo>
                  <a:pt x="257" y="257"/>
                </a:lnTo>
                <a:lnTo>
                  <a:pt x="256" y="257"/>
                </a:lnTo>
                <a:lnTo>
                  <a:pt x="249" y="259"/>
                </a:lnTo>
                <a:lnTo>
                  <a:pt x="245" y="263"/>
                </a:lnTo>
                <a:lnTo>
                  <a:pt x="245" y="264"/>
                </a:lnTo>
                <a:lnTo>
                  <a:pt x="241" y="267"/>
                </a:lnTo>
                <a:lnTo>
                  <a:pt x="240" y="267"/>
                </a:lnTo>
                <a:lnTo>
                  <a:pt x="240" y="268"/>
                </a:lnTo>
                <a:lnTo>
                  <a:pt x="235" y="273"/>
                </a:lnTo>
                <a:lnTo>
                  <a:pt x="234" y="276"/>
                </a:lnTo>
                <a:lnTo>
                  <a:pt x="229" y="276"/>
                </a:lnTo>
                <a:lnTo>
                  <a:pt x="229" y="277"/>
                </a:lnTo>
                <a:lnTo>
                  <a:pt x="228" y="277"/>
                </a:lnTo>
                <a:lnTo>
                  <a:pt x="226" y="278"/>
                </a:lnTo>
                <a:lnTo>
                  <a:pt x="225" y="278"/>
                </a:lnTo>
                <a:lnTo>
                  <a:pt x="224" y="279"/>
                </a:lnTo>
                <a:lnTo>
                  <a:pt x="219" y="279"/>
                </a:lnTo>
                <a:lnTo>
                  <a:pt x="218" y="280"/>
                </a:lnTo>
                <a:lnTo>
                  <a:pt x="216" y="279"/>
                </a:lnTo>
                <a:lnTo>
                  <a:pt x="214" y="279"/>
                </a:lnTo>
                <a:lnTo>
                  <a:pt x="213" y="278"/>
                </a:lnTo>
                <a:lnTo>
                  <a:pt x="211" y="277"/>
                </a:lnTo>
                <a:lnTo>
                  <a:pt x="210" y="277"/>
                </a:lnTo>
                <a:lnTo>
                  <a:pt x="204" y="276"/>
                </a:lnTo>
                <a:lnTo>
                  <a:pt x="199" y="274"/>
                </a:lnTo>
                <a:lnTo>
                  <a:pt x="188" y="274"/>
                </a:lnTo>
                <a:lnTo>
                  <a:pt x="186" y="273"/>
                </a:lnTo>
                <a:lnTo>
                  <a:pt x="180" y="271"/>
                </a:lnTo>
                <a:lnTo>
                  <a:pt x="179" y="271"/>
                </a:lnTo>
                <a:lnTo>
                  <a:pt x="174" y="273"/>
                </a:lnTo>
                <a:lnTo>
                  <a:pt x="173" y="273"/>
                </a:lnTo>
                <a:lnTo>
                  <a:pt x="166" y="274"/>
                </a:lnTo>
                <a:lnTo>
                  <a:pt x="164" y="273"/>
                </a:lnTo>
                <a:lnTo>
                  <a:pt x="150" y="270"/>
                </a:lnTo>
                <a:lnTo>
                  <a:pt x="148" y="268"/>
                </a:lnTo>
                <a:lnTo>
                  <a:pt x="147" y="268"/>
                </a:lnTo>
                <a:lnTo>
                  <a:pt x="143" y="270"/>
                </a:lnTo>
                <a:lnTo>
                  <a:pt x="142" y="268"/>
                </a:lnTo>
                <a:lnTo>
                  <a:pt x="137" y="266"/>
                </a:lnTo>
                <a:lnTo>
                  <a:pt x="130" y="266"/>
                </a:lnTo>
                <a:lnTo>
                  <a:pt x="126" y="267"/>
                </a:lnTo>
                <a:lnTo>
                  <a:pt x="123" y="267"/>
                </a:lnTo>
                <a:lnTo>
                  <a:pt x="122" y="268"/>
                </a:lnTo>
                <a:lnTo>
                  <a:pt x="119" y="268"/>
                </a:lnTo>
                <a:lnTo>
                  <a:pt x="113" y="270"/>
                </a:lnTo>
                <a:lnTo>
                  <a:pt x="112" y="268"/>
                </a:lnTo>
                <a:lnTo>
                  <a:pt x="111" y="268"/>
                </a:lnTo>
                <a:lnTo>
                  <a:pt x="110" y="267"/>
                </a:lnTo>
                <a:lnTo>
                  <a:pt x="110" y="266"/>
                </a:lnTo>
                <a:lnTo>
                  <a:pt x="111" y="261"/>
                </a:lnTo>
                <a:lnTo>
                  <a:pt x="112" y="260"/>
                </a:lnTo>
                <a:lnTo>
                  <a:pt x="112" y="259"/>
                </a:lnTo>
                <a:lnTo>
                  <a:pt x="116" y="259"/>
                </a:lnTo>
                <a:lnTo>
                  <a:pt x="117" y="258"/>
                </a:lnTo>
                <a:lnTo>
                  <a:pt x="118" y="255"/>
                </a:lnTo>
                <a:lnTo>
                  <a:pt x="118" y="254"/>
                </a:lnTo>
                <a:lnTo>
                  <a:pt x="117" y="254"/>
                </a:lnTo>
                <a:lnTo>
                  <a:pt x="116" y="253"/>
                </a:lnTo>
                <a:lnTo>
                  <a:pt x="114" y="253"/>
                </a:lnTo>
                <a:lnTo>
                  <a:pt x="112" y="252"/>
                </a:lnTo>
                <a:lnTo>
                  <a:pt x="104" y="246"/>
                </a:lnTo>
                <a:lnTo>
                  <a:pt x="104" y="242"/>
                </a:lnTo>
                <a:lnTo>
                  <a:pt x="102" y="241"/>
                </a:lnTo>
                <a:lnTo>
                  <a:pt x="100" y="241"/>
                </a:lnTo>
                <a:lnTo>
                  <a:pt x="95" y="236"/>
                </a:lnTo>
                <a:lnTo>
                  <a:pt x="95" y="234"/>
                </a:lnTo>
                <a:lnTo>
                  <a:pt x="94" y="233"/>
                </a:lnTo>
                <a:lnTo>
                  <a:pt x="94" y="230"/>
                </a:lnTo>
                <a:lnTo>
                  <a:pt x="95" y="230"/>
                </a:lnTo>
                <a:lnTo>
                  <a:pt x="96" y="229"/>
                </a:lnTo>
                <a:lnTo>
                  <a:pt x="98" y="229"/>
                </a:lnTo>
                <a:lnTo>
                  <a:pt x="98" y="227"/>
                </a:lnTo>
                <a:lnTo>
                  <a:pt x="99" y="227"/>
                </a:lnTo>
                <a:lnTo>
                  <a:pt x="99" y="225"/>
                </a:lnTo>
                <a:lnTo>
                  <a:pt x="100" y="225"/>
                </a:lnTo>
                <a:lnTo>
                  <a:pt x="102" y="228"/>
                </a:lnTo>
                <a:lnTo>
                  <a:pt x="105" y="228"/>
                </a:lnTo>
                <a:lnTo>
                  <a:pt x="106" y="227"/>
                </a:lnTo>
                <a:lnTo>
                  <a:pt x="106" y="225"/>
                </a:lnTo>
                <a:lnTo>
                  <a:pt x="105" y="223"/>
                </a:lnTo>
                <a:lnTo>
                  <a:pt x="104" y="222"/>
                </a:lnTo>
                <a:lnTo>
                  <a:pt x="100" y="222"/>
                </a:lnTo>
                <a:lnTo>
                  <a:pt x="98" y="220"/>
                </a:lnTo>
                <a:lnTo>
                  <a:pt x="94" y="217"/>
                </a:lnTo>
                <a:lnTo>
                  <a:pt x="94" y="216"/>
                </a:lnTo>
                <a:lnTo>
                  <a:pt x="92" y="216"/>
                </a:lnTo>
                <a:lnTo>
                  <a:pt x="92" y="217"/>
                </a:lnTo>
                <a:lnTo>
                  <a:pt x="91" y="218"/>
                </a:lnTo>
                <a:lnTo>
                  <a:pt x="89" y="218"/>
                </a:lnTo>
                <a:lnTo>
                  <a:pt x="88" y="220"/>
                </a:lnTo>
                <a:lnTo>
                  <a:pt x="87" y="220"/>
                </a:lnTo>
                <a:lnTo>
                  <a:pt x="87" y="221"/>
                </a:lnTo>
                <a:lnTo>
                  <a:pt x="82" y="229"/>
                </a:lnTo>
                <a:lnTo>
                  <a:pt x="81" y="230"/>
                </a:lnTo>
                <a:lnTo>
                  <a:pt x="80" y="230"/>
                </a:lnTo>
                <a:lnTo>
                  <a:pt x="79" y="229"/>
                </a:lnTo>
                <a:lnTo>
                  <a:pt x="77" y="229"/>
                </a:lnTo>
                <a:lnTo>
                  <a:pt x="77" y="227"/>
                </a:lnTo>
                <a:lnTo>
                  <a:pt x="76" y="227"/>
                </a:lnTo>
                <a:lnTo>
                  <a:pt x="76" y="224"/>
                </a:lnTo>
                <a:lnTo>
                  <a:pt x="75" y="224"/>
                </a:lnTo>
                <a:lnTo>
                  <a:pt x="74" y="221"/>
                </a:lnTo>
                <a:lnTo>
                  <a:pt x="73" y="221"/>
                </a:lnTo>
                <a:lnTo>
                  <a:pt x="69" y="218"/>
                </a:lnTo>
                <a:lnTo>
                  <a:pt x="68" y="218"/>
                </a:lnTo>
                <a:lnTo>
                  <a:pt x="65" y="220"/>
                </a:lnTo>
                <a:lnTo>
                  <a:pt x="60" y="220"/>
                </a:lnTo>
                <a:lnTo>
                  <a:pt x="58" y="217"/>
                </a:lnTo>
                <a:lnTo>
                  <a:pt x="57" y="216"/>
                </a:lnTo>
                <a:lnTo>
                  <a:pt x="57" y="215"/>
                </a:lnTo>
                <a:lnTo>
                  <a:pt x="56" y="214"/>
                </a:lnTo>
                <a:lnTo>
                  <a:pt x="49" y="214"/>
                </a:lnTo>
                <a:lnTo>
                  <a:pt x="49" y="212"/>
                </a:lnTo>
                <a:lnTo>
                  <a:pt x="46" y="210"/>
                </a:lnTo>
                <a:lnTo>
                  <a:pt x="46" y="209"/>
                </a:lnTo>
                <a:lnTo>
                  <a:pt x="48" y="209"/>
                </a:lnTo>
                <a:lnTo>
                  <a:pt x="49" y="208"/>
                </a:lnTo>
                <a:lnTo>
                  <a:pt x="51" y="209"/>
                </a:lnTo>
                <a:lnTo>
                  <a:pt x="52" y="208"/>
                </a:lnTo>
                <a:lnTo>
                  <a:pt x="55" y="208"/>
                </a:lnTo>
                <a:lnTo>
                  <a:pt x="55" y="205"/>
                </a:lnTo>
                <a:lnTo>
                  <a:pt x="54" y="204"/>
                </a:lnTo>
                <a:lnTo>
                  <a:pt x="52" y="204"/>
                </a:lnTo>
                <a:lnTo>
                  <a:pt x="51" y="203"/>
                </a:lnTo>
                <a:lnTo>
                  <a:pt x="48" y="203"/>
                </a:lnTo>
                <a:lnTo>
                  <a:pt x="48" y="202"/>
                </a:lnTo>
                <a:lnTo>
                  <a:pt x="46" y="202"/>
                </a:lnTo>
                <a:lnTo>
                  <a:pt x="46" y="200"/>
                </a:lnTo>
                <a:lnTo>
                  <a:pt x="48" y="199"/>
                </a:lnTo>
                <a:lnTo>
                  <a:pt x="49" y="199"/>
                </a:lnTo>
                <a:lnTo>
                  <a:pt x="50" y="198"/>
                </a:lnTo>
                <a:lnTo>
                  <a:pt x="50" y="197"/>
                </a:lnTo>
                <a:lnTo>
                  <a:pt x="51" y="196"/>
                </a:lnTo>
                <a:lnTo>
                  <a:pt x="51" y="193"/>
                </a:lnTo>
                <a:lnTo>
                  <a:pt x="52" y="193"/>
                </a:lnTo>
                <a:lnTo>
                  <a:pt x="52" y="191"/>
                </a:lnTo>
                <a:lnTo>
                  <a:pt x="51" y="190"/>
                </a:lnTo>
                <a:lnTo>
                  <a:pt x="50" y="190"/>
                </a:lnTo>
                <a:lnTo>
                  <a:pt x="49" y="188"/>
                </a:lnTo>
                <a:lnTo>
                  <a:pt x="44" y="187"/>
                </a:lnTo>
                <a:lnTo>
                  <a:pt x="42" y="187"/>
                </a:lnTo>
                <a:lnTo>
                  <a:pt x="40" y="186"/>
                </a:lnTo>
                <a:lnTo>
                  <a:pt x="40" y="185"/>
                </a:lnTo>
                <a:lnTo>
                  <a:pt x="38" y="182"/>
                </a:lnTo>
                <a:lnTo>
                  <a:pt x="37" y="182"/>
                </a:lnTo>
                <a:lnTo>
                  <a:pt x="37" y="184"/>
                </a:lnTo>
                <a:lnTo>
                  <a:pt x="36" y="184"/>
                </a:lnTo>
                <a:lnTo>
                  <a:pt x="36" y="182"/>
                </a:lnTo>
                <a:lnTo>
                  <a:pt x="35" y="182"/>
                </a:lnTo>
                <a:lnTo>
                  <a:pt x="32" y="181"/>
                </a:lnTo>
                <a:lnTo>
                  <a:pt x="26" y="175"/>
                </a:lnTo>
                <a:lnTo>
                  <a:pt x="25" y="173"/>
                </a:lnTo>
                <a:lnTo>
                  <a:pt x="24" y="173"/>
                </a:lnTo>
                <a:lnTo>
                  <a:pt x="21" y="171"/>
                </a:lnTo>
                <a:lnTo>
                  <a:pt x="23" y="171"/>
                </a:lnTo>
                <a:lnTo>
                  <a:pt x="24" y="169"/>
                </a:lnTo>
                <a:lnTo>
                  <a:pt x="24" y="168"/>
                </a:lnTo>
                <a:lnTo>
                  <a:pt x="23" y="167"/>
                </a:lnTo>
                <a:lnTo>
                  <a:pt x="21" y="165"/>
                </a:lnTo>
                <a:lnTo>
                  <a:pt x="21" y="162"/>
                </a:lnTo>
                <a:lnTo>
                  <a:pt x="23" y="161"/>
                </a:lnTo>
                <a:lnTo>
                  <a:pt x="23" y="155"/>
                </a:lnTo>
                <a:lnTo>
                  <a:pt x="21" y="155"/>
                </a:lnTo>
                <a:lnTo>
                  <a:pt x="21" y="156"/>
                </a:lnTo>
                <a:lnTo>
                  <a:pt x="19" y="156"/>
                </a:lnTo>
                <a:lnTo>
                  <a:pt x="18" y="155"/>
                </a:lnTo>
                <a:lnTo>
                  <a:pt x="18" y="154"/>
                </a:lnTo>
                <a:lnTo>
                  <a:pt x="17" y="153"/>
                </a:lnTo>
                <a:lnTo>
                  <a:pt x="17" y="150"/>
                </a:lnTo>
                <a:lnTo>
                  <a:pt x="15" y="150"/>
                </a:lnTo>
                <a:lnTo>
                  <a:pt x="15" y="149"/>
                </a:lnTo>
                <a:lnTo>
                  <a:pt x="14" y="147"/>
                </a:lnTo>
                <a:lnTo>
                  <a:pt x="12" y="147"/>
                </a:lnTo>
                <a:lnTo>
                  <a:pt x="8" y="143"/>
                </a:lnTo>
                <a:lnTo>
                  <a:pt x="7" y="143"/>
                </a:lnTo>
                <a:lnTo>
                  <a:pt x="6" y="142"/>
                </a:lnTo>
                <a:lnTo>
                  <a:pt x="5" y="142"/>
                </a:lnTo>
                <a:lnTo>
                  <a:pt x="4" y="141"/>
                </a:lnTo>
                <a:lnTo>
                  <a:pt x="4" y="138"/>
                </a:lnTo>
                <a:lnTo>
                  <a:pt x="2" y="137"/>
                </a:lnTo>
                <a:lnTo>
                  <a:pt x="0" y="134"/>
                </a:lnTo>
                <a:lnTo>
                  <a:pt x="1" y="131"/>
                </a:lnTo>
                <a:lnTo>
                  <a:pt x="8" y="131"/>
                </a:lnTo>
                <a:lnTo>
                  <a:pt x="9" y="130"/>
                </a:lnTo>
                <a:lnTo>
                  <a:pt x="11" y="130"/>
                </a:lnTo>
                <a:lnTo>
                  <a:pt x="13" y="131"/>
                </a:lnTo>
                <a:lnTo>
                  <a:pt x="14" y="132"/>
                </a:lnTo>
                <a:lnTo>
                  <a:pt x="18" y="132"/>
                </a:lnTo>
                <a:lnTo>
                  <a:pt x="19" y="131"/>
                </a:lnTo>
                <a:lnTo>
                  <a:pt x="19" y="129"/>
                </a:lnTo>
                <a:lnTo>
                  <a:pt x="21" y="129"/>
                </a:lnTo>
                <a:lnTo>
                  <a:pt x="21" y="128"/>
                </a:lnTo>
                <a:lnTo>
                  <a:pt x="20" y="126"/>
                </a:lnTo>
                <a:lnTo>
                  <a:pt x="21" y="126"/>
                </a:lnTo>
                <a:lnTo>
                  <a:pt x="23" y="124"/>
                </a:lnTo>
                <a:lnTo>
                  <a:pt x="26" y="124"/>
                </a:lnTo>
                <a:lnTo>
                  <a:pt x="26" y="125"/>
                </a:lnTo>
                <a:lnTo>
                  <a:pt x="27" y="125"/>
                </a:lnTo>
                <a:lnTo>
                  <a:pt x="27" y="124"/>
                </a:lnTo>
                <a:lnTo>
                  <a:pt x="29" y="124"/>
                </a:lnTo>
                <a:lnTo>
                  <a:pt x="30" y="125"/>
                </a:lnTo>
                <a:lnTo>
                  <a:pt x="32" y="125"/>
                </a:lnTo>
                <a:lnTo>
                  <a:pt x="33" y="126"/>
                </a:lnTo>
                <a:lnTo>
                  <a:pt x="35" y="126"/>
                </a:lnTo>
                <a:lnTo>
                  <a:pt x="36" y="124"/>
                </a:lnTo>
                <a:lnTo>
                  <a:pt x="37" y="123"/>
                </a:lnTo>
                <a:lnTo>
                  <a:pt x="38" y="124"/>
                </a:lnTo>
                <a:lnTo>
                  <a:pt x="38" y="122"/>
                </a:lnTo>
                <a:lnTo>
                  <a:pt x="39" y="120"/>
                </a:lnTo>
                <a:lnTo>
                  <a:pt x="39" y="117"/>
                </a:lnTo>
                <a:lnTo>
                  <a:pt x="40" y="116"/>
                </a:lnTo>
                <a:lnTo>
                  <a:pt x="43" y="116"/>
                </a:lnTo>
                <a:lnTo>
                  <a:pt x="44" y="114"/>
                </a:lnTo>
                <a:lnTo>
                  <a:pt x="44" y="113"/>
                </a:lnTo>
                <a:lnTo>
                  <a:pt x="43" y="111"/>
                </a:lnTo>
                <a:lnTo>
                  <a:pt x="43" y="108"/>
                </a:lnTo>
                <a:lnTo>
                  <a:pt x="44" y="108"/>
                </a:lnTo>
                <a:lnTo>
                  <a:pt x="44" y="104"/>
                </a:lnTo>
                <a:lnTo>
                  <a:pt x="45" y="102"/>
                </a:lnTo>
                <a:lnTo>
                  <a:pt x="49" y="102"/>
                </a:lnTo>
                <a:lnTo>
                  <a:pt x="50" y="101"/>
                </a:lnTo>
                <a:lnTo>
                  <a:pt x="50" y="99"/>
                </a:lnTo>
                <a:lnTo>
                  <a:pt x="52" y="99"/>
                </a:lnTo>
                <a:lnTo>
                  <a:pt x="54" y="98"/>
                </a:lnTo>
                <a:lnTo>
                  <a:pt x="54" y="96"/>
                </a:lnTo>
                <a:lnTo>
                  <a:pt x="52" y="95"/>
                </a:lnTo>
                <a:lnTo>
                  <a:pt x="51" y="95"/>
                </a:lnTo>
                <a:lnTo>
                  <a:pt x="52" y="94"/>
                </a:lnTo>
                <a:lnTo>
                  <a:pt x="54" y="91"/>
                </a:lnTo>
                <a:lnTo>
                  <a:pt x="55" y="89"/>
                </a:lnTo>
                <a:lnTo>
                  <a:pt x="56" y="89"/>
                </a:lnTo>
                <a:lnTo>
                  <a:pt x="56" y="88"/>
                </a:lnTo>
                <a:lnTo>
                  <a:pt x="57" y="88"/>
                </a:lnTo>
                <a:lnTo>
                  <a:pt x="57" y="85"/>
                </a:lnTo>
                <a:lnTo>
                  <a:pt x="60" y="83"/>
                </a:lnTo>
                <a:lnTo>
                  <a:pt x="60" y="80"/>
                </a:lnTo>
                <a:lnTo>
                  <a:pt x="61" y="80"/>
                </a:lnTo>
                <a:lnTo>
                  <a:pt x="60" y="79"/>
                </a:lnTo>
                <a:lnTo>
                  <a:pt x="58" y="79"/>
                </a:lnTo>
                <a:lnTo>
                  <a:pt x="58" y="77"/>
                </a:lnTo>
                <a:lnTo>
                  <a:pt x="61" y="76"/>
                </a:lnTo>
                <a:lnTo>
                  <a:pt x="61" y="75"/>
                </a:lnTo>
                <a:lnTo>
                  <a:pt x="63" y="74"/>
                </a:lnTo>
                <a:lnTo>
                  <a:pt x="64" y="73"/>
                </a:lnTo>
                <a:lnTo>
                  <a:pt x="64" y="70"/>
                </a:lnTo>
                <a:lnTo>
                  <a:pt x="65" y="70"/>
                </a:lnTo>
                <a:lnTo>
                  <a:pt x="67" y="69"/>
                </a:lnTo>
                <a:lnTo>
                  <a:pt x="67" y="65"/>
                </a:lnTo>
                <a:lnTo>
                  <a:pt x="68" y="64"/>
                </a:lnTo>
                <a:lnTo>
                  <a:pt x="68" y="61"/>
                </a:lnTo>
                <a:lnTo>
                  <a:pt x="70" y="58"/>
                </a:lnTo>
                <a:lnTo>
                  <a:pt x="70" y="57"/>
                </a:lnTo>
                <a:lnTo>
                  <a:pt x="71" y="57"/>
                </a:lnTo>
                <a:lnTo>
                  <a:pt x="74" y="56"/>
                </a:lnTo>
                <a:lnTo>
                  <a:pt x="74" y="49"/>
                </a:lnTo>
                <a:lnTo>
                  <a:pt x="75" y="48"/>
                </a:lnTo>
                <a:lnTo>
                  <a:pt x="76" y="45"/>
                </a:lnTo>
                <a:lnTo>
                  <a:pt x="81" y="43"/>
                </a:lnTo>
                <a:lnTo>
                  <a:pt x="81" y="40"/>
                </a:lnTo>
                <a:lnTo>
                  <a:pt x="82" y="39"/>
                </a:lnTo>
                <a:lnTo>
                  <a:pt x="82" y="38"/>
                </a:lnTo>
                <a:lnTo>
                  <a:pt x="87" y="33"/>
                </a:lnTo>
                <a:lnTo>
                  <a:pt x="92" y="33"/>
                </a:lnTo>
                <a:lnTo>
                  <a:pt x="92" y="31"/>
                </a:lnTo>
                <a:lnTo>
                  <a:pt x="93" y="30"/>
                </a:lnTo>
                <a:lnTo>
                  <a:pt x="96" y="32"/>
                </a:lnTo>
                <a:lnTo>
                  <a:pt x="100" y="32"/>
                </a:lnTo>
                <a:lnTo>
                  <a:pt x="105" y="27"/>
                </a:lnTo>
                <a:lnTo>
                  <a:pt x="106" y="27"/>
                </a:lnTo>
                <a:lnTo>
                  <a:pt x="106" y="25"/>
                </a:lnTo>
                <a:lnTo>
                  <a:pt x="107" y="24"/>
                </a:lnTo>
                <a:lnTo>
                  <a:pt x="108" y="24"/>
                </a:lnTo>
                <a:lnTo>
                  <a:pt x="111" y="21"/>
                </a:lnTo>
                <a:lnTo>
                  <a:pt x="111" y="20"/>
                </a:lnTo>
                <a:lnTo>
                  <a:pt x="112" y="20"/>
                </a:lnTo>
                <a:lnTo>
                  <a:pt x="113" y="19"/>
                </a:lnTo>
                <a:lnTo>
                  <a:pt x="113" y="16"/>
                </a:lnTo>
                <a:lnTo>
                  <a:pt x="114" y="16"/>
                </a:lnTo>
                <a:lnTo>
                  <a:pt x="116" y="18"/>
                </a:lnTo>
                <a:lnTo>
                  <a:pt x="117" y="18"/>
                </a:lnTo>
                <a:lnTo>
                  <a:pt x="119" y="16"/>
                </a:lnTo>
                <a:lnTo>
                  <a:pt x="119" y="15"/>
                </a:lnTo>
                <a:lnTo>
                  <a:pt x="120" y="12"/>
                </a:lnTo>
                <a:lnTo>
                  <a:pt x="122" y="11"/>
                </a:lnTo>
                <a:lnTo>
                  <a:pt x="123" y="11"/>
                </a:lnTo>
                <a:lnTo>
                  <a:pt x="126" y="12"/>
                </a:lnTo>
                <a:lnTo>
                  <a:pt x="131" y="16"/>
                </a:lnTo>
                <a:lnTo>
                  <a:pt x="131" y="18"/>
                </a:lnTo>
                <a:lnTo>
                  <a:pt x="133" y="18"/>
                </a:lnTo>
                <a:lnTo>
                  <a:pt x="136" y="19"/>
                </a:lnTo>
                <a:lnTo>
                  <a:pt x="137" y="19"/>
                </a:lnTo>
                <a:lnTo>
                  <a:pt x="137" y="18"/>
                </a:lnTo>
                <a:lnTo>
                  <a:pt x="138" y="16"/>
                </a:lnTo>
                <a:lnTo>
                  <a:pt x="144" y="16"/>
                </a:lnTo>
                <a:lnTo>
                  <a:pt x="145" y="18"/>
                </a:lnTo>
                <a:lnTo>
                  <a:pt x="150" y="18"/>
                </a:lnTo>
                <a:lnTo>
                  <a:pt x="153" y="20"/>
                </a:lnTo>
                <a:lnTo>
                  <a:pt x="153" y="21"/>
                </a:lnTo>
                <a:lnTo>
                  <a:pt x="154" y="21"/>
                </a:lnTo>
                <a:lnTo>
                  <a:pt x="157" y="19"/>
                </a:lnTo>
                <a:lnTo>
                  <a:pt x="158" y="19"/>
                </a:lnTo>
                <a:lnTo>
                  <a:pt x="160" y="20"/>
                </a:lnTo>
                <a:lnTo>
                  <a:pt x="162" y="20"/>
                </a:lnTo>
                <a:lnTo>
                  <a:pt x="164" y="22"/>
                </a:lnTo>
                <a:lnTo>
                  <a:pt x="167" y="24"/>
                </a:lnTo>
                <a:lnTo>
                  <a:pt x="168" y="24"/>
                </a:lnTo>
                <a:lnTo>
                  <a:pt x="172" y="21"/>
                </a:lnTo>
                <a:lnTo>
                  <a:pt x="173" y="21"/>
                </a:lnTo>
                <a:lnTo>
                  <a:pt x="175" y="20"/>
                </a:lnTo>
                <a:lnTo>
                  <a:pt x="182" y="20"/>
                </a:lnTo>
                <a:lnTo>
                  <a:pt x="185" y="21"/>
                </a:lnTo>
                <a:lnTo>
                  <a:pt x="185" y="22"/>
                </a:lnTo>
                <a:lnTo>
                  <a:pt x="186" y="24"/>
                </a:lnTo>
                <a:lnTo>
                  <a:pt x="186" y="26"/>
                </a:lnTo>
                <a:lnTo>
                  <a:pt x="187" y="27"/>
                </a:lnTo>
                <a:lnTo>
                  <a:pt x="188" y="27"/>
                </a:lnTo>
                <a:lnTo>
                  <a:pt x="192" y="28"/>
                </a:lnTo>
                <a:lnTo>
                  <a:pt x="193" y="30"/>
                </a:lnTo>
                <a:lnTo>
                  <a:pt x="193" y="31"/>
                </a:lnTo>
                <a:lnTo>
                  <a:pt x="194" y="33"/>
                </a:lnTo>
                <a:lnTo>
                  <a:pt x="195" y="34"/>
                </a:lnTo>
                <a:lnTo>
                  <a:pt x="201" y="34"/>
                </a:lnTo>
                <a:lnTo>
                  <a:pt x="204" y="33"/>
                </a:lnTo>
                <a:lnTo>
                  <a:pt x="206" y="31"/>
                </a:lnTo>
                <a:lnTo>
                  <a:pt x="210" y="25"/>
                </a:lnTo>
                <a:lnTo>
                  <a:pt x="212" y="24"/>
                </a:lnTo>
                <a:lnTo>
                  <a:pt x="232" y="21"/>
                </a:lnTo>
                <a:lnTo>
                  <a:pt x="237" y="19"/>
                </a:lnTo>
                <a:lnTo>
                  <a:pt x="242" y="19"/>
                </a:lnTo>
                <a:lnTo>
                  <a:pt x="244" y="18"/>
                </a:lnTo>
                <a:lnTo>
                  <a:pt x="250" y="18"/>
                </a:lnTo>
                <a:lnTo>
                  <a:pt x="250" y="16"/>
                </a:lnTo>
                <a:lnTo>
                  <a:pt x="251" y="14"/>
                </a:lnTo>
                <a:lnTo>
                  <a:pt x="253" y="14"/>
                </a:lnTo>
                <a:lnTo>
                  <a:pt x="253" y="13"/>
                </a:lnTo>
                <a:lnTo>
                  <a:pt x="254" y="12"/>
                </a:lnTo>
                <a:lnTo>
                  <a:pt x="254" y="11"/>
                </a:lnTo>
                <a:lnTo>
                  <a:pt x="255" y="9"/>
                </a:lnTo>
                <a:lnTo>
                  <a:pt x="255" y="6"/>
                </a:lnTo>
                <a:lnTo>
                  <a:pt x="256" y="3"/>
                </a:lnTo>
                <a:lnTo>
                  <a:pt x="257" y="3"/>
                </a:lnTo>
                <a:lnTo>
                  <a:pt x="259" y="2"/>
                </a:lnTo>
                <a:lnTo>
                  <a:pt x="262" y="2"/>
                </a:lnTo>
                <a:lnTo>
                  <a:pt x="268" y="1"/>
                </a:lnTo>
                <a:lnTo>
                  <a:pt x="269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" name="Freeform 22">
            <a:extLst>
              <a:ext uri="{FF2B5EF4-FFF2-40B4-BE49-F238E27FC236}">
                <a16:creationId xmlns:a16="http://schemas.microsoft.com/office/drawing/2014/main" id="{26423915-EE01-41FA-AD30-6F63E4B6E9AE}"/>
              </a:ext>
            </a:extLst>
          </p:cNvPr>
          <p:cNvSpPr>
            <a:spLocks noEditPoints="1"/>
          </p:cNvSpPr>
          <p:nvPr/>
        </p:nvSpPr>
        <p:spPr bwMode="auto">
          <a:xfrm>
            <a:off x="2093815" y="4230758"/>
            <a:ext cx="612902" cy="579576"/>
          </a:xfrm>
          <a:custGeom>
            <a:avLst/>
            <a:gdLst/>
            <a:ahLst/>
            <a:cxnLst>
              <a:cxn ang="0">
                <a:pos x="195" y="11"/>
              </a:cxn>
              <a:cxn ang="0">
                <a:pos x="195" y="10"/>
              </a:cxn>
              <a:cxn ang="0">
                <a:pos x="179" y="0"/>
              </a:cxn>
              <a:cxn ang="0">
                <a:pos x="185" y="13"/>
              </a:cxn>
              <a:cxn ang="0">
                <a:pos x="195" y="34"/>
              </a:cxn>
              <a:cxn ang="0">
                <a:pos x="235" y="30"/>
              </a:cxn>
              <a:cxn ang="0">
                <a:pos x="370" y="32"/>
              </a:cxn>
              <a:cxn ang="0">
                <a:pos x="391" y="45"/>
              </a:cxn>
              <a:cxn ang="0">
                <a:pos x="397" y="76"/>
              </a:cxn>
              <a:cxn ang="0">
                <a:pos x="413" y="124"/>
              </a:cxn>
              <a:cxn ang="0">
                <a:pos x="383" y="182"/>
              </a:cxn>
              <a:cxn ang="0">
                <a:pos x="397" y="192"/>
              </a:cxn>
              <a:cxn ang="0">
                <a:pos x="402" y="208"/>
              </a:cxn>
              <a:cxn ang="0">
                <a:pos x="398" y="226"/>
              </a:cxn>
              <a:cxn ang="0">
                <a:pos x="403" y="244"/>
              </a:cxn>
              <a:cxn ang="0">
                <a:pos x="412" y="262"/>
              </a:cxn>
              <a:cxn ang="0">
                <a:pos x="420" y="281"/>
              </a:cxn>
              <a:cxn ang="0">
                <a:pos x="421" y="299"/>
              </a:cxn>
              <a:cxn ang="0">
                <a:pos x="400" y="318"/>
              </a:cxn>
              <a:cxn ang="0">
                <a:pos x="365" y="360"/>
              </a:cxn>
              <a:cxn ang="0">
                <a:pos x="364" y="389"/>
              </a:cxn>
              <a:cxn ang="0">
                <a:pos x="364" y="398"/>
              </a:cxn>
              <a:cxn ang="0">
                <a:pos x="338" y="388"/>
              </a:cxn>
              <a:cxn ang="0">
                <a:pos x="321" y="375"/>
              </a:cxn>
              <a:cxn ang="0">
                <a:pos x="299" y="374"/>
              </a:cxn>
              <a:cxn ang="0">
                <a:pos x="289" y="381"/>
              </a:cxn>
              <a:cxn ang="0">
                <a:pos x="267" y="374"/>
              </a:cxn>
              <a:cxn ang="0">
                <a:pos x="252" y="388"/>
              </a:cxn>
              <a:cxn ang="0">
                <a:pos x="240" y="382"/>
              </a:cxn>
              <a:cxn ang="0">
                <a:pos x="227" y="363"/>
              </a:cxn>
              <a:cxn ang="0">
                <a:pos x="210" y="375"/>
              </a:cxn>
              <a:cxn ang="0">
                <a:pos x="198" y="361"/>
              </a:cxn>
              <a:cxn ang="0">
                <a:pos x="189" y="350"/>
              </a:cxn>
              <a:cxn ang="0">
                <a:pos x="178" y="340"/>
              </a:cxn>
              <a:cxn ang="0">
                <a:pos x="166" y="332"/>
              </a:cxn>
              <a:cxn ang="0">
                <a:pos x="153" y="329"/>
              </a:cxn>
              <a:cxn ang="0">
                <a:pos x="150" y="314"/>
              </a:cxn>
              <a:cxn ang="0">
                <a:pos x="131" y="313"/>
              </a:cxn>
              <a:cxn ang="0">
                <a:pos x="118" y="313"/>
              </a:cxn>
              <a:cxn ang="0">
                <a:pos x="118" y="321"/>
              </a:cxn>
              <a:cxn ang="0">
                <a:pos x="99" y="317"/>
              </a:cxn>
              <a:cxn ang="0">
                <a:pos x="92" y="303"/>
              </a:cxn>
              <a:cxn ang="0">
                <a:pos x="87" y="294"/>
              </a:cxn>
              <a:cxn ang="0">
                <a:pos x="75" y="290"/>
              </a:cxn>
              <a:cxn ang="0">
                <a:pos x="53" y="284"/>
              </a:cxn>
              <a:cxn ang="0">
                <a:pos x="43" y="269"/>
              </a:cxn>
              <a:cxn ang="0">
                <a:pos x="30" y="278"/>
              </a:cxn>
              <a:cxn ang="0">
                <a:pos x="35" y="238"/>
              </a:cxn>
              <a:cxn ang="0">
                <a:pos x="23" y="221"/>
              </a:cxn>
              <a:cxn ang="0">
                <a:pos x="25" y="191"/>
              </a:cxn>
              <a:cxn ang="0">
                <a:pos x="23" y="161"/>
              </a:cxn>
              <a:cxn ang="0">
                <a:pos x="3" y="139"/>
              </a:cxn>
              <a:cxn ang="0">
                <a:pos x="13" y="117"/>
              </a:cxn>
              <a:cxn ang="0">
                <a:pos x="9" y="90"/>
              </a:cxn>
              <a:cxn ang="0">
                <a:pos x="15" y="84"/>
              </a:cxn>
              <a:cxn ang="0">
                <a:pos x="19" y="78"/>
              </a:cxn>
              <a:cxn ang="0">
                <a:pos x="11" y="68"/>
              </a:cxn>
              <a:cxn ang="0">
                <a:pos x="3" y="68"/>
              </a:cxn>
              <a:cxn ang="0">
                <a:pos x="66" y="47"/>
              </a:cxn>
              <a:cxn ang="0">
                <a:pos x="92" y="37"/>
              </a:cxn>
              <a:cxn ang="0">
                <a:pos x="100" y="25"/>
              </a:cxn>
              <a:cxn ang="0">
                <a:pos x="160" y="1"/>
              </a:cxn>
            </a:cxnLst>
            <a:rect l="0" t="0" r="r" b="b"/>
            <a:pathLst>
              <a:path w="423" h="400">
                <a:moveTo>
                  <a:pt x="7" y="79"/>
                </a:moveTo>
                <a:lnTo>
                  <a:pt x="9" y="79"/>
                </a:lnTo>
                <a:lnTo>
                  <a:pt x="9" y="80"/>
                </a:lnTo>
                <a:lnTo>
                  <a:pt x="7" y="79"/>
                </a:lnTo>
                <a:close/>
                <a:moveTo>
                  <a:pt x="85" y="41"/>
                </a:moveTo>
                <a:lnTo>
                  <a:pt x="86" y="41"/>
                </a:lnTo>
                <a:lnTo>
                  <a:pt x="84" y="42"/>
                </a:lnTo>
                <a:lnTo>
                  <a:pt x="85" y="41"/>
                </a:lnTo>
                <a:close/>
                <a:moveTo>
                  <a:pt x="92" y="35"/>
                </a:moveTo>
                <a:lnTo>
                  <a:pt x="90" y="37"/>
                </a:lnTo>
                <a:lnTo>
                  <a:pt x="92" y="35"/>
                </a:lnTo>
                <a:close/>
                <a:moveTo>
                  <a:pt x="195" y="11"/>
                </a:moveTo>
                <a:lnTo>
                  <a:pt x="196" y="11"/>
                </a:lnTo>
                <a:lnTo>
                  <a:pt x="198" y="14"/>
                </a:lnTo>
                <a:lnTo>
                  <a:pt x="199" y="16"/>
                </a:lnTo>
                <a:lnTo>
                  <a:pt x="199" y="18"/>
                </a:lnTo>
                <a:lnTo>
                  <a:pt x="198" y="18"/>
                </a:lnTo>
                <a:lnTo>
                  <a:pt x="198" y="17"/>
                </a:lnTo>
                <a:lnTo>
                  <a:pt x="197" y="16"/>
                </a:lnTo>
                <a:lnTo>
                  <a:pt x="197" y="14"/>
                </a:lnTo>
                <a:lnTo>
                  <a:pt x="196" y="13"/>
                </a:lnTo>
                <a:lnTo>
                  <a:pt x="195" y="11"/>
                </a:lnTo>
                <a:close/>
                <a:moveTo>
                  <a:pt x="193" y="10"/>
                </a:moveTo>
                <a:lnTo>
                  <a:pt x="195" y="10"/>
                </a:lnTo>
                <a:lnTo>
                  <a:pt x="195" y="11"/>
                </a:lnTo>
                <a:lnTo>
                  <a:pt x="193" y="10"/>
                </a:lnTo>
                <a:close/>
                <a:moveTo>
                  <a:pt x="184" y="4"/>
                </a:moveTo>
                <a:lnTo>
                  <a:pt x="193" y="10"/>
                </a:lnTo>
                <a:lnTo>
                  <a:pt x="192" y="10"/>
                </a:lnTo>
                <a:lnTo>
                  <a:pt x="191" y="8"/>
                </a:lnTo>
                <a:lnTo>
                  <a:pt x="190" y="8"/>
                </a:lnTo>
                <a:lnTo>
                  <a:pt x="185" y="6"/>
                </a:lnTo>
                <a:lnTo>
                  <a:pt x="185" y="5"/>
                </a:lnTo>
                <a:lnTo>
                  <a:pt x="184" y="4"/>
                </a:lnTo>
                <a:close/>
                <a:moveTo>
                  <a:pt x="171" y="0"/>
                </a:moveTo>
                <a:lnTo>
                  <a:pt x="179" y="0"/>
                </a:lnTo>
                <a:lnTo>
                  <a:pt x="180" y="1"/>
                </a:lnTo>
                <a:lnTo>
                  <a:pt x="180" y="2"/>
                </a:lnTo>
                <a:lnTo>
                  <a:pt x="181" y="2"/>
                </a:lnTo>
                <a:lnTo>
                  <a:pt x="184" y="4"/>
                </a:lnTo>
                <a:lnTo>
                  <a:pt x="183" y="4"/>
                </a:lnTo>
                <a:lnTo>
                  <a:pt x="183" y="5"/>
                </a:lnTo>
                <a:lnTo>
                  <a:pt x="181" y="6"/>
                </a:lnTo>
                <a:lnTo>
                  <a:pt x="181" y="8"/>
                </a:lnTo>
                <a:lnTo>
                  <a:pt x="183" y="8"/>
                </a:lnTo>
                <a:lnTo>
                  <a:pt x="184" y="10"/>
                </a:lnTo>
                <a:lnTo>
                  <a:pt x="184" y="13"/>
                </a:lnTo>
                <a:lnTo>
                  <a:pt x="185" y="13"/>
                </a:lnTo>
                <a:lnTo>
                  <a:pt x="184" y="14"/>
                </a:lnTo>
                <a:lnTo>
                  <a:pt x="185" y="16"/>
                </a:lnTo>
                <a:lnTo>
                  <a:pt x="186" y="16"/>
                </a:lnTo>
                <a:lnTo>
                  <a:pt x="186" y="17"/>
                </a:lnTo>
                <a:lnTo>
                  <a:pt x="187" y="17"/>
                </a:lnTo>
                <a:lnTo>
                  <a:pt x="189" y="20"/>
                </a:lnTo>
                <a:lnTo>
                  <a:pt x="189" y="30"/>
                </a:lnTo>
                <a:lnTo>
                  <a:pt x="190" y="30"/>
                </a:lnTo>
                <a:lnTo>
                  <a:pt x="191" y="31"/>
                </a:lnTo>
                <a:lnTo>
                  <a:pt x="193" y="31"/>
                </a:lnTo>
                <a:lnTo>
                  <a:pt x="193" y="32"/>
                </a:lnTo>
                <a:lnTo>
                  <a:pt x="195" y="34"/>
                </a:lnTo>
                <a:lnTo>
                  <a:pt x="202" y="36"/>
                </a:lnTo>
                <a:lnTo>
                  <a:pt x="203" y="36"/>
                </a:lnTo>
                <a:lnTo>
                  <a:pt x="204" y="35"/>
                </a:lnTo>
                <a:lnTo>
                  <a:pt x="205" y="36"/>
                </a:lnTo>
                <a:lnTo>
                  <a:pt x="207" y="36"/>
                </a:lnTo>
                <a:lnTo>
                  <a:pt x="222" y="34"/>
                </a:lnTo>
                <a:lnTo>
                  <a:pt x="226" y="32"/>
                </a:lnTo>
                <a:lnTo>
                  <a:pt x="228" y="31"/>
                </a:lnTo>
                <a:lnTo>
                  <a:pt x="229" y="31"/>
                </a:lnTo>
                <a:lnTo>
                  <a:pt x="233" y="28"/>
                </a:lnTo>
                <a:lnTo>
                  <a:pt x="233" y="29"/>
                </a:lnTo>
                <a:lnTo>
                  <a:pt x="235" y="30"/>
                </a:lnTo>
                <a:lnTo>
                  <a:pt x="247" y="30"/>
                </a:lnTo>
                <a:lnTo>
                  <a:pt x="264" y="31"/>
                </a:lnTo>
                <a:lnTo>
                  <a:pt x="288" y="32"/>
                </a:lnTo>
                <a:lnTo>
                  <a:pt x="303" y="34"/>
                </a:lnTo>
                <a:lnTo>
                  <a:pt x="321" y="34"/>
                </a:lnTo>
                <a:lnTo>
                  <a:pt x="345" y="35"/>
                </a:lnTo>
                <a:lnTo>
                  <a:pt x="354" y="36"/>
                </a:lnTo>
                <a:lnTo>
                  <a:pt x="363" y="36"/>
                </a:lnTo>
                <a:lnTo>
                  <a:pt x="365" y="35"/>
                </a:lnTo>
                <a:lnTo>
                  <a:pt x="366" y="35"/>
                </a:lnTo>
                <a:lnTo>
                  <a:pt x="367" y="32"/>
                </a:lnTo>
                <a:lnTo>
                  <a:pt x="370" y="32"/>
                </a:lnTo>
                <a:lnTo>
                  <a:pt x="372" y="34"/>
                </a:lnTo>
                <a:lnTo>
                  <a:pt x="375" y="34"/>
                </a:lnTo>
                <a:lnTo>
                  <a:pt x="375" y="36"/>
                </a:lnTo>
                <a:lnTo>
                  <a:pt x="377" y="36"/>
                </a:lnTo>
                <a:lnTo>
                  <a:pt x="377" y="39"/>
                </a:lnTo>
                <a:lnTo>
                  <a:pt x="381" y="39"/>
                </a:lnTo>
                <a:lnTo>
                  <a:pt x="384" y="42"/>
                </a:lnTo>
                <a:lnTo>
                  <a:pt x="385" y="43"/>
                </a:lnTo>
                <a:lnTo>
                  <a:pt x="389" y="44"/>
                </a:lnTo>
                <a:lnTo>
                  <a:pt x="390" y="44"/>
                </a:lnTo>
                <a:lnTo>
                  <a:pt x="390" y="45"/>
                </a:lnTo>
                <a:lnTo>
                  <a:pt x="391" y="45"/>
                </a:lnTo>
                <a:lnTo>
                  <a:pt x="391" y="48"/>
                </a:lnTo>
                <a:lnTo>
                  <a:pt x="392" y="48"/>
                </a:lnTo>
                <a:lnTo>
                  <a:pt x="395" y="50"/>
                </a:lnTo>
                <a:lnTo>
                  <a:pt x="395" y="53"/>
                </a:lnTo>
                <a:lnTo>
                  <a:pt x="396" y="54"/>
                </a:lnTo>
                <a:lnTo>
                  <a:pt x="396" y="61"/>
                </a:lnTo>
                <a:lnTo>
                  <a:pt x="395" y="61"/>
                </a:lnTo>
                <a:lnTo>
                  <a:pt x="395" y="63"/>
                </a:lnTo>
                <a:lnTo>
                  <a:pt x="396" y="63"/>
                </a:lnTo>
                <a:lnTo>
                  <a:pt x="396" y="69"/>
                </a:lnTo>
                <a:lnTo>
                  <a:pt x="397" y="71"/>
                </a:lnTo>
                <a:lnTo>
                  <a:pt x="397" y="76"/>
                </a:lnTo>
                <a:lnTo>
                  <a:pt x="400" y="79"/>
                </a:lnTo>
                <a:lnTo>
                  <a:pt x="400" y="84"/>
                </a:lnTo>
                <a:lnTo>
                  <a:pt x="401" y="88"/>
                </a:lnTo>
                <a:lnTo>
                  <a:pt x="404" y="99"/>
                </a:lnTo>
                <a:lnTo>
                  <a:pt x="406" y="104"/>
                </a:lnTo>
                <a:lnTo>
                  <a:pt x="407" y="106"/>
                </a:lnTo>
                <a:lnTo>
                  <a:pt x="408" y="112"/>
                </a:lnTo>
                <a:lnTo>
                  <a:pt x="409" y="115"/>
                </a:lnTo>
                <a:lnTo>
                  <a:pt x="410" y="116"/>
                </a:lnTo>
                <a:lnTo>
                  <a:pt x="410" y="118"/>
                </a:lnTo>
                <a:lnTo>
                  <a:pt x="413" y="121"/>
                </a:lnTo>
                <a:lnTo>
                  <a:pt x="413" y="124"/>
                </a:lnTo>
                <a:lnTo>
                  <a:pt x="412" y="124"/>
                </a:lnTo>
                <a:lnTo>
                  <a:pt x="412" y="128"/>
                </a:lnTo>
                <a:lnTo>
                  <a:pt x="413" y="130"/>
                </a:lnTo>
                <a:lnTo>
                  <a:pt x="414" y="131"/>
                </a:lnTo>
                <a:lnTo>
                  <a:pt x="414" y="153"/>
                </a:lnTo>
                <a:lnTo>
                  <a:pt x="412" y="155"/>
                </a:lnTo>
                <a:lnTo>
                  <a:pt x="407" y="159"/>
                </a:lnTo>
                <a:lnTo>
                  <a:pt x="396" y="162"/>
                </a:lnTo>
                <a:lnTo>
                  <a:pt x="392" y="166"/>
                </a:lnTo>
                <a:lnTo>
                  <a:pt x="386" y="174"/>
                </a:lnTo>
                <a:lnTo>
                  <a:pt x="384" y="177"/>
                </a:lnTo>
                <a:lnTo>
                  <a:pt x="383" y="182"/>
                </a:lnTo>
                <a:lnTo>
                  <a:pt x="384" y="183"/>
                </a:lnTo>
                <a:lnTo>
                  <a:pt x="383" y="185"/>
                </a:lnTo>
                <a:lnTo>
                  <a:pt x="384" y="185"/>
                </a:lnTo>
                <a:lnTo>
                  <a:pt x="388" y="186"/>
                </a:lnTo>
                <a:lnTo>
                  <a:pt x="388" y="185"/>
                </a:lnTo>
                <a:lnTo>
                  <a:pt x="389" y="186"/>
                </a:lnTo>
                <a:lnTo>
                  <a:pt x="391" y="188"/>
                </a:lnTo>
                <a:lnTo>
                  <a:pt x="392" y="188"/>
                </a:lnTo>
                <a:lnTo>
                  <a:pt x="391" y="189"/>
                </a:lnTo>
                <a:lnTo>
                  <a:pt x="396" y="189"/>
                </a:lnTo>
                <a:lnTo>
                  <a:pt x="396" y="190"/>
                </a:lnTo>
                <a:lnTo>
                  <a:pt x="397" y="192"/>
                </a:lnTo>
                <a:lnTo>
                  <a:pt x="400" y="192"/>
                </a:lnTo>
                <a:lnTo>
                  <a:pt x="401" y="194"/>
                </a:lnTo>
                <a:lnTo>
                  <a:pt x="401" y="195"/>
                </a:lnTo>
                <a:lnTo>
                  <a:pt x="402" y="195"/>
                </a:lnTo>
                <a:lnTo>
                  <a:pt x="402" y="197"/>
                </a:lnTo>
                <a:lnTo>
                  <a:pt x="403" y="198"/>
                </a:lnTo>
                <a:lnTo>
                  <a:pt x="403" y="201"/>
                </a:lnTo>
                <a:lnTo>
                  <a:pt x="404" y="202"/>
                </a:lnTo>
                <a:lnTo>
                  <a:pt x="403" y="202"/>
                </a:lnTo>
                <a:lnTo>
                  <a:pt x="403" y="203"/>
                </a:lnTo>
                <a:lnTo>
                  <a:pt x="402" y="204"/>
                </a:lnTo>
                <a:lnTo>
                  <a:pt x="402" y="208"/>
                </a:lnTo>
                <a:lnTo>
                  <a:pt x="401" y="209"/>
                </a:lnTo>
                <a:lnTo>
                  <a:pt x="402" y="209"/>
                </a:lnTo>
                <a:lnTo>
                  <a:pt x="401" y="210"/>
                </a:lnTo>
                <a:lnTo>
                  <a:pt x="401" y="213"/>
                </a:lnTo>
                <a:lnTo>
                  <a:pt x="402" y="214"/>
                </a:lnTo>
                <a:lnTo>
                  <a:pt x="402" y="216"/>
                </a:lnTo>
                <a:lnTo>
                  <a:pt x="401" y="216"/>
                </a:lnTo>
                <a:lnTo>
                  <a:pt x="400" y="217"/>
                </a:lnTo>
                <a:lnTo>
                  <a:pt x="398" y="217"/>
                </a:lnTo>
                <a:lnTo>
                  <a:pt x="398" y="225"/>
                </a:lnTo>
                <a:lnTo>
                  <a:pt x="397" y="225"/>
                </a:lnTo>
                <a:lnTo>
                  <a:pt x="398" y="226"/>
                </a:lnTo>
                <a:lnTo>
                  <a:pt x="398" y="229"/>
                </a:lnTo>
                <a:lnTo>
                  <a:pt x="400" y="232"/>
                </a:lnTo>
                <a:lnTo>
                  <a:pt x="398" y="232"/>
                </a:lnTo>
                <a:lnTo>
                  <a:pt x="400" y="233"/>
                </a:lnTo>
                <a:lnTo>
                  <a:pt x="401" y="233"/>
                </a:lnTo>
                <a:lnTo>
                  <a:pt x="401" y="235"/>
                </a:lnTo>
                <a:lnTo>
                  <a:pt x="402" y="235"/>
                </a:lnTo>
                <a:lnTo>
                  <a:pt x="403" y="237"/>
                </a:lnTo>
                <a:lnTo>
                  <a:pt x="403" y="238"/>
                </a:lnTo>
                <a:lnTo>
                  <a:pt x="404" y="241"/>
                </a:lnTo>
                <a:lnTo>
                  <a:pt x="404" y="244"/>
                </a:lnTo>
                <a:lnTo>
                  <a:pt x="403" y="244"/>
                </a:lnTo>
                <a:lnTo>
                  <a:pt x="403" y="245"/>
                </a:lnTo>
                <a:lnTo>
                  <a:pt x="402" y="246"/>
                </a:lnTo>
                <a:lnTo>
                  <a:pt x="402" y="248"/>
                </a:lnTo>
                <a:lnTo>
                  <a:pt x="403" y="248"/>
                </a:lnTo>
                <a:lnTo>
                  <a:pt x="404" y="250"/>
                </a:lnTo>
                <a:lnTo>
                  <a:pt x="407" y="254"/>
                </a:lnTo>
                <a:lnTo>
                  <a:pt x="408" y="256"/>
                </a:lnTo>
                <a:lnTo>
                  <a:pt x="410" y="257"/>
                </a:lnTo>
                <a:lnTo>
                  <a:pt x="412" y="259"/>
                </a:lnTo>
                <a:lnTo>
                  <a:pt x="413" y="259"/>
                </a:lnTo>
                <a:lnTo>
                  <a:pt x="412" y="260"/>
                </a:lnTo>
                <a:lnTo>
                  <a:pt x="412" y="262"/>
                </a:lnTo>
                <a:lnTo>
                  <a:pt x="413" y="264"/>
                </a:lnTo>
                <a:lnTo>
                  <a:pt x="414" y="265"/>
                </a:lnTo>
                <a:lnTo>
                  <a:pt x="414" y="269"/>
                </a:lnTo>
                <a:lnTo>
                  <a:pt x="415" y="269"/>
                </a:lnTo>
                <a:lnTo>
                  <a:pt x="415" y="270"/>
                </a:lnTo>
                <a:lnTo>
                  <a:pt x="416" y="270"/>
                </a:lnTo>
                <a:lnTo>
                  <a:pt x="416" y="274"/>
                </a:lnTo>
                <a:lnTo>
                  <a:pt x="420" y="276"/>
                </a:lnTo>
                <a:lnTo>
                  <a:pt x="423" y="277"/>
                </a:lnTo>
                <a:lnTo>
                  <a:pt x="423" y="280"/>
                </a:lnTo>
                <a:lnTo>
                  <a:pt x="420" y="280"/>
                </a:lnTo>
                <a:lnTo>
                  <a:pt x="420" y="281"/>
                </a:lnTo>
                <a:lnTo>
                  <a:pt x="419" y="280"/>
                </a:lnTo>
                <a:lnTo>
                  <a:pt x="417" y="280"/>
                </a:lnTo>
                <a:lnTo>
                  <a:pt x="416" y="281"/>
                </a:lnTo>
                <a:lnTo>
                  <a:pt x="416" y="284"/>
                </a:lnTo>
                <a:lnTo>
                  <a:pt x="419" y="284"/>
                </a:lnTo>
                <a:lnTo>
                  <a:pt x="417" y="286"/>
                </a:lnTo>
                <a:lnTo>
                  <a:pt x="420" y="288"/>
                </a:lnTo>
                <a:lnTo>
                  <a:pt x="421" y="288"/>
                </a:lnTo>
                <a:lnTo>
                  <a:pt x="421" y="291"/>
                </a:lnTo>
                <a:lnTo>
                  <a:pt x="422" y="294"/>
                </a:lnTo>
                <a:lnTo>
                  <a:pt x="421" y="295"/>
                </a:lnTo>
                <a:lnTo>
                  <a:pt x="421" y="299"/>
                </a:lnTo>
                <a:lnTo>
                  <a:pt x="422" y="300"/>
                </a:lnTo>
                <a:lnTo>
                  <a:pt x="421" y="300"/>
                </a:lnTo>
                <a:lnTo>
                  <a:pt x="421" y="301"/>
                </a:lnTo>
                <a:lnTo>
                  <a:pt x="417" y="302"/>
                </a:lnTo>
                <a:lnTo>
                  <a:pt x="417" y="306"/>
                </a:lnTo>
                <a:lnTo>
                  <a:pt x="416" y="308"/>
                </a:lnTo>
                <a:lnTo>
                  <a:pt x="415" y="309"/>
                </a:lnTo>
                <a:lnTo>
                  <a:pt x="406" y="309"/>
                </a:lnTo>
                <a:lnTo>
                  <a:pt x="403" y="312"/>
                </a:lnTo>
                <a:lnTo>
                  <a:pt x="403" y="314"/>
                </a:lnTo>
                <a:lnTo>
                  <a:pt x="402" y="314"/>
                </a:lnTo>
                <a:lnTo>
                  <a:pt x="400" y="318"/>
                </a:lnTo>
                <a:lnTo>
                  <a:pt x="396" y="321"/>
                </a:lnTo>
                <a:lnTo>
                  <a:pt x="394" y="323"/>
                </a:lnTo>
                <a:lnTo>
                  <a:pt x="384" y="333"/>
                </a:lnTo>
                <a:lnTo>
                  <a:pt x="379" y="338"/>
                </a:lnTo>
                <a:lnTo>
                  <a:pt x="375" y="345"/>
                </a:lnTo>
                <a:lnTo>
                  <a:pt x="373" y="346"/>
                </a:lnTo>
                <a:lnTo>
                  <a:pt x="373" y="348"/>
                </a:lnTo>
                <a:lnTo>
                  <a:pt x="371" y="350"/>
                </a:lnTo>
                <a:lnTo>
                  <a:pt x="369" y="355"/>
                </a:lnTo>
                <a:lnTo>
                  <a:pt x="367" y="356"/>
                </a:lnTo>
                <a:lnTo>
                  <a:pt x="365" y="356"/>
                </a:lnTo>
                <a:lnTo>
                  <a:pt x="365" y="360"/>
                </a:lnTo>
                <a:lnTo>
                  <a:pt x="361" y="363"/>
                </a:lnTo>
                <a:lnTo>
                  <a:pt x="360" y="366"/>
                </a:lnTo>
                <a:lnTo>
                  <a:pt x="361" y="368"/>
                </a:lnTo>
                <a:lnTo>
                  <a:pt x="361" y="373"/>
                </a:lnTo>
                <a:lnTo>
                  <a:pt x="364" y="375"/>
                </a:lnTo>
                <a:lnTo>
                  <a:pt x="364" y="385"/>
                </a:lnTo>
                <a:lnTo>
                  <a:pt x="363" y="387"/>
                </a:lnTo>
                <a:lnTo>
                  <a:pt x="363" y="389"/>
                </a:lnTo>
                <a:lnTo>
                  <a:pt x="361" y="389"/>
                </a:lnTo>
                <a:lnTo>
                  <a:pt x="363" y="391"/>
                </a:lnTo>
                <a:lnTo>
                  <a:pt x="363" y="389"/>
                </a:lnTo>
                <a:lnTo>
                  <a:pt x="364" y="389"/>
                </a:lnTo>
                <a:lnTo>
                  <a:pt x="366" y="392"/>
                </a:lnTo>
                <a:lnTo>
                  <a:pt x="366" y="393"/>
                </a:lnTo>
                <a:lnTo>
                  <a:pt x="369" y="394"/>
                </a:lnTo>
                <a:lnTo>
                  <a:pt x="369" y="398"/>
                </a:lnTo>
                <a:lnTo>
                  <a:pt x="370" y="399"/>
                </a:lnTo>
                <a:lnTo>
                  <a:pt x="370" y="400"/>
                </a:lnTo>
                <a:lnTo>
                  <a:pt x="369" y="400"/>
                </a:lnTo>
                <a:lnTo>
                  <a:pt x="367" y="399"/>
                </a:lnTo>
                <a:lnTo>
                  <a:pt x="366" y="399"/>
                </a:lnTo>
                <a:lnTo>
                  <a:pt x="365" y="398"/>
                </a:lnTo>
                <a:lnTo>
                  <a:pt x="365" y="397"/>
                </a:lnTo>
                <a:lnTo>
                  <a:pt x="364" y="398"/>
                </a:lnTo>
                <a:lnTo>
                  <a:pt x="360" y="398"/>
                </a:lnTo>
                <a:lnTo>
                  <a:pt x="357" y="394"/>
                </a:lnTo>
                <a:lnTo>
                  <a:pt x="355" y="395"/>
                </a:lnTo>
                <a:lnTo>
                  <a:pt x="354" y="394"/>
                </a:lnTo>
                <a:lnTo>
                  <a:pt x="350" y="394"/>
                </a:lnTo>
                <a:lnTo>
                  <a:pt x="347" y="392"/>
                </a:lnTo>
                <a:lnTo>
                  <a:pt x="345" y="392"/>
                </a:lnTo>
                <a:lnTo>
                  <a:pt x="342" y="391"/>
                </a:lnTo>
                <a:lnTo>
                  <a:pt x="342" y="389"/>
                </a:lnTo>
                <a:lnTo>
                  <a:pt x="340" y="389"/>
                </a:lnTo>
                <a:lnTo>
                  <a:pt x="339" y="388"/>
                </a:lnTo>
                <a:lnTo>
                  <a:pt x="338" y="388"/>
                </a:lnTo>
                <a:lnTo>
                  <a:pt x="335" y="387"/>
                </a:lnTo>
                <a:lnTo>
                  <a:pt x="334" y="387"/>
                </a:lnTo>
                <a:lnTo>
                  <a:pt x="333" y="385"/>
                </a:lnTo>
                <a:lnTo>
                  <a:pt x="333" y="382"/>
                </a:lnTo>
                <a:lnTo>
                  <a:pt x="332" y="380"/>
                </a:lnTo>
                <a:lnTo>
                  <a:pt x="330" y="379"/>
                </a:lnTo>
                <a:lnTo>
                  <a:pt x="328" y="377"/>
                </a:lnTo>
                <a:lnTo>
                  <a:pt x="327" y="376"/>
                </a:lnTo>
                <a:lnTo>
                  <a:pt x="324" y="376"/>
                </a:lnTo>
                <a:lnTo>
                  <a:pt x="323" y="377"/>
                </a:lnTo>
                <a:lnTo>
                  <a:pt x="322" y="377"/>
                </a:lnTo>
                <a:lnTo>
                  <a:pt x="321" y="375"/>
                </a:lnTo>
                <a:lnTo>
                  <a:pt x="320" y="374"/>
                </a:lnTo>
                <a:lnTo>
                  <a:pt x="319" y="374"/>
                </a:lnTo>
                <a:lnTo>
                  <a:pt x="317" y="373"/>
                </a:lnTo>
                <a:lnTo>
                  <a:pt x="313" y="373"/>
                </a:lnTo>
                <a:lnTo>
                  <a:pt x="311" y="374"/>
                </a:lnTo>
                <a:lnTo>
                  <a:pt x="311" y="373"/>
                </a:lnTo>
                <a:lnTo>
                  <a:pt x="310" y="374"/>
                </a:lnTo>
                <a:lnTo>
                  <a:pt x="309" y="374"/>
                </a:lnTo>
                <a:lnTo>
                  <a:pt x="305" y="373"/>
                </a:lnTo>
                <a:lnTo>
                  <a:pt x="303" y="372"/>
                </a:lnTo>
                <a:lnTo>
                  <a:pt x="301" y="372"/>
                </a:lnTo>
                <a:lnTo>
                  <a:pt x="299" y="374"/>
                </a:lnTo>
                <a:lnTo>
                  <a:pt x="297" y="374"/>
                </a:lnTo>
                <a:lnTo>
                  <a:pt x="297" y="373"/>
                </a:lnTo>
                <a:lnTo>
                  <a:pt x="294" y="373"/>
                </a:lnTo>
                <a:lnTo>
                  <a:pt x="294" y="374"/>
                </a:lnTo>
                <a:lnTo>
                  <a:pt x="292" y="374"/>
                </a:lnTo>
                <a:lnTo>
                  <a:pt x="292" y="375"/>
                </a:lnTo>
                <a:lnTo>
                  <a:pt x="294" y="375"/>
                </a:lnTo>
                <a:lnTo>
                  <a:pt x="295" y="376"/>
                </a:lnTo>
                <a:lnTo>
                  <a:pt x="294" y="377"/>
                </a:lnTo>
                <a:lnTo>
                  <a:pt x="291" y="377"/>
                </a:lnTo>
                <a:lnTo>
                  <a:pt x="291" y="379"/>
                </a:lnTo>
                <a:lnTo>
                  <a:pt x="289" y="381"/>
                </a:lnTo>
                <a:lnTo>
                  <a:pt x="286" y="381"/>
                </a:lnTo>
                <a:lnTo>
                  <a:pt x="285" y="380"/>
                </a:lnTo>
                <a:lnTo>
                  <a:pt x="283" y="380"/>
                </a:lnTo>
                <a:lnTo>
                  <a:pt x="283" y="379"/>
                </a:lnTo>
                <a:lnTo>
                  <a:pt x="282" y="379"/>
                </a:lnTo>
                <a:lnTo>
                  <a:pt x="278" y="374"/>
                </a:lnTo>
                <a:lnTo>
                  <a:pt x="274" y="374"/>
                </a:lnTo>
                <a:lnTo>
                  <a:pt x="274" y="375"/>
                </a:lnTo>
                <a:lnTo>
                  <a:pt x="273" y="375"/>
                </a:lnTo>
                <a:lnTo>
                  <a:pt x="273" y="376"/>
                </a:lnTo>
                <a:lnTo>
                  <a:pt x="271" y="376"/>
                </a:lnTo>
                <a:lnTo>
                  <a:pt x="267" y="374"/>
                </a:lnTo>
                <a:lnTo>
                  <a:pt x="266" y="374"/>
                </a:lnTo>
                <a:lnTo>
                  <a:pt x="266" y="375"/>
                </a:lnTo>
                <a:lnTo>
                  <a:pt x="261" y="375"/>
                </a:lnTo>
                <a:lnTo>
                  <a:pt x="261" y="379"/>
                </a:lnTo>
                <a:lnTo>
                  <a:pt x="257" y="379"/>
                </a:lnTo>
                <a:lnTo>
                  <a:pt x="255" y="380"/>
                </a:lnTo>
                <a:lnTo>
                  <a:pt x="254" y="380"/>
                </a:lnTo>
                <a:lnTo>
                  <a:pt x="254" y="381"/>
                </a:lnTo>
                <a:lnTo>
                  <a:pt x="253" y="382"/>
                </a:lnTo>
                <a:lnTo>
                  <a:pt x="253" y="383"/>
                </a:lnTo>
                <a:lnTo>
                  <a:pt x="252" y="385"/>
                </a:lnTo>
                <a:lnTo>
                  <a:pt x="252" y="388"/>
                </a:lnTo>
                <a:lnTo>
                  <a:pt x="251" y="389"/>
                </a:lnTo>
                <a:lnTo>
                  <a:pt x="247" y="386"/>
                </a:lnTo>
                <a:lnTo>
                  <a:pt x="243" y="386"/>
                </a:lnTo>
                <a:lnTo>
                  <a:pt x="243" y="387"/>
                </a:lnTo>
                <a:lnTo>
                  <a:pt x="242" y="388"/>
                </a:lnTo>
                <a:lnTo>
                  <a:pt x="240" y="388"/>
                </a:lnTo>
                <a:lnTo>
                  <a:pt x="239" y="387"/>
                </a:lnTo>
                <a:lnTo>
                  <a:pt x="239" y="386"/>
                </a:lnTo>
                <a:lnTo>
                  <a:pt x="240" y="383"/>
                </a:lnTo>
                <a:lnTo>
                  <a:pt x="241" y="383"/>
                </a:lnTo>
                <a:lnTo>
                  <a:pt x="241" y="382"/>
                </a:lnTo>
                <a:lnTo>
                  <a:pt x="240" y="382"/>
                </a:lnTo>
                <a:lnTo>
                  <a:pt x="240" y="376"/>
                </a:lnTo>
                <a:lnTo>
                  <a:pt x="239" y="375"/>
                </a:lnTo>
                <a:lnTo>
                  <a:pt x="239" y="374"/>
                </a:lnTo>
                <a:lnTo>
                  <a:pt x="237" y="375"/>
                </a:lnTo>
                <a:lnTo>
                  <a:pt x="235" y="375"/>
                </a:lnTo>
                <a:lnTo>
                  <a:pt x="233" y="374"/>
                </a:lnTo>
                <a:lnTo>
                  <a:pt x="233" y="372"/>
                </a:lnTo>
                <a:lnTo>
                  <a:pt x="230" y="372"/>
                </a:lnTo>
                <a:lnTo>
                  <a:pt x="230" y="370"/>
                </a:lnTo>
                <a:lnTo>
                  <a:pt x="228" y="366"/>
                </a:lnTo>
                <a:lnTo>
                  <a:pt x="228" y="363"/>
                </a:lnTo>
                <a:lnTo>
                  <a:pt x="227" y="363"/>
                </a:lnTo>
                <a:lnTo>
                  <a:pt x="226" y="362"/>
                </a:lnTo>
                <a:lnTo>
                  <a:pt x="226" y="361"/>
                </a:lnTo>
                <a:lnTo>
                  <a:pt x="221" y="366"/>
                </a:lnTo>
                <a:lnTo>
                  <a:pt x="221" y="367"/>
                </a:lnTo>
                <a:lnTo>
                  <a:pt x="216" y="367"/>
                </a:lnTo>
                <a:lnTo>
                  <a:pt x="216" y="368"/>
                </a:lnTo>
                <a:lnTo>
                  <a:pt x="215" y="370"/>
                </a:lnTo>
                <a:lnTo>
                  <a:pt x="216" y="372"/>
                </a:lnTo>
                <a:lnTo>
                  <a:pt x="215" y="372"/>
                </a:lnTo>
                <a:lnTo>
                  <a:pt x="215" y="373"/>
                </a:lnTo>
                <a:lnTo>
                  <a:pt x="212" y="375"/>
                </a:lnTo>
                <a:lnTo>
                  <a:pt x="210" y="375"/>
                </a:lnTo>
                <a:lnTo>
                  <a:pt x="210" y="374"/>
                </a:lnTo>
                <a:lnTo>
                  <a:pt x="209" y="374"/>
                </a:lnTo>
                <a:lnTo>
                  <a:pt x="207" y="375"/>
                </a:lnTo>
                <a:lnTo>
                  <a:pt x="205" y="375"/>
                </a:lnTo>
                <a:lnTo>
                  <a:pt x="205" y="372"/>
                </a:lnTo>
                <a:lnTo>
                  <a:pt x="204" y="370"/>
                </a:lnTo>
                <a:lnTo>
                  <a:pt x="204" y="369"/>
                </a:lnTo>
                <a:lnTo>
                  <a:pt x="205" y="368"/>
                </a:lnTo>
                <a:lnTo>
                  <a:pt x="204" y="368"/>
                </a:lnTo>
                <a:lnTo>
                  <a:pt x="199" y="367"/>
                </a:lnTo>
                <a:lnTo>
                  <a:pt x="199" y="361"/>
                </a:lnTo>
                <a:lnTo>
                  <a:pt x="198" y="361"/>
                </a:lnTo>
                <a:lnTo>
                  <a:pt x="198" y="357"/>
                </a:lnTo>
                <a:lnTo>
                  <a:pt x="197" y="356"/>
                </a:lnTo>
                <a:lnTo>
                  <a:pt x="196" y="356"/>
                </a:lnTo>
                <a:lnTo>
                  <a:pt x="196" y="357"/>
                </a:lnTo>
                <a:lnTo>
                  <a:pt x="195" y="357"/>
                </a:lnTo>
                <a:lnTo>
                  <a:pt x="195" y="356"/>
                </a:lnTo>
                <a:lnTo>
                  <a:pt x="193" y="356"/>
                </a:lnTo>
                <a:lnTo>
                  <a:pt x="193" y="355"/>
                </a:lnTo>
                <a:lnTo>
                  <a:pt x="191" y="355"/>
                </a:lnTo>
                <a:lnTo>
                  <a:pt x="191" y="354"/>
                </a:lnTo>
                <a:lnTo>
                  <a:pt x="190" y="352"/>
                </a:lnTo>
                <a:lnTo>
                  <a:pt x="189" y="350"/>
                </a:lnTo>
                <a:lnTo>
                  <a:pt x="189" y="346"/>
                </a:lnTo>
                <a:lnTo>
                  <a:pt x="190" y="345"/>
                </a:lnTo>
                <a:lnTo>
                  <a:pt x="189" y="344"/>
                </a:lnTo>
                <a:lnTo>
                  <a:pt x="189" y="343"/>
                </a:lnTo>
                <a:lnTo>
                  <a:pt x="187" y="342"/>
                </a:lnTo>
                <a:lnTo>
                  <a:pt x="187" y="340"/>
                </a:lnTo>
                <a:lnTo>
                  <a:pt x="186" y="342"/>
                </a:lnTo>
                <a:lnTo>
                  <a:pt x="185" y="342"/>
                </a:lnTo>
                <a:lnTo>
                  <a:pt x="181" y="340"/>
                </a:lnTo>
                <a:lnTo>
                  <a:pt x="180" y="339"/>
                </a:lnTo>
                <a:lnTo>
                  <a:pt x="178" y="339"/>
                </a:lnTo>
                <a:lnTo>
                  <a:pt x="178" y="340"/>
                </a:lnTo>
                <a:lnTo>
                  <a:pt x="179" y="340"/>
                </a:lnTo>
                <a:lnTo>
                  <a:pt x="178" y="342"/>
                </a:lnTo>
                <a:lnTo>
                  <a:pt x="177" y="342"/>
                </a:lnTo>
                <a:lnTo>
                  <a:pt x="176" y="340"/>
                </a:lnTo>
                <a:lnTo>
                  <a:pt x="176" y="339"/>
                </a:lnTo>
                <a:lnTo>
                  <a:pt x="174" y="338"/>
                </a:lnTo>
                <a:lnTo>
                  <a:pt x="173" y="338"/>
                </a:lnTo>
                <a:lnTo>
                  <a:pt x="172" y="337"/>
                </a:lnTo>
                <a:lnTo>
                  <a:pt x="171" y="337"/>
                </a:lnTo>
                <a:lnTo>
                  <a:pt x="168" y="336"/>
                </a:lnTo>
                <a:lnTo>
                  <a:pt x="168" y="334"/>
                </a:lnTo>
                <a:lnTo>
                  <a:pt x="166" y="332"/>
                </a:lnTo>
                <a:lnTo>
                  <a:pt x="165" y="332"/>
                </a:lnTo>
                <a:lnTo>
                  <a:pt x="165" y="333"/>
                </a:lnTo>
                <a:lnTo>
                  <a:pt x="166" y="333"/>
                </a:lnTo>
                <a:lnTo>
                  <a:pt x="166" y="334"/>
                </a:lnTo>
                <a:lnTo>
                  <a:pt x="165" y="336"/>
                </a:lnTo>
                <a:lnTo>
                  <a:pt x="162" y="336"/>
                </a:lnTo>
                <a:lnTo>
                  <a:pt x="161" y="337"/>
                </a:lnTo>
                <a:lnTo>
                  <a:pt x="158" y="337"/>
                </a:lnTo>
                <a:lnTo>
                  <a:pt x="154" y="333"/>
                </a:lnTo>
                <a:lnTo>
                  <a:pt x="154" y="331"/>
                </a:lnTo>
                <a:lnTo>
                  <a:pt x="153" y="331"/>
                </a:lnTo>
                <a:lnTo>
                  <a:pt x="153" y="329"/>
                </a:lnTo>
                <a:lnTo>
                  <a:pt x="149" y="329"/>
                </a:lnTo>
                <a:lnTo>
                  <a:pt x="147" y="326"/>
                </a:lnTo>
                <a:lnTo>
                  <a:pt x="147" y="325"/>
                </a:lnTo>
                <a:lnTo>
                  <a:pt x="148" y="324"/>
                </a:lnTo>
                <a:lnTo>
                  <a:pt x="150" y="324"/>
                </a:lnTo>
                <a:lnTo>
                  <a:pt x="153" y="323"/>
                </a:lnTo>
                <a:lnTo>
                  <a:pt x="153" y="321"/>
                </a:lnTo>
                <a:lnTo>
                  <a:pt x="154" y="321"/>
                </a:lnTo>
                <a:lnTo>
                  <a:pt x="153" y="320"/>
                </a:lnTo>
                <a:lnTo>
                  <a:pt x="153" y="315"/>
                </a:lnTo>
                <a:lnTo>
                  <a:pt x="152" y="314"/>
                </a:lnTo>
                <a:lnTo>
                  <a:pt x="150" y="314"/>
                </a:lnTo>
                <a:lnTo>
                  <a:pt x="150" y="315"/>
                </a:lnTo>
                <a:lnTo>
                  <a:pt x="149" y="318"/>
                </a:lnTo>
                <a:lnTo>
                  <a:pt x="142" y="318"/>
                </a:lnTo>
                <a:lnTo>
                  <a:pt x="141" y="319"/>
                </a:lnTo>
                <a:lnTo>
                  <a:pt x="140" y="319"/>
                </a:lnTo>
                <a:lnTo>
                  <a:pt x="140" y="318"/>
                </a:lnTo>
                <a:lnTo>
                  <a:pt x="137" y="318"/>
                </a:lnTo>
                <a:lnTo>
                  <a:pt x="137" y="319"/>
                </a:lnTo>
                <a:lnTo>
                  <a:pt x="136" y="318"/>
                </a:lnTo>
                <a:lnTo>
                  <a:pt x="136" y="314"/>
                </a:lnTo>
                <a:lnTo>
                  <a:pt x="133" y="314"/>
                </a:lnTo>
                <a:lnTo>
                  <a:pt x="131" y="313"/>
                </a:lnTo>
                <a:lnTo>
                  <a:pt x="130" y="313"/>
                </a:lnTo>
                <a:lnTo>
                  <a:pt x="130" y="311"/>
                </a:lnTo>
                <a:lnTo>
                  <a:pt x="127" y="311"/>
                </a:lnTo>
                <a:lnTo>
                  <a:pt x="127" y="309"/>
                </a:lnTo>
                <a:lnTo>
                  <a:pt x="125" y="309"/>
                </a:lnTo>
                <a:lnTo>
                  <a:pt x="122" y="308"/>
                </a:lnTo>
                <a:lnTo>
                  <a:pt x="121" y="308"/>
                </a:lnTo>
                <a:lnTo>
                  <a:pt x="119" y="307"/>
                </a:lnTo>
                <a:lnTo>
                  <a:pt x="116" y="307"/>
                </a:lnTo>
                <a:lnTo>
                  <a:pt x="117" y="308"/>
                </a:lnTo>
                <a:lnTo>
                  <a:pt x="118" y="311"/>
                </a:lnTo>
                <a:lnTo>
                  <a:pt x="118" y="313"/>
                </a:lnTo>
                <a:lnTo>
                  <a:pt x="119" y="314"/>
                </a:lnTo>
                <a:lnTo>
                  <a:pt x="119" y="315"/>
                </a:lnTo>
                <a:lnTo>
                  <a:pt x="121" y="315"/>
                </a:lnTo>
                <a:lnTo>
                  <a:pt x="122" y="317"/>
                </a:lnTo>
                <a:lnTo>
                  <a:pt x="122" y="319"/>
                </a:lnTo>
                <a:lnTo>
                  <a:pt x="123" y="320"/>
                </a:lnTo>
                <a:lnTo>
                  <a:pt x="123" y="321"/>
                </a:lnTo>
                <a:lnTo>
                  <a:pt x="122" y="321"/>
                </a:lnTo>
                <a:lnTo>
                  <a:pt x="122" y="320"/>
                </a:lnTo>
                <a:lnTo>
                  <a:pt x="121" y="320"/>
                </a:lnTo>
                <a:lnTo>
                  <a:pt x="121" y="321"/>
                </a:lnTo>
                <a:lnTo>
                  <a:pt x="118" y="321"/>
                </a:lnTo>
                <a:lnTo>
                  <a:pt x="117" y="323"/>
                </a:lnTo>
                <a:lnTo>
                  <a:pt x="115" y="323"/>
                </a:lnTo>
                <a:lnTo>
                  <a:pt x="112" y="325"/>
                </a:lnTo>
                <a:lnTo>
                  <a:pt x="112" y="326"/>
                </a:lnTo>
                <a:lnTo>
                  <a:pt x="110" y="329"/>
                </a:lnTo>
                <a:lnTo>
                  <a:pt x="106" y="329"/>
                </a:lnTo>
                <a:lnTo>
                  <a:pt x="104" y="326"/>
                </a:lnTo>
                <a:lnTo>
                  <a:pt x="104" y="325"/>
                </a:lnTo>
                <a:lnTo>
                  <a:pt x="103" y="323"/>
                </a:lnTo>
                <a:lnTo>
                  <a:pt x="103" y="321"/>
                </a:lnTo>
                <a:lnTo>
                  <a:pt x="100" y="319"/>
                </a:lnTo>
                <a:lnTo>
                  <a:pt x="99" y="317"/>
                </a:lnTo>
                <a:lnTo>
                  <a:pt x="98" y="315"/>
                </a:lnTo>
                <a:lnTo>
                  <a:pt x="96" y="314"/>
                </a:lnTo>
                <a:lnTo>
                  <a:pt x="94" y="313"/>
                </a:lnTo>
                <a:lnTo>
                  <a:pt x="94" y="311"/>
                </a:lnTo>
                <a:lnTo>
                  <a:pt x="91" y="311"/>
                </a:lnTo>
                <a:lnTo>
                  <a:pt x="90" y="308"/>
                </a:lnTo>
                <a:lnTo>
                  <a:pt x="89" y="308"/>
                </a:lnTo>
                <a:lnTo>
                  <a:pt x="89" y="306"/>
                </a:lnTo>
                <a:lnTo>
                  <a:pt x="90" y="306"/>
                </a:lnTo>
                <a:lnTo>
                  <a:pt x="90" y="305"/>
                </a:lnTo>
                <a:lnTo>
                  <a:pt x="91" y="305"/>
                </a:lnTo>
                <a:lnTo>
                  <a:pt x="92" y="303"/>
                </a:lnTo>
                <a:lnTo>
                  <a:pt x="92" y="302"/>
                </a:lnTo>
                <a:lnTo>
                  <a:pt x="96" y="302"/>
                </a:lnTo>
                <a:lnTo>
                  <a:pt x="96" y="301"/>
                </a:lnTo>
                <a:lnTo>
                  <a:pt x="97" y="301"/>
                </a:lnTo>
                <a:lnTo>
                  <a:pt x="97" y="299"/>
                </a:lnTo>
                <a:lnTo>
                  <a:pt x="98" y="297"/>
                </a:lnTo>
                <a:lnTo>
                  <a:pt x="98" y="296"/>
                </a:lnTo>
                <a:lnTo>
                  <a:pt x="93" y="291"/>
                </a:lnTo>
                <a:lnTo>
                  <a:pt x="90" y="291"/>
                </a:lnTo>
                <a:lnTo>
                  <a:pt x="89" y="293"/>
                </a:lnTo>
                <a:lnTo>
                  <a:pt x="89" y="294"/>
                </a:lnTo>
                <a:lnTo>
                  <a:pt x="87" y="294"/>
                </a:lnTo>
                <a:lnTo>
                  <a:pt x="85" y="293"/>
                </a:lnTo>
                <a:lnTo>
                  <a:pt x="84" y="293"/>
                </a:lnTo>
                <a:lnTo>
                  <a:pt x="81" y="295"/>
                </a:lnTo>
                <a:lnTo>
                  <a:pt x="79" y="295"/>
                </a:lnTo>
                <a:lnTo>
                  <a:pt x="79" y="294"/>
                </a:lnTo>
                <a:lnTo>
                  <a:pt x="80" y="294"/>
                </a:lnTo>
                <a:lnTo>
                  <a:pt x="80" y="293"/>
                </a:lnTo>
                <a:lnTo>
                  <a:pt x="79" y="291"/>
                </a:lnTo>
                <a:lnTo>
                  <a:pt x="79" y="290"/>
                </a:lnTo>
                <a:lnTo>
                  <a:pt x="78" y="290"/>
                </a:lnTo>
                <a:lnTo>
                  <a:pt x="78" y="289"/>
                </a:lnTo>
                <a:lnTo>
                  <a:pt x="75" y="290"/>
                </a:lnTo>
                <a:lnTo>
                  <a:pt x="73" y="290"/>
                </a:lnTo>
                <a:lnTo>
                  <a:pt x="72" y="287"/>
                </a:lnTo>
                <a:lnTo>
                  <a:pt x="71" y="286"/>
                </a:lnTo>
                <a:lnTo>
                  <a:pt x="67" y="287"/>
                </a:lnTo>
                <a:lnTo>
                  <a:pt x="66" y="287"/>
                </a:lnTo>
                <a:lnTo>
                  <a:pt x="66" y="286"/>
                </a:lnTo>
                <a:lnTo>
                  <a:pt x="65" y="286"/>
                </a:lnTo>
                <a:lnTo>
                  <a:pt x="56" y="282"/>
                </a:lnTo>
                <a:lnTo>
                  <a:pt x="55" y="282"/>
                </a:lnTo>
                <a:lnTo>
                  <a:pt x="54" y="283"/>
                </a:lnTo>
                <a:lnTo>
                  <a:pt x="54" y="284"/>
                </a:lnTo>
                <a:lnTo>
                  <a:pt x="53" y="284"/>
                </a:lnTo>
                <a:lnTo>
                  <a:pt x="53" y="280"/>
                </a:lnTo>
                <a:lnTo>
                  <a:pt x="50" y="280"/>
                </a:lnTo>
                <a:lnTo>
                  <a:pt x="50" y="278"/>
                </a:lnTo>
                <a:lnTo>
                  <a:pt x="49" y="278"/>
                </a:lnTo>
                <a:lnTo>
                  <a:pt x="49" y="276"/>
                </a:lnTo>
                <a:lnTo>
                  <a:pt x="48" y="275"/>
                </a:lnTo>
                <a:lnTo>
                  <a:pt x="49" y="274"/>
                </a:lnTo>
                <a:lnTo>
                  <a:pt x="49" y="272"/>
                </a:lnTo>
                <a:lnTo>
                  <a:pt x="47" y="270"/>
                </a:lnTo>
                <a:lnTo>
                  <a:pt x="44" y="270"/>
                </a:lnTo>
                <a:lnTo>
                  <a:pt x="44" y="268"/>
                </a:lnTo>
                <a:lnTo>
                  <a:pt x="43" y="269"/>
                </a:lnTo>
                <a:lnTo>
                  <a:pt x="43" y="270"/>
                </a:lnTo>
                <a:lnTo>
                  <a:pt x="42" y="270"/>
                </a:lnTo>
                <a:lnTo>
                  <a:pt x="41" y="269"/>
                </a:lnTo>
                <a:lnTo>
                  <a:pt x="38" y="269"/>
                </a:lnTo>
                <a:lnTo>
                  <a:pt x="38" y="268"/>
                </a:lnTo>
                <a:lnTo>
                  <a:pt x="37" y="268"/>
                </a:lnTo>
                <a:lnTo>
                  <a:pt x="37" y="269"/>
                </a:lnTo>
                <a:lnTo>
                  <a:pt x="36" y="269"/>
                </a:lnTo>
                <a:lnTo>
                  <a:pt x="36" y="270"/>
                </a:lnTo>
                <a:lnTo>
                  <a:pt x="37" y="271"/>
                </a:lnTo>
                <a:lnTo>
                  <a:pt x="37" y="278"/>
                </a:lnTo>
                <a:lnTo>
                  <a:pt x="30" y="278"/>
                </a:lnTo>
                <a:lnTo>
                  <a:pt x="30" y="276"/>
                </a:lnTo>
                <a:lnTo>
                  <a:pt x="32" y="275"/>
                </a:lnTo>
                <a:lnTo>
                  <a:pt x="34" y="269"/>
                </a:lnTo>
                <a:lnTo>
                  <a:pt x="36" y="264"/>
                </a:lnTo>
                <a:lnTo>
                  <a:pt x="36" y="262"/>
                </a:lnTo>
                <a:lnTo>
                  <a:pt x="37" y="262"/>
                </a:lnTo>
                <a:lnTo>
                  <a:pt x="37" y="256"/>
                </a:lnTo>
                <a:lnTo>
                  <a:pt x="38" y="254"/>
                </a:lnTo>
                <a:lnTo>
                  <a:pt x="38" y="250"/>
                </a:lnTo>
                <a:lnTo>
                  <a:pt x="36" y="247"/>
                </a:lnTo>
                <a:lnTo>
                  <a:pt x="36" y="239"/>
                </a:lnTo>
                <a:lnTo>
                  <a:pt x="35" y="238"/>
                </a:lnTo>
                <a:lnTo>
                  <a:pt x="34" y="238"/>
                </a:lnTo>
                <a:lnTo>
                  <a:pt x="32" y="237"/>
                </a:lnTo>
                <a:lnTo>
                  <a:pt x="31" y="237"/>
                </a:lnTo>
                <a:lnTo>
                  <a:pt x="30" y="235"/>
                </a:lnTo>
                <a:lnTo>
                  <a:pt x="29" y="235"/>
                </a:lnTo>
                <a:lnTo>
                  <a:pt x="27" y="234"/>
                </a:lnTo>
                <a:lnTo>
                  <a:pt x="25" y="233"/>
                </a:lnTo>
                <a:lnTo>
                  <a:pt x="25" y="231"/>
                </a:lnTo>
                <a:lnTo>
                  <a:pt x="27" y="229"/>
                </a:lnTo>
                <a:lnTo>
                  <a:pt x="27" y="223"/>
                </a:lnTo>
                <a:lnTo>
                  <a:pt x="24" y="221"/>
                </a:lnTo>
                <a:lnTo>
                  <a:pt x="23" y="221"/>
                </a:lnTo>
                <a:lnTo>
                  <a:pt x="23" y="217"/>
                </a:lnTo>
                <a:lnTo>
                  <a:pt x="21" y="215"/>
                </a:lnTo>
                <a:lnTo>
                  <a:pt x="21" y="211"/>
                </a:lnTo>
                <a:lnTo>
                  <a:pt x="24" y="208"/>
                </a:lnTo>
                <a:lnTo>
                  <a:pt x="24" y="207"/>
                </a:lnTo>
                <a:lnTo>
                  <a:pt x="25" y="205"/>
                </a:lnTo>
                <a:lnTo>
                  <a:pt x="25" y="201"/>
                </a:lnTo>
                <a:lnTo>
                  <a:pt x="27" y="200"/>
                </a:lnTo>
                <a:lnTo>
                  <a:pt x="27" y="197"/>
                </a:lnTo>
                <a:lnTo>
                  <a:pt x="28" y="196"/>
                </a:lnTo>
                <a:lnTo>
                  <a:pt x="24" y="192"/>
                </a:lnTo>
                <a:lnTo>
                  <a:pt x="25" y="191"/>
                </a:lnTo>
                <a:lnTo>
                  <a:pt x="25" y="184"/>
                </a:lnTo>
                <a:lnTo>
                  <a:pt x="24" y="183"/>
                </a:lnTo>
                <a:lnTo>
                  <a:pt x="23" y="183"/>
                </a:lnTo>
                <a:lnTo>
                  <a:pt x="22" y="182"/>
                </a:lnTo>
                <a:lnTo>
                  <a:pt x="21" y="182"/>
                </a:lnTo>
                <a:lnTo>
                  <a:pt x="21" y="180"/>
                </a:lnTo>
                <a:lnTo>
                  <a:pt x="19" y="178"/>
                </a:lnTo>
                <a:lnTo>
                  <a:pt x="18" y="174"/>
                </a:lnTo>
                <a:lnTo>
                  <a:pt x="18" y="172"/>
                </a:lnTo>
                <a:lnTo>
                  <a:pt x="22" y="168"/>
                </a:lnTo>
                <a:lnTo>
                  <a:pt x="22" y="164"/>
                </a:lnTo>
                <a:lnTo>
                  <a:pt x="23" y="161"/>
                </a:lnTo>
                <a:lnTo>
                  <a:pt x="19" y="158"/>
                </a:lnTo>
                <a:lnTo>
                  <a:pt x="16" y="157"/>
                </a:lnTo>
                <a:lnTo>
                  <a:pt x="15" y="154"/>
                </a:lnTo>
                <a:lnTo>
                  <a:pt x="13" y="154"/>
                </a:lnTo>
                <a:lnTo>
                  <a:pt x="12" y="151"/>
                </a:lnTo>
                <a:lnTo>
                  <a:pt x="7" y="147"/>
                </a:lnTo>
                <a:lnTo>
                  <a:pt x="5" y="145"/>
                </a:lnTo>
                <a:lnTo>
                  <a:pt x="3" y="145"/>
                </a:lnTo>
                <a:lnTo>
                  <a:pt x="0" y="142"/>
                </a:lnTo>
                <a:lnTo>
                  <a:pt x="2" y="141"/>
                </a:lnTo>
                <a:lnTo>
                  <a:pt x="3" y="141"/>
                </a:lnTo>
                <a:lnTo>
                  <a:pt x="3" y="139"/>
                </a:lnTo>
                <a:lnTo>
                  <a:pt x="2" y="136"/>
                </a:lnTo>
                <a:lnTo>
                  <a:pt x="2" y="135"/>
                </a:lnTo>
                <a:lnTo>
                  <a:pt x="4" y="133"/>
                </a:lnTo>
                <a:lnTo>
                  <a:pt x="9" y="130"/>
                </a:lnTo>
                <a:lnTo>
                  <a:pt x="10" y="128"/>
                </a:lnTo>
                <a:lnTo>
                  <a:pt x="11" y="127"/>
                </a:lnTo>
                <a:lnTo>
                  <a:pt x="12" y="123"/>
                </a:lnTo>
                <a:lnTo>
                  <a:pt x="12" y="121"/>
                </a:lnTo>
                <a:lnTo>
                  <a:pt x="11" y="119"/>
                </a:lnTo>
                <a:lnTo>
                  <a:pt x="12" y="118"/>
                </a:lnTo>
                <a:lnTo>
                  <a:pt x="12" y="117"/>
                </a:lnTo>
                <a:lnTo>
                  <a:pt x="13" y="117"/>
                </a:lnTo>
                <a:lnTo>
                  <a:pt x="13" y="116"/>
                </a:lnTo>
                <a:lnTo>
                  <a:pt x="15" y="115"/>
                </a:lnTo>
                <a:lnTo>
                  <a:pt x="13" y="114"/>
                </a:lnTo>
                <a:lnTo>
                  <a:pt x="13" y="112"/>
                </a:lnTo>
                <a:lnTo>
                  <a:pt x="12" y="112"/>
                </a:lnTo>
                <a:lnTo>
                  <a:pt x="12" y="109"/>
                </a:lnTo>
                <a:lnTo>
                  <a:pt x="11" y="104"/>
                </a:lnTo>
                <a:lnTo>
                  <a:pt x="11" y="100"/>
                </a:lnTo>
                <a:lnTo>
                  <a:pt x="10" y="99"/>
                </a:lnTo>
                <a:lnTo>
                  <a:pt x="10" y="98"/>
                </a:lnTo>
                <a:lnTo>
                  <a:pt x="9" y="96"/>
                </a:lnTo>
                <a:lnTo>
                  <a:pt x="9" y="90"/>
                </a:lnTo>
                <a:lnTo>
                  <a:pt x="7" y="87"/>
                </a:lnTo>
                <a:lnTo>
                  <a:pt x="6" y="86"/>
                </a:lnTo>
                <a:lnTo>
                  <a:pt x="6" y="82"/>
                </a:lnTo>
                <a:lnTo>
                  <a:pt x="7" y="82"/>
                </a:lnTo>
                <a:lnTo>
                  <a:pt x="9" y="81"/>
                </a:lnTo>
                <a:lnTo>
                  <a:pt x="7" y="80"/>
                </a:lnTo>
                <a:lnTo>
                  <a:pt x="10" y="80"/>
                </a:lnTo>
                <a:lnTo>
                  <a:pt x="10" y="81"/>
                </a:lnTo>
                <a:lnTo>
                  <a:pt x="11" y="81"/>
                </a:lnTo>
                <a:lnTo>
                  <a:pt x="12" y="82"/>
                </a:lnTo>
                <a:lnTo>
                  <a:pt x="12" y="84"/>
                </a:lnTo>
                <a:lnTo>
                  <a:pt x="15" y="84"/>
                </a:lnTo>
                <a:lnTo>
                  <a:pt x="17" y="85"/>
                </a:lnTo>
                <a:lnTo>
                  <a:pt x="18" y="85"/>
                </a:lnTo>
                <a:lnTo>
                  <a:pt x="18" y="86"/>
                </a:lnTo>
                <a:lnTo>
                  <a:pt x="21" y="88"/>
                </a:lnTo>
                <a:lnTo>
                  <a:pt x="21" y="87"/>
                </a:lnTo>
                <a:lnTo>
                  <a:pt x="22" y="87"/>
                </a:lnTo>
                <a:lnTo>
                  <a:pt x="22" y="86"/>
                </a:lnTo>
                <a:lnTo>
                  <a:pt x="21" y="86"/>
                </a:lnTo>
                <a:lnTo>
                  <a:pt x="19" y="85"/>
                </a:lnTo>
                <a:lnTo>
                  <a:pt x="18" y="82"/>
                </a:lnTo>
                <a:lnTo>
                  <a:pt x="19" y="80"/>
                </a:lnTo>
                <a:lnTo>
                  <a:pt x="19" y="78"/>
                </a:lnTo>
                <a:lnTo>
                  <a:pt x="22" y="78"/>
                </a:lnTo>
                <a:lnTo>
                  <a:pt x="22" y="73"/>
                </a:lnTo>
                <a:lnTo>
                  <a:pt x="21" y="74"/>
                </a:lnTo>
                <a:lnTo>
                  <a:pt x="19" y="74"/>
                </a:lnTo>
                <a:lnTo>
                  <a:pt x="19" y="73"/>
                </a:lnTo>
                <a:lnTo>
                  <a:pt x="21" y="73"/>
                </a:lnTo>
                <a:lnTo>
                  <a:pt x="19" y="72"/>
                </a:lnTo>
                <a:lnTo>
                  <a:pt x="19" y="71"/>
                </a:lnTo>
                <a:lnTo>
                  <a:pt x="15" y="71"/>
                </a:lnTo>
                <a:lnTo>
                  <a:pt x="13" y="69"/>
                </a:lnTo>
                <a:lnTo>
                  <a:pt x="15" y="68"/>
                </a:lnTo>
                <a:lnTo>
                  <a:pt x="11" y="68"/>
                </a:lnTo>
                <a:lnTo>
                  <a:pt x="11" y="69"/>
                </a:lnTo>
                <a:lnTo>
                  <a:pt x="12" y="69"/>
                </a:lnTo>
                <a:lnTo>
                  <a:pt x="13" y="71"/>
                </a:lnTo>
                <a:lnTo>
                  <a:pt x="13" y="72"/>
                </a:lnTo>
                <a:lnTo>
                  <a:pt x="12" y="72"/>
                </a:lnTo>
                <a:lnTo>
                  <a:pt x="11" y="73"/>
                </a:lnTo>
                <a:lnTo>
                  <a:pt x="10" y="73"/>
                </a:lnTo>
                <a:lnTo>
                  <a:pt x="10" y="74"/>
                </a:lnTo>
                <a:lnTo>
                  <a:pt x="9" y="74"/>
                </a:lnTo>
                <a:lnTo>
                  <a:pt x="4" y="69"/>
                </a:lnTo>
                <a:lnTo>
                  <a:pt x="4" y="68"/>
                </a:lnTo>
                <a:lnTo>
                  <a:pt x="3" y="68"/>
                </a:lnTo>
                <a:lnTo>
                  <a:pt x="4" y="67"/>
                </a:lnTo>
                <a:lnTo>
                  <a:pt x="4" y="66"/>
                </a:lnTo>
                <a:lnTo>
                  <a:pt x="5" y="66"/>
                </a:lnTo>
                <a:lnTo>
                  <a:pt x="7" y="67"/>
                </a:lnTo>
                <a:lnTo>
                  <a:pt x="12" y="67"/>
                </a:lnTo>
                <a:lnTo>
                  <a:pt x="15" y="66"/>
                </a:lnTo>
                <a:lnTo>
                  <a:pt x="17" y="63"/>
                </a:lnTo>
                <a:lnTo>
                  <a:pt x="29" y="59"/>
                </a:lnTo>
                <a:lnTo>
                  <a:pt x="38" y="56"/>
                </a:lnTo>
                <a:lnTo>
                  <a:pt x="50" y="51"/>
                </a:lnTo>
                <a:lnTo>
                  <a:pt x="58" y="49"/>
                </a:lnTo>
                <a:lnTo>
                  <a:pt x="66" y="47"/>
                </a:lnTo>
                <a:lnTo>
                  <a:pt x="74" y="43"/>
                </a:lnTo>
                <a:lnTo>
                  <a:pt x="81" y="42"/>
                </a:lnTo>
                <a:lnTo>
                  <a:pt x="84" y="42"/>
                </a:lnTo>
                <a:lnTo>
                  <a:pt x="83" y="42"/>
                </a:lnTo>
                <a:lnTo>
                  <a:pt x="84" y="43"/>
                </a:lnTo>
                <a:lnTo>
                  <a:pt x="87" y="42"/>
                </a:lnTo>
                <a:lnTo>
                  <a:pt x="87" y="41"/>
                </a:lnTo>
                <a:lnTo>
                  <a:pt x="89" y="41"/>
                </a:lnTo>
                <a:lnTo>
                  <a:pt x="89" y="39"/>
                </a:lnTo>
                <a:lnTo>
                  <a:pt x="87" y="39"/>
                </a:lnTo>
                <a:lnTo>
                  <a:pt x="90" y="37"/>
                </a:lnTo>
                <a:lnTo>
                  <a:pt x="92" y="37"/>
                </a:lnTo>
                <a:lnTo>
                  <a:pt x="92" y="36"/>
                </a:lnTo>
                <a:lnTo>
                  <a:pt x="93" y="36"/>
                </a:lnTo>
                <a:lnTo>
                  <a:pt x="94" y="35"/>
                </a:lnTo>
                <a:lnTo>
                  <a:pt x="93" y="34"/>
                </a:lnTo>
                <a:lnTo>
                  <a:pt x="92" y="35"/>
                </a:lnTo>
                <a:lnTo>
                  <a:pt x="93" y="32"/>
                </a:lnTo>
                <a:lnTo>
                  <a:pt x="98" y="25"/>
                </a:lnTo>
                <a:lnTo>
                  <a:pt x="98" y="26"/>
                </a:lnTo>
                <a:lnTo>
                  <a:pt x="99" y="28"/>
                </a:lnTo>
                <a:lnTo>
                  <a:pt x="99" y="26"/>
                </a:lnTo>
                <a:lnTo>
                  <a:pt x="100" y="26"/>
                </a:lnTo>
                <a:lnTo>
                  <a:pt x="100" y="25"/>
                </a:lnTo>
                <a:lnTo>
                  <a:pt x="99" y="25"/>
                </a:lnTo>
                <a:lnTo>
                  <a:pt x="99" y="24"/>
                </a:lnTo>
                <a:lnTo>
                  <a:pt x="102" y="23"/>
                </a:lnTo>
                <a:lnTo>
                  <a:pt x="104" y="20"/>
                </a:lnTo>
                <a:lnTo>
                  <a:pt x="112" y="19"/>
                </a:lnTo>
                <a:lnTo>
                  <a:pt x="116" y="18"/>
                </a:lnTo>
                <a:lnTo>
                  <a:pt x="118" y="18"/>
                </a:lnTo>
                <a:lnTo>
                  <a:pt x="119" y="17"/>
                </a:lnTo>
                <a:lnTo>
                  <a:pt x="124" y="13"/>
                </a:lnTo>
                <a:lnTo>
                  <a:pt x="136" y="7"/>
                </a:lnTo>
                <a:lnTo>
                  <a:pt x="153" y="4"/>
                </a:lnTo>
                <a:lnTo>
                  <a:pt x="160" y="1"/>
                </a:lnTo>
                <a:lnTo>
                  <a:pt x="171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" name="Freeform 23">
            <a:extLst>
              <a:ext uri="{FF2B5EF4-FFF2-40B4-BE49-F238E27FC236}">
                <a16:creationId xmlns:a16="http://schemas.microsoft.com/office/drawing/2014/main" id="{9FEF42BA-5E2C-45D0-8281-D668DECD4437}"/>
              </a:ext>
            </a:extLst>
          </p:cNvPr>
          <p:cNvSpPr>
            <a:spLocks noEditPoints="1"/>
          </p:cNvSpPr>
          <p:nvPr/>
        </p:nvSpPr>
        <p:spPr bwMode="auto">
          <a:xfrm>
            <a:off x="1435997" y="4364061"/>
            <a:ext cx="234728" cy="281094"/>
          </a:xfrm>
          <a:custGeom>
            <a:avLst/>
            <a:gdLst/>
            <a:ahLst/>
            <a:cxnLst>
              <a:cxn ang="0">
                <a:pos x="22" y="154"/>
              </a:cxn>
              <a:cxn ang="0">
                <a:pos x="32" y="153"/>
              </a:cxn>
              <a:cxn ang="0">
                <a:pos x="25" y="162"/>
              </a:cxn>
              <a:cxn ang="0">
                <a:pos x="7" y="158"/>
              </a:cxn>
              <a:cxn ang="0">
                <a:pos x="60" y="148"/>
              </a:cxn>
              <a:cxn ang="0">
                <a:pos x="65" y="29"/>
              </a:cxn>
              <a:cxn ang="0">
                <a:pos x="62" y="31"/>
              </a:cxn>
              <a:cxn ang="0">
                <a:pos x="65" y="24"/>
              </a:cxn>
              <a:cxn ang="0">
                <a:pos x="86" y="12"/>
              </a:cxn>
              <a:cxn ang="0">
                <a:pos x="81" y="11"/>
              </a:cxn>
              <a:cxn ang="0">
                <a:pos x="150" y="16"/>
              </a:cxn>
              <a:cxn ang="0">
                <a:pos x="158" y="22"/>
              </a:cxn>
              <a:cxn ang="0">
                <a:pos x="161" y="44"/>
              </a:cxn>
              <a:cxn ang="0">
                <a:pos x="144" y="65"/>
              </a:cxn>
              <a:cxn ang="0">
                <a:pos x="143" y="78"/>
              </a:cxn>
              <a:cxn ang="0">
                <a:pos x="155" y="93"/>
              </a:cxn>
              <a:cxn ang="0">
                <a:pos x="143" y="102"/>
              </a:cxn>
              <a:cxn ang="0">
                <a:pos x="146" y="110"/>
              </a:cxn>
              <a:cxn ang="0">
                <a:pos x="135" y="117"/>
              </a:cxn>
              <a:cxn ang="0">
                <a:pos x="125" y="119"/>
              </a:cxn>
              <a:cxn ang="0">
                <a:pos x="118" y="119"/>
              </a:cxn>
              <a:cxn ang="0">
                <a:pos x="110" y="128"/>
              </a:cxn>
              <a:cxn ang="0">
                <a:pos x="118" y="141"/>
              </a:cxn>
              <a:cxn ang="0">
                <a:pos x="115" y="165"/>
              </a:cxn>
              <a:cxn ang="0">
                <a:pos x="109" y="174"/>
              </a:cxn>
              <a:cxn ang="0">
                <a:pos x="112" y="179"/>
              </a:cxn>
              <a:cxn ang="0">
                <a:pos x="111" y="191"/>
              </a:cxn>
              <a:cxn ang="0">
                <a:pos x="99" y="190"/>
              </a:cxn>
              <a:cxn ang="0">
                <a:pos x="100" y="179"/>
              </a:cxn>
              <a:cxn ang="0">
                <a:pos x="103" y="166"/>
              </a:cxn>
              <a:cxn ang="0">
                <a:pos x="92" y="158"/>
              </a:cxn>
              <a:cxn ang="0">
                <a:pos x="75" y="155"/>
              </a:cxn>
              <a:cxn ang="0">
                <a:pos x="69" y="147"/>
              </a:cxn>
              <a:cxn ang="0">
                <a:pos x="60" y="143"/>
              </a:cxn>
              <a:cxn ang="0">
                <a:pos x="43" y="147"/>
              </a:cxn>
              <a:cxn ang="0">
                <a:pos x="38" y="149"/>
              </a:cxn>
              <a:cxn ang="0">
                <a:pos x="25" y="147"/>
              </a:cxn>
              <a:cxn ang="0">
                <a:pos x="9" y="147"/>
              </a:cxn>
              <a:cxn ang="0">
                <a:pos x="5" y="140"/>
              </a:cxn>
              <a:cxn ang="0">
                <a:pos x="23" y="140"/>
              </a:cxn>
              <a:cxn ang="0">
                <a:pos x="40" y="143"/>
              </a:cxn>
              <a:cxn ang="0">
                <a:pos x="36" y="135"/>
              </a:cxn>
              <a:cxn ang="0">
                <a:pos x="23" y="133"/>
              </a:cxn>
              <a:cxn ang="0">
                <a:pos x="15" y="128"/>
              </a:cxn>
              <a:cxn ang="0">
                <a:pos x="34" y="130"/>
              </a:cxn>
              <a:cxn ang="0">
                <a:pos x="23" y="123"/>
              </a:cxn>
              <a:cxn ang="0">
                <a:pos x="29" y="116"/>
              </a:cxn>
              <a:cxn ang="0">
                <a:pos x="44" y="93"/>
              </a:cxn>
              <a:cxn ang="0">
                <a:pos x="57" y="49"/>
              </a:cxn>
              <a:cxn ang="0">
                <a:pos x="69" y="44"/>
              </a:cxn>
              <a:cxn ang="0">
                <a:pos x="88" y="24"/>
              </a:cxn>
              <a:cxn ang="0">
                <a:pos x="99" y="17"/>
              </a:cxn>
              <a:cxn ang="0">
                <a:pos x="133" y="8"/>
              </a:cxn>
              <a:cxn ang="0">
                <a:pos x="109" y="6"/>
              </a:cxn>
              <a:cxn ang="0">
                <a:pos x="121" y="4"/>
              </a:cxn>
              <a:cxn ang="0">
                <a:pos x="121" y="4"/>
              </a:cxn>
            </a:cxnLst>
            <a:rect l="0" t="0" r="r" b="b"/>
            <a:pathLst>
              <a:path w="162" h="194">
                <a:moveTo>
                  <a:pt x="7" y="149"/>
                </a:moveTo>
                <a:lnTo>
                  <a:pt x="9" y="149"/>
                </a:lnTo>
                <a:lnTo>
                  <a:pt x="11" y="151"/>
                </a:lnTo>
                <a:lnTo>
                  <a:pt x="16" y="152"/>
                </a:lnTo>
                <a:lnTo>
                  <a:pt x="17" y="153"/>
                </a:lnTo>
                <a:lnTo>
                  <a:pt x="19" y="153"/>
                </a:lnTo>
                <a:lnTo>
                  <a:pt x="20" y="154"/>
                </a:lnTo>
                <a:lnTo>
                  <a:pt x="22" y="154"/>
                </a:lnTo>
                <a:lnTo>
                  <a:pt x="25" y="152"/>
                </a:lnTo>
                <a:lnTo>
                  <a:pt x="26" y="152"/>
                </a:lnTo>
                <a:lnTo>
                  <a:pt x="26" y="149"/>
                </a:lnTo>
                <a:lnTo>
                  <a:pt x="29" y="149"/>
                </a:lnTo>
                <a:lnTo>
                  <a:pt x="30" y="151"/>
                </a:lnTo>
                <a:lnTo>
                  <a:pt x="30" y="152"/>
                </a:lnTo>
                <a:lnTo>
                  <a:pt x="32" y="152"/>
                </a:lnTo>
                <a:lnTo>
                  <a:pt x="32" y="153"/>
                </a:lnTo>
                <a:lnTo>
                  <a:pt x="35" y="153"/>
                </a:lnTo>
                <a:lnTo>
                  <a:pt x="35" y="152"/>
                </a:lnTo>
                <a:lnTo>
                  <a:pt x="37" y="152"/>
                </a:lnTo>
                <a:lnTo>
                  <a:pt x="37" y="154"/>
                </a:lnTo>
                <a:lnTo>
                  <a:pt x="36" y="154"/>
                </a:lnTo>
                <a:lnTo>
                  <a:pt x="35" y="156"/>
                </a:lnTo>
                <a:lnTo>
                  <a:pt x="32" y="159"/>
                </a:lnTo>
                <a:lnTo>
                  <a:pt x="25" y="162"/>
                </a:lnTo>
                <a:lnTo>
                  <a:pt x="24" y="162"/>
                </a:lnTo>
                <a:lnTo>
                  <a:pt x="19" y="164"/>
                </a:lnTo>
                <a:lnTo>
                  <a:pt x="19" y="162"/>
                </a:lnTo>
                <a:lnTo>
                  <a:pt x="18" y="162"/>
                </a:lnTo>
                <a:lnTo>
                  <a:pt x="18" y="160"/>
                </a:lnTo>
                <a:lnTo>
                  <a:pt x="17" y="159"/>
                </a:lnTo>
                <a:lnTo>
                  <a:pt x="12" y="158"/>
                </a:lnTo>
                <a:lnTo>
                  <a:pt x="7" y="158"/>
                </a:lnTo>
                <a:lnTo>
                  <a:pt x="6" y="159"/>
                </a:lnTo>
                <a:lnTo>
                  <a:pt x="7" y="160"/>
                </a:lnTo>
                <a:lnTo>
                  <a:pt x="6" y="161"/>
                </a:lnTo>
                <a:lnTo>
                  <a:pt x="4" y="161"/>
                </a:lnTo>
                <a:lnTo>
                  <a:pt x="0" y="158"/>
                </a:lnTo>
                <a:lnTo>
                  <a:pt x="0" y="152"/>
                </a:lnTo>
                <a:lnTo>
                  <a:pt x="7" y="149"/>
                </a:lnTo>
                <a:close/>
                <a:moveTo>
                  <a:pt x="60" y="148"/>
                </a:moveTo>
                <a:lnTo>
                  <a:pt x="61" y="148"/>
                </a:lnTo>
                <a:lnTo>
                  <a:pt x="62" y="149"/>
                </a:lnTo>
                <a:lnTo>
                  <a:pt x="60" y="149"/>
                </a:lnTo>
                <a:lnTo>
                  <a:pt x="60" y="148"/>
                </a:lnTo>
                <a:close/>
                <a:moveTo>
                  <a:pt x="63" y="26"/>
                </a:moveTo>
                <a:lnTo>
                  <a:pt x="65" y="26"/>
                </a:lnTo>
                <a:lnTo>
                  <a:pt x="66" y="27"/>
                </a:lnTo>
                <a:lnTo>
                  <a:pt x="65" y="29"/>
                </a:lnTo>
                <a:lnTo>
                  <a:pt x="66" y="29"/>
                </a:lnTo>
                <a:lnTo>
                  <a:pt x="66" y="35"/>
                </a:lnTo>
                <a:lnTo>
                  <a:pt x="60" y="41"/>
                </a:lnTo>
                <a:lnTo>
                  <a:pt x="57" y="38"/>
                </a:lnTo>
                <a:lnTo>
                  <a:pt x="57" y="36"/>
                </a:lnTo>
                <a:lnTo>
                  <a:pt x="59" y="33"/>
                </a:lnTo>
                <a:lnTo>
                  <a:pt x="60" y="32"/>
                </a:lnTo>
                <a:lnTo>
                  <a:pt x="62" y="31"/>
                </a:lnTo>
                <a:lnTo>
                  <a:pt x="62" y="29"/>
                </a:lnTo>
                <a:lnTo>
                  <a:pt x="63" y="26"/>
                </a:lnTo>
                <a:close/>
                <a:moveTo>
                  <a:pt x="72" y="18"/>
                </a:moveTo>
                <a:lnTo>
                  <a:pt x="73" y="18"/>
                </a:lnTo>
                <a:lnTo>
                  <a:pt x="73" y="19"/>
                </a:lnTo>
                <a:lnTo>
                  <a:pt x="72" y="19"/>
                </a:lnTo>
                <a:lnTo>
                  <a:pt x="66" y="25"/>
                </a:lnTo>
                <a:lnTo>
                  <a:pt x="65" y="24"/>
                </a:lnTo>
                <a:lnTo>
                  <a:pt x="69" y="19"/>
                </a:lnTo>
                <a:lnTo>
                  <a:pt x="72" y="18"/>
                </a:lnTo>
                <a:close/>
                <a:moveTo>
                  <a:pt x="94" y="8"/>
                </a:moveTo>
                <a:lnTo>
                  <a:pt x="93" y="10"/>
                </a:lnTo>
                <a:lnTo>
                  <a:pt x="90" y="10"/>
                </a:lnTo>
                <a:lnTo>
                  <a:pt x="90" y="11"/>
                </a:lnTo>
                <a:lnTo>
                  <a:pt x="88" y="11"/>
                </a:lnTo>
                <a:lnTo>
                  <a:pt x="86" y="12"/>
                </a:lnTo>
                <a:lnTo>
                  <a:pt x="85" y="12"/>
                </a:lnTo>
                <a:lnTo>
                  <a:pt x="79" y="16"/>
                </a:lnTo>
                <a:lnTo>
                  <a:pt x="78" y="16"/>
                </a:lnTo>
                <a:lnTo>
                  <a:pt x="76" y="14"/>
                </a:lnTo>
                <a:lnTo>
                  <a:pt x="78" y="13"/>
                </a:lnTo>
                <a:lnTo>
                  <a:pt x="80" y="12"/>
                </a:lnTo>
                <a:lnTo>
                  <a:pt x="80" y="11"/>
                </a:lnTo>
                <a:lnTo>
                  <a:pt x="81" y="11"/>
                </a:lnTo>
                <a:lnTo>
                  <a:pt x="87" y="10"/>
                </a:lnTo>
                <a:lnTo>
                  <a:pt x="88" y="10"/>
                </a:lnTo>
                <a:lnTo>
                  <a:pt x="94" y="8"/>
                </a:lnTo>
                <a:close/>
                <a:moveTo>
                  <a:pt x="143" y="7"/>
                </a:moveTo>
                <a:lnTo>
                  <a:pt x="147" y="8"/>
                </a:lnTo>
                <a:lnTo>
                  <a:pt x="148" y="8"/>
                </a:lnTo>
                <a:lnTo>
                  <a:pt x="149" y="10"/>
                </a:lnTo>
                <a:lnTo>
                  <a:pt x="150" y="16"/>
                </a:lnTo>
                <a:lnTo>
                  <a:pt x="152" y="16"/>
                </a:lnTo>
                <a:lnTo>
                  <a:pt x="152" y="17"/>
                </a:lnTo>
                <a:lnTo>
                  <a:pt x="154" y="17"/>
                </a:lnTo>
                <a:lnTo>
                  <a:pt x="155" y="18"/>
                </a:lnTo>
                <a:lnTo>
                  <a:pt x="156" y="18"/>
                </a:lnTo>
                <a:lnTo>
                  <a:pt x="156" y="19"/>
                </a:lnTo>
                <a:lnTo>
                  <a:pt x="158" y="18"/>
                </a:lnTo>
                <a:lnTo>
                  <a:pt x="158" y="22"/>
                </a:lnTo>
                <a:lnTo>
                  <a:pt x="159" y="22"/>
                </a:lnTo>
                <a:lnTo>
                  <a:pt x="162" y="23"/>
                </a:lnTo>
                <a:lnTo>
                  <a:pt x="162" y="27"/>
                </a:lnTo>
                <a:lnTo>
                  <a:pt x="161" y="30"/>
                </a:lnTo>
                <a:lnTo>
                  <a:pt x="161" y="31"/>
                </a:lnTo>
                <a:lnTo>
                  <a:pt x="162" y="31"/>
                </a:lnTo>
                <a:lnTo>
                  <a:pt x="162" y="42"/>
                </a:lnTo>
                <a:lnTo>
                  <a:pt x="161" y="44"/>
                </a:lnTo>
                <a:lnTo>
                  <a:pt x="158" y="50"/>
                </a:lnTo>
                <a:lnTo>
                  <a:pt x="158" y="51"/>
                </a:lnTo>
                <a:lnTo>
                  <a:pt x="156" y="53"/>
                </a:lnTo>
                <a:lnTo>
                  <a:pt x="156" y="65"/>
                </a:lnTo>
                <a:lnTo>
                  <a:pt x="155" y="66"/>
                </a:lnTo>
                <a:lnTo>
                  <a:pt x="150" y="66"/>
                </a:lnTo>
                <a:lnTo>
                  <a:pt x="148" y="65"/>
                </a:lnTo>
                <a:lnTo>
                  <a:pt x="144" y="65"/>
                </a:lnTo>
                <a:lnTo>
                  <a:pt x="143" y="66"/>
                </a:lnTo>
                <a:lnTo>
                  <a:pt x="142" y="66"/>
                </a:lnTo>
                <a:lnTo>
                  <a:pt x="142" y="69"/>
                </a:lnTo>
                <a:lnTo>
                  <a:pt x="143" y="70"/>
                </a:lnTo>
                <a:lnTo>
                  <a:pt x="141" y="72"/>
                </a:lnTo>
                <a:lnTo>
                  <a:pt x="141" y="76"/>
                </a:lnTo>
                <a:lnTo>
                  <a:pt x="142" y="78"/>
                </a:lnTo>
                <a:lnTo>
                  <a:pt x="143" y="78"/>
                </a:lnTo>
                <a:lnTo>
                  <a:pt x="147" y="79"/>
                </a:lnTo>
                <a:lnTo>
                  <a:pt x="153" y="79"/>
                </a:lnTo>
                <a:lnTo>
                  <a:pt x="153" y="78"/>
                </a:lnTo>
                <a:lnTo>
                  <a:pt x="155" y="82"/>
                </a:lnTo>
                <a:lnTo>
                  <a:pt x="156" y="84"/>
                </a:lnTo>
                <a:lnTo>
                  <a:pt x="156" y="86"/>
                </a:lnTo>
                <a:lnTo>
                  <a:pt x="155" y="88"/>
                </a:lnTo>
                <a:lnTo>
                  <a:pt x="155" y="93"/>
                </a:lnTo>
                <a:lnTo>
                  <a:pt x="154" y="94"/>
                </a:lnTo>
                <a:lnTo>
                  <a:pt x="153" y="94"/>
                </a:lnTo>
                <a:lnTo>
                  <a:pt x="152" y="97"/>
                </a:lnTo>
                <a:lnTo>
                  <a:pt x="149" y="98"/>
                </a:lnTo>
                <a:lnTo>
                  <a:pt x="148" y="99"/>
                </a:lnTo>
                <a:lnTo>
                  <a:pt x="148" y="100"/>
                </a:lnTo>
                <a:lnTo>
                  <a:pt x="147" y="102"/>
                </a:lnTo>
                <a:lnTo>
                  <a:pt x="143" y="102"/>
                </a:lnTo>
                <a:lnTo>
                  <a:pt x="143" y="103"/>
                </a:lnTo>
                <a:lnTo>
                  <a:pt x="142" y="104"/>
                </a:lnTo>
                <a:lnTo>
                  <a:pt x="142" y="105"/>
                </a:lnTo>
                <a:lnTo>
                  <a:pt x="141" y="105"/>
                </a:lnTo>
                <a:lnTo>
                  <a:pt x="141" y="108"/>
                </a:lnTo>
                <a:lnTo>
                  <a:pt x="142" y="108"/>
                </a:lnTo>
                <a:lnTo>
                  <a:pt x="144" y="109"/>
                </a:lnTo>
                <a:lnTo>
                  <a:pt x="146" y="110"/>
                </a:lnTo>
                <a:lnTo>
                  <a:pt x="146" y="111"/>
                </a:lnTo>
                <a:lnTo>
                  <a:pt x="147" y="111"/>
                </a:lnTo>
                <a:lnTo>
                  <a:pt x="147" y="112"/>
                </a:lnTo>
                <a:lnTo>
                  <a:pt x="146" y="112"/>
                </a:lnTo>
                <a:lnTo>
                  <a:pt x="144" y="115"/>
                </a:lnTo>
                <a:lnTo>
                  <a:pt x="143" y="116"/>
                </a:lnTo>
                <a:lnTo>
                  <a:pt x="138" y="116"/>
                </a:lnTo>
                <a:lnTo>
                  <a:pt x="135" y="117"/>
                </a:lnTo>
                <a:lnTo>
                  <a:pt x="133" y="119"/>
                </a:lnTo>
                <a:lnTo>
                  <a:pt x="131" y="119"/>
                </a:lnTo>
                <a:lnTo>
                  <a:pt x="128" y="118"/>
                </a:lnTo>
                <a:lnTo>
                  <a:pt x="129" y="121"/>
                </a:lnTo>
                <a:lnTo>
                  <a:pt x="128" y="121"/>
                </a:lnTo>
                <a:lnTo>
                  <a:pt x="127" y="122"/>
                </a:lnTo>
                <a:lnTo>
                  <a:pt x="127" y="121"/>
                </a:lnTo>
                <a:lnTo>
                  <a:pt x="125" y="119"/>
                </a:lnTo>
                <a:lnTo>
                  <a:pt x="124" y="119"/>
                </a:lnTo>
                <a:lnTo>
                  <a:pt x="123" y="118"/>
                </a:lnTo>
                <a:lnTo>
                  <a:pt x="121" y="118"/>
                </a:lnTo>
                <a:lnTo>
                  <a:pt x="118" y="117"/>
                </a:lnTo>
                <a:lnTo>
                  <a:pt x="117" y="116"/>
                </a:lnTo>
                <a:lnTo>
                  <a:pt x="116" y="117"/>
                </a:lnTo>
                <a:lnTo>
                  <a:pt x="117" y="117"/>
                </a:lnTo>
                <a:lnTo>
                  <a:pt x="118" y="119"/>
                </a:lnTo>
                <a:lnTo>
                  <a:pt x="113" y="119"/>
                </a:lnTo>
                <a:lnTo>
                  <a:pt x="112" y="121"/>
                </a:lnTo>
                <a:lnTo>
                  <a:pt x="110" y="121"/>
                </a:lnTo>
                <a:lnTo>
                  <a:pt x="109" y="122"/>
                </a:lnTo>
                <a:lnTo>
                  <a:pt x="111" y="124"/>
                </a:lnTo>
                <a:lnTo>
                  <a:pt x="111" y="125"/>
                </a:lnTo>
                <a:lnTo>
                  <a:pt x="110" y="127"/>
                </a:lnTo>
                <a:lnTo>
                  <a:pt x="110" y="128"/>
                </a:lnTo>
                <a:lnTo>
                  <a:pt x="111" y="128"/>
                </a:lnTo>
                <a:lnTo>
                  <a:pt x="112" y="129"/>
                </a:lnTo>
                <a:lnTo>
                  <a:pt x="113" y="129"/>
                </a:lnTo>
                <a:lnTo>
                  <a:pt x="112" y="131"/>
                </a:lnTo>
                <a:lnTo>
                  <a:pt x="113" y="133"/>
                </a:lnTo>
                <a:lnTo>
                  <a:pt x="116" y="134"/>
                </a:lnTo>
                <a:lnTo>
                  <a:pt x="116" y="136"/>
                </a:lnTo>
                <a:lnTo>
                  <a:pt x="118" y="141"/>
                </a:lnTo>
                <a:lnTo>
                  <a:pt x="121" y="142"/>
                </a:lnTo>
                <a:lnTo>
                  <a:pt x="121" y="154"/>
                </a:lnTo>
                <a:lnTo>
                  <a:pt x="119" y="154"/>
                </a:lnTo>
                <a:lnTo>
                  <a:pt x="118" y="155"/>
                </a:lnTo>
                <a:lnTo>
                  <a:pt x="116" y="159"/>
                </a:lnTo>
                <a:lnTo>
                  <a:pt x="116" y="160"/>
                </a:lnTo>
                <a:lnTo>
                  <a:pt x="115" y="161"/>
                </a:lnTo>
                <a:lnTo>
                  <a:pt x="115" y="165"/>
                </a:lnTo>
                <a:lnTo>
                  <a:pt x="116" y="166"/>
                </a:lnTo>
                <a:lnTo>
                  <a:pt x="118" y="165"/>
                </a:lnTo>
                <a:lnTo>
                  <a:pt x="117" y="166"/>
                </a:lnTo>
                <a:lnTo>
                  <a:pt x="118" y="167"/>
                </a:lnTo>
                <a:lnTo>
                  <a:pt x="116" y="168"/>
                </a:lnTo>
                <a:lnTo>
                  <a:pt x="111" y="172"/>
                </a:lnTo>
                <a:lnTo>
                  <a:pt x="110" y="174"/>
                </a:lnTo>
                <a:lnTo>
                  <a:pt x="109" y="174"/>
                </a:lnTo>
                <a:lnTo>
                  <a:pt x="107" y="173"/>
                </a:lnTo>
                <a:lnTo>
                  <a:pt x="106" y="174"/>
                </a:lnTo>
                <a:lnTo>
                  <a:pt x="106" y="179"/>
                </a:lnTo>
                <a:lnTo>
                  <a:pt x="107" y="179"/>
                </a:lnTo>
                <a:lnTo>
                  <a:pt x="109" y="178"/>
                </a:lnTo>
                <a:lnTo>
                  <a:pt x="110" y="178"/>
                </a:lnTo>
                <a:lnTo>
                  <a:pt x="111" y="179"/>
                </a:lnTo>
                <a:lnTo>
                  <a:pt x="112" y="179"/>
                </a:lnTo>
                <a:lnTo>
                  <a:pt x="112" y="182"/>
                </a:lnTo>
                <a:lnTo>
                  <a:pt x="113" y="183"/>
                </a:lnTo>
                <a:lnTo>
                  <a:pt x="115" y="183"/>
                </a:lnTo>
                <a:lnTo>
                  <a:pt x="115" y="186"/>
                </a:lnTo>
                <a:lnTo>
                  <a:pt x="113" y="188"/>
                </a:lnTo>
                <a:lnTo>
                  <a:pt x="112" y="188"/>
                </a:lnTo>
                <a:lnTo>
                  <a:pt x="112" y="190"/>
                </a:lnTo>
                <a:lnTo>
                  <a:pt x="111" y="191"/>
                </a:lnTo>
                <a:lnTo>
                  <a:pt x="111" y="192"/>
                </a:lnTo>
                <a:lnTo>
                  <a:pt x="112" y="192"/>
                </a:lnTo>
                <a:lnTo>
                  <a:pt x="112" y="194"/>
                </a:lnTo>
                <a:lnTo>
                  <a:pt x="103" y="194"/>
                </a:lnTo>
                <a:lnTo>
                  <a:pt x="102" y="192"/>
                </a:lnTo>
                <a:lnTo>
                  <a:pt x="100" y="194"/>
                </a:lnTo>
                <a:lnTo>
                  <a:pt x="99" y="194"/>
                </a:lnTo>
                <a:lnTo>
                  <a:pt x="99" y="190"/>
                </a:lnTo>
                <a:lnTo>
                  <a:pt x="98" y="190"/>
                </a:lnTo>
                <a:lnTo>
                  <a:pt x="97" y="189"/>
                </a:lnTo>
                <a:lnTo>
                  <a:pt x="96" y="186"/>
                </a:lnTo>
                <a:lnTo>
                  <a:pt x="99" y="183"/>
                </a:lnTo>
                <a:lnTo>
                  <a:pt x="100" y="183"/>
                </a:lnTo>
                <a:lnTo>
                  <a:pt x="100" y="182"/>
                </a:lnTo>
                <a:lnTo>
                  <a:pt x="103" y="179"/>
                </a:lnTo>
                <a:lnTo>
                  <a:pt x="100" y="179"/>
                </a:lnTo>
                <a:lnTo>
                  <a:pt x="102" y="177"/>
                </a:lnTo>
                <a:lnTo>
                  <a:pt x="103" y="176"/>
                </a:lnTo>
                <a:lnTo>
                  <a:pt x="103" y="173"/>
                </a:lnTo>
                <a:lnTo>
                  <a:pt x="104" y="173"/>
                </a:lnTo>
                <a:lnTo>
                  <a:pt x="104" y="171"/>
                </a:lnTo>
                <a:lnTo>
                  <a:pt x="105" y="171"/>
                </a:lnTo>
                <a:lnTo>
                  <a:pt x="105" y="166"/>
                </a:lnTo>
                <a:lnTo>
                  <a:pt x="103" y="166"/>
                </a:lnTo>
                <a:lnTo>
                  <a:pt x="102" y="165"/>
                </a:lnTo>
                <a:lnTo>
                  <a:pt x="97" y="165"/>
                </a:lnTo>
                <a:lnTo>
                  <a:pt x="97" y="164"/>
                </a:lnTo>
                <a:lnTo>
                  <a:pt x="94" y="162"/>
                </a:lnTo>
                <a:lnTo>
                  <a:pt x="93" y="162"/>
                </a:lnTo>
                <a:lnTo>
                  <a:pt x="93" y="160"/>
                </a:lnTo>
                <a:lnTo>
                  <a:pt x="92" y="159"/>
                </a:lnTo>
                <a:lnTo>
                  <a:pt x="92" y="158"/>
                </a:lnTo>
                <a:lnTo>
                  <a:pt x="88" y="158"/>
                </a:lnTo>
                <a:lnTo>
                  <a:pt x="86" y="160"/>
                </a:lnTo>
                <a:lnTo>
                  <a:pt x="81" y="159"/>
                </a:lnTo>
                <a:lnTo>
                  <a:pt x="80" y="160"/>
                </a:lnTo>
                <a:lnTo>
                  <a:pt x="79" y="159"/>
                </a:lnTo>
                <a:lnTo>
                  <a:pt x="79" y="156"/>
                </a:lnTo>
                <a:lnTo>
                  <a:pt x="75" y="156"/>
                </a:lnTo>
                <a:lnTo>
                  <a:pt x="75" y="155"/>
                </a:lnTo>
                <a:lnTo>
                  <a:pt x="74" y="154"/>
                </a:lnTo>
                <a:lnTo>
                  <a:pt x="74" y="153"/>
                </a:lnTo>
                <a:lnTo>
                  <a:pt x="73" y="152"/>
                </a:lnTo>
                <a:lnTo>
                  <a:pt x="73" y="146"/>
                </a:lnTo>
                <a:lnTo>
                  <a:pt x="72" y="145"/>
                </a:lnTo>
                <a:lnTo>
                  <a:pt x="71" y="145"/>
                </a:lnTo>
                <a:lnTo>
                  <a:pt x="71" y="146"/>
                </a:lnTo>
                <a:lnTo>
                  <a:pt x="69" y="147"/>
                </a:lnTo>
                <a:lnTo>
                  <a:pt x="69" y="148"/>
                </a:lnTo>
                <a:lnTo>
                  <a:pt x="67" y="151"/>
                </a:lnTo>
                <a:lnTo>
                  <a:pt x="66" y="151"/>
                </a:lnTo>
                <a:lnTo>
                  <a:pt x="65" y="149"/>
                </a:lnTo>
                <a:lnTo>
                  <a:pt x="62" y="149"/>
                </a:lnTo>
                <a:lnTo>
                  <a:pt x="62" y="145"/>
                </a:lnTo>
                <a:lnTo>
                  <a:pt x="61" y="143"/>
                </a:lnTo>
                <a:lnTo>
                  <a:pt x="60" y="143"/>
                </a:lnTo>
                <a:lnTo>
                  <a:pt x="55" y="148"/>
                </a:lnTo>
                <a:lnTo>
                  <a:pt x="54" y="148"/>
                </a:lnTo>
                <a:lnTo>
                  <a:pt x="54" y="149"/>
                </a:lnTo>
                <a:lnTo>
                  <a:pt x="53" y="148"/>
                </a:lnTo>
                <a:lnTo>
                  <a:pt x="50" y="148"/>
                </a:lnTo>
                <a:lnTo>
                  <a:pt x="50" y="145"/>
                </a:lnTo>
                <a:lnTo>
                  <a:pt x="48" y="145"/>
                </a:lnTo>
                <a:lnTo>
                  <a:pt x="43" y="147"/>
                </a:lnTo>
                <a:lnTo>
                  <a:pt x="44" y="148"/>
                </a:lnTo>
                <a:lnTo>
                  <a:pt x="44" y="149"/>
                </a:lnTo>
                <a:lnTo>
                  <a:pt x="46" y="151"/>
                </a:lnTo>
                <a:lnTo>
                  <a:pt x="46" y="153"/>
                </a:lnTo>
                <a:lnTo>
                  <a:pt x="42" y="153"/>
                </a:lnTo>
                <a:lnTo>
                  <a:pt x="40" y="152"/>
                </a:lnTo>
                <a:lnTo>
                  <a:pt x="38" y="152"/>
                </a:lnTo>
                <a:lnTo>
                  <a:pt x="38" y="149"/>
                </a:lnTo>
                <a:lnTo>
                  <a:pt x="37" y="148"/>
                </a:lnTo>
                <a:lnTo>
                  <a:pt x="37" y="149"/>
                </a:lnTo>
                <a:lnTo>
                  <a:pt x="31" y="149"/>
                </a:lnTo>
                <a:lnTo>
                  <a:pt x="31" y="148"/>
                </a:lnTo>
                <a:lnTo>
                  <a:pt x="29" y="147"/>
                </a:lnTo>
                <a:lnTo>
                  <a:pt x="28" y="147"/>
                </a:lnTo>
                <a:lnTo>
                  <a:pt x="26" y="146"/>
                </a:lnTo>
                <a:lnTo>
                  <a:pt x="25" y="147"/>
                </a:lnTo>
                <a:lnTo>
                  <a:pt x="24" y="149"/>
                </a:lnTo>
                <a:lnTo>
                  <a:pt x="23" y="151"/>
                </a:lnTo>
                <a:lnTo>
                  <a:pt x="20" y="151"/>
                </a:lnTo>
                <a:lnTo>
                  <a:pt x="19" y="149"/>
                </a:lnTo>
                <a:lnTo>
                  <a:pt x="16" y="148"/>
                </a:lnTo>
                <a:lnTo>
                  <a:pt x="15" y="146"/>
                </a:lnTo>
                <a:lnTo>
                  <a:pt x="12" y="147"/>
                </a:lnTo>
                <a:lnTo>
                  <a:pt x="9" y="147"/>
                </a:lnTo>
                <a:lnTo>
                  <a:pt x="9" y="146"/>
                </a:lnTo>
                <a:lnTo>
                  <a:pt x="7" y="145"/>
                </a:lnTo>
                <a:lnTo>
                  <a:pt x="7" y="143"/>
                </a:lnTo>
                <a:lnTo>
                  <a:pt x="6" y="143"/>
                </a:lnTo>
                <a:lnTo>
                  <a:pt x="5" y="142"/>
                </a:lnTo>
                <a:lnTo>
                  <a:pt x="5" y="141"/>
                </a:lnTo>
                <a:lnTo>
                  <a:pt x="4" y="140"/>
                </a:lnTo>
                <a:lnTo>
                  <a:pt x="5" y="140"/>
                </a:lnTo>
                <a:lnTo>
                  <a:pt x="9" y="136"/>
                </a:lnTo>
                <a:lnTo>
                  <a:pt x="20" y="135"/>
                </a:lnTo>
                <a:lnTo>
                  <a:pt x="22" y="136"/>
                </a:lnTo>
                <a:lnTo>
                  <a:pt x="23" y="136"/>
                </a:lnTo>
                <a:lnTo>
                  <a:pt x="23" y="137"/>
                </a:lnTo>
                <a:lnTo>
                  <a:pt x="24" y="139"/>
                </a:lnTo>
                <a:lnTo>
                  <a:pt x="23" y="139"/>
                </a:lnTo>
                <a:lnTo>
                  <a:pt x="23" y="140"/>
                </a:lnTo>
                <a:lnTo>
                  <a:pt x="26" y="140"/>
                </a:lnTo>
                <a:lnTo>
                  <a:pt x="29" y="141"/>
                </a:lnTo>
                <a:lnTo>
                  <a:pt x="31" y="143"/>
                </a:lnTo>
                <a:lnTo>
                  <a:pt x="31" y="146"/>
                </a:lnTo>
                <a:lnTo>
                  <a:pt x="32" y="147"/>
                </a:lnTo>
                <a:lnTo>
                  <a:pt x="40" y="147"/>
                </a:lnTo>
                <a:lnTo>
                  <a:pt x="41" y="146"/>
                </a:lnTo>
                <a:lnTo>
                  <a:pt x="40" y="143"/>
                </a:lnTo>
                <a:lnTo>
                  <a:pt x="40" y="142"/>
                </a:lnTo>
                <a:lnTo>
                  <a:pt x="36" y="142"/>
                </a:lnTo>
                <a:lnTo>
                  <a:pt x="34" y="141"/>
                </a:lnTo>
                <a:lnTo>
                  <a:pt x="31" y="141"/>
                </a:lnTo>
                <a:lnTo>
                  <a:pt x="28" y="137"/>
                </a:lnTo>
                <a:lnTo>
                  <a:pt x="30" y="136"/>
                </a:lnTo>
                <a:lnTo>
                  <a:pt x="36" y="136"/>
                </a:lnTo>
                <a:lnTo>
                  <a:pt x="36" y="135"/>
                </a:lnTo>
                <a:lnTo>
                  <a:pt x="34" y="135"/>
                </a:lnTo>
                <a:lnTo>
                  <a:pt x="32" y="134"/>
                </a:lnTo>
                <a:lnTo>
                  <a:pt x="32" y="133"/>
                </a:lnTo>
                <a:lnTo>
                  <a:pt x="31" y="134"/>
                </a:lnTo>
                <a:lnTo>
                  <a:pt x="30" y="134"/>
                </a:lnTo>
                <a:lnTo>
                  <a:pt x="26" y="135"/>
                </a:lnTo>
                <a:lnTo>
                  <a:pt x="24" y="134"/>
                </a:lnTo>
                <a:lnTo>
                  <a:pt x="23" y="133"/>
                </a:lnTo>
                <a:lnTo>
                  <a:pt x="23" y="131"/>
                </a:lnTo>
                <a:lnTo>
                  <a:pt x="22" y="131"/>
                </a:lnTo>
                <a:lnTo>
                  <a:pt x="20" y="130"/>
                </a:lnTo>
                <a:lnTo>
                  <a:pt x="19" y="130"/>
                </a:lnTo>
                <a:lnTo>
                  <a:pt x="19" y="129"/>
                </a:lnTo>
                <a:lnTo>
                  <a:pt x="18" y="131"/>
                </a:lnTo>
                <a:lnTo>
                  <a:pt x="15" y="131"/>
                </a:lnTo>
                <a:lnTo>
                  <a:pt x="15" y="128"/>
                </a:lnTo>
                <a:lnTo>
                  <a:pt x="16" y="127"/>
                </a:lnTo>
                <a:lnTo>
                  <a:pt x="26" y="127"/>
                </a:lnTo>
                <a:lnTo>
                  <a:pt x="26" y="128"/>
                </a:lnTo>
                <a:lnTo>
                  <a:pt x="29" y="129"/>
                </a:lnTo>
                <a:lnTo>
                  <a:pt x="29" y="130"/>
                </a:lnTo>
                <a:lnTo>
                  <a:pt x="31" y="131"/>
                </a:lnTo>
                <a:lnTo>
                  <a:pt x="34" y="131"/>
                </a:lnTo>
                <a:lnTo>
                  <a:pt x="34" y="130"/>
                </a:lnTo>
                <a:lnTo>
                  <a:pt x="35" y="130"/>
                </a:lnTo>
                <a:lnTo>
                  <a:pt x="34" y="129"/>
                </a:lnTo>
                <a:lnTo>
                  <a:pt x="31" y="129"/>
                </a:lnTo>
                <a:lnTo>
                  <a:pt x="30" y="128"/>
                </a:lnTo>
                <a:lnTo>
                  <a:pt x="30" y="125"/>
                </a:lnTo>
                <a:lnTo>
                  <a:pt x="26" y="122"/>
                </a:lnTo>
                <a:lnTo>
                  <a:pt x="26" y="123"/>
                </a:lnTo>
                <a:lnTo>
                  <a:pt x="23" y="123"/>
                </a:lnTo>
                <a:lnTo>
                  <a:pt x="22" y="122"/>
                </a:lnTo>
                <a:lnTo>
                  <a:pt x="23" y="121"/>
                </a:lnTo>
                <a:lnTo>
                  <a:pt x="25" y="119"/>
                </a:lnTo>
                <a:lnTo>
                  <a:pt x="29" y="119"/>
                </a:lnTo>
                <a:lnTo>
                  <a:pt x="30" y="121"/>
                </a:lnTo>
                <a:lnTo>
                  <a:pt x="31" y="119"/>
                </a:lnTo>
                <a:lnTo>
                  <a:pt x="29" y="117"/>
                </a:lnTo>
                <a:lnTo>
                  <a:pt x="29" y="116"/>
                </a:lnTo>
                <a:lnTo>
                  <a:pt x="30" y="116"/>
                </a:lnTo>
                <a:lnTo>
                  <a:pt x="29" y="115"/>
                </a:lnTo>
                <a:lnTo>
                  <a:pt x="29" y="111"/>
                </a:lnTo>
                <a:lnTo>
                  <a:pt x="28" y="110"/>
                </a:lnTo>
                <a:lnTo>
                  <a:pt x="32" y="110"/>
                </a:lnTo>
                <a:lnTo>
                  <a:pt x="34" y="109"/>
                </a:lnTo>
                <a:lnTo>
                  <a:pt x="40" y="102"/>
                </a:lnTo>
                <a:lnTo>
                  <a:pt x="44" y="93"/>
                </a:lnTo>
                <a:lnTo>
                  <a:pt x="49" y="86"/>
                </a:lnTo>
                <a:lnTo>
                  <a:pt x="51" y="79"/>
                </a:lnTo>
                <a:lnTo>
                  <a:pt x="51" y="76"/>
                </a:lnTo>
                <a:lnTo>
                  <a:pt x="53" y="74"/>
                </a:lnTo>
                <a:lnTo>
                  <a:pt x="55" y="61"/>
                </a:lnTo>
                <a:lnTo>
                  <a:pt x="55" y="56"/>
                </a:lnTo>
                <a:lnTo>
                  <a:pt x="56" y="54"/>
                </a:lnTo>
                <a:lnTo>
                  <a:pt x="57" y="49"/>
                </a:lnTo>
                <a:lnTo>
                  <a:pt x="59" y="47"/>
                </a:lnTo>
                <a:lnTo>
                  <a:pt x="59" y="42"/>
                </a:lnTo>
                <a:lnTo>
                  <a:pt x="62" y="43"/>
                </a:lnTo>
                <a:lnTo>
                  <a:pt x="62" y="44"/>
                </a:lnTo>
                <a:lnTo>
                  <a:pt x="63" y="47"/>
                </a:lnTo>
                <a:lnTo>
                  <a:pt x="66" y="47"/>
                </a:lnTo>
                <a:lnTo>
                  <a:pt x="67" y="45"/>
                </a:lnTo>
                <a:lnTo>
                  <a:pt x="69" y="44"/>
                </a:lnTo>
                <a:lnTo>
                  <a:pt x="72" y="44"/>
                </a:lnTo>
                <a:lnTo>
                  <a:pt x="73" y="43"/>
                </a:lnTo>
                <a:lnTo>
                  <a:pt x="81" y="36"/>
                </a:lnTo>
                <a:lnTo>
                  <a:pt x="84" y="33"/>
                </a:lnTo>
                <a:lnTo>
                  <a:pt x="86" y="33"/>
                </a:lnTo>
                <a:lnTo>
                  <a:pt x="87" y="31"/>
                </a:lnTo>
                <a:lnTo>
                  <a:pt x="88" y="26"/>
                </a:lnTo>
                <a:lnTo>
                  <a:pt x="88" y="24"/>
                </a:lnTo>
                <a:lnTo>
                  <a:pt x="91" y="23"/>
                </a:lnTo>
                <a:lnTo>
                  <a:pt x="91" y="22"/>
                </a:lnTo>
                <a:lnTo>
                  <a:pt x="93" y="22"/>
                </a:lnTo>
                <a:lnTo>
                  <a:pt x="93" y="20"/>
                </a:lnTo>
                <a:lnTo>
                  <a:pt x="94" y="19"/>
                </a:lnTo>
                <a:lnTo>
                  <a:pt x="94" y="18"/>
                </a:lnTo>
                <a:lnTo>
                  <a:pt x="98" y="18"/>
                </a:lnTo>
                <a:lnTo>
                  <a:pt x="99" y="17"/>
                </a:lnTo>
                <a:lnTo>
                  <a:pt x="106" y="14"/>
                </a:lnTo>
                <a:lnTo>
                  <a:pt x="107" y="13"/>
                </a:lnTo>
                <a:lnTo>
                  <a:pt x="109" y="13"/>
                </a:lnTo>
                <a:lnTo>
                  <a:pt x="111" y="11"/>
                </a:lnTo>
                <a:lnTo>
                  <a:pt x="124" y="11"/>
                </a:lnTo>
                <a:lnTo>
                  <a:pt x="125" y="12"/>
                </a:lnTo>
                <a:lnTo>
                  <a:pt x="127" y="11"/>
                </a:lnTo>
                <a:lnTo>
                  <a:pt x="133" y="8"/>
                </a:lnTo>
                <a:lnTo>
                  <a:pt x="143" y="7"/>
                </a:lnTo>
                <a:close/>
                <a:moveTo>
                  <a:pt x="117" y="7"/>
                </a:moveTo>
                <a:lnTo>
                  <a:pt x="118" y="7"/>
                </a:lnTo>
                <a:lnTo>
                  <a:pt x="118" y="8"/>
                </a:lnTo>
                <a:lnTo>
                  <a:pt x="117" y="7"/>
                </a:lnTo>
                <a:close/>
                <a:moveTo>
                  <a:pt x="98" y="6"/>
                </a:moveTo>
                <a:lnTo>
                  <a:pt x="98" y="7"/>
                </a:lnTo>
                <a:lnTo>
                  <a:pt x="109" y="6"/>
                </a:lnTo>
                <a:lnTo>
                  <a:pt x="110" y="7"/>
                </a:lnTo>
                <a:lnTo>
                  <a:pt x="106" y="8"/>
                </a:lnTo>
                <a:lnTo>
                  <a:pt x="100" y="8"/>
                </a:lnTo>
                <a:lnTo>
                  <a:pt x="98" y="10"/>
                </a:lnTo>
                <a:lnTo>
                  <a:pt x="97" y="8"/>
                </a:lnTo>
                <a:lnTo>
                  <a:pt x="97" y="7"/>
                </a:lnTo>
                <a:lnTo>
                  <a:pt x="98" y="6"/>
                </a:lnTo>
                <a:close/>
                <a:moveTo>
                  <a:pt x="121" y="4"/>
                </a:moveTo>
                <a:lnTo>
                  <a:pt x="127" y="4"/>
                </a:lnTo>
                <a:lnTo>
                  <a:pt x="127" y="5"/>
                </a:lnTo>
                <a:lnTo>
                  <a:pt x="125" y="5"/>
                </a:lnTo>
                <a:lnTo>
                  <a:pt x="118" y="7"/>
                </a:lnTo>
                <a:lnTo>
                  <a:pt x="117" y="6"/>
                </a:lnTo>
                <a:lnTo>
                  <a:pt x="118" y="5"/>
                </a:lnTo>
                <a:lnTo>
                  <a:pt x="119" y="5"/>
                </a:lnTo>
                <a:lnTo>
                  <a:pt x="121" y="4"/>
                </a:lnTo>
                <a:close/>
                <a:moveTo>
                  <a:pt x="130" y="0"/>
                </a:moveTo>
                <a:lnTo>
                  <a:pt x="131" y="0"/>
                </a:lnTo>
                <a:lnTo>
                  <a:pt x="134" y="1"/>
                </a:lnTo>
                <a:lnTo>
                  <a:pt x="133" y="2"/>
                </a:lnTo>
                <a:lnTo>
                  <a:pt x="130" y="0"/>
                </a:lnTo>
                <a:close/>
              </a:path>
            </a:pathLst>
          </a:custGeom>
          <a:solidFill>
            <a:schemeClr val="accent5">
              <a:lumMod val="95000"/>
            </a:schemeClr>
          </a:soli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" name="Freeform 24">
            <a:extLst>
              <a:ext uri="{FF2B5EF4-FFF2-40B4-BE49-F238E27FC236}">
                <a16:creationId xmlns:a16="http://schemas.microsoft.com/office/drawing/2014/main" id="{ECA770F1-293F-4AA4-9C9C-2393581995E2}"/>
              </a:ext>
            </a:extLst>
          </p:cNvPr>
          <p:cNvSpPr>
            <a:spLocks noEditPoints="1"/>
          </p:cNvSpPr>
          <p:nvPr/>
        </p:nvSpPr>
        <p:spPr bwMode="auto">
          <a:xfrm>
            <a:off x="2358971" y="5292831"/>
            <a:ext cx="117365" cy="140548"/>
          </a:xfrm>
          <a:custGeom>
            <a:avLst/>
            <a:gdLst/>
            <a:ahLst/>
            <a:cxnLst>
              <a:cxn ang="0">
                <a:pos x="3" y="66"/>
              </a:cxn>
              <a:cxn ang="0">
                <a:pos x="22" y="0"/>
              </a:cxn>
              <a:cxn ang="0">
                <a:pos x="26" y="3"/>
              </a:cxn>
              <a:cxn ang="0">
                <a:pos x="28" y="0"/>
              </a:cxn>
              <a:cxn ang="0">
                <a:pos x="31" y="4"/>
              </a:cxn>
              <a:cxn ang="0">
                <a:pos x="39" y="10"/>
              </a:cxn>
              <a:cxn ang="0">
                <a:pos x="45" y="17"/>
              </a:cxn>
              <a:cxn ang="0">
                <a:pos x="49" y="21"/>
              </a:cxn>
              <a:cxn ang="0">
                <a:pos x="52" y="23"/>
              </a:cxn>
              <a:cxn ang="0">
                <a:pos x="56" y="25"/>
              </a:cxn>
              <a:cxn ang="0">
                <a:pos x="60" y="27"/>
              </a:cxn>
              <a:cxn ang="0">
                <a:pos x="62" y="24"/>
              </a:cxn>
              <a:cxn ang="0">
                <a:pos x="64" y="27"/>
              </a:cxn>
              <a:cxn ang="0">
                <a:pos x="71" y="34"/>
              </a:cxn>
              <a:cxn ang="0">
                <a:pos x="80" y="37"/>
              </a:cxn>
              <a:cxn ang="0">
                <a:pos x="77" y="42"/>
              </a:cxn>
              <a:cxn ang="0">
                <a:pos x="74" y="47"/>
              </a:cxn>
              <a:cxn ang="0">
                <a:pos x="68" y="45"/>
              </a:cxn>
              <a:cxn ang="0">
                <a:pos x="66" y="47"/>
              </a:cxn>
              <a:cxn ang="0">
                <a:pos x="69" y="54"/>
              </a:cxn>
              <a:cxn ang="0">
                <a:pos x="66" y="58"/>
              </a:cxn>
              <a:cxn ang="0">
                <a:pos x="60" y="61"/>
              </a:cxn>
              <a:cxn ang="0">
                <a:pos x="57" y="61"/>
              </a:cxn>
              <a:cxn ang="0">
                <a:pos x="52" y="52"/>
              </a:cxn>
              <a:cxn ang="0">
                <a:pos x="47" y="59"/>
              </a:cxn>
              <a:cxn ang="0">
                <a:pos x="45" y="63"/>
              </a:cxn>
              <a:cxn ang="0">
                <a:pos x="44" y="65"/>
              </a:cxn>
              <a:cxn ang="0">
                <a:pos x="37" y="77"/>
              </a:cxn>
              <a:cxn ang="0">
                <a:pos x="37" y="80"/>
              </a:cxn>
              <a:cxn ang="0">
                <a:pos x="38" y="88"/>
              </a:cxn>
              <a:cxn ang="0">
                <a:pos x="38" y="91"/>
              </a:cxn>
              <a:cxn ang="0">
                <a:pos x="38" y="94"/>
              </a:cxn>
              <a:cxn ang="0">
                <a:pos x="37" y="95"/>
              </a:cxn>
              <a:cxn ang="0">
                <a:pos x="32" y="92"/>
              </a:cxn>
              <a:cxn ang="0">
                <a:pos x="29" y="90"/>
              </a:cxn>
              <a:cxn ang="0">
                <a:pos x="27" y="82"/>
              </a:cxn>
              <a:cxn ang="0">
                <a:pos x="24" y="80"/>
              </a:cxn>
              <a:cxn ang="0">
                <a:pos x="22" y="78"/>
              </a:cxn>
              <a:cxn ang="0">
                <a:pos x="19" y="72"/>
              </a:cxn>
              <a:cxn ang="0">
                <a:pos x="14" y="73"/>
              </a:cxn>
              <a:cxn ang="0">
                <a:pos x="12" y="70"/>
              </a:cxn>
              <a:cxn ang="0">
                <a:pos x="9" y="67"/>
              </a:cxn>
              <a:cxn ang="0">
                <a:pos x="7" y="67"/>
              </a:cxn>
              <a:cxn ang="0">
                <a:pos x="6" y="64"/>
              </a:cxn>
              <a:cxn ang="0">
                <a:pos x="10" y="66"/>
              </a:cxn>
              <a:cxn ang="0">
                <a:pos x="10" y="63"/>
              </a:cxn>
              <a:cxn ang="0">
                <a:pos x="7" y="64"/>
              </a:cxn>
              <a:cxn ang="0">
                <a:pos x="1" y="64"/>
              </a:cxn>
              <a:cxn ang="0">
                <a:pos x="0" y="57"/>
              </a:cxn>
              <a:cxn ang="0">
                <a:pos x="4" y="53"/>
              </a:cxn>
              <a:cxn ang="0">
                <a:pos x="1" y="45"/>
              </a:cxn>
              <a:cxn ang="0">
                <a:pos x="0" y="41"/>
              </a:cxn>
              <a:cxn ang="0">
                <a:pos x="0" y="36"/>
              </a:cxn>
              <a:cxn ang="0">
                <a:pos x="2" y="30"/>
              </a:cxn>
              <a:cxn ang="0">
                <a:pos x="10" y="18"/>
              </a:cxn>
              <a:cxn ang="0">
                <a:pos x="15" y="14"/>
              </a:cxn>
              <a:cxn ang="0">
                <a:pos x="20" y="11"/>
              </a:cxn>
              <a:cxn ang="0">
                <a:pos x="22" y="15"/>
              </a:cxn>
              <a:cxn ang="0">
                <a:pos x="25" y="15"/>
              </a:cxn>
              <a:cxn ang="0">
                <a:pos x="25" y="11"/>
              </a:cxn>
              <a:cxn ang="0">
                <a:pos x="22" y="5"/>
              </a:cxn>
              <a:cxn ang="0">
                <a:pos x="20" y="4"/>
              </a:cxn>
              <a:cxn ang="0">
                <a:pos x="22" y="0"/>
              </a:cxn>
            </a:cxnLst>
            <a:rect l="0" t="0" r="r" b="b"/>
            <a:pathLst>
              <a:path w="81" h="97">
                <a:moveTo>
                  <a:pt x="2" y="64"/>
                </a:moveTo>
                <a:lnTo>
                  <a:pt x="3" y="64"/>
                </a:lnTo>
                <a:lnTo>
                  <a:pt x="3" y="66"/>
                </a:lnTo>
                <a:lnTo>
                  <a:pt x="2" y="65"/>
                </a:lnTo>
                <a:lnTo>
                  <a:pt x="2" y="64"/>
                </a:lnTo>
                <a:close/>
                <a:moveTo>
                  <a:pt x="22" y="0"/>
                </a:moveTo>
                <a:lnTo>
                  <a:pt x="25" y="0"/>
                </a:lnTo>
                <a:lnTo>
                  <a:pt x="25" y="2"/>
                </a:lnTo>
                <a:lnTo>
                  <a:pt x="26" y="3"/>
                </a:lnTo>
                <a:lnTo>
                  <a:pt x="27" y="3"/>
                </a:lnTo>
                <a:lnTo>
                  <a:pt x="27" y="2"/>
                </a:lnTo>
                <a:lnTo>
                  <a:pt x="28" y="0"/>
                </a:lnTo>
                <a:lnTo>
                  <a:pt x="32" y="0"/>
                </a:lnTo>
                <a:lnTo>
                  <a:pt x="31" y="2"/>
                </a:lnTo>
                <a:lnTo>
                  <a:pt x="31" y="4"/>
                </a:lnTo>
                <a:lnTo>
                  <a:pt x="33" y="6"/>
                </a:lnTo>
                <a:lnTo>
                  <a:pt x="39" y="9"/>
                </a:lnTo>
                <a:lnTo>
                  <a:pt x="39" y="10"/>
                </a:lnTo>
                <a:lnTo>
                  <a:pt x="44" y="15"/>
                </a:lnTo>
                <a:lnTo>
                  <a:pt x="44" y="16"/>
                </a:lnTo>
                <a:lnTo>
                  <a:pt x="45" y="17"/>
                </a:lnTo>
                <a:lnTo>
                  <a:pt x="46" y="20"/>
                </a:lnTo>
                <a:lnTo>
                  <a:pt x="47" y="20"/>
                </a:lnTo>
                <a:lnTo>
                  <a:pt x="49" y="21"/>
                </a:lnTo>
                <a:lnTo>
                  <a:pt x="49" y="22"/>
                </a:lnTo>
                <a:lnTo>
                  <a:pt x="52" y="22"/>
                </a:lnTo>
                <a:lnTo>
                  <a:pt x="52" y="23"/>
                </a:lnTo>
                <a:lnTo>
                  <a:pt x="53" y="22"/>
                </a:lnTo>
                <a:lnTo>
                  <a:pt x="54" y="24"/>
                </a:lnTo>
                <a:lnTo>
                  <a:pt x="56" y="25"/>
                </a:lnTo>
                <a:lnTo>
                  <a:pt x="57" y="25"/>
                </a:lnTo>
                <a:lnTo>
                  <a:pt x="58" y="27"/>
                </a:lnTo>
                <a:lnTo>
                  <a:pt x="60" y="27"/>
                </a:lnTo>
                <a:lnTo>
                  <a:pt x="60" y="25"/>
                </a:lnTo>
                <a:lnTo>
                  <a:pt x="62" y="25"/>
                </a:lnTo>
                <a:lnTo>
                  <a:pt x="62" y="24"/>
                </a:lnTo>
                <a:lnTo>
                  <a:pt x="63" y="25"/>
                </a:lnTo>
                <a:lnTo>
                  <a:pt x="63" y="27"/>
                </a:lnTo>
                <a:lnTo>
                  <a:pt x="64" y="27"/>
                </a:lnTo>
                <a:lnTo>
                  <a:pt x="68" y="30"/>
                </a:lnTo>
                <a:lnTo>
                  <a:pt x="71" y="33"/>
                </a:lnTo>
                <a:lnTo>
                  <a:pt x="71" y="34"/>
                </a:lnTo>
                <a:lnTo>
                  <a:pt x="75" y="34"/>
                </a:lnTo>
                <a:lnTo>
                  <a:pt x="77" y="36"/>
                </a:lnTo>
                <a:lnTo>
                  <a:pt x="80" y="37"/>
                </a:lnTo>
                <a:lnTo>
                  <a:pt x="81" y="37"/>
                </a:lnTo>
                <a:lnTo>
                  <a:pt x="81" y="41"/>
                </a:lnTo>
                <a:lnTo>
                  <a:pt x="77" y="42"/>
                </a:lnTo>
                <a:lnTo>
                  <a:pt x="75" y="42"/>
                </a:lnTo>
                <a:lnTo>
                  <a:pt x="75" y="46"/>
                </a:lnTo>
                <a:lnTo>
                  <a:pt x="74" y="47"/>
                </a:lnTo>
                <a:lnTo>
                  <a:pt x="72" y="46"/>
                </a:lnTo>
                <a:lnTo>
                  <a:pt x="70" y="45"/>
                </a:lnTo>
                <a:lnTo>
                  <a:pt x="68" y="45"/>
                </a:lnTo>
                <a:lnTo>
                  <a:pt x="68" y="46"/>
                </a:lnTo>
                <a:lnTo>
                  <a:pt x="66" y="46"/>
                </a:lnTo>
                <a:lnTo>
                  <a:pt x="66" y="47"/>
                </a:lnTo>
                <a:lnTo>
                  <a:pt x="70" y="51"/>
                </a:lnTo>
                <a:lnTo>
                  <a:pt x="70" y="53"/>
                </a:lnTo>
                <a:lnTo>
                  <a:pt x="69" y="54"/>
                </a:lnTo>
                <a:lnTo>
                  <a:pt x="69" y="58"/>
                </a:lnTo>
                <a:lnTo>
                  <a:pt x="68" y="57"/>
                </a:lnTo>
                <a:lnTo>
                  <a:pt x="66" y="58"/>
                </a:lnTo>
                <a:lnTo>
                  <a:pt x="65" y="60"/>
                </a:lnTo>
                <a:lnTo>
                  <a:pt x="60" y="60"/>
                </a:lnTo>
                <a:lnTo>
                  <a:pt x="60" y="61"/>
                </a:lnTo>
                <a:lnTo>
                  <a:pt x="59" y="63"/>
                </a:lnTo>
                <a:lnTo>
                  <a:pt x="57" y="63"/>
                </a:lnTo>
                <a:lnTo>
                  <a:pt x="57" y="61"/>
                </a:lnTo>
                <a:lnTo>
                  <a:pt x="54" y="59"/>
                </a:lnTo>
                <a:lnTo>
                  <a:pt x="54" y="52"/>
                </a:lnTo>
                <a:lnTo>
                  <a:pt x="52" y="52"/>
                </a:lnTo>
                <a:lnTo>
                  <a:pt x="49" y="55"/>
                </a:lnTo>
                <a:lnTo>
                  <a:pt x="49" y="59"/>
                </a:lnTo>
                <a:lnTo>
                  <a:pt x="47" y="59"/>
                </a:lnTo>
                <a:lnTo>
                  <a:pt x="46" y="60"/>
                </a:lnTo>
                <a:lnTo>
                  <a:pt x="46" y="61"/>
                </a:lnTo>
                <a:lnTo>
                  <a:pt x="45" y="63"/>
                </a:lnTo>
                <a:lnTo>
                  <a:pt x="45" y="64"/>
                </a:lnTo>
                <a:lnTo>
                  <a:pt x="44" y="64"/>
                </a:lnTo>
                <a:lnTo>
                  <a:pt x="44" y="65"/>
                </a:lnTo>
                <a:lnTo>
                  <a:pt x="40" y="68"/>
                </a:lnTo>
                <a:lnTo>
                  <a:pt x="40" y="70"/>
                </a:lnTo>
                <a:lnTo>
                  <a:pt x="37" y="77"/>
                </a:lnTo>
                <a:lnTo>
                  <a:pt x="35" y="78"/>
                </a:lnTo>
                <a:lnTo>
                  <a:pt x="35" y="79"/>
                </a:lnTo>
                <a:lnTo>
                  <a:pt x="37" y="80"/>
                </a:lnTo>
                <a:lnTo>
                  <a:pt x="39" y="82"/>
                </a:lnTo>
                <a:lnTo>
                  <a:pt x="39" y="86"/>
                </a:lnTo>
                <a:lnTo>
                  <a:pt x="38" y="88"/>
                </a:lnTo>
                <a:lnTo>
                  <a:pt x="39" y="89"/>
                </a:lnTo>
                <a:lnTo>
                  <a:pt x="39" y="91"/>
                </a:lnTo>
                <a:lnTo>
                  <a:pt x="38" y="91"/>
                </a:lnTo>
                <a:lnTo>
                  <a:pt x="39" y="92"/>
                </a:lnTo>
                <a:lnTo>
                  <a:pt x="38" y="92"/>
                </a:lnTo>
                <a:lnTo>
                  <a:pt x="38" y="94"/>
                </a:lnTo>
                <a:lnTo>
                  <a:pt x="39" y="95"/>
                </a:lnTo>
                <a:lnTo>
                  <a:pt x="39" y="97"/>
                </a:lnTo>
                <a:lnTo>
                  <a:pt x="37" y="95"/>
                </a:lnTo>
                <a:lnTo>
                  <a:pt x="35" y="95"/>
                </a:lnTo>
                <a:lnTo>
                  <a:pt x="33" y="94"/>
                </a:lnTo>
                <a:lnTo>
                  <a:pt x="32" y="92"/>
                </a:lnTo>
                <a:lnTo>
                  <a:pt x="31" y="92"/>
                </a:lnTo>
                <a:lnTo>
                  <a:pt x="31" y="90"/>
                </a:lnTo>
                <a:lnTo>
                  <a:pt x="29" y="90"/>
                </a:lnTo>
                <a:lnTo>
                  <a:pt x="29" y="86"/>
                </a:lnTo>
                <a:lnTo>
                  <a:pt x="27" y="84"/>
                </a:lnTo>
                <a:lnTo>
                  <a:pt x="27" y="82"/>
                </a:lnTo>
                <a:lnTo>
                  <a:pt x="26" y="82"/>
                </a:lnTo>
                <a:lnTo>
                  <a:pt x="26" y="80"/>
                </a:lnTo>
                <a:lnTo>
                  <a:pt x="24" y="80"/>
                </a:lnTo>
                <a:lnTo>
                  <a:pt x="24" y="79"/>
                </a:lnTo>
                <a:lnTo>
                  <a:pt x="22" y="79"/>
                </a:lnTo>
                <a:lnTo>
                  <a:pt x="22" y="78"/>
                </a:lnTo>
                <a:lnTo>
                  <a:pt x="20" y="76"/>
                </a:lnTo>
                <a:lnTo>
                  <a:pt x="19" y="73"/>
                </a:lnTo>
                <a:lnTo>
                  <a:pt x="19" y="72"/>
                </a:lnTo>
                <a:lnTo>
                  <a:pt x="15" y="72"/>
                </a:lnTo>
                <a:lnTo>
                  <a:pt x="15" y="73"/>
                </a:lnTo>
                <a:lnTo>
                  <a:pt x="14" y="73"/>
                </a:lnTo>
                <a:lnTo>
                  <a:pt x="14" y="72"/>
                </a:lnTo>
                <a:lnTo>
                  <a:pt x="12" y="71"/>
                </a:lnTo>
                <a:lnTo>
                  <a:pt x="12" y="70"/>
                </a:lnTo>
                <a:lnTo>
                  <a:pt x="10" y="68"/>
                </a:lnTo>
                <a:lnTo>
                  <a:pt x="10" y="67"/>
                </a:lnTo>
                <a:lnTo>
                  <a:pt x="9" y="67"/>
                </a:lnTo>
                <a:lnTo>
                  <a:pt x="9" y="68"/>
                </a:lnTo>
                <a:lnTo>
                  <a:pt x="8" y="67"/>
                </a:lnTo>
                <a:lnTo>
                  <a:pt x="7" y="67"/>
                </a:lnTo>
                <a:lnTo>
                  <a:pt x="4" y="65"/>
                </a:lnTo>
                <a:lnTo>
                  <a:pt x="4" y="64"/>
                </a:lnTo>
                <a:lnTo>
                  <a:pt x="6" y="64"/>
                </a:lnTo>
                <a:lnTo>
                  <a:pt x="8" y="65"/>
                </a:lnTo>
                <a:lnTo>
                  <a:pt x="9" y="65"/>
                </a:lnTo>
                <a:lnTo>
                  <a:pt x="10" y="66"/>
                </a:lnTo>
                <a:lnTo>
                  <a:pt x="12" y="66"/>
                </a:lnTo>
                <a:lnTo>
                  <a:pt x="12" y="65"/>
                </a:lnTo>
                <a:lnTo>
                  <a:pt x="10" y="63"/>
                </a:lnTo>
                <a:lnTo>
                  <a:pt x="10" y="61"/>
                </a:lnTo>
                <a:lnTo>
                  <a:pt x="9" y="63"/>
                </a:lnTo>
                <a:lnTo>
                  <a:pt x="7" y="64"/>
                </a:lnTo>
                <a:lnTo>
                  <a:pt x="2" y="63"/>
                </a:lnTo>
                <a:lnTo>
                  <a:pt x="2" y="64"/>
                </a:lnTo>
                <a:lnTo>
                  <a:pt x="1" y="64"/>
                </a:lnTo>
                <a:lnTo>
                  <a:pt x="1" y="63"/>
                </a:lnTo>
                <a:lnTo>
                  <a:pt x="0" y="61"/>
                </a:lnTo>
                <a:lnTo>
                  <a:pt x="0" y="57"/>
                </a:lnTo>
                <a:lnTo>
                  <a:pt x="2" y="57"/>
                </a:lnTo>
                <a:lnTo>
                  <a:pt x="2" y="55"/>
                </a:lnTo>
                <a:lnTo>
                  <a:pt x="4" y="53"/>
                </a:lnTo>
                <a:lnTo>
                  <a:pt x="4" y="49"/>
                </a:lnTo>
                <a:lnTo>
                  <a:pt x="2" y="47"/>
                </a:lnTo>
                <a:lnTo>
                  <a:pt x="1" y="45"/>
                </a:lnTo>
                <a:lnTo>
                  <a:pt x="1" y="43"/>
                </a:lnTo>
                <a:lnTo>
                  <a:pt x="0" y="42"/>
                </a:lnTo>
                <a:lnTo>
                  <a:pt x="0" y="41"/>
                </a:lnTo>
                <a:lnTo>
                  <a:pt x="1" y="41"/>
                </a:lnTo>
                <a:lnTo>
                  <a:pt x="1" y="39"/>
                </a:lnTo>
                <a:lnTo>
                  <a:pt x="0" y="36"/>
                </a:lnTo>
                <a:lnTo>
                  <a:pt x="0" y="34"/>
                </a:lnTo>
                <a:lnTo>
                  <a:pt x="1" y="31"/>
                </a:lnTo>
                <a:lnTo>
                  <a:pt x="2" y="30"/>
                </a:lnTo>
                <a:lnTo>
                  <a:pt x="8" y="30"/>
                </a:lnTo>
                <a:lnTo>
                  <a:pt x="8" y="21"/>
                </a:lnTo>
                <a:lnTo>
                  <a:pt x="10" y="18"/>
                </a:lnTo>
                <a:lnTo>
                  <a:pt x="9" y="18"/>
                </a:lnTo>
                <a:lnTo>
                  <a:pt x="10" y="17"/>
                </a:lnTo>
                <a:lnTo>
                  <a:pt x="15" y="14"/>
                </a:lnTo>
                <a:lnTo>
                  <a:pt x="16" y="12"/>
                </a:lnTo>
                <a:lnTo>
                  <a:pt x="16" y="11"/>
                </a:lnTo>
                <a:lnTo>
                  <a:pt x="20" y="11"/>
                </a:lnTo>
                <a:lnTo>
                  <a:pt x="21" y="12"/>
                </a:lnTo>
                <a:lnTo>
                  <a:pt x="22" y="12"/>
                </a:lnTo>
                <a:lnTo>
                  <a:pt x="22" y="15"/>
                </a:lnTo>
                <a:lnTo>
                  <a:pt x="24" y="16"/>
                </a:lnTo>
                <a:lnTo>
                  <a:pt x="24" y="15"/>
                </a:lnTo>
                <a:lnTo>
                  <a:pt x="25" y="15"/>
                </a:lnTo>
                <a:lnTo>
                  <a:pt x="25" y="14"/>
                </a:lnTo>
                <a:lnTo>
                  <a:pt x="27" y="14"/>
                </a:lnTo>
                <a:lnTo>
                  <a:pt x="25" y="11"/>
                </a:lnTo>
                <a:lnTo>
                  <a:pt x="24" y="8"/>
                </a:lnTo>
                <a:lnTo>
                  <a:pt x="22" y="6"/>
                </a:lnTo>
                <a:lnTo>
                  <a:pt x="22" y="5"/>
                </a:lnTo>
                <a:lnTo>
                  <a:pt x="21" y="6"/>
                </a:lnTo>
                <a:lnTo>
                  <a:pt x="21" y="4"/>
                </a:lnTo>
                <a:lnTo>
                  <a:pt x="20" y="4"/>
                </a:lnTo>
                <a:lnTo>
                  <a:pt x="20" y="2"/>
                </a:lnTo>
                <a:lnTo>
                  <a:pt x="21" y="2"/>
                </a:lnTo>
                <a:lnTo>
                  <a:pt x="22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" name="Freeform 25">
            <a:extLst>
              <a:ext uri="{FF2B5EF4-FFF2-40B4-BE49-F238E27FC236}">
                <a16:creationId xmlns:a16="http://schemas.microsoft.com/office/drawing/2014/main" id="{A1F319FE-6DB0-44BF-9FBF-407B17E48943}"/>
              </a:ext>
            </a:extLst>
          </p:cNvPr>
          <p:cNvSpPr>
            <a:spLocks/>
          </p:cNvSpPr>
          <p:nvPr/>
        </p:nvSpPr>
        <p:spPr bwMode="auto">
          <a:xfrm>
            <a:off x="1680867" y="5273995"/>
            <a:ext cx="5796" cy="4347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3" y="0"/>
              </a:cxn>
              <a:cxn ang="0">
                <a:pos x="4" y="1"/>
              </a:cxn>
              <a:cxn ang="0">
                <a:pos x="3" y="3"/>
              </a:cxn>
              <a:cxn ang="0">
                <a:pos x="0" y="3"/>
              </a:cxn>
              <a:cxn ang="0">
                <a:pos x="0" y="1"/>
              </a:cxn>
              <a:cxn ang="0">
                <a:pos x="2" y="0"/>
              </a:cxn>
            </a:cxnLst>
            <a:rect l="0" t="0" r="r" b="b"/>
            <a:pathLst>
              <a:path w="4" h="3">
                <a:moveTo>
                  <a:pt x="2" y="0"/>
                </a:moveTo>
                <a:lnTo>
                  <a:pt x="3" y="0"/>
                </a:lnTo>
                <a:lnTo>
                  <a:pt x="4" y="1"/>
                </a:lnTo>
                <a:lnTo>
                  <a:pt x="3" y="3"/>
                </a:lnTo>
                <a:lnTo>
                  <a:pt x="0" y="3"/>
                </a:lnTo>
                <a:lnTo>
                  <a:pt x="0" y="1"/>
                </a:lnTo>
                <a:lnTo>
                  <a:pt x="2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" name="Freeform 26">
            <a:extLst>
              <a:ext uri="{FF2B5EF4-FFF2-40B4-BE49-F238E27FC236}">
                <a16:creationId xmlns:a16="http://schemas.microsoft.com/office/drawing/2014/main" id="{3935621B-AB92-43CF-8D23-F8CEFF0238D6}"/>
              </a:ext>
            </a:extLst>
          </p:cNvPr>
          <p:cNvSpPr>
            <a:spLocks/>
          </p:cNvSpPr>
          <p:nvPr/>
        </p:nvSpPr>
        <p:spPr bwMode="auto">
          <a:xfrm>
            <a:off x="2858856" y="4856700"/>
            <a:ext cx="214443" cy="272401"/>
          </a:xfrm>
          <a:custGeom>
            <a:avLst/>
            <a:gdLst/>
            <a:ahLst/>
            <a:cxnLst>
              <a:cxn ang="0">
                <a:pos x="52" y="5"/>
              </a:cxn>
              <a:cxn ang="0">
                <a:pos x="62" y="12"/>
              </a:cxn>
              <a:cxn ang="0">
                <a:pos x="66" y="17"/>
              </a:cxn>
              <a:cxn ang="0">
                <a:pos x="73" y="17"/>
              </a:cxn>
              <a:cxn ang="0">
                <a:pos x="74" y="21"/>
              </a:cxn>
              <a:cxn ang="0">
                <a:pos x="78" y="27"/>
              </a:cxn>
              <a:cxn ang="0">
                <a:pos x="90" y="23"/>
              </a:cxn>
              <a:cxn ang="0">
                <a:pos x="96" y="33"/>
              </a:cxn>
              <a:cxn ang="0">
                <a:pos x="104" y="33"/>
              </a:cxn>
              <a:cxn ang="0">
                <a:pos x="109" y="39"/>
              </a:cxn>
              <a:cxn ang="0">
                <a:pos x="109" y="46"/>
              </a:cxn>
              <a:cxn ang="0">
                <a:pos x="108" y="58"/>
              </a:cxn>
              <a:cxn ang="0">
                <a:pos x="109" y="66"/>
              </a:cxn>
              <a:cxn ang="0">
                <a:pos x="116" y="72"/>
              </a:cxn>
              <a:cxn ang="0">
                <a:pos x="121" y="74"/>
              </a:cxn>
              <a:cxn ang="0">
                <a:pos x="125" y="78"/>
              </a:cxn>
              <a:cxn ang="0">
                <a:pos x="123" y="86"/>
              </a:cxn>
              <a:cxn ang="0">
                <a:pos x="125" y="89"/>
              </a:cxn>
              <a:cxn ang="0">
                <a:pos x="130" y="100"/>
              </a:cxn>
              <a:cxn ang="0">
                <a:pos x="140" y="106"/>
              </a:cxn>
              <a:cxn ang="0">
                <a:pos x="141" y="120"/>
              </a:cxn>
              <a:cxn ang="0">
                <a:pos x="142" y="126"/>
              </a:cxn>
              <a:cxn ang="0">
                <a:pos x="148" y="129"/>
              </a:cxn>
              <a:cxn ang="0">
                <a:pos x="135" y="132"/>
              </a:cxn>
              <a:cxn ang="0">
                <a:pos x="128" y="129"/>
              </a:cxn>
              <a:cxn ang="0">
                <a:pos x="123" y="129"/>
              </a:cxn>
              <a:cxn ang="0">
                <a:pos x="114" y="127"/>
              </a:cxn>
              <a:cxn ang="0">
                <a:pos x="108" y="122"/>
              </a:cxn>
              <a:cxn ang="0">
                <a:pos x="97" y="133"/>
              </a:cxn>
              <a:cxn ang="0">
                <a:pos x="98" y="151"/>
              </a:cxn>
              <a:cxn ang="0">
                <a:pos x="89" y="160"/>
              </a:cxn>
              <a:cxn ang="0">
                <a:pos x="86" y="169"/>
              </a:cxn>
              <a:cxn ang="0">
                <a:pos x="80" y="172"/>
              </a:cxn>
              <a:cxn ang="0">
                <a:pos x="79" y="177"/>
              </a:cxn>
              <a:cxn ang="0">
                <a:pos x="79" y="182"/>
              </a:cxn>
              <a:cxn ang="0">
                <a:pos x="67" y="186"/>
              </a:cxn>
              <a:cxn ang="0">
                <a:pos x="63" y="181"/>
              </a:cxn>
              <a:cxn ang="0">
                <a:pos x="65" y="169"/>
              </a:cxn>
              <a:cxn ang="0">
                <a:pos x="63" y="146"/>
              </a:cxn>
              <a:cxn ang="0">
                <a:pos x="66" y="134"/>
              </a:cxn>
              <a:cxn ang="0">
                <a:pos x="67" y="122"/>
              </a:cxn>
              <a:cxn ang="0">
                <a:pos x="63" y="104"/>
              </a:cxn>
              <a:cxn ang="0">
                <a:pos x="58" y="92"/>
              </a:cxn>
              <a:cxn ang="0">
                <a:pos x="52" y="86"/>
              </a:cxn>
              <a:cxn ang="0">
                <a:pos x="47" y="77"/>
              </a:cxn>
              <a:cxn ang="0">
                <a:pos x="41" y="69"/>
              </a:cxn>
              <a:cxn ang="0">
                <a:pos x="37" y="64"/>
              </a:cxn>
              <a:cxn ang="0">
                <a:pos x="32" y="58"/>
              </a:cxn>
              <a:cxn ang="0">
                <a:pos x="28" y="48"/>
              </a:cxn>
              <a:cxn ang="0">
                <a:pos x="25" y="41"/>
              </a:cxn>
              <a:cxn ang="0">
                <a:pos x="23" y="35"/>
              </a:cxn>
              <a:cxn ang="0">
                <a:pos x="19" y="30"/>
              </a:cxn>
              <a:cxn ang="0">
                <a:pos x="17" y="26"/>
              </a:cxn>
              <a:cxn ang="0">
                <a:pos x="16" y="21"/>
              </a:cxn>
              <a:cxn ang="0">
                <a:pos x="9" y="16"/>
              </a:cxn>
              <a:cxn ang="0">
                <a:pos x="3" y="11"/>
              </a:cxn>
              <a:cxn ang="0">
                <a:pos x="6" y="9"/>
              </a:cxn>
              <a:cxn ang="0">
                <a:pos x="16" y="9"/>
              </a:cxn>
              <a:cxn ang="0">
                <a:pos x="25" y="9"/>
              </a:cxn>
              <a:cxn ang="0">
                <a:pos x="40" y="2"/>
              </a:cxn>
            </a:cxnLst>
            <a:rect l="0" t="0" r="r" b="b"/>
            <a:pathLst>
              <a:path w="148" h="188">
                <a:moveTo>
                  <a:pt x="41" y="0"/>
                </a:moveTo>
                <a:lnTo>
                  <a:pt x="42" y="2"/>
                </a:lnTo>
                <a:lnTo>
                  <a:pt x="42" y="3"/>
                </a:lnTo>
                <a:lnTo>
                  <a:pt x="48" y="3"/>
                </a:lnTo>
                <a:lnTo>
                  <a:pt x="49" y="4"/>
                </a:lnTo>
                <a:lnTo>
                  <a:pt x="52" y="5"/>
                </a:lnTo>
                <a:lnTo>
                  <a:pt x="54" y="8"/>
                </a:lnTo>
                <a:lnTo>
                  <a:pt x="54" y="9"/>
                </a:lnTo>
                <a:lnTo>
                  <a:pt x="56" y="11"/>
                </a:lnTo>
                <a:lnTo>
                  <a:pt x="61" y="11"/>
                </a:lnTo>
                <a:lnTo>
                  <a:pt x="61" y="12"/>
                </a:lnTo>
                <a:lnTo>
                  <a:pt x="62" y="12"/>
                </a:lnTo>
                <a:lnTo>
                  <a:pt x="62" y="14"/>
                </a:lnTo>
                <a:lnTo>
                  <a:pt x="61" y="16"/>
                </a:lnTo>
                <a:lnTo>
                  <a:pt x="62" y="17"/>
                </a:lnTo>
                <a:lnTo>
                  <a:pt x="63" y="17"/>
                </a:lnTo>
                <a:lnTo>
                  <a:pt x="66" y="15"/>
                </a:lnTo>
                <a:lnTo>
                  <a:pt x="66" y="17"/>
                </a:lnTo>
                <a:lnTo>
                  <a:pt x="67" y="18"/>
                </a:lnTo>
                <a:lnTo>
                  <a:pt x="69" y="18"/>
                </a:lnTo>
                <a:lnTo>
                  <a:pt x="69" y="17"/>
                </a:lnTo>
                <a:lnTo>
                  <a:pt x="71" y="17"/>
                </a:lnTo>
                <a:lnTo>
                  <a:pt x="73" y="16"/>
                </a:lnTo>
                <a:lnTo>
                  <a:pt x="73" y="17"/>
                </a:lnTo>
                <a:lnTo>
                  <a:pt x="74" y="17"/>
                </a:lnTo>
                <a:lnTo>
                  <a:pt x="74" y="20"/>
                </a:lnTo>
                <a:lnTo>
                  <a:pt x="72" y="22"/>
                </a:lnTo>
                <a:lnTo>
                  <a:pt x="72" y="23"/>
                </a:lnTo>
                <a:lnTo>
                  <a:pt x="74" y="23"/>
                </a:lnTo>
                <a:lnTo>
                  <a:pt x="74" y="21"/>
                </a:lnTo>
                <a:lnTo>
                  <a:pt x="75" y="21"/>
                </a:lnTo>
                <a:lnTo>
                  <a:pt x="77" y="22"/>
                </a:lnTo>
                <a:lnTo>
                  <a:pt x="77" y="23"/>
                </a:lnTo>
                <a:lnTo>
                  <a:pt x="75" y="24"/>
                </a:lnTo>
                <a:lnTo>
                  <a:pt x="77" y="27"/>
                </a:lnTo>
                <a:lnTo>
                  <a:pt x="78" y="27"/>
                </a:lnTo>
                <a:lnTo>
                  <a:pt x="79" y="28"/>
                </a:lnTo>
                <a:lnTo>
                  <a:pt x="79" y="24"/>
                </a:lnTo>
                <a:lnTo>
                  <a:pt x="80" y="22"/>
                </a:lnTo>
                <a:lnTo>
                  <a:pt x="83" y="22"/>
                </a:lnTo>
                <a:lnTo>
                  <a:pt x="86" y="23"/>
                </a:lnTo>
                <a:lnTo>
                  <a:pt x="90" y="23"/>
                </a:lnTo>
                <a:lnTo>
                  <a:pt x="91" y="24"/>
                </a:lnTo>
                <a:lnTo>
                  <a:pt x="92" y="24"/>
                </a:lnTo>
                <a:lnTo>
                  <a:pt x="92" y="27"/>
                </a:lnTo>
                <a:lnTo>
                  <a:pt x="93" y="28"/>
                </a:lnTo>
                <a:lnTo>
                  <a:pt x="93" y="30"/>
                </a:lnTo>
                <a:lnTo>
                  <a:pt x="96" y="33"/>
                </a:lnTo>
                <a:lnTo>
                  <a:pt x="97" y="35"/>
                </a:lnTo>
                <a:lnTo>
                  <a:pt x="98" y="35"/>
                </a:lnTo>
                <a:lnTo>
                  <a:pt x="98" y="36"/>
                </a:lnTo>
                <a:lnTo>
                  <a:pt x="102" y="36"/>
                </a:lnTo>
                <a:lnTo>
                  <a:pt x="103" y="34"/>
                </a:lnTo>
                <a:lnTo>
                  <a:pt x="104" y="33"/>
                </a:lnTo>
                <a:lnTo>
                  <a:pt x="105" y="33"/>
                </a:lnTo>
                <a:lnTo>
                  <a:pt x="106" y="34"/>
                </a:lnTo>
                <a:lnTo>
                  <a:pt x="106" y="35"/>
                </a:lnTo>
                <a:lnTo>
                  <a:pt x="108" y="35"/>
                </a:lnTo>
                <a:lnTo>
                  <a:pt x="108" y="39"/>
                </a:lnTo>
                <a:lnTo>
                  <a:pt x="109" y="39"/>
                </a:lnTo>
                <a:lnTo>
                  <a:pt x="110" y="40"/>
                </a:lnTo>
                <a:lnTo>
                  <a:pt x="110" y="41"/>
                </a:lnTo>
                <a:lnTo>
                  <a:pt x="109" y="42"/>
                </a:lnTo>
                <a:lnTo>
                  <a:pt x="109" y="43"/>
                </a:lnTo>
                <a:lnTo>
                  <a:pt x="108" y="45"/>
                </a:lnTo>
                <a:lnTo>
                  <a:pt x="109" y="46"/>
                </a:lnTo>
                <a:lnTo>
                  <a:pt x="110" y="46"/>
                </a:lnTo>
                <a:lnTo>
                  <a:pt x="110" y="48"/>
                </a:lnTo>
                <a:lnTo>
                  <a:pt x="109" y="49"/>
                </a:lnTo>
                <a:lnTo>
                  <a:pt x="109" y="54"/>
                </a:lnTo>
                <a:lnTo>
                  <a:pt x="108" y="57"/>
                </a:lnTo>
                <a:lnTo>
                  <a:pt x="108" y="58"/>
                </a:lnTo>
                <a:lnTo>
                  <a:pt x="106" y="59"/>
                </a:lnTo>
                <a:lnTo>
                  <a:pt x="105" y="61"/>
                </a:lnTo>
                <a:lnTo>
                  <a:pt x="108" y="66"/>
                </a:lnTo>
                <a:lnTo>
                  <a:pt x="108" y="67"/>
                </a:lnTo>
                <a:lnTo>
                  <a:pt x="109" y="67"/>
                </a:lnTo>
                <a:lnTo>
                  <a:pt x="109" y="66"/>
                </a:lnTo>
                <a:lnTo>
                  <a:pt x="110" y="66"/>
                </a:lnTo>
                <a:lnTo>
                  <a:pt x="112" y="69"/>
                </a:lnTo>
                <a:lnTo>
                  <a:pt x="112" y="70"/>
                </a:lnTo>
                <a:lnTo>
                  <a:pt x="114" y="71"/>
                </a:lnTo>
                <a:lnTo>
                  <a:pt x="115" y="71"/>
                </a:lnTo>
                <a:lnTo>
                  <a:pt x="116" y="72"/>
                </a:lnTo>
                <a:lnTo>
                  <a:pt x="116" y="76"/>
                </a:lnTo>
                <a:lnTo>
                  <a:pt x="117" y="76"/>
                </a:lnTo>
                <a:lnTo>
                  <a:pt x="117" y="77"/>
                </a:lnTo>
                <a:lnTo>
                  <a:pt x="119" y="77"/>
                </a:lnTo>
                <a:lnTo>
                  <a:pt x="119" y="76"/>
                </a:lnTo>
                <a:lnTo>
                  <a:pt x="121" y="74"/>
                </a:lnTo>
                <a:lnTo>
                  <a:pt x="121" y="73"/>
                </a:lnTo>
                <a:lnTo>
                  <a:pt x="123" y="73"/>
                </a:lnTo>
                <a:lnTo>
                  <a:pt x="124" y="74"/>
                </a:lnTo>
                <a:lnTo>
                  <a:pt x="124" y="76"/>
                </a:lnTo>
                <a:lnTo>
                  <a:pt x="125" y="77"/>
                </a:lnTo>
                <a:lnTo>
                  <a:pt x="125" y="78"/>
                </a:lnTo>
                <a:lnTo>
                  <a:pt x="124" y="79"/>
                </a:lnTo>
                <a:lnTo>
                  <a:pt x="123" y="79"/>
                </a:lnTo>
                <a:lnTo>
                  <a:pt x="123" y="80"/>
                </a:lnTo>
                <a:lnTo>
                  <a:pt x="124" y="84"/>
                </a:lnTo>
                <a:lnTo>
                  <a:pt x="123" y="85"/>
                </a:lnTo>
                <a:lnTo>
                  <a:pt x="123" y="86"/>
                </a:lnTo>
                <a:lnTo>
                  <a:pt x="121" y="86"/>
                </a:lnTo>
                <a:lnTo>
                  <a:pt x="121" y="88"/>
                </a:lnTo>
                <a:lnTo>
                  <a:pt x="122" y="90"/>
                </a:lnTo>
                <a:lnTo>
                  <a:pt x="123" y="90"/>
                </a:lnTo>
                <a:lnTo>
                  <a:pt x="123" y="89"/>
                </a:lnTo>
                <a:lnTo>
                  <a:pt x="125" y="89"/>
                </a:lnTo>
                <a:lnTo>
                  <a:pt x="125" y="92"/>
                </a:lnTo>
                <a:lnTo>
                  <a:pt x="124" y="94"/>
                </a:lnTo>
                <a:lnTo>
                  <a:pt x="124" y="98"/>
                </a:lnTo>
                <a:lnTo>
                  <a:pt x="127" y="98"/>
                </a:lnTo>
                <a:lnTo>
                  <a:pt x="127" y="100"/>
                </a:lnTo>
                <a:lnTo>
                  <a:pt x="130" y="100"/>
                </a:lnTo>
                <a:lnTo>
                  <a:pt x="130" y="101"/>
                </a:lnTo>
                <a:lnTo>
                  <a:pt x="133" y="103"/>
                </a:lnTo>
                <a:lnTo>
                  <a:pt x="136" y="103"/>
                </a:lnTo>
                <a:lnTo>
                  <a:pt x="137" y="104"/>
                </a:lnTo>
                <a:lnTo>
                  <a:pt x="137" y="106"/>
                </a:lnTo>
                <a:lnTo>
                  <a:pt x="140" y="106"/>
                </a:lnTo>
                <a:lnTo>
                  <a:pt x="140" y="109"/>
                </a:lnTo>
                <a:lnTo>
                  <a:pt x="141" y="109"/>
                </a:lnTo>
                <a:lnTo>
                  <a:pt x="141" y="111"/>
                </a:lnTo>
                <a:lnTo>
                  <a:pt x="140" y="115"/>
                </a:lnTo>
                <a:lnTo>
                  <a:pt x="140" y="119"/>
                </a:lnTo>
                <a:lnTo>
                  <a:pt x="141" y="120"/>
                </a:lnTo>
                <a:lnTo>
                  <a:pt x="140" y="121"/>
                </a:lnTo>
                <a:lnTo>
                  <a:pt x="139" y="121"/>
                </a:lnTo>
                <a:lnTo>
                  <a:pt x="139" y="123"/>
                </a:lnTo>
                <a:lnTo>
                  <a:pt x="141" y="125"/>
                </a:lnTo>
                <a:lnTo>
                  <a:pt x="141" y="126"/>
                </a:lnTo>
                <a:lnTo>
                  <a:pt x="142" y="126"/>
                </a:lnTo>
                <a:lnTo>
                  <a:pt x="142" y="125"/>
                </a:lnTo>
                <a:lnTo>
                  <a:pt x="143" y="125"/>
                </a:lnTo>
                <a:lnTo>
                  <a:pt x="143" y="127"/>
                </a:lnTo>
                <a:lnTo>
                  <a:pt x="146" y="128"/>
                </a:lnTo>
                <a:lnTo>
                  <a:pt x="146" y="129"/>
                </a:lnTo>
                <a:lnTo>
                  <a:pt x="148" y="129"/>
                </a:lnTo>
                <a:lnTo>
                  <a:pt x="147" y="132"/>
                </a:lnTo>
                <a:lnTo>
                  <a:pt x="146" y="133"/>
                </a:lnTo>
                <a:lnTo>
                  <a:pt x="137" y="133"/>
                </a:lnTo>
                <a:lnTo>
                  <a:pt x="136" y="134"/>
                </a:lnTo>
                <a:lnTo>
                  <a:pt x="135" y="134"/>
                </a:lnTo>
                <a:lnTo>
                  <a:pt x="135" y="132"/>
                </a:lnTo>
                <a:lnTo>
                  <a:pt x="134" y="131"/>
                </a:lnTo>
                <a:lnTo>
                  <a:pt x="134" y="129"/>
                </a:lnTo>
                <a:lnTo>
                  <a:pt x="131" y="127"/>
                </a:lnTo>
                <a:lnTo>
                  <a:pt x="130" y="127"/>
                </a:lnTo>
                <a:lnTo>
                  <a:pt x="130" y="129"/>
                </a:lnTo>
                <a:lnTo>
                  <a:pt x="128" y="129"/>
                </a:lnTo>
                <a:lnTo>
                  <a:pt x="128" y="133"/>
                </a:lnTo>
                <a:lnTo>
                  <a:pt x="125" y="133"/>
                </a:lnTo>
                <a:lnTo>
                  <a:pt x="124" y="132"/>
                </a:lnTo>
                <a:lnTo>
                  <a:pt x="124" y="131"/>
                </a:lnTo>
                <a:lnTo>
                  <a:pt x="123" y="131"/>
                </a:lnTo>
                <a:lnTo>
                  <a:pt x="123" y="129"/>
                </a:lnTo>
                <a:lnTo>
                  <a:pt x="121" y="129"/>
                </a:lnTo>
                <a:lnTo>
                  <a:pt x="121" y="126"/>
                </a:lnTo>
                <a:lnTo>
                  <a:pt x="119" y="126"/>
                </a:lnTo>
                <a:lnTo>
                  <a:pt x="116" y="129"/>
                </a:lnTo>
                <a:lnTo>
                  <a:pt x="115" y="129"/>
                </a:lnTo>
                <a:lnTo>
                  <a:pt x="114" y="127"/>
                </a:lnTo>
                <a:lnTo>
                  <a:pt x="112" y="128"/>
                </a:lnTo>
                <a:lnTo>
                  <a:pt x="112" y="131"/>
                </a:lnTo>
                <a:lnTo>
                  <a:pt x="110" y="133"/>
                </a:lnTo>
                <a:lnTo>
                  <a:pt x="109" y="133"/>
                </a:lnTo>
                <a:lnTo>
                  <a:pt x="109" y="122"/>
                </a:lnTo>
                <a:lnTo>
                  <a:pt x="108" y="122"/>
                </a:lnTo>
                <a:lnTo>
                  <a:pt x="104" y="125"/>
                </a:lnTo>
                <a:lnTo>
                  <a:pt x="103" y="125"/>
                </a:lnTo>
                <a:lnTo>
                  <a:pt x="102" y="126"/>
                </a:lnTo>
                <a:lnTo>
                  <a:pt x="98" y="127"/>
                </a:lnTo>
                <a:lnTo>
                  <a:pt x="97" y="129"/>
                </a:lnTo>
                <a:lnTo>
                  <a:pt x="97" y="133"/>
                </a:lnTo>
                <a:lnTo>
                  <a:pt x="98" y="135"/>
                </a:lnTo>
                <a:lnTo>
                  <a:pt x="98" y="140"/>
                </a:lnTo>
                <a:lnTo>
                  <a:pt x="102" y="144"/>
                </a:lnTo>
                <a:lnTo>
                  <a:pt x="100" y="146"/>
                </a:lnTo>
                <a:lnTo>
                  <a:pt x="98" y="149"/>
                </a:lnTo>
                <a:lnTo>
                  <a:pt x="98" y="151"/>
                </a:lnTo>
                <a:lnTo>
                  <a:pt x="99" y="154"/>
                </a:lnTo>
                <a:lnTo>
                  <a:pt x="99" y="156"/>
                </a:lnTo>
                <a:lnTo>
                  <a:pt x="98" y="156"/>
                </a:lnTo>
                <a:lnTo>
                  <a:pt x="90" y="158"/>
                </a:lnTo>
                <a:lnTo>
                  <a:pt x="89" y="159"/>
                </a:lnTo>
                <a:lnTo>
                  <a:pt x="89" y="160"/>
                </a:lnTo>
                <a:lnTo>
                  <a:pt x="90" y="162"/>
                </a:lnTo>
                <a:lnTo>
                  <a:pt x="90" y="165"/>
                </a:lnTo>
                <a:lnTo>
                  <a:pt x="89" y="165"/>
                </a:lnTo>
                <a:lnTo>
                  <a:pt x="89" y="166"/>
                </a:lnTo>
                <a:lnTo>
                  <a:pt x="86" y="166"/>
                </a:lnTo>
                <a:lnTo>
                  <a:pt x="86" y="169"/>
                </a:lnTo>
                <a:lnTo>
                  <a:pt x="85" y="170"/>
                </a:lnTo>
                <a:lnTo>
                  <a:pt x="83" y="170"/>
                </a:lnTo>
                <a:lnTo>
                  <a:pt x="81" y="171"/>
                </a:lnTo>
                <a:lnTo>
                  <a:pt x="83" y="171"/>
                </a:lnTo>
                <a:lnTo>
                  <a:pt x="83" y="172"/>
                </a:lnTo>
                <a:lnTo>
                  <a:pt x="80" y="172"/>
                </a:lnTo>
                <a:lnTo>
                  <a:pt x="80" y="174"/>
                </a:lnTo>
                <a:lnTo>
                  <a:pt x="79" y="174"/>
                </a:lnTo>
                <a:lnTo>
                  <a:pt x="79" y="175"/>
                </a:lnTo>
                <a:lnTo>
                  <a:pt x="78" y="176"/>
                </a:lnTo>
                <a:lnTo>
                  <a:pt x="79" y="176"/>
                </a:lnTo>
                <a:lnTo>
                  <a:pt x="79" y="177"/>
                </a:lnTo>
                <a:lnTo>
                  <a:pt x="80" y="177"/>
                </a:lnTo>
                <a:lnTo>
                  <a:pt x="80" y="180"/>
                </a:lnTo>
                <a:lnTo>
                  <a:pt x="81" y="181"/>
                </a:lnTo>
                <a:lnTo>
                  <a:pt x="80" y="181"/>
                </a:lnTo>
                <a:lnTo>
                  <a:pt x="80" y="182"/>
                </a:lnTo>
                <a:lnTo>
                  <a:pt x="79" y="182"/>
                </a:lnTo>
                <a:lnTo>
                  <a:pt x="80" y="184"/>
                </a:lnTo>
                <a:lnTo>
                  <a:pt x="79" y="186"/>
                </a:lnTo>
                <a:lnTo>
                  <a:pt x="75" y="186"/>
                </a:lnTo>
                <a:lnTo>
                  <a:pt x="73" y="184"/>
                </a:lnTo>
                <a:lnTo>
                  <a:pt x="69" y="184"/>
                </a:lnTo>
                <a:lnTo>
                  <a:pt x="67" y="186"/>
                </a:lnTo>
                <a:lnTo>
                  <a:pt x="67" y="188"/>
                </a:lnTo>
                <a:lnTo>
                  <a:pt x="66" y="187"/>
                </a:lnTo>
                <a:lnTo>
                  <a:pt x="66" y="186"/>
                </a:lnTo>
                <a:lnTo>
                  <a:pt x="65" y="184"/>
                </a:lnTo>
                <a:lnTo>
                  <a:pt x="65" y="182"/>
                </a:lnTo>
                <a:lnTo>
                  <a:pt x="63" y="181"/>
                </a:lnTo>
                <a:lnTo>
                  <a:pt x="61" y="180"/>
                </a:lnTo>
                <a:lnTo>
                  <a:pt x="62" y="178"/>
                </a:lnTo>
                <a:lnTo>
                  <a:pt x="65" y="178"/>
                </a:lnTo>
                <a:lnTo>
                  <a:pt x="66" y="177"/>
                </a:lnTo>
                <a:lnTo>
                  <a:pt x="65" y="177"/>
                </a:lnTo>
                <a:lnTo>
                  <a:pt x="65" y="169"/>
                </a:lnTo>
                <a:lnTo>
                  <a:pt x="63" y="168"/>
                </a:lnTo>
                <a:lnTo>
                  <a:pt x="63" y="158"/>
                </a:lnTo>
                <a:lnTo>
                  <a:pt x="62" y="156"/>
                </a:lnTo>
                <a:lnTo>
                  <a:pt x="62" y="150"/>
                </a:lnTo>
                <a:lnTo>
                  <a:pt x="63" y="150"/>
                </a:lnTo>
                <a:lnTo>
                  <a:pt x="63" y="146"/>
                </a:lnTo>
                <a:lnTo>
                  <a:pt x="65" y="144"/>
                </a:lnTo>
                <a:lnTo>
                  <a:pt x="63" y="144"/>
                </a:lnTo>
                <a:lnTo>
                  <a:pt x="63" y="139"/>
                </a:lnTo>
                <a:lnTo>
                  <a:pt x="65" y="139"/>
                </a:lnTo>
                <a:lnTo>
                  <a:pt x="66" y="138"/>
                </a:lnTo>
                <a:lnTo>
                  <a:pt x="66" y="134"/>
                </a:lnTo>
                <a:lnTo>
                  <a:pt x="67" y="134"/>
                </a:lnTo>
                <a:lnTo>
                  <a:pt x="67" y="132"/>
                </a:lnTo>
                <a:lnTo>
                  <a:pt x="68" y="132"/>
                </a:lnTo>
                <a:lnTo>
                  <a:pt x="68" y="126"/>
                </a:lnTo>
                <a:lnTo>
                  <a:pt x="67" y="125"/>
                </a:lnTo>
                <a:lnTo>
                  <a:pt x="67" y="122"/>
                </a:lnTo>
                <a:lnTo>
                  <a:pt x="68" y="122"/>
                </a:lnTo>
                <a:lnTo>
                  <a:pt x="68" y="115"/>
                </a:lnTo>
                <a:lnTo>
                  <a:pt x="66" y="110"/>
                </a:lnTo>
                <a:lnTo>
                  <a:pt x="66" y="109"/>
                </a:lnTo>
                <a:lnTo>
                  <a:pt x="65" y="106"/>
                </a:lnTo>
                <a:lnTo>
                  <a:pt x="63" y="104"/>
                </a:lnTo>
                <a:lnTo>
                  <a:pt x="63" y="101"/>
                </a:lnTo>
                <a:lnTo>
                  <a:pt x="62" y="100"/>
                </a:lnTo>
                <a:lnTo>
                  <a:pt x="62" y="96"/>
                </a:lnTo>
                <a:lnTo>
                  <a:pt x="60" y="94"/>
                </a:lnTo>
                <a:lnTo>
                  <a:pt x="60" y="92"/>
                </a:lnTo>
                <a:lnTo>
                  <a:pt x="58" y="92"/>
                </a:lnTo>
                <a:lnTo>
                  <a:pt x="56" y="91"/>
                </a:lnTo>
                <a:lnTo>
                  <a:pt x="55" y="91"/>
                </a:lnTo>
                <a:lnTo>
                  <a:pt x="55" y="90"/>
                </a:lnTo>
                <a:lnTo>
                  <a:pt x="53" y="88"/>
                </a:lnTo>
                <a:lnTo>
                  <a:pt x="52" y="88"/>
                </a:lnTo>
                <a:lnTo>
                  <a:pt x="52" y="86"/>
                </a:lnTo>
                <a:lnTo>
                  <a:pt x="49" y="84"/>
                </a:lnTo>
                <a:lnTo>
                  <a:pt x="50" y="84"/>
                </a:lnTo>
                <a:lnTo>
                  <a:pt x="50" y="83"/>
                </a:lnTo>
                <a:lnTo>
                  <a:pt x="48" y="80"/>
                </a:lnTo>
                <a:lnTo>
                  <a:pt x="48" y="78"/>
                </a:lnTo>
                <a:lnTo>
                  <a:pt x="47" y="77"/>
                </a:lnTo>
                <a:lnTo>
                  <a:pt x="46" y="77"/>
                </a:lnTo>
                <a:lnTo>
                  <a:pt x="46" y="76"/>
                </a:lnTo>
                <a:lnTo>
                  <a:pt x="43" y="76"/>
                </a:lnTo>
                <a:lnTo>
                  <a:pt x="42" y="74"/>
                </a:lnTo>
                <a:lnTo>
                  <a:pt x="41" y="72"/>
                </a:lnTo>
                <a:lnTo>
                  <a:pt x="41" y="69"/>
                </a:lnTo>
                <a:lnTo>
                  <a:pt x="40" y="69"/>
                </a:lnTo>
                <a:lnTo>
                  <a:pt x="40" y="67"/>
                </a:lnTo>
                <a:lnTo>
                  <a:pt x="41" y="66"/>
                </a:lnTo>
                <a:lnTo>
                  <a:pt x="41" y="65"/>
                </a:lnTo>
                <a:lnTo>
                  <a:pt x="37" y="65"/>
                </a:lnTo>
                <a:lnTo>
                  <a:pt x="37" y="64"/>
                </a:lnTo>
                <a:lnTo>
                  <a:pt x="36" y="64"/>
                </a:lnTo>
                <a:lnTo>
                  <a:pt x="36" y="61"/>
                </a:lnTo>
                <a:lnTo>
                  <a:pt x="35" y="61"/>
                </a:lnTo>
                <a:lnTo>
                  <a:pt x="35" y="59"/>
                </a:lnTo>
                <a:lnTo>
                  <a:pt x="34" y="58"/>
                </a:lnTo>
                <a:lnTo>
                  <a:pt x="32" y="58"/>
                </a:lnTo>
                <a:lnTo>
                  <a:pt x="31" y="57"/>
                </a:lnTo>
                <a:lnTo>
                  <a:pt x="29" y="53"/>
                </a:lnTo>
                <a:lnTo>
                  <a:pt x="28" y="51"/>
                </a:lnTo>
                <a:lnTo>
                  <a:pt x="28" y="49"/>
                </a:lnTo>
                <a:lnTo>
                  <a:pt x="29" y="49"/>
                </a:lnTo>
                <a:lnTo>
                  <a:pt x="28" y="48"/>
                </a:lnTo>
                <a:lnTo>
                  <a:pt x="29" y="48"/>
                </a:lnTo>
                <a:lnTo>
                  <a:pt x="27" y="46"/>
                </a:lnTo>
                <a:lnTo>
                  <a:pt x="27" y="45"/>
                </a:lnTo>
                <a:lnTo>
                  <a:pt x="25" y="43"/>
                </a:lnTo>
                <a:lnTo>
                  <a:pt x="27" y="42"/>
                </a:lnTo>
                <a:lnTo>
                  <a:pt x="25" y="41"/>
                </a:lnTo>
                <a:lnTo>
                  <a:pt x="25" y="39"/>
                </a:lnTo>
                <a:lnTo>
                  <a:pt x="24" y="37"/>
                </a:lnTo>
                <a:lnTo>
                  <a:pt x="23" y="37"/>
                </a:lnTo>
                <a:lnTo>
                  <a:pt x="23" y="36"/>
                </a:lnTo>
                <a:lnTo>
                  <a:pt x="24" y="35"/>
                </a:lnTo>
                <a:lnTo>
                  <a:pt x="23" y="35"/>
                </a:lnTo>
                <a:lnTo>
                  <a:pt x="23" y="33"/>
                </a:lnTo>
                <a:lnTo>
                  <a:pt x="22" y="33"/>
                </a:lnTo>
                <a:lnTo>
                  <a:pt x="22" y="30"/>
                </a:lnTo>
                <a:lnTo>
                  <a:pt x="21" y="31"/>
                </a:lnTo>
                <a:lnTo>
                  <a:pt x="19" y="31"/>
                </a:lnTo>
                <a:lnTo>
                  <a:pt x="19" y="30"/>
                </a:lnTo>
                <a:lnTo>
                  <a:pt x="21" y="30"/>
                </a:lnTo>
                <a:lnTo>
                  <a:pt x="21" y="29"/>
                </a:lnTo>
                <a:lnTo>
                  <a:pt x="19" y="29"/>
                </a:lnTo>
                <a:lnTo>
                  <a:pt x="18" y="28"/>
                </a:lnTo>
                <a:lnTo>
                  <a:pt x="18" y="27"/>
                </a:lnTo>
                <a:lnTo>
                  <a:pt x="17" y="26"/>
                </a:lnTo>
                <a:lnTo>
                  <a:pt x="18" y="26"/>
                </a:lnTo>
                <a:lnTo>
                  <a:pt x="18" y="23"/>
                </a:lnTo>
                <a:lnTo>
                  <a:pt x="15" y="23"/>
                </a:lnTo>
                <a:lnTo>
                  <a:pt x="15" y="22"/>
                </a:lnTo>
                <a:lnTo>
                  <a:pt x="16" y="22"/>
                </a:lnTo>
                <a:lnTo>
                  <a:pt x="16" y="21"/>
                </a:lnTo>
                <a:lnTo>
                  <a:pt x="15" y="21"/>
                </a:lnTo>
                <a:lnTo>
                  <a:pt x="15" y="20"/>
                </a:lnTo>
                <a:lnTo>
                  <a:pt x="12" y="20"/>
                </a:lnTo>
                <a:lnTo>
                  <a:pt x="12" y="18"/>
                </a:lnTo>
                <a:lnTo>
                  <a:pt x="10" y="17"/>
                </a:lnTo>
                <a:lnTo>
                  <a:pt x="9" y="16"/>
                </a:lnTo>
                <a:lnTo>
                  <a:pt x="5" y="16"/>
                </a:lnTo>
                <a:lnTo>
                  <a:pt x="5" y="15"/>
                </a:lnTo>
                <a:lnTo>
                  <a:pt x="0" y="15"/>
                </a:lnTo>
                <a:lnTo>
                  <a:pt x="0" y="14"/>
                </a:lnTo>
                <a:lnTo>
                  <a:pt x="3" y="12"/>
                </a:lnTo>
                <a:lnTo>
                  <a:pt x="3" y="11"/>
                </a:lnTo>
                <a:lnTo>
                  <a:pt x="4" y="11"/>
                </a:lnTo>
                <a:lnTo>
                  <a:pt x="4" y="12"/>
                </a:lnTo>
                <a:lnTo>
                  <a:pt x="5" y="14"/>
                </a:lnTo>
                <a:lnTo>
                  <a:pt x="7" y="14"/>
                </a:lnTo>
                <a:lnTo>
                  <a:pt x="7" y="10"/>
                </a:lnTo>
                <a:lnTo>
                  <a:pt x="6" y="9"/>
                </a:lnTo>
                <a:lnTo>
                  <a:pt x="7" y="8"/>
                </a:lnTo>
                <a:lnTo>
                  <a:pt x="9" y="9"/>
                </a:lnTo>
                <a:lnTo>
                  <a:pt x="9" y="6"/>
                </a:lnTo>
                <a:lnTo>
                  <a:pt x="10" y="6"/>
                </a:lnTo>
                <a:lnTo>
                  <a:pt x="13" y="10"/>
                </a:lnTo>
                <a:lnTo>
                  <a:pt x="16" y="9"/>
                </a:lnTo>
                <a:lnTo>
                  <a:pt x="17" y="9"/>
                </a:lnTo>
                <a:lnTo>
                  <a:pt x="17" y="6"/>
                </a:lnTo>
                <a:lnTo>
                  <a:pt x="18" y="6"/>
                </a:lnTo>
                <a:lnTo>
                  <a:pt x="19" y="8"/>
                </a:lnTo>
                <a:lnTo>
                  <a:pt x="23" y="9"/>
                </a:lnTo>
                <a:lnTo>
                  <a:pt x="25" y="9"/>
                </a:lnTo>
                <a:lnTo>
                  <a:pt x="30" y="4"/>
                </a:lnTo>
                <a:lnTo>
                  <a:pt x="31" y="4"/>
                </a:lnTo>
                <a:lnTo>
                  <a:pt x="32" y="5"/>
                </a:lnTo>
                <a:lnTo>
                  <a:pt x="34" y="5"/>
                </a:lnTo>
                <a:lnTo>
                  <a:pt x="37" y="2"/>
                </a:lnTo>
                <a:lnTo>
                  <a:pt x="40" y="2"/>
                </a:lnTo>
                <a:lnTo>
                  <a:pt x="41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Freeform 27">
            <a:extLst>
              <a:ext uri="{FF2B5EF4-FFF2-40B4-BE49-F238E27FC236}">
                <a16:creationId xmlns:a16="http://schemas.microsoft.com/office/drawing/2014/main" id="{46AAF727-35DB-462D-8B23-60F852FC256C}"/>
              </a:ext>
            </a:extLst>
          </p:cNvPr>
          <p:cNvSpPr>
            <a:spLocks noEditPoints="1"/>
          </p:cNvSpPr>
          <p:nvPr/>
        </p:nvSpPr>
        <p:spPr bwMode="auto">
          <a:xfrm>
            <a:off x="2099611" y="5886897"/>
            <a:ext cx="21735" cy="20285"/>
          </a:xfrm>
          <a:custGeom>
            <a:avLst/>
            <a:gdLst/>
            <a:ahLst/>
            <a:cxnLst>
              <a:cxn ang="0">
                <a:pos x="6" y="6"/>
              </a:cxn>
              <a:cxn ang="0">
                <a:pos x="11" y="6"/>
              </a:cxn>
              <a:cxn ang="0">
                <a:pos x="13" y="8"/>
              </a:cxn>
              <a:cxn ang="0">
                <a:pos x="13" y="10"/>
              </a:cxn>
              <a:cxn ang="0">
                <a:pos x="14" y="10"/>
              </a:cxn>
              <a:cxn ang="0">
                <a:pos x="15" y="11"/>
              </a:cxn>
              <a:cxn ang="0">
                <a:pos x="15" y="13"/>
              </a:cxn>
              <a:cxn ang="0">
                <a:pos x="14" y="13"/>
              </a:cxn>
              <a:cxn ang="0">
                <a:pos x="14" y="14"/>
              </a:cxn>
              <a:cxn ang="0">
                <a:pos x="12" y="14"/>
              </a:cxn>
              <a:cxn ang="0">
                <a:pos x="9" y="13"/>
              </a:cxn>
              <a:cxn ang="0">
                <a:pos x="7" y="11"/>
              </a:cxn>
              <a:cxn ang="0">
                <a:pos x="6" y="11"/>
              </a:cxn>
              <a:cxn ang="0">
                <a:pos x="6" y="6"/>
              </a:cxn>
              <a:cxn ang="0">
                <a:pos x="6" y="5"/>
              </a:cxn>
              <a:cxn ang="0">
                <a:pos x="7" y="5"/>
              </a:cxn>
              <a:cxn ang="0">
                <a:pos x="6" y="6"/>
              </a:cxn>
              <a:cxn ang="0">
                <a:pos x="5" y="6"/>
              </a:cxn>
              <a:cxn ang="0">
                <a:pos x="6" y="5"/>
              </a:cxn>
              <a:cxn ang="0">
                <a:pos x="0" y="0"/>
              </a:cxn>
              <a:cxn ang="0">
                <a:pos x="3" y="0"/>
              </a:cxn>
              <a:cxn ang="0">
                <a:pos x="6" y="2"/>
              </a:cxn>
              <a:cxn ang="0">
                <a:pos x="5" y="2"/>
              </a:cxn>
              <a:cxn ang="0">
                <a:pos x="3" y="4"/>
              </a:cxn>
              <a:cxn ang="0">
                <a:pos x="1" y="4"/>
              </a:cxn>
              <a:cxn ang="0">
                <a:pos x="0" y="2"/>
              </a:cxn>
              <a:cxn ang="0">
                <a:pos x="0" y="0"/>
              </a:cxn>
            </a:cxnLst>
            <a:rect l="0" t="0" r="r" b="b"/>
            <a:pathLst>
              <a:path w="15" h="14">
                <a:moveTo>
                  <a:pt x="6" y="6"/>
                </a:moveTo>
                <a:lnTo>
                  <a:pt x="11" y="6"/>
                </a:lnTo>
                <a:lnTo>
                  <a:pt x="13" y="8"/>
                </a:lnTo>
                <a:lnTo>
                  <a:pt x="13" y="10"/>
                </a:lnTo>
                <a:lnTo>
                  <a:pt x="14" y="10"/>
                </a:lnTo>
                <a:lnTo>
                  <a:pt x="15" y="11"/>
                </a:lnTo>
                <a:lnTo>
                  <a:pt x="15" y="13"/>
                </a:lnTo>
                <a:lnTo>
                  <a:pt x="14" y="13"/>
                </a:lnTo>
                <a:lnTo>
                  <a:pt x="14" y="14"/>
                </a:lnTo>
                <a:lnTo>
                  <a:pt x="12" y="14"/>
                </a:lnTo>
                <a:lnTo>
                  <a:pt x="9" y="13"/>
                </a:lnTo>
                <a:lnTo>
                  <a:pt x="7" y="11"/>
                </a:lnTo>
                <a:lnTo>
                  <a:pt x="6" y="11"/>
                </a:lnTo>
                <a:lnTo>
                  <a:pt x="6" y="6"/>
                </a:lnTo>
                <a:close/>
                <a:moveTo>
                  <a:pt x="6" y="5"/>
                </a:moveTo>
                <a:lnTo>
                  <a:pt x="7" y="5"/>
                </a:lnTo>
                <a:lnTo>
                  <a:pt x="6" y="6"/>
                </a:lnTo>
                <a:lnTo>
                  <a:pt x="5" y="6"/>
                </a:lnTo>
                <a:lnTo>
                  <a:pt x="6" y="5"/>
                </a:lnTo>
                <a:close/>
                <a:moveTo>
                  <a:pt x="0" y="0"/>
                </a:moveTo>
                <a:lnTo>
                  <a:pt x="3" y="0"/>
                </a:lnTo>
                <a:lnTo>
                  <a:pt x="6" y="2"/>
                </a:lnTo>
                <a:lnTo>
                  <a:pt x="5" y="2"/>
                </a:lnTo>
                <a:lnTo>
                  <a:pt x="3" y="4"/>
                </a:lnTo>
                <a:lnTo>
                  <a:pt x="1" y="4"/>
                </a:lnTo>
                <a:lnTo>
                  <a:pt x="0" y="2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" name="Freeform 28">
            <a:extLst>
              <a:ext uri="{FF2B5EF4-FFF2-40B4-BE49-F238E27FC236}">
                <a16:creationId xmlns:a16="http://schemas.microsoft.com/office/drawing/2014/main" id="{324283E7-FC99-42E5-8A8E-9F49EAC70F9E}"/>
              </a:ext>
            </a:extLst>
          </p:cNvPr>
          <p:cNvSpPr>
            <a:spLocks/>
          </p:cNvSpPr>
          <p:nvPr/>
        </p:nvSpPr>
        <p:spPr bwMode="auto">
          <a:xfrm>
            <a:off x="2480682" y="5389911"/>
            <a:ext cx="157935" cy="124609"/>
          </a:xfrm>
          <a:custGeom>
            <a:avLst/>
            <a:gdLst/>
            <a:ahLst/>
            <a:cxnLst>
              <a:cxn ang="0">
                <a:pos x="78" y="3"/>
              </a:cxn>
              <a:cxn ang="0">
                <a:pos x="80" y="4"/>
              </a:cxn>
              <a:cxn ang="0">
                <a:pos x="87" y="13"/>
              </a:cxn>
              <a:cxn ang="0">
                <a:pos x="94" y="18"/>
              </a:cxn>
              <a:cxn ang="0">
                <a:pos x="99" y="19"/>
              </a:cxn>
              <a:cxn ang="0">
                <a:pos x="102" y="22"/>
              </a:cxn>
              <a:cxn ang="0">
                <a:pos x="104" y="29"/>
              </a:cxn>
              <a:cxn ang="0">
                <a:pos x="108" y="35"/>
              </a:cxn>
              <a:cxn ang="0">
                <a:pos x="108" y="40"/>
              </a:cxn>
              <a:cxn ang="0">
                <a:pos x="105" y="46"/>
              </a:cxn>
              <a:cxn ang="0">
                <a:pos x="105" y="55"/>
              </a:cxn>
              <a:cxn ang="0">
                <a:pos x="99" y="59"/>
              </a:cxn>
              <a:cxn ang="0">
                <a:pos x="97" y="62"/>
              </a:cxn>
              <a:cxn ang="0">
                <a:pos x="96" y="70"/>
              </a:cxn>
              <a:cxn ang="0">
                <a:pos x="92" y="68"/>
              </a:cxn>
              <a:cxn ang="0">
                <a:pos x="90" y="72"/>
              </a:cxn>
              <a:cxn ang="0">
                <a:pos x="86" y="72"/>
              </a:cxn>
              <a:cxn ang="0">
                <a:pos x="79" y="71"/>
              </a:cxn>
              <a:cxn ang="0">
                <a:pos x="75" y="68"/>
              </a:cxn>
              <a:cxn ang="0">
                <a:pos x="72" y="71"/>
              </a:cxn>
              <a:cxn ang="0">
                <a:pos x="67" y="70"/>
              </a:cxn>
              <a:cxn ang="0">
                <a:pos x="63" y="72"/>
              </a:cxn>
              <a:cxn ang="0">
                <a:pos x="61" y="76"/>
              </a:cxn>
              <a:cxn ang="0">
                <a:pos x="56" y="82"/>
              </a:cxn>
              <a:cxn ang="0">
                <a:pos x="53" y="82"/>
              </a:cxn>
              <a:cxn ang="0">
                <a:pos x="50" y="84"/>
              </a:cxn>
              <a:cxn ang="0">
                <a:pos x="46" y="84"/>
              </a:cxn>
              <a:cxn ang="0">
                <a:pos x="38" y="85"/>
              </a:cxn>
              <a:cxn ang="0">
                <a:pos x="35" y="85"/>
              </a:cxn>
              <a:cxn ang="0">
                <a:pos x="23" y="86"/>
              </a:cxn>
              <a:cxn ang="0">
                <a:pos x="22" y="83"/>
              </a:cxn>
              <a:cxn ang="0">
                <a:pos x="12" y="84"/>
              </a:cxn>
              <a:cxn ang="0">
                <a:pos x="11" y="78"/>
              </a:cxn>
              <a:cxn ang="0">
                <a:pos x="6" y="73"/>
              </a:cxn>
              <a:cxn ang="0">
                <a:pos x="5" y="68"/>
              </a:cxn>
              <a:cxn ang="0">
                <a:pos x="3" y="61"/>
              </a:cxn>
              <a:cxn ang="0">
                <a:pos x="4" y="59"/>
              </a:cxn>
              <a:cxn ang="0">
                <a:pos x="5" y="55"/>
              </a:cxn>
              <a:cxn ang="0">
                <a:pos x="3" y="54"/>
              </a:cxn>
              <a:cxn ang="0">
                <a:pos x="1" y="50"/>
              </a:cxn>
              <a:cxn ang="0">
                <a:pos x="3" y="47"/>
              </a:cxn>
              <a:cxn ang="0">
                <a:pos x="3" y="41"/>
              </a:cxn>
              <a:cxn ang="0">
                <a:pos x="5" y="30"/>
              </a:cxn>
              <a:cxn ang="0">
                <a:pos x="9" y="30"/>
              </a:cxn>
              <a:cxn ang="0">
                <a:pos x="10" y="30"/>
              </a:cxn>
              <a:cxn ang="0">
                <a:pos x="13" y="28"/>
              </a:cxn>
              <a:cxn ang="0">
                <a:pos x="15" y="17"/>
              </a:cxn>
              <a:cxn ang="0">
                <a:pos x="23" y="15"/>
              </a:cxn>
              <a:cxn ang="0">
                <a:pos x="25" y="12"/>
              </a:cxn>
              <a:cxn ang="0">
                <a:pos x="31" y="12"/>
              </a:cxn>
              <a:cxn ang="0">
                <a:pos x="34" y="16"/>
              </a:cxn>
              <a:cxn ang="0">
                <a:pos x="36" y="16"/>
              </a:cxn>
              <a:cxn ang="0">
                <a:pos x="36" y="13"/>
              </a:cxn>
              <a:cxn ang="0">
                <a:pos x="42" y="10"/>
              </a:cxn>
              <a:cxn ang="0">
                <a:pos x="43" y="9"/>
              </a:cxn>
              <a:cxn ang="0">
                <a:pos x="46" y="9"/>
              </a:cxn>
              <a:cxn ang="0">
                <a:pos x="52" y="9"/>
              </a:cxn>
              <a:cxn ang="0">
                <a:pos x="54" y="7"/>
              </a:cxn>
              <a:cxn ang="0">
                <a:pos x="62" y="3"/>
              </a:cxn>
              <a:cxn ang="0">
                <a:pos x="67" y="5"/>
              </a:cxn>
              <a:cxn ang="0">
                <a:pos x="77" y="1"/>
              </a:cxn>
            </a:cxnLst>
            <a:rect l="0" t="0" r="r" b="b"/>
            <a:pathLst>
              <a:path w="109" h="86">
                <a:moveTo>
                  <a:pt x="77" y="0"/>
                </a:moveTo>
                <a:lnTo>
                  <a:pt x="78" y="0"/>
                </a:lnTo>
                <a:lnTo>
                  <a:pt x="78" y="3"/>
                </a:lnTo>
                <a:lnTo>
                  <a:pt x="79" y="3"/>
                </a:lnTo>
                <a:lnTo>
                  <a:pt x="79" y="4"/>
                </a:lnTo>
                <a:lnTo>
                  <a:pt x="80" y="4"/>
                </a:lnTo>
                <a:lnTo>
                  <a:pt x="85" y="10"/>
                </a:lnTo>
                <a:lnTo>
                  <a:pt x="87" y="12"/>
                </a:lnTo>
                <a:lnTo>
                  <a:pt x="87" y="13"/>
                </a:lnTo>
                <a:lnTo>
                  <a:pt x="88" y="15"/>
                </a:lnTo>
                <a:lnTo>
                  <a:pt x="92" y="17"/>
                </a:lnTo>
                <a:lnTo>
                  <a:pt x="94" y="18"/>
                </a:lnTo>
                <a:lnTo>
                  <a:pt x="96" y="18"/>
                </a:lnTo>
                <a:lnTo>
                  <a:pt x="97" y="19"/>
                </a:lnTo>
                <a:lnTo>
                  <a:pt x="99" y="19"/>
                </a:lnTo>
                <a:lnTo>
                  <a:pt x="99" y="21"/>
                </a:lnTo>
                <a:lnTo>
                  <a:pt x="102" y="21"/>
                </a:lnTo>
                <a:lnTo>
                  <a:pt x="102" y="22"/>
                </a:lnTo>
                <a:lnTo>
                  <a:pt x="103" y="23"/>
                </a:lnTo>
                <a:lnTo>
                  <a:pt x="103" y="29"/>
                </a:lnTo>
                <a:lnTo>
                  <a:pt x="104" y="29"/>
                </a:lnTo>
                <a:lnTo>
                  <a:pt x="104" y="30"/>
                </a:lnTo>
                <a:lnTo>
                  <a:pt x="106" y="35"/>
                </a:lnTo>
                <a:lnTo>
                  <a:pt x="108" y="35"/>
                </a:lnTo>
                <a:lnTo>
                  <a:pt x="109" y="36"/>
                </a:lnTo>
                <a:lnTo>
                  <a:pt x="109" y="39"/>
                </a:lnTo>
                <a:lnTo>
                  <a:pt x="108" y="40"/>
                </a:lnTo>
                <a:lnTo>
                  <a:pt x="108" y="41"/>
                </a:lnTo>
                <a:lnTo>
                  <a:pt x="105" y="43"/>
                </a:lnTo>
                <a:lnTo>
                  <a:pt x="105" y="46"/>
                </a:lnTo>
                <a:lnTo>
                  <a:pt x="106" y="46"/>
                </a:lnTo>
                <a:lnTo>
                  <a:pt x="106" y="55"/>
                </a:lnTo>
                <a:lnTo>
                  <a:pt x="105" y="55"/>
                </a:lnTo>
                <a:lnTo>
                  <a:pt x="106" y="56"/>
                </a:lnTo>
                <a:lnTo>
                  <a:pt x="106" y="59"/>
                </a:lnTo>
                <a:lnTo>
                  <a:pt x="99" y="59"/>
                </a:lnTo>
                <a:lnTo>
                  <a:pt x="98" y="60"/>
                </a:lnTo>
                <a:lnTo>
                  <a:pt x="98" y="62"/>
                </a:lnTo>
                <a:lnTo>
                  <a:pt x="97" y="62"/>
                </a:lnTo>
                <a:lnTo>
                  <a:pt x="97" y="70"/>
                </a:lnTo>
                <a:lnTo>
                  <a:pt x="96" y="71"/>
                </a:lnTo>
                <a:lnTo>
                  <a:pt x="96" y="70"/>
                </a:lnTo>
                <a:lnTo>
                  <a:pt x="94" y="70"/>
                </a:lnTo>
                <a:lnTo>
                  <a:pt x="94" y="68"/>
                </a:lnTo>
                <a:lnTo>
                  <a:pt x="92" y="68"/>
                </a:lnTo>
                <a:lnTo>
                  <a:pt x="92" y="71"/>
                </a:lnTo>
                <a:lnTo>
                  <a:pt x="90" y="71"/>
                </a:lnTo>
                <a:lnTo>
                  <a:pt x="90" y="72"/>
                </a:lnTo>
                <a:lnTo>
                  <a:pt x="88" y="71"/>
                </a:lnTo>
                <a:lnTo>
                  <a:pt x="87" y="71"/>
                </a:lnTo>
                <a:lnTo>
                  <a:pt x="86" y="72"/>
                </a:lnTo>
                <a:lnTo>
                  <a:pt x="84" y="72"/>
                </a:lnTo>
                <a:lnTo>
                  <a:pt x="83" y="71"/>
                </a:lnTo>
                <a:lnTo>
                  <a:pt x="79" y="71"/>
                </a:lnTo>
                <a:lnTo>
                  <a:pt x="79" y="70"/>
                </a:lnTo>
                <a:lnTo>
                  <a:pt x="75" y="70"/>
                </a:lnTo>
                <a:lnTo>
                  <a:pt x="75" y="68"/>
                </a:lnTo>
                <a:lnTo>
                  <a:pt x="74" y="70"/>
                </a:lnTo>
                <a:lnTo>
                  <a:pt x="73" y="70"/>
                </a:lnTo>
                <a:lnTo>
                  <a:pt x="72" y="71"/>
                </a:lnTo>
                <a:lnTo>
                  <a:pt x="68" y="71"/>
                </a:lnTo>
                <a:lnTo>
                  <a:pt x="68" y="70"/>
                </a:lnTo>
                <a:lnTo>
                  <a:pt x="67" y="70"/>
                </a:lnTo>
                <a:lnTo>
                  <a:pt x="67" y="71"/>
                </a:lnTo>
                <a:lnTo>
                  <a:pt x="65" y="71"/>
                </a:lnTo>
                <a:lnTo>
                  <a:pt x="63" y="72"/>
                </a:lnTo>
                <a:lnTo>
                  <a:pt x="62" y="72"/>
                </a:lnTo>
                <a:lnTo>
                  <a:pt x="62" y="76"/>
                </a:lnTo>
                <a:lnTo>
                  <a:pt x="61" y="76"/>
                </a:lnTo>
                <a:lnTo>
                  <a:pt x="57" y="79"/>
                </a:lnTo>
                <a:lnTo>
                  <a:pt x="57" y="82"/>
                </a:lnTo>
                <a:lnTo>
                  <a:pt x="56" y="82"/>
                </a:lnTo>
                <a:lnTo>
                  <a:pt x="56" y="83"/>
                </a:lnTo>
                <a:lnTo>
                  <a:pt x="55" y="83"/>
                </a:lnTo>
                <a:lnTo>
                  <a:pt x="53" y="82"/>
                </a:lnTo>
                <a:lnTo>
                  <a:pt x="52" y="83"/>
                </a:lnTo>
                <a:lnTo>
                  <a:pt x="52" y="84"/>
                </a:lnTo>
                <a:lnTo>
                  <a:pt x="50" y="84"/>
                </a:lnTo>
                <a:lnTo>
                  <a:pt x="49" y="85"/>
                </a:lnTo>
                <a:lnTo>
                  <a:pt x="47" y="85"/>
                </a:lnTo>
                <a:lnTo>
                  <a:pt x="46" y="84"/>
                </a:lnTo>
                <a:lnTo>
                  <a:pt x="42" y="83"/>
                </a:lnTo>
                <a:lnTo>
                  <a:pt x="41" y="83"/>
                </a:lnTo>
                <a:lnTo>
                  <a:pt x="38" y="85"/>
                </a:lnTo>
                <a:lnTo>
                  <a:pt x="36" y="86"/>
                </a:lnTo>
                <a:lnTo>
                  <a:pt x="35" y="86"/>
                </a:lnTo>
                <a:lnTo>
                  <a:pt x="35" y="85"/>
                </a:lnTo>
                <a:lnTo>
                  <a:pt x="31" y="85"/>
                </a:lnTo>
                <a:lnTo>
                  <a:pt x="29" y="86"/>
                </a:lnTo>
                <a:lnTo>
                  <a:pt x="23" y="86"/>
                </a:lnTo>
                <a:lnTo>
                  <a:pt x="23" y="85"/>
                </a:lnTo>
                <a:lnTo>
                  <a:pt x="22" y="84"/>
                </a:lnTo>
                <a:lnTo>
                  <a:pt x="22" y="83"/>
                </a:lnTo>
                <a:lnTo>
                  <a:pt x="16" y="83"/>
                </a:lnTo>
                <a:lnTo>
                  <a:pt x="15" y="84"/>
                </a:lnTo>
                <a:lnTo>
                  <a:pt x="12" y="84"/>
                </a:lnTo>
                <a:lnTo>
                  <a:pt x="12" y="83"/>
                </a:lnTo>
                <a:lnTo>
                  <a:pt x="11" y="82"/>
                </a:lnTo>
                <a:lnTo>
                  <a:pt x="11" y="78"/>
                </a:lnTo>
                <a:lnTo>
                  <a:pt x="10" y="74"/>
                </a:lnTo>
                <a:lnTo>
                  <a:pt x="9" y="73"/>
                </a:lnTo>
                <a:lnTo>
                  <a:pt x="6" y="73"/>
                </a:lnTo>
                <a:lnTo>
                  <a:pt x="6" y="71"/>
                </a:lnTo>
                <a:lnTo>
                  <a:pt x="5" y="70"/>
                </a:lnTo>
                <a:lnTo>
                  <a:pt x="5" y="68"/>
                </a:lnTo>
                <a:lnTo>
                  <a:pt x="4" y="66"/>
                </a:lnTo>
                <a:lnTo>
                  <a:pt x="3" y="65"/>
                </a:lnTo>
                <a:lnTo>
                  <a:pt x="3" y="61"/>
                </a:lnTo>
                <a:lnTo>
                  <a:pt x="1" y="60"/>
                </a:lnTo>
                <a:lnTo>
                  <a:pt x="3" y="59"/>
                </a:lnTo>
                <a:lnTo>
                  <a:pt x="4" y="59"/>
                </a:lnTo>
                <a:lnTo>
                  <a:pt x="4" y="58"/>
                </a:lnTo>
                <a:lnTo>
                  <a:pt x="5" y="56"/>
                </a:lnTo>
                <a:lnTo>
                  <a:pt x="5" y="55"/>
                </a:lnTo>
                <a:lnTo>
                  <a:pt x="4" y="55"/>
                </a:lnTo>
                <a:lnTo>
                  <a:pt x="4" y="54"/>
                </a:lnTo>
                <a:lnTo>
                  <a:pt x="3" y="54"/>
                </a:lnTo>
                <a:lnTo>
                  <a:pt x="3" y="52"/>
                </a:lnTo>
                <a:lnTo>
                  <a:pt x="1" y="52"/>
                </a:lnTo>
                <a:lnTo>
                  <a:pt x="1" y="50"/>
                </a:lnTo>
                <a:lnTo>
                  <a:pt x="0" y="50"/>
                </a:lnTo>
                <a:lnTo>
                  <a:pt x="0" y="47"/>
                </a:lnTo>
                <a:lnTo>
                  <a:pt x="3" y="47"/>
                </a:lnTo>
                <a:lnTo>
                  <a:pt x="4" y="46"/>
                </a:lnTo>
                <a:lnTo>
                  <a:pt x="4" y="42"/>
                </a:lnTo>
                <a:lnTo>
                  <a:pt x="3" y="41"/>
                </a:lnTo>
                <a:lnTo>
                  <a:pt x="3" y="36"/>
                </a:lnTo>
                <a:lnTo>
                  <a:pt x="5" y="34"/>
                </a:lnTo>
                <a:lnTo>
                  <a:pt x="5" y="30"/>
                </a:lnTo>
                <a:lnTo>
                  <a:pt x="6" y="29"/>
                </a:lnTo>
                <a:lnTo>
                  <a:pt x="6" y="30"/>
                </a:lnTo>
                <a:lnTo>
                  <a:pt x="9" y="30"/>
                </a:lnTo>
                <a:lnTo>
                  <a:pt x="9" y="29"/>
                </a:lnTo>
                <a:lnTo>
                  <a:pt x="10" y="29"/>
                </a:lnTo>
                <a:lnTo>
                  <a:pt x="10" y="30"/>
                </a:lnTo>
                <a:lnTo>
                  <a:pt x="12" y="30"/>
                </a:lnTo>
                <a:lnTo>
                  <a:pt x="12" y="29"/>
                </a:lnTo>
                <a:lnTo>
                  <a:pt x="13" y="28"/>
                </a:lnTo>
                <a:lnTo>
                  <a:pt x="13" y="19"/>
                </a:lnTo>
                <a:lnTo>
                  <a:pt x="15" y="18"/>
                </a:lnTo>
                <a:lnTo>
                  <a:pt x="15" y="17"/>
                </a:lnTo>
                <a:lnTo>
                  <a:pt x="16" y="17"/>
                </a:lnTo>
                <a:lnTo>
                  <a:pt x="19" y="15"/>
                </a:lnTo>
                <a:lnTo>
                  <a:pt x="23" y="15"/>
                </a:lnTo>
                <a:lnTo>
                  <a:pt x="24" y="13"/>
                </a:lnTo>
                <a:lnTo>
                  <a:pt x="25" y="13"/>
                </a:lnTo>
                <a:lnTo>
                  <a:pt x="25" y="12"/>
                </a:lnTo>
                <a:lnTo>
                  <a:pt x="27" y="11"/>
                </a:lnTo>
                <a:lnTo>
                  <a:pt x="29" y="11"/>
                </a:lnTo>
                <a:lnTo>
                  <a:pt x="31" y="12"/>
                </a:lnTo>
                <a:lnTo>
                  <a:pt x="32" y="13"/>
                </a:lnTo>
                <a:lnTo>
                  <a:pt x="32" y="15"/>
                </a:lnTo>
                <a:lnTo>
                  <a:pt x="34" y="16"/>
                </a:lnTo>
                <a:lnTo>
                  <a:pt x="35" y="16"/>
                </a:lnTo>
                <a:lnTo>
                  <a:pt x="36" y="17"/>
                </a:lnTo>
                <a:lnTo>
                  <a:pt x="36" y="16"/>
                </a:lnTo>
                <a:lnTo>
                  <a:pt x="37" y="16"/>
                </a:lnTo>
                <a:lnTo>
                  <a:pt x="36" y="15"/>
                </a:lnTo>
                <a:lnTo>
                  <a:pt x="36" y="13"/>
                </a:lnTo>
                <a:lnTo>
                  <a:pt x="38" y="10"/>
                </a:lnTo>
                <a:lnTo>
                  <a:pt x="40" y="9"/>
                </a:lnTo>
                <a:lnTo>
                  <a:pt x="42" y="10"/>
                </a:lnTo>
                <a:lnTo>
                  <a:pt x="42" y="7"/>
                </a:lnTo>
                <a:lnTo>
                  <a:pt x="43" y="7"/>
                </a:lnTo>
                <a:lnTo>
                  <a:pt x="43" y="9"/>
                </a:lnTo>
                <a:lnTo>
                  <a:pt x="44" y="9"/>
                </a:lnTo>
                <a:lnTo>
                  <a:pt x="44" y="7"/>
                </a:lnTo>
                <a:lnTo>
                  <a:pt x="46" y="9"/>
                </a:lnTo>
                <a:lnTo>
                  <a:pt x="48" y="7"/>
                </a:lnTo>
                <a:lnTo>
                  <a:pt x="50" y="7"/>
                </a:lnTo>
                <a:lnTo>
                  <a:pt x="52" y="9"/>
                </a:lnTo>
                <a:lnTo>
                  <a:pt x="53" y="9"/>
                </a:lnTo>
                <a:lnTo>
                  <a:pt x="53" y="7"/>
                </a:lnTo>
                <a:lnTo>
                  <a:pt x="54" y="7"/>
                </a:lnTo>
                <a:lnTo>
                  <a:pt x="59" y="4"/>
                </a:lnTo>
                <a:lnTo>
                  <a:pt x="61" y="4"/>
                </a:lnTo>
                <a:lnTo>
                  <a:pt x="62" y="3"/>
                </a:lnTo>
                <a:lnTo>
                  <a:pt x="63" y="3"/>
                </a:lnTo>
                <a:lnTo>
                  <a:pt x="66" y="4"/>
                </a:lnTo>
                <a:lnTo>
                  <a:pt x="67" y="5"/>
                </a:lnTo>
                <a:lnTo>
                  <a:pt x="68" y="5"/>
                </a:lnTo>
                <a:lnTo>
                  <a:pt x="71" y="4"/>
                </a:lnTo>
                <a:lnTo>
                  <a:pt x="77" y="1"/>
                </a:lnTo>
                <a:lnTo>
                  <a:pt x="77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" name="Freeform 29">
            <a:extLst>
              <a:ext uri="{FF2B5EF4-FFF2-40B4-BE49-F238E27FC236}">
                <a16:creationId xmlns:a16="http://schemas.microsoft.com/office/drawing/2014/main" id="{2984142B-CE12-4A07-9A33-8E09C71180B4}"/>
              </a:ext>
            </a:extLst>
          </p:cNvPr>
          <p:cNvSpPr>
            <a:spLocks/>
          </p:cNvSpPr>
          <p:nvPr/>
        </p:nvSpPr>
        <p:spPr bwMode="auto">
          <a:xfrm>
            <a:off x="1580891" y="4700215"/>
            <a:ext cx="49264" cy="69549"/>
          </a:xfrm>
          <a:custGeom>
            <a:avLst/>
            <a:gdLst/>
            <a:ahLst/>
            <a:cxnLst>
              <a:cxn ang="0">
                <a:pos x="12" y="0"/>
              </a:cxn>
              <a:cxn ang="0">
                <a:pos x="16" y="1"/>
              </a:cxn>
              <a:cxn ang="0">
                <a:pos x="17" y="3"/>
              </a:cxn>
              <a:cxn ang="0">
                <a:pos x="16" y="7"/>
              </a:cxn>
              <a:cxn ang="0">
                <a:pos x="16" y="8"/>
              </a:cxn>
              <a:cxn ang="0">
                <a:pos x="17" y="12"/>
              </a:cxn>
              <a:cxn ang="0">
                <a:pos x="18" y="14"/>
              </a:cxn>
              <a:cxn ang="0">
                <a:pos x="19" y="14"/>
              </a:cxn>
              <a:cxn ang="0">
                <a:pos x="22" y="19"/>
              </a:cxn>
              <a:cxn ang="0">
                <a:pos x="24" y="20"/>
              </a:cxn>
              <a:cxn ang="0">
                <a:pos x="27" y="21"/>
              </a:cxn>
              <a:cxn ang="0">
                <a:pos x="28" y="24"/>
              </a:cxn>
              <a:cxn ang="0">
                <a:pos x="33" y="25"/>
              </a:cxn>
              <a:cxn ang="0">
                <a:pos x="33" y="27"/>
              </a:cxn>
              <a:cxn ang="0">
                <a:pos x="30" y="33"/>
              </a:cxn>
              <a:cxn ang="0">
                <a:pos x="29" y="34"/>
              </a:cxn>
              <a:cxn ang="0">
                <a:pos x="30" y="36"/>
              </a:cxn>
              <a:cxn ang="0">
                <a:pos x="29" y="37"/>
              </a:cxn>
              <a:cxn ang="0">
                <a:pos x="27" y="46"/>
              </a:cxn>
              <a:cxn ang="0">
                <a:pos x="23" y="44"/>
              </a:cxn>
              <a:cxn ang="0">
                <a:pos x="18" y="45"/>
              </a:cxn>
              <a:cxn ang="0">
                <a:pos x="16" y="46"/>
              </a:cxn>
              <a:cxn ang="0">
                <a:pos x="10" y="48"/>
              </a:cxn>
              <a:cxn ang="0">
                <a:pos x="9" y="45"/>
              </a:cxn>
              <a:cxn ang="0">
                <a:pos x="5" y="44"/>
              </a:cxn>
              <a:cxn ang="0">
                <a:pos x="3" y="42"/>
              </a:cxn>
              <a:cxn ang="0">
                <a:pos x="5" y="40"/>
              </a:cxn>
              <a:cxn ang="0">
                <a:pos x="6" y="37"/>
              </a:cxn>
              <a:cxn ang="0">
                <a:pos x="7" y="36"/>
              </a:cxn>
              <a:cxn ang="0">
                <a:pos x="5" y="33"/>
              </a:cxn>
              <a:cxn ang="0">
                <a:pos x="6" y="31"/>
              </a:cxn>
              <a:cxn ang="0">
                <a:pos x="4" y="30"/>
              </a:cxn>
              <a:cxn ang="0">
                <a:pos x="3" y="26"/>
              </a:cxn>
              <a:cxn ang="0">
                <a:pos x="0" y="25"/>
              </a:cxn>
              <a:cxn ang="0">
                <a:pos x="2" y="21"/>
              </a:cxn>
              <a:cxn ang="0">
                <a:pos x="0" y="20"/>
              </a:cxn>
              <a:cxn ang="0">
                <a:pos x="0" y="19"/>
              </a:cxn>
              <a:cxn ang="0">
                <a:pos x="2" y="14"/>
              </a:cxn>
              <a:cxn ang="0">
                <a:pos x="4" y="10"/>
              </a:cxn>
              <a:cxn ang="0">
                <a:pos x="5" y="8"/>
              </a:cxn>
              <a:cxn ang="0">
                <a:pos x="6" y="5"/>
              </a:cxn>
              <a:cxn ang="0">
                <a:pos x="9" y="3"/>
              </a:cxn>
              <a:cxn ang="0">
                <a:pos x="10" y="0"/>
              </a:cxn>
            </a:cxnLst>
            <a:rect l="0" t="0" r="r" b="b"/>
            <a:pathLst>
              <a:path w="34" h="48">
                <a:moveTo>
                  <a:pt x="10" y="0"/>
                </a:moveTo>
                <a:lnTo>
                  <a:pt x="12" y="0"/>
                </a:lnTo>
                <a:lnTo>
                  <a:pt x="12" y="1"/>
                </a:lnTo>
                <a:lnTo>
                  <a:pt x="16" y="1"/>
                </a:lnTo>
                <a:lnTo>
                  <a:pt x="16" y="3"/>
                </a:lnTo>
                <a:lnTo>
                  <a:pt x="17" y="3"/>
                </a:lnTo>
                <a:lnTo>
                  <a:pt x="17" y="5"/>
                </a:lnTo>
                <a:lnTo>
                  <a:pt x="16" y="7"/>
                </a:lnTo>
                <a:lnTo>
                  <a:pt x="17" y="7"/>
                </a:lnTo>
                <a:lnTo>
                  <a:pt x="16" y="8"/>
                </a:lnTo>
                <a:lnTo>
                  <a:pt x="17" y="8"/>
                </a:lnTo>
                <a:lnTo>
                  <a:pt x="17" y="12"/>
                </a:lnTo>
                <a:lnTo>
                  <a:pt x="18" y="13"/>
                </a:lnTo>
                <a:lnTo>
                  <a:pt x="18" y="14"/>
                </a:lnTo>
                <a:lnTo>
                  <a:pt x="19" y="15"/>
                </a:lnTo>
                <a:lnTo>
                  <a:pt x="19" y="14"/>
                </a:lnTo>
                <a:lnTo>
                  <a:pt x="21" y="15"/>
                </a:lnTo>
                <a:lnTo>
                  <a:pt x="22" y="19"/>
                </a:lnTo>
                <a:lnTo>
                  <a:pt x="23" y="20"/>
                </a:lnTo>
                <a:lnTo>
                  <a:pt x="24" y="20"/>
                </a:lnTo>
                <a:lnTo>
                  <a:pt x="24" y="21"/>
                </a:lnTo>
                <a:lnTo>
                  <a:pt x="27" y="21"/>
                </a:lnTo>
                <a:lnTo>
                  <a:pt x="27" y="22"/>
                </a:lnTo>
                <a:lnTo>
                  <a:pt x="28" y="24"/>
                </a:lnTo>
                <a:lnTo>
                  <a:pt x="31" y="24"/>
                </a:lnTo>
                <a:lnTo>
                  <a:pt x="33" y="25"/>
                </a:lnTo>
                <a:lnTo>
                  <a:pt x="34" y="25"/>
                </a:lnTo>
                <a:lnTo>
                  <a:pt x="33" y="27"/>
                </a:lnTo>
                <a:lnTo>
                  <a:pt x="33" y="31"/>
                </a:lnTo>
                <a:lnTo>
                  <a:pt x="30" y="33"/>
                </a:lnTo>
                <a:lnTo>
                  <a:pt x="29" y="33"/>
                </a:lnTo>
                <a:lnTo>
                  <a:pt x="29" y="34"/>
                </a:lnTo>
                <a:lnTo>
                  <a:pt x="30" y="34"/>
                </a:lnTo>
                <a:lnTo>
                  <a:pt x="30" y="36"/>
                </a:lnTo>
                <a:lnTo>
                  <a:pt x="29" y="36"/>
                </a:lnTo>
                <a:lnTo>
                  <a:pt x="29" y="37"/>
                </a:lnTo>
                <a:lnTo>
                  <a:pt x="27" y="39"/>
                </a:lnTo>
                <a:lnTo>
                  <a:pt x="27" y="46"/>
                </a:lnTo>
                <a:lnTo>
                  <a:pt x="24" y="46"/>
                </a:lnTo>
                <a:lnTo>
                  <a:pt x="23" y="44"/>
                </a:lnTo>
                <a:lnTo>
                  <a:pt x="18" y="44"/>
                </a:lnTo>
                <a:lnTo>
                  <a:pt x="18" y="45"/>
                </a:lnTo>
                <a:lnTo>
                  <a:pt x="16" y="45"/>
                </a:lnTo>
                <a:lnTo>
                  <a:pt x="16" y="46"/>
                </a:lnTo>
                <a:lnTo>
                  <a:pt x="15" y="48"/>
                </a:lnTo>
                <a:lnTo>
                  <a:pt x="10" y="48"/>
                </a:lnTo>
                <a:lnTo>
                  <a:pt x="10" y="46"/>
                </a:lnTo>
                <a:lnTo>
                  <a:pt x="9" y="45"/>
                </a:lnTo>
                <a:lnTo>
                  <a:pt x="6" y="44"/>
                </a:lnTo>
                <a:lnTo>
                  <a:pt x="5" y="44"/>
                </a:lnTo>
                <a:lnTo>
                  <a:pt x="5" y="43"/>
                </a:lnTo>
                <a:lnTo>
                  <a:pt x="3" y="42"/>
                </a:lnTo>
                <a:lnTo>
                  <a:pt x="4" y="40"/>
                </a:lnTo>
                <a:lnTo>
                  <a:pt x="5" y="40"/>
                </a:lnTo>
                <a:lnTo>
                  <a:pt x="5" y="38"/>
                </a:lnTo>
                <a:lnTo>
                  <a:pt x="6" y="37"/>
                </a:lnTo>
                <a:lnTo>
                  <a:pt x="6" y="36"/>
                </a:lnTo>
                <a:lnTo>
                  <a:pt x="7" y="36"/>
                </a:lnTo>
                <a:lnTo>
                  <a:pt x="7" y="33"/>
                </a:lnTo>
                <a:lnTo>
                  <a:pt x="5" y="33"/>
                </a:lnTo>
                <a:lnTo>
                  <a:pt x="5" y="32"/>
                </a:lnTo>
                <a:lnTo>
                  <a:pt x="6" y="31"/>
                </a:lnTo>
                <a:lnTo>
                  <a:pt x="6" y="30"/>
                </a:lnTo>
                <a:lnTo>
                  <a:pt x="4" y="30"/>
                </a:lnTo>
                <a:lnTo>
                  <a:pt x="4" y="28"/>
                </a:lnTo>
                <a:lnTo>
                  <a:pt x="3" y="26"/>
                </a:lnTo>
                <a:lnTo>
                  <a:pt x="2" y="25"/>
                </a:lnTo>
                <a:lnTo>
                  <a:pt x="0" y="25"/>
                </a:lnTo>
                <a:lnTo>
                  <a:pt x="0" y="22"/>
                </a:lnTo>
                <a:lnTo>
                  <a:pt x="2" y="21"/>
                </a:lnTo>
                <a:lnTo>
                  <a:pt x="0" y="21"/>
                </a:lnTo>
                <a:lnTo>
                  <a:pt x="0" y="20"/>
                </a:lnTo>
                <a:lnTo>
                  <a:pt x="2" y="20"/>
                </a:lnTo>
                <a:lnTo>
                  <a:pt x="0" y="19"/>
                </a:lnTo>
                <a:lnTo>
                  <a:pt x="2" y="15"/>
                </a:lnTo>
                <a:lnTo>
                  <a:pt x="2" y="14"/>
                </a:lnTo>
                <a:lnTo>
                  <a:pt x="4" y="14"/>
                </a:lnTo>
                <a:lnTo>
                  <a:pt x="4" y="10"/>
                </a:lnTo>
                <a:lnTo>
                  <a:pt x="5" y="10"/>
                </a:lnTo>
                <a:lnTo>
                  <a:pt x="5" y="8"/>
                </a:lnTo>
                <a:lnTo>
                  <a:pt x="6" y="7"/>
                </a:lnTo>
                <a:lnTo>
                  <a:pt x="6" y="5"/>
                </a:lnTo>
                <a:lnTo>
                  <a:pt x="7" y="5"/>
                </a:lnTo>
                <a:lnTo>
                  <a:pt x="9" y="3"/>
                </a:lnTo>
                <a:lnTo>
                  <a:pt x="10" y="3"/>
                </a:lnTo>
                <a:lnTo>
                  <a:pt x="1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5" name="Freeform 30">
            <a:extLst>
              <a:ext uri="{FF2B5EF4-FFF2-40B4-BE49-F238E27FC236}">
                <a16:creationId xmlns:a16="http://schemas.microsoft.com/office/drawing/2014/main" id="{6E1686FB-A86E-404D-83D0-C86FA73ECB1A}"/>
              </a:ext>
            </a:extLst>
          </p:cNvPr>
          <p:cNvSpPr>
            <a:spLocks/>
          </p:cNvSpPr>
          <p:nvPr/>
        </p:nvSpPr>
        <p:spPr bwMode="auto">
          <a:xfrm>
            <a:off x="2511110" y="4058334"/>
            <a:ext cx="357889" cy="272401"/>
          </a:xfrm>
          <a:custGeom>
            <a:avLst/>
            <a:gdLst/>
            <a:ahLst/>
            <a:cxnLst>
              <a:cxn ang="0">
                <a:pos x="170" y="10"/>
              </a:cxn>
              <a:cxn ang="0">
                <a:pos x="196" y="22"/>
              </a:cxn>
              <a:cxn ang="0">
                <a:pos x="208" y="33"/>
              </a:cxn>
              <a:cxn ang="0">
                <a:pos x="226" y="52"/>
              </a:cxn>
              <a:cxn ang="0">
                <a:pos x="237" y="68"/>
              </a:cxn>
              <a:cxn ang="0">
                <a:pos x="233" y="83"/>
              </a:cxn>
              <a:cxn ang="0">
                <a:pos x="246" y="89"/>
              </a:cxn>
              <a:cxn ang="0">
                <a:pos x="240" y="93"/>
              </a:cxn>
              <a:cxn ang="0">
                <a:pos x="233" y="98"/>
              </a:cxn>
              <a:cxn ang="0">
                <a:pos x="221" y="107"/>
              </a:cxn>
              <a:cxn ang="0">
                <a:pos x="211" y="111"/>
              </a:cxn>
              <a:cxn ang="0">
                <a:pos x="205" y="117"/>
              </a:cxn>
              <a:cxn ang="0">
                <a:pos x="203" y="139"/>
              </a:cxn>
              <a:cxn ang="0">
                <a:pos x="197" y="149"/>
              </a:cxn>
              <a:cxn ang="0">
                <a:pos x="197" y="158"/>
              </a:cxn>
              <a:cxn ang="0">
                <a:pos x="203" y="161"/>
              </a:cxn>
              <a:cxn ang="0">
                <a:pos x="195" y="170"/>
              </a:cxn>
              <a:cxn ang="0">
                <a:pos x="194" y="163"/>
              </a:cxn>
              <a:cxn ang="0">
                <a:pos x="188" y="162"/>
              </a:cxn>
              <a:cxn ang="0">
                <a:pos x="177" y="169"/>
              </a:cxn>
              <a:cxn ang="0">
                <a:pos x="164" y="172"/>
              </a:cxn>
              <a:cxn ang="0">
                <a:pos x="159" y="182"/>
              </a:cxn>
              <a:cxn ang="0">
                <a:pos x="145" y="188"/>
              </a:cxn>
              <a:cxn ang="0">
                <a:pos x="135" y="184"/>
              </a:cxn>
              <a:cxn ang="0">
                <a:pos x="121" y="186"/>
              </a:cxn>
              <a:cxn ang="0">
                <a:pos x="113" y="187"/>
              </a:cxn>
              <a:cxn ang="0">
                <a:pos x="108" y="180"/>
              </a:cxn>
              <a:cxn ang="0">
                <a:pos x="103" y="164"/>
              </a:cxn>
              <a:cxn ang="0">
                <a:pos x="93" y="158"/>
              </a:cxn>
              <a:cxn ang="0">
                <a:pos x="82" y="151"/>
              </a:cxn>
              <a:cxn ang="0">
                <a:pos x="73" y="138"/>
              </a:cxn>
              <a:cxn ang="0">
                <a:pos x="77" y="126"/>
              </a:cxn>
              <a:cxn ang="0">
                <a:pos x="79" y="115"/>
              </a:cxn>
              <a:cxn ang="0">
                <a:pos x="72" y="111"/>
              </a:cxn>
              <a:cxn ang="0">
                <a:pos x="64" y="104"/>
              </a:cxn>
              <a:cxn ang="0">
                <a:pos x="46" y="104"/>
              </a:cxn>
              <a:cxn ang="0">
                <a:pos x="40" y="100"/>
              </a:cxn>
              <a:cxn ang="0">
                <a:pos x="25" y="93"/>
              </a:cxn>
              <a:cxn ang="0">
                <a:pos x="14" y="86"/>
              </a:cxn>
              <a:cxn ang="0">
                <a:pos x="10" y="82"/>
              </a:cxn>
              <a:cxn ang="0">
                <a:pos x="11" y="68"/>
              </a:cxn>
              <a:cxn ang="0">
                <a:pos x="7" y="74"/>
              </a:cxn>
              <a:cxn ang="0">
                <a:pos x="2" y="86"/>
              </a:cxn>
              <a:cxn ang="0">
                <a:pos x="7" y="53"/>
              </a:cxn>
              <a:cxn ang="0">
                <a:pos x="6" y="49"/>
              </a:cxn>
              <a:cxn ang="0">
                <a:pos x="11" y="26"/>
              </a:cxn>
              <a:cxn ang="0">
                <a:pos x="27" y="10"/>
              </a:cxn>
              <a:cxn ang="0">
                <a:pos x="51" y="1"/>
              </a:cxn>
              <a:cxn ang="0">
                <a:pos x="83" y="2"/>
              </a:cxn>
              <a:cxn ang="0">
                <a:pos x="94" y="7"/>
              </a:cxn>
              <a:cxn ang="0">
                <a:pos x="109" y="8"/>
              </a:cxn>
              <a:cxn ang="0">
                <a:pos x="128" y="9"/>
              </a:cxn>
              <a:cxn ang="0">
                <a:pos x="150" y="13"/>
              </a:cxn>
              <a:cxn ang="0">
                <a:pos x="165" y="2"/>
              </a:cxn>
            </a:cxnLst>
            <a:rect l="0" t="0" r="r" b="b"/>
            <a:pathLst>
              <a:path w="247" h="188">
                <a:moveTo>
                  <a:pt x="165" y="0"/>
                </a:moveTo>
                <a:lnTo>
                  <a:pt x="168" y="0"/>
                </a:lnTo>
                <a:lnTo>
                  <a:pt x="168" y="1"/>
                </a:lnTo>
                <a:lnTo>
                  <a:pt x="169" y="4"/>
                </a:lnTo>
                <a:lnTo>
                  <a:pt x="170" y="9"/>
                </a:lnTo>
                <a:lnTo>
                  <a:pt x="170" y="10"/>
                </a:lnTo>
                <a:lnTo>
                  <a:pt x="171" y="10"/>
                </a:lnTo>
                <a:lnTo>
                  <a:pt x="175" y="18"/>
                </a:lnTo>
                <a:lnTo>
                  <a:pt x="176" y="19"/>
                </a:lnTo>
                <a:lnTo>
                  <a:pt x="187" y="21"/>
                </a:lnTo>
                <a:lnTo>
                  <a:pt x="194" y="21"/>
                </a:lnTo>
                <a:lnTo>
                  <a:pt x="196" y="22"/>
                </a:lnTo>
                <a:lnTo>
                  <a:pt x="200" y="22"/>
                </a:lnTo>
                <a:lnTo>
                  <a:pt x="201" y="26"/>
                </a:lnTo>
                <a:lnTo>
                  <a:pt x="202" y="27"/>
                </a:lnTo>
                <a:lnTo>
                  <a:pt x="205" y="28"/>
                </a:lnTo>
                <a:lnTo>
                  <a:pt x="206" y="29"/>
                </a:lnTo>
                <a:lnTo>
                  <a:pt x="208" y="33"/>
                </a:lnTo>
                <a:lnTo>
                  <a:pt x="212" y="35"/>
                </a:lnTo>
                <a:lnTo>
                  <a:pt x="214" y="38"/>
                </a:lnTo>
                <a:lnTo>
                  <a:pt x="218" y="40"/>
                </a:lnTo>
                <a:lnTo>
                  <a:pt x="221" y="44"/>
                </a:lnTo>
                <a:lnTo>
                  <a:pt x="224" y="49"/>
                </a:lnTo>
                <a:lnTo>
                  <a:pt x="226" y="52"/>
                </a:lnTo>
                <a:lnTo>
                  <a:pt x="228" y="55"/>
                </a:lnTo>
                <a:lnTo>
                  <a:pt x="234" y="57"/>
                </a:lnTo>
                <a:lnTo>
                  <a:pt x="237" y="58"/>
                </a:lnTo>
                <a:lnTo>
                  <a:pt x="239" y="58"/>
                </a:lnTo>
                <a:lnTo>
                  <a:pt x="239" y="65"/>
                </a:lnTo>
                <a:lnTo>
                  <a:pt x="237" y="68"/>
                </a:lnTo>
                <a:lnTo>
                  <a:pt x="237" y="74"/>
                </a:lnTo>
                <a:lnTo>
                  <a:pt x="236" y="75"/>
                </a:lnTo>
                <a:lnTo>
                  <a:pt x="234" y="78"/>
                </a:lnTo>
                <a:lnTo>
                  <a:pt x="234" y="80"/>
                </a:lnTo>
                <a:lnTo>
                  <a:pt x="233" y="81"/>
                </a:lnTo>
                <a:lnTo>
                  <a:pt x="233" y="83"/>
                </a:lnTo>
                <a:lnTo>
                  <a:pt x="236" y="84"/>
                </a:lnTo>
                <a:lnTo>
                  <a:pt x="239" y="84"/>
                </a:lnTo>
                <a:lnTo>
                  <a:pt x="246" y="86"/>
                </a:lnTo>
                <a:lnTo>
                  <a:pt x="247" y="86"/>
                </a:lnTo>
                <a:lnTo>
                  <a:pt x="247" y="88"/>
                </a:lnTo>
                <a:lnTo>
                  <a:pt x="246" y="89"/>
                </a:lnTo>
                <a:lnTo>
                  <a:pt x="245" y="89"/>
                </a:lnTo>
                <a:lnTo>
                  <a:pt x="244" y="90"/>
                </a:lnTo>
                <a:lnTo>
                  <a:pt x="243" y="90"/>
                </a:lnTo>
                <a:lnTo>
                  <a:pt x="241" y="92"/>
                </a:lnTo>
                <a:lnTo>
                  <a:pt x="241" y="93"/>
                </a:lnTo>
                <a:lnTo>
                  <a:pt x="240" y="93"/>
                </a:lnTo>
                <a:lnTo>
                  <a:pt x="240" y="98"/>
                </a:lnTo>
                <a:lnTo>
                  <a:pt x="239" y="99"/>
                </a:lnTo>
                <a:lnTo>
                  <a:pt x="238" y="99"/>
                </a:lnTo>
                <a:lnTo>
                  <a:pt x="234" y="96"/>
                </a:lnTo>
                <a:lnTo>
                  <a:pt x="233" y="96"/>
                </a:lnTo>
                <a:lnTo>
                  <a:pt x="233" y="98"/>
                </a:lnTo>
                <a:lnTo>
                  <a:pt x="232" y="98"/>
                </a:lnTo>
                <a:lnTo>
                  <a:pt x="227" y="96"/>
                </a:lnTo>
                <a:lnTo>
                  <a:pt x="225" y="96"/>
                </a:lnTo>
                <a:lnTo>
                  <a:pt x="224" y="99"/>
                </a:lnTo>
                <a:lnTo>
                  <a:pt x="224" y="104"/>
                </a:lnTo>
                <a:lnTo>
                  <a:pt x="221" y="107"/>
                </a:lnTo>
                <a:lnTo>
                  <a:pt x="221" y="108"/>
                </a:lnTo>
                <a:lnTo>
                  <a:pt x="220" y="108"/>
                </a:lnTo>
                <a:lnTo>
                  <a:pt x="220" y="110"/>
                </a:lnTo>
                <a:lnTo>
                  <a:pt x="218" y="111"/>
                </a:lnTo>
                <a:lnTo>
                  <a:pt x="213" y="112"/>
                </a:lnTo>
                <a:lnTo>
                  <a:pt x="211" y="111"/>
                </a:lnTo>
                <a:lnTo>
                  <a:pt x="208" y="112"/>
                </a:lnTo>
                <a:lnTo>
                  <a:pt x="208" y="113"/>
                </a:lnTo>
                <a:lnTo>
                  <a:pt x="207" y="114"/>
                </a:lnTo>
                <a:lnTo>
                  <a:pt x="207" y="115"/>
                </a:lnTo>
                <a:lnTo>
                  <a:pt x="206" y="115"/>
                </a:lnTo>
                <a:lnTo>
                  <a:pt x="205" y="117"/>
                </a:lnTo>
                <a:lnTo>
                  <a:pt x="205" y="121"/>
                </a:lnTo>
                <a:lnTo>
                  <a:pt x="203" y="121"/>
                </a:lnTo>
                <a:lnTo>
                  <a:pt x="202" y="123"/>
                </a:lnTo>
                <a:lnTo>
                  <a:pt x="202" y="133"/>
                </a:lnTo>
                <a:lnTo>
                  <a:pt x="203" y="136"/>
                </a:lnTo>
                <a:lnTo>
                  <a:pt x="203" y="139"/>
                </a:lnTo>
                <a:lnTo>
                  <a:pt x="202" y="141"/>
                </a:lnTo>
                <a:lnTo>
                  <a:pt x="201" y="141"/>
                </a:lnTo>
                <a:lnTo>
                  <a:pt x="199" y="142"/>
                </a:lnTo>
                <a:lnTo>
                  <a:pt x="199" y="143"/>
                </a:lnTo>
                <a:lnTo>
                  <a:pt x="197" y="144"/>
                </a:lnTo>
                <a:lnTo>
                  <a:pt x="197" y="149"/>
                </a:lnTo>
                <a:lnTo>
                  <a:pt x="195" y="154"/>
                </a:lnTo>
                <a:lnTo>
                  <a:pt x="194" y="155"/>
                </a:lnTo>
                <a:lnTo>
                  <a:pt x="194" y="157"/>
                </a:lnTo>
                <a:lnTo>
                  <a:pt x="195" y="157"/>
                </a:lnTo>
                <a:lnTo>
                  <a:pt x="195" y="158"/>
                </a:lnTo>
                <a:lnTo>
                  <a:pt x="197" y="158"/>
                </a:lnTo>
                <a:lnTo>
                  <a:pt x="200" y="156"/>
                </a:lnTo>
                <a:lnTo>
                  <a:pt x="201" y="156"/>
                </a:lnTo>
                <a:lnTo>
                  <a:pt x="201" y="158"/>
                </a:lnTo>
                <a:lnTo>
                  <a:pt x="202" y="160"/>
                </a:lnTo>
                <a:lnTo>
                  <a:pt x="203" y="160"/>
                </a:lnTo>
                <a:lnTo>
                  <a:pt x="203" y="161"/>
                </a:lnTo>
                <a:lnTo>
                  <a:pt x="205" y="161"/>
                </a:lnTo>
                <a:lnTo>
                  <a:pt x="205" y="168"/>
                </a:lnTo>
                <a:lnTo>
                  <a:pt x="203" y="169"/>
                </a:lnTo>
                <a:lnTo>
                  <a:pt x="201" y="169"/>
                </a:lnTo>
                <a:lnTo>
                  <a:pt x="200" y="170"/>
                </a:lnTo>
                <a:lnTo>
                  <a:pt x="195" y="170"/>
                </a:lnTo>
                <a:lnTo>
                  <a:pt x="193" y="168"/>
                </a:lnTo>
                <a:lnTo>
                  <a:pt x="193" y="167"/>
                </a:lnTo>
                <a:lnTo>
                  <a:pt x="194" y="167"/>
                </a:lnTo>
                <a:lnTo>
                  <a:pt x="194" y="166"/>
                </a:lnTo>
                <a:lnTo>
                  <a:pt x="193" y="164"/>
                </a:lnTo>
                <a:lnTo>
                  <a:pt x="194" y="163"/>
                </a:lnTo>
                <a:lnTo>
                  <a:pt x="195" y="163"/>
                </a:lnTo>
                <a:lnTo>
                  <a:pt x="193" y="160"/>
                </a:lnTo>
                <a:lnTo>
                  <a:pt x="191" y="158"/>
                </a:lnTo>
                <a:lnTo>
                  <a:pt x="190" y="158"/>
                </a:lnTo>
                <a:lnTo>
                  <a:pt x="188" y="161"/>
                </a:lnTo>
                <a:lnTo>
                  <a:pt x="188" y="162"/>
                </a:lnTo>
                <a:lnTo>
                  <a:pt x="184" y="162"/>
                </a:lnTo>
                <a:lnTo>
                  <a:pt x="181" y="161"/>
                </a:lnTo>
                <a:lnTo>
                  <a:pt x="180" y="162"/>
                </a:lnTo>
                <a:lnTo>
                  <a:pt x="180" y="166"/>
                </a:lnTo>
                <a:lnTo>
                  <a:pt x="178" y="167"/>
                </a:lnTo>
                <a:lnTo>
                  <a:pt x="177" y="169"/>
                </a:lnTo>
                <a:lnTo>
                  <a:pt x="175" y="170"/>
                </a:lnTo>
                <a:lnTo>
                  <a:pt x="172" y="170"/>
                </a:lnTo>
                <a:lnTo>
                  <a:pt x="170" y="169"/>
                </a:lnTo>
                <a:lnTo>
                  <a:pt x="165" y="169"/>
                </a:lnTo>
                <a:lnTo>
                  <a:pt x="164" y="170"/>
                </a:lnTo>
                <a:lnTo>
                  <a:pt x="164" y="172"/>
                </a:lnTo>
                <a:lnTo>
                  <a:pt x="163" y="173"/>
                </a:lnTo>
                <a:lnTo>
                  <a:pt x="163" y="176"/>
                </a:lnTo>
                <a:lnTo>
                  <a:pt x="164" y="178"/>
                </a:lnTo>
                <a:lnTo>
                  <a:pt x="164" y="181"/>
                </a:lnTo>
                <a:lnTo>
                  <a:pt x="163" y="182"/>
                </a:lnTo>
                <a:lnTo>
                  <a:pt x="159" y="182"/>
                </a:lnTo>
                <a:lnTo>
                  <a:pt x="158" y="180"/>
                </a:lnTo>
                <a:lnTo>
                  <a:pt x="157" y="181"/>
                </a:lnTo>
                <a:lnTo>
                  <a:pt x="154" y="181"/>
                </a:lnTo>
                <a:lnTo>
                  <a:pt x="152" y="182"/>
                </a:lnTo>
                <a:lnTo>
                  <a:pt x="147" y="187"/>
                </a:lnTo>
                <a:lnTo>
                  <a:pt x="145" y="188"/>
                </a:lnTo>
                <a:lnTo>
                  <a:pt x="144" y="188"/>
                </a:lnTo>
                <a:lnTo>
                  <a:pt x="143" y="187"/>
                </a:lnTo>
                <a:lnTo>
                  <a:pt x="140" y="187"/>
                </a:lnTo>
                <a:lnTo>
                  <a:pt x="139" y="185"/>
                </a:lnTo>
                <a:lnTo>
                  <a:pt x="137" y="182"/>
                </a:lnTo>
                <a:lnTo>
                  <a:pt x="135" y="184"/>
                </a:lnTo>
                <a:lnTo>
                  <a:pt x="133" y="185"/>
                </a:lnTo>
                <a:lnTo>
                  <a:pt x="128" y="185"/>
                </a:lnTo>
                <a:lnTo>
                  <a:pt x="127" y="184"/>
                </a:lnTo>
                <a:lnTo>
                  <a:pt x="126" y="184"/>
                </a:lnTo>
                <a:lnTo>
                  <a:pt x="122" y="186"/>
                </a:lnTo>
                <a:lnTo>
                  <a:pt x="121" y="186"/>
                </a:lnTo>
                <a:lnTo>
                  <a:pt x="121" y="185"/>
                </a:lnTo>
                <a:lnTo>
                  <a:pt x="120" y="185"/>
                </a:lnTo>
                <a:lnTo>
                  <a:pt x="119" y="186"/>
                </a:lnTo>
                <a:lnTo>
                  <a:pt x="116" y="186"/>
                </a:lnTo>
                <a:lnTo>
                  <a:pt x="114" y="187"/>
                </a:lnTo>
                <a:lnTo>
                  <a:pt x="113" y="187"/>
                </a:lnTo>
                <a:lnTo>
                  <a:pt x="109" y="185"/>
                </a:lnTo>
                <a:lnTo>
                  <a:pt x="108" y="185"/>
                </a:lnTo>
                <a:lnTo>
                  <a:pt x="108" y="182"/>
                </a:lnTo>
                <a:lnTo>
                  <a:pt x="107" y="182"/>
                </a:lnTo>
                <a:lnTo>
                  <a:pt x="107" y="180"/>
                </a:lnTo>
                <a:lnTo>
                  <a:pt x="108" y="180"/>
                </a:lnTo>
                <a:lnTo>
                  <a:pt x="108" y="173"/>
                </a:lnTo>
                <a:lnTo>
                  <a:pt x="107" y="172"/>
                </a:lnTo>
                <a:lnTo>
                  <a:pt x="107" y="169"/>
                </a:lnTo>
                <a:lnTo>
                  <a:pt x="104" y="167"/>
                </a:lnTo>
                <a:lnTo>
                  <a:pt x="103" y="167"/>
                </a:lnTo>
                <a:lnTo>
                  <a:pt x="103" y="164"/>
                </a:lnTo>
                <a:lnTo>
                  <a:pt x="102" y="164"/>
                </a:lnTo>
                <a:lnTo>
                  <a:pt x="102" y="163"/>
                </a:lnTo>
                <a:lnTo>
                  <a:pt x="101" y="163"/>
                </a:lnTo>
                <a:lnTo>
                  <a:pt x="97" y="162"/>
                </a:lnTo>
                <a:lnTo>
                  <a:pt x="96" y="161"/>
                </a:lnTo>
                <a:lnTo>
                  <a:pt x="93" y="158"/>
                </a:lnTo>
                <a:lnTo>
                  <a:pt x="89" y="158"/>
                </a:lnTo>
                <a:lnTo>
                  <a:pt x="89" y="155"/>
                </a:lnTo>
                <a:lnTo>
                  <a:pt x="87" y="155"/>
                </a:lnTo>
                <a:lnTo>
                  <a:pt x="87" y="153"/>
                </a:lnTo>
                <a:lnTo>
                  <a:pt x="84" y="153"/>
                </a:lnTo>
                <a:lnTo>
                  <a:pt x="82" y="151"/>
                </a:lnTo>
                <a:lnTo>
                  <a:pt x="79" y="151"/>
                </a:lnTo>
                <a:lnTo>
                  <a:pt x="78" y="154"/>
                </a:lnTo>
                <a:lnTo>
                  <a:pt x="77" y="154"/>
                </a:lnTo>
                <a:lnTo>
                  <a:pt x="75" y="150"/>
                </a:lnTo>
                <a:lnTo>
                  <a:pt x="73" y="148"/>
                </a:lnTo>
                <a:lnTo>
                  <a:pt x="73" y="138"/>
                </a:lnTo>
                <a:lnTo>
                  <a:pt x="75" y="136"/>
                </a:lnTo>
                <a:lnTo>
                  <a:pt x="75" y="130"/>
                </a:lnTo>
                <a:lnTo>
                  <a:pt x="76" y="129"/>
                </a:lnTo>
                <a:lnTo>
                  <a:pt x="76" y="127"/>
                </a:lnTo>
                <a:lnTo>
                  <a:pt x="77" y="127"/>
                </a:lnTo>
                <a:lnTo>
                  <a:pt x="77" y="126"/>
                </a:lnTo>
                <a:lnTo>
                  <a:pt x="78" y="126"/>
                </a:lnTo>
                <a:lnTo>
                  <a:pt x="78" y="125"/>
                </a:lnTo>
                <a:lnTo>
                  <a:pt x="79" y="124"/>
                </a:lnTo>
                <a:lnTo>
                  <a:pt x="81" y="124"/>
                </a:lnTo>
                <a:lnTo>
                  <a:pt x="81" y="117"/>
                </a:lnTo>
                <a:lnTo>
                  <a:pt x="79" y="115"/>
                </a:lnTo>
                <a:lnTo>
                  <a:pt x="77" y="114"/>
                </a:lnTo>
                <a:lnTo>
                  <a:pt x="76" y="113"/>
                </a:lnTo>
                <a:lnTo>
                  <a:pt x="77" y="112"/>
                </a:lnTo>
                <a:lnTo>
                  <a:pt x="76" y="112"/>
                </a:lnTo>
                <a:lnTo>
                  <a:pt x="76" y="111"/>
                </a:lnTo>
                <a:lnTo>
                  <a:pt x="72" y="111"/>
                </a:lnTo>
                <a:lnTo>
                  <a:pt x="71" y="110"/>
                </a:lnTo>
                <a:lnTo>
                  <a:pt x="71" y="108"/>
                </a:lnTo>
                <a:lnTo>
                  <a:pt x="70" y="105"/>
                </a:lnTo>
                <a:lnTo>
                  <a:pt x="70" y="104"/>
                </a:lnTo>
                <a:lnTo>
                  <a:pt x="67" y="101"/>
                </a:lnTo>
                <a:lnTo>
                  <a:pt x="64" y="104"/>
                </a:lnTo>
                <a:lnTo>
                  <a:pt x="57" y="102"/>
                </a:lnTo>
                <a:lnTo>
                  <a:pt x="56" y="102"/>
                </a:lnTo>
                <a:lnTo>
                  <a:pt x="51" y="104"/>
                </a:lnTo>
                <a:lnTo>
                  <a:pt x="50" y="105"/>
                </a:lnTo>
                <a:lnTo>
                  <a:pt x="47" y="105"/>
                </a:lnTo>
                <a:lnTo>
                  <a:pt x="46" y="104"/>
                </a:lnTo>
                <a:lnTo>
                  <a:pt x="46" y="101"/>
                </a:lnTo>
                <a:lnTo>
                  <a:pt x="45" y="100"/>
                </a:lnTo>
                <a:lnTo>
                  <a:pt x="44" y="100"/>
                </a:lnTo>
                <a:lnTo>
                  <a:pt x="44" y="101"/>
                </a:lnTo>
                <a:lnTo>
                  <a:pt x="41" y="101"/>
                </a:lnTo>
                <a:lnTo>
                  <a:pt x="40" y="100"/>
                </a:lnTo>
                <a:lnTo>
                  <a:pt x="39" y="100"/>
                </a:lnTo>
                <a:lnTo>
                  <a:pt x="38" y="99"/>
                </a:lnTo>
                <a:lnTo>
                  <a:pt x="34" y="98"/>
                </a:lnTo>
                <a:lnTo>
                  <a:pt x="31" y="94"/>
                </a:lnTo>
                <a:lnTo>
                  <a:pt x="28" y="93"/>
                </a:lnTo>
                <a:lnTo>
                  <a:pt x="25" y="93"/>
                </a:lnTo>
                <a:lnTo>
                  <a:pt x="22" y="92"/>
                </a:lnTo>
                <a:lnTo>
                  <a:pt x="20" y="87"/>
                </a:lnTo>
                <a:lnTo>
                  <a:pt x="19" y="86"/>
                </a:lnTo>
                <a:lnTo>
                  <a:pt x="17" y="86"/>
                </a:lnTo>
                <a:lnTo>
                  <a:pt x="14" y="89"/>
                </a:lnTo>
                <a:lnTo>
                  <a:pt x="14" y="86"/>
                </a:lnTo>
                <a:lnTo>
                  <a:pt x="15" y="86"/>
                </a:lnTo>
                <a:lnTo>
                  <a:pt x="15" y="83"/>
                </a:lnTo>
                <a:lnTo>
                  <a:pt x="14" y="83"/>
                </a:lnTo>
                <a:lnTo>
                  <a:pt x="14" y="80"/>
                </a:lnTo>
                <a:lnTo>
                  <a:pt x="11" y="82"/>
                </a:lnTo>
                <a:lnTo>
                  <a:pt x="10" y="82"/>
                </a:lnTo>
                <a:lnTo>
                  <a:pt x="13" y="77"/>
                </a:lnTo>
                <a:lnTo>
                  <a:pt x="14" y="76"/>
                </a:lnTo>
                <a:lnTo>
                  <a:pt x="14" y="75"/>
                </a:lnTo>
                <a:lnTo>
                  <a:pt x="13" y="71"/>
                </a:lnTo>
                <a:lnTo>
                  <a:pt x="13" y="69"/>
                </a:lnTo>
                <a:lnTo>
                  <a:pt x="11" y="68"/>
                </a:lnTo>
                <a:lnTo>
                  <a:pt x="11" y="64"/>
                </a:lnTo>
                <a:lnTo>
                  <a:pt x="9" y="59"/>
                </a:lnTo>
                <a:lnTo>
                  <a:pt x="9" y="65"/>
                </a:lnTo>
                <a:lnTo>
                  <a:pt x="8" y="67"/>
                </a:lnTo>
                <a:lnTo>
                  <a:pt x="8" y="72"/>
                </a:lnTo>
                <a:lnTo>
                  <a:pt x="7" y="74"/>
                </a:lnTo>
                <a:lnTo>
                  <a:pt x="7" y="75"/>
                </a:lnTo>
                <a:lnTo>
                  <a:pt x="8" y="75"/>
                </a:lnTo>
                <a:lnTo>
                  <a:pt x="8" y="76"/>
                </a:lnTo>
                <a:lnTo>
                  <a:pt x="6" y="78"/>
                </a:lnTo>
                <a:lnTo>
                  <a:pt x="6" y="82"/>
                </a:lnTo>
                <a:lnTo>
                  <a:pt x="2" y="86"/>
                </a:lnTo>
                <a:lnTo>
                  <a:pt x="2" y="87"/>
                </a:lnTo>
                <a:lnTo>
                  <a:pt x="0" y="87"/>
                </a:lnTo>
                <a:lnTo>
                  <a:pt x="3" y="81"/>
                </a:lnTo>
                <a:lnTo>
                  <a:pt x="4" y="76"/>
                </a:lnTo>
                <a:lnTo>
                  <a:pt x="7" y="70"/>
                </a:lnTo>
                <a:lnTo>
                  <a:pt x="7" y="53"/>
                </a:lnTo>
                <a:lnTo>
                  <a:pt x="9" y="58"/>
                </a:lnTo>
                <a:lnTo>
                  <a:pt x="9" y="56"/>
                </a:lnTo>
                <a:lnTo>
                  <a:pt x="7" y="53"/>
                </a:lnTo>
                <a:lnTo>
                  <a:pt x="7" y="52"/>
                </a:lnTo>
                <a:lnTo>
                  <a:pt x="6" y="52"/>
                </a:lnTo>
                <a:lnTo>
                  <a:pt x="6" y="49"/>
                </a:lnTo>
                <a:lnTo>
                  <a:pt x="4" y="43"/>
                </a:lnTo>
                <a:lnTo>
                  <a:pt x="4" y="39"/>
                </a:lnTo>
                <a:lnTo>
                  <a:pt x="6" y="38"/>
                </a:lnTo>
                <a:lnTo>
                  <a:pt x="6" y="27"/>
                </a:lnTo>
                <a:lnTo>
                  <a:pt x="9" y="27"/>
                </a:lnTo>
                <a:lnTo>
                  <a:pt x="11" y="26"/>
                </a:lnTo>
                <a:lnTo>
                  <a:pt x="11" y="22"/>
                </a:lnTo>
                <a:lnTo>
                  <a:pt x="13" y="20"/>
                </a:lnTo>
                <a:lnTo>
                  <a:pt x="16" y="16"/>
                </a:lnTo>
                <a:lnTo>
                  <a:pt x="19" y="15"/>
                </a:lnTo>
                <a:lnTo>
                  <a:pt x="21" y="15"/>
                </a:lnTo>
                <a:lnTo>
                  <a:pt x="27" y="10"/>
                </a:lnTo>
                <a:lnTo>
                  <a:pt x="28" y="9"/>
                </a:lnTo>
                <a:lnTo>
                  <a:pt x="32" y="9"/>
                </a:lnTo>
                <a:lnTo>
                  <a:pt x="44" y="3"/>
                </a:lnTo>
                <a:lnTo>
                  <a:pt x="45" y="3"/>
                </a:lnTo>
                <a:lnTo>
                  <a:pt x="50" y="1"/>
                </a:lnTo>
                <a:lnTo>
                  <a:pt x="51" y="1"/>
                </a:lnTo>
                <a:lnTo>
                  <a:pt x="53" y="3"/>
                </a:lnTo>
                <a:lnTo>
                  <a:pt x="70" y="3"/>
                </a:lnTo>
                <a:lnTo>
                  <a:pt x="73" y="7"/>
                </a:lnTo>
                <a:lnTo>
                  <a:pt x="79" y="3"/>
                </a:lnTo>
                <a:lnTo>
                  <a:pt x="82" y="3"/>
                </a:lnTo>
                <a:lnTo>
                  <a:pt x="83" y="2"/>
                </a:lnTo>
                <a:lnTo>
                  <a:pt x="85" y="2"/>
                </a:lnTo>
                <a:lnTo>
                  <a:pt x="87" y="4"/>
                </a:lnTo>
                <a:lnTo>
                  <a:pt x="88" y="8"/>
                </a:lnTo>
                <a:lnTo>
                  <a:pt x="90" y="9"/>
                </a:lnTo>
                <a:lnTo>
                  <a:pt x="93" y="9"/>
                </a:lnTo>
                <a:lnTo>
                  <a:pt x="94" y="7"/>
                </a:lnTo>
                <a:lnTo>
                  <a:pt x="94" y="6"/>
                </a:lnTo>
                <a:lnTo>
                  <a:pt x="95" y="6"/>
                </a:lnTo>
                <a:lnTo>
                  <a:pt x="100" y="4"/>
                </a:lnTo>
                <a:lnTo>
                  <a:pt x="101" y="4"/>
                </a:lnTo>
                <a:lnTo>
                  <a:pt x="108" y="8"/>
                </a:lnTo>
                <a:lnTo>
                  <a:pt x="109" y="8"/>
                </a:lnTo>
                <a:lnTo>
                  <a:pt x="112" y="7"/>
                </a:lnTo>
                <a:lnTo>
                  <a:pt x="113" y="6"/>
                </a:lnTo>
                <a:lnTo>
                  <a:pt x="118" y="6"/>
                </a:lnTo>
                <a:lnTo>
                  <a:pt x="118" y="8"/>
                </a:lnTo>
                <a:lnTo>
                  <a:pt x="124" y="8"/>
                </a:lnTo>
                <a:lnTo>
                  <a:pt x="128" y="9"/>
                </a:lnTo>
                <a:lnTo>
                  <a:pt x="133" y="13"/>
                </a:lnTo>
                <a:lnTo>
                  <a:pt x="137" y="13"/>
                </a:lnTo>
                <a:lnTo>
                  <a:pt x="141" y="10"/>
                </a:lnTo>
                <a:lnTo>
                  <a:pt x="144" y="10"/>
                </a:lnTo>
                <a:lnTo>
                  <a:pt x="147" y="13"/>
                </a:lnTo>
                <a:lnTo>
                  <a:pt x="150" y="13"/>
                </a:lnTo>
                <a:lnTo>
                  <a:pt x="152" y="12"/>
                </a:lnTo>
                <a:lnTo>
                  <a:pt x="153" y="10"/>
                </a:lnTo>
                <a:lnTo>
                  <a:pt x="157" y="6"/>
                </a:lnTo>
                <a:lnTo>
                  <a:pt x="159" y="3"/>
                </a:lnTo>
                <a:lnTo>
                  <a:pt x="164" y="2"/>
                </a:lnTo>
                <a:lnTo>
                  <a:pt x="165" y="2"/>
                </a:lnTo>
                <a:lnTo>
                  <a:pt x="165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6" name="Freeform 31">
            <a:extLst>
              <a:ext uri="{FF2B5EF4-FFF2-40B4-BE49-F238E27FC236}">
                <a16:creationId xmlns:a16="http://schemas.microsoft.com/office/drawing/2014/main" id="{1D911C3D-3A30-44A8-95CC-37B83A1DAAAA}"/>
              </a:ext>
            </a:extLst>
          </p:cNvPr>
          <p:cNvSpPr>
            <a:spLocks/>
          </p:cNvSpPr>
          <p:nvPr/>
        </p:nvSpPr>
        <p:spPr bwMode="auto">
          <a:xfrm>
            <a:off x="1811272" y="4969718"/>
            <a:ext cx="8694" cy="18837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2" y="2"/>
              </a:cxn>
              <a:cxn ang="0">
                <a:pos x="3" y="2"/>
              </a:cxn>
              <a:cxn ang="0">
                <a:pos x="3" y="6"/>
              </a:cxn>
              <a:cxn ang="0">
                <a:pos x="5" y="6"/>
              </a:cxn>
              <a:cxn ang="0">
                <a:pos x="5" y="8"/>
              </a:cxn>
              <a:cxn ang="0">
                <a:pos x="6" y="10"/>
              </a:cxn>
              <a:cxn ang="0">
                <a:pos x="6" y="11"/>
              </a:cxn>
              <a:cxn ang="0">
                <a:pos x="3" y="13"/>
              </a:cxn>
              <a:cxn ang="0">
                <a:pos x="1" y="12"/>
              </a:cxn>
              <a:cxn ang="0">
                <a:pos x="0" y="12"/>
              </a:cxn>
              <a:cxn ang="0">
                <a:pos x="0" y="11"/>
              </a:cxn>
              <a:cxn ang="0">
                <a:pos x="1" y="11"/>
              </a:cxn>
              <a:cxn ang="0">
                <a:pos x="1" y="7"/>
              </a:cxn>
              <a:cxn ang="0">
                <a:pos x="0" y="6"/>
              </a:cxn>
              <a:cxn ang="0">
                <a:pos x="0" y="4"/>
              </a:cxn>
              <a:cxn ang="0">
                <a:pos x="1" y="1"/>
              </a:cxn>
              <a:cxn ang="0">
                <a:pos x="2" y="0"/>
              </a:cxn>
            </a:cxnLst>
            <a:rect l="0" t="0" r="r" b="b"/>
            <a:pathLst>
              <a:path w="6" h="13">
                <a:moveTo>
                  <a:pt x="2" y="0"/>
                </a:moveTo>
                <a:lnTo>
                  <a:pt x="2" y="2"/>
                </a:lnTo>
                <a:lnTo>
                  <a:pt x="3" y="2"/>
                </a:lnTo>
                <a:lnTo>
                  <a:pt x="3" y="6"/>
                </a:lnTo>
                <a:lnTo>
                  <a:pt x="5" y="6"/>
                </a:lnTo>
                <a:lnTo>
                  <a:pt x="5" y="8"/>
                </a:lnTo>
                <a:lnTo>
                  <a:pt x="6" y="10"/>
                </a:lnTo>
                <a:lnTo>
                  <a:pt x="6" y="11"/>
                </a:lnTo>
                <a:lnTo>
                  <a:pt x="3" y="13"/>
                </a:lnTo>
                <a:lnTo>
                  <a:pt x="1" y="12"/>
                </a:lnTo>
                <a:lnTo>
                  <a:pt x="0" y="12"/>
                </a:lnTo>
                <a:lnTo>
                  <a:pt x="0" y="11"/>
                </a:lnTo>
                <a:lnTo>
                  <a:pt x="1" y="11"/>
                </a:lnTo>
                <a:lnTo>
                  <a:pt x="1" y="7"/>
                </a:lnTo>
                <a:lnTo>
                  <a:pt x="0" y="6"/>
                </a:lnTo>
                <a:lnTo>
                  <a:pt x="0" y="4"/>
                </a:lnTo>
                <a:lnTo>
                  <a:pt x="1" y="1"/>
                </a:lnTo>
                <a:lnTo>
                  <a:pt x="2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2" name="Freeform 32">
            <a:extLst>
              <a:ext uri="{FF2B5EF4-FFF2-40B4-BE49-F238E27FC236}">
                <a16:creationId xmlns:a16="http://schemas.microsoft.com/office/drawing/2014/main" id="{BCA4EB1A-EA3F-46B8-AFC9-312EBBD11404}"/>
              </a:ext>
            </a:extLst>
          </p:cNvPr>
          <p:cNvSpPr>
            <a:spLocks/>
          </p:cNvSpPr>
          <p:nvPr/>
        </p:nvSpPr>
        <p:spPr bwMode="auto">
          <a:xfrm>
            <a:off x="2514008" y="3872870"/>
            <a:ext cx="441927" cy="269503"/>
          </a:xfrm>
          <a:custGeom>
            <a:avLst/>
            <a:gdLst/>
            <a:ahLst/>
            <a:cxnLst>
              <a:cxn ang="0">
                <a:pos x="182" y="5"/>
              </a:cxn>
              <a:cxn ang="0">
                <a:pos x="186" y="3"/>
              </a:cxn>
              <a:cxn ang="0">
                <a:pos x="199" y="12"/>
              </a:cxn>
              <a:cxn ang="0">
                <a:pos x="212" y="18"/>
              </a:cxn>
              <a:cxn ang="0">
                <a:pos x="218" y="27"/>
              </a:cxn>
              <a:cxn ang="0">
                <a:pos x="234" y="44"/>
              </a:cxn>
              <a:cxn ang="0">
                <a:pos x="238" y="42"/>
              </a:cxn>
              <a:cxn ang="0">
                <a:pos x="247" y="38"/>
              </a:cxn>
              <a:cxn ang="0">
                <a:pos x="251" y="37"/>
              </a:cxn>
              <a:cxn ang="0">
                <a:pos x="269" y="43"/>
              </a:cxn>
              <a:cxn ang="0">
                <a:pos x="281" y="54"/>
              </a:cxn>
              <a:cxn ang="0">
                <a:pos x="284" y="75"/>
              </a:cxn>
              <a:cxn ang="0">
                <a:pos x="285" y="88"/>
              </a:cxn>
              <a:cxn ang="0">
                <a:pos x="290" y="95"/>
              </a:cxn>
              <a:cxn ang="0">
                <a:pos x="291" y="105"/>
              </a:cxn>
              <a:cxn ang="0">
                <a:pos x="300" y="118"/>
              </a:cxn>
              <a:cxn ang="0">
                <a:pos x="303" y="128"/>
              </a:cxn>
              <a:cxn ang="0">
                <a:pos x="305" y="142"/>
              </a:cxn>
              <a:cxn ang="0">
                <a:pos x="297" y="152"/>
              </a:cxn>
              <a:cxn ang="0">
                <a:pos x="287" y="160"/>
              </a:cxn>
              <a:cxn ang="0">
                <a:pos x="279" y="177"/>
              </a:cxn>
              <a:cxn ang="0">
                <a:pos x="265" y="177"/>
              </a:cxn>
              <a:cxn ang="0">
                <a:pos x="248" y="181"/>
              </a:cxn>
              <a:cxn ang="0">
                <a:pos x="237" y="186"/>
              </a:cxn>
              <a:cxn ang="0">
                <a:pos x="219" y="172"/>
              </a:cxn>
              <a:cxn ang="0">
                <a:pos x="203" y="156"/>
              </a:cxn>
              <a:cxn ang="0">
                <a:pos x="185" y="149"/>
              </a:cxn>
              <a:cxn ang="0">
                <a:pos x="167" y="132"/>
              </a:cxn>
              <a:cxn ang="0">
                <a:pos x="157" y="131"/>
              </a:cxn>
              <a:cxn ang="0">
                <a:pos x="142" y="138"/>
              </a:cxn>
              <a:cxn ang="0">
                <a:pos x="116" y="136"/>
              </a:cxn>
              <a:cxn ang="0">
                <a:pos x="99" y="132"/>
              </a:cxn>
              <a:cxn ang="0">
                <a:pos x="88" y="137"/>
              </a:cxn>
              <a:cxn ang="0">
                <a:pos x="77" y="131"/>
              </a:cxn>
              <a:cxn ang="0">
                <a:pos x="43" y="131"/>
              </a:cxn>
              <a:cxn ang="0">
                <a:pos x="17" y="143"/>
              </a:cxn>
              <a:cxn ang="0">
                <a:pos x="4" y="155"/>
              </a:cxn>
              <a:cxn ang="0">
                <a:pos x="1" y="122"/>
              </a:cxn>
              <a:cxn ang="0">
                <a:pos x="4" y="129"/>
              </a:cxn>
              <a:cxn ang="0">
                <a:pos x="4" y="109"/>
              </a:cxn>
              <a:cxn ang="0">
                <a:pos x="13" y="88"/>
              </a:cxn>
              <a:cxn ang="0">
                <a:pos x="18" y="79"/>
              </a:cxn>
              <a:cxn ang="0">
                <a:pos x="19" y="63"/>
              </a:cxn>
              <a:cxn ang="0">
                <a:pos x="33" y="38"/>
              </a:cxn>
              <a:cxn ang="0">
                <a:pos x="67" y="25"/>
              </a:cxn>
              <a:cxn ang="0">
                <a:pos x="70" y="38"/>
              </a:cxn>
              <a:cxn ang="0">
                <a:pos x="91" y="57"/>
              </a:cxn>
              <a:cxn ang="0">
                <a:pos x="94" y="68"/>
              </a:cxn>
              <a:cxn ang="0">
                <a:pos x="107" y="82"/>
              </a:cxn>
              <a:cxn ang="0">
                <a:pos x="125" y="83"/>
              </a:cxn>
              <a:cxn ang="0">
                <a:pos x="132" y="77"/>
              </a:cxn>
              <a:cxn ang="0">
                <a:pos x="141" y="70"/>
              </a:cxn>
              <a:cxn ang="0">
                <a:pos x="143" y="45"/>
              </a:cxn>
              <a:cxn ang="0">
                <a:pos x="141" y="17"/>
              </a:cxn>
              <a:cxn ang="0">
                <a:pos x="151" y="9"/>
              </a:cxn>
              <a:cxn ang="0">
                <a:pos x="162" y="8"/>
              </a:cxn>
              <a:cxn ang="0">
                <a:pos x="172" y="1"/>
              </a:cxn>
            </a:cxnLst>
            <a:rect l="0" t="0" r="r" b="b"/>
            <a:pathLst>
              <a:path w="305" h="186">
                <a:moveTo>
                  <a:pt x="175" y="0"/>
                </a:moveTo>
                <a:lnTo>
                  <a:pt x="178" y="2"/>
                </a:lnTo>
                <a:lnTo>
                  <a:pt x="178" y="5"/>
                </a:lnTo>
                <a:lnTo>
                  <a:pt x="179" y="7"/>
                </a:lnTo>
                <a:lnTo>
                  <a:pt x="180" y="7"/>
                </a:lnTo>
                <a:lnTo>
                  <a:pt x="182" y="5"/>
                </a:lnTo>
                <a:lnTo>
                  <a:pt x="180" y="2"/>
                </a:lnTo>
                <a:lnTo>
                  <a:pt x="180" y="0"/>
                </a:lnTo>
                <a:lnTo>
                  <a:pt x="181" y="0"/>
                </a:lnTo>
                <a:lnTo>
                  <a:pt x="183" y="2"/>
                </a:lnTo>
                <a:lnTo>
                  <a:pt x="183" y="3"/>
                </a:lnTo>
                <a:lnTo>
                  <a:pt x="186" y="3"/>
                </a:lnTo>
                <a:lnTo>
                  <a:pt x="191" y="8"/>
                </a:lnTo>
                <a:lnTo>
                  <a:pt x="193" y="8"/>
                </a:lnTo>
                <a:lnTo>
                  <a:pt x="193" y="11"/>
                </a:lnTo>
                <a:lnTo>
                  <a:pt x="195" y="13"/>
                </a:lnTo>
                <a:lnTo>
                  <a:pt x="197" y="13"/>
                </a:lnTo>
                <a:lnTo>
                  <a:pt x="199" y="12"/>
                </a:lnTo>
                <a:lnTo>
                  <a:pt x="200" y="12"/>
                </a:lnTo>
                <a:lnTo>
                  <a:pt x="201" y="13"/>
                </a:lnTo>
                <a:lnTo>
                  <a:pt x="201" y="14"/>
                </a:lnTo>
                <a:lnTo>
                  <a:pt x="203" y="17"/>
                </a:lnTo>
                <a:lnTo>
                  <a:pt x="203" y="18"/>
                </a:lnTo>
                <a:lnTo>
                  <a:pt x="212" y="18"/>
                </a:lnTo>
                <a:lnTo>
                  <a:pt x="213" y="19"/>
                </a:lnTo>
                <a:lnTo>
                  <a:pt x="213" y="20"/>
                </a:lnTo>
                <a:lnTo>
                  <a:pt x="212" y="20"/>
                </a:lnTo>
                <a:lnTo>
                  <a:pt x="212" y="23"/>
                </a:lnTo>
                <a:lnTo>
                  <a:pt x="213" y="24"/>
                </a:lnTo>
                <a:lnTo>
                  <a:pt x="218" y="27"/>
                </a:lnTo>
                <a:lnTo>
                  <a:pt x="219" y="30"/>
                </a:lnTo>
                <a:lnTo>
                  <a:pt x="223" y="36"/>
                </a:lnTo>
                <a:lnTo>
                  <a:pt x="224" y="38"/>
                </a:lnTo>
                <a:lnTo>
                  <a:pt x="226" y="39"/>
                </a:lnTo>
                <a:lnTo>
                  <a:pt x="230" y="40"/>
                </a:lnTo>
                <a:lnTo>
                  <a:pt x="234" y="44"/>
                </a:lnTo>
                <a:lnTo>
                  <a:pt x="235" y="44"/>
                </a:lnTo>
                <a:lnTo>
                  <a:pt x="235" y="43"/>
                </a:lnTo>
                <a:lnTo>
                  <a:pt x="236" y="44"/>
                </a:lnTo>
                <a:lnTo>
                  <a:pt x="237" y="44"/>
                </a:lnTo>
                <a:lnTo>
                  <a:pt x="237" y="42"/>
                </a:lnTo>
                <a:lnTo>
                  <a:pt x="238" y="42"/>
                </a:lnTo>
                <a:lnTo>
                  <a:pt x="239" y="40"/>
                </a:lnTo>
                <a:lnTo>
                  <a:pt x="242" y="39"/>
                </a:lnTo>
                <a:lnTo>
                  <a:pt x="244" y="40"/>
                </a:lnTo>
                <a:lnTo>
                  <a:pt x="245" y="39"/>
                </a:lnTo>
                <a:lnTo>
                  <a:pt x="247" y="39"/>
                </a:lnTo>
                <a:lnTo>
                  <a:pt x="247" y="38"/>
                </a:lnTo>
                <a:lnTo>
                  <a:pt x="248" y="37"/>
                </a:lnTo>
                <a:lnTo>
                  <a:pt x="248" y="36"/>
                </a:lnTo>
                <a:lnTo>
                  <a:pt x="249" y="36"/>
                </a:lnTo>
                <a:lnTo>
                  <a:pt x="250" y="37"/>
                </a:lnTo>
                <a:lnTo>
                  <a:pt x="251" y="36"/>
                </a:lnTo>
                <a:lnTo>
                  <a:pt x="251" y="37"/>
                </a:lnTo>
                <a:lnTo>
                  <a:pt x="254" y="37"/>
                </a:lnTo>
                <a:lnTo>
                  <a:pt x="254" y="38"/>
                </a:lnTo>
                <a:lnTo>
                  <a:pt x="257" y="42"/>
                </a:lnTo>
                <a:lnTo>
                  <a:pt x="261" y="42"/>
                </a:lnTo>
                <a:lnTo>
                  <a:pt x="268" y="44"/>
                </a:lnTo>
                <a:lnTo>
                  <a:pt x="269" y="43"/>
                </a:lnTo>
                <a:lnTo>
                  <a:pt x="276" y="43"/>
                </a:lnTo>
                <a:lnTo>
                  <a:pt x="276" y="48"/>
                </a:lnTo>
                <a:lnTo>
                  <a:pt x="275" y="50"/>
                </a:lnTo>
                <a:lnTo>
                  <a:pt x="275" y="51"/>
                </a:lnTo>
                <a:lnTo>
                  <a:pt x="276" y="52"/>
                </a:lnTo>
                <a:lnTo>
                  <a:pt x="281" y="54"/>
                </a:lnTo>
                <a:lnTo>
                  <a:pt x="284" y="57"/>
                </a:lnTo>
                <a:lnTo>
                  <a:pt x="288" y="60"/>
                </a:lnTo>
                <a:lnTo>
                  <a:pt x="290" y="61"/>
                </a:lnTo>
                <a:lnTo>
                  <a:pt x="290" y="70"/>
                </a:lnTo>
                <a:lnTo>
                  <a:pt x="287" y="73"/>
                </a:lnTo>
                <a:lnTo>
                  <a:pt x="284" y="75"/>
                </a:lnTo>
                <a:lnTo>
                  <a:pt x="282" y="76"/>
                </a:lnTo>
                <a:lnTo>
                  <a:pt x="285" y="79"/>
                </a:lnTo>
                <a:lnTo>
                  <a:pt x="286" y="79"/>
                </a:lnTo>
                <a:lnTo>
                  <a:pt x="286" y="82"/>
                </a:lnTo>
                <a:lnTo>
                  <a:pt x="285" y="83"/>
                </a:lnTo>
                <a:lnTo>
                  <a:pt x="285" y="88"/>
                </a:lnTo>
                <a:lnTo>
                  <a:pt x="281" y="94"/>
                </a:lnTo>
                <a:lnTo>
                  <a:pt x="280" y="97"/>
                </a:lnTo>
                <a:lnTo>
                  <a:pt x="282" y="97"/>
                </a:lnTo>
                <a:lnTo>
                  <a:pt x="286" y="95"/>
                </a:lnTo>
                <a:lnTo>
                  <a:pt x="287" y="94"/>
                </a:lnTo>
                <a:lnTo>
                  <a:pt x="290" y="95"/>
                </a:lnTo>
                <a:lnTo>
                  <a:pt x="292" y="98"/>
                </a:lnTo>
                <a:lnTo>
                  <a:pt x="293" y="98"/>
                </a:lnTo>
                <a:lnTo>
                  <a:pt x="293" y="99"/>
                </a:lnTo>
                <a:lnTo>
                  <a:pt x="292" y="101"/>
                </a:lnTo>
                <a:lnTo>
                  <a:pt x="291" y="103"/>
                </a:lnTo>
                <a:lnTo>
                  <a:pt x="291" y="105"/>
                </a:lnTo>
                <a:lnTo>
                  <a:pt x="296" y="109"/>
                </a:lnTo>
                <a:lnTo>
                  <a:pt x="296" y="113"/>
                </a:lnTo>
                <a:lnTo>
                  <a:pt x="297" y="114"/>
                </a:lnTo>
                <a:lnTo>
                  <a:pt x="297" y="116"/>
                </a:lnTo>
                <a:lnTo>
                  <a:pt x="298" y="117"/>
                </a:lnTo>
                <a:lnTo>
                  <a:pt x="300" y="118"/>
                </a:lnTo>
                <a:lnTo>
                  <a:pt x="301" y="119"/>
                </a:lnTo>
                <a:lnTo>
                  <a:pt x="301" y="120"/>
                </a:lnTo>
                <a:lnTo>
                  <a:pt x="300" y="122"/>
                </a:lnTo>
                <a:lnTo>
                  <a:pt x="300" y="124"/>
                </a:lnTo>
                <a:lnTo>
                  <a:pt x="303" y="126"/>
                </a:lnTo>
                <a:lnTo>
                  <a:pt x="303" y="128"/>
                </a:lnTo>
                <a:lnTo>
                  <a:pt x="304" y="129"/>
                </a:lnTo>
                <a:lnTo>
                  <a:pt x="303" y="131"/>
                </a:lnTo>
                <a:lnTo>
                  <a:pt x="304" y="132"/>
                </a:lnTo>
                <a:lnTo>
                  <a:pt x="304" y="135"/>
                </a:lnTo>
                <a:lnTo>
                  <a:pt x="305" y="140"/>
                </a:lnTo>
                <a:lnTo>
                  <a:pt x="305" y="142"/>
                </a:lnTo>
                <a:lnTo>
                  <a:pt x="304" y="143"/>
                </a:lnTo>
                <a:lnTo>
                  <a:pt x="304" y="149"/>
                </a:lnTo>
                <a:lnTo>
                  <a:pt x="303" y="150"/>
                </a:lnTo>
                <a:lnTo>
                  <a:pt x="301" y="149"/>
                </a:lnTo>
                <a:lnTo>
                  <a:pt x="299" y="149"/>
                </a:lnTo>
                <a:lnTo>
                  <a:pt x="297" y="152"/>
                </a:lnTo>
                <a:lnTo>
                  <a:pt x="296" y="152"/>
                </a:lnTo>
                <a:lnTo>
                  <a:pt x="294" y="153"/>
                </a:lnTo>
                <a:lnTo>
                  <a:pt x="293" y="153"/>
                </a:lnTo>
                <a:lnTo>
                  <a:pt x="292" y="154"/>
                </a:lnTo>
                <a:lnTo>
                  <a:pt x="292" y="155"/>
                </a:lnTo>
                <a:lnTo>
                  <a:pt x="287" y="160"/>
                </a:lnTo>
                <a:lnTo>
                  <a:pt x="287" y="161"/>
                </a:lnTo>
                <a:lnTo>
                  <a:pt x="286" y="163"/>
                </a:lnTo>
                <a:lnTo>
                  <a:pt x="281" y="167"/>
                </a:lnTo>
                <a:lnTo>
                  <a:pt x="280" y="169"/>
                </a:lnTo>
                <a:lnTo>
                  <a:pt x="280" y="175"/>
                </a:lnTo>
                <a:lnTo>
                  <a:pt x="279" y="177"/>
                </a:lnTo>
                <a:lnTo>
                  <a:pt x="278" y="177"/>
                </a:lnTo>
                <a:lnTo>
                  <a:pt x="273" y="175"/>
                </a:lnTo>
                <a:lnTo>
                  <a:pt x="272" y="175"/>
                </a:lnTo>
                <a:lnTo>
                  <a:pt x="269" y="173"/>
                </a:lnTo>
                <a:lnTo>
                  <a:pt x="266" y="177"/>
                </a:lnTo>
                <a:lnTo>
                  <a:pt x="265" y="177"/>
                </a:lnTo>
                <a:lnTo>
                  <a:pt x="261" y="174"/>
                </a:lnTo>
                <a:lnTo>
                  <a:pt x="261" y="173"/>
                </a:lnTo>
                <a:lnTo>
                  <a:pt x="259" y="173"/>
                </a:lnTo>
                <a:lnTo>
                  <a:pt x="254" y="174"/>
                </a:lnTo>
                <a:lnTo>
                  <a:pt x="253" y="174"/>
                </a:lnTo>
                <a:lnTo>
                  <a:pt x="248" y="181"/>
                </a:lnTo>
                <a:lnTo>
                  <a:pt x="247" y="183"/>
                </a:lnTo>
                <a:lnTo>
                  <a:pt x="243" y="185"/>
                </a:lnTo>
                <a:lnTo>
                  <a:pt x="242" y="185"/>
                </a:lnTo>
                <a:lnTo>
                  <a:pt x="239" y="184"/>
                </a:lnTo>
                <a:lnTo>
                  <a:pt x="238" y="184"/>
                </a:lnTo>
                <a:lnTo>
                  <a:pt x="237" y="186"/>
                </a:lnTo>
                <a:lnTo>
                  <a:pt x="235" y="186"/>
                </a:lnTo>
                <a:lnTo>
                  <a:pt x="232" y="185"/>
                </a:lnTo>
                <a:lnTo>
                  <a:pt x="226" y="183"/>
                </a:lnTo>
                <a:lnTo>
                  <a:pt x="224" y="180"/>
                </a:lnTo>
                <a:lnTo>
                  <a:pt x="222" y="177"/>
                </a:lnTo>
                <a:lnTo>
                  <a:pt x="219" y="172"/>
                </a:lnTo>
                <a:lnTo>
                  <a:pt x="216" y="168"/>
                </a:lnTo>
                <a:lnTo>
                  <a:pt x="212" y="166"/>
                </a:lnTo>
                <a:lnTo>
                  <a:pt x="210" y="163"/>
                </a:lnTo>
                <a:lnTo>
                  <a:pt x="206" y="161"/>
                </a:lnTo>
                <a:lnTo>
                  <a:pt x="204" y="157"/>
                </a:lnTo>
                <a:lnTo>
                  <a:pt x="203" y="156"/>
                </a:lnTo>
                <a:lnTo>
                  <a:pt x="200" y="155"/>
                </a:lnTo>
                <a:lnTo>
                  <a:pt x="199" y="154"/>
                </a:lnTo>
                <a:lnTo>
                  <a:pt x="198" y="150"/>
                </a:lnTo>
                <a:lnTo>
                  <a:pt x="194" y="150"/>
                </a:lnTo>
                <a:lnTo>
                  <a:pt x="192" y="149"/>
                </a:lnTo>
                <a:lnTo>
                  <a:pt x="185" y="149"/>
                </a:lnTo>
                <a:lnTo>
                  <a:pt x="174" y="147"/>
                </a:lnTo>
                <a:lnTo>
                  <a:pt x="173" y="146"/>
                </a:lnTo>
                <a:lnTo>
                  <a:pt x="169" y="138"/>
                </a:lnTo>
                <a:lnTo>
                  <a:pt x="168" y="138"/>
                </a:lnTo>
                <a:lnTo>
                  <a:pt x="168" y="137"/>
                </a:lnTo>
                <a:lnTo>
                  <a:pt x="167" y="132"/>
                </a:lnTo>
                <a:lnTo>
                  <a:pt x="166" y="129"/>
                </a:lnTo>
                <a:lnTo>
                  <a:pt x="166" y="128"/>
                </a:lnTo>
                <a:lnTo>
                  <a:pt x="163" y="128"/>
                </a:lnTo>
                <a:lnTo>
                  <a:pt x="163" y="130"/>
                </a:lnTo>
                <a:lnTo>
                  <a:pt x="162" y="130"/>
                </a:lnTo>
                <a:lnTo>
                  <a:pt x="157" y="131"/>
                </a:lnTo>
                <a:lnTo>
                  <a:pt x="155" y="134"/>
                </a:lnTo>
                <a:lnTo>
                  <a:pt x="151" y="138"/>
                </a:lnTo>
                <a:lnTo>
                  <a:pt x="150" y="140"/>
                </a:lnTo>
                <a:lnTo>
                  <a:pt x="148" y="141"/>
                </a:lnTo>
                <a:lnTo>
                  <a:pt x="145" y="141"/>
                </a:lnTo>
                <a:lnTo>
                  <a:pt x="142" y="138"/>
                </a:lnTo>
                <a:lnTo>
                  <a:pt x="139" y="138"/>
                </a:lnTo>
                <a:lnTo>
                  <a:pt x="135" y="141"/>
                </a:lnTo>
                <a:lnTo>
                  <a:pt x="131" y="141"/>
                </a:lnTo>
                <a:lnTo>
                  <a:pt x="126" y="137"/>
                </a:lnTo>
                <a:lnTo>
                  <a:pt x="122" y="136"/>
                </a:lnTo>
                <a:lnTo>
                  <a:pt x="116" y="136"/>
                </a:lnTo>
                <a:lnTo>
                  <a:pt x="116" y="134"/>
                </a:lnTo>
                <a:lnTo>
                  <a:pt x="111" y="134"/>
                </a:lnTo>
                <a:lnTo>
                  <a:pt x="110" y="135"/>
                </a:lnTo>
                <a:lnTo>
                  <a:pt x="107" y="136"/>
                </a:lnTo>
                <a:lnTo>
                  <a:pt x="106" y="136"/>
                </a:lnTo>
                <a:lnTo>
                  <a:pt x="99" y="132"/>
                </a:lnTo>
                <a:lnTo>
                  <a:pt x="98" y="132"/>
                </a:lnTo>
                <a:lnTo>
                  <a:pt x="93" y="134"/>
                </a:lnTo>
                <a:lnTo>
                  <a:pt x="92" y="134"/>
                </a:lnTo>
                <a:lnTo>
                  <a:pt x="92" y="135"/>
                </a:lnTo>
                <a:lnTo>
                  <a:pt x="91" y="137"/>
                </a:lnTo>
                <a:lnTo>
                  <a:pt x="88" y="137"/>
                </a:lnTo>
                <a:lnTo>
                  <a:pt x="86" y="136"/>
                </a:lnTo>
                <a:lnTo>
                  <a:pt x="85" y="132"/>
                </a:lnTo>
                <a:lnTo>
                  <a:pt x="83" y="130"/>
                </a:lnTo>
                <a:lnTo>
                  <a:pt x="81" y="130"/>
                </a:lnTo>
                <a:lnTo>
                  <a:pt x="80" y="131"/>
                </a:lnTo>
                <a:lnTo>
                  <a:pt x="77" y="131"/>
                </a:lnTo>
                <a:lnTo>
                  <a:pt x="71" y="135"/>
                </a:lnTo>
                <a:lnTo>
                  <a:pt x="68" y="131"/>
                </a:lnTo>
                <a:lnTo>
                  <a:pt x="51" y="131"/>
                </a:lnTo>
                <a:lnTo>
                  <a:pt x="49" y="129"/>
                </a:lnTo>
                <a:lnTo>
                  <a:pt x="48" y="129"/>
                </a:lnTo>
                <a:lnTo>
                  <a:pt x="43" y="131"/>
                </a:lnTo>
                <a:lnTo>
                  <a:pt x="42" y="131"/>
                </a:lnTo>
                <a:lnTo>
                  <a:pt x="30" y="137"/>
                </a:lnTo>
                <a:lnTo>
                  <a:pt x="26" y="137"/>
                </a:lnTo>
                <a:lnTo>
                  <a:pt x="25" y="138"/>
                </a:lnTo>
                <a:lnTo>
                  <a:pt x="19" y="143"/>
                </a:lnTo>
                <a:lnTo>
                  <a:pt x="17" y="143"/>
                </a:lnTo>
                <a:lnTo>
                  <a:pt x="14" y="144"/>
                </a:lnTo>
                <a:lnTo>
                  <a:pt x="11" y="148"/>
                </a:lnTo>
                <a:lnTo>
                  <a:pt x="9" y="150"/>
                </a:lnTo>
                <a:lnTo>
                  <a:pt x="9" y="154"/>
                </a:lnTo>
                <a:lnTo>
                  <a:pt x="7" y="155"/>
                </a:lnTo>
                <a:lnTo>
                  <a:pt x="4" y="155"/>
                </a:lnTo>
                <a:lnTo>
                  <a:pt x="2" y="153"/>
                </a:lnTo>
                <a:lnTo>
                  <a:pt x="2" y="149"/>
                </a:lnTo>
                <a:lnTo>
                  <a:pt x="0" y="144"/>
                </a:lnTo>
                <a:lnTo>
                  <a:pt x="0" y="130"/>
                </a:lnTo>
                <a:lnTo>
                  <a:pt x="1" y="129"/>
                </a:lnTo>
                <a:lnTo>
                  <a:pt x="1" y="122"/>
                </a:lnTo>
                <a:lnTo>
                  <a:pt x="2" y="122"/>
                </a:lnTo>
                <a:lnTo>
                  <a:pt x="2" y="130"/>
                </a:lnTo>
                <a:lnTo>
                  <a:pt x="4" y="131"/>
                </a:lnTo>
                <a:lnTo>
                  <a:pt x="5" y="131"/>
                </a:lnTo>
                <a:lnTo>
                  <a:pt x="5" y="130"/>
                </a:lnTo>
                <a:lnTo>
                  <a:pt x="4" y="129"/>
                </a:lnTo>
                <a:lnTo>
                  <a:pt x="4" y="122"/>
                </a:lnTo>
                <a:lnTo>
                  <a:pt x="2" y="120"/>
                </a:lnTo>
                <a:lnTo>
                  <a:pt x="1" y="120"/>
                </a:lnTo>
                <a:lnTo>
                  <a:pt x="1" y="116"/>
                </a:lnTo>
                <a:lnTo>
                  <a:pt x="2" y="111"/>
                </a:lnTo>
                <a:lnTo>
                  <a:pt x="4" y="109"/>
                </a:lnTo>
                <a:lnTo>
                  <a:pt x="4" y="97"/>
                </a:lnTo>
                <a:lnTo>
                  <a:pt x="7" y="94"/>
                </a:lnTo>
                <a:lnTo>
                  <a:pt x="7" y="93"/>
                </a:lnTo>
                <a:lnTo>
                  <a:pt x="11" y="92"/>
                </a:lnTo>
                <a:lnTo>
                  <a:pt x="11" y="91"/>
                </a:lnTo>
                <a:lnTo>
                  <a:pt x="13" y="88"/>
                </a:lnTo>
                <a:lnTo>
                  <a:pt x="13" y="87"/>
                </a:lnTo>
                <a:lnTo>
                  <a:pt x="14" y="86"/>
                </a:lnTo>
                <a:lnTo>
                  <a:pt x="17" y="85"/>
                </a:lnTo>
                <a:lnTo>
                  <a:pt x="17" y="83"/>
                </a:lnTo>
                <a:lnTo>
                  <a:pt x="18" y="81"/>
                </a:lnTo>
                <a:lnTo>
                  <a:pt x="18" y="79"/>
                </a:lnTo>
                <a:lnTo>
                  <a:pt x="19" y="75"/>
                </a:lnTo>
                <a:lnTo>
                  <a:pt x="18" y="75"/>
                </a:lnTo>
                <a:lnTo>
                  <a:pt x="18" y="70"/>
                </a:lnTo>
                <a:lnTo>
                  <a:pt x="19" y="70"/>
                </a:lnTo>
                <a:lnTo>
                  <a:pt x="18" y="64"/>
                </a:lnTo>
                <a:lnTo>
                  <a:pt x="19" y="63"/>
                </a:lnTo>
                <a:lnTo>
                  <a:pt x="19" y="61"/>
                </a:lnTo>
                <a:lnTo>
                  <a:pt x="21" y="58"/>
                </a:lnTo>
                <a:lnTo>
                  <a:pt x="23" y="54"/>
                </a:lnTo>
                <a:lnTo>
                  <a:pt x="26" y="50"/>
                </a:lnTo>
                <a:lnTo>
                  <a:pt x="31" y="40"/>
                </a:lnTo>
                <a:lnTo>
                  <a:pt x="33" y="38"/>
                </a:lnTo>
                <a:lnTo>
                  <a:pt x="42" y="38"/>
                </a:lnTo>
                <a:lnTo>
                  <a:pt x="43" y="37"/>
                </a:lnTo>
                <a:lnTo>
                  <a:pt x="51" y="33"/>
                </a:lnTo>
                <a:lnTo>
                  <a:pt x="63" y="26"/>
                </a:lnTo>
                <a:lnTo>
                  <a:pt x="67" y="26"/>
                </a:lnTo>
                <a:lnTo>
                  <a:pt x="67" y="25"/>
                </a:lnTo>
                <a:lnTo>
                  <a:pt x="69" y="25"/>
                </a:lnTo>
                <a:lnTo>
                  <a:pt x="69" y="26"/>
                </a:lnTo>
                <a:lnTo>
                  <a:pt x="68" y="26"/>
                </a:lnTo>
                <a:lnTo>
                  <a:pt x="68" y="34"/>
                </a:lnTo>
                <a:lnTo>
                  <a:pt x="69" y="36"/>
                </a:lnTo>
                <a:lnTo>
                  <a:pt x="70" y="38"/>
                </a:lnTo>
                <a:lnTo>
                  <a:pt x="80" y="46"/>
                </a:lnTo>
                <a:lnTo>
                  <a:pt x="83" y="51"/>
                </a:lnTo>
                <a:lnTo>
                  <a:pt x="87" y="54"/>
                </a:lnTo>
                <a:lnTo>
                  <a:pt x="89" y="55"/>
                </a:lnTo>
                <a:lnTo>
                  <a:pt x="91" y="55"/>
                </a:lnTo>
                <a:lnTo>
                  <a:pt x="91" y="57"/>
                </a:lnTo>
                <a:lnTo>
                  <a:pt x="92" y="57"/>
                </a:lnTo>
                <a:lnTo>
                  <a:pt x="92" y="60"/>
                </a:lnTo>
                <a:lnTo>
                  <a:pt x="93" y="61"/>
                </a:lnTo>
                <a:lnTo>
                  <a:pt x="93" y="66"/>
                </a:lnTo>
                <a:lnTo>
                  <a:pt x="94" y="67"/>
                </a:lnTo>
                <a:lnTo>
                  <a:pt x="94" y="68"/>
                </a:lnTo>
                <a:lnTo>
                  <a:pt x="95" y="68"/>
                </a:lnTo>
                <a:lnTo>
                  <a:pt x="96" y="75"/>
                </a:lnTo>
                <a:lnTo>
                  <a:pt x="96" y="77"/>
                </a:lnTo>
                <a:lnTo>
                  <a:pt x="98" y="77"/>
                </a:lnTo>
                <a:lnTo>
                  <a:pt x="100" y="80"/>
                </a:lnTo>
                <a:lnTo>
                  <a:pt x="107" y="82"/>
                </a:lnTo>
                <a:lnTo>
                  <a:pt x="110" y="86"/>
                </a:lnTo>
                <a:lnTo>
                  <a:pt x="112" y="87"/>
                </a:lnTo>
                <a:lnTo>
                  <a:pt x="114" y="87"/>
                </a:lnTo>
                <a:lnTo>
                  <a:pt x="122" y="85"/>
                </a:lnTo>
                <a:lnTo>
                  <a:pt x="124" y="83"/>
                </a:lnTo>
                <a:lnTo>
                  <a:pt x="125" y="83"/>
                </a:lnTo>
                <a:lnTo>
                  <a:pt x="127" y="82"/>
                </a:lnTo>
                <a:lnTo>
                  <a:pt x="127" y="81"/>
                </a:lnTo>
                <a:lnTo>
                  <a:pt x="129" y="80"/>
                </a:lnTo>
                <a:lnTo>
                  <a:pt x="129" y="79"/>
                </a:lnTo>
                <a:lnTo>
                  <a:pt x="131" y="79"/>
                </a:lnTo>
                <a:lnTo>
                  <a:pt x="132" y="77"/>
                </a:lnTo>
                <a:lnTo>
                  <a:pt x="137" y="75"/>
                </a:lnTo>
                <a:lnTo>
                  <a:pt x="137" y="73"/>
                </a:lnTo>
                <a:lnTo>
                  <a:pt x="138" y="73"/>
                </a:lnTo>
                <a:lnTo>
                  <a:pt x="139" y="71"/>
                </a:lnTo>
                <a:lnTo>
                  <a:pt x="139" y="70"/>
                </a:lnTo>
                <a:lnTo>
                  <a:pt x="141" y="70"/>
                </a:lnTo>
                <a:lnTo>
                  <a:pt x="143" y="67"/>
                </a:lnTo>
                <a:lnTo>
                  <a:pt x="144" y="64"/>
                </a:lnTo>
                <a:lnTo>
                  <a:pt x="145" y="61"/>
                </a:lnTo>
                <a:lnTo>
                  <a:pt x="144" y="57"/>
                </a:lnTo>
                <a:lnTo>
                  <a:pt x="144" y="48"/>
                </a:lnTo>
                <a:lnTo>
                  <a:pt x="143" y="45"/>
                </a:lnTo>
                <a:lnTo>
                  <a:pt x="143" y="31"/>
                </a:lnTo>
                <a:lnTo>
                  <a:pt x="141" y="27"/>
                </a:lnTo>
                <a:lnTo>
                  <a:pt x="141" y="25"/>
                </a:lnTo>
                <a:lnTo>
                  <a:pt x="139" y="21"/>
                </a:lnTo>
                <a:lnTo>
                  <a:pt x="139" y="18"/>
                </a:lnTo>
                <a:lnTo>
                  <a:pt x="141" y="17"/>
                </a:lnTo>
                <a:lnTo>
                  <a:pt x="144" y="17"/>
                </a:lnTo>
                <a:lnTo>
                  <a:pt x="145" y="15"/>
                </a:lnTo>
                <a:lnTo>
                  <a:pt x="145" y="14"/>
                </a:lnTo>
                <a:lnTo>
                  <a:pt x="148" y="12"/>
                </a:lnTo>
                <a:lnTo>
                  <a:pt x="150" y="11"/>
                </a:lnTo>
                <a:lnTo>
                  <a:pt x="151" y="9"/>
                </a:lnTo>
                <a:lnTo>
                  <a:pt x="154" y="11"/>
                </a:lnTo>
                <a:lnTo>
                  <a:pt x="156" y="9"/>
                </a:lnTo>
                <a:lnTo>
                  <a:pt x="157" y="9"/>
                </a:lnTo>
                <a:lnTo>
                  <a:pt x="157" y="7"/>
                </a:lnTo>
                <a:lnTo>
                  <a:pt x="161" y="7"/>
                </a:lnTo>
                <a:lnTo>
                  <a:pt x="162" y="8"/>
                </a:lnTo>
                <a:lnTo>
                  <a:pt x="162" y="7"/>
                </a:lnTo>
                <a:lnTo>
                  <a:pt x="163" y="7"/>
                </a:lnTo>
                <a:lnTo>
                  <a:pt x="164" y="6"/>
                </a:lnTo>
                <a:lnTo>
                  <a:pt x="168" y="6"/>
                </a:lnTo>
                <a:lnTo>
                  <a:pt x="172" y="2"/>
                </a:lnTo>
                <a:lnTo>
                  <a:pt x="172" y="1"/>
                </a:lnTo>
                <a:lnTo>
                  <a:pt x="174" y="1"/>
                </a:lnTo>
                <a:lnTo>
                  <a:pt x="175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3" name="Freeform 33">
            <a:extLst>
              <a:ext uri="{FF2B5EF4-FFF2-40B4-BE49-F238E27FC236}">
                <a16:creationId xmlns:a16="http://schemas.microsoft.com/office/drawing/2014/main" id="{9D037770-295C-4D28-8452-6ADBA5705AD8}"/>
              </a:ext>
            </a:extLst>
          </p:cNvPr>
          <p:cNvSpPr>
            <a:spLocks/>
          </p:cNvSpPr>
          <p:nvPr/>
        </p:nvSpPr>
        <p:spPr bwMode="auto">
          <a:xfrm>
            <a:off x="2454601" y="5316014"/>
            <a:ext cx="107222" cy="117365"/>
          </a:xfrm>
          <a:custGeom>
            <a:avLst/>
            <a:gdLst/>
            <a:ahLst/>
            <a:cxnLst>
              <a:cxn ang="0">
                <a:pos x="35" y="1"/>
              </a:cxn>
              <a:cxn ang="0">
                <a:pos x="35" y="4"/>
              </a:cxn>
              <a:cxn ang="0">
                <a:pos x="42" y="9"/>
              </a:cxn>
              <a:cxn ang="0">
                <a:pos x="47" y="12"/>
              </a:cxn>
              <a:cxn ang="0">
                <a:pos x="50" y="15"/>
              </a:cxn>
              <a:cxn ang="0">
                <a:pos x="53" y="23"/>
              </a:cxn>
              <a:cxn ang="0">
                <a:pos x="59" y="24"/>
              </a:cxn>
              <a:cxn ang="0">
                <a:pos x="59" y="31"/>
              </a:cxn>
              <a:cxn ang="0">
                <a:pos x="68" y="33"/>
              </a:cxn>
              <a:cxn ang="0">
                <a:pos x="71" y="33"/>
              </a:cxn>
              <a:cxn ang="0">
                <a:pos x="74" y="35"/>
              </a:cxn>
              <a:cxn ang="0">
                <a:pos x="73" y="41"/>
              </a:cxn>
              <a:cxn ang="0">
                <a:pos x="68" y="47"/>
              </a:cxn>
              <a:cxn ang="0">
                <a:pos x="65" y="52"/>
              </a:cxn>
              <a:cxn ang="0">
                <a:pos x="65" y="57"/>
              </a:cxn>
              <a:cxn ang="0">
                <a:pos x="62" y="58"/>
              </a:cxn>
              <a:cxn ang="0">
                <a:pos x="61" y="58"/>
              </a:cxn>
              <a:cxn ang="0">
                <a:pos x="58" y="60"/>
              </a:cxn>
              <a:cxn ang="0">
                <a:pos x="54" y="66"/>
              </a:cxn>
              <a:cxn ang="0">
                <a:pos x="54" y="68"/>
              </a:cxn>
              <a:cxn ang="0">
                <a:pos x="50" y="66"/>
              </a:cxn>
              <a:cxn ang="0">
                <a:pos x="47" y="62"/>
              </a:cxn>
              <a:cxn ang="0">
                <a:pos x="43" y="64"/>
              </a:cxn>
              <a:cxn ang="0">
                <a:pos x="37" y="66"/>
              </a:cxn>
              <a:cxn ang="0">
                <a:pos x="33" y="69"/>
              </a:cxn>
              <a:cxn ang="0">
                <a:pos x="30" y="80"/>
              </a:cxn>
              <a:cxn ang="0">
                <a:pos x="28" y="80"/>
              </a:cxn>
              <a:cxn ang="0">
                <a:pos x="24" y="81"/>
              </a:cxn>
              <a:cxn ang="0">
                <a:pos x="24" y="78"/>
              </a:cxn>
              <a:cxn ang="0">
                <a:pos x="24" y="74"/>
              </a:cxn>
              <a:cxn ang="0">
                <a:pos x="23" y="64"/>
              </a:cxn>
              <a:cxn ang="0">
                <a:pos x="19" y="60"/>
              </a:cxn>
              <a:cxn ang="0">
                <a:pos x="10" y="55"/>
              </a:cxn>
              <a:cxn ang="0">
                <a:pos x="9" y="51"/>
              </a:cxn>
              <a:cxn ang="0">
                <a:pos x="9" y="49"/>
              </a:cxn>
              <a:cxn ang="0">
                <a:pos x="5" y="44"/>
              </a:cxn>
              <a:cxn ang="0">
                <a:pos x="4" y="37"/>
              </a:cxn>
              <a:cxn ang="0">
                <a:pos x="0" y="30"/>
              </a:cxn>
              <a:cxn ang="0">
                <a:pos x="4" y="29"/>
              </a:cxn>
              <a:cxn ang="0">
                <a:pos x="9" y="30"/>
              </a:cxn>
              <a:cxn ang="0">
                <a:pos x="15" y="25"/>
              </a:cxn>
              <a:cxn ang="0">
                <a:pos x="21" y="21"/>
              </a:cxn>
              <a:cxn ang="0">
                <a:pos x="19" y="19"/>
              </a:cxn>
              <a:cxn ang="0">
                <a:pos x="22" y="17"/>
              </a:cxn>
              <a:cxn ang="0">
                <a:pos x="25" y="15"/>
              </a:cxn>
              <a:cxn ang="0">
                <a:pos x="28" y="11"/>
              </a:cxn>
              <a:cxn ang="0">
                <a:pos x="27" y="8"/>
              </a:cxn>
              <a:cxn ang="0">
                <a:pos x="28" y="4"/>
              </a:cxn>
              <a:cxn ang="0">
                <a:pos x="34" y="0"/>
              </a:cxn>
            </a:cxnLst>
            <a:rect l="0" t="0" r="r" b="b"/>
            <a:pathLst>
              <a:path w="74" h="81">
                <a:moveTo>
                  <a:pt x="34" y="0"/>
                </a:moveTo>
                <a:lnTo>
                  <a:pt x="34" y="1"/>
                </a:lnTo>
                <a:lnTo>
                  <a:pt x="35" y="1"/>
                </a:lnTo>
                <a:lnTo>
                  <a:pt x="35" y="2"/>
                </a:lnTo>
                <a:lnTo>
                  <a:pt x="36" y="2"/>
                </a:lnTo>
                <a:lnTo>
                  <a:pt x="35" y="4"/>
                </a:lnTo>
                <a:lnTo>
                  <a:pt x="35" y="6"/>
                </a:lnTo>
                <a:lnTo>
                  <a:pt x="39" y="7"/>
                </a:lnTo>
                <a:lnTo>
                  <a:pt x="42" y="9"/>
                </a:lnTo>
                <a:lnTo>
                  <a:pt x="43" y="11"/>
                </a:lnTo>
                <a:lnTo>
                  <a:pt x="47" y="11"/>
                </a:lnTo>
                <a:lnTo>
                  <a:pt x="47" y="12"/>
                </a:lnTo>
                <a:lnTo>
                  <a:pt x="48" y="15"/>
                </a:lnTo>
                <a:lnTo>
                  <a:pt x="49" y="17"/>
                </a:lnTo>
                <a:lnTo>
                  <a:pt x="50" y="15"/>
                </a:lnTo>
                <a:lnTo>
                  <a:pt x="52" y="17"/>
                </a:lnTo>
                <a:lnTo>
                  <a:pt x="52" y="20"/>
                </a:lnTo>
                <a:lnTo>
                  <a:pt x="53" y="23"/>
                </a:lnTo>
                <a:lnTo>
                  <a:pt x="55" y="23"/>
                </a:lnTo>
                <a:lnTo>
                  <a:pt x="56" y="24"/>
                </a:lnTo>
                <a:lnTo>
                  <a:pt x="59" y="24"/>
                </a:lnTo>
                <a:lnTo>
                  <a:pt x="59" y="30"/>
                </a:lnTo>
                <a:lnTo>
                  <a:pt x="58" y="30"/>
                </a:lnTo>
                <a:lnTo>
                  <a:pt x="59" y="31"/>
                </a:lnTo>
                <a:lnTo>
                  <a:pt x="65" y="31"/>
                </a:lnTo>
                <a:lnTo>
                  <a:pt x="66" y="32"/>
                </a:lnTo>
                <a:lnTo>
                  <a:pt x="68" y="33"/>
                </a:lnTo>
                <a:lnTo>
                  <a:pt x="68" y="35"/>
                </a:lnTo>
                <a:lnTo>
                  <a:pt x="70" y="35"/>
                </a:lnTo>
                <a:lnTo>
                  <a:pt x="71" y="33"/>
                </a:lnTo>
                <a:lnTo>
                  <a:pt x="73" y="33"/>
                </a:lnTo>
                <a:lnTo>
                  <a:pt x="73" y="35"/>
                </a:lnTo>
                <a:lnTo>
                  <a:pt x="74" y="35"/>
                </a:lnTo>
                <a:lnTo>
                  <a:pt x="74" y="37"/>
                </a:lnTo>
                <a:lnTo>
                  <a:pt x="73" y="37"/>
                </a:lnTo>
                <a:lnTo>
                  <a:pt x="73" y="41"/>
                </a:lnTo>
                <a:lnTo>
                  <a:pt x="72" y="42"/>
                </a:lnTo>
                <a:lnTo>
                  <a:pt x="70" y="45"/>
                </a:lnTo>
                <a:lnTo>
                  <a:pt x="68" y="47"/>
                </a:lnTo>
                <a:lnTo>
                  <a:pt x="68" y="51"/>
                </a:lnTo>
                <a:lnTo>
                  <a:pt x="67" y="51"/>
                </a:lnTo>
                <a:lnTo>
                  <a:pt x="65" y="52"/>
                </a:lnTo>
                <a:lnTo>
                  <a:pt x="64" y="54"/>
                </a:lnTo>
                <a:lnTo>
                  <a:pt x="64" y="55"/>
                </a:lnTo>
                <a:lnTo>
                  <a:pt x="65" y="57"/>
                </a:lnTo>
                <a:lnTo>
                  <a:pt x="66" y="58"/>
                </a:lnTo>
                <a:lnTo>
                  <a:pt x="64" y="60"/>
                </a:lnTo>
                <a:lnTo>
                  <a:pt x="62" y="58"/>
                </a:lnTo>
                <a:lnTo>
                  <a:pt x="62" y="60"/>
                </a:lnTo>
                <a:lnTo>
                  <a:pt x="61" y="60"/>
                </a:lnTo>
                <a:lnTo>
                  <a:pt x="61" y="58"/>
                </a:lnTo>
                <a:lnTo>
                  <a:pt x="60" y="58"/>
                </a:lnTo>
                <a:lnTo>
                  <a:pt x="60" y="61"/>
                </a:lnTo>
                <a:lnTo>
                  <a:pt x="58" y="60"/>
                </a:lnTo>
                <a:lnTo>
                  <a:pt x="56" y="61"/>
                </a:lnTo>
                <a:lnTo>
                  <a:pt x="54" y="64"/>
                </a:lnTo>
                <a:lnTo>
                  <a:pt x="54" y="66"/>
                </a:lnTo>
                <a:lnTo>
                  <a:pt x="55" y="67"/>
                </a:lnTo>
                <a:lnTo>
                  <a:pt x="54" y="67"/>
                </a:lnTo>
                <a:lnTo>
                  <a:pt x="54" y="68"/>
                </a:lnTo>
                <a:lnTo>
                  <a:pt x="53" y="67"/>
                </a:lnTo>
                <a:lnTo>
                  <a:pt x="52" y="67"/>
                </a:lnTo>
                <a:lnTo>
                  <a:pt x="50" y="66"/>
                </a:lnTo>
                <a:lnTo>
                  <a:pt x="50" y="64"/>
                </a:lnTo>
                <a:lnTo>
                  <a:pt x="49" y="63"/>
                </a:lnTo>
                <a:lnTo>
                  <a:pt x="47" y="62"/>
                </a:lnTo>
                <a:lnTo>
                  <a:pt x="45" y="62"/>
                </a:lnTo>
                <a:lnTo>
                  <a:pt x="43" y="63"/>
                </a:lnTo>
                <a:lnTo>
                  <a:pt x="43" y="64"/>
                </a:lnTo>
                <a:lnTo>
                  <a:pt x="42" y="64"/>
                </a:lnTo>
                <a:lnTo>
                  <a:pt x="41" y="66"/>
                </a:lnTo>
                <a:lnTo>
                  <a:pt x="37" y="66"/>
                </a:lnTo>
                <a:lnTo>
                  <a:pt x="34" y="68"/>
                </a:lnTo>
                <a:lnTo>
                  <a:pt x="33" y="68"/>
                </a:lnTo>
                <a:lnTo>
                  <a:pt x="33" y="69"/>
                </a:lnTo>
                <a:lnTo>
                  <a:pt x="31" y="70"/>
                </a:lnTo>
                <a:lnTo>
                  <a:pt x="31" y="79"/>
                </a:lnTo>
                <a:lnTo>
                  <a:pt x="30" y="80"/>
                </a:lnTo>
                <a:lnTo>
                  <a:pt x="30" y="81"/>
                </a:lnTo>
                <a:lnTo>
                  <a:pt x="28" y="81"/>
                </a:lnTo>
                <a:lnTo>
                  <a:pt x="28" y="80"/>
                </a:lnTo>
                <a:lnTo>
                  <a:pt x="27" y="80"/>
                </a:lnTo>
                <a:lnTo>
                  <a:pt x="27" y="81"/>
                </a:lnTo>
                <a:lnTo>
                  <a:pt x="24" y="81"/>
                </a:lnTo>
                <a:lnTo>
                  <a:pt x="24" y="80"/>
                </a:lnTo>
                <a:lnTo>
                  <a:pt x="23" y="79"/>
                </a:lnTo>
                <a:lnTo>
                  <a:pt x="24" y="78"/>
                </a:lnTo>
                <a:lnTo>
                  <a:pt x="24" y="76"/>
                </a:lnTo>
                <a:lnTo>
                  <a:pt x="25" y="75"/>
                </a:lnTo>
                <a:lnTo>
                  <a:pt x="24" y="74"/>
                </a:lnTo>
                <a:lnTo>
                  <a:pt x="24" y="73"/>
                </a:lnTo>
                <a:lnTo>
                  <a:pt x="23" y="69"/>
                </a:lnTo>
                <a:lnTo>
                  <a:pt x="23" y="64"/>
                </a:lnTo>
                <a:lnTo>
                  <a:pt x="21" y="61"/>
                </a:lnTo>
                <a:lnTo>
                  <a:pt x="21" y="60"/>
                </a:lnTo>
                <a:lnTo>
                  <a:pt x="19" y="60"/>
                </a:lnTo>
                <a:lnTo>
                  <a:pt x="19" y="58"/>
                </a:lnTo>
                <a:lnTo>
                  <a:pt x="14" y="55"/>
                </a:lnTo>
                <a:lnTo>
                  <a:pt x="10" y="55"/>
                </a:lnTo>
                <a:lnTo>
                  <a:pt x="10" y="54"/>
                </a:lnTo>
                <a:lnTo>
                  <a:pt x="9" y="54"/>
                </a:lnTo>
                <a:lnTo>
                  <a:pt x="9" y="51"/>
                </a:lnTo>
                <a:lnTo>
                  <a:pt x="8" y="51"/>
                </a:lnTo>
                <a:lnTo>
                  <a:pt x="8" y="50"/>
                </a:lnTo>
                <a:lnTo>
                  <a:pt x="9" y="49"/>
                </a:lnTo>
                <a:lnTo>
                  <a:pt x="8" y="48"/>
                </a:lnTo>
                <a:lnTo>
                  <a:pt x="6" y="44"/>
                </a:lnTo>
                <a:lnTo>
                  <a:pt x="5" y="44"/>
                </a:lnTo>
                <a:lnTo>
                  <a:pt x="3" y="43"/>
                </a:lnTo>
                <a:lnTo>
                  <a:pt x="3" y="38"/>
                </a:lnTo>
                <a:lnTo>
                  <a:pt x="4" y="37"/>
                </a:lnTo>
                <a:lnTo>
                  <a:pt x="4" y="35"/>
                </a:lnTo>
                <a:lnTo>
                  <a:pt x="0" y="31"/>
                </a:lnTo>
                <a:lnTo>
                  <a:pt x="0" y="30"/>
                </a:lnTo>
                <a:lnTo>
                  <a:pt x="2" y="30"/>
                </a:lnTo>
                <a:lnTo>
                  <a:pt x="2" y="29"/>
                </a:lnTo>
                <a:lnTo>
                  <a:pt x="4" y="29"/>
                </a:lnTo>
                <a:lnTo>
                  <a:pt x="6" y="30"/>
                </a:lnTo>
                <a:lnTo>
                  <a:pt x="8" y="31"/>
                </a:lnTo>
                <a:lnTo>
                  <a:pt x="9" y="30"/>
                </a:lnTo>
                <a:lnTo>
                  <a:pt x="9" y="26"/>
                </a:lnTo>
                <a:lnTo>
                  <a:pt x="11" y="26"/>
                </a:lnTo>
                <a:lnTo>
                  <a:pt x="15" y="25"/>
                </a:lnTo>
                <a:lnTo>
                  <a:pt x="18" y="25"/>
                </a:lnTo>
                <a:lnTo>
                  <a:pt x="21" y="23"/>
                </a:lnTo>
                <a:lnTo>
                  <a:pt x="21" y="21"/>
                </a:lnTo>
                <a:lnTo>
                  <a:pt x="19" y="20"/>
                </a:lnTo>
                <a:lnTo>
                  <a:pt x="18" y="20"/>
                </a:lnTo>
                <a:lnTo>
                  <a:pt x="19" y="19"/>
                </a:lnTo>
                <a:lnTo>
                  <a:pt x="19" y="18"/>
                </a:lnTo>
                <a:lnTo>
                  <a:pt x="22" y="18"/>
                </a:lnTo>
                <a:lnTo>
                  <a:pt x="22" y="17"/>
                </a:lnTo>
                <a:lnTo>
                  <a:pt x="23" y="17"/>
                </a:lnTo>
                <a:lnTo>
                  <a:pt x="23" y="15"/>
                </a:lnTo>
                <a:lnTo>
                  <a:pt x="25" y="15"/>
                </a:lnTo>
                <a:lnTo>
                  <a:pt x="25" y="14"/>
                </a:lnTo>
                <a:lnTo>
                  <a:pt x="27" y="13"/>
                </a:lnTo>
                <a:lnTo>
                  <a:pt x="28" y="11"/>
                </a:lnTo>
                <a:lnTo>
                  <a:pt x="28" y="9"/>
                </a:lnTo>
                <a:lnTo>
                  <a:pt x="27" y="9"/>
                </a:lnTo>
                <a:lnTo>
                  <a:pt x="27" y="8"/>
                </a:lnTo>
                <a:lnTo>
                  <a:pt x="25" y="8"/>
                </a:lnTo>
                <a:lnTo>
                  <a:pt x="25" y="4"/>
                </a:lnTo>
                <a:lnTo>
                  <a:pt x="28" y="4"/>
                </a:lnTo>
                <a:lnTo>
                  <a:pt x="31" y="1"/>
                </a:lnTo>
                <a:lnTo>
                  <a:pt x="33" y="1"/>
                </a:lnTo>
                <a:lnTo>
                  <a:pt x="34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4" name="Freeform 34">
            <a:extLst>
              <a:ext uri="{FF2B5EF4-FFF2-40B4-BE49-F238E27FC236}">
                <a16:creationId xmlns:a16="http://schemas.microsoft.com/office/drawing/2014/main" id="{C9C562F1-3D7B-4672-9EE2-9109D37A2E46}"/>
              </a:ext>
            </a:extLst>
          </p:cNvPr>
          <p:cNvSpPr>
            <a:spLocks noEditPoints="1"/>
          </p:cNvSpPr>
          <p:nvPr/>
        </p:nvSpPr>
        <p:spPr bwMode="auto">
          <a:xfrm>
            <a:off x="1634501" y="4985656"/>
            <a:ext cx="728817" cy="946159"/>
          </a:xfrm>
          <a:custGeom>
            <a:avLst/>
            <a:gdLst/>
            <a:ahLst/>
            <a:cxnLst>
              <a:cxn ang="0">
                <a:pos x="231" y="522"/>
              </a:cxn>
              <a:cxn ang="0">
                <a:pos x="365" y="559"/>
              </a:cxn>
              <a:cxn ang="0">
                <a:pos x="358" y="592"/>
              </a:cxn>
              <a:cxn ang="0">
                <a:pos x="296" y="560"/>
              </a:cxn>
              <a:cxn ang="0">
                <a:pos x="249" y="538"/>
              </a:cxn>
              <a:cxn ang="0">
                <a:pos x="273" y="516"/>
              </a:cxn>
              <a:cxn ang="0">
                <a:pos x="315" y="519"/>
              </a:cxn>
              <a:cxn ang="0">
                <a:pos x="354" y="501"/>
              </a:cxn>
              <a:cxn ang="0">
                <a:pos x="335" y="489"/>
              </a:cxn>
              <a:cxn ang="0">
                <a:pos x="72" y="461"/>
              </a:cxn>
              <a:cxn ang="0">
                <a:pos x="74" y="353"/>
              </a:cxn>
              <a:cxn ang="0">
                <a:pos x="124" y="349"/>
              </a:cxn>
              <a:cxn ang="0">
                <a:pos x="133" y="375"/>
              </a:cxn>
              <a:cxn ang="0">
                <a:pos x="130" y="421"/>
              </a:cxn>
              <a:cxn ang="0">
                <a:pos x="115" y="455"/>
              </a:cxn>
              <a:cxn ang="0">
                <a:pos x="90" y="470"/>
              </a:cxn>
              <a:cxn ang="0">
                <a:pos x="77" y="443"/>
              </a:cxn>
              <a:cxn ang="0">
                <a:pos x="80" y="406"/>
              </a:cxn>
              <a:cxn ang="0">
                <a:pos x="67" y="374"/>
              </a:cxn>
              <a:cxn ang="0">
                <a:pos x="99" y="353"/>
              </a:cxn>
              <a:cxn ang="0">
                <a:pos x="148" y="267"/>
              </a:cxn>
              <a:cxn ang="0">
                <a:pos x="158" y="254"/>
              </a:cxn>
              <a:cxn ang="0">
                <a:pos x="136" y="181"/>
              </a:cxn>
              <a:cxn ang="0">
                <a:pos x="234" y="7"/>
              </a:cxn>
              <a:cxn ang="0">
                <a:pos x="291" y="33"/>
              </a:cxn>
              <a:cxn ang="0">
                <a:pos x="291" y="67"/>
              </a:cxn>
              <a:cxn ang="0">
                <a:pos x="301" y="85"/>
              </a:cxn>
              <a:cxn ang="0">
                <a:pos x="274" y="82"/>
              </a:cxn>
              <a:cxn ang="0">
                <a:pos x="249" y="92"/>
              </a:cxn>
              <a:cxn ang="0">
                <a:pos x="246" y="124"/>
              </a:cxn>
              <a:cxn ang="0">
                <a:pos x="240" y="137"/>
              </a:cxn>
              <a:cxn ang="0">
                <a:pos x="291" y="208"/>
              </a:cxn>
              <a:cxn ang="0">
                <a:pos x="340" y="290"/>
              </a:cxn>
              <a:cxn ang="0">
                <a:pos x="398" y="319"/>
              </a:cxn>
              <a:cxn ang="0">
                <a:pos x="475" y="374"/>
              </a:cxn>
              <a:cxn ang="0">
                <a:pos x="497" y="421"/>
              </a:cxn>
              <a:cxn ang="0">
                <a:pos x="450" y="390"/>
              </a:cxn>
              <a:cxn ang="0">
                <a:pos x="425" y="406"/>
              </a:cxn>
              <a:cxn ang="0">
                <a:pos x="441" y="443"/>
              </a:cxn>
              <a:cxn ang="0">
                <a:pos x="419" y="500"/>
              </a:cxn>
              <a:cxn ang="0">
                <a:pos x="389" y="504"/>
              </a:cxn>
              <a:cxn ang="0">
                <a:pos x="397" y="443"/>
              </a:cxn>
              <a:cxn ang="0">
                <a:pos x="352" y="399"/>
              </a:cxn>
              <a:cxn ang="0">
                <a:pos x="329" y="377"/>
              </a:cxn>
              <a:cxn ang="0">
                <a:pos x="295" y="344"/>
              </a:cxn>
              <a:cxn ang="0">
                <a:pos x="241" y="316"/>
              </a:cxn>
              <a:cxn ang="0">
                <a:pos x="191" y="278"/>
              </a:cxn>
              <a:cxn ang="0">
                <a:pos x="165" y="247"/>
              </a:cxn>
              <a:cxn ang="0">
                <a:pos x="136" y="179"/>
              </a:cxn>
              <a:cxn ang="0">
                <a:pos x="94" y="161"/>
              </a:cxn>
              <a:cxn ang="0">
                <a:pos x="66" y="189"/>
              </a:cxn>
              <a:cxn ang="0">
                <a:pos x="34" y="178"/>
              </a:cxn>
              <a:cxn ang="0">
                <a:pos x="18" y="140"/>
              </a:cxn>
              <a:cxn ang="0">
                <a:pos x="19" y="113"/>
              </a:cxn>
              <a:cxn ang="0">
                <a:pos x="21" y="73"/>
              </a:cxn>
              <a:cxn ang="0">
                <a:pos x="62" y="51"/>
              </a:cxn>
              <a:cxn ang="0">
                <a:pos x="94" y="64"/>
              </a:cxn>
              <a:cxn ang="0">
                <a:pos x="105" y="60"/>
              </a:cxn>
              <a:cxn ang="0">
                <a:pos x="124" y="48"/>
              </a:cxn>
              <a:cxn ang="0">
                <a:pos x="147" y="30"/>
              </a:cxn>
              <a:cxn ang="0">
                <a:pos x="174" y="18"/>
              </a:cxn>
              <a:cxn ang="0">
                <a:pos x="216" y="7"/>
              </a:cxn>
            </a:cxnLst>
            <a:rect l="0" t="0" r="r" b="b"/>
            <a:pathLst>
              <a:path w="503" h="653">
                <a:moveTo>
                  <a:pt x="251" y="651"/>
                </a:moveTo>
                <a:lnTo>
                  <a:pt x="254" y="651"/>
                </a:lnTo>
                <a:lnTo>
                  <a:pt x="254" y="653"/>
                </a:lnTo>
                <a:lnTo>
                  <a:pt x="253" y="652"/>
                </a:lnTo>
                <a:lnTo>
                  <a:pt x="251" y="652"/>
                </a:lnTo>
                <a:lnTo>
                  <a:pt x="251" y="651"/>
                </a:lnTo>
                <a:close/>
                <a:moveTo>
                  <a:pt x="264" y="633"/>
                </a:moveTo>
                <a:lnTo>
                  <a:pt x="265" y="633"/>
                </a:lnTo>
                <a:lnTo>
                  <a:pt x="265" y="634"/>
                </a:lnTo>
                <a:lnTo>
                  <a:pt x="264" y="634"/>
                </a:lnTo>
                <a:lnTo>
                  <a:pt x="264" y="633"/>
                </a:lnTo>
                <a:close/>
                <a:moveTo>
                  <a:pt x="224" y="583"/>
                </a:moveTo>
                <a:lnTo>
                  <a:pt x="228" y="583"/>
                </a:lnTo>
                <a:lnTo>
                  <a:pt x="230" y="584"/>
                </a:lnTo>
                <a:lnTo>
                  <a:pt x="230" y="586"/>
                </a:lnTo>
                <a:lnTo>
                  <a:pt x="229" y="587"/>
                </a:lnTo>
                <a:lnTo>
                  <a:pt x="228" y="587"/>
                </a:lnTo>
                <a:lnTo>
                  <a:pt x="226" y="585"/>
                </a:lnTo>
                <a:lnTo>
                  <a:pt x="226" y="584"/>
                </a:lnTo>
                <a:lnTo>
                  <a:pt x="224" y="583"/>
                </a:lnTo>
                <a:close/>
                <a:moveTo>
                  <a:pt x="240" y="524"/>
                </a:moveTo>
                <a:lnTo>
                  <a:pt x="243" y="524"/>
                </a:lnTo>
                <a:lnTo>
                  <a:pt x="243" y="525"/>
                </a:lnTo>
                <a:lnTo>
                  <a:pt x="240" y="525"/>
                </a:lnTo>
                <a:lnTo>
                  <a:pt x="240" y="524"/>
                </a:lnTo>
                <a:close/>
                <a:moveTo>
                  <a:pt x="230" y="522"/>
                </a:moveTo>
                <a:lnTo>
                  <a:pt x="231" y="522"/>
                </a:lnTo>
                <a:lnTo>
                  <a:pt x="231" y="523"/>
                </a:lnTo>
                <a:lnTo>
                  <a:pt x="230" y="523"/>
                </a:lnTo>
                <a:lnTo>
                  <a:pt x="230" y="522"/>
                </a:lnTo>
                <a:close/>
                <a:moveTo>
                  <a:pt x="377" y="505"/>
                </a:moveTo>
                <a:lnTo>
                  <a:pt x="378" y="505"/>
                </a:lnTo>
                <a:lnTo>
                  <a:pt x="380" y="506"/>
                </a:lnTo>
                <a:lnTo>
                  <a:pt x="382" y="506"/>
                </a:lnTo>
                <a:lnTo>
                  <a:pt x="379" y="507"/>
                </a:lnTo>
                <a:lnTo>
                  <a:pt x="379" y="509"/>
                </a:lnTo>
                <a:lnTo>
                  <a:pt x="378" y="510"/>
                </a:lnTo>
                <a:lnTo>
                  <a:pt x="379" y="510"/>
                </a:lnTo>
                <a:lnTo>
                  <a:pt x="377" y="513"/>
                </a:lnTo>
                <a:lnTo>
                  <a:pt x="376" y="516"/>
                </a:lnTo>
                <a:lnTo>
                  <a:pt x="371" y="522"/>
                </a:lnTo>
                <a:lnTo>
                  <a:pt x="367" y="528"/>
                </a:lnTo>
                <a:lnTo>
                  <a:pt x="366" y="530"/>
                </a:lnTo>
                <a:lnTo>
                  <a:pt x="366" y="531"/>
                </a:lnTo>
                <a:lnTo>
                  <a:pt x="365" y="531"/>
                </a:lnTo>
                <a:lnTo>
                  <a:pt x="364" y="534"/>
                </a:lnTo>
                <a:lnTo>
                  <a:pt x="364" y="537"/>
                </a:lnTo>
                <a:lnTo>
                  <a:pt x="363" y="538"/>
                </a:lnTo>
                <a:lnTo>
                  <a:pt x="363" y="542"/>
                </a:lnTo>
                <a:lnTo>
                  <a:pt x="361" y="543"/>
                </a:lnTo>
                <a:lnTo>
                  <a:pt x="359" y="548"/>
                </a:lnTo>
                <a:lnTo>
                  <a:pt x="359" y="556"/>
                </a:lnTo>
                <a:lnTo>
                  <a:pt x="363" y="559"/>
                </a:lnTo>
                <a:lnTo>
                  <a:pt x="365" y="559"/>
                </a:lnTo>
                <a:lnTo>
                  <a:pt x="365" y="560"/>
                </a:lnTo>
                <a:lnTo>
                  <a:pt x="366" y="561"/>
                </a:lnTo>
                <a:lnTo>
                  <a:pt x="365" y="561"/>
                </a:lnTo>
                <a:lnTo>
                  <a:pt x="364" y="562"/>
                </a:lnTo>
                <a:lnTo>
                  <a:pt x="364" y="561"/>
                </a:lnTo>
                <a:lnTo>
                  <a:pt x="363" y="561"/>
                </a:lnTo>
                <a:lnTo>
                  <a:pt x="363" y="565"/>
                </a:lnTo>
                <a:lnTo>
                  <a:pt x="364" y="566"/>
                </a:lnTo>
                <a:lnTo>
                  <a:pt x="365" y="565"/>
                </a:lnTo>
                <a:lnTo>
                  <a:pt x="365" y="567"/>
                </a:lnTo>
                <a:lnTo>
                  <a:pt x="366" y="568"/>
                </a:lnTo>
                <a:lnTo>
                  <a:pt x="367" y="568"/>
                </a:lnTo>
                <a:lnTo>
                  <a:pt x="367" y="571"/>
                </a:lnTo>
                <a:lnTo>
                  <a:pt x="366" y="571"/>
                </a:lnTo>
                <a:lnTo>
                  <a:pt x="367" y="572"/>
                </a:lnTo>
                <a:lnTo>
                  <a:pt x="367" y="573"/>
                </a:lnTo>
                <a:lnTo>
                  <a:pt x="366" y="574"/>
                </a:lnTo>
                <a:lnTo>
                  <a:pt x="366" y="575"/>
                </a:lnTo>
                <a:lnTo>
                  <a:pt x="364" y="575"/>
                </a:lnTo>
                <a:lnTo>
                  <a:pt x="364" y="577"/>
                </a:lnTo>
                <a:lnTo>
                  <a:pt x="363" y="577"/>
                </a:lnTo>
                <a:lnTo>
                  <a:pt x="361" y="578"/>
                </a:lnTo>
                <a:lnTo>
                  <a:pt x="359" y="584"/>
                </a:lnTo>
                <a:lnTo>
                  <a:pt x="359" y="585"/>
                </a:lnTo>
                <a:lnTo>
                  <a:pt x="360" y="587"/>
                </a:lnTo>
                <a:lnTo>
                  <a:pt x="360" y="592"/>
                </a:lnTo>
                <a:lnTo>
                  <a:pt x="358" y="592"/>
                </a:lnTo>
                <a:lnTo>
                  <a:pt x="357" y="591"/>
                </a:lnTo>
                <a:lnTo>
                  <a:pt x="357" y="590"/>
                </a:lnTo>
                <a:lnTo>
                  <a:pt x="353" y="590"/>
                </a:lnTo>
                <a:lnTo>
                  <a:pt x="352" y="589"/>
                </a:lnTo>
                <a:lnTo>
                  <a:pt x="349" y="587"/>
                </a:lnTo>
                <a:lnTo>
                  <a:pt x="348" y="589"/>
                </a:lnTo>
                <a:lnTo>
                  <a:pt x="346" y="590"/>
                </a:lnTo>
                <a:lnTo>
                  <a:pt x="346" y="589"/>
                </a:lnTo>
                <a:lnTo>
                  <a:pt x="345" y="589"/>
                </a:lnTo>
                <a:lnTo>
                  <a:pt x="345" y="590"/>
                </a:lnTo>
                <a:lnTo>
                  <a:pt x="344" y="589"/>
                </a:lnTo>
                <a:lnTo>
                  <a:pt x="341" y="589"/>
                </a:lnTo>
                <a:lnTo>
                  <a:pt x="341" y="587"/>
                </a:lnTo>
                <a:lnTo>
                  <a:pt x="340" y="586"/>
                </a:lnTo>
                <a:lnTo>
                  <a:pt x="338" y="586"/>
                </a:lnTo>
                <a:lnTo>
                  <a:pt x="338" y="585"/>
                </a:lnTo>
                <a:lnTo>
                  <a:pt x="333" y="585"/>
                </a:lnTo>
                <a:lnTo>
                  <a:pt x="333" y="584"/>
                </a:lnTo>
                <a:lnTo>
                  <a:pt x="329" y="577"/>
                </a:lnTo>
                <a:lnTo>
                  <a:pt x="324" y="572"/>
                </a:lnTo>
                <a:lnTo>
                  <a:pt x="321" y="570"/>
                </a:lnTo>
                <a:lnTo>
                  <a:pt x="316" y="567"/>
                </a:lnTo>
                <a:lnTo>
                  <a:pt x="311" y="568"/>
                </a:lnTo>
                <a:lnTo>
                  <a:pt x="308" y="568"/>
                </a:lnTo>
                <a:lnTo>
                  <a:pt x="305" y="566"/>
                </a:lnTo>
                <a:lnTo>
                  <a:pt x="302" y="566"/>
                </a:lnTo>
                <a:lnTo>
                  <a:pt x="296" y="560"/>
                </a:lnTo>
                <a:lnTo>
                  <a:pt x="295" y="560"/>
                </a:lnTo>
                <a:lnTo>
                  <a:pt x="293" y="559"/>
                </a:lnTo>
                <a:lnTo>
                  <a:pt x="291" y="559"/>
                </a:lnTo>
                <a:lnTo>
                  <a:pt x="290" y="558"/>
                </a:lnTo>
                <a:lnTo>
                  <a:pt x="289" y="558"/>
                </a:lnTo>
                <a:lnTo>
                  <a:pt x="286" y="555"/>
                </a:lnTo>
                <a:lnTo>
                  <a:pt x="284" y="554"/>
                </a:lnTo>
                <a:lnTo>
                  <a:pt x="283" y="554"/>
                </a:lnTo>
                <a:lnTo>
                  <a:pt x="283" y="553"/>
                </a:lnTo>
                <a:lnTo>
                  <a:pt x="282" y="553"/>
                </a:lnTo>
                <a:lnTo>
                  <a:pt x="282" y="550"/>
                </a:lnTo>
                <a:lnTo>
                  <a:pt x="280" y="550"/>
                </a:lnTo>
                <a:lnTo>
                  <a:pt x="279" y="549"/>
                </a:lnTo>
                <a:lnTo>
                  <a:pt x="278" y="549"/>
                </a:lnTo>
                <a:lnTo>
                  <a:pt x="278" y="548"/>
                </a:lnTo>
                <a:lnTo>
                  <a:pt x="272" y="547"/>
                </a:lnTo>
                <a:lnTo>
                  <a:pt x="272" y="548"/>
                </a:lnTo>
                <a:lnTo>
                  <a:pt x="271" y="548"/>
                </a:lnTo>
                <a:lnTo>
                  <a:pt x="271" y="546"/>
                </a:lnTo>
                <a:lnTo>
                  <a:pt x="268" y="543"/>
                </a:lnTo>
                <a:lnTo>
                  <a:pt x="261" y="543"/>
                </a:lnTo>
                <a:lnTo>
                  <a:pt x="258" y="544"/>
                </a:lnTo>
                <a:lnTo>
                  <a:pt x="257" y="544"/>
                </a:lnTo>
                <a:lnTo>
                  <a:pt x="255" y="543"/>
                </a:lnTo>
                <a:lnTo>
                  <a:pt x="253" y="540"/>
                </a:lnTo>
                <a:lnTo>
                  <a:pt x="252" y="538"/>
                </a:lnTo>
                <a:lnTo>
                  <a:pt x="249" y="538"/>
                </a:lnTo>
                <a:lnTo>
                  <a:pt x="249" y="537"/>
                </a:lnTo>
                <a:lnTo>
                  <a:pt x="248" y="536"/>
                </a:lnTo>
                <a:lnTo>
                  <a:pt x="248" y="534"/>
                </a:lnTo>
                <a:lnTo>
                  <a:pt x="247" y="534"/>
                </a:lnTo>
                <a:lnTo>
                  <a:pt x="247" y="532"/>
                </a:lnTo>
                <a:lnTo>
                  <a:pt x="246" y="531"/>
                </a:lnTo>
                <a:lnTo>
                  <a:pt x="247" y="530"/>
                </a:lnTo>
                <a:lnTo>
                  <a:pt x="247" y="531"/>
                </a:lnTo>
                <a:lnTo>
                  <a:pt x="248" y="530"/>
                </a:lnTo>
                <a:lnTo>
                  <a:pt x="248" y="525"/>
                </a:lnTo>
                <a:lnTo>
                  <a:pt x="249" y="523"/>
                </a:lnTo>
                <a:lnTo>
                  <a:pt x="249" y="519"/>
                </a:lnTo>
                <a:lnTo>
                  <a:pt x="251" y="519"/>
                </a:lnTo>
                <a:lnTo>
                  <a:pt x="253" y="517"/>
                </a:lnTo>
                <a:lnTo>
                  <a:pt x="255" y="517"/>
                </a:lnTo>
                <a:lnTo>
                  <a:pt x="255" y="516"/>
                </a:lnTo>
                <a:lnTo>
                  <a:pt x="257" y="515"/>
                </a:lnTo>
                <a:lnTo>
                  <a:pt x="259" y="515"/>
                </a:lnTo>
                <a:lnTo>
                  <a:pt x="259" y="511"/>
                </a:lnTo>
                <a:lnTo>
                  <a:pt x="260" y="511"/>
                </a:lnTo>
                <a:lnTo>
                  <a:pt x="260" y="512"/>
                </a:lnTo>
                <a:lnTo>
                  <a:pt x="262" y="517"/>
                </a:lnTo>
                <a:lnTo>
                  <a:pt x="264" y="517"/>
                </a:lnTo>
                <a:lnTo>
                  <a:pt x="266" y="519"/>
                </a:lnTo>
                <a:lnTo>
                  <a:pt x="268" y="519"/>
                </a:lnTo>
                <a:lnTo>
                  <a:pt x="272" y="517"/>
                </a:lnTo>
                <a:lnTo>
                  <a:pt x="273" y="516"/>
                </a:lnTo>
                <a:lnTo>
                  <a:pt x="273" y="513"/>
                </a:lnTo>
                <a:lnTo>
                  <a:pt x="274" y="512"/>
                </a:lnTo>
                <a:lnTo>
                  <a:pt x="274" y="511"/>
                </a:lnTo>
                <a:lnTo>
                  <a:pt x="280" y="511"/>
                </a:lnTo>
                <a:lnTo>
                  <a:pt x="280" y="510"/>
                </a:lnTo>
                <a:lnTo>
                  <a:pt x="283" y="510"/>
                </a:lnTo>
                <a:lnTo>
                  <a:pt x="284" y="509"/>
                </a:lnTo>
                <a:lnTo>
                  <a:pt x="284" y="510"/>
                </a:lnTo>
                <a:lnTo>
                  <a:pt x="286" y="511"/>
                </a:lnTo>
                <a:lnTo>
                  <a:pt x="286" y="513"/>
                </a:lnTo>
                <a:lnTo>
                  <a:pt x="288" y="516"/>
                </a:lnTo>
                <a:lnTo>
                  <a:pt x="292" y="515"/>
                </a:lnTo>
                <a:lnTo>
                  <a:pt x="293" y="516"/>
                </a:lnTo>
                <a:lnTo>
                  <a:pt x="293" y="518"/>
                </a:lnTo>
                <a:lnTo>
                  <a:pt x="295" y="518"/>
                </a:lnTo>
                <a:lnTo>
                  <a:pt x="297" y="519"/>
                </a:lnTo>
                <a:lnTo>
                  <a:pt x="298" y="521"/>
                </a:lnTo>
                <a:lnTo>
                  <a:pt x="299" y="521"/>
                </a:lnTo>
                <a:lnTo>
                  <a:pt x="301" y="522"/>
                </a:lnTo>
                <a:lnTo>
                  <a:pt x="304" y="522"/>
                </a:lnTo>
                <a:lnTo>
                  <a:pt x="307" y="521"/>
                </a:lnTo>
                <a:lnTo>
                  <a:pt x="309" y="521"/>
                </a:lnTo>
                <a:lnTo>
                  <a:pt x="309" y="519"/>
                </a:lnTo>
                <a:lnTo>
                  <a:pt x="310" y="519"/>
                </a:lnTo>
                <a:lnTo>
                  <a:pt x="313" y="518"/>
                </a:lnTo>
                <a:lnTo>
                  <a:pt x="314" y="518"/>
                </a:lnTo>
                <a:lnTo>
                  <a:pt x="315" y="519"/>
                </a:lnTo>
                <a:lnTo>
                  <a:pt x="329" y="519"/>
                </a:lnTo>
                <a:lnTo>
                  <a:pt x="330" y="518"/>
                </a:lnTo>
                <a:lnTo>
                  <a:pt x="334" y="518"/>
                </a:lnTo>
                <a:lnTo>
                  <a:pt x="340" y="517"/>
                </a:lnTo>
                <a:lnTo>
                  <a:pt x="342" y="515"/>
                </a:lnTo>
                <a:lnTo>
                  <a:pt x="344" y="512"/>
                </a:lnTo>
                <a:lnTo>
                  <a:pt x="346" y="512"/>
                </a:lnTo>
                <a:lnTo>
                  <a:pt x="349" y="511"/>
                </a:lnTo>
                <a:lnTo>
                  <a:pt x="352" y="511"/>
                </a:lnTo>
                <a:lnTo>
                  <a:pt x="353" y="512"/>
                </a:lnTo>
                <a:lnTo>
                  <a:pt x="357" y="512"/>
                </a:lnTo>
                <a:lnTo>
                  <a:pt x="357" y="513"/>
                </a:lnTo>
                <a:lnTo>
                  <a:pt x="360" y="513"/>
                </a:lnTo>
                <a:lnTo>
                  <a:pt x="363" y="512"/>
                </a:lnTo>
                <a:lnTo>
                  <a:pt x="364" y="511"/>
                </a:lnTo>
                <a:lnTo>
                  <a:pt x="365" y="507"/>
                </a:lnTo>
                <a:lnTo>
                  <a:pt x="365" y="509"/>
                </a:lnTo>
                <a:lnTo>
                  <a:pt x="366" y="510"/>
                </a:lnTo>
                <a:lnTo>
                  <a:pt x="367" y="510"/>
                </a:lnTo>
                <a:lnTo>
                  <a:pt x="372" y="509"/>
                </a:lnTo>
                <a:lnTo>
                  <a:pt x="372" y="507"/>
                </a:lnTo>
                <a:lnTo>
                  <a:pt x="373" y="507"/>
                </a:lnTo>
                <a:lnTo>
                  <a:pt x="375" y="506"/>
                </a:lnTo>
                <a:lnTo>
                  <a:pt x="377" y="505"/>
                </a:lnTo>
                <a:close/>
                <a:moveTo>
                  <a:pt x="353" y="498"/>
                </a:moveTo>
                <a:lnTo>
                  <a:pt x="355" y="500"/>
                </a:lnTo>
                <a:lnTo>
                  <a:pt x="354" y="501"/>
                </a:lnTo>
                <a:lnTo>
                  <a:pt x="353" y="500"/>
                </a:lnTo>
                <a:lnTo>
                  <a:pt x="353" y="498"/>
                </a:lnTo>
                <a:close/>
                <a:moveTo>
                  <a:pt x="351" y="493"/>
                </a:moveTo>
                <a:lnTo>
                  <a:pt x="353" y="493"/>
                </a:lnTo>
                <a:lnTo>
                  <a:pt x="353" y="494"/>
                </a:lnTo>
                <a:lnTo>
                  <a:pt x="354" y="494"/>
                </a:lnTo>
                <a:lnTo>
                  <a:pt x="354" y="495"/>
                </a:lnTo>
                <a:lnTo>
                  <a:pt x="353" y="495"/>
                </a:lnTo>
                <a:lnTo>
                  <a:pt x="353" y="497"/>
                </a:lnTo>
                <a:lnTo>
                  <a:pt x="352" y="497"/>
                </a:lnTo>
                <a:lnTo>
                  <a:pt x="352" y="495"/>
                </a:lnTo>
                <a:lnTo>
                  <a:pt x="351" y="495"/>
                </a:lnTo>
                <a:lnTo>
                  <a:pt x="351" y="493"/>
                </a:lnTo>
                <a:close/>
                <a:moveTo>
                  <a:pt x="328" y="491"/>
                </a:moveTo>
                <a:lnTo>
                  <a:pt x="328" y="492"/>
                </a:lnTo>
                <a:lnTo>
                  <a:pt x="327" y="492"/>
                </a:lnTo>
                <a:lnTo>
                  <a:pt x="328" y="491"/>
                </a:lnTo>
                <a:close/>
                <a:moveTo>
                  <a:pt x="346" y="489"/>
                </a:moveTo>
                <a:lnTo>
                  <a:pt x="349" y="489"/>
                </a:lnTo>
                <a:lnTo>
                  <a:pt x="349" y="492"/>
                </a:lnTo>
                <a:lnTo>
                  <a:pt x="347" y="491"/>
                </a:lnTo>
                <a:lnTo>
                  <a:pt x="346" y="489"/>
                </a:lnTo>
                <a:close/>
                <a:moveTo>
                  <a:pt x="335" y="489"/>
                </a:moveTo>
                <a:lnTo>
                  <a:pt x="336" y="489"/>
                </a:lnTo>
                <a:lnTo>
                  <a:pt x="338" y="491"/>
                </a:lnTo>
                <a:lnTo>
                  <a:pt x="336" y="491"/>
                </a:lnTo>
                <a:lnTo>
                  <a:pt x="335" y="489"/>
                </a:lnTo>
                <a:close/>
                <a:moveTo>
                  <a:pt x="277" y="482"/>
                </a:moveTo>
                <a:lnTo>
                  <a:pt x="279" y="482"/>
                </a:lnTo>
                <a:lnTo>
                  <a:pt x="278" y="484"/>
                </a:lnTo>
                <a:lnTo>
                  <a:pt x="277" y="484"/>
                </a:lnTo>
                <a:lnTo>
                  <a:pt x="277" y="482"/>
                </a:lnTo>
                <a:close/>
                <a:moveTo>
                  <a:pt x="363" y="478"/>
                </a:moveTo>
                <a:lnTo>
                  <a:pt x="365" y="478"/>
                </a:lnTo>
                <a:lnTo>
                  <a:pt x="365" y="479"/>
                </a:lnTo>
                <a:lnTo>
                  <a:pt x="363" y="479"/>
                </a:lnTo>
                <a:lnTo>
                  <a:pt x="363" y="478"/>
                </a:lnTo>
                <a:close/>
                <a:moveTo>
                  <a:pt x="74" y="461"/>
                </a:moveTo>
                <a:lnTo>
                  <a:pt x="78" y="461"/>
                </a:lnTo>
                <a:lnTo>
                  <a:pt x="79" y="463"/>
                </a:lnTo>
                <a:lnTo>
                  <a:pt x="80" y="463"/>
                </a:lnTo>
                <a:lnTo>
                  <a:pt x="79" y="464"/>
                </a:lnTo>
                <a:lnTo>
                  <a:pt x="79" y="466"/>
                </a:lnTo>
                <a:lnTo>
                  <a:pt x="78" y="467"/>
                </a:lnTo>
                <a:lnTo>
                  <a:pt x="78" y="469"/>
                </a:lnTo>
                <a:lnTo>
                  <a:pt x="77" y="469"/>
                </a:lnTo>
                <a:lnTo>
                  <a:pt x="77" y="468"/>
                </a:lnTo>
                <a:lnTo>
                  <a:pt x="74" y="463"/>
                </a:lnTo>
                <a:lnTo>
                  <a:pt x="74" y="461"/>
                </a:lnTo>
                <a:close/>
                <a:moveTo>
                  <a:pt x="69" y="457"/>
                </a:moveTo>
                <a:lnTo>
                  <a:pt x="72" y="457"/>
                </a:lnTo>
                <a:lnTo>
                  <a:pt x="72" y="458"/>
                </a:lnTo>
                <a:lnTo>
                  <a:pt x="73" y="461"/>
                </a:lnTo>
                <a:lnTo>
                  <a:pt x="72" y="461"/>
                </a:lnTo>
                <a:lnTo>
                  <a:pt x="72" y="462"/>
                </a:lnTo>
                <a:lnTo>
                  <a:pt x="71" y="462"/>
                </a:lnTo>
                <a:lnTo>
                  <a:pt x="71" y="460"/>
                </a:lnTo>
                <a:lnTo>
                  <a:pt x="69" y="460"/>
                </a:lnTo>
                <a:lnTo>
                  <a:pt x="69" y="457"/>
                </a:lnTo>
                <a:close/>
                <a:moveTo>
                  <a:pt x="307" y="370"/>
                </a:moveTo>
                <a:lnTo>
                  <a:pt x="308" y="370"/>
                </a:lnTo>
                <a:lnTo>
                  <a:pt x="310" y="371"/>
                </a:lnTo>
                <a:lnTo>
                  <a:pt x="311" y="371"/>
                </a:lnTo>
                <a:lnTo>
                  <a:pt x="311" y="372"/>
                </a:lnTo>
                <a:lnTo>
                  <a:pt x="310" y="374"/>
                </a:lnTo>
                <a:lnTo>
                  <a:pt x="307" y="374"/>
                </a:lnTo>
                <a:lnTo>
                  <a:pt x="307" y="370"/>
                </a:lnTo>
                <a:close/>
                <a:moveTo>
                  <a:pt x="289" y="368"/>
                </a:moveTo>
                <a:lnTo>
                  <a:pt x="289" y="369"/>
                </a:lnTo>
                <a:lnTo>
                  <a:pt x="288" y="369"/>
                </a:lnTo>
                <a:lnTo>
                  <a:pt x="289" y="368"/>
                </a:lnTo>
                <a:close/>
                <a:moveTo>
                  <a:pt x="71" y="353"/>
                </a:moveTo>
                <a:lnTo>
                  <a:pt x="71" y="356"/>
                </a:lnTo>
                <a:lnTo>
                  <a:pt x="69" y="357"/>
                </a:lnTo>
                <a:lnTo>
                  <a:pt x="68" y="357"/>
                </a:lnTo>
                <a:lnTo>
                  <a:pt x="69" y="356"/>
                </a:lnTo>
                <a:lnTo>
                  <a:pt x="69" y="355"/>
                </a:lnTo>
                <a:lnTo>
                  <a:pt x="71" y="353"/>
                </a:lnTo>
                <a:close/>
                <a:moveTo>
                  <a:pt x="71" y="351"/>
                </a:moveTo>
                <a:lnTo>
                  <a:pt x="74" y="351"/>
                </a:lnTo>
                <a:lnTo>
                  <a:pt x="74" y="353"/>
                </a:lnTo>
                <a:lnTo>
                  <a:pt x="71" y="353"/>
                </a:lnTo>
                <a:lnTo>
                  <a:pt x="71" y="351"/>
                </a:lnTo>
                <a:close/>
                <a:moveTo>
                  <a:pt x="121" y="344"/>
                </a:moveTo>
                <a:lnTo>
                  <a:pt x="122" y="344"/>
                </a:lnTo>
                <a:lnTo>
                  <a:pt x="122" y="347"/>
                </a:lnTo>
                <a:lnTo>
                  <a:pt x="121" y="347"/>
                </a:lnTo>
                <a:lnTo>
                  <a:pt x="121" y="344"/>
                </a:lnTo>
                <a:close/>
                <a:moveTo>
                  <a:pt x="118" y="343"/>
                </a:moveTo>
                <a:lnTo>
                  <a:pt x="119" y="343"/>
                </a:lnTo>
                <a:lnTo>
                  <a:pt x="119" y="345"/>
                </a:lnTo>
                <a:lnTo>
                  <a:pt x="117" y="345"/>
                </a:lnTo>
                <a:lnTo>
                  <a:pt x="117" y="344"/>
                </a:lnTo>
                <a:lnTo>
                  <a:pt x="118" y="344"/>
                </a:lnTo>
                <a:lnTo>
                  <a:pt x="118" y="343"/>
                </a:lnTo>
                <a:close/>
                <a:moveTo>
                  <a:pt x="110" y="343"/>
                </a:moveTo>
                <a:lnTo>
                  <a:pt x="112" y="343"/>
                </a:lnTo>
                <a:lnTo>
                  <a:pt x="114" y="344"/>
                </a:lnTo>
                <a:lnTo>
                  <a:pt x="114" y="346"/>
                </a:lnTo>
                <a:lnTo>
                  <a:pt x="116" y="346"/>
                </a:lnTo>
                <a:lnTo>
                  <a:pt x="116" y="345"/>
                </a:lnTo>
                <a:lnTo>
                  <a:pt x="117" y="345"/>
                </a:lnTo>
                <a:lnTo>
                  <a:pt x="118" y="347"/>
                </a:lnTo>
                <a:lnTo>
                  <a:pt x="119" y="347"/>
                </a:lnTo>
                <a:lnTo>
                  <a:pt x="119" y="349"/>
                </a:lnTo>
                <a:lnTo>
                  <a:pt x="121" y="350"/>
                </a:lnTo>
                <a:lnTo>
                  <a:pt x="121" y="349"/>
                </a:lnTo>
                <a:lnTo>
                  <a:pt x="124" y="349"/>
                </a:lnTo>
                <a:lnTo>
                  <a:pt x="124" y="350"/>
                </a:lnTo>
                <a:lnTo>
                  <a:pt x="125" y="350"/>
                </a:lnTo>
                <a:lnTo>
                  <a:pt x="125" y="352"/>
                </a:lnTo>
                <a:lnTo>
                  <a:pt x="124" y="352"/>
                </a:lnTo>
                <a:lnTo>
                  <a:pt x="124" y="355"/>
                </a:lnTo>
                <a:lnTo>
                  <a:pt x="125" y="355"/>
                </a:lnTo>
                <a:lnTo>
                  <a:pt x="125" y="357"/>
                </a:lnTo>
                <a:lnTo>
                  <a:pt x="127" y="356"/>
                </a:lnTo>
                <a:lnTo>
                  <a:pt x="128" y="356"/>
                </a:lnTo>
                <a:lnTo>
                  <a:pt x="129" y="357"/>
                </a:lnTo>
                <a:lnTo>
                  <a:pt x="127" y="357"/>
                </a:lnTo>
                <a:lnTo>
                  <a:pt x="127" y="359"/>
                </a:lnTo>
                <a:lnTo>
                  <a:pt x="125" y="359"/>
                </a:lnTo>
                <a:lnTo>
                  <a:pt x="125" y="361"/>
                </a:lnTo>
                <a:lnTo>
                  <a:pt x="123" y="361"/>
                </a:lnTo>
                <a:lnTo>
                  <a:pt x="123" y="362"/>
                </a:lnTo>
                <a:lnTo>
                  <a:pt x="128" y="362"/>
                </a:lnTo>
                <a:lnTo>
                  <a:pt x="128" y="363"/>
                </a:lnTo>
                <a:lnTo>
                  <a:pt x="130" y="365"/>
                </a:lnTo>
                <a:lnTo>
                  <a:pt x="133" y="365"/>
                </a:lnTo>
                <a:lnTo>
                  <a:pt x="131" y="366"/>
                </a:lnTo>
                <a:lnTo>
                  <a:pt x="130" y="366"/>
                </a:lnTo>
                <a:lnTo>
                  <a:pt x="130" y="368"/>
                </a:lnTo>
                <a:lnTo>
                  <a:pt x="129" y="368"/>
                </a:lnTo>
                <a:lnTo>
                  <a:pt x="131" y="370"/>
                </a:lnTo>
                <a:lnTo>
                  <a:pt x="131" y="372"/>
                </a:lnTo>
                <a:lnTo>
                  <a:pt x="133" y="375"/>
                </a:lnTo>
                <a:lnTo>
                  <a:pt x="134" y="376"/>
                </a:lnTo>
                <a:lnTo>
                  <a:pt x="134" y="380"/>
                </a:lnTo>
                <a:lnTo>
                  <a:pt x="135" y="381"/>
                </a:lnTo>
                <a:lnTo>
                  <a:pt x="135" y="382"/>
                </a:lnTo>
                <a:lnTo>
                  <a:pt x="136" y="383"/>
                </a:lnTo>
                <a:lnTo>
                  <a:pt x="136" y="387"/>
                </a:lnTo>
                <a:lnTo>
                  <a:pt x="135" y="387"/>
                </a:lnTo>
                <a:lnTo>
                  <a:pt x="135" y="389"/>
                </a:lnTo>
                <a:lnTo>
                  <a:pt x="134" y="390"/>
                </a:lnTo>
                <a:lnTo>
                  <a:pt x="134" y="392"/>
                </a:lnTo>
                <a:lnTo>
                  <a:pt x="133" y="392"/>
                </a:lnTo>
                <a:lnTo>
                  <a:pt x="130" y="394"/>
                </a:lnTo>
                <a:lnTo>
                  <a:pt x="130" y="395"/>
                </a:lnTo>
                <a:lnTo>
                  <a:pt x="128" y="398"/>
                </a:lnTo>
                <a:lnTo>
                  <a:pt x="128" y="401"/>
                </a:lnTo>
                <a:lnTo>
                  <a:pt x="129" y="405"/>
                </a:lnTo>
                <a:lnTo>
                  <a:pt x="130" y="405"/>
                </a:lnTo>
                <a:lnTo>
                  <a:pt x="130" y="406"/>
                </a:lnTo>
                <a:lnTo>
                  <a:pt x="133" y="408"/>
                </a:lnTo>
                <a:lnTo>
                  <a:pt x="131" y="413"/>
                </a:lnTo>
                <a:lnTo>
                  <a:pt x="130" y="414"/>
                </a:lnTo>
                <a:lnTo>
                  <a:pt x="131" y="415"/>
                </a:lnTo>
                <a:lnTo>
                  <a:pt x="131" y="417"/>
                </a:lnTo>
                <a:lnTo>
                  <a:pt x="130" y="418"/>
                </a:lnTo>
                <a:lnTo>
                  <a:pt x="130" y="420"/>
                </a:lnTo>
                <a:lnTo>
                  <a:pt x="131" y="420"/>
                </a:lnTo>
                <a:lnTo>
                  <a:pt x="130" y="421"/>
                </a:lnTo>
                <a:lnTo>
                  <a:pt x="130" y="430"/>
                </a:lnTo>
                <a:lnTo>
                  <a:pt x="129" y="431"/>
                </a:lnTo>
                <a:lnTo>
                  <a:pt x="129" y="436"/>
                </a:lnTo>
                <a:lnTo>
                  <a:pt x="128" y="439"/>
                </a:lnTo>
                <a:lnTo>
                  <a:pt x="129" y="441"/>
                </a:lnTo>
                <a:lnTo>
                  <a:pt x="129" y="443"/>
                </a:lnTo>
                <a:lnTo>
                  <a:pt x="127" y="448"/>
                </a:lnTo>
                <a:lnTo>
                  <a:pt x="127" y="449"/>
                </a:lnTo>
                <a:lnTo>
                  <a:pt x="128" y="450"/>
                </a:lnTo>
                <a:lnTo>
                  <a:pt x="129" y="450"/>
                </a:lnTo>
                <a:lnTo>
                  <a:pt x="129" y="451"/>
                </a:lnTo>
                <a:lnTo>
                  <a:pt x="128" y="451"/>
                </a:lnTo>
                <a:lnTo>
                  <a:pt x="125" y="454"/>
                </a:lnTo>
                <a:lnTo>
                  <a:pt x="125" y="456"/>
                </a:lnTo>
                <a:lnTo>
                  <a:pt x="127" y="457"/>
                </a:lnTo>
                <a:lnTo>
                  <a:pt x="125" y="458"/>
                </a:lnTo>
                <a:lnTo>
                  <a:pt x="125" y="460"/>
                </a:lnTo>
                <a:lnTo>
                  <a:pt x="124" y="460"/>
                </a:lnTo>
                <a:lnTo>
                  <a:pt x="123" y="461"/>
                </a:lnTo>
                <a:lnTo>
                  <a:pt x="123" y="460"/>
                </a:lnTo>
                <a:lnTo>
                  <a:pt x="119" y="460"/>
                </a:lnTo>
                <a:lnTo>
                  <a:pt x="119" y="458"/>
                </a:lnTo>
                <a:lnTo>
                  <a:pt x="118" y="457"/>
                </a:lnTo>
                <a:lnTo>
                  <a:pt x="117" y="457"/>
                </a:lnTo>
                <a:lnTo>
                  <a:pt x="116" y="456"/>
                </a:lnTo>
                <a:lnTo>
                  <a:pt x="115" y="456"/>
                </a:lnTo>
                <a:lnTo>
                  <a:pt x="115" y="455"/>
                </a:lnTo>
                <a:lnTo>
                  <a:pt x="110" y="455"/>
                </a:lnTo>
                <a:lnTo>
                  <a:pt x="109" y="456"/>
                </a:lnTo>
                <a:lnTo>
                  <a:pt x="109" y="457"/>
                </a:lnTo>
                <a:lnTo>
                  <a:pt x="108" y="456"/>
                </a:lnTo>
                <a:lnTo>
                  <a:pt x="106" y="456"/>
                </a:lnTo>
                <a:lnTo>
                  <a:pt x="105" y="454"/>
                </a:lnTo>
                <a:lnTo>
                  <a:pt x="104" y="454"/>
                </a:lnTo>
                <a:lnTo>
                  <a:pt x="104" y="452"/>
                </a:lnTo>
                <a:lnTo>
                  <a:pt x="103" y="452"/>
                </a:lnTo>
                <a:lnTo>
                  <a:pt x="103" y="455"/>
                </a:lnTo>
                <a:lnTo>
                  <a:pt x="105" y="455"/>
                </a:lnTo>
                <a:lnTo>
                  <a:pt x="103" y="457"/>
                </a:lnTo>
                <a:lnTo>
                  <a:pt x="103" y="463"/>
                </a:lnTo>
                <a:lnTo>
                  <a:pt x="104" y="463"/>
                </a:lnTo>
                <a:lnTo>
                  <a:pt x="104" y="464"/>
                </a:lnTo>
                <a:lnTo>
                  <a:pt x="103" y="466"/>
                </a:lnTo>
                <a:lnTo>
                  <a:pt x="103" y="468"/>
                </a:lnTo>
                <a:lnTo>
                  <a:pt x="102" y="468"/>
                </a:lnTo>
                <a:lnTo>
                  <a:pt x="97" y="473"/>
                </a:lnTo>
                <a:lnTo>
                  <a:pt x="96" y="473"/>
                </a:lnTo>
                <a:lnTo>
                  <a:pt x="96" y="474"/>
                </a:lnTo>
                <a:lnTo>
                  <a:pt x="94" y="474"/>
                </a:lnTo>
                <a:lnTo>
                  <a:pt x="94" y="473"/>
                </a:lnTo>
                <a:lnTo>
                  <a:pt x="93" y="472"/>
                </a:lnTo>
                <a:lnTo>
                  <a:pt x="92" y="472"/>
                </a:lnTo>
                <a:lnTo>
                  <a:pt x="91" y="470"/>
                </a:lnTo>
                <a:lnTo>
                  <a:pt x="90" y="470"/>
                </a:lnTo>
                <a:lnTo>
                  <a:pt x="88" y="472"/>
                </a:lnTo>
                <a:lnTo>
                  <a:pt x="87" y="472"/>
                </a:lnTo>
                <a:lnTo>
                  <a:pt x="87" y="474"/>
                </a:lnTo>
                <a:lnTo>
                  <a:pt x="86" y="474"/>
                </a:lnTo>
                <a:lnTo>
                  <a:pt x="86" y="473"/>
                </a:lnTo>
                <a:lnTo>
                  <a:pt x="85" y="473"/>
                </a:lnTo>
                <a:lnTo>
                  <a:pt x="85" y="469"/>
                </a:lnTo>
                <a:lnTo>
                  <a:pt x="84" y="469"/>
                </a:lnTo>
                <a:lnTo>
                  <a:pt x="84" y="467"/>
                </a:lnTo>
                <a:lnTo>
                  <a:pt x="83" y="464"/>
                </a:lnTo>
                <a:lnTo>
                  <a:pt x="81" y="463"/>
                </a:lnTo>
                <a:lnTo>
                  <a:pt x="81" y="462"/>
                </a:lnTo>
                <a:lnTo>
                  <a:pt x="80" y="462"/>
                </a:lnTo>
                <a:lnTo>
                  <a:pt x="79" y="461"/>
                </a:lnTo>
                <a:lnTo>
                  <a:pt x="79" y="460"/>
                </a:lnTo>
                <a:lnTo>
                  <a:pt x="78" y="461"/>
                </a:lnTo>
                <a:lnTo>
                  <a:pt x="78" y="457"/>
                </a:lnTo>
                <a:lnTo>
                  <a:pt x="77" y="457"/>
                </a:lnTo>
                <a:lnTo>
                  <a:pt x="77" y="456"/>
                </a:lnTo>
                <a:lnTo>
                  <a:pt x="75" y="456"/>
                </a:lnTo>
                <a:lnTo>
                  <a:pt x="75" y="454"/>
                </a:lnTo>
                <a:lnTo>
                  <a:pt x="78" y="451"/>
                </a:lnTo>
                <a:lnTo>
                  <a:pt x="78" y="450"/>
                </a:lnTo>
                <a:lnTo>
                  <a:pt x="75" y="448"/>
                </a:lnTo>
                <a:lnTo>
                  <a:pt x="75" y="445"/>
                </a:lnTo>
                <a:lnTo>
                  <a:pt x="77" y="445"/>
                </a:lnTo>
                <a:lnTo>
                  <a:pt x="77" y="443"/>
                </a:lnTo>
                <a:lnTo>
                  <a:pt x="75" y="442"/>
                </a:lnTo>
                <a:lnTo>
                  <a:pt x="78" y="439"/>
                </a:lnTo>
                <a:lnTo>
                  <a:pt x="78" y="438"/>
                </a:lnTo>
                <a:lnTo>
                  <a:pt x="79" y="437"/>
                </a:lnTo>
                <a:lnTo>
                  <a:pt x="79" y="431"/>
                </a:lnTo>
                <a:lnTo>
                  <a:pt x="78" y="429"/>
                </a:lnTo>
                <a:lnTo>
                  <a:pt x="78" y="425"/>
                </a:lnTo>
                <a:lnTo>
                  <a:pt x="79" y="425"/>
                </a:lnTo>
                <a:lnTo>
                  <a:pt x="79" y="426"/>
                </a:lnTo>
                <a:lnTo>
                  <a:pt x="81" y="429"/>
                </a:lnTo>
                <a:lnTo>
                  <a:pt x="81" y="426"/>
                </a:lnTo>
                <a:lnTo>
                  <a:pt x="83" y="425"/>
                </a:lnTo>
                <a:lnTo>
                  <a:pt x="81" y="425"/>
                </a:lnTo>
                <a:lnTo>
                  <a:pt x="83" y="424"/>
                </a:lnTo>
                <a:lnTo>
                  <a:pt x="83" y="419"/>
                </a:lnTo>
                <a:lnTo>
                  <a:pt x="80" y="417"/>
                </a:lnTo>
                <a:lnTo>
                  <a:pt x="79" y="417"/>
                </a:lnTo>
                <a:lnTo>
                  <a:pt x="78" y="418"/>
                </a:lnTo>
                <a:lnTo>
                  <a:pt x="79" y="418"/>
                </a:lnTo>
                <a:lnTo>
                  <a:pt x="78" y="419"/>
                </a:lnTo>
                <a:lnTo>
                  <a:pt x="77" y="418"/>
                </a:lnTo>
                <a:lnTo>
                  <a:pt x="77" y="411"/>
                </a:lnTo>
                <a:lnTo>
                  <a:pt x="75" y="411"/>
                </a:lnTo>
                <a:lnTo>
                  <a:pt x="75" y="409"/>
                </a:lnTo>
                <a:lnTo>
                  <a:pt x="79" y="409"/>
                </a:lnTo>
                <a:lnTo>
                  <a:pt x="80" y="408"/>
                </a:lnTo>
                <a:lnTo>
                  <a:pt x="80" y="406"/>
                </a:lnTo>
                <a:lnTo>
                  <a:pt x="79" y="405"/>
                </a:lnTo>
                <a:lnTo>
                  <a:pt x="79" y="400"/>
                </a:lnTo>
                <a:lnTo>
                  <a:pt x="80" y="398"/>
                </a:lnTo>
                <a:lnTo>
                  <a:pt x="80" y="396"/>
                </a:lnTo>
                <a:lnTo>
                  <a:pt x="77" y="393"/>
                </a:lnTo>
                <a:lnTo>
                  <a:pt x="77" y="394"/>
                </a:lnTo>
                <a:lnTo>
                  <a:pt x="75" y="393"/>
                </a:lnTo>
                <a:lnTo>
                  <a:pt x="75" y="392"/>
                </a:lnTo>
                <a:lnTo>
                  <a:pt x="77" y="389"/>
                </a:lnTo>
                <a:lnTo>
                  <a:pt x="75" y="388"/>
                </a:lnTo>
                <a:lnTo>
                  <a:pt x="75" y="386"/>
                </a:lnTo>
                <a:lnTo>
                  <a:pt x="74" y="384"/>
                </a:lnTo>
                <a:lnTo>
                  <a:pt x="73" y="384"/>
                </a:lnTo>
                <a:lnTo>
                  <a:pt x="73" y="381"/>
                </a:lnTo>
                <a:lnTo>
                  <a:pt x="72" y="380"/>
                </a:lnTo>
                <a:lnTo>
                  <a:pt x="71" y="380"/>
                </a:lnTo>
                <a:lnTo>
                  <a:pt x="68" y="381"/>
                </a:lnTo>
                <a:lnTo>
                  <a:pt x="68" y="378"/>
                </a:lnTo>
                <a:lnTo>
                  <a:pt x="67" y="378"/>
                </a:lnTo>
                <a:lnTo>
                  <a:pt x="67" y="380"/>
                </a:lnTo>
                <a:lnTo>
                  <a:pt x="66" y="381"/>
                </a:lnTo>
                <a:lnTo>
                  <a:pt x="66" y="377"/>
                </a:lnTo>
                <a:lnTo>
                  <a:pt x="67" y="377"/>
                </a:lnTo>
                <a:lnTo>
                  <a:pt x="67" y="375"/>
                </a:lnTo>
                <a:lnTo>
                  <a:pt x="68" y="375"/>
                </a:lnTo>
                <a:lnTo>
                  <a:pt x="68" y="374"/>
                </a:lnTo>
                <a:lnTo>
                  <a:pt x="67" y="374"/>
                </a:lnTo>
                <a:lnTo>
                  <a:pt x="66" y="372"/>
                </a:lnTo>
                <a:lnTo>
                  <a:pt x="65" y="372"/>
                </a:lnTo>
                <a:lnTo>
                  <a:pt x="68" y="364"/>
                </a:lnTo>
                <a:lnTo>
                  <a:pt x="68" y="362"/>
                </a:lnTo>
                <a:lnTo>
                  <a:pt x="67" y="362"/>
                </a:lnTo>
                <a:lnTo>
                  <a:pt x="67" y="359"/>
                </a:lnTo>
                <a:lnTo>
                  <a:pt x="68" y="358"/>
                </a:lnTo>
                <a:lnTo>
                  <a:pt x="68" y="359"/>
                </a:lnTo>
                <a:lnTo>
                  <a:pt x="69" y="359"/>
                </a:lnTo>
                <a:lnTo>
                  <a:pt x="69" y="362"/>
                </a:lnTo>
                <a:lnTo>
                  <a:pt x="71" y="364"/>
                </a:lnTo>
                <a:lnTo>
                  <a:pt x="73" y="365"/>
                </a:lnTo>
                <a:lnTo>
                  <a:pt x="78" y="366"/>
                </a:lnTo>
                <a:lnTo>
                  <a:pt x="81" y="366"/>
                </a:lnTo>
                <a:lnTo>
                  <a:pt x="85" y="365"/>
                </a:lnTo>
                <a:lnTo>
                  <a:pt x="86" y="364"/>
                </a:lnTo>
                <a:lnTo>
                  <a:pt x="86" y="363"/>
                </a:lnTo>
                <a:lnTo>
                  <a:pt x="90" y="362"/>
                </a:lnTo>
                <a:lnTo>
                  <a:pt x="92" y="362"/>
                </a:lnTo>
                <a:lnTo>
                  <a:pt x="94" y="361"/>
                </a:lnTo>
                <a:lnTo>
                  <a:pt x="94" y="359"/>
                </a:lnTo>
                <a:lnTo>
                  <a:pt x="97" y="357"/>
                </a:lnTo>
                <a:lnTo>
                  <a:pt x="97" y="356"/>
                </a:lnTo>
                <a:lnTo>
                  <a:pt x="98" y="356"/>
                </a:lnTo>
                <a:lnTo>
                  <a:pt x="98" y="355"/>
                </a:lnTo>
                <a:lnTo>
                  <a:pt x="99" y="355"/>
                </a:lnTo>
                <a:lnTo>
                  <a:pt x="99" y="353"/>
                </a:lnTo>
                <a:lnTo>
                  <a:pt x="100" y="353"/>
                </a:lnTo>
                <a:lnTo>
                  <a:pt x="100" y="352"/>
                </a:lnTo>
                <a:lnTo>
                  <a:pt x="102" y="351"/>
                </a:lnTo>
                <a:lnTo>
                  <a:pt x="102" y="350"/>
                </a:lnTo>
                <a:lnTo>
                  <a:pt x="106" y="350"/>
                </a:lnTo>
                <a:lnTo>
                  <a:pt x="109" y="347"/>
                </a:lnTo>
                <a:lnTo>
                  <a:pt x="109" y="344"/>
                </a:lnTo>
                <a:lnTo>
                  <a:pt x="110" y="343"/>
                </a:lnTo>
                <a:close/>
                <a:moveTo>
                  <a:pt x="183" y="282"/>
                </a:moveTo>
                <a:lnTo>
                  <a:pt x="184" y="282"/>
                </a:lnTo>
                <a:lnTo>
                  <a:pt x="183" y="283"/>
                </a:lnTo>
                <a:lnTo>
                  <a:pt x="183" y="282"/>
                </a:lnTo>
                <a:close/>
                <a:moveTo>
                  <a:pt x="156" y="280"/>
                </a:moveTo>
                <a:lnTo>
                  <a:pt x="158" y="282"/>
                </a:lnTo>
                <a:lnTo>
                  <a:pt x="158" y="283"/>
                </a:lnTo>
                <a:lnTo>
                  <a:pt x="156" y="282"/>
                </a:lnTo>
                <a:lnTo>
                  <a:pt x="156" y="280"/>
                </a:lnTo>
                <a:close/>
                <a:moveTo>
                  <a:pt x="181" y="278"/>
                </a:moveTo>
                <a:lnTo>
                  <a:pt x="181" y="279"/>
                </a:lnTo>
                <a:lnTo>
                  <a:pt x="183" y="279"/>
                </a:lnTo>
                <a:lnTo>
                  <a:pt x="183" y="282"/>
                </a:lnTo>
                <a:lnTo>
                  <a:pt x="180" y="280"/>
                </a:lnTo>
                <a:lnTo>
                  <a:pt x="180" y="279"/>
                </a:lnTo>
                <a:lnTo>
                  <a:pt x="181" y="278"/>
                </a:lnTo>
                <a:close/>
                <a:moveTo>
                  <a:pt x="147" y="266"/>
                </a:moveTo>
                <a:lnTo>
                  <a:pt x="148" y="266"/>
                </a:lnTo>
                <a:lnTo>
                  <a:pt x="148" y="267"/>
                </a:lnTo>
                <a:lnTo>
                  <a:pt x="147" y="269"/>
                </a:lnTo>
                <a:lnTo>
                  <a:pt x="147" y="266"/>
                </a:lnTo>
                <a:close/>
                <a:moveTo>
                  <a:pt x="161" y="251"/>
                </a:moveTo>
                <a:lnTo>
                  <a:pt x="162" y="252"/>
                </a:lnTo>
                <a:lnTo>
                  <a:pt x="162" y="255"/>
                </a:lnTo>
                <a:lnTo>
                  <a:pt x="160" y="258"/>
                </a:lnTo>
                <a:lnTo>
                  <a:pt x="161" y="258"/>
                </a:lnTo>
                <a:lnTo>
                  <a:pt x="162" y="259"/>
                </a:lnTo>
                <a:lnTo>
                  <a:pt x="161" y="260"/>
                </a:lnTo>
                <a:lnTo>
                  <a:pt x="160" y="260"/>
                </a:lnTo>
                <a:lnTo>
                  <a:pt x="160" y="259"/>
                </a:lnTo>
                <a:lnTo>
                  <a:pt x="158" y="257"/>
                </a:lnTo>
                <a:lnTo>
                  <a:pt x="158" y="258"/>
                </a:lnTo>
                <a:lnTo>
                  <a:pt x="154" y="258"/>
                </a:lnTo>
                <a:lnTo>
                  <a:pt x="154" y="259"/>
                </a:lnTo>
                <a:lnTo>
                  <a:pt x="150" y="259"/>
                </a:lnTo>
                <a:lnTo>
                  <a:pt x="149" y="258"/>
                </a:lnTo>
                <a:lnTo>
                  <a:pt x="148" y="258"/>
                </a:lnTo>
                <a:lnTo>
                  <a:pt x="148" y="255"/>
                </a:lnTo>
                <a:lnTo>
                  <a:pt x="149" y="254"/>
                </a:lnTo>
                <a:lnTo>
                  <a:pt x="153" y="254"/>
                </a:lnTo>
                <a:lnTo>
                  <a:pt x="153" y="255"/>
                </a:lnTo>
                <a:lnTo>
                  <a:pt x="155" y="255"/>
                </a:lnTo>
                <a:lnTo>
                  <a:pt x="155" y="253"/>
                </a:lnTo>
                <a:lnTo>
                  <a:pt x="156" y="254"/>
                </a:lnTo>
                <a:lnTo>
                  <a:pt x="158" y="253"/>
                </a:lnTo>
                <a:lnTo>
                  <a:pt x="158" y="254"/>
                </a:lnTo>
                <a:lnTo>
                  <a:pt x="159" y="254"/>
                </a:lnTo>
                <a:lnTo>
                  <a:pt x="160" y="253"/>
                </a:lnTo>
                <a:lnTo>
                  <a:pt x="160" y="252"/>
                </a:lnTo>
                <a:lnTo>
                  <a:pt x="161" y="251"/>
                </a:lnTo>
                <a:close/>
                <a:moveTo>
                  <a:pt x="136" y="240"/>
                </a:moveTo>
                <a:lnTo>
                  <a:pt x="137" y="240"/>
                </a:lnTo>
                <a:lnTo>
                  <a:pt x="137" y="242"/>
                </a:lnTo>
                <a:lnTo>
                  <a:pt x="136" y="243"/>
                </a:lnTo>
                <a:lnTo>
                  <a:pt x="135" y="243"/>
                </a:lnTo>
                <a:lnTo>
                  <a:pt x="135" y="242"/>
                </a:lnTo>
                <a:lnTo>
                  <a:pt x="136" y="240"/>
                </a:lnTo>
                <a:close/>
                <a:moveTo>
                  <a:pt x="248" y="186"/>
                </a:moveTo>
                <a:lnTo>
                  <a:pt x="247" y="187"/>
                </a:lnTo>
                <a:lnTo>
                  <a:pt x="246" y="187"/>
                </a:lnTo>
                <a:lnTo>
                  <a:pt x="245" y="189"/>
                </a:lnTo>
                <a:lnTo>
                  <a:pt x="245" y="191"/>
                </a:lnTo>
                <a:lnTo>
                  <a:pt x="246" y="192"/>
                </a:lnTo>
                <a:lnTo>
                  <a:pt x="248" y="192"/>
                </a:lnTo>
                <a:lnTo>
                  <a:pt x="248" y="190"/>
                </a:lnTo>
                <a:lnTo>
                  <a:pt x="249" y="189"/>
                </a:lnTo>
                <a:lnTo>
                  <a:pt x="249" y="187"/>
                </a:lnTo>
                <a:lnTo>
                  <a:pt x="248" y="186"/>
                </a:lnTo>
                <a:close/>
                <a:moveTo>
                  <a:pt x="136" y="181"/>
                </a:moveTo>
                <a:lnTo>
                  <a:pt x="137" y="181"/>
                </a:lnTo>
                <a:lnTo>
                  <a:pt x="137" y="183"/>
                </a:lnTo>
                <a:lnTo>
                  <a:pt x="136" y="183"/>
                </a:lnTo>
                <a:lnTo>
                  <a:pt x="136" y="181"/>
                </a:lnTo>
                <a:close/>
                <a:moveTo>
                  <a:pt x="235" y="107"/>
                </a:moveTo>
                <a:lnTo>
                  <a:pt x="235" y="111"/>
                </a:lnTo>
                <a:lnTo>
                  <a:pt x="236" y="111"/>
                </a:lnTo>
                <a:lnTo>
                  <a:pt x="236" y="108"/>
                </a:lnTo>
                <a:lnTo>
                  <a:pt x="235" y="107"/>
                </a:lnTo>
                <a:close/>
                <a:moveTo>
                  <a:pt x="245" y="100"/>
                </a:moveTo>
                <a:lnTo>
                  <a:pt x="246" y="100"/>
                </a:lnTo>
                <a:lnTo>
                  <a:pt x="247" y="101"/>
                </a:lnTo>
                <a:lnTo>
                  <a:pt x="245" y="101"/>
                </a:lnTo>
                <a:lnTo>
                  <a:pt x="242" y="106"/>
                </a:lnTo>
                <a:lnTo>
                  <a:pt x="242" y="104"/>
                </a:lnTo>
                <a:lnTo>
                  <a:pt x="243" y="103"/>
                </a:lnTo>
                <a:lnTo>
                  <a:pt x="243" y="101"/>
                </a:lnTo>
                <a:lnTo>
                  <a:pt x="245" y="100"/>
                </a:lnTo>
                <a:close/>
                <a:moveTo>
                  <a:pt x="242" y="99"/>
                </a:moveTo>
                <a:lnTo>
                  <a:pt x="243" y="99"/>
                </a:lnTo>
                <a:lnTo>
                  <a:pt x="243" y="100"/>
                </a:lnTo>
                <a:lnTo>
                  <a:pt x="242" y="101"/>
                </a:lnTo>
                <a:lnTo>
                  <a:pt x="242" y="100"/>
                </a:lnTo>
                <a:lnTo>
                  <a:pt x="241" y="100"/>
                </a:lnTo>
                <a:lnTo>
                  <a:pt x="242" y="99"/>
                </a:lnTo>
                <a:close/>
                <a:moveTo>
                  <a:pt x="233" y="0"/>
                </a:moveTo>
                <a:lnTo>
                  <a:pt x="236" y="0"/>
                </a:lnTo>
                <a:lnTo>
                  <a:pt x="236" y="3"/>
                </a:lnTo>
                <a:lnTo>
                  <a:pt x="234" y="5"/>
                </a:lnTo>
                <a:lnTo>
                  <a:pt x="233" y="6"/>
                </a:lnTo>
                <a:lnTo>
                  <a:pt x="234" y="7"/>
                </a:lnTo>
                <a:lnTo>
                  <a:pt x="234" y="11"/>
                </a:lnTo>
                <a:lnTo>
                  <a:pt x="235" y="11"/>
                </a:lnTo>
                <a:lnTo>
                  <a:pt x="235" y="12"/>
                </a:lnTo>
                <a:lnTo>
                  <a:pt x="236" y="12"/>
                </a:lnTo>
                <a:lnTo>
                  <a:pt x="236" y="13"/>
                </a:lnTo>
                <a:lnTo>
                  <a:pt x="240" y="13"/>
                </a:lnTo>
                <a:lnTo>
                  <a:pt x="240" y="19"/>
                </a:lnTo>
                <a:lnTo>
                  <a:pt x="242" y="19"/>
                </a:lnTo>
                <a:lnTo>
                  <a:pt x="242" y="20"/>
                </a:lnTo>
                <a:lnTo>
                  <a:pt x="243" y="21"/>
                </a:lnTo>
                <a:lnTo>
                  <a:pt x="243" y="22"/>
                </a:lnTo>
                <a:lnTo>
                  <a:pt x="246" y="24"/>
                </a:lnTo>
                <a:lnTo>
                  <a:pt x="247" y="25"/>
                </a:lnTo>
                <a:lnTo>
                  <a:pt x="249" y="25"/>
                </a:lnTo>
                <a:lnTo>
                  <a:pt x="251" y="26"/>
                </a:lnTo>
                <a:lnTo>
                  <a:pt x="257" y="26"/>
                </a:lnTo>
                <a:lnTo>
                  <a:pt x="258" y="27"/>
                </a:lnTo>
                <a:lnTo>
                  <a:pt x="261" y="27"/>
                </a:lnTo>
                <a:lnTo>
                  <a:pt x="264" y="30"/>
                </a:lnTo>
                <a:lnTo>
                  <a:pt x="273" y="30"/>
                </a:lnTo>
                <a:lnTo>
                  <a:pt x="277" y="31"/>
                </a:lnTo>
                <a:lnTo>
                  <a:pt x="279" y="32"/>
                </a:lnTo>
                <a:lnTo>
                  <a:pt x="280" y="32"/>
                </a:lnTo>
                <a:lnTo>
                  <a:pt x="282" y="33"/>
                </a:lnTo>
                <a:lnTo>
                  <a:pt x="286" y="32"/>
                </a:lnTo>
                <a:lnTo>
                  <a:pt x="291" y="32"/>
                </a:lnTo>
                <a:lnTo>
                  <a:pt x="291" y="33"/>
                </a:lnTo>
                <a:lnTo>
                  <a:pt x="293" y="33"/>
                </a:lnTo>
                <a:lnTo>
                  <a:pt x="298" y="34"/>
                </a:lnTo>
                <a:lnTo>
                  <a:pt x="299" y="34"/>
                </a:lnTo>
                <a:lnTo>
                  <a:pt x="299" y="39"/>
                </a:lnTo>
                <a:lnTo>
                  <a:pt x="296" y="39"/>
                </a:lnTo>
                <a:lnTo>
                  <a:pt x="291" y="44"/>
                </a:lnTo>
                <a:lnTo>
                  <a:pt x="290" y="44"/>
                </a:lnTo>
                <a:lnTo>
                  <a:pt x="288" y="46"/>
                </a:lnTo>
                <a:lnTo>
                  <a:pt x="288" y="48"/>
                </a:lnTo>
                <a:lnTo>
                  <a:pt x="286" y="49"/>
                </a:lnTo>
                <a:lnTo>
                  <a:pt x="286" y="51"/>
                </a:lnTo>
                <a:lnTo>
                  <a:pt x="288" y="52"/>
                </a:lnTo>
                <a:lnTo>
                  <a:pt x="288" y="54"/>
                </a:lnTo>
                <a:lnTo>
                  <a:pt x="289" y="54"/>
                </a:lnTo>
                <a:lnTo>
                  <a:pt x="289" y="52"/>
                </a:lnTo>
                <a:lnTo>
                  <a:pt x="290" y="52"/>
                </a:lnTo>
                <a:lnTo>
                  <a:pt x="291" y="54"/>
                </a:lnTo>
                <a:lnTo>
                  <a:pt x="292" y="54"/>
                </a:lnTo>
                <a:lnTo>
                  <a:pt x="293" y="55"/>
                </a:lnTo>
                <a:lnTo>
                  <a:pt x="297" y="55"/>
                </a:lnTo>
                <a:lnTo>
                  <a:pt x="297" y="56"/>
                </a:lnTo>
                <a:lnTo>
                  <a:pt x="296" y="58"/>
                </a:lnTo>
                <a:lnTo>
                  <a:pt x="291" y="63"/>
                </a:lnTo>
                <a:lnTo>
                  <a:pt x="291" y="65"/>
                </a:lnTo>
                <a:lnTo>
                  <a:pt x="290" y="65"/>
                </a:lnTo>
                <a:lnTo>
                  <a:pt x="290" y="67"/>
                </a:lnTo>
                <a:lnTo>
                  <a:pt x="291" y="67"/>
                </a:lnTo>
                <a:lnTo>
                  <a:pt x="292" y="68"/>
                </a:lnTo>
                <a:lnTo>
                  <a:pt x="295" y="68"/>
                </a:lnTo>
                <a:lnTo>
                  <a:pt x="296" y="67"/>
                </a:lnTo>
                <a:lnTo>
                  <a:pt x="297" y="68"/>
                </a:lnTo>
                <a:lnTo>
                  <a:pt x="296" y="69"/>
                </a:lnTo>
                <a:lnTo>
                  <a:pt x="296" y="71"/>
                </a:lnTo>
                <a:lnTo>
                  <a:pt x="295" y="75"/>
                </a:lnTo>
                <a:lnTo>
                  <a:pt x="295" y="77"/>
                </a:lnTo>
                <a:lnTo>
                  <a:pt x="296" y="79"/>
                </a:lnTo>
                <a:lnTo>
                  <a:pt x="298" y="79"/>
                </a:lnTo>
                <a:lnTo>
                  <a:pt x="301" y="81"/>
                </a:lnTo>
                <a:lnTo>
                  <a:pt x="303" y="82"/>
                </a:lnTo>
                <a:lnTo>
                  <a:pt x="307" y="87"/>
                </a:lnTo>
                <a:lnTo>
                  <a:pt x="307" y="88"/>
                </a:lnTo>
                <a:lnTo>
                  <a:pt x="308" y="88"/>
                </a:lnTo>
                <a:lnTo>
                  <a:pt x="308" y="89"/>
                </a:lnTo>
                <a:lnTo>
                  <a:pt x="307" y="91"/>
                </a:lnTo>
                <a:lnTo>
                  <a:pt x="307" y="92"/>
                </a:lnTo>
                <a:lnTo>
                  <a:pt x="304" y="92"/>
                </a:lnTo>
                <a:lnTo>
                  <a:pt x="303" y="91"/>
                </a:lnTo>
                <a:lnTo>
                  <a:pt x="301" y="91"/>
                </a:lnTo>
                <a:lnTo>
                  <a:pt x="301" y="89"/>
                </a:lnTo>
                <a:lnTo>
                  <a:pt x="303" y="89"/>
                </a:lnTo>
                <a:lnTo>
                  <a:pt x="303" y="88"/>
                </a:lnTo>
                <a:lnTo>
                  <a:pt x="302" y="87"/>
                </a:lnTo>
                <a:lnTo>
                  <a:pt x="302" y="85"/>
                </a:lnTo>
                <a:lnTo>
                  <a:pt x="301" y="85"/>
                </a:lnTo>
                <a:lnTo>
                  <a:pt x="298" y="81"/>
                </a:lnTo>
                <a:lnTo>
                  <a:pt x="297" y="80"/>
                </a:lnTo>
                <a:lnTo>
                  <a:pt x="295" y="79"/>
                </a:lnTo>
                <a:lnTo>
                  <a:pt x="293" y="79"/>
                </a:lnTo>
                <a:lnTo>
                  <a:pt x="293" y="80"/>
                </a:lnTo>
                <a:lnTo>
                  <a:pt x="292" y="81"/>
                </a:lnTo>
                <a:lnTo>
                  <a:pt x="292" y="82"/>
                </a:lnTo>
                <a:lnTo>
                  <a:pt x="293" y="82"/>
                </a:lnTo>
                <a:lnTo>
                  <a:pt x="292" y="83"/>
                </a:lnTo>
                <a:lnTo>
                  <a:pt x="291" y="83"/>
                </a:lnTo>
                <a:lnTo>
                  <a:pt x="289" y="86"/>
                </a:lnTo>
                <a:lnTo>
                  <a:pt x="286" y="86"/>
                </a:lnTo>
                <a:lnTo>
                  <a:pt x="288" y="85"/>
                </a:lnTo>
                <a:lnTo>
                  <a:pt x="289" y="85"/>
                </a:lnTo>
                <a:lnTo>
                  <a:pt x="289" y="83"/>
                </a:lnTo>
                <a:lnTo>
                  <a:pt x="286" y="82"/>
                </a:lnTo>
                <a:lnTo>
                  <a:pt x="285" y="82"/>
                </a:lnTo>
                <a:lnTo>
                  <a:pt x="282" y="81"/>
                </a:lnTo>
                <a:lnTo>
                  <a:pt x="280" y="81"/>
                </a:lnTo>
                <a:lnTo>
                  <a:pt x="280" y="80"/>
                </a:lnTo>
                <a:lnTo>
                  <a:pt x="278" y="80"/>
                </a:lnTo>
                <a:lnTo>
                  <a:pt x="277" y="81"/>
                </a:lnTo>
                <a:lnTo>
                  <a:pt x="276" y="80"/>
                </a:lnTo>
                <a:lnTo>
                  <a:pt x="274" y="81"/>
                </a:lnTo>
                <a:lnTo>
                  <a:pt x="276" y="81"/>
                </a:lnTo>
                <a:lnTo>
                  <a:pt x="276" y="82"/>
                </a:lnTo>
                <a:lnTo>
                  <a:pt x="274" y="82"/>
                </a:lnTo>
                <a:lnTo>
                  <a:pt x="273" y="83"/>
                </a:lnTo>
                <a:lnTo>
                  <a:pt x="273" y="85"/>
                </a:lnTo>
                <a:lnTo>
                  <a:pt x="277" y="85"/>
                </a:lnTo>
                <a:lnTo>
                  <a:pt x="274" y="86"/>
                </a:lnTo>
                <a:lnTo>
                  <a:pt x="274" y="88"/>
                </a:lnTo>
                <a:lnTo>
                  <a:pt x="268" y="88"/>
                </a:lnTo>
                <a:lnTo>
                  <a:pt x="261" y="93"/>
                </a:lnTo>
                <a:lnTo>
                  <a:pt x="254" y="97"/>
                </a:lnTo>
                <a:lnTo>
                  <a:pt x="249" y="98"/>
                </a:lnTo>
                <a:lnTo>
                  <a:pt x="249" y="99"/>
                </a:lnTo>
                <a:lnTo>
                  <a:pt x="247" y="99"/>
                </a:lnTo>
                <a:lnTo>
                  <a:pt x="246" y="100"/>
                </a:lnTo>
                <a:lnTo>
                  <a:pt x="246" y="99"/>
                </a:lnTo>
                <a:lnTo>
                  <a:pt x="247" y="98"/>
                </a:lnTo>
                <a:lnTo>
                  <a:pt x="247" y="97"/>
                </a:lnTo>
                <a:lnTo>
                  <a:pt x="251" y="97"/>
                </a:lnTo>
                <a:lnTo>
                  <a:pt x="251" y="95"/>
                </a:lnTo>
                <a:lnTo>
                  <a:pt x="252" y="95"/>
                </a:lnTo>
                <a:lnTo>
                  <a:pt x="252" y="94"/>
                </a:lnTo>
                <a:lnTo>
                  <a:pt x="253" y="94"/>
                </a:lnTo>
                <a:lnTo>
                  <a:pt x="253" y="93"/>
                </a:lnTo>
                <a:lnTo>
                  <a:pt x="252" y="93"/>
                </a:lnTo>
                <a:lnTo>
                  <a:pt x="252" y="94"/>
                </a:lnTo>
                <a:lnTo>
                  <a:pt x="251" y="94"/>
                </a:lnTo>
                <a:lnTo>
                  <a:pt x="251" y="93"/>
                </a:lnTo>
                <a:lnTo>
                  <a:pt x="249" y="93"/>
                </a:lnTo>
                <a:lnTo>
                  <a:pt x="249" y="92"/>
                </a:lnTo>
                <a:lnTo>
                  <a:pt x="247" y="94"/>
                </a:lnTo>
                <a:lnTo>
                  <a:pt x="247" y="95"/>
                </a:lnTo>
                <a:lnTo>
                  <a:pt x="246" y="95"/>
                </a:lnTo>
                <a:lnTo>
                  <a:pt x="245" y="94"/>
                </a:lnTo>
                <a:lnTo>
                  <a:pt x="245" y="95"/>
                </a:lnTo>
                <a:lnTo>
                  <a:pt x="246" y="97"/>
                </a:lnTo>
                <a:lnTo>
                  <a:pt x="243" y="97"/>
                </a:lnTo>
                <a:lnTo>
                  <a:pt x="241" y="98"/>
                </a:lnTo>
                <a:lnTo>
                  <a:pt x="239" y="100"/>
                </a:lnTo>
                <a:lnTo>
                  <a:pt x="239" y="105"/>
                </a:lnTo>
                <a:lnTo>
                  <a:pt x="237" y="105"/>
                </a:lnTo>
                <a:lnTo>
                  <a:pt x="237" y="114"/>
                </a:lnTo>
                <a:lnTo>
                  <a:pt x="239" y="114"/>
                </a:lnTo>
                <a:lnTo>
                  <a:pt x="240" y="113"/>
                </a:lnTo>
                <a:lnTo>
                  <a:pt x="241" y="113"/>
                </a:lnTo>
                <a:lnTo>
                  <a:pt x="241" y="116"/>
                </a:lnTo>
                <a:lnTo>
                  <a:pt x="242" y="116"/>
                </a:lnTo>
                <a:lnTo>
                  <a:pt x="242" y="120"/>
                </a:lnTo>
                <a:lnTo>
                  <a:pt x="241" y="120"/>
                </a:lnTo>
                <a:lnTo>
                  <a:pt x="241" y="122"/>
                </a:lnTo>
                <a:lnTo>
                  <a:pt x="242" y="122"/>
                </a:lnTo>
                <a:lnTo>
                  <a:pt x="245" y="124"/>
                </a:lnTo>
                <a:lnTo>
                  <a:pt x="243" y="124"/>
                </a:lnTo>
                <a:lnTo>
                  <a:pt x="243" y="125"/>
                </a:lnTo>
                <a:lnTo>
                  <a:pt x="245" y="125"/>
                </a:lnTo>
                <a:lnTo>
                  <a:pt x="245" y="124"/>
                </a:lnTo>
                <a:lnTo>
                  <a:pt x="246" y="124"/>
                </a:lnTo>
                <a:lnTo>
                  <a:pt x="246" y="125"/>
                </a:lnTo>
                <a:lnTo>
                  <a:pt x="247" y="125"/>
                </a:lnTo>
                <a:lnTo>
                  <a:pt x="248" y="126"/>
                </a:lnTo>
                <a:lnTo>
                  <a:pt x="249" y="126"/>
                </a:lnTo>
                <a:lnTo>
                  <a:pt x="251" y="128"/>
                </a:lnTo>
                <a:lnTo>
                  <a:pt x="251" y="130"/>
                </a:lnTo>
                <a:lnTo>
                  <a:pt x="249" y="131"/>
                </a:lnTo>
                <a:lnTo>
                  <a:pt x="249" y="135"/>
                </a:lnTo>
                <a:lnTo>
                  <a:pt x="247" y="137"/>
                </a:lnTo>
                <a:lnTo>
                  <a:pt x="247" y="136"/>
                </a:lnTo>
                <a:lnTo>
                  <a:pt x="246" y="135"/>
                </a:lnTo>
                <a:lnTo>
                  <a:pt x="247" y="134"/>
                </a:lnTo>
                <a:lnTo>
                  <a:pt x="247" y="132"/>
                </a:lnTo>
                <a:lnTo>
                  <a:pt x="246" y="132"/>
                </a:lnTo>
                <a:lnTo>
                  <a:pt x="246" y="134"/>
                </a:lnTo>
                <a:lnTo>
                  <a:pt x="245" y="135"/>
                </a:lnTo>
                <a:lnTo>
                  <a:pt x="246" y="135"/>
                </a:lnTo>
                <a:lnTo>
                  <a:pt x="246" y="136"/>
                </a:lnTo>
                <a:lnTo>
                  <a:pt x="245" y="136"/>
                </a:lnTo>
                <a:lnTo>
                  <a:pt x="245" y="137"/>
                </a:lnTo>
                <a:lnTo>
                  <a:pt x="246" y="137"/>
                </a:lnTo>
                <a:lnTo>
                  <a:pt x="246" y="138"/>
                </a:lnTo>
                <a:lnTo>
                  <a:pt x="243" y="138"/>
                </a:lnTo>
                <a:lnTo>
                  <a:pt x="243" y="137"/>
                </a:lnTo>
                <a:lnTo>
                  <a:pt x="242" y="136"/>
                </a:lnTo>
                <a:lnTo>
                  <a:pt x="241" y="136"/>
                </a:lnTo>
                <a:lnTo>
                  <a:pt x="240" y="137"/>
                </a:lnTo>
                <a:lnTo>
                  <a:pt x="239" y="141"/>
                </a:lnTo>
                <a:lnTo>
                  <a:pt x="239" y="147"/>
                </a:lnTo>
                <a:lnTo>
                  <a:pt x="240" y="148"/>
                </a:lnTo>
                <a:lnTo>
                  <a:pt x="240" y="156"/>
                </a:lnTo>
                <a:lnTo>
                  <a:pt x="241" y="162"/>
                </a:lnTo>
                <a:lnTo>
                  <a:pt x="242" y="165"/>
                </a:lnTo>
                <a:lnTo>
                  <a:pt x="242" y="167"/>
                </a:lnTo>
                <a:lnTo>
                  <a:pt x="243" y="168"/>
                </a:lnTo>
                <a:lnTo>
                  <a:pt x="243" y="171"/>
                </a:lnTo>
                <a:lnTo>
                  <a:pt x="245" y="173"/>
                </a:lnTo>
                <a:lnTo>
                  <a:pt x="247" y="175"/>
                </a:lnTo>
                <a:lnTo>
                  <a:pt x="248" y="178"/>
                </a:lnTo>
                <a:lnTo>
                  <a:pt x="249" y="179"/>
                </a:lnTo>
                <a:lnTo>
                  <a:pt x="252" y="180"/>
                </a:lnTo>
                <a:lnTo>
                  <a:pt x="253" y="180"/>
                </a:lnTo>
                <a:lnTo>
                  <a:pt x="255" y="184"/>
                </a:lnTo>
                <a:lnTo>
                  <a:pt x="258" y="186"/>
                </a:lnTo>
                <a:lnTo>
                  <a:pt x="260" y="187"/>
                </a:lnTo>
                <a:lnTo>
                  <a:pt x="262" y="187"/>
                </a:lnTo>
                <a:lnTo>
                  <a:pt x="262" y="189"/>
                </a:lnTo>
                <a:lnTo>
                  <a:pt x="267" y="191"/>
                </a:lnTo>
                <a:lnTo>
                  <a:pt x="268" y="192"/>
                </a:lnTo>
                <a:lnTo>
                  <a:pt x="282" y="203"/>
                </a:lnTo>
                <a:lnTo>
                  <a:pt x="286" y="206"/>
                </a:lnTo>
                <a:lnTo>
                  <a:pt x="288" y="206"/>
                </a:lnTo>
                <a:lnTo>
                  <a:pt x="289" y="208"/>
                </a:lnTo>
                <a:lnTo>
                  <a:pt x="291" y="208"/>
                </a:lnTo>
                <a:lnTo>
                  <a:pt x="292" y="206"/>
                </a:lnTo>
                <a:lnTo>
                  <a:pt x="292" y="208"/>
                </a:lnTo>
                <a:lnTo>
                  <a:pt x="293" y="208"/>
                </a:lnTo>
                <a:lnTo>
                  <a:pt x="293" y="209"/>
                </a:lnTo>
                <a:lnTo>
                  <a:pt x="297" y="212"/>
                </a:lnTo>
                <a:lnTo>
                  <a:pt x="296" y="212"/>
                </a:lnTo>
                <a:lnTo>
                  <a:pt x="303" y="228"/>
                </a:lnTo>
                <a:lnTo>
                  <a:pt x="303" y="232"/>
                </a:lnTo>
                <a:lnTo>
                  <a:pt x="304" y="233"/>
                </a:lnTo>
                <a:lnTo>
                  <a:pt x="304" y="234"/>
                </a:lnTo>
                <a:lnTo>
                  <a:pt x="307" y="239"/>
                </a:lnTo>
                <a:lnTo>
                  <a:pt x="307" y="243"/>
                </a:lnTo>
                <a:lnTo>
                  <a:pt x="309" y="249"/>
                </a:lnTo>
                <a:lnTo>
                  <a:pt x="310" y="255"/>
                </a:lnTo>
                <a:lnTo>
                  <a:pt x="311" y="259"/>
                </a:lnTo>
                <a:lnTo>
                  <a:pt x="313" y="261"/>
                </a:lnTo>
                <a:lnTo>
                  <a:pt x="315" y="265"/>
                </a:lnTo>
                <a:lnTo>
                  <a:pt x="315" y="266"/>
                </a:lnTo>
                <a:lnTo>
                  <a:pt x="316" y="266"/>
                </a:lnTo>
                <a:lnTo>
                  <a:pt x="322" y="275"/>
                </a:lnTo>
                <a:lnTo>
                  <a:pt x="324" y="277"/>
                </a:lnTo>
                <a:lnTo>
                  <a:pt x="328" y="278"/>
                </a:lnTo>
                <a:lnTo>
                  <a:pt x="329" y="279"/>
                </a:lnTo>
                <a:lnTo>
                  <a:pt x="330" y="283"/>
                </a:lnTo>
                <a:lnTo>
                  <a:pt x="336" y="288"/>
                </a:lnTo>
                <a:lnTo>
                  <a:pt x="338" y="289"/>
                </a:lnTo>
                <a:lnTo>
                  <a:pt x="340" y="290"/>
                </a:lnTo>
                <a:lnTo>
                  <a:pt x="342" y="290"/>
                </a:lnTo>
                <a:lnTo>
                  <a:pt x="342" y="291"/>
                </a:lnTo>
                <a:lnTo>
                  <a:pt x="344" y="294"/>
                </a:lnTo>
                <a:lnTo>
                  <a:pt x="344" y="296"/>
                </a:lnTo>
                <a:lnTo>
                  <a:pt x="346" y="296"/>
                </a:lnTo>
                <a:lnTo>
                  <a:pt x="346" y="297"/>
                </a:lnTo>
                <a:lnTo>
                  <a:pt x="348" y="298"/>
                </a:lnTo>
                <a:lnTo>
                  <a:pt x="349" y="298"/>
                </a:lnTo>
                <a:lnTo>
                  <a:pt x="353" y="300"/>
                </a:lnTo>
                <a:lnTo>
                  <a:pt x="354" y="300"/>
                </a:lnTo>
                <a:lnTo>
                  <a:pt x="359" y="304"/>
                </a:lnTo>
                <a:lnTo>
                  <a:pt x="366" y="304"/>
                </a:lnTo>
                <a:lnTo>
                  <a:pt x="372" y="306"/>
                </a:lnTo>
                <a:lnTo>
                  <a:pt x="373" y="306"/>
                </a:lnTo>
                <a:lnTo>
                  <a:pt x="380" y="304"/>
                </a:lnTo>
                <a:lnTo>
                  <a:pt x="388" y="306"/>
                </a:lnTo>
                <a:lnTo>
                  <a:pt x="398" y="304"/>
                </a:lnTo>
                <a:lnTo>
                  <a:pt x="402" y="304"/>
                </a:lnTo>
                <a:lnTo>
                  <a:pt x="404" y="307"/>
                </a:lnTo>
                <a:lnTo>
                  <a:pt x="404" y="309"/>
                </a:lnTo>
                <a:lnTo>
                  <a:pt x="406" y="310"/>
                </a:lnTo>
                <a:lnTo>
                  <a:pt x="406" y="313"/>
                </a:lnTo>
                <a:lnTo>
                  <a:pt x="404" y="313"/>
                </a:lnTo>
                <a:lnTo>
                  <a:pt x="404" y="314"/>
                </a:lnTo>
                <a:lnTo>
                  <a:pt x="403" y="315"/>
                </a:lnTo>
                <a:lnTo>
                  <a:pt x="402" y="315"/>
                </a:lnTo>
                <a:lnTo>
                  <a:pt x="398" y="319"/>
                </a:lnTo>
                <a:lnTo>
                  <a:pt x="394" y="321"/>
                </a:lnTo>
                <a:lnTo>
                  <a:pt x="392" y="322"/>
                </a:lnTo>
                <a:lnTo>
                  <a:pt x="392" y="327"/>
                </a:lnTo>
                <a:lnTo>
                  <a:pt x="394" y="328"/>
                </a:lnTo>
                <a:lnTo>
                  <a:pt x="395" y="331"/>
                </a:lnTo>
                <a:lnTo>
                  <a:pt x="395" y="332"/>
                </a:lnTo>
                <a:lnTo>
                  <a:pt x="398" y="333"/>
                </a:lnTo>
                <a:lnTo>
                  <a:pt x="401" y="334"/>
                </a:lnTo>
                <a:lnTo>
                  <a:pt x="402" y="335"/>
                </a:lnTo>
                <a:lnTo>
                  <a:pt x="410" y="339"/>
                </a:lnTo>
                <a:lnTo>
                  <a:pt x="416" y="343"/>
                </a:lnTo>
                <a:lnTo>
                  <a:pt x="419" y="343"/>
                </a:lnTo>
                <a:lnTo>
                  <a:pt x="420" y="344"/>
                </a:lnTo>
                <a:lnTo>
                  <a:pt x="422" y="345"/>
                </a:lnTo>
                <a:lnTo>
                  <a:pt x="432" y="349"/>
                </a:lnTo>
                <a:lnTo>
                  <a:pt x="433" y="350"/>
                </a:lnTo>
                <a:lnTo>
                  <a:pt x="433" y="349"/>
                </a:lnTo>
                <a:lnTo>
                  <a:pt x="434" y="350"/>
                </a:lnTo>
                <a:lnTo>
                  <a:pt x="441" y="352"/>
                </a:lnTo>
                <a:lnTo>
                  <a:pt x="447" y="356"/>
                </a:lnTo>
                <a:lnTo>
                  <a:pt x="451" y="358"/>
                </a:lnTo>
                <a:lnTo>
                  <a:pt x="459" y="366"/>
                </a:lnTo>
                <a:lnTo>
                  <a:pt x="460" y="366"/>
                </a:lnTo>
                <a:lnTo>
                  <a:pt x="463" y="368"/>
                </a:lnTo>
                <a:lnTo>
                  <a:pt x="466" y="369"/>
                </a:lnTo>
                <a:lnTo>
                  <a:pt x="471" y="371"/>
                </a:lnTo>
                <a:lnTo>
                  <a:pt x="475" y="374"/>
                </a:lnTo>
                <a:lnTo>
                  <a:pt x="478" y="375"/>
                </a:lnTo>
                <a:lnTo>
                  <a:pt x="479" y="375"/>
                </a:lnTo>
                <a:lnTo>
                  <a:pt x="479" y="377"/>
                </a:lnTo>
                <a:lnTo>
                  <a:pt x="481" y="376"/>
                </a:lnTo>
                <a:lnTo>
                  <a:pt x="482" y="376"/>
                </a:lnTo>
                <a:lnTo>
                  <a:pt x="482" y="378"/>
                </a:lnTo>
                <a:lnTo>
                  <a:pt x="483" y="378"/>
                </a:lnTo>
                <a:lnTo>
                  <a:pt x="483" y="382"/>
                </a:lnTo>
                <a:lnTo>
                  <a:pt x="490" y="387"/>
                </a:lnTo>
                <a:lnTo>
                  <a:pt x="491" y="387"/>
                </a:lnTo>
                <a:lnTo>
                  <a:pt x="493" y="389"/>
                </a:lnTo>
                <a:lnTo>
                  <a:pt x="494" y="390"/>
                </a:lnTo>
                <a:lnTo>
                  <a:pt x="495" y="393"/>
                </a:lnTo>
                <a:lnTo>
                  <a:pt x="496" y="393"/>
                </a:lnTo>
                <a:lnTo>
                  <a:pt x="497" y="394"/>
                </a:lnTo>
                <a:lnTo>
                  <a:pt x="500" y="398"/>
                </a:lnTo>
                <a:lnTo>
                  <a:pt x="502" y="404"/>
                </a:lnTo>
                <a:lnTo>
                  <a:pt x="502" y="405"/>
                </a:lnTo>
                <a:lnTo>
                  <a:pt x="503" y="405"/>
                </a:lnTo>
                <a:lnTo>
                  <a:pt x="503" y="407"/>
                </a:lnTo>
                <a:lnTo>
                  <a:pt x="502" y="408"/>
                </a:lnTo>
                <a:lnTo>
                  <a:pt x="502" y="409"/>
                </a:lnTo>
                <a:lnTo>
                  <a:pt x="501" y="409"/>
                </a:lnTo>
                <a:lnTo>
                  <a:pt x="500" y="411"/>
                </a:lnTo>
                <a:lnTo>
                  <a:pt x="498" y="413"/>
                </a:lnTo>
                <a:lnTo>
                  <a:pt x="498" y="419"/>
                </a:lnTo>
                <a:lnTo>
                  <a:pt x="497" y="421"/>
                </a:lnTo>
                <a:lnTo>
                  <a:pt x="497" y="424"/>
                </a:lnTo>
                <a:lnTo>
                  <a:pt x="496" y="424"/>
                </a:lnTo>
                <a:lnTo>
                  <a:pt x="494" y="421"/>
                </a:lnTo>
                <a:lnTo>
                  <a:pt x="490" y="421"/>
                </a:lnTo>
                <a:lnTo>
                  <a:pt x="489" y="420"/>
                </a:lnTo>
                <a:lnTo>
                  <a:pt x="488" y="420"/>
                </a:lnTo>
                <a:lnTo>
                  <a:pt x="484" y="417"/>
                </a:lnTo>
                <a:lnTo>
                  <a:pt x="482" y="413"/>
                </a:lnTo>
                <a:lnTo>
                  <a:pt x="481" y="413"/>
                </a:lnTo>
                <a:lnTo>
                  <a:pt x="481" y="412"/>
                </a:lnTo>
                <a:lnTo>
                  <a:pt x="482" y="412"/>
                </a:lnTo>
                <a:lnTo>
                  <a:pt x="482" y="409"/>
                </a:lnTo>
                <a:lnTo>
                  <a:pt x="479" y="409"/>
                </a:lnTo>
                <a:lnTo>
                  <a:pt x="482" y="408"/>
                </a:lnTo>
                <a:lnTo>
                  <a:pt x="482" y="406"/>
                </a:lnTo>
                <a:lnTo>
                  <a:pt x="479" y="405"/>
                </a:lnTo>
                <a:lnTo>
                  <a:pt x="479" y="404"/>
                </a:lnTo>
                <a:lnTo>
                  <a:pt x="478" y="402"/>
                </a:lnTo>
                <a:lnTo>
                  <a:pt x="478" y="399"/>
                </a:lnTo>
                <a:lnTo>
                  <a:pt x="476" y="396"/>
                </a:lnTo>
                <a:lnTo>
                  <a:pt x="475" y="396"/>
                </a:lnTo>
                <a:lnTo>
                  <a:pt x="460" y="395"/>
                </a:lnTo>
                <a:lnTo>
                  <a:pt x="458" y="394"/>
                </a:lnTo>
                <a:lnTo>
                  <a:pt x="456" y="394"/>
                </a:lnTo>
                <a:lnTo>
                  <a:pt x="456" y="393"/>
                </a:lnTo>
                <a:lnTo>
                  <a:pt x="454" y="393"/>
                </a:lnTo>
                <a:lnTo>
                  <a:pt x="450" y="390"/>
                </a:lnTo>
                <a:lnTo>
                  <a:pt x="448" y="390"/>
                </a:lnTo>
                <a:lnTo>
                  <a:pt x="447" y="389"/>
                </a:lnTo>
                <a:lnTo>
                  <a:pt x="448" y="389"/>
                </a:lnTo>
                <a:lnTo>
                  <a:pt x="450" y="388"/>
                </a:lnTo>
                <a:lnTo>
                  <a:pt x="450" y="387"/>
                </a:lnTo>
                <a:lnTo>
                  <a:pt x="448" y="387"/>
                </a:lnTo>
                <a:lnTo>
                  <a:pt x="450" y="386"/>
                </a:lnTo>
                <a:lnTo>
                  <a:pt x="452" y="387"/>
                </a:lnTo>
                <a:lnTo>
                  <a:pt x="452" y="386"/>
                </a:lnTo>
                <a:lnTo>
                  <a:pt x="453" y="384"/>
                </a:lnTo>
                <a:lnTo>
                  <a:pt x="452" y="384"/>
                </a:lnTo>
                <a:lnTo>
                  <a:pt x="451" y="386"/>
                </a:lnTo>
                <a:lnTo>
                  <a:pt x="451" y="384"/>
                </a:lnTo>
                <a:lnTo>
                  <a:pt x="448" y="384"/>
                </a:lnTo>
                <a:lnTo>
                  <a:pt x="448" y="386"/>
                </a:lnTo>
                <a:lnTo>
                  <a:pt x="446" y="386"/>
                </a:lnTo>
                <a:lnTo>
                  <a:pt x="446" y="384"/>
                </a:lnTo>
                <a:lnTo>
                  <a:pt x="445" y="384"/>
                </a:lnTo>
                <a:lnTo>
                  <a:pt x="441" y="383"/>
                </a:lnTo>
                <a:lnTo>
                  <a:pt x="438" y="386"/>
                </a:lnTo>
                <a:lnTo>
                  <a:pt x="433" y="390"/>
                </a:lnTo>
                <a:lnTo>
                  <a:pt x="431" y="396"/>
                </a:lnTo>
                <a:lnTo>
                  <a:pt x="429" y="398"/>
                </a:lnTo>
                <a:lnTo>
                  <a:pt x="428" y="401"/>
                </a:lnTo>
                <a:lnTo>
                  <a:pt x="427" y="402"/>
                </a:lnTo>
                <a:lnTo>
                  <a:pt x="426" y="405"/>
                </a:lnTo>
                <a:lnTo>
                  <a:pt x="425" y="406"/>
                </a:lnTo>
                <a:lnTo>
                  <a:pt x="423" y="406"/>
                </a:lnTo>
                <a:lnTo>
                  <a:pt x="422" y="408"/>
                </a:lnTo>
                <a:lnTo>
                  <a:pt x="422" y="411"/>
                </a:lnTo>
                <a:lnTo>
                  <a:pt x="423" y="413"/>
                </a:lnTo>
                <a:lnTo>
                  <a:pt x="423" y="415"/>
                </a:lnTo>
                <a:lnTo>
                  <a:pt x="422" y="415"/>
                </a:lnTo>
                <a:lnTo>
                  <a:pt x="422" y="417"/>
                </a:lnTo>
                <a:lnTo>
                  <a:pt x="420" y="419"/>
                </a:lnTo>
                <a:lnTo>
                  <a:pt x="419" y="421"/>
                </a:lnTo>
                <a:lnTo>
                  <a:pt x="417" y="423"/>
                </a:lnTo>
                <a:lnTo>
                  <a:pt x="417" y="425"/>
                </a:lnTo>
                <a:lnTo>
                  <a:pt x="420" y="427"/>
                </a:lnTo>
                <a:lnTo>
                  <a:pt x="420" y="429"/>
                </a:lnTo>
                <a:lnTo>
                  <a:pt x="419" y="430"/>
                </a:lnTo>
                <a:lnTo>
                  <a:pt x="420" y="431"/>
                </a:lnTo>
                <a:lnTo>
                  <a:pt x="422" y="432"/>
                </a:lnTo>
                <a:lnTo>
                  <a:pt x="423" y="433"/>
                </a:lnTo>
                <a:lnTo>
                  <a:pt x="431" y="433"/>
                </a:lnTo>
                <a:lnTo>
                  <a:pt x="431" y="435"/>
                </a:lnTo>
                <a:lnTo>
                  <a:pt x="432" y="435"/>
                </a:lnTo>
                <a:lnTo>
                  <a:pt x="432" y="437"/>
                </a:lnTo>
                <a:lnTo>
                  <a:pt x="433" y="437"/>
                </a:lnTo>
                <a:lnTo>
                  <a:pt x="438" y="439"/>
                </a:lnTo>
                <a:lnTo>
                  <a:pt x="438" y="441"/>
                </a:lnTo>
                <a:lnTo>
                  <a:pt x="440" y="441"/>
                </a:lnTo>
                <a:lnTo>
                  <a:pt x="441" y="442"/>
                </a:lnTo>
                <a:lnTo>
                  <a:pt x="441" y="443"/>
                </a:lnTo>
                <a:lnTo>
                  <a:pt x="442" y="444"/>
                </a:lnTo>
                <a:lnTo>
                  <a:pt x="445" y="445"/>
                </a:lnTo>
                <a:lnTo>
                  <a:pt x="446" y="445"/>
                </a:lnTo>
                <a:lnTo>
                  <a:pt x="445" y="449"/>
                </a:lnTo>
                <a:lnTo>
                  <a:pt x="444" y="451"/>
                </a:lnTo>
                <a:lnTo>
                  <a:pt x="444" y="452"/>
                </a:lnTo>
                <a:lnTo>
                  <a:pt x="445" y="454"/>
                </a:lnTo>
                <a:lnTo>
                  <a:pt x="445" y="464"/>
                </a:lnTo>
                <a:lnTo>
                  <a:pt x="446" y="464"/>
                </a:lnTo>
                <a:lnTo>
                  <a:pt x="447" y="466"/>
                </a:lnTo>
                <a:lnTo>
                  <a:pt x="446" y="467"/>
                </a:lnTo>
                <a:lnTo>
                  <a:pt x="446" y="469"/>
                </a:lnTo>
                <a:lnTo>
                  <a:pt x="444" y="472"/>
                </a:lnTo>
                <a:lnTo>
                  <a:pt x="440" y="472"/>
                </a:lnTo>
                <a:lnTo>
                  <a:pt x="439" y="470"/>
                </a:lnTo>
                <a:lnTo>
                  <a:pt x="436" y="470"/>
                </a:lnTo>
                <a:lnTo>
                  <a:pt x="433" y="472"/>
                </a:lnTo>
                <a:lnTo>
                  <a:pt x="426" y="475"/>
                </a:lnTo>
                <a:lnTo>
                  <a:pt x="422" y="476"/>
                </a:lnTo>
                <a:lnTo>
                  <a:pt x="422" y="478"/>
                </a:lnTo>
                <a:lnTo>
                  <a:pt x="421" y="479"/>
                </a:lnTo>
                <a:lnTo>
                  <a:pt x="421" y="480"/>
                </a:lnTo>
                <a:lnTo>
                  <a:pt x="420" y="481"/>
                </a:lnTo>
                <a:lnTo>
                  <a:pt x="420" y="485"/>
                </a:lnTo>
                <a:lnTo>
                  <a:pt x="421" y="488"/>
                </a:lnTo>
                <a:lnTo>
                  <a:pt x="421" y="498"/>
                </a:lnTo>
                <a:lnTo>
                  <a:pt x="419" y="500"/>
                </a:lnTo>
                <a:lnTo>
                  <a:pt x="419" y="501"/>
                </a:lnTo>
                <a:lnTo>
                  <a:pt x="417" y="501"/>
                </a:lnTo>
                <a:lnTo>
                  <a:pt x="416" y="503"/>
                </a:lnTo>
                <a:lnTo>
                  <a:pt x="415" y="503"/>
                </a:lnTo>
                <a:lnTo>
                  <a:pt x="411" y="505"/>
                </a:lnTo>
                <a:lnTo>
                  <a:pt x="410" y="506"/>
                </a:lnTo>
                <a:lnTo>
                  <a:pt x="404" y="513"/>
                </a:lnTo>
                <a:lnTo>
                  <a:pt x="403" y="515"/>
                </a:lnTo>
                <a:lnTo>
                  <a:pt x="402" y="521"/>
                </a:lnTo>
                <a:lnTo>
                  <a:pt x="402" y="522"/>
                </a:lnTo>
                <a:lnTo>
                  <a:pt x="401" y="523"/>
                </a:lnTo>
                <a:lnTo>
                  <a:pt x="401" y="524"/>
                </a:lnTo>
                <a:lnTo>
                  <a:pt x="400" y="524"/>
                </a:lnTo>
                <a:lnTo>
                  <a:pt x="397" y="525"/>
                </a:lnTo>
                <a:lnTo>
                  <a:pt x="395" y="524"/>
                </a:lnTo>
                <a:lnTo>
                  <a:pt x="386" y="525"/>
                </a:lnTo>
                <a:lnTo>
                  <a:pt x="384" y="523"/>
                </a:lnTo>
                <a:lnTo>
                  <a:pt x="383" y="523"/>
                </a:lnTo>
                <a:lnTo>
                  <a:pt x="382" y="522"/>
                </a:lnTo>
                <a:lnTo>
                  <a:pt x="382" y="519"/>
                </a:lnTo>
                <a:lnTo>
                  <a:pt x="383" y="518"/>
                </a:lnTo>
                <a:lnTo>
                  <a:pt x="382" y="517"/>
                </a:lnTo>
                <a:lnTo>
                  <a:pt x="382" y="507"/>
                </a:lnTo>
                <a:lnTo>
                  <a:pt x="384" y="507"/>
                </a:lnTo>
                <a:lnTo>
                  <a:pt x="388" y="506"/>
                </a:lnTo>
                <a:lnTo>
                  <a:pt x="389" y="505"/>
                </a:lnTo>
                <a:lnTo>
                  <a:pt x="389" y="504"/>
                </a:lnTo>
                <a:lnTo>
                  <a:pt x="390" y="501"/>
                </a:lnTo>
                <a:lnTo>
                  <a:pt x="392" y="495"/>
                </a:lnTo>
                <a:lnTo>
                  <a:pt x="394" y="493"/>
                </a:lnTo>
                <a:lnTo>
                  <a:pt x="394" y="491"/>
                </a:lnTo>
                <a:lnTo>
                  <a:pt x="390" y="487"/>
                </a:lnTo>
                <a:lnTo>
                  <a:pt x="390" y="485"/>
                </a:lnTo>
                <a:lnTo>
                  <a:pt x="392" y="485"/>
                </a:lnTo>
                <a:lnTo>
                  <a:pt x="396" y="482"/>
                </a:lnTo>
                <a:lnTo>
                  <a:pt x="397" y="482"/>
                </a:lnTo>
                <a:lnTo>
                  <a:pt x="400" y="481"/>
                </a:lnTo>
                <a:lnTo>
                  <a:pt x="402" y="482"/>
                </a:lnTo>
                <a:lnTo>
                  <a:pt x="403" y="482"/>
                </a:lnTo>
                <a:lnTo>
                  <a:pt x="403" y="481"/>
                </a:lnTo>
                <a:lnTo>
                  <a:pt x="404" y="481"/>
                </a:lnTo>
                <a:lnTo>
                  <a:pt x="406" y="479"/>
                </a:lnTo>
                <a:lnTo>
                  <a:pt x="406" y="478"/>
                </a:lnTo>
                <a:lnTo>
                  <a:pt x="407" y="475"/>
                </a:lnTo>
                <a:lnTo>
                  <a:pt x="407" y="473"/>
                </a:lnTo>
                <a:lnTo>
                  <a:pt x="406" y="472"/>
                </a:lnTo>
                <a:lnTo>
                  <a:pt x="406" y="470"/>
                </a:lnTo>
                <a:lnTo>
                  <a:pt x="404" y="470"/>
                </a:lnTo>
                <a:lnTo>
                  <a:pt x="403" y="469"/>
                </a:lnTo>
                <a:lnTo>
                  <a:pt x="403" y="468"/>
                </a:lnTo>
                <a:lnTo>
                  <a:pt x="401" y="463"/>
                </a:lnTo>
                <a:lnTo>
                  <a:pt x="398" y="450"/>
                </a:lnTo>
                <a:lnTo>
                  <a:pt x="398" y="448"/>
                </a:lnTo>
                <a:lnTo>
                  <a:pt x="397" y="443"/>
                </a:lnTo>
                <a:lnTo>
                  <a:pt x="391" y="437"/>
                </a:lnTo>
                <a:lnTo>
                  <a:pt x="391" y="433"/>
                </a:lnTo>
                <a:lnTo>
                  <a:pt x="390" y="431"/>
                </a:lnTo>
                <a:lnTo>
                  <a:pt x="389" y="430"/>
                </a:lnTo>
                <a:lnTo>
                  <a:pt x="389" y="429"/>
                </a:lnTo>
                <a:lnTo>
                  <a:pt x="388" y="424"/>
                </a:lnTo>
                <a:lnTo>
                  <a:pt x="388" y="418"/>
                </a:lnTo>
                <a:lnTo>
                  <a:pt x="385" y="415"/>
                </a:lnTo>
                <a:lnTo>
                  <a:pt x="385" y="413"/>
                </a:lnTo>
                <a:lnTo>
                  <a:pt x="383" y="412"/>
                </a:lnTo>
                <a:lnTo>
                  <a:pt x="383" y="409"/>
                </a:lnTo>
                <a:lnTo>
                  <a:pt x="382" y="409"/>
                </a:lnTo>
                <a:lnTo>
                  <a:pt x="382" y="408"/>
                </a:lnTo>
                <a:lnTo>
                  <a:pt x="377" y="408"/>
                </a:lnTo>
                <a:lnTo>
                  <a:pt x="372" y="413"/>
                </a:lnTo>
                <a:lnTo>
                  <a:pt x="367" y="411"/>
                </a:lnTo>
                <a:lnTo>
                  <a:pt x="366" y="411"/>
                </a:lnTo>
                <a:lnTo>
                  <a:pt x="366" y="408"/>
                </a:lnTo>
                <a:lnTo>
                  <a:pt x="364" y="406"/>
                </a:lnTo>
                <a:lnTo>
                  <a:pt x="363" y="406"/>
                </a:lnTo>
                <a:lnTo>
                  <a:pt x="359" y="402"/>
                </a:lnTo>
                <a:lnTo>
                  <a:pt x="358" y="404"/>
                </a:lnTo>
                <a:lnTo>
                  <a:pt x="357" y="404"/>
                </a:lnTo>
                <a:lnTo>
                  <a:pt x="357" y="402"/>
                </a:lnTo>
                <a:lnTo>
                  <a:pt x="354" y="400"/>
                </a:lnTo>
                <a:lnTo>
                  <a:pt x="352" y="400"/>
                </a:lnTo>
                <a:lnTo>
                  <a:pt x="352" y="399"/>
                </a:lnTo>
                <a:lnTo>
                  <a:pt x="351" y="399"/>
                </a:lnTo>
                <a:lnTo>
                  <a:pt x="351" y="398"/>
                </a:lnTo>
                <a:lnTo>
                  <a:pt x="352" y="396"/>
                </a:lnTo>
                <a:lnTo>
                  <a:pt x="352" y="394"/>
                </a:lnTo>
                <a:lnTo>
                  <a:pt x="353" y="394"/>
                </a:lnTo>
                <a:lnTo>
                  <a:pt x="353" y="393"/>
                </a:lnTo>
                <a:lnTo>
                  <a:pt x="354" y="393"/>
                </a:lnTo>
                <a:lnTo>
                  <a:pt x="354" y="388"/>
                </a:lnTo>
                <a:lnTo>
                  <a:pt x="349" y="378"/>
                </a:lnTo>
                <a:lnTo>
                  <a:pt x="346" y="375"/>
                </a:lnTo>
                <a:lnTo>
                  <a:pt x="345" y="375"/>
                </a:lnTo>
                <a:lnTo>
                  <a:pt x="344" y="376"/>
                </a:lnTo>
                <a:lnTo>
                  <a:pt x="341" y="376"/>
                </a:lnTo>
                <a:lnTo>
                  <a:pt x="341" y="377"/>
                </a:lnTo>
                <a:lnTo>
                  <a:pt x="339" y="376"/>
                </a:lnTo>
                <a:lnTo>
                  <a:pt x="339" y="377"/>
                </a:lnTo>
                <a:lnTo>
                  <a:pt x="336" y="378"/>
                </a:lnTo>
                <a:lnTo>
                  <a:pt x="334" y="378"/>
                </a:lnTo>
                <a:lnTo>
                  <a:pt x="333" y="377"/>
                </a:lnTo>
                <a:lnTo>
                  <a:pt x="333" y="378"/>
                </a:lnTo>
                <a:lnTo>
                  <a:pt x="330" y="378"/>
                </a:lnTo>
                <a:lnTo>
                  <a:pt x="329" y="380"/>
                </a:lnTo>
                <a:lnTo>
                  <a:pt x="328" y="380"/>
                </a:lnTo>
                <a:lnTo>
                  <a:pt x="327" y="381"/>
                </a:lnTo>
                <a:lnTo>
                  <a:pt x="327" y="378"/>
                </a:lnTo>
                <a:lnTo>
                  <a:pt x="328" y="377"/>
                </a:lnTo>
                <a:lnTo>
                  <a:pt x="329" y="377"/>
                </a:lnTo>
                <a:lnTo>
                  <a:pt x="329" y="376"/>
                </a:lnTo>
                <a:lnTo>
                  <a:pt x="332" y="375"/>
                </a:lnTo>
                <a:lnTo>
                  <a:pt x="333" y="374"/>
                </a:lnTo>
                <a:lnTo>
                  <a:pt x="333" y="372"/>
                </a:lnTo>
                <a:lnTo>
                  <a:pt x="332" y="371"/>
                </a:lnTo>
                <a:lnTo>
                  <a:pt x="332" y="370"/>
                </a:lnTo>
                <a:lnTo>
                  <a:pt x="330" y="371"/>
                </a:lnTo>
                <a:lnTo>
                  <a:pt x="328" y="369"/>
                </a:lnTo>
                <a:lnTo>
                  <a:pt x="327" y="369"/>
                </a:lnTo>
                <a:lnTo>
                  <a:pt x="326" y="366"/>
                </a:lnTo>
                <a:lnTo>
                  <a:pt x="322" y="366"/>
                </a:lnTo>
                <a:lnTo>
                  <a:pt x="321" y="368"/>
                </a:lnTo>
                <a:lnTo>
                  <a:pt x="319" y="368"/>
                </a:lnTo>
                <a:lnTo>
                  <a:pt x="317" y="366"/>
                </a:lnTo>
                <a:lnTo>
                  <a:pt x="316" y="366"/>
                </a:lnTo>
                <a:lnTo>
                  <a:pt x="316" y="369"/>
                </a:lnTo>
                <a:lnTo>
                  <a:pt x="315" y="369"/>
                </a:lnTo>
                <a:lnTo>
                  <a:pt x="315" y="364"/>
                </a:lnTo>
                <a:lnTo>
                  <a:pt x="311" y="357"/>
                </a:lnTo>
                <a:lnTo>
                  <a:pt x="310" y="356"/>
                </a:lnTo>
                <a:lnTo>
                  <a:pt x="309" y="356"/>
                </a:lnTo>
                <a:lnTo>
                  <a:pt x="309" y="353"/>
                </a:lnTo>
                <a:lnTo>
                  <a:pt x="307" y="349"/>
                </a:lnTo>
                <a:lnTo>
                  <a:pt x="304" y="345"/>
                </a:lnTo>
                <a:lnTo>
                  <a:pt x="301" y="343"/>
                </a:lnTo>
                <a:lnTo>
                  <a:pt x="296" y="343"/>
                </a:lnTo>
                <a:lnTo>
                  <a:pt x="295" y="344"/>
                </a:lnTo>
                <a:lnTo>
                  <a:pt x="295" y="345"/>
                </a:lnTo>
                <a:lnTo>
                  <a:pt x="291" y="345"/>
                </a:lnTo>
                <a:lnTo>
                  <a:pt x="291" y="344"/>
                </a:lnTo>
                <a:lnTo>
                  <a:pt x="284" y="340"/>
                </a:lnTo>
                <a:lnTo>
                  <a:pt x="283" y="340"/>
                </a:lnTo>
                <a:lnTo>
                  <a:pt x="279" y="341"/>
                </a:lnTo>
                <a:lnTo>
                  <a:pt x="278" y="341"/>
                </a:lnTo>
                <a:lnTo>
                  <a:pt x="277" y="343"/>
                </a:lnTo>
                <a:lnTo>
                  <a:pt x="276" y="343"/>
                </a:lnTo>
                <a:lnTo>
                  <a:pt x="273" y="345"/>
                </a:lnTo>
                <a:lnTo>
                  <a:pt x="272" y="344"/>
                </a:lnTo>
                <a:lnTo>
                  <a:pt x="272" y="343"/>
                </a:lnTo>
                <a:lnTo>
                  <a:pt x="271" y="341"/>
                </a:lnTo>
                <a:lnTo>
                  <a:pt x="270" y="339"/>
                </a:lnTo>
                <a:lnTo>
                  <a:pt x="267" y="335"/>
                </a:lnTo>
                <a:lnTo>
                  <a:pt x="266" y="334"/>
                </a:lnTo>
                <a:lnTo>
                  <a:pt x="265" y="334"/>
                </a:lnTo>
                <a:lnTo>
                  <a:pt x="264" y="333"/>
                </a:lnTo>
                <a:lnTo>
                  <a:pt x="260" y="333"/>
                </a:lnTo>
                <a:lnTo>
                  <a:pt x="257" y="332"/>
                </a:lnTo>
                <a:lnTo>
                  <a:pt x="255" y="331"/>
                </a:lnTo>
                <a:lnTo>
                  <a:pt x="255" y="332"/>
                </a:lnTo>
                <a:lnTo>
                  <a:pt x="254" y="332"/>
                </a:lnTo>
                <a:lnTo>
                  <a:pt x="252" y="327"/>
                </a:lnTo>
                <a:lnTo>
                  <a:pt x="247" y="321"/>
                </a:lnTo>
                <a:lnTo>
                  <a:pt x="242" y="318"/>
                </a:lnTo>
                <a:lnTo>
                  <a:pt x="241" y="316"/>
                </a:lnTo>
                <a:lnTo>
                  <a:pt x="239" y="316"/>
                </a:lnTo>
                <a:lnTo>
                  <a:pt x="239" y="315"/>
                </a:lnTo>
                <a:lnTo>
                  <a:pt x="237" y="315"/>
                </a:lnTo>
                <a:lnTo>
                  <a:pt x="237" y="310"/>
                </a:lnTo>
                <a:lnTo>
                  <a:pt x="229" y="302"/>
                </a:lnTo>
                <a:lnTo>
                  <a:pt x="229" y="301"/>
                </a:lnTo>
                <a:lnTo>
                  <a:pt x="228" y="301"/>
                </a:lnTo>
                <a:lnTo>
                  <a:pt x="226" y="298"/>
                </a:lnTo>
                <a:lnTo>
                  <a:pt x="221" y="298"/>
                </a:lnTo>
                <a:lnTo>
                  <a:pt x="221" y="297"/>
                </a:lnTo>
                <a:lnTo>
                  <a:pt x="220" y="296"/>
                </a:lnTo>
                <a:lnTo>
                  <a:pt x="218" y="296"/>
                </a:lnTo>
                <a:lnTo>
                  <a:pt x="218" y="295"/>
                </a:lnTo>
                <a:lnTo>
                  <a:pt x="217" y="294"/>
                </a:lnTo>
                <a:lnTo>
                  <a:pt x="217" y="291"/>
                </a:lnTo>
                <a:lnTo>
                  <a:pt x="215" y="286"/>
                </a:lnTo>
                <a:lnTo>
                  <a:pt x="209" y="280"/>
                </a:lnTo>
                <a:lnTo>
                  <a:pt x="206" y="280"/>
                </a:lnTo>
                <a:lnTo>
                  <a:pt x="204" y="279"/>
                </a:lnTo>
                <a:lnTo>
                  <a:pt x="203" y="278"/>
                </a:lnTo>
                <a:lnTo>
                  <a:pt x="201" y="278"/>
                </a:lnTo>
                <a:lnTo>
                  <a:pt x="197" y="277"/>
                </a:lnTo>
                <a:lnTo>
                  <a:pt x="195" y="277"/>
                </a:lnTo>
                <a:lnTo>
                  <a:pt x="195" y="278"/>
                </a:lnTo>
                <a:lnTo>
                  <a:pt x="193" y="279"/>
                </a:lnTo>
                <a:lnTo>
                  <a:pt x="192" y="279"/>
                </a:lnTo>
                <a:lnTo>
                  <a:pt x="191" y="278"/>
                </a:lnTo>
                <a:lnTo>
                  <a:pt x="190" y="278"/>
                </a:lnTo>
                <a:lnTo>
                  <a:pt x="190" y="276"/>
                </a:lnTo>
                <a:lnTo>
                  <a:pt x="193" y="276"/>
                </a:lnTo>
                <a:lnTo>
                  <a:pt x="193" y="275"/>
                </a:lnTo>
                <a:lnTo>
                  <a:pt x="195" y="273"/>
                </a:lnTo>
                <a:lnTo>
                  <a:pt x="195" y="272"/>
                </a:lnTo>
                <a:lnTo>
                  <a:pt x="193" y="271"/>
                </a:lnTo>
                <a:lnTo>
                  <a:pt x="193" y="270"/>
                </a:lnTo>
                <a:lnTo>
                  <a:pt x="192" y="269"/>
                </a:lnTo>
                <a:lnTo>
                  <a:pt x="191" y="269"/>
                </a:lnTo>
                <a:lnTo>
                  <a:pt x="191" y="267"/>
                </a:lnTo>
                <a:lnTo>
                  <a:pt x="190" y="266"/>
                </a:lnTo>
                <a:lnTo>
                  <a:pt x="190" y="265"/>
                </a:lnTo>
                <a:lnTo>
                  <a:pt x="189" y="264"/>
                </a:lnTo>
                <a:lnTo>
                  <a:pt x="186" y="263"/>
                </a:lnTo>
                <a:lnTo>
                  <a:pt x="186" y="261"/>
                </a:lnTo>
                <a:lnTo>
                  <a:pt x="185" y="260"/>
                </a:lnTo>
                <a:lnTo>
                  <a:pt x="184" y="258"/>
                </a:lnTo>
                <a:lnTo>
                  <a:pt x="181" y="257"/>
                </a:lnTo>
                <a:lnTo>
                  <a:pt x="174" y="255"/>
                </a:lnTo>
                <a:lnTo>
                  <a:pt x="177" y="253"/>
                </a:lnTo>
                <a:lnTo>
                  <a:pt x="177" y="249"/>
                </a:lnTo>
                <a:lnTo>
                  <a:pt x="175" y="248"/>
                </a:lnTo>
                <a:lnTo>
                  <a:pt x="171" y="246"/>
                </a:lnTo>
                <a:lnTo>
                  <a:pt x="168" y="246"/>
                </a:lnTo>
                <a:lnTo>
                  <a:pt x="166" y="248"/>
                </a:lnTo>
                <a:lnTo>
                  <a:pt x="165" y="247"/>
                </a:lnTo>
                <a:lnTo>
                  <a:pt x="164" y="245"/>
                </a:lnTo>
                <a:lnTo>
                  <a:pt x="166" y="242"/>
                </a:lnTo>
                <a:lnTo>
                  <a:pt x="167" y="239"/>
                </a:lnTo>
                <a:lnTo>
                  <a:pt x="166" y="239"/>
                </a:lnTo>
                <a:lnTo>
                  <a:pt x="166" y="237"/>
                </a:lnTo>
                <a:lnTo>
                  <a:pt x="167" y="236"/>
                </a:lnTo>
                <a:lnTo>
                  <a:pt x="167" y="234"/>
                </a:lnTo>
                <a:lnTo>
                  <a:pt x="166" y="233"/>
                </a:lnTo>
                <a:lnTo>
                  <a:pt x="166" y="228"/>
                </a:lnTo>
                <a:lnTo>
                  <a:pt x="162" y="221"/>
                </a:lnTo>
                <a:lnTo>
                  <a:pt x="160" y="217"/>
                </a:lnTo>
                <a:lnTo>
                  <a:pt x="159" y="217"/>
                </a:lnTo>
                <a:lnTo>
                  <a:pt x="158" y="216"/>
                </a:lnTo>
                <a:lnTo>
                  <a:pt x="158" y="215"/>
                </a:lnTo>
                <a:lnTo>
                  <a:pt x="156" y="211"/>
                </a:lnTo>
                <a:lnTo>
                  <a:pt x="155" y="197"/>
                </a:lnTo>
                <a:lnTo>
                  <a:pt x="154" y="194"/>
                </a:lnTo>
                <a:lnTo>
                  <a:pt x="153" y="190"/>
                </a:lnTo>
                <a:lnTo>
                  <a:pt x="152" y="189"/>
                </a:lnTo>
                <a:lnTo>
                  <a:pt x="149" y="187"/>
                </a:lnTo>
                <a:lnTo>
                  <a:pt x="148" y="185"/>
                </a:lnTo>
                <a:lnTo>
                  <a:pt x="148" y="184"/>
                </a:lnTo>
                <a:lnTo>
                  <a:pt x="147" y="184"/>
                </a:lnTo>
                <a:lnTo>
                  <a:pt x="146" y="183"/>
                </a:lnTo>
                <a:lnTo>
                  <a:pt x="141" y="183"/>
                </a:lnTo>
                <a:lnTo>
                  <a:pt x="137" y="179"/>
                </a:lnTo>
                <a:lnTo>
                  <a:pt x="136" y="179"/>
                </a:lnTo>
                <a:lnTo>
                  <a:pt x="137" y="180"/>
                </a:lnTo>
                <a:lnTo>
                  <a:pt x="136" y="180"/>
                </a:lnTo>
                <a:lnTo>
                  <a:pt x="136" y="181"/>
                </a:lnTo>
                <a:lnTo>
                  <a:pt x="134" y="181"/>
                </a:lnTo>
                <a:lnTo>
                  <a:pt x="133" y="179"/>
                </a:lnTo>
                <a:lnTo>
                  <a:pt x="131" y="179"/>
                </a:lnTo>
                <a:lnTo>
                  <a:pt x="130" y="178"/>
                </a:lnTo>
                <a:lnTo>
                  <a:pt x="129" y="178"/>
                </a:lnTo>
                <a:lnTo>
                  <a:pt x="125" y="174"/>
                </a:lnTo>
                <a:lnTo>
                  <a:pt x="123" y="173"/>
                </a:lnTo>
                <a:lnTo>
                  <a:pt x="122" y="172"/>
                </a:lnTo>
                <a:lnTo>
                  <a:pt x="121" y="172"/>
                </a:lnTo>
                <a:lnTo>
                  <a:pt x="119" y="171"/>
                </a:lnTo>
                <a:lnTo>
                  <a:pt x="117" y="169"/>
                </a:lnTo>
                <a:lnTo>
                  <a:pt x="117" y="168"/>
                </a:lnTo>
                <a:lnTo>
                  <a:pt x="112" y="166"/>
                </a:lnTo>
                <a:lnTo>
                  <a:pt x="111" y="165"/>
                </a:lnTo>
                <a:lnTo>
                  <a:pt x="111" y="166"/>
                </a:lnTo>
                <a:lnTo>
                  <a:pt x="110" y="167"/>
                </a:lnTo>
                <a:lnTo>
                  <a:pt x="109" y="167"/>
                </a:lnTo>
                <a:lnTo>
                  <a:pt x="108" y="166"/>
                </a:lnTo>
                <a:lnTo>
                  <a:pt x="108" y="165"/>
                </a:lnTo>
                <a:lnTo>
                  <a:pt x="106" y="163"/>
                </a:lnTo>
                <a:lnTo>
                  <a:pt x="102" y="162"/>
                </a:lnTo>
                <a:lnTo>
                  <a:pt x="99" y="162"/>
                </a:lnTo>
                <a:lnTo>
                  <a:pt x="98" y="161"/>
                </a:lnTo>
                <a:lnTo>
                  <a:pt x="94" y="161"/>
                </a:lnTo>
                <a:lnTo>
                  <a:pt x="94" y="160"/>
                </a:lnTo>
                <a:lnTo>
                  <a:pt x="91" y="160"/>
                </a:lnTo>
                <a:lnTo>
                  <a:pt x="90" y="161"/>
                </a:lnTo>
                <a:lnTo>
                  <a:pt x="88" y="161"/>
                </a:lnTo>
                <a:lnTo>
                  <a:pt x="88" y="162"/>
                </a:lnTo>
                <a:lnTo>
                  <a:pt x="87" y="162"/>
                </a:lnTo>
                <a:lnTo>
                  <a:pt x="85" y="165"/>
                </a:lnTo>
                <a:lnTo>
                  <a:pt x="84" y="165"/>
                </a:lnTo>
                <a:lnTo>
                  <a:pt x="83" y="166"/>
                </a:lnTo>
                <a:lnTo>
                  <a:pt x="79" y="168"/>
                </a:lnTo>
                <a:lnTo>
                  <a:pt x="78" y="169"/>
                </a:lnTo>
                <a:lnTo>
                  <a:pt x="79" y="169"/>
                </a:lnTo>
                <a:lnTo>
                  <a:pt x="78" y="171"/>
                </a:lnTo>
                <a:lnTo>
                  <a:pt x="78" y="172"/>
                </a:lnTo>
                <a:lnTo>
                  <a:pt x="77" y="172"/>
                </a:lnTo>
                <a:lnTo>
                  <a:pt x="77" y="175"/>
                </a:lnTo>
                <a:lnTo>
                  <a:pt x="75" y="175"/>
                </a:lnTo>
                <a:lnTo>
                  <a:pt x="73" y="177"/>
                </a:lnTo>
                <a:lnTo>
                  <a:pt x="72" y="177"/>
                </a:lnTo>
                <a:lnTo>
                  <a:pt x="69" y="179"/>
                </a:lnTo>
                <a:lnTo>
                  <a:pt x="69" y="183"/>
                </a:lnTo>
                <a:lnTo>
                  <a:pt x="68" y="183"/>
                </a:lnTo>
                <a:lnTo>
                  <a:pt x="67" y="185"/>
                </a:lnTo>
                <a:lnTo>
                  <a:pt x="66" y="186"/>
                </a:lnTo>
                <a:lnTo>
                  <a:pt x="67" y="187"/>
                </a:lnTo>
                <a:lnTo>
                  <a:pt x="67" y="189"/>
                </a:lnTo>
                <a:lnTo>
                  <a:pt x="66" y="189"/>
                </a:lnTo>
                <a:lnTo>
                  <a:pt x="65" y="190"/>
                </a:lnTo>
                <a:lnTo>
                  <a:pt x="63" y="190"/>
                </a:lnTo>
                <a:lnTo>
                  <a:pt x="63" y="191"/>
                </a:lnTo>
                <a:lnTo>
                  <a:pt x="62" y="191"/>
                </a:lnTo>
                <a:lnTo>
                  <a:pt x="62" y="192"/>
                </a:lnTo>
                <a:lnTo>
                  <a:pt x="61" y="192"/>
                </a:lnTo>
                <a:lnTo>
                  <a:pt x="57" y="194"/>
                </a:lnTo>
                <a:lnTo>
                  <a:pt x="50" y="196"/>
                </a:lnTo>
                <a:lnTo>
                  <a:pt x="48" y="197"/>
                </a:lnTo>
                <a:lnTo>
                  <a:pt x="47" y="198"/>
                </a:lnTo>
                <a:lnTo>
                  <a:pt x="38" y="198"/>
                </a:lnTo>
                <a:lnTo>
                  <a:pt x="37" y="194"/>
                </a:lnTo>
                <a:lnTo>
                  <a:pt x="37" y="193"/>
                </a:lnTo>
                <a:lnTo>
                  <a:pt x="38" y="192"/>
                </a:lnTo>
                <a:lnTo>
                  <a:pt x="40" y="190"/>
                </a:lnTo>
                <a:lnTo>
                  <a:pt x="41" y="189"/>
                </a:lnTo>
                <a:lnTo>
                  <a:pt x="43" y="187"/>
                </a:lnTo>
                <a:lnTo>
                  <a:pt x="44" y="186"/>
                </a:lnTo>
                <a:lnTo>
                  <a:pt x="44" y="184"/>
                </a:lnTo>
                <a:lnTo>
                  <a:pt x="47" y="181"/>
                </a:lnTo>
                <a:lnTo>
                  <a:pt x="47" y="180"/>
                </a:lnTo>
                <a:lnTo>
                  <a:pt x="44" y="178"/>
                </a:lnTo>
                <a:lnTo>
                  <a:pt x="44" y="175"/>
                </a:lnTo>
                <a:lnTo>
                  <a:pt x="43" y="175"/>
                </a:lnTo>
                <a:lnTo>
                  <a:pt x="42" y="177"/>
                </a:lnTo>
                <a:lnTo>
                  <a:pt x="41" y="177"/>
                </a:lnTo>
                <a:lnTo>
                  <a:pt x="34" y="178"/>
                </a:lnTo>
                <a:lnTo>
                  <a:pt x="30" y="178"/>
                </a:lnTo>
                <a:lnTo>
                  <a:pt x="30" y="177"/>
                </a:lnTo>
                <a:lnTo>
                  <a:pt x="28" y="177"/>
                </a:lnTo>
                <a:lnTo>
                  <a:pt x="23" y="173"/>
                </a:lnTo>
                <a:lnTo>
                  <a:pt x="22" y="173"/>
                </a:lnTo>
                <a:lnTo>
                  <a:pt x="19" y="172"/>
                </a:lnTo>
                <a:lnTo>
                  <a:pt x="17" y="172"/>
                </a:lnTo>
                <a:lnTo>
                  <a:pt x="16" y="171"/>
                </a:lnTo>
                <a:lnTo>
                  <a:pt x="16" y="169"/>
                </a:lnTo>
                <a:lnTo>
                  <a:pt x="15" y="168"/>
                </a:lnTo>
                <a:lnTo>
                  <a:pt x="13" y="168"/>
                </a:lnTo>
                <a:lnTo>
                  <a:pt x="13" y="166"/>
                </a:lnTo>
                <a:lnTo>
                  <a:pt x="12" y="165"/>
                </a:lnTo>
                <a:lnTo>
                  <a:pt x="12" y="161"/>
                </a:lnTo>
                <a:lnTo>
                  <a:pt x="13" y="160"/>
                </a:lnTo>
                <a:lnTo>
                  <a:pt x="11" y="157"/>
                </a:lnTo>
                <a:lnTo>
                  <a:pt x="11" y="156"/>
                </a:lnTo>
                <a:lnTo>
                  <a:pt x="10" y="154"/>
                </a:lnTo>
                <a:lnTo>
                  <a:pt x="11" y="154"/>
                </a:lnTo>
                <a:lnTo>
                  <a:pt x="13" y="151"/>
                </a:lnTo>
                <a:lnTo>
                  <a:pt x="15" y="149"/>
                </a:lnTo>
                <a:lnTo>
                  <a:pt x="15" y="147"/>
                </a:lnTo>
                <a:lnTo>
                  <a:pt x="17" y="144"/>
                </a:lnTo>
                <a:lnTo>
                  <a:pt x="19" y="146"/>
                </a:lnTo>
                <a:lnTo>
                  <a:pt x="19" y="144"/>
                </a:lnTo>
                <a:lnTo>
                  <a:pt x="18" y="142"/>
                </a:lnTo>
                <a:lnTo>
                  <a:pt x="18" y="140"/>
                </a:lnTo>
                <a:lnTo>
                  <a:pt x="17" y="138"/>
                </a:lnTo>
                <a:lnTo>
                  <a:pt x="17" y="136"/>
                </a:lnTo>
                <a:lnTo>
                  <a:pt x="15" y="135"/>
                </a:lnTo>
                <a:lnTo>
                  <a:pt x="11" y="135"/>
                </a:lnTo>
                <a:lnTo>
                  <a:pt x="7" y="134"/>
                </a:lnTo>
                <a:lnTo>
                  <a:pt x="6" y="132"/>
                </a:lnTo>
                <a:lnTo>
                  <a:pt x="6" y="128"/>
                </a:lnTo>
                <a:lnTo>
                  <a:pt x="5" y="125"/>
                </a:lnTo>
                <a:lnTo>
                  <a:pt x="3" y="125"/>
                </a:lnTo>
                <a:lnTo>
                  <a:pt x="3" y="124"/>
                </a:lnTo>
                <a:lnTo>
                  <a:pt x="1" y="123"/>
                </a:lnTo>
                <a:lnTo>
                  <a:pt x="1" y="122"/>
                </a:lnTo>
                <a:lnTo>
                  <a:pt x="0" y="120"/>
                </a:lnTo>
                <a:lnTo>
                  <a:pt x="3" y="118"/>
                </a:lnTo>
                <a:lnTo>
                  <a:pt x="5" y="118"/>
                </a:lnTo>
                <a:lnTo>
                  <a:pt x="6" y="117"/>
                </a:lnTo>
                <a:lnTo>
                  <a:pt x="7" y="117"/>
                </a:lnTo>
                <a:lnTo>
                  <a:pt x="9" y="118"/>
                </a:lnTo>
                <a:lnTo>
                  <a:pt x="11" y="119"/>
                </a:lnTo>
                <a:lnTo>
                  <a:pt x="12" y="118"/>
                </a:lnTo>
                <a:lnTo>
                  <a:pt x="12" y="117"/>
                </a:lnTo>
                <a:lnTo>
                  <a:pt x="13" y="117"/>
                </a:lnTo>
                <a:lnTo>
                  <a:pt x="15" y="116"/>
                </a:lnTo>
                <a:lnTo>
                  <a:pt x="15" y="114"/>
                </a:lnTo>
                <a:lnTo>
                  <a:pt x="16" y="114"/>
                </a:lnTo>
                <a:lnTo>
                  <a:pt x="17" y="113"/>
                </a:lnTo>
                <a:lnTo>
                  <a:pt x="19" y="113"/>
                </a:lnTo>
                <a:lnTo>
                  <a:pt x="22" y="111"/>
                </a:lnTo>
                <a:lnTo>
                  <a:pt x="22" y="107"/>
                </a:lnTo>
                <a:lnTo>
                  <a:pt x="23" y="105"/>
                </a:lnTo>
                <a:lnTo>
                  <a:pt x="24" y="104"/>
                </a:lnTo>
                <a:lnTo>
                  <a:pt x="24" y="101"/>
                </a:lnTo>
                <a:lnTo>
                  <a:pt x="22" y="101"/>
                </a:lnTo>
                <a:lnTo>
                  <a:pt x="22" y="100"/>
                </a:lnTo>
                <a:lnTo>
                  <a:pt x="21" y="100"/>
                </a:lnTo>
                <a:lnTo>
                  <a:pt x="21" y="98"/>
                </a:lnTo>
                <a:lnTo>
                  <a:pt x="18" y="97"/>
                </a:lnTo>
                <a:lnTo>
                  <a:pt x="17" y="95"/>
                </a:lnTo>
                <a:lnTo>
                  <a:pt x="16" y="95"/>
                </a:lnTo>
                <a:lnTo>
                  <a:pt x="16" y="88"/>
                </a:lnTo>
                <a:lnTo>
                  <a:pt x="13" y="87"/>
                </a:lnTo>
                <a:lnTo>
                  <a:pt x="12" y="86"/>
                </a:lnTo>
                <a:lnTo>
                  <a:pt x="11" y="86"/>
                </a:lnTo>
                <a:lnTo>
                  <a:pt x="9" y="83"/>
                </a:lnTo>
                <a:lnTo>
                  <a:pt x="9" y="76"/>
                </a:lnTo>
                <a:lnTo>
                  <a:pt x="11" y="76"/>
                </a:lnTo>
                <a:lnTo>
                  <a:pt x="11" y="75"/>
                </a:lnTo>
                <a:lnTo>
                  <a:pt x="12" y="76"/>
                </a:lnTo>
                <a:lnTo>
                  <a:pt x="13" y="76"/>
                </a:lnTo>
                <a:lnTo>
                  <a:pt x="17" y="73"/>
                </a:lnTo>
                <a:lnTo>
                  <a:pt x="17" y="71"/>
                </a:lnTo>
                <a:lnTo>
                  <a:pt x="18" y="71"/>
                </a:lnTo>
                <a:lnTo>
                  <a:pt x="18" y="70"/>
                </a:lnTo>
                <a:lnTo>
                  <a:pt x="21" y="73"/>
                </a:lnTo>
                <a:lnTo>
                  <a:pt x="21" y="74"/>
                </a:lnTo>
                <a:lnTo>
                  <a:pt x="25" y="74"/>
                </a:lnTo>
                <a:lnTo>
                  <a:pt x="28" y="73"/>
                </a:lnTo>
                <a:lnTo>
                  <a:pt x="29" y="71"/>
                </a:lnTo>
                <a:lnTo>
                  <a:pt x="34" y="71"/>
                </a:lnTo>
                <a:lnTo>
                  <a:pt x="36" y="69"/>
                </a:lnTo>
                <a:lnTo>
                  <a:pt x="38" y="69"/>
                </a:lnTo>
                <a:lnTo>
                  <a:pt x="38" y="68"/>
                </a:lnTo>
                <a:lnTo>
                  <a:pt x="40" y="68"/>
                </a:lnTo>
                <a:lnTo>
                  <a:pt x="40" y="67"/>
                </a:lnTo>
                <a:lnTo>
                  <a:pt x="44" y="68"/>
                </a:lnTo>
                <a:lnTo>
                  <a:pt x="47" y="70"/>
                </a:lnTo>
                <a:lnTo>
                  <a:pt x="48" y="70"/>
                </a:lnTo>
                <a:lnTo>
                  <a:pt x="50" y="71"/>
                </a:lnTo>
                <a:lnTo>
                  <a:pt x="53" y="71"/>
                </a:lnTo>
                <a:lnTo>
                  <a:pt x="53" y="70"/>
                </a:lnTo>
                <a:lnTo>
                  <a:pt x="54" y="68"/>
                </a:lnTo>
                <a:lnTo>
                  <a:pt x="55" y="68"/>
                </a:lnTo>
                <a:lnTo>
                  <a:pt x="59" y="67"/>
                </a:lnTo>
                <a:lnTo>
                  <a:pt x="60" y="65"/>
                </a:lnTo>
                <a:lnTo>
                  <a:pt x="60" y="62"/>
                </a:lnTo>
                <a:lnTo>
                  <a:pt x="61" y="61"/>
                </a:lnTo>
                <a:lnTo>
                  <a:pt x="62" y="61"/>
                </a:lnTo>
                <a:lnTo>
                  <a:pt x="65" y="58"/>
                </a:lnTo>
                <a:lnTo>
                  <a:pt x="65" y="55"/>
                </a:lnTo>
                <a:lnTo>
                  <a:pt x="63" y="52"/>
                </a:lnTo>
                <a:lnTo>
                  <a:pt x="62" y="51"/>
                </a:lnTo>
                <a:lnTo>
                  <a:pt x="62" y="50"/>
                </a:lnTo>
                <a:lnTo>
                  <a:pt x="63" y="50"/>
                </a:lnTo>
                <a:lnTo>
                  <a:pt x="63" y="49"/>
                </a:lnTo>
                <a:lnTo>
                  <a:pt x="65" y="49"/>
                </a:lnTo>
                <a:lnTo>
                  <a:pt x="67" y="48"/>
                </a:lnTo>
                <a:lnTo>
                  <a:pt x="71" y="44"/>
                </a:lnTo>
                <a:lnTo>
                  <a:pt x="72" y="44"/>
                </a:lnTo>
                <a:lnTo>
                  <a:pt x="72" y="40"/>
                </a:lnTo>
                <a:lnTo>
                  <a:pt x="73" y="40"/>
                </a:lnTo>
                <a:lnTo>
                  <a:pt x="74" y="39"/>
                </a:lnTo>
                <a:lnTo>
                  <a:pt x="78" y="39"/>
                </a:lnTo>
                <a:lnTo>
                  <a:pt x="78" y="52"/>
                </a:lnTo>
                <a:lnTo>
                  <a:pt x="79" y="52"/>
                </a:lnTo>
                <a:lnTo>
                  <a:pt x="80" y="54"/>
                </a:lnTo>
                <a:lnTo>
                  <a:pt x="81" y="54"/>
                </a:lnTo>
                <a:lnTo>
                  <a:pt x="83" y="55"/>
                </a:lnTo>
                <a:lnTo>
                  <a:pt x="85" y="58"/>
                </a:lnTo>
                <a:lnTo>
                  <a:pt x="85" y="60"/>
                </a:lnTo>
                <a:lnTo>
                  <a:pt x="86" y="60"/>
                </a:lnTo>
                <a:lnTo>
                  <a:pt x="88" y="61"/>
                </a:lnTo>
                <a:lnTo>
                  <a:pt x="90" y="61"/>
                </a:lnTo>
                <a:lnTo>
                  <a:pt x="90" y="60"/>
                </a:lnTo>
                <a:lnTo>
                  <a:pt x="91" y="60"/>
                </a:lnTo>
                <a:lnTo>
                  <a:pt x="91" y="61"/>
                </a:lnTo>
                <a:lnTo>
                  <a:pt x="93" y="61"/>
                </a:lnTo>
                <a:lnTo>
                  <a:pt x="94" y="62"/>
                </a:lnTo>
                <a:lnTo>
                  <a:pt x="94" y="64"/>
                </a:lnTo>
                <a:lnTo>
                  <a:pt x="92" y="67"/>
                </a:lnTo>
                <a:lnTo>
                  <a:pt x="92" y="68"/>
                </a:lnTo>
                <a:lnTo>
                  <a:pt x="93" y="68"/>
                </a:lnTo>
                <a:lnTo>
                  <a:pt x="96" y="69"/>
                </a:lnTo>
                <a:lnTo>
                  <a:pt x="97" y="70"/>
                </a:lnTo>
                <a:lnTo>
                  <a:pt x="97" y="71"/>
                </a:lnTo>
                <a:lnTo>
                  <a:pt x="98" y="73"/>
                </a:lnTo>
                <a:lnTo>
                  <a:pt x="98" y="76"/>
                </a:lnTo>
                <a:lnTo>
                  <a:pt x="99" y="76"/>
                </a:lnTo>
                <a:lnTo>
                  <a:pt x="100" y="77"/>
                </a:lnTo>
                <a:lnTo>
                  <a:pt x="102" y="77"/>
                </a:lnTo>
                <a:lnTo>
                  <a:pt x="103" y="75"/>
                </a:lnTo>
                <a:lnTo>
                  <a:pt x="104" y="74"/>
                </a:lnTo>
                <a:lnTo>
                  <a:pt x="104" y="71"/>
                </a:lnTo>
                <a:lnTo>
                  <a:pt x="103" y="71"/>
                </a:lnTo>
                <a:lnTo>
                  <a:pt x="102" y="70"/>
                </a:lnTo>
                <a:lnTo>
                  <a:pt x="102" y="69"/>
                </a:lnTo>
                <a:lnTo>
                  <a:pt x="100" y="69"/>
                </a:lnTo>
                <a:lnTo>
                  <a:pt x="100" y="68"/>
                </a:lnTo>
                <a:lnTo>
                  <a:pt x="103" y="67"/>
                </a:lnTo>
                <a:lnTo>
                  <a:pt x="102" y="64"/>
                </a:lnTo>
                <a:lnTo>
                  <a:pt x="103" y="63"/>
                </a:lnTo>
                <a:lnTo>
                  <a:pt x="104" y="63"/>
                </a:lnTo>
                <a:lnTo>
                  <a:pt x="104" y="62"/>
                </a:lnTo>
                <a:lnTo>
                  <a:pt x="105" y="61"/>
                </a:lnTo>
                <a:lnTo>
                  <a:pt x="104" y="60"/>
                </a:lnTo>
                <a:lnTo>
                  <a:pt x="105" y="60"/>
                </a:lnTo>
                <a:lnTo>
                  <a:pt x="105" y="58"/>
                </a:lnTo>
                <a:lnTo>
                  <a:pt x="109" y="56"/>
                </a:lnTo>
                <a:lnTo>
                  <a:pt x="109" y="54"/>
                </a:lnTo>
                <a:lnTo>
                  <a:pt x="110" y="54"/>
                </a:lnTo>
                <a:lnTo>
                  <a:pt x="111" y="52"/>
                </a:lnTo>
                <a:lnTo>
                  <a:pt x="114" y="48"/>
                </a:lnTo>
                <a:lnTo>
                  <a:pt x="114" y="45"/>
                </a:lnTo>
                <a:lnTo>
                  <a:pt x="112" y="43"/>
                </a:lnTo>
                <a:lnTo>
                  <a:pt x="112" y="40"/>
                </a:lnTo>
                <a:lnTo>
                  <a:pt x="111" y="39"/>
                </a:lnTo>
                <a:lnTo>
                  <a:pt x="112" y="38"/>
                </a:lnTo>
                <a:lnTo>
                  <a:pt x="112" y="37"/>
                </a:lnTo>
                <a:lnTo>
                  <a:pt x="114" y="36"/>
                </a:lnTo>
                <a:lnTo>
                  <a:pt x="116" y="36"/>
                </a:lnTo>
                <a:lnTo>
                  <a:pt x="116" y="37"/>
                </a:lnTo>
                <a:lnTo>
                  <a:pt x="117" y="38"/>
                </a:lnTo>
                <a:lnTo>
                  <a:pt x="118" y="38"/>
                </a:lnTo>
                <a:lnTo>
                  <a:pt x="118" y="37"/>
                </a:lnTo>
                <a:lnTo>
                  <a:pt x="119" y="37"/>
                </a:lnTo>
                <a:lnTo>
                  <a:pt x="119" y="36"/>
                </a:lnTo>
                <a:lnTo>
                  <a:pt x="121" y="37"/>
                </a:lnTo>
                <a:lnTo>
                  <a:pt x="121" y="44"/>
                </a:lnTo>
                <a:lnTo>
                  <a:pt x="122" y="44"/>
                </a:lnTo>
                <a:lnTo>
                  <a:pt x="122" y="45"/>
                </a:lnTo>
                <a:lnTo>
                  <a:pt x="123" y="46"/>
                </a:lnTo>
                <a:lnTo>
                  <a:pt x="123" y="48"/>
                </a:lnTo>
                <a:lnTo>
                  <a:pt x="124" y="48"/>
                </a:lnTo>
                <a:lnTo>
                  <a:pt x="125" y="49"/>
                </a:lnTo>
                <a:lnTo>
                  <a:pt x="131" y="49"/>
                </a:lnTo>
                <a:lnTo>
                  <a:pt x="131" y="45"/>
                </a:lnTo>
                <a:lnTo>
                  <a:pt x="135" y="45"/>
                </a:lnTo>
                <a:lnTo>
                  <a:pt x="137" y="44"/>
                </a:lnTo>
                <a:lnTo>
                  <a:pt x="141" y="44"/>
                </a:lnTo>
                <a:lnTo>
                  <a:pt x="142" y="45"/>
                </a:lnTo>
                <a:lnTo>
                  <a:pt x="142" y="46"/>
                </a:lnTo>
                <a:lnTo>
                  <a:pt x="143" y="49"/>
                </a:lnTo>
                <a:lnTo>
                  <a:pt x="146" y="50"/>
                </a:lnTo>
                <a:lnTo>
                  <a:pt x="146" y="52"/>
                </a:lnTo>
                <a:lnTo>
                  <a:pt x="149" y="52"/>
                </a:lnTo>
                <a:lnTo>
                  <a:pt x="150" y="51"/>
                </a:lnTo>
                <a:lnTo>
                  <a:pt x="150" y="49"/>
                </a:lnTo>
                <a:lnTo>
                  <a:pt x="148" y="48"/>
                </a:lnTo>
                <a:lnTo>
                  <a:pt x="148" y="44"/>
                </a:lnTo>
                <a:lnTo>
                  <a:pt x="149" y="44"/>
                </a:lnTo>
                <a:lnTo>
                  <a:pt x="149" y="40"/>
                </a:lnTo>
                <a:lnTo>
                  <a:pt x="146" y="40"/>
                </a:lnTo>
                <a:lnTo>
                  <a:pt x="144" y="39"/>
                </a:lnTo>
                <a:lnTo>
                  <a:pt x="146" y="38"/>
                </a:lnTo>
                <a:lnTo>
                  <a:pt x="146" y="37"/>
                </a:lnTo>
                <a:lnTo>
                  <a:pt x="144" y="37"/>
                </a:lnTo>
                <a:lnTo>
                  <a:pt x="146" y="36"/>
                </a:lnTo>
                <a:lnTo>
                  <a:pt x="146" y="33"/>
                </a:lnTo>
                <a:lnTo>
                  <a:pt x="147" y="32"/>
                </a:lnTo>
                <a:lnTo>
                  <a:pt x="147" y="30"/>
                </a:lnTo>
                <a:lnTo>
                  <a:pt x="148" y="30"/>
                </a:lnTo>
                <a:lnTo>
                  <a:pt x="152" y="28"/>
                </a:lnTo>
                <a:lnTo>
                  <a:pt x="154" y="28"/>
                </a:lnTo>
                <a:lnTo>
                  <a:pt x="154" y="31"/>
                </a:lnTo>
                <a:lnTo>
                  <a:pt x="155" y="32"/>
                </a:lnTo>
                <a:lnTo>
                  <a:pt x="156" y="32"/>
                </a:lnTo>
                <a:lnTo>
                  <a:pt x="156" y="33"/>
                </a:lnTo>
                <a:lnTo>
                  <a:pt x="162" y="33"/>
                </a:lnTo>
                <a:lnTo>
                  <a:pt x="164" y="32"/>
                </a:lnTo>
                <a:lnTo>
                  <a:pt x="164" y="28"/>
                </a:lnTo>
                <a:lnTo>
                  <a:pt x="162" y="27"/>
                </a:lnTo>
                <a:lnTo>
                  <a:pt x="160" y="27"/>
                </a:lnTo>
                <a:lnTo>
                  <a:pt x="160" y="22"/>
                </a:lnTo>
                <a:lnTo>
                  <a:pt x="162" y="20"/>
                </a:lnTo>
                <a:lnTo>
                  <a:pt x="162" y="19"/>
                </a:lnTo>
                <a:lnTo>
                  <a:pt x="161" y="19"/>
                </a:lnTo>
                <a:lnTo>
                  <a:pt x="161" y="18"/>
                </a:lnTo>
                <a:lnTo>
                  <a:pt x="162" y="17"/>
                </a:lnTo>
                <a:lnTo>
                  <a:pt x="162" y="15"/>
                </a:lnTo>
                <a:lnTo>
                  <a:pt x="164" y="13"/>
                </a:lnTo>
                <a:lnTo>
                  <a:pt x="166" y="15"/>
                </a:lnTo>
                <a:lnTo>
                  <a:pt x="171" y="14"/>
                </a:lnTo>
                <a:lnTo>
                  <a:pt x="171" y="13"/>
                </a:lnTo>
                <a:lnTo>
                  <a:pt x="172" y="14"/>
                </a:lnTo>
                <a:lnTo>
                  <a:pt x="175" y="15"/>
                </a:lnTo>
                <a:lnTo>
                  <a:pt x="175" y="17"/>
                </a:lnTo>
                <a:lnTo>
                  <a:pt x="174" y="18"/>
                </a:lnTo>
                <a:lnTo>
                  <a:pt x="177" y="18"/>
                </a:lnTo>
                <a:lnTo>
                  <a:pt x="178" y="19"/>
                </a:lnTo>
                <a:lnTo>
                  <a:pt x="180" y="19"/>
                </a:lnTo>
                <a:lnTo>
                  <a:pt x="180" y="20"/>
                </a:lnTo>
                <a:lnTo>
                  <a:pt x="181" y="20"/>
                </a:lnTo>
                <a:lnTo>
                  <a:pt x="183" y="19"/>
                </a:lnTo>
                <a:lnTo>
                  <a:pt x="186" y="19"/>
                </a:lnTo>
                <a:lnTo>
                  <a:pt x="187" y="17"/>
                </a:lnTo>
                <a:lnTo>
                  <a:pt x="189" y="17"/>
                </a:lnTo>
                <a:lnTo>
                  <a:pt x="189" y="13"/>
                </a:lnTo>
                <a:lnTo>
                  <a:pt x="190" y="12"/>
                </a:lnTo>
                <a:lnTo>
                  <a:pt x="190" y="11"/>
                </a:lnTo>
                <a:lnTo>
                  <a:pt x="193" y="7"/>
                </a:lnTo>
                <a:lnTo>
                  <a:pt x="196" y="6"/>
                </a:lnTo>
                <a:lnTo>
                  <a:pt x="201" y="6"/>
                </a:lnTo>
                <a:lnTo>
                  <a:pt x="202" y="7"/>
                </a:lnTo>
                <a:lnTo>
                  <a:pt x="203" y="7"/>
                </a:lnTo>
                <a:lnTo>
                  <a:pt x="205" y="6"/>
                </a:lnTo>
                <a:lnTo>
                  <a:pt x="205" y="5"/>
                </a:lnTo>
                <a:lnTo>
                  <a:pt x="206" y="5"/>
                </a:lnTo>
                <a:lnTo>
                  <a:pt x="208" y="6"/>
                </a:lnTo>
                <a:lnTo>
                  <a:pt x="209" y="6"/>
                </a:lnTo>
                <a:lnTo>
                  <a:pt x="210" y="5"/>
                </a:lnTo>
                <a:lnTo>
                  <a:pt x="211" y="5"/>
                </a:lnTo>
                <a:lnTo>
                  <a:pt x="214" y="6"/>
                </a:lnTo>
                <a:lnTo>
                  <a:pt x="215" y="6"/>
                </a:lnTo>
                <a:lnTo>
                  <a:pt x="216" y="7"/>
                </a:lnTo>
                <a:lnTo>
                  <a:pt x="217" y="7"/>
                </a:lnTo>
                <a:lnTo>
                  <a:pt x="218" y="6"/>
                </a:lnTo>
                <a:lnTo>
                  <a:pt x="221" y="6"/>
                </a:lnTo>
                <a:lnTo>
                  <a:pt x="222" y="5"/>
                </a:lnTo>
                <a:lnTo>
                  <a:pt x="224" y="3"/>
                </a:lnTo>
                <a:lnTo>
                  <a:pt x="226" y="2"/>
                </a:lnTo>
                <a:lnTo>
                  <a:pt x="229" y="2"/>
                </a:lnTo>
                <a:lnTo>
                  <a:pt x="233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5" name="Freeform 35">
            <a:extLst>
              <a:ext uri="{FF2B5EF4-FFF2-40B4-BE49-F238E27FC236}">
                <a16:creationId xmlns:a16="http://schemas.microsoft.com/office/drawing/2014/main" id="{321D90F4-37F8-4701-9A5F-8C21A7D06B9F}"/>
              </a:ext>
            </a:extLst>
          </p:cNvPr>
          <p:cNvSpPr>
            <a:spLocks noEditPoints="1"/>
          </p:cNvSpPr>
          <p:nvPr/>
        </p:nvSpPr>
        <p:spPr bwMode="auto">
          <a:xfrm>
            <a:off x="591264" y="4171351"/>
            <a:ext cx="273850" cy="405703"/>
          </a:xfrm>
          <a:custGeom>
            <a:avLst/>
            <a:gdLst/>
            <a:ahLst/>
            <a:cxnLst>
              <a:cxn ang="0">
                <a:pos x="34" y="165"/>
              </a:cxn>
              <a:cxn ang="0">
                <a:pos x="33" y="155"/>
              </a:cxn>
              <a:cxn ang="0">
                <a:pos x="29" y="108"/>
              </a:cxn>
              <a:cxn ang="0">
                <a:pos x="22" y="83"/>
              </a:cxn>
              <a:cxn ang="0">
                <a:pos x="87" y="60"/>
              </a:cxn>
              <a:cxn ang="0">
                <a:pos x="136" y="3"/>
              </a:cxn>
              <a:cxn ang="0">
                <a:pos x="131" y="27"/>
              </a:cxn>
              <a:cxn ang="0">
                <a:pos x="112" y="55"/>
              </a:cxn>
              <a:cxn ang="0">
                <a:pos x="101" y="75"/>
              </a:cxn>
              <a:cxn ang="0">
                <a:pos x="134" y="94"/>
              </a:cxn>
              <a:cxn ang="0">
                <a:pos x="146" y="72"/>
              </a:cxn>
              <a:cxn ang="0">
                <a:pos x="160" y="94"/>
              </a:cxn>
              <a:cxn ang="0">
                <a:pos x="182" y="100"/>
              </a:cxn>
              <a:cxn ang="0">
                <a:pos x="180" y="128"/>
              </a:cxn>
              <a:cxn ang="0">
                <a:pos x="180" y="150"/>
              </a:cxn>
              <a:cxn ang="0">
                <a:pos x="183" y="186"/>
              </a:cxn>
              <a:cxn ang="0">
                <a:pos x="174" y="229"/>
              </a:cxn>
              <a:cxn ang="0">
                <a:pos x="157" y="225"/>
              </a:cxn>
              <a:cxn ang="0">
                <a:pos x="148" y="227"/>
              </a:cxn>
              <a:cxn ang="0">
                <a:pos x="124" y="236"/>
              </a:cxn>
              <a:cxn ang="0">
                <a:pos x="111" y="244"/>
              </a:cxn>
              <a:cxn ang="0">
                <a:pos x="97" y="252"/>
              </a:cxn>
              <a:cxn ang="0">
                <a:pos x="91" y="256"/>
              </a:cxn>
              <a:cxn ang="0">
                <a:pos x="75" y="268"/>
              </a:cxn>
              <a:cxn ang="0">
                <a:pos x="58" y="274"/>
              </a:cxn>
              <a:cxn ang="0">
                <a:pos x="44" y="274"/>
              </a:cxn>
              <a:cxn ang="0">
                <a:pos x="27" y="278"/>
              </a:cxn>
              <a:cxn ang="0">
                <a:pos x="40" y="264"/>
              </a:cxn>
              <a:cxn ang="0">
                <a:pos x="15" y="269"/>
              </a:cxn>
              <a:cxn ang="0">
                <a:pos x="28" y="256"/>
              </a:cxn>
              <a:cxn ang="0">
                <a:pos x="18" y="257"/>
              </a:cxn>
              <a:cxn ang="0">
                <a:pos x="5" y="248"/>
              </a:cxn>
              <a:cxn ang="0">
                <a:pos x="21" y="236"/>
              </a:cxn>
              <a:cxn ang="0">
                <a:pos x="9" y="235"/>
              </a:cxn>
              <a:cxn ang="0">
                <a:pos x="6" y="226"/>
              </a:cxn>
              <a:cxn ang="0">
                <a:pos x="30" y="224"/>
              </a:cxn>
              <a:cxn ang="0">
                <a:pos x="34" y="208"/>
              </a:cxn>
              <a:cxn ang="0">
                <a:pos x="65" y="192"/>
              </a:cxn>
              <a:cxn ang="0">
                <a:pos x="40" y="199"/>
              </a:cxn>
              <a:cxn ang="0">
                <a:pos x="43" y="183"/>
              </a:cxn>
              <a:cxn ang="0">
                <a:pos x="59" y="163"/>
              </a:cxn>
              <a:cxn ang="0">
                <a:pos x="62" y="156"/>
              </a:cxn>
              <a:cxn ang="0">
                <a:pos x="37" y="146"/>
              </a:cxn>
              <a:cxn ang="0">
                <a:pos x="27" y="144"/>
              </a:cxn>
              <a:cxn ang="0">
                <a:pos x="15" y="137"/>
              </a:cxn>
              <a:cxn ang="0">
                <a:pos x="23" y="123"/>
              </a:cxn>
              <a:cxn ang="0">
                <a:pos x="22" y="110"/>
              </a:cxn>
              <a:cxn ang="0">
                <a:pos x="22" y="101"/>
              </a:cxn>
              <a:cxn ang="0">
                <a:pos x="27" y="94"/>
              </a:cxn>
              <a:cxn ang="0">
                <a:pos x="27" y="82"/>
              </a:cxn>
              <a:cxn ang="0">
                <a:pos x="52" y="80"/>
              </a:cxn>
              <a:cxn ang="0">
                <a:pos x="71" y="83"/>
              </a:cxn>
              <a:cxn ang="0">
                <a:pos x="81" y="79"/>
              </a:cxn>
              <a:cxn ang="0">
                <a:pos x="96" y="60"/>
              </a:cxn>
              <a:cxn ang="0">
                <a:pos x="84" y="58"/>
              </a:cxn>
              <a:cxn ang="0">
                <a:pos x="81" y="45"/>
              </a:cxn>
              <a:cxn ang="0">
                <a:pos x="85" y="33"/>
              </a:cxn>
              <a:cxn ang="0">
                <a:pos x="98" y="20"/>
              </a:cxn>
              <a:cxn ang="0">
                <a:pos x="112" y="15"/>
              </a:cxn>
              <a:cxn ang="0">
                <a:pos x="116" y="11"/>
              </a:cxn>
              <a:cxn ang="0">
                <a:pos x="124" y="27"/>
              </a:cxn>
              <a:cxn ang="0">
                <a:pos x="133" y="8"/>
              </a:cxn>
            </a:cxnLst>
            <a:rect l="0" t="0" r="r" b="b"/>
            <a:pathLst>
              <a:path w="189" h="280">
                <a:moveTo>
                  <a:pt x="24" y="267"/>
                </a:moveTo>
                <a:lnTo>
                  <a:pt x="28" y="267"/>
                </a:lnTo>
                <a:lnTo>
                  <a:pt x="28" y="268"/>
                </a:lnTo>
                <a:lnTo>
                  <a:pt x="24" y="269"/>
                </a:lnTo>
                <a:lnTo>
                  <a:pt x="24" y="268"/>
                </a:lnTo>
                <a:lnTo>
                  <a:pt x="23" y="268"/>
                </a:lnTo>
                <a:lnTo>
                  <a:pt x="24" y="267"/>
                </a:lnTo>
                <a:close/>
                <a:moveTo>
                  <a:pt x="141" y="231"/>
                </a:moveTo>
                <a:lnTo>
                  <a:pt x="142" y="231"/>
                </a:lnTo>
                <a:lnTo>
                  <a:pt x="142" y="232"/>
                </a:lnTo>
                <a:lnTo>
                  <a:pt x="141" y="231"/>
                </a:lnTo>
                <a:close/>
                <a:moveTo>
                  <a:pt x="167" y="217"/>
                </a:moveTo>
                <a:lnTo>
                  <a:pt x="167" y="218"/>
                </a:lnTo>
                <a:lnTo>
                  <a:pt x="168" y="218"/>
                </a:lnTo>
                <a:lnTo>
                  <a:pt x="170" y="217"/>
                </a:lnTo>
                <a:lnTo>
                  <a:pt x="167" y="217"/>
                </a:lnTo>
                <a:close/>
                <a:moveTo>
                  <a:pt x="28" y="163"/>
                </a:moveTo>
                <a:lnTo>
                  <a:pt x="33" y="163"/>
                </a:lnTo>
                <a:lnTo>
                  <a:pt x="34" y="164"/>
                </a:lnTo>
                <a:lnTo>
                  <a:pt x="34" y="165"/>
                </a:lnTo>
                <a:lnTo>
                  <a:pt x="35" y="165"/>
                </a:lnTo>
                <a:lnTo>
                  <a:pt x="35" y="166"/>
                </a:lnTo>
                <a:lnTo>
                  <a:pt x="34" y="166"/>
                </a:lnTo>
                <a:lnTo>
                  <a:pt x="29" y="164"/>
                </a:lnTo>
                <a:lnTo>
                  <a:pt x="28" y="163"/>
                </a:lnTo>
                <a:close/>
                <a:moveTo>
                  <a:pt x="62" y="160"/>
                </a:moveTo>
                <a:lnTo>
                  <a:pt x="64" y="160"/>
                </a:lnTo>
                <a:lnTo>
                  <a:pt x="62" y="162"/>
                </a:lnTo>
                <a:lnTo>
                  <a:pt x="62" y="160"/>
                </a:lnTo>
                <a:close/>
                <a:moveTo>
                  <a:pt x="60" y="160"/>
                </a:moveTo>
                <a:lnTo>
                  <a:pt x="61" y="160"/>
                </a:lnTo>
                <a:lnTo>
                  <a:pt x="62" y="162"/>
                </a:lnTo>
                <a:lnTo>
                  <a:pt x="60" y="162"/>
                </a:lnTo>
                <a:lnTo>
                  <a:pt x="60" y="160"/>
                </a:lnTo>
                <a:close/>
                <a:moveTo>
                  <a:pt x="33" y="153"/>
                </a:moveTo>
                <a:lnTo>
                  <a:pt x="34" y="153"/>
                </a:lnTo>
                <a:lnTo>
                  <a:pt x="35" y="156"/>
                </a:lnTo>
                <a:lnTo>
                  <a:pt x="35" y="157"/>
                </a:lnTo>
                <a:lnTo>
                  <a:pt x="33" y="157"/>
                </a:lnTo>
                <a:lnTo>
                  <a:pt x="33" y="155"/>
                </a:lnTo>
                <a:lnTo>
                  <a:pt x="31" y="155"/>
                </a:lnTo>
                <a:lnTo>
                  <a:pt x="33" y="153"/>
                </a:lnTo>
                <a:close/>
                <a:moveTo>
                  <a:pt x="184" y="145"/>
                </a:moveTo>
                <a:lnTo>
                  <a:pt x="186" y="145"/>
                </a:lnTo>
                <a:lnTo>
                  <a:pt x="186" y="147"/>
                </a:lnTo>
                <a:lnTo>
                  <a:pt x="185" y="147"/>
                </a:lnTo>
                <a:lnTo>
                  <a:pt x="185" y="146"/>
                </a:lnTo>
                <a:lnTo>
                  <a:pt x="184" y="146"/>
                </a:lnTo>
                <a:lnTo>
                  <a:pt x="184" y="145"/>
                </a:lnTo>
                <a:close/>
                <a:moveTo>
                  <a:pt x="18" y="139"/>
                </a:moveTo>
                <a:lnTo>
                  <a:pt x="19" y="140"/>
                </a:lnTo>
                <a:lnTo>
                  <a:pt x="19" y="139"/>
                </a:lnTo>
                <a:lnTo>
                  <a:pt x="18" y="139"/>
                </a:lnTo>
                <a:close/>
                <a:moveTo>
                  <a:pt x="11" y="134"/>
                </a:moveTo>
                <a:lnTo>
                  <a:pt x="14" y="134"/>
                </a:lnTo>
                <a:lnTo>
                  <a:pt x="12" y="135"/>
                </a:lnTo>
                <a:lnTo>
                  <a:pt x="11" y="134"/>
                </a:lnTo>
                <a:close/>
                <a:moveTo>
                  <a:pt x="28" y="104"/>
                </a:moveTo>
                <a:lnTo>
                  <a:pt x="28" y="108"/>
                </a:lnTo>
                <a:lnTo>
                  <a:pt x="29" y="108"/>
                </a:lnTo>
                <a:lnTo>
                  <a:pt x="29" y="106"/>
                </a:lnTo>
                <a:lnTo>
                  <a:pt x="28" y="104"/>
                </a:lnTo>
                <a:close/>
                <a:moveTo>
                  <a:pt x="134" y="90"/>
                </a:moveTo>
                <a:lnTo>
                  <a:pt x="134" y="94"/>
                </a:lnTo>
                <a:lnTo>
                  <a:pt x="133" y="91"/>
                </a:lnTo>
                <a:lnTo>
                  <a:pt x="134" y="90"/>
                </a:lnTo>
                <a:close/>
                <a:moveTo>
                  <a:pt x="16" y="90"/>
                </a:moveTo>
                <a:lnTo>
                  <a:pt x="16" y="91"/>
                </a:lnTo>
                <a:lnTo>
                  <a:pt x="17" y="91"/>
                </a:lnTo>
                <a:lnTo>
                  <a:pt x="17" y="92"/>
                </a:lnTo>
                <a:lnTo>
                  <a:pt x="16" y="94"/>
                </a:lnTo>
                <a:lnTo>
                  <a:pt x="17" y="94"/>
                </a:lnTo>
                <a:lnTo>
                  <a:pt x="17" y="95"/>
                </a:lnTo>
                <a:lnTo>
                  <a:pt x="15" y="95"/>
                </a:lnTo>
                <a:lnTo>
                  <a:pt x="15" y="92"/>
                </a:lnTo>
                <a:lnTo>
                  <a:pt x="16" y="90"/>
                </a:lnTo>
                <a:close/>
                <a:moveTo>
                  <a:pt x="19" y="80"/>
                </a:moveTo>
                <a:lnTo>
                  <a:pt x="21" y="80"/>
                </a:lnTo>
                <a:lnTo>
                  <a:pt x="21" y="82"/>
                </a:lnTo>
                <a:lnTo>
                  <a:pt x="22" y="83"/>
                </a:lnTo>
                <a:lnTo>
                  <a:pt x="25" y="83"/>
                </a:lnTo>
                <a:lnTo>
                  <a:pt x="24" y="85"/>
                </a:lnTo>
                <a:lnTo>
                  <a:pt x="22" y="85"/>
                </a:lnTo>
                <a:lnTo>
                  <a:pt x="21" y="84"/>
                </a:lnTo>
                <a:lnTo>
                  <a:pt x="21" y="86"/>
                </a:lnTo>
                <a:lnTo>
                  <a:pt x="19" y="86"/>
                </a:lnTo>
                <a:lnTo>
                  <a:pt x="19" y="89"/>
                </a:lnTo>
                <a:lnTo>
                  <a:pt x="18" y="89"/>
                </a:lnTo>
                <a:lnTo>
                  <a:pt x="18" y="90"/>
                </a:lnTo>
                <a:lnTo>
                  <a:pt x="16" y="90"/>
                </a:lnTo>
                <a:lnTo>
                  <a:pt x="16" y="88"/>
                </a:lnTo>
                <a:lnTo>
                  <a:pt x="17" y="88"/>
                </a:lnTo>
                <a:lnTo>
                  <a:pt x="17" y="86"/>
                </a:lnTo>
                <a:lnTo>
                  <a:pt x="16" y="86"/>
                </a:lnTo>
                <a:lnTo>
                  <a:pt x="16" y="84"/>
                </a:lnTo>
                <a:lnTo>
                  <a:pt x="17" y="83"/>
                </a:lnTo>
                <a:lnTo>
                  <a:pt x="17" y="82"/>
                </a:lnTo>
                <a:lnTo>
                  <a:pt x="19" y="80"/>
                </a:lnTo>
                <a:close/>
                <a:moveTo>
                  <a:pt x="89" y="58"/>
                </a:moveTo>
                <a:lnTo>
                  <a:pt x="87" y="60"/>
                </a:lnTo>
                <a:lnTo>
                  <a:pt x="86" y="60"/>
                </a:lnTo>
                <a:lnTo>
                  <a:pt x="86" y="61"/>
                </a:lnTo>
                <a:lnTo>
                  <a:pt x="85" y="61"/>
                </a:lnTo>
                <a:lnTo>
                  <a:pt x="85" y="60"/>
                </a:lnTo>
                <a:lnTo>
                  <a:pt x="86" y="59"/>
                </a:lnTo>
                <a:lnTo>
                  <a:pt x="87" y="59"/>
                </a:lnTo>
                <a:lnTo>
                  <a:pt x="89" y="58"/>
                </a:lnTo>
                <a:close/>
                <a:moveTo>
                  <a:pt x="81" y="28"/>
                </a:moveTo>
                <a:lnTo>
                  <a:pt x="83" y="29"/>
                </a:lnTo>
                <a:lnTo>
                  <a:pt x="84" y="29"/>
                </a:lnTo>
                <a:lnTo>
                  <a:pt x="84" y="32"/>
                </a:lnTo>
                <a:lnTo>
                  <a:pt x="80" y="32"/>
                </a:lnTo>
                <a:lnTo>
                  <a:pt x="80" y="29"/>
                </a:lnTo>
                <a:lnTo>
                  <a:pt x="81" y="29"/>
                </a:lnTo>
                <a:lnTo>
                  <a:pt x="81" y="28"/>
                </a:lnTo>
                <a:close/>
                <a:moveTo>
                  <a:pt x="130" y="0"/>
                </a:moveTo>
                <a:lnTo>
                  <a:pt x="131" y="0"/>
                </a:lnTo>
                <a:lnTo>
                  <a:pt x="133" y="2"/>
                </a:lnTo>
                <a:lnTo>
                  <a:pt x="135" y="3"/>
                </a:lnTo>
                <a:lnTo>
                  <a:pt x="136" y="3"/>
                </a:lnTo>
                <a:lnTo>
                  <a:pt x="137" y="4"/>
                </a:lnTo>
                <a:lnTo>
                  <a:pt x="139" y="4"/>
                </a:lnTo>
                <a:lnTo>
                  <a:pt x="141" y="8"/>
                </a:lnTo>
                <a:lnTo>
                  <a:pt x="143" y="9"/>
                </a:lnTo>
                <a:lnTo>
                  <a:pt x="145" y="10"/>
                </a:lnTo>
                <a:lnTo>
                  <a:pt x="147" y="10"/>
                </a:lnTo>
                <a:lnTo>
                  <a:pt x="148" y="11"/>
                </a:lnTo>
                <a:lnTo>
                  <a:pt x="148" y="10"/>
                </a:lnTo>
                <a:lnTo>
                  <a:pt x="149" y="11"/>
                </a:lnTo>
                <a:lnTo>
                  <a:pt x="149" y="14"/>
                </a:lnTo>
                <a:lnTo>
                  <a:pt x="147" y="14"/>
                </a:lnTo>
                <a:lnTo>
                  <a:pt x="145" y="15"/>
                </a:lnTo>
                <a:lnTo>
                  <a:pt x="141" y="18"/>
                </a:lnTo>
                <a:lnTo>
                  <a:pt x="140" y="18"/>
                </a:lnTo>
                <a:lnTo>
                  <a:pt x="136" y="22"/>
                </a:lnTo>
                <a:lnTo>
                  <a:pt x="136" y="24"/>
                </a:lnTo>
                <a:lnTo>
                  <a:pt x="135" y="24"/>
                </a:lnTo>
                <a:lnTo>
                  <a:pt x="135" y="26"/>
                </a:lnTo>
                <a:lnTo>
                  <a:pt x="134" y="26"/>
                </a:lnTo>
                <a:lnTo>
                  <a:pt x="131" y="27"/>
                </a:lnTo>
                <a:lnTo>
                  <a:pt x="130" y="27"/>
                </a:lnTo>
                <a:lnTo>
                  <a:pt x="129" y="29"/>
                </a:lnTo>
                <a:lnTo>
                  <a:pt x="129" y="34"/>
                </a:lnTo>
                <a:lnTo>
                  <a:pt x="128" y="34"/>
                </a:lnTo>
                <a:lnTo>
                  <a:pt x="128" y="40"/>
                </a:lnTo>
                <a:lnTo>
                  <a:pt x="123" y="45"/>
                </a:lnTo>
                <a:lnTo>
                  <a:pt x="123" y="48"/>
                </a:lnTo>
                <a:lnTo>
                  <a:pt x="118" y="48"/>
                </a:lnTo>
                <a:lnTo>
                  <a:pt x="116" y="51"/>
                </a:lnTo>
                <a:lnTo>
                  <a:pt x="112" y="51"/>
                </a:lnTo>
                <a:lnTo>
                  <a:pt x="111" y="49"/>
                </a:lnTo>
                <a:lnTo>
                  <a:pt x="110" y="51"/>
                </a:lnTo>
                <a:lnTo>
                  <a:pt x="108" y="52"/>
                </a:lnTo>
                <a:lnTo>
                  <a:pt x="109" y="52"/>
                </a:lnTo>
                <a:lnTo>
                  <a:pt x="108" y="53"/>
                </a:lnTo>
                <a:lnTo>
                  <a:pt x="109" y="54"/>
                </a:lnTo>
                <a:lnTo>
                  <a:pt x="110" y="54"/>
                </a:lnTo>
                <a:lnTo>
                  <a:pt x="110" y="55"/>
                </a:lnTo>
                <a:lnTo>
                  <a:pt x="111" y="57"/>
                </a:lnTo>
                <a:lnTo>
                  <a:pt x="112" y="55"/>
                </a:lnTo>
                <a:lnTo>
                  <a:pt x="112" y="57"/>
                </a:lnTo>
                <a:lnTo>
                  <a:pt x="114" y="58"/>
                </a:lnTo>
                <a:lnTo>
                  <a:pt x="115" y="58"/>
                </a:lnTo>
                <a:lnTo>
                  <a:pt x="116" y="57"/>
                </a:lnTo>
                <a:lnTo>
                  <a:pt x="117" y="57"/>
                </a:lnTo>
                <a:lnTo>
                  <a:pt x="117" y="58"/>
                </a:lnTo>
                <a:lnTo>
                  <a:pt x="115" y="59"/>
                </a:lnTo>
                <a:lnTo>
                  <a:pt x="111" y="63"/>
                </a:lnTo>
                <a:lnTo>
                  <a:pt x="109" y="64"/>
                </a:lnTo>
                <a:lnTo>
                  <a:pt x="108" y="64"/>
                </a:lnTo>
                <a:lnTo>
                  <a:pt x="104" y="63"/>
                </a:lnTo>
                <a:lnTo>
                  <a:pt x="103" y="64"/>
                </a:lnTo>
                <a:lnTo>
                  <a:pt x="103" y="65"/>
                </a:lnTo>
                <a:lnTo>
                  <a:pt x="102" y="66"/>
                </a:lnTo>
                <a:lnTo>
                  <a:pt x="102" y="67"/>
                </a:lnTo>
                <a:lnTo>
                  <a:pt x="101" y="67"/>
                </a:lnTo>
                <a:lnTo>
                  <a:pt x="98" y="69"/>
                </a:lnTo>
                <a:lnTo>
                  <a:pt x="98" y="71"/>
                </a:lnTo>
                <a:lnTo>
                  <a:pt x="99" y="72"/>
                </a:lnTo>
                <a:lnTo>
                  <a:pt x="101" y="75"/>
                </a:lnTo>
                <a:lnTo>
                  <a:pt x="102" y="76"/>
                </a:lnTo>
                <a:lnTo>
                  <a:pt x="104" y="76"/>
                </a:lnTo>
                <a:lnTo>
                  <a:pt x="105" y="78"/>
                </a:lnTo>
                <a:lnTo>
                  <a:pt x="105" y="79"/>
                </a:lnTo>
                <a:lnTo>
                  <a:pt x="106" y="80"/>
                </a:lnTo>
                <a:lnTo>
                  <a:pt x="109" y="80"/>
                </a:lnTo>
                <a:lnTo>
                  <a:pt x="110" y="82"/>
                </a:lnTo>
                <a:lnTo>
                  <a:pt x="110" y="86"/>
                </a:lnTo>
                <a:lnTo>
                  <a:pt x="111" y="88"/>
                </a:lnTo>
                <a:lnTo>
                  <a:pt x="117" y="88"/>
                </a:lnTo>
                <a:lnTo>
                  <a:pt x="120" y="90"/>
                </a:lnTo>
                <a:lnTo>
                  <a:pt x="121" y="90"/>
                </a:lnTo>
                <a:lnTo>
                  <a:pt x="121" y="92"/>
                </a:lnTo>
                <a:lnTo>
                  <a:pt x="127" y="92"/>
                </a:lnTo>
                <a:lnTo>
                  <a:pt x="128" y="91"/>
                </a:lnTo>
                <a:lnTo>
                  <a:pt x="129" y="91"/>
                </a:lnTo>
                <a:lnTo>
                  <a:pt x="129" y="92"/>
                </a:lnTo>
                <a:lnTo>
                  <a:pt x="130" y="92"/>
                </a:lnTo>
                <a:lnTo>
                  <a:pt x="130" y="94"/>
                </a:lnTo>
                <a:lnTo>
                  <a:pt x="134" y="94"/>
                </a:lnTo>
                <a:lnTo>
                  <a:pt x="135" y="92"/>
                </a:lnTo>
                <a:lnTo>
                  <a:pt x="135" y="90"/>
                </a:lnTo>
                <a:lnTo>
                  <a:pt x="136" y="90"/>
                </a:lnTo>
                <a:lnTo>
                  <a:pt x="136" y="89"/>
                </a:lnTo>
                <a:lnTo>
                  <a:pt x="135" y="89"/>
                </a:lnTo>
                <a:lnTo>
                  <a:pt x="137" y="86"/>
                </a:lnTo>
                <a:lnTo>
                  <a:pt x="139" y="86"/>
                </a:lnTo>
                <a:lnTo>
                  <a:pt x="140" y="85"/>
                </a:lnTo>
                <a:lnTo>
                  <a:pt x="140" y="84"/>
                </a:lnTo>
                <a:lnTo>
                  <a:pt x="141" y="84"/>
                </a:lnTo>
                <a:lnTo>
                  <a:pt x="139" y="83"/>
                </a:lnTo>
                <a:lnTo>
                  <a:pt x="139" y="82"/>
                </a:lnTo>
                <a:lnTo>
                  <a:pt x="137" y="80"/>
                </a:lnTo>
                <a:lnTo>
                  <a:pt x="139" y="80"/>
                </a:lnTo>
                <a:lnTo>
                  <a:pt x="139" y="78"/>
                </a:lnTo>
                <a:lnTo>
                  <a:pt x="140" y="78"/>
                </a:lnTo>
                <a:lnTo>
                  <a:pt x="141" y="77"/>
                </a:lnTo>
                <a:lnTo>
                  <a:pt x="143" y="73"/>
                </a:lnTo>
                <a:lnTo>
                  <a:pt x="145" y="72"/>
                </a:lnTo>
                <a:lnTo>
                  <a:pt x="146" y="72"/>
                </a:lnTo>
                <a:lnTo>
                  <a:pt x="147" y="73"/>
                </a:lnTo>
                <a:lnTo>
                  <a:pt x="149" y="75"/>
                </a:lnTo>
                <a:lnTo>
                  <a:pt x="151" y="76"/>
                </a:lnTo>
                <a:lnTo>
                  <a:pt x="151" y="77"/>
                </a:lnTo>
                <a:lnTo>
                  <a:pt x="152" y="77"/>
                </a:lnTo>
                <a:lnTo>
                  <a:pt x="152" y="78"/>
                </a:lnTo>
                <a:lnTo>
                  <a:pt x="153" y="79"/>
                </a:lnTo>
                <a:lnTo>
                  <a:pt x="153" y="80"/>
                </a:lnTo>
                <a:lnTo>
                  <a:pt x="152" y="82"/>
                </a:lnTo>
                <a:lnTo>
                  <a:pt x="154" y="84"/>
                </a:lnTo>
                <a:lnTo>
                  <a:pt x="154" y="86"/>
                </a:lnTo>
                <a:lnTo>
                  <a:pt x="155" y="88"/>
                </a:lnTo>
                <a:lnTo>
                  <a:pt x="157" y="88"/>
                </a:lnTo>
                <a:lnTo>
                  <a:pt x="158" y="89"/>
                </a:lnTo>
                <a:lnTo>
                  <a:pt x="159" y="88"/>
                </a:lnTo>
                <a:lnTo>
                  <a:pt x="160" y="88"/>
                </a:lnTo>
                <a:lnTo>
                  <a:pt x="161" y="89"/>
                </a:lnTo>
                <a:lnTo>
                  <a:pt x="161" y="90"/>
                </a:lnTo>
                <a:lnTo>
                  <a:pt x="162" y="91"/>
                </a:lnTo>
                <a:lnTo>
                  <a:pt x="160" y="94"/>
                </a:lnTo>
                <a:lnTo>
                  <a:pt x="161" y="95"/>
                </a:lnTo>
                <a:lnTo>
                  <a:pt x="160" y="97"/>
                </a:lnTo>
                <a:lnTo>
                  <a:pt x="161" y="97"/>
                </a:lnTo>
                <a:lnTo>
                  <a:pt x="162" y="98"/>
                </a:lnTo>
                <a:lnTo>
                  <a:pt x="162" y="100"/>
                </a:lnTo>
                <a:lnTo>
                  <a:pt x="164" y="98"/>
                </a:lnTo>
                <a:lnTo>
                  <a:pt x="165" y="98"/>
                </a:lnTo>
                <a:lnTo>
                  <a:pt x="168" y="97"/>
                </a:lnTo>
                <a:lnTo>
                  <a:pt x="170" y="97"/>
                </a:lnTo>
                <a:lnTo>
                  <a:pt x="171" y="98"/>
                </a:lnTo>
                <a:lnTo>
                  <a:pt x="172" y="97"/>
                </a:lnTo>
                <a:lnTo>
                  <a:pt x="173" y="97"/>
                </a:lnTo>
                <a:lnTo>
                  <a:pt x="173" y="95"/>
                </a:lnTo>
                <a:lnTo>
                  <a:pt x="174" y="94"/>
                </a:lnTo>
                <a:lnTo>
                  <a:pt x="174" y="95"/>
                </a:lnTo>
                <a:lnTo>
                  <a:pt x="178" y="95"/>
                </a:lnTo>
                <a:lnTo>
                  <a:pt x="180" y="97"/>
                </a:lnTo>
                <a:lnTo>
                  <a:pt x="180" y="98"/>
                </a:lnTo>
                <a:lnTo>
                  <a:pt x="182" y="98"/>
                </a:lnTo>
                <a:lnTo>
                  <a:pt x="182" y="100"/>
                </a:lnTo>
                <a:lnTo>
                  <a:pt x="184" y="100"/>
                </a:lnTo>
                <a:lnTo>
                  <a:pt x="184" y="102"/>
                </a:lnTo>
                <a:lnTo>
                  <a:pt x="183" y="103"/>
                </a:lnTo>
                <a:lnTo>
                  <a:pt x="180" y="103"/>
                </a:lnTo>
                <a:lnTo>
                  <a:pt x="179" y="102"/>
                </a:lnTo>
                <a:lnTo>
                  <a:pt x="176" y="101"/>
                </a:lnTo>
                <a:lnTo>
                  <a:pt x="173" y="101"/>
                </a:lnTo>
                <a:lnTo>
                  <a:pt x="174" y="102"/>
                </a:lnTo>
                <a:lnTo>
                  <a:pt x="173" y="103"/>
                </a:lnTo>
                <a:lnTo>
                  <a:pt x="173" y="109"/>
                </a:lnTo>
                <a:lnTo>
                  <a:pt x="176" y="112"/>
                </a:lnTo>
                <a:lnTo>
                  <a:pt x="178" y="112"/>
                </a:lnTo>
                <a:lnTo>
                  <a:pt x="178" y="116"/>
                </a:lnTo>
                <a:lnTo>
                  <a:pt x="179" y="116"/>
                </a:lnTo>
                <a:lnTo>
                  <a:pt x="178" y="117"/>
                </a:lnTo>
                <a:lnTo>
                  <a:pt x="178" y="121"/>
                </a:lnTo>
                <a:lnTo>
                  <a:pt x="179" y="125"/>
                </a:lnTo>
                <a:lnTo>
                  <a:pt x="179" y="127"/>
                </a:lnTo>
                <a:lnTo>
                  <a:pt x="180" y="127"/>
                </a:lnTo>
                <a:lnTo>
                  <a:pt x="180" y="128"/>
                </a:lnTo>
                <a:lnTo>
                  <a:pt x="182" y="131"/>
                </a:lnTo>
                <a:lnTo>
                  <a:pt x="183" y="131"/>
                </a:lnTo>
                <a:lnTo>
                  <a:pt x="184" y="132"/>
                </a:lnTo>
                <a:lnTo>
                  <a:pt x="185" y="132"/>
                </a:lnTo>
                <a:lnTo>
                  <a:pt x="185" y="137"/>
                </a:lnTo>
                <a:lnTo>
                  <a:pt x="184" y="138"/>
                </a:lnTo>
                <a:lnTo>
                  <a:pt x="184" y="140"/>
                </a:lnTo>
                <a:lnTo>
                  <a:pt x="183" y="140"/>
                </a:lnTo>
                <a:lnTo>
                  <a:pt x="182" y="139"/>
                </a:lnTo>
                <a:lnTo>
                  <a:pt x="182" y="140"/>
                </a:lnTo>
                <a:lnTo>
                  <a:pt x="180" y="140"/>
                </a:lnTo>
                <a:lnTo>
                  <a:pt x="183" y="141"/>
                </a:lnTo>
                <a:lnTo>
                  <a:pt x="184" y="143"/>
                </a:lnTo>
                <a:lnTo>
                  <a:pt x="184" y="145"/>
                </a:lnTo>
                <a:lnTo>
                  <a:pt x="183" y="145"/>
                </a:lnTo>
                <a:lnTo>
                  <a:pt x="183" y="146"/>
                </a:lnTo>
                <a:lnTo>
                  <a:pt x="179" y="147"/>
                </a:lnTo>
                <a:lnTo>
                  <a:pt x="179" y="149"/>
                </a:lnTo>
                <a:lnTo>
                  <a:pt x="180" y="149"/>
                </a:lnTo>
                <a:lnTo>
                  <a:pt x="180" y="150"/>
                </a:lnTo>
                <a:lnTo>
                  <a:pt x="183" y="152"/>
                </a:lnTo>
                <a:lnTo>
                  <a:pt x="184" y="152"/>
                </a:lnTo>
                <a:lnTo>
                  <a:pt x="185" y="153"/>
                </a:lnTo>
                <a:lnTo>
                  <a:pt x="184" y="153"/>
                </a:lnTo>
                <a:lnTo>
                  <a:pt x="184" y="157"/>
                </a:lnTo>
                <a:lnTo>
                  <a:pt x="185" y="158"/>
                </a:lnTo>
                <a:lnTo>
                  <a:pt x="185" y="159"/>
                </a:lnTo>
                <a:lnTo>
                  <a:pt x="186" y="159"/>
                </a:lnTo>
                <a:lnTo>
                  <a:pt x="185" y="162"/>
                </a:lnTo>
                <a:lnTo>
                  <a:pt x="186" y="162"/>
                </a:lnTo>
                <a:lnTo>
                  <a:pt x="188" y="165"/>
                </a:lnTo>
                <a:lnTo>
                  <a:pt x="188" y="170"/>
                </a:lnTo>
                <a:lnTo>
                  <a:pt x="186" y="171"/>
                </a:lnTo>
                <a:lnTo>
                  <a:pt x="186" y="172"/>
                </a:lnTo>
                <a:lnTo>
                  <a:pt x="189" y="175"/>
                </a:lnTo>
                <a:lnTo>
                  <a:pt x="189" y="176"/>
                </a:lnTo>
                <a:lnTo>
                  <a:pt x="188" y="177"/>
                </a:lnTo>
                <a:lnTo>
                  <a:pt x="188" y="178"/>
                </a:lnTo>
                <a:lnTo>
                  <a:pt x="186" y="182"/>
                </a:lnTo>
                <a:lnTo>
                  <a:pt x="183" y="186"/>
                </a:lnTo>
                <a:lnTo>
                  <a:pt x="183" y="190"/>
                </a:lnTo>
                <a:lnTo>
                  <a:pt x="182" y="193"/>
                </a:lnTo>
                <a:lnTo>
                  <a:pt x="179" y="196"/>
                </a:lnTo>
                <a:lnTo>
                  <a:pt x="179" y="199"/>
                </a:lnTo>
                <a:lnTo>
                  <a:pt x="180" y="200"/>
                </a:lnTo>
                <a:lnTo>
                  <a:pt x="180" y="205"/>
                </a:lnTo>
                <a:lnTo>
                  <a:pt x="179" y="206"/>
                </a:lnTo>
                <a:lnTo>
                  <a:pt x="177" y="209"/>
                </a:lnTo>
                <a:lnTo>
                  <a:pt x="176" y="211"/>
                </a:lnTo>
                <a:lnTo>
                  <a:pt x="176" y="212"/>
                </a:lnTo>
                <a:lnTo>
                  <a:pt x="174" y="212"/>
                </a:lnTo>
                <a:lnTo>
                  <a:pt x="173" y="214"/>
                </a:lnTo>
                <a:lnTo>
                  <a:pt x="173" y="218"/>
                </a:lnTo>
                <a:lnTo>
                  <a:pt x="170" y="218"/>
                </a:lnTo>
                <a:lnTo>
                  <a:pt x="170" y="220"/>
                </a:lnTo>
                <a:lnTo>
                  <a:pt x="172" y="223"/>
                </a:lnTo>
                <a:lnTo>
                  <a:pt x="172" y="221"/>
                </a:lnTo>
                <a:lnTo>
                  <a:pt x="173" y="224"/>
                </a:lnTo>
                <a:lnTo>
                  <a:pt x="176" y="225"/>
                </a:lnTo>
                <a:lnTo>
                  <a:pt x="174" y="229"/>
                </a:lnTo>
                <a:lnTo>
                  <a:pt x="173" y="230"/>
                </a:lnTo>
                <a:lnTo>
                  <a:pt x="172" y="230"/>
                </a:lnTo>
                <a:lnTo>
                  <a:pt x="172" y="229"/>
                </a:lnTo>
                <a:lnTo>
                  <a:pt x="173" y="227"/>
                </a:lnTo>
                <a:lnTo>
                  <a:pt x="172" y="227"/>
                </a:lnTo>
                <a:lnTo>
                  <a:pt x="172" y="229"/>
                </a:lnTo>
                <a:lnTo>
                  <a:pt x="170" y="229"/>
                </a:lnTo>
                <a:lnTo>
                  <a:pt x="170" y="227"/>
                </a:lnTo>
                <a:lnTo>
                  <a:pt x="168" y="227"/>
                </a:lnTo>
                <a:lnTo>
                  <a:pt x="168" y="229"/>
                </a:lnTo>
                <a:lnTo>
                  <a:pt x="166" y="229"/>
                </a:lnTo>
                <a:lnTo>
                  <a:pt x="165" y="230"/>
                </a:lnTo>
                <a:lnTo>
                  <a:pt x="164" y="230"/>
                </a:lnTo>
                <a:lnTo>
                  <a:pt x="162" y="229"/>
                </a:lnTo>
                <a:lnTo>
                  <a:pt x="161" y="229"/>
                </a:lnTo>
                <a:lnTo>
                  <a:pt x="159" y="227"/>
                </a:lnTo>
                <a:lnTo>
                  <a:pt x="155" y="227"/>
                </a:lnTo>
                <a:lnTo>
                  <a:pt x="155" y="226"/>
                </a:lnTo>
                <a:lnTo>
                  <a:pt x="157" y="226"/>
                </a:lnTo>
                <a:lnTo>
                  <a:pt x="157" y="225"/>
                </a:lnTo>
                <a:lnTo>
                  <a:pt x="155" y="226"/>
                </a:lnTo>
                <a:lnTo>
                  <a:pt x="154" y="226"/>
                </a:lnTo>
                <a:lnTo>
                  <a:pt x="154" y="225"/>
                </a:lnTo>
                <a:lnTo>
                  <a:pt x="153" y="226"/>
                </a:lnTo>
                <a:lnTo>
                  <a:pt x="153" y="227"/>
                </a:lnTo>
                <a:lnTo>
                  <a:pt x="154" y="227"/>
                </a:lnTo>
                <a:lnTo>
                  <a:pt x="154" y="230"/>
                </a:lnTo>
                <a:lnTo>
                  <a:pt x="151" y="232"/>
                </a:lnTo>
                <a:lnTo>
                  <a:pt x="151" y="233"/>
                </a:lnTo>
                <a:lnTo>
                  <a:pt x="148" y="233"/>
                </a:lnTo>
                <a:lnTo>
                  <a:pt x="151" y="231"/>
                </a:lnTo>
                <a:lnTo>
                  <a:pt x="151" y="230"/>
                </a:lnTo>
                <a:lnTo>
                  <a:pt x="149" y="227"/>
                </a:lnTo>
                <a:lnTo>
                  <a:pt x="149" y="226"/>
                </a:lnTo>
                <a:lnTo>
                  <a:pt x="148" y="226"/>
                </a:lnTo>
                <a:lnTo>
                  <a:pt x="148" y="225"/>
                </a:lnTo>
                <a:lnTo>
                  <a:pt x="147" y="223"/>
                </a:lnTo>
                <a:lnTo>
                  <a:pt x="147" y="225"/>
                </a:lnTo>
                <a:lnTo>
                  <a:pt x="148" y="226"/>
                </a:lnTo>
                <a:lnTo>
                  <a:pt x="148" y="227"/>
                </a:lnTo>
                <a:lnTo>
                  <a:pt x="147" y="229"/>
                </a:lnTo>
                <a:lnTo>
                  <a:pt x="147" y="230"/>
                </a:lnTo>
                <a:lnTo>
                  <a:pt x="148" y="230"/>
                </a:lnTo>
                <a:lnTo>
                  <a:pt x="147" y="232"/>
                </a:lnTo>
                <a:lnTo>
                  <a:pt x="146" y="232"/>
                </a:lnTo>
                <a:lnTo>
                  <a:pt x="145" y="233"/>
                </a:lnTo>
                <a:lnTo>
                  <a:pt x="142" y="233"/>
                </a:lnTo>
                <a:lnTo>
                  <a:pt x="142" y="232"/>
                </a:lnTo>
                <a:lnTo>
                  <a:pt x="143" y="231"/>
                </a:lnTo>
                <a:lnTo>
                  <a:pt x="142" y="230"/>
                </a:lnTo>
                <a:lnTo>
                  <a:pt x="141" y="230"/>
                </a:lnTo>
                <a:lnTo>
                  <a:pt x="141" y="231"/>
                </a:lnTo>
                <a:lnTo>
                  <a:pt x="140" y="231"/>
                </a:lnTo>
                <a:lnTo>
                  <a:pt x="140" y="232"/>
                </a:lnTo>
                <a:lnTo>
                  <a:pt x="139" y="233"/>
                </a:lnTo>
                <a:lnTo>
                  <a:pt x="137" y="233"/>
                </a:lnTo>
                <a:lnTo>
                  <a:pt x="136" y="232"/>
                </a:lnTo>
                <a:lnTo>
                  <a:pt x="128" y="233"/>
                </a:lnTo>
                <a:lnTo>
                  <a:pt x="126" y="235"/>
                </a:lnTo>
                <a:lnTo>
                  <a:pt x="124" y="236"/>
                </a:lnTo>
                <a:lnTo>
                  <a:pt x="123" y="236"/>
                </a:lnTo>
                <a:lnTo>
                  <a:pt x="123" y="237"/>
                </a:lnTo>
                <a:lnTo>
                  <a:pt x="122" y="236"/>
                </a:lnTo>
                <a:lnTo>
                  <a:pt x="122" y="235"/>
                </a:lnTo>
                <a:lnTo>
                  <a:pt x="120" y="237"/>
                </a:lnTo>
                <a:lnTo>
                  <a:pt x="120" y="238"/>
                </a:lnTo>
                <a:lnTo>
                  <a:pt x="121" y="237"/>
                </a:lnTo>
                <a:lnTo>
                  <a:pt x="122" y="237"/>
                </a:lnTo>
                <a:lnTo>
                  <a:pt x="123" y="238"/>
                </a:lnTo>
                <a:lnTo>
                  <a:pt x="123" y="239"/>
                </a:lnTo>
                <a:lnTo>
                  <a:pt x="122" y="241"/>
                </a:lnTo>
                <a:lnTo>
                  <a:pt x="122" y="243"/>
                </a:lnTo>
                <a:lnTo>
                  <a:pt x="121" y="243"/>
                </a:lnTo>
                <a:lnTo>
                  <a:pt x="120" y="244"/>
                </a:lnTo>
                <a:lnTo>
                  <a:pt x="117" y="243"/>
                </a:lnTo>
                <a:lnTo>
                  <a:pt x="117" y="244"/>
                </a:lnTo>
                <a:lnTo>
                  <a:pt x="116" y="245"/>
                </a:lnTo>
                <a:lnTo>
                  <a:pt x="116" y="246"/>
                </a:lnTo>
                <a:lnTo>
                  <a:pt x="111" y="245"/>
                </a:lnTo>
                <a:lnTo>
                  <a:pt x="111" y="244"/>
                </a:lnTo>
                <a:lnTo>
                  <a:pt x="110" y="244"/>
                </a:lnTo>
                <a:lnTo>
                  <a:pt x="110" y="246"/>
                </a:lnTo>
                <a:lnTo>
                  <a:pt x="109" y="248"/>
                </a:lnTo>
                <a:lnTo>
                  <a:pt x="108" y="248"/>
                </a:lnTo>
                <a:lnTo>
                  <a:pt x="109" y="249"/>
                </a:lnTo>
                <a:lnTo>
                  <a:pt x="109" y="250"/>
                </a:lnTo>
                <a:lnTo>
                  <a:pt x="108" y="250"/>
                </a:lnTo>
                <a:lnTo>
                  <a:pt x="106" y="251"/>
                </a:lnTo>
                <a:lnTo>
                  <a:pt x="104" y="252"/>
                </a:lnTo>
                <a:lnTo>
                  <a:pt x="103" y="252"/>
                </a:lnTo>
                <a:lnTo>
                  <a:pt x="104" y="254"/>
                </a:lnTo>
                <a:lnTo>
                  <a:pt x="101" y="255"/>
                </a:lnTo>
                <a:lnTo>
                  <a:pt x="99" y="256"/>
                </a:lnTo>
                <a:lnTo>
                  <a:pt x="95" y="256"/>
                </a:lnTo>
                <a:lnTo>
                  <a:pt x="93" y="255"/>
                </a:lnTo>
                <a:lnTo>
                  <a:pt x="95" y="255"/>
                </a:lnTo>
                <a:lnTo>
                  <a:pt x="95" y="254"/>
                </a:lnTo>
                <a:lnTo>
                  <a:pt x="96" y="254"/>
                </a:lnTo>
                <a:lnTo>
                  <a:pt x="96" y="252"/>
                </a:lnTo>
                <a:lnTo>
                  <a:pt x="97" y="252"/>
                </a:lnTo>
                <a:lnTo>
                  <a:pt x="97" y="251"/>
                </a:lnTo>
                <a:lnTo>
                  <a:pt x="96" y="251"/>
                </a:lnTo>
                <a:lnTo>
                  <a:pt x="96" y="250"/>
                </a:lnTo>
                <a:lnTo>
                  <a:pt x="97" y="250"/>
                </a:lnTo>
                <a:lnTo>
                  <a:pt x="97" y="249"/>
                </a:lnTo>
                <a:lnTo>
                  <a:pt x="96" y="249"/>
                </a:lnTo>
                <a:lnTo>
                  <a:pt x="96" y="250"/>
                </a:lnTo>
                <a:lnTo>
                  <a:pt x="95" y="250"/>
                </a:lnTo>
                <a:lnTo>
                  <a:pt x="95" y="249"/>
                </a:lnTo>
                <a:lnTo>
                  <a:pt x="92" y="250"/>
                </a:lnTo>
                <a:lnTo>
                  <a:pt x="92" y="249"/>
                </a:lnTo>
                <a:lnTo>
                  <a:pt x="91" y="249"/>
                </a:lnTo>
                <a:lnTo>
                  <a:pt x="90" y="250"/>
                </a:lnTo>
                <a:lnTo>
                  <a:pt x="89" y="249"/>
                </a:lnTo>
                <a:lnTo>
                  <a:pt x="87" y="250"/>
                </a:lnTo>
                <a:lnTo>
                  <a:pt x="90" y="251"/>
                </a:lnTo>
                <a:lnTo>
                  <a:pt x="91" y="251"/>
                </a:lnTo>
                <a:lnTo>
                  <a:pt x="90" y="254"/>
                </a:lnTo>
                <a:lnTo>
                  <a:pt x="91" y="254"/>
                </a:lnTo>
                <a:lnTo>
                  <a:pt x="91" y="256"/>
                </a:lnTo>
                <a:lnTo>
                  <a:pt x="92" y="256"/>
                </a:lnTo>
                <a:lnTo>
                  <a:pt x="92" y="258"/>
                </a:lnTo>
                <a:lnTo>
                  <a:pt x="90" y="260"/>
                </a:lnTo>
                <a:lnTo>
                  <a:pt x="90" y="261"/>
                </a:lnTo>
                <a:lnTo>
                  <a:pt x="89" y="262"/>
                </a:lnTo>
                <a:lnTo>
                  <a:pt x="85" y="262"/>
                </a:lnTo>
                <a:lnTo>
                  <a:pt x="85" y="263"/>
                </a:lnTo>
                <a:lnTo>
                  <a:pt x="84" y="264"/>
                </a:lnTo>
                <a:lnTo>
                  <a:pt x="84" y="263"/>
                </a:lnTo>
                <a:lnTo>
                  <a:pt x="83" y="263"/>
                </a:lnTo>
                <a:lnTo>
                  <a:pt x="83" y="262"/>
                </a:lnTo>
                <a:lnTo>
                  <a:pt x="81" y="262"/>
                </a:lnTo>
                <a:lnTo>
                  <a:pt x="81" y="263"/>
                </a:lnTo>
                <a:lnTo>
                  <a:pt x="83" y="263"/>
                </a:lnTo>
                <a:lnTo>
                  <a:pt x="83" y="264"/>
                </a:lnTo>
                <a:lnTo>
                  <a:pt x="81" y="266"/>
                </a:lnTo>
                <a:lnTo>
                  <a:pt x="81" y="268"/>
                </a:lnTo>
                <a:lnTo>
                  <a:pt x="80" y="267"/>
                </a:lnTo>
                <a:lnTo>
                  <a:pt x="75" y="267"/>
                </a:lnTo>
                <a:lnTo>
                  <a:pt x="75" y="268"/>
                </a:lnTo>
                <a:lnTo>
                  <a:pt x="74" y="268"/>
                </a:lnTo>
                <a:lnTo>
                  <a:pt x="75" y="269"/>
                </a:lnTo>
                <a:lnTo>
                  <a:pt x="74" y="269"/>
                </a:lnTo>
                <a:lnTo>
                  <a:pt x="74" y="270"/>
                </a:lnTo>
                <a:lnTo>
                  <a:pt x="75" y="272"/>
                </a:lnTo>
                <a:lnTo>
                  <a:pt x="73" y="270"/>
                </a:lnTo>
                <a:lnTo>
                  <a:pt x="71" y="270"/>
                </a:lnTo>
                <a:lnTo>
                  <a:pt x="70" y="269"/>
                </a:lnTo>
                <a:lnTo>
                  <a:pt x="70" y="270"/>
                </a:lnTo>
                <a:lnTo>
                  <a:pt x="68" y="269"/>
                </a:lnTo>
                <a:lnTo>
                  <a:pt x="68" y="270"/>
                </a:lnTo>
                <a:lnTo>
                  <a:pt x="67" y="272"/>
                </a:lnTo>
                <a:lnTo>
                  <a:pt x="67" y="273"/>
                </a:lnTo>
                <a:lnTo>
                  <a:pt x="64" y="273"/>
                </a:lnTo>
                <a:lnTo>
                  <a:pt x="64" y="272"/>
                </a:lnTo>
                <a:lnTo>
                  <a:pt x="62" y="272"/>
                </a:lnTo>
                <a:lnTo>
                  <a:pt x="61" y="273"/>
                </a:lnTo>
                <a:lnTo>
                  <a:pt x="59" y="273"/>
                </a:lnTo>
                <a:lnTo>
                  <a:pt x="58" y="272"/>
                </a:lnTo>
                <a:lnTo>
                  <a:pt x="58" y="274"/>
                </a:lnTo>
                <a:lnTo>
                  <a:pt x="56" y="274"/>
                </a:lnTo>
                <a:lnTo>
                  <a:pt x="55" y="275"/>
                </a:lnTo>
                <a:lnTo>
                  <a:pt x="54" y="274"/>
                </a:lnTo>
                <a:lnTo>
                  <a:pt x="54" y="275"/>
                </a:lnTo>
                <a:lnTo>
                  <a:pt x="53" y="276"/>
                </a:lnTo>
                <a:lnTo>
                  <a:pt x="53" y="278"/>
                </a:lnTo>
                <a:lnTo>
                  <a:pt x="52" y="276"/>
                </a:lnTo>
                <a:lnTo>
                  <a:pt x="50" y="278"/>
                </a:lnTo>
                <a:lnTo>
                  <a:pt x="50" y="275"/>
                </a:lnTo>
                <a:lnTo>
                  <a:pt x="49" y="276"/>
                </a:lnTo>
                <a:lnTo>
                  <a:pt x="49" y="278"/>
                </a:lnTo>
                <a:lnTo>
                  <a:pt x="47" y="278"/>
                </a:lnTo>
                <a:lnTo>
                  <a:pt x="47" y="275"/>
                </a:lnTo>
                <a:lnTo>
                  <a:pt x="48" y="274"/>
                </a:lnTo>
                <a:lnTo>
                  <a:pt x="47" y="274"/>
                </a:lnTo>
                <a:lnTo>
                  <a:pt x="47" y="275"/>
                </a:lnTo>
                <a:lnTo>
                  <a:pt x="46" y="275"/>
                </a:lnTo>
                <a:lnTo>
                  <a:pt x="46" y="276"/>
                </a:lnTo>
                <a:lnTo>
                  <a:pt x="44" y="275"/>
                </a:lnTo>
                <a:lnTo>
                  <a:pt x="44" y="274"/>
                </a:lnTo>
                <a:lnTo>
                  <a:pt x="46" y="273"/>
                </a:lnTo>
                <a:lnTo>
                  <a:pt x="44" y="273"/>
                </a:lnTo>
                <a:lnTo>
                  <a:pt x="43" y="272"/>
                </a:lnTo>
                <a:lnTo>
                  <a:pt x="43" y="273"/>
                </a:lnTo>
                <a:lnTo>
                  <a:pt x="42" y="274"/>
                </a:lnTo>
                <a:lnTo>
                  <a:pt x="39" y="274"/>
                </a:lnTo>
                <a:lnTo>
                  <a:pt x="39" y="275"/>
                </a:lnTo>
                <a:lnTo>
                  <a:pt x="37" y="275"/>
                </a:lnTo>
                <a:lnTo>
                  <a:pt x="37" y="276"/>
                </a:lnTo>
                <a:lnTo>
                  <a:pt x="36" y="276"/>
                </a:lnTo>
                <a:lnTo>
                  <a:pt x="35" y="275"/>
                </a:lnTo>
                <a:lnTo>
                  <a:pt x="34" y="275"/>
                </a:lnTo>
                <a:lnTo>
                  <a:pt x="31" y="278"/>
                </a:lnTo>
                <a:lnTo>
                  <a:pt x="33" y="278"/>
                </a:lnTo>
                <a:lnTo>
                  <a:pt x="30" y="280"/>
                </a:lnTo>
                <a:lnTo>
                  <a:pt x="30" y="279"/>
                </a:lnTo>
                <a:lnTo>
                  <a:pt x="29" y="279"/>
                </a:lnTo>
                <a:lnTo>
                  <a:pt x="28" y="280"/>
                </a:lnTo>
                <a:lnTo>
                  <a:pt x="28" y="278"/>
                </a:lnTo>
                <a:lnTo>
                  <a:pt x="27" y="278"/>
                </a:lnTo>
                <a:lnTo>
                  <a:pt x="28" y="276"/>
                </a:lnTo>
                <a:lnTo>
                  <a:pt x="29" y="276"/>
                </a:lnTo>
                <a:lnTo>
                  <a:pt x="31" y="274"/>
                </a:lnTo>
                <a:lnTo>
                  <a:pt x="33" y="274"/>
                </a:lnTo>
                <a:lnTo>
                  <a:pt x="36" y="270"/>
                </a:lnTo>
                <a:lnTo>
                  <a:pt x="37" y="270"/>
                </a:lnTo>
                <a:lnTo>
                  <a:pt x="39" y="269"/>
                </a:lnTo>
                <a:lnTo>
                  <a:pt x="40" y="269"/>
                </a:lnTo>
                <a:lnTo>
                  <a:pt x="37" y="268"/>
                </a:lnTo>
                <a:lnTo>
                  <a:pt x="29" y="273"/>
                </a:lnTo>
                <a:lnTo>
                  <a:pt x="27" y="273"/>
                </a:lnTo>
                <a:lnTo>
                  <a:pt x="28" y="272"/>
                </a:lnTo>
                <a:lnTo>
                  <a:pt x="29" y="272"/>
                </a:lnTo>
                <a:lnTo>
                  <a:pt x="29" y="270"/>
                </a:lnTo>
                <a:lnTo>
                  <a:pt x="30" y="270"/>
                </a:lnTo>
                <a:lnTo>
                  <a:pt x="31" y="269"/>
                </a:lnTo>
                <a:lnTo>
                  <a:pt x="36" y="267"/>
                </a:lnTo>
                <a:lnTo>
                  <a:pt x="37" y="266"/>
                </a:lnTo>
                <a:lnTo>
                  <a:pt x="39" y="266"/>
                </a:lnTo>
                <a:lnTo>
                  <a:pt x="40" y="264"/>
                </a:lnTo>
                <a:lnTo>
                  <a:pt x="42" y="264"/>
                </a:lnTo>
                <a:lnTo>
                  <a:pt x="43" y="263"/>
                </a:lnTo>
                <a:lnTo>
                  <a:pt x="43" y="261"/>
                </a:lnTo>
                <a:lnTo>
                  <a:pt x="42" y="261"/>
                </a:lnTo>
                <a:lnTo>
                  <a:pt x="42" y="262"/>
                </a:lnTo>
                <a:lnTo>
                  <a:pt x="41" y="261"/>
                </a:lnTo>
                <a:lnTo>
                  <a:pt x="40" y="261"/>
                </a:lnTo>
                <a:lnTo>
                  <a:pt x="40" y="258"/>
                </a:lnTo>
                <a:lnTo>
                  <a:pt x="39" y="258"/>
                </a:lnTo>
                <a:lnTo>
                  <a:pt x="39" y="261"/>
                </a:lnTo>
                <a:lnTo>
                  <a:pt x="40" y="261"/>
                </a:lnTo>
                <a:lnTo>
                  <a:pt x="39" y="262"/>
                </a:lnTo>
                <a:lnTo>
                  <a:pt x="37" y="262"/>
                </a:lnTo>
                <a:lnTo>
                  <a:pt x="35" y="264"/>
                </a:lnTo>
                <a:lnTo>
                  <a:pt x="30" y="264"/>
                </a:lnTo>
                <a:lnTo>
                  <a:pt x="25" y="266"/>
                </a:lnTo>
                <a:lnTo>
                  <a:pt x="23" y="267"/>
                </a:lnTo>
                <a:lnTo>
                  <a:pt x="23" y="268"/>
                </a:lnTo>
                <a:lnTo>
                  <a:pt x="19" y="269"/>
                </a:lnTo>
                <a:lnTo>
                  <a:pt x="15" y="269"/>
                </a:lnTo>
                <a:lnTo>
                  <a:pt x="15" y="270"/>
                </a:lnTo>
                <a:lnTo>
                  <a:pt x="14" y="270"/>
                </a:lnTo>
                <a:lnTo>
                  <a:pt x="14" y="268"/>
                </a:lnTo>
                <a:lnTo>
                  <a:pt x="17" y="268"/>
                </a:lnTo>
                <a:lnTo>
                  <a:pt x="17" y="266"/>
                </a:lnTo>
                <a:lnTo>
                  <a:pt x="16" y="266"/>
                </a:lnTo>
                <a:lnTo>
                  <a:pt x="16" y="264"/>
                </a:lnTo>
                <a:lnTo>
                  <a:pt x="19" y="264"/>
                </a:lnTo>
                <a:lnTo>
                  <a:pt x="22" y="262"/>
                </a:lnTo>
                <a:lnTo>
                  <a:pt x="21" y="262"/>
                </a:lnTo>
                <a:lnTo>
                  <a:pt x="21" y="261"/>
                </a:lnTo>
                <a:lnTo>
                  <a:pt x="23" y="258"/>
                </a:lnTo>
                <a:lnTo>
                  <a:pt x="24" y="258"/>
                </a:lnTo>
                <a:lnTo>
                  <a:pt x="24" y="260"/>
                </a:lnTo>
                <a:lnTo>
                  <a:pt x="25" y="260"/>
                </a:lnTo>
                <a:lnTo>
                  <a:pt x="27" y="258"/>
                </a:lnTo>
                <a:lnTo>
                  <a:pt x="29" y="258"/>
                </a:lnTo>
                <a:lnTo>
                  <a:pt x="29" y="257"/>
                </a:lnTo>
                <a:lnTo>
                  <a:pt x="28" y="257"/>
                </a:lnTo>
                <a:lnTo>
                  <a:pt x="28" y="256"/>
                </a:lnTo>
                <a:lnTo>
                  <a:pt x="29" y="256"/>
                </a:lnTo>
                <a:lnTo>
                  <a:pt x="29" y="255"/>
                </a:lnTo>
                <a:lnTo>
                  <a:pt x="30" y="255"/>
                </a:lnTo>
                <a:lnTo>
                  <a:pt x="31" y="254"/>
                </a:lnTo>
                <a:lnTo>
                  <a:pt x="33" y="254"/>
                </a:lnTo>
                <a:lnTo>
                  <a:pt x="34" y="252"/>
                </a:lnTo>
                <a:lnTo>
                  <a:pt x="36" y="251"/>
                </a:lnTo>
                <a:lnTo>
                  <a:pt x="37" y="251"/>
                </a:lnTo>
                <a:lnTo>
                  <a:pt x="37" y="250"/>
                </a:lnTo>
                <a:lnTo>
                  <a:pt x="35" y="251"/>
                </a:lnTo>
                <a:lnTo>
                  <a:pt x="30" y="252"/>
                </a:lnTo>
                <a:lnTo>
                  <a:pt x="29" y="254"/>
                </a:lnTo>
                <a:lnTo>
                  <a:pt x="27" y="254"/>
                </a:lnTo>
                <a:lnTo>
                  <a:pt x="27" y="255"/>
                </a:lnTo>
                <a:lnTo>
                  <a:pt x="25" y="256"/>
                </a:lnTo>
                <a:lnTo>
                  <a:pt x="25" y="254"/>
                </a:lnTo>
                <a:lnTo>
                  <a:pt x="24" y="255"/>
                </a:lnTo>
                <a:lnTo>
                  <a:pt x="23" y="255"/>
                </a:lnTo>
                <a:lnTo>
                  <a:pt x="21" y="257"/>
                </a:lnTo>
                <a:lnTo>
                  <a:pt x="18" y="257"/>
                </a:lnTo>
                <a:lnTo>
                  <a:pt x="17" y="258"/>
                </a:lnTo>
                <a:lnTo>
                  <a:pt x="16" y="258"/>
                </a:lnTo>
                <a:lnTo>
                  <a:pt x="16" y="260"/>
                </a:lnTo>
                <a:lnTo>
                  <a:pt x="15" y="260"/>
                </a:lnTo>
                <a:lnTo>
                  <a:pt x="15" y="258"/>
                </a:lnTo>
                <a:lnTo>
                  <a:pt x="11" y="257"/>
                </a:lnTo>
                <a:lnTo>
                  <a:pt x="12" y="256"/>
                </a:lnTo>
                <a:lnTo>
                  <a:pt x="12" y="254"/>
                </a:lnTo>
                <a:lnTo>
                  <a:pt x="10" y="252"/>
                </a:lnTo>
                <a:lnTo>
                  <a:pt x="9" y="255"/>
                </a:lnTo>
                <a:lnTo>
                  <a:pt x="8" y="255"/>
                </a:lnTo>
                <a:lnTo>
                  <a:pt x="6" y="256"/>
                </a:lnTo>
                <a:lnTo>
                  <a:pt x="5" y="256"/>
                </a:lnTo>
                <a:lnTo>
                  <a:pt x="6" y="254"/>
                </a:lnTo>
                <a:lnTo>
                  <a:pt x="5" y="252"/>
                </a:lnTo>
                <a:lnTo>
                  <a:pt x="4" y="252"/>
                </a:lnTo>
                <a:lnTo>
                  <a:pt x="4" y="250"/>
                </a:lnTo>
                <a:lnTo>
                  <a:pt x="2" y="250"/>
                </a:lnTo>
                <a:lnTo>
                  <a:pt x="3" y="249"/>
                </a:lnTo>
                <a:lnTo>
                  <a:pt x="5" y="248"/>
                </a:lnTo>
                <a:lnTo>
                  <a:pt x="5" y="246"/>
                </a:lnTo>
                <a:lnTo>
                  <a:pt x="6" y="246"/>
                </a:lnTo>
                <a:lnTo>
                  <a:pt x="6" y="248"/>
                </a:lnTo>
                <a:lnTo>
                  <a:pt x="8" y="248"/>
                </a:lnTo>
                <a:lnTo>
                  <a:pt x="5" y="250"/>
                </a:lnTo>
                <a:lnTo>
                  <a:pt x="9" y="249"/>
                </a:lnTo>
                <a:lnTo>
                  <a:pt x="10" y="248"/>
                </a:lnTo>
                <a:lnTo>
                  <a:pt x="9" y="248"/>
                </a:lnTo>
                <a:lnTo>
                  <a:pt x="9" y="246"/>
                </a:lnTo>
                <a:lnTo>
                  <a:pt x="8" y="245"/>
                </a:lnTo>
                <a:lnTo>
                  <a:pt x="8" y="244"/>
                </a:lnTo>
                <a:lnTo>
                  <a:pt x="9" y="244"/>
                </a:lnTo>
                <a:lnTo>
                  <a:pt x="9" y="243"/>
                </a:lnTo>
                <a:lnTo>
                  <a:pt x="10" y="243"/>
                </a:lnTo>
                <a:lnTo>
                  <a:pt x="11" y="242"/>
                </a:lnTo>
                <a:lnTo>
                  <a:pt x="12" y="242"/>
                </a:lnTo>
                <a:lnTo>
                  <a:pt x="15" y="241"/>
                </a:lnTo>
                <a:lnTo>
                  <a:pt x="18" y="239"/>
                </a:lnTo>
                <a:lnTo>
                  <a:pt x="21" y="238"/>
                </a:lnTo>
                <a:lnTo>
                  <a:pt x="21" y="236"/>
                </a:lnTo>
                <a:lnTo>
                  <a:pt x="22" y="236"/>
                </a:lnTo>
                <a:lnTo>
                  <a:pt x="22" y="238"/>
                </a:lnTo>
                <a:lnTo>
                  <a:pt x="23" y="238"/>
                </a:lnTo>
                <a:lnTo>
                  <a:pt x="23" y="237"/>
                </a:lnTo>
                <a:lnTo>
                  <a:pt x="24" y="233"/>
                </a:lnTo>
                <a:lnTo>
                  <a:pt x="25" y="233"/>
                </a:lnTo>
                <a:lnTo>
                  <a:pt x="27" y="235"/>
                </a:lnTo>
                <a:lnTo>
                  <a:pt x="30" y="233"/>
                </a:lnTo>
                <a:lnTo>
                  <a:pt x="29" y="233"/>
                </a:lnTo>
                <a:lnTo>
                  <a:pt x="29" y="232"/>
                </a:lnTo>
                <a:lnTo>
                  <a:pt x="22" y="232"/>
                </a:lnTo>
                <a:lnTo>
                  <a:pt x="22" y="233"/>
                </a:lnTo>
                <a:lnTo>
                  <a:pt x="21" y="233"/>
                </a:lnTo>
                <a:lnTo>
                  <a:pt x="21" y="232"/>
                </a:lnTo>
                <a:lnTo>
                  <a:pt x="18" y="232"/>
                </a:lnTo>
                <a:lnTo>
                  <a:pt x="14" y="235"/>
                </a:lnTo>
                <a:lnTo>
                  <a:pt x="11" y="235"/>
                </a:lnTo>
                <a:lnTo>
                  <a:pt x="11" y="233"/>
                </a:lnTo>
                <a:lnTo>
                  <a:pt x="8" y="233"/>
                </a:lnTo>
                <a:lnTo>
                  <a:pt x="9" y="235"/>
                </a:lnTo>
                <a:lnTo>
                  <a:pt x="8" y="235"/>
                </a:lnTo>
                <a:lnTo>
                  <a:pt x="5" y="233"/>
                </a:lnTo>
                <a:lnTo>
                  <a:pt x="4" y="233"/>
                </a:lnTo>
                <a:lnTo>
                  <a:pt x="4" y="235"/>
                </a:lnTo>
                <a:lnTo>
                  <a:pt x="3" y="236"/>
                </a:lnTo>
                <a:lnTo>
                  <a:pt x="2" y="236"/>
                </a:lnTo>
                <a:lnTo>
                  <a:pt x="0" y="235"/>
                </a:lnTo>
                <a:lnTo>
                  <a:pt x="0" y="231"/>
                </a:lnTo>
                <a:lnTo>
                  <a:pt x="2" y="231"/>
                </a:lnTo>
                <a:lnTo>
                  <a:pt x="2" y="230"/>
                </a:lnTo>
                <a:lnTo>
                  <a:pt x="0" y="230"/>
                </a:lnTo>
                <a:lnTo>
                  <a:pt x="2" y="229"/>
                </a:lnTo>
                <a:lnTo>
                  <a:pt x="3" y="229"/>
                </a:lnTo>
                <a:lnTo>
                  <a:pt x="3" y="230"/>
                </a:lnTo>
                <a:lnTo>
                  <a:pt x="4" y="230"/>
                </a:lnTo>
                <a:lnTo>
                  <a:pt x="4" y="229"/>
                </a:lnTo>
                <a:lnTo>
                  <a:pt x="5" y="227"/>
                </a:lnTo>
                <a:lnTo>
                  <a:pt x="4" y="227"/>
                </a:lnTo>
                <a:lnTo>
                  <a:pt x="4" y="226"/>
                </a:lnTo>
                <a:lnTo>
                  <a:pt x="6" y="226"/>
                </a:lnTo>
                <a:lnTo>
                  <a:pt x="8" y="225"/>
                </a:lnTo>
                <a:lnTo>
                  <a:pt x="8" y="224"/>
                </a:lnTo>
                <a:lnTo>
                  <a:pt x="9" y="224"/>
                </a:lnTo>
                <a:lnTo>
                  <a:pt x="12" y="223"/>
                </a:lnTo>
                <a:lnTo>
                  <a:pt x="14" y="223"/>
                </a:lnTo>
                <a:lnTo>
                  <a:pt x="14" y="226"/>
                </a:lnTo>
                <a:lnTo>
                  <a:pt x="16" y="225"/>
                </a:lnTo>
                <a:lnTo>
                  <a:pt x="17" y="225"/>
                </a:lnTo>
                <a:lnTo>
                  <a:pt x="18" y="224"/>
                </a:lnTo>
                <a:lnTo>
                  <a:pt x="18" y="223"/>
                </a:lnTo>
                <a:lnTo>
                  <a:pt x="17" y="221"/>
                </a:lnTo>
                <a:lnTo>
                  <a:pt x="19" y="220"/>
                </a:lnTo>
                <a:lnTo>
                  <a:pt x="19" y="225"/>
                </a:lnTo>
                <a:lnTo>
                  <a:pt x="21" y="225"/>
                </a:lnTo>
                <a:lnTo>
                  <a:pt x="22" y="226"/>
                </a:lnTo>
                <a:lnTo>
                  <a:pt x="25" y="226"/>
                </a:lnTo>
                <a:lnTo>
                  <a:pt x="28" y="224"/>
                </a:lnTo>
                <a:lnTo>
                  <a:pt x="28" y="225"/>
                </a:lnTo>
                <a:lnTo>
                  <a:pt x="31" y="225"/>
                </a:lnTo>
                <a:lnTo>
                  <a:pt x="30" y="224"/>
                </a:lnTo>
                <a:lnTo>
                  <a:pt x="25" y="224"/>
                </a:lnTo>
                <a:lnTo>
                  <a:pt x="25" y="223"/>
                </a:lnTo>
                <a:lnTo>
                  <a:pt x="27" y="223"/>
                </a:lnTo>
                <a:lnTo>
                  <a:pt x="27" y="221"/>
                </a:lnTo>
                <a:lnTo>
                  <a:pt x="28" y="221"/>
                </a:lnTo>
                <a:lnTo>
                  <a:pt x="27" y="220"/>
                </a:lnTo>
                <a:lnTo>
                  <a:pt x="27" y="215"/>
                </a:lnTo>
                <a:lnTo>
                  <a:pt x="24" y="215"/>
                </a:lnTo>
                <a:lnTo>
                  <a:pt x="23" y="214"/>
                </a:lnTo>
                <a:lnTo>
                  <a:pt x="22" y="214"/>
                </a:lnTo>
                <a:lnTo>
                  <a:pt x="23" y="213"/>
                </a:lnTo>
                <a:lnTo>
                  <a:pt x="27" y="213"/>
                </a:lnTo>
                <a:lnTo>
                  <a:pt x="30" y="211"/>
                </a:lnTo>
                <a:lnTo>
                  <a:pt x="31" y="211"/>
                </a:lnTo>
                <a:lnTo>
                  <a:pt x="31" y="209"/>
                </a:lnTo>
                <a:lnTo>
                  <a:pt x="33" y="208"/>
                </a:lnTo>
                <a:lnTo>
                  <a:pt x="34" y="208"/>
                </a:lnTo>
                <a:lnTo>
                  <a:pt x="35" y="209"/>
                </a:lnTo>
                <a:lnTo>
                  <a:pt x="35" y="208"/>
                </a:lnTo>
                <a:lnTo>
                  <a:pt x="34" y="208"/>
                </a:lnTo>
                <a:lnTo>
                  <a:pt x="34" y="203"/>
                </a:lnTo>
                <a:lnTo>
                  <a:pt x="35" y="202"/>
                </a:lnTo>
                <a:lnTo>
                  <a:pt x="41" y="202"/>
                </a:lnTo>
                <a:lnTo>
                  <a:pt x="42" y="203"/>
                </a:lnTo>
                <a:lnTo>
                  <a:pt x="43" y="203"/>
                </a:lnTo>
                <a:lnTo>
                  <a:pt x="43" y="202"/>
                </a:lnTo>
                <a:lnTo>
                  <a:pt x="53" y="202"/>
                </a:lnTo>
                <a:lnTo>
                  <a:pt x="54" y="201"/>
                </a:lnTo>
                <a:lnTo>
                  <a:pt x="59" y="199"/>
                </a:lnTo>
                <a:lnTo>
                  <a:pt x="60" y="199"/>
                </a:lnTo>
                <a:lnTo>
                  <a:pt x="61" y="200"/>
                </a:lnTo>
                <a:lnTo>
                  <a:pt x="64" y="198"/>
                </a:lnTo>
                <a:lnTo>
                  <a:pt x="71" y="196"/>
                </a:lnTo>
                <a:lnTo>
                  <a:pt x="73" y="195"/>
                </a:lnTo>
                <a:lnTo>
                  <a:pt x="70" y="195"/>
                </a:lnTo>
                <a:lnTo>
                  <a:pt x="68" y="194"/>
                </a:lnTo>
                <a:lnTo>
                  <a:pt x="65" y="195"/>
                </a:lnTo>
                <a:lnTo>
                  <a:pt x="64" y="194"/>
                </a:lnTo>
                <a:lnTo>
                  <a:pt x="65" y="193"/>
                </a:lnTo>
                <a:lnTo>
                  <a:pt x="65" y="192"/>
                </a:lnTo>
                <a:lnTo>
                  <a:pt x="64" y="190"/>
                </a:lnTo>
                <a:lnTo>
                  <a:pt x="65" y="189"/>
                </a:lnTo>
                <a:lnTo>
                  <a:pt x="65" y="188"/>
                </a:lnTo>
                <a:lnTo>
                  <a:pt x="64" y="189"/>
                </a:lnTo>
                <a:lnTo>
                  <a:pt x="62" y="189"/>
                </a:lnTo>
                <a:lnTo>
                  <a:pt x="61" y="190"/>
                </a:lnTo>
                <a:lnTo>
                  <a:pt x="61" y="192"/>
                </a:lnTo>
                <a:lnTo>
                  <a:pt x="60" y="194"/>
                </a:lnTo>
                <a:lnTo>
                  <a:pt x="56" y="199"/>
                </a:lnTo>
                <a:lnTo>
                  <a:pt x="55" y="200"/>
                </a:lnTo>
                <a:lnTo>
                  <a:pt x="52" y="200"/>
                </a:lnTo>
                <a:lnTo>
                  <a:pt x="50" y="201"/>
                </a:lnTo>
                <a:lnTo>
                  <a:pt x="48" y="201"/>
                </a:lnTo>
                <a:lnTo>
                  <a:pt x="50" y="199"/>
                </a:lnTo>
                <a:lnTo>
                  <a:pt x="50" y="198"/>
                </a:lnTo>
                <a:lnTo>
                  <a:pt x="49" y="199"/>
                </a:lnTo>
                <a:lnTo>
                  <a:pt x="46" y="200"/>
                </a:lnTo>
                <a:lnTo>
                  <a:pt x="42" y="200"/>
                </a:lnTo>
                <a:lnTo>
                  <a:pt x="42" y="199"/>
                </a:lnTo>
                <a:lnTo>
                  <a:pt x="40" y="199"/>
                </a:lnTo>
                <a:lnTo>
                  <a:pt x="40" y="196"/>
                </a:lnTo>
                <a:lnTo>
                  <a:pt x="39" y="196"/>
                </a:lnTo>
                <a:lnTo>
                  <a:pt x="39" y="198"/>
                </a:lnTo>
                <a:lnTo>
                  <a:pt x="36" y="200"/>
                </a:lnTo>
                <a:lnTo>
                  <a:pt x="33" y="200"/>
                </a:lnTo>
                <a:lnTo>
                  <a:pt x="33" y="202"/>
                </a:lnTo>
                <a:lnTo>
                  <a:pt x="30" y="202"/>
                </a:lnTo>
                <a:lnTo>
                  <a:pt x="23" y="203"/>
                </a:lnTo>
                <a:lnTo>
                  <a:pt x="25" y="201"/>
                </a:lnTo>
                <a:lnTo>
                  <a:pt x="28" y="201"/>
                </a:lnTo>
                <a:lnTo>
                  <a:pt x="36" y="193"/>
                </a:lnTo>
                <a:lnTo>
                  <a:pt x="36" y="192"/>
                </a:lnTo>
                <a:lnTo>
                  <a:pt x="37" y="192"/>
                </a:lnTo>
                <a:lnTo>
                  <a:pt x="37" y="190"/>
                </a:lnTo>
                <a:lnTo>
                  <a:pt x="41" y="190"/>
                </a:lnTo>
                <a:lnTo>
                  <a:pt x="41" y="189"/>
                </a:lnTo>
                <a:lnTo>
                  <a:pt x="42" y="188"/>
                </a:lnTo>
                <a:lnTo>
                  <a:pt x="42" y="186"/>
                </a:lnTo>
                <a:lnTo>
                  <a:pt x="43" y="186"/>
                </a:lnTo>
                <a:lnTo>
                  <a:pt x="43" y="183"/>
                </a:lnTo>
                <a:lnTo>
                  <a:pt x="44" y="183"/>
                </a:lnTo>
                <a:lnTo>
                  <a:pt x="44" y="181"/>
                </a:lnTo>
                <a:lnTo>
                  <a:pt x="47" y="178"/>
                </a:lnTo>
                <a:lnTo>
                  <a:pt x="47" y="177"/>
                </a:lnTo>
                <a:lnTo>
                  <a:pt x="42" y="177"/>
                </a:lnTo>
                <a:lnTo>
                  <a:pt x="43" y="176"/>
                </a:lnTo>
                <a:lnTo>
                  <a:pt x="43" y="175"/>
                </a:lnTo>
                <a:lnTo>
                  <a:pt x="46" y="172"/>
                </a:lnTo>
                <a:lnTo>
                  <a:pt x="46" y="171"/>
                </a:lnTo>
                <a:lnTo>
                  <a:pt x="48" y="168"/>
                </a:lnTo>
                <a:lnTo>
                  <a:pt x="49" y="166"/>
                </a:lnTo>
                <a:lnTo>
                  <a:pt x="49" y="165"/>
                </a:lnTo>
                <a:lnTo>
                  <a:pt x="50" y="164"/>
                </a:lnTo>
                <a:lnTo>
                  <a:pt x="50" y="163"/>
                </a:lnTo>
                <a:lnTo>
                  <a:pt x="52" y="162"/>
                </a:lnTo>
                <a:lnTo>
                  <a:pt x="55" y="165"/>
                </a:lnTo>
                <a:lnTo>
                  <a:pt x="56" y="165"/>
                </a:lnTo>
                <a:lnTo>
                  <a:pt x="58" y="164"/>
                </a:lnTo>
                <a:lnTo>
                  <a:pt x="59" y="164"/>
                </a:lnTo>
                <a:lnTo>
                  <a:pt x="59" y="163"/>
                </a:lnTo>
                <a:lnTo>
                  <a:pt x="56" y="162"/>
                </a:lnTo>
                <a:lnTo>
                  <a:pt x="60" y="162"/>
                </a:lnTo>
                <a:lnTo>
                  <a:pt x="61" y="163"/>
                </a:lnTo>
                <a:lnTo>
                  <a:pt x="62" y="163"/>
                </a:lnTo>
                <a:lnTo>
                  <a:pt x="62" y="162"/>
                </a:lnTo>
                <a:lnTo>
                  <a:pt x="64" y="162"/>
                </a:lnTo>
                <a:lnTo>
                  <a:pt x="65" y="163"/>
                </a:lnTo>
                <a:lnTo>
                  <a:pt x="65" y="160"/>
                </a:lnTo>
                <a:lnTo>
                  <a:pt x="64" y="160"/>
                </a:lnTo>
                <a:lnTo>
                  <a:pt x="65" y="159"/>
                </a:lnTo>
                <a:lnTo>
                  <a:pt x="65" y="158"/>
                </a:lnTo>
                <a:lnTo>
                  <a:pt x="66" y="158"/>
                </a:lnTo>
                <a:lnTo>
                  <a:pt x="67" y="157"/>
                </a:lnTo>
                <a:lnTo>
                  <a:pt x="66" y="157"/>
                </a:lnTo>
                <a:lnTo>
                  <a:pt x="66" y="158"/>
                </a:lnTo>
                <a:lnTo>
                  <a:pt x="61" y="158"/>
                </a:lnTo>
                <a:lnTo>
                  <a:pt x="60" y="157"/>
                </a:lnTo>
                <a:lnTo>
                  <a:pt x="62" y="157"/>
                </a:lnTo>
                <a:lnTo>
                  <a:pt x="64" y="156"/>
                </a:lnTo>
                <a:lnTo>
                  <a:pt x="62" y="156"/>
                </a:lnTo>
                <a:lnTo>
                  <a:pt x="64" y="155"/>
                </a:lnTo>
                <a:lnTo>
                  <a:pt x="65" y="155"/>
                </a:lnTo>
                <a:lnTo>
                  <a:pt x="61" y="153"/>
                </a:lnTo>
                <a:lnTo>
                  <a:pt x="60" y="153"/>
                </a:lnTo>
                <a:lnTo>
                  <a:pt x="59" y="155"/>
                </a:lnTo>
                <a:lnTo>
                  <a:pt x="46" y="156"/>
                </a:lnTo>
                <a:lnTo>
                  <a:pt x="44" y="156"/>
                </a:lnTo>
                <a:lnTo>
                  <a:pt x="43" y="157"/>
                </a:lnTo>
                <a:lnTo>
                  <a:pt x="40" y="157"/>
                </a:lnTo>
                <a:lnTo>
                  <a:pt x="40" y="156"/>
                </a:lnTo>
                <a:lnTo>
                  <a:pt x="39" y="155"/>
                </a:lnTo>
                <a:lnTo>
                  <a:pt x="39" y="152"/>
                </a:lnTo>
                <a:lnTo>
                  <a:pt x="37" y="153"/>
                </a:lnTo>
                <a:lnTo>
                  <a:pt x="37" y="156"/>
                </a:lnTo>
                <a:lnTo>
                  <a:pt x="36" y="156"/>
                </a:lnTo>
                <a:lnTo>
                  <a:pt x="36" y="150"/>
                </a:lnTo>
                <a:lnTo>
                  <a:pt x="39" y="150"/>
                </a:lnTo>
                <a:lnTo>
                  <a:pt x="39" y="149"/>
                </a:lnTo>
                <a:lnTo>
                  <a:pt x="37" y="147"/>
                </a:lnTo>
                <a:lnTo>
                  <a:pt x="37" y="146"/>
                </a:lnTo>
                <a:lnTo>
                  <a:pt x="36" y="146"/>
                </a:lnTo>
                <a:lnTo>
                  <a:pt x="36" y="150"/>
                </a:lnTo>
                <a:lnTo>
                  <a:pt x="35" y="150"/>
                </a:lnTo>
                <a:lnTo>
                  <a:pt x="35" y="145"/>
                </a:lnTo>
                <a:lnTo>
                  <a:pt x="33" y="147"/>
                </a:lnTo>
                <a:lnTo>
                  <a:pt x="33" y="149"/>
                </a:lnTo>
                <a:lnTo>
                  <a:pt x="31" y="150"/>
                </a:lnTo>
                <a:lnTo>
                  <a:pt x="31" y="151"/>
                </a:lnTo>
                <a:lnTo>
                  <a:pt x="29" y="152"/>
                </a:lnTo>
                <a:lnTo>
                  <a:pt x="28" y="152"/>
                </a:lnTo>
                <a:lnTo>
                  <a:pt x="28" y="151"/>
                </a:lnTo>
                <a:lnTo>
                  <a:pt x="27" y="150"/>
                </a:lnTo>
                <a:lnTo>
                  <a:pt x="24" y="151"/>
                </a:lnTo>
                <a:lnTo>
                  <a:pt x="24" y="147"/>
                </a:lnTo>
                <a:lnTo>
                  <a:pt x="27" y="147"/>
                </a:lnTo>
                <a:lnTo>
                  <a:pt x="29" y="146"/>
                </a:lnTo>
                <a:lnTo>
                  <a:pt x="29" y="145"/>
                </a:lnTo>
                <a:lnTo>
                  <a:pt x="28" y="145"/>
                </a:lnTo>
                <a:lnTo>
                  <a:pt x="28" y="144"/>
                </a:lnTo>
                <a:lnTo>
                  <a:pt x="27" y="144"/>
                </a:lnTo>
                <a:lnTo>
                  <a:pt x="27" y="145"/>
                </a:lnTo>
                <a:lnTo>
                  <a:pt x="25" y="145"/>
                </a:lnTo>
                <a:lnTo>
                  <a:pt x="25" y="144"/>
                </a:lnTo>
                <a:lnTo>
                  <a:pt x="27" y="143"/>
                </a:lnTo>
                <a:lnTo>
                  <a:pt x="25" y="143"/>
                </a:lnTo>
                <a:lnTo>
                  <a:pt x="25" y="144"/>
                </a:lnTo>
                <a:lnTo>
                  <a:pt x="24" y="143"/>
                </a:lnTo>
                <a:lnTo>
                  <a:pt x="23" y="144"/>
                </a:lnTo>
                <a:lnTo>
                  <a:pt x="23" y="146"/>
                </a:lnTo>
                <a:lnTo>
                  <a:pt x="19" y="146"/>
                </a:lnTo>
                <a:lnTo>
                  <a:pt x="18" y="145"/>
                </a:lnTo>
                <a:lnTo>
                  <a:pt x="18" y="144"/>
                </a:lnTo>
                <a:lnTo>
                  <a:pt x="12" y="144"/>
                </a:lnTo>
                <a:lnTo>
                  <a:pt x="14" y="143"/>
                </a:lnTo>
                <a:lnTo>
                  <a:pt x="14" y="141"/>
                </a:lnTo>
                <a:lnTo>
                  <a:pt x="18" y="141"/>
                </a:lnTo>
                <a:lnTo>
                  <a:pt x="18" y="140"/>
                </a:lnTo>
                <a:lnTo>
                  <a:pt x="17" y="140"/>
                </a:lnTo>
                <a:lnTo>
                  <a:pt x="17" y="139"/>
                </a:lnTo>
                <a:lnTo>
                  <a:pt x="15" y="137"/>
                </a:lnTo>
                <a:lnTo>
                  <a:pt x="15" y="135"/>
                </a:lnTo>
                <a:lnTo>
                  <a:pt x="14" y="135"/>
                </a:lnTo>
                <a:lnTo>
                  <a:pt x="14" y="134"/>
                </a:lnTo>
                <a:lnTo>
                  <a:pt x="16" y="134"/>
                </a:lnTo>
                <a:lnTo>
                  <a:pt x="15" y="133"/>
                </a:lnTo>
                <a:lnTo>
                  <a:pt x="19" y="133"/>
                </a:lnTo>
                <a:lnTo>
                  <a:pt x="19" y="134"/>
                </a:lnTo>
                <a:lnTo>
                  <a:pt x="21" y="134"/>
                </a:lnTo>
                <a:lnTo>
                  <a:pt x="21" y="133"/>
                </a:lnTo>
                <a:lnTo>
                  <a:pt x="18" y="132"/>
                </a:lnTo>
                <a:lnTo>
                  <a:pt x="18" y="131"/>
                </a:lnTo>
                <a:lnTo>
                  <a:pt x="24" y="131"/>
                </a:lnTo>
                <a:lnTo>
                  <a:pt x="25" y="129"/>
                </a:lnTo>
                <a:lnTo>
                  <a:pt x="28" y="129"/>
                </a:lnTo>
                <a:lnTo>
                  <a:pt x="29" y="131"/>
                </a:lnTo>
                <a:lnTo>
                  <a:pt x="33" y="131"/>
                </a:lnTo>
                <a:lnTo>
                  <a:pt x="33" y="129"/>
                </a:lnTo>
                <a:lnTo>
                  <a:pt x="28" y="129"/>
                </a:lnTo>
                <a:lnTo>
                  <a:pt x="24" y="127"/>
                </a:lnTo>
                <a:lnTo>
                  <a:pt x="23" y="123"/>
                </a:lnTo>
                <a:lnTo>
                  <a:pt x="23" y="122"/>
                </a:lnTo>
                <a:lnTo>
                  <a:pt x="24" y="121"/>
                </a:lnTo>
                <a:lnTo>
                  <a:pt x="24" y="119"/>
                </a:lnTo>
                <a:lnTo>
                  <a:pt x="25" y="119"/>
                </a:lnTo>
                <a:lnTo>
                  <a:pt x="27" y="117"/>
                </a:lnTo>
                <a:lnTo>
                  <a:pt x="30" y="117"/>
                </a:lnTo>
                <a:lnTo>
                  <a:pt x="39" y="116"/>
                </a:lnTo>
                <a:lnTo>
                  <a:pt x="37" y="116"/>
                </a:lnTo>
                <a:lnTo>
                  <a:pt x="36" y="115"/>
                </a:lnTo>
                <a:lnTo>
                  <a:pt x="37" y="114"/>
                </a:lnTo>
                <a:lnTo>
                  <a:pt x="36" y="114"/>
                </a:lnTo>
                <a:lnTo>
                  <a:pt x="39" y="112"/>
                </a:lnTo>
                <a:lnTo>
                  <a:pt x="37" y="112"/>
                </a:lnTo>
                <a:lnTo>
                  <a:pt x="37" y="110"/>
                </a:lnTo>
                <a:lnTo>
                  <a:pt x="39" y="110"/>
                </a:lnTo>
                <a:lnTo>
                  <a:pt x="39" y="109"/>
                </a:lnTo>
                <a:lnTo>
                  <a:pt x="30" y="109"/>
                </a:lnTo>
                <a:lnTo>
                  <a:pt x="27" y="112"/>
                </a:lnTo>
                <a:lnTo>
                  <a:pt x="24" y="112"/>
                </a:lnTo>
                <a:lnTo>
                  <a:pt x="22" y="110"/>
                </a:lnTo>
                <a:lnTo>
                  <a:pt x="23" y="110"/>
                </a:lnTo>
                <a:lnTo>
                  <a:pt x="23" y="109"/>
                </a:lnTo>
                <a:lnTo>
                  <a:pt x="22" y="110"/>
                </a:lnTo>
                <a:lnTo>
                  <a:pt x="21" y="110"/>
                </a:lnTo>
                <a:lnTo>
                  <a:pt x="21" y="109"/>
                </a:lnTo>
                <a:lnTo>
                  <a:pt x="19" y="108"/>
                </a:lnTo>
                <a:lnTo>
                  <a:pt x="17" y="108"/>
                </a:lnTo>
                <a:lnTo>
                  <a:pt x="17" y="107"/>
                </a:lnTo>
                <a:lnTo>
                  <a:pt x="18" y="106"/>
                </a:lnTo>
                <a:lnTo>
                  <a:pt x="17" y="104"/>
                </a:lnTo>
                <a:lnTo>
                  <a:pt x="12" y="104"/>
                </a:lnTo>
                <a:lnTo>
                  <a:pt x="10" y="103"/>
                </a:lnTo>
                <a:lnTo>
                  <a:pt x="11" y="103"/>
                </a:lnTo>
                <a:lnTo>
                  <a:pt x="11" y="102"/>
                </a:lnTo>
                <a:lnTo>
                  <a:pt x="12" y="101"/>
                </a:lnTo>
                <a:lnTo>
                  <a:pt x="14" y="101"/>
                </a:lnTo>
                <a:lnTo>
                  <a:pt x="15" y="102"/>
                </a:lnTo>
                <a:lnTo>
                  <a:pt x="16" y="102"/>
                </a:lnTo>
                <a:lnTo>
                  <a:pt x="17" y="101"/>
                </a:lnTo>
                <a:lnTo>
                  <a:pt x="22" y="101"/>
                </a:lnTo>
                <a:lnTo>
                  <a:pt x="23" y="103"/>
                </a:lnTo>
                <a:lnTo>
                  <a:pt x="22" y="103"/>
                </a:lnTo>
                <a:lnTo>
                  <a:pt x="22" y="104"/>
                </a:lnTo>
                <a:lnTo>
                  <a:pt x="23" y="104"/>
                </a:lnTo>
                <a:lnTo>
                  <a:pt x="23" y="108"/>
                </a:lnTo>
                <a:lnTo>
                  <a:pt x="24" y="108"/>
                </a:lnTo>
                <a:lnTo>
                  <a:pt x="24" y="106"/>
                </a:lnTo>
                <a:lnTo>
                  <a:pt x="23" y="106"/>
                </a:lnTo>
                <a:lnTo>
                  <a:pt x="25" y="104"/>
                </a:lnTo>
                <a:lnTo>
                  <a:pt x="27" y="106"/>
                </a:lnTo>
                <a:lnTo>
                  <a:pt x="27" y="102"/>
                </a:lnTo>
                <a:lnTo>
                  <a:pt x="25" y="102"/>
                </a:lnTo>
                <a:lnTo>
                  <a:pt x="25" y="101"/>
                </a:lnTo>
                <a:lnTo>
                  <a:pt x="24" y="101"/>
                </a:lnTo>
                <a:lnTo>
                  <a:pt x="24" y="97"/>
                </a:lnTo>
                <a:lnTo>
                  <a:pt x="25" y="97"/>
                </a:lnTo>
                <a:lnTo>
                  <a:pt x="25" y="96"/>
                </a:lnTo>
                <a:lnTo>
                  <a:pt x="27" y="95"/>
                </a:lnTo>
                <a:lnTo>
                  <a:pt x="25" y="95"/>
                </a:lnTo>
                <a:lnTo>
                  <a:pt x="27" y="94"/>
                </a:lnTo>
                <a:lnTo>
                  <a:pt x="25" y="94"/>
                </a:lnTo>
                <a:lnTo>
                  <a:pt x="25" y="95"/>
                </a:lnTo>
                <a:lnTo>
                  <a:pt x="24" y="95"/>
                </a:lnTo>
                <a:lnTo>
                  <a:pt x="23" y="97"/>
                </a:lnTo>
                <a:lnTo>
                  <a:pt x="22" y="97"/>
                </a:lnTo>
                <a:lnTo>
                  <a:pt x="22" y="96"/>
                </a:lnTo>
                <a:lnTo>
                  <a:pt x="21" y="95"/>
                </a:lnTo>
                <a:lnTo>
                  <a:pt x="23" y="94"/>
                </a:lnTo>
                <a:lnTo>
                  <a:pt x="24" y="94"/>
                </a:lnTo>
                <a:lnTo>
                  <a:pt x="22" y="91"/>
                </a:lnTo>
                <a:lnTo>
                  <a:pt x="23" y="91"/>
                </a:lnTo>
                <a:lnTo>
                  <a:pt x="21" y="89"/>
                </a:lnTo>
                <a:lnTo>
                  <a:pt x="23" y="89"/>
                </a:lnTo>
                <a:lnTo>
                  <a:pt x="21" y="86"/>
                </a:lnTo>
                <a:lnTo>
                  <a:pt x="23" y="86"/>
                </a:lnTo>
                <a:lnTo>
                  <a:pt x="24" y="88"/>
                </a:lnTo>
                <a:lnTo>
                  <a:pt x="24" y="86"/>
                </a:lnTo>
                <a:lnTo>
                  <a:pt x="25" y="86"/>
                </a:lnTo>
                <a:lnTo>
                  <a:pt x="25" y="83"/>
                </a:lnTo>
                <a:lnTo>
                  <a:pt x="27" y="82"/>
                </a:lnTo>
                <a:lnTo>
                  <a:pt x="28" y="83"/>
                </a:lnTo>
                <a:lnTo>
                  <a:pt x="29" y="83"/>
                </a:lnTo>
                <a:lnTo>
                  <a:pt x="30" y="84"/>
                </a:lnTo>
                <a:lnTo>
                  <a:pt x="30" y="83"/>
                </a:lnTo>
                <a:lnTo>
                  <a:pt x="29" y="83"/>
                </a:lnTo>
                <a:lnTo>
                  <a:pt x="29" y="82"/>
                </a:lnTo>
                <a:lnTo>
                  <a:pt x="30" y="82"/>
                </a:lnTo>
                <a:lnTo>
                  <a:pt x="29" y="80"/>
                </a:lnTo>
                <a:lnTo>
                  <a:pt x="28" y="80"/>
                </a:lnTo>
                <a:lnTo>
                  <a:pt x="27" y="79"/>
                </a:lnTo>
                <a:lnTo>
                  <a:pt x="27" y="78"/>
                </a:lnTo>
                <a:lnTo>
                  <a:pt x="30" y="78"/>
                </a:lnTo>
                <a:lnTo>
                  <a:pt x="31" y="79"/>
                </a:lnTo>
                <a:lnTo>
                  <a:pt x="42" y="79"/>
                </a:lnTo>
                <a:lnTo>
                  <a:pt x="42" y="80"/>
                </a:lnTo>
                <a:lnTo>
                  <a:pt x="47" y="80"/>
                </a:lnTo>
                <a:lnTo>
                  <a:pt x="47" y="79"/>
                </a:lnTo>
                <a:lnTo>
                  <a:pt x="48" y="79"/>
                </a:lnTo>
                <a:lnTo>
                  <a:pt x="50" y="80"/>
                </a:lnTo>
                <a:lnTo>
                  <a:pt x="52" y="80"/>
                </a:lnTo>
                <a:lnTo>
                  <a:pt x="52" y="82"/>
                </a:lnTo>
                <a:lnTo>
                  <a:pt x="53" y="82"/>
                </a:lnTo>
                <a:lnTo>
                  <a:pt x="53" y="84"/>
                </a:lnTo>
                <a:lnTo>
                  <a:pt x="54" y="84"/>
                </a:lnTo>
                <a:lnTo>
                  <a:pt x="54" y="85"/>
                </a:lnTo>
                <a:lnTo>
                  <a:pt x="53" y="85"/>
                </a:lnTo>
                <a:lnTo>
                  <a:pt x="53" y="86"/>
                </a:lnTo>
                <a:lnTo>
                  <a:pt x="55" y="88"/>
                </a:lnTo>
                <a:lnTo>
                  <a:pt x="56" y="89"/>
                </a:lnTo>
                <a:lnTo>
                  <a:pt x="56" y="86"/>
                </a:lnTo>
                <a:lnTo>
                  <a:pt x="58" y="86"/>
                </a:lnTo>
                <a:lnTo>
                  <a:pt x="59" y="85"/>
                </a:lnTo>
                <a:lnTo>
                  <a:pt x="59" y="84"/>
                </a:lnTo>
                <a:lnTo>
                  <a:pt x="60" y="83"/>
                </a:lnTo>
                <a:lnTo>
                  <a:pt x="60" y="82"/>
                </a:lnTo>
                <a:lnTo>
                  <a:pt x="61" y="80"/>
                </a:lnTo>
                <a:lnTo>
                  <a:pt x="64" y="82"/>
                </a:lnTo>
                <a:lnTo>
                  <a:pt x="67" y="82"/>
                </a:lnTo>
                <a:lnTo>
                  <a:pt x="67" y="83"/>
                </a:lnTo>
                <a:lnTo>
                  <a:pt x="71" y="83"/>
                </a:lnTo>
                <a:lnTo>
                  <a:pt x="72" y="82"/>
                </a:lnTo>
                <a:lnTo>
                  <a:pt x="73" y="83"/>
                </a:lnTo>
                <a:lnTo>
                  <a:pt x="77" y="83"/>
                </a:lnTo>
                <a:lnTo>
                  <a:pt x="78" y="84"/>
                </a:lnTo>
                <a:lnTo>
                  <a:pt x="78" y="85"/>
                </a:lnTo>
                <a:lnTo>
                  <a:pt x="79" y="85"/>
                </a:lnTo>
                <a:lnTo>
                  <a:pt x="79" y="86"/>
                </a:lnTo>
                <a:lnTo>
                  <a:pt x="80" y="88"/>
                </a:lnTo>
                <a:lnTo>
                  <a:pt x="81" y="86"/>
                </a:lnTo>
                <a:lnTo>
                  <a:pt x="80" y="85"/>
                </a:lnTo>
                <a:lnTo>
                  <a:pt x="80" y="84"/>
                </a:lnTo>
                <a:lnTo>
                  <a:pt x="78" y="84"/>
                </a:lnTo>
                <a:lnTo>
                  <a:pt x="78" y="83"/>
                </a:lnTo>
                <a:lnTo>
                  <a:pt x="79" y="83"/>
                </a:lnTo>
                <a:lnTo>
                  <a:pt x="79" y="82"/>
                </a:lnTo>
                <a:lnTo>
                  <a:pt x="84" y="82"/>
                </a:lnTo>
                <a:lnTo>
                  <a:pt x="83" y="80"/>
                </a:lnTo>
                <a:lnTo>
                  <a:pt x="80" y="80"/>
                </a:lnTo>
                <a:lnTo>
                  <a:pt x="80" y="78"/>
                </a:lnTo>
                <a:lnTo>
                  <a:pt x="81" y="79"/>
                </a:lnTo>
                <a:lnTo>
                  <a:pt x="83" y="79"/>
                </a:lnTo>
                <a:lnTo>
                  <a:pt x="83" y="78"/>
                </a:lnTo>
                <a:lnTo>
                  <a:pt x="77" y="78"/>
                </a:lnTo>
                <a:lnTo>
                  <a:pt x="77" y="76"/>
                </a:lnTo>
                <a:lnTo>
                  <a:pt x="78" y="76"/>
                </a:lnTo>
                <a:lnTo>
                  <a:pt x="79" y="75"/>
                </a:lnTo>
                <a:lnTo>
                  <a:pt x="84" y="71"/>
                </a:lnTo>
                <a:lnTo>
                  <a:pt x="85" y="71"/>
                </a:lnTo>
                <a:lnTo>
                  <a:pt x="85" y="69"/>
                </a:lnTo>
                <a:lnTo>
                  <a:pt x="86" y="70"/>
                </a:lnTo>
                <a:lnTo>
                  <a:pt x="87" y="69"/>
                </a:lnTo>
                <a:lnTo>
                  <a:pt x="89" y="69"/>
                </a:lnTo>
                <a:lnTo>
                  <a:pt x="92" y="67"/>
                </a:lnTo>
                <a:lnTo>
                  <a:pt x="95" y="66"/>
                </a:lnTo>
                <a:lnTo>
                  <a:pt x="96" y="66"/>
                </a:lnTo>
                <a:lnTo>
                  <a:pt x="96" y="65"/>
                </a:lnTo>
                <a:lnTo>
                  <a:pt x="93" y="65"/>
                </a:lnTo>
                <a:lnTo>
                  <a:pt x="93" y="64"/>
                </a:lnTo>
                <a:lnTo>
                  <a:pt x="96" y="63"/>
                </a:lnTo>
                <a:lnTo>
                  <a:pt x="96" y="60"/>
                </a:lnTo>
                <a:lnTo>
                  <a:pt x="97" y="59"/>
                </a:lnTo>
                <a:lnTo>
                  <a:pt x="97" y="58"/>
                </a:lnTo>
                <a:lnTo>
                  <a:pt x="98" y="58"/>
                </a:lnTo>
                <a:lnTo>
                  <a:pt x="99" y="55"/>
                </a:lnTo>
                <a:lnTo>
                  <a:pt x="99" y="54"/>
                </a:lnTo>
                <a:lnTo>
                  <a:pt x="98" y="55"/>
                </a:lnTo>
                <a:lnTo>
                  <a:pt x="97" y="55"/>
                </a:lnTo>
                <a:lnTo>
                  <a:pt x="95" y="57"/>
                </a:lnTo>
                <a:lnTo>
                  <a:pt x="93" y="58"/>
                </a:lnTo>
                <a:lnTo>
                  <a:pt x="92" y="58"/>
                </a:lnTo>
                <a:lnTo>
                  <a:pt x="92" y="55"/>
                </a:lnTo>
                <a:lnTo>
                  <a:pt x="91" y="55"/>
                </a:lnTo>
                <a:lnTo>
                  <a:pt x="90" y="58"/>
                </a:lnTo>
                <a:lnTo>
                  <a:pt x="89" y="58"/>
                </a:lnTo>
                <a:lnTo>
                  <a:pt x="89" y="57"/>
                </a:lnTo>
                <a:lnTo>
                  <a:pt x="86" y="57"/>
                </a:lnTo>
                <a:lnTo>
                  <a:pt x="86" y="55"/>
                </a:lnTo>
                <a:lnTo>
                  <a:pt x="85" y="57"/>
                </a:lnTo>
                <a:lnTo>
                  <a:pt x="85" y="58"/>
                </a:lnTo>
                <a:lnTo>
                  <a:pt x="84" y="58"/>
                </a:lnTo>
                <a:lnTo>
                  <a:pt x="84" y="57"/>
                </a:lnTo>
                <a:lnTo>
                  <a:pt x="81" y="57"/>
                </a:lnTo>
                <a:lnTo>
                  <a:pt x="80" y="58"/>
                </a:lnTo>
                <a:lnTo>
                  <a:pt x="79" y="57"/>
                </a:lnTo>
                <a:lnTo>
                  <a:pt x="75" y="57"/>
                </a:lnTo>
                <a:lnTo>
                  <a:pt x="75" y="55"/>
                </a:lnTo>
                <a:lnTo>
                  <a:pt x="72" y="54"/>
                </a:lnTo>
                <a:lnTo>
                  <a:pt x="71" y="54"/>
                </a:lnTo>
                <a:lnTo>
                  <a:pt x="72" y="53"/>
                </a:lnTo>
                <a:lnTo>
                  <a:pt x="71" y="52"/>
                </a:lnTo>
                <a:lnTo>
                  <a:pt x="72" y="51"/>
                </a:lnTo>
                <a:lnTo>
                  <a:pt x="73" y="51"/>
                </a:lnTo>
                <a:lnTo>
                  <a:pt x="73" y="49"/>
                </a:lnTo>
                <a:lnTo>
                  <a:pt x="77" y="47"/>
                </a:lnTo>
                <a:lnTo>
                  <a:pt x="78" y="46"/>
                </a:lnTo>
                <a:lnTo>
                  <a:pt x="81" y="46"/>
                </a:lnTo>
                <a:lnTo>
                  <a:pt x="84" y="47"/>
                </a:lnTo>
                <a:lnTo>
                  <a:pt x="85" y="47"/>
                </a:lnTo>
                <a:lnTo>
                  <a:pt x="83" y="46"/>
                </a:lnTo>
                <a:lnTo>
                  <a:pt x="81" y="45"/>
                </a:lnTo>
                <a:lnTo>
                  <a:pt x="85" y="45"/>
                </a:lnTo>
                <a:lnTo>
                  <a:pt x="85" y="46"/>
                </a:lnTo>
                <a:lnTo>
                  <a:pt x="86" y="47"/>
                </a:lnTo>
                <a:lnTo>
                  <a:pt x="87" y="47"/>
                </a:lnTo>
                <a:lnTo>
                  <a:pt x="84" y="43"/>
                </a:lnTo>
                <a:lnTo>
                  <a:pt x="81" y="42"/>
                </a:lnTo>
                <a:lnTo>
                  <a:pt x="83" y="41"/>
                </a:lnTo>
                <a:lnTo>
                  <a:pt x="84" y="41"/>
                </a:lnTo>
                <a:lnTo>
                  <a:pt x="84" y="40"/>
                </a:lnTo>
                <a:lnTo>
                  <a:pt x="85" y="41"/>
                </a:lnTo>
                <a:lnTo>
                  <a:pt x="89" y="41"/>
                </a:lnTo>
                <a:lnTo>
                  <a:pt x="89" y="37"/>
                </a:lnTo>
                <a:lnTo>
                  <a:pt x="91" y="39"/>
                </a:lnTo>
                <a:lnTo>
                  <a:pt x="91" y="37"/>
                </a:lnTo>
                <a:lnTo>
                  <a:pt x="90" y="36"/>
                </a:lnTo>
                <a:lnTo>
                  <a:pt x="89" y="36"/>
                </a:lnTo>
                <a:lnTo>
                  <a:pt x="89" y="37"/>
                </a:lnTo>
                <a:lnTo>
                  <a:pt x="87" y="37"/>
                </a:lnTo>
                <a:lnTo>
                  <a:pt x="85" y="35"/>
                </a:lnTo>
                <a:lnTo>
                  <a:pt x="85" y="33"/>
                </a:lnTo>
                <a:lnTo>
                  <a:pt x="86" y="34"/>
                </a:lnTo>
                <a:lnTo>
                  <a:pt x="87" y="34"/>
                </a:lnTo>
                <a:lnTo>
                  <a:pt x="89" y="33"/>
                </a:lnTo>
                <a:lnTo>
                  <a:pt x="87" y="33"/>
                </a:lnTo>
                <a:lnTo>
                  <a:pt x="86" y="32"/>
                </a:lnTo>
                <a:lnTo>
                  <a:pt x="85" y="29"/>
                </a:lnTo>
                <a:lnTo>
                  <a:pt x="87" y="29"/>
                </a:lnTo>
                <a:lnTo>
                  <a:pt x="87" y="27"/>
                </a:lnTo>
                <a:lnTo>
                  <a:pt x="89" y="27"/>
                </a:lnTo>
                <a:lnTo>
                  <a:pt x="90" y="24"/>
                </a:lnTo>
                <a:lnTo>
                  <a:pt x="90" y="27"/>
                </a:lnTo>
                <a:lnTo>
                  <a:pt x="91" y="27"/>
                </a:lnTo>
                <a:lnTo>
                  <a:pt x="91" y="21"/>
                </a:lnTo>
                <a:lnTo>
                  <a:pt x="92" y="18"/>
                </a:lnTo>
                <a:lnTo>
                  <a:pt x="92" y="17"/>
                </a:lnTo>
                <a:lnTo>
                  <a:pt x="93" y="17"/>
                </a:lnTo>
                <a:lnTo>
                  <a:pt x="96" y="18"/>
                </a:lnTo>
                <a:lnTo>
                  <a:pt x="97" y="18"/>
                </a:lnTo>
                <a:lnTo>
                  <a:pt x="98" y="17"/>
                </a:lnTo>
                <a:lnTo>
                  <a:pt x="98" y="20"/>
                </a:lnTo>
                <a:lnTo>
                  <a:pt x="102" y="16"/>
                </a:lnTo>
                <a:lnTo>
                  <a:pt x="103" y="16"/>
                </a:lnTo>
                <a:lnTo>
                  <a:pt x="104" y="15"/>
                </a:lnTo>
                <a:lnTo>
                  <a:pt x="104" y="14"/>
                </a:lnTo>
                <a:lnTo>
                  <a:pt x="105" y="12"/>
                </a:lnTo>
                <a:lnTo>
                  <a:pt x="106" y="14"/>
                </a:lnTo>
                <a:lnTo>
                  <a:pt x="106" y="15"/>
                </a:lnTo>
                <a:lnTo>
                  <a:pt x="104" y="16"/>
                </a:lnTo>
                <a:lnTo>
                  <a:pt x="108" y="16"/>
                </a:lnTo>
                <a:lnTo>
                  <a:pt x="109" y="15"/>
                </a:lnTo>
                <a:lnTo>
                  <a:pt x="109" y="17"/>
                </a:lnTo>
                <a:lnTo>
                  <a:pt x="110" y="17"/>
                </a:lnTo>
                <a:lnTo>
                  <a:pt x="110" y="20"/>
                </a:lnTo>
                <a:lnTo>
                  <a:pt x="111" y="18"/>
                </a:lnTo>
                <a:lnTo>
                  <a:pt x="111" y="16"/>
                </a:lnTo>
                <a:lnTo>
                  <a:pt x="110" y="15"/>
                </a:lnTo>
                <a:lnTo>
                  <a:pt x="110" y="14"/>
                </a:lnTo>
                <a:lnTo>
                  <a:pt x="112" y="11"/>
                </a:lnTo>
                <a:lnTo>
                  <a:pt x="114" y="11"/>
                </a:lnTo>
                <a:lnTo>
                  <a:pt x="112" y="15"/>
                </a:lnTo>
                <a:lnTo>
                  <a:pt x="112" y="16"/>
                </a:lnTo>
                <a:lnTo>
                  <a:pt x="114" y="16"/>
                </a:lnTo>
                <a:lnTo>
                  <a:pt x="114" y="15"/>
                </a:lnTo>
                <a:lnTo>
                  <a:pt x="115" y="16"/>
                </a:lnTo>
                <a:lnTo>
                  <a:pt x="116" y="16"/>
                </a:lnTo>
                <a:lnTo>
                  <a:pt x="116" y="17"/>
                </a:lnTo>
                <a:lnTo>
                  <a:pt x="117" y="17"/>
                </a:lnTo>
                <a:lnTo>
                  <a:pt x="117" y="21"/>
                </a:lnTo>
                <a:lnTo>
                  <a:pt x="118" y="20"/>
                </a:lnTo>
                <a:lnTo>
                  <a:pt x="118" y="17"/>
                </a:lnTo>
                <a:lnTo>
                  <a:pt x="117" y="16"/>
                </a:lnTo>
                <a:lnTo>
                  <a:pt x="117" y="14"/>
                </a:lnTo>
                <a:lnTo>
                  <a:pt x="116" y="12"/>
                </a:lnTo>
                <a:lnTo>
                  <a:pt x="116" y="16"/>
                </a:lnTo>
                <a:lnTo>
                  <a:pt x="115" y="15"/>
                </a:lnTo>
                <a:lnTo>
                  <a:pt x="114" y="15"/>
                </a:lnTo>
                <a:lnTo>
                  <a:pt x="114" y="14"/>
                </a:lnTo>
                <a:lnTo>
                  <a:pt x="115" y="11"/>
                </a:lnTo>
                <a:lnTo>
                  <a:pt x="115" y="10"/>
                </a:lnTo>
                <a:lnTo>
                  <a:pt x="116" y="11"/>
                </a:lnTo>
                <a:lnTo>
                  <a:pt x="118" y="9"/>
                </a:lnTo>
                <a:lnTo>
                  <a:pt x="120" y="9"/>
                </a:lnTo>
                <a:lnTo>
                  <a:pt x="120" y="10"/>
                </a:lnTo>
                <a:lnTo>
                  <a:pt x="121" y="10"/>
                </a:lnTo>
                <a:lnTo>
                  <a:pt x="121" y="15"/>
                </a:lnTo>
                <a:lnTo>
                  <a:pt x="122" y="16"/>
                </a:lnTo>
                <a:lnTo>
                  <a:pt x="122" y="17"/>
                </a:lnTo>
                <a:lnTo>
                  <a:pt x="123" y="18"/>
                </a:lnTo>
                <a:lnTo>
                  <a:pt x="124" y="18"/>
                </a:lnTo>
                <a:lnTo>
                  <a:pt x="124" y="22"/>
                </a:lnTo>
                <a:lnTo>
                  <a:pt x="122" y="24"/>
                </a:lnTo>
                <a:lnTo>
                  <a:pt x="120" y="26"/>
                </a:lnTo>
                <a:lnTo>
                  <a:pt x="123" y="26"/>
                </a:lnTo>
                <a:lnTo>
                  <a:pt x="122" y="28"/>
                </a:lnTo>
                <a:lnTo>
                  <a:pt x="120" y="29"/>
                </a:lnTo>
                <a:lnTo>
                  <a:pt x="118" y="32"/>
                </a:lnTo>
                <a:lnTo>
                  <a:pt x="118" y="33"/>
                </a:lnTo>
                <a:lnTo>
                  <a:pt x="123" y="28"/>
                </a:lnTo>
                <a:lnTo>
                  <a:pt x="124" y="28"/>
                </a:lnTo>
                <a:lnTo>
                  <a:pt x="124" y="27"/>
                </a:lnTo>
                <a:lnTo>
                  <a:pt x="126" y="27"/>
                </a:lnTo>
                <a:lnTo>
                  <a:pt x="127" y="26"/>
                </a:lnTo>
                <a:lnTo>
                  <a:pt x="128" y="26"/>
                </a:lnTo>
                <a:lnTo>
                  <a:pt x="128" y="23"/>
                </a:lnTo>
                <a:lnTo>
                  <a:pt x="127" y="22"/>
                </a:lnTo>
                <a:lnTo>
                  <a:pt x="127" y="18"/>
                </a:lnTo>
                <a:lnTo>
                  <a:pt x="126" y="16"/>
                </a:lnTo>
                <a:lnTo>
                  <a:pt x="123" y="14"/>
                </a:lnTo>
                <a:lnTo>
                  <a:pt x="123" y="12"/>
                </a:lnTo>
                <a:lnTo>
                  <a:pt x="124" y="12"/>
                </a:lnTo>
                <a:lnTo>
                  <a:pt x="124" y="8"/>
                </a:lnTo>
                <a:lnTo>
                  <a:pt x="126" y="8"/>
                </a:lnTo>
                <a:lnTo>
                  <a:pt x="127" y="9"/>
                </a:lnTo>
                <a:lnTo>
                  <a:pt x="127" y="6"/>
                </a:lnTo>
                <a:lnTo>
                  <a:pt x="128" y="8"/>
                </a:lnTo>
                <a:lnTo>
                  <a:pt x="129" y="8"/>
                </a:lnTo>
                <a:lnTo>
                  <a:pt x="131" y="6"/>
                </a:lnTo>
                <a:lnTo>
                  <a:pt x="133" y="6"/>
                </a:lnTo>
                <a:lnTo>
                  <a:pt x="134" y="8"/>
                </a:lnTo>
                <a:lnTo>
                  <a:pt x="133" y="8"/>
                </a:lnTo>
                <a:lnTo>
                  <a:pt x="133" y="9"/>
                </a:lnTo>
                <a:lnTo>
                  <a:pt x="136" y="9"/>
                </a:lnTo>
                <a:lnTo>
                  <a:pt x="133" y="6"/>
                </a:lnTo>
                <a:lnTo>
                  <a:pt x="131" y="4"/>
                </a:lnTo>
                <a:lnTo>
                  <a:pt x="131" y="3"/>
                </a:lnTo>
                <a:lnTo>
                  <a:pt x="130" y="2"/>
                </a:lnTo>
                <a:lnTo>
                  <a:pt x="129" y="2"/>
                </a:lnTo>
                <a:lnTo>
                  <a:pt x="13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6" name="Freeform 37">
            <a:extLst>
              <a:ext uri="{FF2B5EF4-FFF2-40B4-BE49-F238E27FC236}">
                <a16:creationId xmlns:a16="http://schemas.microsoft.com/office/drawing/2014/main" id="{D16B9310-D697-4393-AC9B-949897B6C2AD}"/>
              </a:ext>
            </a:extLst>
          </p:cNvPr>
          <p:cNvSpPr>
            <a:spLocks noEditPoints="1"/>
          </p:cNvSpPr>
          <p:nvPr/>
        </p:nvSpPr>
        <p:spPr bwMode="auto">
          <a:xfrm>
            <a:off x="2215526" y="4850905"/>
            <a:ext cx="414397" cy="253565"/>
          </a:xfrm>
          <a:custGeom>
            <a:avLst/>
            <a:gdLst/>
            <a:ahLst/>
            <a:cxnLst>
              <a:cxn ang="0">
                <a:pos x="199" y="0"/>
              </a:cxn>
              <a:cxn ang="0">
                <a:pos x="214" y="3"/>
              </a:cxn>
              <a:cxn ang="0">
                <a:pos x="223" y="1"/>
              </a:cxn>
              <a:cxn ang="0">
                <a:pos x="232" y="4"/>
              </a:cxn>
              <a:cxn ang="0">
                <a:pos x="245" y="13"/>
              </a:cxn>
              <a:cxn ang="0">
                <a:pos x="261" y="10"/>
              </a:cxn>
              <a:cxn ang="0">
                <a:pos x="266" y="21"/>
              </a:cxn>
              <a:cxn ang="0">
                <a:pos x="274" y="28"/>
              </a:cxn>
              <a:cxn ang="0">
                <a:pos x="285" y="31"/>
              </a:cxn>
              <a:cxn ang="0">
                <a:pos x="286" y="40"/>
              </a:cxn>
              <a:cxn ang="0">
                <a:pos x="271" y="51"/>
              </a:cxn>
              <a:cxn ang="0">
                <a:pos x="256" y="59"/>
              </a:cxn>
              <a:cxn ang="0">
                <a:pos x="245" y="76"/>
              </a:cxn>
              <a:cxn ang="0">
                <a:pos x="239" y="89"/>
              </a:cxn>
              <a:cxn ang="0">
                <a:pos x="235" y="98"/>
              </a:cxn>
              <a:cxn ang="0">
                <a:pos x="231" y="108"/>
              </a:cxn>
              <a:cxn ang="0">
                <a:pos x="229" y="117"/>
              </a:cxn>
              <a:cxn ang="0">
                <a:pos x="219" y="127"/>
              </a:cxn>
              <a:cxn ang="0">
                <a:pos x="214" y="136"/>
              </a:cxn>
              <a:cxn ang="0">
                <a:pos x="208" y="145"/>
              </a:cxn>
              <a:cxn ang="0">
                <a:pos x="201" y="143"/>
              </a:cxn>
              <a:cxn ang="0">
                <a:pos x="194" y="150"/>
              </a:cxn>
              <a:cxn ang="0">
                <a:pos x="176" y="150"/>
              </a:cxn>
              <a:cxn ang="0">
                <a:pos x="164" y="150"/>
              </a:cxn>
              <a:cxn ang="0">
                <a:pos x="151" y="149"/>
              </a:cxn>
              <a:cxn ang="0">
                <a:pos x="142" y="154"/>
              </a:cxn>
              <a:cxn ang="0">
                <a:pos x="134" y="158"/>
              </a:cxn>
              <a:cxn ang="0">
                <a:pos x="125" y="158"/>
              </a:cxn>
              <a:cxn ang="0">
                <a:pos x="114" y="166"/>
              </a:cxn>
              <a:cxn ang="0">
                <a:pos x="107" y="167"/>
              </a:cxn>
              <a:cxn ang="0">
                <a:pos x="96" y="175"/>
              </a:cxn>
              <a:cxn ang="0">
                <a:pos x="75" y="173"/>
              </a:cxn>
              <a:cxn ang="0">
                <a:pos x="56" y="163"/>
              </a:cxn>
              <a:cxn ang="0">
                <a:pos x="50" y="157"/>
              </a:cxn>
              <a:cxn ang="0">
                <a:pos x="37" y="147"/>
              </a:cxn>
              <a:cxn ang="0">
                <a:pos x="27" y="135"/>
              </a:cxn>
              <a:cxn ang="0">
                <a:pos x="20" y="131"/>
              </a:cxn>
              <a:cxn ang="0">
                <a:pos x="12" y="121"/>
              </a:cxn>
              <a:cxn ang="0">
                <a:pos x="9" y="111"/>
              </a:cxn>
              <a:cxn ang="0">
                <a:pos x="3" y="104"/>
              </a:cxn>
              <a:cxn ang="0">
                <a:pos x="13" y="98"/>
              </a:cxn>
              <a:cxn ang="0">
                <a:pos x="16" y="94"/>
              </a:cxn>
              <a:cxn ang="0">
                <a:pos x="14" y="87"/>
              </a:cxn>
              <a:cxn ang="0">
                <a:pos x="14" y="77"/>
              </a:cxn>
              <a:cxn ang="0">
                <a:pos x="22" y="68"/>
              </a:cxn>
              <a:cxn ang="0">
                <a:pos x="20" y="59"/>
              </a:cxn>
              <a:cxn ang="0">
                <a:pos x="18" y="55"/>
              </a:cxn>
              <a:cxn ang="0">
                <a:pos x="25" y="52"/>
              </a:cxn>
              <a:cxn ang="0">
                <a:pos x="32" y="56"/>
              </a:cxn>
              <a:cxn ang="0">
                <a:pos x="39" y="46"/>
              </a:cxn>
              <a:cxn ang="0">
                <a:pos x="43" y="39"/>
              </a:cxn>
              <a:cxn ang="0">
                <a:pos x="52" y="35"/>
              </a:cxn>
              <a:cxn ang="0">
                <a:pos x="65" y="47"/>
              </a:cxn>
              <a:cxn ang="0">
                <a:pos x="103" y="49"/>
              </a:cxn>
              <a:cxn ang="0">
                <a:pos x="115" y="46"/>
              </a:cxn>
              <a:cxn ang="0">
                <a:pos x="120" y="32"/>
              </a:cxn>
              <a:cxn ang="0">
                <a:pos x="143" y="27"/>
              </a:cxn>
              <a:cxn ang="0">
                <a:pos x="151" y="24"/>
              </a:cxn>
              <a:cxn ang="0">
                <a:pos x="164" y="26"/>
              </a:cxn>
              <a:cxn ang="0">
                <a:pos x="170" y="20"/>
              </a:cxn>
              <a:cxn ang="0">
                <a:pos x="182" y="9"/>
              </a:cxn>
              <a:cxn ang="0">
                <a:pos x="189" y="2"/>
              </a:cxn>
            </a:cxnLst>
            <a:rect l="0" t="0" r="r" b="b"/>
            <a:pathLst>
              <a:path w="286" h="175">
                <a:moveTo>
                  <a:pt x="121" y="163"/>
                </a:moveTo>
                <a:lnTo>
                  <a:pt x="123" y="163"/>
                </a:lnTo>
                <a:lnTo>
                  <a:pt x="123" y="164"/>
                </a:lnTo>
                <a:lnTo>
                  <a:pt x="121" y="164"/>
                </a:lnTo>
                <a:lnTo>
                  <a:pt x="121" y="163"/>
                </a:lnTo>
                <a:close/>
                <a:moveTo>
                  <a:pt x="198" y="0"/>
                </a:moveTo>
                <a:lnTo>
                  <a:pt x="199" y="0"/>
                </a:lnTo>
                <a:lnTo>
                  <a:pt x="200" y="1"/>
                </a:lnTo>
                <a:lnTo>
                  <a:pt x="202" y="1"/>
                </a:lnTo>
                <a:lnTo>
                  <a:pt x="205" y="3"/>
                </a:lnTo>
                <a:lnTo>
                  <a:pt x="210" y="3"/>
                </a:lnTo>
                <a:lnTo>
                  <a:pt x="211" y="4"/>
                </a:lnTo>
                <a:lnTo>
                  <a:pt x="212" y="4"/>
                </a:lnTo>
                <a:lnTo>
                  <a:pt x="214" y="3"/>
                </a:lnTo>
                <a:lnTo>
                  <a:pt x="218" y="3"/>
                </a:lnTo>
                <a:lnTo>
                  <a:pt x="218" y="4"/>
                </a:lnTo>
                <a:lnTo>
                  <a:pt x="219" y="3"/>
                </a:lnTo>
                <a:lnTo>
                  <a:pt x="219" y="2"/>
                </a:lnTo>
                <a:lnTo>
                  <a:pt x="220" y="2"/>
                </a:lnTo>
                <a:lnTo>
                  <a:pt x="220" y="1"/>
                </a:lnTo>
                <a:lnTo>
                  <a:pt x="223" y="1"/>
                </a:lnTo>
                <a:lnTo>
                  <a:pt x="225" y="0"/>
                </a:lnTo>
                <a:lnTo>
                  <a:pt x="225" y="1"/>
                </a:lnTo>
                <a:lnTo>
                  <a:pt x="227" y="1"/>
                </a:lnTo>
                <a:lnTo>
                  <a:pt x="227" y="2"/>
                </a:lnTo>
                <a:lnTo>
                  <a:pt x="229" y="2"/>
                </a:lnTo>
                <a:lnTo>
                  <a:pt x="229" y="4"/>
                </a:lnTo>
                <a:lnTo>
                  <a:pt x="232" y="4"/>
                </a:lnTo>
                <a:lnTo>
                  <a:pt x="232" y="6"/>
                </a:lnTo>
                <a:lnTo>
                  <a:pt x="233" y="8"/>
                </a:lnTo>
                <a:lnTo>
                  <a:pt x="236" y="12"/>
                </a:lnTo>
                <a:lnTo>
                  <a:pt x="239" y="15"/>
                </a:lnTo>
                <a:lnTo>
                  <a:pt x="240" y="14"/>
                </a:lnTo>
                <a:lnTo>
                  <a:pt x="243" y="13"/>
                </a:lnTo>
                <a:lnTo>
                  <a:pt x="245" y="13"/>
                </a:lnTo>
                <a:lnTo>
                  <a:pt x="246" y="12"/>
                </a:lnTo>
                <a:lnTo>
                  <a:pt x="254" y="12"/>
                </a:lnTo>
                <a:lnTo>
                  <a:pt x="255" y="10"/>
                </a:lnTo>
                <a:lnTo>
                  <a:pt x="256" y="10"/>
                </a:lnTo>
                <a:lnTo>
                  <a:pt x="256" y="9"/>
                </a:lnTo>
                <a:lnTo>
                  <a:pt x="260" y="9"/>
                </a:lnTo>
                <a:lnTo>
                  <a:pt x="261" y="10"/>
                </a:lnTo>
                <a:lnTo>
                  <a:pt x="260" y="12"/>
                </a:lnTo>
                <a:lnTo>
                  <a:pt x="260" y="13"/>
                </a:lnTo>
                <a:lnTo>
                  <a:pt x="262" y="13"/>
                </a:lnTo>
                <a:lnTo>
                  <a:pt x="262" y="18"/>
                </a:lnTo>
                <a:lnTo>
                  <a:pt x="264" y="20"/>
                </a:lnTo>
                <a:lnTo>
                  <a:pt x="264" y="21"/>
                </a:lnTo>
                <a:lnTo>
                  <a:pt x="266" y="21"/>
                </a:lnTo>
                <a:lnTo>
                  <a:pt x="266" y="20"/>
                </a:lnTo>
                <a:lnTo>
                  <a:pt x="267" y="21"/>
                </a:lnTo>
                <a:lnTo>
                  <a:pt x="268" y="21"/>
                </a:lnTo>
                <a:lnTo>
                  <a:pt x="269" y="20"/>
                </a:lnTo>
                <a:lnTo>
                  <a:pt x="273" y="25"/>
                </a:lnTo>
                <a:lnTo>
                  <a:pt x="273" y="26"/>
                </a:lnTo>
                <a:lnTo>
                  <a:pt x="274" y="28"/>
                </a:lnTo>
                <a:lnTo>
                  <a:pt x="274" y="30"/>
                </a:lnTo>
                <a:lnTo>
                  <a:pt x="279" y="30"/>
                </a:lnTo>
                <a:lnTo>
                  <a:pt x="280" y="28"/>
                </a:lnTo>
                <a:lnTo>
                  <a:pt x="281" y="28"/>
                </a:lnTo>
                <a:lnTo>
                  <a:pt x="281" y="30"/>
                </a:lnTo>
                <a:lnTo>
                  <a:pt x="283" y="30"/>
                </a:lnTo>
                <a:lnTo>
                  <a:pt x="285" y="31"/>
                </a:lnTo>
                <a:lnTo>
                  <a:pt x="285" y="32"/>
                </a:lnTo>
                <a:lnTo>
                  <a:pt x="286" y="33"/>
                </a:lnTo>
                <a:lnTo>
                  <a:pt x="286" y="34"/>
                </a:lnTo>
                <a:lnTo>
                  <a:pt x="285" y="35"/>
                </a:lnTo>
                <a:lnTo>
                  <a:pt x="285" y="38"/>
                </a:lnTo>
                <a:lnTo>
                  <a:pt x="286" y="39"/>
                </a:lnTo>
                <a:lnTo>
                  <a:pt x="286" y="40"/>
                </a:lnTo>
                <a:lnTo>
                  <a:pt x="283" y="43"/>
                </a:lnTo>
                <a:lnTo>
                  <a:pt x="282" y="43"/>
                </a:lnTo>
                <a:lnTo>
                  <a:pt x="281" y="44"/>
                </a:lnTo>
                <a:lnTo>
                  <a:pt x="281" y="46"/>
                </a:lnTo>
                <a:lnTo>
                  <a:pt x="280" y="46"/>
                </a:lnTo>
                <a:lnTo>
                  <a:pt x="275" y="51"/>
                </a:lnTo>
                <a:lnTo>
                  <a:pt x="271" y="51"/>
                </a:lnTo>
                <a:lnTo>
                  <a:pt x="268" y="49"/>
                </a:lnTo>
                <a:lnTo>
                  <a:pt x="267" y="50"/>
                </a:lnTo>
                <a:lnTo>
                  <a:pt x="267" y="52"/>
                </a:lnTo>
                <a:lnTo>
                  <a:pt x="262" y="52"/>
                </a:lnTo>
                <a:lnTo>
                  <a:pt x="257" y="57"/>
                </a:lnTo>
                <a:lnTo>
                  <a:pt x="257" y="58"/>
                </a:lnTo>
                <a:lnTo>
                  <a:pt x="256" y="59"/>
                </a:lnTo>
                <a:lnTo>
                  <a:pt x="256" y="62"/>
                </a:lnTo>
                <a:lnTo>
                  <a:pt x="251" y="64"/>
                </a:lnTo>
                <a:lnTo>
                  <a:pt x="250" y="67"/>
                </a:lnTo>
                <a:lnTo>
                  <a:pt x="249" y="68"/>
                </a:lnTo>
                <a:lnTo>
                  <a:pt x="249" y="75"/>
                </a:lnTo>
                <a:lnTo>
                  <a:pt x="246" y="76"/>
                </a:lnTo>
                <a:lnTo>
                  <a:pt x="245" y="76"/>
                </a:lnTo>
                <a:lnTo>
                  <a:pt x="245" y="77"/>
                </a:lnTo>
                <a:lnTo>
                  <a:pt x="243" y="80"/>
                </a:lnTo>
                <a:lnTo>
                  <a:pt x="243" y="83"/>
                </a:lnTo>
                <a:lnTo>
                  <a:pt x="242" y="84"/>
                </a:lnTo>
                <a:lnTo>
                  <a:pt x="242" y="88"/>
                </a:lnTo>
                <a:lnTo>
                  <a:pt x="240" y="89"/>
                </a:lnTo>
                <a:lnTo>
                  <a:pt x="239" y="89"/>
                </a:lnTo>
                <a:lnTo>
                  <a:pt x="239" y="92"/>
                </a:lnTo>
                <a:lnTo>
                  <a:pt x="238" y="93"/>
                </a:lnTo>
                <a:lnTo>
                  <a:pt x="236" y="94"/>
                </a:lnTo>
                <a:lnTo>
                  <a:pt x="236" y="95"/>
                </a:lnTo>
                <a:lnTo>
                  <a:pt x="233" y="96"/>
                </a:lnTo>
                <a:lnTo>
                  <a:pt x="233" y="98"/>
                </a:lnTo>
                <a:lnTo>
                  <a:pt x="235" y="98"/>
                </a:lnTo>
                <a:lnTo>
                  <a:pt x="236" y="99"/>
                </a:lnTo>
                <a:lnTo>
                  <a:pt x="235" y="99"/>
                </a:lnTo>
                <a:lnTo>
                  <a:pt x="235" y="102"/>
                </a:lnTo>
                <a:lnTo>
                  <a:pt x="232" y="104"/>
                </a:lnTo>
                <a:lnTo>
                  <a:pt x="232" y="107"/>
                </a:lnTo>
                <a:lnTo>
                  <a:pt x="231" y="107"/>
                </a:lnTo>
                <a:lnTo>
                  <a:pt x="231" y="108"/>
                </a:lnTo>
                <a:lnTo>
                  <a:pt x="230" y="108"/>
                </a:lnTo>
                <a:lnTo>
                  <a:pt x="229" y="110"/>
                </a:lnTo>
                <a:lnTo>
                  <a:pt x="227" y="113"/>
                </a:lnTo>
                <a:lnTo>
                  <a:pt x="226" y="114"/>
                </a:lnTo>
                <a:lnTo>
                  <a:pt x="227" y="114"/>
                </a:lnTo>
                <a:lnTo>
                  <a:pt x="229" y="115"/>
                </a:lnTo>
                <a:lnTo>
                  <a:pt x="229" y="117"/>
                </a:lnTo>
                <a:lnTo>
                  <a:pt x="227" y="118"/>
                </a:lnTo>
                <a:lnTo>
                  <a:pt x="225" y="118"/>
                </a:lnTo>
                <a:lnTo>
                  <a:pt x="225" y="120"/>
                </a:lnTo>
                <a:lnTo>
                  <a:pt x="224" y="121"/>
                </a:lnTo>
                <a:lnTo>
                  <a:pt x="220" y="121"/>
                </a:lnTo>
                <a:lnTo>
                  <a:pt x="219" y="123"/>
                </a:lnTo>
                <a:lnTo>
                  <a:pt x="219" y="127"/>
                </a:lnTo>
                <a:lnTo>
                  <a:pt x="218" y="127"/>
                </a:lnTo>
                <a:lnTo>
                  <a:pt x="218" y="130"/>
                </a:lnTo>
                <a:lnTo>
                  <a:pt x="219" y="132"/>
                </a:lnTo>
                <a:lnTo>
                  <a:pt x="219" y="133"/>
                </a:lnTo>
                <a:lnTo>
                  <a:pt x="218" y="135"/>
                </a:lnTo>
                <a:lnTo>
                  <a:pt x="215" y="135"/>
                </a:lnTo>
                <a:lnTo>
                  <a:pt x="214" y="136"/>
                </a:lnTo>
                <a:lnTo>
                  <a:pt x="214" y="139"/>
                </a:lnTo>
                <a:lnTo>
                  <a:pt x="213" y="141"/>
                </a:lnTo>
                <a:lnTo>
                  <a:pt x="213" y="143"/>
                </a:lnTo>
                <a:lnTo>
                  <a:pt x="212" y="142"/>
                </a:lnTo>
                <a:lnTo>
                  <a:pt x="211" y="143"/>
                </a:lnTo>
                <a:lnTo>
                  <a:pt x="210" y="145"/>
                </a:lnTo>
                <a:lnTo>
                  <a:pt x="208" y="145"/>
                </a:lnTo>
                <a:lnTo>
                  <a:pt x="207" y="144"/>
                </a:lnTo>
                <a:lnTo>
                  <a:pt x="205" y="144"/>
                </a:lnTo>
                <a:lnTo>
                  <a:pt x="204" y="143"/>
                </a:lnTo>
                <a:lnTo>
                  <a:pt x="202" y="143"/>
                </a:lnTo>
                <a:lnTo>
                  <a:pt x="202" y="144"/>
                </a:lnTo>
                <a:lnTo>
                  <a:pt x="201" y="144"/>
                </a:lnTo>
                <a:lnTo>
                  <a:pt x="201" y="143"/>
                </a:lnTo>
                <a:lnTo>
                  <a:pt x="198" y="143"/>
                </a:lnTo>
                <a:lnTo>
                  <a:pt x="196" y="145"/>
                </a:lnTo>
                <a:lnTo>
                  <a:pt x="195" y="145"/>
                </a:lnTo>
                <a:lnTo>
                  <a:pt x="196" y="147"/>
                </a:lnTo>
                <a:lnTo>
                  <a:pt x="196" y="148"/>
                </a:lnTo>
                <a:lnTo>
                  <a:pt x="194" y="148"/>
                </a:lnTo>
                <a:lnTo>
                  <a:pt x="194" y="150"/>
                </a:lnTo>
                <a:lnTo>
                  <a:pt x="193" y="151"/>
                </a:lnTo>
                <a:lnTo>
                  <a:pt x="189" y="151"/>
                </a:lnTo>
                <a:lnTo>
                  <a:pt x="188" y="150"/>
                </a:lnTo>
                <a:lnTo>
                  <a:pt x="186" y="149"/>
                </a:lnTo>
                <a:lnTo>
                  <a:pt x="184" y="149"/>
                </a:lnTo>
                <a:lnTo>
                  <a:pt x="183" y="150"/>
                </a:lnTo>
                <a:lnTo>
                  <a:pt x="176" y="150"/>
                </a:lnTo>
                <a:lnTo>
                  <a:pt x="175" y="153"/>
                </a:lnTo>
                <a:lnTo>
                  <a:pt x="173" y="151"/>
                </a:lnTo>
                <a:lnTo>
                  <a:pt x="171" y="150"/>
                </a:lnTo>
                <a:lnTo>
                  <a:pt x="171" y="151"/>
                </a:lnTo>
                <a:lnTo>
                  <a:pt x="170" y="151"/>
                </a:lnTo>
                <a:lnTo>
                  <a:pt x="170" y="150"/>
                </a:lnTo>
                <a:lnTo>
                  <a:pt x="164" y="150"/>
                </a:lnTo>
                <a:lnTo>
                  <a:pt x="162" y="149"/>
                </a:lnTo>
                <a:lnTo>
                  <a:pt x="161" y="150"/>
                </a:lnTo>
                <a:lnTo>
                  <a:pt x="159" y="150"/>
                </a:lnTo>
                <a:lnTo>
                  <a:pt x="156" y="151"/>
                </a:lnTo>
                <a:lnTo>
                  <a:pt x="155" y="151"/>
                </a:lnTo>
                <a:lnTo>
                  <a:pt x="152" y="150"/>
                </a:lnTo>
                <a:lnTo>
                  <a:pt x="151" y="149"/>
                </a:lnTo>
                <a:lnTo>
                  <a:pt x="146" y="149"/>
                </a:lnTo>
                <a:lnTo>
                  <a:pt x="145" y="150"/>
                </a:lnTo>
                <a:lnTo>
                  <a:pt x="144" y="150"/>
                </a:lnTo>
                <a:lnTo>
                  <a:pt x="143" y="151"/>
                </a:lnTo>
                <a:lnTo>
                  <a:pt x="144" y="153"/>
                </a:lnTo>
                <a:lnTo>
                  <a:pt x="143" y="154"/>
                </a:lnTo>
                <a:lnTo>
                  <a:pt x="142" y="154"/>
                </a:lnTo>
                <a:lnTo>
                  <a:pt x="142" y="155"/>
                </a:lnTo>
                <a:lnTo>
                  <a:pt x="140" y="155"/>
                </a:lnTo>
                <a:lnTo>
                  <a:pt x="139" y="156"/>
                </a:lnTo>
                <a:lnTo>
                  <a:pt x="139" y="157"/>
                </a:lnTo>
                <a:lnTo>
                  <a:pt x="136" y="157"/>
                </a:lnTo>
                <a:lnTo>
                  <a:pt x="136" y="158"/>
                </a:lnTo>
                <a:lnTo>
                  <a:pt x="134" y="158"/>
                </a:lnTo>
                <a:lnTo>
                  <a:pt x="134" y="160"/>
                </a:lnTo>
                <a:lnTo>
                  <a:pt x="133" y="161"/>
                </a:lnTo>
                <a:lnTo>
                  <a:pt x="132" y="161"/>
                </a:lnTo>
                <a:lnTo>
                  <a:pt x="128" y="160"/>
                </a:lnTo>
                <a:lnTo>
                  <a:pt x="127" y="160"/>
                </a:lnTo>
                <a:lnTo>
                  <a:pt x="127" y="158"/>
                </a:lnTo>
                <a:lnTo>
                  <a:pt x="125" y="158"/>
                </a:lnTo>
                <a:lnTo>
                  <a:pt x="125" y="162"/>
                </a:lnTo>
                <a:lnTo>
                  <a:pt x="121" y="162"/>
                </a:lnTo>
                <a:lnTo>
                  <a:pt x="121" y="163"/>
                </a:lnTo>
                <a:lnTo>
                  <a:pt x="118" y="163"/>
                </a:lnTo>
                <a:lnTo>
                  <a:pt x="118" y="164"/>
                </a:lnTo>
                <a:lnTo>
                  <a:pt x="114" y="164"/>
                </a:lnTo>
                <a:lnTo>
                  <a:pt x="114" y="166"/>
                </a:lnTo>
                <a:lnTo>
                  <a:pt x="113" y="166"/>
                </a:lnTo>
                <a:lnTo>
                  <a:pt x="113" y="167"/>
                </a:lnTo>
                <a:lnTo>
                  <a:pt x="111" y="166"/>
                </a:lnTo>
                <a:lnTo>
                  <a:pt x="109" y="164"/>
                </a:lnTo>
                <a:lnTo>
                  <a:pt x="108" y="164"/>
                </a:lnTo>
                <a:lnTo>
                  <a:pt x="107" y="166"/>
                </a:lnTo>
                <a:lnTo>
                  <a:pt x="107" y="167"/>
                </a:lnTo>
                <a:lnTo>
                  <a:pt x="105" y="169"/>
                </a:lnTo>
                <a:lnTo>
                  <a:pt x="105" y="170"/>
                </a:lnTo>
                <a:lnTo>
                  <a:pt x="102" y="172"/>
                </a:lnTo>
                <a:lnTo>
                  <a:pt x="101" y="173"/>
                </a:lnTo>
                <a:lnTo>
                  <a:pt x="101" y="172"/>
                </a:lnTo>
                <a:lnTo>
                  <a:pt x="97" y="175"/>
                </a:lnTo>
                <a:lnTo>
                  <a:pt x="96" y="175"/>
                </a:lnTo>
                <a:lnTo>
                  <a:pt x="96" y="174"/>
                </a:lnTo>
                <a:lnTo>
                  <a:pt x="92" y="174"/>
                </a:lnTo>
                <a:lnTo>
                  <a:pt x="90" y="173"/>
                </a:lnTo>
                <a:lnTo>
                  <a:pt x="83" y="173"/>
                </a:lnTo>
                <a:lnTo>
                  <a:pt x="80" y="172"/>
                </a:lnTo>
                <a:lnTo>
                  <a:pt x="75" y="172"/>
                </a:lnTo>
                <a:lnTo>
                  <a:pt x="75" y="173"/>
                </a:lnTo>
                <a:lnTo>
                  <a:pt x="72" y="170"/>
                </a:lnTo>
                <a:lnTo>
                  <a:pt x="68" y="169"/>
                </a:lnTo>
                <a:lnTo>
                  <a:pt x="65" y="169"/>
                </a:lnTo>
                <a:lnTo>
                  <a:pt x="65" y="166"/>
                </a:lnTo>
                <a:lnTo>
                  <a:pt x="62" y="162"/>
                </a:lnTo>
                <a:lnTo>
                  <a:pt x="56" y="162"/>
                </a:lnTo>
                <a:lnTo>
                  <a:pt x="56" y="163"/>
                </a:lnTo>
                <a:lnTo>
                  <a:pt x="55" y="162"/>
                </a:lnTo>
                <a:lnTo>
                  <a:pt x="52" y="162"/>
                </a:lnTo>
                <a:lnTo>
                  <a:pt x="52" y="161"/>
                </a:lnTo>
                <a:lnTo>
                  <a:pt x="51" y="161"/>
                </a:lnTo>
                <a:lnTo>
                  <a:pt x="51" y="158"/>
                </a:lnTo>
                <a:lnTo>
                  <a:pt x="50" y="158"/>
                </a:lnTo>
                <a:lnTo>
                  <a:pt x="50" y="157"/>
                </a:lnTo>
                <a:lnTo>
                  <a:pt x="47" y="153"/>
                </a:lnTo>
                <a:lnTo>
                  <a:pt x="46" y="153"/>
                </a:lnTo>
                <a:lnTo>
                  <a:pt x="43" y="151"/>
                </a:lnTo>
                <a:lnTo>
                  <a:pt x="40" y="150"/>
                </a:lnTo>
                <a:lnTo>
                  <a:pt x="40" y="149"/>
                </a:lnTo>
                <a:lnTo>
                  <a:pt x="39" y="149"/>
                </a:lnTo>
                <a:lnTo>
                  <a:pt x="37" y="147"/>
                </a:lnTo>
                <a:lnTo>
                  <a:pt x="34" y="142"/>
                </a:lnTo>
                <a:lnTo>
                  <a:pt x="33" y="142"/>
                </a:lnTo>
                <a:lnTo>
                  <a:pt x="33" y="138"/>
                </a:lnTo>
                <a:lnTo>
                  <a:pt x="32" y="137"/>
                </a:lnTo>
                <a:lnTo>
                  <a:pt x="32" y="136"/>
                </a:lnTo>
                <a:lnTo>
                  <a:pt x="28" y="136"/>
                </a:lnTo>
                <a:lnTo>
                  <a:pt x="27" y="135"/>
                </a:lnTo>
                <a:lnTo>
                  <a:pt x="26" y="135"/>
                </a:lnTo>
                <a:lnTo>
                  <a:pt x="25" y="133"/>
                </a:lnTo>
                <a:lnTo>
                  <a:pt x="25" y="132"/>
                </a:lnTo>
                <a:lnTo>
                  <a:pt x="22" y="130"/>
                </a:lnTo>
                <a:lnTo>
                  <a:pt x="21" y="130"/>
                </a:lnTo>
                <a:lnTo>
                  <a:pt x="21" y="131"/>
                </a:lnTo>
                <a:lnTo>
                  <a:pt x="20" y="131"/>
                </a:lnTo>
                <a:lnTo>
                  <a:pt x="20" y="130"/>
                </a:lnTo>
                <a:lnTo>
                  <a:pt x="18" y="129"/>
                </a:lnTo>
                <a:lnTo>
                  <a:pt x="18" y="126"/>
                </a:lnTo>
                <a:lnTo>
                  <a:pt x="15" y="125"/>
                </a:lnTo>
                <a:lnTo>
                  <a:pt x="14" y="123"/>
                </a:lnTo>
                <a:lnTo>
                  <a:pt x="13" y="121"/>
                </a:lnTo>
                <a:lnTo>
                  <a:pt x="12" y="121"/>
                </a:lnTo>
                <a:lnTo>
                  <a:pt x="12" y="119"/>
                </a:lnTo>
                <a:lnTo>
                  <a:pt x="13" y="119"/>
                </a:lnTo>
                <a:lnTo>
                  <a:pt x="13" y="117"/>
                </a:lnTo>
                <a:lnTo>
                  <a:pt x="12" y="117"/>
                </a:lnTo>
                <a:lnTo>
                  <a:pt x="9" y="114"/>
                </a:lnTo>
                <a:lnTo>
                  <a:pt x="8" y="112"/>
                </a:lnTo>
                <a:lnTo>
                  <a:pt x="9" y="111"/>
                </a:lnTo>
                <a:lnTo>
                  <a:pt x="9" y="108"/>
                </a:lnTo>
                <a:lnTo>
                  <a:pt x="7" y="106"/>
                </a:lnTo>
                <a:lnTo>
                  <a:pt x="3" y="107"/>
                </a:lnTo>
                <a:lnTo>
                  <a:pt x="0" y="107"/>
                </a:lnTo>
                <a:lnTo>
                  <a:pt x="1" y="106"/>
                </a:lnTo>
                <a:lnTo>
                  <a:pt x="2" y="104"/>
                </a:lnTo>
                <a:lnTo>
                  <a:pt x="3" y="104"/>
                </a:lnTo>
                <a:lnTo>
                  <a:pt x="5" y="102"/>
                </a:lnTo>
                <a:lnTo>
                  <a:pt x="6" y="102"/>
                </a:lnTo>
                <a:lnTo>
                  <a:pt x="6" y="100"/>
                </a:lnTo>
                <a:lnTo>
                  <a:pt x="7" y="100"/>
                </a:lnTo>
                <a:lnTo>
                  <a:pt x="7" y="99"/>
                </a:lnTo>
                <a:lnTo>
                  <a:pt x="8" y="98"/>
                </a:lnTo>
                <a:lnTo>
                  <a:pt x="13" y="98"/>
                </a:lnTo>
                <a:lnTo>
                  <a:pt x="13" y="99"/>
                </a:lnTo>
                <a:lnTo>
                  <a:pt x="15" y="99"/>
                </a:lnTo>
                <a:lnTo>
                  <a:pt x="16" y="98"/>
                </a:lnTo>
                <a:lnTo>
                  <a:pt x="15" y="96"/>
                </a:lnTo>
                <a:lnTo>
                  <a:pt x="14" y="96"/>
                </a:lnTo>
                <a:lnTo>
                  <a:pt x="16" y="95"/>
                </a:lnTo>
                <a:lnTo>
                  <a:pt x="16" y="94"/>
                </a:lnTo>
                <a:lnTo>
                  <a:pt x="15" y="94"/>
                </a:lnTo>
                <a:lnTo>
                  <a:pt x="15" y="92"/>
                </a:lnTo>
                <a:lnTo>
                  <a:pt x="16" y="92"/>
                </a:lnTo>
                <a:lnTo>
                  <a:pt x="18" y="90"/>
                </a:lnTo>
                <a:lnTo>
                  <a:pt x="18" y="89"/>
                </a:lnTo>
                <a:lnTo>
                  <a:pt x="14" y="89"/>
                </a:lnTo>
                <a:lnTo>
                  <a:pt x="14" y="87"/>
                </a:lnTo>
                <a:lnTo>
                  <a:pt x="13" y="87"/>
                </a:lnTo>
                <a:lnTo>
                  <a:pt x="13" y="86"/>
                </a:lnTo>
                <a:lnTo>
                  <a:pt x="14" y="84"/>
                </a:lnTo>
                <a:lnTo>
                  <a:pt x="14" y="83"/>
                </a:lnTo>
                <a:lnTo>
                  <a:pt x="16" y="81"/>
                </a:lnTo>
                <a:lnTo>
                  <a:pt x="15" y="80"/>
                </a:lnTo>
                <a:lnTo>
                  <a:pt x="14" y="77"/>
                </a:lnTo>
                <a:lnTo>
                  <a:pt x="14" y="74"/>
                </a:lnTo>
                <a:lnTo>
                  <a:pt x="15" y="73"/>
                </a:lnTo>
                <a:lnTo>
                  <a:pt x="16" y="74"/>
                </a:lnTo>
                <a:lnTo>
                  <a:pt x="21" y="71"/>
                </a:lnTo>
                <a:lnTo>
                  <a:pt x="22" y="70"/>
                </a:lnTo>
                <a:lnTo>
                  <a:pt x="24" y="70"/>
                </a:lnTo>
                <a:lnTo>
                  <a:pt x="22" y="68"/>
                </a:lnTo>
                <a:lnTo>
                  <a:pt x="24" y="67"/>
                </a:lnTo>
                <a:lnTo>
                  <a:pt x="25" y="67"/>
                </a:lnTo>
                <a:lnTo>
                  <a:pt x="25" y="64"/>
                </a:lnTo>
                <a:lnTo>
                  <a:pt x="24" y="63"/>
                </a:lnTo>
                <a:lnTo>
                  <a:pt x="24" y="61"/>
                </a:lnTo>
                <a:lnTo>
                  <a:pt x="22" y="59"/>
                </a:lnTo>
                <a:lnTo>
                  <a:pt x="20" y="59"/>
                </a:lnTo>
                <a:lnTo>
                  <a:pt x="18" y="58"/>
                </a:lnTo>
                <a:lnTo>
                  <a:pt x="16" y="58"/>
                </a:lnTo>
                <a:lnTo>
                  <a:pt x="14" y="57"/>
                </a:lnTo>
                <a:lnTo>
                  <a:pt x="14" y="55"/>
                </a:lnTo>
                <a:lnTo>
                  <a:pt x="15" y="56"/>
                </a:lnTo>
                <a:lnTo>
                  <a:pt x="16" y="55"/>
                </a:lnTo>
                <a:lnTo>
                  <a:pt x="18" y="55"/>
                </a:lnTo>
                <a:lnTo>
                  <a:pt x="18" y="53"/>
                </a:lnTo>
                <a:lnTo>
                  <a:pt x="19" y="53"/>
                </a:lnTo>
                <a:lnTo>
                  <a:pt x="18" y="52"/>
                </a:lnTo>
                <a:lnTo>
                  <a:pt x="19" y="52"/>
                </a:lnTo>
                <a:lnTo>
                  <a:pt x="20" y="51"/>
                </a:lnTo>
                <a:lnTo>
                  <a:pt x="21" y="51"/>
                </a:lnTo>
                <a:lnTo>
                  <a:pt x="25" y="52"/>
                </a:lnTo>
                <a:lnTo>
                  <a:pt x="26" y="53"/>
                </a:lnTo>
                <a:lnTo>
                  <a:pt x="26" y="55"/>
                </a:lnTo>
                <a:lnTo>
                  <a:pt x="27" y="56"/>
                </a:lnTo>
                <a:lnTo>
                  <a:pt x="31" y="56"/>
                </a:lnTo>
                <a:lnTo>
                  <a:pt x="31" y="55"/>
                </a:lnTo>
                <a:lnTo>
                  <a:pt x="32" y="53"/>
                </a:lnTo>
                <a:lnTo>
                  <a:pt x="32" y="56"/>
                </a:lnTo>
                <a:lnTo>
                  <a:pt x="34" y="56"/>
                </a:lnTo>
                <a:lnTo>
                  <a:pt x="38" y="55"/>
                </a:lnTo>
                <a:lnTo>
                  <a:pt x="41" y="55"/>
                </a:lnTo>
                <a:lnTo>
                  <a:pt x="41" y="53"/>
                </a:lnTo>
                <a:lnTo>
                  <a:pt x="40" y="53"/>
                </a:lnTo>
                <a:lnTo>
                  <a:pt x="40" y="46"/>
                </a:lnTo>
                <a:lnTo>
                  <a:pt x="39" y="46"/>
                </a:lnTo>
                <a:lnTo>
                  <a:pt x="39" y="45"/>
                </a:lnTo>
                <a:lnTo>
                  <a:pt x="38" y="45"/>
                </a:lnTo>
                <a:lnTo>
                  <a:pt x="38" y="44"/>
                </a:lnTo>
                <a:lnTo>
                  <a:pt x="40" y="44"/>
                </a:lnTo>
                <a:lnTo>
                  <a:pt x="41" y="43"/>
                </a:lnTo>
                <a:lnTo>
                  <a:pt x="41" y="39"/>
                </a:lnTo>
                <a:lnTo>
                  <a:pt x="43" y="39"/>
                </a:lnTo>
                <a:lnTo>
                  <a:pt x="43" y="38"/>
                </a:lnTo>
                <a:lnTo>
                  <a:pt x="41" y="38"/>
                </a:lnTo>
                <a:lnTo>
                  <a:pt x="44" y="35"/>
                </a:lnTo>
                <a:lnTo>
                  <a:pt x="46" y="34"/>
                </a:lnTo>
                <a:lnTo>
                  <a:pt x="47" y="34"/>
                </a:lnTo>
                <a:lnTo>
                  <a:pt x="50" y="35"/>
                </a:lnTo>
                <a:lnTo>
                  <a:pt x="52" y="35"/>
                </a:lnTo>
                <a:lnTo>
                  <a:pt x="53" y="37"/>
                </a:lnTo>
                <a:lnTo>
                  <a:pt x="58" y="43"/>
                </a:lnTo>
                <a:lnTo>
                  <a:pt x="59" y="44"/>
                </a:lnTo>
                <a:lnTo>
                  <a:pt x="61" y="44"/>
                </a:lnTo>
                <a:lnTo>
                  <a:pt x="62" y="46"/>
                </a:lnTo>
                <a:lnTo>
                  <a:pt x="64" y="46"/>
                </a:lnTo>
                <a:lnTo>
                  <a:pt x="65" y="47"/>
                </a:lnTo>
                <a:lnTo>
                  <a:pt x="66" y="47"/>
                </a:lnTo>
                <a:lnTo>
                  <a:pt x="66" y="49"/>
                </a:lnTo>
                <a:lnTo>
                  <a:pt x="69" y="50"/>
                </a:lnTo>
                <a:lnTo>
                  <a:pt x="70" y="51"/>
                </a:lnTo>
                <a:lnTo>
                  <a:pt x="92" y="51"/>
                </a:lnTo>
                <a:lnTo>
                  <a:pt x="95" y="50"/>
                </a:lnTo>
                <a:lnTo>
                  <a:pt x="103" y="49"/>
                </a:lnTo>
                <a:lnTo>
                  <a:pt x="106" y="49"/>
                </a:lnTo>
                <a:lnTo>
                  <a:pt x="107" y="50"/>
                </a:lnTo>
                <a:lnTo>
                  <a:pt x="109" y="50"/>
                </a:lnTo>
                <a:lnTo>
                  <a:pt x="112" y="47"/>
                </a:lnTo>
                <a:lnTo>
                  <a:pt x="113" y="47"/>
                </a:lnTo>
                <a:lnTo>
                  <a:pt x="114" y="46"/>
                </a:lnTo>
                <a:lnTo>
                  <a:pt x="115" y="46"/>
                </a:lnTo>
                <a:lnTo>
                  <a:pt x="113" y="45"/>
                </a:lnTo>
                <a:lnTo>
                  <a:pt x="112" y="44"/>
                </a:lnTo>
                <a:lnTo>
                  <a:pt x="112" y="37"/>
                </a:lnTo>
                <a:lnTo>
                  <a:pt x="114" y="37"/>
                </a:lnTo>
                <a:lnTo>
                  <a:pt x="115" y="34"/>
                </a:lnTo>
                <a:lnTo>
                  <a:pt x="115" y="33"/>
                </a:lnTo>
                <a:lnTo>
                  <a:pt x="120" y="32"/>
                </a:lnTo>
                <a:lnTo>
                  <a:pt x="124" y="32"/>
                </a:lnTo>
                <a:lnTo>
                  <a:pt x="127" y="31"/>
                </a:lnTo>
                <a:lnTo>
                  <a:pt x="132" y="32"/>
                </a:lnTo>
                <a:lnTo>
                  <a:pt x="134" y="31"/>
                </a:lnTo>
                <a:lnTo>
                  <a:pt x="140" y="31"/>
                </a:lnTo>
                <a:lnTo>
                  <a:pt x="143" y="28"/>
                </a:lnTo>
                <a:lnTo>
                  <a:pt x="143" y="27"/>
                </a:lnTo>
                <a:lnTo>
                  <a:pt x="144" y="26"/>
                </a:lnTo>
                <a:lnTo>
                  <a:pt x="144" y="22"/>
                </a:lnTo>
                <a:lnTo>
                  <a:pt x="145" y="22"/>
                </a:lnTo>
                <a:lnTo>
                  <a:pt x="149" y="21"/>
                </a:lnTo>
                <a:lnTo>
                  <a:pt x="150" y="21"/>
                </a:lnTo>
                <a:lnTo>
                  <a:pt x="150" y="22"/>
                </a:lnTo>
                <a:lnTo>
                  <a:pt x="151" y="24"/>
                </a:lnTo>
                <a:lnTo>
                  <a:pt x="153" y="22"/>
                </a:lnTo>
                <a:lnTo>
                  <a:pt x="155" y="24"/>
                </a:lnTo>
                <a:lnTo>
                  <a:pt x="155" y="26"/>
                </a:lnTo>
                <a:lnTo>
                  <a:pt x="158" y="26"/>
                </a:lnTo>
                <a:lnTo>
                  <a:pt x="161" y="28"/>
                </a:lnTo>
                <a:lnTo>
                  <a:pt x="162" y="27"/>
                </a:lnTo>
                <a:lnTo>
                  <a:pt x="164" y="26"/>
                </a:lnTo>
                <a:lnTo>
                  <a:pt x="164" y="25"/>
                </a:lnTo>
                <a:lnTo>
                  <a:pt x="167" y="25"/>
                </a:lnTo>
                <a:lnTo>
                  <a:pt x="168" y="24"/>
                </a:lnTo>
                <a:lnTo>
                  <a:pt x="169" y="24"/>
                </a:lnTo>
                <a:lnTo>
                  <a:pt x="169" y="22"/>
                </a:lnTo>
                <a:lnTo>
                  <a:pt x="170" y="21"/>
                </a:lnTo>
                <a:lnTo>
                  <a:pt x="170" y="20"/>
                </a:lnTo>
                <a:lnTo>
                  <a:pt x="173" y="20"/>
                </a:lnTo>
                <a:lnTo>
                  <a:pt x="174" y="19"/>
                </a:lnTo>
                <a:lnTo>
                  <a:pt x="175" y="19"/>
                </a:lnTo>
                <a:lnTo>
                  <a:pt x="176" y="20"/>
                </a:lnTo>
                <a:lnTo>
                  <a:pt x="180" y="16"/>
                </a:lnTo>
                <a:lnTo>
                  <a:pt x="181" y="14"/>
                </a:lnTo>
                <a:lnTo>
                  <a:pt x="182" y="9"/>
                </a:lnTo>
                <a:lnTo>
                  <a:pt x="182" y="8"/>
                </a:lnTo>
                <a:lnTo>
                  <a:pt x="183" y="8"/>
                </a:lnTo>
                <a:lnTo>
                  <a:pt x="186" y="6"/>
                </a:lnTo>
                <a:lnTo>
                  <a:pt x="186" y="4"/>
                </a:lnTo>
                <a:lnTo>
                  <a:pt x="184" y="3"/>
                </a:lnTo>
                <a:lnTo>
                  <a:pt x="186" y="2"/>
                </a:lnTo>
                <a:lnTo>
                  <a:pt x="189" y="2"/>
                </a:lnTo>
                <a:lnTo>
                  <a:pt x="198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7" name="Freeform 38">
            <a:extLst>
              <a:ext uri="{FF2B5EF4-FFF2-40B4-BE49-F238E27FC236}">
                <a16:creationId xmlns:a16="http://schemas.microsoft.com/office/drawing/2014/main" id="{5ECB4DC6-06EE-405C-9925-0F3CDC85283F}"/>
              </a:ext>
            </a:extLst>
          </p:cNvPr>
          <p:cNvSpPr>
            <a:spLocks noEditPoints="1"/>
          </p:cNvSpPr>
          <p:nvPr/>
        </p:nvSpPr>
        <p:spPr bwMode="auto">
          <a:xfrm>
            <a:off x="2432867" y="5442072"/>
            <a:ext cx="524516" cy="540455"/>
          </a:xfrm>
          <a:custGeom>
            <a:avLst/>
            <a:gdLst/>
            <a:ahLst/>
            <a:cxnLst>
              <a:cxn ang="0">
                <a:pos x="191" y="339"/>
              </a:cxn>
              <a:cxn ang="0">
                <a:pos x="268" y="351"/>
              </a:cxn>
              <a:cxn ang="0">
                <a:pos x="208" y="357"/>
              </a:cxn>
              <a:cxn ang="0">
                <a:pos x="318" y="326"/>
              </a:cxn>
              <a:cxn ang="0">
                <a:pos x="139" y="292"/>
              </a:cxn>
              <a:cxn ang="0">
                <a:pos x="348" y="313"/>
              </a:cxn>
              <a:cxn ang="0">
                <a:pos x="329" y="289"/>
              </a:cxn>
              <a:cxn ang="0">
                <a:pos x="346" y="282"/>
              </a:cxn>
              <a:cxn ang="0">
                <a:pos x="200" y="274"/>
              </a:cxn>
              <a:cxn ang="0">
                <a:pos x="211" y="270"/>
              </a:cxn>
              <a:cxn ang="0">
                <a:pos x="270" y="264"/>
              </a:cxn>
              <a:cxn ang="0">
                <a:pos x="306" y="255"/>
              </a:cxn>
              <a:cxn ang="0">
                <a:pos x="232" y="255"/>
              </a:cxn>
              <a:cxn ang="0">
                <a:pos x="204" y="252"/>
              </a:cxn>
              <a:cxn ang="0">
                <a:pos x="203" y="238"/>
              </a:cxn>
              <a:cxn ang="0">
                <a:pos x="162" y="231"/>
              </a:cxn>
              <a:cxn ang="0">
                <a:pos x="232" y="226"/>
              </a:cxn>
              <a:cxn ang="0">
                <a:pos x="309" y="219"/>
              </a:cxn>
              <a:cxn ang="0">
                <a:pos x="50" y="222"/>
              </a:cxn>
              <a:cxn ang="0">
                <a:pos x="216" y="213"/>
              </a:cxn>
              <a:cxn ang="0">
                <a:pos x="45" y="185"/>
              </a:cxn>
              <a:cxn ang="0">
                <a:pos x="38" y="186"/>
              </a:cxn>
              <a:cxn ang="0">
                <a:pos x="266" y="195"/>
              </a:cxn>
              <a:cxn ang="0">
                <a:pos x="54" y="172"/>
              </a:cxn>
              <a:cxn ang="0">
                <a:pos x="141" y="159"/>
              </a:cxn>
              <a:cxn ang="0">
                <a:pos x="160" y="154"/>
              </a:cxn>
              <a:cxn ang="0">
                <a:pos x="206" y="208"/>
              </a:cxn>
              <a:cxn ang="0">
                <a:pos x="161" y="171"/>
              </a:cxn>
              <a:cxn ang="0">
                <a:pos x="161" y="140"/>
              </a:cxn>
              <a:cxn ang="0">
                <a:pos x="282" y="133"/>
              </a:cxn>
              <a:cxn ang="0">
                <a:pos x="280" y="141"/>
              </a:cxn>
              <a:cxn ang="0">
                <a:pos x="12" y="109"/>
              </a:cxn>
              <a:cxn ang="0">
                <a:pos x="6" y="108"/>
              </a:cxn>
              <a:cxn ang="0">
                <a:pos x="229" y="98"/>
              </a:cxn>
              <a:cxn ang="0">
                <a:pos x="208" y="63"/>
              </a:cxn>
              <a:cxn ang="0">
                <a:pos x="284" y="41"/>
              </a:cxn>
              <a:cxn ang="0">
                <a:pos x="225" y="44"/>
              </a:cxn>
              <a:cxn ang="0">
                <a:pos x="173" y="62"/>
              </a:cxn>
              <a:cxn ang="0">
                <a:pos x="170" y="79"/>
              </a:cxn>
              <a:cxn ang="0">
                <a:pos x="156" y="85"/>
              </a:cxn>
              <a:cxn ang="0">
                <a:pos x="137" y="62"/>
              </a:cxn>
              <a:cxn ang="0">
                <a:pos x="138" y="120"/>
              </a:cxn>
              <a:cxn ang="0">
                <a:pos x="136" y="143"/>
              </a:cxn>
              <a:cxn ang="0">
                <a:pos x="124" y="160"/>
              </a:cxn>
              <a:cxn ang="0">
                <a:pos x="167" y="182"/>
              </a:cxn>
              <a:cxn ang="0">
                <a:pos x="180" y="217"/>
              </a:cxn>
              <a:cxn ang="0">
                <a:pos x="149" y="222"/>
              </a:cxn>
              <a:cxn ang="0">
                <a:pos x="147" y="240"/>
              </a:cxn>
              <a:cxn ang="0">
                <a:pos x="143" y="265"/>
              </a:cxn>
              <a:cxn ang="0">
                <a:pos x="124" y="272"/>
              </a:cxn>
              <a:cxn ang="0">
                <a:pos x="99" y="258"/>
              </a:cxn>
              <a:cxn ang="0">
                <a:pos x="67" y="216"/>
              </a:cxn>
              <a:cxn ang="0">
                <a:pos x="139" y="209"/>
              </a:cxn>
              <a:cxn ang="0">
                <a:pos x="129" y="189"/>
              </a:cxn>
              <a:cxn ang="0">
                <a:pos x="89" y="186"/>
              </a:cxn>
              <a:cxn ang="0">
                <a:pos x="58" y="174"/>
              </a:cxn>
              <a:cxn ang="0">
                <a:pos x="61" y="149"/>
              </a:cxn>
              <a:cxn ang="0">
                <a:pos x="25" y="129"/>
              </a:cxn>
              <a:cxn ang="0">
                <a:pos x="43" y="92"/>
              </a:cxn>
              <a:cxn ang="0">
                <a:pos x="94" y="40"/>
              </a:cxn>
              <a:cxn ang="0">
                <a:pos x="155" y="20"/>
              </a:cxn>
              <a:cxn ang="0">
                <a:pos x="213" y="19"/>
              </a:cxn>
              <a:cxn ang="0">
                <a:pos x="275" y="12"/>
              </a:cxn>
            </a:cxnLst>
            <a:rect l="0" t="0" r="r" b="b"/>
            <a:pathLst>
              <a:path w="362" h="373">
                <a:moveTo>
                  <a:pt x="187" y="369"/>
                </a:moveTo>
                <a:lnTo>
                  <a:pt x="188" y="369"/>
                </a:lnTo>
                <a:lnTo>
                  <a:pt x="189" y="370"/>
                </a:lnTo>
                <a:lnTo>
                  <a:pt x="188" y="370"/>
                </a:lnTo>
                <a:lnTo>
                  <a:pt x="188" y="372"/>
                </a:lnTo>
                <a:lnTo>
                  <a:pt x="189" y="372"/>
                </a:lnTo>
                <a:lnTo>
                  <a:pt x="189" y="373"/>
                </a:lnTo>
                <a:lnTo>
                  <a:pt x="188" y="373"/>
                </a:lnTo>
                <a:lnTo>
                  <a:pt x="186" y="370"/>
                </a:lnTo>
                <a:lnTo>
                  <a:pt x="187" y="370"/>
                </a:lnTo>
                <a:lnTo>
                  <a:pt x="187" y="369"/>
                </a:lnTo>
                <a:close/>
                <a:moveTo>
                  <a:pt x="280" y="346"/>
                </a:moveTo>
                <a:lnTo>
                  <a:pt x="281" y="346"/>
                </a:lnTo>
                <a:lnTo>
                  <a:pt x="281" y="348"/>
                </a:lnTo>
                <a:lnTo>
                  <a:pt x="280" y="348"/>
                </a:lnTo>
                <a:lnTo>
                  <a:pt x="280" y="346"/>
                </a:lnTo>
                <a:close/>
                <a:moveTo>
                  <a:pt x="309" y="341"/>
                </a:moveTo>
                <a:lnTo>
                  <a:pt x="310" y="341"/>
                </a:lnTo>
                <a:lnTo>
                  <a:pt x="310" y="343"/>
                </a:lnTo>
                <a:lnTo>
                  <a:pt x="307" y="343"/>
                </a:lnTo>
                <a:lnTo>
                  <a:pt x="307" y="344"/>
                </a:lnTo>
                <a:lnTo>
                  <a:pt x="306" y="344"/>
                </a:lnTo>
                <a:lnTo>
                  <a:pt x="305" y="345"/>
                </a:lnTo>
                <a:lnTo>
                  <a:pt x="304" y="344"/>
                </a:lnTo>
                <a:lnTo>
                  <a:pt x="304" y="343"/>
                </a:lnTo>
                <a:lnTo>
                  <a:pt x="305" y="342"/>
                </a:lnTo>
                <a:lnTo>
                  <a:pt x="307" y="342"/>
                </a:lnTo>
                <a:lnTo>
                  <a:pt x="309" y="341"/>
                </a:lnTo>
                <a:close/>
                <a:moveTo>
                  <a:pt x="173" y="327"/>
                </a:moveTo>
                <a:lnTo>
                  <a:pt x="174" y="327"/>
                </a:lnTo>
                <a:lnTo>
                  <a:pt x="174" y="333"/>
                </a:lnTo>
                <a:lnTo>
                  <a:pt x="176" y="336"/>
                </a:lnTo>
                <a:lnTo>
                  <a:pt x="186" y="336"/>
                </a:lnTo>
                <a:lnTo>
                  <a:pt x="186" y="335"/>
                </a:lnTo>
                <a:lnTo>
                  <a:pt x="187" y="335"/>
                </a:lnTo>
                <a:lnTo>
                  <a:pt x="187" y="332"/>
                </a:lnTo>
                <a:lnTo>
                  <a:pt x="192" y="332"/>
                </a:lnTo>
                <a:lnTo>
                  <a:pt x="192" y="337"/>
                </a:lnTo>
                <a:lnTo>
                  <a:pt x="187" y="337"/>
                </a:lnTo>
                <a:lnTo>
                  <a:pt x="187" y="338"/>
                </a:lnTo>
                <a:lnTo>
                  <a:pt x="189" y="338"/>
                </a:lnTo>
                <a:lnTo>
                  <a:pt x="191" y="339"/>
                </a:lnTo>
                <a:lnTo>
                  <a:pt x="193" y="339"/>
                </a:lnTo>
                <a:lnTo>
                  <a:pt x="194" y="338"/>
                </a:lnTo>
                <a:lnTo>
                  <a:pt x="194" y="344"/>
                </a:lnTo>
                <a:lnTo>
                  <a:pt x="197" y="344"/>
                </a:lnTo>
                <a:lnTo>
                  <a:pt x="198" y="345"/>
                </a:lnTo>
                <a:lnTo>
                  <a:pt x="201" y="344"/>
                </a:lnTo>
                <a:lnTo>
                  <a:pt x="204" y="344"/>
                </a:lnTo>
                <a:lnTo>
                  <a:pt x="207" y="343"/>
                </a:lnTo>
                <a:lnTo>
                  <a:pt x="208" y="343"/>
                </a:lnTo>
                <a:lnTo>
                  <a:pt x="211" y="342"/>
                </a:lnTo>
                <a:lnTo>
                  <a:pt x="212" y="341"/>
                </a:lnTo>
                <a:lnTo>
                  <a:pt x="214" y="341"/>
                </a:lnTo>
                <a:lnTo>
                  <a:pt x="218" y="342"/>
                </a:lnTo>
                <a:lnTo>
                  <a:pt x="220" y="342"/>
                </a:lnTo>
                <a:lnTo>
                  <a:pt x="222" y="341"/>
                </a:lnTo>
                <a:lnTo>
                  <a:pt x="224" y="342"/>
                </a:lnTo>
                <a:lnTo>
                  <a:pt x="224" y="341"/>
                </a:lnTo>
                <a:lnTo>
                  <a:pt x="226" y="342"/>
                </a:lnTo>
                <a:lnTo>
                  <a:pt x="228" y="342"/>
                </a:lnTo>
                <a:lnTo>
                  <a:pt x="228" y="344"/>
                </a:lnTo>
                <a:lnTo>
                  <a:pt x="229" y="345"/>
                </a:lnTo>
                <a:lnTo>
                  <a:pt x="242" y="345"/>
                </a:lnTo>
                <a:lnTo>
                  <a:pt x="242" y="346"/>
                </a:lnTo>
                <a:lnTo>
                  <a:pt x="243" y="346"/>
                </a:lnTo>
                <a:lnTo>
                  <a:pt x="243" y="348"/>
                </a:lnTo>
                <a:lnTo>
                  <a:pt x="247" y="348"/>
                </a:lnTo>
                <a:lnTo>
                  <a:pt x="253" y="345"/>
                </a:lnTo>
                <a:lnTo>
                  <a:pt x="259" y="345"/>
                </a:lnTo>
                <a:lnTo>
                  <a:pt x="256" y="348"/>
                </a:lnTo>
                <a:lnTo>
                  <a:pt x="256" y="349"/>
                </a:lnTo>
                <a:lnTo>
                  <a:pt x="257" y="350"/>
                </a:lnTo>
                <a:lnTo>
                  <a:pt x="256" y="350"/>
                </a:lnTo>
                <a:lnTo>
                  <a:pt x="256" y="356"/>
                </a:lnTo>
                <a:lnTo>
                  <a:pt x="259" y="356"/>
                </a:lnTo>
                <a:lnTo>
                  <a:pt x="259" y="357"/>
                </a:lnTo>
                <a:lnTo>
                  <a:pt x="260" y="357"/>
                </a:lnTo>
                <a:lnTo>
                  <a:pt x="261" y="356"/>
                </a:lnTo>
                <a:lnTo>
                  <a:pt x="261" y="355"/>
                </a:lnTo>
                <a:lnTo>
                  <a:pt x="263" y="355"/>
                </a:lnTo>
                <a:lnTo>
                  <a:pt x="263" y="354"/>
                </a:lnTo>
                <a:lnTo>
                  <a:pt x="266" y="354"/>
                </a:lnTo>
                <a:lnTo>
                  <a:pt x="268" y="351"/>
                </a:lnTo>
                <a:lnTo>
                  <a:pt x="273" y="351"/>
                </a:lnTo>
                <a:lnTo>
                  <a:pt x="273" y="352"/>
                </a:lnTo>
                <a:lnTo>
                  <a:pt x="275" y="352"/>
                </a:lnTo>
                <a:lnTo>
                  <a:pt x="278" y="350"/>
                </a:lnTo>
                <a:lnTo>
                  <a:pt x="278" y="349"/>
                </a:lnTo>
                <a:lnTo>
                  <a:pt x="279" y="348"/>
                </a:lnTo>
                <a:lnTo>
                  <a:pt x="280" y="348"/>
                </a:lnTo>
                <a:lnTo>
                  <a:pt x="280" y="349"/>
                </a:lnTo>
                <a:lnTo>
                  <a:pt x="279" y="350"/>
                </a:lnTo>
                <a:lnTo>
                  <a:pt x="280" y="352"/>
                </a:lnTo>
                <a:lnTo>
                  <a:pt x="280" y="354"/>
                </a:lnTo>
                <a:lnTo>
                  <a:pt x="281" y="352"/>
                </a:lnTo>
                <a:lnTo>
                  <a:pt x="281" y="354"/>
                </a:lnTo>
                <a:lnTo>
                  <a:pt x="280" y="355"/>
                </a:lnTo>
                <a:lnTo>
                  <a:pt x="280" y="357"/>
                </a:lnTo>
                <a:lnTo>
                  <a:pt x="279" y="358"/>
                </a:lnTo>
                <a:lnTo>
                  <a:pt x="279" y="360"/>
                </a:lnTo>
                <a:lnTo>
                  <a:pt x="276" y="362"/>
                </a:lnTo>
                <a:lnTo>
                  <a:pt x="274" y="363"/>
                </a:lnTo>
                <a:lnTo>
                  <a:pt x="273" y="363"/>
                </a:lnTo>
                <a:lnTo>
                  <a:pt x="272" y="362"/>
                </a:lnTo>
                <a:lnTo>
                  <a:pt x="269" y="362"/>
                </a:lnTo>
                <a:lnTo>
                  <a:pt x="268" y="361"/>
                </a:lnTo>
                <a:lnTo>
                  <a:pt x="265" y="361"/>
                </a:lnTo>
                <a:lnTo>
                  <a:pt x="263" y="362"/>
                </a:lnTo>
                <a:lnTo>
                  <a:pt x="251" y="362"/>
                </a:lnTo>
                <a:lnTo>
                  <a:pt x="248" y="363"/>
                </a:lnTo>
                <a:lnTo>
                  <a:pt x="238" y="363"/>
                </a:lnTo>
                <a:lnTo>
                  <a:pt x="238" y="364"/>
                </a:lnTo>
                <a:lnTo>
                  <a:pt x="237" y="364"/>
                </a:lnTo>
                <a:lnTo>
                  <a:pt x="235" y="366"/>
                </a:lnTo>
                <a:lnTo>
                  <a:pt x="228" y="366"/>
                </a:lnTo>
                <a:lnTo>
                  <a:pt x="226" y="367"/>
                </a:lnTo>
                <a:lnTo>
                  <a:pt x="226" y="366"/>
                </a:lnTo>
                <a:lnTo>
                  <a:pt x="225" y="366"/>
                </a:lnTo>
                <a:lnTo>
                  <a:pt x="214" y="367"/>
                </a:lnTo>
                <a:lnTo>
                  <a:pt x="214" y="366"/>
                </a:lnTo>
                <a:lnTo>
                  <a:pt x="216" y="366"/>
                </a:lnTo>
                <a:lnTo>
                  <a:pt x="216" y="360"/>
                </a:lnTo>
                <a:lnTo>
                  <a:pt x="214" y="358"/>
                </a:lnTo>
                <a:lnTo>
                  <a:pt x="210" y="358"/>
                </a:lnTo>
                <a:lnTo>
                  <a:pt x="208" y="357"/>
                </a:lnTo>
                <a:lnTo>
                  <a:pt x="207" y="357"/>
                </a:lnTo>
                <a:lnTo>
                  <a:pt x="206" y="356"/>
                </a:lnTo>
                <a:lnTo>
                  <a:pt x="205" y="356"/>
                </a:lnTo>
                <a:lnTo>
                  <a:pt x="205" y="355"/>
                </a:lnTo>
                <a:lnTo>
                  <a:pt x="203" y="355"/>
                </a:lnTo>
                <a:lnTo>
                  <a:pt x="200" y="354"/>
                </a:lnTo>
                <a:lnTo>
                  <a:pt x="193" y="354"/>
                </a:lnTo>
                <a:lnTo>
                  <a:pt x="193" y="352"/>
                </a:lnTo>
                <a:lnTo>
                  <a:pt x="187" y="352"/>
                </a:lnTo>
                <a:lnTo>
                  <a:pt x="186" y="354"/>
                </a:lnTo>
                <a:lnTo>
                  <a:pt x="183" y="351"/>
                </a:lnTo>
                <a:lnTo>
                  <a:pt x="178" y="351"/>
                </a:lnTo>
                <a:lnTo>
                  <a:pt x="176" y="350"/>
                </a:lnTo>
                <a:lnTo>
                  <a:pt x="175" y="350"/>
                </a:lnTo>
                <a:lnTo>
                  <a:pt x="174" y="351"/>
                </a:lnTo>
                <a:lnTo>
                  <a:pt x="167" y="351"/>
                </a:lnTo>
                <a:lnTo>
                  <a:pt x="166" y="350"/>
                </a:lnTo>
                <a:lnTo>
                  <a:pt x="166" y="349"/>
                </a:lnTo>
                <a:lnTo>
                  <a:pt x="164" y="349"/>
                </a:lnTo>
                <a:lnTo>
                  <a:pt x="163" y="348"/>
                </a:lnTo>
                <a:lnTo>
                  <a:pt x="163" y="346"/>
                </a:lnTo>
                <a:lnTo>
                  <a:pt x="164" y="346"/>
                </a:lnTo>
                <a:lnTo>
                  <a:pt x="164" y="343"/>
                </a:lnTo>
                <a:lnTo>
                  <a:pt x="166" y="342"/>
                </a:lnTo>
                <a:lnTo>
                  <a:pt x="166" y="339"/>
                </a:lnTo>
                <a:lnTo>
                  <a:pt x="164" y="339"/>
                </a:lnTo>
                <a:lnTo>
                  <a:pt x="166" y="338"/>
                </a:lnTo>
                <a:lnTo>
                  <a:pt x="166" y="333"/>
                </a:lnTo>
                <a:lnTo>
                  <a:pt x="167" y="332"/>
                </a:lnTo>
                <a:lnTo>
                  <a:pt x="167" y="336"/>
                </a:lnTo>
                <a:lnTo>
                  <a:pt x="168" y="336"/>
                </a:lnTo>
                <a:lnTo>
                  <a:pt x="168" y="337"/>
                </a:lnTo>
                <a:lnTo>
                  <a:pt x="172" y="337"/>
                </a:lnTo>
                <a:lnTo>
                  <a:pt x="172" y="336"/>
                </a:lnTo>
                <a:lnTo>
                  <a:pt x="173" y="335"/>
                </a:lnTo>
                <a:lnTo>
                  <a:pt x="172" y="333"/>
                </a:lnTo>
                <a:lnTo>
                  <a:pt x="172" y="329"/>
                </a:lnTo>
                <a:lnTo>
                  <a:pt x="173" y="327"/>
                </a:lnTo>
                <a:close/>
                <a:moveTo>
                  <a:pt x="318" y="320"/>
                </a:moveTo>
                <a:lnTo>
                  <a:pt x="319" y="320"/>
                </a:lnTo>
                <a:lnTo>
                  <a:pt x="319" y="326"/>
                </a:lnTo>
                <a:lnTo>
                  <a:pt x="318" y="326"/>
                </a:lnTo>
                <a:lnTo>
                  <a:pt x="318" y="329"/>
                </a:lnTo>
                <a:lnTo>
                  <a:pt x="317" y="329"/>
                </a:lnTo>
                <a:lnTo>
                  <a:pt x="317" y="331"/>
                </a:lnTo>
                <a:lnTo>
                  <a:pt x="318" y="332"/>
                </a:lnTo>
                <a:lnTo>
                  <a:pt x="319" y="335"/>
                </a:lnTo>
                <a:lnTo>
                  <a:pt x="319" y="337"/>
                </a:lnTo>
                <a:lnTo>
                  <a:pt x="321" y="337"/>
                </a:lnTo>
                <a:lnTo>
                  <a:pt x="318" y="339"/>
                </a:lnTo>
                <a:lnTo>
                  <a:pt x="317" y="339"/>
                </a:lnTo>
                <a:lnTo>
                  <a:pt x="317" y="342"/>
                </a:lnTo>
                <a:lnTo>
                  <a:pt x="316" y="342"/>
                </a:lnTo>
                <a:lnTo>
                  <a:pt x="316" y="341"/>
                </a:lnTo>
                <a:lnTo>
                  <a:pt x="315" y="341"/>
                </a:lnTo>
                <a:lnTo>
                  <a:pt x="315" y="333"/>
                </a:lnTo>
                <a:lnTo>
                  <a:pt x="313" y="333"/>
                </a:lnTo>
                <a:lnTo>
                  <a:pt x="313" y="330"/>
                </a:lnTo>
                <a:lnTo>
                  <a:pt x="315" y="330"/>
                </a:lnTo>
                <a:lnTo>
                  <a:pt x="316" y="329"/>
                </a:lnTo>
                <a:lnTo>
                  <a:pt x="316" y="327"/>
                </a:lnTo>
                <a:lnTo>
                  <a:pt x="317" y="326"/>
                </a:lnTo>
                <a:lnTo>
                  <a:pt x="317" y="321"/>
                </a:lnTo>
                <a:lnTo>
                  <a:pt x="318" y="321"/>
                </a:lnTo>
                <a:lnTo>
                  <a:pt x="318" y="320"/>
                </a:lnTo>
                <a:close/>
                <a:moveTo>
                  <a:pt x="152" y="317"/>
                </a:moveTo>
                <a:lnTo>
                  <a:pt x="154" y="317"/>
                </a:lnTo>
                <a:lnTo>
                  <a:pt x="155" y="318"/>
                </a:lnTo>
                <a:lnTo>
                  <a:pt x="155" y="319"/>
                </a:lnTo>
                <a:lnTo>
                  <a:pt x="154" y="319"/>
                </a:lnTo>
                <a:lnTo>
                  <a:pt x="154" y="318"/>
                </a:lnTo>
                <a:lnTo>
                  <a:pt x="152" y="317"/>
                </a:lnTo>
                <a:close/>
                <a:moveTo>
                  <a:pt x="332" y="299"/>
                </a:moveTo>
                <a:lnTo>
                  <a:pt x="336" y="299"/>
                </a:lnTo>
                <a:lnTo>
                  <a:pt x="336" y="300"/>
                </a:lnTo>
                <a:lnTo>
                  <a:pt x="332" y="300"/>
                </a:lnTo>
                <a:lnTo>
                  <a:pt x="332" y="299"/>
                </a:lnTo>
                <a:close/>
                <a:moveTo>
                  <a:pt x="257" y="290"/>
                </a:moveTo>
                <a:lnTo>
                  <a:pt x="260" y="290"/>
                </a:lnTo>
                <a:lnTo>
                  <a:pt x="262" y="293"/>
                </a:lnTo>
                <a:lnTo>
                  <a:pt x="257" y="293"/>
                </a:lnTo>
                <a:lnTo>
                  <a:pt x="257" y="290"/>
                </a:lnTo>
                <a:close/>
                <a:moveTo>
                  <a:pt x="139" y="290"/>
                </a:moveTo>
                <a:lnTo>
                  <a:pt x="139" y="292"/>
                </a:lnTo>
                <a:lnTo>
                  <a:pt x="142" y="294"/>
                </a:lnTo>
                <a:lnTo>
                  <a:pt x="142" y="295"/>
                </a:lnTo>
                <a:lnTo>
                  <a:pt x="144" y="298"/>
                </a:lnTo>
                <a:lnTo>
                  <a:pt x="145" y="298"/>
                </a:lnTo>
                <a:lnTo>
                  <a:pt x="145" y="299"/>
                </a:lnTo>
                <a:lnTo>
                  <a:pt x="144" y="300"/>
                </a:lnTo>
                <a:lnTo>
                  <a:pt x="144" y="301"/>
                </a:lnTo>
                <a:lnTo>
                  <a:pt x="143" y="303"/>
                </a:lnTo>
                <a:lnTo>
                  <a:pt x="141" y="303"/>
                </a:lnTo>
                <a:lnTo>
                  <a:pt x="139" y="302"/>
                </a:lnTo>
                <a:lnTo>
                  <a:pt x="138" y="302"/>
                </a:lnTo>
                <a:lnTo>
                  <a:pt x="138" y="301"/>
                </a:lnTo>
                <a:lnTo>
                  <a:pt x="137" y="300"/>
                </a:lnTo>
                <a:lnTo>
                  <a:pt x="138" y="298"/>
                </a:lnTo>
                <a:lnTo>
                  <a:pt x="138" y="296"/>
                </a:lnTo>
                <a:lnTo>
                  <a:pt x="137" y="295"/>
                </a:lnTo>
                <a:lnTo>
                  <a:pt x="137" y="294"/>
                </a:lnTo>
                <a:lnTo>
                  <a:pt x="138" y="292"/>
                </a:lnTo>
                <a:lnTo>
                  <a:pt x="139" y="290"/>
                </a:lnTo>
                <a:close/>
                <a:moveTo>
                  <a:pt x="361" y="288"/>
                </a:moveTo>
                <a:lnTo>
                  <a:pt x="362" y="288"/>
                </a:lnTo>
                <a:lnTo>
                  <a:pt x="362" y="292"/>
                </a:lnTo>
                <a:lnTo>
                  <a:pt x="361" y="293"/>
                </a:lnTo>
                <a:lnTo>
                  <a:pt x="361" y="295"/>
                </a:lnTo>
                <a:lnTo>
                  <a:pt x="360" y="296"/>
                </a:lnTo>
                <a:lnTo>
                  <a:pt x="360" y="299"/>
                </a:lnTo>
                <a:lnTo>
                  <a:pt x="359" y="299"/>
                </a:lnTo>
                <a:lnTo>
                  <a:pt x="359" y="300"/>
                </a:lnTo>
                <a:lnTo>
                  <a:pt x="357" y="301"/>
                </a:lnTo>
                <a:lnTo>
                  <a:pt x="356" y="301"/>
                </a:lnTo>
                <a:lnTo>
                  <a:pt x="356" y="302"/>
                </a:lnTo>
                <a:lnTo>
                  <a:pt x="355" y="305"/>
                </a:lnTo>
                <a:lnTo>
                  <a:pt x="355" y="306"/>
                </a:lnTo>
                <a:lnTo>
                  <a:pt x="356" y="306"/>
                </a:lnTo>
                <a:lnTo>
                  <a:pt x="356" y="307"/>
                </a:lnTo>
                <a:lnTo>
                  <a:pt x="355" y="307"/>
                </a:lnTo>
                <a:lnTo>
                  <a:pt x="356" y="308"/>
                </a:lnTo>
                <a:lnTo>
                  <a:pt x="354" y="307"/>
                </a:lnTo>
                <a:lnTo>
                  <a:pt x="353" y="307"/>
                </a:lnTo>
                <a:lnTo>
                  <a:pt x="350" y="309"/>
                </a:lnTo>
                <a:lnTo>
                  <a:pt x="349" y="309"/>
                </a:lnTo>
                <a:lnTo>
                  <a:pt x="348" y="313"/>
                </a:lnTo>
                <a:lnTo>
                  <a:pt x="346" y="315"/>
                </a:lnTo>
                <a:lnTo>
                  <a:pt x="343" y="317"/>
                </a:lnTo>
                <a:lnTo>
                  <a:pt x="341" y="315"/>
                </a:lnTo>
                <a:lnTo>
                  <a:pt x="340" y="314"/>
                </a:lnTo>
                <a:lnTo>
                  <a:pt x="341" y="313"/>
                </a:lnTo>
                <a:lnTo>
                  <a:pt x="342" y="309"/>
                </a:lnTo>
                <a:lnTo>
                  <a:pt x="342" y="306"/>
                </a:lnTo>
                <a:lnTo>
                  <a:pt x="341" y="306"/>
                </a:lnTo>
                <a:lnTo>
                  <a:pt x="340" y="305"/>
                </a:lnTo>
                <a:lnTo>
                  <a:pt x="341" y="303"/>
                </a:lnTo>
                <a:lnTo>
                  <a:pt x="338" y="303"/>
                </a:lnTo>
                <a:lnTo>
                  <a:pt x="341" y="301"/>
                </a:lnTo>
                <a:lnTo>
                  <a:pt x="343" y="301"/>
                </a:lnTo>
                <a:lnTo>
                  <a:pt x="342" y="300"/>
                </a:lnTo>
                <a:lnTo>
                  <a:pt x="343" y="300"/>
                </a:lnTo>
                <a:lnTo>
                  <a:pt x="343" y="298"/>
                </a:lnTo>
                <a:lnTo>
                  <a:pt x="344" y="298"/>
                </a:lnTo>
                <a:lnTo>
                  <a:pt x="344" y="296"/>
                </a:lnTo>
                <a:lnTo>
                  <a:pt x="346" y="296"/>
                </a:lnTo>
                <a:lnTo>
                  <a:pt x="347" y="294"/>
                </a:lnTo>
                <a:lnTo>
                  <a:pt x="348" y="294"/>
                </a:lnTo>
                <a:lnTo>
                  <a:pt x="355" y="290"/>
                </a:lnTo>
                <a:lnTo>
                  <a:pt x="356" y="289"/>
                </a:lnTo>
                <a:lnTo>
                  <a:pt x="360" y="289"/>
                </a:lnTo>
                <a:lnTo>
                  <a:pt x="361" y="288"/>
                </a:lnTo>
                <a:close/>
                <a:moveTo>
                  <a:pt x="243" y="287"/>
                </a:moveTo>
                <a:lnTo>
                  <a:pt x="247" y="290"/>
                </a:lnTo>
                <a:lnTo>
                  <a:pt x="247" y="292"/>
                </a:lnTo>
                <a:lnTo>
                  <a:pt x="244" y="294"/>
                </a:lnTo>
                <a:lnTo>
                  <a:pt x="242" y="293"/>
                </a:lnTo>
                <a:lnTo>
                  <a:pt x="243" y="293"/>
                </a:lnTo>
                <a:lnTo>
                  <a:pt x="243" y="292"/>
                </a:lnTo>
                <a:lnTo>
                  <a:pt x="244" y="292"/>
                </a:lnTo>
                <a:lnTo>
                  <a:pt x="244" y="289"/>
                </a:lnTo>
                <a:lnTo>
                  <a:pt x="243" y="289"/>
                </a:lnTo>
                <a:lnTo>
                  <a:pt x="243" y="287"/>
                </a:lnTo>
                <a:close/>
                <a:moveTo>
                  <a:pt x="325" y="286"/>
                </a:moveTo>
                <a:lnTo>
                  <a:pt x="325" y="287"/>
                </a:lnTo>
                <a:lnTo>
                  <a:pt x="326" y="288"/>
                </a:lnTo>
                <a:lnTo>
                  <a:pt x="326" y="290"/>
                </a:lnTo>
                <a:lnTo>
                  <a:pt x="328" y="290"/>
                </a:lnTo>
                <a:lnTo>
                  <a:pt x="329" y="289"/>
                </a:lnTo>
                <a:lnTo>
                  <a:pt x="329" y="290"/>
                </a:lnTo>
                <a:lnTo>
                  <a:pt x="328" y="292"/>
                </a:lnTo>
                <a:lnTo>
                  <a:pt x="326" y="292"/>
                </a:lnTo>
                <a:lnTo>
                  <a:pt x="325" y="290"/>
                </a:lnTo>
                <a:lnTo>
                  <a:pt x="325" y="289"/>
                </a:lnTo>
                <a:lnTo>
                  <a:pt x="323" y="289"/>
                </a:lnTo>
                <a:lnTo>
                  <a:pt x="323" y="287"/>
                </a:lnTo>
                <a:lnTo>
                  <a:pt x="324" y="287"/>
                </a:lnTo>
                <a:lnTo>
                  <a:pt x="325" y="286"/>
                </a:lnTo>
                <a:close/>
                <a:moveTo>
                  <a:pt x="242" y="286"/>
                </a:moveTo>
                <a:lnTo>
                  <a:pt x="243" y="287"/>
                </a:lnTo>
                <a:lnTo>
                  <a:pt x="242" y="287"/>
                </a:lnTo>
                <a:lnTo>
                  <a:pt x="242" y="286"/>
                </a:lnTo>
                <a:close/>
                <a:moveTo>
                  <a:pt x="316" y="280"/>
                </a:moveTo>
                <a:lnTo>
                  <a:pt x="318" y="280"/>
                </a:lnTo>
                <a:lnTo>
                  <a:pt x="319" y="281"/>
                </a:lnTo>
                <a:lnTo>
                  <a:pt x="318" y="282"/>
                </a:lnTo>
                <a:lnTo>
                  <a:pt x="316" y="282"/>
                </a:lnTo>
                <a:lnTo>
                  <a:pt x="316" y="280"/>
                </a:lnTo>
                <a:close/>
                <a:moveTo>
                  <a:pt x="279" y="280"/>
                </a:moveTo>
                <a:lnTo>
                  <a:pt x="280" y="281"/>
                </a:lnTo>
                <a:lnTo>
                  <a:pt x="280" y="280"/>
                </a:lnTo>
                <a:lnTo>
                  <a:pt x="282" y="282"/>
                </a:lnTo>
                <a:lnTo>
                  <a:pt x="282" y="281"/>
                </a:lnTo>
                <a:lnTo>
                  <a:pt x="284" y="281"/>
                </a:lnTo>
                <a:lnTo>
                  <a:pt x="284" y="282"/>
                </a:lnTo>
                <a:lnTo>
                  <a:pt x="282" y="283"/>
                </a:lnTo>
                <a:lnTo>
                  <a:pt x="282" y="284"/>
                </a:lnTo>
                <a:lnTo>
                  <a:pt x="280" y="284"/>
                </a:lnTo>
                <a:lnTo>
                  <a:pt x="280" y="283"/>
                </a:lnTo>
                <a:lnTo>
                  <a:pt x="279" y="282"/>
                </a:lnTo>
                <a:lnTo>
                  <a:pt x="280" y="282"/>
                </a:lnTo>
                <a:lnTo>
                  <a:pt x="279" y="281"/>
                </a:lnTo>
                <a:lnTo>
                  <a:pt x="279" y="280"/>
                </a:lnTo>
                <a:close/>
                <a:moveTo>
                  <a:pt x="343" y="278"/>
                </a:moveTo>
                <a:lnTo>
                  <a:pt x="344" y="278"/>
                </a:lnTo>
                <a:lnTo>
                  <a:pt x="344" y="280"/>
                </a:lnTo>
                <a:lnTo>
                  <a:pt x="346" y="280"/>
                </a:lnTo>
                <a:lnTo>
                  <a:pt x="347" y="278"/>
                </a:lnTo>
                <a:lnTo>
                  <a:pt x="347" y="283"/>
                </a:lnTo>
                <a:lnTo>
                  <a:pt x="346" y="283"/>
                </a:lnTo>
                <a:lnTo>
                  <a:pt x="346" y="282"/>
                </a:lnTo>
                <a:lnTo>
                  <a:pt x="343" y="282"/>
                </a:lnTo>
                <a:lnTo>
                  <a:pt x="344" y="281"/>
                </a:lnTo>
                <a:lnTo>
                  <a:pt x="342" y="281"/>
                </a:lnTo>
                <a:lnTo>
                  <a:pt x="343" y="280"/>
                </a:lnTo>
                <a:lnTo>
                  <a:pt x="343" y="278"/>
                </a:lnTo>
                <a:close/>
                <a:moveTo>
                  <a:pt x="285" y="278"/>
                </a:moveTo>
                <a:lnTo>
                  <a:pt x="286" y="278"/>
                </a:lnTo>
                <a:lnTo>
                  <a:pt x="287" y="280"/>
                </a:lnTo>
                <a:lnTo>
                  <a:pt x="287" y="281"/>
                </a:lnTo>
                <a:lnTo>
                  <a:pt x="285" y="281"/>
                </a:lnTo>
                <a:lnTo>
                  <a:pt x="285" y="278"/>
                </a:lnTo>
                <a:close/>
                <a:moveTo>
                  <a:pt x="346" y="277"/>
                </a:moveTo>
                <a:lnTo>
                  <a:pt x="347" y="277"/>
                </a:lnTo>
                <a:lnTo>
                  <a:pt x="347" y="278"/>
                </a:lnTo>
                <a:lnTo>
                  <a:pt x="344" y="278"/>
                </a:lnTo>
                <a:lnTo>
                  <a:pt x="346" y="277"/>
                </a:lnTo>
                <a:close/>
                <a:moveTo>
                  <a:pt x="219" y="276"/>
                </a:moveTo>
                <a:lnTo>
                  <a:pt x="220" y="276"/>
                </a:lnTo>
                <a:lnTo>
                  <a:pt x="224" y="278"/>
                </a:lnTo>
                <a:lnTo>
                  <a:pt x="224" y="280"/>
                </a:lnTo>
                <a:lnTo>
                  <a:pt x="223" y="280"/>
                </a:lnTo>
                <a:lnTo>
                  <a:pt x="222" y="278"/>
                </a:lnTo>
                <a:lnTo>
                  <a:pt x="220" y="278"/>
                </a:lnTo>
                <a:lnTo>
                  <a:pt x="219" y="277"/>
                </a:lnTo>
                <a:lnTo>
                  <a:pt x="219" y="276"/>
                </a:lnTo>
                <a:close/>
                <a:moveTo>
                  <a:pt x="231" y="274"/>
                </a:moveTo>
                <a:lnTo>
                  <a:pt x="234" y="274"/>
                </a:lnTo>
                <a:lnTo>
                  <a:pt x="234" y="275"/>
                </a:lnTo>
                <a:lnTo>
                  <a:pt x="230" y="278"/>
                </a:lnTo>
                <a:lnTo>
                  <a:pt x="229" y="278"/>
                </a:lnTo>
                <a:lnTo>
                  <a:pt x="230" y="275"/>
                </a:lnTo>
                <a:lnTo>
                  <a:pt x="231" y="275"/>
                </a:lnTo>
                <a:lnTo>
                  <a:pt x="231" y="274"/>
                </a:lnTo>
                <a:close/>
                <a:moveTo>
                  <a:pt x="89" y="272"/>
                </a:moveTo>
                <a:lnTo>
                  <a:pt x="90" y="272"/>
                </a:lnTo>
                <a:lnTo>
                  <a:pt x="89" y="274"/>
                </a:lnTo>
                <a:lnTo>
                  <a:pt x="88" y="274"/>
                </a:lnTo>
                <a:lnTo>
                  <a:pt x="89" y="272"/>
                </a:lnTo>
                <a:close/>
                <a:moveTo>
                  <a:pt x="199" y="271"/>
                </a:moveTo>
                <a:lnTo>
                  <a:pt x="199" y="272"/>
                </a:lnTo>
                <a:lnTo>
                  <a:pt x="200" y="272"/>
                </a:lnTo>
                <a:lnTo>
                  <a:pt x="200" y="274"/>
                </a:lnTo>
                <a:lnTo>
                  <a:pt x="201" y="275"/>
                </a:lnTo>
                <a:lnTo>
                  <a:pt x="204" y="275"/>
                </a:lnTo>
                <a:lnTo>
                  <a:pt x="204" y="274"/>
                </a:lnTo>
                <a:lnTo>
                  <a:pt x="203" y="274"/>
                </a:lnTo>
                <a:lnTo>
                  <a:pt x="201" y="272"/>
                </a:lnTo>
                <a:lnTo>
                  <a:pt x="201" y="271"/>
                </a:lnTo>
                <a:lnTo>
                  <a:pt x="203" y="271"/>
                </a:lnTo>
                <a:lnTo>
                  <a:pt x="204" y="272"/>
                </a:lnTo>
                <a:lnTo>
                  <a:pt x="205" y="271"/>
                </a:lnTo>
                <a:lnTo>
                  <a:pt x="206" y="271"/>
                </a:lnTo>
                <a:lnTo>
                  <a:pt x="206" y="276"/>
                </a:lnTo>
                <a:lnTo>
                  <a:pt x="199" y="276"/>
                </a:lnTo>
                <a:lnTo>
                  <a:pt x="198" y="277"/>
                </a:lnTo>
                <a:lnTo>
                  <a:pt x="197" y="276"/>
                </a:lnTo>
                <a:lnTo>
                  <a:pt x="198" y="275"/>
                </a:lnTo>
                <a:lnTo>
                  <a:pt x="198" y="272"/>
                </a:lnTo>
                <a:lnTo>
                  <a:pt x="199" y="271"/>
                </a:lnTo>
                <a:close/>
                <a:moveTo>
                  <a:pt x="309" y="270"/>
                </a:moveTo>
                <a:lnTo>
                  <a:pt x="310" y="271"/>
                </a:lnTo>
                <a:lnTo>
                  <a:pt x="309" y="272"/>
                </a:lnTo>
                <a:lnTo>
                  <a:pt x="310" y="274"/>
                </a:lnTo>
                <a:lnTo>
                  <a:pt x="309" y="274"/>
                </a:lnTo>
                <a:lnTo>
                  <a:pt x="309" y="276"/>
                </a:lnTo>
                <a:lnTo>
                  <a:pt x="306" y="274"/>
                </a:lnTo>
                <a:lnTo>
                  <a:pt x="306" y="272"/>
                </a:lnTo>
                <a:lnTo>
                  <a:pt x="309" y="270"/>
                </a:lnTo>
                <a:close/>
                <a:moveTo>
                  <a:pt x="238" y="270"/>
                </a:moveTo>
                <a:lnTo>
                  <a:pt x="239" y="270"/>
                </a:lnTo>
                <a:lnTo>
                  <a:pt x="239" y="271"/>
                </a:lnTo>
                <a:lnTo>
                  <a:pt x="241" y="272"/>
                </a:lnTo>
                <a:lnTo>
                  <a:pt x="242" y="272"/>
                </a:lnTo>
                <a:lnTo>
                  <a:pt x="243" y="274"/>
                </a:lnTo>
                <a:lnTo>
                  <a:pt x="242" y="274"/>
                </a:lnTo>
                <a:lnTo>
                  <a:pt x="242" y="277"/>
                </a:lnTo>
                <a:lnTo>
                  <a:pt x="239" y="276"/>
                </a:lnTo>
                <a:lnTo>
                  <a:pt x="237" y="274"/>
                </a:lnTo>
                <a:lnTo>
                  <a:pt x="236" y="274"/>
                </a:lnTo>
                <a:lnTo>
                  <a:pt x="237" y="272"/>
                </a:lnTo>
                <a:lnTo>
                  <a:pt x="237" y="271"/>
                </a:lnTo>
                <a:lnTo>
                  <a:pt x="238" y="270"/>
                </a:lnTo>
                <a:close/>
                <a:moveTo>
                  <a:pt x="210" y="270"/>
                </a:moveTo>
                <a:lnTo>
                  <a:pt x="211" y="270"/>
                </a:lnTo>
                <a:lnTo>
                  <a:pt x="212" y="271"/>
                </a:lnTo>
                <a:lnTo>
                  <a:pt x="211" y="272"/>
                </a:lnTo>
                <a:lnTo>
                  <a:pt x="210" y="271"/>
                </a:lnTo>
                <a:lnTo>
                  <a:pt x="210" y="270"/>
                </a:lnTo>
                <a:close/>
                <a:moveTo>
                  <a:pt x="87" y="270"/>
                </a:moveTo>
                <a:lnTo>
                  <a:pt x="87" y="272"/>
                </a:lnTo>
                <a:lnTo>
                  <a:pt x="86" y="272"/>
                </a:lnTo>
                <a:lnTo>
                  <a:pt x="87" y="270"/>
                </a:lnTo>
                <a:close/>
                <a:moveTo>
                  <a:pt x="207" y="266"/>
                </a:moveTo>
                <a:lnTo>
                  <a:pt x="207" y="268"/>
                </a:lnTo>
                <a:lnTo>
                  <a:pt x="208" y="268"/>
                </a:lnTo>
                <a:lnTo>
                  <a:pt x="207" y="270"/>
                </a:lnTo>
                <a:lnTo>
                  <a:pt x="206" y="270"/>
                </a:lnTo>
                <a:lnTo>
                  <a:pt x="206" y="269"/>
                </a:lnTo>
                <a:lnTo>
                  <a:pt x="205" y="269"/>
                </a:lnTo>
                <a:lnTo>
                  <a:pt x="207" y="266"/>
                </a:lnTo>
                <a:close/>
                <a:moveTo>
                  <a:pt x="245" y="265"/>
                </a:moveTo>
                <a:lnTo>
                  <a:pt x="245" y="268"/>
                </a:lnTo>
                <a:lnTo>
                  <a:pt x="243" y="268"/>
                </a:lnTo>
                <a:lnTo>
                  <a:pt x="245" y="265"/>
                </a:lnTo>
                <a:close/>
                <a:moveTo>
                  <a:pt x="317" y="264"/>
                </a:moveTo>
                <a:lnTo>
                  <a:pt x="323" y="264"/>
                </a:lnTo>
                <a:lnTo>
                  <a:pt x="325" y="266"/>
                </a:lnTo>
                <a:lnTo>
                  <a:pt x="324" y="266"/>
                </a:lnTo>
                <a:lnTo>
                  <a:pt x="319" y="268"/>
                </a:lnTo>
                <a:lnTo>
                  <a:pt x="316" y="271"/>
                </a:lnTo>
                <a:lnTo>
                  <a:pt x="310" y="271"/>
                </a:lnTo>
                <a:lnTo>
                  <a:pt x="310" y="270"/>
                </a:lnTo>
                <a:lnTo>
                  <a:pt x="311" y="270"/>
                </a:lnTo>
                <a:lnTo>
                  <a:pt x="311" y="269"/>
                </a:lnTo>
                <a:lnTo>
                  <a:pt x="312" y="268"/>
                </a:lnTo>
                <a:lnTo>
                  <a:pt x="317" y="264"/>
                </a:lnTo>
                <a:close/>
                <a:moveTo>
                  <a:pt x="253" y="263"/>
                </a:moveTo>
                <a:lnTo>
                  <a:pt x="254" y="264"/>
                </a:lnTo>
                <a:lnTo>
                  <a:pt x="255" y="264"/>
                </a:lnTo>
                <a:lnTo>
                  <a:pt x="254" y="265"/>
                </a:lnTo>
                <a:lnTo>
                  <a:pt x="251" y="265"/>
                </a:lnTo>
                <a:lnTo>
                  <a:pt x="251" y="264"/>
                </a:lnTo>
                <a:lnTo>
                  <a:pt x="253" y="264"/>
                </a:lnTo>
                <a:lnTo>
                  <a:pt x="253" y="263"/>
                </a:lnTo>
                <a:close/>
                <a:moveTo>
                  <a:pt x="268" y="262"/>
                </a:moveTo>
                <a:lnTo>
                  <a:pt x="270" y="264"/>
                </a:lnTo>
                <a:lnTo>
                  <a:pt x="268" y="264"/>
                </a:lnTo>
                <a:lnTo>
                  <a:pt x="268" y="265"/>
                </a:lnTo>
                <a:lnTo>
                  <a:pt x="266" y="266"/>
                </a:lnTo>
                <a:lnTo>
                  <a:pt x="263" y="269"/>
                </a:lnTo>
                <a:lnTo>
                  <a:pt x="263" y="270"/>
                </a:lnTo>
                <a:lnTo>
                  <a:pt x="260" y="271"/>
                </a:lnTo>
                <a:lnTo>
                  <a:pt x="257" y="271"/>
                </a:lnTo>
                <a:lnTo>
                  <a:pt x="257" y="269"/>
                </a:lnTo>
                <a:lnTo>
                  <a:pt x="262" y="269"/>
                </a:lnTo>
                <a:lnTo>
                  <a:pt x="262" y="268"/>
                </a:lnTo>
                <a:lnTo>
                  <a:pt x="261" y="268"/>
                </a:lnTo>
                <a:lnTo>
                  <a:pt x="261" y="266"/>
                </a:lnTo>
                <a:lnTo>
                  <a:pt x="262" y="266"/>
                </a:lnTo>
                <a:lnTo>
                  <a:pt x="267" y="264"/>
                </a:lnTo>
                <a:lnTo>
                  <a:pt x="266" y="264"/>
                </a:lnTo>
                <a:lnTo>
                  <a:pt x="266" y="263"/>
                </a:lnTo>
                <a:lnTo>
                  <a:pt x="267" y="263"/>
                </a:lnTo>
                <a:lnTo>
                  <a:pt x="268" y="262"/>
                </a:lnTo>
                <a:close/>
                <a:moveTo>
                  <a:pt x="228" y="257"/>
                </a:moveTo>
                <a:lnTo>
                  <a:pt x="230" y="257"/>
                </a:lnTo>
                <a:lnTo>
                  <a:pt x="229" y="259"/>
                </a:lnTo>
                <a:lnTo>
                  <a:pt x="229" y="262"/>
                </a:lnTo>
                <a:lnTo>
                  <a:pt x="228" y="260"/>
                </a:lnTo>
                <a:lnTo>
                  <a:pt x="228" y="259"/>
                </a:lnTo>
                <a:lnTo>
                  <a:pt x="226" y="258"/>
                </a:lnTo>
                <a:lnTo>
                  <a:pt x="228" y="258"/>
                </a:lnTo>
                <a:lnTo>
                  <a:pt x="228" y="257"/>
                </a:lnTo>
                <a:close/>
                <a:moveTo>
                  <a:pt x="211" y="256"/>
                </a:moveTo>
                <a:lnTo>
                  <a:pt x="212" y="257"/>
                </a:lnTo>
                <a:lnTo>
                  <a:pt x="213" y="257"/>
                </a:lnTo>
                <a:lnTo>
                  <a:pt x="213" y="258"/>
                </a:lnTo>
                <a:lnTo>
                  <a:pt x="216" y="259"/>
                </a:lnTo>
                <a:lnTo>
                  <a:pt x="216" y="262"/>
                </a:lnTo>
                <a:lnTo>
                  <a:pt x="214" y="262"/>
                </a:lnTo>
                <a:lnTo>
                  <a:pt x="213" y="264"/>
                </a:lnTo>
                <a:lnTo>
                  <a:pt x="213" y="263"/>
                </a:lnTo>
                <a:lnTo>
                  <a:pt x="212" y="262"/>
                </a:lnTo>
                <a:lnTo>
                  <a:pt x="212" y="258"/>
                </a:lnTo>
                <a:lnTo>
                  <a:pt x="211" y="258"/>
                </a:lnTo>
                <a:lnTo>
                  <a:pt x="211" y="256"/>
                </a:lnTo>
                <a:close/>
                <a:moveTo>
                  <a:pt x="305" y="255"/>
                </a:moveTo>
                <a:lnTo>
                  <a:pt x="306" y="255"/>
                </a:lnTo>
                <a:lnTo>
                  <a:pt x="310" y="256"/>
                </a:lnTo>
                <a:lnTo>
                  <a:pt x="310" y="259"/>
                </a:lnTo>
                <a:lnTo>
                  <a:pt x="311" y="258"/>
                </a:lnTo>
                <a:lnTo>
                  <a:pt x="312" y="258"/>
                </a:lnTo>
                <a:lnTo>
                  <a:pt x="312" y="260"/>
                </a:lnTo>
                <a:lnTo>
                  <a:pt x="311" y="260"/>
                </a:lnTo>
                <a:lnTo>
                  <a:pt x="311" y="262"/>
                </a:lnTo>
                <a:lnTo>
                  <a:pt x="310" y="262"/>
                </a:lnTo>
                <a:lnTo>
                  <a:pt x="310" y="263"/>
                </a:lnTo>
                <a:lnTo>
                  <a:pt x="307" y="263"/>
                </a:lnTo>
                <a:lnTo>
                  <a:pt x="307" y="262"/>
                </a:lnTo>
                <a:lnTo>
                  <a:pt x="306" y="262"/>
                </a:lnTo>
                <a:lnTo>
                  <a:pt x="306" y="260"/>
                </a:lnTo>
                <a:lnTo>
                  <a:pt x="307" y="260"/>
                </a:lnTo>
                <a:lnTo>
                  <a:pt x="307" y="258"/>
                </a:lnTo>
                <a:lnTo>
                  <a:pt x="309" y="258"/>
                </a:lnTo>
                <a:lnTo>
                  <a:pt x="309" y="257"/>
                </a:lnTo>
                <a:lnTo>
                  <a:pt x="306" y="257"/>
                </a:lnTo>
                <a:lnTo>
                  <a:pt x="306" y="256"/>
                </a:lnTo>
                <a:lnTo>
                  <a:pt x="305" y="255"/>
                </a:lnTo>
                <a:close/>
                <a:moveTo>
                  <a:pt x="259" y="252"/>
                </a:moveTo>
                <a:lnTo>
                  <a:pt x="261" y="252"/>
                </a:lnTo>
                <a:lnTo>
                  <a:pt x="261" y="253"/>
                </a:lnTo>
                <a:lnTo>
                  <a:pt x="260" y="253"/>
                </a:lnTo>
                <a:lnTo>
                  <a:pt x="259" y="252"/>
                </a:lnTo>
                <a:close/>
                <a:moveTo>
                  <a:pt x="237" y="251"/>
                </a:moveTo>
                <a:lnTo>
                  <a:pt x="238" y="251"/>
                </a:lnTo>
                <a:lnTo>
                  <a:pt x="238" y="252"/>
                </a:lnTo>
                <a:lnTo>
                  <a:pt x="237" y="252"/>
                </a:lnTo>
                <a:lnTo>
                  <a:pt x="237" y="251"/>
                </a:lnTo>
                <a:close/>
                <a:moveTo>
                  <a:pt x="235" y="251"/>
                </a:moveTo>
                <a:lnTo>
                  <a:pt x="236" y="251"/>
                </a:lnTo>
                <a:lnTo>
                  <a:pt x="235" y="252"/>
                </a:lnTo>
                <a:lnTo>
                  <a:pt x="237" y="252"/>
                </a:lnTo>
                <a:lnTo>
                  <a:pt x="237" y="257"/>
                </a:lnTo>
                <a:lnTo>
                  <a:pt x="235" y="259"/>
                </a:lnTo>
                <a:lnTo>
                  <a:pt x="232" y="259"/>
                </a:lnTo>
                <a:lnTo>
                  <a:pt x="231" y="258"/>
                </a:lnTo>
                <a:lnTo>
                  <a:pt x="230" y="258"/>
                </a:lnTo>
                <a:lnTo>
                  <a:pt x="230" y="256"/>
                </a:lnTo>
                <a:lnTo>
                  <a:pt x="231" y="255"/>
                </a:lnTo>
                <a:lnTo>
                  <a:pt x="232" y="255"/>
                </a:lnTo>
                <a:lnTo>
                  <a:pt x="232" y="253"/>
                </a:lnTo>
                <a:lnTo>
                  <a:pt x="235" y="251"/>
                </a:lnTo>
                <a:close/>
                <a:moveTo>
                  <a:pt x="301" y="249"/>
                </a:moveTo>
                <a:lnTo>
                  <a:pt x="304" y="249"/>
                </a:lnTo>
                <a:lnTo>
                  <a:pt x="304" y="251"/>
                </a:lnTo>
                <a:lnTo>
                  <a:pt x="305" y="251"/>
                </a:lnTo>
                <a:lnTo>
                  <a:pt x="305" y="253"/>
                </a:lnTo>
                <a:lnTo>
                  <a:pt x="303" y="253"/>
                </a:lnTo>
                <a:lnTo>
                  <a:pt x="304" y="252"/>
                </a:lnTo>
                <a:lnTo>
                  <a:pt x="303" y="252"/>
                </a:lnTo>
                <a:lnTo>
                  <a:pt x="303" y="251"/>
                </a:lnTo>
                <a:lnTo>
                  <a:pt x="301" y="251"/>
                </a:lnTo>
                <a:lnTo>
                  <a:pt x="301" y="250"/>
                </a:lnTo>
                <a:lnTo>
                  <a:pt x="300" y="250"/>
                </a:lnTo>
                <a:lnTo>
                  <a:pt x="301" y="249"/>
                </a:lnTo>
                <a:close/>
                <a:moveTo>
                  <a:pt x="247" y="249"/>
                </a:moveTo>
                <a:lnTo>
                  <a:pt x="249" y="249"/>
                </a:lnTo>
                <a:lnTo>
                  <a:pt x="250" y="250"/>
                </a:lnTo>
                <a:lnTo>
                  <a:pt x="250" y="251"/>
                </a:lnTo>
                <a:lnTo>
                  <a:pt x="251" y="253"/>
                </a:lnTo>
                <a:lnTo>
                  <a:pt x="250" y="255"/>
                </a:lnTo>
                <a:lnTo>
                  <a:pt x="250" y="258"/>
                </a:lnTo>
                <a:lnTo>
                  <a:pt x="249" y="260"/>
                </a:lnTo>
                <a:lnTo>
                  <a:pt x="248" y="260"/>
                </a:lnTo>
                <a:lnTo>
                  <a:pt x="247" y="263"/>
                </a:lnTo>
                <a:lnTo>
                  <a:pt x="244" y="263"/>
                </a:lnTo>
                <a:lnTo>
                  <a:pt x="244" y="260"/>
                </a:lnTo>
                <a:lnTo>
                  <a:pt x="243" y="260"/>
                </a:lnTo>
                <a:lnTo>
                  <a:pt x="242" y="259"/>
                </a:lnTo>
                <a:lnTo>
                  <a:pt x="242" y="257"/>
                </a:lnTo>
                <a:lnTo>
                  <a:pt x="241" y="256"/>
                </a:lnTo>
                <a:lnTo>
                  <a:pt x="241" y="255"/>
                </a:lnTo>
                <a:lnTo>
                  <a:pt x="242" y="255"/>
                </a:lnTo>
                <a:lnTo>
                  <a:pt x="243" y="252"/>
                </a:lnTo>
                <a:lnTo>
                  <a:pt x="247" y="249"/>
                </a:lnTo>
                <a:close/>
                <a:moveTo>
                  <a:pt x="204" y="247"/>
                </a:moveTo>
                <a:lnTo>
                  <a:pt x="205" y="249"/>
                </a:lnTo>
                <a:lnTo>
                  <a:pt x="206" y="249"/>
                </a:lnTo>
                <a:lnTo>
                  <a:pt x="206" y="251"/>
                </a:lnTo>
                <a:lnTo>
                  <a:pt x="205" y="251"/>
                </a:lnTo>
                <a:lnTo>
                  <a:pt x="205" y="253"/>
                </a:lnTo>
                <a:lnTo>
                  <a:pt x="204" y="252"/>
                </a:lnTo>
                <a:lnTo>
                  <a:pt x="201" y="252"/>
                </a:lnTo>
                <a:lnTo>
                  <a:pt x="201" y="250"/>
                </a:lnTo>
                <a:lnTo>
                  <a:pt x="203" y="250"/>
                </a:lnTo>
                <a:lnTo>
                  <a:pt x="201" y="249"/>
                </a:lnTo>
                <a:lnTo>
                  <a:pt x="204" y="249"/>
                </a:lnTo>
                <a:lnTo>
                  <a:pt x="204" y="247"/>
                </a:lnTo>
                <a:close/>
                <a:moveTo>
                  <a:pt x="145" y="244"/>
                </a:moveTo>
                <a:lnTo>
                  <a:pt x="148" y="244"/>
                </a:lnTo>
                <a:lnTo>
                  <a:pt x="148" y="246"/>
                </a:lnTo>
                <a:lnTo>
                  <a:pt x="147" y="246"/>
                </a:lnTo>
                <a:lnTo>
                  <a:pt x="147" y="245"/>
                </a:lnTo>
                <a:lnTo>
                  <a:pt x="145" y="244"/>
                </a:lnTo>
                <a:close/>
                <a:moveTo>
                  <a:pt x="291" y="241"/>
                </a:moveTo>
                <a:lnTo>
                  <a:pt x="292" y="243"/>
                </a:lnTo>
                <a:lnTo>
                  <a:pt x="292" y="245"/>
                </a:lnTo>
                <a:lnTo>
                  <a:pt x="291" y="244"/>
                </a:lnTo>
                <a:lnTo>
                  <a:pt x="291" y="241"/>
                </a:lnTo>
                <a:close/>
                <a:moveTo>
                  <a:pt x="291" y="239"/>
                </a:moveTo>
                <a:lnTo>
                  <a:pt x="293" y="239"/>
                </a:lnTo>
                <a:lnTo>
                  <a:pt x="293" y="240"/>
                </a:lnTo>
                <a:lnTo>
                  <a:pt x="292" y="240"/>
                </a:lnTo>
                <a:lnTo>
                  <a:pt x="292" y="241"/>
                </a:lnTo>
                <a:lnTo>
                  <a:pt x="291" y="241"/>
                </a:lnTo>
                <a:lnTo>
                  <a:pt x="291" y="239"/>
                </a:lnTo>
                <a:close/>
                <a:moveTo>
                  <a:pt x="163" y="239"/>
                </a:moveTo>
                <a:lnTo>
                  <a:pt x="166" y="239"/>
                </a:lnTo>
                <a:lnTo>
                  <a:pt x="166" y="240"/>
                </a:lnTo>
                <a:lnTo>
                  <a:pt x="163" y="240"/>
                </a:lnTo>
                <a:lnTo>
                  <a:pt x="163" y="241"/>
                </a:lnTo>
                <a:lnTo>
                  <a:pt x="162" y="241"/>
                </a:lnTo>
                <a:lnTo>
                  <a:pt x="161" y="243"/>
                </a:lnTo>
                <a:lnTo>
                  <a:pt x="157" y="243"/>
                </a:lnTo>
                <a:lnTo>
                  <a:pt x="161" y="240"/>
                </a:lnTo>
                <a:lnTo>
                  <a:pt x="162" y="240"/>
                </a:lnTo>
                <a:lnTo>
                  <a:pt x="163" y="239"/>
                </a:lnTo>
                <a:close/>
                <a:moveTo>
                  <a:pt x="201" y="233"/>
                </a:moveTo>
                <a:lnTo>
                  <a:pt x="203" y="233"/>
                </a:lnTo>
                <a:lnTo>
                  <a:pt x="203" y="234"/>
                </a:lnTo>
                <a:lnTo>
                  <a:pt x="201" y="235"/>
                </a:lnTo>
                <a:lnTo>
                  <a:pt x="204" y="237"/>
                </a:lnTo>
                <a:lnTo>
                  <a:pt x="204" y="238"/>
                </a:lnTo>
                <a:lnTo>
                  <a:pt x="203" y="238"/>
                </a:lnTo>
                <a:lnTo>
                  <a:pt x="203" y="240"/>
                </a:lnTo>
                <a:lnTo>
                  <a:pt x="200" y="243"/>
                </a:lnTo>
                <a:lnTo>
                  <a:pt x="199" y="243"/>
                </a:lnTo>
                <a:lnTo>
                  <a:pt x="199" y="240"/>
                </a:lnTo>
                <a:lnTo>
                  <a:pt x="200" y="240"/>
                </a:lnTo>
                <a:lnTo>
                  <a:pt x="200" y="237"/>
                </a:lnTo>
                <a:lnTo>
                  <a:pt x="199" y="237"/>
                </a:lnTo>
                <a:lnTo>
                  <a:pt x="199" y="235"/>
                </a:lnTo>
                <a:lnTo>
                  <a:pt x="200" y="234"/>
                </a:lnTo>
                <a:lnTo>
                  <a:pt x="201" y="234"/>
                </a:lnTo>
                <a:lnTo>
                  <a:pt x="201" y="233"/>
                </a:lnTo>
                <a:close/>
                <a:moveTo>
                  <a:pt x="239" y="232"/>
                </a:moveTo>
                <a:lnTo>
                  <a:pt x="241" y="232"/>
                </a:lnTo>
                <a:lnTo>
                  <a:pt x="242" y="234"/>
                </a:lnTo>
                <a:lnTo>
                  <a:pt x="242" y="233"/>
                </a:lnTo>
                <a:lnTo>
                  <a:pt x="244" y="233"/>
                </a:lnTo>
                <a:lnTo>
                  <a:pt x="244" y="234"/>
                </a:lnTo>
                <a:lnTo>
                  <a:pt x="245" y="234"/>
                </a:lnTo>
                <a:lnTo>
                  <a:pt x="245" y="235"/>
                </a:lnTo>
                <a:lnTo>
                  <a:pt x="243" y="235"/>
                </a:lnTo>
                <a:lnTo>
                  <a:pt x="243" y="237"/>
                </a:lnTo>
                <a:lnTo>
                  <a:pt x="238" y="237"/>
                </a:lnTo>
                <a:lnTo>
                  <a:pt x="238" y="235"/>
                </a:lnTo>
                <a:lnTo>
                  <a:pt x="239" y="235"/>
                </a:lnTo>
                <a:lnTo>
                  <a:pt x="239" y="234"/>
                </a:lnTo>
                <a:lnTo>
                  <a:pt x="238" y="234"/>
                </a:lnTo>
                <a:lnTo>
                  <a:pt x="239" y="233"/>
                </a:lnTo>
                <a:lnTo>
                  <a:pt x="239" y="232"/>
                </a:lnTo>
                <a:close/>
                <a:moveTo>
                  <a:pt x="222" y="232"/>
                </a:moveTo>
                <a:lnTo>
                  <a:pt x="223" y="232"/>
                </a:lnTo>
                <a:lnTo>
                  <a:pt x="224" y="233"/>
                </a:lnTo>
                <a:lnTo>
                  <a:pt x="224" y="238"/>
                </a:lnTo>
                <a:lnTo>
                  <a:pt x="222" y="239"/>
                </a:lnTo>
                <a:lnTo>
                  <a:pt x="220" y="240"/>
                </a:lnTo>
                <a:lnTo>
                  <a:pt x="220" y="239"/>
                </a:lnTo>
                <a:lnTo>
                  <a:pt x="222" y="238"/>
                </a:lnTo>
                <a:lnTo>
                  <a:pt x="220" y="238"/>
                </a:lnTo>
                <a:lnTo>
                  <a:pt x="220" y="235"/>
                </a:lnTo>
                <a:lnTo>
                  <a:pt x="222" y="235"/>
                </a:lnTo>
                <a:lnTo>
                  <a:pt x="222" y="232"/>
                </a:lnTo>
                <a:close/>
                <a:moveTo>
                  <a:pt x="162" y="229"/>
                </a:moveTo>
                <a:lnTo>
                  <a:pt x="162" y="231"/>
                </a:lnTo>
                <a:lnTo>
                  <a:pt x="163" y="231"/>
                </a:lnTo>
                <a:lnTo>
                  <a:pt x="163" y="232"/>
                </a:lnTo>
                <a:lnTo>
                  <a:pt x="161" y="232"/>
                </a:lnTo>
                <a:lnTo>
                  <a:pt x="160" y="231"/>
                </a:lnTo>
                <a:lnTo>
                  <a:pt x="161" y="231"/>
                </a:lnTo>
                <a:lnTo>
                  <a:pt x="162" y="229"/>
                </a:lnTo>
                <a:close/>
                <a:moveTo>
                  <a:pt x="213" y="226"/>
                </a:moveTo>
                <a:lnTo>
                  <a:pt x="214" y="226"/>
                </a:lnTo>
                <a:lnTo>
                  <a:pt x="214" y="227"/>
                </a:lnTo>
                <a:lnTo>
                  <a:pt x="212" y="227"/>
                </a:lnTo>
                <a:lnTo>
                  <a:pt x="213" y="226"/>
                </a:lnTo>
                <a:close/>
                <a:moveTo>
                  <a:pt x="281" y="222"/>
                </a:moveTo>
                <a:lnTo>
                  <a:pt x="284" y="222"/>
                </a:lnTo>
                <a:lnTo>
                  <a:pt x="276" y="229"/>
                </a:lnTo>
                <a:lnTo>
                  <a:pt x="273" y="229"/>
                </a:lnTo>
                <a:lnTo>
                  <a:pt x="272" y="231"/>
                </a:lnTo>
                <a:lnTo>
                  <a:pt x="270" y="231"/>
                </a:lnTo>
                <a:lnTo>
                  <a:pt x="270" y="232"/>
                </a:lnTo>
                <a:lnTo>
                  <a:pt x="269" y="232"/>
                </a:lnTo>
                <a:lnTo>
                  <a:pt x="269" y="231"/>
                </a:lnTo>
                <a:lnTo>
                  <a:pt x="268" y="232"/>
                </a:lnTo>
                <a:lnTo>
                  <a:pt x="267" y="232"/>
                </a:lnTo>
                <a:lnTo>
                  <a:pt x="267" y="229"/>
                </a:lnTo>
                <a:lnTo>
                  <a:pt x="268" y="228"/>
                </a:lnTo>
                <a:lnTo>
                  <a:pt x="269" y="228"/>
                </a:lnTo>
                <a:lnTo>
                  <a:pt x="269" y="226"/>
                </a:lnTo>
                <a:lnTo>
                  <a:pt x="270" y="226"/>
                </a:lnTo>
                <a:lnTo>
                  <a:pt x="270" y="225"/>
                </a:lnTo>
                <a:lnTo>
                  <a:pt x="272" y="225"/>
                </a:lnTo>
                <a:lnTo>
                  <a:pt x="274" y="226"/>
                </a:lnTo>
                <a:lnTo>
                  <a:pt x="275" y="225"/>
                </a:lnTo>
                <a:lnTo>
                  <a:pt x="276" y="226"/>
                </a:lnTo>
                <a:lnTo>
                  <a:pt x="278" y="225"/>
                </a:lnTo>
                <a:lnTo>
                  <a:pt x="279" y="225"/>
                </a:lnTo>
                <a:lnTo>
                  <a:pt x="281" y="222"/>
                </a:lnTo>
                <a:close/>
                <a:moveTo>
                  <a:pt x="225" y="222"/>
                </a:moveTo>
                <a:lnTo>
                  <a:pt x="228" y="222"/>
                </a:lnTo>
                <a:lnTo>
                  <a:pt x="228" y="223"/>
                </a:lnTo>
                <a:lnTo>
                  <a:pt x="229" y="223"/>
                </a:lnTo>
                <a:lnTo>
                  <a:pt x="229" y="225"/>
                </a:lnTo>
                <a:lnTo>
                  <a:pt x="231" y="225"/>
                </a:lnTo>
                <a:lnTo>
                  <a:pt x="232" y="226"/>
                </a:lnTo>
                <a:lnTo>
                  <a:pt x="232" y="225"/>
                </a:lnTo>
                <a:lnTo>
                  <a:pt x="234" y="225"/>
                </a:lnTo>
                <a:lnTo>
                  <a:pt x="235" y="226"/>
                </a:lnTo>
                <a:lnTo>
                  <a:pt x="236" y="226"/>
                </a:lnTo>
                <a:lnTo>
                  <a:pt x="236" y="227"/>
                </a:lnTo>
                <a:lnTo>
                  <a:pt x="237" y="227"/>
                </a:lnTo>
                <a:lnTo>
                  <a:pt x="236" y="229"/>
                </a:lnTo>
                <a:lnTo>
                  <a:pt x="235" y="231"/>
                </a:lnTo>
                <a:lnTo>
                  <a:pt x="232" y="231"/>
                </a:lnTo>
                <a:lnTo>
                  <a:pt x="230" y="228"/>
                </a:lnTo>
                <a:lnTo>
                  <a:pt x="229" y="228"/>
                </a:lnTo>
                <a:lnTo>
                  <a:pt x="228" y="226"/>
                </a:lnTo>
                <a:lnTo>
                  <a:pt x="226" y="226"/>
                </a:lnTo>
                <a:lnTo>
                  <a:pt x="225" y="225"/>
                </a:lnTo>
                <a:lnTo>
                  <a:pt x="225" y="222"/>
                </a:lnTo>
                <a:close/>
                <a:moveTo>
                  <a:pt x="197" y="222"/>
                </a:moveTo>
                <a:lnTo>
                  <a:pt x="199" y="222"/>
                </a:lnTo>
                <a:lnTo>
                  <a:pt x="200" y="225"/>
                </a:lnTo>
                <a:lnTo>
                  <a:pt x="200" y="226"/>
                </a:lnTo>
                <a:lnTo>
                  <a:pt x="198" y="228"/>
                </a:lnTo>
                <a:lnTo>
                  <a:pt x="197" y="231"/>
                </a:lnTo>
                <a:lnTo>
                  <a:pt x="195" y="231"/>
                </a:lnTo>
                <a:lnTo>
                  <a:pt x="195" y="225"/>
                </a:lnTo>
                <a:lnTo>
                  <a:pt x="197" y="223"/>
                </a:lnTo>
                <a:lnTo>
                  <a:pt x="197" y="222"/>
                </a:lnTo>
                <a:close/>
                <a:moveTo>
                  <a:pt x="164" y="217"/>
                </a:moveTo>
                <a:lnTo>
                  <a:pt x="166" y="219"/>
                </a:lnTo>
                <a:lnTo>
                  <a:pt x="164" y="219"/>
                </a:lnTo>
                <a:lnTo>
                  <a:pt x="164" y="220"/>
                </a:lnTo>
                <a:lnTo>
                  <a:pt x="163" y="220"/>
                </a:lnTo>
                <a:lnTo>
                  <a:pt x="163" y="222"/>
                </a:lnTo>
                <a:lnTo>
                  <a:pt x="161" y="222"/>
                </a:lnTo>
                <a:lnTo>
                  <a:pt x="161" y="221"/>
                </a:lnTo>
                <a:lnTo>
                  <a:pt x="160" y="220"/>
                </a:lnTo>
                <a:lnTo>
                  <a:pt x="160" y="219"/>
                </a:lnTo>
                <a:lnTo>
                  <a:pt x="164" y="217"/>
                </a:lnTo>
                <a:close/>
                <a:moveTo>
                  <a:pt x="300" y="215"/>
                </a:moveTo>
                <a:lnTo>
                  <a:pt x="301" y="215"/>
                </a:lnTo>
                <a:lnTo>
                  <a:pt x="304" y="216"/>
                </a:lnTo>
                <a:lnTo>
                  <a:pt x="305" y="217"/>
                </a:lnTo>
                <a:lnTo>
                  <a:pt x="306" y="217"/>
                </a:lnTo>
                <a:lnTo>
                  <a:pt x="309" y="219"/>
                </a:lnTo>
                <a:lnTo>
                  <a:pt x="309" y="217"/>
                </a:lnTo>
                <a:lnTo>
                  <a:pt x="313" y="217"/>
                </a:lnTo>
                <a:lnTo>
                  <a:pt x="312" y="219"/>
                </a:lnTo>
                <a:lnTo>
                  <a:pt x="311" y="219"/>
                </a:lnTo>
                <a:lnTo>
                  <a:pt x="312" y="220"/>
                </a:lnTo>
                <a:lnTo>
                  <a:pt x="313" y="220"/>
                </a:lnTo>
                <a:lnTo>
                  <a:pt x="313" y="221"/>
                </a:lnTo>
                <a:lnTo>
                  <a:pt x="310" y="221"/>
                </a:lnTo>
                <a:lnTo>
                  <a:pt x="306" y="223"/>
                </a:lnTo>
                <a:lnTo>
                  <a:pt x="305" y="223"/>
                </a:lnTo>
                <a:lnTo>
                  <a:pt x="305" y="225"/>
                </a:lnTo>
                <a:lnTo>
                  <a:pt x="301" y="225"/>
                </a:lnTo>
                <a:lnTo>
                  <a:pt x="300" y="223"/>
                </a:lnTo>
                <a:lnTo>
                  <a:pt x="300" y="222"/>
                </a:lnTo>
                <a:lnTo>
                  <a:pt x="299" y="222"/>
                </a:lnTo>
                <a:lnTo>
                  <a:pt x="299" y="221"/>
                </a:lnTo>
                <a:lnTo>
                  <a:pt x="295" y="221"/>
                </a:lnTo>
                <a:lnTo>
                  <a:pt x="295" y="222"/>
                </a:lnTo>
                <a:lnTo>
                  <a:pt x="293" y="222"/>
                </a:lnTo>
                <a:lnTo>
                  <a:pt x="292" y="221"/>
                </a:lnTo>
                <a:lnTo>
                  <a:pt x="292" y="220"/>
                </a:lnTo>
                <a:lnTo>
                  <a:pt x="293" y="219"/>
                </a:lnTo>
                <a:lnTo>
                  <a:pt x="294" y="219"/>
                </a:lnTo>
                <a:lnTo>
                  <a:pt x="295" y="217"/>
                </a:lnTo>
                <a:lnTo>
                  <a:pt x="295" y="216"/>
                </a:lnTo>
                <a:lnTo>
                  <a:pt x="300" y="215"/>
                </a:lnTo>
                <a:close/>
                <a:moveTo>
                  <a:pt x="44" y="209"/>
                </a:moveTo>
                <a:lnTo>
                  <a:pt x="45" y="210"/>
                </a:lnTo>
                <a:lnTo>
                  <a:pt x="45" y="212"/>
                </a:lnTo>
                <a:lnTo>
                  <a:pt x="46" y="213"/>
                </a:lnTo>
                <a:lnTo>
                  <a:pt x="46" y="214"/>
                </a:lnTo>
                <a:lnTo>
                  <a:pt x="51" y="214"/>
                </a:lnTo>
                <a:lnTo>
                  <a:pt x="52" y="215"/>
                </a:lnTo>
                <a:lnTo>
                  <a:pt x="52" y="216"/>
                </a:lnTo>
                <a:lnTo>
                  <a:pt x="54" y="219"/>
                </a:lnTo>
                <a:lnTo>
                  <a:pt x="56" y="220"/>
                </a:lnTo>
                <a:lnTo>
                  <a:pt x="57" y="222"/>
                </a:lnTo>
                <a:lnTo>
                  <a:pt x="55" y="220"/>
                </a:lnTo>
                <a:lnTo>
                  <a:pt x="52" y="220"/>
                </a:lnTo>
                <a:lnTo>
                  <a:pt x="51" y="221"/>
                </a:lnTo>
                <a:lnTo>
                  <a:pt x="50" y="221"/>
                </a:lnTo>
                <a:lnTo>
                  <a:pt x="50" y="222"/>
                </a:lnTo>
                <a:lnTo>
                  <a:pt x="51" y="223"/>
                </a:lnTo>
                <a:lnTo>
                  <a:pt x="50" y="225"/>
                </a:lnTo>
                <a:lnTo>
                  <a:pt x="49" y="225"/>
                </a:lnTo>
                <a:lnTo>
                  <a:pt x="48" y="222"/>
                </a:lnTo>
                <a:lnTo>
                  <a:pt x="45" y="221"/>
                </a:lnTo>
                <a:lnTo>
                  <a:pt x="44" y="220"/>
                </a:lnTo>
                <a:lnTo>
                  <a:pt x="44" y="217"/>
                </a:lnTo>
                <a:lnTo>
                  <a:pt x="42" y="216"/>
                </a:lnTo>
                <a:lnTo>
                  <a:pt x="40" y="215"/>
                </a:lnTo>
                <a:lnTo>
                  <a:pt x="42" y="215"/>
                </a:lnTo>
                <a:lnTo>
                  <a:pt x="40" y="214"/>
                </a:lnTo>
                <a:lnTo>
                  <a:pt x="42" y="214"/>
                </a:lnTo>
                <a:lnTo>
                  <a:pt x="40" y="213"/>
                </a:lnTo>
                <a:lnTo>
                  <a:pt x="44" y="209"/>
                </a:lnTo>
                <a:close/>
                <a:moveTo>
                  <a:pt x="216" y="206"/>
                </a:moveTo>
                <a:lnTo>
                  <a:pt x="217" y="206"/>
                </a:lnTo>
                <a:lnTo>
                  <a:pt x="217" y="207"/>
                </a:lnTo>
                <a:lnTo>
                  <a:pt x="218" y="207"/>
                </a:lnTo>
                <a:lnTo>
                  <a:pt x="218" y="208"/>
                </a:lnTo>
                <a:lnTo>
                  <a:pt x="219" y="209"/>
                </a:lnTo>
                <a:lnTo>
                  <a:pt x="219" y="210"/>
                </a:lnTo>
                <a:lnTo>
                  <a:pt x="224" y="210"/>
                </a:lnTo>
                <a:lnTo>
                  <a:pt x="224" y="213"/>
                </a:lnTo>
                <a:lnTo>
                  <a:pt x="223" y="214"/>
                </a:lnTo>
                <a:lnTo>
                  <a:pt x="225" y="215"/>
                </a:lnTo>
                <a:lnTo>
                  <a:pt x="225" y="216"/>
                </a:lnTo>
                <a:lnTo>
                  <a:pt x="224" y="216"/>
                </a:lnTo>
                <a:lnTo>
                  <a:pt x="224" y="217"/>
                </a:lnTo>
                <a:lnTo>
                  <a:pt x="225" y="217"/>
                </a:lnTo>
                <a:lnTo>
                  <a:pt x="225" y="220"/>
                </a:lnTo>
                <a:lnTo>
                  <a:pt x="224" y="221"/>
                </a:lnTo>
                <a:lnTo>
                  <a:pt x="224" y="222"/>
                </a:lnTo>
                <a:lnTo>
                  <a:pt x="223" y="221"/>
                </a:lnTo>
                <a:lnTo>
                  <a:pt x="222" y="221"/>
                </a:lnTo>
                <a:lnTo>
                  <a:pt x="222" y="219"/>
                </a:lnTo>
                <a:lnTo>
                  <a:pt x="220" y="217"/>
                </a:lnTo>
                <a:lnTo>
                  <a:pt x="219" y="217"/>
                </a:lnTo>
                <a:lnTo>
                  <a:pt x="219" y="216"/>
                </a:lnTo>
                <a:lnTo>
                  <a:pt x="218" y="215"/>
                </a:lnTo>
                <a:lnTo>
                  <a:pt x="217" y="215"/>
                </a:lnTo>
                <a:lnTo>
                  <a:pt x="217" y="213"/>
                </a:lnTo>
                <a:lnTo>
                  <a:pt x="216" y="213"/>
                </a:lnTo>
                <a:lnTo>
                  <a:pt x="214" y="212"/>
                </a:lnTo>
                <a:lnTo>
                  <a:pt x="213" y="213"/>
                </a:lnTo>
                <a:lnTo>
                  <a:pt x="213" y="210"/>
                </a:lnTo>
                <a:lnTo>
                  <a:pt x="212" y="209"/>
                </a:lnTo>
                <a:lnTo>
                  <a:pt x="213" y="209"/>
                </a:lnTo>
                <a:lnTo>
                  <a:pt x="212" y="208"/>
                </a:lnTo>
                <a:lnTo>
                  <a:pt x="213" y="208"/>
                </a:lnTo>
                <a:lnTo>
                  <a:pt x="213" y="207"/>
                </a:lnTo>
                <a:lnTo>
                  <a:pt x="216" y="206"/>
                </a:lnTo>
                <a:close/>
                <a:moveTo>
                  <a:pt x="161" y="206"/>
                </a:moveTo>
                <a:lnTo>
                  <a:pt x="163" y="206"/>
                </a:lnTo>
                <a:lnTo>
                  <a:pt x="164" y="207"/>
                </a:lnTo>
                <a:lnTo>
                  <a:pt x="164" y="208"/>
                </a:lnTo>
                <a:lnTo>
                  <a:pt x="166" y="208"/>
                </a:lnTo>
                <a:lnTo>
                  <a:pt x="163" y="210"/>
                </a:lnTo>
                <a:lnTo>
                  <a:pt x="163" y="212"/>
                </a:lnTo>
                <a:lnTo>
                  <a:pt x="162" y="210"/>
                </a:lnTo>
                <a:lnTo>
                  <a:pt x="162" y="212"/>
                </a:lnTo>
                <a:lnTo>
                  <a:pt x="158" y="212"/>
                </a:lnTo>
                <a:lnTo>
                  <a:pt x="158" y="210"/>
                </a:lnTo>
                <a:lnTo>
                  <a:pt x="160" y="209"/>
                </a:lnTo>
                <a:lnTo>
                  <a:pt x="162" y="209"/>
                </a:lnTo>
                <a:lnTo>
                  <a:pt x="162" y="208"/>
                </a:lnTo>
                <a:lnTo>
                  <a:pt x="160" y="208"/>
                </a:lnTo>
                <a:lnTo>
                  <a:pt x="161" y="207"/>
                </a:lnTo>
                <a:lnTo>
                  <a:pt x="161" y="206"/>
                </a:lnTo>
                <a:close/>
                <a:moveTo>
                  <a:pt x="138" y="195"/>
                </a:moveTo>
                <a:lnTo>
                  <a:pt x="139" y="195"/>
                </a:lnTo>
                <a:lnTo>
                  <a:pt x="141" y="196"/>
                </a:lnTo>
                <a:lnTo>
                  <a:pt x="139" y="196"/>
                </a:lnTo>
                <a:lnTo>
                  <a:pt x="138" y="195"/>
                </a:lnTo>
                <a:close/>
                <a:moveTo>
                  <a:pt x="75" y="188"/>
                </a:moveTo>
                <a:lnTo>
                  <a:pt x="76" y="188"/>
                </a:lnTo>
                <a:lnTo>
                  <a:pt x="76" y="189"/>
                </a:lnTo>
                <a:lnTo>
                  <a:pt x="75" y="188"/>
                </a:lnTo>
                <a:close/>
                <a:moveTo>
                  <a:pt x="45" y="185"/>
                </a:moveTo>
                <a:lnTo>
                  <a:pt x="46" y="185"/>
                </a:lnTo>
                <a:lnTo>
                  <a:pt x="46" y="189"/>
                </a:lnTo>
                <a:lnTo>
                  <a:pt x="44" y="189"/>
                </a:lnTo>
                <a:lnTo>
                  <a:pt x="44" y="186"/>
                </a:lnTo>
                <a:lnTo>
                  <a:pt x="45" y="186"/>
                </a:lnTo>
                <a:lnTo>
                  <a:pt x="45" y="185"/>
                </a:lnTo>
                <a:close/>
                <a:moveTo>
                  <a:pt x="37" y="180"/>
                </a:moveTo>
                <a:lnTo>
                  <a:pt x="39" y="180"/>
                </a:lnTo>
                <a:lnTo>
                  <a:pt x="42" y="186"/>
                </a:lnTo>
                <a:lnTo>
                  <a:pt x="42" y="188"/>
                </a:lnTo>
                <a:lnTo>
                  <a:pt x="40" y="189"/>
                </a:lnTo>
                <a:lnTo>
                  <a:pt x="40" y="190"/>
                </a:lnTo>
                <a:lnTo>
                  <a:pt x="42" y="192"/>
                </a:lnTo>
                <a:lnTo>
                  <a:pt x="43" y="191"/>
                </a:lnTo>
                <a:lnTo>
                  <a:pt x="44" y="191"/>
                </a:lnTo>
                <a:lnTo>
                  <a:pt x="44" y="192"/>
                </a:lnTo>
                <a:lnTo>
                  <a:pt x="46" y="195"/>
                </a:lnTo>
                <a:lnTo>
                  <a:pt x="46" y="197"/>
                </a:lnTo>
                <a:lnTo>
                  <a:pt x="49" y="198"/>
                </a:lnTo>
                <a:lnTo>
                  <a:pt x="49" y="202"/>
                </a:lnTo>
                <a:lnTo>
                  <a:pt x="44" y="202"/>
                </a:lnTo>
                <a:lnTo>
                  <a:pt x="44" y="201"/>
                </a:lnTo>
                <a:lnTo>
                  <a:pt x="43" y="200"/>
                </a:lnTo>
                <a:lnTo>
                  <a:pt x="39" y="200"/>
                </a:lnTo>
                <a:lnTo>
                  <a:pt x="38" y="201"/>
                </a:lnTo>
                <a:lnTo>
                  <a:pt x="36" y="200"/>
                </a:lnTo>
                <a:lnTo>
                  <a:pt x="36" y="197"/>
                </a:lnTo>
                <a:lnTo>
                  <a:pt x="34" y="196"/>
                </a:lnTo>
                <a:lnTo>
                  <a:pt x="36" y="196"/>
                </a:lnTo>
                <a:lnTo>
                  <a:pt x="36" y="195"/>
                </a:lnTo>
                <a:lnTo>
                  <a:pt x="34" y="191"/>
                </a:lnTo>
                <a:lnTo>
                  <a:pt x="33" y="191"/>
                </a:lnTo>
                <a:lnTo>
                  <a:pt x="33" y="196"/>
                </a:lnTo>
                <a:lnTo>
                  <a:pt x="32" y="197"/>
                </a:lnTo>
                <a:lnTo>
                  <a:pt x="31" y="197"/>
                </a:lnTo>
                <a:lnTo>
                  <a:pt x="29" y="195"/>
                </a:lnTo>
                <a:lnTo>
                  <a:pt x="30" y="195"/>
                </a:lnTo>
                <a:lnTo>
                  <a:pt x="30" y="191"/>
                </a:lnTo>
                <a:lnTo>
                  <a:pt x="31" y="191"/>
                </a:lnTo>
                <a:lnTo>
                  <a:pt x="31" y="190"/>
                </a:lnTo>
                <a:lnTo>
                  <a:pt x="32" y="188"/>
                </a:lnTo>
                <a:lnTo>
                  <a:pt x="33" y="186"/>
                </a:lnTo>
                <a:lnTo>
                  <a:pt x="33" y="188"/>
                </a:lnTo>
                <a:lnTo>
                  <a:pt x="34" y="189"/>
                </a:lnTo>
                <a:lnTo>
                  <a:pt x="36" y="189"/>
                </a:lnTo>
                <a:lnTo>
                  <a:pt x="36" y="188"/>
                </a:lnTo>
                <a:lnTo>
                  <a:pt x="37" y="188"/>
                </a:lnTo>
                <a:lnTo>
                  <a:pt x="38" y="186"/>
                </a:lnTo>
                <a:lnTo>
                  <a:pt x="38" y="183"/>
                </a:lnTo>
                <a:lnTo>
                  <a:pt x="37" y="183"/>
                </a:lnTo>
                <a:lnTo>
                  <a:pt x="38" y="182"/>
                </a:lnTo>
                <a:lnTo>
                  <a:pt x="37" y="180"/>
                </a:lnTo>
                <a:close/>
                <a:moveTo>
                  <a:pt x="43" y="179"/>
                </a:moveTo>
                <a:lnTo>
                  <a:pt x="43" y="180"/>
                </a:lnTo>
                <a:lnTo>
                  <a:pt x="44" y="182"/>
                </a:lnTo>
                <a:lnTo>
                  <a:pt x="45" y="182"/>
                </a:lnTo>
                <a:lnTo>
                  <a:pt x="44" y="183"/>
                </a:lnTo>
                <a:lnTo>
                  <a:pt x="44" y="184"/>
                </a:lnTo>
                <a:lnTo>
                  <a:pt x="43" y="185"/>
                </a:lnTo>
                <a:lnTo>
                  <a:pt x="44" y="185"/>
                </a:lnTo>
                <a:lnTo>
                  <a:pt x="44" y="186"/>
                </a:lnTo>
                <a:lnTo>
                  <a:pt x="43" y="186"/>
                </a:lnTo>
                <a:lnTo>
                  <a:pt x="42" y="184"/>
                </a:lnTo>
                <a:lnTo>
                  <a:pt x="42" y="182"/>
                </a:lnTo>
                <a:lnTo>
                  <a:pt x="40" y="182"/>
                </a:lnTo>
                <a:lnTo>
                  <a:pt x="40" y="180"/>
                </a:lnTo>
                <a:lnTo>
                  <a:pt x="42" y="180"/>
                </a:lnTo>
                <a:lnTo>
                  <a:pt x="43" y="179"/>
                </a:lnTo>
                <a:close/>
                <a:moveTo>
                  <a:pt x="268" y="173"/>
                </a:moveTo>
                <a:lnTo>
                  <a:pt x="270" y="174"/>
                </a:lnTo>
                <a:lnTo>
                  <a:pt x="273" y="177"/>
                </a:lnTo>
                <a:lnTo>
                  <a:pt x="273" y="176"/>
                </a:lnTo>
                <a:lnTo>
                  <a:pt x="274" y="176"/>
                </a:lnTo>
                <a:lnTo>
                  <a:pt x="275" y="177"/>
                </a:lnTo>
                <a:lnTo>
                  <a:pt x="274" y="177"/>
                </a:lnTo>
                <a:lnTo>
                  <a:pt x="274" y="179"/>
                </a:lnTo>
                <a:lnTo>
                  <a:pt x="273" y="179"/>
                </a:lnTo>
                <a:lnTo>
                  <a:pt x="273" y="180"/>
                </a:lnTo>
                <a:lnTo>
                  <a:pt x="274" y="180"/>
                </a:lnTo>
                <a:lnTo>
                  <a:pt x="274" y="188"/>
                </a:lnTo>
                <a:lnTo>
                  <a:pt x="275" y="190"/>
                </a:lnTo>
                <a:lnTo>
                  <a:pt x="273" y="190"/>
                </a:lnTo>
                <a:lnTo>
                  <a:pt x="272" y="191"/>
                </a:lnTo>
                <a:lnTo>
                  <a:pt x="273" y="194"/>
                </a:lnTo>
                <a:lnTo>
                  <a:pt x="272" y="195"/>
                </a:lnTo>
                <a:lnTo>
                  <a:pt x="269" y="195"/>
                </a:lnTo>
                <a:lnTo>
                  <a:pt x="269" y="197"/>
                </a:lnTo>
                <a:lnTo>
                  <a:pt x="267" y="197"/>
                </a:lnTo>
                <a:lnTo>
                  <a:pt x="267" y="196"/>
                </a:lnTo>
                <a:lnTo>
                  <a:pt x="266" y="195"/>
                </a:lnTo>
                <a:lnTo>
                  <a:pt x="265" y="195"/>
                </a:lnTo>
                <a:lnTo>
                  <a:pt x="265" y="194"/>
                </a:lnTo>
                <a:lnTo>
                  <a:pt x="263" y="194"/>
                </a:lnTo>
                <a:lnTo>
                  <a:pt x="263" y="192"/>
                </a:lnTo>
                <a:lnTo>
                  <a:pt x="262" y="192"/>
                </a:lnTo>
                <a:lnTo>
                  <a:pt x="262" y="191"/>
                </a:lnTo>
                <a:lnTo>
                  <a:pt x="263" y="191"/>
                </a:lnTo>
                <a:lnTo>
                  <a:pt x="263" y="190"/>
                </a:lnTo>
                <a:lnTo>
                  <a:pt x="267" y="190"/>
                </a:lnTo>
                <a:lnTo>
                  <a:pt x="267" y="188"/>
                </a:lnTo>
                <a:lnTo>
                  <a:pt x="268" y="188"/>
                </a:lnTo>
                <a:lnTo>
                  <a:pt x="267" y="186"/>
                </a:lnTo>
                <a:lnTo>
                  <a:pt x="267" y="184"/>
                </a:lnTo>
                <a:lnTo>
                  <a:pt x="266" y="184"/>
                </a:lnTo>
                <a:lnTo>
                  <a:pt x="266" y="182"/>
                </a:lnTo>
                <a:lnTo>
                  <a:pt x="265" y="180"/>
                </a:lnTo>
                <a:lnTo>
                  <a:pt x="263" y="180"/>
                </a:lnTo>
                <a:lnTo>
                  <a:pt x="261" y="178"/>
                </a:lnTo>
                <a:lnTo>
                  <a:pt x="261" y="174"/>
                </a:lnTo>
                <a:lnTo>
                  <a:pt x="268" y="173"/>
                </a:lnTo>
                <a:close/>
                <a:moveTo>
                  <a:pt x="248" y="173"/>
                </a:moveTo>
                <a:lnTo>
                  <a:pt x="251" y="173"/>
                </a:lnTo>
                <a:lnTo>
                  <a:pt x="251" y="177"/>
                </a:lnTo>
                <a:lnTo>
                  <a:pt x="249" y="177"/>
                </a:lnTo>
                <a:lnTo>
                  <a:pt x="249" y="174"/>
                </a:lnTo>
                <a:lnTo>
                  <a:pt x="248" y="174"/>
                </a:lnTo>
                <a:lnTo>
                  <a:pt x="248" y="173"/>
                </a:lnTo>
                <a:close/>
                <a:moveTo>
                  <a:pt x="54" y="173"/>
                </a:moveTo>
                <a:lnTo>
                  <a:pt x="55" y="173"/>
                </a:lnTo>
                <a:lnTo>
                  <a:pt x="54" y="174"/>
                </a:lnTo>
                <a:lnTo>
                  <a:pt x="54" y="177"/>
                </a:lnTo>
                <a:lnTo>
                  <a:pt x="52" y="177"/>
                </a:lnTo>
                <a:lnTo>
                  <a:pt x="52" y="176"/>
                </a:lnTo>
                <a:lnTo>
                  <a:pt x="54" y="173"/>
                </a:lnTo>
                <a:close/>
                <a:moveTo>
                  <a:pt x="46" y="172"/>
                </a:moveTo>
                <a:lnTo>
                  <a:pt x="48" y="172"/>
                </a:lnTo>
                <a:lnTo>
                  <a:pt x="48" y="173"/>
                </a:lnTo>
                <a:lnTo>
                  <a:pt x="46" y="172"/>
                </a:lnTo>
                <a:close/>
                <a:moveTo>
                  <a:pt x="52" y="171"/>
                </a:moveTo>
                <a:lnTo>
                  <a:pt x="55" y="171"/>
                </a:lnTo>
                <a:lnTo>
                  <a:pt x="55" y="172"/>
                </a:lnTo>
                <a:lnTo>
                  <a:pt x="54" y="172"/>
                </a:lnTo>
                <a:lnTo>
                  <a:pt x="54" y="173"/>
                </a:lnTo>
                <a:lnTo>
                  <a:pt x="52" y="173"/>
                </a:lnTo>
                <a:lnTo>
                  <a:pt x="52" y="174"/>
                </a:lnTo>
                <a:lnTo>
                  <a:pt x="51" y="174"/>
                </a:lnTo>
                <a:lnTo>
                  <a:pt x="51" y="173"/>
                </a:lnTo>
                <a:lnTo>
                  <a:pt x="52" y="172"/>
                </a:lnTo>
                <a:lnTo>
                  <a:pt x="52" y="171"/>
                </a:lnTo>
                <a:close/>
                <a:moveTo>
                  <a:pt x="46" y="170"/>
                </a:moveTo>
                <a:lnTo>
                  <a:pt x="49" y="170"/>
                </a:lnTo>
                <a:lnTo>
                  <a:pt x="49" y="171"/>
                </a:lnTo>
                <a:lnTo>
                  <a:pt x="46" y="171"/>
                </a:lnTo>
                <a:lnTo>
                  <a:pt x="46" y="170"/>
                </a:lnTo>
                <a:close/>
                <a:moveTo>
                  <a:pt x="43" y="160"/>
                </a:moveTo>
                <a:lnTo>
                  <a:pt x="44" y="160"/>
                </a:lnTo>
                <a:lnTo>
                  <a:pt x="44" y="161"/>
                </a:lnTo>
                <a:lnTo>
                  <a:pt x="45" y="161"/>
                </a:lnTo>
                <a:lnTo>
                  <a:pt x="45" y="167"/>
                </a:lnTo>
                <a:lnTo>
                  <a:pt x="44" y="169"/>
                </a:lnTo>
                <a:lnTo>
                  <a:pt x="44" y="170"/>
                </a:lnTo>
                <a:lnTo>
                  <a:pt x="45" y="169"/>
                </a:lnTo>
                <a:lnTo>
                  <a:pt x="45" y="172"/>
                </a:lnTo>
                <a:lnTo>
                  <a:pt x="44" y="171"/>
                </a:lnTo>
                <a:lnTo>
                  <a:pt x="44" y="173"/>
                </a:lnTo>
                <a:lnTo>
                  <a:pt x="40" y="173"/>
                </a:lnTo>
                <a:lnTo>
                  <a:pt x="40" y="172"/>
                </a:lnTo>
                <a:lnTo>
                  <a:pt x="39" y="172"/>
                </a:lnTo>
                <a:lnTo>
                  <a:pt x="39" y="173"/>
                </a:lnTo>
                <a:lnTo>
                  <a:pt x="38" y="173"/>
                </a:lnTo>
                <a:lnTo>
                  <a:pt x="38" y="169"/>
                </a:lnTo>
                <a:lnTo>
                  <a:pt x="39" y="167"/>
                </a:lnTo>
                <a:lnTo>
                  <a:pt x="39" y="166"/>
                </a:lnTo>
                <a:lnTo>
                  <a:pt x="40" y="164"/>
                </a:lnTo>
                <a:lnTo>
                  <a:pt x="40" y="163"/>
                </a:lnTo>
                <a:lnTo>
                  <a:pt x="43" y="160"/>
                </a:lnTo>
                <a:close/>
                <a:moveTo>
                  <a:pt x="201" y="158"/>
                </a:moveTo>
                <a:lnTo>
                  <a:pt x="203" y="158"/>
                </a:lnTo>
                <a:lnTo>
                  <a:pt x="201" y="159"/>
                </a:lnTo>
                <a:lnTo>
                  <a:pt x="201" y="158"/>
                </a:lnTo>
                <a:close/>
                <a:moveTo>
                  <a:pt x="137" y="158"/>
                </a:moveTo>
                <a:lnTo>
                  <a:pt x="139" y="158"/>
                </a:lnTo>
                <a:lnTo>
                  <a:pt x="139" y="159"/>
                </a:lnTo>
                <a:lnTo>
                  <a:pt x="141" y="159"/>
                </a:lnTo>
                <a:lnTo>
                  <a:pt x="141" y="160"/>
                </a:lnTo>
                <a:lnTo>
                  <a:pt x="139" y="160"/>
                </a:lnTo>
                <a:lnTo>
                  <a:pt x="136" y="161"/>
                </a:lnTo>
                <a:lnTo>
                  <a:pt x="135" y="161"/>
                </a:lnTo>
                <a:lnTo>
                  <a:pt x="135" y="159"/>
                </a:lnTo>
                <a:lnTo>
                  <a:pt x="137" y="159"/>
                </a:lnTo>
                <a:lnTo>
                  <a:pt x="137" y="158"/>
                </a:lnTo>
                <a:close/>
                <a:moveTo>
                  <a:pt x="204" y="153"/>
                </a:moveTo>
                <a:lnTo>
                  <a:pt x="207" y="155"/>
                </a:lnTo>
                <a:lnTo>
                  <a:pt x="207" y="158"/>
                </a:lnTo>
                <a:lnTo>
                  <a:pt x="208" y="159"/>
                </a:lnTo>
                <a:lnTo>
                  <a:pt x="211" y="160"/>
                </a:lnTo>
                <a:lnTo>
                  <a:pt x="212" y="161"/>
                </a:lnTo>
                <a:lnTo>
                  <a:pt x="212" y="164"/>
                </a:lnTo>
                <a:lnTo>
                  <a:pt x="211" y="165"/>
                </a:lnTo>
                <a:lnTo>
                  <a:pt x="211" y="164"/>
                </a:lnTo>
                <a:lnTo>
                  <a:pt x="210" y="165"/>
                </a:lnTo>
                <a:lnTo>
                  <a:pt x="210" y="164"/>
                </a:lnTo>
                <a:lnTo>
                  <a:pt x="207" y="164"/>
                </a:lnTo>
                <a:lnTo>
                  <a:pt x="207" y="165"/>
                </a:lnTo>
                <a:lnTo>
                  <a:pt x="206" y="163"/>
                </a:lnTo>
                <a:lnTo>
                  <a:pt x="207" y="163"/>
                </a:lnTo>
                <a:lnTo>
                  <a:pt x="207" y="160"/>
                </a:lnTo>
                <a:lnTo>
                  <a:pt x="206" y="161"/>
                </a:lnTo>
                <a:lnTo>
                  <a:pt x="206" y="160"/>
                </a:lnTo>
                <a:lnTo>
                  <a:pt x="205" y="160"/>
                </a:lnTo>
                <a:lnTo>
                  <a:pt x="204" y="159"/>
                </a:lnTo>
                <a:lnTo>
                  <a:pt x="203" y="159"/>
                </a:lnTo>
                <a:lnTo>
                  <a:pt x="203" y="154"/>
                </a:lnTo>
                <a:lnTo>
                  <a:pt x="204" y="153"/>
                </a:lnTo>
                <a:close/>
                <a:moveTo>
                  <a:pt x="49" y="153"/>
                </a:moveTo>
                <a:lnTo>
                  <a:pt x="50" y="153"/>
                </a:lnTo>
                <a:lnTo>
                  <a:pt x="50" y="154"/>
                </a:lnTo>
                <a:lnTo>
                  <a:pt x="49" y="154"/>
                </a:lnTo>
                <a:lnTo>
                  <a:pt x="49" y="153"/>
                </a:lnTo>
                <a:close/>
                <a:moveTo>
                  <a:pt x="152" y="149"/>
                </a:moveTo>
                <a:lnTo>
                  <a:pt x="155" y="149"/>
                </a:lnTo>
                <a:lnTo>
                  <a:pt x="155" y="151"/>
                </a:lnTo>
                <a:lnTo>
                  <a:pt x="156" y="151"/>
                </a:lnTo>
                <a:lnTo>
                  <a:pt x="157" y="152"/>
                </a:lnTo>
                <a:lnTo>
                  <a:pt x="157" y="154"/>
                </a:lnTo>
                <a:lnTo>
                  <a:pt x="160" y="154"/>
                </a:lnTo>
                <a:lnTo>
                  <a:pt x="160" y="158"/>
                </a:lnTo>
                <a:lnTo>
                  <a:pt x="161" y="158"/>
                </a:lnTo>
                <a:lnTo>
                  <a:pt x="161" y="160"/>
                </a:lnTo>
                <a:lnTo>
                  <a:pt x="162" y="160"/>
                </a:lnTo>
                <a:lnTo>
                  <a:pt x="163" y="161"/>
                </a:lnTo>
                <a:lnTo>
                  <a:pt x="166" y="163"/>
                </a:lnTo>
                <a:lnTo>
                  <a:pt x="168" y="165"/>
                </a:lnTo>
                <a:lnTo>
                  <a:pt x="173" y="165"/>
                </a:lnTo>
                <a:lnTo>
                  <a:pt x="173" y="167"/>
                </a:lnTo>
                <a:lnTo>
                  <a:pt x="174" y="167"/>
                </a:lnTo>
                <a:lnTo>
                  <a:pt x="175" y="169"/>
                </a:lnTo>
                <a:lnTo>
                  <a:pt x="178" y="169"/>
                </a:lnTo>
                <a:lnTo>
                  <a:pt x="180" y="170"/>
                </a:lnTo>
                <a:lnTo>
                  <a:pt x="182" y="170"/>
                </a:lnTo>
                <a:lnTo>
                  <a:pt x="182" y="169"/>
                </a:lnTo>
                <a:lnTo>
                  <a:pt x="183" y="170"/>
                </a:lnTo>
                <a:lnTo>
                  <a:pt x="189" y="170"/>
                </a:lnTo>
                <a:lnTo>
                  <a:pt x="191" y="171"/>
                </a:lnTo>
                <a:lnTo>
                  <a:pt x="189" y="171"/>
                </a:lnTo>
                <a:lnTo>
                  <a:pt x="189" y="172"/>
                </a:lnTo>
                <a:lnTo>
                  <a:pt x="188" y="172"/>
                </a:lnTo>
                <a:lnTo>
                  <a:pt x="188" y="173"/>
                </a:lnTo>
                <a:lnTo>
                  <a:pt x="189" y="173"/>
                </a:lnTo>
                <a:lnTo>
                  <a:pt x="193" y="177"/>
                </a:lnTo>
                <a:lnTo>
                  <a:pt x="193" y="178"/>
                </a:lnTo>
                <a:lnTo>
                  <a:pt x="192" y="178"/>
                </a:lnTo>
                <a:lnTo>
                  <a:pt x="192" y="184"/>
                </a:lnTo>
                <a:lnTo>
                  <a:pt x="193" y="185"/>
                </a:lnTo>
                <a:lnTo>
                  <a:pt x="193" y="189"/>
                </a:lnTo>
                <a:lnTo>
                  <a:pt x="194" y="190"/>
                </a:lnTo>
                <a:lnTo>
                  <a:pt x="194" y="194"/>
                </a:lnTo>
                <a:lnTo>
                  <a:pt x="195" y="195"/>
                </a:lnTo>
                <a:lnTo>
                  <a:pt x="198" y="196"/>
                </a:lnTo>
                <a:lnTo>
                  <a:pt x="198" y="197"/>
                </a:lnTo>
                <a:lnTo>
                  <a:pt x="200" y="197"/>
                </a:lnTo>
                <a:lnTo>
                  <a:pt x="201" y="198"/>
                </a:lnTo>
                <a:lnTo>
                  <a:pt x="205" y="198"/>
                </a:lnTo>
                <a:lnTo>
                  <a:pt x="208" y="197"/>
                </a:lnTo>
                <a:lnTo>
                  <a:pt x="208" y="203"/>
                </a:lnTo>
                <a:lnTo>
                  <a:pt x="207" y="206"/>
                </a:lnTo>
                <a:lnTo>
                  <a:pt x="207" y="207"/>
                </a:lnTo>
                <a:lnTo>
                  <a:pt x="206" y="208"/>
                </a:lnTo>
                <a:lnTo>
                  <a:pt x="204" y="208"/>
                </a:lnTo>
                <a:lnTo>
                  <a:pt x="204" y="207"/>
                </a:lnTo>
                <a:lnTo>
                  <a:pt x="201" y="204"/>
                </a:lnTo>
                <a:lnTo>
                  <a:pt x="200" y="206"/>
                </a:lnTo>
                <a:lnTo>
                  <a:pt x="200" y="207"/>
                </a:lnTo>
                <a:lnTo>
                  <a:pt x="199" y="207"/>
                </a:lnTo>
                <a:lnTo>
                  <a:pt x="198" y="206"/>
                </a:lnTo>
                <a:lnTo>
                  <a:pt x="198" y="204"/>
                </a:lnTo>
                <a:lnTo>
                  <a:pt x="197" y="204"/>
                </a:lnTo>
                <a:lnTo>
                  <a:pt x="198" y="203"/>
                </a:lnTo>
                <a:lnTo>
                  <a:pt x="197" y="202"/>
                </a:lnTo>
                <a:lnTo>
                  <a:pt x="195" y="202"/>
                </a:lnTo>
                <a:lnTo>
                  <a:pt x="195" y="201"/>
                </a:lnTo>
                <a:lnTo>
                  <a:pt x="193" y="201"/>
                </a:lnTo>
                <a:lnTo>
                  <a:pt x="193" y="200"/>
                </a:lnTo>
                <a:lnTo>
                  <a:pt x="192" y="198"/>
                </a:lnTo>
                <a:lnTo>
                  <a:pt x="192" y="197"/>
                </a:lnTo>
                <a:lnTo>
                  <a:pt x="193" y="197"/>
                </a:lnTo>
                <a:lnTo>
                  <a:pt x="192" y="196"/>
                </a:lnTo>
                <a:lnTo>
                  <a:pt x="192" y="194"/>
                </a:lnTo>
                <a:lnTo>
                  <a:pt x="189" y="194"/>
                </a:lnTo>
                <a:lnTo>
                  <a:pt x="189" y="192"/>
                </a:lnTo>
                <a:lnTo>
                  <a:pt x="191" y="191"/>
                </a:lnTo>
                <a:lnTo>
                  <a:pt x="189" y="191"/>
                </a:lnTo>
                <a:lnTo>
                  <a:pt x="188" y="192"/>
                </a:lnTo>
                <a:lnTo>
                  <a:pt x="188" y="189"/>
                </a:lnTo>
                <a:lnTo>
                  <a:pt x="187" y="189"/>
                </a:lnTo>
                <a:lnTo>
                  <a:pt x="186" y="188"/>
                </a:lnTo>
                <a:lnTo>
                  <a:pt x="186" y="184"/>
                </a:lnTo>
                <a:lnTo>
                  <a:pt x="182" y="184"/>
                </a:lnTo>
                <a:lnTo>
                  <a:pt x="180" y="185"/>
                </a:lnTo>
                <a:lnTo>
                  <a:pt x="179" y="184"/>
                </a:lnTo>
                <a:lnTo>
                  <a:pt x="168" y="184"/>
                </a:lnTo>
                <a:lnTo>
                  <a:pt x="167" y="180"/>
                </a:lnTo>
                <a:lnTo>
                  <a:pt x="168" y="179"/>
                </a:lnTo>
                <a:lnTo>
                  <a:pt x="168" y="177"/>
                </a:lnTo>
                <a:lnTo>
                  <a:pt x="166" y="174"/>
                </a:lnTo>
                <a:lnTo>
                  <a:pt x="163" y="174"/>
                </a:lnTo>
                <a:lnTo>
                  <a:pt x="163" y="173"/>
                </a:lnTo>
                <a:lnTo>
                  <a:pt x="162" y="173"/>
                </a:lnTo>
                <a:lnTo>
                  <a:pt x="162" y="172"/>
                </a:lnTo>
                <a:lnTo>
                  <a:pt x="161" y="171"/>
                </a:lnTo>
                <a:lnTo>
                  <a:pt x="161" y="170"/>
                </a:lnTo>
                <a:lnTo>
                  <a:pt x="160" y="170"/>
                </a:lnTo>
                <a:lnTo>
                  <a:pt x="160" y="169"/>
                </a:lnTo>
                <a:lnTo>
                  <a:pt x="158" y="169"/>
                </a:lnTo>
                <a:lnTo>
                  <a:pt x="154" y="164"/>
                </a:lnTo>
                <a:lnTo>
                  <a:pt x="150" y="161"/>
                </a:lnTo>
                <a:lnTo>
                  <a:pt x="149" y="160"/>
                </a:lnTo>
                <a:lnTo>
                  <a:pt x="144" y="160"/>
                </a:lnTo>
                <a:lnTo>
                  <a:pt x="143" y="159"/>
                </a:lnTo>
                <a:lnTo>
                  <a:pt x="142" y="159"/>
                </a:lnTo>
                <a:lnTo>
                  <a:pt x="141" y="158"/>
                </a:lnTo>
                <a:lnTo>
                  <a:pt x="139" y="158"/>
                </a:lnTo>
                <a:lnTo>
                  <a:pt x="141" y="157"/>
                </a:lnTo>
                <a:lnTo>
                  <a:pt x="142" y="157"/>
                </a:lnTo>
                <a:lnTo>
                  <a:pt x="144" y="154"/>
                </a:lnTo>
                <a:lnTo>
                  <a:pt x="145" y="154"/>
                </a:lnTo>
                <a:lnTo>
                  <a:pt x="145" y="153"/>
                </a:lnTo>
                <a:lnTo>
                  <a:pt x="147" y="152"/>
                </a:lnTo>
                <a:lnTo>
                  <a:pt x="150" y="152"/>
                </a:lnTo>
                <a:lnTo>
                  <a:pt x="150" y="151"/>
                </a:lnTo>
                <a:lnTo>
                  <a:pt x="152" y="149"/>
                </a:lnTo>
                <a:close/>
                <a:moveTo>
                  <a:pt x="168" y="142"/>
                </a:moveTo>
                <a:lnTo>
                  <a:pt x="169" y="142"/>
                </a:lnTo>
                <a:lnTo>
                  <a:pt x="170" y="143"/>
                </a:lnTo>
                <a:lnTo>
                  <a:pt x="173" y="143"/>
                </a:lnTo>
                <a:lnTo>
                  <a:pt x="172" y="145"/>
                </a:lnTo>
                <a:lnTo>
                  <a:pt x="175" y="145"/>
                </a:lnTo>
                <a:lnTo>
                  <a:pt x="175" y="146"/>
                </a:lnTo>
                <a:lnTo>
                  <a:pt x="174" y="147"/>
                </a:lnTo>
                <a:lnTo>
                  <a:pt x="173" y="147"/>
                </a:lnTo>
                <a:lnTo>
                  <a:pt x="172" y="148"/>
                </a:lnTo>
                <a:lnTo>
                  <a:pt x="172" y="147"/>
                </a:lnTo>
                <a:lnTo>
                  <a:pt x="169" y="147"/>
                </a:lnTo>
                <a:lnTo>
                  <a:pt x="169" y="146"/>
                </a:lnTo>
                <a:lnTo>
                  <a:pt x="168" y="143"/>
                </a:lnTo>
                <a:lnTo>
                  <a:pt x="168" y="142"/>
                </a:lnTo>
                <a:close/>
                <a:moveTo>
                  <a:pt x="167" y="140"/>
                </a:moveTo>
                <a:lnTo>
                  <a:pt x="167" y="141"/>
                </a:lnTo>
                <a:lnTo>
                  <a:pt x="168" y="142"/>
                </a:lnTo>
                <a:lnTo>
                  <a:pt x="166" y="141"/>
                </a:lnTo>
                <a:lnTo>
                  <a:pt x="167" y="140"/>
                </a:lnTo>
                <a:close/>
                <a:moveTo>
                  <a:pt x="161" y="140"/>
                </a:moveTo>
                <a:lnTo>
                  <a:pt x="163" y="142"/>
                </a:lnTo>
                <a:lnTo>
                  <a:pt x="163" y="143"/>
                </a:lnTo>
                <a:lnTo>
                  <a:pt x="162" y="142"/>
                </a:lnTo>
                <a:lnTo>
                  <a:pt x="161" y="143"/>
                </a:lnTo>
                <a:lnTo>
                  <a:pt x="161" y="145"/>
                </a:lnTo>
                <a:lnTo>
                  <a:pt x="160" y="145"/>
                </a:lnTo>
                <a:lnTo>
                  <a:pt x="160" y="143"/>
                </a:lnTo>
                <a:lnTo>
                  <a:pt x="158" y="143"/>
                </a:lnTo>
                <a:lnTo>
                  <a:pt x="158" y="142"/>
                </a:lnTo>
                <a:lnTo>
                  <a:pt x="160" y="142"/>
                </a:lnTo>
                <a:lnTo>
                  <a:pt x="160" y="141"/>
                </a:lnTo>
                <a:lnTo>
                  <a:pt x="161" y="141"/>
                </a:lnTo>
                <a:lnTo>
                  <a:pt x="161" y="140"/>
                </a:lnTo>
                <a:close/>
                <a:moveTo>
                  <a:pt x="20" y="139"/>
                </a:moveTo>
                <a:lnTo>
                  <a:pt x="21" y="140"/>
                </a:lnTo>
                <a:lnTo>
                  <a:pt x="23" y="140"/>
                </a:lnTo>
                <a:lnTo>
                  <a:pt x="23" y="141"/>
                </a:lnTo>
                <a:lnTo>
                  <a:pt x="24" y="142"/>
                </a:lnTo>
                <a:lnTo>
                  <a:pt x="21" y="142"/>
                </a:lnTo>
                <a:lnTo>
                  <a:pt x="20" y="141"/>
                </a:lnTo>
                <a:lnTo>
                  <a:pt x="20" y="139"/>
                </a:lnTo>
                <a:close/>
                <a:moveTo>
                  <a:pt x="181" y="136"/>
                </a:moveTo>
                <a:lnTo>
                  <a:pt x="181" y="137"/>
                </a:lnTo>
                <a:lnTo>
                  <a:pt x="182" y="137"/>
                </a:lnTo>
                <a:lnTo>
                  <a:pt x="182" y="139"/>
                </a:lnTo>
                <a:lnTo>
                  <a:pt x="180" y="141"/>
                </a:lnTo>
                <a:lnTo>
                  <a:pt x="179" y="143"/>
                </a:lnTo>
                <a:lnTo>
                  <a:pt x="178" y="145"/>
                </a:lnTo>
                <a:lnTo>
                  <a:pt x="176" y="143"/>
                </a:lnTo>
                <a:lnTo>
                  <a:pt x="178" y="143"/>
                </a:lnTo>
                <a:lnTo>
                  <a:pt x="178" y="142"/>
                </a:lnTo>
                <a:lnTo>
                  <a:pt x="179" y="142"/>
                </a:lnTo>
                <a:lnTo>
                  <a:pt x="179" y="140"/>
                </a:lnTo>
                <a:lnTo>
                  <a:pt x="181" y="136"/>
                </a:lnTo>
                <a:close/>
                <a:moveTo>
                  <a:pt x="186" y="133"/>
                </a:moveTo>
                <a:lnTo>
                  <a:pt x="187" y="133"/>
                </a:lnTo>
                <a:lnTo>
                  <a:pt x="187" y="135"/>
                </a:lnTo>
                <a:lnTo>
                  <a:pt x="186" y="136"/>
                </a:lnTo>
                <a:lnTo>
                  <a:pt x="186" y="133"/>
                </a:lnTo>
                <a:close/>
                <a:moveTo>
                  <a:pt x="275" y="132"/>
                </a:moveTo>
                <a:lnTo>
                  <a:pt x="284" y="132"/>
                </a:lnTo>
                <a:lnTo>
                  <a:pt x="282" y="133"/>
                </a:lnTo>
                <a:lnTo>
                  <a:pt x="284" y="133"/>
                </a:lnTo>
                <a:lnTo>
                  <a:pt x="285" y="134"/>
                </a:lnTo>
                <a:lnTo>
                  <a:pt x="286" y="134"/>
                </a:lnTo>
                <a:lnTo>
                  <a:pt x="284" y="136"/>
                </a:lnTo>
                <a:lnTo>
                  <a:pt x="284" y="137"/>
                </a:lnTo>
                <a:lnTo>
                  <a:pt x="286" y="139"/>
                </a:lnTo>
                <a:lnTo>
                  <a:pt x="287" y="139"/>
                </a:lnTo>
                <a:lnTo>
                  <a:pt x="287" y="140"/>
                </a:lnTo>
                <a:lnTo>
                  <a:pt x="288" y="140"/>
                </a:lnTo>
                <a:lnTo>
                  <a:pt x="290" y="142"/>
                </a:lnTo>
                <a:lnTo>
                  <a:pt x="291" y="143"/>
                </a:lnTo>
                <a:lnTo>
                  <a:pt x="291" y="146"/>
                </a:lnTo>
                <a:lnTo>
                  <a:pt x="292" y="146"/>
                </a:lnTo>
                <a:lnTo>
                  <a:pt x="292" y="148"/>
                </a:lnTo>
                <a:lnTo>
                  <a:pt x="293" y="149"/>
                </a:lnTo>
                <a:lnTo>
                  <a:pt x="294" y="149"/>
                </a:lnTo>
                <a:lnTo>
                  <a:pt x="293" y="151"/>
                </a:lnTo>
                <a:lnTo>
                  <a:pt x="293" y="152"/>
                </a:lnTo>
                <a:lnTo>
                  <a:pt x="292" y="151"/>
                </a:lnTo>
                <a:lnTo>
                  <a:pt x="291" y="151"/>
                </a:lnTo>
                <a:lnTo>
                  <a:pt x="290" y="149"/>
                </a:lnTo>
                <a:lnTo>
                  <a:pt x="290" y="146"/>
                </a:lnTo>
                <a:lnTo>
                  <a:pt x="286" y="146"/>
                </a:lnTo>
                <a:lnTo>
                  <a:pt x="291" y="151"/>
                </a:lnTo>
                <a:lnTo>
                  <a:pt x="291" y="153"/>
                </a:lnTo>
                <a:lnTo>
                  <a:pt x="288" y="153"/>
                </a:lnTo>
                <a:lnTo>
                  <a:pt x="286" y="154"/>
                </a:lnTo>
                <a:lnTo>
                  <a:pt x="285" y="154"/>
                </a:lnTo>
                <a:lnTo>
                  <a:pt x="284" y="153"/>
                </a:lnTo>
                <a:lnTo>
                  <a:pt x="281" y="153"/>
                </a:lnTo>
                <a:lnTo>
                  <a:pt x="280" y="152"/>
                </a:lnTo>
                <a:lnTo>
                  <a:pt x="278" y="151"/>
                </a:lnTo>
                <a:lnTo>
                  <a:pt x="274" y="151"/>
                </a:lnTo>
                <a:lnTo>
                  <a:pt x="273" y="148"/>
                </a:lnTo>
                <a:lnTo>
                  <a:pt x="272" y="148"/>
                </a:lnTo>
                <a:lnTo>
                  <a:pt x="272" y="147"/>
                </a:lnTo>
                <a:lnTo>
                  <a:pt x="275" y="147"/>
                </a:lnTo>
                <a:lnTo>
                  <a:pt x="275" y="146"/>
                </a:lnTo>
                <a:lnTo>
                  <a:pt x="276" y="145"/>
                </a:lnTo>
                <a:lnTo>
                  <a:pt x="278" y="145"/>
                </a:lnTo>
                <a:lnTo>
                  <a:pt x="280" y="142"/>
                </a:lnTo>
                <a:lnTo>
                  <a:pt x="280" y="141"/>
                </a:lnTo>
                <a:lnTo>
                  <a:pt x="275" y="141"/>
                </a:lnTo>
                <a:lnTo>
                  <a:pt x="275" y="142"/>
                </a:lnTo>
                <a:lnTo>
                  <a:pt x="272" y="146"/>
                </a:lnTo>
                <a:lnTo>
                  <a:pt x="272" y="147"/>
                </a:lnTo>
                <a:lnTo>
                  <a:pt x="269" y="147"/>
                </a:lnTo>
                <a:lnTo>
                  <a:pt x="266" y="146"/>
                </a:lnTo>
                <a:lnTo>
                  <a:pt x="266" y="145"/>
                </a:lnTo>
                <a:lnTo>
                  <a:pt x="263" y="145"/>
                </a:lnTo>
                <a:lnTo>
                  <a:pt x="262" y="142"/>
                </a:lnTo>
                <a:lnTo>
                  <a:pt x="261" y="142"/>
                </a:lnTo>
                <a:lnTo>
                  <a:pt x="261" y="141"/>
                </a:lnTo>
                <a:lnTo>
                  <a:pt x="262" y="141"/>
                </a:lnTo>
                <a:lnTo>
                  <a:pt x="262" y="137"/>
                </a:lnTo>
                <a:lnTo>
                  <a:pt x="263" y="137"/>
                </a:lnTo>
                <a:lnTo>
                  <a:pt x="265" y="136"/>
                </a:lnTo>
                <a:lnTo>
                  <a:pt x="266" y="137"/>
                </a:lnTo>
                <a:lnTo>
                  <a:pt x="267" y="136"/>
                </a:lnTo>
                <a:lnTo>
                  <a:pt x="269" y="136"/>
                </a:lnTo>
                <a:lnTo>
                  <a:pt x="270" y="135"/>
                </a:lnTo>
                <a:lnTo>
                  <a:pt x="274" y="135"/>
                </a:lnTo>
                <a:lnTo>
                  <a:pt x="275" y="134"/>
                </a:lnTo>
                <a:lnTo>
                  <a:pt x="275" y="132"/>
                </a:lnTo>
                <a:close/>
                <a:moveTo>
                  <a:pt x="226" y="121"/>
                </a:moveTo>
                <a:lnTo>
                  <a:pt x="228" y="122"/>
                </a:lnTo>
                <a:lnTo>
                  <a:pt x="228" y="123"/>
                </a:lnTo>
                <a:lnTo>
                  <a:pt x="225" y="127"/>
                </a:lnTo>
                <a:lnTo>
                  <a:pt x="225" y="122"/>
                </a:lnTo>
                <a:lnTo>
                  <a:pt x="226" y="121"/>
                </a:lnTo>
                <a:close/>
                <a:moveTo>
                  <a:pt x="19" y="115"/>
                </a:moveTo>
                <a:lnTo>
                  <a:pt x="21" y="117"/>
                </a:lnTo>
                <a:lnTo>
                  <a:pt x="20" y="117"/>
                </a:lnTo>
                <a:lnTo>
                  <a:pt x="20" y="116"/>
                </a:lnTo>
                <a:lnTo>
                  <a:pt x="19" y="116"/>
                </a:lnTo>
                <a:lnTo>
                  <a:pt x="19" y="115"/>
                </a:lnTo>
                <a:close/>
                <a:moveTo>
                  <a:pt x="15" y="114"/>
                </a:moveTo>
                <a:lnTo>
                  <a:pt x="17" y="115"/>
                </a:lnTo>
                <a:lnTo>
                  <a:pt x="14" y="115"/>
                </a:lnTo>
                <a:lnTo>
                  <a:pt x="15" y="114"/>
                </a:lnTo>
                <a:close/>
                <a:moveTo>
                  <a:pt x="8" y="106"/>
                </a:moveTo>
                <a:lnTo>
                  <a:pt x="9" y="108"/>
                </a:lnTo>
                <a:lnTo>
                  <a:pt x="11" y="108"/>
                </a:lnTo>
                <a:lnTo>
                  <a:pt x="12" y="109"/>
                </a:lnTo>
                <a:lnTo>
                  <a:pt x="13" y="109"/>
                </a:lnTo>
                <a:lnTo>
                  <a:pt x="13" y="110"/>
                </a:lnTo>
                <a:lnTo>
                  <a:pt x="11" y="112"/>
                </a:lnTo>
                <a:lnTo>
                  <a:pt x="8" y="114"/>
                </a:lnTo>
                <a:lnTo>
                  <a:pt x="8" y="116"/>
                </a:lnTo>
                <a:lnTo>
                  <a:pt x="11" y="117"/>
                </a:lnTo>
                <a:lnTo>
                  <a:pt x="12" y="118"/>
                </a:lnTo>
                <a:lnTo>
                  <a:pt x="12" y="120"/>
                </a:lnTo>
                <a:lnTo>
                  <a:pt x="11" y="120"/>
                </a:lnTo>
                <a:lnTo>
                  <a:pt x="11" y="121"/>
                </a:lnTo>
                <a:lnTo>
                  <a:pt x="12" y="126"/>
                </a:lnTo>
                <a:lnTo>
                  <a:pt x="12" y="127"/>
                </a:lnTo>
                <a:lnTo>
                  <a:pt x="15" y="127"/>
                </a:lnTo>
                <a:lnTo>
                  <a:pt x="15" y="128"/>
                </a:lnTo>
                <a:lnTo>
                  <a:pt x="19" y="128"/>
                </a:lnTo>
                <a:lnTo>
                  <a:pt x="19" y="130"/>
                </a:lnTo>
                <a:lnTo>
                  <a:pt x="20" y="132"/>
                </a:lnTo>
                <a:lnTo>
                  <a:pt x="19" y="133"/>
                </a:lnTo>
                <a:lnTo>
                  <a:pt x="19" y="132"/>
                </a:lnTo>
                <a:lnTo>
                  <a:pt x="18" y="132"/>
                </a:lnTo>
                <a:lnTo>
                  <a:pt x="17" y="130"/>
                </a:lnTo>
                <a:lnTo>
                  <a:pt x="14" y="130"/>
                </a:lnTo>
                <a:lnTo>
                  <a:pt x="13" y="129"/>
                </a:lnTo>
                <a:lnTo>
                  <a:pt x="11" y="129"/>
                </a:lnTo>
                <a:lnTo>
                  <a:pt x="11" y="128"/>
                </a:lnTo>
                <a:lnTo>
                  <a:pt x="12" y="128"/>
                </a:lnTo>
                <a:lnTo>
                  <a:pt x="11" y="127"/>
                </a:lnTo>
                <a:lnTo>
                  <a:pt x="9" y="127"/>
                </a:lnTo>
                <a:lnTo>
                  <a:pt x="8" y="126"/>
                </a:lnTo>
                <a:lnTo>
                  <a:pt x="8" y="122"/>
                </a:lnTo>
                <a:lnTo>
                  <a:pt x="7" y="121"/>
                </a:lnTo>
                <a:lnTo>
                  <a:pt x="7" y="120"/>
                </a:lnTo>
                <a:lnTo>
                  <a:pt x="6" y="120"/>
                </a:lnTo>
                <a:lnTo>
                  <a:pt x="5" y="118"/>
                </a:lnTo>
                <a:lnTo>
                  <a:pt x="3" y="116"/>
                </a:lnTo>
                <a:lnTo>
                  <a:pt x="2" y="115"/>
                </a:lnTo>
                <a:lnTo>
                  <a:pt x="1" y="115"/>
                </a:lnTo>
                <a:lnTo>
                  <a:pt x="1" y="112"/>
                </a:lnTo>
                <a:lnTo>
                  <a:pt x="0" y="114"/>
                </a:lnTo>
                <a:lnTo>
                  <a:pt x="0" y="109"/>
                </a:lnTo>
                <a:lnTo>
                  <a:pt x="5" y="109"/>
                </a:lnTo>
                <a:lnTo>
                  <a:pt x="6" y="108"/>
                </a:lnTo>
                <a:lnTo>
                  <a:pt x="7" y="108"/>
                </a:lnTo>
                <a:lnTo>
                  <a:pt x="8" y="106"/>
                </a:lnTo>
                <a:close/>
                <a:moveTo>
                  <a:pt x="242" y="96"/>
                </a:moveTo>
                <a:lnTo>
                  <a:pt x="244" y="96"/>
                </a:lnTo>
                <a:lnTo>
                  <a:pt x="244" y="98"/>
                </a:lnTo>
                <a:lnTo>
                  <a:pt x="242" y="100"/>
                </a:lnTo>
                <a:lnTo>
                  <a:pt x="242" y="102"/>
                </a:lnTo>
                <a:lnTo>
                  <a:pt x="241" y="102"/>
                </a:lnTo>
                <a:lnTo>
                  <a:pt x="241" y="104"/>
                </a:lnTo>
                <a:lnTo>
                  <a:pt x="239" y="104"/>
                </a:lnTo>
                <a:lnTo>
                  <a:pt x="241" y="105"/>
                </a:lnTo>
                <a:lnTo>
                  <a:pt x="241" y="106"/>
                </a:lnTo>
                <a:lnTo>
                  <a:pt x="242" y="108"/>
                </a:lnTo>
                <a:lnTo>
                  <a:pt x="241" y="108"/>
                </a:lnTo>
                <a:lnTo>
                  <a:pt x="241" y="109"/>
                </a:lnTo>
                <a:lnTo>
                  <a:pt x="239" y="109"/>
                </a:lnTo>
                <a:lnTo>
                  <a:pt x="238" y="108"/>
                </a:lnTo>
                <a:lnTo>
                  <a:pt x="238" y="106"/>
                </a:lnTo>
                <a:lnTo>
                  <a:pt x="237" y="106"/>
                </a:lnTo>
                <a:lnTo>
                  <a:pt x="237" y="105"/>
                </a:lnTo>
                <a:lnTo>
                  <a:pt x="236" y="105"/>
                </a:lnTo>
                <a:lnTo>
                  <a:pt x="237" y="104"/>
                </a:lnTo>
                <a:lnTo>
                  <a:pt x="237" y="102"/>
                </a:lnTo>
                <a:lnTo>
                  <a:pt x="236" y="102"/>
                </a:lnTo>
                <a:lnTo>
                  <a:pt x="234" y="103"/>
                </a:lnTo>
                <a:lnTo>
                  <a:pt x="235" y="103"/>
                </a:lnTo>
                <a:lnTo>
                  <a:pt x="235" y="104"/>
                </a:lnTo>
                <a:lnTo>
                  <a:pt x="234" y="104"/>
                </a:lnTo>
                <a:lnTo>
                  <a:pt x="234" y="105"/>
                </a:lnTo>
                <a:lnTo>
                  <a:pt x="235" y="106"/>
                </a:lnTo>
                <a:lnTo>
                  <a:pt x="235" y="108"/>
                </a:lnTo>
                <a:lnTo>
                  <a:pt x="232" y="108"/>
                </a:lnTo>
                <a:lnTo>
                  <a:pt x="232" y="105"/>
                </a:lnTo>
                <a:lnTo>
                  <a:pt x="231" y="105"/>
                </a:lnTo>
                <a:lnTo>
                  <a:pt x="229" y="106"/>
                </a:lnTo>
                <a:lnTo>
                  <a:pt x="228" y="106"/>
                </a:lnTo>
                <a:lnTo>
                  <a:pt x="228" y="104"/>
                </a:lnTo>
                <a:lnTo>
                  <a:pt x="229" y="104"/>
                </a:lnTo>
                <a:lnTo>
                  <a:pt x="229" y="102"/>
                </a:lnTo>
                <a:lnTo>
                  <a:pt x="228" y="100"/>
                </a:lnTo>
                <a:lnTo>
                  <a:pt x="228" y="98"/>
                </a:lnTo>
                <a:lnTo>
                  <a:pt x="229" y="98"/>
                </a:lnTo>
                <a:lnTo>
                  <a:pt x="231" y="97"/>
                </a:lnTo>
                <a:lnTo>
                  <a:pt x="232" y="97"/>
                </a:lnTo>
                <a:lnTo>
                  <a:pt x="232" y="98"/>
                </a:lnTo>
                <a:lnTo>
                  <a:pt x="234" y="98"/>
                </a:lnTo>
                <a:lnTo>
                  <a:pt x="235" y="97"/>
                </a:lnTo>
                <a:lnTo>
                  <a:pt x="236" y="97"/>
                </a:lnTo>
                <a:lnTo>
                  <a:pt x="237" y="98"/>
                </a:lnTo>
                <a:lnTo>
                  <a:pt x="237" y="99"/>
                </a:lnTo>
                <a:lnTo>
                  <a:pt x="239" y="99"/>
                </a:lnTo>
                <a:lnTo>
                  <a:pt x="242" y="97"/>
                </a:lnTo>
                <a:lnTo>
                  <a:pt x="242" y="96"/>
                </a:lnTo>
                <a:close/>
                <a:moveTo>
                  <a:pt x="248" y="69"/>
                </a:moveTo>
                <a:lnTo>
                  <a:pt x="254" y="69"/>
                </a:lnTo>
                <a:lnTo>
                  <a:pt x="254" y="71"/>
                </a:lnTo>
                <a:lnTo>
                  <a:pt x="255" y="71"/>
                </a:lnTo>
                <a:lnTo>
                  <a:pt x="255" y="74"/>
                </a:lnTo>
                <a:lnTo>
                  <a:pt x="250" y="75"/>
                </a:lnTo>
                <a:lnTo>
                  <a:pt x="248" y="74"/>
                </a:lnTo>
                <a:lnTo>
                  <a:pt x="245" y="72"/>
                </a:lnTo>
                <a:lnTo>
                  <a:pt x="244" y="72"/>
                </a:lnTo>
                <a:lnTo>
                  <a:pt x="244" y="71"/>
                </a:lnTo>
                <a:lnTo>
                  <a:pt x="245" y="71"/>
                </a:lnTo>
                <a:lnTo>
                  <a:pt x="248" y="69"/>
                </a:lnTo>
                <a:close/>
                <a:moveTo>
                  <a:pt x="211" y="53"/>
                </a:moveTo>
                <a:lnTo>
                  <a:pt x="212" y="54"/>
                </a:lnTo>
                <a:lnTo>
                  <a:pt x="214" y="54"/>
                </a:lnTo>
                <a:lnTo>
                  <a:pt x="214" y="55"/>
                </a:lnTo>
                <a:lnTo>
                  <a:pt x="216" y="55"/>
                </a:lnTo>
                <a:lnTo>
                  <a:pt x="216" y="57"/>
                </a:lnTo>
                <a:lnTo>
                  <a:pt x="217" y="59"/>
                </a:lnTo>
                <a:lnTo>
                  <a:pt x="217" y="60"/>
                </a:lnTo>
                <a:lnTo>
                  <a:pt x="216" y="60"/>
                </a:lnTo>
                <a:lnTo>
                  <a:pt x="216" y="62"/>
                </a:lnTo>
                <a:lnTo>
                  <a:pt x="217" y="62"/>
                </a:lnTo>
                <a:lnTo>
                  <a:pt x="217" y="63"/>
                </a:lnTo>
                <a:lnTo>
                  <a:pt x="214" y="63"/>
                </a:lnTo>
                <a:lnTo>
                  <a:pt x="214" y="65"/>
                </a:lnTo>
                <a:lnTo>
                  <a:pt x="212" y="65"/>
                </a:lnTo>
                <a:lnTo>
                  <a:pt x="211" y="66"/>
                </a:lnTo>
                <a:lnTo>
                  <a:pt x="210" y="65"/>
                </a:lnTo>
                <a:lnTo>
                  <a:pt x="208" y="65"/>
                </a:lnTo>
                <a:lnTo>
                  <a:pt x="208" y="63"/>
                </a:lnTo>
                <a:lnTo>
                  <a:pt x="207" y="62"/>
                </a:lnTo>
                <a:lnTo>
                  <a:pt x="205" y="62"/>
                </a:lnTo>
                <a:lnTo>
                  <a:pt x="205" y="59"/>
                </a:lnTo>
                <a:lnTo>
                  <a:pt x="206" y="57"/>
                </a:lnTo>
                <a:lnTo>
                  <a:pt x="207" y="55"/>
                </a:lnTo>
                <a:lnTo>
                  <a:pt x="211" y="53"/>
                </a:lnTo>
                <a:close/>
                <a:moveTo>
                  <a:pt x="276" y="0"/>
                </a:moveTo>
                <a:lnTo>
                  <a:pt x="278" y="0"/>
                </a:lnTo>
                <a:lnTo>
                  <a:pt x="279" y="1"/>
                </a:lnTo>
                <a:lnTo>
                  <a:pt x="280" y="1"/>
                </a:lnTo>
                <a:lnTo>
                  <a:pt x="280" y="3"/>
                </a:lnTo>
                <a:lnTo>
                  <a:pt x="282" y="3"/>
                </a:lnTo>
                <a:lnTo>
                  <a:pt x="284" y="1"/>
                </a:lnTo>
                <a:lnTo>
                  <a:pt x="284" y="3"/>
                </a:lnTo>
                <a:lnTo>
                  <a:pt x="285" y="4"/>
                </a:lnTo>
                <a:lnTo>
                  <a:pt x="288" y="4"/>
                </a:lnTo>
                <a:lnTo>
                  <a:pt x="288" y="5"/>
                </a:lnTo>
                <a:lnTo>
                  <a:pt x="287" y="6"/>
                </a:lnTo>
                <a:lnTo>
                  <a:pt x="292" y="8"/>
                </a:lnTo>
                <a:lnTo>
                  <a:pt x="293" y="7"/>
                </a:lnTo>
                <a:lnTo>
                  <a:pt x="293" y="13"/>
                </a:lnTo>
                <a:lnTo>
                  <a:pt x="294" y="16"/>
                </a:lnTo>
                <a:lnTo>
                  <a:pt x="294" y="23"/>
                </a:lnTo>
                <a:lnTo>
                  <a:pt x="293" y="24"/>
                </a:lnTo>
                <a:lnTo>
                  <a:pt x="292" y="23"/>
                </a:lnTo>
                <a:lnTo>
                  <a:pt x="291" y="23"/>
                </a:lnTo>
                <a:lnTo>
                  <a:pt x="288" y="24"/>
                </a:lnTo>
                <a:lnTo>
                  <a:pt x="288" y="25"/>
                </a:lnTo>
                <a:lnTo>
                  <a:pt x="287" y="25"/>
                </a:lnTo>
                <a:lnTo>
                  <a:pt x="285" y="28"/>
                </a:lnTo>
                <a:lnTo>
                  <a:pt x="282" y="28"/>
                </a:lnTo>
                <a:lnTo>
                  <a:pt x="281" y="29"/>
                </a:lnTo>
                <a:lnTo>
                  <a:pt x="282" y="29"/>
                </a:lnTo>
                <a:lnTo>
                  <a:pt x="281" y="30"/>
                </a:lnTo>
                <a:lnTo>
                  <a:pt x="281" y="32"/>
                </a:lnTo>
                <a:lnTo>
                  <a:pt x="282" y="34"/>
                </a:lnTo>
                <a:lnTo>
                  <a:pt x="281" y="35"/>
                </a:lnTo>
                <a:lnTo>
                  <a:pt x="282" y="35"/>
                </a:lnTo>
                <a:lnTo>
                  <a:pt x="282" y="36"/>
                </a:lnTo>
                <a:lnTo>
                  <a:pt x="281" y="37"/>
                </a:lnTo>
                <a:lnTo>
                  <a:pt x="281" y="38"/>
                </a:lnTo>
                <a:lnTo>
                  <a:pt x="284" y="41"/>
                </a:lnTo>
                <a:lnTo>
                  <a:pt x="284" y="42"/>
                </a:lnTo>
                <a:lnTo>
                  <a:pt x="282" y="42"/>
                </a:lnTo>
                <a:lnTo>
                  <a:pt x="282" y="46"/>
                </a:lnTo>
                <a:lnTo>
                  <a:pt x="280" y="46"/>
                </a:lnTo>
                <a:lnTo>
                  <a:pt x="280" y="47"/>
                </a:lnTo>
                <a:lnTo>
                  <a:pt x="279" y="47"/>
                </a:lnTo>
                <a:lnTo>
                  <a:pt x="279" y="48"/>
                </a:lnTo>
                <a:lnTo>
                  <a:pt x="278" y="48"/>
                </a:lnTo>
                <a:lnTo>
                  <a:pt x="278" y="49"/>
                </a:lnTo>
                <a:lnTo>
                  <a:pt x="276" y="49"/>
                </a:lnTo>
                <a:lnTo>
                  <a:pt x="276" y="50"/>
                </a:lnTo>
                <a:lnTo>
                  <a:pt x="274" y="53"/>
                </a:lnTo>
                <a:lnTo>
                  <a:pt x="274" y="55"/>
                </a:lnTo>
                <a:lnTo>
                  <a:pt x="273" y="56"/>
                </a:lnTo>
                <a:lnTo>
                  <a:pt x="270" y="56"/>
                </a:lnTo>
                <a:lnTo>
                  <a:pt x="269" y="55"/>
                </a:lnTo>
                <a:lnTo>
                  <a:pt x="269" y="54"/>
                </a:lnTo>
                <a:lnTo>
                  <a:pt x="268" y="53"/>
                </a:lnTo>
                <a:lnTo>
                  <a:pt x="270" y="53"/>
                </a:lnTo>
                <a:lnTo>
                  <a:pt x="270" y="51"/>
                </a:lnTo>
                <a:lnTo>
                  <a:pt x="268" y="51"/>
                </a:lnTo>
                <a:lnTo>
                  <a:pt x="268" y="53"/>
                </a:lnTo>
                <a:lnTo>
                  <a:pt x="266" y="50"/>
                </a:lnTo>
                <a:lnTo>
                  <a:pt x="255" y="50"/>
                </a:lnTo>
                <a:lnTo>
                  <a:pt x="253" y="49"/>
                </a:lnTo>
                <a:lnTo>
                  <a:pt x="248" y="49"/>
                </a:lnTo>
                <a:lnTo>
                  <a:pt x="247" y="48"/>
                </a:lnTo>
                <a:lnTo>
                  <a:pt x="244" y="47"/>
                </a:lnTo>
                <a:lnTo>
                  <a:pt x="242" y="47"/>
                </a:lnTo>
                <a:lnTo>
                  <a:pt x="241" y="46"/>
                </a:lnTo>
                <a:lnTo>
                  <a:pt x="238" y="44"/>
                </a:lnTo>
                <a:lnTo>
                  <a:pt x="237" y="46"/>
                </a:lnTo>
                <a:lnTo>
                  <a:pt x="234" y="46"/>
                </a:lnTo>
                <a:lnTo>
                  <a:pt x="232" y="44"/>
                </a:lnTo>
                <a:lnTo>
                  <a:pt x="231" y="44"/>
                </a:lnTo>
                <a:lnTo>
                  <a:pt x="231" y="43"/>
                </a:lnTo>
                <a:lnTo>
                  <a:pt x="232" y="43"/>
                </a:lnTo>
                <a:lnTo>
                  <a:pt x="232" y="42"/>
                </a:lnTo>
                <a:lnTo>
                  <a:pt x="228" y="42"/>
                </a:lnTo>
                <a:lnTo>
                  <a:pt x="228" y="43"/>
                </a:lnTo>
                <a:lnTo>
                  <a:pt x="226" y="43"/>
                </a:lnTo>
                <a:lnTo>
                  <a:pt x="225" y="44"/>
                </a:lnTo>
                <a:lnTo>
                  <a:pt x="225" y="46"/>
                </a:lnTo>
                <a:lnTo>
                  <a:pt x="223" y="46"/>
                </a:lnTo>
                <a:lnTo>
                  <a:pt x="222" y="47"/>
                </a:lnTo>
                <a:lnTo>
                  <a:pt x="220" y="47"/>
                </a:lnTo>
                <a:lnTo>
                  <a:pt x="219" y="49"/>
                </a:lnTo>
                <a:lnTo>
                  <a:pt x="217" y="50"/>
                </a:lnTo>
                <a:lnTo>
                  <a:pt x="216" y="49"/>
                </a:lnTo>
                <a:lnTo>
                  <a:pt x="214" y="50"/>
                </a:lnTo>
                <a:lnTo>
                  <a:pt x="213" y="50"/>
                </a:lnTo>
                <a:lnTo>
                  <a:pt x="213" y="49"/>
                </a:lnTo>
                <a:lnTo>
                  <a:pt x="211" y="49"/>
                </a:lnTo>
                <a:lnTo>
                  <a:pt x="211" y="50"/>
                </a:lnTo>
                <a:lnTo>
                  <a:pt x="210" y="50"/>
                </a:lnTo>
                <a:lnTo>
                  <a:pt x="210" y="48"/>
                </a:lnTo>
                <a:lnTo>
                  <a:pt x="208" y="48"/>
                </a:lnTo>
                <a:lnTo>
                  <a:pt x="208" y="47"/>
                </a:lnTo>
                <a:lnTo>
                  <a:pt x="207" y="46"/>
                </a:lnTo>
                <a:lnTo>
                  <a:pt x="207" y="44"/>
                </a:lnTo>
                <a:lnTo>
                  <a:pt x="204" y="44"/>
                </a:lnTo>
                <a:lnTo>
                  <a:pt x="203" y="46"/>
                </a:lnTo>
                <a:lnTo>
                  <a:pt x="203" y="44"/>
                </a:lnTo>
                <a:lnTo>
                  <a:pt x="201" y="46"/>
                </a:lnTo>
                <a:lnTo>
                  <a:pt x="200" y="46"/>
                </a:lnTo>
                <a:lnTo>
                  <a:pt x="197" y="49"/>
                </a:lnTo>
                <a:lnTo>
                  <a:pt x="198" y="49"/>
                </a:lnTo>
                <a:lnTo>
                  <a:pt x="198" y="50"/>
                </a:lnTo>
                <a:lnTo>
                  <a:pt x="197" y="50"/>
                </a:lnTo>
                <a:lnTo>
                  <a:pt x="197" y="51"/>
                </a:lnTo>
                <a:lnTo>
                  <a:pt x="198" y="51"/>
                </a:lnTo>
                <a:lnTo>
                  <a:pt x="193" y="55"/>
                </a:lnTo>
                <a:lnTo>
                  <a:pt x="188" y="57"/>
                </a:lnTo>
                <a:lnTo>
                  <a:pt x="183" y="57"/>
                </a:lnTo>
                <a:lnTo>
                  <a:pt x="179" y="54"/>
                </a:lnTo>
                <a:lnTo>
                  <a:pt x="175" y="54"/>
                </a:lnTo>
                <a:lnTo>
                  <a:pt x="173" y="55"/>
                </a:lnTo>
                <a:lnTo>
                  <a:pt x="173" y="56"/>
                </a:lnTo>
                <a:lnTo>
                  <a:pt x="172" y="56"/>
                </a:lnTo>
                <a:lnTo>
                  <a:pt x="170" y="57"/>
                </a:lnTo>
                <a:lnTo>
                  <a:pt x="170" y="60"/>
                </a:lnTo>
                <a:lnTo>
                  <a:pt x="172" y="61"/>
                </a:lnTo>
                <a:lnTo>
                  <a:pt x="173" y="61"/>
                </a:lnTo>
                <a:lnTo>
                  <a:pt x="173" y="62"/>
                </a:lnTo>
                <a:lnTo>
                  <a:pt x="174" y="62"/>
                </a:lnTo>
                <a:lnTo>
                  <a:pt x="174" y="63"/>
                </a:lnTo>
                <a:lnTo>
                  <a:pt x="178" y="67"/>
                </a:lnTo>
                <a:lnTo>
                  <a:pt x="179" y="67"/>
                </a:lnTo>
                <a:lnTo>
                  <a:pt x="180" y="68"/>
                </a:lnTo>
                <a:lnTo>
                  <a:pt x="176" y="68"/>
                </a:lnTo>
                <a:lnTo>
                  <a:pt x="176" y="72"/>
                </a:lnTo>
                <a:lnTo>
                  <a:pt x="178" y="74"/>
                </a:lnTo>
                <a:lnTo>
                  <a:pt x="179" y="75"/>
                </a:lnTo>
                <a:lnTo>
                  <a:pt x="180" y="75"/>
                </a:lnTo>
                <a:lnTo>
                  <a:pt x="181" y="77"/>
                </a:lnTo>
                <a:lnTo>
                  <a:pt x="183" y="77"/>
                </a:lnTo>
                <a:lnTo>
                  <a:pt x="183" y="73"/>
                </a:lnTo>
                <a:lnTo>
                  <a:pt x="185" y="73"/>
                </a:lnTo>
                <a:lnTo>
                  <a:pt x="186" y="75"/>
                </a:lnTo>
                <a:lnTo>
                  <a:pt x="186" y="77"/>
                </a:lnTo>
                <a:lnTo>
                  <a:pt x="187" y="78"/>
                </a:lnTo>
                <a:lnTo>
                  <a:pt x="192" y="78"/>
                </a:lnTo>
                <a:lnTo>
                  <a:pt x="192" y="80"/>
                </a:lnTo>
                <a:lnTo>
                  <a:pt x="193" y="80"/>
                </a:lnTo>
                <a:lnTo>
                  <a:pt x="194" y="81"/>
                </a:lnTo>
                <a:lnTo>
                  <a:pt x="197" y="85"/>
                </a:lnTo>
                <a:lnTo>
                  <a:pt x="200" y="87"/>
                </a:lnTo>
                <a:lnTo>
                  <a:pt x="200" y="89"/>
                </a:lnTo>
                <a:lnTo>
                  <a:pt x="199" y="90"/>
                </a:lnTo>
                <a:lnTo>
                  <a:pt x="197" y="91"/>
                </a:lnTo>
                <a:lnTo>
                  <a:pt x="195" y="90"/>
                </a:lnTo>
                <a:lnTo>
                  <a:pt x="195" y="89"/>
                </a:lnTo>
                <a:lnTo>
                  <a:pt x="194" y="87"/>
                </a:lnTo>
                <a:lnTo>
                  <a:pt x="193" y="87"/>
                </a:lnTo>
                <a:lnTo>
                  <a:pt x="193" y="85"/>
                </a:lnTo>
                <a:lnTo>
                  <a:pt x="189" y="81"/>
                </a:lnTo>
                <a:lnTo>
                  <a:pt x="186" y="81"/>
                </a:lnTo>
                <a:lnTo>
                  <a:pt x="182" y="78"/>
                </a:lnTo>
                <a:lnTo>
                  <a:pt x="181" y="78"/>
                </a:lnTo>
                <a:lnTo>
                  <a:pt x="180" y="77"/>
                </a:lnTo>
                <a:lnTo>
                  <a:pt x="179" y="78"/>
                </a:lnTo>
                <a:lnTo>
                  <a:pt x="178" y="77"/>
                </a:lnTo>
                <a:lnTo>
                  <a:pt x="176" y="77"/>
                </a:lnTo>
                <a:lnTo>
                  <a:pt x="174" y="78"/>
                </a:lnTo>
                <a:lnTo>
                  <a:pt x="172" y="78"/>
                </a:lnTo>
                <a:lnTo>
                  <a:pt x="170" y="79"/>
                </a:lnTo>
                <a:lnTo>
                  <a:pt x="170" y="81"/>
                </a:lnTo>
                <a:lnTo>
                  <a:pt x="172" y="83"/>
                </a:lnTo>
                <a:lnTo>
                  <a:pt x="172" y="84"/>
                </a:lnTo>
                <a:lnTo>
                  <a:pt x="173" y="85"/>
                </a:lnTo>
                <a:lnTo>
                  <a:pt x="174" y="85"/>
                </a:lnTo>
                <a:lnTo>
                  <a:pt x="174" y="86"/>
                </a:lnTo>
                <a:lnTo>
                  <a:pt x="175" y="86"/>
                </a:lnTo>
                <a:lnTo>
                  <a:pt x="178" y="87"/>
                </a:lnTo>
                <a:lnTo>
                  <a:pt x="179" y="87"/>
                </a:lnTo>
                <a:lnTo>
                  <a:pt x="179" y="89"/>
                </a:lnTo>
                <a:lnTo>
                  <a:pt x="180" y="89"/>
                </a:lnTo>
                <a:lnTo>
                  <a:pt x="180" y="90"/>
                </a:lnTo>
                <a:lnTo>
                  <a:pt x="182" y="90"/>
                </a:lnTo>
                <a:lnTo>
                  <a:pt x="183" y="91"/>
                </a:lnTo>
                <a:lnTo>
                  <a:pt x="182" y="92"/>
                </a:lnTo>
                <a:lnTo>
                  <a:pt x="182" y="93"/>
                </a:lnTo>
                <a:lnTo>
                  <a:pt x="183" y="93"/>
                </a:lnTo>
                <a:lnTo>
                  <a:pt x="183" y="96"/>
                </a:lnTo>
                <a:lnTo>
                  <a:pt x="185" y="96"/>
                </a:lnTo>
                <a:lnTo>
                  <a:pt x="185" y="97"/>
                </a:lnTo>
                <a:lnTo>
                  <a:pt x="183" y="97"/>
                </a:lnTo>
                <a:lnTo>
                  <a:pt x="183" y="100"/>
                </a:lnTo>
                <a:lnTo>
                  <a:pt x="181" y="100"/>
                </a:lnTo>
                <a:lnTo>
                  <a:pt x="179" y="98"/>
                </a:lnTo>
                <a:lnTo>
                  <a:pt x="180" y="98"/>
                </a:lnTo>
                <a:lnTo>
                  <a:pt x="178" y="97"/>
                </a:lnTo>
                <a:lnTo>
                  <a:pt x="178" y="96"/>
                </a:lnTo>
                <a:lnTo>
                  <a:pt x="176" y="96"/>
                </a:lnTo>
                <a:lnTo>
                  <a:pt x="176" y="97"/>
                </a:lnTo>
                <a:lnTo>
                  <a:pt x="175" y="94"/>
                </a:lnTo>
                <a:lnTo>
                  <a:pt x="174" y="93"/>
                </a:lnTo>
                <a:lnTo>
                  <a:pt x="175" y="93"/>
                </a:lnTo>
                <a:lnTo>
                  <a:pt x="175" y="92"/>
                </a:lnTo>
                <a:lnTo>
                  <a:pt x="174" y="92"/>
                </a:lnTo>
                <a:lnTo>
                  <a:pt x="174" y="91"/>
                </a:lnTo>
                <a:lnTo>
                  <a:pt x="170" y="85"/>
                </a:lnTo>
                <a:lnTo>
                  <a:pt x="168" y="85"/>
                </a:lnTo>
                <a:lnTo>
                  <a:pt x="168" y="84"/>
                </a:lnTo>
                <a:lnTo>
                  <a:pt x="164" y="84"/>
                </a:lnTo>
                <a:lnTo>
                  <a:pt x="162" y="83"/>
                </a:lnTo>
                <a:lnTo>
                  <a:pt x="157" y="83"/>
                </a:lnTo>
                <a:lnTo>
                  <a:pt x="156" y="85"/>
                </a:lnTo>
                <a:lnTo>
                  <a:pt x="156" y="89"/>
                </a:lnTo>
                <a:lnTo>
                  <a:pt x="157" y="89"/>
                </a:lnTo>
                <a:lnTo>
                  <a:pt x="157" y="90"/>
                </a:lnTo>
                <a:lnTo>
                  <a:pt x="158" y="90"/>
                </a:lnTo>
                <a:lnTo>
                  <a:pt x="158" y="91"/>
                </a:lnTo>
                <a:lnTo>
                  <a:pt x="162" y="94"/>
                </a:lnTo>
                <a:lnTo>
                  <a:pt x="169" y="98"/>
                </a:lnTo>
                <a:lnTo>
                  <a:pt x="169" y="99"/>
                </a:lnTo>
                <a:lnTo>
                  <a:pt x="170" y="99"/>
                </a:lnTo>
                <a:lnTo>
                  <a:pt x="170" y="100"/>
                </a:lnTo>
                <a:lnTo>
                  <a:pt x="173" y="100"/>
                </a:lnTo>
                <a:lnTo>
                  <a:pt x="173" y="102"/>
                </a:lnTo>
                <a:lnTo>
                  <a:pt x="167" y="102"/>
                </a:lnTo>
                <a:lnTo>
                  <a:pt x="161" y="99"/>
                </a:lnTo>
                <a:lnTo>
                  <a:pt x="157" y="99"/>
                </a:lnTo>
                <a:lnTo>
                  <a:pt x="157" y="96"/>
                </a:lnTo>
                <a:lnTo>
                  <a:pt x="156" y="96"/>
                </a:lnTo>
                <a:lnTo>
                  <a:pt x="156" y="93"/>
                </a:lnTo>
                <a:lnTo>
                  <a:pt x="155" y="92"/>
                </a:lnTo>
                <a:lnTo>
                  <a:pt x="154" y="92"/>
                </a:lnTo>
                <a:lnTo>
                  <a:pt x="155" y="90"/>
                </a:lnTo>
                <a:lnTo>
                  <a:pt x="155" y="86"/>
                </a:lnTo>
                <a:lnTo>
                  <a:pt x="151" y="83"/>
                </a:lnTo>
                <a:lnTo>
                  <a:pt x="148" y="83"/>
                </a:lnTo>
                <a:lnTo>
                  <a:pt x="145" y="80"/>
                </a:lnTo>
                <a:lnTo>
                  <a:pt x="144" y="80"/>
                </a:lnTo>
                <a:lnTo>
                  <a:pt x="142" y="78"/>
                </a:lnTo>
                <a:lnTo>
                  <a:pt x="139" y="77"/>
                </a:lnTo>
                <a:lnTo>
                  <a:pt x="138" y="75"/>
                </a:lnTo>
                <a:lnTo>
                  <a:pt x="137" y="77"/>
                </a:lnTo>
                <a:lnTo>
                  <a:pt x="137" y="74"/>
                </a:lnTo>
                <a:lnTo>
                  <a:pt x="136" y="73"/>
                </a:lnTo>
                <a:lnTo>
                  <a:pt x="136" y="72"/>
                </a:lnTo>
                <a:lnTo>
                  <a:pt x="133" y="69"/>
                </a:lnTo>
                <a:lnTo>
                  <a:pt x="139" y="69"/>
                </a:lnTo>
                <a:lnTo>
                  <a:pt x="139" y="68"/>
                </a:lnTo>
                <a:lnTo>
                  <a:pt x="141" y="67"/>
                </a:lnTo>
                <a:lnTo>
                  <a:pt x="141" y="66"/>
                </a:lnTo>
                <a:lnTo>
                  <a:pt x="139" y="65"/>
                </a:lnTo>
                <a:lnTo>
                  <a:pt x="139" y="63"/>
                </a:lnTo>
                <a:lnTo>
                  <a:pt x="138" y="62"/>
                </a:lnTo>
                <a:lnTo>
                  <a:pt x="137" y="62"/>
                </a:lnTo>
                <a:lnTo>
                  <a:pt x="137" y="61"/>
                </a:lnTo>
                <a:lnTo>
                  <a:pt x="135" y="62"/>
                </a:lnTo>
                <a:lnTo>
                  <a:pt x="136" y="63"/>
                </a:lnTo>
                <a:lnTo>
                  <a:pt x="133" y="66"/>
                </a:lnTo>
                <a:lnTo>
                  <a:pt x="131" y="66"/>
                </a:lnTo>
                <a:lnTo>
                  <a:pt x="131" y="68"/>
                </a:lnTo>
                <a:lnTo>
                  <a:pt x="130" y="68"/>
                </a:lnTo>
                <a:lnTo>
                  <a:pt x="130" y="69"/>
                </a:lnTo>
                <a:lnTo>
                  <a:pt x="129" y="69"/>
                </a:lnTo>
                <a:lnTo>
                  <a:pt x="129" y="68"/>
                </a:lnTo>
                <a:lnTo>
                  <a:pt x="127" y="68"/>
                </a:lnTo>
                <a:lnTo>
                  <a:pt x="127" y="71"/>
                </a:lnTo>
                <a:lnTo>
                  <a:pt x="124" y="71"/>
                </a:lnTo>
                <a:lnTo>
                  <a:pt x="124" y="72"/>
                </a:lnTo>
                <a:lnTo>
                  <a:pt x="125" y="73"/>
                </a:lnTo>
                <a:lnTo>
                  <a:pt x="125" y="75"/>
                </a:lnTo>
                <a:lnTo>
                  <a:pt x="126" y="77"/>
                </a:lnTo>
                <a:lnTo>
                  <a:pt x="127" y="77"/>
                </a:lnTo>
                <a:lnTo>
                  <a:pt x="126" y="78"/>
                </a:lnTo>
                <a:lnTo>
                  <a:pt x="125" y="80"/>
                </a:lnTo>
                <a:lnTo>
                  <a:pt x="124" y="84"/>
                </a:lnTo>
                <a:lnTo>
                  <a:pt x="124" y="85"/>
                </a:lnTo>
                <a:lnTo>
                  <a:pt x="123" y="89"/>
                </a:lnTo>
                <a:lnTo>
                  <a:pt x="123" y="91"/>
                </a:lnTo>
                <a:lnTo>
                  <a:pt x="124" y="92"/>
                </a:lnTo>
                <a:lnTo>
                  <a:pt x="123" y="93"/>
                </a:lnTo>
                <a:lnTo>
                  <a:pt x="123" y="94"/>
                </a:lnTo>
                <a:lnTo>
                  <a:pt x="124" y="94"/>
                </a:lnTo>
                <a:lnTo>
                  <a:pt x="124" y="97"/>
                </a:lnTo>
                <a:lnTo>
                  <a:pt x="126" y="98"/>
                </a:lnTo>
                <a:lnTo>
                  <a:pt x="127" y="98"/>
                </a:lnTo>
                <a:lnTo>
                  <a:pt x="127" y="99"/>
                </a:lnTo>
                <a:lnTo>
                  <a:pt x="129" y="99"/>
                </a:lnTo>
                <a:lnTo>
                  <a:pt x="129" y="100"/>
                </a:lnTo>
                <a:lnTo>
                  <a:pt x="130" y="103"/>
                </a:lnTo>
                <a:lnTo>
                  <a:pt x="130" y="104"/>
                </a:lnTo>
                <a:lnTo>
                  <a:pt x="132" y="105"/>
                </a:lnTo>
                <a:lnTo>
                  <a:pt x="135" y="108"/>
                </a:lnTo>
                <a:lnTo>
                  <a:pt x="135" y="109"/>
                </a:lnTo>
                <a:lnTo>
                  <a:pt x="136" y="110"/>
                </a:lnTo>
                <a:lnTo>
                  <a:pt x="136" y="112"/>
                </a:lnTo>
                <a:lnTo>
                  <a:pt x="138" y="120"/>
                </a:lnTo>
                <a:lnTo>
                  <a:pt x="139" y="121"/>
                </a:lnTo>
                <a:lnTo>
                  <a:pt x="144" y="123"/>
                </a:lnTo>
                <a:lnTo>
                  <a:pt x="145" y="124"/>
                </a:lnTo>
                <a:lnTo>
                  <a:pt x="147" y="127"/>
                </a:lnTo>
                <a:lnTo>
                  <a:pt x="150" y="132"/>
                </a:lnTo>
                <a:lnTo>
                  <a:pt x="152" y="134"/>
                </a:lnTo>
                <a:lnTo>
                  <a:pt x="154" y="137"/>
                </a:lnTo>
                <a:lnTo>
                  <a:pt x="156" y="141"/>
                </a:lnTo>
                <a:lnTo>
                  <a:pt x="156" y="142"/>
                </a:lnTo>
                <a:lnTo>
                  <a:pt x="155" y="142"/>
                </a:lnTo>
                <a:lnTo>
                  <a:pt x="154" y="143"/>
                </a:lnTo>
                <a:lnTo>
                  <a:pt x="151" y="145"/>
                </a:lnTo>
                <a:lnTo>
                  <a:pt x="151" y="146"/>
                </a:lnTo>
                <a:lnTo>
                  <a:pt x="149" y="146"/>
                </a:lnTo>
                <a:lnTo>
                  <a:pt x="148" y="147"/>
                </a:lnTo>
                <a:lnTo>
                  <a:pt x="143" y="147"/>
                </a:lnTo>
                <a:lnTo>
                  <a:pt x="144" y="146"/>
                </a:lnTo>
                <a:lnTo>
                  <a:pt x="144" y="145"/>
                </a:lnTo>
                <a:lnTo>
                  <a:pt x="145" y="143"/>
                </a:lnTo>
                <a:lnTo>
                  <a:pt x="147" y="143"/>
                </a:lnTo>
                <a:lnTo>
                  <a:pt x="145" y="146"/>
                </a:lnTo>
                <a:lnTo>
                  <a:pt x="149" y="145"/>
                </a:lnTo>
                <a:lnTo>
                  <a:pt x="149" y="143"/>
                </a:lnTo>
                <a:lnTo>
                  <a:pt x="150" y="143"/>
                </a:lnTo>
                <a:lnTo>
                  <a:pt x="150" y="141"/>
                </a:lnTo>
                <a:lnTo>
                  <a:pt x="149" y="140"/>
                </a:lnTo>
                <a:lnTo>
                  <a:pt x="149" y="137"/>
                </a:lnTo>
                <a:lnTo>
                  <a:pt x="148" y="136"/>
                </a:lnTo>
                <a:lnTo>
                  <a:pt x="147" y="136"/>
                </a:lnTo>
                <a:lnTo>
                  <a:pt x="147" y="135"/>
                </a:lnTo>
                <a:lnTo>
                  <a:pt x="142" y="135"/>
                </a:lnTo>
                <a:lnTo>
                  <a:pt x="142" y="133"/>
                </a:lnTo>
                <a:lnTo>
                  <a:pt x="139" y="133"/>
                </a:lnTo>
                <a:lnTo>
                  <a:pt x="138" y="134"/>
                </a:lnTo>
                <a:lnTo>
                  <a:pt x="138" y="135"/>
                </a:lnTo>
                <a:lnTo>
                  <a:pt x="139" y="135"/>
                </a:lnTo>
                <a:lnTo>
                  <a:pt x="138" y="136"/>
                </a:lnTo>
                <a:lnTo>
                  <a:pt x="135" y="136"/>
                </a:lnTo>
                <a:lnTo>
                  <a:pt x="133" y="137"/>
                </a:lnTo>
                <a:lnTo>
                  <a:pt x="133" y="140"/>
                </a:lnTo>
                <a:lnTo>
                  <a:pt x="135" y="143"/>
                </a:lnTo>
                <a:lnTo>
                  <a:pt x="136" y="143"/>
                </a:lnTo>
                <a:lnTo>
                  <a:pt x="136" y="141"/>
                </a:lnTo>
                <a:lnTo>
                  <a:pt x="137" y="142"/>
                </a:lnTo>
                <a:lnTo>
                  <a:pt x="137" y="143"/>
                </a:lnTo>
                <a:lnTo>
                  <a:pt x="138" y="145"/>
                </a:lnTo>
                <a:lnTo>
                  <a:pt x="138" y="146"/>
                </a:lnTo>
                <a:lnTo>
                  <a:pt x="141" y="146"/>
                </a:lnTo>
                <a:lnTo>
                  <a:pt x="141" y="147"/>
                </a:lnTo>
                <a:lnTo>
                  <a:pt x="142" y="148"/>
                </a:lnTo>
                <a:lnTo>
                  <a:pt x="141" y="149"/>
                </a:lnTo>
                <a:lnTo>
                  <a:pt x="142" y="149"/>
                </a:lnTo>
                <a:lnTo>
                  <a:pt x="139" y="151"/>
                </a:lnTo>
                <a:lnTo>
                  <a:pt x="139" y="152"/>
                </a:lnTo>
                <a:lnTo>
                  <a:pt x="142" y="151"/>
                </a:lnTo>
                <a:lnTo>
                  <a:pt x="143" y="149"/>
                </a:lnTo>
                <a:lnTo>
                  <a:pt x="144" y="149"/>
                </a:lnTo>
                <a:lnTo>
                  <a:pt x="144" y="151"/>
                </a:lnTo>
                <a:lnTo>
                  <a:pt x="143" y="151"/>
                </a:lnTo>
                <a:lnTo>
                  <a:pt x="142" y="152"/>
                </a:lnTo>
                <a:lnTo>
                  <a:pt x="142" y="154"/>
                </a:lnTo>
                <a:lnTo>
                  <a:pt x="139" y="154"/>
                </a:lnTo>
                <a:lnTo>
                  <a:pt x="139" y="155"/>
                </a:lnTo>
                <a:lnTo>
                  <a:pt x="138" y="155"/>
                </a:lnTo>
                <a:lnTo>
                  <a:pt x="137" y="157"/>
                </a:lnTo>
                <a:lnTo>
                  <a:pt x="136" y="155"/>
                </a:lnTo>
                <a:lnTo>
                  <a:pt x="135" y="155"/>
                </a:lnTo>
                <a:lnTo>
                  <a:pt x="135" y="158"/>
                </a:lnTo>
                <a:lnTo>
                  <a:pt x="132" y="158"/>
                </a:lnTo>
                <a:lnTo>
                  <a:pt x="132" y="159"/>
                </a:lnTo>
                <a:lnTo>
                  <a:pt x="130" y="159"/>
                </a:lnTo>
                <a:lnTo>
                  <a:pt x="130" y="158"/>
                </a:lnTo>
                <a:lnTo>
                  <a:pt x="129" y="158"/>
                </a:lnTo>
                <a:lnTo>
                  <a:pt x="129" y="159"/>
                </a:lnTo>
                <a:lnTo>
                  <a:pt x="127" y="159"/>
                </a:lnTo>
                <a:lnTo>
                  <a:pt x="127" y="158"/>
                </a:lnTo>
                <a:lnTo>
                  <a:pt x="126" y="158"/>
                </a:lnTo>
                <a:lnTo>
                  <a:pt x="125" y="157"/>
                </a:lnTo>
                <a:lnTo>
                  <a:pt x="124" y="158"/>
                </a:lnTo>
                <a:lnTo>
                  <a:pt x="123" y="158"/>
                </a:lnTo>
                <a:lnTo>
                  <a:pt x="121" y="159"/>
                </a:lnTo>
                <a:lnTo>
                  <a:pt x="121" y="160"/>
                </a:lnTo>
                <a:lnTo>
                  <a:pt x="124" y="159"/>
                </a:lnTo>
                <a:lnTo>
                  <a:pt x="124" y="160"/>
                </a:lnTo>
                <a:lnTo>
                  <a:pt x="123" y="160"/>
                </a:lnTo>
                <a:lnTo>
                  <a:pt x="123" y="161"/>
                </a:lnTo>
                <a:lnTo>
                  <a:pt x="126" y="161"/>
                </a:lnTo>
                <a:lnTo>
                  <a:pt x="129" y="160"/>
                </a:lnTo>
                <a:lnTo>
                  <a:pt x="131" y="163"/>
                </a:lnTo>
                <a:lnTo>
                  <a:pt x="131" y="164"/>
                </a:lnTo>
                <a:lnTo>
                  <a:pt x="135" y="164"/>
                </a:lnTo>
                <a:lnTo>
                  <a:pt x="136" y="165"/>
                </a:lnTo>
                <a:lnTo>
                  <a:pt x="137" y="164"/>
                </a:lnTo>
                <a:lnTo>
                  <a:pt x="138" y="164"/>
                </a:lnTo>
                <a:lnTo>
                  <a:pt x="139" y="165"/>
                </a:lnTo>
                <a:lnTo>
                  <a:pt x="142" y="165"/>
                </a:lnTo>
                <a:lnTo>
                  <a:pt x="143" y="166"/>
                </a:lnTo>
                <a:lnTo>
                  <a:pt x="144" y="166"/>
                </a:lnTo>
                <a:lnTo>
                  <a:pt x="145" y="171"/>
                </a:lnTo>
                <a:lnTo>
                  <a:pt x="147" y="172"/>
                </a:lnTo>
                <a:lnTo>
                  <a:pt x="147" y="171"/>
                </a:lnTo>
                <a:lnTo>
                  <a:pt x="149" y="171"/>
                </a:lnTo>
                <a:lnTo>
                  <a:pt x="150" y="170"/>
                </a:lnTo>
                <a:lnTo>
                  <a:pt x="149" y="170"/>
                </a:lnTo>
                <a:lnTo>
                  <a:pt x="149" y="169"/>
                </a:lnTo>
                <a:lnTo>
                  <a:pt x="150" y="169"/>
                </a:lnTo>
                <a:lnTo>
                  <a:pt x="151" y="170"/>
                </a:lnTo>
                <a:lnTo>
                  <a:pt x="152" y="170"/>
                </a:lnTo>
                <a:lnTo>
                  <a:pt x="154" y="171"/>
                </a:lnTo>
                <a:lnTo>
                  <a:pt x="155" y="171"/>
                </a:lnTo>
                <a:lnTo>
                  <a:pt x="155" y="172"/>
                </a:lnTo>
                <a:lnTo>
                  <a:pt x="156" y="172"/>
                </a:lnTo>
                <a:lnTo>
                  <a:pt x="154" y="174"/>
                </a:lnTo>
                <a:lnTo>
                  <a:pt x="154" y="176"/>
                </a:lnTo>
                <a:lnTo>
                  <a:pt x="155" y="176"/>
                </a:lnTo>
                <a:lnTo>
                  <a:pt x="156" y="177"/>
                </a:lnTo>
                <a:lnTo>
                  <a:pt x="157" y="177"/>
                </a:lnTo>
                <a:lnTo>
                  <a:pt x="157" y="178"/>
                </a:lnTo>
                <a:lnTo>
                  <a:pt x="155" y="178"/>
                </a:lnTo>
                <a:lnTo>
                  <a:pt x="156" y="179"/>
                </a:lnTo>
                <a:lnTo>
                  <a:pt x="163" y="179"/>
                </a:lnTo>
                <a:lnTo>
                  <a:pt x="164" y="178"/>
                </a:lnTo>
                <a:lnTo>
                  <a:pt x="167" y="180"/>
                </a:lnTo>
                <a:lnTo>
                  <a:pt x="166" y="180"/>
                </a:lnTo>
                <a:lnTo>
                  <a:pt x="166" y="182"/>
                </a:lnTo>
                <a:lnTo>
                  <a:pt x="167" y="182"/>
                </a:lnTo>
                <a:lnTo>
                  <a:pt x="167" y="183"/>
                </a:lnTo>
                <a:lnTo>
                  <a:pt x="168" y="184"/>
                </a:lnTo>
                <a:lnTo>
                  <a:pt x="169" y="186"/>
                </a:lnTo>
                <a:lnTo>
                  <a:pt x="172" y="188"/>
                </a:lnTo>
                <a:lnTo>
                  <a:pt x="176" y="188"/>
                </a:lnTo>
                <a:lnTo>
                  <a:pt x="180" y="190"/>
                </a:lnTo>
                <a:lnTo>
                  <a:pt x="181" y="190"/>
                </a:lnTo>
                <a:lnTo>
                  <a:pt x="185" y="194"/>
                </a:lnTo>
                <a:lnTo>
                  <a:pt x="186" y="194"/>
                </a:lnTo>
                <a:lnTo>
                  <a:pt x="186" y="195"/>
                </a:lnTo>
                <a:lnTo>
                  <a:pt x="187" y="195"/>
                </a:lnTo>
                <a:lnTo>
                  <a:pt x="187" y="197"/>
                </a:lnTo>
                <a:lnTo>
                  <a:pt x="186" y="197"/>
                </a:lnTo>
                <a:lnTo>
                  <a:pt x="186" y="198"/>
                </a:lnTo>
                <a:lnTo>
                  <a:pt x="185" y="198"/>
                </a:lnTo>
                <a:lnTo>
                  <a:pt x="183" y="200"/>
                </a:lnTo>
                <a:lnTo>
                  <a:pt x="183" y="203"/>
                </a:lnTo>
                <a:lnTo>
                  <a:pt x="185" y="204"/>
                </a:lnTo>
                <a:lnTo>
                  <a:pt x="185" y="207"/>
                </a:lnTo>
                <a:lnTo>
                  <a:pt x="183" y="208"/>
                </a:lnTo>
                <a:lnTo>
                  <a:pt x="185" y="208"/>
                </a:lnTo>
                <a:lnTo>
                  <a:pt x="185" y="210"/>
                </a:lnTo>
                <a:lnTo>
                  <a:pt x="186" y="210"/>
                </a:lnTo>
                <a:lnTo>
                  <a:pt x="186" y="212"/>
                </a:lnTo>
                <a:lnTo>
                  <a:pt x="185" y="212"/>
                </a:lnTo>
                <a:lnTo>
                  <a:pt x="185" y="213"/>
                </a:lnTo>
                <a:lnTo>
                  <a:pt x="186" y="213"/>
                </a:lnTo>
                <a:lnTo>
                  <a:pt x="186" y="215"/>
                </a:lnTo>
                <a:lnTo>
                  <a:pt x="187" y="216"/>
                </a:lnTo>
                <a:lnTo>
                  <a:pt x="187" y="219"/>
                </a:lnTo>
                <a:lnTo>
                  <a:pt x="186" y="220"/>
                </a:lnTo>
                <a:lnTo>
                  <a:pt x="187" y="220"/>
                </a:lnTo>
                <a:lnTo>
                  <a:pt x="187" y="221"/>
                </a:lnTo>
                <a:lnTo>
                  <a:pt x="186" y="221"/>
                </a:lnTo>
                <a:lnTo>
                  <a:pt x="186" y="222"/>
                </a:lnTo>
                <a:lnTo>
                  <a:pt x="187" y="222"/>
                </a:lnTo>
                <a:lnTo>
                  <a:pt x="185" y="225"/>
                </a:lnTo>
                <a:lnTo>
                  <a:pt x="185" y="223"/>
                </a:lnTo>
                <a:lnTo>
                  <a:pt x="181" y="223"/>
                </a:lnTo>
                <a:lnTo>
                  <a:pt x="181" y="220"/>
                </a:lnTo>
                <a:lnTo>
                  <a:pt x="180" y="221"/>
                </a:lnTo>
                <a:lnTo>
                  <a:pt x="180" y="217"/>
                </a:lnTo>
                <a:lnTo>
                  <a:pt x="179" y="217"/>
                </a:lnTo>
                <a:lnTo>
                  <a:pt x="179" y="216"/>
                </a:lnTo>
                <a:lnTo>
                  <a:pt x="178" y="216"/>
                </a:lnTo>
                <a:lnTo>
                  <a:pt x="178" y="215"/>
                </a:lnTo>
                <a:lnTo>
                  <a:pt x="175" y="215"/>
                </a:lnTo>
                <a:lnTo>
                  <a:pt x="175" y="216"/>
                </a:lnTo>
                <a:lnTo>
                  <a:pt x="174" y="216"/>
                </a:lnTo>
                <a:lnTo>
                  <a:pt x="174" y="214"/>
                </a:lnTo>
                <a:lnTo>
                  <a:pt x="173" y="214"/>
                </a:lnTo>
                <a:lnTo>
                  <a:pt x="173" y="213"/>
                </a:lnTo>
                <a:lnTo>
                  <a:pt x="170" y="210"/>
                </a:lnTo>
                <a:lnTo>
                  <a:pt x="170" y="209"/>
                </a:lnTo>
                <a:lnTo>
                  <a:pt x="168" y="209"/>
                </a:lnTo>
                <a:lnTo>
                  <a:pt x="168" y="208"/>
                </a:lnTo>
                <a:lnTo>
                  <a:pt x="166" y="208"/>
                </a:lnTo>
                <a:lnTo>
                  <a:pt x="164" y="207"/>
                </a:lnTo>
                <a:lnTo>
                  <a:pt x="167" y="204"/>
                </a:lnTo>
                <a:lnTo>
                  <a:pt x="167" y="203"/>
                </a:lnTo>
                <a:lnTo>
                  <a:pt x="163" y="203"/>
                </a:lnTo>
                <a:lnTo>
                  <a:pt x="163" y="204"/>
                </a:lnTo>
                <a:lnTo>
                  <a:pt x="161" y="204"/>
                </a:lnTo>
                <a:lnTo>
                  <a:pt x="158" y="206"/>
                </a:lnTo>
                <a:lnTo>
                  <a:pt x="158" y="207"/>
                </a:lnTo>
                <a:lnTo>
                  <a:pt x="151" y="207"/>
                </a:lnTo>
                <a:lnTo>
                  <a:pt x="149" y="208"/>
                </a:lnTo>
                <a:lnTo>
                  <a:pt x="148" y="209"/>
                </a:lnTo>
                <a:lnTo>
                  <a:pt x="145" y="210"/>
                </a:lnTo>
                <a:lnTo>
                  <a:pt x="142" y="210"/>
                </a:lnTo>
                <a:lnTo>
                  <a:pt x="142" y="212"/>
                </a:lnTo>
                <a:lnTo>
                  <a:pt x="141" y="212"/>
                </a:lnTo>
                <a:lnTo>
                  <a:pt x="142" y="213"/>
                </a:lnTo>
                <a:lnTo>
                  <a:pt x="142" y="214"/>
                </a:lnTo>
                <a:lnTo>
                  <a:pt x="147" y="214"/>
                </a:lnTo>
                <a:lnTo>
                  <a:pt x="149" y="216"/>
                </a:lnTo>
                <a:lnTo>
                  <a:pt x="149" y="217"/>
                </a:lnTo>
                <a:lnTo>
                  <a:pt x="148" y="219"/>
                </a:lnTo>
                <a:lnTo>
                  <a:pt x="147" y="219"/>
                </a:lnTo>
                <a:lnTo>
                  <a:pt x="147" y="220"/>
                </a:lnTo>
                <a:lnTo>
                  <a:pt x="148" y="220"/>
                </a:lnTo>
                <a:lnTo>
                  <a:pt x="148" y="221"/>
                </a:lnTo>
                <a:lnTo>
                  <a:pt x="149" y="221"/>
                </a:lnTo>
                <a:lnTo>
                  <a:pt x="149" y="222"/>
                </a:lnTo>
                <a:lnTo>
                  <a:pt x="148" y="222"/>
                </a:lnTo>
                <a:lnTo>
                  <a:pt x="149" y="223"/>
                </a:lnTo>
                <a:lnTo>
                  <a:pt x="149" y="225"/>
                </a:lnTo>
                <a:lnTo>
                  <a:pt x="148" y="225"/>
                </a:lnTo>
                <a:lnTo>
                  <a:pt x="148" y="226"/>
                </a:lnTo>
                <a:lnTo>
                  <a:pt x="149" y="226"/>
                </a:lnTo>
                <a:lnTo>
                  <a:pt x="149" y="227"/>
                </a:lnTo>
                <a:lnTo>
                  <a:pt x="151" y="228"/>
                </a:lnTo>
                <a:lnTo>
                  <a:pt x="151" y="227"/>
                </a:lnTo>
                <a:lnTo>
                  <a:pt x="152" y="229"/>
                </a:lnTo>
                <a:lnTo>
                  <a:pt x="154" y="229"/>
                </a:lnTo>
                <a:lnTo>
                  <a:pt x="155" y="231"/>
                </a:lnTo>
                <a:lnTo>
                  <a:pt x="156" y="231"/>
                </a:lnTo>
                <a:lnTo>
                  <a:pt x="156" y="227"/>
                </a:lnTo>
                <a:lnTo>
                  <a:pt x="155" y="227"/>
                </a:lnTo>
                <a:lnTo>
                  <a:pt x="155" y="226"/>
                </a:lnTo>
                <a:lnTo>
                  <a:pt x="156" y="225"/>
                </a:lnTo>
                <a:lnTo>
                  <a:pt x="158" y="225"/>
                </a:lnTo>
                <a:lnTo>
                  <a:pt x="158" y="227"/>
                </a:lnTo>
                <a:lnTo>
                  <a:pt x="157" y="228"/>
                </a:lnTo>
                <a:lnTo>
                  <a:pt x="157" y="229"/>
                </a:lnTo>
                <a:lnTo>
                  <a:pt x="158" y="231"/>
                </a:lnTo>
                <a:lnTo>
                  <a:pt x="158" y="232"/>
                </a:lnTo>
                <a:lnTo>
                  <a:pt x="160" y="232"/>
                </a:lnTo>
                <a:lnTo>
                  <a:pt x="161" y="233"/>
                </a:lnTo>
                <a:lnTo>
                  <a:pt x="162" y="233"/>
                </a:lnTo>
                <a:lnTo>
                  <a:pt x="163" y="234"/>
                </a:lnTo>
                <a:lnTo>
                  <a:pt x="163" y="237"/>
                </a:lnTo>
                <a:lnTo>
                  <a:pt x="154" y="237"/>
                </a:lnTo>
                <a:lnTo>
                  <a:pt x="155" y="238"/>
                </a:lnTo>
                <a:lnTo>
                  <a:pt x="152" y="238"/>
                </a:lnTo>
                <a:lnTo>
                  <a:pt x="151" y="239"/>
                </a:lnTo>
                <a:lnTo>
                  <a:pt x="152" y="239"/>
                </a:lnTo>
                <a:lnTo>
                  <a:pt x="152" y="240"/>
                </a:lnTo>
                <a:lnTo>
                  <a:pt x="150" y="240"/>
                </a:lnTo>
                <a:lnTo>
                  <a:pt x="149" y="241"/>
                </a:lnTo>
                <a:lnTo>
                  <a:pt x="150" y="241"/>
                </a:lnTo>
                <a:lnTo>
                  <a:pt x="150" y="243"/>
                </a:lnTo>
                <a:lnTo>
                  <a:pt x="148" y="243"/>
                </a:lnTo>
                <a:lnTo>
                  <a:pt x="148" y="241"/>
                </a:lnTo>
                <a:lnTo>
                  <a:pt x="147" y="241"/>
                </a:lnTo>
                <a:lnTo>
                  <a:pt x="147" y="240"/>
                </a:lnTo>
                <a:lnTo>
                  <a:pt x="144" y="240"/>
                </a:lnTo>
                <a:lnTo>
                  <a:pt x="144" y="238"/>
                </a:lnTo>
                <a:lnTo>
                  <a:pt x="145" y="238"/>
                </a:lnTo>
                <a:lnTo>
                  <a:pt x="147" y="237"/>
                </a:lnTo>
                <a:lnTo>
                  <a:pt x="147" y="234"/>
                </a:lnTo>
                <a:lnTo>
                  <a:pt x="144" y="234"/>
                </a:lnTo>
                <a:lnTo>
                  <a:pt x="143" y="233"/>
                </a:lnTo>
                <a:lnTo>
                  <a:pt x="142" y="234"/>
                </a:lnTo>
                <a:lnTo>
                  <a:pt x="141" y="233"/>
                </a:lnTo>
                <a:lnTo>
                  <a:pt x="141" y="232"/>
                </a:lnTo>
                <a:lnTo>
                  <a:pt x="139" y="231"/>
                </a:lnTo>
                <a:lnTo>
                  <a:pt x="136" y="231"/>
                </a:lnTo>
                <a:lnTo>
                  <a:pt x="135" y="232"/>
                </a:lnTo>
                <a:lnTo>
                  <a:pt x="133" y="231"/>
                </a:lnTo>
                <a:lnTo>
                  <a:pt x="133" y="229"/>
                </a:lnTo>
                <a:lnTo>
                  <a:pt x="132" y="228"/>
                </a:lnTo>
                <a:lnTo>
                  <a:pt x="132" y="227"/>
                </a:lnTo>
                <a:lnTo>
                  <a:pt x="131" y="227"/>
                </a:lnTo>
                <a:lnTo>
                  <a:pt x="130" y="228"/>
                </a:lnTo>
                <a:lnTo>
                  <a:pt x="130" y="233"/>
                </a:lnTo>
                <a:lnTo>
                  <a:pt x="131" y="234"/>
                </a:lnTo>
                <a:lnTo>
                  <a:pt x="131" y="238"/>
                </a:lnTo>
                <a:lnTo>
                  <a:pt x="133" y="240"/>
                </a:lnTo>
                <a:lnTo>
                  <a:pt x="133" y="243"/>
                </a:lnTo>
                <a:lnTo>
                  <a:pt x="135" y="243"/>
                </a:lnTo>
                <a:lnTo>
                  <a:pt x="135" y="244"/>
                </a:lnTo>
                <a:lnTo>
                  <a:pt x="136" y="245"/>
                </a:lnTo>
                <a:lnTo>
                  <a:pt x="137" y="247"/>
                </a:lnTo>
                <a:lnTo>
                  <a:pt x="137" y="249"/>
                </a:lnTo>
                <a:lnTo>
                  <a:pt x="138" y="249"/>
                </a:lnTo>
                <a:lnTo>
                  <a:pt x="137" y="250"/>
                </a:lnTo>
                <a:lnTo>
                  <a:pt x="137" y="252"/>
                </a:lnTo>
                <a:lnTo>
                  <a:pt x="139" y="252"/>
                </a:lnTo>
                <a:lnTo>
                  <a:pt x="139" y="253"/>
                </a:lnTo>
                <a:lnTo>
                  <a:pt x="141" y="255"/>
                </a:lnTo>
                <a:lnTo>
                  <a:pt x="139" y="255"/>
                </a:lnTo>
                <a:lnTo>
                  <a:pt x="142" y="257"/>
                </a:lnTo>
                <a:lnTo>
                  <a:pt x="142" y="259"/>
                </a:lnTo>
                <a:lnTo>
                  <a:pt x="141" y="259"/>
                </a:lnTo>
                <a:lnTo>
                  <a:pt x="142" y="260"/>
                </a:lnTo>
                <a:lnTo>
                  <a:pt x="142" y="263"/>
                </a:lnTo>
                <a:lnTo>
                  <a:pt x="143" y="265"/>
                </a:lnTo>
                <a:lnTo>
                  <a:pt x="145" y="268"/>
                </a:lnTo>
                <a:lnTo>
                  <a:pt x="145" y="269"/>
                </a:lnTo>
                <a:lnTo>
                  <a:pt x="144" y="270"/>
                </a:lnTo>
                <a:lnTo>
                  <a:pt x="147" y="270"/>
                </a:lnTo>
                <a:lnTo>
                  <a:pt x="147" y="271"/>
                </a:lnTo>
                <a:lnTo>
                  <a:pt x="145" y="271"/>
                </a:lnTo>
                <a:lnTo>
                  <a:pt x="145" y="272"/>
                </a:lnTo>
                <a:lnTo>
                  <a:pt x="143" y="272"/>
                </a:lnTo>
                <a:lnTo>
                  <a:pt x="143" y="275"/>
                </a:lnTo>
                <a:lnTo>
                  <a:pt x="144" y="275"/>
                </a:lnTo>
                <a:lnTo>
                  <a:pt x="143" y="276"/>
                </a:lnTo>
                <a:lnTo>
                  <a:pt x="143" y="278"/>
                </a:lnTo>
                <a:lnTo>
                  <a:pt x="144" y="280"/>
                </a:lnTo>
                <a:lnTo>
                  <a:pt x="144" y="281"/>
                </a:lnTo>
                <a:lnTo>
                  <a:pt x="145" y="281"/>
                </a:lnTo>
                <a:lnTo>
                  <a:pt x="145" y="282"/>
                </a:lnTo>
                <a:lnTo>
                  <a:pt x="148" y="282"/>
                </a:lnTo>
                <a:lnTo>
                  <a:pt x="148" y="284"/>
                </a:lnTo>
                <a:lnTo>
                  <a:pt x="147" y="284"/>
                </a:lnTo>
                <a:lnTo>
                  <a:pt x="150" y="288"/>
                </a:lnTo>
                <a:lnTo>
                  <a:pt x="150" y="289"/>
                </a:lnTo>
                <a:lnTo>
                  <a:pt x="148" y="288"/>
                </a:lnTo>
                <a:lnTo>
                  <a:pt x="145" y="288"/>
                </a:lnTo>
                <a:lnTo>
                  <a:pt x="144" y="287"/>
                </a:lnTo>
                <a:lnTo>
                  <a:pt x="144" y="284"/>
                </a:lnTo>
                <a:lnTo>
                  <a:pt x="143" y="284"/>
                </a:lnTo>
                <a:lnTo>
                  <a:pt x="143" y="283"/>
                </a:lnTo>
                <a:lnTo>
                  <a:pt x="141" y="284"/>
                </a:lnTo>
                <a:lnTo>
                  <a:pt x="139" y="283"/>
                </a:lnTo>
                <a:lnTo>
                  <a:pt x="138" y="281"/>
                </a:lnTo>
                <a:lnTo>
                  <a:pt x="138" y="280"/>
                </a:lnTo>
                <a:lnTo>
                  <a:pt x="136" y="278"/>
                </a:lnTo>
                <a:lnTo>
                  <a:pt x="137" y="277"/>
                </a:lnTo>
                <a:lnTo>
                  <a:pt x="135" y="275"/>
                </a:lnTo>
                <a:lnTo>
                  <a:pt x="135" y="276"/>
                </a:lnTo>
                <a:lnTo>
                  <a:pt x="133" y="276"/>
                </a:lnTo>
                <a:lnTo>
                  <a:pt x="133" y="270"/>
                </a:lnTo>
                <a:lnTo>
                  <a:pt x="132" y="270"/>
                </a:lnTo>
                <a:lnTo>
                  <a:pt x="131" y="269"/>
                </a:lnTo>
                <a:lnTo>
                  <a:pt x="125" y="269"/>
                </a:lnTo>
                <a:lnTo>
                  <a:pt x="124" y="270"/>
                </a:lnTo>
                <a:lnTo>
                  <a:pt x="124" y="272"/>
                </a:lnTo>
                <a:lnTo>
                  <a:pt x="123" y="274"/>
                </a:lnTo>
                <a:lnTo>
                  <a:pt x="121" y="274"/>
                </a:lnTo>
                <a:lnTo>
                  <a:pt x="121" y="275"/>
                </a:lnTo>
                <a:lnTo>
                  <a:pt x="123" y="276"/>
                </a:lnTo>
                <a:lnTo>
                  <a:pt x="123" y="277"/>
                </a:lnTo>
                <a:lnTo>
                  <a:pt x="121" y="277"/>
                </a:lnTo>
                <a:lnTo>
                  <a:pt x="121" y="276"/>
                </a:lnTo>
                <a:lnTo>
                  <a:pt x="120" y="277"/>
                </a:lnTo>
                <a:lnTo>
                  <a:pt x="121" y="278"/>
                </a:lnTo>
                <a:lnTo>
                  <a:pt x="121" y="280"/>
                </a:lnTo>
                <a:lnTo>
                  <a:pt x="120" y="280"/>
                </a:lnTo>
                <a:lnTo>
                  <a:pt x="120" y="278"/>
                </a:lnTo>
                <a:lnTo>
                  <a:pt x="119" y="280"/>
                </a:lnTo>
                <a:lnTo>
                  <a:pt x="119" y="283"/>
                </a:lnTo>
                <a:lnTo>
                  <a:pt x="120" y="284"/>
                </a:lnTo>
                <a:lnTo>
                  <a:pt x="120" y="290"/>
                </a:lnTo>
                <a:lnTo>
                  <a:pt x="119" y="290"/>
                </a:lnTo>
                <a:lnTo>
                  <a:pt x="119" y="288"/>
                </a:lnTo>
                <a:lnTo>
                  <a:pt x="118" y="287"/>
                </a:lnTo>
                <a:lnTo>
                  <a:pt x="117" y="287"/>
                </a:lnTo>
                <a:lnTo>
                  <a:pt x="117" y="286"/>
                </a:lnTo>
                <a:lnTo>
                  <a:pt x="114" y="286"/>
                </a:lnTo>
                <a:lnTo>
                  <a:pt x="114" y="282"/>
                </a:lnTo>
                <a:lnTo>
                  <a:pt x="116" y="283"/>
                </a:lnTo>
                <a:lnTo>
                  <a:pt x="116" y="280"/>
                </a:lnTo>
                <a:lnTo>
                  <a:pt x="114" y="280"/>
                </a:lnTo>
                <a:lnTo>
                  <a:pt x="114" y="276"/>
                </a:lnTo>
                <a:lnTo>
                  <a:pt x="116" y="275"/>
                </a:lnTo>
                <a:lnTo>
                  <a:pt x="114" y="275"/>
                </a:lnTo>
                <a:lnTo>
                  <a:pt x="113" y="274"/>
                </a:lnTo>
                <a:lnTo>
                  <a:pt x="113" y="271"/>
                </a:lnTo>
                <a:lnTo>
                  <a:pt x="112" y="271"/>
                </a:lnTo>
                <a:lnTo>
                  <a:pt x="112" y="269"/>
                </a:lnTo>
                <a:lnTo>
                  <a:pt x="108" y="264"/>
                </a:lnTo>
                <a:lnTo>
                  <a:pt x="106" y="264"/>
                </a:lnTo>
                <a:lnTo>
                  <a:pt x="105" y="263"/>
                </a:lnTo>
                <a:lnTo>
                  <a:pt x="105" y="262"/>
                </a:lnTo>
                <a:lnTo>
                  <a:pt x="106" y="260"/>
                </a:lnTo>
                <a:lnTo>
                  <a:pt x="106" y="258"/>
                </a:lnTo>
                <a:lnTo>
                  <a:pt x="102" y="257"/>
                </a:lnTo>
                <a:lnTo>
                  <a:pt x="100" y="257"/>
                </a:lnTo>
                <a:lnTo>
                  <a:pt x="99" y="258"/>
                </a:lnTo>
                <a:lnTo>
                  <a:pt x="98" y="258"/>
                </a:lnTo>
                <a:lnTo>
                  <a:pt x="96" y="259"/>
                </a:lnTo>
                <a:lnTo>
                  <a:pt x="96" y="265"/>
                </a:lnTo>
                <a:lnTo>
                  <a:pt x="95" y="265"/>
                </a:lnTo>
                <a:lnTo>
                  <a:pt x="95" y="266"/>
                </a:lnTo>
                <a:lnTo>
                  <a:pt x="96" y="266"/>
                </a:lnTo>
                <a:lnTo>
                  <a:pt x="96" y="269"/>
                </a:lnTo>
                <a:lnTo>
                  <a:pt x="98" y="269"/>
                </a:lnTo>
                <a:lnTo>
                  <a:pt x="98" y="270"/>
                </a:lnTo>
                <a:lnTo>
                  <a:pt x="96" y="270"/>
                </a:lnTo>
                <a:lnTo>
                  <a:pt x="96" y="271"/>
                </a:lnTo>
                <a:lnTo>
                  <a:pt x="95" y="272"/>
                </a:lnTo>
                <a:lnTo>
                  <a:pt x="94" y="272"/>
                </a:lnTo>
                <a:lnTo>
                  <a:pt x="94" y="274"/>
                </a:lnTo>
                <a:lnTo>
                  <a:pt x="92" y="269"/>
                </a:lnTo>
                <a:lnTo>
                  <a:pt x="90" y="269"/>
                </a:lnTo>
                <a:lnTo>
                  <a:pt x="89" y="270"/>
                </a:lnTo>
                <a:lnTo>
                  <a:pt x="86" y="266"/>
                </a:lnTo>
                <a:lnTo>
                  <a:pt x="86" y="264"/>
                </a:lnTo>
                <a:lnTo>
                  <a:pt x="87" y="263"/>
                </a:lnTo>
                <a:lnTo>
                  <a:pt x="87" y="260"/>
                </a:lnTo>
                <a:lnTo>
                  <a:pt x="85" y="260"/>
                </a:lnTo>
                <a:lnTo>
                  <a:pt x="85" y="259"/>
                </a:lnTo>
                <a:lnTo>
                  <a:pt x="82" y="257"/>
                </a:lnTo>
                <a:lnTo>
                  <a:pt x="81" y="255"/>
                </a:lnTo>
                <a:lnTo>
                  <a:pt x="81" y="249"/>
                </a:lnTo>
                <a:lnTo>
                  <a:pt x="86" y="244"/>
                </a:lnTo>
                <a:lnTo>
                  <a:pt x="86" y="238"/>
                </a:lnTo>
                <a:lnTo>
                  <a:pt x="82" y="232"/>
                </a:lnTo>
                <a:lnTo>
                  <a:pt x="81" y="229"/>
                </a:lnTo>
                <a:lnTo>
                  <a:pt x="80" y="229"/>
                </a:lnTo>
                <a:lnTo>
                  <a:pt x="76" y="227"/>
                </a:lnTo>
                <a:lnTo>
                  <a:pt x="76" y="226"/>
                </a:lnTo>
                <a:lnTo>
                  <a:pt x="75" y="226"/>
                </a:lnTo>
                <a:lnTo>
                  <a:pt x="74" y="225"/>
                </a:lnTo>
                <a:lnTo>
                  <a:pt x="71" y="223"/>
                </a:lnTo>
                <a:lnTo>
                  <a:pt x="69" y="223"/>
                </a:lnTo>
                <a:lnTo>
                  <a:pt x="70" y="222"/>
                </a:lnTo>
                <a:lnTo>
                  <a:pt x="70" y="220"/>
                </a:lnTo>
                <a:lnTo>
                  <a:pt x="69" y="217"/>
                </a:lnTo>
                <a:lnTo>
                  <a:pt x="68" y="216"/>
                </a:lnTo>
                <a:lnTo>
                  <a:pt x="67" y="216"/>
                </a:lnTo>
                <a:lnTo>
                  <a:pt x="62" y="214"/>
                </a:lnTo>
                <a:lnTo>
                  <a:pt x="62" y="213"/>
                </a:lnTo>
                <a:lnTo>
                  <a:pt x="63" y="209"/>
                </a:lnTo>
                <a:lnTo>
                  <a:pt x="65" y="209"/>
                </a:lnTo>
                <a:lnTo>
                  <a:pt x="69" y="206"/>
                </a:lnTo>
                <a:lnTo>
                  <a:pt x="70" y="206"/>
                </a:lnTo>
                <a:lnTo>
                  <a:pt x="70" y="204"/>
                </a:lnTo>
                <a:lnTo>
                  <a:pt x="69" y="204"/>
                </a:lnTo>
                <a:lnTo>
                  <a:pt x="71" y="202"/>
                </a:lnTo>
                <a:lnTo>
                  <a:pt x="73" y="200"/>
                </a:lnTo>
                <a:lnTo>
                  <a:pt x="73" y="195"/>
                </a:lnTo>
                <a:lnTo>
                  <a:pt x="74" y="196"/>
                </a:lnTo>
                <a:lnTo>
                  <a:pt x="74" y="195"/>
                </a:lnTo>
                <a:lnTo>
                  <a:pt x="77" y="195"/>
                </a:lnTo>
                <a:lnTo>
                  <a:pt x="79" y="197"/>
                </a:lnTo>
                <a:lnTo>
                  <a:pt x="85" y="197"/>
                </a:lnTo>
                <a:lnTo>
                  <a:pt x="87" y="195"/>
                </a:lnTo>
                <a:lnTo>
                  <a:pt x="88" y="191"/>
                </a:lnTo>
                <a:lnTo>
                  <a:pt x="89" y="190"/>
                </a:lnTo>
                <a:lnTo>
                  <a:pt x="93" y="188"/>
                </a:lnTo>
                <a:lnTo>
                  <a:pt x="98" y="188"/>
                </a:lnTo>
                <a:lnTo>
                  <a:pt x="98" y="189"/>
                </a:lnTo>
                <a:lnTo>
                  <a:pt x="100" y="189"/>
                </a:lnTo>
                <a:lnTo>
                  <a:pt x="100" y="190"/>
                </a:lnTo>
                <a:lnTo>
                  <a:pt x="101" y="191"/>
                </a:lnTo>
                <a:lnTo>
                  <a:pt x="105" y="191"/>
                </a:lnTo>
                <a:lnTo>
                  <a:pt x="105" y="192"/>
                </a:lnTo>
                <a:lnTo>
                  <a:pt x="106" y="194"/>
                </a:lnTo>
                <a:lnTo>
                  <a:pt x="106" y="195"/>
                </a:lnTo>
                <a:lnTo>
                  <a:pt x="108" y="195"/>
                </a:lnTo>
                <a:lnTo>
                  <a:pt x="108" y="196"/>
                </a:lnTo>
                <a:lnTo>
                  <a:pt x="113" y="196"/>
                </a:lnTo>
                <a:lnTo>
                  <a:pt x="116" y="198"/>
                </a:lnTo>
                <a:lnTo>
                  <a:pt x="120" y="198"/>
                </a:lnTo>
                <a:lnTo>
                  <a:pt x="127" y="202"/>
                </a:lnTo>
                <a:lnTo>
                  <a:pt x="129" y="203"/>
                </a:lnTo>
                <a:lnTo>
                  <a:pt x="132" y="206"/>
                </a:lnTo>
                <a:lnTo>
                  <a:pt x="132" y="207"/>
                </a:lnTo>
                <a:lnTo>
                  <a:pt x="133" y="207"/>
                </a:lnTo>
                <a:lnTo>
                  <a:pt x="133" y="208"/>
                </a:lnTo>
                <a:lnTo>
                  <a:pt x="135" y="209"/>
                </a:lnTo>
                <a:lnTo>
                  <a:pt x="139" y="209"/>
                </a:lnTo>
                <a:lnTo>
                  <a:pt x="139" y="208"/>
                </a:lnTo>
                <a:lnTo>
                  <a:pt x="141" y="207"/>
                </a:lnTo>
                <a:lnTo>
                  <a:pt x="139" y="207"/>
                </a:lnTo>
                <a:lnTo>
                  <a:pt x="139" y="206"/>
                </a:lnTo>
                <a:lnTo>
                  <a:pt x="138" y="206"/>
                </a:lnTo>
                <a:lnTo>
                  <a:pt x="137" y="204"/>
                </a:lnTo>
                <a:lnTo>
                  <a:pt x="135" y="204"/>
                </a:lnTo>
                <a:lnTo>
                  <a:pt x="136" y="203"/>
                </a:lnTo>
                <a:lnTo>
                  <a:pt x="137" y="203"/>
                </a:lnTo>
                <a:lnTo>
                  <a:pt x="139" y="201"/>
                </a:lnTo>
                <a:lnTo>
                  <a:pt x="141" y="201"/>
                </a:lnTo>
                <a:lnTo>
                  <a:pt x="142" y="202"/>
                </a:lnTo>
                <a:lnTo>
                  <a:pt x="143" y="202"/>
                </a:lnTo>
                <a:lnTo>
                  <a:pt x="144" y="203"/>
                </a:lnTo>
                <a:lnTo>
                  <a:pt x="145" y="202"/>
                </a:lnTo>
                <a:lnTo>
                  <a:pt x="149" y="202"/>
                </a:lnTo>
                <a:lnTo>
                  <a:pt x="149" y="201"/>
                </a:lnTo>
                <a:lnTo>
                  <a:pt x="150" y="201"/>
                </a:lnTo>
                <a:lnTo>
                  <a:pt x="150" y="198"/>
                </a:lnTo>
                <a:lnTo>
                  <a:pt x="149" y="198"/>
                </a:lnTo>
                <a:lnTo>
                  <a:pt x="150" y="197"/>
                </a:lnTo>
                <a:lnTo>
                  <a:pt x="148" y="197"/>
                </a:lnTo>
                <a:lnTo>
                  <a:pt x="147" y="196"/>
                </a:lnTo>
                <a:lnTo>
                  <a:pt x="148" y="196"/>
                </a:lnTo>
                <a:lnTo>
                  <a:pt x="147" y="195"/>
                </a:lnTo>
                <a:lnTo>
                  <a:pt x="144" y="196"/>
                </a:lnTo>
                <a:lnTo>
                  <a:pt x="143" y="196"/>
                </a:lnTo>
                <a:lnTo>
                  <a:pt x="143" y="194"/>
                </a:lnTo>
                <a:lnTo>
                  <a:pt x="138" y="194"/>
                </a:lnTo>
                <a:lnTo>
                  <a:pt x="138" y="195"/>
                </a:lnTo>
                <a:lnTo>
                  <a:pt x="137" y="196"/>
                </a:lnTo>
                <a:lnTo>
                  <a:pt x="137" y="192"/>
                </a:lnTo>
                <a:lnTo>
                  <a:pt x="136" y="194"/>
                </a:lnTo>
                <a:lnTo>
                  <a:pt x="133" y="194"/>
                </a:lnTo>
                <a:lnTo>
                  <a:pt x="131" y="192"/>
                </a:lnTo>
                <a:lnTo>
                  <a:pt x="132" y="192"/>
                </a:lnTo>
                <a:lnTo>
                  <a:pt x="132" y="191"/>
                </a:lnTo>
                <a:lnTo>
                  <a:pt x="133" y="191"/>
                </a:lnTo>
                <a:lnTo>
                  <a:pt x="132" y="190"/>
                </a:lnTo>
                <a:lnTo>
                  <a:pt x="131" y="190"/>
                </a:lnTo>
                <a:lnTo>
                  <a:pt x="130" y="189"/>
                </a:lnTo>
                <a:lnTo>
                  <a:pt x="129" y="189"/>
                </a:lnTo>
                <a:lnTo>
                  <a:pt x="127" y="188"/>
                </a:lnTo>
                <a:lnTo>
                  <a:pt x="127" y="185"/>
                </a:lnTo>
                <a:lnTo>
                  <a:pt x="126" y="185"/>
                </a:lnTo>
                <a:lnTo>
                  <a:pt x="124" y="188"/>
                </a:lnTo>
                <a:lnTo>
                  <a:pt x="124" y="190"/>
                </a:lnTo>
                <a:lnTo>
                  <a:pt x="123" y="190"/>
                </a:lnTo>
                <a:lnTo>
                  <a:pt x="123" y="189"/>
                </a:lnTo>
                <a:lnTo>
                  <a:pt x="121" y="189"/>
                </a:lnTo>
                <a:lnTo>
                  <a:pt x="121" y="186"/>
                </a:lnTo>
                <a:lnTo>
                  <a:pt x="119" y="184"/>
                </a:lnTo>
                <a:lnTo>
                  <a:pt x="119" y="183"/>
                </a:lnTo>
                <a:lnTo>
                  <a:pt x="117" y="183"/>
                </a:lnTo>
                <a:lnTo>
                  <a:pt x="117" y="182"/>
                </a:lnTo>
                <a:lnTo>
                  <a:pt x="116" y="182"/>
                </a:lnTo>
                <a:lnTo>
                  <a:pt x="117" y="183"/>
                </a:lnTo>
                <a:lnTo>
                  <a:pt x="117" y="184"/>
                </a:lnTo>
                <a:lnTo>
                  <a:pt x="116" y="184"/>
                </a:lnTo>
                <a:lnTo>
                  <a:pt x="114" y="185"/>
                </a:lnTo>
                <a:lnTo>
                  <a:pt x="116" y="185"/>
                </a:lnTo>
                <a:lnTo>
                  <a:pt x="116" y="188"/>
                </a:lnTo>
                <a:lnTo>
                  <a:pt x="114" y="188"/>
                </a:lnTo>
                <a:lnTo>
                  <a:pt x="113" y="186"/>
                </a:lnTo>
                <a:lnTo>
                  <a:pt x="111" y="188"/>
                </a:lnTo>
                <a:lnTo>
                  <a:pt x="111" y="186"/>
                </a:lnTo>
                <a:lnTo>
                  <a:pt x="108" y="186"/>
                </a:lnTo>
                <a:lnTo>
                  <a:pt x="107" y="188"/>
                </a:lnTo>
                <a:lnTo>
                  <a:pt x="106" y="188"/>
                </a:lnTo>
                <a:lnTo>
                  <a:pt x="106" y="186"/>
                </a:lnTo>
                <a:lnTo>
                  <a:pt x="105" y="186"/>
                </a:lnTo>
                <a:lnTo>
                  <a:pt x="105" y="185"/>
                </a:lnTo>
                <a:lnTo>
                  <a:pt x="104" y="185"/>
                </a:lnTo>
                <a:lnTo>
                  <a:pt x="101" y="184"/>
                </a:lnTo>
                <a:lnTo>
                  <a:pt x="100" y="184"/>
                </a:lnTo>
                <a:lnTo>
                  <a:pt x="100" y="185"/>
                </a:lnTo>
                <a:lnTo>
                  <a:pt x="99" y="184"/>
                </a:lnTo>
                <a:lnTo>
                  <a:pt x="96" y="184"/>
                </a:lnTo>
                <a:lnTo>
                  <a:pt x="94" y="185"/>
                </a:lnTo>
                <a:lnTo>
                  <a:pt x="93" y="185"/>
                </a:lnTo>
                <a:lnTo>
                  <a:pt x="93" y="184"/>
                </a:lnTo>
                <a:lnTo>
                  <a:pt x="92" y="184"/>
                </a:lnTo>
                <a:lnTo>
                  <a:pt x="90" y="186"/>
                </a:lnTo>
                <a:lnTo>
                  <a:pt x="89" y="186"/>
                </a:lnTo>
                <a:lnTo>
                  <a:pt x="89" y="188"/>
                </a:lnTo>
                <a:lnTo>
                  <a:pt x="88" y="188"/>
                </a:lnTo>
                <a:lnTo>
                  <a:pt x="87" y="186"/>
                </a:lnTo>
                <a:lnTo>
                  <a:pt x="85" y="186"/>
                </a:lnTo>
                <a:lnTo>
                  <a:pt x="83" y="188"/>
                </a:lnTo>
                <a:lnTo>
                  <a:pt x="82" y="186"/>
                </a:lnTo>
                <a:lnTo>
                  <a:pt x="79" y="190"/>
                </a:lnTo>
                <a:lnTo>
                  <a:pt x="77" y="190"/>
                </a:lnTo>
                <a:lnTo>
                  <a:pt x="77" y="186"/>
                </a:lnTo>
                <a:lnTo>
                  <a:pt x="75" y="186"/>
                </a:lnTo>
                <a:lnTo>
                  <a:pt x="75" y="184"/>
                </a:lnTo>
                <a:lnTo>
                  <a:pt x="73" y="184"/>
                </a:lnTo>
                <a:lnTo>
                  <a:pt x="73" y="180"/>
                </a:lnTo>
                <a:lnTo>
                  <a:pt x="71" y="179"/>
                </a:lnTo>
                <a:lnTo>
                  <a:pt x="70" y="179"/>
                </a:lnTo>
                <a:lnTo>
                  <a:pt x="71" y="183"/>
                </a:lnTo>
                <a:lnTo>
                  <a:pt x="71" y="185"/>
                </a:lnTo>
                <a:lnTo>
                  <a:pt x="69" y="185"/>
                </a:lnTo>
                <a:lnTo>
                  <a:pt x="69" y="186"/>
                </a:lnTo>
                <a:lnTo>
                  <a:pt x="68" y="186"/>
                </a:lnTo>
                <a:lnTo>
                  <a:pt x="68" y="188"/>
                </a:lnTo>
                <a:lnTo>
                  <a:pt x="64" y="188"/>
                </a:lnTo>
                <a:lnTo>
                  <a:pt x="64" y="190"/>
                </a:lnTo>
                <a:lnTo>
                  <a:pt x="63" y="190"/>
                </a:lnTo>
                <a:lnTo>
                  <a:pt x="63" y="188"/>
                </a:lnTo>
                <a:lnTo>
                  <a:pt x="61" y="188"/>
                </a:lnTo>
                <a:lnTo>
                  <a:pt x="62" y="186"/>
                </a:lnTo>
                <a:lnTo>
                  <a:pt x="61" y="186"/>
                </a:lnTo>
                <a:lnTo>
                  <a:pt x="61" y="185"/>
                </a:lnTo>
                <a:lnTo>
                  <a:pt x="63" y="185"/>
                </a:lnTo>
                <a:lnTo>
                  <a:pt x="63" y="184"/>
                </a:lnTo>
                <a:lnTo>
                  <a:pt x="61" y="184"/>
                </a:lnTo>
                <a:lnTo>
                  <a:pt x="61" y="183"/>
                </a:lnTo>
                <a:lnTo>
                  <a:pt x="62" y="183"/>
                </a:lnTo>
                <a:lnTo>
                  <a:pt x="62" y="182"/>
                </a:lnTo>
                <a:lnTo>
                  <a:pt x="61" y="180"/>
                </a:lnTo>
                <a:lnTo>
                  <a:pt x="61" y="177"/>
                </a:lnTo>
                <a:lnTo>
                  <a:pt x="60" y="178"/>
                </a:lnTo>
                <a:lnTo>
                  <a:pt x="58" y="178"/>
                </a:lnTo>
                <a:lnTo>
                  <a:pt x="58" y="177"/>
                </a:lnTo>
                <a:lnTo>
                  <a:pt x="57" y="177"/>
                </a:lnTo>
                <a:lnTo>
                  <a:pt x="58" y="174"/>
                </a:lnTo>
                <a:lnTo>
                  <a:pt x="58" y="173"/>
                </a:lnTo>
                <a:lnTo>
                  <a:pt x="57" y="172"/>
                </a:lnTo>
                <a:lnTo>
                  <a:pt x="56" y="170"/>
                </a:lnTo>
                <a:lnTo>
                  <a:pt x="54" y="170"/>
                </a:lnTo>
                <a:lnTo>
                  <a:pt x="54" y="169"/>
                </a:lnTo>
                <a:lnTo>
                  <a:pt x="52" y="164"/>
                </a:lnTo>
                <a:lnTo>
                  <a:pt x="51" y="163"/>
                </a:lnTo>
                <a:lnTo>
                  <a:pt x="50" y="163"/>
                </a:lnTo>
                <a:lnTo>
                  <a:pt x="50" y="164"/>
                </a:lnTo>
                <a:lnTo>
                  <a:pt x="49" y="164"/>
                </a:lnTo>
                <a:lnTo>
                  <a:pt x="48" y="165"/>
                </a:lnTo>
                <a:lnTo>
                  <a:pt x="48" y="164"/>
                </a:lnTo>
                <a:lnTo>
                  <a:pt x="46" y="164"/>
                </a:lnTo>
                <a:lnTo>
                  <a:pt x="45" y="163"/>
                </a:lnTo>
                <a:lnTo>
                  <a:pt x="46" y="161"/>
                </a:lnTo>
                <a:lnTo>
                  <a:pt x="46" y="160"/>
                </a:lnTo>
                <a:lnTo>
                  <a:pt x="48" y="159"/>
                </a:lnTo>
                <a:lnTo>
                  <a:pt x="49" y="159"/>
                </a:lnTo>
                <a:lnTo>
                  <a:pt x="46" y="157"/>
                </a:lnTo>
                <a:lnTo>
                  <a:pt x="46" y="155"/>
                </a:lnTo>
                <a:lnTo>
                  <a:pt x="48" y="154"/>
                </a:lnTo>
                <a:lnTo>
                  <a:pt x="48" y="155"/>
                </a:lnTo>
                <a:lnTo>
                  <a:pt x="49" y="155"/>
                </a:lnTo>
                <a:lnTo>
                  <a:pt x="49" y="157"/>
                </a:lnTo>
                <a:lnTo>
                  <a:pt x="50" y="155"/>
                </a:lnTo>
                <a:lnTo>
                  <a:pt x="54" y="155"/>
                </a:lnTo>
                <a:lnTo>
                  <a:pt x="54" y="154"/>
                </a:lnTo>
                <a:lnTo>
                  <a:pt x="55" y="155"/>
                </a:lnTo>
                <a:lnTo>
                  <a:pt x="58" y="155"/>
                </a:lnTo>
                <a:lnTo>
                  <a:pt x="58" y="158"/>
                </a:lnTo>
                <a:lnTo>
                  <a:pt x="60" y="158"/>
                </a:lnTo>
                <a:lnTo>
                  <a:pt x="61" y="159"/>
                </a:lnTo>
                <a:lnTo>
                  <a:pt x="61" y="157"/>
                </a:lnTo>
                <a:lnTo>
                  <a:pt x="62" y="157"/>
                </a:lnTo>
                <a:lnTo>
                  <a:pt x="64" y="159"/>
                </a:lnTo>
                <a:lnTo>
                  <a:pt x="64" y="157"/>
                </a:lnTo>
                <a:lnTo>
                  <a:pt x="63" y="157"/>
                </a:lnTo>
                <a:lnTo>
                  <a:pt x="63" y="153"/>
                </a:lnTo>
                <a:lnTo>
                  <a:pt x="64" y="153"/>
                </a:lnTo>
                <a:lnTo>
                  <a:pt x="64" y="152"/>
                </a:lnTo>
                <a:lnTo>
                  <a:pt x="61" y="148"/>
                </a:lnTo>
                <a:lnTo>
                  <a:pt x="61" y="149"/>
                </a:lnTo>
                <a:lnTo>
                  <a:pt x="60" y="149"/>
                </a:lnTo>
                <a:lnTo>
                  <a:pt x="58" y="151"/>
                </a:lnTo>
                <a:lnTo>
                  <a:pt x="60" y="152"/>
                </a:lnTo>
                <a:lnTo>
                  <a:pt x="57" y="151"/>
                </a:lnTo>
                <a:lnTo>
                  <a:pt x="56" y="151"/>
                </a:lnTo>
                <a:lnTo>
                  <a:pt x="56" y="149"/>
                </a:lnTo>
                <a:lnTo>
                  <a:pt x="55" y="151"/>
                </a:lnTo>
                <a:lnTo>
                  <a:pt x="55" y="148"/>
                </a:lnTo>
                <a:lnTo>
                  <a:pt x="50" y="148"/>
                </a:lnTo>
                <a:lnTo>
                  <a:pt x="50" y="146"/>
                </a:lnTo>
                <a:lnTo>
                  <a:pt x="49" y="146"/>
                </a:lnTo>
                <a:lnTo>
                  <a:pt x="49" y="147"/>
                </a:lnTo>
                <a:lnTo>
                  <a:pt x="48" y="147"/>
                </a:lnTo>
                <a:lnTo>
                  <a:pt x="48" y="149"/>
                </a:lnTo>
                <a:lnTo>
                  <a:pt x="46" y="151"/>
                </a:lnTo>
                <a:lnTo>
                  <a:pt x="49" y="153"/>
                </a:lnTo>
                <a:lnTo>
                  <a:pt x="46" y="153"/>
                </a:lnTo>
                <a:lnTo>
                  <a:pt x="46" y="154"/>
                </a:lnTo>
                <a:lnTo>
                  <a:pt x="45" y="154"/>
                </a:lnTo>
                <a:lnTo>
                  <a:pt x="45" y="153"/>
                </a:lnTo>
                <a:lnTo>
                  <a:pt x="44" y="152"/>
                </a:lnTo>
                <a:lnTo>
                  <a:pt x="45" y="152"/>
                </a:lnTo>
                <a:lnTo>
                  <a:pt x="45" y="151"/>
                </a:lnTo>
                <a:lnTo>
                  <a:pt x="44" y="149"/>
                </a:lnTo>
                <a:lnTo>
                  <a:pt x="44" y="148"/>
                </a:lnTo>
                <a:lnTo>
                  <a:pt x="36" y="140"/>
                </a:lnTo>
                <a:lnTo>
                  <a:pt x="34" y="140"/>
                </a:lnTo>
                <a:lnTo>
                  <a:pt x="36" y="139"/>
                </a:lnTo>
                <a:lnTo>
                  <a:pt x="34" y="139"/>
                </a:lnTo>
                <a:lnTo>
                  <a:pt x="34" y="137"/>
                </a:lnTo>
                <a:lnTo>
                  <a:pt x="36" y="137"/>
                </a:lnTo>
                <a:lnTo>
                  <a:pt x="36" y="136"/>
                </a:lnTo>
                <a:lnTo>
                  <a:pt x="34" y="136"/>
                </a:lnTo>
                <a:lnTo>
                  <a:pt x="34" y="137"/>
                </a:lnTo>
                <a:lnTo>
                  <a:pt x="33" y="136"/>
                </a:lnTo>
                <a:lnTo>
                  <a:pt x="30" y="136"/>
                </a:lnTo>
                <a:lnTo>
                  <a:pt x="27" y="134"/>
                </a:lnTo>
                <a:lnTo>
                  <a:pt x="27" y="133"/>
                </a:lnTo>
                <a:lnTo>
                  <a:pt x="26" y="132"/>
                </a:lnTo>
                <a:lnTo>
                  <a:pt x="26" y="130"/>
                </a:lnTo>
                <a:lnTo>
                  <a:pt x="25" y="130"/>
                </a:lnTo>
                <a:lnTo>
                  <a:pt x="25" y="129"/>
                </a:lnTo>
                <a:lnTo>
                  <a:pt x="24" y="128"/>
                </a:lnTo>
                <a:lnTo>
                  <a:pt x="26" y="128"/>
                </a:lnTo>
                <a:lnTo>
                  <a:pt x="26" y="127"/>
                </a:lnTo>
                <a:lnTo>
                  <a:pt x="25" y="127"/>
                </a:lnTo>
                <a:lnTo>
                  <a:pt x="24" y="126"/>
                </a:lnTo>
                <a:lnTo>
                  <a:pt x="25" y="126"/>
                </a:lnTo>
                <a:lnTo>
                  <a:pt x="26" y="124"/>
                </a:lnTo>
                <a:lnTo>
                  <a:pt x="25" y="124"/>
                </a:lnTo>
                <a:lnTo>
                  <a:pt x="25" y="123"/>
                </a:lnTo>
                <a:lnTo>
                  <a:pt x="20" y="123"/>
                </a:lnTo>
                <a:lnTo>
                  <a:pt x="21" y="122"/>
                </a:lnTo>
                <a:lnTo>
                  <a:pt x="21" y="121"/>
                </a:lnTo>
                <a:lnTo>
                  <a:pt x="23" y="121"/>
                </a:lnTo>
                <a:lnTo>
                  <a:pt x="23" y="118"/>
                </a:lnTo>
                <a:lnTo>
                  <a:pt x="21" y="117"/>
                </a:lnTo>
                <a:lnTo>
                  <a:pt x="24" y="117"/>
                </a:lnTo>
                <a:lnTo>
                  <a:pt x="24" y="116"/>
                </a:lnTo>
                <a:lnTo>
                  <a:pt x="25" y="116"/>
                </a:lnTo>
                <a:lnTo>
                  <a:pt x="25" y="115"/>
                </a:lnTo>
                <a:lnTo>
                  <a:pt x="27" y="112"/>
                </a:lnTo>
                <a:lnTo>
                  <a:pt x="27" y="111"/>
                </a:lnTo>
                <a:lnTo>
                  <a:pt x="26" y="111"/>
                </a:lnTo>
                <a:lnTo>
                  <a:pt x="26" y="110"/>
                </a:lnTo>
                <a:lnTo>
                  <a:pt x="27" y="110"/>
                </a:lnTo>
                <a:lnTo>
                  <a:pt x="26" y="109"/>
                </a:lnTo>
                <a:lnTo>
                  <a:pt x="26" y="108"/>
                </a:lnTo>
                <a:lnTo>
                  <a:pt x="27" y="108"/>
                </a:lnTo>
                <a:lnTo>
                  <a:pt x="29" y="109"/>
                </a:lnTo>
                <a:lnTo>
                  <a:pt x="31" y="109"/>
                </a:lnTo>
                <a:lnTo>
                  <a:pt x="32" y="108"/>
                </a:lnTo>
                <a:lnTo>
                  <a:pt x="31" y="106"/>
                </a:lnTo>
                <a:lnTo>
                  <a:pt x="30" y="103"/>
                </a:lnTo>
                <a:lnTo>
                  <a:pt x="29" y="102"/>
                </a:lnTo>
                <a:lnTo>
                  <a:pt x="27" y="98"/>
                </a:lnTo>
                <a:lnTo>
                  <a:pt x="31" y="98"/>
                </a:lnTo>
                <a:lnTo>
                  <a:pt x="31" y="96"/>
                </a:lnTo>
                <a:lnTo>
                  <a:pt x="33" y="93"/>
                </a:lnTo>
                <a:lnTo>
                  <a:pt x="34" y="94"/>
                </a:lnTo>
                <a:lnTo>
                  <a:pt x="36" y="93"/>
                </a:lnTo>
                <a:lnTo>
                  <a:pt x="40" y="93"/>
                </a:lnTo>
                <a:lnTo>
                  <a:pt x="42" y="92"/>
                </a:lnTo>
                <a:lnTo>
                  <a:pt x="43" y="92"/>
                </a:lnTo>
                <a:lnTo>
                  <a:pt x="43" y="87"/>
                </a:lnTo>
                <a:lnTo>
                  <a:pt x="44" y="87"/>
                </a:lnTo>
                <a:lnTo>
                  <a:pt x="44" y="81"/>
                </a:lnTo>
                <a:lnTo>
                  <a:pt x="45" y="81"/>
                </a:lnTo>
                <a:lnTo>
                  <a:pt x="46" y="80"/>
                </a:lnTo>
                <a:lnTo>
                  <a:pt x="46" y="79"/>
                </a:lnTo>
                <a:lnTo>
                  <a:pt x="48" y="78"/>
                </a:lnTo>
                <a:lnTo>
                  <a:pt x="48" y="74"/>
                </a:lnTo>
                <a:lnTo>
                  <a:pt x="50" y="72"/>
                </a:lnTo>
                <a:lnTo>
                  <a:pt x="55" y="72"/>
                </a:lnTo>
                <a:lnTo>
                  <a:pt x="55" y="69"/>
                </a:lnTo>
                <a:lnTo>
                  <a:pt x="56" y="68"/>
                </a:lnTo>
                <a:lnTo>
                  <a:pt x="57" y="68"/>
                </a:lnTo>
                <a:lnTo>
                  <a:pt x="57" y="67"/>
                </a:lnTo>
                <a:lnTo>
                  <a:pt x="58" y="67"/>
                </a:lnTo>
                <a:lnTo>
                  <a:pt x="58" y="59"/>
                </a:lnTo>
                <a:lnTo>
                  <a:pt x="56" y="56"/>
                </a:lnTo>
                <a:lnTo>
                  <a:pt x="55" y="56"/>
                </a:lnTo>
                <a:lnTo>
                  <a:pt x="55" y="54"/>
                </a:lnTo>
                <a:lnTo>
                  <a:pt x="56" y="53"/>
                </a:lnTo>
                <a:lnTo>
                  <a:pt x="56" y="50"/>
                </a:lnTo>
                <a:lnTo>
                  <a:pt x="62" y="50"/>
                </a:lnTo>
                <a:lnTo>
                  <a:pt x="64" y="49"/>
                </a:lnTo>
                <a:lnTo>
                  <a:pt x="68" y="49"/>
                </a:lnTo>
                <a:lnTo>
                  <a:pt x="68" y="50"/>
                </a:lnTo>
                <a:lnTo>
                  <a:pt x="69" y="50"/>
                </a:lnTo>
                <a:lnTo>
                  <a:pt x="71" y="49"/>
                </a:lnTo>
                <a:lnTo>
                  <a:pt x="74" y="47"/>
                </a:lnTo>
                <a:lnTo>
                  <a:pt x="75" y="47"/>
                </a:lnTo>
                <a:lnTo>
                  <a:pt x="79" y="48"/>
                </a:lnTo>
                <a:lnTo>
                  <a:pt x="80" y="49"/>
                </a:lnTo>
                <a:lnTo>
                  <a:pt x="82" y="49"/>
                </a:lnTo>
                <a:lnTo>
                  <a:pt x="83" y="48"/>
                </a:lnTo>
                <a:lnTo>
                  <a:pt x="85" y="48"/>
                </a:lnTo>
                <a:lnTo>
                  <a:pt x="85" y="47"/>
                </a:lnTo>
                <a:lnTo>
                  <a:pt x="86" y="46"/>
                </a:lnTo>
                <a:lnTo>
                  <a:pt x="88" y="47"/>
                </a:lnTo>
                <a:lnTo>
                  <a:pt x="89" y="47"/>
                </a:lnTo>
                <a:lnTo>
                  <a:pt x="89" y="46"/>
                </a:lnTo>
                <a:lnTo>
                  <a:pt x="90" y="46"/>
                </a:lnTo>
                <a:lnTo>
                  <a:pt x="90" y="43"/>
                </a:lnTo>
                <a:lnTo>
                  <a:pt x="94" y="40"/>
                </a:lnTo>
                <a:lnTo>
                  <a:pt x="95" y="40"/>
                </a:lnTo>
                <a:lnTo>
                  <a:pt x="95" y="36"/>
                </a:lnTo>
                <a:lnTo>
                  <a:pt x="96" y="36"/>
                </a:lnTo>
                <a:lnTo>
                  <a:pt x="98" y="35"/>
                </a:lnTo>
                <a:lnTo>
                  <a:pt x="100" y="35"/>
                </a:lnTo>
                <a:lnTo>
                  <a:pt x="100" y="34"/>
                </a:lnTo>
                <a:lnTo>
                  <a:pt x="101" y="34"/>
                </a:lnTo>
                <a:lnTo>
                  <a:pt x="101" y="35"/>
                </a:lnTo>
                <a:lnTo>
                  <a:pt x="105" y="35"/>
                </a:lnTo>
                <a:lnTo>
                  <a:pt x="106" y="34"/>
                </a:lnTo>
                <a:lnTo>
                  <a:pt x="107" y="34"/>
                </a:lnTo>
                <a:lnTo>
                  <a:pt x="108" y="32"/>
                </a:lnTo>
                <a:lnTo>
                  <a:pt x="108" y="34"/>
                </a:lnTo>
                <a:lnTo>
                  <a:pt x="112" y="34"/>
                </a:lnTo>
                <a:lnTo>
                  <a:pt x="112" y="35"/>
                </a:lnTo>
                <a:lnTo>
                  <a:pt x="116" y="35"/>
                </a:lnTo>
                <a:lnTo>
                  <a:pt x="117" y="36"/>
                </a:lnTo>
                <a:lnTo>
                  <a:pt x="119" y="36"/>
                </a:lnTo>
                <a:lnTo>
                  <a:pt x="120" y="35"/>
                </a:lnTo>
                <a:lnTo>
                  <a:pt x="121" y="35"/>
                </a:lnTo>
                <a:lnTo>
                  <a:pt x="123" y="36"/>
                </a:lnTo>
                <a:lnTo>
                  <a:pt x="123" y="35"/>
                </a:lnTo>
                <a:lnTo>
                  <a:pt x="125" y="35"/>
                </a:lnTo>
                <a:lnTo>
                  <a:pt x="125" y="32"/>
                </a:lnTo>
                <a:lnTo>
                  <a:pt x="127" y="32"/>
                </a:lnTo>
                <a:lnTo>
                  <a:pt x="127" y="34"/>
                </a:lnTo>
                <a:lnTo>
                  <a:pt x="129" y="34"/>
                </a:lnTo>
                <a:lnTo>
                  <a:pt x="129" y="35"/>
                </a:lnTo>
                <a:lnTo>
                  <a:pt x="130" y="34"/>
                </a:lnTo>
                <a:lnTo>
                  <a:pt x="130" y="26"/>
                </a:lnTo>
                <a:lnTo>
                  <a:pt x="131" y="26"/>
                </a:lnTo>
                <a:lnTo>
                  <a:pt x="131" y="24"/>
                </a:lnTo>
                <a:lnTo>
                  <a:pt x="132" y="23"/>
                </a:lnTo>
                <a:lnTo>
                  <a:pt x="138" y="23"/>
                </a:lnTo>
                <a:lnTo>
                  <a:pt x="147" y="24"/>
                </a:lnTo>
                <a:lnTo>
                  <a:pt x="149" y="24"/>
                </a:lnTo>
                <a:lnTo>
                  <a:pt x="150" y="23"/>
                </a:lnTo>
                <a:lnTo>
                  <a:pt x="150" y="22"/>
                </a:lnTo>
                <a:lnTo>
                  <a:pt x="152" y="19"/>
                </a:lnTo>
                <a:lnTo>
                  <a:pt x="154" y="19"/>
                </a:lnTo>
                <a:lnTo>
                  <a:pt x="154" y="20"/>
                </a:lnTo>
                <a:lnTo>
                  <a:pt x="155" y="20"/>
                </a:lnTo>
                <a:lnTo>
                  <a:pt x="155" y="22"/>
                </a:lnTo>
                <a:lnTo>
                  <a:pt x="156" y="22"/>
                </a:lnTo>
                <a:lnTo>
                  <a:pt x="157" y="20"/>
                </a:lnTo>
                <a:lnTo>
                  <a:pt x="158" y="20"/>
                </a:lnTo>
                <a:lnTo>
                  <a:pt x="158" y="19"/>
                </a:lnTo>
                <a:lnTo>
                  <a:pt x="163" y="19"/>
                </a:lnTo>
                <a:lnTo>
                  <a:pt x="166" y="22"/>
                </a:lnTo>
                <a:lnTo>
                  <a:pt x="167" y="22"/>
                </a:lnTo>
                <a:lnTo>
                  <a:pt x="169" y="19"/>
                </a:lnTo>
                <a:lnTo>
                  <a:pt x="173" y="19"/>
                </a:lnTo>
                <a:lnTo>
                  <a:pt x="174" y="18"/>
                </a:lnTo>
                <a:lnTo>
                  <a:pt x="176" y="18"/>
                </a:lnTo>
                <a:lnTo>
                  <a:pt x="179" y="16"/>
                </a:lnTo>
                <a:lnTo>
                  <a:pt x="180" y="16"/>
                </a:lnTo>
                <a:lnTo>
                  <a:pt x="181" y="18"/>
                </a:lnTo>
                <a:lnTo>
                  <a:pt x="182" y="17"/>
                </a:lnTo>
                <a:lnTo>
                  <a:pt x="183" y="17"/>
                </a:lnTo>
                <a:lnTo>
                  <a:pt x="183" y="16"/>
                </a:lnTo>
                <a:lnTo>
                  <a:pt x="185" y="17"/>
                </a:lnTo>
                <a:lnTo>
                  <a:pt x="186" y="17"/>
                </a:lnTo>
                <a:lnTo>
                  <a:pt x="186" y="12"/>
                </a:lnTo>
                <a:lnTo>
                  <a:pt x="189" y="12"/>
                </a:lnTo>
                <a:lnTo>
                  <a:pt x="189" y="13"/>
                </a:lnTo>
                <a:lnTo>
                  <a:pt x="191" y="13"/>
                </a:lnTo>
                <a:lnTo>
                  <a:pt x="191" y="12"/>
                </a:lnTo>
                <a:lnTo>
                  <a:pt x="192" y="11"/>
                </a:lnTo>
                <a:lnTo>
                  <a:pt x="194" y="11"/>
                </a:lnTo>
                <a:lnTo>
                  <a:pt x="195" y="12"/>
                </a:lnTo>
                <a:lnTo>
                  <a:pt x="195" y="13"/>
                </a:lnTo>
                <a:lnTo>
                  <a:pt x="199" y="13"/>
                </a:lnTo>
                <a:lnTo>
                  <a:pt x="200" y="12"/>
                </a:lnTo>
                <a:lnTo>
                  <a:pt x="203" y="12"/>
                </a:lnTo>
                <a:lnTo>
                  <a:pt x="203" y="11"/>
                </a:lnTo>
                <a:lnTo>
                  <a:pt x="206" y="11"/>
                </a:lnTo>
                <a:lnTo>
                  <a:pt x="206" y="14"/>
                </a:lnTo>
                <a:lnTo>
                  <a:pt x="207" y="14"/>
                </a:lnTo>
                <a:lnTo>
                  <a:pt x="207" y="16"/>
                </a:lnTo>
                <a:lnTo>
                  <a:pt x="208" y="16"/>
                </a:lnTo>
                <a:lnTo>
                  <a:pt x="208" y="18"/>
                </a:lnTo>
                <a:lnTo>
                  <a:pt x="211" y="18"/>
                </a:lnTo>
                <a:lnTo>
                  <a:pt x="212" y="19"/>
                </a:lnTo>
                <a:lnTo>
                  <a:pt x="213" y="19"/>
                </a:lnTo>
                <a:lnTo>
                  <a:pt x="213" y="20"/>
                </a:lnTo>
                <a:lnTo>
                  <a:pt x="216" y="22"/>
                </a:lnTo>
                <a:lnTo>
                  <a:pt x="216" y="23"/>
                </a:lnTo>
                <a:lnTo>
                  <a:pt x="217" y="23"/>
                </a:lnTo>
                <a:lnTo>
                  <a:pt x="217" y="20"/>
                </a:lnTo>
                <a:lnTo>
                  <a:pt x="219" y="20"/>
                </a:lnTo>
                <a:lnTo>
                  <a:pt x="220" y="19"/>
                </a:lnTo>
                <a:lnTo>
                  <a:pt x="223" y="20"/>
                </a:lnTo>
                <a:lnTo>
                  <a:pt x="229" y="23"/>
                </a:lnTo>
                <a:lnTo>
                  <a:pt x="230" y="23"/>
                </a:lnTo>
                <a:lnTo>
                  <a:pt x="230" y="24"/>
                </a:lnTo>
                <a:lnTo>
                  <a:pt x="231" y="24"/>
                </a:lnTo>
                <a:lnTo>
                  <a:pt x="232" y="25"/>
                </a:lnTo>
                <a:lnTo>
                  <a:pt x="234" y="25"/>
                </a:lnTo>
                <a:lnTo>
                  <a:pt x="235" y="28"/>
                </a:lnTo>
                <a:lnTo>
                  <a:pt x="236" y="29"/>
                </a:lnTo>
                <a:lnTo>
                  <a:pt x="238" y="29"/>
                </a:lnTo>
                <a:lnTo>
                  <a:pt x="244" y="26"/>
                </a:lnTo>
                <a:lnTo>
                  <a:pt x="248" y="26"/>
                </a:lnTo>
                <a:lnTo>
                  <a:pt x="248" y="24"/>
                </a:lnTo>
                <a:lnTo>
                  <a:pt x="253" y="24"/>
                </a:lnTo>
                <a:lnTo>
                  <a:pt x="253" y="25"/>
                </a:lnTo>
                <a:lnTo>
                  <a:pt x="255" y="25"/>
                </a:lnTo>
                <a:lnTo>
                  <a:pt x="256" y="24"/>
                </a:lnTo>
                <a:lnTo>
                  <a:pt x="257" y="24"/>
                </a:lnTo>
                <a:lnTo>
                  <a:pt x="260" y="23"/>
                </a:lnTo>
                <a:lnTo>
                  <a:pt x="261" y="23"/>
                </a:lnTo>
                <a:lnTo>
                  <a:pt x="262" y="25"/>
                </a:lnTo>
                <a:lnTo>
                  <a:pt x="263" y="25"/>
                </a:lnTo>
                <a:lnTo>
                  <a:pt x="265" y="24"/>
                </a:lnTo>
                <a:lnTo>
                  <a:pt x="267" y="24"/>
                </a:lnTo>
                <a:lnTo>
                  <a:pt x="268" y="23"/>
                </a:lnTo>
                <a:lnTo>
                  <a:pt x="269" y="23"/>
                </a:lnTo>
                <a:lnTo>
                  <a:pt x="273" y="22"/>
                </a:lnTo>
                <a:lnTo>
                  <a:pt x="274" y="22"/>
                </a:lnTo>
                <a:lnTo>
                  <a:pt x="274" y="18"/>
                </a:lnTo>
                <a:lnTo>
                  <a:pt x="275" y="18"/>
                </a:lnTo>
                <a:lnTo>
                  <a:pt x="275" y="17"/>
                </a:lnTo>
                <a:lnTo>
                  <a:pt x="274" y="16"/>
                </a:lnTo>
                <a:lnTo>
                  <a:pt x="274" y="14"/>
                </a:lnTo>
                <a:lnTo>
                  <a:pt x="275" y="13"/>
                </a:lnTo>
                <a:lnTo>
                  <a:pt x="275" y="12"/>
                </a:lnTo>
                <a:lnTo>
                  <a:pt x="274" y="12"/>
                </a:lnTo>
                <a:lnTo>
                  <a:pt x="274" y="11"/>
                </a:lnTo>
                <a:lnTo>
                  <a:pt x="273" y="11"/>
                </a:lnTo>
                <a:lnTo>
                  <a:pt x="273" y="7"/>
                </a:lnTo>
                <a:lnTo>
                  <a:pt x="272" y="7"/>
                </a:lnTo>
                <a:lnTo>
                  <a:pt x="272" y="6"/>
                </a:lnTo>
                <a:lnTo>
                  <a:pt x="270" y="6"/>
                </a:lnTo>
                <a:lnTo>
                  <a:pt x="270" y="3"/>
                </a:lnTo>
                <a:lnTo>
                  <a:pt x="272" y="3"/>
                </a:lnTo>
                <a:lnTo>
                  <a:pt x="273" y="1"/>
                </a:lnTo>
                <a:lnTo>
                  <a:pt x="276" y="1"/>
                </a:lnTo>
                <a:lnTo>
                  <a:pt x="276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8" name="Freeform 39">
            <a:extLst>
              <a:ext uri="{FF2B5EF4-FFF2-40B4-BE49-F238E27FC236}">
                <a16:creationId xmlns:a16="http://schemas.microsoft.com/office/drawing/2014/main" id="{789060C8-C65A-44AD-A126-44186EA6C39E}"/>
              </a:ext>
            </a:extLst>
          </p:cNvPr>
          <p:cNvSpPr>
            <a:spLocks noEditPoints="1"/>
          </p:cNvSpPr>
          <p:nvPr/>
        </p:nvSpPr>
        <p:spPr bwMode="auto">
          <a:xfrm>
            <a:off x="705731" y="3801872"/>
            <a:ext cx="633187" cy="992525"/>
          </a:xfrm>
          <a:custGeom>
            <a:avLst/>
            <a:gdLst/>
            <a:ahLst/>
            <a:cxnLst>
              <a:cxn ang="0">
                <a:pos x="260" y="596"/>
              </a:cxn>
              <a:cxn ang="0">
                <a:pos x="170" y="411"/>
              </a:cxn>
              <a:cxn ang="0">
                <a:pos x="180" y="337"/>
              </a:cxn>
              <a:cxn ang="0">
                <a:pos x="113" y="287"/>
              </a:cxn>
              <a:cxn ang="0">
                <a:pos x="123" y="319"/>
              </a:cxn>
              <a:cxn ang="0">
                <a:pos x="81" y="343"/>
              </a:cxn>
              <a:cxn ang="0">
                <a:pos x="30" y="335"/>
              </a:cxn>
              <a:cxn ang="0">
                <a:pos x="63" y="282"/>
              </a:cxn>
              <a:cxn ang="0">
                <a:pos x="150" y="229"/>
              </a:cxn>
              <a:cxn ang="0">
                <a:pos x="88" y="234"/>
              </a:cxn>
              <a:cxn ang="0">
                <a:pos x="111" y="212"/>
              </a:cxn>
              <a:cxn ang="0">
                <a:pos x="78" y="168"/>
              </a:cxn>
              <a:cxn ang="0">
                <a:pos x="98" y="184"/>
              </a:cxn>
              <a:cxn ang="0">
                <a:pos x="86" y="165"/>
              </a:cxn>
              <a:cxn ang="0">
                <a:pos x="86" y="130"/>
              </a:cxn>
              <a:cxn ang="0">
                <a:pos x="58" y="124"/>
              </a:cxn>
              <a:cxn ang="0">
                <a:pos x="56" y="88"/>
              </a:cxn>
              <a:cxn ang="0">
                <a:pos x="51" y="83"/>
              </a:cxn>
              <a:cxn ang="0">
                <a:pos x="109" y="131"/>
              </a:cxn>
              <a:cxn ang="0">
                <a:pos x="79" y="103"/>
              </a:cxn>
              <a:cxn ang="0">
                <a:pos x="61" y="75"/>
              </a:cxn>
              <a:cxn ang="0">
                <a:pos x="94" y="36"/>
              </a:cxn>
              <a:cxn ang="0">
                <a:pos x="81" y="61"/>
              </a:cxn>
              <a:cxn ang="0">
                <a:pos x="62" y="45"/>
              </a:cxn>
              <a:cxn ang="0">
                <a:pos x="236" y="3"/>
              </a:cxn>
              <a:cxn ang="0">
                <a:pos x="179" y="62"/>
              </a:cxn>
              <a:cxn ang="0">
                <a:pos x="186" y="92"/>
              </a:cxn>
              <a:cxn ang="0">
                <a:pos x="267" y="79"/>
              </a:cxn>
              <a:cxn ang="0">
                <a:pos x="248" y="174"/>
              </a:cxn>
              <a:cxn ang="0">
                <a:pos x="223" y="210"/>
              </a:cxn>
              <a:cxn ang="0">
                <a:pos x="299" y="273"/>
              </a:cxn>
              <a:cxn ang="0">
                <a:pos x="354" y="357"/>
              </a:cxn>
              <a:cxn ang="0">
                <a:pos x="370" y="427"/>
              </a:cxn>
              <a:cxn ang="0">
                <a:pos x="417" y="499"/>
              </a:cxn>
              <a:cxn ang="0">
                <a:pos x="381" y="534"/>
              </a:cxn>
              <a:cxn ang="0">
                <a:pos x="390" y="574"/>
              </a:cxn>
              <a:cxn ang="0">
                <a:pos x="298" y="580"/>
              </a:cxn>
              <a:cxn ang="0">
                <a:pos x="217" y="591"/>
              </a:cxn>
              <a:cxn ang="0">
                <a:pos x="178" y="607"/>
              </a:cxn>
              <a:cxn ang="0">
                <a:pos x="124" y="620"/>
              </a:cxn>
              <a:cxn ang="0">
                <a:pos x="185" y="552"/>
              </a:cxn>
              <a:cxn ang="0">
                <a:pos x="237" y="528"/>
              </a:cxn>
              <a:cxn ang="0">
                <a:pos x="178" y="516"/>
              </a:cxn>
              <a:cxn ang="0">
                <a:pos x="144" y="517"/>
              </a:cxn>
              <a:cxn ang="0">
                <a:pos x="197" y="458"/>
              </a:cxn>
              <a:cxn ang="0">
                <a:pos x="187" y="413"/>
              </a:cxn>
              <a:cxn ang="0">
                <a:pos x="238" y="378"/>
              </a:cxn>
              <a:cxn ang="0">
                <a:pos x="227" y="343"/>
              </a:cxn>
              <a:cxn ang="0">
                <a:pos x="200" y="295"/>
              </a:cxn>
              <a:cxn ang="0">
                <a:pos x="155" y="302"/>
              </a:cxn>
              <a:cxn ang="0">
                <a:pos x="157" y="223"/>
              </a:cxn>
              <a:cxn ang="0">
                <a:pos x="149" y="216"/>
              </a:cxn>
              <a:cxn ang="0">
                <a:pos x="132" y="236"/>
              </a:cxn>
              <a:cxn ang="0">
                <a:pos x="124" y="218"/>
              </a:cxn>
              <a:cxn ang="0">
                <a:pos x="134" y="175"/>
              </a:cxn>
              <a:cxn ang="0">
                <a:pos x="144" y="149"/>
              </a:cxn>
              <a:cxn ang="0">
                <a:pos x="113" y="152"/>
              </a:cxn>
              <a:cxn ang="0">
                <a:pos x="129" y="125"/>
              </a:cxn>
              <a:cxn ang="0">
                <a:pos x="117" y="88"/>
              </a:cxn>
              <a:cxn ang="0">
                <a:pos x="131" y="67"/>
              </a:cxn>
              <a:cxn ang="0">
                <a:pos x="136" y="36"/>
              </a:cxn>
              <a:cxn ang="0">
                <a:pos x="166" y="11"/>
              </a:cxn>
              <a:cxn ang="0">
                <a:pos x="221" y="5"/>
              </a:cxn>
            </a:cxnLst>
            <a:rect l="0" t="0" r="r" b="b"/>
            <a:pathLst>
              <a:path w="437" h="685">
                <a:moveTo>
                  <a:pt x="268" y="679"/>
                </a:moveTo>
                <a:lnTo>
                  <a:pt x="275" y="679"/>
                </a:lnTo>
                <a:lnTo>
                  <a:pt x="278" y="681"/>
                </a:lnTo>
                <a:lnTo>
                  <a:pt x="278" y="685"/>
                </a:lnTo>
                <a:lnTo>
                  <a:pt x="277" y="684"/>
                </a:lnTo>
                <a:lnTo>
                  <a:pt x="274" y="684"/>
                </a:lnTo>
                <a:lnTo>
                  <a:pt x="273" y="683"/>
                </a:lnTo>
                <a:lnTo>
                  <a:pt x="272" y="683"/>
                </a:lnTo>
                <a:lnTo>
                  <a:pt x="272" y="684"/>
                </a:lnTo>
                <a:lnTo>
                  <a:pt x="268" y="684"/>
                </a:lnTo>
                <a:lnTo>
                  <a:pt x="269" y="683"/>
                </a:lnTo>
                <a:lnTo>
                  <a:pt x="268" y="682"/>
                </a:lnTo>
                <a:lnTo>
                  <a:pt x="268" y="679"/>
                </a:lnTo>
                <a:close/>
                <a:moveTo>
                  <a:pt x="262" y="668"/>
                </a:moveTo>
                <a:lnTo>
                  <a:pt x="263" y="668"/>
                </a:lnTo>
                <a:lnTo>
                  <a:pt x="263" y="669"/>
                </a:lnTo>
                <a:lnTo>
                  <a:pt x="262" y="670"/>
                </a:lnTo>
                <a:lnTo>
                  <a:pt x="262" y="668"/>
                </a:lnTo>
                <a:close/>
                <a:moveTo>
                  <a:pt x="256" y="663"/>
                </a:moveTo>
                <a:lnTo>
                  <a:pt x="257" y="664"/>
                </a:lnTo>
                <a:lnTo>
                  <a:pt x="256" y="665"/>
                </a:lnTo>
                <a:lnTo>
                  <a:pt x="256" y="668"/>
                </a:lnTo>
                <a:lnTo>
                  <a:pt x="255" y="669"/>
                </a:lnTo>
                <a:lnTo>
                  <a:pt x="250" y="669"/>
                </a:lnTo>
                <a:lnTo>
                  <a:pt x="250" y="668"/>
                </a:lnTo>
                <a:lnTo>
                  <a:pt x="252" y="668"/>
                </a:lnTo>
                <a:lnTo>
                  <a:pt x="250" y="666"/>
                </a:lnTo>
                <a:lnTo>
                  <a:pt x="253" y="666"/>
                </a:lnTo>
                <a:lnTo>
                  <a:pt x="254" y="664"/>
                </a:lnTo>
                <a:lnTo>
                  <a:pt x="255" y="664"/>
                </a:lnTo>
                <a:lnTo>
                  <a:pt x="256" y="663"/>
                </a:lnTo>
                <a:close/>
                <a:moveTo>
                  <a:pt x="269" y="650"/>
                </a:moveTo>
                <a:lnTo>
                  <a:pt x="271" y="650"/>
                </a:lnTo>
                <a:lnTo>
                  <a:pt x="271" y="651"/>
                </a:lnTo>
                <a:lnTo>
                  <a:pt x="269" y="651"/>
                </a:lnTo>
                <a:lnTo>
                  <a:pt x="269" y="650"/>
                </a:lnTo>
                <a:close/>
                <a:moveTo>
                  <a:pt x="271" y="648"/>
                </a:moveTo>
                <a:lnTo>
                  <a:pt x="272" y="648"/>
                </a:lnTo>
                <a:lnTo>
                  <a:pt x="272" y="650"/>
                </a:lnTo>
                <a:lnTo>
                  <a:pt x="271" y="650"/>
                </a:lnTo>
                <a:lnTo>
                  <a:pt x="271" y="648"/>
                </a:lnTo>
                <a:close/>
                <a:moveTo>
                  <a:pt x="97" y="635"/>
                </a:moveTo>
                <a:lnTo>
                  <a:pt x="98" y="635"/>
                </a:lnTo>
                <a:lnTo>
                  <a:pt x="98" y="638"/>
                </a:lnTo>
                <a:lnTo>
                  <a:pt x="97" y="636"/>
                </a:lnTo>
                <a:lnTo>
                  <a:pt x="97" y="635"/>
                </a:lnTo>
                <a:close/>
                <a:moveTo>
                  <a:pt x="95" y="634"/>
                </a:moveTo>
                <a:lnTo>
                  <a:pt x="97" y="634"/>
                </a:lnTo>
                <a:lnTo>
                  <a:pt x="95" y="635"/>
                </a:lnTo>
                <a:lnTo>
                  <a:pt x="95" y="634"/>
                </a:lnTo>
                <a:close/>
                <a:moveTo>
                  <a:pt x="259" y="592"/>
                </a:moveTo>
                <a:lnTo>
                  <a:pt x="260" y="593"/>
                </a:lnTo>
                <a:lnTo>
                  <a:pt x="260" y="596"/>
                </a:lnTo>
                <a:lnTo>
                  <a:pt x="259" y="596"/>
                </a:lnTo>
                <a:lnTo>
                  <a:pt x="259" y="592"/>
                </a:lnTo>
                <a:close/>
                <a:moveTo>
                  <a:pt x="306" y="580"/>
                </a:moveTo>
                <a:lnTo>
                  <a:pt x="309" y="580"/>
                </a:lnTo>
                <a:lnTo>
                  <a:pt x="315" y="583"/>
                </a:lnTo>
                <a:lnTo>
                  <a:pt x="317" y="583"/>
                </a:lnTo>
                <a:lnTo>
                  <a:pt x="317" y="584"/>
                </a:lnTo>
                <a:lnTo>
                  <a:pt x="318" y="585"/>
                </a:lnTo>
                <a:lnTo>
                  <a:pt x="318" y="586"/>
                </a:lnTo>
                <a:lnTo>
                  <a:pt x="316" y="586"/>
                </a:lnTo>
                <a:lnTo>
                  <a:pt x="316" y="587"/>
                </a:lnTo>
                <a:lnTo>
                  <a:pt x="315" y="589"/>
                </a:lnTo>
                <a:lnTo>
                  <a:pt x="314" y="589"/>
                </a:lnTo>
                <a:lnTo>
                  <a:pt x="314" y="591"/>
                </a:lnTo>
                <a:lnTo>
                  <a:pt x="309" y="592"/>
                </a:lnTo>
                <a:lnTo>
                  <a:pt x="308" y="592"/>
                </a:lnTo>
                <a:lnTo>
                  <a:pt x="302" y="589"/>
                </a:lnTo>
                <a:lnTo>
                  <a:pt x="302" y="587"/>
                </a:lnTo>
                <a:lnTo>
                  <a:pt x="300" y="587"/>
                </a:lnTo>
                <a:lnTo>
                  <a:pt x="299" y="586"/>
                </a:lnTo>
                <a:lnTo>
                  <a:pt x="298" y="587"/>
                </a:lnTo>
                <a:lnTo>
                  <a:pt x="297" y="587"/>
                </a:lnTo>
                <a:lnTo>
                  <a:pt x="298" y="586"/>
                </a:lnTo>
                <a:lnTo>
                  <a:pt x="299" y="584"/>
                </a:lnTo>
                <a:lnTo>
                  <a:pt x="303" y="583"/>
                </a:lnTo>
                <a:lnTo>
                  <a:pt x="303" y="584"/>
                </a:lnTo>
                <a:lnTo>
                  <a:pt x="304" y="584"/>
                </a:lnTo>
                <a:lnTo>
                  <a:pt x="305" y="583"/>
                </a:lnTo>
                <a:lnTo>
                  <a:pt x="306" y="580"/>
                </a:lnTo>
                <a:close/>
                <a:moveTo>
                  <a:pt x="322" y="577"/>
                </a:moveTo>
                <a:lnTo>
                  <a:pt x="323" y="577"/>
                </a:lnTo>
                <a:lnTo>
                  <a:pt x="323" y="579"/>
                </a:lnTo>
                <a:lnTo>
                  <a:pt x="319" y="579"/>
                </a:lnTo>
                <a:lnTo>
                  <a:pt x="322" y="577"/>
                </a:lnTo>
                <a:close/>
                <a:moveTo>
                  <a:pt x="411" y="496"/>
                </a:moveTo>
                <a:lnTo>
                  <a:pt x="414" y="497"/>
                </a:lnTo>
                <a:lnTo>
                  <a:pt x="414" y="498"/>
                </a:lnTo>
                <a:lnTo>
                  <a:pt x="416" y="498"/>
                </a:lnTo>
                <a:lnTo>
                  <a:pt x="415" y="497"/>
                </a:lnTo>
                <a:lnTo>
                  <a:pt x="412" y="496"/>
                </a:lnTo>
                <a:lnTo>
                  <a:pt x="411" y="496"/>
                </a:lnTo>
                <a:close/>
                <a:moveTo>
                  <a:pt x="404" y="430"/>
                </a:moveTo>
                <a:lnTo>
                  <a:pt x="405" y="430"/>
                </a:lnTo>
                <a:lnTo>
                  <a:pt x="404" y="430"/>
                </a:lnTo>
                <a:close/>
                <a:moveTo>
                  <a:pt x="166" y="405"/>
                </a:moveTo>
                <a:lnTo>
                  <a:pt x="167" y="405"/>
                </a:lnTo>
                <a:lnTo>
                  <a:pt x="167" y="406"/>
                </a:lnTo>
                <a:lnTo>
                  <a:pt x="168" y="405"/>
                </a:lnTo>
                <a:lnTo>
                  <a:pt x="168" y="406"/>
                </a:lnTo>
                <a:lnTo>
                  <a:pt x="169" y="407"/>
                </a:lnTo>
                <a:lnTo>
                  <a:pt x="169" y="408"/>
                </a:lnTo>
                <a:lnTo>
                  <a:pt x="170" y="410"/>
                </a:lnTo>
                <a:lnTo>
                  <a:pt x="170" y="411"/>
                </a:lnTo>
                <a:lnTo>
                  <a:pt x="169" y="411"/>
                </a:lnTo>
                <a:lnTo>
                  <a:pt x="169" y="410"/>
                </a:lnTo>
                <a:lnTo>
                  <a:pt x="168" y="408"/>
                </a:lnTo>
                <a:lnTo>
                  <a:pt x="166" y="408"/>
                </a:lnTo>
                <a:lnTo>
                  <a:pt x="165" y="406"/>
                </a:lnTo>
                <a:lnTo>
                  <a:pt x="166" y="405"/>
                </a:lnTo>
                <a:close/>
                <a:moveTo>
                  <a:pt x="176" y="398"/>
                </a:moveTo>
                <a:lnTo>
                  <a:pt x="180" y="399"/>
                </a:lnTo>
                <a:lnTo>
                  <a:pt x="182" y="399"/>
                </a:lnTo>
                <a:lnTo>
                  <a:pt x="182" y="402"/>
                </a:lnTo>
                <a:lnTo>
                  <a:pt x="185" y="402"/>
                </a:lnTo>
                <a:lnTo>
                  <a:pt x="185" y="406"/>
                </a:lnTo>
                <a:lnTo>
                  <a:pt x="186" y="406"/>
                </a:lnTo>
                <a:lnTo>
                  <a:pt x="186" y="407"/>
                </a:lnTo>
                <a:lnTo>
                  <a:pt x="187" y="407"/>
                </a:lnTo>
                <a:lnTo>
                  <a:pt x="188" y="406"/>
                </a:lnTo>
                <a:lnTo>
                  <a:pt x="192" y="406"/>
                </a:lnTo>
                <a:lnTo>
                  <a:pt x="192" y="407"/>
                </a:lnTo>
                <a:lnTo>
                  <a:pt x="190" y="411"/>
                </a:lnTo>
                <a:lnTo>
                  <a:pt x="188" y="411"/>
                </a:lnTo>
                <a:lnTo>
                  <a:pt x="187" y="412"/>
                </a:lnTo>
                <a:lnTo>
                  <a:pt x="186" y="412"/>
                </a:lnTo>
                <a:lnTo>
                  <a:pt x="185" y="413"/>
                </a:lnTo>
                <a:lnTo>
                  <a:pt x="185" y="415"/>
                </a:lnTo>
                <a:lnTo>
                  <a:pt x="182" y="417"/>
                </a:lnTo>
                <a:lnTo>
                  <a:pt x="180" y="419"/>
                </a:lnTo>
                <a:lnTo>
                  <a:pt x="179" y="419"/>
                </a:lnTo>
                <a:lnTo>
                  <a:pt x="178" y="418"/>
                </a:lnTo>
                <a:lnTo>
                  <a:pt x="178" y="419"/>
                </a:lnTo>
                <a:lnTo>
                  <a:pt x="176" y="419"/>
                </a:lnTo>
                <a:lnTo>
                  <a:pt x="176" y="417"/>
                </a:lnTo>
                <a:lnTo>
                  <a:pt x="178" y="417"/>
                </a:lnTo>
                <a:lnTo>
                  <a:pt x="178" y="414"/>
                </a:lnTo>
                <a:lnTo>
                  <a:pt x="176" y="415"/>
                </a:lnTo>
                <a:lnTo>
                  <a:pt x="176" y="417"/>
                </a:lnTo>
                <a:lnTo>
                  <a:pt x="175" y="417"/>
                </a:lnTo>
                <a:lnTo>
                  <a:pt x="174" y="415"/>
                </a:lnTo>
                <a:lnTo>
                  <a:pt x="173" y="415"/>
                </a:lnTo>
                <a:lnTo>
                  <a:pt x="173" y="413"/>
                </a:lnTo>
                <a:lnTo>
                  <a:pt x="172" y="412"/>
                </a:lnTo>
                <a:lnTo>
                  <a:pt x="170" y="410"/>
                </a:lnTo>
                <a:lnTo>
                  <a:pt x="170" y="400"/>
                </a:lnTo>
                <a:lnTo>
                  <a:pt x="176" y="398"/>
                </a:lnTo>
                <a:close/>
                <a:moveTo>
                  <a:pt x="178" y="327"/>
                </a:moveTo>
                <a:lnTo>
                  <a:pt x="179" y="327"/>
                </a:lnTo>
                <a:lnTo>
                  <a:pt x="179" y="328"/>
                </a:lnTo>
                <a:lnTo>
                  <a:pt x="178" y="331"/>
                </a:lnTo>
                <a:lnTo>
                  <a:pt x="179" y="332"/>
                </a:lnTo>
                <a:lnTo>
                  <a:pt x="179" y="334"/>
                </a:lnTo>
                <a:lnTo>
                  <a:pt x="180" y="334"/>
                </a:lnTo>
                <a:lnTo>
                  <a:pt x="181" y="335"/>
                </a:lnTo>
                <a:lnTo>
                  <a:pt x="181" y="337"/>
                </a:lnTo>
                <a:lnTo>
                  <a:pt x="180" y="337"/>
                </a:lnTo>
                <a:lnTo>
                  <a:pt x="180" y="338"/>
                </a:lnTo>
                <a:lnTo>
                  <a:pt x="179" y="339"/>
                </a:lnTo>
                <a:lnTo>
                  <a:pt x="179" y="340"/>
                </a:lnTo>
                <a:lnTo>
                  <a:pt x="178" y="341"/>
                </a:lnTo>
                <a:lnTo>
                  <a:pt x="178" y="343"/>
                </a:lnTo>
                <a:lnTo>
                  <a:pt x="170" y="350"/>
                </a:lnTo>
                <a:lnTo>
                  <a:pt x="169" y="350"/>
                </a:lnTo>
                <a:lnTo>
                  <a:pt x="169" y="351"/>
                </a:lnTo>
                <a:lnTo>
                  <a:pt x="168" y="353"/>
                </a:lnTo>
                <a:lnTo>
                  <a:pt x="168" y="352"/>
                </a:lnTo>
                <a:lnTo>
                  <a:pt x="166" y="352"/>
                </a:lnTo>
                <a:lnTo>
                  <a:pt x="165" y="351"/>
                </a:lnTo>
                <a:lnTo>
                  <a:pt x="163" y="351"/>
                </a:lnTo>
                <a:lnTo>
                  <a:pt x="162" y="352"/>
                </a:lnTo>
                <a:lnTo>
                  <a:pt x="161" y="352"/>
                </a:lnTo>
                <a:lnTo>
                  <a:pt x="161" y="351"/>
                </a:lnTo>
                <a:lnTo>
                  <a:pt x="162" y="351"/>
                </a:lnTo>
                <a:lnTo>
                  <a:pt x="162" y="350"/>
                </a:lnTo>
                <a:lnTo>
                  <a:pt x="163" y="347"/>
                </a:lnTo>
                <a:lnTo>
                  <a:pt x="163" y="344"/>
                </a:lnTo>
                <a:lnTo>
                  <a:pt x="165" y="343"/>
                </a:lnTo>
                <a:lnTo>
                  <a:pt x="165" y="341"/>
                </a:lnTo>
                <a:lnTo>
                  <a:pt x="169" y="337"/>
                </a:lnTo>
                <a:lnTo>
                  <a:pt x="170" y="332"/>
                </a:lnTo>
                <a:lnTo>
                  <a:pt x="173" y="330"/>
                </a:lnTo>
                <a:lnTo>
                  <a:pt x="178" y="327"/>
                </a:lnTo>
                <a:close/>
                <a:moveTo>
                  <a:pt x="201" y="294"/>
                </a:moveTo>
                <a:lnTo>
                  <a:pt x="203" y="294"/>
                </a:lnTo>
                <a:lnTo>
                  <a:pt x="203" y="295"/>
                </a:lnTo>
                <a:lnTo>
                  <a:pt x="201" y="295"/>
                </a:lnTo>
                <a:lnTo>
                  <a:pt x="201" y="294"/>
                </a:lnTo>
                <a:close/>
                <a:moveTo>
                  <a:pt x="88" y="266"/>
                </a:moveTo>
                <a:lnTo>
                  <a:pt x="89" y="266"/>
                </a:lnTo>
                <a:lnTo>
                  <a:pt x="91" y="267"/>
                </a:lnTo>
                <a:lnTo>
                  <a:pt x="92" y="267"/>
                </a:lnTo>
                <a:lnTo>
                  <a:pt x="94" y="266"/>
                </a:lnTo>
                <a:lnTo>
                  <a:pt x="95" y="266"/>
                </a:lnTo>
                <a:lnTo>
                  <a:pt x="99" y="269"/>
                </a:lnTo>
                <a:lnTo>
                  <a:pt x="103" y="269"/>
                </a:lnTo>
                <a:lnTo>
                  <a:pt x="103" y="267"/>
                </a:lnTo>
                <a:lnTo>
                  <a:pt x="105" y="269"/>
                </a:lnTo>
                <a:lnTo>
                  <a:pt x="106" y="269"/>
                </a:lnTo>
                <a:lnTo>
                  <a:pt x="106" y="270"/>
                </a:lnTo>
                <a:lnTo>
                  <a:pt x="109" y="272"/>
                </a:lnTo>
                <a:lnTo>
                  <a:pt x="109" y="276"/>
                </a:lnTo>
                <a:lnTo>
                  <a:pt x="107" y="277"/>
                </a:lnTo>
                <a:lnTo>
                  <a:pt x="107" y="279"/>
                </a:lnTo>
                <a:lnTo>
                  <a:pt x="110" y="279"/>
                </a:lnTo>
                <a:lnTo>
                  <a:pt x="111" y="281"/>
                </a:lnTo>
                <a:lnTo>
                  <a:pt x="111" y="283"/>
                </a:lnTo>
                <a:lnTo>
                  <a:pt x="110" y="285"/>
                </a:lnTo>
                <a:lnTo>
                  <a:pt x="112" y="285"/>
                </a:lnTo>
                <a:lnTo>
                  <a:pt x="113" y="287"/>
                </a:lnTo>
                <a:lnTo>
                  <a:pt x="113" y="288"/>
                </a:lnTo>
                <a:lnTo>
                  <a:pt x="114" y="289"/>
                </a:lnTo>
                <a:lnTo>
                  <a:pt x="114" y="290"/>
                </a:lnTo>
                <a:lnTo>
                  <a:pt x="117" y="292"/>
                </a:lnTo>
                <a:lnTo>
                  <a:pt x="117" y="294"/>
                </a:lnTo>
                <a:lnTo>
                  <a:pt x="118" y="295"/>
                </a:lnTo>
                <a:lnTo>
                  <a:pt x="118" y="297"/>
                </a:lnTo>
                <a:lnTo>
                  <a:pt x="119" y="298"/>
                </a:lnTo>
                <a:lnTo>
                  <a:pt x="120" y="298"/>
                </a:lnTo>
                <a:lnTo>
                  <a:pt x="118" y="296"/>
                </a:lnTo>
                <a:lnTo>
                  <a:pt x="119" y="295"/>
                </a:lnTo>
                <a:lnTo>
                  <a:pt x="120" y="295"/>
                </a:lnTo>
                <a:lnTo>
                  <a:pt x="123" y="297"/>
                </a:lnTo>
                <a:lnTo>
                  <a:pt x="123" y="302"/>
                </a:lnTo>
                <a:lnTo>
                  <a:pt x="122" y="303"/>
                </a:lnTo>
                <a:lnTo>
                  <a:pt x="122" y="304"/>
                </a:lnTo>
                <a:lnTo>
                  <a:pt x="120" y="304"/>
                </a:lnTo>
                <a:lnTo>
                  <a:pt x="117" y="306"/>
                </a:lnTo>
                <a:lnTo>
                  <a:pt x="114" y="308"/>
                </a:lnTo>
                <a:lnTo>
                  <a:pt x="113" y="310"/>
                </a:lnTo>
                <a:lnTo>
                  <a:pt x="113" y="313"/>
                </a:lnTo>
                <a:lnTo>
                  <a:pt x="114" y="313"/>
                </a:lnTo>
                <a:lnTo>
                  <a:pt x="116" y="312"/>
                </a:lnTo>
                <a:lnTo>
                  <a:pt x="116" y="310"/>
                </a:lnTo>
                <a:lnTo>
                  <a:pt x="117" y="310"/>
                </a:lnTo>
                <a:lnTo>
                  <a:pt x="119" y="308"/>
                </a:lnTo>
                <a:lnTo>
                  <a:pt x="128" y="308"/>
                </a:lnTo>
                <a:lnTo>
                  <a:pt x="129" y="309"/>
                </a:lnTo>
                <a:lnTo>
                  <a:pt x="130" y="309"/>
                </a:lnTo>
                <a:lnTo>
                  <a:pt x="130" y="314"/>
                </a:lnTo>
                <a:lnTo>
                  <a:pt x="131" y="315"/>
                </a:lnTo>
                <a:lnTo>
                  <a:pt x="132" y="315"/>
                </a:lnTo>
                <a:lnTo>
                  <a:pt x="132" y="320"/>
                </a:lnTo>
                <a:lnTo>
                  <a:pt x="134" y="321"/>
                </a:lnTo>
                <a:lnTo>
                  <a:pt x="134" y="324"/>
                </a:lnTo>
                <a:lnTo>
                  <a:pt x="132" y="326"/>
                </a:lnTo>
                <a:lnTo>
                  <a:pt x="132" y="330"/>
                </a:lnTo>
                <a:lnTo>
                  <a:pt x="131" y="330"/>
                </a:lnTo>
                <a:lnTo>
                  <a:pt x="131" y="331"/>
                </a:lnTo>
                <a:lnTo>
                  <a:pt x="132" y="331"/>
                </a:lnTo>
                <a:lnTo>
                  <a:pt x="130" y="333"/>
                </a:lnTo>
                <a:lnTo>
                  <a:pt x="130" y="332"/>
                </a:lnTo>
                <a:lnTo>
                  <a:pt x="129" y="331"/>
                </a:lnTo>
                <a:lnTo>
                  <a:pt x="129" y="330"/>
                </a:lnTo>
                <a:lnTo>
                  <a:pt x="128" y="328"/>
                </a:lnTo>
                <a:lnTo>
                  <a:pt x="128" y="326"/>
                </a:lnTo>
                <a:lnTo>
                  <a:pt x="129" y="325"/>
                </a:lnTo>
                <a:lnTo>
                  <a:pt x="129" y="320"/>
                </a:lnTo>
                <a:lnTo>
                  <a:pt x="124" y="315"/>
                </a:lnTo>
                <a:lnTo>
                  <a:pt x="123" y="315"/>
                </a:lnTo>
                <a:lnTo>
                  <a:pt x="123" y="318"/>
                </a:lnTo>
                <a:lnTo>
                  <a:pt x="122" y="318"/>
                </a:lnTo>
                <a:lnTo>
                  <a:pt x="123" y="319"/>
                </a:lnTo>
                <a:lnTo>
                  <a:pt x="125" y="319"/>
                </a:lnTo>
                <a:lnTo>
                  <a:pt x="125" y="320"/>
                </a:lnTo>
                <a:lnTo>
                  <a:pt x="124" y="320"/>
                </a:lnTo>
                <a:lnTo>
                  <a:pt x="125" y="321"/>
                </a:lnTo>
                <a:lnTo>
                  <a:pt x="125" y="325"/>
                </a:lnTo>
                <a:lnTo>
                  <a:pt x="124" y="328"/>
                </a:lnTo>
                <a:lnTo>
                  <a:pt x="124" y="330"/>
                </a:lnTo>
                <a:lnTo>
                  <a:pt x="122" y="332"/>
                </a:lnTo>
                <a:lnTo>
                  <a:pt x="124" y="331"/>
                </a:lnTo>
                <a:lnTo>
                  <a:pt x="125" y="330"/>
                </a:lnTo>
                <a:lnTo>
                  <a:pt x="128" y="330"/>
                </a:lnTo>
                <a:lnTo>
                  <a:pt x="129" y="331"/>
                </a:lnTo>
                <a:lnTo>
                  <a:pt x="129" y="335"/>
                </a:lnTo>
                <a:lnTo>
                  <a:pt x="128" y="337"/>
                </a:lnTo>
                <a:lnTo>
                  <a:pt x="126" y="339"/>
                </a:lnTo>
                <a:lnTo>
                  <a:pt x="125" y="338"/>
                </a:lnTo>
                <a:lnTo>
                  <a:pt x="125" y="340"/>
                </a:lnTo>
                <a:lnTo>
                  <a:pt x="124" y="340"/>
                </a:lnTo>
                <a:lnTo>
                  <a:pt x="123" y="339"/>
                </a:lnTo>
                <a:lnTo>
                  <a:pt x="119" y="339"/>
                </a:lnTo>
                <a:lnTo>
                  <a:pt x="117" y="340"/>
                </a:lnTo>
                <a:lnTo>
                  <a:pt x="116" y="340"/>
                </a:lnTo>
                <a:lnTo>
                  <a:pt x="116" y="346"/>
                </a:lnTo>
                <a:lnTo>
                  <a:pt x="114" y="349"/>
                </a:lnTo>
                <a:lnTo>
                  <a:pt x="114" y="350"/>
                </a:lnTo>
                <a:lnTo>
                  <a:pt x="113" y="350"/>
                </a:lnTo>
                <a:lnTo>
                  <a:pt x="109" y="355"/>
                </a:lnTo>
                <a:lnTo>
                  <a:pt x="106" y="355"/>
                </a:lnTo>
                <a:lnTo>
                  <a:pt x="105" y="353"/>
                </a:lnTo>
                <a:lnTo>
                  <a:pt x="106" y="353"/>
                </a:lnTo>
                <a:lnTo>
                  <a:pt x="103" y="352"/>
                </a:lnTo>
                <a:lnTo>
                  <a:pt x="103" y="351"/>
                </a:lnTo>
                <a:lnTo>
                  <a:pt x="101" y="350"/>
                </a:lnTo>
                <a:lnTo>
                  <a:pt x="95" y="350"/>
                </a:lnTo>
                <a:lnTo>
                  <a:pt x="95" y="349"/>
                </a:lnTo>
                <a:lnTo>
                  <a:pt x="94" y="350"/>
                </a:lnTo>
                <a:lnTo>
                  <a:pt x="94" y="352"/>
                </a:lnTo>
                <a:lnTo>
                  <a:pt x="93" y="352"/>
                </a:lnTo>
                <a:lnTo>
                  <a:pt x="92" y="353"/>
                </a:lnTo>
                <a:lnTo>
                  <a:pt x="91" y="352"/>
                </a:lnTo>
                <a:lnTo>
                  <a:pt x="89" y="352"/>
                </a:lnTo>
                <a:lnTo>
                  <a:pt x="86" y="353"/>
                </a:lnTo>
                <a:lnTo>
                  <a:pt x="85" y="353"/>
                </a:lnTo>
                <a:lnTo>
                  <a:pt x="83" y="355"/>
                </a:lnTo>
                <a:lnTo>
                  <a:pt x="83" y="353"/>
                </a:lnTo>
                <a:lnTo>
                  <a:pt x="82" y="352"/>
                </a:lnTo>
                <a:lnTo>
                  <a:pt x="81" y="352"/>
                </a:lnTo>
                <a:lnTo>
                  <a:pt x="82" y="350"/>
                </a:lnTo>
                <a:lnTo>
                  <a:pt x="81" y="349"/>
                </a:lnTo>
                <a:lnTo>
                  <a:pt x="83" y="346"/>
                </a:lnTo>
                <a:lnTo>
                  <a:pt x="82" y="345"/>
                </a:lnTo>
                <a:lnTo>
                  <a:pt x="82" y="344"/>
                </a:lnTo>
                <a:lnTo>
                  <a:pt x="81" y="343"/>
                </a:lnTo>
                <a:lnTo>
                  <a:pt x="80" y="343"/>
                </a:lnTo>
                <a:lnTo>
                  <a:pt x="79" y="344"/>
                </a:lnTo>
                <a:lnTo>
                  <a:pt x="78" y="343"/>
                </a:lnTo>
                <a:lnTo>
                  <a:pt x="76" y="343"/>
                </a:lnTo>
                <a:lnTo>
                  <a:pt x="75" y="341"/>
                </a:lnTo>
                <a:lnTo>
                  <a:pt x="75" y="339"/>
                </a:lnTo>
                <a:lnTo>
                  <a:pt x="73" y="337"/>
                </a:lnTo>
                <a:lnTo>
                  <a:pt x="74" y="335"/>
                </a:lnTo>
                <a:lnTo>
                  <a:pt x="74" y="334"/>
                </a:lnTo>
                <a:lnTo>
                  <a:pt x="73" y="333"/>
                </a:lnTo>
                <a:lnTo>
                  <a:pt x="73" y="332"/>
                </a:lnTo>
                <a:lnTo>
                  <a:pt x="72" y="332"/>
                </a:lnTo>
                <a:lnTo>
                  <a:pt x="72" y="331"/>
                </a:lnTo>
                <a:lnTo>
                  <a:pt x="70" y="330"/>
                </a:lnTo>
                <a:lnTo>
                  <a:pt x="68" y="328"/>
                </a:lnTo>
                <a:lnTo>
                  <a:pt x="67" y="327"/>
                </a:lnTo>
                <a:lnTo>
                  <a:pt x="66" y="327"/>
                </a:lnTo>
                <a:lnTo>
                  <a:pt x="64" y="328"/>
                </a:lnTo>
                <a:lnTo>
                  <a:pt x="62" y="332"/>
                </a:lnTo>
                <a:lnTo>
                  <a:pt x="61" y="333"/>
                </a:lnTo>
                <a:lnTo>
                  <a:pt x="60" y="333"/>
                </a:lnTo>
                <a:lnTo>
                  <a:pt x="60" y="335"/>
                </a:lnTo>
                <a:lnTo>
                  <a:pt x="58" y="335"/>
                </a:lnTo>
                <a:lnTo>
                  <a:pt x="60" y="337"/>
                </a:lnTo>
                <a:lnTo>
                  <a:pt x="60" y="338"/>
                </a:lnTo>
                <a:lnTo>
                  <a:pt x="62" y="339"/>
                </a:lnTo>
                <a:lnTo>
                  <a:pt x="61" y="339"/>
                </a:lnTo>
                <a:lnTo>
                  <a:pt x="61" y="340"/>
                </a:lnTo>
                <a:lnTo>
                  <a:pt x="60" y="341"/>
                </a:lnTo>
                <a:lnTo>
                  <a:pt x="58" y="341"/>
                </a:lnTo>
                <a:lnTo>
                  <a:pt x="56" y="344"/>
                </a:lnTo>
                <a:lnTo>
                  <a:pt x="57" y="344"/>
                </a:lnTo>
                <a:lnTo>
                  <a:pt x="57" y="345"/>
                </a:lnTo>
                <a:lnTo>
                  <a:pt x="56" y="345"/>
                </a:lnTo>
                <a:lnTo>
                  <a:pt x="56" y="347"/>
                </a:lnTo>
                <a:lnTo>
                  <a:pt x="55" y="349"/>
                </a:lnTo>
                <a:lnTo>
                  <a:pt x="55" y="345"/>
                </a:lnTo>
                <a:lnTo>
                  <a:pt x="54" y="346"/>
                </a:lnTo>
                <a:lnTo>
                  <a:pt x="55" y="349"/>
                </a:lnTo>
                <a:lnTo>
                  <a:pt x="51" y="349"/>
                </a:lnTo>
                <a:lnTo>
                  <a:pt x="51" y="347"/>
                </a:lnTo>
                <a:lnTo>
                  <a:pt x="50" y="347"/>
                </a:lnTo>
                <a:lnTo>
                  <a:pt x="50" y="346"/>
                </a:lnTo>
                <a:lnTo>
                  <a:pt x="49" y="346"/>
                </a:lnTo>
                <a:lnTo>
                  <a:pt x="48" y="347"/>
                </a:lnTo>
                <a:lnTo>
                  <a:pt x="42" y="347"/>
                </a:lnTo>
                <a:lnTo>
                  <a:pt x="42" y="345"/>
                </a:lnTo>
                <a:lnTo>
                  <a:pt x="41" y="345"/>
                </a:lnTo>
                <a:lnTo>
                  <a:pt x="38" y="343"/>
                </a:lnTo>
                <a:lnTo>
                  <a:pt x="32" y="343"/>
                </a:lnTo>
                <a:lnTo>
                  <a:pt x="31" y="341"/>
                </a:lnTo>
                <a:lnTo>
                  <a:pt x="31" y="337"/>
                </a:lnTo>
                <a:lnTo>
                  <a:pt x="30" y="335"/>
                </a:lnTo>
                <a:lnTo>
                  <a:pt x="27" y="335"/>
                </a:lnTo>
                <a:lnTo>
                  <a:pt x="26" y="334"/>
                </a:lnTo>
                <a:lnTo>
                  <a:pt x="26" y="333"/>
                </a:lnTo>
                <a:lnTo>
                  <a:pt x="25" y="331"/>
                </a:lnTo>
                <a:lnTo>
                  <a:pt x="23" y="331"/>
                </a:lnTo>
                <a:lnTo>
                  <a:pt x="22" y="330"/>
                </a:lnTo>
                <a:lnTo>
                  <a:pt x="20" y="327"/>
                </a:lnTo>
                <a:lnTo>
                  <a:pt x="19" y="326"/>
                </a:lnTo>
                <a:lnTo>
                  <a:pt x="19" y="324"/>
                </a:lnTo>
                <a:lnTo>
                  <a:pt x="22" y="322"/>
                </a:lnTo>
                <a:lnTo>
                  <a:pt x="23" y="322"/>
                </a:lnTo>
                <a:lnTo>
                  <a:pt x="23" y="321"/>
                </a:lnTo>
                <a:lnTo>
                  <a:pt x="24" y="320"/>
                </a:lnTo>
                <a:lnTo>
                  <a:pt x="24" y="319"/>
                </a:lnTo>
                <a:lnTo>
                  <a:pt x="25" y="318"/>
                </a:lnTo>
                <a:lnTo>
                  <a:pt x="29" y="319"/>
                </a:lnTo>
                <a:lnTo>
                  <a:pt x="30" y="319"/>
                </a:lnTo>
                <a:lnTo>
                  <a:pt x="32" y="318"/>
                </a:lnTo>
                <a:lnTo>
                  <a:pt x="36" y="314"/>
                </a:lnTo>
                <a:lnTo>
                  <a:pt x="38" y="313"/>
                </a:lnTo>
                <a:lnTo>
                  <a:pt x="38" y="312"/>
                </a:lnTo>
                <a:lnTo>
                  <a:pt x="37" y="312"/>
                </a:lnTo>
                <a:lnTo>
                  <a:pt x="36" y="313"/>
                </a:lnTo>
                <a:lnTo>
                  <a:pt x="35" y="313"/>
                </a:lnTo>
                <a:lnTo>
                  <a:pt x="33" y="312"/>
                </a:lnTo>
                <a:lnTo>
                  <a:pt x="33" y="310"/>
                </a:lnTo>
                <a:lnTo>
                  <a:pt x="32" y="312"/>
                </a:lnTo>
                <a:lnTo>
                  <a:pt x="31" y="310"/>
                </a:lnTo>
                <a:lnTo>
                  <a:pt x="31" y="309"/>
                </a:lnTo>
                <a:lnTo>
                  <a:pt x="30" y="309"/>
                </a:lnTo>
                <a:lnTo>
                  <a:pt x="29" y="308"/>
                </a:lnTo>
                <a:lnTo>
                  <a:pt x="30" y="307"/>
                </a:lnTo>
                <a:lnTo>
                  <a:pt x="29" y="307"/>
                </a:lnTo>
                <a:lnTo>
                  <a:pt x="31" y="306"/>
                </a:lnTo>
                <a:lnTo>
                  <a:pt x="32" y="304"/>
                </a:lnTo>
                <a:lnTo>
                  <a:pt x="33" y="306"/>
                </a:lnTo>
                <a:lnTo>
                  <a:pt x="37" y="306"/>
                </a:lnTo>
                <a:lnTo>
                  <a:pt x="39" y="303"/>
                </a:lnTo>
                <a:lnTo>
                  <a:pt x="44" y="303"/>
                </a:lnTo>
                <a:lnTo>
                  <a:pt x="44" y="300"/>
                </a:lnTo>
                <a:lnTo>
                  <a:pt x="49" y="295"/>
                </a:lnTo>
                <a:lnTo>
                  <a:pt x="49" y="289"/>
                </a:lnTo>
                <a:lnTo>
                  <a:pt x="50" y="289"/>
                </a:lnTo>
                <a:lnTo>
                  <a:pt x="50" y="284"/>
                </a:lnTo>
                <a:lnTo>
                  <a:pt x="51" y="282"/>
                </a:lnTo>
                <a:lnTo>
                  <a:pt x="52" y="282"/>
                </a:lnTo>
                <a:lnTo>
                  <a:pt x="55" y="281"/>
                </a:lnTo>
                <a:lnTo>
                  <a:pt x="56" y="281"/>
                </a:lnTo>
                <a:lnTo>
                  <a:pt x="56" y="279"/>
                </a:lnTo>
                <a:lnTo>
                  <a:pt x="57" y="279"/>
                </a:lnTo>
                <a:lnTo>
                  <a:pt x="57" y="281"/>
                </a:lnTo>
                <a:lnTo>
                  <a:pt x="62" y="281"/>
                </a:lnTo>
                <a:lnTo>
                  <a:pt x="63" y="282"/>
                </a:lnTo>
                <a:lnTo>
                  <a:pt x="64" y="281"/>
                </a:lnTo>
                <a:lnTo>
                  <a:pt x="66" y="281"/>
                </a:lnTo>
                <a:lnTo>
                  <a:pt x="67" y="279"/>
                </a:lnTo>
                <a:lnTo>
                  <a:pt x="67" y="277"/>
                </a:lnTo>
                <a:lnTo>
                  <a:pt x="68" y="276"/>
                </a:lnTo>
                <a:lnTo>
                  <a:pt x="68" y="275"/>
                </a:lnTo>
                <a:lnTo>
                  <a:pt x="69" y="275"/>
                </a:lnTo>
                <a:lnTo>
                  <a:pt x="69" y="270"/>
                </a:lnTo>
                <a:lnTo>
                  <a:pt x="70" y="270"/>
                </a:lnTo>
                <a:lnTo>
                  <a:pt x="72" y="271"/>
                </a:lnTo>
                <a:lnTo>
                  <a:pt x="78" y="271"/>
                </a:lnTo>
                <a:lnTo>
                  <a:pt x="82" y="269"/>
                </a:lnTo>
                <a:lnTo>
                  <a:pt x="86" y="269"/>
                </a:lnTo>
                <a:lnTo>
                  <a:pt x="88" y="266"/>
                </a:lnTo>
                <a:close/>
                <a:moveTo>
                  <a:pt x="98" y="261"/>
                </a:moveTo>
                <a:lnTo>
                  <a:pt x="103" y="261"/>
                </a:lnTo>
                <a:lnTo>
                  <a:pt x="103" y="264"/>
                </a:lnTo>
                <a:lnTo>
                  <a:pt x="101" y="264"/>
                </a:lnTo>
                <a:lnTo>
                  <a:pt x="101" y="263"/>
                </a:lnTo>
                <a:lnTo>
                  <a:pt x="98" y="263"/>
                </a:lnTo>
                <a:lnTo>
                  <a:pt x="98" y="261"/>
                </a:lnTo>
                <a:close/>
                <a:moveTo>
                  <a:pt x="140" y="230"/>
                </a:moveTo>
                <a:lnTo>
                  <a:pt x="141" y="230"/>
                </a:lnTo>
                <a:lnTo>
                  <a:pt x="143" y="232"/>
                </a:lnTo>
                <a:lnTo>
                  <a:pt x="145" y="234"/>
                </a:lnTo>
                <a:lnTo>
                  <a:pt x="145" y="235"/>
                </a:lnTo>
                <a:lnTo>
                  <a:pt x="147" y="240"/>
                </a:lnTo>
                <a:lnTo>
                  <a:pt x="148" y="242"/>
                </a:lnTo>
                <a:lnTo>
                  <a:pt x="148" y="245"/>
                </a:lnTo>
                <a:lnTo>
                  <a:pt x="147" y="245"/>
                </a:lnTo>
                <a:lnTo>
                  <a:pt x="147" y="246"/>
                </a:lnTo>
                <a:lnTo>
                  <a:pt x="148" y="246"/>
                </a:lnTo>
                <a:lnTo>
                  <a:pt x="149" y="247"/>
                </a:lnTo>
                <a:lnTo>
                  <a:pt x="148" y="247"/>
                </a:lnTo>
                <a:lnTo>
                  <a:pt x="148" y="248"/>
                </a:lnTo>
                <a:lnTo>
                  <a:pt x="149" y="249"/>
                </a:lnTo>
                <a:lnTo>
                  <a:pt x="149" y="251"/>
                </a:lnTo>
                <a:lnTo>
                  <a:pt x="148" y="252"/>
                </a:lnTo>
                <a:lnTo>
                  <a:pt x="143" y="252"/>
                </a:lnTo>
                <a:lnTo>
                  <a:pt x="141" y="251"/>
                </a:lnTo>
                <a:lnTo>
                  <a:pt x="140" y="251"/>
                </a:lnTo>
                <a:lnTo>
                  <a:pt x="137" y="248"/>
                </a:lnTo>
                <a:lnTo>
                  <a:pt x="137" y="244"/>
                </a:lnTo>
                <a:lnTo>
                  <a:pt x="136" y="242"/>
                </a:lnTo>
                <a:lnTo>
                  <a:pt x="136" y="241"/>
                </a:lnTo>
                <a:lnTo>
                  <a:pt x="135" y="239"/>
                </a:lnTo>
                <a:lnTo>
                  <a:pt x="136" y="236"/>
                </a:lnTo>
                <a:lnTo>
                  <a:pt x="136" y="235"/>
                </a:lnTo>
                <a:lnTo>
                  <a:pt x="137" y="233"/>
                </a:lnTo>
                <a:lnTo>
                  <a:pt x="138" y="232"/>
                </a:lnTo>
                <a:lnTo>
                  <a:pt x="140" y="232"/>
                </a:lnTo>
                <a:lnTo>
                  <a:pt x="140" y="230"/>
                </a:lnTo>
                <a:close/>
                <a:moveTo>
                  <a:pt x="150" y="229"/>
                </a:moveTo>
                <a:lnTo>
                  <a:pt x="151" y="229"/>
                </a:lnTo>
                <a:lnTo>
                  <a:pt x="151" y="230"/>
                </a:lnTo>
                <a:lnTo>
                  <a:pt x="150" y="230"/>
                </a:lnTo>
                <a:lnTo>
                  <a:pt x="150" y="229"/>
                </a:lnTo>
                <a:close/>
                <a:moveTo>
                  <a:pt x="143" y="216"/>
                </a:moveTo>
                <a:lnTo>
                  <a:pt x="145" y="216"/>
                </a:lnTo>
                <a:lnTo>
                  <a:pt x="148" y="218"/>
                </a:lnTo>
                <a:lnTo>
                  <a:pt x="149" y="218"/>
                </a:lnTo>
                <a:lnTo>
                  <a:pt x="149" y="221"/>
                </a:lnTo>
                <a:lnTo>
                  <a:pt x="150" y="221"/>
                </a:lnTo>
                <a:lnTo>
                  <a:pt x="150" y="223"/>
                </a:lnTo>
                <a:lnTo>
                  <a:pt x="151" y="224"/>
                </a:lnTo>
                <a:lnTo>
                  <a:pt x="151" y="228"/>
                </a:lnTo>
                <a:lnTo>
                  <a:pt x="150" y="229"/>
                </a:lnTo>
                <a:lnTo>
                  <a:pt x="147" y="226"/>
                </a:lnTo>
                <a:lnTo>
                  <a:pt x="147" y="222"/>
                </a:lnTo>
                <a:lnTo>
                  <a:pt x="144" y="221"/>
                </a:lnTo>
                <a:lnTo>
                  <a:pt x="144" y="218"/>
                </a:lnTo>
                <a:lnTo>
                  <a:pt x="143" y="217"/>
                </a:lnTo>
                <a:lnTo>
                  <a:pt x="143" y="216"/>
                </a:lnTo>
                <a:close/>
                <a:moveTo>
                  <a:pt x="103" y="215"/>
                </a:moveTo>
                <a:lnTo>
                  <a:pt x="105" y="215"/>
                </a:lnTo>
                <a:lnTo>
                  <a:pt x="105" y="222"/>
                </a:lnTo>
                <a:lnTo>
                  <a:pt x="106" y="224"/>
                </a:lnTo>
                <a:lnTo>
                  <a:pt x="106" y="227"/>
                </a:lnTo>
                <a:lnTo>
                  <a:pt x="107" y="227"/>
                </a:lnTo>
                <a:lnTo>
                  <a:pt x="107" y="230"/>
                </a:lnTo>
                <a:lnTo>
                  <a:pt x="109" y="230"/>
                </a:lnTo>
                <a:lnTo>
                  <a:pt x="109" y="234"/>
                </a:lnTo>
                <a:lnTo>
                  <a:pt x="107" y="234"/>
                </a:lnTo>
                <a:lnTo>
                  <a:pt x="107" y="235"/>
                </a:lnTo>
                <a:lnTo>
                  <a:pt x="106" y="236"/>
                </a:lnTo>
                <a:lnTo>
                  <a:pt x="105" y="236"/>
                </a:lnTo>
                <a:lnTo>
                  <a:pt x="104" y="238"/>
                </a:lnTo>
                <a:lnTo>
                  <a:pt x="100" y="238"/>
                </a:lnTo>
                <a:lnTo>
                  <a:pt x="100" y="240"/>
                </a:lnTo>
                <a:lnTo>
                  <a:pt x="99" y="241"/>
                </a:lnTo>
                <a:lnTo>
                  <a:pt x="97" y="241"/>
                </a:lnTo>
                <a:lnTo>
                  <a:pt x="97" y="238"/>
                </a:lnTo>
                <a:lnTo>
                  <a:pt x="99" y="235"/>
                </a:lnTo>
                <a:lnTo>
                  <a:pt x="99" y="233"/>
                </a:lnTo>
                <a:lnTo>
                  <a:pt x="98" y="232"/>
                </a:lnTo>
                <a:lnTo>
                  <a:pt x="97" y="232"/>
                </a:lnTo>
                <a:lnTo>
                  <a:pt x="97" y="230"/>
                </a:lnTo>
                <a:lnTo>
                  <a:pt x="98" y="228"/>
                </a:lnTo>
                <a:lnTo>
                  <a:pt x="99" y="227"/>
                </a:lnTo>
                <a:lnTo>
                  <a:pt x="98" y="226"/>
                </a:lnTo>
                <a:lnTo>
                  <a:pt x="95" y="226"/>
                </a:lnTo>
                <a:lnTo>
                  <a:pt x="95" y="227"/>
                </a:lnTo>
                <a:lnTo>
                  <a:pt x="94" y="229"/>
                </a:lnTo>
                <a:lnTo>
                  <a:pt x="92" y="232"/>
                </a:lnTo>
                <a:lnTo>
                  <a:pt x="91" y="234"/>
                </a:lnTo>
                <a:lnTo>
                  <a:pt x="88" y="234"/>
                </a:lnTo>
                <a:lnTo>
                  <a:pt x="88" y="233"/>
                </a:lnTo>
                <a:lnTo>
                  <a:pt x="89" y="232"/>
                </a:lnTo>
                <a:lnTo>
                  <a:pt x="88" y="230"/>
                </a:lnTo>
                <a:lnTo>
                  <a:pt x="89" y="229"/>
                </a:lnTo>
                <a:lnTo>
                  <a:pt x="91" y="227"/>
                </a:lnTo>
                <a:lnTo>
                  <a:pt x="89" y="226"/>
                </a:lnTo>
                <a:lnTo>
                  <a:pt x="91" y="224"/>
                </a:lnTo>
                <a:lnTo>
                  <a:pt x="91" y="221"/>
                </a:lnTo>
                <a:lnTo>
                  <a:pt x="95" y="218"/>
                </a:lnTo>
                <a:lnTo>
                  <a:pt x="97" y="218"/>
                </a:lnTo>
                <a:lnTo>
                  <a:pt x="95" y="221"/>
                </a:lnTo>
                <a:lnTo>
                  <a:pt x="95" y="223"/>
                </a:lnTo>
                <a:lnTo>
                  <a:pt x="97" y="223"/>
                </a:lnTo>
                <a:lnTo>
                  <a:pt x="97" y="222"/>
                </a:lnTo>
                <a:lnTo>
                  <a:pt x="98" y="220"/>
                </a:lnTo>
                <a:lnTo>
                  <a:pt x="101" y="216"/>
                </a:lnTo>
                <a:lnTo>
                  <a:pt x="103" y="216"/>
                </a:lnTo>
                <a:lnTo>
                  <a:pt x="103" y="215"/>
                </a:lnTo>
                <a:close/>
                <a:moveTo>
                  <a:pt x="103" y="201"/>
                </a:moveTo>
                <a:lnTo>
                  <a:pt x="104" y="201"/>
                </a:lnTo>
                <a:lnTo>
                  <a:pt x="104" y="202"/>
                </a:lnTo>
                <a:lnTo>
                  <a:pt x="103" y="204"/>
                </a:lnTo>
                <a:lnTo>
                  <a:pt x="103" y="206"/>
                </a:lnTo>
                <a:lnTo>
                  <a:pt x="101" y="208"/>
                </a:lnTo>
                <a:lnTo>
                  <a:pt x="99" y="208"/>
                </a:lnTo>
                <a:lnTo>
                  <a:pt x="99" y="205"/>
                </a:lnTo>
                <a:lnTo>
                  <a:pt x="101" y="203"/>
                </a:lnTo>
                <a:lnTo>
                  <a:pt x="101" y="202"/>
                </a:lnTo>
                <a:lnTo>
                  <a:pt x="103" y="202"/>
                </a:lnTo>
                <a:lnTo>
                  <a:pt x="103" y="201"/>
                </a:lnTo>
                <a:close/>
                <a:moveTo>
                  <a:pt x="122" y="198"/>
                </a:moveTo>
                <a:lnTo>
                  <a:pt x="123" y="198"/>
                </a:lnTo>
                <a:lnTo>
                  <a:pt x="123" y="202"/>
                </a:lnTo>
                <a:lnTo>
                  <a:pt x="120" y="204"/>
                </a:lnTo>
                <a:lnTo>
                  <a:pt x="119" y="208"/>
                </a:lnTo>
                <a:lnTo>
                  <a:pt x="116" y="215"/>
                </a:lnTo>
                <a:lnTo>
                  <a:pt x="114" y="218"/>
                </a:lnTo>
                <a:lnTo>
                  <a:pt x="113" y="220"/>
                </a:lnTo>
                <a:lnTo>
                  <a:pt x="112" y="220"/>
                </a:lnTo>
                <a:lnTo>
                  <a:pt x="112" y="223"/>
                </a:lnTo>
                <a:lnTo>
                  <a:pt x="111" y="224"/>
                </a:lnTo>
                <a:lnTo>
                  <a:pt x="111" y="226"/>
                </a:lnTo>
                <a:lnTo>
                  <a:pt x="109" y="226"/>
                </a:lnTo>
                <a:lnTo>
                  <a:pt x="107" y="224"/>
                </a:lnTo>
                <a:lnTo>
                  <a:pt x="106" y="222"/>
                </a:lnTo>
                <a:lnTo>
                  <a:pt x="106" y="216"/>
                </a:lnTo>
                <a:lnTo>
                  <a:pt x="107" y="216"/>
                </a:lnTo>
                <a:lnTo>
                  <a:pt x="110" y="214"/>
                </a:lnTo>
                <a:lnTo>
                  <a:pt x="113" y="212"/>
                </a:lnTo>
                <a:lnTo>
                  <a:pt x="114" y="211"/>
                </a:lnTo>
                <a:lnTo>
                  <a:pt x="113" y="211"/>
                </a:lnTo>
                <a:lnTo>
                  <a:pt x="112" y="212"/>
                </a:lnTo>
                <a:lnTo>
                  <a:pt x="111" y="212"/>
                </a:lnTo>
                <a:lnTo>
                  <a:pt x="110" y="211"/>
                </a:lnTo>
                <a:lnTo>
                  <a:pt x="111" y="209"/>
                </a:lnTo>
                <a:lnTo>
                  <a:pt x="112" y="208"/>
                </a:lnTo>
                <a:lnTo>
                  <a:pt x="113" y="205"/>
                </a:lnTo>
                <a:lnTo>
                  <a:pt x="116" y="204"/>
                </a:lnTo>
                <a:lnTo>
                  <a:pt x="122" y="198"/>
                </a:lnTo>
                <a:close/>
                <a:moveTo>
                  <a:pt x="123" y="195"/>
                </a:moveTo>
                <a:lnTo>
                  <a:pt x="124" y="196"/>
                </a:lnTo>
                <a:lnTo>
                  <a:pt x="123" y="197"/>
                </a:lnTo>
                <a:lnTo>
                  <a:pt x="122" y="197"/>
                </a:lnTo>
                <a:lnTo>
                  <a:pt x="120" y="198"/>
                </a:lnTo>
                <a:lnTo>
                  <a:pt x="120" y="197"/>
                </a:lnTo>
                <a:lnTo>
                  <a:pt x="123" y="195"/>
                </a:lnTo>
                <a:close/>
                <a:moveTo>
                  <a:pt x="125" y="190"/>
                </a:moveTo>
                <a:lnTo>
                  <a:pt x="126" y="190"/>
                </a:lnTo>
                <a:lnTo>
                  <a:pt x="126" y="192"/>
                </a:lnTo>
                <a:lnTo>
                  <a:pt x="125" y="193"/>
                </a:lnTo>
                <a:lnTo>
                  <a:pt x="125" y="195"/>
                </a:lnTo>
                <a:lnTo>
                  <a:pt x="124" y="193"/>
                </a:lnTo>
                <a:lnTo>
                  <a:pt x="124" y="192"/>
                </a:lnTo>
                <a:lnTo>
                  <a:pt x="125" y="191"/>
                </a:lnTo>
                <a:lnTo>
                  <a:pt x="125" y="190"/>
                </a:lnTo>
                <a:close/>
                <a:moveTo>
                  <a:pt x="129" y="178"/>
                </a:moveTo>
                <a:lnTo>
                  <a:pt x="131" y="178"/>
                </a:lnTo>
                <a:lnTo>
                  <a:pt x="129" y="180"/>
                </a:lnTo>
                <a:lnTo>
                  <a:pt x="128" y="180"/>
                </a:lnTo>
                <a:lnTo>
                  <a:pt x="128" y="179"/>
                </a:lnTo>
                <a:lnTo>
                  <a:pt x="129" y="178"/>
                </a:lnTo>
                <a:close/>
                <a:moveTo>
                  <a:pt x="99" y="172"/>
                </a:moveTo>
                <a:lnTo>
                  <a:pt x="101" y="172"/>
                </a:lnTo>
                <a:lnTo>
                  <a:pt x="103" y="173"/>
                </a:lnTo>
                <a:lnTo>
                  <a:pt x="103" y="174"/>
                </a:lnTo>
                <a:lnTo>
                  <a:pt x="100" y="174"/>
                </a:lnTo>
                <a:lnTo>
                  <a:pt x="99" y="173"/>
                </a:lnTo>
                <a:lnTo>
                  <a:pt x="99" y="172"/>
                </a:lnTo>
                <a:close/>
                <a:moveTo>
                  <a:pt x="78" y="168"/>
                </a:moveTo>
                <a:lnTo>
                  <a:pt x="79" y="168"/>
                </a:lnTo>
                <a:lnTo>
                  <a:pt x="79" y="171"/>
                </a:lnTo>
                <a:lnTo>
                  <a:pt x="76" y="171"/>
                </a:lnTo>
                <a:lnTo>
                  <a:pt x="76" y="172"/>
                </a:lnTo>
                <a:lnTo>
                  <a:pt x="75" y="173"/>
                </a:lnTo>
                <a:lnTo>
                  <a:pt x="73" y="173"/>
                </a:lnTo>
                <a:lnTo>
                  <a:pt x="73" y="177"/>
                </a:lnTo>
                <a:lnTo>
                  <a:pt x="72" y="177"/>
                </a:lnTo>
                <a:lnTo>
                  <a:pt x="69" y="175"/>
                </a:lnTo>
                <a:lnTo>
                  <a:pt x="69" y="174"/>
                </a:lnTo>
                <a:lnTo>
                  <a:pt x="68" y="173"/>
                </a:lnTo>
                <a:lnTo>
                  <a:pt x="68" y="172"/>
                </a:lnTo>
                <a:lnTo>
                  <a:pt x="69" y="171"/>
                </a:lnTo>
                <a:lnTo>
                  <a:pt x="73" y="171"/>
                </a:lnTo>
                <a:lnTo>
                  <a:pt x="74" y="169"/>
                </a:lnTo>
                <a:lnTo>
                  <a:pt x="75" y="169"/>
                </a:lnTo>
                <a:lnTo>
                  <a:pt x="78" y="168"/>
                </a:lnTo>
                <a:close/>
                <a:moveTo>
                  <a:pt x="104" y="160"/>
                </a:moveTo>
                <a:lnTo>
                  <a:pt x="105" y="160"/>
                </a:lnTo>
                <a:lnTo>
                  <a:pt x="107" y="161"/>
                </a:lnTo>
                <a:lnTo>
                  <a:pt x="107" y="162"/>
                </a:lnTo>
                <a:lnTo>
                  <a:pt x="109" y="162"/>
                </a:lnTo>
                <a:lnTo>
                  <a:pt x="110" y="165"/>
                </a:lnTo>
                <a:lnTo>
                  <a:pt x="111" y="168"/>
                </a:lnTo>
                <a:lnTo>
                  <a:pt x="111" y="169"/>
                </a:lnTo>
                <a:lnTo>
                  <a:pt x="116" y="169"/>
                </a:lnTo>
                <a:lnTo>
                  <a:pt x="117" y="171"/>
                </a:lnTo>
                <a:lnTo>
                  <a:pt x="119" y="171"/>
                </a:lnTo>
                <a:lnTo>
                  <a:pt x="119" y="172"/>
                </a:lnTo>
                <a:lnTo>
                  <a:pt x="120" y="173"/>
                </a:lnTo>
                <a:lnTo>
                  <a:pt x="122" y="173"/>
                </a:lnTo>
                <a:lnTo>
                  <a:pt x="123" y="174"/>
                </a:lnTo>
                <a:lnTo>
                  <a:pt x="123" y="175"/>
                </a:lnTo>
                <a:lnTo>
                  <a:pt x="125" y="175"/>
                </a:lnTo>
                <a:lnTo>
                  <a:pt x="124" y="178"/>
                </a:lnTo>
                <a:lnTo>
                  <a:pt x="124" y="177"/>
                </a:lnTo>
                <a:lnTo>
                  <a:pt x="123" y="177"/>
                </a:lnTo>
                <a:lnTo>
                  <a:pt x="123" y="178"/>
                </a:lnTo>
                <a:lnTo>
                  <a:pt x="124" y="178"/>
                </a:lnTo>
                <a:lnTo>
                  <a:pt x="124" y="180"/>
                </a:lnTo>
                <a:lnTo>
                  <a:pt x="122" y="180"/>
                </a:lnTo>
                <a:lnTo>
                  <a:pt x="122" y="178"/>
                </a:lnTo>
                <a:lnTo>
                  <a:pt x="120" y="178"/>
                </a:lnTo>
                <a:lnTo>
                  <a:pt x="120" y="180"/>
                </a:lnTo>
                <a:lnTo>
                  <a:pt x="119" y="181"/>
                </a:lnTo>
                <a:lnTo>
                  <a:pt x="123" y="181"/>
                </a:lnTo>
                <a:lnTo>
                  <a:pt x="123" y="183"/>
                </a:lnTo>
                <a:lnTo>
                  <a:pt x="122" y="183"/>
                </a:lnTo>
                <a:lnTo>
                  <a:pt x="118" y="186"/>
                </a:lnTo>
                <a:lnTo>
                  <a:pt x="116" y="186"/>
                </a:lnTo>
                <a:lnTo>
                  <a:pt x="114" y="185"/>
                </a:lnTo>
                <a:lnTo>
                  <a:pt x="116" y="185"/>
                </a:lnTo>
                <a:lnTo>
                  <a:pt x="116" y="183"/>
                </a:lnTo>
                <a:lnTo>
                  <a:pt x="114" y="183"/>
                </a:lnTo>
                <a:lnTo>
                  <a:pt x="114" y="184"/>
                </a:lnTo>
                <a:lnTo>
                  <a:pt x="113" y="184"/>
                </a:lnTo>
                <a:lnTo>
                  <a:pt x="113" y="185"/>
                </a:lnTo>
                <a:lnTo>
                  <a:pt x="112" y="185"/>
                </a:lnTo>
                <a:lnTo>
                  <a:pt x="109" y="186"/>
                </a:lnTo>
                <a:lnTo>
                  <a:pt x="107" y="187"/>
                </a:lnTo>
                <a:lnTo>
                  <a:pt x="105" y="187"/>
                </a:lnTo>
                <a:lnTo>
                  <a:pt x="104" y="189"/>
                </a:lnTo>
                <a:lnTo>
                  <a:pt x="99" y="189"/>
                </a:lnTo>
                <a:lnTo>
                  <a:pt x="99" y="190"/>
                </a:lnTo>
                <a:lnTo>
                  <a:pt x="97" y="190"/>
                </a:lnTo>
                <a:lnTo>
                  <a:pt x="95" y="189"/>
                </a:lnTo>
                <a:lnTo>
                  <a:pt x="95" y="187"/>
                </a:lnTo>
                <a:lnTo>
                  <a:pt x="94" y="187"/>
                </a:lnTo>
                <a:lnTo>
                  <a:pt x="94" y="184"/>
                </a:lnTo>
                <a:lnTo>
                  <a:pt x="98" y="184"/>
                </a:lnTo>
                <a:lnTo>
                  <a:pt x="98" y="185"/>
                </a:lnTo>
                <a:lnTo>
                  <a:pt x="99" y="185"/>
                </a:lnTo>
                <a:lnTo>
                  <a:pt x="99" y="186"/>
                </a:lnTo>
                <a:lnTo>
                  <a:pt x="100" y="186"/>
                </a:lnTo>
                <a:lnTo>
                  <a:pt x="100" y="185"/>
                </a:lnTo>
                <a:lnTo>
                  <a:pt x="99" y="185"/>
                </a:lnTo>
                <a:lnTo>
                  <a:pt x="100" y="184"/>
                </a:lnTo>
                <a:lnTo>
                  <a:pt x="101" y="185"/>
                </a:lnTo>
                <a:lnTo>
                  <a:pt x="103" y="184"/>
                </a:lnTo>
                <a:lnTo>
                  <a:pt x="104" y="184"/>
                </a:lnTo>
                <a:lnTo>
                  <a:pt x="109" y="181"/>
                </a:lnTo>
                <a:lnTo>
                  <a:pt x="109" y="180"/>
                </a:lnTo>
                <a:lnTo>
                  <a:pt x="107" y="180"/>
                </a:lnTo>
                <a:lnTo>
                  <a:pt x="105" y="183"/>
                </a:lnTo>
                <a:lnTo>
                  <a:pt x="103" y="183"/>
                </a:lnTo>
                <a:lnTo>
                  <a:pt x="101" y="181"/>
                </a:lnTo>
                <a:lnTo>
                  <a:pt x="101" y="180"/>
                </a:lnTo>
                <a:lnTo>
                  <a:pt x="104" y="178"/>
                </a:lnTo>
                <a:lnTo>
                  <a:pt x="104" y="177"/>
                </a:lnTo>
                <a:lnTo>
                  <a:pt x="105" y="175"/>
                </a:lnTo>
                <a:lnTo>
                  <a:pt x="106" y="175"/>
                </a:lnTo>
                <a:lnTo>
                  <a:pt x="109" y="174"/>
                </a:lnTo>
                <a:lnTo>
                  <a:pt x="110" y="174"/>
                </a:lnTo>
                <a:lnTo>
                  <a:pt x="110" y="172"/>
                </a:lnTo>
                <a:lnTo>
                  <a:pt x="109" y="172"/>
                </a:lnTo>
                <a:lnTo>
                  <a:pt x="106" y="173"/>
                </a:lnTo>
                <a:lnTo>
                  <a:pt x="105" y="173"/>
                </a:lnTo>
                <a:lnTo>
                  <a:pt x="105" y="174"/>
                </a:lnTo>
                <a:lnTo>
                  <a:pt x="104" y="173"/>
                </a:lnTo>
                <a:lnTo>
                  <a:pt x="104" y="172"/>
                </a:lnTo>
                <a:lnTo>
                  <a:pt x="101" y="169"/>
                </a:lnTo>
                <a:lnTo>
                  <a:pt x="97" y="169"/>
                </a:lnTo>
                <a:lnTo>
                  <a:pt x="97" y="168"/>
                </a:lnTo>
                <a:lnTo>
                  <a:pt x="95" y="168"/>
                </a:lnTo>
                <a:lnTo>
                  <a:pt x="98" y="166"/>
                </a:lnTo>
                <a:lnTo>
                  <a:pt x="97" y="166"/>
                </a:lnTo>
                <a:lnTo>
                  <a:pt x="97" y="163"/>
                </a:lnTo>
                <a:lnTo>
                  <a:pt x="98" y="163"/>
                </a:lnTo>
                <a:lnTo>
                  <a:pt x="99" y="162"/>
                </a:lnTo>
                <a:lnTo>
                  <a:pt x="99" y="163"/>
                </a:lnTo>
                <a:lnTo>
                  <a:pt x="100" y="163"/>
                </a:lnTo>
                <a:lnTo>
                  <a:pt x="100" y="161"/>
                </a:lnTo>
                <a:lnTo>
                  <a:pt x="101" y="161"/>
                </a:lnTo>
                <a:lnTo>
                  <a:pt x="104" y="160"/>
                </a:lnTo>
                <a:close/>
                <a:moveTo>
                  <a:pt x="88" y="158"/>
                </a:moveTo>
                <a:lnTo>
                  <a:pt x="91" y="158"/>
                </a:lnTo>
                <a:lnTo>
                  <a:pt x="91" y="159"/>
                </a:lnTo>
                <a:lnTo>
                  <a:pt x="89" y="159"/>
                </a:lnTo>
                <a:lnTo>
                  <a:pt x="89" y="161"/>
                </a:lnTo>
                <a:lnTo>
                  <a:pt x="88" y="161"/>
                </a:lnTo>
                <a:lnTo>
                  <a:pt x="88" y="162"/>
                </a:lnTo>
                <a:lnTo>
                  <a:pt x="87" y="162"/>
                </a:lnTo>
                <a:lnTo>
                  <a:pt x="86" y="165"/>
                </a:lnTo>
                <a:lnTo>
                  <a:pt x="83" y="166"/>
                </a:lnTo>
                <a:lnTo>
                  <a:pt x="81" y="166"/>
                </a:lnTo>
                <a:lnTo>
                  <a:pt x="81" y="167"/>
                </a:lnTo>
                <a:lnTo>
                  <a:pt x="80" y="166"/>
                </a:lnTo>
                <a:lnTo>
                  <a:pt x="80" y="165"/>
                </a:lnTo>
                <a:lnTo>
                  <a:pt x="81" y="165"/>
                </a:lnTo>
                <a:lnTo>
                  <a:pt x="85" y="161"/>
                </a:lnTo>
                <a:lnTo>
                  <a:pt x="85" y="160"/>
                </a:lnTo>
                <a:lnTo>
                  <a:pt x="86" y="159"/>
                </a:lnTo>
                <a:lnTo>
                  <a:pt x="87" y="159"/>
                </a:lnTo>
                <a:lnTo>
                  <a:pt x="88" y="158"/>
                </a:lnTo>
                <a:close/>
                <a:moveTo>
                  <a:pt x="129" y="156"/>
                </a:moveTo>
                <a:lnTo>
                  <a:pt x="125" y="158"/>
                </a:lnTo>
                <a:lnTo>
                  <a:pt x="128" y="158"/>
                </a:lnTo>
                <a:lnTo>
                  <a:pt x="129" y="156"/>
                </a:lnTo>
                <a:close/>
                <a:moveTo>
                  <a:pt x="94" y="129"/>
                </a:moveTo>
                <a:lnTo>
                  <a:pt x="97" y="129"/>
                </a:lnTo>
                <a:lnTo>
                  <a:pt x="99" y="131"/>
                </a:lnTo>
                <a:lnTo>
                  <a:pt x="99" y="135"/>
                </a:lnTo>
                <a:lnTo>
                  <a:pt x="98" y="137"/>
                </a:lnTo>
                <a:lnTo>
                  <a:pt x="97" y="137"/>
                </a:lnTo>
                <a:lnTo>
                  <a:pt x="95" y="138"/>
                </a:lnTo>
                <a:lnTo>
                  <a:pt x="94" y="137"/>
                </a:lnTo>
                <a:lnTo>
                  <a:pt x="94" y="136"/>
                </a:lnTo>
                <a:lnTo>
                  <a:pt x="91" y="132"/>
                </a:lnTo>
                <a:lnTo>
                  <a:pt x="94" y="129"/>
                </a:lnTo>
                <a:close/>
                <a:moveTo>
                  <a:pt x="49" y="129"/>
                </a:moveTo>
                <a:lnTo>
                  <a:pt x="50" y="129"/>
                </a:lnTo>
                <a:lnTo>
                  <a:pt x="50" y="130"/>
                </a:lnTo>
                <a:lnTo>
                  <a:pt x="49" y="131"/>
                </a:lnTo>
                <a:lnTo>
                  <a:pt x="50" y="132"/>
                </a:lnTo>
                <a:lnTo>
                  <a:pt x="51" y="132"/>
                </a:lnTo>
                <a:lnTo>
                  <a:pt x="51" y="135"/>
                </a:lnTo>
                <a:lnTo>
                  <a:pt x="50" y="135"/>
                </a:lnTo>
                <a:lnTo>
                  <a:pt x="50" y="136"/>
                </a:lnTo>
                <a:lnTo>
                  <a:pt x="49" y="136"/>
                </a:lnTo>
                <a:lnTo>
                  <a:pt x="49" y="137"/>
                </a:lnTo>
                <a:lnTo>
                  <a:pt x="48" y="137"/>
                </a:lnTo>
                <a:lnTo>
                  <a:pt x="48" y="138"/>
                </a:lnTo>
                <a:lnTo>
                  <a:pt x="45" y="137"/>
                </a:lnTo>
                <a:lnTo>
                  <a:pt x="44" y="137"/>
                </a:lnTo>
                <a:lnTo>
                  <a:pt x="44" y="136"/>
                </a:lnTo>
                <a:lnTo>
                  <a:pt x="47" y="134"/>
                </a:lnTo>
                <a:lnTo>
                  <a:pt x="45" y="134"/>
                </a:lnTo>
                <a:lnTo>
                  <a:pt x="45" y="132"/>
                </a:lnTo>
                <a:lnTo>
                  <a:pt x="47" y="131"/>
                </a:lnTo>
                <a:lnTo>
                  <a:pt x="48" y="131"/>
                </a:lnTo>
                <a:lnTo>
                  <a:pt x="49" y="129"/>
                </a:lnTo>
                <a:close/>
                <a:moveTo>
                  <a:pt x="86" y="128"/>
                </a:moveTo>
                <a:lnTo>
                  <a:pt x="87" y="128"/>
                </a:lnTo>
                <a:lnTo>
                  <a:pt x="88" y="129"/>
                </a:lnTo>
                <a:lnTo>
                  <a:pt x="87" y="130"/>
                </a:lnTo>
                <a:lnTo>
                  <a:pt x="86" y="130"/>
                </a:lnTo>
                <a:lnTo>
                  <a:pt x="85" y="129"/>
                </a:lnTo>
                <a:lnTo>
                  <a:pt x="86" y="128"/>
                </a:lnTo>
                <a:close/>
                <a:moveTo>
                  <a:pt x="131" y="124"/>
                </a:moveTo>
                <a:lnTo>
                  <a:pt x="130" y="125"/>
                </a:lnTo>
                <a:lnTo>
                  <a:pt x="135" y="125"/>
                </a:lnTo>
                <a:lnTo>
                  <a:pt x="135" y="124"/>
                </a:lnTo>
                <a:lnTo>
                  <a:pt x="131" y="124"/>
                </a:lnTo>
                <a:close/>
                <a:moveTo>
                  <a:pt x="110" y="109"/>
                </a:moveTo>
                <a:lnTo>
                  <a:pt x="112" y="109"/>
                </a:lnTo>
                <a:lnTo>
                  <a:pt x="113" y="110"/>
                </a:lnTo>
                <a:lnTo>
                  <a:pt x="113" y="111"/>
                </a:lnTo>
                <a:lnTo>
                  <a:pt x="111" y="111"/>
                </a:lnTo>
                <a:lnTo>
                  <a:pt x="110" y="110"/>
                </a:lnTo>
                <a:lnTo>
                  <a:pt x="110" y="109"/>
                </a:lnTo>
                <a:close/>
                <a:moveTo>
                  <a:pt x="103" y="101"/>
                </a:moveTo>
                <a:lnTo>
                  <a:pt x="101" y="103"/>
                </a:lnTo>
                <a:lnTo>
                  <a:pt x="103" y="103"/>
                </a:lnTo>
                <a:lnTo>
                  <a:pt x="103" y="101"/>
                </a:lnTo>
                <a:close/>
                <a:moveTo>
                  <a:pt x="52" y="101"/>
                </a:moveTo>
                <a:lnTo>
                  <a:pt x="56" y="104"/>
                </a:lnTo>
                <a:lnTo>
                  <a:pt x="56" y="105"/>
                </a:lnTo>
                <a:lnTo>
                  <a:pt x="55" y="104"/>
                </a:lnTo>
                <a:lnTo>
                  <a:pt x="55" y="105"/>
                </a:lnTo>
                <a:lnTo>
                  <a:pt x="56" y="105"/>
                </a:lnTo>
                <a:lnTo>
                  <a:pt x="57" y="106"/>
                </a:lnTo>
                <a:lnTo>
                  <a:pt x="58" y="106"/>
                </a:lnTo>
                <a:lnTo>
                  <a:pt x="58" y="107"/>
                </a:lnTo>
                <a:lnTo>
                  <a:pt x="56" y="107"/>
                </a:lnTo>
                <a:lnTo>
                  <a:pt x="52" y="104"/>
                </a:lnTo>
                <a:lnTo>
                  <a:pt x="52" y="103"/>
                </a:lnTo>
                <a:lnTo>
                  <a:pt x="51" y="104"/>
                </a:lnTo>
                <a:lnTo>
                  <a:pt x="51" y="105"/>
                </a:lnTo>
                <a:lnTo>
                  <a:pt x="52" y="106"/>
                </a:lnTo>
                <a:lnTo>
                  <a:pt x="54" y="106"/>
                </a:lnTo>
                <a:lnTo>
                  <a:pt x="55" y="107"/>
                </a:lnTo>
                <a:lnTo>
                  <a:pt x="56" y="107"/>
                </a:lnTo>
                <a:lnTo>
                  <a:pt x="58" y="110"/>
                </a:lnTo>
                <a:lnTo>
                  <a:pt x="60" y="110"/>
                </a:lnTo>
                <a:lnTo>
                  <a:pt x="60" y="111"/>
                </a:lnTo>
                <a:lnTo>
                  <a:pt x="58" y="111"/>
                </a:lnTo>
                <a:lnTo>
                  <a:pt x="57" y="112"/>
                </a:lnTo>
                <a:lnTo>
                  <a:pt x="57" y="115"/>
                </a:lnTo>
                <a:lnTo>
                  <a:pt x="56" y="116"/>
                </a:lnTo>
                <a:lnTo>
                  <a:pt x="52" y="115"/>
                </a:lnTo>
                <a:lnTo>
                  <a:pt x="55" y="116"/>
                </a:lnTo>
                <a:lnTo>
                  <a:pt x="56" y="117"/>
                </a:lnTo>
                <a:lnTo>
                  <a:pt x="56" y="118"/>
                </a:lnTo>
                <a:lnTo>
                  <a:pt x="57" y="119"/>
                </a:lnTo>
                <a:lnTo>
                  <a:pt x="56" y="120"/>
                </a:lnTo>
                <a:lnTo>
                  <a:pt x="56" y="123"/>
                </a:lnTo>
                <a:lnTo>
                  <a:pt x="57" y="123"/>
                </a:lnTo>
                <a:lnTo>
                  <a:pt x="57" y="124"/>
                </a:lnTo>
                <a:lnTo>
                  <a:pt x="58" y="124"/>
                </a:lnTo>
                <a:lnTo>
                  <a:pt x="57" y="125"/>
                </a:lnTo>
                <a:lnTo>
                  <a:pt x="52" y="125"/>
                </a:lnTo>
                <a:lnTo>
                  <a:pt x="51" y="124"/>
                </a:lnTo>
                <a:lnTo>
                  <a:pt x="51" y="123"/>
                </a:lnTo>
                <a:lnTo>
                  <a:pt x="50" y="119"/>
                </a:lnTo>
                <a:lnTo>
                  <a:pt x="50" y="117"/>
                </a:lnTo>
                <a:lnTo>
                  <a:pt x="49" y="116"/>
                </a:lnTo>
                <a:lnTo>
                  <a:pt x="49" y="113"/>
                </a:lnTo>
                <a:lnTo>
                  <a:pt x="50" y="112"/>
                </a:lnTo>
                <a:lnTo>
                  <a:pt x="50" y="110"/>
                </a:lnTo>
                <a:lnTo>
                  <a:pt x="51" y="110"/>
                </a:lnTo>
                <a:lnTo>
                  <a:pt x="51" y="109"/>
                </a:lnTo>
                <a:lnTo>
                  <a:pt x="50" y="106"/>
                </a:lnTo>
                <a:lnTo>
                  <a:pt x="50" y="103"/>
                </a:lnTo>
                <a:lnTo>
                  <a:pt x="52" y="101"/>
                </a:lnTo>
                <a:close/>
                <a:moveTo>
                  <a:pt x="51" y="95"/>
                </a:moveTo>
                <a:lnTo>
                  <a:pt x="56" y="95"/>
                </a:lnTo>
                <a:lnTo>
                  <a:pt x="56" y="97"/>
                </a:lnTo>
                <a:lnTo>
                  <a:pt x="58" y="97"/>
                </a:lnTo>
                <a:lnTo>
                  <a:pt x="60" y="98"/>
                </a:lnTo>
                <a:lnTo>
                  <a:pt x="56" y="98"/>
                </a:lnTo>
                <a:lnTo>
                  <a:pt x="57" y="99"/>
                </a:lnTo>
                <a:lnTo>
                  <a:pt x="58" y="99"/>
                </a:lnTo>
                <a:lnTo>
                  <a:pt x="58" y="100"/>
                </a:lnTo>
                <a:lnTo>
                  <a:pt x="55" y="101"/>
                </a:lnTo>
                <a:lnTo>
                  <a:pt x="54" y="101"/>
                </a:lnTo>
                <a:lnTo>
                  <a:pt x="51" y="99"/>
                </a:lnTo>
                <a:lnTo>
                  <a:pt x="50" y="99"/>
                </a:lnTo>
                <a:lnTo>
                  <a:pt x="50" y="97"/>
                </a:lnTo>
                <a:lnTo>
                  <a:pt x="51" y="95"/>
                </a:lnTo>
                <a:close/>
                <a:moveTo>
                  <a:pt x="109" y="94"/>
                </a:moveTo>
                <a:lnTo>
                  <a:pt x="111" y="94"/>
                </a:lnTo>
                <a:lnTo>
                  <a:pt x="111" y="95"/>
                </a:lnTo>
                <a:lnTo>
                  <a:pt x="109" y="100"/>
                </a:lnTo>
                <a:lnTo>
                  <a:pt x="109" y="103"/>
                </a:lnTo>
                <a:lnTo>
                  <a:pt x="110" y="104"/>
                </a:lnTo>
                <a:lnTo>
                  <a:pt x="110" y="107"/>
                </a:lnTo>
                <a:lnTo>
                  <a:pt x="107" y="107"/>
                </a:lnTo>
                <a:lnTo>
                  <a:pt x="107" y="106"/>
                </a:lnTo>
                <a:lnTo>
                  <a:pt x="106" y="106"/>
                </a:lnTo>
                <a:lnTo>
                  <a:pt x="106" y="105"/>
                </a:lnTo>
                <a:lnTo>
                  <a:pt x="107" y="99"/>
                </a:lnTo>
                <a:lnTo>
                  <a:pt x="107" y="98"/>
                </a:lnTo>
                <a:lnTo>
                  <a:pt x="109" y="98"/>
                </a:lnTo>
                <a:lnTo>
                  <a:pt x="109" y="94"/>
                </a:lnTo>
                <a:close/>
                <a:moveTo>
                  <a:pt x="111" y="88"/>
                </a:moveTo>
                <a:lnTo>
                  <a:pt x="112" y="88"/>
                </a:lnTo>
                <a:lnTo>
                  <a:pt x="111" y="92"/>
                </a:lnTo>
                <a:lnTo>
                  <a:pt x="111" y="93"/>
                </a:lnTo>
                <a:lnTo>
                  <a:pt x="110" y="92"/>
                </a:lnTo>
                <a:lnTo>
                  <a:pt x="111" y="91"/>
                </a:lnTo>
                <a:lnTo>
                  <a:pt x="111" y="88"/>
                </a:lnTo>
                <a:close/>
                <a:moveTo>
                  <a:pt x="56" y="88"/>
                </a:moveTo>
                <a:lnTo>
                  <a:pt x="55" y="91"/>
                </a:lnTo>
                <a:lnTo>
                  <a:pt x="57" y="91"/>
                </a:lnTo>
                <a:lnTo>
                  <a:pt x="57" y="88"/>
                </a:lnTo>
                <a:lnTo>
                  <a:pt x="56" y="88"/>
                </a:lnTo>
                <a:close/>
                <a:moveTo>
                  <a:pt x="54" y="80"/>
                </a:moveTo>
                <a:lnTo>
                  <a:pt x="54" y="81"/>
                </a:lnTo>
                <a:lnTo>
                  <a:pt x="56" y="82"/>
                </a:lnTo>
                <a:lnTo>
                  <a:pt x="56" y="81"/>
                </a:lnTo>
                <a:lnTo>
                  <a:pt x="57" y="81"/>
                </a:lnTo>
                <a:lnTo>
                  <a:pt x="58" y="80"/>
                </a:lnTo>
                <a:lnTo>
                  <a:pt x="61" y="80"/>
                </a:lnTo>
                <a:lnTo>
                  <a:pt x="61" y="81"/>
                </a:lnTo>
                <a:lnTo>
                  <a:pt x="60" y="82"/>
                </a:lnTo>
                <a:lnTo>
                  <a:pt x="64" y="82"/>
                </a:lnTo>
                <a:lnTo>
                  <a:pt x="64" y="85"/>
                </a:lnTo>
                <a:lnTo>
                  <a:pt x="63" y="86"/>
                </a:lnTo>
                <a:lnTo>
                  <a:pt x="62" y="85"/>
                </a:lnTo>
                <a:lnTo>
                  <a:pt x="61" y="85"/>
                </a:lnTo>
                <a:lnTo>
                  <a:pt x="61" y="83"/>
                </a:lnTo>
                <a:lnTo>
                  <a:pt x="60" y="83"/>
                </a:lnTo>
                <a:lnTo>
                  <a:pt x="60" y="86"/>
                </a:lnTo>
                <a:lnTo>
                  <a:pt x="61" y="86"/>
                </a:lnTo>
                <a:lnTo>
                  <a:pt x="61" y="87"/>
                </a:lnTo>
                <a:lnTo>
                  <a:pt x="63" y="87"/>
                </a:lnTo>
                <a:lnTo>
                  <a:pt x="61" y="89"/>
                </a:lnTo>
                <a:lnTo>
                  <a:pt x="58" y="89"/>
                </a:lnTo>
                <a:lnTo>
                  <a:pt x="58" y="91"/>
                </a:lnTo>
                <a:lnTo>
                  <a:pt x="62" y="91"/>
                </a:lnTo>
                <a:lnTo>
                  <a:pt x="62" y="92"/>
                </a:lnTo>
                <a:lnTo>
                  <a:pt x="61" y="93"/>
                </a:lnTo>
                <a:lnTo>
                  <a:pt x="58" y="93"/>
                </a:lnTo>
                <a:lnTo>
                  <a:pt x="57" y="94"/>
                </a:lnTo>
                <a:lnTo>
                  <a:pt x="57" y="93"/>
                </a:lnTo>
                <a:lnTo>
                  <a:pt x="55" y="94"/>
                </a:lnTo>
                <a:lnTo>
                  <a:pt x="55" y="93"/>
                </a:lnTo>
                <a:lnTo>
                  <a:pt x="54" y="93"/>
                </a:lnTo>
                <a:lnTo>
                  <a:pt x="54" y="91"/>
                </a:lnTo>
                <a:lnTo>
                  <a:pt x="52" y="91"/>
                </a:lnTo>
                <a:lnTo>
                  <a:pt x="50" y="88"/>
                </a:lnTo>
                <a:lnTo>
                  <a:pt x="49" y="88"/>
                </a:lnTo>
                <a:lnTo>
                  <a:pt x="49" y="89"/>
                </a:lnTo>
                <a:lnTo>
                  <a:pt x="48" y="89"/>
                </a:lnTo>
                <a:lnTo>
                  <a:pt x="48" y="88"/>
                </a:lnTo>
                <a:lnTo>
                  <a:pt x="47" y="88"/>
                </a:lnTo>
                <a:lnTo>
                  <a:pt x="44" y="87"/>
                </a:lnTo>
                <a:lnTo>
                  <a:pt x="47" y="85"/>
                </a:lnTo>
                <a:lnTo>
                  <a:pt x="47" y="83"/>
                </a:lnTo>
                <a:lnTo>
                  <a:pt x="48" y="81"/>
                </a:lnTo>
                <a:lnTo>
                  <a:pt x="49" y="82"/>
                </a:lnTo>
                <a:lnTo>
                  <a:pt x="51" y="81"/>
                </a:lnTo>
                <a:lnTo>
                  <a:pt x="51" y="82"/>
                </a:lnTo>
                <a:lnTo>
                  <a:pt x="50" y="82"/>
                </a:lnTo>
                <a:lnTo>
                  <a:pt x="51" y="83"/>
                </a:lnTo>
                <a:lnTo>
                  <a:pt x="52" y="82"/>
                </a:lnTo>
                <a:lnTo>
                  <a:pt x="54" y="80"/>
                </a:lnTo>
                <a:close/>
                <a:moveTo>
                  <a:pt x="95" y="79"/>
                </a:moveTo>
                <a:lnTo>
                  <a:pt x="97" y="79"/>
                </a:lnTo>
                <a:lnTo>
                  <a:pt x="100" y="82"/>
                </a:lnTo>
                <a:lnTo>
                  <a:pt x="100" y="83"/>
                </a:lnTo>
                <a:lnTo>
                  <a:pt x="103" y="86"/>
                </a:lnTo>
                <a:lnTo>
                  <a:pt x="103" y="87"/>
                </a:lnTo>
                <a:lnTo>
                  <a:pt x="104" y="87"/>
                </a:lnTo>
                <a:lnTo>
                  <a:pt x="104" y="101"/>
                </a:lnTo>
                <a:lnTo>
                  <a:pt x="105" y="101"/>
                </a:lnTo>
                <a:lnTo>
                  <a:pt x="105" y="103"/>
                </a:lnTo>
                <a:lnTo>
                  <a:pt x="104" y="104"/>
                </a:lnTo>
                <a:lnTo>
                  <a:pt x="104" y="105"/>
                </a:lnTo>
                <a:lnTo>
                  <a:pt x="105" y="106"/>
                </a:lnTo>
                <a:lnTo>
                  <a:pt x="105" y="107"/>
                </a:lnTo>
                <a:lnTo>
                  <a:pt x="106" y="107"/>
                </a:lnTo>
                <a:lnTo>
                  <a:pt x="105" y="109"/>
                </a:lnTo>
                <a:lnTo>
                  <a:pt x="104" y="109"/>
                </a:lnTo>
                <a:lnTo>
                  <a:pt x="104" y="110"/>
                </a:lnTo>
                <a:lnTo>
                  <a:pt x="107" y="109"/>
                </a:lnTo>
                <a:lnTo>
                  <a:pt x="107" y="110"/>
                </a:lnTo>
                <a:lnTo>
                  <a:pt x="109" y="110"/>
                </a:lnTo>
                <a:lnTo>
                  <a:pt x="107" y="111"/>
                </a:lnTo>
                <a:lnTo>
                  <a:pt x="106" y="111"/>
                </a:lnTo>
                <a:lnTo>
                  <a:pt x="106" y="112"/>
                </a:lnTo>
                <a:lnTo>
                  <a:pt x="107" y="112"/>
                </a:lnTo>
                <a:lnTo>
                  <a:pt x="109" y="111"/>
                </a:lnTo>
                <a:lnTo>
                  <a:pt x="110" y="111"/>
                </a:lnTo>
                <a:lnTo>
                  <a:pt x="111" y="112"/>
                </a:lnTo>
                <a:lnTo>
                  <a:pt x="113" y="112"/>
                </a:lnTo>
                <a:lnTo>
                  <a:pt x="113" y="115"/>
                </a:lnTo>
                <a:lnTo>
                  <a:pt x="114" y="115"/>
                </a:lnTo>
                <a:lnTo>
                  <a:pt x="116" y="113"/>
                </a:lnTo>
                <a:lnTo>
                  <a:pt x="117" y="113"/>
                </a:lnTo>
                <a:lnTo>
                  <a:pt x="118" y="112"/>
                </a:lnTo>
                <a:lnTo>
                  <a:pt x="120" y="112"/>
                </a:lnTo>
                <a:lnTo>
                  <a:pt x="122" y="113"/>
                </a:lnTo>
                <a:lnTo>
                  <a:pt x="125" y="113"/>
                </a:lnTo>
                <a:lnTo>
                  <a:pt x="124" y="115"/>
                </a:lnTo>
                <a:lnTo>
                  <a:pt x="124" y="117"/>
                </a:lnTo>
                <a:lnTo>
                  <a:pt x="123" y="118"/>
                </a:lnTo>
                <a:lnTo>
                  <a:pt x="122" y="120"/>
                </a:lnTo>
                <a:lnTo>
                  <a:pt x="119" y="120"/>
                </a:lnTo>
                <a:lnTo>
                  <a:pt x="118" y="123"/>
                </a:lnTo>
                <a:lnTo>
                  <a:pt x="118" y="124"/>
                </a:lnTo>
                <a:lnTo>
                  <a:pt x="117" y="124"/>
                </a:lnTo>
                <a:lnTo>
                  <a:pt x="117" y="125"/>
                </a:lnTo>
                <a:lnTo>
                  <a:pt x="116" y="125"/>
                </a:lnTo>
                <a:lnTo>
                  <a:pt x="116" y="126"/>
                </a:lnTo>
                <a:lnTo>
                  <a:pt x="112" y="130"/>
                </a:lnTo>
                <a:lnTo>
                  <a:pt x="112" y="131"/>
                </a:lnTo>
                <a:lnTo>
                  <a:pt x="109" y="131"/>
                </a:lnTo>
                <a:lnTo>
                  <a:pt x="109" y="129"/>
                </a:lnTo>
                <a:lnTo>
                  <a:pt x="110" y="126"/>
                </a:lnTo>
                <a:lnTo>
                  <a:pt x="110" y="124"/>
                </a:lnTo>
                <a:lnTo>
                  <a:pt x="111" y="124"/>
                </a:lnTo>
                <a:lnTo>
                  <a:pt x="111" y="123"/>
                </a:lnTo>
                <a:lnTo>
                  <a:pt x="112" y="122"/>
                </a:lnTo>
                <a:lnTo>
                  <a:pt x="117" y="119"/>
                </a:lnTo>
                <a:lnTo>
                  <a:pt x="110" y="119"/>
                </a:lnTo>
                <a:lnTo>
                  <a:pt x="110" y="118"/>
                </a:lnTo>
                <a:lnTo>
                  <a:pt x="109" y="117"/>
                </a:lnTo>
                <a:lnTo>
                  <a:pt x="109" y="119"/>
                </a:lnTo>
                <a:lnTo>
                  <a:pt x="107" y="120"/>
                </a:lnTo>
                <a:lnTo>
                  <a:pt x="109" y="120"/>
                </a:lnTo>
                <a:lnTo>
                  <a:pt x="107" y="122"/>
                </a:lnTo>
                <a:lnTo>
                  <a:pt x="107" y="123"/>
                </a:lnTo>
                <a:lnTo>
                  <a:pt x="105" y="123"/>
                </a:lnTo>
                <a:lnTo>
                  <a:pt x="105" y="118"/>
                </a:lnTo>
                <a:lnTo>
                  <a:pt x="103" y="118"/>
                </a:lnTo>
                <a:lnTo>
                  <a:pt x="103" y="119"/>
                </a:lnTo>
                <a:lnTo>
                  <a:pt x="97" y="120"/>
                </a:lnTo>
                <a:lnTo>
                  <a:pt x="97" y="119"/>
                </a:lnTo>
                <a:lnTo>
                  <a:pt x="98" y="118"/>
                </a:lnTo>
                <a:lnTo>
                  <a:pt x="95" y="118"/>
                </a:lnTo>
                <a:lnTo>
                  <a:pt x="95" y="119"/>
                </a:lnTo>
                <a:lnTo>
                  <a:pt x="94" y="117"/>
                </a:lnTo>
                <a:lnTo>
                  <a:pt x="94" y="116"/>
                </a:lnTo>
                <a:lnTo>
                  <a:pt x="95" y="115"/>
                </a:lnTo>
                <a:lnTo>
                  <a:pt x="93" y="115"/>
                </a:lnTo>
                <a:lnTo>
                  <a:pt x="91" y="112"/>
                </a:lnTo>
                <a:lnTo>
                  <a:pt x="91" y="111"/>
                </a:lnTo>
                <a:lnTo>
                  <a:pt x="89" y="110"/>
                </a:lnTo>
                <a:lnTo>
                  <a:pt x="89" y="109"/>
                </a:lnTo>
                <a:lnTo>
                  <a:pt x="92" y="107"/>
                </a:lnTo>
                <a:lnTo>
                  <a:pt x="93" y="107"/>
                </a:lnTo>
                <a:lnTo>
                  <a:pt x="95" y="110"/>
                </a:lnTo>
                <a:lnTo>
                  <a:pt x="97" y="110"/>
                </a:lnTo>
                <a:lnTo>
                  <a:pt x="97" y="109"/>
                </a:lnTo>
                <a:lnTo>
                  <a:pt x="93" y="107"/>
                </a:lnTo>
                <a:lnTo>
                  <a:pt x="93" y="106"/>
                </a:lnTo>
                <a:lnTo>
                  <a:pt x="91" y="106"/>
                </a:lnTo>
                <a:lnTo>
                  <a:pt x="91" y="104"/>
                </a:lnTo>
                <a:lnTo>
                  <a:pt x="89" y="104"/>
                </a:lnTo>
                <a:lnTo>
                  <a:pt x="89" y="103"/>
                </a:lnTo>
                <a:lnTo>
                  <a:pt x="88" y="104"/>
                </a:lnTo>
                <a:lnTo>
                  <a:pt x="88" y="101"/>
                </a:lnTo>
                <a:lnTo>
                  <a:pt x="87" y="101"/>
                </a:lnTo>
                <a:lnTo>
                  <a:pt x="87" y="103"/>
                </a:lnTo>
                <a:lnTo>
                  <a:pt x="86" y="103"/>
                </a:lnTo>
                <a:lnTo>
                  <a:pt x="86" y="107"/>
                </a:lnTo>
                <a:lnTo>
                  <a:pt x="81" y="106"/>
                </a:lnTo>
                <a:lnTo>
                  <a:pt x="80" y="105"/>
                </a:lnTo>
                <a:lnTo>
                  <a:pt x="80" y="104"/>
                </a:lnTo>
                <a:lnTo>
                  <a:pt x="79" y="103"/>
                </a:lnTo>
                <a:lnTo>
                  <a:pt x="79" y="101"/>
                </a:lnTo>
                <a:lnTo>
                  <a:pt x="78" y="99"/>
                </a:lnTo>
                <a:lnTo>
                  <a:pt x="76" y="98"/>
                </a:lnTo>
                <a:lnTo>
                  <a:pt x="79" y="98"/>
                </a:lnTo>
                <a:lnTo>
                  <a:pt x="79" y="93"/>
                </a:lnTo>
                <a:lnTo>
                  <a:pt x="80" y="93"/>
                </a:lnTo>
                <a:lnTo>
                  <a:pt x="82" y="97"/>
                </a:lnTo>
                <a:lnTo>
                  <a:pt x="82" y="98"/>
                </a:lnTo>
                <a:lnTo>
                  <a:pt x="83" y="99"/>
                </a:lnTo>
                <a:lnTo>
                  <a:pt x="85" y="99"/>
                </a:lnTo>
                <a:lnTo>
                  <a:pt x="83" y="98"/>
                </a:lnTo>
                <a:lnTo>
                  <a:pt x="85" y="97"/>
                </a:lnTo>
                <a:lnTo>
                  <a:pt x="83" y="95"/>
                </a:lnTo>
                <a:lnTo>
                  <a:pt x="83" y="93"/>
                </a:lnTo>
                <a:lnTo>
                  <a:pt x="85" y="93"/>
                </a:lnTo>
                <a:lnTo>
                  <a:pt x="86" y="94"/>
                </a:lnTo>
                <a:lnTo>
                  <a:pt x="86" y="93"/>
                </a:lnTo>
                <a:lnTo>
                  <a:pt x="83" y="91"/>
                </a:lnTo>
                <a:lnTo>
                  <a:pt x="82" y="91"/>
                </a:lnTo>
                <a:lnTo>
                  <a:pt x="82" y="89"/>
                </a:lnTo>
                <a:lnTo>
                  <a:pt x="83" y="88"/>
                </a:lnTo>
                <a:lnTo>
                  <a:pt x="83" y="87"/>
                </a:lnTo>
                <a:lnTo>
                  <a:pt x="82" y="87"/>
                </a:lnTo>
                <a:lnTo>
                  <a:pt x="82" y="86"/>
                </a:lnTo>
                <a:lnTo>
                  <a:pt x="83" y="86"/>
                </a:lnTo>
                <a:lnTo>
                  <a:pt x="86" y="88"/>
                </a:lnTo>
                <a:lnTo>
                  <a:pt x="86" y="91"/>
                </a:lnTo>
                <a:lnTo>
                  <a:pt x="87" y="91"/>
                </a:lnTo>
                <a:lnTo>
                  <a:pt x="88" y="92"/>
                </a:lnTo>
                <a:lnTo>
                  <a:pt x="89" y="92"/>
                </a:lnTo>
                <a:lnTo>
                  <a:pt x="89" y="93"/>
                </a:lnTo>
                <a:lnTo>
                  <a:pt x="92" y="93"/>
                </a:lnTo>
                <a:lnTo>
                  <a:pt x="91" y="95"/>
                </a:lnTo>
                <a:lnTo>
                  <a:pt x="92" y="95"/>
                </a:lnTo>
                <a:lnTo>
                  <a:pt x="92" y="94"/>
                </a:lnTo>
                <a:lnTo>
                  <a:pt x="93" y="93"/>
                </a:lnTo>
                <a:lnTo>
                  <a:pt x="97" y="98"/>
                </a:lnTo>
                <a:lnTo>
                  <a:pt x="97" y="94"/>
                </a:lnTo>
                <a:lnTo>
                  <a:pt x="93" y="91"/>
                </a:lnTo>
                <a:lnTo>
                  <a:pt x="93" y="89"/>
                </a:lnTo>
                <a:lnTo>
                  <a:pt x="94" y="88"/>
                </a:lnTo>
                <a:lnTo>
                  <a:pt x="94" y="87"/>
                </a:lnTo>
                <a:lnTo>
                  <a:pt x="93" y="87"/>
                </a:lnTo>
                <a:lnTo>
                  <a:pt x="93" y="85"/>
                </a:lnTo>
                <a:lnTo>
                  <a:pt x="92" y="83"/>
                </a:lnTo>
                <a:lnTo>
                  <a:pt x="92" y="82"/>
                </a:lnTo>
                <a:lnTo>
                  <a:pt x="93" y="82"/>
                </a:lnTo>
                <a:lnTo>
                  <a:pt x="95" y="80"/>
                </a:lnTo>
                <a:lnTo>
                  <a:pt x="95" y="79"/>
                </a:lnTo>
                <a:close/>
                <a:moveTo>
                  <a:pt x="61" y="75"/>
                </a:moveTo>
                <a:lnTo>
                  <a:pt x="61" y="77"/>
                </a:lnTo>
                <a:lnTo>
                  <a:pt x="58" y="77"/>
                </a:lnTo>
                <a:lnTo>
                  <a:pt x="61" y="75"/>
                </a:lnTo>
                <a:close/>
                <a:moveTo>
                  <a:pt x="0" y="69"/>
                </a:moveTo>
                <a:lnTo>
                  <a:pt x="2" y="69"/>
                </a:lnTo>
                <a:lnTo>
                  <a:pt x="1" y="70"/>
                </a:lnTo>
                <a:lnTo>
                  <a:pt x="0" y="70"/>
                </a:lnTo>
                <a:lnTo>
                  <a:pt x="0" y="69"/>
                </a:lnTo>
                <a:close/>
                <a:moveTo>
                  <a:pt x="67" y="61"/>
                </a:moveTo>
                <a:lnTo>
                  <a:pt x="68" y="62"/>
                </a:lnTo>
                <a:lnTo>
                  <a:pt x="68" y="63"/>
                </a:lnTo>
                <a:lnTo>
                  <a:pt x="66" y="63"/>
                </a:lnTo>
                <a:lnTo>
                  <a:pt x="66" y="64"/>
                </a:lnTo>
                <a:lnTo>
                  <a:pt x="64" y="64"/>
                </a:lnTo>
                <a:lnTo>
                  <a:pt x="64" y="63"/>
                </a:lnTo>
                <a:lnTo>
                  <a:pt x="67" y="61"/>
                </a:lnTo>
                <a:close/>
                <a:moveTo>
                  <a:pt x="136" y="60"/>
                </a:moveTo>
                <a:lnTo>
                  <a:pt x="136" y="61"/>
                </a:lnTo>
                <a:lnTo>
                  <a:pt x="135" y="61"/>
                </a:lnTo>
                <a:lnTo>
                  <a:pt x="136" y="60"/>
                </a:lnTo>
                <a:close/>
                <a:moveTo>
                  <a:pt x="81" y="50"/>
                </a:moveTo>
                <a:lnTo>
                  <a:pt x="81" y="51"/>
                </a:lnTo>
                <a:lnTo>
                  <a:pt x="83" y="51"/>
                </a:lnTo>
                <a:lnTo>
                  <a:pt x="85" y="50"/>
                </a:lnTo>
                <a:lnTo>
                  <a:pt x="81" y="50"/>
                </a:lnTo>
                <a:close/>
                <a:moveTo>
                  <a:pt x="73" y="37"/>
                </a:moveTo>
                <a:lnTo>
                  <a:pt x="74" y="38"/>
                </a:lnTo>
                <a:lnTo>
                  <a:pt x="73" y="38"/>
                </a:lnTo>
                <a:lnTo>
                  <a:pt x="73" y="37"/>
                </a:lnTo>
                <a:close/>
                <a:moveTo>
                  <a:pt x="73" y="34"/>
                </a:moveTo>
                <a:lnTo>
                  <a:pt x="74" y="34"/>
                </a:lnTo>
                <a:lnTo>
                  <a:pt x="76" y="37"/>
                </a:lnTo>
                <a:lnTo>
                  <a:pt x="76" y="38"/>
                </a:lnTo>
                <a:lnTo>
                  <a:pt x="74" y="38"/>
                </a:lnTo>
                <a:lnTo>
                  <a:pt x="74" y="37"/>
                </a:lnTo>
                <a:lnTo>
                  <a:pt x="73" y="37"/>
                </a:lnTo>
                <a:lnTo>
                  <a:pt x="73" y="34"/>
                </a:lnTo>
                <a:close/>
                <a:moveTo>
                  <a:pt x="99" y="14"/>
                </a:moveTo>
                <a:lnTo>
                  <a:pt x="100" y="14"/>
                </a:lnTo>
                <a:lnTo>
                  <a:pt x="101" y="17"/>
                </a:lnTo>
                <a:lnTo>
                  <a:pt x="101" y="19"/>
                </a:lnTo>
                <a:lnTo>
                  <a:pt x="103" y="20"/>
                </a:lnTo>
                <a:lnTo>
                  <a:pt x="103" y="21"/>
                </a:lnTo>
                <a:lnTo>
                  <a:pt x="101" y="23"/>
                </a:lnTo>
                <a:lnTo>
                  <a:pt x="100" y="25"/>
                </a:lnTo>
                <a:lnTo>
                  <a:pt x="101" y="26"/>
                </a:lnTo>
                <a:lnTo>
                  <a:pt x="103" y="26"/>
                </a:lnTo>
                <a:lnTo>
                  <a:pt x="103" y="27"/>
                </a:lnTo>
                <a:lnTo>
                  <a:pt x="101" y="27"/>
                </a:lnTo>
                <a:lnTo>
                  <a:pt x="99" y="30"/>
                </a:lnTo>
                <a:lnTo>
                  <a:pt x="99" y="31"/>
                </a:lnTo>
                <a:lnTo>
                  <a:pt x="98" y="32"/>
                </a:lnTo>
                <a:lnTo>
                  <a:pt x="98" y="33"/>
                </a:lnTo>
                <a:lnTo>
                  <a:pt x="97" y="33"/>
                </a:lnTo>
                <a:lnTo>
                  <a:pt x="97" y="36"/>
                </a:lnTo>
                <a:lnTo>
                  <a:pt x="94" y="36"/>
                </a:lnTo>
                <a:lnTo>
                  <a:pt x="97" y="38"/>
                </a:lnTo>
                <a:lnTo>
                  <a:pt x="98" y="38"/>
                </a:lnTo>
                <a:lnTo>
                  <a:pt x="101" y="34"/>
                </a:lnTo>
                <a:lnTo>
                  <a:pt x="103" y="34"/>
                </a:lnTo>
                <a:lnTo>
                  <a:pt x="103" y="37"/>
                </a:lnTo>
                <a:lnTo>
                  <a:pt x="101" y="38"/>
                </a:lnTo>
                <a:lnTo>
                  <a:pt x="101" y="39"/>
                </a:lnTo>
                <a:lnTo>
                  <a:pt x="100" y="39"/>
                </a:lnTo>
                <a:lnTo>
                  <a:pt x="100" y="40"/>
                </a:lnTo>
                <a:lnTo>
                  <a:pt x="99" y="40"/>
                </a:lnTo>
                <a:lnTo>
                  <a:pt x="98" y="39"/>
                </a:lnTo>
                <a:lnTo>
                  <a:pt x="95" y="39"/>
                </a:lnTo>
                <a:lnTo>
                  <a:pt x="93" y="38"/>
                </a:lnTo>
                <a:lnTo>
                  <a:pt x="94" y="40"/>
                </a:lnTo>
                <a:lnTo>
                  <a:pt x="94" y="44"/>
                </a:lnTo>
                <a:lnTo>
                  <a:pt x="91" y="44"/>
                </a:lnTo>
                <a:lnTo>
                  <a:pt x="89" y="46"/>
                </a:lnTo>
                <a:lnTo>
                  <a:pt x="88" y="46"/>
                </a:lnTo>
                <a:lnTo>
                  <a:pt x="87" y="48"/>
                </a:lnTo>
                <a:lnTo>
                  <a:pt x="83" y="48"/>
                </a:lnTo>
                <a:lnTo>
                  <a:pt x="83" y="49"/>
                </a:lnTo>
                <a:lnTo>
                  <a:pt x="85" y="49"/>
                </a:lnTo>
                <a:lnTo>
                  <a:pt x="91" y="48"/>
                </a:lnTo>
                <a:lnTo>
                  <a:pt x="92" y="46"/>
                </a:lnTo>
                <a:lnTo>
                  <a:pt x="93" y="46"/>
                </a:lnTo>
                <a:lnTo>
                  <a:pt x="93" y="48"/>
                </a:lnTo>
                <a:lnTo>
                  <a:pt x="94" y="49"/>
                </a:lnTo>
                <a:lnTo>
                  <a:pt x="94" y="51"/>
                </a:lnTo>
                <a:lnTo>
                  <a:pt x="95" y="51"/>
                </a:lnTo>
                <a:lnTo>
                  <a:pt x="93" y="54"/>
                </a:lnTo>
                <a:lnTo>
                  <a:pt x="93" y="55"/>
                </a:lnTo>
                <a:lnTo>
                  <a:pt x="92" y="55"/>
                </a:lnTo>
                <a:lnTo>
                  <a:pt x="88" y="54"/>
                </a:lnTo>
                <a:lnTo>
                  <a:pt x="87" y="54"/>
                </a:lnTo>
                <a:lnTo>
                  <a:pt x="87" y="55"/>
                </a:lnTo>
                <a:lnTo>
                  <a:pt x="88" y="55"/>
                </a:lnTo>
                <a:lnTo>
                  <a:pt x="91" y="57"/>
                </a:lnTo>
                <a:lnTo>
                  <a:pt x="89" y="58"/>
                </a:lnTo>
                <a:lnTo>
                  <a:pt x="89" y="60"/>
                </a:lnTo>
                <a:lnTo>
                  <a:pt x="87" y="60"/>
                </a:lnTo>
                <a:lnTo>
                  <a:pt x="87" y="61"/>
                </a:lnTo>
                <a:lnTo>
                  <a:pt x="86" y="62"/>
                </a:lnTo>
                <a:lnTo>
                  <a:pt x="85" y="61"/>
                </a:lnTo>
                <a:lnTo>
                  <a:pt x="85" y="60"/>
                </a:lnTo>
                <a:lnTo>
                  <a:pt x="83" y="58"/>
                </a:lnTo>
                <a:lnTo>
                  <a:pt x="83" y="62"/>
                </a:lnTo>
                <a:lnTo>
                  <a:pt x="81" y="60"/>
                </a:lnTo>
                <a:lnTo>
                  <a:pt x="80" y="57"/>
                </a:lnTo>
                <a:lnTo>
                  <a:pt x="80" y="52"/>
                </a:lnTo>
                <a:lnTo>
                  <a:pt x="78" y="55"/>
                </a:lnTo>
                <a:lnTo>
                  <a:pt x="79" y="57"/>
                </a:lnTo>
                <a:lnTo>
                  <a:pt x="81" y="60"/>
                </a:lnTo>
                <a:lnTo>
                  <a:pt x="81" y="61"/>
                </a:lnTo>
                <a:lnTo>
                  <a:pt x="80" y="61"/>
                </a:lnTo>
                <a:lnTo>
                  <a:pt x="82" y="63"/>
                </a:lnTo>
                <a:lnTo>
                  <a:pt x="82" y="64"/>
                </a:lnTo>
                <a:lnTo>
                  <a:pt x="79" y="63"/>
                </a:lnTo>
                <a:lnTo>
                  <a:pt x="76" y="63"/>
                </a:lnTo>
                <a:lnTo>
                  <a:pt x="76" y="64"/>
                </a:lnTo>
                <a:lnTo>
                  <a:pt x="79" y="67"/>
                </a:lnTo>
                <a:lnTo>
                  <a:pt x="79" y="68"/>
                </a:lnTo>
                <a:lnTo>
                  <a:pt x="78" y="69"/>
                </a:lnTo>
                <a:lnTo>
                  <a:pt x="76" y="69"/>
                </a:lnTo>
                <a:lnTo>
                  <a:pt x="74" y="68"/>
                </a:lnTo>
                <a:lnTo>
                  <a:pt x="74" y="72"/>
                </a:lnTo>
                <a:lnTo>
                  <a:pt x="73" y="72"/>
                </a:lnTo>
                <a:lnTo>
                  <a:pt x="73" y="73"/>
                </a:lnTo>
                <a:lnTo>
                  <a:pt x="72" y="74"/>
                </a:lnTo>
                <a:lnTo>
                  <a:pt x="69" y="75"/>
                </a:lnTo>
                <a:lnTo>
                  <a:pt x="69" y="76"/>
                </a:lnTo>
                <a:lnTo>
                  <a:pt x="68" y="76"/>
                </a:lnTo>
                <a:lnTo>
                  <a:pt x="67" y="73"/>
                </a:lnTo>
                <a:lnTo>
                  <a:pt x="66" y="73"/>
                </a:lnTo>
                <a:lnTo>
                  <a:pt x="63" y="70"/>
                </a:lnTo>
                <a:lnTo>
                  <a:pt x="63" y="69"/>
                </a:lnTo>
                <a:lnTo>
                  <a:pt x="62" y="68"/>
                </a:lnTo>
                <a:lnTo>
                  <a:pt x="64" y="68"/>
                </a:lnTo>
                <a:lnTo>
                  <a:pt x="64" y="69"/>
                </a:lnTo>
                <a:lnTo>
                  <a:pt x="68" y="67"/>
                </a:lnTo>
                <a:lnTo>
                  <a:pt x="68" y="66"/>
                </a:lnTo>
                <a:lnTo>
                  <a:pt x="72" y="66"/>
                </a:lnTo>
                <a:lnTo>
                  <a:pt x="69" y="63"/>
                </a:lnTo>
                <a:lnTo>
                  <a:pt x="72" y="62"/>
                </a:lnTo>
                <a:lnTo>
                  <a:pt x="74" y="62"/>
                </a:lnTo>
                <a:lnTo>
                  <a:pt x="74" y="60"/>
                </a:lnTo>
                <a:lnTo>
                  <a:pt x="72" y="60"/>
                </a:lnTo>
                <a:lnTo>
                  <a:pt x="70" y="58"/>
                </a:lnTo>
                <a:lnTo>
                  <a:pt x="66" y="58"/>
                </a:lnTo>
                <a:lnTo>
                  <a:pt x="66" y="57"/>
                </a:lnTo>
                <a:lnTo>
                  <a:pt x="64" y="57"/>
                </a:lnTo>
                <a:lnTo>
                  <a:pt x="63" y="56"/>
                </a:lnTo>
                <a:lnTo>
                  <a:pt x="63" y="55"/>
                </a:lnTo>
                <a:lnTo>
                  <a:pt x="64" y="55"/>
                </a:lnTo>
                <a:lnTo>
                  <a:pt x="64" y="54"/>
                </a:lnTo>
                <a:lnTo>
                  <a:pt x="66" y="54"/>
                </a:lnTo>
                <a:lnTo>
                  <a:pt x="66" y="52"/>
                </a:lnTo>
                <a:lnTo>
                  <a:pt x="68" y="52"/>
                </a:lnTo>
                <a:lnTo>
                  <a:pt x="70" y="50"/>
                </a:lnTo>
                <a:lnTo>
                  <a:pt x="67" y="51"/>
                </a:lnTo>
                <a:lnTo>
                  <a:pt x="66" y="51"/>
                </a:lnTo>
                <a:lnTo>
                  <a:pt x="66" y="50"/>
                </a:lnTo>
                <a:lnTo>
                  <a:pt x="67" y="49"/>
                </a:lnTo>
                <a:lnTo>
                  <a:pt x="64" y="50"/>
                </a:lnTo>
                <a:lnTo>
                  <a:pt x="63" y="48"/>
                </a:lnTo>
                <a:lnTo>
                  <a:pt x="63" y="45"/>
                </a:lnTo>
                <a:lnTo>
                  <a:pt x="62" y="45"/>
                </a:lnTo>
                <a:lnTo>
                  <a:pt x="62" y="44"/>
                </a:lnTo>
                <a:lnTo>
                  <a:pt x="63" y="43"/>
                </a:lnTo>
                <a:lnTo>
                  <a:pt x="63" y="40"/>
                </a:lnTo>
                <a:lnTo>
                  <a:pt x="66" y="40"/>
                </a:lnTo>
                <a:lnTo>
                  <a:pt x="67" y="39"/>
                </a:lnTo>
                <a:lnTo>
                  <a:pt x="66" y="39"/>
                </a:lnTo>
                <a:lnTo>
                  <a:pt x="66" y="36"/>
                </a:lnTo>
                <a:lnTo>
                  <a:pt x="67" y="36"/>
                </a:lnTo>
                <a:lnTo>
                  <a:pt x="68" y="37"/>
                </a:lnTo>
                <a:lnTo>
                  <a:pt x="72" y="37"/>
                </a:lnTo>
                <a:lnTo>
                  <a:pt x="72" y="38"/>
                </a:lnTo>
                <a:lnTo>
                  <a:pt x="70" y="38"/>
                </a:lnTo>
                <a:lnTo>
                  <a:pt x="70" y="39"/>
                </a:lnTo>
                <a:lnTo>
                  <a:pt x="72" y="40"/>
                </a:lnTo>
                <a:lnTo>
                  <a:pt x="72" y="43"/>
                </a:lnTo>
                <a:lnTo>
                  <a:pt x="73" y="44"/>
                </a:lnTo>
                <a:lnTo>
                  <a:pt x="73" y="45"/>
                </a:lnTo>
                <a:lnTo>
                  <a:pt x="74" y="46"/>
                </a:lnTo>
                <a:lnTo>
                  <a:pt x="74" y="44"/>
                </a:lnTo>
                <a:lnTo>
                  <a:pt x="73" y="44"/>
                </a:lnTo>
                <a:lnTo>
                  <a:pt x="73" y="39"/>
                </a:lnTo>
                <a:lnTo>
                  <a:pt x="75" y="39"/>
                </a:lnTo>
                <a:lnTo>
                  <a:pt x="76" y="38"/>
                </a:lnTo>
                <a:lnTo>
                  <a:pt x="79" y="40"/>
                </a:lnTo>
                <a:lnTo>
                  <a:pt x="79" y="42"/>
                </a:lnTo>
                <a:lnTo>
                  <a:pt x="80" y="39"/>
                </a:lnTo>
                <a:lnTo>
                  <a:pt x="79" y="39"/>
                </a:lnTo>
                <a:lnTo>
                  <a:pt x="79" y="38"/>
                </a:lnTo>
                <a:lnTo>
                  <a:pt x="78" y="37"/>
                </a:lnTo>
                <a:lnTo>
                  <a:pt x="76" y="37"/>
                </a:lnTo>
                <a:lnTo>
                  <a:pt x="76" y="34"/>
                </a:lnTo>
                <a:lnTo>
                  <a:pt x="75" y="34"/>
                </a:lnTo>
                <a:lnTo>
                  <a:pt x="75" y="33"/>
                </a:lnTo>
                <a:lnTo>
                  <a:pt x="76" y="33"/>
                </a:lnTo>
                <a:lnTo>
                  <a:pt x="76" y="32"/>
                </a:lnTo>
                <a:lnTo>
                  <a:pt x="75" y="32"/>
                </a:lnTo>
                <a:lnTo>
                  <a:pt x="80" y="27"/>
                </a:lnTo>
                <a:lnTo>
                  <a:pt x="82" y="27"/>
                </a:lnTo>
                <a:lnTo>
                  <a:pt x="83" y="26"/>
                </a:lnTo>
                <a:lnTo>
                  <a:pt x="86" y="25"/>
                </a:lnTo>
                <a:lnTo>
                  <a:pt x="87" y="25"/>
                </a:lnTo>
                <a:lnTo>
                  <a:pt x="88" y="24"/>
                </a:lnTo>
                <a:lnTo>
                  <a:pt x="95" y="18"/>
                </a:lnTo>
                <a:lnTo>
                  <a:pt x="99" y="14"/>
                </a:lnTo>
                <a:close/>
                <a:moveTo>
                  <a:pt x="221" y="0"/>
                </a:moveTo>
                <a:lnTo>
                  <a:pt x="222" y="1"/>
                </a:lnTo>
                <a:lnTo>
                  <a:pt x="222" y="2"/>
                </a:lnTo>
                <a:lnTo>
                  <a:pt x="227" y="2"/>
                </a:lnTo>
                <a:lnTo>
                  <a:pt x="228" y="1"/>
                </a:lnTo>
                <a:lnTo>
                  <a:pt x="230" y="3"/>
                </a:lnTo>
                <a:lnTo>
                  <a:pt x="231" y="3"/>
                </a:lnTo>
                <a:lnTo>
                  <a:pt x="234" y="2"/>
                </a:lnTo>
                <a:lnTo>
                  <a:pt x="236" y="3"/>
                </a:lnTo>
                <a:lnTo>
                  <a:pt x="235" y="5"/>
                </a:lnTo>
                <a:lnTo>
                  <a:pt x="235" y="8"/>
                </a:lnTo>
                <a:lnTo>
                  <a:pt x="234" y="8"/>
                </a:lnTo>
                <a:lnTo>
                  <a:pt x="234" y="9"/>
                </a:lnTo>
                <a:lnTo>
                  <a:pt x="231" y="12"/>
                </a:lnTo>
                <a:lnTo>
                  <a:pt x="231" y="15"/>
                </a:lnTo>
                <a:lnTo>
                  <a:pt x="232" y="17"/>
                </a:lnTo>
                <a:lnTo>
                  <a:pt x="234" y="17"/>
                </a:lnTo>
                <a:lnTo>
                  <a:pt x="234" y="19"/>
                </a:lnTo>
                <a:lnTo>
                  <a:pt x="232" y="21"/>
                </a:lnTo>
                <a:lnTo>
                  <a:pt x="231" y="25"/>
                </a:lnTo>
                <a:lnTo>
                  <a:pt x="229" y="29"/>
                </a:lnTo>
                <a:lnTo>
                  <a:pt x="227" y="31"/>
                </a:lnTo>
                <a:lnTo>
                  <a:pt x="225" y="31"/>
                </a:lnTo>
                <a:lnTo>
                  <a:pt x="222" y="33"/>
                </a:lnTo>
                <a:lnTo>
                  <a:pt x="221" y="33"/>
                </a:lnTo>
                <a:lnTo>
                  <a:pt x="217" y="37"/>
                </a:lnTo>
                <a:lnTo>
                  <a:pt x="217" y="39"/>
                </a:lnTo>
                <a:lnTo>
                  <a:pt x="215" y="42"/>
                </a:lnTo>
                <a:lnTo>
                  <a:pt x="205" y="49"/>
                </a:lnTo>
                <a:lnTo>
                  <a:pt x="203" y="51"/>
                </a:lnTo>
                <a:lnTo>
                  <a:pt x="201" y="51"/>
                </a:lnTo>
                <a:lnTo>
                  <a:pt x="201" y="52"/>
                </a:lnTo>
                <a:lnTo>
                  <a:pt x="200" y="54"/>
                </a:lnTo>
                <a:lnTo>
                  <a:pt x="200" y="55"/>
                </a:lnTo>
                <a:lnTo>
                  <a:pt x="199" y="56"/>
                </a:lnTo>
                <a:lnTo>
                  <a:pt x="198" y="56"/>
                </a:lnTo>
                <a:lnTo>
                  <a:pt x="196" y="57"/>
                </a:lnTo>
                <a:lnTo>
                  <a:pt x="194" y="58"/>
                </a:lnTo>
                <a:lnTo>
                  <a:pt x="194" y="60"/>
                </a:lnTo>
                <a:lnTo>
                  <a:pt x="193" y="60"/>
                </a:lnTo>
                <a:lnTo>
                  <a:pt x="193" y="58"/>
                </a:lnTo>
                <a:lnTo>
                  <a:pt x="192" y="58"/>
                </a:lnTo>
                <a:lnTo>
                  <a:pt x="191" y="57"/>
                </a:lnTo>
                <a:lnTo>
                  <a:pt x="191" y="60"/>
                </a:lnTo>
                <a:lnTo>
                  <a:pt x="193" y="60"/>
                </a:lnTo>
                <a:lnTo>
                  <a:pt x="193" y="61"/>
                </a:lnTo>
                <a:lnTo>
                  <a:pt x="194" y="61"/>
                </a:lnTo>
                <a:lnTo>
                  <a:pt x="194" y="63"/>
                </a:lnTo>
                <a:lnTo>
                  <a:pt x="193" y="64"/>
                </a:lnTo>
                <a:lnTo>
                  <a:pt x="194" y="66"/>
                </a:lnTo>
                <a:lnTo>
                  <a:pt x="193" y="66"/>
                </a:lnTo>
                <a:lnTo>
                  <a:pt x="192" y="64"/>
                </a:lnTo>
                <a:lnTo>
                  <a:pt x="191" y="64"/>
                </a:lnTo>
                <a:lnTo>
                  <a:pt x="191" y="66"/>
                </a:lnTo>
                <a:lnTo>
                  <a:pt x="190" y="66"/>
                </a:lnTo>
                <a:lnTo>
                  <a:pt x="190" y="67"/>
                </a:lnTo>
                <a:lnTo>
                  <a:pt x="188" y="67"/>
                </a:lnTo>
                <a:lnTo>
                  <a:pt x="186" y="66"/>
                </a:lnTo>
                <a:lnTo>
                  <a:pt x="185" y="64"/>
                </a:lnTo>
                <a:lnTo>
                  <a:pt x="181" y="66"/>
                </a:lnTo>
                <a:lnTo>
                  <a:pt x="179" y="63"/>
                </a:lnTo>
                <a:lnTo>
                  <a:pt x="179" y="62"/>
                </a:lnTo>
                <a:lnTo>
                  <a:pt x="178" y="62"/>
                </a:lnTo>
                <a:lnTo>
                  <a:pt x="180" y="66"/>
                </a:lnTo>
                <a:lnTo>
                  <a:pt x="181" y="67"/>
                </a:lnTo>
                <a:lnTo>
                  <a:pt x="182" y="67"/>
                </a:lnTo>
                <a:lnTo>
                  <a:pt x="185" y="66"/>
                </a:lnTo>
                <a:lnTo>
                  <a:pt x="187" y="68"/>
                </a:lnTo>
                <a:lnTo>
                  <a:pt x="188" y="68"/>
                </a:lnTo>
                <a:lnTo>
                  <a:pt x="188" y="67"/>
                </a:lnTo>
                <a:lnTo>
                  <a:pt x="191" y="69"/>
                </a:lnTo>
                <a:lnTo>
                  <a:pt x="192" y="69"/>
                </a:lnTo>
                <a:lnTo>
                  <a:pt x="194" y="67"/>
                </a:lnTo>
                <a:lnTo>
                  <a:pt x="197" y="68"/>
                </a:lnTo>
                <a:lnTo>
                  <a:pt x="197" y="69"/>
                </a:lnTo>
                <a:lnTo>
                  <a:pt x="198" y="70"/>
                </a:lnTo>
                <a:lnTo>
                  <a:pt x="203" y="66"/>
                </a:lnTo>
                <a:lnTo>
                  <a:pt x="204" y="67"/>
                </a:lnTo>
                <a:lnTo>
                  <a:pt x="204" y="68"/>
                </a:lnTo>
                <a:lnTo>
                  <a:pt x="203" y="68"/>
                </a:lnTo>
                <a:lnTo>
                  <a:pt x="197" y="76"/>
                </a:lnTo>
                <a:lnTo>
                  <a:pt x="196" y="79"/>
                </a:lnTo>
                <a:lnTo>
                  <a:pt x="193" y="79"/>
                </a:lnTo>
                <a:lnTo>
                  <a:pt x="193" y="76"/>
                </a:lnTo>
                <a:lnTo>
                  <a:pt x="192" y="75"/>
                </a:lnTo>
                <a:lnTo>
                  <a:pt x="191" y="76"/>
                </a:lnTo>
                <a:lnTo>
                  <a:pt x="187" y="79"/>
                </a:lnTo>
                <a:lnTo>
                  <a:pt x="187" y="80"/>
                </a:lnTo>
                <a:lnTo>
                  <a:pt x="181" y="80"/>
                </a:lnTo>
                <a:lnTo>
                  <a:pt x="181" y="82"/>
                </a:lnTo>
                <a:lnTo>
                  <a:pt x="180" y="82"/>
                </a:lnTo>
                <a:lnTo>
                  <a:pt x="180" y="83"/>
                </a:lnTo>
                <a:lnTo>
                  <a:pt x="178" y="86"/>
                </a:lnTo>
                <a:lnTo>
                  <a:pt x="176" y="86"/>
                </a:lnTo>
                <a:lnTo>
                  <a:pt x="176" y="88"/>
                </a:lnTo>
                <a:lnTo>
                  <a:pt x="178" y="87"/>
                </a:lnTo>
                <a:lnTo>
                  <a:pt x="179" y="87"/>
                </a:lnTo>
                <a:lnTo>
                  <a:pt x="179" y="86"/>
                </a:lnTo>
                <a:lnTo>
                  <a:pt x="180" y="85"/>
                </a:lnTo>
                <a:lnTo>
                  <a:pt x="182" y="83"/>
                </a:lnTo>
                <a:lnTo>
                  <a:pt x="184" y="81"/>
                </a:lnTo>
                <a:lnTo>
                  <a:pt x="187" y="81"/>
                </a:lnTo>
                <a:lnTo>
                  <a:pt x="190" y="82"/>
                </a:lnTo>
                <a:lnTo>
                  <a:pt x="191" y="81"/>
                </a:lnTo>
                <a:lnTo>
                  <a:pt x="193" y="80"/>
                </a:lnTo>
                <a:lnTo>
                  <a:pt x="194" y="80"/>
                </a:lnTo>
                <a:lnTo>
                  <a:pt x="193" y="82"/>
                </a:lnTo>
                <a:lnTo>
                  <a:pt x="191" y="85"/>
                </a:lnTo>
                <a:lnTo>
                  <a:pt x="190" y="87"/>
                </a:lnTo>
                <a:lnTo>
                  <a:pt x="190" y="88"/>
                </a:lnTo>
                <a:lnTo>
                  <a:pt x="187" y="88"/>
                </a:lnTo>
                <a:lnTo>
                  <a:pt x="186" y="89"/>
                </a:lnTo>
                <a:lnTo>
                  <a:pt x="187" y="91"/>
                </a:lnTo>
                <a:lnTo>
                  <a:pt x="185" y="91"/>
                </a:lnTo>
                <a:lnTo>
                  <a:pt x="186" y="92"/>
                </a:lnTo>
                <a:lnTo>
                  <a:pt x="184" y="94"/>
                </a:lnTo>
                <a:lnTo>
                  <a:pt x="185" y="95"/>
                </a:lnTo>
                <a:lnTo>
                  <a:pt x="186" y="95"/>
                </a:lnTo>
                <a:lnTo>
                  <a:pt x="188" y="93"/>
                </a:lnTo>
                <a:lnTo>
                  <a:pt x="190" y="93"/>
                </a:lnTo>
                <a:lnTo>
                  <a:pt x="190" y="92"/>
                </a:lnTo>
                <a:lnTo>
                  <a:pt x="191" y="91"/>
                </a:lnTo>
                <a:lnTo>
                  <a:pt x="192" y="91"/>
                </a:lnTo>
                <a:lnTo>
                  <a:pt x="193" y="89"/>
                </a:lnTo>
                <a:lnTo>
                  <a:pt x="192" y="89"/>
                </a:lnTo>
                <a:lnTo>
                  <a:pt x="191" y="87"/>
                </a:lnTo>
                <a:lnTo>
                  <a:pt x="201" y="87"/>
                </a:lnTo>
                <a:lnTo>
                  <a:pt x="207" y="82"/>
                </a:lnTo>
                <a:lnTo>
                  <a:pt x="210" y="81"/>
                </a:lnTo>
                <a:lnTo>
                  <a:pt x="210" y="82"/>
                </a:lnTo>
                <a:lnTo>
                  <a:pt x="209" y="83"/>
                </a:lnTo>
                <a:lnTo>
                  <a:pt x="211" y="83"/>
                </a:lnTo>
                <a:lnTo>
                  <a:pt x="211" y="81"/>
                </a:lnTo>
                <a:lnTo>
                  <a:pt x="212" y="81"/>
                </a:lnTo>
                <a:lnTo>
                  <a:pt x="213" y="82"/>
                </a:lnTo>
                <a:lnTo>
                  <a:pt x="213" y="81"/>
                </a:lnTo>
                <a:lnTo>
                  <a:pt x="215" y="81"/>
                </a:lnTo>
                <a:lnTo>
                  <a:pt x="215" y="80"/>
                </a:lnTo>
                <a:lnTo>
                  <a:pt x="216" y="79"/>
                </a:lnTo>
                <a:lnTo>
                  <a:pt x="216" y="77"/>
                </a:lnTo>
                <a:lnTo>
                  <a:pt x="217" y="77"/>
                </a:lnTo>
                <a:lnTo>
                  <a:pt x="218" y="76"/>
                </a:lnTo>
                <a:lnTo>
                  <a:pt x="219" y="76"/>
                </a:lnTo>
                <a:lnTo>
                  <a:pt x="224" y="77"/>
                </a:lnTo>
                <a:lnTo>
                  <a:pt x="228" y="79"/>
                </a:lnTo>
                <a:lnTo>
                  <a:pt x="232" y="81"/>
                </a:lnTo>
                <a:lnTo>
                  <a:pt x="236" y="81"/>
                </a:lnTo>
                <a:lnTo>
                  <a:pt x="240" y="79"/>
                </a:lnTo>
                <a:lnTo>
                  <a:pt x="247" y="79"/>
                </a:lnTo>
                <a:lnTo>
                  <a:pt x="247" y="80"/>
                </a:lnTo>
                <a:lnTo>
                  <a:pt x="248" y="80"/>
                </a:lnTo>
                <a:lnTo>
                  <a:pt x="248" y="79"/>
                </a:lnTo>
                <a:lnTo>
                  <a:pt x="249" y="79"/>
                </a:lnTo>
                <a:lnTo>
                  <a:pt x="249" y="80"/>
                </a:lnTo>
                <a:lnTo>
                  <a:pt x="250" y="79"/>
                </a:lnTo>
                <a:lnTo>
                  <a:pt x="254" y="80"/>
                </a:lnTo>
                <a:lnTo>
                  <a:pt x="255" y="80"/>
                </a:lnTo>
                <a:lnTo>
                  <a:pt x="256" y="81"/>
                </a:lnTo>
                <a:lnTo>
                  <a:pt x="257" y="80"/>
                </a:lnTo>
                <a:lnTo>
                  <a:pt x="259" y="80"/>
                </a:lnTo>
                <a:lnTo>
                  <a:pt x="260" y="81"/>
                </a:lnTo>
                <a:lnTo>
                  <a:pt x="262" y="81"/>
                </a:lnTo>
                <a:lnTo>
                  <a:pt x="263" y="80"/>
                </a:lnTo>
                <a:lnTo>
                  <a:pt x="265" y="81"/>
                </a:lnTo>
                <a:lnTo>
                  <a:pt x="265" y="80"/>
                </a:lnTo>
                <a:lnTo>
                  <a:pt x="266" y="80"/>
                </a:lnTo>
                <a:lnTo>
                  <a:pt x="266" y="79"/>
                </a:lnTo>
                <a:lnTo>
                  <a:pt x="267" y="79"/>
                </a:lnTo>
                <a:lnTo>
                  <a:pt x="269" y="80"/>
                </a:lnTo>
                <a:lnTo>
                  <a:pt x="269" y="81"/>
                </a:lnTo>
                <a:lnTo>
                  <a:pt x="271" y="80"/>
                </a:lnTo>
                <a:lnTo>
                  <a:pt x="273" y="79"/>
                </a:lnTo>
                <a:lnTo>
                  <a:pt x="279" y="79"/>
                </a:lnTo>
                <a:lnTo>
                  <a:pt x="279" y="80"/>
                </a:lnTo>
                <a:lnTo>
                  <a:pt x="280" y="81"/>
                </a:lnTo>
                <a:lnTo>
                  <a:pt x="281" y="80"/>
                </a:lnTo>
                <a:lnTo>
                  <a:pt x="283" y="81"/>
                </a:lnTo>
                <a:lnTo>
                  <a:pt x="286" y="86"/>
                </a:lnTo>
                <a:lnTo>
                  <a:pt x="286" y="89"/>
                </a:lnTo>
                <a:lnTo>
                  <a:pt x="287" y="91"/>
                </a:lnTo>
                <a:lnTo>
                  <a:pt x="287" y="93"/>
                </a:lnTo>
                <a:lnTo>
                  <a:pt x="288" y="94"/>
                </a:lnTo>
                <a:lnTo>
                  <a:pt x="287" y="95"/>
                </a:lnTo>
                <a:lnTo>
                  <a:pt x="288" y="97"/>
                </a:lnTo>
                <a:lnTo>
                  <a:pt x="287" y="98"/>
                </a:lnTo>
                <a:lnTo>
                  <a:pt x="286" y="100"/>
                </a:lnTo>
                <a:lnTo>
                  <a:pt x="285" y="101"/>
                </a:lnTo>
                <a:lnTo>
                  <a:pt x="285" y="103"/>
                </a:lnTo>
                <a:lnTo>
                  <a:pt x="279" y="109"/>
                </a:lnTo>
                <a:lnTo>
                  <a:pt x="275" y="119"/>
                </a:lnTo>
                <a:lnTo>
                  <a:pt x="275" y="123"/>
                </a:lnTo>
                <a:lnTo>
                  <a:pt x="277" y="123"/>
                </a:lnTo>
                <a:lnTo>
                  <a:pt x="277" y="124"/>
                </a:lnTo>
                <a:lnTo>
                  <a:pt x="275" y="125"/>
                </a:lnTo>
                <a:lnTo>
                  <a:pt x="272" y="131"/>
                </a:lnTo>
                <a:lnTo>
                  <a:pt x="271" y="135"/>
                </a:lnTo>
                <a:lnTo>
                  <a:pt x="271" y="141"/>
                </a:lnTo>
                <a:lnTo>
                  <a:pt x="269" y="142"/>
                </a:lnTo>
                <a:lnTo>
                  <a:pt x="269" y="143"/>
                </a:lnTo>
                <a:lnTo>
                  <a:pt x="266" y="147"/>
                </a:lnTo>
                <a:lnTo>
                  <a:pt x="265" y="149"/>
                </a:lnTo>
                <a:lnTo>
                  <a:pt x="262" y="152"/>
                </a:lnTo>
                <a:lnTo>
                  <a:pt x="261" y="152"/>
                </a:lnTo>
                <a:lnTo>
                  <a:pt x="261" y="153"/>
                </a:lnTo>
                <a:lnTo>
                  <a:pt x="260" y="154"/>
                </a:lnTo>
                <a:lnTo>
                  <a:pt x="260" y="158"/>
                </a:lnTo>
                <a:lnTo>
                  <a:pt x="259" y="158"/>
                </a:lnTo>
                <a:lnTo>
                  <a:pt x="259" y="159"/>
                </a:lnTo>
                <a:lnTo>
                  <a:pt x="257" y="160"/>
                </a:lnTo>
                <a:lnTo>
                  <a:pt x="257" y="161"/>
                </a:lnTo>
                <a:lnTo>
                  <a:pt x="259" y="161"/>
                </a:lnTo>
                <a:lnTo>
                  <a:pt x="259" y="162"/>
                </a:lnTo>
                <a:lnTo>
                  <a:pt x="257" y="162"/>
                </a:lnTo>
                <a:lnTo>
                  <a:pt x="257" y="163"/>
                </a:lnTo>
                <a:lnTo>
                  <a:pt x="256" y="165"/>
                </a:lnTo>
                <a:lnTo>
                  <a:pt x="256" y="166"/>
                </a:lnTo>
                <a:lnTo>
                  <a:pt x="253" y="168"/>
                </a:lnTo>
                <a:lnTo>
                  <a:pt x="252" y="171"/>
                </a:lnTo>
                <a:lnTo>
                  <a:pt x="250" y="171"/>
                </a:lnTo>
                <a:lnTo>
                  <a:pt x="249" y="172"/>
                </a:lnTo>
                <a:lnTo>
                  <a:pt x="248" y="174"/>
                </a:lnTo>
                <a:lnTo>
                  <a:pt x="244" y="174"/>
                </a:lnTo>
                <a:lnTo>
                  <a:pt x="234" y="175"/>
                </a:lnTo>
                <a:lnTo>
                  <a:pt x="231" y="178"/>
                </a:lnTo>
                <a:lnTo>
                  <a:pt x="227" y="181"/>
                </a:lnTo>
                <a:lnTo>
                  <a:pt x="224" y="183"/>
                </a:lnTo>
                <a:lnTo>
                  <a:pt x="227" y="183"/>
                </a:lnTo>
                <a:lnTo>
                  <a:pt x="229" y="181"/>
                </a:lnTo>
                <a:lnTo>
                  <a:pt x="230" y="181"/>
                </a:lnTo>
                <a:lnTo>
                  <a:pt x="238" y="177"/>
                </a:lnTo>
                <a:lnTo>
                  <a:pt x="240" y="175"/>
                </a:lnTo>
                <a:lnTo>
                  <a:pt x="242" y="175"/>
                </a:lnTo>
                <a:lnTo>
                  <a:pt x="243" y="177"/>
                </a:lnTo>
                <a:lnTo>
                  <a:pt x="244" y="177"/>
                </a:lnTo>
                <a:lnTo>
                  <a:pt x="244" y="181"/>
                </a:lnTo>
                <a:lnTo>
                  <a:pt x="243" y="183"/>
                </a:lnTo>
                <a:lnTo>
                  <a:pt x="244" y="183"/>
                </a:lnTo>
                <a:lnTo>
                  <a:pt x="244" y="184"/>
                </a:lnTo>
                <a:lnTo>
                  <a:pt x="246" y="184"/>
                </a:lnTo>
                <a:lnTo>
                  <a:pt x="246" y="185"/>
                </a:lnTo>
                <a:lnTo>
                  <a:pt x="250" y="185"/>
                </a:lnTo>
                <a:lnTo>
                  <a:pt x="253" y="186"/>
                </a:lnTo>
                <a:lnTo>
                  <a:pt x="253" y="187"/>
                </a:lnTo>
                <a:lnTo>
                  <a:pt x="254" y="189"/>
                </a:lnTo>
                <a:lnTo>
                  <a:pt x="252" y="191"/>
                </a:lnTo>
                <a:lnTo>
                  <a:pt x="252" y="192"/>
                </a:lnTo>
                <a:lnTo>
                  <a:pt x="250" y="193"/>
                </a:lnTo>
                <a:lnTo>
                  <a:pt x="248" y="193"/>
                </a:lnTo>
                <a:lnTo>
                  <a:pt x="246" y="196"/>
                </a:lnTo>
                <a:lnTo>
                  <a:pt x="243" y="196"/>
                </a:lnTo>
                <a:lnTo>
                  <a:pt x="238" y="193"/>
                </a:lnTo>
                <a:lnTo>
                  <a:pt x="238" y="195"/>
                </a:lnTo>
                <a:lnTo>
                  <a:pt x="237" y="195"/>
                </a:lnTo>
                <a:lnTo>
                  <a:pt x="237" y="196"/>
                </a:lnTo>
                <a:lnTo>
                  <a:pt x="235" y="197"/>
                </a:lnTo>
                <a:lnTo>
                  <a:pt x="230" y="202"/>
                </a:lnTo>
                <a:lnTo>
                  <a:pt x="230" y="204"/>
                </a:lnTo>
                <a:lnTo>
                  <a:pt x="229" y="205"/>
                </a:lnTo>
                <a:lnTo>
                  <a:pt x="225" y="205"/>
                </a:lnTo>
                <a:lnTo>
                  <a:pt x="225" y="206"/>
                </a:lnTo>
                <a:lnTo>
                  <a:pt x="224" y="206"/>
                </a:lnTo>
                <a:lnTo>
                  <a:pt x="222" y="208"/>
                </a:lnTo>
                <a:lnTo>
                  <a:pt x="218" y="208"/>
                </a:lnTo>
                <a:lnTo>
                  <a:pt x="212" y="205"/>
                </a:lnTo>
                <a:lnTo>
                  <a:pt x="207" y="206"/>
                </a:lnTo>
                <a:lnTo>
                  <a:pt x="203" y="202"/>
                </a:lnTo>
                <a:lnTo>
                  <a:pt x="201" y="202"/>
                </a:lnTo>
                <a:lnTo>
                  <a:pt x="206" y="206"/>
                </a:lnTo>
                <a:lnTo>
                  <a:pt x="206" y="208"/>
                </a:lnTo>
                <a:lnTo>
                  <a:pt x="207" y="208"/>
                </a:lnTo>
                <a:lnTo>
                  <a:pt x="207" y="209"/>
                </a:lnTo>
                <a:lnTo>
                  <a:pt x="212" y="209"/>
                </a:lnTo>
                <a:lnTo>
                  <a:pt x="219" y="210"/>
                </a:lnTo>
                <a:lnTo>
                  <a:pt x="223" y="210"/>
                </a:lnTo>
                <a:lnTo>
                  <a:pt x="223" y="211"/>
                </a:lnTo>
                <a:lnTo>
                  <a:pt x="224" y="211"/>
                </a:lnTo>
                <a:lnTo>
                  <a:pt x="231" y="212"/>
                </a:lnTo>
                <a:lnTo>
                  <a:pt x="232" y="214"/>
                </a:lnTo>
                <a:lnTo>
                  <a:pt x="236" y="214"/>
                </a:lnTo>
                <a:lnTo>
                  <a:pt x="238" y="212"/>
                </a:lnTo>
                <a:lnTo>
                  <a:pt x="241" y="210"/>
                </a:lnTo>
                <a:lnTo>
                  <a:pt x="241" y="209"/>
                </a:lnTo>
                <a:lnTo>
                  <a:pt x="242" y="209"/>
                </a:lnTo>
                <a:lnTo>
                  <a:pt x="242" y="206"/>
                </a:lnTo>
                <a:lnTo>
                  <a:pt x="244" y="205"/>
                </a:lnTo>
                <a:lnTo>
                  <a:pt x="253" y="205"/>
                </a:lnTo>
                <a:lnTo>
                  <a:pt x="254" y="208"/>
                </a:lnTo>
                <a:lnTo>
                  <a:pt x="255" y="208"/>
                </a:lnTo>
                <a:lnTo>
                  <a:pt x="254" y="209"/>
                </a:lnTo>
                <a:lnTo>
                  <a:pt x="254" y="210"/>
                </a:lnTo>
                <a:lnTo>
                  <a:pt x="256" y="210"/>
                </a:lnTo>
                <a:lnTo>
                  <a:pt x="256" y="209"/>
                </a:lnTo>
                <a:lnTo>
                  <a:pt x="257" y="209"/>
                </a:lnTo>
                <a:lnTo>
                  <a:pt x="257" y="210"/>
                </a:lnTo>
                <a:lnTo>
                  <a:pt x="260" y="211"/>
                </a:lnTo>
                <a:lnTo>
                  <a:pt x="261" y="211"/>
                </a:lnTo>
                <a:lnTo>
                  <a:pt x="263" y="214"/>
                </a:lnTo>
                <a:lnTo>
                  <a:pt x="266" y="215"/>
                </a:lnTo>
                <a:lnTo>
                  <a:pt x="272" y="216"/>
                </a:lnTo>
                <a:lnTo>
                  <a:pt x="273" y="216"/>
                </a:lnTo>
                <a:lnTo>
                  <a:pt x="273" y="218"/>
                </a:lnTo>
                <a:lnTo>
                  <a:pt x="274" y="218"/>
                </a:lnTo>
                <a:lnTo>
                  <a:pt x="275" y="220"/>
                </a:lnTo>
                <a:lnTo>
                  <a:pt x="278" y="224"/>
                </a:lnTo>
                <a:lnTo>
                  <a:pt x="278" y="226"/>
                </a:lnTo>
                <a:lnTo>
                  <a:pt x="284" y="233"/>
                </a:lnTo>
                <a:lnTo>
                  <a:pt x="285" y="234"/>
                </a:lnTo>
                <a:lnTo>
                  <a:pt x="285" y="235"/>
                </a:lnTo>
                <a:lnTo>
                  <a:pt x="286" y="236"/>
                </a:lnTo>
                <a:lnTo>
                  <a:pt x="286" y="238"/>
                </a:lnTo>
                <a:lnTo>
                  <a:pt x="287" y="236"/>
                </a:lnTo>
                <a:lnTo>
                  <a:pt x="288" y="236"/>
                </a:lnTo>
                <a:lnTo>
                  <a:pt x="288" y="238"/>
                </a:lnTo>
                <a:lnTo>
                  <a:pt x="290" y="239"/>
                </a:lnTo>
                <a:lnTo>
                  <a:pt x="291" y="239"/>
                </a:lnTo>
                <a:lnTo>
                  <a:pt x="294" y="241"/>
                </a:lnTo>
                <a:lnTo>
                  <a:pt x="294" y="245"/>
                </a:lnTo>
                <a:lnTo>
                  <a:pt x="296" y="246"/>
                </a:lnTo>
                <a:lnTo>
                  <a:pt x="294" y="247"/>
                </a:lnTo>
                <a:lnTo>
                  <a:pt x="296" y="247"/>
                </a:lnTo>
                <a:lnTo>
                  <a:pt x="296" y="258"/>
                </a:lnTo>
                <a:lnTo>
                  <a:pt x="297" y="260"/>
                </a:lnTo>
                <a:lnTo>
                  <a:pt x="297" y="265"/>
                </a:lnTo>
                <a:lnTo>
                  <a:pt x="299" y="267"/>
                </a:lnTo>
                <a:lnTo>
                  <a:pt x="298" y="269"/>
                </a:lnTo>
                <a:lnTo>
                  <a:pt x="299" y="269"/>
                </a:lnTo>
                <a:lnTo>
                  <a:pt x="299" y="273"/>
                </a:lnTo>
                <a:lnTo>
                  <a:pt x="300" y="275"/>
                </a:lnTo>
                <a:lnTo>
                  <a:pt x="300" y="278"/>
                </a:lnTo>
                <a:lnTo>
                  <a:pt x="302" y="278"/>
                </a:lnTo>
                <a:lnTo>
                  <a:pt x="302" y="279"/>
                </a:lnTo>
                <a:lnTo>
                  <a:pt x="303" y="282"/>
                </a:lnTo>
                <a:lnTo>
                  <a:pt x="303" y="284"/>
                </a:lnTo>
                <a:lnTo>
                  <a:pt x="304" y="284"/>
                </a:lnTo>
                <a:lnTo>
                  <a:pt x="304" y="285"/>
                </a:lnTo>
                <a:lnTo>
                  <a:pt x="305" y="287"/>
                </a:lnTo>
                <a:lnTo>
                  <a:pt x="305" y="290"/>
                </a:lnTo>
                <a:lnTo>
                  <a:pt x="306" y="290"/>
                </a:lnTo>
                <a:lnTo>
                  <a:pt x="305" y="291"/>
                </a:lnTo>
                <a:lnTo>
                  <a:pt x="309" y="301"/>
                </a:lnTo>
                <a:lnTo>
                  <a:pt x="309" y="303"/>
                </a:lnTo>
                <a:lnTo>
                  <a:pt x="311" y="304"/>
                </a:lnTo>
                <a:lnTo>
                  <a:pt x="311" y="306"/>
                </a:lnTo>
                <a:lnTo>
                  <a:pt x="314" y="306"/>
                </a:lnTo>
                <a:lnTo>
                  <a:pt x="314" y="307"/>
                </a:lnTo>
                <a:lnTo>
                  <a:pt x="312" y="307"/>
                </a:lnTo>
                <a:lnTo>
                  <a:pt x="314" y="308"/>
                </a:lnTo>
                <a:lnTo>
                  <a:pt x="314" y="310"/>
                </a:lnTo>
                <a:lnTo>
                  <a:pt x="312" y="312"/>
                </a:lnTo>
                <a:lnTo>
                  <a:pt x="314" y="312"/>
                </a:lnTo>
                <a:lnTo>
                  <a:pt x="314" y="313"/>
                </a:lnTo>
                <a:lnTo>
                  <a:pt x="315" y="313"/>
                </a:lnTo>
                <a:lnTo>
                  <a:pt x="315" y="310"/>
                </a:lnTo>
                <a:lnTo>
                  <a:pt x="316" y="312"/>
                </a:lnTo>
                <a:lnTo>
                  <a:pt x="317" y="312"/>
                </a:lnTo>
                <a:lnTo>
                  <a:pt x="319" y="313"/>
                </a:lnTo>
                <a:lnTo>
                  <a:pt x="321" y="314"/>
                </a:lnTo>
                <a:lnTo>
                  <a:pt x="330" y="316"/>
                </a:lnTo>
                <a:lnTo>
                  <a:pt x="340" y="322"/>
                </a:lnTo>
                <a:lnTo>
                  <a:pt x="341" y="324"/>
                </a:lnTo>
                <a:lnTo>
                  <a:pt x="341" y="327"/>
                </a:lnTo>
                <a:lnTo>
                  <a:pt x="343" y="328"/>
                </a:lnTo>
                <a:lnTo>
                  <a:pt x="345" y="330"/>
                </a:lnTo>
                <a:lnTo>
                  <a:pt x="345" y="332"/>
                </a:lnTo>
                <a:lnTo>
                  <a:pt x="346" y="333"/>
                </a:lnTo>
                <a:lnTo>
                  <a:pt x="346" y="338"/>
                </a:lnTo>
                <a:lnTo>
                  <a:pt x="347" y="338"/>
                </a:lnTo>
                <a:lnTo>
                  <a:pt x="347" y="339"/>
                </a:lnTo>
                <a:lnTo>
                  <a:pt x="348" y="339"/>
                </a:lnTo>
                <a:lnTo>
                  <a:pt x="349" y="340"/>
                </a:lnTo>
                <a:lnTo>
                  <a:pt x="350" y="340"/>
                </a:lnTo>
                <a:lnTo>
                  <a:pt x="352" y="341"/>
                </a:lnTo>
                <a:lnTo>
                  <a:pt x="352" y="344"/>
                </a:lnTo>
                <a:lnTo>
                  <a:pt x="353" y="345"/>
                </a:lnTo>
                <a:lnTo>
                  <a:pt x="359" y="347"/>
                </a:lnTo>
                <a:lnTo>
                  <a:pt x="360" y="349"/>
                </a:lnTo>
                <a:lnTo>
                  <a:pt x="356" y="351"/>
                </a:lnTo>
                <a:lnTo>
                  <a:pt x="355" y="352"/>
                </a:lnTo>
                <a:lnTo>
                  <a:pt x="354" y="356"/>
                </a:lnTo>
                <a:lnTo>
                  <a:pt x="354" y="357"/>
                </a:lnTo>
                <a:lnTo>
                  <a:pt x="355" y="362"/>
                </a:lnTo>
                <a:lnTo>
                  <a:pt x="356" y="364"/>
                </a:lnTo>
                <a:lnTo>
                  <a:pt x="368" y="382"/>
                </a:lnTo>
                <a:lnTo>
                  <a:pt x="370" y="384"/>
                </a:lnTo>
                <a:lnTo>
                  <a:pt x="368" y="387"/>
                </a:lnTo>
                <a:lnTo>
                  <a:pt x="367" y="388"/>
                </a:lnTo>
                <a:lnTo>
                  <a:pt x="368" y="386"/>
                </a:lnTo>
                <a:lnTo>
                  <a:pt x="368" y="384"/>
                </a:lnTo>
                <a:lnTo>
                  <a:pt x="367" y="384"/>
                </a:lnTo>
                <a:lnTo>
                  <a:pt x="365" y="382"/>
                </a:lnTo>
                <a:lnTo>
                  <a:pt x="364" y="382"/>
                </a:lnTo>
                <a:lnTo>
                  <a:pt x="362" y="383"/>
                </a:lnTo>
                <a:lnTo>
                  <a:pt x="358" y="383"/>
                </a:lnTo>
                <a:lnTo>
                  <a:pt x="358" y="382"/>
                </a:lnTo>
                <a:lnTo>
                  <a:pt x="352" y="376"/>
                </a:lnTo>
                <a:lnTo>
                  <a:pt x="350" y="376"/>
                </a:lnTo>
                <a:lnTo>
                  <a:pt x="345" y="377"/>
                </a:lnTo>
                <a:lnTo>
                  <a:pt x="340" y="377"/>
                </a:lnTo>
                <a:lnTo>
                  <a:pt x="339" y="376"/>
                </a:lnTo>
                <a:lnTo>
                  <a:pt x="335" y="376"/>
                </a:lnTo>
                <a:lnTo>
                  <a:pt x="333" y="378"/>
                </a:lnTo>
                <a:lnTo>
                  <a:pt x="334" y="378"/>
                </a:lnTo>
                <a:lnTo>
                  <a:pt x="335" y="377"/>
                </a:lnTo>
                <a:lnTo>
                  <a:pt x="337" y="377"/>
                </a:lnTo>
                <a:lnTo>
                  <a:pt x="340" y="378"/>
                </a:lnTo>
                <a:lnTo>
                  <a:pt x="340" y="380"/>
                </a:lnTo>
                <a:lnTo>
                  <a:pt x="341" y="380"/>
                </a:lnTo>
                <a:lnTo>
                  <a:pt x="342" y="378"/>
                </a:lnTo>
                <a:lnTo>
                  <a:pt x="350" y="377"/>
                </a:lnTo>
                <a:lnTo>
                  <a:pt x="352" y="377"/>
                </a:lnTo>
                <a:lnTo>
                  <a:pt x="352" y="380"/>
                </a:lnTo>
                <a:lnTo>
                  <a:pt x="355" y="384"/>
                </a:lnTo>
                <a:lnTo>
                  <a:pt x="356" y="384"/>
                </a:lnTo>
                <a:lnTo>
                  <a:pt x="358" y="387"/>
                </a:lnTo>
                <a:lnTo>
                  <a:pt x="360" y="387"/>
                </a:lnTo>
                <a:lnTo>
                  <a:pt x="361" y="388"/>
                </a:lnTo>
                <a:lnTo>
                  <a:pt x="362" y="390"/>
                </a:lnTo>
                <a:lnTo>
                  <a:pt x="367" y="394"/>
                </a:lnTo>
                <a:lnTo>
                  <a:pt x="370" y="394"/>
                </a:lnTo>
                <a:lnTo>
                  <a:pt x="370" y="395"/>
                </a:lnTo>
                <a:lnTo>
                  <a:pt x="371" y="395"/>
                </a:lnTo>
                <a:lnTo>
                  <a:pt x="371" y="398"/>
                </a:lnTo>
                <a:lnTo>
                  <a:pt x="372" y="399"/>
                </a:lnTo>
                <a:lnTo>
                  <a:pt x="373" y="399"/>
                </a:lnTo>
                <a:lnTo>
                  <a:pt x="373" y="400"/>
                </a:lnTo>
                <a:lnTo>
                  <a:pt x="374" y="401"/>
                </a:lnTo>
                <a:lnTo>
                  <a:pt x="374" y="402"/>
                </a:lnTo>
                <a:lnTo>
                  <a:pt x="378" y="412"/>
                </a:lnTo>
                <a:lnTo>
                  <a:pt x="378" y="418"/>
                </a:lnTo>
                <a:lnTo>
                  <a:pt x="377" y="421"/>
                </a:lnTo>
                <a:lnTo>
                  <a:pt x="375" y="423"/>
                </a:lnTo>
                <a:lnTo>
                  <a:pt x="374" y="423"/>
                </a:lnTo>
                <a:lnTo>
                  <a:pt x="370" y="427"/>
                </a:lnTo>
                <a:lnTo>
                  <a:pt x="366" y="432"/>
                </a:lnTo>
                <a:lnTo>
                  <a:pt x="366" y="433"/>
                </a:lnTo>
                <a:lnTo>
                  <a:pt x="364" y="433"/>
                </a:lnTo>
                <a:lnTo>
                  <a:pt x="364" y="436"/>
                </a:lnTo>
                <a:lnTo>
                  <a:pt x="367" y="436"/>
                </a:lnTo>
                <a:lnTo>
                  <a:pt x="368" y="437"/>
                </a:lnTo>
                <a:lnTo>
                  <a:pt x="371" y="437"/>
                </a:lnTo>
                <a:lnTo>
                  <a:pt x="372" y="441"/>
                </a:lnTo>
                <a:lnTo>
                  <a:pt x="373" y="442"/>
                </a:lnTo>
                <a:lnTo>
                  <a:pt x="378" y="442"/>
                </a:lnTo>
                <a:lnTo>
                  <a:pt x="379" y="444"/>
                </a:lnTo>
                <a:lnTo>
                  <a:pt x="379" y="443"/>
                </a:lnTo>
                <a:lnTo>
                  <a:pt x="380" y="441"/>
                </a:lnTo>
                <a:lnTo>
                  <a:pt x="381" y="439"/>
                </a:lnTo>
                <a:lnTo>
                  <a:pt x="381" y="437"/>
                </a:lnTo>
                <a:lnTo>
                  <a:pt x="383" y="436"/>
                </a:lnTo>
                <a:lnTo>
                  <a:pt x="383" y="433"/>
                </a:lnTo>
                <a:lnTo>
                  <a:pt x="385" y="431"/>
                </a:lnTo>
                <a:lnTo>
                  <a:pt x="387" y="430"/>
                </a:lnTo>
                <a:lnTo>
                  <a:pt x="391" y="430"/>
                </a:lnTo>
                <a:lnTo>
                  <a:pt x="391" y="429"/>
                </a:lnTo>
                <a:lnTo>
                  <a:pt x="392" y="429"/>
                </a:lnTo>
                <a:lnTo>
                  <a:pt x="393" y="430"/>
                </a:lnTo>
                <a:lnTo>
                  <a:pt x="399" y="430"/>
                </a:lnTo>
                <a:lnTo>
                  <a:pt x="402" y="431"/>
                </a:lnTo>
                <a:lnTo>
                  <a:pt x="405" y="431"/>
                </a:lnTo>
                <a:lnTo>
                  <a:pt x="405" y="430"/>
                </a:lnTo>
                <a:lnTo>
                  <a:pt x="417" y="432"/>
                </a:lnTo>
                <a:lnTo>
                  <a:pt x="422" y="436"/>
                </a:lnTo>
                <a:lnTo>
                  <a:pt x="433" y="443"/>
                </a:lnTo>
                <a:lnTo>
                  <a:pt x="434" y="445"/>
                </a:lnTo>
                <a:lnTo>
                  <a:pt x="435" y="447"/>
                </a:lnTo>
                <a:lnTo>
                  <a:pt x="435" y="450"/>
                </a:lnTo>
                <a:lnTo>
                  <a:pt x="436" y="453"/>
                </a:lnTo>
                <a:lnTo>
                  <a:pt x="436" y="461"/>
                </a:lnTo>
                <a:lnTo>
                  <a:pt x="437" y="463"/>
                </a:lnTo>
                <a:lnTo>
                  <a:pt x="437" y="464"/>
                </a:lnTo>
                <a:lnTo>
                  <a:pt x="436" y="468"/>
                </a:lnTo>
                <a:lnTo>
                  <a:pt x="436" y="470"/>
                </a:lnTo>
                <a:lnTo>
                  <a:pt x="433" y="478"/>
                </a:lnTo>
                <a:lnTo>
                  <a:pt x="432" y="479"/>
                </a:lnTo>
                <a:lnTo>
                  <a:pt x="432" y="485"/>
                </a:lnTo>
                <a:lnTo>
                  <a:pt x="430" y="487"/>
                </a:lnTo>
                <a:lnTo>
                  <a:pt x="430" y="491"/>
                </a:lnTo>
                <a:lnTo>
                  <a:pt x="429" y="492"/>
                </a:lnTo>
                <a:lnTo>
                  <a:pt x="427" y="493"/>
                </a:lnTo>
                <a:lnTo>
                  <a:pt x="426" y="494"/>
                </a:lnTo>
                <a:lnTo>
                  <a:pt x="426" y="493"/>
                </a:lnTo>
                <a:lnTo>
                  <a:pt x="424" y="494"/>
                </a:lnTo>
                <a:lnTo>
                  <a:pt x="424" y="496"/>
                </a:lnTo>
                <a:lnTo>
                  <a:pt x="420" y="500"/>
                </a:lnTo>
                <a:lnTo>
                  <a:pt x="420" y="501"/>
                </a:lnTo>
                <a:lnTo>
                  <a:pt x="417" y="499"/>
                </a:lnTo>
                <a:lnTo>
                  <a:pt x="417" y="500"/>
                </a:lnTo>
                <a:lnTo>
                  <a:pt x="414" y="500"/>
                </a:lnTo>
                <a:lnTo>
                  <a:pt x="412" y="499"/>
                </a:lnTo>
                <a:lnTo>
                  <a:pt x="411" y="499"/>
                </a:lnTo>
                <a:lnTo>
                  <a:pt x="409" y="500"/>
                </a:lnTo>
                <a:lnTo>
                  <a:pt x="416" y="501"/>
                </a:lnTo>
                <a:lnTo>
                  <a:pt x="417" y="500"/>
                </a:lnTo>
                <a:lnTo>
                  <a:pt x="417" y="501"/>
                </a:lnTo>
                <a:lnTo>
                  <a:pt x="414" y="505"/>
                </a:lnTo>
                <a:lnTo>
                  <a:pt x="414" y="506"/>
                </a:lnTo>
                <a:lnTo>
                  <a:pt x="417" y="506"/>
                </a:lnTo>
                <a:lnTo>
                  <a:pt x="417" y="507"/>
                </a:lnTo>
                <a:lnTo>
                  <a:pt x="415" y="510"/>
                </a:lnTo>
                <a:lnTo>
                  <a:pt x="412" y="511"/>
                </a:lnTo>
                <a:lnTo>
                  <a:pt x="411" y="512"/>
                </a:lnTo>
                <a:lnTo>
                  <a:pt x="406" y="512"/>
                </a:lnTo>
                <a:lnTo>
                  <a:pt x="406" y="511"/>
                </a:lnTo>
                <a:lnTo>
                  <a:pt x="404" y="509"/>
                </a:lnTo>
                <a:lnTo>
                  <a:pt x="404" y="510"/>
                </a:lnTo>
                <a:lnTo>
                  <a:pt x="402" y="511"/>
                </a:lnTo>
                <a:lnTo>
                  <a:pt x="401" y="512"/>
                </a:lnTo>
                <a:lnTo>
                  <a:pt x="401" y="513"/>
                </a:lnTo>
                <a:lnTo>
                  <a:pt x="399" y="515"/>
                </a:lnTo>
                <a:lnTo>
                  <a:pt x="398" y="515"/>
                </a:lnTo>
                <a:lnTo>
                  <a:pt x="398" y="516"/>
                </a:lnTo>
                <a:lnTo>
                  <a:pt x="397" y="515"/>
                </a:lnTo>
                <a:lnTo>
                  <a:pt x="396" y="515"/>
                </a:lnTo>
                <a:lnTo>
                  <a:pt x="393" y="516"/>
                </a:lnTo>
                <a:lnTo>
                  <a:pt x="392" y="516"/>
                </a:lnTo>
                <a:lnTo>
                  <a:pt x="393" y="517"/>
                </a:lnTo>
                <a:lnTo>
                  <a:pt x="395" y="517"/>
                </a:lnTo>
                <a:lnTo>
                  <a:pt x="395" y="518"/>
                </a:lnTo>
                <a:lnTo>
                  <a:pt x="396" y="517"/>
                </a:lnTo>
                <a:lnTo>
                  <a:pt x="399" y="516"/>
                </a:lnTo>
                <a:lnTo>
                  <a:pt x="401" y="516"/>
                </a:lnTo>
                <a:lnTo>
                  <a:pt x="402" y="515"/>
                </a:lnTo>
                <a:lnTo>
                  <a:pt x="403" y="516"/>
                </a:lnTo>
                <a:lnTo>
                  <a:pt x="403" y="522"/>
                </a:lnTo>
                <a:lnTo>
                  <a:pt x="402" y="522"/>
                </a:lnTo>
                <a:lnTo>
                  <a:pt x="402" y="523"/>
                </a:lnTo>
                <a:lnTo>
                  <a:pt x="403" y="523"/>
                </a:lnTo>
                <a:lnTo>
                  <a:pt x="402" y="525"/>
                </a:lnTo>
                <a:lnTo>
                  <a:pt x="399" y="527"/>
                </a:lnTo>
                <a:lnTo>
                  <a:pt x="397" y="529"/>
                </a:lnTo>
                <a:lnTo>
                  <a:pt x="390" y="529"/>
                </a:lnTo>
                <a:lnTo>
                  <a:pt x="390" y="530"/>
                </a:lnTo>
                <a:lnTo>
                  <a:pt x="385" y="530"/>
                </a:lnTo>
                <a:lnTo>
                  <a:pt x="383" y="531"/>
                </a:lnTo>
                <a:lnTo>
                  <a:pt x="381" y="531"/>
                </a:lnTo>
                <a:lnTo>
                  <a:pt x="381" y="534"/>
                </a:lnTo>
                <a:lnTo>
                  <a:pt x="380" y="534"/>
                </a:lnTo>
                <a:lnTo>
                  <a:pt x="379" y="535"/>
                </a:lnTo>
                <a:lnTo>
                  <a:pt x="381" y="534"/>
                </a:lnTo>
                <a:lnTo>
                  <a:pt x="383" y="534"/>
                </a:lnTo>
                <a:lnTo>
                  <a:pt x="383" y="533"/>
                </a:lnTo>
                <a:lnTo>
                  <a:pt x="385" y="531"/>
                </a:lnTo>
                <a:lnTo>
                  <a:pt x="392" y="533"/>
                </a:lnTo>
                <a:lnTo>
                  <a:pt x="393" y="534"/>
                </a:lnTo>
                <a:lnTo>
                  <a:pt x="393" y="535"/>
                </a:lnTo>
                <a:lnTo>
                  <a:pt x="390" y="535"/>
                </a:lnTo>
                <a:lnTo>
                  <a:pt x="389" y="536"/>
                </a:lnTo>
                <a:lnTo>
                  <a:pt x="387" y="536"/>
                </a:lnTo>
                <a:lnTo>
                  <a:pt x="386" y="537"/>
                </a:lnTo>
                <a:lnTo>
                  <a:pt x="387" y="539"/>
                </a:lnTo>
                <a:lnTo>
                  <a:pt x="392" y="539"/>
                </a:lnTo>
                <a:lnTo>
                  <a:pt x="392" y="536"/>
                </a:lnTo>
                <a:lnTo>
                  <a:pt x="393" y="536"/>
                </a:lnTo>
                <a:lnTo>
                  <a:pt x="393" y="537"/>
                </a:lnTo>
                <a:lnTo>
                  <a:pt x="395" y="535"/>
                </a:lnTo>
                <a:lnTo>
                  <a:pt x="396" y="535"/>
                </a:lnTo>
                <a:lnTo>
                  <a:pt x="401" y="536"/>
                </a:lnTo>
                <a:lnTo>
                  <a:pt x="401" y="537"/>
                </a:lnTo>
                <a:lnTo>
                  <a:pt x="402" y="537"/>
                </a:lnTo>
                <a:lnTo>
                  <a:pt x="402" y="539"/>
                </a:lnTo>
                <a:lnTo>
                  <a:pt x="403" y="539"/>
                </a:lnTo>
                <a:lnTo>
                  <a:pt x="403" y="540"/>
                </a:lnTo>
                <a:lnTo>
                  <a:pt x="402" y="541"/>
                </a:lnTo>
                <a:lnTo>
                  <a:pt x="397" y="540"/>
                </a:lnTo>
                <a:lnTo>
                  <a:pt x="396" y="540"/>
                </a:lnTo>
                <a:lnTo>
                  <a:pt x="395" y="539"/>
                </a:lnTo>
                <a:lnTo>
                  <a:pt x="395" y="540"/>
                </a:lnTo>
                <a:lnTo>
                  <a:pt x="396" y="541"/>
                </a:lnTo>
                <a:lnTo>
                  <a:pt x="404" y="541"/>
                </a:lnTo>
                <a:lnTo>
                  <a:pt x="409" y="540"/>
                </a:lnTo>
                <a:lnTo>
                  <a:pt x="423" y="539"/>
                </a:lnTo>
                <a:lnTo>
                  <a:pt x="424" y="539"/>
                </a:lnTo>
                <a:lnTo>
                  <a:pt x="423" y="541"/>
                </a:lnTo>
                <a:lnTo>
                  <a:pt x="423" y="542"/>
                </a:lnTo>
                <a:lnTo>
                  <a:pt x="421" y="542"/>
                </a:lnTo>
                <a:lnTo>
                  <a:pt x="421" y="544"/>
                </a:lnTo>
                <a:lnTo>
                  <a:pt x="422" y="546"/>
                </a:lnTo>
                <a:lnTo>
                  <a:pt x="422" y="553"/>
                </a:lnTo>
                <a:lnTo>
                  <a:pt x="421" y="555"/>
                </a:lnTo>
                <a:lnTo>
                  <a:pt x="421" y="556"/>
                </a:lnTo>
                <a:lnTo>
                  <a:pt x="417" y="558"/>
                </a:lnTo>
                <a:lnTo>
                  <a:pt x="415" y="558"/>
                </a:lnTo>
                <a:lnTo>
                  <a:pt x="412" y="560"/>
                </a:lnTo>
                <a:lnTo>
                  <a:pt x="408" y="560"/>
                </a:lnTo>
                <a:lnTo>
                  <a:pt x="406" y="562"/>
                </a:lnTo>
                <a:lnTo>
                  <a:pt x="404" y="565"/>
                </a:lnTo>
                <a:lnTo>
                  <a:pt x="404" y="571"/>
                </a:lnTo>
                <a:lnTo>
                  <a:pt x="403" y="571"/>
                </a:lnTo>
                <a:lnTo>
                  <a:pt x="399" y="570"/>
                </a:lnTo>
                <a:lnTo>
                  <a:pt x="397" y="568"/>
                </a:lnTo>
                <a:lnTo>
                  <a:pt x="395" y="570"/>
                </a:lnTo>
                <a:lnTo>
                  <a:pt x="390" y="574"/>
                </a:lnTo>
                <a:lnTo>
                  <a:pt x="380" y="577"/>
                </a:lnTo>
                <a:lnTo>
                  <a:pt x="378" y="577"/>
                </a:lnTo>
                <a:lnTo>
                  <a:pt x="378" y="579"/>
                </a:lnTo>
                <a:lnTo>
                  <a:pt x="375" y="579"/>
                </a:lnTo>
                <a:lnTo>
                  <a:pt x="374" y="582"/>
                </a:lnTo>
                <a:lnTo>
                  <a:pt x="372" y="582"/>
                </a:lnTo>
                <a:lnTo>
                  <a:pt x="370" y="580"/>
                </a:lnTo>
                <a:lnTo>
                  <a:pt x="367" y="580"/>
                </a:lnTo>
                <a:lnTo>
                  <a:pt x="366" y="579"/>
                </a:lnTo>
                <a:lnTo>
                  <a:pt x="364" y="579"/>
                </a:lnTo>
                <a:lnTo>
                  <a:pt x="355" y="577"/>
                </a:lnTo>
                <a:lnTo>
                  <a:pt x="352" y="577"/>
                </a:lnTo>
                <a:lnTo>
                  <a:pt x="346" y="578"/>
                </a:lnTo>
                <a:lnTo>
                  <a:pt x="339" y="578"/>
                </a:lnTo>
                <a:lnTo>
                  <a:pt x="333" y="580"/>
                </a:lnTo>
                <a:lnTo>
                  <a:pt x="330" y="580"/>
                </a:lnTo>
                <a:lnTo>
                  <a:pt x="330" y="583"/>
                </a:lnTo>
                <a:lnTo>
                  <a:pt x="329" y="583"/>
                </a:lnTo>
                <a:lnTo>
                  <a:pt x="324" y="580"/>
                </a:lnTo>
                <a:lnTo>
                  <a:pt x="324" y="579"/>
                </a:lnTo>
                <a:lnTo>
                  <a:pt x="325" y="579"/>
                </a:lnTo>
                <a:lnTo>
                  <a:pt x="327" y="578"/>
                </a:lnTo>
                <a:lnTo>
                  <a:pt x="325" y="577"/>
                </a:lnTo>
                <a:lnTo>
                  <a:pt x="324" y="577"/>
                </a:lnTo>
                <a:lnTo>
                  <a:pt x="324" y="576"/>
                </a:lnTo>
                <a:lnTo>
                  <a:pt x="319" y="576"/>
                </a:lnTo>
                <a:lnTo>
                  <a:pt x="319" y="578"/>
                </a:lnTo>
                <a:lnTo>
                  <a:pt x="318" y="579"/>
                </a:lnTo>
                <a:lnTo>
                  <a:pt x="316" y="579"/>
                </a:lnTo>
                <a:lnTo>
                  <a:pt x="317" y="578"/>
                </a:lnTo>
                <a:lnTo>
                  <a:pt x="317" y="577"/>
                </a:lnTo>
                <a:lnTo>
                  <a:pt x="318" y="576"/>
                </a:lnTo>
                <a:lnTo>
                  <a:pt x="317" y="574"/>
                </a:lnTo>
                <a:lnTo>
                  <a:pt x="315" y="576"/>
                </a:lnTo>
                <a:lnTo>
                  <a:pt x="314" y="576"/>
                </a:lnTo>
                <a:lnTo>
                  <a:pt x="315" y="577"/>
                </a:lnTo>
                <a:lnTo>
                  <a:pt x="316" y="577"/>
                </a:lnTo>
                <a:lnTo>
                  <a:pt x="316" y="579"/>
                </a:lnTo>
                <a:lnTo>
                  <a:pt x="312" y="579"/>
                </a:lnTo>
                <a:lnTo>
                  <a:pt x="312" y="578"/>
                </a:lnTo>
                <a:lnTo>
                  <a:pt x="310" y="576"/>
                </a:lnTo>
                <a:lnTo>
                  <a:pt x="308" y="576"/>
                </a:lnTo>
                <a:lnTo>
                  <a:pt x="308" y="574"/>
                </a:lnTo>
                <a:lnTo>
                  <a:pt x="306" y="573"/>
                </a:lnTo>
                <a:lnTo>
                  <a:pt x="302" y="571"/>
                </a:lnTo>
                <a:lnTo>
                  <a:pt x="308" y="577"/>
                </a:lnTo>
                <a:lnTo>
                  <a:pt x="308" y="578"/>
                </a:lnTo>
                <a:lnTo>
                  <a:pt x="306" y="579"/>
                </a:lnTo>
                <a:lnTo>
                  <a:pt x="304" y="579"/>
                </a:lnTo>
                <a:lnTo>
                  <a:pt x="304" y="580"/>
                </a:lnTo>
                <a:lnTo>
                  <a:pt x="300" y="580"/>
                </a:lnTo>
                <a:lnTo>
                  <a:pt x="300" y="582"/>
                </a:lnTo>
                <a:lnTo>
                  <a:pt x="298" y="580"/>
                </a:lnTo>
                <a:lnTo>
                  <a:pt x="297" y="584"/>
                </a:lnTo>
                <a:lnTo>
                  <a:pt x="296" y="583"/>
                </a:lnTo>
                <a:lnTo>
                  <a:pt x="291" y="583"/>
                </a:lnTo>
                <a:lnTo>
                  <a:pt x="288" y="584"/>
                </a:lnTo>
                <a:lnTo>
                  <a:pt x="287" y="584"/>
                </a:lnTo>
                <a:lnTo>
                  <a:pt x="286" y="583"/>
                </a:lnTo>
                <a:lnTo>
                  <a:pt x="285" y="583"/>
                </a:lnTo>
                <a:lnTo>
                  <a:pt x="284" y="584"/>
                </a:lnTo>
                <a:lnTo>
                  <a:pt x="283" y="584"/>
                </a:lnTo>
                <a:lnTo>
                  <a:pt x="281" y="585"/>
                </a:lnTo>
                <a:lnTo>
                  <a:pt x="281" y="584"/>
                </a:lnTo>
                <a:lnTo>
                  <a:pt x="278" y="584"/>
                </a:lnTo>
                <a:lnTo>
                  <a:pt x="278" y="583"/>
                </a:lnTo>
                <a:lnTo>
                  <a:pt x="277" y="583"/>
                </a:lnTo>
                <a:lnTo>
                  <a:pt x="275" y="585"/>
                </a:lnTo>
                <a:lnTo>
                  <a:pt x="277" y="585"/>
                </a:lnTo>
                <a:lnTo>
                  <a:pt x="277" y="584"/>
                </a:lnTo>
                <a:lnTo>
                  <a:pt x="279" y="586"/>
                </a:lnTo>
                <a:lnTo>
                  <a:pt x="280" y="586"/>
                </a:lnTo>
                <a:lnTo>
                  <a:pt x="281" y="587"/>
                </a:lnTo>
                <a:lnTo>
                  <a:pt x="280" y="589"/>
                </a:lnTo>
                <a:lnTo>
                  <a:pt x="281" y="589"/>
                </a:lnTo>
                <a:lnTo>
                  <a:pt x="280" y="590"/>
                </a:lnTo>
                <a:lnTo>
                  <a:pt x="280" y="591"/>
                </a:lnTo>
                <a:lnTo>
                  <a:pt x="279" y="592"/>
                </a:lnTo>
                <a:lnTo>
                  <a:pt x="275" y="592"/>
                </a:lnTo>
                <a:lnTo>
                  <a:pt x="272" y="590"/>
                </a:lnTo>
                <a:lnTo>
                  <a:pt x="265" y="590"/>
                </a:lnTo>
                <a:lnTo>
                  <a:pt x="262" y="589"/>
                </a:lnTo>
                <a:lnTo>
                  <a:pt x="260" y="589"/>
                </a:lnTo>
                <a:lnTo>
                  <a:pt x="260" y="590"/>
                </a:lnTo>
                <a:lnTo>
                  <a:pt x="259" y="591"/>
                </a:lnTo>
                <a:lnTo>
                  <a:pt x="259" y="592"/>
                </a:lnTo>
                <a:lnTo>
                  <a:pt x="249" y="585"/>
                </a:lnTo>
                <a:lnTo>
                  <a:pt x="242" y="583"/>
                </a:lnTo>
                <a:lnTo>
                  <a:pt x="238" y="583"/>
                </a:lnTo>
                <a:lnTo>
                  <a:pt x="238" y="584"/>
                </a:lnTo>
                <a:lnTo>
                  <a:pt x="234" y="584"/>
                </a:lnTo>
                <a:lnTo>
                  <a:pt x="231" y="586"/>
                </a:lnTo>
                <a:lnTo>
                  <a:pt x="230" y="586"/>
                </a:lnTo>
                <a:lnTo>
                  <a:pt x="230" y="585"/>
                </a:lnTo>
                <a:lnTo>
                  <a:pt x="229" y="585"/>
                </a:lnTo>
                <a:lnTo>
                  <a:pt x="228" y="586"/>
                </a:lnTo>
                <a:lnTo>
                  <a:pt x="225" y="586"/>
                </a:lnTo>
                <a:lnTo>
                  <a:pt x="225" y="587"/>
                </a:lnTo>
                <a:lnTo>
                  <a:pt x="224" y="589"/>
                </a:lnTo>
                <a:lnTo>
                  <a:pt x="221" y="590"/>
                </a:lnTo>
                <a:lnTo>
                  <a:pt x="218" y="590"/>
                </a:lnTo>
                <a:lnTo>
                  <a:pt x="218" y="589"/>
                </a:lnTo>
                <a:lnTo>
                  <a:pt x="217" y="587"/>
                </a:lnTo>
                <a:lnTo>
                  <a:pt x="218" y="590"/>
                </a:lnTo>
                <a:lnTo>
                  <a:pt x="218" y="591"/>
                </a:lnTo>
                <a:lnTo>
                  <a:pt x="217" y="591"/>
                </a:lnTo>
                <a:lnTo>
                  <a:pt x="217" y="592"/>
                </a:lnTo>
                <a:lnTo>
                  <a:pt x="216" y="593"/>
                </a:lnTo>
                <a:lnTo>
                  <a:pt x="216" y="595"/>
                </a:lnTo>
                <a:lnTo>
                  <a:pt x="215" y="597"/>
                </a:lnTo>
                <a:lnTo>
                  <a:pt x="215" y="598"/>
                </a:lnTo>
                <a:lnTo>
                  <a:pt x="216" y="601"/>
                </a:lnTo>
                <a:lnTo>
                  <a:pt x="213" y="601"/>
                </a:lnTo>
                <a:lnTo>
                  <a:pt x="213" y="604"/>
                </a:lnTo>
                <a:lnTo>
                  <a:pt x="216" y="604"/>
                </a:lnTo>
                <a:lnTo>
                  <a:pt x="216" y="605"/>
                </a:lnTo>
                <a:lnTo>
                  <a:pt x="215" y="605"/>
                </a:lnTo>
                <a:lnTo>
                  <a:pt x="215" y="608"/>
                </a:lnTo>
                <a:lnTo>
                  <a:pt x="213" y="609"/>
                </a:lnTo>
                <a:lnTo>
                  <a:pt x="213" y="608"/>
                </a:lnTo>
                <a:lnTo>
                  <a:pt x="212" y="608"/>
                </a:lnTo>
                <a:lnTo>
                  <a:pt x="212" y="609"/>
                </a:lnTo>
                <a:lnTo>
                  <a:pt x="211" y="610"/>
                </a:lnTo>
                <a:lnTo>
                  <a:pt x="210" y="610"/>
                </a:lnTo>
                <a:lnTo>
                  <a:pt x="210" y="611"/>
                </a:lnTo>
                <a:lnTo>
                  <a:pt x="209" y="613"/>
                </a:lnTo>
                <a:lnTo>
                  <a:pt x="209" y="616"/>
                </a:lnTo>
                <a:lnTo>
                  <a:pt x="206" y="617"/>
                </a:lnTo>
                <a:lnTo>
                  <a:pt x="205" y="617"/>
                </a:lnTo>
                <a:lnTo>
                  <a:pt x="204" y="616"/>
                </a:lnTo>
                <a:lnTo>
                  <a:pt x="203" y="617"/>
                </a:lnTo>
                <a:lnTo>
                  <a:pt x="201" y="616"/>
                </a:lnTo>
                <a:lnTo>
                  <a:pt x="199" y="613"/>
                </a:lnTo>
                <a:lnTo>
                  <a:pt x="197" y="610"/>
                </a:lnTo>
                <a:lnTo>
                  <a:pt x="194" y="610"/>
                </a:lnTo>
                <a:lnTo>
                  <a:pt x="194" y="611"/>
                </a:lnTo>
                <a:lnTo>
                  <a:pt x="191" y="611"/>
                </a:lnTo>
                <a:lnTo>
                  <a:pt x="191" y="610"/>
                </a:lnTo>
                <a:lnTo>
                  <a:pt x="190" y="609"/>
                </a:lnTo>
                <a:lnTo>
                  <a:pt x="190" y="607"/>
                </a:lnTo>
                <a:lnTo>
                  <a:pt x="187" y="607"/>
                </a:lnTo>
                <a:lnTo>
                  <a:pt x="187" y="605"/>
                </a:lnTo>
                <a:lnTo>
                  <a:pt x="186" y="604"/>
                </a:lnTo>
                <a:lnTo>
                  <a:pt x="186" y="603"/>
                </a:lnTo>
                <a:lnTo>
                  <a:pt x="187" y="602"/>
                </a:lnTo>
                <a:lnTo>
                  <a:pt x="185" y="602"/>
                </a:lnTo>
                <a:lnTo>
                  <a:pt x="185" y="605"/>
                </a:lnTo>
                <a:lnTo>
                  <a:pt x="182" y="605"/>
                </a:lnTo>
                <a:lnTo>
                  <a:pt x="182" y="607"/>
                </a:lnTo>
                <a:lnTo>
                  <a:pt x="185" y="605"/>
                </a:lnTo>
                <a:lnTo>
                  <a:pt x="186" y="607"/>
                </a:lnTo>
                <a:lnTo>
                  <a:pt x="185" y="607"/>
                </a:lnTo>
                <a:lnTo>
                  <a:pt x="186" y="608"/>
                </a:lnTo>
                <a:lnTo>
                  <a:pt x="186" y="610"/>
                </a:lnTo>
                <a:lnTo>
                  <a:pt x="185" y="610"/>
                </a:lnTo>
                <a:lnTo>
                  <a:pt x="185" y="608"/>
                </a:lnTo>
                <a:lnTo>
                  <a:pt x="184" y="608"/>
                </a:lnTo>
                <a:lnTo>
                  <a:pt x="180" y="607"/>
                </a:lnTo>
                <a:lnTo>
                  <a:pt x="178" y="607"/>
                </a:lnTo>
                <a:lnTo>
                  <a:pt x="175" y="609"/>
                </a:lnTo>
                <a:lnTo>
                  <a:pt x="173" y="609"/>
                </a:lnTo>
                <a:lnTo>
                  <a:pt x="167" y="610"/>
                </a:lnTo>
                <a:lnTo>
                  <a:pt x="166" y="610"/>
                </a:lnTo>
                <a:lnTo>
                  <a:pt x="166" y="609"/>
                </a:lnTo>
                <a:lnTo>
                  <a:pt x="162" y="609"/>
                </a:lnTo>
                <a:lnTo>
                  <a:pt x="162" y="611"/>
                </a:lnTo>
                <a:lnTo>
                  <a:pt x="161" y="613"/>
                </a:lnTo>
                <a:lnTo>
                  <a:pt x="161" y="616"/>
                </a:lnTo>
                <a:lnTo>
                  <a:pt x="157" y="616"/>
                </a:lnTo>
                <a:lnTo>
                  <a:pt x="156" y="617"/>
                </a:lnTo>
                <a:lnTo>
                  <a:pt x="154" y="619"/>
                </a:lnTo>
                <a:lnTo>
                  <a:pt x="151" y="622"/>
                </a:lnTo>
                <a:lnTo>
                  <a:pt x="151" y="619"/>
                </a:lnTo>
                <a:lnTo>
                  <a:pt x="150" y="619"/>
                </a:lnTo>
                <a:lnTo>
                  <a:pt x="150" y="620"/>
                </a:lnTo>
                <a:lnTo>
                  <a:pt x="149" y="621"/>
                </a:lnTo>
                <a:lnTo>
                  <a:pt x="150" y="622"/>
                </a:lnTo>
                <a:lnTo>
                  <a:pt x="149" y="622"/>
                </a:lnTo>
                <a:lnTo>
                  <a:pt x="149" y="623"/>
                </a:lnTo>
                <a:lnTo>
                  <a:pt x="148" y="625"/>
                </a:lnTo>
                <a:lnTo>
                  <a:pt x="148" y="626"/>
                </a:lnTo>
                <a:lnTo>
                  <a:pt x="149" y="626"/>
                </a:lnTo>
                <a:lnTo>
                  <a:pt x="149" y="628"/>
                </a:lnTo>
                <a:lnTo>
                  <a:pt x="148" y="630"/>
                </a:lnTo>
                <a:lnTo>
                  <a:pt x="145" y="630"/>
                </a:lnTo>
                <a:lnTo>
                  <a:pt x="144" y="632"/>
                </a:lnTo>
                <a:lnTo>
                  <a:pt x="144" y="634"/>
                </a:lnTo>
                <a:lnTo>
                  <a:pt x="143" y="634"/>
                </a:lnTo>
                <a:lnTo>
                  <a:pt x="143" y="633"/>
                </a:lnTo>
                <a:lnTo>
                  <a:pt x="142" y="632"/>
                </a:lnTo>
                <a:lnTo>
                  <a:pt x="142" y="629"/>
                </a:lnTo>
                <a:lnTo>
                  <a:pt x="140" y="627"/>
                </a:lnTo>
                <a:lnTo>
                  <a:pt x="140" y="626"/>
                </a:lnTo>
                <a:lnTo>
                  <a:pt x="138" y="626"/>
                </a:lnTo>
                <a:lnTo>
                  <a:pt x="134" y="623"/>
                </a:lnTo>
                <a:lnTo>
                  <a:pt x="132" y="623"/>
                </a:lnTo>
                <a:lnTo>
                  <a:pt x="132" y="622"/>
                </a:lnTo>
                <a:lnTo>
                  <a:pt x="131" y="622"/>
                </a:lnTo>
                <a:lnTo>
                  <a:pt x="130" y="623"/>
                </a:lnTo>
                <a:lnTo>
                  <a:pt x="129" y="623"/>
                </a:lnTo>
                <a:lnTo>
                  <a:pt x="129" y="625"/>
                </a:lnTo>
                <a:lnTo>
                  <a:pt x="130" y="626"/>
                </a:lnTo>
                <a:lnTo>
                  <a:pt x="128" y="628"/>
                </a:lnTo>
                <a:lnTo>
                  <a:pt x="123" y="628"/>
                </a:lnTo>
                <a:lnTo>
                  <a:pt x="122" y="626"/>
                </a:lnTo>
                <a:lnTo>
                  <a:pt x="123" y="626"/>
                </a:lnTo>
                <a:lnTo>
                  <a:pt x="123" y="625"/>
                </a:lnTo>
                <a:lnTo>
                  <a:pt x="122" y="623"/>
                </a:lnTo>
                <a:lnTo>
                  <a:pt x="122" y="622"/>
                </a:lnTo>
                <a:lnTo>
                  <a:pt x="123" y="622"/>
                </a:lnTo>
                <a:lnTo>
                  <a:pt x="123" y="621"/>
                </a:lnTo>
                <a:lnTo>
                  <a:pt x="124" y="620"/>
                </a:lnTo>
                <a:lnTo>
                  <a:pt x="125" y="620"/>
                </a:lnTo>
                <a:lnTo>
                  <a:pt x="128" y="619"/>
                </a:lnTo>
                <a:lnTo>
                  <a:pt x="130" y="616"/>
                </a:lnTo>
                <a:lnTo>
                  <a:pt x="131" y="616"/>
                </a:lnTo>
                <a:lnTo>
                  <a:pt x="132" y="619"/>
                </a:lnTo>
                <a:lnTo>
                  <a:pt x="134" y="619"/>
                </a:lnTo>
                <a:lnTo>
                  <a:pt x="135" y="617"/>
                </a:lnTo>
                <a:lnTo>
                  <a:pt x="135" y="616"/>
                </a:lnTo>
                <a:lnTo>
                  <a:pt x="136" y="616"/>
                </a:lnTo>
                <a:lnTo>
                  <a:pt x="136" y="615"/>
                </a:lnTo>
                <a:lnTo>
                  <a:pt x="138" y="615"/>
                </a:lnTo>
                <a:lnTo>
                  <a:pt x="143" y="609"/>
                </a:lnTo>
                <a:lnTo>
                  <a:pt x="145" y="608"/>
                </a:lnTo>
                <a:lnTo>
                  <a:pt x="145" y="604"/>
                </a:lnTo>
                <a:lnTo>
                  <a:pt x="147" y="604"/>
                </a:lnTo>
                <a:lnTo>
                  <a:pt x="150" y="603"/>
                </a:lnTo>
                <a:lnTo>
                  <a:pt x="150" y="598"/>
                </a:lnTo>
                <a:lnTo>
                  <a:pt x="151" y="597"/>
                </a:lnTo>
                <a:lnTo>
                  <a:pt x="151" y="596"/>
                </a:lnTo>
                <a:lnTo>
                  <a:pt x="153" y="595"/>
                </a:lnTo>
                <a:lnTo>
                  <a:pt x="154" y="595"/>
                </a:lnTo>
                <a:lnTo>
                  <a:pt x="154" y="593"/>
                </a:lnTo>
                <a:lnTo>
                  <a:pt x="155" y="595"/>
                </a:lnTo>
                <a:lnTo>
                  <a:pt x="155" y="596"/>
                </a:lnTo>
                <a:lnTo>
                  <a:pt x="156" y="597"/>
                </a:lnTo>
                <a:lnTo>
                  <a:pt x="159" y="597"/>
                </a:lnTo>
                <a:lnTo>
                  <a:pt x="159" y="596"/>
                </a:lnTo>
                <a:lnTo>
                  <a:pt x="156" y="596"/>
                </a:lnTo>
                <a:lnTo>
                  <a:pt x="155" y="595"/>
                </a:lnTo>
                <a:lnTo>
                  <a:pt x="155" y="592"/>
                </a:lnTo>
                <a:lnTo>
                  <a:pt x="161" y="592"/>
                </a:lnTo>
                <a:lnTo>
                  <a:pt x="161" y="591"/>
                </a:lnTo>
                <a:lnTo>
                  <a:pt x="162" y="590"/>
                </a:lnTo>
                <a:lnTo>
                  <a:pt x="162" y="586"/>
                </a:lnTo>
                <a:lnTo>
                  <a:pt x="163" y="586"/>
                </a:lnTo>
                <a:lnTo>
                  <a:pt x="167" y="584"/>
                </a:lnTo>
                <a:lnTo>
                  <a:pt x="167" y="583"/>
                </a:lnTo>
                <a:lnTo>
                  <a:pt x="169" y="580"/>
                </a:lnTo>
                <a:lnTo>
                  <a:pt x="170" y="578"/>
                </a:lnTo>
                <a:lnTo>
                  <a:pt x="170" y="572"/>
                </a:lnTo>
                <a:lnTo>
                  <a:pt x="172" y="568"/>
                </a:lnTo>
                <a:lnTo>
                  <a:pt x="172" y="564"/>
                </a:lnTo>
                <a:lnTo>
                  <a:pt x="176" y="564"/>
                </a:lnTo>
                <a:lnTo>
                  <a:pt x="178" y="565"/>
                </a:lnTo>
                <a:lnTo>
                  <a:pt x="181" y="565"/>
                </a:lnTo>
                <a:lnTo>
                  <a:pt x="185" y="561"/>
                </a:lnTo>
                <a:lnTo>
                  <a:pt x="185" y="560"/>
                </a:lnTo>
                <a:lnTo>
                  <a:pt x="186" y="560"/>
                </a:lnTo>
                <a:lnTo>
                  <a:pt x="185" y="559"/>
                </a:lnTo>
                <a:lnTo>
                  <a:pt x="185" y="556"/>
                </a:lnTo>
                <a:lnTo>
                  <a:pt x="184" y="555"/>
                </a:lnTo>
                <a:lnTo>
                  <a:pt x="185" y="555"/>
                </a:lnTo>
                <a:lnTo>
                  <a:pt x="185" y="552"/>
                </a:lnTo>
                <a:lnTo>
                  <a:pt x="187" y="550"/>
                </a:lnTo>
                <a:lnTo>
                  <a:pt x="196" y="550"/>
                </a:lnTo>
                <a:lnTo>
                  <a:pt x="197" y="549"/>
                </a:lnTo>
                <a:lnTo>
                  <a:pt x="201" y="549"/>
                </a:lnTo>
                <a:lnTo>
                  <a:pt x="203" y="548"/>
                </a:lnTo>
                <a:lnTo>
                  <a:pt x="204" y="548"/>
                </a:lnTo>
                <a:lnTo>
                  <a:pt x="210" y="549"/>
                </a:lnTo>
                <a:lnTo>
                  <a:pt x="212" y="549"/>
                </a:lnTo>
                <a:lnTo>
                  <a:pt x="218" y="550"/>
                </a:lnTo>
                <a:lnTo>
                  <a:pt x="221" y="553"/>
                </a:lnTo>
                <a:lnTo>
                  <a:pt x="225" y="552"/>
                </a:lnTo>
                <a:lnTo>
                  <a:pt x="228" y="552"/>
                </a:lnTo>
                <a:lnTo>
                  <a:pt x="230" y="550"/>
                </a:lnTo>
                <a:lnTo>
                  <a:pt x="232" y="552"/>
                </a:lnTo>
                <a:lnTo>
                  <a:pt x="234" y="550"/>
                </a:lnTo>
                <a:lnTo>
                  <a:pt x="235" y="550"/>
                </a:lnTo>
                <a:lnTo>
                  <a:pt x="235" y="552"/>
                </a:lnTo>
                <a:lnTo>
                  <a:pt x="236" y="550"/>
                </a:lnTo>
                <a:lnTo>
                  <a:pt x="236" y="544"/>
                </a:lnTo>
                <a:lnTo>
                  <a:pt x="235" y="543"/>
                </a:lnTo>
                <a:lnTo>
                  <a:pt x="237" y="543"/>
                </a:lnTo>
                <a:lnTo>
                  <a:pt x="237" y="541"/>
                </a:lnTo>
                <a:lnTo>
                  <a:pt x="238" y="540"/>
                </a:lnTo>
                <a:lnTo>
                  <a:pt x="237" y="539"/>
                </a:lnTo>
                <a:lnTo>
                  <a:pt x="240" y="539"/>
                </a:lnTo>
                <a:lnTo>
                  <a:pt x="241" y="537"/>
                </a:lnTo>
                <a:lnTo>
                  <a:pt x="244" y="533"/>
                </a:lnTo>
                <a:lnTo>
                  <a:pt x="246" y="531"/>
                </a:lnTo>
                <a:lnTo>
                  <a:pt x="248" y="531"/>
                </a:lnTo>
                <a:lnTo>
                  <a:pt x="249" y="530"/>
                </a:lnTo>
                <a:lnTo>
                  <a:pt x="253" y="524"/>
                </a:lnTo>
                <a:lnTo>
                  <a:pt x="254" y="523"/>
                </a:lnTo>
                <a:lnTo>
                  <a:pt x="254" y="522"/>
                </a:lnTo>
                <a:lnTo>
                  <a:pt x="255" y="522"/>
                </a:lnTo>
                <a:lnTo>
                  <a:pt x="255" y="521"/>
                </a:lnTo>
                <a:lnTo>
                  <a:pt x="257" y="518"/>
                </a:lnTo>
                <a:lnTo>
                  <a:pt x="259" y="516"/>
                </a:lnTo>
                <a:lnTo>
                  <a:pt x="260" y="516"/>
                </a:lnTo>
                <a:lnTo>
                  <a:pt x="261" y="515"/>
                </a:lnTo>
                <a:lnTo>
                  <a:pt x="262" y="515"/>
                </a:lnTo>
                <a:lnTo>
                  <a:pt x="262" y="512"/>
                </a:lnTo>
                <a:lnTo>
                  <a:pt x="260" y="515"/>
                </a:lnTo>
                <a:lnTo>
                  <a:pt x="259" y="515"/>
                </a:lnTo>
                <a:lnTo>
                  <a:pt x="254" y="519"/>
                </a:lnTo>
                <a:lnTo>
                  <a:pt x="253" y="519"/>
                </a:lnTo>
                <a:lnTo>
                  <a:pt x="250" y="523"/>
                </a:lnTo>
                <a:lnTo>
                  <a:pt x="248" y="525"/>
                </a:lnTo>
                <a:lnTo>
                  <a:pt x="247" y="525"/>
                </a:lnTo>
                <a:lnTo>
                  <a:pt x="244" y="527"/>
                </a:lnTo>
                <a:lnTo>
                  <a:pt x="244" y="528"/>
                </a:lnTo>
                <a:lnTo>
                  <a:pt x="238" y="528"/>
                </a:lnTo>
                <a:lnTo>
                  <a:pt x="237" y="527"/>
                </a:lnTo>
                <a:lnTo>
                  <a:pt x="237" y="528"/>
                </a:lnTo>
                <a:lnTo>
                  <a:pt x="236" y="529"/>
                </a:lnTo>
                <a:lnTo>
                  <a:pt x="234" y="530"/>
                </a:lnTo>
                <a:lnTo>
                  <a:pt x="231" y="533"/>
                </a:lnTo>
                <a:lnTo>
                  <a:pt x="230" y="533"/>
                </a:lnTo>
                <a:lnTo>
                  <a:pt x="230" y="534"/>
                </a:lnTo>
                <a:lnTo>
                  <a:pt x="229" y="534"/>
                </a:lnTo>
                <a:lnTo>
                  <a:pt x="229" y="535"/>
                </a:lnTo>
                <a:lnTo>
                  <a:pt x="230" y="536"/>
                </a:lnTo>
                <a:lnTo>
                  <a:pt x="229" y="537"/>
                </a:lnTo>
                <a:lnTo>
                  <a:pt x="229" y="539"/>
                </a:lnTo>
                <a:lnTo>
                  <a:pt x="228" y="537"/>
                </a:lnTo>
                <a:lnTo>
                  <a:pt x="224" y="539"/>
                </a:lnTo>
                <a:lnTo>
                  <a:pt x="213" y="539"/>
                </a:lnTo>
                <a:lnTo>
                  <a:pt x="213" y="537"/>
                </a:lnTo>
                <a:lnTo>
                  <a:pt x="209" y="533"/>
                </a:lnTo>
                <a:lnTo>
                  <a:pt x="206" y="533"/>
                </a:lnTo>
                <a:lnTo>
                  <a:pt x="205" y="531"/>
                </a:lnTo>
                <a:lnTo>
                  <a:pt x="205" y="529"/>
                </a:lnTo>
                <a:lnTo>
                  <a:pt x="204" y="528"/>
                </a:lnTo>
                <a:lnTo>
                  <a:pt x="204" y="527"/>
                </a:lnTo>
                <a:lnTo>
                  <a:pt x="201" y="524"/>
                </a:lnTo>
                <a:lnTo>
                  <a:pt x="201" y="523"/>
                </a:lnTo>
                <a:lnTo>
                  <a:pt x="196" y="523"/>
                </a:lnTo>
                <a:lnTo>
                  <a:pt x="194" y="524"/>
                </a:lnTo>
                <a:lnTo>
                  <a:pt x="194" y="525"/>
                </a:lnTo>
                <a:lnTo>
                  <a:pt x="196" y="527"/>
                </a:lnTo>
                <a:lnTo>
                  <a:pt x="192" y="527"/>
                </a:lnTo>
                <a:lnTo>
                  <a:pt x="192" y="528"/>
                </a:lnTo>
                <a:lnTo>
                  <a:pt x="191" y="528"/>
                </a:lnTo>
                <a:lnTo>
                  <a:pt x="191" y="527"/>
                </a:lnTo>
                <a:lnTo>
                  <a:pt x="188" y="527"/>
                </a:lnTo>
                <a:lnTo>
                  <a:pt x="188" y="528"/>
                </a:lnTo>
                <a:lnTo>
                  <a:pt x="186" y="528"/>
                </a:lnTo>
                <a:lnTo>
                  <a:pt x="186" y="529"/>
                </a:lnTo>
                <a:lnTo>
                  <a:pt x="185" y="529"/>
                </a:lnTo>
                <a:lnTo>
                  <a:pt x="182" y="528"/>
                </a:lnTo>
                <a:lnTo>
                  <a:pt x="181" y="527"/>
                </a:lnTo>
                <a:lnTo>
                  <a:pt x="182" y="525"/>
                </a:lnTo>
                <a:lnTo>
                  <a:pt x="182" y="523"/>
                </a:lnTo>
                <a:lnTo>
                  <a:pt x="184" y="523"/>
                </a:lnTo>
                <a:lnTo>
                  <a:pt x="184" y="522"/>
                </a:lnTo>
                <a:lnTo>
                  <a:pt x="185" y="522"/>
                </a:lnTo>
                <a:lnTo>
                  <a:pt x="185" y="523"/>
                </a:lnTo>
                <a:lnTo>
                  <a:pt x="186" y="522"/>
                </a:lnTo>
                <a:lnTo>
                  <a:pt x="191" y="522"/>
                </a:lnTo>
                <a:lnTo>
                  <a:pt x="191" y="519"/>
                </a:lnTo>
                <a:lnTo>
                  <a:pt x="190" y="519"/>
                </a:lnTo>
                <a:lnTo>
                  <a:pt x="190" y="521"/>
                </a:lnTo>
                <a:lnTo>
                  <a:pt x="188" y="519"/>
                </a:lnTo>
                <a:lnTo>
                  <a:pt x="186" y="518"/>
                </a:lnTo>
                <a:lnTo>
                  <a:pt x="185" y="519"/>
                </a:lnTo>
                <a:lnTo>
                  <a:pt x="181" y="519"/>
                </a:lnTo>
                <a:lnTo>
                  <a:pt x="178" y="516"/>
                </a:lnTo>
                <a:lnTo>
                  <a:pt x="180" y="516"/>
                </a:lnTo>
                <a:lnTo>
                  <a:pt x="180" y="515"/>
                </a:lnTo>
                <a:lnTo>
                  <a:pt x="179" y="515"/>
                </a:lnTo>
                <a:lnTo>
                  <a:pt x="179" y="512"/>
                </a:lnTo>
                <a:lnTo>
                  <a:pt x="178" y="512"/>
                </a:lnTo>
                <a:lnTo>
                  <a:pt x="178" y="513"/>
                </a:lnTo>
                <a:lnTo>
                  <a:pt x="176" y="513"/>
                </a:lnTo>
                <a:lnTo>
                  <a:pt x="176" y="512"/>
                </a:lnTo>
                <a:lnTo>
                  <a:pt x="175" y="512"/>
                </a:lnTo>
                <a:lnTo>
                  <a:pt x="175" y="513"/>
                </a:lnTo>
                <a:lnTo>
                  <a:pt x="176" y="515"/>
                </a:lnTo>
                <a:lnTo>
                  <a:pt x="175" y="515"/>
                </a:lnTo>
                <a:lnTo>
                  <a:pt x="173" y="516"/>
                </a:lnTo>
                <a:lnTo>
                  <a:pt x="170" y="515"/>
                </a:lnTo>
                <a:lnTo>
                  <a:pt x="169" y="515"/>
                </a:lnTo>
                <a:lnTo>
                  <a:pt x="167" y="516"/>
                </a:lnTo>
                <a:lnTo>
                  <a:pt x="166" y="516"/>
                </a:lnTo>
                <a:lnTo>
                  <a:pt x="166" y="518"/>
                </a:lnTo>
                <a:lnTo>
                  <a:pt x="165" y="518"/>
                </a:lnTo>
                <a:lnTo>
                  <a:pt x="165" y="521"/>
                </a:lnTo>
                <a:lnTo>
                  <a:pt x="163" y="521"/>
                </a:lnTo>
                <a:lnTo>
                  <a:pt x="162" y="522"/>
                </a:lnTo>
                <a:lnTo>
                  <a:pt x="156" y="522"/>
                </a:lnTo>
                <a:lnTo>
                  <a:pt x="156" y="523"/>
                </a:lnTo>
                <a:lnTo>
                  <a:pt x="155" y="524"/>
                </a:lnTo>
                <a:lnTo>
                  <a:pt x="154" y="524"/>
                </a:lnTo>
                <a:lnTo>
                  <a:pt x="151" y="523"/>
                </a:lnTo>
                <a:lnTo>
                  <a:pt x="150" y="523"/>
                </a:lnTo>
                <a:lnTo>
                  <a:pt x="150" y="521"/>
                </a:lnTo>
                <a:lnTo>
                  <a:pt x="148" y="519"/>
                </a:lnTo>
                <a:lnTo>
                  <a:pt x="147" y="519"/>
                </a:lnTo>
                <a:lnTo>
                  <a:pt x="147" y="518"/>
                </a:lnTo>
                <a:lnTo>
                  <a:pt x="150" y="519"/>
                </a:lnTo>
                <a:lnTo>
                  <a:pt x="150" y="518"/>
                </a:lnTo>
                <a:lnTo>
                  <a:pt x="153" y="518"/>
                </a:lnTo>
                <a:lnTo>
                  <a:pt x="155" y="517"/>
                </a:lnTo>
                <a:lnTo>
                  <a:pt x="157" y="517"/>
                </a:lnTo>
                <a:lnTo>
                  <a:pt x="157" y="516"/>
                </a:lnTo>
                <a:lnTo>
                  <a:pt x="159" y="517"/>
                </a:lnTo>
                <a:lnTo>
                  <a:pt x="159" y="516"/>
                </a:lnTo>
                <a:lnTo>
                  <a:pt x="157" y="515"/>
                </a:lnTo>
                <a:lnTo>
                  <a:pt x="157" y="512"/>
                </a:lnTo>
                <a:lnTo>
                  <a:pt x="160" y="511"/>
                </a:lnTo>
                <a:lnTo>
                  <a:pt x="159" y="511"/>
                </a:lnTo>
                <a:lnTo>
                  <a:pt x="157" y="512"/>
                </a:lnTo>
                <a:lnTo>
                  <a:pt x="156" y="512"/>
                </a:lnTo>
                <a:lnTo>
                  <a:pt x="156" y="516"/>
                </a:lnTo>
                <a:lnTo>
                  <a:pt x="153" y="517"/>
                </a:lnTo>
                <a:lnTo>
                  <a:pt x="151" y="517"/>
                </a:lnTo>
                <a:lnTo>
                  <a:pt x="145" y="516"/>
                </a:lnTo>
                <a:lnTo>
                  <a:pt x="145" y="518"/>
                </a:lnTo>
                <a:lnTo>
                  <a:pt x="144" y="518"/>
                </a:lnTo>
                <a:lnTo>
                  <a:pt x="144" y="517"/>
                </a:lnTo>
                <a:lnTo>
                  <a:pt x="142" y="516"/>
                </a:lnTo>
                <a:lnTo>
                  <a:pt x="143" y="515"/>
                </a:lnTo>
                <a:lnTo>
                  <a:pt x="144" y="515"/>
                </a:lnTo>
                <a:lnTo>
                  <a:pt x="144" y="513"/>
                </a:lnTo>
                <a:lnTo>
                  <a:pt x="147" y="513"/>
                </a:lnTo>
                <a:lnTo>
                  <a:pt x="148" y="512"/>
                </a:lnTo>
                <a:lnTo>
                  <a:pt x="148" y="511"/>
                </a:lnTo>
                <a:lnTo>
                  <a:pt x="147" y="510"/>
                </a:lnTo>
                <a:lnTo>
                  <a:pt x="147" y="506"/>
                </a:lnTo>
                <a:lnTo>
                  <a:pt x="145" y="507"/>
                </a:lnTo>
                <a:lnTo>
                  <a:pt x="145" y="506"/>
                </a:lnTo>
                <a:lnTo>
                  <a:pt x="143" y="506"/>
                </a:lnTo>
                <a:lnTo>
                  <a:pt x="143" y="505"/>
                </a:lnTo>
                <a:lnTo>
                  <a:pt x="142" y="506"/>
                </a:lnTo>
                <a:lnTo>
                  <a:pt x="140" y="506"/>
                </a:lnTo>
                <a:lnTo>
                  <a:pt x="140" y="503"/>
                </a:lnTo>
                <a:lnTo>
                  <a:pt x="142" y="503"/>
                </a:lnTo>
                <a:lnTo>
                  <a:pt x="144" y="500"/>
                </a:lnTo>
                <a:lnTo>
                  <a:pt x="147" y="500"/>
                </a:lnTo>
                <a:lnTo>
                  <a:pt x="148" y="499"/>
                </a:lnTo>
                <a:lnTo>
                  <a:pt x="148" y="497"/>
                </a:lnTo>
                <a:lnTo>
                  <a:pt x="149" y="497"/>
                </a:lnTo>
                <a:lnTo>
                  <a:pt x="149" y="496"/>
                </a:lnTo>
                <a:lnTo>
                  <a:pt x="151" y="496"/>
                </a:lnTo>
                <a:lnTo>
                  <a:pt x="154" y="497"/>
                </a:lnTo>
                <a:lnTo>
                  <a:pt x="155" y="497"/>
                </a:lnTo>
                <a:lnTo>
                  <a:pt x="156" y="496"/>
                </a:lnTo>
                <a:lnTo>
                  <a:pt x="159" y="496"/>
                </a:lnTo>
                <a:lnTo>
                  <a:pt x="159" y="493"/>
                </a:lnTo>
                <a:lnTo>
                  <a:pt x="161" y="493"/>
                </a:lnTo>
                <a:lnTo>
                  <a:pt x="163" y="491"/>
                </a:lnTo>
                <a:lnTo>
                  <a:pt x="163" y="490"/>
                </a:lnTo>
                <a:lnTo>
                  <a:pt x="165" y="490"/>
                </a:lnTo>
                <a:lnTo>
                  <a:pt x="166" y="491"/>
                </a:lnTo>
                <a:lnTo>
                  <a:pt x="166" y="488"/>
                </a:lnTo>
                <a:lnTo>
                  <a:pt x="167" y="487"/>
                </a:lnTo>
                <a:lnTo>
                  <a:pt x="173" y="488"/>
                </a:lnTo>
                <a:lnTo>
                  <a:pt x="173" y="487"/>
                </a:lnTo>
                <a:lnTo>
                  <a:pt x="174" y="486"/>
                </a:lnTo>
                <a:lnTo>
                  <a:pt x="175" y="486"/>
                </a:lnTo>
                <a:lnTo>
                  <a:pt x="179" y="482"/>
                </a:lnTo>
                <a:lnTo>
                  <a:pt x="181" y="482"/>
                </a:lnTo>
                <a:lnTo>
                  <a:pt x="186" y="478"/>
                </a:lnTo>
                <a:lnTo>
                  <a:pt x="188" y="474"/>
                </a:lnTo>
                <a:lnTo>
                  <a:pt x="190" y="472"/>
                </a:lnTo>
                <a:lnTo>
                  <a:pt x="190" y="470"/>
                </a:lnTo>
                <a:lnTo>
                  <a:pt x="191" y="468"/>
                </a:lnTo>
                <a:lnTo>
                  <a:pt x="191" y="464"/>
                </a:lnTo>
                <a:lnTo>
                  <a:pt x="192" y="463"/>
                </a:lnTo>
                <a:lnTo>
                  <a:pt x="192" y="461"/>
                </a:lnTo>
                <a:lnTo>
                  <a:pt x="194" y="461"/>
                </a:lnTo>
                <a:lnTo>
                  <a:pt x="197" y="460"/>
                </a:lnTo>
                <a:lnTo>
                  <a:pt x="197" y="458"/>
                </a:lnTo>
                <a:lnTo>
                  <a:pt x="196" y="458"/>
                </a:lnTo>
                <a:lnTo>
                  <a:pt x="193" y="460"/>
                </a:lnTo>
                <a:lnTo>
                  <a:pt x="191" y="460"/>
                </a:lnTo>
                <a:lnTo>
                  <a:pt x="190" y="456"/>
                </a:lnTo>
                <a:lnTo>
                  <a:pt x="188" y="455"/>
                </a:lnTo>
                <a:lnTo>
                  <a:pt x="190" y="454"/>
                </a:lnTo>
                <a:lnTo>
                  <a:pt x="190" y="453"/>
                </a:lnTo>
                <a:lnTo>
                  <a:pt x="191" y="450"/>
                </a:lnTo>
                <a:lnTo>
                  <a:pt x="192" y="450"/>
                </a:lnTo>
                <a:lnTo>
                  <a:pt x="192" y="449"/>
                </a:lnTo>
                <a:lnTo>
                  <a:pt x="194" y="447"/>
                </a:lnTo>
                <a:lnTo>
                  <a:pt x="193" y="447"/>
                </a:lnTo>
                <a:lnTo>
                  <a:pt x="192" y="448"/>
                </a:lnTo>
                <a:lnTo>
                  <a:pt x="188" y="443"/>
                </a:lnTo>
                <a:lnTo>
                  <a:pt x="188" y="441"/>
                </a:lnTo>
                <a:lnTo>
                  <a:pt x="190" y="439"/>
                </a:lnTo>
                <a:lnTo>
                  <a:pt x="190" y="438"/>
                </a:lnTo>
                <a:lnTo>
                  <a:pt x="188" y="437"/>
                </a:lnTo>
                <a:lnTo>
                  <a:pt x="188" y="436"/>
                </a:lnTo>
                <a:lnTo>
                  <a:pt x="192" y="433"/>
                </a:lnTo>
                <a:lnTo>
                  <a:pt x="185" y="433"/>
                </a:lnTo>
                <a:lnTo>
                  <a:pt x="181" y="435"/>
                </a:lnTo>
                <a:lnTo>
                  <a:pt x="180" y="436"/>
                </a:lnTo>
                <a:lnTo>
                  <a:pt x="176" y="436"/>
                </a:lnTo>
                <a:lnTo>
                  <a:pt x="173" y="439"/>
                </a:lnTo>
                <a:lnTo>
                  <a:pt x="173" y="441"/>
                </a:lnTo>
                <a:lnTo>
                  <a:pt x="174" y="442"/>
                </a:lnTo>
                <a:lnTo>
                  <a:pt x="173" y="442"/>
                </a:lnTo>
                <a:lnTo>
                  <a:pt x="173" y="443"/>
                </a:lnTo>
                <a:lnTo>
                  <a:pt x="172" y="443"/>
                </a:lnTo>
                <a:lnTo>
                  <a:pt x="172" y="442"/>
                </a:lnTo>
                <a:lnTo>
                  <a:pt x="170" y="442"/>
                </a:lnTo>
                <a:lnTo>
                  <a:pt x="169" y="441"/>
                </a:lnTo>
                <a:lnTo>
                  <a:pt x="168" y="441"/>
                </a:lnTo>
                <a:lnTo>
                  <a:pt x="168" y="442"/>
                </a:lnTo>
                <a:lnTo>
                  <a:pt x="163" y="442"/>
                </a:lnTo>
                <a:lnTo>
                  <a:pt x="163" y="443"/>
                </a:lnTo>
                <a:lnTo>
                  <a:pt x="162" y="443"/>
                </a:lnTo>
                <a:lnTo>
                  <a:pt x="162" y="441"/>
                </a:lnTo>
                <a:lnTo>
                  <a:pt x="169" y="433"/>
                </a:lnTo>
                <a:lnTo>
                  <a:pt x="169" y="432"/>
                </a:lnTo>
                <a:lnTo>
                  <a:pt x="172" y="432"/>
                </a:lnTo>
                <a:lnTo>
                  <a:pt x="176" y="427"/>
                </a:lnTo>
                <a:lnTo>
                  <a:pt x="179" y="426"/>
                </a:lnTo>
                <a:lnTo>
                  <a:pt x="179" y="425"/>
                </a:lnTo>
                <a:lnTo>
                  <a:pt x="180" y="424"/>
                </a:lnTo>
                <a:lnTo>
                  <a:pt x="180" y="420"/>
                </a:lnTo>
                <a:lnTo>
                  <a:pt x="181" y="420"/>
                </a:lnTo>
                <a:lnTo>
                  <a:pt x="181" y="419"/>
                </a:lnTo>
                <a:lnTo>
                  <a:pt x="184" y="417"/>
                </a:lnTo>
                <a:lnTo>
                  <a:pt x="185" y="417"/>
                </a:lnTo>
                <a:lnTo>
                  <a:pt x="185" y="415"/>
                </a:lnTo>
                <a:lnTo>
                  <a:pt x="187" y="413"/>
                </a:lnTo>
                <a:lnTo>
                  <a:pt x="187" y="412"/>
                </a:lnTo>
                <a:lnTo>
                  <a:pt x="190" y="412"/>
                </a:lnTo>
                <a:lnTo>
                  <a:pt x="191" y="411"/>
                </a:lnTo>
                <a:lnTo>
                  <a:pt x="191" y="412"/>
                </a:lnTo>
                <a:lnTo>
                  <a:pt x="192" y="412"/>
                </a:lnTo>
                <a:lnTo>
                  <a:pt x="193" y="411"/>
                </a:lnTo>
                <a:lnTo>
                  <a:pt x="194" y="411"/>
                </a:lnTo>
                <a:lnTo>
                  <a:pt x="196" y="410"/>
                </a:lnTo>
                <a:lnTo>
                  <a:pt x="200" y="407"/>
                </a:lnTo>
                <a:lnTo>
                  <a:pt x="201" y="407"/>
                </a:lnTo>
                <a:lnTo>
                  <a:pt x="199" y="405"/>
                </a:lnTo>
                <a:lnTo>
                  <a:pt x="199" y="404"/>
                </a:lnTo>
                <a:lnTo>
                  <a:pt x="200" y="405"/>
                </a:lnTo>
                <a:lnTo>
                  <a:pt x="201" y="405"/>
                </a:lnTo>
                <a:lnTo>
                  <a:pt x="203" y="406"/>
                </a:lnTo>
                <a:lnTo>
                  <a:pt x="203" y="405"/>
                </a:lnTo>
                <a:lnTo>
                  <a:pt x="204" y="406"/>
                </a:lnTo>
                <a:lnTo>
                  <a:pt x="205" y="406"/>
                </a:lnTo>
                <a:lnTo>
                  <a:pt x="205" y="407"/>
                </a:lnTo>
                <a:lnTo>
                  <a:pt x="212" y="407"/>
                </a:lnTo>
                <a:lnTo>
                  <a:pt x="221" y="404"/>
                </a:lnTo>
                <a:lnTo>
                  <a:pt x="224" y="404"/>
                </a:lnTo>
                <a:lnTo>
                  <a:pt x="225" y="405"/>
                </a:lnTo>
                <a:lnTo>
                  <a:pt x="225" y="406"/>
                </a:lnTo>
                <a:lnTo>
                  <a:pt x="231" y="410"/>
                </a:lnTo>
                <a:lnTo>
                  <a:pt x="231" y="411"/>
                </a:lnTo>
                <a:lnTo>
                  <a:pt x="232" y="411"/>
                </a:lnTo>
                <a:lnTo>
                  <a:pt x="232" y="407"/>
                </a:lnTo>
                <a:lnTo>
                  <a:pt x="230" y="405"/>
                </a:lnTo>
                <a:lnTo>
                  <a:pt x="229" y="402"/>
                </a:lnTo>
                <a:lnTo>
                  <a:pt x="229" y="400"/>
                </a:lnTo>
                <a:lnTo>
                  <a:pt x="230" y="399"/>
                </a:lnTo>
                <a:lnTo>
                  <a:pt x="232" y="399"/>
                </a:lnTo>
                <a:lnTo>
                  <a:pt x="234" y="398"/>
                </a:lnTo>
                <a:lnTo>
                  <a:pt x="235" y="398"/>
                </a:lnTo>
                <a:lnTo>
                  <a:pt x="236" y="399"/>
                </a:lnTo>
                <a:lnTo>
                  <a:pt x="238" y="405"/>
                </a:lnTo>
                <a:lnTo>
                  <a:pt x="240" y="406"/>
                </a:lnTo>
                <a:lnTo>
                  <a:pt x="240" y="407"/>
                </a:lnTo>
                <a:lnTo>
                  <a:pt x="246" y="407"/>
                </a:lnTo>
                <a:lnTo>
                  <a:pt x="247" y="406"/>
                </a:lnTo>
                <a:lnTo>
                  <a:pt x="247" y="404"/>
                </a:lnTo>
                <a:lnTo>
                  <a:pt x="246" y="404"/>
                </a:lnTo>
                <a:lnTo>
                  <a:pt x="246" y="405"/>
                </a:lnTo>
                <a:lnTo>
                  <a:pt x="241" y="405"/>
                </a:lnTo>
                <a:lnTo>
                  <a:pt x="240" y="404"/>
                </a:lnTo>
                <a:lnTo>
                  <a:pt x="238" y="401"/>
                </a:lnTo>
                <a:lnTo>
                  <a:pt x="237" y="400"/>
                </a:lnTo>
                <a:lnTo>
                  <a:pt x="232" y="389"/>
                </a:lnTo>
                <a:lnTo>
                  <a:pt x="232" y="387"/>
                </a:lnTo>
                <a:lnTo>
                  <a:pt x="235" y="382"/>
                </a:lnTo>
                <a:lnTo>
                  <a:pt x="237" y="378"/>
                </a:lnTo>
                <a:lnTo>
                  <a:pt x="238" y="378"/>
                </a:lnTo>
                <a:lnTo>
                  <a:pt x="238" y="377"/>
                </a:lnTo>
                <a:lnTo>
                  <a:pt x="240" y="376"/>
                </a:lnTo>
                <a:lnTo>
                  <a:pt x="237" y="376"/>
                </a:lnTo>
                <a:lnTo>
                  <a:pt x="235" y="374"/>
                </a:lnTo>
                <a:lnTo>
                  <a:pt x="234" y="371"/>
                </a:lnTo>
                <a:lnTo>
                  <a:pt x="235" y="365"/>
                </a:lnTo>
                <a:lnTo>
                  <a:pt x="234" y="364"/>
                </a:lnTo>
                <a:lnTo>
                  <a:pt x="236" y="362"/>
                </a:lnTo>
                <a:lnTo>
                  <a:pt x="240" y="361"/>
                </a:lnTo>
                <a:lnTo>
                  <a:pt x="241" y="361"/>
                </a:lnTo>
                <a:lnTo>
                  <a:pt x="242" y="359"/>
                </a:lnTo>
                <a:lnTo>
                  <a:pt x="242" y="358"/>
                </a:lnTo>
                <a:lnTo>
                  <a:pt x="243" y="357"/>
                </a:lnTo>
                <a:lnTo>
                  <a:pt x="243" y="356"/>
                </a:lnTo>
                <a:lnTo>
                  <a:pt x="242" y="357"/>
                </a:lnTo>
                <a:lnTo>
                  <a:pt x="241" y="357"/>
                </a:lnTo>
                <a:lnTo>
                  <a:pt x="240" y="355"/>
                </a:lnTo>
                <a:lnTo>
                  <a:pt x="242" y="352"/>
                </a:lnTo>
                <a:lnTo>
                  <a:pt x="242" y="351"/>
                </a:lnTo>
                <a:lnTo>
                  <a:pt x="243" y="351"/>
                </a:lnTo>
                <a:lnTo>
                  <a:pt x="244" y="350"/>
                </a:lnTo>
                <a:lnTo>
                  <a:pt x="244" y="347"/>
                </a:lnTo>
                <a:lnTo>
                  <a:pt x="243" y="345"/>
                </a:lnTo>
                <a:lnTo>
                  <a:pt x="243" y="344"/>
                </a:lnTo>
                <a:lnTo>
                  <a:pt x="242" y="343"/>
                </a:lnTo>
                <a:lnTo>
                  <a:pt x="243" y="343"/>
                </a:lnTo>
                <a:lnTo>
                  <a:pt x="246" y="340"/>
                </a:lnTo>
                <a:lnTo>
                  <a:pt x="244" y="339"/>
                </a:lnTo>
                <a:lnTo>
                  <a:pt x="244" y="341"/>
                </a:lnTo>
                <a:lnTo>
                  <a:pt x="243" y="341"/>
                </a:lnTo>
                <a:lnTo>
                  <a:pt x="241" y="343"/>
                </a:lnTo>
                <a:lnTo>
                  <a:pt x="241" y="344"/>
                </a:lnTo>
                <a:lnTo>
                  <a:pt x="240" y="344"/>
                </a:lnTo>
                <a:lnTo>
                  <a:pt x="240" y="345"/>
                </a:lnTo>
                <a:lnTo>
                  <a:pt x="238" y="346"/>
                </a:lnTo>
                <a:lnTo>
                  <a:pt x="237" y="346"/>
                </a:lnTo>
                <a:lnTo>
                  <a:pt x="236" y="345"/>
                </a:lnTo>
                <a:lnTo>
                  <a:pt x="236" y="341"/>
                </a:lnTo>
                <a:lnTo>
                  <a:pt x="235" y="341"/>
                </a:lnTo>
                <a:lnTo>
                  <a:pt x="235" y="343"/>
                </a:lnTo>
                <a:lnTo>
                  <a:pt x="234" y="344"/>
                </a:lnTo>
                <a:lnTo>
                  <a:pt x="234" y="345"/>
                </a:lnTo>
                <a:lnTo>
                  <a:pt x="232" y="347"/>
                </a:lnTo>
                <a:lnTo>
                  <a:pt x="230" y="350"/>
                </a:lnTo>
                <a:lnTo>
                  <a:pt x="230" y="352"/>
                </a:lnTo>
                <a:lnTo>
                  <a:pt x="229" y="350"/>
                </a:lnTo>
                <a:lnTo>
                  <a:pt x="227" y="350"/>
                </a:lnTo>
                <a:lnTo>
                  <a:pt x="227" y="345"/>
                </a:lnTo>
                <a:lnTo>
                  <a:pt x="225" y="345"/>
                </a:lnTo>
                <a:lnTo>
                  <a:pt x="228" y="344"/>
                </a:lnTo>
                <a:lnTo>
                  <a:pt x="228" y="338"/>
                </a:lnTo>
                <a:lnTo>
                  <a:pt x="227" y="338"/>
                </a:lnTo>
                <a:lnTo>
                  <a:pt x="227" y="343"/>
                </a:lnTo>
                <a:lnTo>
                  <a:pt x="223" y="343"/>
                </a:lnTo>
                <a:lnTo>
                  <a:pt x="221" y="339"/>
                </a:lnTo>
                <a:lnTo>
                  <a:pt x="219" y="338"/>
                </a:lnTo>
                <a:lnTo>
                  <a:pt x="219" y="332"/>
                </a:lnTo>
                <a:lnTo>
                  <a:pt x="218" y="332"/>
                </a:lnTo>
                <a:lnTo>
                  <a:pt x="216" y="328"/>
                </a:lnTo>
                <a:lnTo>
                  <a:pt x="216" y="327"/>
                </a:lnTo>
                <a:lnTo>
                  <a:pt x="211" y="322"/>
                </a:lnTo>
                <a:lnTo>
                  <a:pt x="211" y="321"/>
                </a:lnTo>
                <a:lnTo>
                  <a:pt x="210" y="320"/>
                </a:lnTo>
                <a:lnTo>
                  <a:pt x="210" y="319"/>
                </a:lnTo>
                <a:lnTo>
                  <a:pt x="211" y="319"/>
                </a:lnTo>
                <a:lnTo>
                  <a:pt x="211" y="316"/>
                </a:lnTo>
                <a:lnTo>
                  <a:pt x="212" y="310"/>
                </a:lnTo>
                <a:lnTo>
                  <a:pt x="215" y="307"/>
                </a:lnTo>
                <a:lnTo>
                  <a:pt x="215" y="304"/>
                </a:lnTo>
                <a:lnTo>
                  <a:pt x="216" y="304"/>
                </a:lnTo>
                <a:lnTo>
                  <a:pt x="218" y="302"/>
                </a:lnTo>
                <a:lnTo>
                  <a:pt x="218" y="300"/>
                </a:lnTo>
                <a:lnTo>
                  <a:pt x="219" y="295"/>
                </a:lnTo>
                <a:lnTo>
                  <a:pt x="221" y="292"/>
                </a:lnTo>
                <a:lnTo>
                  <a:pt x="221" y="291"/>
                </a:lnTo>
                <a:lnTo>
                  <a:pt x="222" y="291"/>
                </a:lnTo>
                <a:lnTo>
                  <a:pt x="223" y="292"/>
                </a:lnTo>
                <a:lnTo>
                  <a:pt x="224" y="292"/>
                </a:lnTo>
                <a:lnTo>
                  <a:pt x="225" y="291"/>
                </a:lnTo>
                <a:lnTo>
                  <a:pt x="223" y="290"/>
                </a:lnTo>
                <a:lnTo>
                  <a:pt x="224" y="289"/>
                </a:lnTo>
                <a:lnTo>
                  <a:pt x="228" y="288"/>
                </a:lnTo>
                <a:lnTo>
                  <a:pt x="229" y="289"/>
                </a:lnTo>
                <a:lnTo>
                  <a:pt x="231" y="289"/>
                </a:lnTo>
                <a:lnTo>
                  <a:pt x="235" y="288"/>
                </a:lnTo>
                <a:lnTo>
                  <a:pt x="232" y="288"/>
                </a:lnTo>
                <a:lnTo>
                  <a:pt x="234" y="287"/>
                </a:lnTo>
                <a:lnTo>
                  <a:pt x="235" y="287"/>
                </a:lnTo>
                <a:lnTo>
                  <a:pt x="235" y="285"/>
                </a:lnTo>
                <a:lnTo>
                  <a:pt x="234" y="285"/>
                </a:lnTo>
                <a:lnTo>
                  <a:pt x="230" y="287"/>
                </a:lnTo>
                <a:lnTo>
                  <a:pt x="217" y="285"/>
                </a:lnTo>
                <a:lnTo>
                  <a:pt x="215" y="285"/>
                </a:lnTo>
                <a:lnTo>
                  <a:pt x="215" y="287"/>
                </a:lnTo>
                <a:lnTo>
                  <a:pt x="212" y="284"/>
                </a:lnTo>
                <a:lnTo>
                  <a:pt x="212" y="292"/>
                </a:lnTo>
                <a:lnTo>
                  <a:pt x="211" y="294"/>
                </a:lnTo>
                <a:lnTo>
                  <a:pt x="207" y="292"/>
                </a:lnTo>
                <a:lnTo>
                  <a:pt x="206" y="292"/>
                </a:lnTo>
                <a:lnTo>
                  <a:pt x="205" y="295"/>
                </a:lnTo>
                <a:lnTo>
                  <a:pt x="203" y="294"/>
                </a:lnTo>
                <a:lnTo>
                  <a:pt x="201" y="292"/>
                </a:lnTo>
                <a:lnTo>
                  <a:pt x="201" y="294"/>
                </a:lnTo>
                <a:lnTo>
                  <a:pt x="200" y="294"/>
                </a:lnTo>
                <a:lnTo>
                  <a:pt x="201" y="295"/>
                </a:lnTo>
                <a:lnTo>
                  <a:pt x="200" y="295"/>
                </a:lnTo>
                <a:lnTo>
                  <a:pt x="200" y="296"/>
                </a:lnTo>
                <a:lnTo>
                  <a:pt x="201" y="297"/>
                </a:lnTo>
                <a:lnTo>
                  <a:pt x="199" y="298"/>
                </a:lnTo>
                <a:lnTo>
                  <a:pt x="196" y="301"/>
                </a:lnTo>
                <a:lnTo>
                  <a:pt x="192" y="301"/>
                </a:lnTo>
                <a:lnTo>
                  <a:pt x="192" y="296"/>
                </a:lnTo>
                <a:lnTo>
                  <a:pt x="191" y="297"/>
                </a:lnTo>
                <a:lnTo>
                  <a:pt x="191" y="301"/>
                </a:lnTo>
                <a:lnTo>
                  <a:pt x="190" y="301"/>
                </a:lnTo>
                <a:lnTo>
                  <a:pt x="187" y="300"/>
                </a:lnTo>
                <a:lnTo>
                  <a:pt x="185" y="297"/>
                </a:lnTo>
                <a:lnTo>
                  <a:pt x="186" y="294"/>
                </a:lnTo>
                <a:lnTo>
                  <a:pt x="184" y="296"/>
                </a:lnTo>
                <a:lnTo>
                  <a:pt x="182" y="296"/>
                </a:lnTo>
                <a:lnTo>
                  <a:pt x="180" y="295"/>
                </a:lnTo>
                <a:lnTo>
                  <a:pt x="179" y="294"/>
                </a:lnTo>
                <a:lnTo>
                  <a:pt x="179" y="292"/>
                </a:lnTo>
                <a:lnTo>
                  <a:pt x="178" y="291"/>
                </a:lnTo>
                <a:lnTo>
                  <a:pt x="176" y="291"/>
                </a:lnTo>
                <a:lnTo>
                  <a:pt x="176" y="296"/>
                </a:lnTo>
                <a:lnTo>
                  <a:pt x="178" y="297"/>
                </a:lnTo>
                <a:lnTo>
                  <a:pt x="179" y="297"/>
                </a:lnTo>
                <a:lnTo>
                  <a:pt x="180" y="298"/>
                </a:lnTo>
                <a:lnTo>
                  <a:pt x="180" y="300"/>
                </a:lnTo>
                <a:lnTo>
                  <a:pt x="179" y="300"/>
                </a:lnTo>
                <a:lnTo>
                  <a:pt x="179" y="301"/>
                </a:lnTo>
                <a:lnTo>
                  <a:pt x="180" y="302"/>
                </a:lnTo>
                <a:lnTo>
                  <a:pt x="179" y="303"/>
                </a:lnTo>
                <a:lnTo>
                  <a:pt x="179" y="304"/>
                </a:lnTo>
                <a:lnTo>
                  <a:pt x="180" y="306"/>
                </a:lnTo>
                <a:lnTo>
                  <a:pt x="179" y="307"/>
                </a:lnTo>
                <a:lnTo>
                  <a:pt x="179" y="308"/>
                </a:lnTo>
                <a:lnTo>
                  <a:pt x="178" y="308"/>
                </a:lnTo>
                <a:lnTo>
                  <a:pt x="176" y="307"/>
                </a:lnTo>
                <a:lnTo>
                  <a:pt x="175" y="307"/>
                </a:lnTo>
                <a:lnTo>
                  <a:pt x="175" y="306"/>
                </a:lnTo>
                <a:lnTo>
                  <a:pt x="173" y="306"/>
                </a:lnTo>
                <a:lnTo>
                  <a:pt x="170" y="302"/>
                </a:lnTo>
                <a:lnTo>
                  <a:pt x="169" y="301"/>
                </a:lnTo>
                <a:lnTo>
                  <a:pt x="165" y="297"/>
                </a:lnTo>
                <a:lnTo>
                  <a:pt x="162" y="297"/>
                </a:lnTo>
                <a:lnTo>
                  <a:pt x="161" y="296"/>
                </a:lnTo>
                <a:lnTo>
                  <a:pt x="161" y="295"/>
                </a:lnTo>
                <a:lnTo>
                  <a:pt x="160" y="294"/>
                </a:lnTo>
                <a:lnTo>
                  <a:pt x="157" y="294"/>
                </a:lnTo>
                <a:lnTo>
                  <a:pt x="157" y="295"/>
                </a:lnTo>
                <a:lnTo>
                  <a:pt x="156" y="295"/>
                </a:lnTo>
                <a:lnTo>
                  <a:pt x="155" y="296"/>
                </a:lnTo>
                <a:lnTo>
                  <a:pt x="155" y="297"/>
                </a:lnTo>
                <a:lnTo>
                  <a:pt x="154" y="297"/>
                </a:lnTo>
                <a:lnTo>
                  <a:pt x="154" y="301"/>
                </a:lnTo>
                <a:lnTo>
                  <a:pt x="155" y="301"/>
                </a:lnTo>
                <a:lnTo>
                  <a:pt x="155" y="302"/>
                </a:lnTo>
                <a:lnTo>
                  <a:pt x="156" y="304"/>
                </a:lnTo>
                <a:lnTo>
                  <a:pt x="156" y="306"/>
                </a:lnTo>
                <a:lnTo>
                  <a:pt x="157" y="307"/>
                </a:lnTo>
                <a:lnTo>
                  <a:pt x="157" y="310"/>
                </a:lnTo>
                <a:lnTo>
                  <a:pt x="155" y="310"/>
                </a:lnTo>
                <a:lnTo>
                  <a:pt x="154" y="309"/>
                </a:lnTo>
                <a:lnTo>
                  <a:pt x="154" y="304"/>
                </a:lnTo>
                <a:lnTo>
                  <a:pt x="153" y="304"/>
                </a:lnTo>
                <a:lnTo>
                  <a:pt x="153" y="302"/>
                </a:lnTo>
                <a:lnTo>
                  <a:pt x="150" y="300"/>
                </a:lnTo>
                <a:lnTo>
                  <a:pt x="147" y="295"/>
                </a:lnTo>
                <a:lnTo>
                  <a:pt x="145" y="294"/>
                </a:lnTo>
                <a:lnTo>
                  <a:pt x="144" y="290"/>
                </a:lnTo>
                <a:lnTo>
                  <a:pt x="144" y="284"/>
                </a:lnTo>
                <a:lnTo>
                  <a:pt x="145" y="283"/>
                </a:lnTo>
                <a:lnTo>
                  <a:pt x="147" y="283"/>
                </a:lnTo>
                <a:lnTo>
                  <a:pt x="147" y="282"/>
                </a:lnTo>
                <a:lnTo>
                  <a:pt x="148" y="283"/>
                </a:lnTo>
                <a:lnTo>
                  <a:pt x="148" y="284"/>
                </a:lnTo>
                <a:lnTo>
                  <a:pt x="149" y="284"/>
                </a:lnTo>
                <a:lnTo>
                  <a:pt x="149" y="289"/>
                </a:lnTo>
                <a:lnTo>
                  <a:pt x="150" y="290"/>
                </a:lnTo>
                <a:lnTo>
                  <a:pt x="150" y="291"/>
                </a:lnTo>
                <a:lnTo>
                  <a:pt x="151" y="291"/>
                </a:lnTo>
                <a:lnTo>
                  <a:pt x="153" y="290"/>
                </a:lnTo>
                <a:lnTo>
                  <a:pt x="153" y="289"/>
                </a:lnTo>
                <a:lnTo>
                  <a:pt x="151" y="287"/>
                </a:lnTo>
                <a:lnTo>
                  <a:pt x="150" y="285"/>
                </a:lnTo>
                <a:lnTo>
                  <a:pt x="150" y="279"/>
                </a:lnTo>
                <a:lnTo>
                  <a:pt x="151" y="278"/>
                </a:lnTo>
                <a:lnTo>
                  <a:pt x="151" y="273"/>
                </a:lnTo>
                <a:lnTo>
                  <a:pt x="153" y="273"/>
                </a:lnTo>
                <a:lnTo>
                  <a:pt x="157" y="269"/>
                </a:lnTo>
                <a:lnTo>
                  <a:pt x="157" y="266"/>
                </a:lnTo>
                <a:lnTo>
                  <a:pt x="159" y="264"/>
                </a:lnTo>
                <a:lnTo>
                  <a:pt x="159" y="260"/>
                </a:lnTo>
                <a:lnTo>
                  <a:pt x="161" y="258"/>
                </a:lnTo>
                <a:lnTo>
                  <a:pt x="161" y="257"/>
                </a:lnTo>
                <a:lnTo>
                  <a:pt x="162" y="257"/>
                </a:lnTo>
                <a:lnTo>
                  <a:pt x="162" y="254"/>
                </a:lnTo>
                <a:lnTo>
                  <a:pt x="163" y="252"/>
                </a:lnTo>
                <a:lnTo>
                  <a:pt x="167" y="251"/>
                </a:lnTo>
                <a:lnTo>
                  <a:pt x="168" y="249"/>
                </a:lnTo>
                <a:lnTo>
                  <a:pt x="168" y="246"/>
                </a:lnTo>
                <a:lnTo>
                  <a:pt x="166" y="244"/>
                </a:lnTo>
                <a:lnTo>
                  <a:pt x="166" y="241"/>
                </a:lnTo>
                <a:lnTo>
                  <a:pt x="163" y="239"/>
                </a:lnTo>
                <a:lnTo>
                  <a:pt x="161" y="238"/>
                </a:lnTo>
                <a:lnTo>
                  <a:pt x="160" y="238"/>
                </a:lnTo>
                <a:lnTo>
                  <a:pt x="160" y="236"/>
                </a:lnTo>
                <a:lnTo>
                  <a:pt x="155" y="232"/>
                </a:lnTo>
                <a:lnTo>
                  <a:pt x="157" y="229"/>
                </a:lnTo>
                <a:lnTo>
                  <a:pt x="157" y="223"/>
                </a:lnTo>
                <a:lnTo>
                  <a:pt x="156" y="220"/>
                </a:lnTo>
                <a:lnTo>
                  <a:pt x="156" y="216"/>
                </a:lnTo>
                <a:lnTo>
                  <a:pt x="159" y="214"/>
                </a:lnTo>
                <a:lnTo>
                  <a:pt x="160" y="214"/>
                </a:lnTo>
                <a:lnTo>
                  <a:pt x="161" y="212"/>
                </a:lnTo>
                <a:lnTo>
                  <a:pt x="163" y="215"/>
                </a:lnTo>
                <a:lnTo>
                  <a:pt x="165" y="215"/>
                </a:lnTo>
                <a:lnTo>
                  <a:pt x="165" y="214"/>
                </a:lnTo>
                <a:lnTo>
                  <a:pt x="166" y="215"/>
                </a:lnTo>
                <a:lnTo>
                  <a:pt x="173" y="216"/>
                </a:lnTo>
                <a:lnTo>
                  <a:pt x="174" y="215"/>
                </a:lnTo>
                <a:lnTo>
                  <a:pt x="169" y="214"/>
                </a:lnTo>
                <a:lnTo>
                  <a:pt x="168" y="214"/>
                </a:lnTo>
                <a:lnTo>
                  <a:pt x="166" y="212"/>
                </a:lnTo>
                <a:lnTo>
                  <a:pt x="162" y="209"/>
                </a:lnTo>
                <a:lnTo>
                  <a:pt x="161" y="209"/>
                </a:lnTo>
                <a:lnTo>
                  <a:pt x="161" y="208"/>
                </a:lnTo>
                <a:lnTo>
                  <a:pt x="160" y="206"/>
                </a:lnTo>
                <a:lnTo>
                  <a:pt x="160" y="204"/>
                </a:lnTo>
                <a:lnTo>
                  <a:pt x="159" y="204"/>
                </a:lnTo>
                <a:lnTo>
                  <a:pt x="159" y="206"/>
                </a:lnTo>
                <a:lnTo>
                  <a:pt x="161" y="209"/>
                </a:lnTo>
                <a:lnTo>
                  <a:pt x="161" y="211"/>
                </a:lnTo>
                <a:lnTo>
                  <a:pt x="159" y="211"/>
                </a:lnTo>
                <a:lnTo>
                  <a:pt x="157" y="210"/>
                </a:lnTo>
                <a:lnTo>
                  <a:pt x="157" y="205"/>
                </a:lnTo>
                <a:lnTo>
                  <a:pt x="162" y="196"/>
                </a:lnTo>
                <a:lnTo>
                  <a:pt x="162" y="195"/>
                </a:lnTo>
                <a:lnTo>
                  <a:pt x="161" y="196"/>
                </a:lnTo>
                <a:lnTo>
                  <a:pt x="159" y="201"/>
                </a:lnTo>
                <a:lnTo>
                  <a:pt x="159" y="202"/>
                </a:lnTo>
                <a:lnTo>
                  <a:pt x="157" y="202"/>
                </a:lnTo>
                <a:lnTo>
                  <a:pt x="157" y="197"/>
                </a:lnTo>
                <a:lnTo>
                  <a:pt x="155" y="197"/>
                </a:lnTo>
                <a:lnTo>
                  <a:pt x="156" y="198"/>
                </a:lnTo>
                <a:lnTo>
                  <a:pt x="156" y="211"/>
                </a:lnTo>
                <a:lnTo>
                  <a:pt x="155" y="210"/>
                </a:lnTo>
                <a:lnTo>
                  <a:pt x="154" y="210"/>
                </a:lnTo>
                <a:lnTo>
                  <a:pt x="156" y="212"/>
                </a:lnTo>
                <a:lnTo>
                  <a:pt x="155" y="214"/>
                </a:lnTo>
                <a:lnTo>
                  <a:pt x="155" y="215"/>
                </a:lnTo>
                <a:lnTo>
                  <a:pt x="154" y="216"/>
                </a:lnTo>
                <a:lnTo>
                  <a:pt x="154" y="218"/>
                </a:lnTo>
                <a:lnTo>
                  <a:pt x="153" y="220"/>
                </a:lnTo>
                <a:lnTo>
                  <a:pt x="151" y="220"/>
                </a:lnTo>
                <a:lnTo>
                  <a:pt x="150" y="218"/>
                </a:lnTo>
                <a:lnTo>
                  <a:pt x="149" y="216"/>
                </a:lnTo>
                <a:lnTo>
                  <a:pt x="149" y="212"/>
                </a:lnTo>
                <a:lnTo>
                  <a:pt x="148" y="210"/>
                </a:lnTo>
                <a:lnTo>
                  <a:pt x="147" y="210"/>
                </a:lnTo>
                <a:lnTo>
                  <a:pt x="147" y="211"/>
                </a:lnTo>
                <a:lnTo>
                  <a:pt x="148" y="215"/>
                </a:lnTo>
                <a:lnTo>
                  <a:pt x="149" y="216"/>
                </a:lnTo>
                <a:lnTo>
                  <a:pt x="148" y="217"/>
                </a:lnTo>
                <a:lnTo>
                  <a:pt x="144" y="215"/>
                </a:lnTo>
                <a:lnTo>
                  <a:pt x="144" y="212"/>
                </a:lnTo>
                <a:lnTo>
                  <a:pt x="143" y="214"/>
                </a:lnTo>
                <a:lnTo>
                  <a:pt x="143" y="216"/>
                </a:lnTo>
                <a:lnTo>
                  <a:pt x="142" y="218"/>
                </a:lnTo>
                <a:lnTo>
                  <a:pt x="143" y="220"/>
                </a:lnTo>
                <a:lnTo>
                  <a:pt x="143" y="222"/>
                </a:lnTo>
                <a:lnTo>
                  <a:pt x="141" y="221"/>
                </a:lnTo>
                <a:lnTo>
                  <a:pt x="140" y="221"/>
                </a:lnTo>
                <a:lnTo>
                  <a:pt x="138" y="218"/>
                </a:lnTo>
                <a:lnTo>
                  <a:pt x="138" y="217"/>
                </a:lnTo>
                <a:lnTo>
                  <a:pt x="137" y="217"/>
                </a:lnTo>
                <a:lnTo>
                  <a:pt x="137" y="215"/>
                </a:lnTo>
                <a:lnTo>
                  <a:pt x="138" y="215"/>
                </a:lnTo>
                <a:lnTo>
                  <a:pt x="138" y="212"/>
                </a:lnTo>
                <a:lnTo>
                  <a:pt x="137" y="210"/>
                </a:lnTo>
                <a:lnTo>
                  <a:pt x="138" y="209"/>
                </a:lnTo>
                <a:lnTo>
                  <a:pt x="143" y="201"/>
                </a:lnTo>
                <a:lnTo>
                  <a:pt x="148" y="198"/>
                </a:lnTo>
                <a:lnTo>
                  <a:pt x="149" y="195"/>
                </a:lnTo>
                <a:lnTo>
                  <a:pt x="151" y="192"/>
                </a:lnTo>
                <a:lnTo>
                  <a:pt x="153" y="192"/>
                </a:lnTo>
                <a:lnTo>
                  <a:pt x="155" y="191"/>
                </a:lnTo>
                <a:lnTo>
                  <a:pt x="155" y="190"/>
                </a:lnTo>
                <a:lnTo>
                  <a:pt x="153" y="191"/>
                </a:lnTo>
                <a:lnTo>
                  <a:pt x="150" y="191"/>
                </a:lnTo>
                <a:lnTo>
                  <a:pt x="150" y="192"/>
                </a:lnTo>
                <a:lnTo>
                  <a:pt x="149" y="192"/>
                </a:lnTo>
                <a:lnTo>
                  <a:pt x="149" y="193"/>
                </a:lnTo>
                <a:lnTo>
                  <a:pt x="148" y="196"/>
                </a:lnTo>
                <a:lnTo>
                  <a:pt x="148" y="197"/>
                </a:lnTo>
                <a:lnTo>
                  <a:pt x="142" y="201"/>
                </a:lnTo>
                <a:lnTo>
                  <a:pt x="138" y="205"/>
                </a:lnTo>
                <a:lnTo>
                  <a:pt x="137" y="205"/>
                </a:lnTo>
                <a:lnTo>
                  <a:pt x="137" y="208"/>
                </a:lnTo>
                <a:lnTo>
                  <a:pt x="136" y="209"/>
                </a:lnTo>
                <a:lnTo>
                  <a:pt x="134" y="209"/>
                </a:lnTo>
                <a:lnTo>
                  <a:pt x="132" y="214"/>
                </a:lnTo>
                <a:lnTo>
                  <a:pt x="134" y="214"/>
                </a:lnTo>
                <a:lnTo>
                  <a:pt x="135" y="215"/>
                </a:lnTo>
                <a:lnTo>
                  <a:pt x="135" y="218"/>
                </a:lnTo>
                <a:lnTo>
                  <a:pt x="136" y="220"/>
                </a:lnTo>
                <a:lnTo>
                  <a:pt x="135" y="220"/>
                </a:lnTo>
                <a:lnTo>
                  <a:pt x="137" y="222"/>
                </a:lnTo>
                <a:lnTo>
                  <a:pt x="138" y="224"/>
                </a:lnTo>
                <a:lnTo>
                  <a:pt x="138" y="227"/>
                </a:lnTo>
                <a:lnTo>
                  <a:pt x="137" y="228"/>
                </a:lnTo>
                <a:lnTo>
                  <a:pt x="136" y="228"/>
                </a:lnTo>
                <a:lnTo>
                  <a:pt x="134" y="230"/>
                </a:lnTo>
                <a:lnTo>
                  <a:pt x="134" y="232"/>
                </a:lnTo>
                <a:lnTo>
                  <a:pt x="132" y="233"/>
                </a:lnTo>
                <a:lnTo>
                  <a:pt x="132" y="236"/>
                </a:lnTo>
                <a:lnTo>
                  <a:pt x="131" y="236"/>
                </a:lnTo>
                <a:lnTo>
                  <a:pt x="131" y="239"/>
                </a:lnTo>
                <a:lnTo>
                  <a:pt x="132" y="240"/>
                </a:lnTo>
                <a:lnTo>
                  <a:pt x="132" y="241"/>
                </a:lnTo>
                <a:lnTo>
                  <a:pt x="131" y="242"/>
                </a:lnTo>
                <a:lnTo>
                  <a:pt x="131" y="245"/>
                </a:lnTo>
                <a:lnTo>
                  <a:pt x="130" y="246"/>
                </a:lnTo>
                <a:lnTo>
                  <a:pt x="130" y="248"/>
                </a:lnTo>
                <a:lnTo>
                  <a:pt x="129" y="251"/>
                </a:lnTo>
                <a:lnTo>
                  <a:pt x="129" y="252"/>
                </a:lnTo>
                <a:lnTo>
                  <a:pt x="128" y="252"/>
                </a:lnTo>
                <a:lnTo>
                  <a:pt x="129" y="253"/>
                </a:lnTo>
                <a:lnTo>
                  <a:pt x="129" y="254"/>
                </a:lnTo>
                <a:lnTo>
                  <a:pt x="130" y="255"/>
                </a:lnTo>
                <a:lnTo>
                  <a:pt x="130" y="258"/>
                </a:lnTo>
                <a:lnTo>
                  <a:pt x="129" y="260"/>
                </a:lnTo>
                <a:lnTo>
                  <a:pt x="128" y="260"/>
                </a:lnTo>
                <a:lnTo>
                  <a:pt x="126" y="261"/>
                </a:lnTo>
                <a:lnTo>
                  <a:pt x="123" y="261"/>
                </a:lnTo>
                <a:lnTo>
                  <a:pt x="122" y="263"/>
                </a:lnTo>
                <a:lnTo>
                  <a:pt x="119" y="263"/>
                </a:lnTo>
                <a:lnTo>
                  <a:pt x="119" y="261"/>
                </a:lnTo>
                <a:lnTo>
                  <a:pt x="118" y="258"/>
                </a:lnTo>
                <a:lnTo>
                  <a:pt x="118" y="254"/>
                </a:lnTo>
                <a:lnTo>
                  <a:pt x="119" y="254"/>
                </a:lnTo>
                <a:lnTo>
                  <a:pt x="122" y="252"/>
                </a:lnTo>
                <a:lnTo>
                  <a:pt x="122" y="241"/>
                </a:lnTo>
                <a:lnTo>
                  <a:pt x="123" y="240"/>
                </a:lnTo>
                <a:lnTo>
                  <a:pt x="124" y="236"/>
                </a:lnTo>
                <a:lnTo>
                  <a:pt x="124" y="235"/>
                </a:lnTo>
                <a:lnTo>
                  <a:pt x="123" y="234"/>
                </a:lnTo>
                <a:lnTo>
                  <a:pt x="125" y="233"/>
                </a:lnTo>
                <a:lnTo>
                  <a:pt x="126" y="232"/>
                </a:lnTo>
                <a:lnTo>
                  <a:pt x="126" y="229"/>
                </a:lnTo>
                <a:lnTo>
                  <a:pt x="129" y="227"/>
                </a:lnTo>
                <a:lnTo>
                  <a:pt x="131" y="226"/>
                </a:lnTo>
                <a:lnTo>
                  <a:pt x="132" y="223"/>
                </a:lnTo>
                <a:lnTo>
                  <a:pt x="132" y="221"/>
                </a:lnTo>
                <a:lnTo>
                  <a:pt x="129" y="226"/>
                </a:lnTo>
                <a:lnTo>
                  <a:pt x="126" y="228"/>
                </a:lnTo>
                <a:lnTo>
                  <a:pt x="126" y="227"/>
                </a:lnTo>
                <a:lnTo>
                  <a:pt x="125" y="226"/>
                </a:lnTo>
                <a:lnTo>
                  <a:pt x="124" y="226"/>
                </a:lnTo>
                <a:lnTo>
                  <a:pt x="124" y="221"/>
                </a:lnTo>
                <a:lnTo>
                  <a:pt x="125" y="218"/>
                </a:lnTo>
                <a:lnTo>
                  <a:pt x="126" y="217"/>
                </a:lnTo>
                <a:lnTo>
                  <a:pt x="126" y="216"/>
                </a:lnTo>
                <a:lnTo>
                  <a:pt x="128" y="216"/>
                </a:lnTo>
                <a:lnTo>
                  <a:pt x="128" y="215"/>
                </a:lnTo>
                <a:lnTo>
                  <a:pt x="126" y="215"/>
                </a:lnTo>
                <a:lnTo>
                  <a:pt x="125" y="217"/>
                </a:lnTo>
                <a:lnTo>
                  <a:pt x="124" y="217"/>
                </a:lnTo>
                <a:lnTo>
                  <a:pt x="124" y="218"/>
                </a:lnTo>
                <a:lnTo>
                  <a:pt x="123" y="218"/>
                </a:lnTo>
                <a:lnTo>
                  <a:pt x="123" y="216"/>
                </a:lnTo>
                <a:lnTo>
                  <a:pt x="128" y="209"/>
                </a:lnTo>
                <a:lnTo>
                  <a:pt x="128" y="206"/>
                </a:lnTo>
                <a:lnTo>
                  <a:pt x="126" y="206"/>
                </a:lnTo>
                <a:lnTo>
                  <a:pt x="126" y="208"/>
                </a:lnTo>
                <a:lnTo>
                  <a:pt x="125" y="208"/>
                </a:lnTo>
                <a:lnTo>
                  <a:pt x="125" y="209"/>
                </a:lnTo>
                <a:lnTo>
                  <a:pt x="124" y="211"/>
                </a:lnTo>
                <a:lnTo>
                  <a:pt x="124" y="214"/>
                </a:lnTo>
                <a:lnTo>
                  <a:pt x="123" y="215"/>
                </a:lnTo>
                <a:lnTo>
                  <a:pt x="122" y="214"/>
                </a:lnTo>
                <a:lnTo>
                  <a:pt x="123" y="214"/>
                </a:lnTo>
                <a:lnTo>
                  <a:pt x="123" y="211"/>
                </a:lnTo>
                <a:lnTo>
                  <a:pt x="124" y="208"/>
                </a:lnTo>
                <a:lnTo>
                  <a:pt x="128" y="203"/>
                </a:lnTo>
                <a:lnTo>
                  <a:pt x="130" y="203"/>
                </a:lnTo>
                <a:lnTo>
                  <a:pt x="129" y="202"/>
                </a:lnTo>
                <a:lnTo>
                  <a:pt x="129" y="199"/>
                </a:lnTo>
                <a:lnTo>
                  <a:pt x="130" y="197"/>
                </a:lnTo>
                <a:lnTo>
                  <a:pt x="130" y="196"/>
                </a:lnTo>
                <a:lnTo>
                  <a:pt x="129" y="196"/>
                </a:lnTo>
                <a:lnTo>
                  <a:pt x="129" y="197"/>
                </a:lnTo>
                <a:lnTo>
                  <a:pt x="126" y="199"/>
                </a:lnTo>
                <a:lnTo>
                  <a:pt x="126" y="198"/>
                </a:lnTo>
                <a:lnTo>
                  <a:pt x="128" y="196"/>
                </a:lnTo>
                <a:lnTo>
                  <a:pt x="128" y="195"/>
                </a:lnTo>
                <a:lnTo>
                  <a:pt x="129" y="193"/>
                </a:lnTo>
                <a:lnTo>
                  <a:pt x="129" y="192"/>
                </a:lnTo>
                <a:lnTo>
                  <a:pt x="130" y="191"/>
                </a:lnTo>
                <a:lnTo>
                  <a:pt x="131" y="191"/>
                </a:lnTo>
                <a:lnTo>
                  <a:pt x="131" y="190"/>
                </a:lnTo>
                <a:lnTo>
                  <a:pt x="129" y="190"/>
                </a:lnTo>
                <a:lnTo>
                  <a:pt x="128" y="191"/>
                </a:lnTo>
                <a:lnTo>
                  <a:pt x="126" y="190"/>
                </a:lnTo>
                <a:lnTo>
                  <a:pt x="128" y="187"/>
                </a:lnTo>
                <a:lnTo>
                  <a:pt x="128" y="186"/>
                </a:lnTo>
                <a:lnTo>
                  <a:pt x="126" y="186"/>
                </a:lnTo>
                <a:lnTo>
                  <a:pt x="126" y="189"/>
                </a:lnTo>
                <a:lnTo>
                  <a:pt x="125" y="189"/>
                </a:lnTo>
                <a:lnTo>
                  <a:pt x="125" y="185"/>
                </a:lnTo>
                <a:lnTo>
                  <a:pt x="128" y="185"/>
                </a:lnTo>
                <a:lnTo>
                  <a:pt x="129" y="184"/>
                </a:lnTo>
                <a:lnTo>
                  <a:pt x="129" y="183"/>
                </a:lnTo>
                <a:lnTo>
                  <a:pt x="130" y="184"/>
                </a:lnTo>
                <a:lnTo>
                  <a:pt x="131" y="184"/>
                </a:lnTo>
                <a:lnTo>
                  <a:pt x="134" y="183"/>
                </a:lnTo>
                <a:lnTo>
                  <a:pt x="129" y="183"/>
                </a:lnTo>
                <a:lnTo>
                  <a:pt x="130" y="180"/>
                </a:lnTo>
                <a:lnTo>
                  <a:pt x="130" y="179"/>
                </a:lnTo>
                <a:lnTo>
                  <a:pt x="132" y="179"/>
                </a:lnTo>
                <a:lnTo>
                  <a:pt x="131" y="178"/>
                </a:lnTo>
                <a:lnTo>
                  <a:pt x="134" y="175"/>
                </a:lnTo>
                <a:lnTo>
                  <a:pt x="138" y="175"/>
                </a:lnTo>
                <a:lnTo>
                  <a:pt x="142" y="177"/>
                </a:lnTo>
                <a:lnTo>
                  <a:pt x="143" y="175"/>
                </a:lnTo>
                <a:lnTo>
                  <a:pt x="144" y="175"/>
                </a:lnTo>
                <a:lnTo>
                  <a:pt x="145" y="173"/>
                </a:lnTo>
                <a:lnTo>
                  <a:pt x="145" y="172"/>
                </a:lnTo>
                <a:lnTo>
                  <a:pt x="148" y="169"/>
                </a:lnTo>
                <a:lnTo>
                  <a:pt x="148" y="168"/>
                </a:lnTo>
                <a:lnTo>
                  <a:pt x="149" y="167"/>
                </a:lnTo>
                <a:lnTo>
                  <a:pt x="148" y="167"/>
                </a:lnTo>
                <a:lnTo>
                  <a:pt x="148" y="168"/>
                </a:lnTo>
                <a:lnTo>
                  <a:pt x="147" y="171"/>
                </a:lnTo>
                <a:lnTo>
                  <a:pt x="145" y="172"/>
                </a:lnTo>
                <a:lnTo>
                  <a:pt x="145" y="173"/>
                </a:lnTo>
                <a:lnTo>
                  <a:pt x="144" y="174"/>
                </a:lnTo>
                <a:lnTo>
                  <a:pt x="143" y="174"/>
                </a:lnTo>
                <a:lnTo>
                  <a:pt x="142" y="175"/>
                </a:lnTo>
                <a:lnTo>
                  <a:pt x="137" y="174"/>
                </a:lnTo>
                <a:lnTo>
                  <a:pt x="136" y="175"/>
                </a:lnTo>
                <a:lnTo>
                  <a:pt x="136" y="174"/>
                </a:lnTo>
                <a:lnTo>
                  <a:pt x="135" y="172"/>
                </a:lnTo>
                <a:lnTo>
                  <a:pt x="134" y="172"/>
                </a:lnTo>
                <a:lnTo>
                  <a:pt x="134" y="173"/>
                </a:lnTo>
                <a:lnTo>
                  <a:pt x="132" y="174"/>
                </a:lnTo>
                <a:lnTo>
                  <a:pt x="134" y="169"/>
                </a:lnTo>
                <a:lnTo>
                  <a:pt x="135" y="169"/>
                </a:lnTo>
                <a:lnTo>
                  <a:pt x="136" y="171"/>
                </a:lnTo>
                <a:lnTo>
                  <a:pt x="137" y="171"/>
                </a:lnTo>
                <a:lnTo>
                  <a:pt x="137" y="169"/>
                </a:lnTo>
                <a:lnTo>
                  <a:pt x="140" y="168"/>
                </a:lnTo>
                <a:lnTo>
                  <a:pt x="137" y="168"/>
                </a:lnTo>
                <a:lnTo>
                  <a:pt x="137" y="169"/>
                </a:lnTo>
                <a:lnTo>
                  <a:pt x="136" y="169"/>
                </a:lnTo>
                <a:lnTo>
                  <a:pt x="135" y="168"/>
                </a:lnTo>
                <a:lnTo>
                  <a:pt x="135" y="167"/>
                </a:lnTo>
                <a:lnTo>
                  <a:pt x="136" y="167"/>
                </a:lnTo>
                <a:lnTo>
                  <a:pt x="136" y="166"/>
                </a:lnTo>
                <a:lnTo>
                  <a:pt x="138" y="161"/>
                </a:lnTo>
                <a:lnTo>
                  <a:pt x="140" y="161"/>
                </a:lnTo>
                <a:lnTo>
                  <a:pt x="138" y="160"/>
                </a:lnTo>
                <a:lnTo>
                  <a:pt x="140" y="159"/>
                </a:lnTo>
                <a:lnTo>
                  <a:pt x="142" y="159"/>
                </a:lnTo>
                <a:lnTo>
                  <a:pt x="143" y="158"/>
                </a:lnTo>
                <a:lnTo>
                  <a:pt x="147" y="158"/>
                </a:lnTo>
                <a:lnTo>
                  <a:pt x="148" y="156"/>
                </a:lnTo>
                <a:lnTo>
                  <a:pt x="151" y="156"/>
                </a:lnTo>
                <a:lnTo>
                  <a:pt x="153" y="155"/>
                </a:lnTo>
                <a:lnTo>
                  <a:pt x="145" y="156"/>
                </a:lnTo>
                <a:lnTo>
                  <a:pt x="142" y="155"/>
                </a:lnTo>
                <a:lnTo>
                  <a:pt x="142" y="154"/>
                </a:lnTo>
                <a:lnTo>
                  <a:pt x="147" y="149"/>
                </a:lnTo>
                <a:lnTo>
                  <a:pt x="147" y="148"/>
                </a:lnTo>
                <a:lnTo>
                  <a:pt x="144" y="149"/>
                </a:lnTo>
                <a:lnTo>
                  <a:pt x="144" y="150"/>
                </a:lnTo>
                <a:lnTo>
                  <a:pt x="143" y="152"/>
                </a:lnTo>
                <a:lnTo>
                  <a:pt x="142" y="152"/>
                </a:lnTo>
                <a:lnTo>
                  <a:pt x="142" y="154"/>
                </a:lnTo>
                <a:lnTo>
                  <a:pt x="140" y="156"/>
                </a:lnTo>
                <a:lnTo>
                  <a:pt x="138" y="156"/>
                </a:lnTo>
                <a:lnTo>
                  <a:pt x="137" y="158"/>
                </a:lnTo>
                <a:lnTo>
                  <a:pt x="137" y="159"/>
                </a:lnTo>
                <a:lnTo>
                  <a:pt x="136" y="160"/>
                </a:lnTo>
                <a:lnTo>
                  <a:pt x="135" y="160"/>
                </a:lnTo>
                <a:lnTo>
                  <a:pt x="134" y="161"/>
                </a:lnTo>
                <a:lnTo>
                  <a:pt x="134" y="162"/>
                </a:lnTo>
                <a:lnTo>
                  <a:pt x="132" y="162"/>
                </a:lnTo>
                <a:lnTo>
                  <a:pt x="131" y="163"/>
                </a:lnTo>
                <a:lnTo>
                  <a:pt x="130" y="166"/>
                </a:lnTo>
                <a:lnTo>
                  <a:pt x="124" y="172"/>
                </a:lnTo>
                <a:lnTo>
                  <a:pt x="123" y="172"/>
                </a:lnTo>
                <a:lnTo>
                  <a:pt x="123" y="171"/>
                </a:lnTo>
                <a:lnTo>
                  <a:pt x="122" y="171"/>
                </a:lnTo>
                <a:lnTo>
                  <a:pt x="120" y="169"/>
                </a:lnTo>
                <a:lnTo>
                  <a:pt x="119" y="169"/>
                </a:lnTo>
                <a:lnTo>
                  <a:pt x="120" y="168"/>
                </a:lnTo>
                <a:lnTo>
                  <a:pt x="120" y="166"/>
                </a:lnTo>
                <a:lnTo>
                  <a:pt x="118" y="168"/>
                </a:lnTo>
                <a:lnTo>
                  <a:pt x="116" y="168"/>
                </a:lnTo>
                <a:lnTo>
                  <a:pt x="110" y="162"/>
                </a:lnTo>
                <a:lnTo>
                  <a:pt x="110" y="160"/>
                </a:lnTo>
                <a:lnTo>
                  <a:pt x="114" y="160"/>
                </a:lnTo>
                <a:lnTo>
                  <a:pt x="117" y="162"/>
                </a:lnTo>
                <a:lnTo>
                  <a:pt x="117" y="161"/>
                </a:lnTo>
                <a:lnTo>
                  <a:pt x="116" y="161"/>
                </a:lnTo>
                <a:lnTo>
                  <a:pt x="116" y="160"/>
                </a:lnTo>
                <a:lnTo>
                  <a:pt x="120" y="156"/>
                </a:lnTo>
                <a:lnTo>
                  <a:pt x="124" y="158"/>
                </a:lnTo>
                <a:lnTo>
                  <a:pt x="122" y="156"/>
                </a:lnTo>
                <a:lnTo>
                  <a:pt x="120" y="155"/>
                </a:lnTo>
                <a:lnTo>
                  <a:pt x="116" y="158"/>
                </a:lnTo>
                <a:lnTo>
                  <a:pt x="114" y="159"/>
                </a:lnTo>
                <a:lnTo>
                  <a:pt x="113" y="159"/>
                </a:lnTo>
                <a:lnTo>
                  <a:pt x="112" y="158"/>
                </a:lnTo>
                <a:lnTo>
                  <a:pt x="109" y="158"/>
                </a:lnTo>
                <a:lnTo>
                  <a:pt x="106" y="156"/>
                </a:lnTo>
                <a:lnTo>
                  <a:pt x="105" y="156"/>
                </a:lnTo>
                <a:lnTo>
                  <a:pt x="103" y="159"/>
                </a:lnTo>
                <a:lnTo>
                  <a:pt x="100" y="156"/>
                </a:lnTo>
                <a:lnTo>
                  <a:pt x="100" y="154"/>
                </a:lnTo>
                <a:lnTo>
                  <a:pt x="101" y="153"/>
                </a:lnTo>
                <a:lnTo>
                  <a:pt x="103" y="153"/>
                </a:lnTo>
                <a:lnTo>
                  <a:pt x="109" y="152"/>
                </a:lnTo>
                <a:lnTo>
                  <a:pt x="110" y="152"/>
                </a:lnTo>
                <a:lnTo>
                  <a:pt x="111" y="150"/>
                </a:lnTo>
                <a:lnTo>
                  <a:pt x="112" y="150"/>
                </a:lnTo>
                <a:lnTo>
                  <a:pt x="113" y="152"/>
                </a:lnTo>
                <a:lnTo>
                  <a:pt x="116" y="153"/>
                </a:lnTo>
                <a:lnTo>
                  <a:pt x="116" y="150"/>
                </a:lnTo>
                <a:lnTo>
                  <a:pt x="117" y="150"/>
                </a:lnTo>
                <a:lnTo>
                  <a:pt x="117" y="149"/>
                </a:lnTo>
                <a:lnTo>
                  <a:pt x="118" y="149"/>
                </a:lnTo>
                <a:lnTo>
                  <a:pt x="120" y="150"/>
                </a:lnTo>
                <a:lnTo>
                  <a:pt x="119" y="149"/>
                </a:lnTo>
                <a:lnTo>
                  <a:pt x="118" y="149"/>
                </a:lnTo>
                <a:lnTo>
                  <a:pt x="117" y="148"/>
                </a:lnTo>
                <a:lnTo>
                  <a:pt x="116" y="148"/>
                </a:lnTo>
                <a:lnTo>
                  <a:pt x="116" y="147"/>
                </a:lnTo>
                <a:lnTo>
                  <a:pt x="117" y="146"/>
                </a:lnTo>
                <a:lnTo>
                  <a:pt x="120" y="146"/>
                </a:lnTo>
                <a:lnTo>
                  <a:pt x="123" y="144"/>
                </a:lnTo>
                <a:lnTo>
                  <a:pt x="124" y="143"/>
                </a:lnTo>
                <a:lnTo>
                  <a:pt x="122" y="143"/>
                </a:lnTo>
                <a:lnTo>
                  <a:pt x="122" y="144"/>
                </a:lnTo>
                <a:lnTo>
                  <a:pt x="119" y="144"/>
                </a:lnTo>
                <a:lnTo>
                  <a:pt x="119" y="143"/>
                </a:lnTo>
                <a:lnTo>
                  <a:pt x="120" y="142"/>
                </a:lnTo>
                <a:lnTo>
                  <a:pt x="119" y="141"/>
                </a:lnTo>
                <a:lnTo>
                  <a:pt x="114" y="142"/>
                </a:lnTo>
                <a:lnTo>
                  <a:pt x="113" y="142"/>
                </a:lnTo>
                <a:lnTo>
                  <a:pt x="114" y="141"/>
                </a:lnTo>
                <a:lnTo>
                  <a:pt x="116" y="141"/>
                </a:lnTo>
                <a:lnTo>
                  <a:pt x="114" y="140"/>
                </a:lnTo>
                <a:lnTo>
                  <a:pt x="116" y="138"/>
                </a:lnTo>
                <a:lnTo>
                  <a:pt x="116" y="137"/>
                </a:lnTo>
                <a:lnTo>
                  <a:pt x="117" y="135"/>
                </a:lnTo>
                <a:lnTo>
                  <a:pt x="117" y="134"/>
                </a:lnTo>
                <a:lnTo>
                  <a:pt x="119" y="131"/>
                </a:lnTo>
                <a:lnTo>
                  <a:pt x="122" y="131"/>
                </a:lnTo>
                <a:lnTo>
                  <a:pt x="122" y="132"/>
                </a:lnTo>
                <a:lnTo>
                  <a:pt x="124" y="135"/>
                </a:lnTo>
                <a:lnTo>
                  <a:pt x="128" y="135"/>
                </a:lnTo>
                <a:lnTo>
                  <a:pt x="130" y="134"/>
                </a:lnTo>
                <a:lnTo>
                  <a:pt x="130" y="132"/>
                </a:lnTo>
                <a:lnTo>
                  <a:pt x="129" y="134"/>
                </a:lnTo>
                <a:lnTo>
                  <a:pt x="124" y="134"/>
                </a:lnTo>
                <a:lnTo>
                  <a:pt x="124" y="132"/>
                </a:lnTo>
                <a:lnTo>
                  <a:pt x="123" y="132"/>
                </a:lnTo>
                <a:lnTo>
                  <a:pt x="123" y="130"/>
                </a:lnTo>
                <a:lnTo>
                  <a:pt x="119" y="130"/>
                </a:lnTo>
                <a:lnTo>
                  <a:pt x="119" y="129"/>
                </a:lnTo>
                <a:lnTo>
                  <a:pt x="118" y="129"/>
                </a:lnTo>
                <a:lnTo>
                  <a:pt x="119" y="128"/>
                </a:lnTo>
                <a:lnTo>
                  <a:pt x="120" y="125"/>
                </a:lnTo>
                <a:lnTo>
                  <a:pt x="122" y="124"/>
                </a:lnTo>
                <a:lnTo>
                  <a:pt x="124" y="124"/>
                </a:lnTo>
                <a:lnTo>
                  <a:pt x="125" y="123"/>
                </a:lnTo>
                <a:lnTo>
                  <a:pt x="125" y="124"/>
                </a:lnTo>
                <a:lnTo>
                  <a:pt x="128" y="125"/>
                </a:lnTo>
                <a:lnTo>
                  <a:pt x="129" y="125"/>
                </a:lnTo>
                <a:lnTo>
                  <a:pt x="128" y="123"/>
                </a:lnTo>
                <a:lnTo>
                  <a:pt x="124" y="122"/>
                </a:lnTo>
                <a:lnTo>
                  <a:pt x="123" y="120"/>
                </a:lnTo>
                <a:lnTo>
                  <a:pt x="125" y="118"/>
                </a:lnTo>
                <a:lnTo>
                  <a:pt x="125" y="116"/>
                </a:lnTo>
                <a:lnTo>
                  <a:pt x="126" y="113"/>
                </a:lnTo>
                <a:lnTo>
                  <a:pt x="128" y="112"/>
                </a:lnTo>
                <a:lnTo>
                  <a:pt x="129" y="112"/>
                </a:lnTo>
                <a:lnTo>
                  <a:pt x="131" y="115"/>
                </a:lnTo>
                <a:lnTo>
                  <a:pt x="134" y="116"/>
                </a:lnTo>
                <a:lnTo>
                  <a:pt x="135" y="116"/>
                </a:lnTo>
                <a:lnTo>
                  <a:pt x="135" y="115"/>
                </a:lnTo>
                <a:lnTo>
                  <a:pt x="132" y="115"/>
                </a:lnTo>
                <a:lnTo>
                  <a:pt x="132" y="113"/>
                </a:lnTo>
                <a:lnTo>
                  <a:pt x="131" y="112"/>
                </a:lnTo>
                <a:lnTo>
                  <a:pt x="131" y="111"/>
                </a:lnTo>
                <a:lnTo>
                  <a:pt x="134" y="109"/>
                </a:lnTo>
                <a:lnTo>
                  <a:pt x="131" y="109"/>
                </a:lnTo>
                <a:lnTo>
                  <a:pt x="131" y="110"/>
                </a:lnTo>
                <a:lnTo>
                  <a:pt x="130" y="111"/>
                </a:lnTo>
                <a:lnTo>
                  <a:pt x="129" y="111"/>
                </a:lnTo>
                <a:lnTo>
                  <a:pt x="128" y="112"/>
                </a:lnTo>
                <a:lnTo>
                  <a:pt x="126" y="112"/>
                </a:lnTo>
                <a:lnTo>
                  <a:pt x="125" y="111"/>
                </a:lnTo>
                <a:lnTo>
                  <a:pt x="122" y="111"/>
                </a:lnTo>
                <a:lnTo>
                  <a:pt x="122" y="110"/>
                </a:lnTo>
                <a:lnTo>
                  <a:pt x="123" y="107"/>
                </a:lnTo>
                <a:lnTo>
                  <a:pt x="124" y="106"/>
                </a:lnTo>
                <a:lnTo>
                  <a:pt x="125" y="106"/>
                </a:lnTo>
                <a:lnTo>
                  <a:pt x="125" y="107"/>
                </a:lnTo>
                <a:lnTo>
                  <a:pt x="126" y="106"/>
                </a:lnTo>
                <a:lnTo>
                  <a:pt x="131" y="105"/>
                </a:lnTo>
                <a:lnTo>
                  <a:pt x="134" y="100"/>
                </a:lnTo>
                <a:lnTo>
                  <a:pt x="132" y="100"/>
                </a:lnTo>
                <a:lnTo>
                  <a:pt x="129" y="104"/>
                </a:lnTo>
                <a:lnTo>
                  <a:pt x="129" y="105"/>
                </a:lnTo>
                <a:lnTo>
                  <a:pt x="126" y="105"/>
                </a:lnTo>
                <a:lnTo>
                  <a:pt x="125" y="104"/>
                </a:lnTo>
                <a:lnTo>
                  <a:pt x="126" y="104"/>
                </a:lnTo>
                <a:lnTo>
                  <a:pt x="126" y="101"/>
                </a:lnTo>
                <a:lnTo>
                  <a:pt x="125" y="101"/>
                </a:lnTo>
                <a:lnTo>
                  <a:pt x="122" y="105"/>
                </a:lnTo>
                <a:lnTo>
                  <a:pt x="122" y="106"/>
                </a:lnTo>
                <a:lnTo>
                  <a:pt x="118" y="106"/>
                </a:lnTo>
                <a:lnTo>
                  <a:pt x="117" y="103"/>
                </a:lnTo>
                <a:lnTo>
                  <a:pt x="118" y="103"/>
                </a:lnTo>
                <a:lnTo>
                  <a:pt x="118" y="101"/>
                </a:lnTo>
                <a:lnTo>
                  <a:pt x="117" y="101"/>
                </a:lnTo>
                <a:lnTo>
                  <a:pt x="117" y="99"/>
                </a:lnTo>
                <a:lnTo>
                  <a:pt x="116" y="98"/>
                </a:lnTo>
                <a:lnTo>
                  <a:pt x="116" y="89"/>
                </a:lnTo>
                <a:lnTo>
                  <a:pt x="117" y="89"/>
                </a:lnTo>
                <a:lnTo>
                  <a:pt x="117" y="88"/>
                </a:lnTo>
                <a:lnTo>
                  <a:pt x="119" y="88"/>
                </a:lnTo>
                <a:lnTo>
                  <a:pt x="123" y="92"/>
                </a:lnTo>
                <a:lnTo>
                  <a:pt x="123" y="93"/>
                </a:lnTo>
                <a:lnTo>
                  <a:pt x="125" y="93"/>
                </a:lnTo>
                <a:lnTo>
                  <a:pt x="124" y="92"/>
                </a:lnTo>
                <a:lnTo>
                  <a:pt x="130" y="92"/>
                </a:lnTo>
                <a:lnTo>
                  <a:pt x="130" y="91"/>
                </a:lnTo>
                <a:lnTo>
                  <a:pt x="129" y="89"/>
                </a:lnTo>
                <a:lnTo>
                  <a:pt x="125" y="89"/>
                </a:lnTo>
                <a:lnTo>
                  <a:pt x="124" y="91"/>
                </a:lnTo>
                <a:lnTo>
                  <a:pt x="123" y="89"/>
                </a:lnTo>
                <a:lnTo>
                  <a:pt x="123" y="88"/>
                </a:lnTo>
                <a:lnTo>
                  <a:pt x="122" y="88"/>
                </a:lnTo>
                <a:lnTo>
                  <a:pt x="122" y="87"/>
                </a:lnTo>
                <a:lnTo>
                  <a:pt x="120" y="85"/>
                </a:lnTo>
                <a:lnTo>
                  <a:pt x="119" y="83"/>
                </a:lnTo>
                <a:lnTo>
                  <a:pt x="118" y="83"/>
                </a:lnTo>
                <a:lnTo>
                  <a:pt x="118" y="81"/>
                </a:lnTo>
                <a:lnTo>
                  <a:pt x="119" y="80"/>
                </a:lnTo>
                <a:lnTo>
                  <a:pt x="118" y="80"/>
                </a:lnTo>
                <a:lnTo>
                  <a:pt x="118" y="79"/>
                </a:lnTo>
                <a:lnTo>
                  <a:pt x="120" y="77"/>
                </a:lnTo>
                <a:lnTo>
                  <a:pt x="123" y="80"/>
                </a:lnTo>
                <a:lnTo>
                  <a:pt x="123" y="79"/>
                </a:lnTo>
                <a:lnTo>
                  <a:pt x="124" y="77"/>
                </a:lnTo>
                <a:lnTo>
                  <a:pt x="123" y="77"/>
                </a:lnTo>
                <a:lnTo>
                  <a:pt x="123" y="76"/>
                </a:lnTo>
                <a:lnTo>
                  <a:pt x="122" y="76"/>
                </a:lnTo>
                <a:lnTo>
                  <a:pt x="118" y="75"/>
                </a:lnTo>
                <a:lnTo>
                  <a:pt x="118" y="67"/>
                </a:lnTo>
                <a:lnTo>
                  <a:pt x="120" y="64"/>
                </a:lnTo>
                <a:lnTo>
                  <a:pt x="122" y="64"/>
                </a:lnTo>
                <a:lnTo>
                  <a:pt x="123" y="66"/>
                </a:lnTo>
                <a:lnTo>
                  <a:pt x="124" y="66"/>
                </a:lnTo>
                <a:lnTo>
                  <a:pt x="123" y="67"/>
                </a:lnTo>
                <a:lnTo>
                  <a:pt x="124" y="68"/>
                </a:lnTo>
                <a:lnTo>
                  <a:pt x="124" y="72"/>
                </a:lnTo>
                <a:lnTo>
                  <a:pt x="125" y="73"/>
                </a:lnTo>
                <a:lnTo>
                  <a:pt x="126" y="73"/>
                </a:lnTo>
                <a:lnTo>
                  <a:pt x="125" y="72"/>
                </a:lnTo>
                <a:lnTo>
                  <a:pt x="128" y="72"/>
                </a:lnTo>
                <a:lnTo>
                  <a:pt x="128" y="68"/>
                </a:lnTo>
                <a:lnTo>
                  <a:pt x="124" y="64"/>
                </a:lnTo>
                <a:lnTo>
                  <a:pt x="125" y="63"/>
                </a:lnTo>
                <a:lnTo>
                  <a:pt x="124" y="63"/>
                </a:lnTo>
                <a:lnTo>
                  <a:pt x="125" y="62"/>
                </a:lnTo>
                <a:lnTo>
                  <a:pt x="125" y="61"/>
                </a:lnTo>
                <a:lnTo>
                  <a:pt x="126" y="61"/>
                </a:lnTo>
                <a:lnTo>
                  <a:pt x="128" y="62"/>
                </a:lnTo>
                <a:lnTo>
                  <a:pt x="129" y="62"/>
                </a:lnTo>
                <a:lnTo>
                  <a:pt x="129" y="63"/>
                </a:lnTo>
                <a:lnTo>
                  <a:pt x="130" y="66"/>
                </a:lnTo>
                <a:lnTo>
                  <a:pt x="131" y="67"/>
                </a:lnTo>
                <a:lnTo>
                  <a:pt x="132" y="67"/>
                </a:lnTo>
                <a:lnTo>
                  <a:pt x="132" y="66"/>
                </a:lnTo>
                <a:lnTo>
                  <a:pt x="134" y="66"/>
                </a:lnTo>
                <a:lnTo>
                  <a:pt x="134" y="62"/>
                </a:lnTo>
                <a:lnTo>
                  <a:pt x="135" y="62"/>
                </a:lnTo>
                <a:lnTo>
                  <a:pt x="136" y="63"/>
                </a:lnTo>
                <a:lnTo>
                  <a:pt x="137" y="63"/>
                </a:lnTo>
                <a:lnTo>
                  <a:pt x="140" y="66"/>
                </a:lnTo>
                <a:lnTo>
                  <a:pt x="143" y="67"/>
                </a:lnTo>
                <a:lnTo>
                  <a:pt x="141" y="64"/>
                </a:lnTo>
                <a:lnTo>
                  <a:pt x="136" y="62"/>
                </a:lnTo>
                <a:lnTo>
                  <a:pt x="136" y="61"/>
                </a:lnTo>
                <a:lnTo>
                  <a:pt x="137" y="60"/>
                </a:lnTo>
                <a:lnTo>
                  <a:pt x="138" y="62"/>
                </a:lnTo>
                <a:lnTo>
                  <a:pt x="143" y="62"/>
                </a:lnTo>
                <a:lnTo>
                  <a:pt x="143" y="63"/>
                </a:lnTo>
                <a:lnTo>
                  <a:pt x="145" y="64"/>
                </a:lnTo>
                <a:lnTo>
                  <a:pt x="147" y="66"/>
                </a:lnTo>
                <a:lnTo>
                  <a:pt x="148" y="68"/>
                </a:lnTo>
                <a:lnTo>
                  <a:pt x="149" y="68"/>
                </a:lnTo>
                <a:lnTo>
                  <a:pt x="149" y="67"/>
                </a:lnTo>
                <a:lnTo>
                  <a:pt x="143" y="61"/>
                </a:lnTo>
                <a:lnTo>
                  <a:pt x="144" y="60"/>
                </a:lnTo>
                <a:lnTo>
                  <a:pt x="144" y="58"/>
                </a:lnTo>
                <a:lnTo>
                  <a:pt x="143" y="58"/>
                </a:lnTo>
                <a:lnTo>
                  <a:pt x="143" y="57"/>
                </a:lnTo>
                <a:lnTo>
                  <a:pt x="141" y="57"/>
                </a:lnTo>
                <a:lnTo>
                  <a:pt x="140" y="56"/>
                </a:lnTo>
                <a:lnTo>
                  <a:pt x="138" y="54"/>
                </a:lnTo>
                <a:lnTo>
                  <a:pt x="137" y="54"/>
                </a:lnTo>
                <a:lnTo>
                  <a:pt x="136" y="52"/>
                </a:lnTo>
                <a:lnTo>
                  <a:pt x="134" y="52"/>
                </a:lnTo>
                <a:lnTo>
                  <a:pt x="135" y="51"/>
                </a:lnTo>
                <a:lnTo>
                  <a:pt x="135" y="50"/>
                </a:lnTo>
                <a:lnTo>
                  <a:pt x="134" y="48"/>
                </a:lnTo>
                <a:lnTo>
                  <a:pt x="134" y="46"/>
                </a:lnTo>
                <a:lnTo>
                  <a:pt x="136" y="48"/>
                </a:lnTo>
                <a:lnTo>
                  <a:pt x="137" y="50"/>
                </a:lnTo>
                <a:lnTo>
                  <a:pt x="137" y="49"/>
                </a:lnTo>
                <a:lnTo>
                  <a:pt x="140" y="49"/>
                </a:lnTo>
                <a:lnTo>
                  <a:pt x="141" y="48"/>
                </a:lnTo>
                <a:lnTo>
                  <a:pt x="141" y="46"/>
                </a:lnTo>
                <a:lnTo>
                  <a:pt x="140" y="45"/>
                </a:lnTo>
                <a:lnTo>
                  <a:pt x="141" y="45"/>
                </a:lnTo>
                <a:lnTo>
                  <a:pt x="141" y="44"/>
                </a:lnTo>
                <a:lnTo>
                  <a:pt x="140" y="44"/>
                </a:lnTo>
                <a:lnTo>
                  <a:pt x="141" y="43"/>
                </a:lnTo>
                <a:lnTo>
                  <a:pt x="140" y="43"/>
                </a:lnTo>
                <a:lnTo>
                  <a:pt x="140" y="40"/>
                </a:lnTo>
                <a:lnTo>
                  <a:pt x="138" y="40"/>
                </a:lnTo>
                <a:lnTo>
                  <a:pt x="138" y="38"/>
                </a:lnTo>
                <a:lnTo>
                  <a:pt x="137" y="38"/>
                </a:lnTo>
                <a:lnTo>
                  <a:pt x="136" y="36"/>
                </a:lnTo>
                <a:lnTo>
                  <a:pt x="136" y="33"/>
                </a:lnTo>
                <a:lnTo>
                  <a:pt x="138" y="36"/>
                </a:lnTo>
                <a:lnTo>
                  <a:pt x="141" y="36"/>
                </a:lnTo>
                <a:lnTo>
                  <a:pt x="143" y="33"/>
                </a:lnTo>
                <a:lnTo>
                  <a:pt x="144" y="34"/>
                </a:lnTo>
                <a:lnTo>
                  <a:pt x="145" y="34"/>
                </a:lnTo>
                <a:lnTo>
                  <a:pt x="145" y="33"/>
                </a:lnTo>
                <a:lnTo>
                  <a:pt x="148" y="33"/>
                </a:lnTo>
                <a:lnTo>
                  <a:pt x="149" y="34"/>
                </a:lnTo>
                <a:lnTo>
                  <a:pt x="151" y="34"/>
                </a:lnTo>
                <a:lnTo>
                  <a:pt x="155" y="37"/>
                </a:lnTo>
                <a:lnTo>
                  <a:pt x="153" y="34"/>
                </a:lnTo>
                <a:lnTo>
                  <a:pt x="155" y="34"/>
                </a:lnTo>
                <a:lnTo>
                  <a:pt x="155" y="33"/>
                </a:lnTo>
                <a:lnTo>
                  <a:pt x="151" y="33"/>
                </a:lnTo>
                <a:lnTo>
                  <a:pt x="150" y="34"/>
                </a:lnTo>
                <a:lnTo>
                  <a:pt x="147" y="31"/>
                </a:lnTo>
                <a:lnTo>
                  <a:pt x="147" y="30"/>
                </a:lnTo>
                <a:lnTo>
                  <a:pt x="145" y="29"/>
                </a:lnTo>
                <a:lnTo>
                  <a:pt x="145" y="27"/>
                </a:lnTo>
                <a:lnTo>
                  <a:pt x="144" y="27"/>
                </a:lnTo>
                <a:lnTo>
                  <a:pt x="144" y="26"/>
                </a:lnTo>
                <a:lnTo>
                  <a:pt x="145" y="26"/>
                </a:lnTo>
                <a:lnTo>
                  <a:pt x="145" y="21"/>
                </a:lnTo>
                <a:lnTo>
                  <a:pt x="147" y="21"/>
                </a:lnTo>
                <a:lnTo>
                  <a:pt x="147" y="23"/>
                </a:lnTo>
                <a:lnTo>
                  <a:pt x="149" y="24"/>
                </a:lnTo>
                <a:lnTo>
                  <a:pt x="151" y="24"/>
                </a:lnTo>
                <a:lnTo>
                  <a:pt x="150" y="23"/>
                </a:lnTo>
                <a:lnTo>
                  <a:pt x="150" y="21"/>
                </a:lnTo>
                <a:lnTo>
                  <a:pt x="148" y="21"/>
                </a:lnTo>
                <a:lnTo>
                  <a:pt x="148" y="20"/>
                </a:lnTo>
                <a:lnTo>
                  <a:pt x="150" y="19"/>
                </a:lnTo>
                <a:lnTo>
                  <a:pt x="151" y="19"/>
                </a:lnTo>
                <a:lnTo>
                  <a:pt x="148" y="15"/>
                </a:lnTo>
                <a:lnTo>
                  <a:pt x="148" y="13"/>
                </a:lnTo>
                <a:lnTo>
                  <a:pt x="150" y="12"/>
                </a:lnTo>
                <a:lnTo>
                  <a:pt x="150" y="11"/>
                </a:lnTo>
                <a:lnTo>
                  <a:pt x="151" y="9"/>
                </a:lnTo>
                <a:lnTo>
                  <a:pt x="151" y="5"/>
                </a:lnTo>
                <a:lnTo>
                  <a:pt x="153" y="5"/>
                </a:lnTo>
                <a:lnTo>
                  <a:pt x="157" y="6"/>
                </a:lnTo>
                <a:lnTo>
                  <a:pt x="159" y="6"/>
                </a:lnTo>
                <a:lnTo>
                  <a:pt x="160" y="7"/>
                </a:lnTo>
                <a:lnTo>
                  <a:pt x="160" y="13"/>
                </a:lnTo>
                <a:lnTo>
                  <a:pt x="161" y="12"/>
                </a:lnTo>
                <a:lnTo>
                  <a:pt x="161" y="8"/>
                </a:lnTo>
                <a:lnTo>
                  <a:pt x="162" y="7"/>
                </a:lnTo>
                <a:lnTo>
                  <a:pt x="161" y="6"/>
                </a:lnTo>
                <a:lnTo>
                  <a:pt x="163" y="8"/>
                </a:lnTo>
                <a:lnTo>
                  <a:pt x="165" y="8"/>
                </a:lnTo>
                <a:lnTo>
                  <a:pt x="166" y="9"/>
                </a:lnTo>
                <a:lnTo>
                  <a:pt x="166" y="11"/>
                </a:lnTo>
                <a:lnTo>
                  <a:pt x="167" y="11"/>
                </a:lnTo>
                <a:lnTo>
                  <a:pt x="166" y="12"/>
                </a:lnTo>
                <a:lnTo>
                  <a:pt x="166" y="13"/>
                </a:lnTo>
                <a:lnTo>
                  <a:pt x="165" y="14"/>
                </a:lnTo>
                <a:lnTo>
                  <a:pt x="163" y="17"/>
                </a:lnTo>
                <a:lnTo>
                  <a:pt x="162" y="18"/>
                </a:lnTo>
                <a:lnTo>
                  <a:pt x="162" y="19"/>
                </a:lnTo>
                <a:lnTo>
                  <a:pt x="163" y="19"/>
                </a:lnTo>
                <a:lnTo>
                  <a:pt x="166" y="15"/>
                </a:lnTo>
                <a:lnTo>
                  <a:pt x="166" y="14"/>
                </a:lnTo>
                <a:lnTo>
                  <a:pt x="167" y="14"/>
                </a:lnTo>
                <a:lnTo>
                  <a:pt x="169" y="12"/>
                </a:lnTo>
                <a:lnTo>
                  <a:pt x="169" y="8"/>
                </a:lnTo>
                <a:lnTo>
                  <a:pt x="173" y="8"/>
                </a:lnTo>
                <a:lnTo>
                  <a:pt x="174" y="9"/>
                </a:lnTo>
                <a:lnTo>
                  <a:pt x="176" y="11"/>
                </a:lnTo>
                <a:lnTo>
                  <a:pt x="176" y="13"/>
                </a:lnTo>
                <a:lnTo>
                  <a:pt x="174" y="15"/>
                </a:lnTo>
                <a:lnTo>
                  <a:pt x="174" y="17"/>
                </a:lnTo>
                <a:lnTo>
                  <a:pt x="173" y="19"/>
                </a:lnTo>
                <a:lnTo>
                  <a:pt x="174" y="19"/>
                </a:lnTo>
                <a:lnTo>
                  <a:pt x="176" y="17"/>
                </a:lnTo>
                <a:lnTo>
                  <a:pt x="176" y="14"/>
                </a:lnTo>
                <a:lnTo>
                  <a:pt x="178" y="13"/>
                </a:lnTo>
                <a:lnTo>
                  <a:pt x="180" y="12"/>
                </a:lnTo>
                <a:lnTo>
                  <a:pt x="181" y="11"/>
                </a:lnTo>
                <a:lnTo>
                  <a:pt x="184" y="13"/>
                </a:lnTo>
                <a:lnTo>
                  <a:pt x="185" y="13"/>
                </a:lnTo>
                <a:lnTo>
                  <a:pt x="184" y="12"/>
                </a:lnTo>
                <a:lnTo>
                  <a:pt x="185" y="12"/>
                </a:lnTo>
                <a:lnTo>
                  <a:pt x="185" y="11"/>
                </a:lnTo>
                <a:lnTo>
                  <a:pt x="187" y="11"/>
                </a:lnTo>
                <a:lnTo>
                  <a:pt x="187" y="9"/>
                </a:lnTo>
                <a:lnTo>
                  <a:pt x="191" y="9"/>
                </a:lnTo>
                <a:lnTo>
                  <a:pt x="192" y="8"/>
                </a:lnTo>
                <a:lnTo>
                  <a:pt x="192" y="7"/>
                </a:lnTo>
                <a:lnTo>
                  <a:pt x="193" y="7"/>
                </a:lnTo>
                <a:lnTo>
                  <a:pt x="194" y="8"/>
                </a:lnTo>
                <a:lnTo>
                  <a:pt x="194" y="9"/>
                </a:lnTo>
                <a:lnTo>
                  <a:pt x="196" y="8"/>
                </a:lnTo>
                <a:lnTo>
                  <a:pt x="199" y="9"/>
                </a:lnTo>
                <a:lnTo>
                  <a:pt x="203" y="8"/>
                </a:lnTo>
                <a:lnTo>
                  <a:pt x="204" y="8"/>
                </a:lnTo>
                <a:lnTo>
                  <a:pt x="207" y="6"/>
                </a:lnTo>
                <a:lnTo>
                  <a:pt x="209" y="5"/>
                </a:lnTo>
                <a:lnTo>
                  <a:pt x="213" y="5"/>
                </a:lnTo>
                <a:lnTo>
                  <a:pt x="213" y="7"/>
                </a:lnTo>
                <a:lnTo>
                  <a:pt x="215" y="6"/>
                </a:lnTo>
                <a:lnTo>
                  <a:pt x="217" y="6"/>
                </a:lnTo>
                <a:lnTo>
                  <a:pt x="219" y="7"/>
                </a:lnTo>
                <a:lnTo>
                  <a:pt x="221" y="7"/>
                </a:lnTo>
                <a:lnTo>
                  <a:pt x="222" y="5"/>
                </a:lnTo>
                <a:lnTo>
                  <a:pt x="221" y="5"/>
                </a:lnTo>
                <a:lnTo>
                  <a:pt x="221" y="3"/>
                </a:lnTo>
                <a:lnTo>
                  <a:pt x="219" y="3"/>
                </a:lnTo>
                <a:lnTo>
                  <a:pt x="219" y="1"/>
                </a:lnTo>
                <a:lnTo>
                  <a:pt x="221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9" name="Freeform 40">
            <a:extLst>
              <a:ext uri="{FF2B5EF4-FFF2-40B4-BE49-F238E27FC236}">
                <a16:creationId xmlns:a16="http://schemas.microsoft.com/office/drawing/2014/main" id="{EFA37064-9CE6-4282-BFE1-A9D5C4E37EE2}"/>
              </a:ext>
            </a:extLst>
          </p:cNvPr>
          <p:cNvSpPr>
            <a:spLocks noEditPoints="1"/>
          </p:cNvSpPr>
          <p:nvPr/>
        </p:nvSpPr>
        <p:spPr bwMode="auto">
          <a:xfrm>
            <a:off x="1021600" y="3538165"/>
            <a:ext cx="163731" cy="257911"/>
          </a:xfrm>
          <a:custGeom>
            <a:avLst/>
            <a:gdLst/>
            <a:ahLst/>
            <a:cxnLst>
              <a:cxn ang="0">
                <a:pos x="22" y="171"/>
              </a:cxn>
              <a:cxn ang="0">
                <a:pos x="17" y="170"/>
              </a:cxn>
              <a:cxn ang="0">
                <a:pos x="11" y="171"/>
              </a:cxn>
              <a:cxn ang="0">
                <a:pos x="0" y="164"/>
              </a:cxn>
              <a:cxn ang="0">
                <a:pos x="32" y="147"/>
              </a:cxn>
              <a:cxn ang="0">
                <a:pos x="16" y="153"/>
              </a:cxn>
              <a:cxn ang="0">
                <a:pos x="23" y="158"/>
              </a:cxn>
              <a:cxn ang="0">
                <a:pos x="26" y="159"/>
              </a:cxn>
              <a:cxn ang="0">
                <a:pos x="28" y="163"/>
              </a:cxn>
              <a:cxn ang="0">
                <a:pos x="17" y="160"/>
              </a:cxn>
              <a:cxn ang="0">
                <a:pos x="9" y="157"/>
              </a:cxn>
              <a:cxn ang="0">
                <a:pos x="4" y="158"/>
              </a:cxn>
              <a:cxn ang="0">
                <a:pos x="37" y="146"/>
              </a:cxn>
              <a:cxn ang="0">
                <a:pos x="35" y="145"/>
              </a:cxn>
              <a:cxn ang="0">
                <a:pos x="19" y="145"/>
              </a:cxn>
              <a:cxn ang="0">
                <a:pos x="29" y="136"/>
              </a:cxn>
              <a:cxn ang="0">
                <a:pos x="26" y="142"/>
              </a:cxn>
              <a:cxn ang="0">
                <a:pos x="23" y="135"/>
              </a:cxn>
              <a:cxn ang="0">
                <a:pos x="36" y="138"/>
              </a:cxn>
              <a:cxn ang="0">
                <a:pos x="34" y="136"/>
              </a:cxn>
              <a:cxn ang="0">
                <a:pos x="38" y="130"/>
              </a:cxn>
              <a:cxn ang="0">
                <a:pos x="16" y="129"/>
              </a:cxn>
              <a:cxn ang="0">
                <a:pos x="24" y="134"/>
              </a:cxn>
              <a:cxn ang="0">
                <a:pos x="17" y="132"/>
              </a:cxn>
              <a:cxn ang="0">
                <a:pos x="75" y="114"/>
              </a:cxn>
              <a:cxn ang="0">
                <a:pos x="88" y="64"/>
              </a:cxn>
              <a:cxn ang="0">
                <a:pos x="100" y="59"/>
              </a:cxn>
              <a:cxn ang="0">
                <a:pos x="105" y="42"/>
              </a:cxn>
              <a:cxn ang="0">
                <a:pos x="111" y="19"/>
              </a:cxn>
              <a:cxn ang="0">
                <a:pos x="106" y="23"/>
              </a:cxn>
              <a:cxn ang="0">
                <a:pos x="90" y="29"/>
              </a:cxn>
              <a:cxn ang="0">
                <a:pos x="87" y="39"/>
              </a:cxn>
              <a:cxn ang="0">
                <a:pos x="93" y="31"/>
              </a:cxn>
              <a:cxn ang="0">
                <a:pos x="93" y="39"/>
              </a:cxn>
              <a:cxn ang="0">
                <a:pos x="101" y="35"/>
              </a:cxn>
              <a:cxn ang="0">
                <a:pos x="97" y="45"/>
              </a:cxn>
              <a:cxn ang="0">
                <a:pos x="96" y="49"/>
              </a:cxn>
              <a:cxn ang="0">
                <a:pos x="94" y="58"/>
              </a:cxn>
              <a:cxn ang="0">
                <a:pos x="94" y="64"/>
              </a:cxn>
              <a:cxn ang="0">
                <a:pos x="94" y="73"/>
              </a:cxn>
              <a:cxn ang="0">
                <a:pos x="92" y="84"/>
              </a:cxn>
              <a:cxn ang="0">
                <a:pos x="90" y="77"/>
              </a:cxn>
              <a:cxn ang="0">
                <a:pos x="92" y="64"/>
              </a:cxn>
              <a:cxn ang="0">
                <a:pos x="92" y="53"/>
              </a:cxn>
              <a:cxn ang="0">
                <a:pos x="87" y="53"/>
              </a:cxn>
              <a:cxn ang="0">
                <a:pos x="84" y="60"/>
              </a:cxn>
              <a:cxn ang="0">
                <a:pos x="81" y="52"/>
              </a:cxn>
              <a:cxn ang="0">
                <a:pos x="75" y="47"/>
              </a:cxn>
              <a:cxn ang="0">
                <a:pos x="82" y="46"/>
              </a:cxn>
              <a:cxn ang="0">
                <a:pos x="88" y="43"/>
              </a:cxn>
              <a:cxn ang="0">
                <a:pos x="85" y="34"/>
              </a:cxn>
              <a:cxn ang="0">
                <a:pos x="78" y="33"/>
              </a:cxn>
              <a:cxn ang="0">
                <a:pos x="86" y="29"/>
              </a:cxn>
              <a:cxn ang="0">
                <a:pos x="87" y="21"/>
              </a:cxn>
              <a:cxn ang="0">
                <a:pos x="104" y="13"/>
              </a:cxn>
              <a:cxn ang="0">
                <a:pos x="101" y="18"/>
              </a:cxn>
              <a:cxn ang="0">
                <a:pos x="99" y="30"/>
              </a:cxn>
              <a:cxn ang="0">
                <a:pos x="97" y="17"/>
              </a:cxn>
              <a:cxn ang="0">
                <a:pos x="107" y="5"/>
              </a:cxn>
              <a:cxn ang="0">
                <a:pos x="113" y="4"/>
              </a:cxn>
              <a:cxn ang="0">
                <a:pos x="105" y="15"/>
              </a:cxn>
              <a:cxn ang="0">
                <a:pos x="106" y="4"/>
              </a:cxn>
            </a:cxnLst>
            <a:rect l="0" t="0" r="r" b="b"/>
            <a:pathLst>
              <a:path w="113" h="178">
                <a:moveTo>
                  <a:pt x="12" y="171"/>
                </a:moveTo>
                <a:lnTo>
                  <a:pt x="13" y="172"/>
                </a:lnTo>
                <a:lnTo>
                  <a:pt x="12" y="173"/>
                </a:lnTo>
                <a:lnTo>
                  <a:pt x="10" y="173"/>
                </a:lnTo>
                <a:lnTo>
                  <a:pt x="12" y="171"/>
                </a:lnTo>
                <a:close/>
                <a:moveTo>
                  <a:pt x="20" y="169"/>
                </a:moveTo>
                <a:lnTo>
                  <a:pt x="23" y="169"/>
                </a:lnTo>
                <a:lnTo>
                  <a:pt x="23" y="171"/>
                </a:lnTo>
                <a:lnTo>
                  <a:pt x="22" y="171"/>
                </a:lnTo>
                <a:lnTo>
                  <a:pt x="22" y="177"/>
                </a:lnTo>
                <a:lnTo>
                  <a:pt x="20" y="178"/>
                </a:lnTo>
                <a:lnTo>
                  <a:pt x="19" y="176"/>
                </a:lnTo>
                <a:lnTo>
                  <a:pt x="19" y="173"/>
                </a:lnTo>
                <a:lnTo>
                  <a:pt x="18" y="171"/>
                </a:lnTo>
                <a:lnTo>
                  <a:pt x="19" y="172"/>
                </a:lnTo>
                <a:lnTo>
                  <a:pt x="19" y="171"/>
                </a:lnTo>
                <a:lnTo>
                  <a:pt x="17" y="171"/>
                </a:lnTo>
                <a:lnTo>
                  <a:pt x="17" y="170"/>
                </a:lnTo>
                <a:lnTo>
                  <a:pt x="18" y="170"/>
                </a:lnTo>
                <a:lnTo>
                  <a:pt x="20" y="169"/>
                </a:lnTo>
                <a:close/>
                <a:moveTo>
                  <a:pt x="4" y="162"/>
                </a:moveTo>
                <a:lnTo>
                  <a:pt x="6" y="164"/>
                </a:lnTo>
                <a:lnTo>
                  <a:pt x="9" y="164"/>
                </a:lnTo>
                <a:lnTo>
                  <a:pt x="10" y="168"/>
                </a:lnTo>
                <a:lnTo>
                  <a:pt x="10" y="169"/>
                </a:lnTo>
                <a:lnTo>
                  <a:pt x="11" y="170"/>
                </a:lnTo>
                <a:lnTo>
                  <a:pt x="11" y="171"/>
                </a:lnTo>
                <a:lnTo>
                  <a:pt x="10" y="171"/>
                </a:lnTo>
                <a:lnTo>
                  <a:pt x="7" y="173"/>
                </a:lnTo>
                <a:lnTo>
                  <a:pt x="5" y="173"/>
                </a:lnTo>
                <a:lnTo>
                  <a:pt x="5" y="171"/>
                </a:lnTo>
                <a:lnTo>
                  <a:pt x="4" y="170"/>
                </a:lnTo>
                <a:lnTo>
                  <a:pt x="3" y="168"/>
                </a:lnTo>
                <a:lnTo>
                  <a:pt x="3" y="166"/>
                </a:lnTo>
                <a:lnTo>
                  <a:pt x="0" y="166"/>
                </a:lnTo>
                <a:lnTo>
                  <a:pt x="0" y="164"/>
                </a:lnTo>
                <a:lnTo>
                  <a:pt x="1" y="164"/>
                </a:lnTo>
                <a:lnTo>
                  <a:pt x="1" y="163"/>
                </a:lnTo>
                <a:lnTo>
                  <a:pt x="4" y="162"/>
                </a:lnTo>
                <a:close/>
                <a:moveTo>
                  <a:pt x="32" y="147"/>
                </a:moveTo>
                <a:lnTo>
                  <a:pt x="34" y="147"/>
                </a:lnTo>
                <a:lnTo>
                  <a:pt x="34" y="148"/>
                </a:lnTo>
                <a:lnTo>
                  <a:pt x="32" y="150"/>
                </a:lnTo>
                <a:lnTo>
                  <a:pt x="31" y="148"/>
                </a:lnTo>
                <a:lnTo>
                  <a:pt x="32" y="147"/>
                </a:lnTo>
                <a:close/>
                <a:moveTo>
                  <a:pt x="6" y="144"/>
                </a:moveTo>
                <a:lnTo>
                  <a:pt x="11" y="144"/>
                </a:lnTo>
                <a:lnTo>
                  <a:pt x="13" y="146"/>
                </a:lnTo>
                <a:lnTo>
                  <a:pt x="16" y="146"/>
                </a:lnTo>
                <a:lnTo>
                  <a:pt x="16" y="148"/>
                </a:lnTo>
                <a:lnTo>
                  <a:pt x="18" y="150"/>
                </a:lnTo>
                <a:lnTo>
                  <a:pt x="18" y="151"/>
                </a:lnTo>
                <a:lnTo>
                  <a:pt x="16" y="152"/>
                </a:lnTo>
                <a:lnTo>
                  <a:pt x="16" y="153"/>
                </a:lnTo>
                <a:lnTo>
                  <a:pt x="13" y="156"/>
                </a:lnTo>
                <a:lnTo>
                  <a:pt x="14" y="157"/>
                </a:lnTo>
                <a:lnTo>
                  <a:pt x="17" y="157"/>
                </a:lnTo>
                <a:lnTo>
                  <a:pt x="17" y="156"/>
                </a:lnTo>
                <a:lnTo>
                  <a:pt x="18" y="154"/>
                </a:lnTo>
                <a:lnTo>
                  <a:pt x="19" y="156"/>
                </a:lnTo>
                <a:lnTo>
                  <a:pt x="22" y="156"/>
                </a:lnTo>
                <a:lnTo>
                  <a:pt x="23" y="157"/>
                </a:lnTo>
                <a:lnTo>
                  <a:pt x="23" y="158"/>
                </a:lnTo>
                <a:lnTo>
                  <a:pt x="25" y="158"/>
                </a:lnTo>
                <a:lnTo>
                  <a:pt x="25" y="157"/>
                </a:lnTo>
                <a:lnTo>
                  <a:pt x="28" y="157"/>
                </a:lnTo>
                <a:lnTo>
                  <a:pt x="28" y="158"/>
                </a:lnTo>
                <a:lnTo>
                  <a:pt x="25" y="160"/>
                </a:lnTo>
                <a:lnTo>
                  <a:pt x="25" y="162"/>
                </a:lnTo>
                <a:lnTo>
                  <a:pt x="28" y="162"/>
                </a:lnTo>
                <a:lnTo>
                  <a:pt x="28" y="160"/>
                </a:lnTo>
                <a:lnTo>
                  <a:pt x="26" y="159"/>
                </a:lnTo>
                <a:lnTo>
                  <a:pt x="28" y="159"/>
                </a:lnTo>
                <a:lnTo>
                  <a:pt x="29" y="158"/>
                </a:lnTo>
                <a:lnTo>
                  <a:pt x="30" y="158"/>
                </a:lnTo>
                <a:lnTo>
                  <a:pt x="30" y="159"/>
                </a:lnTo>
                <a:lnTo>
                  <a:pt x="31" y="159"/>
                </a:lnTo>
                <a:lnTo>
                  <a:pt x="31" y="162"/>
                </a:lnTo>
                <a:lnTo>
                  <a:pt x="30" y="162"/>
                </a:lnTo>
                <a:lnTo>
                  <a:pt x="30" y="163"/>
                </a:lnTo>
                <a:lnTo>
                  <a:pt x="28" y="163"/>
                </a:lnTo>
                <a:lnTo>
                  <a:pt x="26" y="165"/>
                </a:lnTo>
                <a:lnTo>
                  <a:pt x="25" y="165"/>
                </a:lnTo>
                <a:lnTo>
                  <a:pt x="22" y="164"/>
                </a:lnTo>
                <a:lnTo>
                  <a:pt x="20" y="163"/>
                </a:lnTo>
                <a:lnTo>
                  <a:pt x="19" y="160"/>
                </a:lnTo>
                <a:lnTo>
                  <a:pt x="19" y="159"/>
                </a:lnTo>
                <a:lnTo>
                  <a:pt x="18" y="159"/>
                </a:lnTo>
                <a:lnTo>
                  <a:pt x="18" y="160"/>
                </a:lnTo>
                <a:lnTo>
                  <a:pt x="17" y="160"/>
                </a:lnTo>
                <a:lnTo>
                  <a:pt x="16" y="162"/>
                </a:lnTo>
                <a:lnTo>
                  <a:pt x="16" y="160"/>
                </a:lnTo>
                <a:lnTo>
                  <a:pt x="14" y="160"/>
                </a:lnTo>
                <a:lnTo>
                  <a:pt x="16" y="162"/>
                </a:lnTo>
                <a:lnTo>
                  <a:pt x="13" y="162"/>
                </a:lnTo>
                <a:lnTo>
                  <a:pt x="13" y="163"/>
                </a:lnTo>
                <a:lnTo>
                  <a:pt x="10" y="163"/>
                </a:lnTo>
                <a:lnTo>
                  <a:pt x="9" y="162"/>
                </a:lnTo>
                <a:lnTo>
                  <a:pt x="9" y="157"/>
                </a:lnTo>
                <a:lnTo>
                  <a:pt x="10" y="156"/>
                </a:lnTo>
                <a:lnTo>
                  <a:pt x="10" y="154"/>
                </a:lnTo>
                <a:lnTo>
                  <a:pt x="9" y="154"/>
                </a:lnTo>
                <a:lnTo>
                  <a:pt x="9" y="156"/>
                </a:lnTo>
                <a:lnTo>
                  <a:pt x="7" y="154"/>
                </a:lnTo>
                <a:lnTo>
                  <a:pt x="7" y="158"/>
                </a:lnTo>
                <a:lnTo>
                  <a:pt x="6" y="159"/>
                </a:lnTo>
                <a:lnTo>
                  <a:pt x="6" y="160"/>
                </a:lnTo>
                <a:lnTo>
                  <a:pt x="4" y="158"/>
                </a:lnTo>
                <a:lnTo>
                  <a:pt x="3" y="154"/>
                </a:lnTo>
                <a:lnTo>
                  <a:pt x="4" y="152"/>
                </a:lnTo>
                <a:lnTo>
                  <a:pt x="4" y="148"/>
                </a:lnTo>
                <a:lnTo>
                  <a:pt x="6" y="144"/>
                </a:lnTo>
                <a:close/>
                <a:moveTo>
                  <a:pt x="35" y="142"/>
                </a:moveTo>
                <a:lnTo>
                  <a:pt x="35" y="144"/>
                </a:lnTo>
                <a:lnTo>
                  <a:pt x="36" y="144"/>
                </a:lnTo>
                <a:lnTo>
                  <a:pt x="36" y="146"/>
                </a:lnTo>
                <a:lnTo>
                  <a:pt x="37" y="146"/>
                </a:lnTo>
                <a:lnTo>
                  <a:pt x="37" y="147"/>
                </a:lnTo>
                <a:lnTo>
                  <a:pt x="38" y="148"/>
                </a:lnTo>
                <a:lnTo>
                  <a:pt x="38" y="150"/>
                </a:lnTo>
                <a:lnTo>
                  <a:pt x="36" y="150"/>
                </a:lnTo>
                <a:lnTo>
                  <a:pt x="35" y="148"/>
                </a:lnTo>
                <a:lnTo>
                  <a:pt x="35" y="147"/>
                </a:lnTo>
                <a:lnTo>
                  <a:pt x="34" y="147"/>
                </a:lnTo>
                <a:lnTo>
                  <a:pt x="35" y="146"/>
                </a:lnTo>
                <a:lnTo>
                  <a:pt x="35" y="145"/>
                </a:lnTo>
                <a:lnTo>
                  <a:pt x="32" y="144"/>
                </a:lnTo>
                <a:lnTo>
                  <a:pt x="35" y="142"/>
                </a:lnTo>
                <a:close/>
                <a:moveTo>
                  <a:pt x="14" y="140"/>
                </a:moveTo>
                <a:lnTo>
                  <a:pt x="17" y="140"/>
                </a:lnTo>
                <a:lnTo>
                  <a:pt x="17" y="141"/>
                </a:lnTo>
                <a:lnTo>
                  <a:pt x="19" y="140"/>
                </a:lnTo>
                <a:lnTo>
                  <a:pt x="20" y="141"/>
                </a:lnTo>
                <a:lnTo>
                  <a:pt x="19" y="142"/>
                </a:lnTo>
                <a:lnTo>
                  <a:pt x="19" y="145"/>
                </a:lnTo>
                <a:lnTo>
                  <a:pt x="18" y="146"/>
                </a:lnTo>
                <a:lnTo>
                  <a:pt x="17" y="145"/>
                </a:lnTo>
                <a:lnTo>
                  <a:pt x="14" y="145"/>
                </a:lnTo>
                <a:lnTo>
                  <a:pt x="13" y="142"/>
                </a:lnTo>
                <a:lnTo>
                  <a:pt x="13" y="141"/>
                </a:lnTo>
                <a:lnTo>
                  <a:pt x="14" y="140"/>
                </a:lnTo>
                <a:close/>
                <a:moveTo>
                  <a:pt x="28" y="135"/>
                </a:moveTo>
                <a:lnTo>
                  <a:pt x="29" y="135"/>
                </a:lnTo>
                <a:lnTo>
                  <a:pt x="29" y="136"/>
                </a:lnTo>
                <a:lnTo>
                  <a:pt x="30" y="136"/>
                </a:lnTo>
                <a:lnTo>
                  <a:pt x="30" y="139"/>
                </a:lnTo>
                <a:lnTo>
                  <a:pt x="29" y="140"/>
                </a:lnTo>
                <a:lnTo>
                  <a:pt x="29" y="144"/>
                </a:lnTo>
                <a:lnTo>
                  <a:pt x="30" y="144"/>
                </a:lnTo>
                <a:lnTo>
                  <a:pt x="29" y="145"/>
                </a:lnTo>
                <a:lnTo>
                  <a:pt x="28" y="145"/>
                </a:lnTo>
                <a:lnTo>
                  <a:pt x="28" y="142"/>
                </a:lnTo>
                <a:lnTo>
                  <a:pt x="26" y="142"/>
                </a:lnTo>
                <a:lnTo>
                  <a:pt x="26" y="141"/>
                </a:lnTo>
                <a:lnTo>
                  <a:pt x="25" y="141"/>
                </a:lnTo>
                <a:lnTo>
                  <a:pt x="25" y="140"/>
                </a:lnTo>
                <a:lnTo>
                  <a:pt x="28" y="140"/>
                </a:lnTo>
                <a:lnTo>
                  <a:pt x="28" y="135"/>
                </a:lnTo>
                <a:close/>
                <a:moveTo>
                  <a:pt x="23" y="135"/>
                </a:moveTo>
                <a:lnTo>
                  <a:pt x="24" y="135"/>
                </a:lnTo>
                <a:lnTo>
                  <a:pt x="23" y="136"/>
                </a:lnTo>
                <a:lnTo>
                  <a:pt x="23" y="135"/>
                </a:lnTo>
                <a:close/>
                <a:moveTo>
                  <a:pt x="43" y="130"/>
                </a:moveTo>
                <a:lnTo>
                  <a:pt x="44" y="132"/>
                </a:lnTo>
                <a:lnTo>
                  <a:pt x="44" y="133"/>
                </a:lnTo>
                <a:lnTo>
                  <a:pt x="41" y="133"/>
                </a:lnTo>
                <a:lnTo>
                  <a:pt x="41" y="134"/>
                </a:lnTo>
                <a:lnTo>
                  <a:pt x="39" y="136"/>
                </a:lnTo>
                <a:lnTo>
                  <a:pt x="38" y="136"/>
                </a:lnTo>
                <a:lnTo>
                  <a:pt x="38" y="135"/>
                </a:lnTo>
                <a:lnTo>
                  <a:pt x="36" y="138"/>
                </a:lnTo>
                <a:lnTo>
                  <a:pt x="36" y="136"/>
                </a:lnTo>
                <a:lnTo>
                  <a:pt x="35" y="136"/>
                </a:lnTo>
                <a:lnTo>
                  <a:pt x="32" y="139"/>
                </a:lnTo>
                <a:lnTo>
                  <a:pt x="32" y="140"/>
                </a:lnTo>
                <a:lnTo>
                  <a:pt x="31" y="140"/>
                </a:lnTo>
                <a:lnTo>
                  <a:pt x="31" y="138"/>
                </a:lnTo>
                <a:lnTo>
                  <a:pt x="32" y="138"/>
                </a:lnTo>
                <a:lnTo>
                  <a:pt x="32" y="136"/>
                </a:lnTo>
                <a:lnTo>
                  <a:pt x="34" y="136"/>
                </a:lnTo>
                <a:lnTo>
                  <a:pt x="34" y="135"/>
                </a:lnTo>
                <a:lnTo>
                  <a:pt x="35" y="135"/>
                </a:lnTo>
                <a:lnTo>
                  <a:pt x="35" y="134"/>
                </a:lnTo>
                <a:lnTo>
                  <a:pt x="37" y="134"/>
                </a:lnTo>
                <a:lnTo>
                  <a:pt x="39" y="132"/>
                </a:lnTo>
                <a:lnTo>
                  <a:pt x="42" y="132"/>
                </a:lnTo>
                <a:lnTo>
                  <a:pt x="43" y="130"/>
                </a:lnTo>
                <a:close/>
                <a:moveTo>
                  <a:pt x="37" y="130"/>
                </a:moveTo>
                <a:lnTo>
                  <a:pt x="38" y="130"/>
                </a:lnTo>
                <a:lnTo>
                  <a:pt x="38" y="132"/>
                </a:lnTo>
                <a:lnTo>
                  <a:pt x="36" y="134"/>
                </a:lnTo>
                <a:lnTo>
                  <a:pt x="36" y="133"/>
                </a:lnTo>
                <a:lnTo>
                  <a:pt x="35" y="132"/>
                </a:lnTo>
                <a:lnTo>
                  <a:pt x="36" y="132"/>
                </a:lnTo>
                <a:lnTo>
                  <a:pt x="37" y="130"/>
                </a:lnTo>
                <a:close/>
                <a:moveTo>
                  <a:pt x="16" y="128"/>
                </a:moveTo>
                <a:lnTo>
                  <a:pt x="17" y="129"/>
                </a:lnTo>
                <a:lnTo>
                  <a:pt x="16" y="129"/>
                </a:lnTo>
                <a:lnTo>
                  <a:pt x="16" y="128"/>
                </a:lnTo>
                <a:close/>
                <a:moveTo>
                  <a:pt x="19" y="126"/>
                </a:moveTo>
                <a:lnTo>
                  <a:pt x="20" y="127"/>
                </a:lnTo>
                <a:lnTo>
                  <a:pt x="20" y="129"/>
                </a:lnTo>
                <a:lnTo>
                  <a:pt x="19" y="129"/>
                </a:lnTo>
                <a:lnTo>
                  <a:pt x="22" y="130"/>
                </a:lnTo>
                <a:lnTo>
                  <a:pt x="23" y="130"/>
                </a:lnTo>
                <a:lnTo>
                  <a:pt x="24" y="133"/>
                </a:lnTo>
                <a:lnTo>
                  <a:pt x="24" y="134"/>
                </a:lnTo>
                <a:lnTo>
                  <a:pt x="25" y="134"/>
                </a:lnTo>
                <a:lnTo>
                  <a:pt x="25" y="135"/>
                </a:lnTo>
                <a:lnTo>
                  <a:pt x="24" y="135"/>
                </a:lnTo>
                <a:lnTo>
                  <a:pt x="20" y="132"/>
                </a:lnTo>
                <a:lnTo>
                  <a:pt x="19" y="132"/>
                </a:lnTo>
                <a:lnTo>
                  <a:pt x="19" y="134"/>
                </a:lnTo>
                <a:lnTo>
                  <a:pt x="18" y="134"/>
                </a:lnTo>
                <a:lnTo>
                  <a:pt x="18" y="133"/>
                </a:lnTo>
                <a:lnTo>
                  <a:pt x="17" y="132"/>
                </a:lnTo>
                <a:lnTo>
                  <a:pt x="17" y="129"/>
                </a:lnTo>
                <a:lnTo>
                  <a:pt x="19" y="127"/>
                </a:lnTo>
                <a:lnTo>
                  <a:pt x="19" y="126"/>
                </a:lnTo>
                <a:close/>
                <a:moveTo>
                  <a:pt x="76" y="110"/>
                </a:moveTo>
                <a:lnTo>
                  <a:pt x="78" y="110"/>
                </a:lnTo>
                <a:lnTo>
                  <a:pt x="78" y="113"/>
                </a:lnTo>
                <a:lnTo>
                  <a:pt x="76" y="113"/>
                </a:lnTo>
                <a:lnTo>
                  <a:pt x="76" y="114"/>
                </a:lnTo>
                <a:lnTo>
                  <a:pt x="75" y="114"/>
                </a:lnTo>
                <a:lnTo>
                  <a:pt x="75" y="111"/>
                </a:lnTo>
                <a:lnTo>
                  <a:pt x="76" y="110"/>
                </a:lnTo>
                <a:close/>
                <a:moveTo>
                  <a:pt x="88" y="64"/>
                </a:moveTo>
                <a:lnTo>
                  <a:pt x="90" y="64"/>
                </a:lnTo>
                <a:lnTo>
                  <a:pt x="90" y="67"/>
                </a:lnTo>
                <a:lnTo>
                  <a:pt x="87" y="70"/>
                </a:lnTo>
                <a:lnTo>
                  <a:pt x="87" y="68"/>
                </a:lnTo>
                <a:lnTo>
                  <a:pt x="88" y="67"/>
                </a:lnTo>
                <a:lnTo>
                  <a:pt x="88" y="64"/>
                </a:lnTo>
                <a:close/>
                <a:moveTo>
                  <a:pt x="56" y="60"/>
                </a:moveTo>
                <a:lnTo>
                  <a:pt x="59" y="60"/>
                </a:lnTo>
                <a:lnTo>
                  <a:pt x="59" y="62"/>
                </a:lnTo>
                <a:lnTo>
                  <a:pt x="57" y="62"/>
                </a:lnTo>
                <a:lnTo>
                  <a:pt x="56" y="61"/>
                </a:lnTo>
                <a:lnTo>
                  <a:pt x="56" y="60"/>
                </a:lnTo>
                <a:close/>
                <a:moveTo>
                  <a:pt x="97" y="58"/>
                </a:moveTo>
                <a:lnTo>
                  <a:pt x="99" y="58"/>
                </a:lnTo>
                <a:lnTo>
                  <a:pt x="100" y="59"/>
                </a:lnTo>
                <a:lnTo>
                  <a:pt x="100" y="62"/>
                </a:lnTo>
                <a:lnTo>
                  <a:pt x="99" y="64"/>
                </a:lnTo>
                <a:lnTo>
                  <a:pt x="98" y="62"/>
                </a:lnTo>
                <a:lnTo>
                  <a:pt x="98" y="60"/>
                </a:lnTo>
                <a:lnTo>
                  <a:pt x="97" y="59"/>
                </a:lnTo>
                <a:lnTo>
                  <a:pt x="97" y="58"/>
                </a:lnTo>
                <a:close/>
                <a:moveTo>
                  <a:pt x="106" y="40"/>
                </a:moveTo>
                <a:lnTo>
                  <a:pt x="106" y="41"/>
                </a:lnTo>
                <a:lnTo>
                  <a:pt x="105" y="42"/>
                </a:lnTo>
                <a:lnTo>
                  <a:pt x="104" y="45"/>
                </a:lnTo>
                <a:lnTo>
                  <a:pt x="101" y="45"/>
                </a:lnTo>
                <a:lnTo>
                  <a:pt x="101" y="42"/>
                </a:lnTo>
                <a:lnTo>
                  <a:pt x="103" y="42"/>
                </a:lnTo>
                <a:lnTo>
                  <a:pt x="103" y="41"/>
                </a:lnTo>
                <a:lnTo>
                  <a:pt x="105" y="41"/>
                </a:lnTo>
                <a:lnTo>
                  <a:pt x="106" y="40"/>
                </a:lnTo>
                <a:close/>
                <a:moveTo>
                  <a:pt x="105" y="19"/>
                </a:moveTo>
                <a:lnTo>
                  <a:pt x="111" y="19"/>
                </a:lnTo>
                <a:lnTo>
                  <a:pt x="111" y="21"/>
                </a:lnTo>
                <a:lnTo>
                  <a:pt x="113" y="21"/>
                </a:lnTo>
                <a:lnTo>
                  <a:pt x="113" y="23"/>
                </a:lnTo>
                <a:lnTo>
                  <a:pt x="112" y="24"/>
                </a:lnTo>
                <a:lnTo>
                  <a:pt x="111" y="23"/>
                </a:lnTo>
                <a:lnTo>
                  <a:pt x="109" y="23"/>
                </a:lnTo>
                <a:lnTo>
                  <a:pt x="109" y="24"/>
                </a:lnTo>
                <a:lnTo>
                  <a:pt x="107" y="24"/>
                </a:lnTo>
                <a:lnTo>
                  <a:pt x="106" y="23"/>
                </a:lnTo>
                <a:lnTo>
                  <a:pt x="105" y="19"/>
                </a:lnTo>
                <a:close/>
                <a:moveTo>
                  <a:pt x="90" y="18"/>
                </a:moveTo>
                <a:lnTo>
                  <a:pt x="91" y="19"/>
                </a:lnTo>
                <a:lnTo>
                  <a:pt x="91" y="22"/>
                </a:lnTo>
                <a:lnTo>
                  <a:pt x="90" y="23"/>
                </a:lnTo>
                <a:lnTo>
                  <a:pt x="90" y="27"/>
                </a:lnTo>
                <a:lnTo>
                  <a:pt x="88" y="28"/>
                </a:lnTo>
                <a:lnTo>
                  <a:pt x="88" y="29"/>
                </a:lnTo>
                <a:lnTo>
                  <a:pt x="90" y="29"/>
                </a:lnTo>
                <a:lnTo>
                  <a:pt x="88" y="31"/>
                </a:lnTo>
                <a:lnTo>
                  <a:pt x="90" y="31"/>
                </a:lnTo>
                <a:lnTo>
                  <a:pt x="90" y="30"/>
                </a:lnTo>
                <a:lnTo>
                  <a:pt x="91" y="31"/>
                </a:lnTo>
                <a:lnTo>
                  <a:pt x="90" y="33"/>
                </a:lnTo>
                <a:lnTo>
                  <a:pt x="90" y="34"/>
                </a:lnTo>
                <a:lnTo>
                  <a:pt x="88" y="34"/>
                </a:lnTo>
                <a:lnTo>
                  <a:pt x="88" y="37"/>
                </a:lnTo>
                <a:lnTo>
                  <a:pt x="87" y="39"/>
                </a:lnTo>
                <a:lnTo>
                  <a:pt x="90" y="39"/>
                </a:lnTo>
                <a:lnTo>
                  <a:pt x="90" y="36"/>
                </a:lnTo>
                <a:lnTo>
                  <a:pt x="91" y="36"/>
                </a:lnTo>
                <a:lnTo>
                  <a:pt x="93" y="35"/>
                </a:lnTo>
                <a:lnTo>
                  <a:pt x="91" y="34"/>
                </a:lnTo>
                <a:lnTo>
                  <a:pt x="91" y="31"/>
                </a:lnTo>
                <a:lnTo>
                  <a:pt x="92" y="31"/>
                </a:lnTo>
                <a:lnTo>
                  <a:pt x="92" y="33"/>
                </a:lnTo>
                <a:lnTo>
                  <a:pt x="93" y="31"/>
                </a:lnTo>
                <a:lnTo>
                  <a:pt x="93" y="30"/>
                </a:lnTo>
                <a:lnTo>
                  <a:pt x="94" y="31"/>
                </a:lnTo>
                <a:lnTo>
                  <a:pt x="94" y="33"/>
                </a:lnTo>
                <a:lnTo>
                  <a:pt x="96" y="33"/>
                </a:lnTo>
                <a:lnTo>
                  <a:pt x="96" y="36"/>
                </a:lnTo>
                <a:lnTo>
                  <a:pt x="94" y="36"/>
                </a:lnTo>
                <a:lnTo>
                  <a:pt x="94" y="37"/>
                </a:lnTo>
                <a:lnTo>
                  <a:pt x="93" y="37"/>
                </a:lnTo>
                <a:lnTo>
                  <a:pt x="93" y="39"/>
                </a:lnTo>
                <a:lnTo>
                  <a:pt x="94" y="39"/>
                </a:lnTo>
                <a:lnTo>
                  <a:pt x="94" y="37"/>
                </a:lnTo>
                <a:lnTo>
                  <a:pt x="96" y="37"/>
                </a:lnTo>
                <a:lnTo>
                  <a:pt x="97" y="39"/>
                </a:lnTo>
                <a:lnTo>
                  <a:pt x="98" y="39"/>
                </a:lnTo>
                <a:lnTo>
                  <a:pt x="98" y="36"/>
                </a:lnTo>
                <a:lnTo>
                  <a:pt x="99" y="36"/>
                </a:lnTo>
                <a:lnTo>
                  <a:pt x="99" y="35"/>
                </a:lnTo>
                <a:lnTo>
                  <a:pt x="101" y="35"/>
                </a:lnTo>
                <a:lnTo>
                  <a:pt x="100" y="36"/>
                </a:lnTo>
                <a:lnTo>
                  <a:pt x="98" y="40"/>
                </a:lnTo>
                <a:lnTo>
                  <a:pt x="98" y="41"/>
                </a:lnTo>
                <a:lnTo>
                  <a:pt x="99" y="40"/>
                </a:lnTo>
                <a:lnTo>
                  <a:pt x="100" y="40"/>
                </a:lnTo>
                <a:lnTo>
                  <a:pt x="100" y="42"/>
                </a:lnTo>
                <a:lnTo>
                  <a:pt x="99" y="42"/>
                </a:lnTo>
                <a:lnTo>
                  <a:pt x="96" y="43"/>
                </a:lnTo>
                <a:lnTo>
                  <a:pt x="97" y="45"/>
                </a:lnTo>
                <a:lnTo>
                  <a:pt x="98" y="45"/>
                </a:lnTo>
                <a:lnTo>
                  <a:pt x="99" y="46"/>
                </a:lnTo>
                <a:lnTo>
                  <a:pt x="98" y="48"/>
                </a:lnTo>
                <a:lnTo>
                  <a:pt x="97" y="48"/>
                </a:lnTo>
                <a:lnTo>
                  <a:pt x="97" y="49"/>
                </a:lnTo>
                <a:lnTo>
                  <a:pt x="99" y="49"/>
                </a:lnTo>
                <a:lnTo>
                  <a:pt x="97" y="52"/>
                </a:lnTo>
                <a:lnTo>
                  <a:pt x="96" y="52"/>
                </a:lnTo>
                <a:lnTo>
                  <a:pt x="96" y="49"/>
                </a:lnTo>
                <a:lnTo>
                  <a:pt x="94" y="49"/>
                </a:lnTo>
                <a:lnTo>
                  <a:pt x="94" y="52"/>
                </a:lnTo>
                <a:lnTo>
                  <a:pt x="93" y="53"/>
                </a:lnTo>
                <a:lnTo>
                  <a:pt x="96" y="53"/>
                </a:lnTo>
                <a:lnTo>
                  <a:pt x="94" y="54"/>
                </a:lnTo>
                <a:lnTo>
                  <a:pt x="94" y="55"/>
                </a:lnTo>
                <a:lnTo>
                  <a:pt x="96" y="54"/>
                </a:lnTo>
                <a:lnTo>
                  <a:pt x="94" y="56"/>
                </a:lnTo>
                <a:lnTo>
                  <a:pt x="94" y="58"/>
                </a:lnTo>
                <a:lnTo>
                  <a:pt x="96" y="56"/>
                </a:lnTo>
                <a:lnTo>
                  <a:pt x="97" y="56"/>
                </a:lnTo>
                <a:lnTo>
                  <a:pt x="96" y="59"/>
                </a:lnTo>
                <a:lnTo>
                  <a:pt x="98" y="60"/>
                </a:lnTo>
                <a:lnTo>
                  <a:pt x="97" y="60"/>
                </a:lnTo>
                <a:lnTo>
                  <a:pt x="97" y="61"/>
                </a:lnTo>
                <a:lnTo>
                  <a:pt x="96" y="61"/>
                </a:lnTo>
                <a:lnTo>
                  <a:pt x="96" y="62"/>
                </a:lnTo>
                <a:lnTo>
                  <a:pt x="94" y="64"/>
                </a:lnTo>
                <a:lnTo>
                  <a:pt x="94" y="65"/>
                </a:lnTo>
                <a:lnTo>
                  <a:pt x="96" y="65"/>
                </a:lnTo>
                <a:lnTo>
                  <a:pt x="94" y="66"/>
                </a:lnTo>
                <a:lnTo>
                  <a:pt x="94" y="67"/>
                </a:lnTo>
                <a:lnTo>
                  <a:pt x="96" y="67"/>
                </a:lnTo>
                <a:lnTo>
                  <a:pt x="96" y="70"/>
                </a:lnTo>
                <a:lnTo>
                  <a:pt x="93" y="70"/>
                </a:lnTo>
                <a:lnTo>
                  <a:pt x="93" y="71"/>
                </a:lnTo>
                <a:lnTo>
                  <a:pt x="94" y="73"/>
                </a:lnTo>
                <a:lnTo>
                  <a:pt x="94" y="74"/>
                </a:lnTo>
                <a:lnTo>
                  <a:pt x="93" y="74"/>
                </a:lnTo>
                <a:lnTo>
                  <a:pt x="92" y="73"/>
                </a:lnTo>
                <a:lnTo>
                  <a:pt x="92" y="79"/>
                </a:lnTo>
                <a:lnTo>
                  <a:pt x="91" y="79"/>
                </a:lnTo>
                <a:lnTo>
                  <a:pt x="92" y="80"/>
                </a:lnTo>
                <a:lnTo>
                  <a:pt x="92" y="82"/>
                </a:lnTo>
                <a:lnTo>
                  <a:pt x="91" y="83"/>
                </a:lnTo>
                <a:lnTo>
                  <a:pt x="92" y="84"/>
                </a:lnTo>
                <a:lnTo>
                  <a:pt x="92" y="85"/>
                </a:lnTo>
                <a:lnTo>
                  <a:pt x="91" y="85"/>
                </a:lnTo>
                <a:lnTo>
                  <a:pt x="91" y="84"/>
                </a:lnTo>
                <a:lnTo>
                  <a:pt x="90" y="84"/>
                </a:lnTo>
                <a:lnTo>
                  <a:pt x="90" y="82"/>
                </a:lnTo>
                <a:lnTo>
                  <a:pt x="87" y="82"/>
                </a:lnTo>
                <a:lnTo>
                  <a:pt x="87" y="78"/>
                </a:lnTo>
                <a:lnTo>
                  <a:pt x="88" y="77"/>
                </a:lnTo>
                <a:lnTo>
                  <a:pt x="90" y="77"/>
                </a:lnTo>
                <a:lnTo>
                  <a:pt x="88" y="76"/>
                </a:lnTo>
                <a:lnTo>
                  <a:pt x="88" y="74"/>
                </a:lnTo>
                <a:lnTo>
                  <a:pt x="90" y="74"/>
                </a:lnTo>
                <a:lnTo>
                  <a:pt x="88" y="73"/>
                </a:lnTo>
                <a:lnTo>
                  <a:pt x="90" y="72"/>
                </a:lnTo>
                <a:lnTo>
                  <a:pt x="90" y="71"/>
                </a:lnTo>
                <a:lnTo>
                  <a:pt x="91" y="66"/>
                </a:lnTo>
                <a:lnTo>
                  <a:pt x="91" y="65"/>
                </a:lnTo>
                <a:lnTo>
                  <a:pt x="92" y="64"/>
                </a:lnTo>
                <a:lnTo>
                  <a:pt x="92" y="61"/>
                </a:lnTo>
                <a:lnTo>
                  <a:pt x="91" y="60"/>
                </a:lnTo>
                <a:lnTo>
                  <a:pt x="91" y="59"/>
                </a:lnTo>
                <a:lnTo>
                  <a:pt x="92" y="58"/>
                </a:lnTo>
                <a:lnTo>
                  <a:pt x="90" y="58"/>
                </a:lnTo>
                <a:lnTo>
                  <a:pt x="90" y="56"/>
                </a:lnTo>
                <a:lnTo>
                  <a:pt x="91" y="54"/>
                </a:lnTo>
                <a:lnTo>
                  <a:pt x="91" y="53"/>
                </a:lnTo>
                <a:lnTo>
                  <a:pt x="92" y="53"/>
                </a:lnTo>
                <a:lnTo>
                  <a:pt x="92" y="52"/>
                </a:lnTo>
                <a:lnTo>
                  <a:pt x="91" y="52"/>
                </a:lnTo>
                <a:lnTo>
                  <a:pt x="90" y="53"/>
                </a:lnTo>
                <a:lnTo>
                  <a:pt x="88" y="55"/>
                </a:lnTo>
                <a:lnTo>
                  <a:pt x="88" y="54"/>
                </a:lnTo>
                <a:lnTo>
                  <a:pt x="87" y="52"/>
                </a:lnTo>
                <a:lnTo>
                  <a:pt x="86" y="50"/>
                </a:lnTo>
                <a:lnTo>
                  <a:pt x="86" y="52"/>
                </a:lnTo>
                <a:lnTo>
                  <a:pt x="87" y="53"/>
                </a:lnTo>
                <a:lnTo>
                  <a:pt x="87" y="54"/>
                </a:lnTo>
                <a:lnTo>
                  <a:pt x="88" y="55"/>
                </a:lnTo>
                <a:lnTo>
                  <a:pt x="87" y="56"/>
                </a:lnTo>
                <a:lnTo>
                  <a:pt x="87" y="55"/>
                </a:lnTo>
                <a:lnTo>
                  <a:pt x="86" y="55"/>
                </a:lnTo>
                <a:lnTo>
                  <a:pt x="86" y="58"/>
                </a:lnTo>
                <a:lnTo>
                  <a:pt x="85" y="58"/>
                </a:lnTo>
                <a:lnTo>
                  <a:pt x="85" y="59"/>
                </a:lnTo>
                <a:lnTo>
                  <a:pt x="84" y="60"/>
                </a:lnTo>
                <a:lnTo>
                  <a:pt x="82" y="59"/>
                </a:lnTo>
                <a:lnTo>
                  <a:pt x="81" y="59"/>
                </a:lnTo>
                <a:lnTo>
                  <a:pt x="81" y="58"/>
                </a:lnTo>
                <a:lnTo>
                  <a:pt x="80" y="56"/>
                </a:lnTo>
                <a:lnTo>
                  <a:pt x="81" y="55"/>
                </a:lnTo>
                <a:lnTo>
                  <a:pt x="82" y="55"/>
                </a:lnTo>
                <a:lnTo>
                  <a:pt x="84" y="54"/>
                </a:lnTo>
                <a:lnTo>
                  <a:pt x="82" y="54"/>
                </a:lnTo>
                <a:lnTo>
                  <a:pt x="81" y="52"/>
                </a:lnTo>
                <a:lnTo>
                  <a:pt x="81" y="54"/>
                </a:lnTo>
                <a:lnTo>
                  <a:pt x="80" y="55"/>
                </a:lnTo>
                <a:lnTo>
                  <a:pt x="80" y="53"/>
                </a:lnTo>
                <a:lnTo>
                  <a:pt x="79" y="54"/>
                </a:lnTo>
                <a:lnTo>
                  <a:pt x="76" y="54"/>
                </a:lnTo>
                <a:lnTo>
                  <a:pt x="76" y="53"/>
                </a:lnTo>
                <a:lnTo>
                  <a:pt x="74" y="53"/>
                </a:lnTo>
                <a:lnTo>
                  <a:pt x="74" y="47"/>
                </a:lnTo>
                <a:lnTo>
                  <a:pt x="75" y="47"/>
                </a:lnTo>
                <a:lnTo>
                  <a:pt x="76" y="46"/>
                </a:lnTo>
                <a:lnTo>
                  <a:pt x="78" y="46"/>
                </a:lnTo>
                <a:lnTo>
                  <a:pt x="78" y="47"/>
                </a:lnTo>
                <a:lnTo>
                  <a:pt x="79" y="48"/>
                </a:lnTo>
                <a:lnTo>
                  <a:pt x="80" y="48"/>
                </a:lnTo>
                <a:lnTo>
                  <a:pt x="79" y="47"/>
                </a:lnTo>
                <a:lnTo>
                  <a:pt x="80" y="47"/>
                </a:lnTo>
                <a:lnTo>
                  <a:pt x="80" y="46"/>
                </a:lnTo>
                <a:lnTo>
                  <a:pt x="82" y="46"/>
                </a:lnTo>
                <a:lnTo>
                  <a:pt x="84" y="47"/>
                </a:lnTo>
                <a:lnTo>
                  <a:pt x="84" y="46"/>
                </a:lnTo>
                <a:lnTo>
                  <a:pt x="86" y="46"/>
                </a:lnTo>
                <a:lnTo>
                  <a:pt x="87" y="47"/>
                </a:lnTo>
                <a:lnTo>
                  <a:pt x="87" y="48"/>
                </a:lnTo>
                <a:lnTo>
                  <a:pt x="88" y="48"/>
                </a:lnTo>
                <a:lnTo>
                  <a:pt x="88" y="47"/>
                </a:lnTo>
                <a:lnTo>
                  <a:pt x="87" y="46"/>
                </a:lnTo>
                <a:lnTo>
                  <a:pt x="88" y="43"/>
                </a:lnTo>
                <a:lnTo>
                  <a:pt x="90" y="42"/>
                </a:lnTo>
                <a:lnTo>
                  <a:pt x="88" y="41"/>
                </a:lnTo>
                <a:lnTo>
                  <a:pt x="88" y="40"/>
                </a:lnTo>
                <a:lnTo>
                  <a:pt x="87" y="40"/>
                </a:lnTo>
                <a:lnTo>
                  <a:pt x="87" y="41"/>
                </a:lnTo>
                <a:lnTo>
                  <a:pt x="86" y="41"/>
                </a:lnTo>
                <a:lnTo>
                  <a:pt x="86" y="37"/>
                </a:lnTo>
                <a:lnTo>
                  <a:pt x="85" y="37"/>
                </a:lnTo>
                <a:lnTo>
                  <a:pt x="85" y="34"/>
                </a:lnTo>
                <a:lnTo>
                  <a:pt x="84" y="31"/>
                </a:lnTo>
                <a:lnTo>
                  <a:pt x="84" y="33"/>
                </a:lnTo>
                <a:lnTo>
                  <a:pt x="82" y="34"/>
                </a:lnTo>
                <a:lnTo>
                  <a:pt x="81" y="33"/>
                </a:lnTo>
                <a:lnTo>
                  <a:pt x="82" y="33"/>
                </a:lnTo>
                <a:lnTo>
                  <a:pt x="82" y="31"/>
                </a:lnTo>
                <a:lnTo>
                  <a:pt x="80" y="31"/>
                </a:lnTo>
                <a:lnTo>
                  <a:pt x="79" y="33"/>
                </a:lnTo>
                <a:lnTo>
                  <a:pt x="78" y="33"/>
                </a:lnTo>
                <a:lnTo>
                  <a:pt x="76" y="31"/>
                </a:lnTo>
                <a:lnTo>
                  <a:pt x="78" y="30"/>
                </a:lnTo>
                <a:lnTo>
                  <a:pt x="78" y="29"/>
                </a:lnTo>
                <a:lnTo>
                  <a:pt x="80" y="29"/>
                </a:lnTo>
                <a:lnTo>
                  <a:pt x="80" y="25"/>
                </a:lnTo>
                <a:lnTo>
                  <a:pt x="81" y="25"/>
                </a:lnTo>
                <a:lnTo>
                  <a:pt x="81" y="27"/>
                </a:lnTo>
                <a:lnTo>
                  <a:pt x="85" y="30"/>
                </a:lnTo>
                <a:lnTo>
                  <a:pt x="86" y="29"/>
                </a:lnTo>
                <a:lnTo>
                  <a:pt x="84" y="29"/>
                </a:lnTo>
                <a:lnTo>
                  <a:pt x="84" y="27"/>
                </a:lnTo>
                <a:lnTo>
                  <a:pt x="82" y="27"/>
                </a:lnTo>
                <a:lnTo>
                  <a:pt x="84" y="25"/>
                </a:lnTo>
                <a:lnTo>
                  <a:pt x="84" y="24"/>
                </a:lnTo>
                <a:lnTo>
                  <a:pt x="86" y="23"/>
                </a:lnTo>
                <a:lnTo>
                  <a:pt x="85" y="23"/>
                </a:lnTo>
                <a:lnTo>
                  <a:pt x="85" y="21"/>
                </a:lnTo>
                <a:lnTo>
                  <a:pt x="87" y="21"/>
                </a:lnTo>
                <a:lnTo>
                  <a:pt x="88" y="22"/>
                </a:lnTo>
                <a:lnTo>
                  <a:pt x="90" y="22"/>
                </a:lnTo>
                <a:lnTo>
                  <a:pt x="90" y="18"/>
                </a:lnTo>
                <a:close/>
                <a:moveTo>
                  <a:pt x="99" y="10"/>
                </a:moveTo>
                <a:lnTo>
                  <a:pt x="100" y="11"/>
                </a:lnTo>
                <a:lnTo>
                  <a:pt x="101" y="10"/>
                </a:lnTo>
                <a:lnTo>
                  <a:pt x="103" y="10"/>
                </a:lnTo>
                <a:lnTo>
                  <a:pt x="103" y="13"/>
                </a:lnTo>
                <a:lnTo>
                  <a:pt x="104" y="13"/>
                </a:lnTo>
                <a:lnTo>
                  <a:pt x="103" y="15"/>
                </a:lnTo>
                <a:lnTo>
                  <a:pt x="104" y="17"/>
                </a:lnTo>
                <a:lnTo>
                  <a:pt x="104" y="18"/>
                </a:lnTo>
                <a:lnTo>
                  <a:pt x="103" y="18"/>
                </a:lnTo>
                <a:lnTo>
                  <a:pt x="101" y="17"/>
                </a:lnTo>
                <a:lnTo>
                  <a:pt x="101" y="16"/>
                </a:lnTo>
                <a:lnTo>
                  <a:pt x="100" y="16"/>
                </a:lnTo>
                <a:lnTo>
                  <a:pt x="100" y="17"/>
                </a:lnTo>
                <a:lnTo>
                  <a:pt x="101" y="18"/>
                </a:lnTo>
                <a:lnTo>
                  <a:pt x="103" y="21"/>
                </a:lnTo>
                <a:lnTo>
                  <a:pt x="100" y="21"/>
                </a:lnTo>
                <a:lnTo>
                  <a:pt x="100" y="22"/>
                </a:lnTo>
                <a:lnTo>
                  <a:pt x="101" y="22"/>
                </a:lnTo>
                <a:lnTo>
                  <a:pt x="101" y="23"/>
                </a:lnTo>
                <a:lnTo>
                  <a:pt x="103" y="24"/>
                </a:lnTo>
                <a:lnTo>
                  <a:pt x="101" y="25"/>
                </a:lnTo>
                <a:lnTo>
                  <a:pt x="101" y="30"/>
                </a:lnTo>
                <a:lnTo>
                  <a:pt x="99" y="30"/>
                </a:lnTo>
                <a:lnTo>
                  <a:pt x="99" y="29"/>
                </a:lnTo>
                <a:lnTo>
                  <a:pt x="98" y="29"/>
                </a:lnTo>
                <a:lnTo>
                  <a:pt x="98" y="30"/>
                </a:lnTo>
                <a:lnTo>
                  <a:pt x="99" y="30"/>
                </a:lnTo>
                <a:lnTo>
                  <a:pt x="99" y="31"/>
                </a:lnTo>
                <a:lnTo>
                  <a:pt x="97" y="30"/>
                </a:lnTo>
                <a:lnTo>
                  <a:pt x="96" y="28"/>
                </a:lnTo>
                <a:lnTo>
                  <a:pt x="96" y="18"/>
                </a:lnTo>
                <a:lnTo>
                  <a:pt x="97" y="17"/>
                </a:lnTo>
                <a:lnTo>
                  <a:pt x="97" y="21"/>
                </a:lnTo>
                <a:lnTo>
                  <a:pt x="98" y="21"/>
                </a:lnTo>
                <a:lnTo>
                  <a:pt x="98" y="11"/>
                </a:lnTo>
                <a:lnTo>
                  <a:pt x="99" y="10"/>
                </a:lnTo>
                <a:close/>
                <a:moveTo>
                  <a:pt x="107" y="0"/>
                </a:moveTo>
                <a:lnTo>
                  <a:pt x="109" y="0"/>
                </a:lnTo>
                <a:lnTo>
                  <a:pt x="109" y="4"/>
                </a:lnTo>
                <a:lnTo>
                  <a:pt x="107" y="4"/>
                </a:lnTo>
                <a:lnTo>
                  <a:pt x="107" y="5"/>
                </a:lnTo>
                <a:lnTo>
                  <a:pt x="109" y="5"/>
                </a:lnTo>
                <a:lnTo>
                  <a:pt x="109" y="4"/>
                </a:lnTo>
                <a:lnTo>
                  <a:pt x="110" y="2"/>
                </a:lnTo>
                <a:lnTo>
                  <a:pt x="110" y="0"/>
                </a:lnTo>
                <a:lnTo>
                  <a:pt x="111" y="0"/>
                </a:lnTo>
                <a:lnTo>
                  <a:pt x="111" y="2"/>
                </a:lnTo>
                <a:lnTo>
                  <a:pt x="112" y="2"/>
                </a:lnTo>
                <a:lnTo>
                  <a:pt x="112" y="3"/>
                </a:lnTo>
                <a:lnTo>
                  <a:pt x="113" y="4"/>
                </a:lnTo>
                <a:lnTo>
                  <a:pt x="111" y="6"/>
                </a:lnTo>
                <a:lnTo>
                  <a:pt x="111" y="7"/>
                </a:lnTo>
                <a:lnTo>
                  <a:pt x="110" y="7"/>
                </a:lnTo>
                <a:lnTo>
                  <a:pt x="111" y="9"/>
                </a:lnTo>
                <a:lnTo>
                  <a:pt x="110" y="11"/>
                </a:lnTo>
                <a:lnTo>
                  <a:pt x="109" y="11"/>
                </a:lnTo>
                <a:lnTo>
                  <a:pt x="110" y="12"/>
                </a:lnTo>
                <a:lnTo>
                  <a:pt x="110" y="15"/>
                </a:lnTo>
                <a:lnTo>
                  <a:pt x="105" y="15"/>
                </a:lnTo>
                <a:lnTo>
                  <a:pt x="104" y="13"/>
                </a:lnTo>
                <a:lnTo>
                  <a:pt x="104" y="11"/>
                </a:lnTo>
                <a:lnTo>
                  <a:pt x="105" y="11"/>
                </a:lnTo>
                <a:lnTo>
                  <a:pt x="105" y="9"/>
                </a:lnTo>
                <a:lnTo>
                  <a:pt x="106" y="7"/>
                </a:lnTo>
                <a:lnTo>
                  <a:pt x="106" y="6"/>
                </a:lnTo>
                <a:lnTo>
                  <a:pt x="105" y="5"/>
                </a:lnTo>
                <a:lnTo>
                  <a:pt x="105" y="4"/>
                </a:lnTo>
                <a:lnTo>
                  <a:pt x="106" y="4"/>
                </a:lnTo>
                <a:lnTo>
                  <a:pt x="106" y="3"/>
                </a:lnTo>
                <a:lnTo>
                  <a:pt x="107" y="3"/>
                </a:lnTo>
                <a:lnTo>
                  <a:pt x="107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0" name="Freeform 41">
            <a:extLst>
              <a:ext uri="{FF2B5EF4-FFF2-40B4-BE49-F238E27FC236}">
                <a16:creationId xmlns:a16="http://schemas.microsoft.com/office/drawing/2014/main" id="{42E3F66E-6309-42E3-9474-C9F3D23FD443}"/>
              </a:ext>
            </a:extLst>
          </p:cNvPr>
          <p:cNvSpPr>
            <a:spLocks noEditPoints="1"/>
          </p:cNvSpPr>
          <p:nvPr/>
        </p:nvSpPr>
        <p:spPr bwMode="auto">
          <a:xfrm>
            <a:off x="1589584" y="4206126"/>
            <a:ext cx="559291" cy="762143"/>
          </a:xfrm>
          <a:custGeom>
            <a:avLst/>
            <a:gdLst/>
            <a:ahLst/>
            <a:cxnLst>
              <a:cxn ang="0">
                <a:pos x="96" y="98"/>
              </a:cxn>
              <a:cxn ang="0">
                <a:pos x="85" y="92"/>
              </a:cxn>
              <a:cxn ang="0">
                <a:pos x="319" y="59"/>
              </a:cxn>
              <a:cxn ang="0">
                <a:pos x="277" y="51"/>
              </a:cxn>
              <a:cxn ang="0">
                <a:pos x="220" y="40"/>
              </a:cxn>
              <a:cxn ang="0">
                <a:pos x="125" y="43"/>
              </a:cxn>
              <a:cxn ang="0">
                <a:pos x="332" y="55"/>
              </a:cxn>
              <a:cxn ang="0">
                <a:pos x="313" y="45"/>
              </a:cxn>
              <a:cxn ang="0">
                <a:pos x="322" y="42"/>
              </a:cxn>
              <a:cxn ang="0">
                <a:pos x="305" y="41"/>
              </a:cxn>
              <a:cxn ang="0">
                <a:pos x="313" y="30"/>
              </a:cxn>
              <a:cxn ang="0">
                <a:pos x="148" y="19"/>
              </a:cxn>
              <a:cxn ang="0">
                <a:pos x="174" y="28"/>
              </a:cxn>
              <a:cxn ang="0">
                <a:pos x="181" y="53"/>
              </a:cxn>
              <a:cxn ang="0">
                <a:pos x="212" y="71"/>
              </a:cxn>
              <a:cxn ang="0">
                <a:pos x="237" y="78"/>
              </a:cxn>
              <a:cxn ang="0">
                <a:pos x="271" y="58"/>
              </a:cxn>
              <a:cxn ang="0">
                <a:pos x="288" y="48"/>
              </a:cxn>
              <a:cxn ang="0">
                <a:pos x="314" y="61"/>
              </a:cxn>
              <a:cxn ang="0">
                <a:pos x="333" y="76"/>
              </a:cxn>
              <a:cxn ang="0">
                <a:pos x="345" y="82"/>
              </a:cxn>
              <a:cxn ang="0">
                <a:pos x="334" y="65"/>
              </a:cxn>
              <a:cxn ang="0">
                <a:pos x="352" y="97"/>
              </a:cxn>
              <a:cxn ang="0">
                <a:pos x="360" y="134"/>
              </a:cxn>
              <a:cxn ang="0">
                <a:pos x="370" y="185"/>
              </a:cxn>
              <a:cxn ang="0">
                <a:pos x="375" y="246"/>
              </a:cxn>
              <a:cxn ang="0">
                <a:pos x="373" y="298"/>
              </a:cxn>
              <a:cxn ang="0">
                <a:pos x="353" y="294"/>
              </a:cxn>
              <a:cxn ang="0">
                <a:pos x="313" y="314"/>
              </a:cxn>
              <a:cxn ang="0">
                <a:pos x="273" y="336"/>
              </a:cxn>
              <a:cxn ang="0">
                <a:pos x="270" y="349"/>
              </a:cxn>
              <a:cxn ang="0">
                <a:pos x="284" y="384"/>
              </a:cxn>
              <a:cxn ang="0">
                <a:pos x="321" y="421"/>
              </a:cxn>
              <a:cxn ang="0">
                <a:pos x="329" y="447"/>
              </a:cxn>
              <a:cxn ang="0">
                <a:pos x="291" y="476"/>
              </a:cxn>
              <a:cxn ang="0">
                <a:pos x="292" y="506"/>
              </a:cxn>
              <a:cxn ang="0">
                <a:pos x="268" y="501"/>
              </a:cxn>
              <a:cxn ang="0">
                <a:pos x="216" y="518"/>
              </a:cxn>
              <a:cxn ang="0">
                <a:pos x="192" y="513"/>
              </a:cxn>
              <a:cxn ang="0">
                <a:pos x="173" y="512"/>
              </a:cxn>
              <a:cxn ang="0">
                <a:pos x="123" y="500"/>
              </a:cxn>
              <a:cxn ang="0">
                <a:pos x="111" y="503"/>
              </a:cxn>
              <a:cxn ang="0">
                <a:pos x="74" y="508"/>
              </a:cxn>
              <a:cxn ang="0">
                <a:pos x="78" y="461"/>
              </a:cxn>
              <a:cxn ang="0">
                <a:pos x="85" y="415"/>
              </a:cxn>
              <a:cxn ang="0">
                <a:pos x="49" y="410"/>
              </a:cxn>
              <a:cxn ang="0">
                <a:pos x="21" y="380"/>
              </a:cxn>
              <a:cxn ang="0">
                <a:pos x="11" y="353"/>
              </a:cxn>
              <a:cxn ang="0">
                <a:pos x="15" y="320"/>
              </a:cxn>
              <a:cxn ang="0">
                <a:pos x="5" y="288"/>
              </a:cxn>
              <a:cxn ang="0">
                <a:pos x="10" y="243"/>
              </a:cxn>
              <a:cxn ang="0">
                <a:pos x="22" y="230"/>
              </a:cxn>
              <a:cxn ang="0">
                <a:pos x="43" y="207"/>
              </a:cxn>
              <a:cxn ang="0">
                <a:pos x="50" y="162"/>
              </a:cxn>
              <a:cxn ang="0">
                <a:pos x="54" y="109"/>
              </a:cxn>
              <a:cxn ang="0">
                <a:pos x="102" y="120"/>
              </a:cxn>
              <a:cxn ang="0">
                <a:pos x="112" y="95"/>
              </a:cxn>
              <a:cxn ang="0">
                <a:pos x="168" y="110"/>
              </a:cxn>
              <a:cxn ang="0">
                <a:pos x="131" y="77"/>
              </a:cxn>
              <a:cxn ang="0">
                <a:pos x="121" y="56"/>
              </a:cxn>
              <a:cxn ang="0">
                <a:pos x="118" y="19"/>
              </a:cxn>
              <a:cxn ang="0">
                <a:pos x="106" y="3"/>
              </a:cxn>
            </a:cxnLst>
            <a:rect l="0" t="0" r="r" b="b"/>
            <a:pathLst>
              <a:path w="386" h="526">
                <a:moveTo>
                  <a:pt x="111" y="117"/>
                </a:moveTo>
                <a:lnTo>
                  <a:pt x="111" y="122"/>
                </a:lnTo>
                <a:lnTo>
                  <a:pt x="112" y="123"/>
                </a:lnTo>
                <a:lnTo>
                  <a:pt x="112" y="122"/>
                </a:lnTo>
                <a:lnTo>
                  <a:pt x="111" y="117"/>
                </a:lnTo>
                <a:close/>
                <a:moveTo>
                  <a:pt x="37" y="105"/>
                </a:moveTo>
                <a:lnTo>
                  <a:pt x="40" y="105"/>
                </a:lnTo>
                <a:lnTo>
                  <a:pt x="40" y="107"/>
                </a:lnTo>
                <a:lnTo>
                  <a:pt x="36" y="107"/>
                </a:lnTo>
                <a:lnTo>
                  <a:pt x="36" y="109"/>
                </a:lnTo>
                <a:lnTo>
                  <a:pt x="35" y="109"/>
                </a:lnTo>
                <a:lnTo>
                  <a:pt x="35" y="108"/>
                </a:lnTo>
                <a:lnTo>
                  <a:pt x="34" y="108"/>
                </a:lnTo>
                <a:lnTo>
                  <a:pt x="34" y="107"/>
                </a:lnTo>
                <a:lnTo>
                  <a:pt x="35" y="107"/>
                </a:lnTo>
                <a:lnTo>
                  <a:pt x="37" y="105"/>
                </a:lnTo>
                <a:close/>
                <a:moveTo>
                  <a:pt x="50" y="99"/>
                </a:moveTo>
                <a:lnTo>
                  <a:pt x="52" y="101"/>
                </a:lnTo>
                <a:lnTo>
                  <a:pt x="43" y="102"/>
                </a:lnTo>
                <a:lnTo>
                  <a:pt x="44" y="101"/>
                </a:lnTo>
                <a:lnTo>
                  <a:pt x="50" y="99"/>
                </a:lnTo>
                <a:close/>
                <a:moveTo>
                  <a:pt x="96" y="97"/>
                </a:moveTo>
                <a:lnTo>
                  <a:pt x="98" y="97"/>
                </a:lnTo>
                <a:lnTo>
                  <a:pt x="97" y="98"/>
                </a:lnTo>
                <a:lnTo>
                  <a:pt x="96" y="98"/>
                </a:lnTo>
                <a:lnTo>
                  <a:pt x="96" y="97"/>
                </a:lnTo>
                <a:close/>
                <a:moveTo>
                  <a:pt x="65" y="97"/>
                </a:moveTo>
                <a:lnTo>
                  <a:pt x="67" y="97"/>
                </a:lnTo>
                <a:lnTo>
                  <a:pt x="66" y="98"/>
                </a:lnTo>
                <a:lnTo>
                  <a:pt x="65" y="97"/>
                </a:lnTo>
                <a:close/>
                <a:moveTo>
                  <a:pt x="56" y="97"/>
                </a:moveTo>
                <a:lnTo>
                  <a:pt x="63" y="97"/>
                </a:lnTo>
                <a:lnTo>
                  <a:pt x="63" y="98"/>
                </a:lnTo>
                <a:lnTo>
                  <a:pt x="61" y="98"/>
                </a:lnTo>
                <a:lnTo>
                  <a:pt x="55" y="99"/>
                </a:lnTo>
                <a:lnTo>
                  <a:pt x="54" y="98"/>
                </a:lnTo>
                <a:lnTo>
                  <a:pt x="56" y="97"/>
                </a:lnTo>
                <a:close/>
                <a:moveTo>
                  <a:pt x="68" y="95"/>
                </a:moveTo>
                <a:lnTo>
                  <a:pt x="74" y="95"/>
                </a:lnTo>
                <a:lnTo>
                  <a:pt x="74" y="96"/>
                </a:lnTo>
                <a:lnTo>
                  <a:pt x="69" y="96"/>
                </a:lnTo>
                <a:lnTo>
                  <a:pt x="69" y="97"/>
                </a:lnTo>
                <a:lnTo>
                  <a:pt x="68" y="97"/>
                </a:lnTo>
                <a:lnTo>
                  <a:pt x="68" y="95"/>
                </a:lnTo>
                <a:close/>
                <a:moveTo>
                  <a:pt x="78" y="93"/>
                </a:moveTo>
                <a:lnTo>
                  <a:pt x="83" y="93"/>
                </a:lnTo>
                <a:lnTo>
                  <a:pt x="81" y="95"/>
                </a:lnTo>
                <a:lnTo>
                  <a:pt x="77" y="95"/>
                </a:lnTo>
                <a:lnTo>
                  <a:pt x="78" y="93"/>
                </a:lnTo>
                <a:close/>
                <a:moveTo>
                  <a:pt x="85" y="92"/>
                </a:moveTo>
                <a:lnTo>
                  <a:pt x="87" y="92"/>
                </a:lnTo>
                <a:lnTo>
                  <a:pt x="88" y="93"/>
                </a:lnTo>
                <a:lnTo>
                  <a:pt x="85" y="93"/>
                </a:lnTo>
                <a:lnTo>
                  <a:pt x="85" y="92"/>
                </a:lnTo>
                <a:close/>
                <a:moveTo>
                  <a:pt x="236" y="76"/>
                </a:moveTo>
                <a:lnTo>
                  <a:pt x="237" y="77"/>
                </a:lnTo>
                <a:lnTo>
                  <a:pt x="236" y="80"/>
                </a:lnTo>
                <a:lnTo>
                  <a:pt x="236" y="78"/>
                </a:lnTo>
                <a:lnTo>
                  <a:pt x="235" y="78"/>
                </a:lnTo>
                <a:lnTo>
                  <a:pt x="235" y="80"/>
                </a:lnTo>
                <a:lnTo>
                  <a:pt x="234" y="80"/>
                </a:lnTo>
                <a:lnTo>
                  <a:pt x="233" y="79"/>
                </a:lnTo>
                <a:lnTo>
                  <a:pt x="236" y="76"/>
                </a:lnTo>
                <a:close/>
                <a:moveTo>
                  <a:pt x="242" y="71"/>
                </a:moveTo>
                <a:lnTo>
                  <a:pt x="240" y="73"/>
                </a:lnTo>
                <a:lnTo>
                  <a:pt x="240" y="72"/>
                </a:lnTo>
                <a:lnTo>
                  <a:pt x="242" y="71"/>
                </a:lnTo>
                <a:close/>
                <a:moveTo>
                  <a:pt x="243" y="70"/>
                </a:moveTo>
                <a:lnTo>
                  <a:pt x="242" y="71"/>
                </a:lnTo>
                <a:lnTo>
                  <a:pt x="243" y="70"/>
                </a:lnTo>
                <a:close/>
                <a:moveTo>
                  <a:pt x="316" y="58"/>
                </a:moveTo>
                <a:lnTo>
                  <a:pt x="316" y="60"/>
                </a:lnTo>
                <a:lnTo>
                  <a:pt x="317" y="60"/>
                </a:lnTo>
                <a:lnTo>
                  <a:pt x="317" y="59"/>
                </a:lnTo>
                <a:lnTo>
                  <a:pt x="319" y="59"/>
                </a:lnTo>
                <a:lnTo>
                  <a:pt x="320" y="60"/>
                </a:lnTo>
                <a:lnTo>
                  <a:pt x="320" y="61"/>
                </a:lnTo>
                <a:lnTo>
                  <a:pt x="316" y="61"/>
                </a:lnTo>
                <a:lnTo>
                  <a:pt x="315" y="60"/>
                </a:lnTo>
                <a:lnTo>
                  <a:pt x="315" y="59"/>
                </a:lnTo>
                <a:lnTo>
                  <a:pt x="316" y="58"/>
                </a:lnTo>
                <a:close/>
                <a:moveTo>
                  <a:pt x="330" y="55"/>
                </a:moveTo>
                <a:lnTo>
                  <a:pt x="332" y="55"/>
                </a:lnTo>
                <a:lnTo>
                  <a:pt x="332" y="56"/>
                </a:lnTo>
                <a:lnTo>
                  <a:pt x="329" y="56"/>
                </a:lnTo>
                <a:lnTo>
                  <a:pt x="330" y="55"/>
                </a:lnTo>
                <a:close/>
                <a:moveTo>
                  <a:pt x="308" y="55"/>
                </a:moveTo>
                <a:lnTo>
                  <a:pt x="309" y="56"/>
                </a:lnTo>
                <a:lnTo>
                  <a:pt x="308" y="56"/>
                </a:lnTo>
                <a:lnTo>
                  <a:pt x="308" y="55"/>
                </a:lnTo>
                <a:close/>
                <a:moveTo>
                  <a:pt x="277" y="52"/>
                </a:moveTo>
                <a:lnTo>
                  <a:pt x="277" y="53"/>
                </a:lnTo>
                <a:lnTo>
                  <a:pt x="276" y="53"/>
                </a:lnTo>
                <a:lnTo>
                  <a:pt x="277" y="52"/>
                </a:lnTo>
                <a:close/>
                <a:moveTo>
                  <a:pt x="277" y="51"/>
                </a:moveTo>
                <a:lnTo>
                  <a:pt x="277" y="52"/>
                </a:lnTo>
                <a:lnTo>
                  <a:pt x="277" y="51"/>
                </a:lnTo>
                <a:close/>
                <a:moveTo>
                  <a:pt x="278" y="49"/>
                </a:moveTo>
                <a:lnTo>
                  <a:pt x="278" y="51"/>
                </a:lnTo>
                <a:lnTo>
                  <a:pt x="277" y="51"/>
                </a:lnTo>
                <a:lnTo>
                  <a:pt x="278" y="49"/>
                </a:lnTo>
                <a:close/>
                <a:moveTo>
                  <a:pt x="282" y="42"/>
                </a:moveTo>
                <a:lnTo>
                  <a:pt x="282" y="43"/>
                </a:lnTo>
                <a:lnTo>
                  <a:pt x="284" y="46"/>
                </a:lnTo>
                <a:lnTo>
                  <a:pt x="297" y="46"/>
                </a:lnTo>
                <a:lnTo>
                  <a:pt x="298" y="47"/>
                </a:lnTo>
                <a:lnTo>
                  <a:pt x="297" y="48"/>
                </a:lnTo>
                <a:lnTo>
                  <a:pt x="296" y="48"/>
                </a:lnTo>
                <a:lnTo>
                  <a:pt x="291" y="47"/>
                </a:lnTo>
                <a:lnTo>
                  <a:pt x="288" y="47"/>
                </a:lnTo>
                <a:lnTo>
                  <a:pt x="288" y="48"/>
                </a:lnTo>
                <a:lnTo>
                  <a:pt x="286" y="48"/>
                </a:lnTo>
                <a:lnTo>
                  <a:pt x="285" y="47"/>
                </a:lnTo>
                <a:lnTo>
                  <a:pt x="285" y="48"/>
                </a:lnTo>
                <a:lnTo>
                  <a:pt x="284" y="48"/>
                </a:lnTo>
                <a:lnTo>
                  <a:pt x="284" y="49"/>
                </a:lnTo>
                <a:lnTo>
                  <a:pt x="283" y="49"/>
                </a:lnTo>
                <a:lnTo>
                  <a:pt x="282" y="51"/>
                </a:lnTo>
                <a:lnTo>
                  <a:pt x="280" y="51"/>
                </a:lnTo>
                <a:lnTo>
                  <a:pt x="280" y="49"/>
                </a:lnTo>
                <a:lnTo>
                  <a:pt x="278" y="49"/>
                </a:lnTo>
                <a:lnTo>
                  <a:pt x="278" y="48"/>
                </a:lnTo>
                <a:lnTo>
                  <a:pt x="280" y="43"/>
                </a:lnTo>
                <a:lnTo>
                  <a:pt x="282" y="42"/>
                </a:lnTo>
                <a:close/>
                <a:moveTo>
                  <a:pt x="220" y="40"/>
                </a:moveTo>
                <a:lnTo>
                  <a:pt x="222" y="40"/>
                </a:lnTo>
                <a:lnTo>
                  <a:pt x="226" y="41"/>
                </a:lnTo>
                <a:lnTo>
                  <a:pt x="228" y="43"/>
                </a:lnTo>
                <a:lnTo>
                  <a:pt x="230" y="48"/>
                </a:lnTo>
                <a:lnTo>
                  <a:pt x="226" y="47"/>
                </a:lnTo>
                <a:lnTo>
                  <a:pt x="224" y="48"/>
                </a:lnTo>
                <a:lnTo>
                  <a:pt x="222" y="48"/>
                </a:lnTo>
                <a:lnTo>
                  <a:pt x="221" y="47"/>
                </a:lnTo>
                <a:lnTo>
                  <a:pt x="222" y="46"/>
                </a:lnTo>
                <a:lnTo>
                  <a:pt x="221" y="46"/>
                </a:lnTo>
                <a:lnTo>
                  <a:pt x="221" y="45"/>
                </a:lnTo>
                <a:lnTo>
                  <a:pt x="220" y="45"/>
                </a:lnTo>
                <a:lnTo>
                  <a:pt x="220" y="46"/>
                </a:lnTo>
                <a:lnTo>
                  <a:pt x="218" y="46"/>
                </a:lnTo>
                <a:lnTo>
                  <a:pt x="218" y="45"/>
                </a:lnTo>
                <a:lnTo>
                  <a:pt x="217" y="45"/>
                </a:lnTo>
                <a:lnTo>
                  <a:pt x="218" y="41"/>
                </a:lnTo>
                <a:lnTo>
                  <a:pt x="220" y="40"/>
                </a:lnTo>
                <a:close/>
                <a:moveTo>
                  <a:pt x="128" y="40"/>
                </a:moveTo>
                <a:lnTo>
                  <a:pt x="131" y="40"/>
                </a:lnTo>
                <a:lnTo>
                  <a:pt x="131" y="41"/>
                </a:lnTo>
                <a:lnTo>
                  <a:pt x="128" y="45"/>
                </a:lnTo>
                <a:lnTo>
                  <a:pt x="125" y="45"/>
                </a:lnTo>
                <a:lnTo>
                  <a:pt x="124" y="43"/>
                </a:lnTo>
                <a:lnTo>
                  <a:pt x="125" y="43"/>
                </a:lnTo>
                <a:lnTo>
                  <a:pt x="125" y="42"/>
                </a:lnTo>
                <a:lnTo>
                  <a:pt x="124" y="42"/>
                </a:lnTo>
                <a:lnTo>
                  <a:pt x="127" y="41"/>
                </a:lnTo>
                <a:lnTo>
                  <a:pt x="128" y="40"/>
                </a:lnTo>
                <a:close/>
                <a:moveTo>
                  <a:pt x="119" y="37"/>
                </a:moveTo>
                <a:lnTo>
                  <a:pt x="119" y="40"/>
                </a:lnTo>
                <a:lnTo>
                  <a:pt x="118" y="42"/>
                </a:lnTo>
                <a:lnTo>
                  <a:pt x="116" y="42"/>
                </a:lnTo>
                <a:lnTo>
                  <a:pt x="116" y="40"/>
                </a:lnTo>
                <a:lnTo>
                  <a:pt x="117" y="39"/>
                </a:lnTo>
                <a:lnTo>
                  <a:pt x="119" y="37"/>
                </a:lnTo>
                <a:close/>
                <a:moveTo>
                  <a:pt x="327" y="35"/>
                </a:moveTo>
                <a:lnTo>
                  <a:pt x="330" y="39"/>
                </a:lnTo>
                <a:lnTo>
                  <a:pt x="329" y="41"/>
                </a:lnTo>
                <a:lnTo>
                  <a:pt x="327" y="42"/>
                </a:lnTo>
                <a:lnTo>
                  <a:pt x="326" y="43"/>
                </a:lnTo>
                <a:lnTo>
                  <a:pt x="326" y="47"/>
                </a:lnTo>
                <a:lnTo>
                  <a:pt x="327" y="47"/>
                </a:lnTo>
                <a:lnTo>
                  <a:pt x="327" y="48"/>
                </a:lnTo>
                <a:lnTo>
                  <a:pt x="328" y="48"/>
                </a:lnTo>
                <a:lnTo>
                  <a:pt x="330" y="49"/>
                </a:lnTo>
                <a:lnTo>
                  <a:pt x="332" y="52"/>
                </a:lnTo>
                <a:lnTo>
                  <a:pt x="333" y="53"/>
                </a:lnTo>
                <a:lnTo>
                  <a:pt x="333" y="54"/>
                </a:lnTo>
                <a:lnTo>
                  <a:pt x="332" y="55"/>
                </a:lnTo>
                <a:lnTo>
                  <a:pt x="332" y="54"/>
                </a:lnTo>
                <a:lnTo>
                  <a:pt x="328" y="54"/>
                </a:lnTo>
                <a:lnTo>
                  <a:pt x="329" y="53"/>
                </a:lnTo>
                <a:lnTo>
                  <a:pt x="322" y="53"/>
                </a:lnTo>
                <a:lnTo>
                  <a:pt x="322" y="54"/>
                </a:lnTo>
                <a:lnTo>
                  <a:pt x="320" y="55"/>
                </a:lnTo>
                <a:lnTo>
                  <a:pt x="319" y="56"/>
                </a:lnTo>
                <a:lnTo>
                  <a:pt x="319" y="58"/>
                </a:lnTo>
                <a:lnTo>
                  <a:pt x="315" y="58"/>
                </a:lnTo>
                <a:lnTo>
                  <a:pt x="315" y="59"/>
                </a:lnTo>
                <a:lnTo>
                  <a:pt x="311" y="59"/>
                </a:lnTo>
                <a:lnTo>
                  <a:pt x="310" y="58"/>
                </a:lnTo>
                <a:lnTo>
                  <a:pt x="310" y="56"/>
                </a:lnTo>
                <a:lnTo>
                  <a:pt x="309" y="56"/>
                </a:lnTo>
                <a:lnTo>
                  <a:pt x="309" y="55"/>
                </a:lnTo>
                <a:lnTo>
                  <a:pt x="307" y="54"/>
                </a:lnTo>
                <a:lnTo>
                  <a:pt x="307" y="52"/>
                </a:lnTo>
                <a:lnTo>
                  <a:pt x="308" y="51"/>
                </a:lnTo>
                <a:lnTo>
                  <a:pt x="313" y="51"/>
                </a:lnTo>
                <a:lnTo>
                  <a:pt x="311" y="49"/>
                </a:lnTo>
                <a:lnTo>
                  <a:pt x="311" y="48"/>
                </a:lnTo>
                <a:lnTo>
                  <a:pt x="310" y="47"/>
                </a:lnTo>
                <a:lnTo>
                  <a:pt x="308" y="47"/>
                </a:lnTo>
                <a:lnTo>
                  <a:pt x="310" y="45"/>
                </a:lnTo>
                <a:lnTo>
                  <a:pt x="313" y="45"/>
                </a:lnTo>
                <a:lnTo>
                  <a:pt x="313" y="43"/>
                </a:lnTo>
                <a:lnTo>
                  <a:pt x="311" y="42"/>
                </a:lnTo>
                <a:lnTo>
                  <a:pt x="311" y="41"/>
                </a:lnTo>
                <a:lnTo>
                  <a:pt x="309" y="41"/>
                </a:lnTo>
                <a:lnTo>
                  <a:pt x="308" y="40"/>
                </a:lnTo>
                <a:lnTo>
                  <a:pt x="308" y="39"/>
                </a:lnTo>
                <a:lnTo>
                  <a:pt x="309" y="39"/>
                </a:lnTo>
                <a:lnTo>
                  <a:pt x="311" y="37"/>
                </a:lnTo>
                <a:lnTo>
                  <a:pt x="313" y="37"/>
                </a:lnTo>
                <a:lnTo>
                  <a:pt x="313" y="39"/>
                </a:lnTo>
                <a:lnTo>
                  <a:pt x="314" y="39"/>
                </a:lnTo>
                <a:lnTo>
                  <a:pt x="314" y="40"/>
                </a:lnTo>
                <a:lnTo>
                  <a:pt x="315" y="40"/>
                </a:lnTo>
                <a:lnTo>
                  <a:pt x="314" y="39"/>
                </a:lnTo>
                <a:lnTo>
                  <a:pt x="315" y="37"/>
                </a:lnTo>
                <a:lnTo>
                  <a:pt x="315" y="36"/>
                </a:lnTo>
                <a:lnTo>
                  <a:pt x="317" y="36"/>
                </a:lnTo>
                <a:lnTo>
                  <a:pt x="316" y="37"/>
                </a:lnTo>
                <a:lnTo>
                  <a:pt x="316" y="40"/>
                </a:lnTo>
                <a:lnTo>
                  <a:pt x="317" y="40"/>
                </a:lnTo>
                <a:lnTo>
                  <a:pt x="317" y="39"/>
                </a:lnTo>
                <a:lnTo>
                  <a:pt x="319" y="39"/>
                </a:lnTo>
                <a:lnTo>
                  <a:pt x="319" y="41"/>
                </a:lnTo>
                <a:lnTo>
                  <a:pt x="320" y="42"/>
                </a:lnTo>
                <a:lnTo>
                  <a:pt x="322" y="42"/>
                </a:lnTo>
                <a:lnTo>
                  <a:pt x="323" y="41"/>
                </a:lnTo>
                <a:lnTo>
                  <a:pt x="323" y="39"/>
                </a:lnTo>
                <a:lnTo>
                  <a:pt x="322" y="39"/>
                </a:lnTo>
                <a:lnTo>
                  <a:pt x="322" y="37"/>
                </a:lnTo>
                <a:lnTo>
                  <a:pt x="323" y="37"/>
                </a:lnTo>
                <a:lnTo>
                  <a:pt x="323" y="36"/>
                </a:lnTo>
                <a:lnTo>
                  <a:pt x="322" y="37"/>
                </a:lnTo>
                <a:lnTo>
                  <a:pt x="320" y="37"/>
                </a:lnTo>
                <a:lnTo>
                  <a:pt x="320" y="36"/>
                </a:lnTo>
                <a:lnTo>
                  <a:pt x="321" y="36"/>
                </a:lnTo>
                <a:lnTo>
                  <a:pt x="327" y="35"/>
                </a:lnTo>
                <a:close/>
                <a:moveTo>
                  <a:pt x="317" y="34"/>
                </a:moveTo>
                <a:lnTo>
                  <a:pt x="319" y="34"/>
                </a:lnTo>
                <a:lnTo>
                  <a:pt x="319" y="35"/>
                </a:lnTo>
                <a:lnTo>
                  <a:pt x="320" y="36"/>
                </a:lnTo>
                <a:lnTo>
                  <a:pt x="319" y="36"/>
                </a:lnTo>
                <a:lnTo>
                  <a:pt x="317" y="35"/>
                </a:lnTo>
                <a:lnTo>
                  <a:pt x="317" y="34"/>
                </a:lnTo>
                <a:close/>
                <a:moveTo>
                  <a:pt x="307" y="34"/>
                </a:moveTo>
                <a:lnTo>
                  <a:pt x="308" y="34"/>
                </a:lnTo>
                <a:lnTo>
                  <a:pt x="308" y="35"/>
                </a:lnTo>
                <a:lnTo>
                  <a:pt x="307" y="35"/>
                </a:lnTo>
                <a:lnTo>
                  <a:pt x="307" y="39"/>
                </a:lnTo>
                <a:lnTo>
                  <a:pt x="305" y="40"/>
                </a:lnTo>
                <a:lnTo>
                  <a:pt x="305" y="41"/>
                </a:lnTo>
                <a:lnTo>
                  <a:pt x="304" y="41"/>
                </a:lnTo>
                <a:lnTo>
                  <a:pt x="305" y="36"/>
                </a:lnTo>
                <a:lnTo>
                  <a:pt x="305" y="35"/>
                </a:lnTo>
                <a:lnTo>
                  <a:pt x="307" y="34"/>
                </a:lnTo>
                <a:close/>
                <a:moveTo>
                  <a:pt x="317" y="28"/>
                </a:moveTo>
                <a:lnTo>
                  <a:pt x="319" y="28"/>
                </a:lnTo>
                <a:lnTo>
                  <a:pt x="320" y="29"/>
                </a:lnTo>
                <a:lnTo>
                  <a:pt x="320" y="30"/>
                </a:lnTo>
                <a:lnTo>
                  <a:pt x="319" y="30"/>
                </a:lnTo>
                <a:lnTo>
                  <a:pt x="317" y="31"/>
                </a:lnTo>
                <a:lnTo>
                  <a:pt x="317" y="34"/>
                </a:lnTo>
                <a:lnTo>
                  <a:pt x="316" y="34"/>
                </a:lnTo>
                <a:lnTo>
                  <a:pt x="316" y="35"/>
                </a:lnTo>
                <a:lnTo>
                  <a:pt x="315" y="35"/>
                </a:lnTo>
                <a:lnTo>
                  <a:pt x="315" y="36"/>
                </a:lnTo>
                <a:lnTo>
                  <a:pt x="314" y="37"/>
                </a:lnTo>
                <a:lnTo>
                  <a:pt x="313" y="37"/>
                </a:lnTo>
                <a:lnTo>
                  <a:pt x="311" y="36"/>
                </a:lnTo>
                <a:lnTo>
                  <a:pt x="313" y="35"/>
                </a:lnTo>
                <a:lnTo>
                  <a:pt x="313" y="34"/>
                </a:lnTo>
                <a:lnTo>
                  <a:pt x="314" y="33"/>
                </a:lnTo>
                <a:lnTo>
                  <a:pt x="314" y="31"/>
                </a:lnTo>
                <a:lnTo>
                  <a:pt x="311" y="31"/>
                </a:lnTo>
                <a:lnTo>
                  <a:pt x="311" y="30"/>
                </a:lnTo>
                <a:lnTo>
                  <a:pt x="313" y="30"/>
                </a:lnTo>
                <a:lnTo>
                  <a:pt x="317" y="28"/>
                </a:lnTo>
                <a:close/>
                <a:moveTo>
                  <a:pt x="104" y="28"/>
                </a:moveTo>
                <a:lnTo>
                  <a:pt x="106" y="31"/>
                </a:lnTo>
                <a:lnTo>
                  <a:pt x="108" y="33"/>
                </a:lnTo>
                <a:lnTo>
                  <a:pt x="104" y="33"/>
                </a:lnTo>
                <a:lnTo>
                  <a:pt x="104" y="31"/>
                </a:lnTo>
                <a:lnTo>
                  <a:pt x="103" y="30"/>
                </a:lnTo>
                <a:lnTo>
                  <a:pt x="104" y="28"/>
                </a:lnTo>
                <a:close/>
                <a:moveTo>
                  <a:pt x="110" y="23"/>
                </a:moveTo>
                <a:lnTo>
                  <a:pt x="114" y="23"/>
                </a:lnTo>
                <a:lnTo>
                  <a:pt x="116" y="25"/>
                </a:lnTo>
                <a:lnTo>
                  <a:pt x="115" y="27"/>
                </a:lnTo>
                <a:lnTo>
                  <a:pt x="115" y="28"/>
                </a:lnTo>
                <a:lnTo>
                  <a:pt x="110" y="28"/>
                </a:lnTo>
                <a:lnTo>
                  <a:pt x="108" y="27"/>
                </a:lnTo>
                <a:lnTo>
                  <a:pt x="108" y="24"/>
                </a:lnTo>
                <a:lnTo>
                  <a:pt x="109" y="24"/>
                </a:lnTo>
                <a:lnTo>
                  <a:pt x="110" y="23"/>
                </a:lnTo>
                <a:close/>
                <a:moveTo>
                  <a:pt x="124" y="12"/>
                </a:moveTo>
                <a:lnTo>
                  <a:pt x="129" y="12"/>
                </a:lnTo>
                <a:lnTo>
                  <a:pt x="131" y="15"/>
                </a:lnTo>
                <a:lnTo>
                  <a:pt x="141" y="16"/>
                </a:lnTo>
                <a:lnTo>
                  <a:pt x="142" y="17"/>
                </a:lnTo>
                <a:lnTo>
                  <a:pt x="142" y="19"/>
                </a:lnTo>
                <a:lnTo>
                  <a:pt x="148" y="19"/>
                </a:lnTo>
                <a:lnTo>
                  <a:pt x="148" y="18"/>
                </a:lnTo>
                <a:lnTo>
                  <a:pt x="149" y="18"/>
                </a:lnTo>
                <a:lnTo>
                  <a:pt x="149" y="19"/>
                </a:lnTo>
                <a:lnTo>
                  <a:pt x="152" y="19"/>
                </a:lnTo>
                <a:lnTo>
                  <a:pt x="154" y="18"/>
                </a:lnTo>
                <a:lnTo>
                  <a:pt x="155" y="17"/>
                </a:lnTo>
                <a:lnTo>
                  <a:pt x="156" y="17"/>
                </a:lnTo>
                <a:lnTo>
                  <a:pt x="156" y="16"/>
                </a:lnTo>
                <a:lnTo>
                  <a:pt x="158" y="15"/>
                </a:lnTo>
                <a:lnTo>
                  <a:pt x="158" y="18"/>
                </a:lnTo>
                <a:lnTo>
                  <a:pt x="162" y="18"/>
                </a:lnTo>
                <a:lnTo>
                  <a:pt x="164" y="19"/>
                </a:lnTo>
                <a:lnTo>
                  <a:pt x="165" y="19"/>
                </a:lnTo>
                <a:lnTo>
                  <a:pt x="167" y="22"/>
                </a:lnTo>
                <a:lnTo>
                  <a:pt x="167" y="23"/>
                </a:lnTo>
                <a:lnTo>
                  <a:pt x="168" y="23"/>
                </a:lnTo>
                <a:lnTo>
                  <a:pt x="171" y="22"/>
                </a:lnTo>
                <a:lnTo>
                  <a:pt x="171" y="21"/>
                </a:lnTo>
                <a:lnTo>
                  <a:pt x="173" y="22"/>
                </a:lnTo>
                <a:lnTo>
                  <a:pt x="173" y="23"/>
                </a:lnTo>
                <a:lnTo>
                  <a:pt x="174" y="25"/>
                </a:lnTo>
                <a:lnTo>
                  <a:pt x="174" y="27"/>
                </a:lnTo>
                <a:lnTo>
                  <a:pt x="175" y="27"/>
                </a:lnTo>
                <a:lnTo>
                  <a:pt x="175" y="28"/>
                </a:lnTo>
                <a:lnTo>
                  <a:pt x="174" y="28"/>
                </a:lnTo>
                <a:lnTo>
                  <a:pt x="173" y="27"/>
                </a:lnTo>
                <a:lnTo>
                  <a:pt x="173" y="28"/>
                </a:lnTo>
                <a:lnTo>
                  <a:pt x="172" y="28"/>
                </a:lnTo>
                <a:lnTo>
                  <a:pt x="172" y="29"/>
                </a:lnTo>
                <a:lnTo>
                  <a:pt x="174" y="29"/>
                </a:lnTo>
                <a:lnTo>
                  <a:pt x="175" y="30"/>
                </a:lnTo>
                <a:lnTo>
                  <a:pt x="175" y="29"/>
                </a:lnTo>
                <a:lnTo>
                  <a:pt x="177" y="29"/>
                </a:lnTo>
                <a:lnTo>
                  <a:pt x="177" y="36"/>
                </a:lnTo>
                <a:lnTo>
                  <a:pt x="175" y="37"/>
                </a:lnTo>
                <a:lnTo>
                  <a:pt x="175" y="40"/>
                </a:lnTo>
                <a:lnTo>
                  <a:pt x="174" y="40"/>
                </a:lnTo>
                <a:lnTo>
                  <a:pt x="172" y="42"/>
                </a:lnTo>
                <a:lnTo>
                  <a:pt x="170" y="43"/>
                </a:lnTo>
                <a:lnTo>
                  <a:pt x="168" y="43"/>
                </a:lnTo>
                <a:lnTo>
                  <a:pt x="170" y="45"/>
                </a:lnTo>
                <a:lnTo>
                  <a:pt x="180" y="42"/>
                </a:lnTo>
                <a:lnTo>
                  <a:pt x="181" y="42"/>
                </a:lnTo>
                <a:lnTo>
                  <a:pt x="184" y="45"/>
                </a:lnTo>
                <a:lnTo>
                  <a:pt x="183" y="46"/>
                </a:lnTo>
                <a:lnTo>
                  <a:pt x="183" y="51"/>
                </a:lnTo>
                <a:lnTo>
                  <a:pt x="180" y="51"/>
                </a:lnTo>
                <a:lnTo>
                  <a:pt x="181" y="52"/>
                </a:lnTo>
                <a:lnTo>
                  <a:pt x="180" y="52"/>
                </a:lnTo>
                <a:lnTo>
                  <a:pt x="181" y="53"/>
                </a:lnTo>
                <a:lnTo>
                  <a:pt x="181" y="54"/>
                </a:lnTo>
                <a:lnTo>
                  <a:pt x="183" y="53"/>
                </a:lnTo>
                <a:lnTo>
                  <a:pt x="184" y="51"/>
                </a:lnTo>
                <a:lnTo>
                  <a:pt x="184" y="48"/>
                </a:lnTo>
                <a:lnTo>
                  <a:pt x="186" y="48"/>
                </a:lnTo>
                <a:lnTo>
                  <a:pt x="187" y="47"/>
                </a:lnTo>
                <a:lnTo>
                  <a:pt x="187" y="46"/>
                </a:lnTo>
                <a:lnTo>
                  <a:pt x="190" y="46"/>
                </a:lnTo>
                <a:lnTo>
                  <a:pt x="191" y="47"/>
                </a:lnTo>
                <a:lnTo>
                  <a:pt x="201" y="52"/>
                </a:lnTo>
                <a:lnTo>
                  <a:pt x="204" y="55"/>
                </a:lnTo>
                <a:lnTo>
                  <a:pt x="208" y="55"/>
                </a:lnTo>
                <a:lnTo>
                  <a:pt x="211" y="52"/>
                </a:lnTo>
                <a:lnTo>
                  <a:pt x="212" y="52"/>
                </a:lnTo>
                <a:lnTo>
                  <a:pt x="215" y="51"/>
                </a:lnTo>
                <a:lnTo>
                  <a:pt x="217" y="51"/>
                </a:lnTo>
                <a:lnTo>
                  <a:pt x="218" y="52"/>
                </a:lnTo>
                <a:lnTo>
                  <a:pt x="222" y="49"/>
                </a:lnTo>
                <a:lnTo>
                  <a:pt x="223" y="51"/>
                </a:lnTo>
                <a:lnTo>
                  <a:pt x="221" y="52"/>
                </a:lnTo>
                <a:lnTo>
                  <a:pt x="221" y="64"/>
                </a:lnTo>
                <a:lnTo>
                  <a:pt x="220" y="64"/>
                </a:lnTo>
                <a:lnTo>
                  <a:pt x="220" y="65"/>
                </a:lnTo>
                <a:lnTo>
                  <a:pt x="215" y="68"/>
                </a:lnTo>
                <a:lnTo>
                  <a:pt x="212" y="71"/>
                </a:lnTo>
                <a:lnTo>
                  <a:pt x="209" y="71"/>
                </a:lnTo>
                <a:lnTo>
                  <a:pt x="206" y="74"/>
                </a:lnTo>
                <a:lnTo>
                  <a:pt x="208" y="76"/>
                </a:lnTo>
                <a:lnTo>
                  <a:pt x="208" y="77"/>
                </a:lnTo>
                <a:lnTo>
                  <a:pt x="209" y="78"/>
                </a:lnTo>
                <a:lnTo>
                  <a:pt x="211" y="78"/>
                </a:lnTo>
                <a:lnTo>
                  <a:pt x="212" y="79"/>
                </a:lnTo>
                <a:lnTo>
                  <a:pt x="212" y="80"/>
                </a:lnTo>
                <a:lnTo>
                  <a:pt x="215" y="80"/>
                </a:lnTo>
                <a:lnTo>
                  <a:pt x="217" y="78"/>
                </a:lnTo>
                <a:lnTo>
                  <a:pt x="220" y="77"/>
                </a:lnTo>
                <a:lnTo>
                  <a:pt x="226" y="77"/>
                </a:lnTo>
                <a:lnTo>
                  <a:pt x="226" y="79"/>
                </a:lnTo>
                <a:lnTo>
                  <a:pt x="228" y="79"/>
                </a:lnTo>
                <a:lnTo>
                  <a:pt x="227" y="82"/>
                </a:lnTo>
                <a:lnTo>
                  <a:pt x="228" y="83"/>
                </a:lnTo>
                <a:lnTo>
                  <a:pt x="229" y="83"/>
                </a:lnTo>
                <a:lnTo>
                  <a:pt x="232" y="80"/>
                </a:lnTo>
                <a:lnTo>
                  <a:pt x="232" y="82"/>
                </a:lnTo>
                <a:lnTo>
                  <a:pt x="233" y="83"/>
                </a:lnTo>
                <a:lnTo>
                  <a:pt x="234" y="83"/>
                </a:lnTo>
                <a:lnTo>
                  <a:pt x="236" y="85"/>
                </a:lnTo>
                <a:lnTo>
                  <a:pt x="236" y="83"/>
                </a:lnTo>
                <a:lnTo>
                  <a:pt x="237" y="82"/>
                </a:lnTo>
                <a:lnTo>
                  <a:pt x="237" y="78"/>
                </a:lnTo>
                <a:lnTo>
                  <a:pt x="239" y="77"/>
                </a:lnTo>
                <a:lnTo>
                  <a:pt x="239" y="76"/>
                </a:lnTo>
                <a:lnTo>
                  <a:pt x="241" y="76"/>
                </a:lnTo>
                <a:lnTo>
                  <a:pt x="242" y="73"/>
                </a:lnTo>
                <a:lnTo>
                  <a:pt x="243" y="73"/>
                </a:lnTo>
                <a:lnTo>
                  <a:pt x="243" y="70"/>
                </a:lnTo>
                <a:lnTo>
                  <a:pt x="245" y="67"/>
                </a:lnTo>
                <a:lnTo>
                  <a:pt x="246" y="67"/>
                </a:lnTo>
                <a:lnTo>
                  <a:pt x="248" y="66"/>
                </a:lnTo>
                <a:lnTo>
                  <a:pt x="252" y="67"/>
                </a:lnTo>
                <a:lnTo>
                  <a:pt x="261" y="65"/>
                </a:lnTo>
                <a:lnTo>
                  <a:pt x="262" y="64"/>
                </a:lnTo>
                <a:lnTo>
                  <a:pt x="264" y="66"/>
                </a:lnTo>
                <a:lnTo>
                  <a:pt x="262" y="68"/>
                </a:lnTo>
                <a:lnTo>
                  <a:pt x="262" y="70"/>
                </a:lnTo>
                <a:lnTo>
                  <a:pt x="264" y="71"/>
                </a:lnTo>
                <a:lnTo>
                  <a:pt x="264" y="66"/>
                </a:lnTo>
                <a:lnTo>
                  <a:pt x="265" y="66"/>
                </a:lnTo>
                <a:lnTo>
                  <a:pt x="265" y="65"/>
                </a:lnTo>
                <a:lnTo>
                  <a:pt x="264" y="65"/>
                </a:lnTo>
                <a:lnTo>
                  <a:pt x="265" y="62"/>
                </a:lnTo>
                <a:lnTo>
                  <a:pt x="266" y="62"/>
                </a:lnTo>
                <a:lnTo>
                  <a:pt x="267" y="60"/>
                </a:lnTo>
                <a:lnTo>
                  <a:pt x="268" y="60"/>
                </a:lnTo>
                <a:lnTo>
                  <a:pt x="271" y="58"/>
                </a:lnTo>
                <a:lnTo>
                  <a:pt x="273" y="56"/>
                </a:lnTo>
                <a:lnTo>
                  <a:pt x="276" y="53"/>
                </a:lnTo>
                <a:lnTo>
                  <a:pt x="276" y="55"/>
                </a:lnTo>
                <a:lnTo>
                  <a:pt x="274" y="55"/>
                </a:lnTo>
                <a:lnTo>
                  <a:pt x="274" y="56"/>
                </a:lnTo>
                <a:lnTo>
                  <a:pt x="276" y="58"/>
                </a:lnTo>
                <a:lnTo>
                  <a:pt x="274" y="59"/>
                </a:lnTo>
                <a:lnTo>
                  <a:pt x="277" y="60"/>
                </a:lnTo>
                <a:lnTo>
                  <a:pt x="278" y="60"/>
                </a:lnTo>
                <a:lnTo>
                  <a:pt x="278" y="59"/>
                </a:lnTo>
                <a:lnTo>
                  <a:pt x="277" y="59"/>
                </a:lnTo>
                <a:lnTo>
                  <a:pt x="277" y="56"/>
                </a:lnTo>
                <a:lnTo>
                  <a:pt x="278" y="56"/>
                </a:lnTo>
                <a:lnTo>
                  <a:pt x="278" y="55"/>
                </a:lnTo>
                <a:lnTo>
                  <a:pt x="279" y="55"/>
                </a:lnTo>
                <a:lnTo>
                  <a:pt x="279" y="54"/>
                </a:lnTo>
                <a:lnTo>
                  <a:pt x="280" y="53"/>
                </a:lnTo>
                <a:lnTo>
                  <a:pt x="283" y="52"/>
                </a:lnTo>
                <a:lnTo>
                  <a:pt x="282" y="52"/>
                </a:lnTo>
                <a:lnTo>
                  <a:pt x="282" y="51"/>
                </a:lnTo>
                <a:lnTo>
                  <a:pt x="284" y="51"/>
                </a:lnTo>
                <a:lnTo>
                  <a:pt x="284" y="52"/>
                </a:lnTo>
                <a:lnTo>
                  <a:pt x="285" y="51"/>
                </a:lnTo>
                <a:lnTo>
                  <a:pt x="288" y="49"/>
                </a:lnTo>
                <a:lnTo>
                  <a:pt x="288" y="48"/>
                </a:lnTo>
                <a:lnTo>
                  <a:pt x="290" y="48"/>
                </a:lnTo>
                <a:lnTo>
                  <a:pt x="289" y="49"/>
                </a:lnTo>
                <a:lnTo>
                  <a:pt x="290" y="49"/>
                </a:lnTo>
                <a:lnTo>
                  <a:pt x="290" y="51"/>
                </a:lnTo>
                <a:lnTo>
                  <a:pt x="292" y="51"/>
                </a:lnTo>
                <a:lnTo>
                  <a:pt x="293" y="52"/>
                </a:lnTo>
                <a:lnTo>
                  <a:pt x="296" y="52"/>
                </a:lnTo>
                <a:lnTo>
                  <a:pt x="297" y="51"/>
                </a:lnTo>
                <a:lnTo>
                  <a:pt x="297" y="49"/>
                </a:lnTo>
                <a:lnTo>
                  <a:pt x="298" y="48"/>
                </a:lnTo>
                <a:lnTo>
                  <a:pt x="301" y="47"/>
                </a:lnTo>
                <a:lnTo>
                  <a:pt x="302" y="46"/>
                </a:lnTo>
                <a:lnTo>
                  <a:pt x="303" y="47"/>
                </a:lnTo>
                <a:lnTo>
                  <a:pt x="302" y="47"/>
                </a:lnTo>
                <a:lnTo>
                  <a:pt x="302" y="48"/>
                </a:lnTo>
                <a:lnTo>
                  <a:pt x="303" y="49"/>
                </a:lnTo>
                <a:lnTo>
                  <a:pt x="305" y="51"/>
                </a:lnTo>
                <a:lnTo>
                  <a:pt x="304" y="53"/>
                </a:lnTo>
                <a:lnTo>
                  <a:pt x="307" y="55"/>
                </a:lnTo>
                <a:lnTo>
                  <a:pt x="307" y="58"/>
                </a:lnTo>
                <a:lnTo>
                  <a:pt x="309" y="58"/>
                </a:lnTo>
                <a:lnTo>
                  <a:pt x="309" y="59"/>
                </a:lnTo>
                <a:lnTo>
                  <a:pt x="311" y="60"/>
                </a:lnTo>
                <a:lnTo>
                  <a:pt x="313" y="60"/>
                </a:lnTo>
                <a:lnTo>
                  <a:pt x="314" y="61"/>
                </a:lnTo>
                <a:lnTo>
                  <a:pt x="315" y="64"/>
                </a:lnTo>
                <a:lnTo>
                  <a:pt x="316" y="65"/>
                </a:lnTo>
                <a:lnTo>
                  <a:pt x="315" y="65"/>
                </a:lnTo>
                <a:lnTo>
                  <a:pt x="315" y="66"/>
                </a:lnTo>
                <a:lnTo>
                  <a:pt x="316" y="66"/>
                </a:lnTo>
                <a:lnTo>
                  <a:pt x="317" y="65"/>
                </a:lnTo>
                <a:lnTo>
                  <a:pt x="319" y="66"/>
                </a:lnTo>
                <a:lnTo>
                  <a:pt x="317" y="66"/>
                </a:lnTo>
                <a:lnTo>
                  <a:pt x="317" y="67"/>
                </a:lnTo>
                <a:lnTo>
                  <a:pt x="320" y="67"/>
                </a:lnTo>
                <a:lnTo>
                  <a:pt x="320" y="68"/>
                </a:lnTo>
                <a:lnTo>
                  <a:pt x="321" y="70"/>
                </a:lnTo>
                <a:lnTo>
                  <a:pt x="321" y="71"/>
                </a:lnTo>
                <a:lnTo>
                  <a:pt x="322" y="71"/>
                </a:lnTo>
                <a:lnTo>
                  <a:pt x="322" y="68"/>
                </a:lnTo>
                <a:lnTo>
                  <a:pt x="327" y="68"/>
                </a:lnTo>
                <a:lnTo>
                  <a:pt x="328" y="67"/>
                </a:lnTo>
                <a:lnTo>
                  <a:pt x="330" y="66"/>
                </a:lnTo>
                <a:lnTo>
                  <a:pt x="330" y="67"/>
                </a:lnTo>
                <a:lnTo>
                  <a:pt x="332" y="67"/>
                </a:lnTo>
                <a:lnTo>
                  <a:pt x="335" y="71"/>
                </a:lnTo>
                <a:lnTo>
                  <a:pt x="335" y="72"/>
                </a:lnTo>
                <a:lnTo>
                  <a:pt x="334" y="73"/>
                </a:lnTo>
                <a:lnTo>
                  <a:pt x="334" y="74"/>
                </a:lnTo>
                <a:lnTo>
                  <a:pt x="333" y="76"/>
                </a:lnTo>
                <a:lnTo>
                  <a:pt x="334" y="77"/>
                </a:lnTo>
                <a:lnTo>
                  <a:pt x="335" y="77"/>
                </a:lnTo>
                <a:lnTo>
                  <a:pt x="335" y="78"/>
                </a:lnTo>
                <a:lnTo>
                  <a:pt x="336" y="79"/>
                </a:lnTo>
                <a:lnTo>
                  <a:pt x="338" y="79"/>
                </a:lnTo>
                <a:lnTo>
                  <a:pt x="338" y="82"/>
                </a:lnTo>
                <a:lnTo>
                  <a:pt x="340" y="82"/>
                </a:lnTo>
                <a:lnTo>
                  <a:pt x="340" y="84"/>
                </a:lnTo>
                <a:lnTo>
                  <a:pt x="339" y="84"/>
                </a:lnTo>
                <a:lnTo>
                  <a:pt x="335" y="88"/>
                </a:lnTo>
                <a:lnTo>
                  <a:pt x="336" y="89"/>
                </a:lnTo>
                <a:lnTo>
                  <a:pt x="336" y="88"/>
                </a:lnTo>
                <a:lnTo>
                  <a:pt x="338" y="86"/>
                </a:lnTo>
                <a:lnTo>
                  <a:pt x="339" y="86"/>
                </a:lnTo>
                <a:lnTo>
                  <a:pt x="340" y="85"/>
                </a:lnTo>
                <a:lnTo>
                  <a:pt x="341" y="85"/>
                </a:lnTo>
                <a:lnTo>
                  <a:pt x="341" y="83"/>
                </a:lnTo>
                <a:lnTo>
                  <a:pt x="340" y="80"/>
                </a:lnTo>
                <a:lnTo>
                  <a:pt x="340" y="78"/>
                </a:lnTo>
                <a:lnTo>
                  <a:pt x="341" y="78"/>
                </a:lnTo>
                <a:lnTo>
                  <a:pt x="342" y="79"/>
                </a:lnTo>
                <a:lnTo>
                  <a:pt x="342" y="82"/>
                </a:lnTo>
                <a:lnTo>
                  <a:pt x="344" y="80"/>
                </a:lnTo>
                <a:lnTo>
                  <a:pt x="345" y="80"/>
                </a:lnTo>
                <a:lnTo>
                  <a:pt x="345" y="82"/>
                </a:lnTo>
                <a:lnTo>
                  <a:pt x="346" y="79"/>
                </a:lnTo>
                <a:lnTo>
                  <a:pt x="346" y="78"/>
                </a:lnTo>
                <a:lnTo>
                  <a:pt x="344" y="76"/>
                </a:lnTo>
                <a:lnTo>
                  <a:pt x="344" y="74"/>
                </a:lnTo>
                <a:lnTo>
                  <a:pt x="342" y="74"/>
                </a:lnTo>
                <a:lnTo>
                  <a:pt x="342" y="73"/>
                </a:lnTo>
                <a:lnTo>
                  <a:pt x="340" y="73"/>
                </a:lnTo>
                <a:lnTo>
                  <a:pt x="340" y="77"/>
                </a:lnTo>
                <a:lnTo>
                  <a:pt x="339" y="77"/>
                </a:lnTo>
                <a:lnTo>
                  <a:pt x="338" y="78"/>
                </a:lnTo>
                <a:lnTo>
                  <a:pt x="338" y="77"/>
                </a:lnTo>
                <a:lnTo>
                  <a:pt x="339" y="76"/>
                </a:lnTo>
                <a:lnTo>
                  <a:pt x="338" y="74"/>
                </a:lnTo>
                <a:lnTo>
                  <a:pt x="336" y="76"/>
                </a:lnTo>
                <a:lnTo>
                  <a:pt x="335" y="76"/>
                </a:lnTo>
                <a:lnTo>
                  <a:pt x="335" y="77"/>
                </a:lnTo>
                <a:lnTo>
                  <a:pt x="334" y="77"/>
                </a:lnTo>
                <a:lnTo>
                  <a:pt x="334" y="74"/>
                </a:lnTo>
                <a:lnTo>
                  <a:pt x="335" y="72"/>
                </a:lnTo>
                <a:lnTo>
                  <a:pt x="336" y="71"/>
                </a:lnTo>
                <a:lnTo>
                  <a:pt x="335" y="70"/>
                </a:lnTo>
                <a:lnTo>
                  <a:pt x="334" y="67"/>
                </a:lnTo>
                <a:lnTo>
                  <a:pt x="333" y="67"/>
                </a:lnTo>
                <a:lnTo>
                  <a:pt x="334" y="66"/>
                </a:lnTo>
                <a:lnTo>
                  <a:pt x="334" y="65"/>
                </a:lnTo>
                <a:lnTo>
                  <a:pt x="335" y="65"/>
                </a:lnTo>
                <a:lnTo>
                  <a:pt x="336" y="66"/>
                </a:lnTo>
                <a:lnTo>
                  <a:pt x="338" y="68"/>
                </a:lnTo>
                <a:lnTo>
                  <a:pt x="338" y="70"/>
                </a:lnTo>
                <a:lnTo>
                  <a:pt x="339" y="71"/>
                </a:lnTo>
                <a:lnTo>
                  <a:pt x="344" y="73"/>
                </a:lnTo>
                <a:lnTo>
                  <a:pt x="345" y="73"/>
                </a:lnTo>
                <a:lnTo>
                  <a:pt x="352" y="82"/>
                </a:lnTo>
                <a:lnTo>
                  <a:pt x="352" y="84"/>
                </a:lnTo>
                <a:lnTo>
                  <a:pt x="351" y="85"/>
                </a:lnTo>
                <a:lnTo>
                  <a:pt x="352" y="85"/>
                </a:lnTo>
                <a:lnTo>
                  <a:pt x="352" y="86"/>
                </a:lnTo>
                <a:lnTo>
                  <a:pt x="347" y="88"/>
                </a:lnTo>
                <a:lnTo>
                  <a:pt x="346" y="88"/>
                </a:lnTo>
                <a:lnTo>
                  <a:pt x="346" y="86"/>
                </a:lnTo>
                <a:lnTo>
                  <a:pt x="344" y="89"/>
                </a:lnTo>
                <a:lnTo>
                  <a:pt x="338" y="89"/>
                </a:lnTo>
                <a:lnTo>
                  <a:pt x="338" y="90"/>
                </a:lnTo>
                <a:lnTo>
                  <a:pt x="339" y="91"/>
                </a:lnTo>
                <a:lnTo>
                  <a:pt x="340" y="91"/>
                </a:lnTo>
                <a:lnTo>
                  <a:pt x="342" y="93"/>
                </a:lnTo>
                <a:lnTo>
                  <a:pt x="345" y="95"/>
                </a:lnTo>
                <a:lnTo>
                  <a:pt x="345" y="96"/>
                </a:lnTo>
                <a:lnTo>
                  <a:pt x="348" y="96"/>
                </a:lnTo>
                <a:lnTo>
                  <a:pt x="352" y="97"/>
                </a:lnTo>
                <a:lnTo>
                  <a:pt x="353" y="96"/>
                </a:lnTo>
                <a:lnTo>
                  <a:pt x="353" y="95"/>
                </a:lnTo>
                <a:lnTo>
                  <a:pt x="354" y="95"/>
                </a:lnTo>
                <a:lnTo>
                  <a:pt x="354" y="96"/>
                </a:lnTo>
                <a:lnTo>
                  <a:pt x="355" y="97"/>
                </a:lnTo>
                <a:lnTo>
                  <a:pt x="354" y="97"/>
                </a:lnTo>
                <a:lnTo>
                  <a:pt x="353" y="98"/>
                </a:lnTo>
                <a:lnTo>
                  <a:pt x="353" y="99"/>
                </a:lnTo>
                <a:lnTo>
                  <a:pt x="354" y="99"/>
                </a:lnTo>
                <a:lnTo>
                  <a:pt x="354" y="103"/>
                </a:lnTo>
                <a:lnTo>
                  <a:pt x="355" y="104"/>
                </a:lnTo>
                <a:lnTo>
                  <a:pt x="357" y="107"/>
                </a:lnTo>
                <a:lnTo>
                  <a:pt x="357" y="113"/>
                </a:lnTo>
                <a:lnTo>
                  <a:pt x="358" y="115"/>
                </a:lnTo>
                <a:lnTo>
                  <a:pt x="358" y="116"/>
                </a:lnTo>
                <a:lnTo>
                  <a:pt x="359" y="117"/>
                </a:lnTo>
                <a:lnTo>
                  <a:pt x="359" y="121"/>
                </a:lnTo>
                <a:lnTo>
                  <a:pt x="360" y="126"/>
                </a:lnTo>
                <a:lnTo>
                  <a:pt x="360" y="129"/>
                </a:lnTo>
                <a:lnTo>
                  <a:pt x="361" y="129"/>
                </a:lnTo>
                <a:lnTo>
                  <a:pt x="361" y="131"/>
                </a:lnTo>
                <a:lnTo>
                  <a:pt x="363" y="132"/>
                </a:lnTo>
                <a:lnTo>
                  <a:pt x="361" y="133"/>
                </a:lnTo>
                <a:lnTo>
                  <a:pt x="361" y="134"/>
                </a:lnTo>
                <a:lnTo>
                  <a:pt x="360" y="134"/>
                </a:lnTo>
                <a:lnTo>
                  <a:pt x="360" y="135"/>
                </a:lnTo>
                <a:lnTo>
                  <a:pt x="359" y="136"/>
                </a:lnTo>
                <a:lnTo>
                  <a:pt x="360" y="138"/>
                </a:lnTo>
                <a:lnTo>
                  <a:pt x="360" y="140"/>
                </a:lnTo>
                <a:lnTo>
                  <a:pt x="359" y="144"/>
                </a:lnTo>
                <a:lnTo>
                  <a:pt x="358" y="145"/>
                </a:lnTo>
                <a:lnTo>
                  <a:pt x="357" y="147"/>
                </a:lnTo>
                <a:lnTo>
                  <a:pt x="352" y="150"/>
                </a:lnTo>
                <a:lnTo>
                  <a:pt x="350" y="152"/>
                </a:lnTo>
                <a:lnTo>
                  <a:pt x="350" y="153"/>
                </a:lnTo>
                <a:lnTo>
                  <a:pt x="351" y="156"/>
                </a:lnTo>
                <a:lnTo>
                  <a:pt x="351" y="158"/>
                </a:lnTo>
                <a:lnTo>
                  <a:pt x="350" y="158"/>
                </a:lnTo>
                <a:lnTo>
                  <a:pt x="348" y="159"/>
                </a:lnTo>
                <a:lnTo>
                  <a:pt x="351" y="162"/>
                </a:lnTo>
                <a:lnTo>
                  <a:pt x="353" y="162"/>
                </a:lnTo>
                <a:lnTo>
                  <a:pt x="355" y="164"/>
                </a:lnTo>
                <a:lnTo>
                  <a:pt x="360" y="168"/>
                </a:lnTo>
                <a:lnTo>
                  <a:pt x="361" y="171"/>
                </a:lnTo>
                <a:lnTo>
                  <a:pt x="363" y="171"/>
                </a:lnTo>
                <a:lnTo>
                  <a:pt x="364" y="174"/>
                </a:lnTo>
                <a:lnTo>
                  <a:pt x="367" y="175"/>
                </a:lnTo>
                <a:lnTo>
                  <a:pt x="371" y="178"/>
                </a:lnTo>
                <a:lnTo>
                  <a:pt x="370" y="181"/>
                </a:lnTo>
                <a:lnTo>
                  <a:pt x="370" y="185"/>
                </a:lnTo>
                <a:lnTo>
                  <a:pt x="366" y="189"/>
                </a:lnTo>
                <a:lnTo>
                  <a:pt x="366" y="191"/>
                </a:lnTo>
                <a:lnTo>
                  <a:pt x="367" y="195"/>
                </a:lnTo>
                <a:lnTo>
                  <a:pt x="369" y="197"/>
                </a:lnTo>
                <a:lnTo>
                  <a:pt x="369" y="199"/>
                </a:lnTo>
                <a:lnTo>
                  <a:pt x="370" y="199"/>
                </a:lnTo>
                <a:lnTo>
                  <a:pt x="371" y="200"/>
                </a:lnTo>
                <a:lnTo>
                  <a:pt x="372" y="200"/>
                </a:lnTo>
                <a:lnTo>
                  <a:pt x="373" y="201"/>
                </a:lnTo>
                <a:lnTo>
                  <a:pt x="373" y="208"/>
                </a:lnTo>
                <a:lnTo>
                  <a:pt x="372" y="209"/>
                </a:lnTo>
                <a:lnTo>
                  <a:pt x="376" y="213"/>
                </a:lnTo>
                <a:lnTo>
                  <a:pt x="375" y="214"/>
                </a:lnTo>
                <a:lnTo>
                  <a:pt x="375" y="217"/>
                </a:lnTo>
                <a:lnTo>
                  <a:pt x="373" y="218"/>
                </a:lnTo>
                <a:lnTo>
                  <a:pt x="373" y="222"/>
                </a:lnTo>
                <a:lnTo>
                  <a:pt x="372" y="224"/>
                </a:lnTo>
                <a:lnTo>
                  <a:pt x="372" y="225"/>
                </a:lnTo>
                <a:lnTo>
                  <a:pt x="369" y="228"/>
                </a:lnTo>
                <a:lnTo>
                  <a:pt x="369" y="232"/>
                </a:lnTo>
                <a:lnTo>
                  <a:pt x="371" y="234"/>
                </a:lnTo>
                <a:lnTo>
                  <a:pt x="371" y="238"/>
                </a:lnTo>
                <a:lnTo>
                  <a:pt x="372" y="238"/>
                </a:lnTo>
                <a:lnTo>
                  <a:pt x="375" y="240"/>
                </a:lnTo>
                <a:lnTo>
                  <a:pt x="375" y="246"/>
                </a:lnTo>
                <a:lnTo>
                  <a:pt x="373" y="248"/>
                </a:lnTo>
                <a:lnTo>
                  <a:pt x="373" y="250"/>
                </a:lnTo>
                <a:lnTo>
                  <a:pt x="375" y="251"/>
                </a:lnTo>
                <a:lnTo>
                  <a:pt x="377" y="252"/>
                </a:lnTo>
                <a:lnTo>
                  <a:pt x="378" y="252"/>
                </a:lnTo>
                <a:lnTo>
                  <a:pt x="379" y="254"/>
                </a:lnTo>
                <a:lnTo>
                  <a:pt x="380" y="254"/>
                </a:lnTo>
                <a:lnTo>
                  <a:pt x="382" y="255"/>
                </a:lnTo>
                <a:lnTo>
                  <a:pt x="383" y="255"/>
                </a:lnTo>
                <a:lnTo>
                  <a:pt x="384" y="256"/>
                </a:lnTo>
                <a:lnTo>
                  <a:pt x="384" y="264"/>
                </a:lnTo>
                <a:lnTo>
                  <a:pt x="386" y="267"/>
                </a:lnTo>
                <a:lnTo>
                  <a:pt x="386" y="271"/>
                </a:lnTo>
                <a:lnTo>
                  <a:pt x="385" y="273"/>
                </a:lnTo>
                <a:lnTo>
                  <a:pt x="385" y="279"/>
                </a:lnTo>
                <a:lnTo>
                  <a:pt x="384" y="279"/>
                </a:lnTo>
                <a:lnTo>
                  <a:pt x="384" y="281"/>
                </a:lnTo>
                <a:lnTo>
                  <a:pt x="382" y="286"/>
                </a:lnTo>
                <a:lnTo>
                  <a:pt x="380" y="292"/>
                </a:lnTo>
                <a:lnTo>
                  <a:pt x="378" y="293"/>
                </a:lnTo>
                <a:lnTo>
                  <a:pt x="378" y="295"/>
                </a:lnTo>
                <a:lnTo>
                  <a:pt x="377" y="297"/>
                </a:lnTo>
                <a:lnTo>
                  <a:pt x="377" y="299"/>
                </a:lnTo>
                <a:lnTo>
                  <a:pt x="375" y="299"/>
                </a:lnTo>
                <a:lnTo>
                  <a:pt x="373" y="298"/>
                </a:lnTo>
                <a:lnTo>
                  <a:pt x="371" y="297"/>
                </a:lnTo>
                <a:lnTo>
                  <a:pt x="370" y="297"/>
                </a:lnTo>
                <a:lnTo>
                  <a:pt x="370" y="293"/>
                </a:lnTo>
                <a:lnTo>
                  <a:pt x="371" y="292"/>
                </a:lnTo>
                <a:lnTo>
                  <a:pt x="370" y="292"/>
                </a:lnTo>
                <a:lnTo>
                  <a:pt x="370" y="291"/>
                </a:lnTo>
                <a:lnTo>
                  <a:pt x="367" y="292"/>
                </a:lnTo>
                <a:lnTo>
                  <a:pt x="367" y="286"/>
                </a:lnTo>
                <a:lnTo>
                  <a:pt x="365" y="286"/>
                </a:lnTo>
                <a:lnTo>
                  <a:pt x="365" y="285"/>
                </a:lnTo>
                <a:lnTo>
                  <a:pt x="359" y="285"/>
                </a:lnTo>
                <a:lnTo>
                  <a:pt x="359" y="283"/>
                </a:lnTo>
                <a:lnTo>
                  <a:pt x="355" y="283"/>
                </a:lnTo>
                <a:lnTo>
                  <a:pt x="354" y="285"/>
                </a:lnTo>
                <a:lnTo>
                  <a:pt x="354" y="286"/>
                </a:lnTo>
                <a:lnTo>
                  <a:pt x="353" y="287"/>
                </a:lnTo>
                <a:lnTo>
                  <a:pt x="355" y="287"/>
                </a:lnTo>
                <a:lnTo>
                  <a:pt x="357" y="288"/>
                </a:lnTo>
                <a:lnTo>
                  <a:pt x="355" y="288"/>
                </a:lnTo>
                <a:lnTo>
                  <a:pt x="355" y="289"/>
                </a:lnTo>
                <a:lnTo>
                  <a:pt x="357" y="291"/>
                </a:lnTo>
                <a:lnTo>
                  <a:pt x="360" y="291"/>
                </a:lnTo>
                <a:lnTo>
                  <a:pt x="359" y="293"/>
                </a:lnTo>
                <a:lnTo>
                  <a:pt x="358" y="294"/>
                </a:lnTo>
                <a:lnTo>
                  <a:pt x="353" y="294"/>
                </a:lnTo>
                <a:lnTo>
                  <a:pt x="352" y="295"/>
                </a:lnTo>
                <a:lnTo>
                  <a:pt x="352" y="297"/>
                </a:lnTo>
                <a:lnTo>
                  <a:pt x="345" y="299"/>
                </a:lnTo>
                <a:lnTo>
                  <a:pt x="341" y="299"/>
                </a:lnTo>
                <a:lnTo>
                  <a:pt x="341" y="300"/>
                </a:lnTo>
                <a:lnTo>
                  <a:pt x="339" y="300"/>
                </a:lnTo>
                <a:lnTo>
                  <a:pt x="339" y="304"/>
                </a:lnTo>
                <a:lnTo>
                  <a:pt x="338" y="304"/>
                </a:lnTo>
                <a:lnTo>
                  <a:pt x="336" y="305"/>
                </a:lnTo>
                <a:lnTo>
                  <a:pt x="334" y="304"/>
                </a:lnTo>
                <a:lnTo>
                  <a:pt x="333" y="305"/>
                </a:lnTo>
                <a:lnTo>
                  <a:pt x="324" y="305"/>
                </a:lnTo>
                <a:lnTo>
                  <a:pt x="323" y="306"/>
                </a:lnTo>
                <a:lnTo>
                  <a:pt x="323" y="310"/>
                </a:lnTo>
                <a:lnTo>
                  <a:pt x="322" y="310"/>
                </a:lnTo>
                <a:lnTo>
                  <a:pt x="322" y="311"/>
                </a:lnTo>
                <a:lnTo>
                  <a:pt x="321" y="312"/>
                </a:lnTo>
                <a:lnTo>
                  <a:pt x="321" y="313"/>
                </a:lnTo>
                <a:lnTo>
                  <a:pt x="320" y="313"/>
                </a:lnTo>
                <a:lnTo>
                  <a:pt x="317" y="311"/>
                </a:lnTo>
                <a:lnTo>
                  <a:pt x="316" y="311"/>
                </a:lnTo>
                <a:lnTo>
                  <a:pt x="315" y="312"/>
                </a:lnTo>
                <a:lnTo>
                  <a:pt x="315" y="313"/>
                </a:lnTo>
                <a:lnTo>
                  <a:pt x="314" y="314"/>
                </a:lnTo>
                <a:lnTo>
                  <a:pt x="313" y="314"/>
                </a:lnTo>
                <a:lnTo>
                  <a:pt x="313" y="313"/>
                </a:lnTo>
                <a:lnTo>
                  <a:pt x="311" y="313"/>
                </a:lnTo>
                <a:lnTo>
                  <a:pt x="310" y="318"/>
                </a:lnTo>
                <a:lnTo>
                  <a:pt x="309" y="318"/>
                </a:lnTo>
                <a:lnTo>
                  <a:pt x="308" y="319"/>
                </a:lnTo>
                <a:lnTo>
                  <a:pt x="302" y="319"/>
                </a:lnTo>
                <a:lnTo>
                  <a:pt x="302" y="324"/>
                </a:lnTo>
                <a:lnTo>
                  <a:pt x="301" y="324"/>
                </a:lnTo>
                <a:lnTo>
                  <a:pt x="299" y="325"/>
                </a:lnTo>
                <a:lnTo>
                  <a:pt x="298" y="325"/>
                </a:lnTo>
                <a:lnTo>
                  <a:pt x="293" y="323"/>
                </a:lnTo>
                <a:lnTo>
                  <a:pt x="292" y="324"/>
                </a:lnTo>
                <a:lnTo>
                  <a:pt x="290" y="324"/>
                </a:lnTo>
                <a:lnTo>
                  <a:pt x="289" y="325"/>
                </a:lnTo>
                <a:lnTo>
                  <a:pt x="289" y="326"/>
                </a:lnTo>
                <a:lnTo>
                  <a:pt x="280" y="326"/>
                </a:lnTo>
                <a:lnTo>
                  <a:pt x="279" y="328"/>
                </a:lnTo>
                <a:lnTo>
                  <a:pt x="279" y="330"/>
                </a:lnTo>
                <a:lnTo>
                  <a:pt x="278" y="330"/>
                </a:lnTo>
                <a:lnTo>
                  <a:pt x="277" y="331"/>
                </a:lnTo>
                <a:lnTo>
                  <a:pt x="276" y="331"/>
                </a:lnTo>
                <a:lnTo>
                  <a:pt x="274" y="334"/>
                </a:lnTo>
                <a:lnTo>
                  <a:pt x="274" y="335"/>
                </a:lnTo>
                <a:lnTo>
                  <a:pt x="273" y="335"/>
                </a:lnTo>
                <a:lnTo>
                  <a:pt x="273" y="336"/>
                </a:lnTo>
                <a:lnTo>
                  <a:pt x="272" y="337"/>
                </a:lnTo>
                <a:lnTo>
                  <a:pt x="272" y="342"/>
                </a:lnTo>
                <a:lnTo>
                  <a:pt x="271" y="342"/>
                </a:lnTo>
                <a:lnTo>
                  <a:pt x="271" y="340"/>
                </a:lnTo>
                <a:lnTo>
                  <a:pt x="270" y="338"/>
                </a:lnTo>
                <a:lnTo>
                  <a:pt x="270" y="337"/>
                </a:lnTo>
                <a:lnTo>
                  <a:pt x="268" y="337"/>
                </a:lnTo>
                <a:lnTo>
                  <a:pt x="268" y="336"/>
                </a:lnTo>
                <a:lnTo>
                  <a:pt x="270" y="336"/>
                </a:lnTo>
                <a:lnTo>
                  <a:pt x="270" y="335"/>
                </a:lnTo>
                <a:lnTo>
                  <a:pt x="267" y="335"/>
                </a:lnTo>
                <a:lnTo>
                  <a:pt x="266" y="334"/>
                </a:lnTo>
                <a:lnTo>
                  <a:pt x="266" y="331"/>
                </a:lnTo>
                <a:lnTo>
                  <a:pt x="262" y="331"/>
                </a:lnTo>
                <a:lnTo>
                  <a:pt x="264" y="332"/>
                </a:lnTo>
                <a:lnTo>
                  <a:pt x="264" y="336"/>
                </a:lnTo>
                <a:lnTo>
                  <a:pt x="262" y="336"/>
                </a:lnTo>
                <a:lnTo>
                  <a:pt x="262" y="337"/>
                </a:lnTo>
                <a:lnTo>
                  <a:pt x="265" y="338"/>
                </a:lnTo>
                <a:lnTo>
                  <a:pt x="266" y="340"/>
                </a:lnTo>
                <a:lnTo>
                  <a:pt x="266" y="341"/>
                </a:lnTo>
                <a:lnTo>
                  <a:pt x="267" y="341"/>
                </a:lnTo>
                <a:lnTo>
                  <a:pt x="267" y="346"/>
                </a:lnTo>
                <a:lnTo>
                  <a:pt x="270" y="348"/>
                </a:lnTo>
                <a:lnTo>
                  <a:pt x="270" y="349"/>
                </a:lnTo>
                <a:lnTo>
                  <a:pt x="276" y="353"/>
                </a:lnTo>
                <a:lnTo>
                  <a:pt x="277" y="353"/>
                </a:lnTo>
                <a:lnTo>
                  <a:pt x="278" y="354"/>
                </a:lnTo>
                <a:lnTo>
                  <a:pt x="279" y="354"/>
                </a:lnTo>
                <a:lnTo>
                  <a:pt x="279" y="356"/>
                </a:lnTo>
                <a:lnTo>
                  <a:pt x="280" y="357"/>
                </a:lnTo>
                <a:lnTo>
                  <a:pt x="282" y="357"/>
                </a:lnTo>
                <a:lnTo>
                  <a:pt x="282" y="360"/>
                </a:lnTo>
                <a:lnTo>
                  <a:pt x="280" y="361"/>
                </a:lnTo>
                <a:lnTo>
                  <a:pt x="280" y="362"/>
                </a:lnTo>
                <a:lnTo>
                  <a:pt x="278" y="365"/>
                </a:lnTo>
                <a:lnTo>
                  <a:pt x="278" y="367"/>
                </a:lnTo>
                <a:lnTo>
                  <a:pt x="276" y="368"/>
                </a:lnTo>
                <a:lnTo>
                  <a:pt x="276" y="371"/>
                </a:lnTo>
                <a:lnTo>
                  <a:pt x="277" y="372"/>
                </a:lnTo>
                <a:lnTo>
                  <a:pt x="278" y="372"/>
                </a:lnTo>
                <a:lnTo>
                  <a:pt x="278" y="373"/>
                </a:lnTo>
                <a:lnTo>
                  <a:pt x="279" y="373"/>
                </a:lnTo>
                <a:lnTo>
                  <a:pt x="280" y="374"/>
                </a:lnTo>
                <a:lnTo>
                  <a:pt x="280" y="378"/>
                </a:lnTo>
                <a:lnTo>
                  <a:pt x="282" y="378"/>
                </a:lnTo>
                <a:lnTo>
                  <a:pt x="283" y="379"/>
                </a:lnTo>
                <a:lnTo>
                  <a:pt x="283" y="383"/>
                </a:lnTo>
                <a:lnTo>
                  <a:pt x="284" y="383"/>
                </a:lnTo>
                <a:lnTo>
                  <a:pt x="284" y="384"/>
                </a:lnTo>
                <a:lnTo>
                  <a:pt x="285" y="384"/>
                </a:lnTo>
                <a:lnTo>
                  <a:pt x="285" y="387"/>
                </a:lnTo>
                <a:lnTo>
                  <a:pt x="286" y="389"/>
                </a:lnTo>
                <a:lnTo>
                  <a:pt x="286" y="390"/>
                </a:lnTo>
                <a:lnTo>
                  <a:pt x="288" y="390"/>
                </a:lnTo>
                <a:lnTo>
                  <a:pt x="290" y="392"/>
                </a:lnTo>
                <a:lnTo>
                  <a:pt x="291" y="394"/>
                </a:lnTo>
                <a:lnTo>
                  <a:pt x="292" y="396"/>
                </a:lnTo>
                <a:lnTo>
                  <a:pt x="296" y="397"/>
                </a:lnTo>
                <a:lnTo>
                  <a:pt x="296" y="396"/>
                </a:lnTo>
                <a:lnTo>
                  <a:pt x="299" y="396"/>
                </a:lnTo>
                <a:lnTo>
                  <a:pt x="299" y="397"/>
                </a:lnTo>
                <a:lnTo>
                  <a:pt x="301" y="398"/>
                </a:lnTo>
                <a:lnTo>
                  <a:pt x="302" y="398"/>
                </a:lnTo>
                <a:lnTo>
                  <a:pt x="302" y="399"/>
                </a:lnTo>
                <a:lnTo>
                  <a:pt x="303" y="402"/>
                </a:lnTo>
                <a:lnTo>
                  <a:pt x="304" y="402"/>
                </a:lnTo>
                <a:lnTo>
                  <a:pt x="308" y="408"/>
                </a:lnTo>
                <a:lnTo>
                  <a:pt x="308" y="409"/>
                </a:lnTo>
                <a:lnTo>
                  <a:pt x="309" y="410"/>
                </a:lnTo>
                <a:lnTo>
                  <a:pt x="314" y="410"/>
                </a:lnTo>
                <a:lnTo>
                  <a:pt x="314" y="411"/>
                </a:lnTo>
                <a:lnTo>
                  <a:pt x="317" y="415"/>
                </a:lnTo>
                <a:lnTo>
                  <a:pt x="317" y="417"/>
                </a:lnTo>
                <a:lnTo>
                  <a:pt x="321" y="421"/>
                </a:lnTo>
                <a:lnTo>
                  <a:pt x="322" y="421"/>
                </a:lnTo>
                <a:lnTo>
                  <a:pt x="322" y="420"/>
                </a:lnTo>
                <a:lnTo>
                  <a:pt x="324" y="420"/>
                </a:lnTo>
                <a:lnTo>
                  <a:pt x="326" y="421"/>
                </a:lnTo>
                <a:lnTo>
                  <a:pt x="327" y="421"/>
                </a:lnTo>
                <a:lnTo>
                  <a:pt x="327" y="422"/>
                </a:lnTo>
                <a:lnTo>
                  <a:pt x="328" y="423"/>
                </a:lnTo>
                <a:lnTo>
                  <a:pt x="328" y="424"/>
                </a:lnTo>
                <a:lnTo>
                  <a:pt x="329" y="424"/>
                </a:lnTo>
                <a:lnTo>
                  <a:pt x="329" y="426"/>
                </a:lnTo>
                <a:lnTo>
                  <a:pt x="332" y="426"/>
                </a:lnTo>
                <a:lnTo>
                  <a:pt x="333" y="427"/>
                </a:lnTo>
                <a:lnTo>
                  <a:pt x="335" y="432"/>
                </a:lnTo>
                <a:lnTo>
                  <a:pt x="336" y="432"/>
                </a:lnTo>
                <a:lnTo>
                  <a:pt x="334" y="435"/>
                </a:lnTo>
                <a:lnTo>
                  <a:pt x="335" y="435"/>
                </a:lnTo>
                <a:lnTo>
                  <a:pt x="335" y="436"/>
                </a:lnTo>
                <a:lnTo>
                  <a:pt x="336" y="436"/>
                </a:lnTo>
                <a:lnTo>
                  <a:pt x="335" y="437"/>
                </a:lnTo>
                <a:lnTo>
                  <a:pt x="335" y="442"/>
                </a:lnTo>
                <a:lnTo>
                  <a:pt x="334" y="445"/>
                </a:lnTo>
                <a:lnTo>
                  <a:pt x="333" y="445"/>
                </a:lnTo>
                <a:lnTo>
                  <a:pt x="332" y="446"/>
                </a:lnTo>
                <a:lnTo>
                  <a:pt x="332" y="447"/>
                </a:lnTo>
                <a:lnTo>
                  <a:pt x="329" y="447"/>
                </a:lnTo>
                <a:lnTo>
                  <a:pt x="329" y="446"/>
                </a:lnTo>
                <a:lnTo>
                  <a:pt x="328" y="446"/>
                </a:lnTo>
                <a:lnTo>
                  <a:pt x="328" y="445"/>
                </a:lnTo>
                <a:lnTo>
                  <a:pt x="323" y="443"/>
                </a:lnTo>
                <a:lnTo>
                  <a:pt x="322" y="443"/>
                </a:lnTo>
                <a:lnTo>
                  <a:pt x="321" y="445"/>
                </a:lnTo>
                <a:lnTo>
                  <a:pt x="320" y="445"/>
                </a:lnTo>
                <a:lnTo>
                  <a:pt x="320" y="447"/>
                </a:lnTo>
                <a:lnTo>
                  <a:pt x="321" y="447"/>
                </a:lnTo>
                <a:lnTo>
                  <a:pt x="321" y="448"/>
                </a:lnTo>
                <a:lnTo>
                  <a:pt x="320" y="449"/>
                </a:lnTo>
                <a:lnTo>
                  <a:pt x="320" y="455"/>
                </a:lnTo>
                <a:lnTo>
                  <a:pt x="315" y="460"/>
                </a:lnTo>
                <a:lnTo>
                  <a:pt x="313" y="461"/>
                </a:lnTo>
                <a:lnTo>
                  <a:pt x="307" y="463"/>
                </a:lnTo>
                <a:lnTo>
                  <a:pt x="303" y="464"/>
                </a:lnTo>
                <a:lnTo>
                  <a:pt x="299" y="467"/>
                </a:lnTo>
                <a:lnTo>
                  <a:pt x="298" y="467"/>
                </a:lnTo>
                <a:lnTo>
                  <a:pt x="296" y="469"/>
                </a:lnTo>
                <a:lnTo>
                  <a:pt x="295" y="469"/>
                </a:lnTo>
                <a:lnTo>
                  <a:pt x="295" y="470"/>
                </a:lnTo>
                <a:lnTo>
                  <a:pt x="291" y="473"/>
                </a:lnTo>
                <a:lnTo>
                  <a:pt x="290" y="473"/>
                </a:lnTo>
                <a:lnTo>
                  <a:pt x="290" y="475"/>
                </a:lnTo>
                <a:lnTo>
                  <a:pt x="291" y="476"/>
                </a:lnTo>
                <a:lnTo>
                  <a:pt x="291" y="477"/>
                </a:lnTo>
                <a:lnTo>
                  <a:pt x="295" y="479"/>
                </a:lnTo>
                <a:lnTo>
                  <a:pt x="295" y="483"/>
                </a:lnTo>
                <a:lnTo>
                  <a:pt x="296" y="483"/>
                </a:lnTo>
                <a:lnTo>
                  <a:pt x="298" y="485"/>
                </a:lnTo>
                <a:lnTo>
                  <a:pt x="299" y="489"/>
                </a:lnTo>
                <a:lnTo>
                  <a:pt x="301" y="490"/>
                </a:lnTo>
                <a:lnTo>
                  <a:pt x="298" y="495"/>
                </a:lnTo>
                <a:lnTo>
                  <a:pt x="298" y="496"/>
                </a:lnTo>
                <a:lnTo>
                  <a:pt x="297" y="497"/>
                </a:lnTo>
                <a:lnTo>
                  <a:pt x="297" y="498"/>
                </a:lnTo>
                <a:lnTo>
                  <a:pt x="299" y="500"/>
                </a:lnTo>
                <a:lnTo>
                  <a:pt x="301" y="500"/>
                </a:lnTo>
                <a:lnTo>
                  <a:pt x="302" y="498"/>
                </a:lnTo>
                <a:lnTo>
                  <a:pt x="304" y="501"/>
                </a:lnTo>
                <a:lnTo>
                  <a:pt x="304" y="506"/>
                </a:lnTo>
                <a:lnTo>
                  <a:pt x="303" y="507"/>
                </a:lnTo>
                <a:lnTo>
                  <a:pt x="303" y="513"/>
                </a:lnTo>
                <a:lnTo>
                  <a:pt x="302" y="514"/>
                </a:lnTo>
                <a:lnTo>
                  <a:pt x="298" y="514"/>
                </a:lnTo>
                <a:lnTo>
                  <a:pt x="296" y="513"/>
                </a:lnTo>
                <a:lnTo>
                  <a:pt x="295" y="510"/>
                </a:lnTo>
                <a:lnTo>
                  <a:pt x="295" y="509"/>
                </a:lnTo>
                <a:lnTo>
                  <a:pt x="292" y="509"/>
                </a:lnTo>
                <a:lnTo>
                  <a:pt x="292" y="506"/>
                </a:lnTo>
                <a:lnTo>
                  <a:pt x="293" y="506"/>
                </a:lnTo>
                <a:lnTo>
                  <a:pt x="291" y="503"/>
                </a:lnTo>
                <a:lnTo>
                  <a:pt x="291" y="502"/>
                </a:lnTo>
                <a:lnTo>
                  <a:pt x="289" y="501"/>
                </a:lnTo>
                <a:lnTo>
                  <a:pt x="286" y="501"/>
                </a:lnTo>
                <a:lnTo>
                  <a:pt x="285" y="502"/>
                </a:lnTo>
                <a:lnTo>
                  <a:pt x="284" y="502"/>
                </a:lnTo>
                <a:lnTo>
                  <a:pt x="282" y="504"/>
                </a:lnTo>
                <a:lnTo>
                  <a:pt x="280" y="504"/>
                </a:lnTo>
                <a:lnTo>
                  <a:pt x="279" y="503"/>
                </a:lnTo>
                <a:lnTo>
                  <a:pt x="278" y="503"/>
                </a:lnTo>
                <a:lnTo>
                  <a:pt x="278" y="502"/>
                </a:lnTo>
                <a:lnTo>
                  <a:pt x="277" y="501"/>
                </a:lnTo>
                <a:lnTo>
                  <a:pt x="277" y="500"/>
                </a:lnTo>
                <a:lnTo>
                  <a:pt x="274" y="501"/>
                </a:lnTo>
                <a:lnTo>
                  <a:pt x="272" y="500"/>
                </a:lnTo>
                <a:lnTo>
                  <a:pt x="271" y="501"/>
                </a:lnTo>
                <a:lnTo>
                  <a:pt x="268" y="501"/>
                </a:lnTo>
                <a:lnTo>
                  <a:pt x="268" y="498"/>
                </a:lnTo>
                <a:lnTo>
                  <a:pt x="270" y="498"/>
                </a:lnTo>
                <a:lnTo>
                  <a:pt x="270" y="497"/>
                </a:lnTo>
                <a:lnTo>
                  <a:pt x="268" y="498"/>
                </a:lnTo>
                <a:lnTo>
                  <a:pt x="267" y="498"/>
                </a:lnTo>
                <a:lnTo>
                  <a:pt x="267" y="501"/>
                </a:lnTo>
                <a:lnTo>
                  <a:pt x="268" y="501"/>
                </a:lnTo>
                <a:lnTo>
                  <a:pt x="268" y="503"/>
                </a:lnTo>
                <a:lnTo>
                  <a:pt x="266" y="506"/>
                </a:lnTo>
                <a:lnTo>
                  <a:pt x="253" y="506"/>
                </a:lnTo>
                <a:lnTo>
                  <a:pt x="252" y="507"/>
                </a:lnTo>
                <a:lnTo>
                  <a:pt x="243" y="507"/>
                </a:lnTo>
                <a:lnTo>
                  <a:pt x="242" y="508"/>
                </a:lnTo>
                <a:lnTo>
                  <a:pt x="241" y="508"/>
                </a:lnTo>
                <a:lnTo>
                  <a:pt x="241" y="510"/>
                </a:lnTo>
                <a:lnTo>
                  <a:pt x="240" y="512"/>
                </a:lnTo>
                <a:lnTo>
                  <a:pt x="234" y="512"/>
                </a:lnTo>
                <a:lnTo>
                  <a:pt x="233" y="514"/>
                </a:lnTo>
                <a:lnTo>
                  <a:pt x="234" y="514"/>
                </a:lnTo>
                <a:lnTo>
                  <a:pt x="234" y="515"/>
                </a:lnTo>
                <a:lnTo>
                  <a:pt x="233" y="515"/>
                </a:lnTo>
                <a:lnTo>
                  <a:pt x="233" y="516"/>
                </a:lnTo>
                <a:lnTo>
                  <a:pt x="229" y="516"/>
                </a:lnTo>
                <a:lnTo>
                  <a:pt x="229" y="518"/>
                </a:lnTo>
                <a:lnTo>
                  <a:pt x="228" y="519"/>
                </a:lnTo>
                <a:lnTo>
                  <a:pt x="226" y="519"/>
                </a:lnTo>
                <a:lnTo>
                  <a:pt x="226" y="516"/>
                </a:lnTo>
                <a:lnTo>
                  <a:pt x="224" y="516"/>
                </a:lnTo>
                <a:lnTo>
                  <a:pt x="222" y="519"/>
                </a:lnTo>
                <a:lnTo>
                  <a:pt x="216" y="519"/>
                </a:lnTo>
                <a:lnTo>
                  <a:pt x="215" y="518"/>
                </a:lnTo>
                <a:lnTo>
                  <a:pt x="216" y="518"/>
                </a:lnTo>
                <a:lnTo>
                  <a:pt x="216" y="516"/>
                </a:lnTo>
                <a:lnTo>
                  <a:pt x="215" y="516"/>
                </a:lnTo>
                <a:lnTo>
                  <a:pt x="214" y="514"/>
                </a:lnTo>
                <a:lnTo>
                  <a:pt x="211" y="513"/>
                </a:lnTo>
                <a:lnTo>
                  <a:pt x="212" y="512"/>
                </a:lnTo>
                <a:lnTo>
                  <a:pt x="211" y="510"/>
                </a:lnTo>
                <a:lnTo>
                  <a:pt x="210" y="510"/>
                </a:lnTo>
                <a:lnTo>
                  <a:pt x="208" y="512"/>
                </a:lnTo>
                <a:lnTo>
                  <a:pt x="206" y="512"/>
                </a:lnTo>
                <a:lnTo>
                  <a:pt x="206" y="510"/>
                </a:lnTo>
                <a:lnTo>
                  <a:pt x="201" y="508"/>
                </a:lnTo>
                <a:lnTo>
                  <a:pt x="199" y="508"/>
                </a:lnTo>
                <a:lnTo>
                  <a:pt x="199" y="509"/>
                </a:lnTo>
                <a:lnTo>
                  <a:pt x="198" y="510"/>
                </a:lnTo>
                <a:lnTo>
                  <a:pt x="196" y="510"/>
                </a:lnTo>
                <a:lnTo>
                  <a:pt x="195" y="509"/>
                </a:lnTo>
                <a:lnTo>
                  <a:pt x="193" y="509"/>
                </a:lnTo>
                <a:lnTo>
                  <a:pt x="195" y="508"/>
                </a:lnTo>
                <a:lnTo>
                  <a:pt x="195" y="507"/>
                </a:lnTo>
                <a:lnTo>
                  <a:pt x="193" y="507"/>
                </a:lnTo>
                <a:lnTo>
                  <a:pt x="192" y="508"/>
                </a:lnTo>
                <a:lnTo>
                  <a:pt x="192" y="509"/>
                </a:lnTo>
                <a:lnTo>
                  <a:pt x="193" y="509"/>
                </a:lnTo>
                <a:lnTo>
                  <a:pt x="193" y="510"/>
                </a:lnTo>
                <a:lnTo>
                  <a:pt x="192" y="513"/>
                </a:lnTo>
                <a:lnTo>
                  <a:pt x="193" y="513"/>
                </a:lnTo>
                <a:lnTo>
                  <a:pt x="193" y="519"/>
                </a:lnTo>
                <a:lnTo>
                  <a:pt x="192" y="520"/>
                </a:lnTo>
                <a:lnTo>
                  <a:pt x="191" y="520"/>
                </a:lnTo>
                <a:lnTo>
                  <a:pt x="190" y="521"/>
                </a:lnTo>
                <a:lnTo>
                  <a:pt x="190" y="522"/>
                </a:lnTo>
                <a:lnTo>
                  <a:pt x="186" y="526"/>
                </a:lnTo>
                <a:lnTo>
                  <a:pt x="181" y="526"/>
                </a:lnTo>
                <a:lnTo>
                  <a:pt x="181" y="525"/>
                </a:lnTo>
                <a:lnTo>
                  <a:pt x="183" y="525"/>
                </a:lnTo>
                <a:lnTo>
                  <a:pt x="183" y="523"/>
                </a:lnTo>
                <a:lnTo>
                  <a:pt x="184" y="521"/>
                </a:lnTo>
                <a:lnTo>
                  <a:pt x="184" y="520"/>
                </a:lnTo>
                <a:lnTo>
                  <a:pt x="179" y="520"/>
                </a:lnTo>
                <a:lnTo>
                  <a:pt x="179" y="521"/>
                </a:lnTo>
                <a:lnTo>
                  <a:pt x="178" y="521"/>
                </a:lnTo>
                <a:lnTo>
                  <a:pt x="178" y="519"/>
                </a:lnTo>
                <a:lnTo>
                  <a:pt x="177" y="518"/>
                </a:lnTo>
                <a:lnTo>
                  <a:pt x="178" y="518"/>
                </a:lnTo>
                <a:lnTo>
                  <a:pt x="178" y="516"/>
                </a:lnTo>
                <a:lnTo>
                  <a:pt x="175" y="513"/>
                </a:lnTo>
                <a:lnTo>
                  <a:pt x="175" y="514"/>
                </a:lnTo>
                <a:lnTo>
                  <a:pt x="174" y="514"/>
                </a:lnTo>
                <a:lnTo>
                  <a:pt x="174" y="513"/>
                </a:lnTo>
                <a:lnTo>
                  <a:pt x="173" y="512"/>
                </a:lnTo>
                <a:lnTo>
                  <a:pt x="173" y="509"/>
                </a:lnTo>
                <a:lnTo>
                  <a:pt x="172" y="510"/>
                </a:lnTo>
                <a:lnTo>
                  <a:pt x="171" y="510"/>
                </a:lnTo>
                <a:lnTo>
                  <a:pt x="168" y="509"/>
                </a:lnTo>
                <a:lnTo>
                  <a:pt x="168" y="510"/>
                </a:lnTo>
                <a:lnTo>
                  <a:pt x="167" y="509"/>
                </a:lnTo>
                <a:lnTo>
                  <a:pt x="167" y="507"/>
                </a:lnTo>
                <a:lnTo>
                  <a:pt x="165" y="507"/>
                </a:lnTo>
                <a:lnTo>
                  <a:pt x="162" y="509"/>
                </a:lnTo>
                <a:lnTo>
                  <a:pt x="162" y="510"/>
                </a:lnTo>
                <a:lnTo>
                  <a:pt x="155" y="510"/>
                </a:lnTo>
                <a:lnTo>
                  <a:pt x="145" y="503"/>
                </a:lnTo>
                <a:lnTo>
                  <a:pt x="142" y="502"/>
                </a:lnTo>
                <a:lnTo>
                  <a:pt x="139" y="502"/>
                </a:lnTo>
                <a:lnTo>
                  <a:pt x="134" y="501"/>
                </a:lnTo>
                <a:lnTo>
                  <a:pt x="133" y="501"/>
                </a:lnTo>
                <a:lnTo>
                  <a:pt x="131" y="502"/>
                </a:lnTo>
                <a:lnTo>
                  <a:pt x="128" y="502"/>
                </a:lnTo>
                <a:lnTo>
                  <a:pt x="127" y="501"/>
                </a:lnTo>
                <a:lnTo>
                  <a:pt x="125" y="501"/>
                </a:lnTo>
                <a:lnTo>
                  <a:pt x="127" y="500"/>
                </a:lnTo>
                <a:lnTo>
                  <a:pt x="125" y="500"/>
                </a:lnTo>
                <a:lnTo>
                  <a:pt x="124" y="498"/>
                </a:lnTo>
                <a:lnTo>
                  <a:pt x="123" y="498"/>
                </a:lnTo>
                <a:lnTo>
                  <a:pt x="123" y="500"/>
                </a:lnTo>
                <a:lnTo>
                  <a:pt x="121" y="500"/>
                </a:lnTo>
                <a:lnTo>
                  <a:pt x="121" y="498"/>
                </a:lnTo>
                <a:lnTo>
                  <a:pt x="119" y="498"/>
                </a:lnTo>
                <a:lnTo>
                  <a:pt x="121" y="497"/>
                </a:lnTo>
                <a:lnTo>
                  <a:pt x="121" y="496"/>
                </a:lnTo>
                <a:lnTo>
                  <a:pt x="119" y="496"/>
                </a:lnTo>
                <a:lnTo>
                  <a:pt x="119" y="495"/>
                </a:lnTo>
                <a:lnTo>
                  <a:pt x="118" y="495"/>
                </a:lnTo>
                <a:lnTo>
                  <a:pt x="118" y="494"/>
                </a:lnTo>
                <a:lnTo>
                  <a:pt x="117" y="494"/>
                </a:lnTo>
                <a:lnTo>
                  <a:pt x="117" y="496"/>
                </a:lnTo>
                <a:lnTo>
                  <a:pt x="116" y="496"/>
                </a:lnTo>
                <a:lnTo>
                  <a:pt x="116" y="494"/>
                </a:lnTo>
                <a:lnTo>
                  <a:pt x="114" y="494"/>
                </a:lnTo>
                <a:lnTo>
                  <a:pt x="114" y="495"/>
                </a:lnTo>
                <a:lnTo>
                  <a:pt x="110" y="495"/>
                </a:lnTo>
                <a:lnTo>
                  <a:pt x="110" y="496"/>
                </a:lnTo>
                <a:lnTo>
                  <a:pt x="109" y="497"/>
                </a:lnTo>
                <a:lnTo>
                  <a:pt x="109" y="498"/>
                </a:lnTo>
                <a:lnTo>
                  <a:pt x="108" y="500"/>
                </a:lnTo>
                <a:lnTo>
                  <a:pt x="106" y="500"/>
                </a:lnTo>
                <a:lnTo>
                  <a:pt x="108" y="501"/>
                </a:lnTo>
                <a:lnTo>
                  <a:pt x="108" y="502"/>
                </a:lnTo>
                <a:lnTo>
                  <a:pt x="109" y="503"/>
                </a:lnTo>
                <a:lnTo>
                  <a:pt x="111" y="503"/>
                </a:lnTo>
                <a:lnTo>
                  <a:pt x="112" y="502"/>
                </a:lnTo>
                <a:lnTo>
                  <a:pt x="116" y="502"/>
                </a:lnTo>
                <a:lnTo>
                  <a:pt x="116" y="503"/>
                </a:lnTo>
                <a:lnTo>
                  <a:pt x="115" y="503"/>
                </a:lnTo>
                <a:lnTo>
                  <a:pt x="115" y="507"/>
                </a:lnTo>
                <a:lnTo>
                  <a:pt x="112" y="504"/>
                </a:lnTo>
                <a:lnTo>
                  <a:pt x="111" y="504"/>
                </a:lnTo>
                <a:lnTo>
                  <a:pt x="110" y="506"/>
                </a:lnTo>
                <a:lnTo>
                  <a:pt x="110" y="507"/>
                </a:lnTo>
                <a:lnTo>
                  <a:pt x="103" y="507"/>
                </a:lnTo>
                <a:lnTo>
                  <a:pt x="103" y="504"/>
                </a:lnTo>
                <a:lnTo>
                  <a:pt x="98" y="504"/>
                </a:lnTo>
                <a:lnTo>
                  <a:pt x="98" y="506"/>
                </a:lnTo>
                <a:lnTo>
                  <a:pt x="97" y="506"/>
                </a:lnTo>
                <a:lnTo>
                  <a:pt x="96" y="507"/>
                </a:lnTo>
                <a:lnTo>
                  <a:pt x="94" y="507"/>
                </a:lnTo>
                <a:lnTo>
                  <a:pt x="94" y="508"/>
                </a:lnTo>
                <a:lnTo>
                  <a:pt x="86" y="508"/>
                </a:lnTo>
                <a:lnTo>
                  <a:pt x="86" y="507"/>
                </a:lnTo>
                <a:lnTo>
                  <a:pt x="84" y="507"/>
                </a:lnTo>
                <a:lnTo>
                  <a:pt x="83" y="506"/>
                </a:lnTo>
                <a:lnTo>
                  <a:pt x="83" y="507"/>
                </a:lnTo>
                <a:lnTo>
                  <a:pt x="80" y="509"/>
                </a:lnTo>
                <a:lnTo>
                  <a:pt x="75" y="509"/>
                </a:lnTo>
                <a:lnTo>
                  <a:pt x="74" y="508"/>
                </a:lnTo>
                <a:lnTo>
                  <a:pt x="75" y="508"/>
                </a:lnTo>
                <a:lnTo>
                  <a:pt x="77" y="506"/>
                </a:lnTo>
                <a:lnTo>
                  <a:pt x="75" y="506"/>
                </a:lnTo>
                <a:lnTo>
                  <a:pt x="73" y="507"/>
                </a:lnTo>
                <a:lnTo>
                  <a:pt x="73" y="504"/>
                </a:lnTo>
                <a:lnTo>
                  <a:pt x="72" y="502"/>
                </a:lnTo>
                <a:lnTo>
                  <a:pt x="71" y="502"/>
                </a:lnTo>
                <a:lnTo>
                  <a:pt x="71" y="501"/>
                </a:lnTo>
                <a:lnTo>
                  <a:pt x="69" y="501"/>
                </a:lnTo>
                <a:lnTo>
                  <a:pt x="69" y="498"/>
                </a:lnTo>
                <a:lnTo>
                  <a:pt x="71" y="498"/>
                </a:lnTo>
                <a:lnTo>
                  <a:pt x="71" y="491"/>
                </a:lnTo>
                <a:lnTo>
                  <a:pt x="72" y="491"/>
                </a:lnTo>
                <a:lnTo>
                  <a:pt x="72" y="488"/>
                </a:lnTo>
                <a:lnTo>
                  <a:pt x="73" y="488"/>
                </a:lnTo>
                <a:lnTo>
                  <a:pt x="73" y="484"/>
                </a:lnTo>
                <a:lnTo>
                  <a:pt x="74" y="483"/>
                </a:lnTo>
                <a:lnTo>
                  <a:pt x="74" y="480"/>
                </a:lnTo>
                <a:lnTo>
                  <a:pt x="73" y="477"/>
                </a:lnTo>
                <a:lnTo>
                  <a:pt x="73" y="472"/>
                </a:lnTo>
                <a:lnTo>
                  <a:pt x="74" y="471"/>
                </a:lnTo>
                <a:lnTo>
                  <a:pt x="74" y="470"/>
                </a:lnTo>
                <a:lnTo>
                  <a:pt x="77" y="466"/>
                </a:lnTo>
                <a:lnTo>
                  <a:pt x="78" y="465"/>
                </a:lnTo>
                <a:lnTo>
                  <a:pt x="78" y="461"/>
                </a:lnTo>
                <a:lnTo>
                  <a:pt x="80" y="459"/>
                </a:lnTo>
                <a:lnTo>
                  <a:pt x="80" y="458"/>
                </a:lnTo>
                <a:lnTo>
                  <a:pt x="79" y="457"/>
                </a:lnTo>
                <a:lnTo>
                  <a:pt x="79" y="455"/>
                </a:lnTo>
                <a:lnTo>
                  <a:pt x="80" y="453"/>
                </a:lnTo>
                <a:lnTo>
                  <a:pt x="80" y="451"/>
                </a:lnTo>
                <a:lnTo>
                  <a:pt x="81" y="449"/>
                </a:lnTo>
                <a:lnTo>
                  <a:pt x="81" y="448"/>
                </a:lnTo>
                <a:lnTo>
                  <a:pt x="83" y="448"/>
                </a:lnTo>
                <a:lnTo>
                  <a:pt x="83" y="442"/>
                </a:lnTo>
                <a:lnTo>
                  <a:pt x="84" y="439"/>
                </a:lnTo>
                <a:lnTo>
                  <a:pt x="85" y="439"/>
                </a:lnTo>
                <a:lnTo>
                  <a:pt x="88" y="435"/>
                </a:lnTo>
                <a:lnTo>
                  <a:pt x="88" y="433"/>
                </a:lnTo>
                <a:lnTo>
                  <a:pt x="91" y="433"/>
                </a:lnTo>
                <a:lnTo>
                  <a:pt x="92" y="432"/>
                </a:lnTo>
                <a:lnTo>
                  <a:pt x="92" y="430"/>
                </a:lnTo>
                <a:lnTo>
                  <a:pt x="94" y="429"/>
                </a:lnTo>
                <a:lnTo>
                  <a:pt x="97" y="423"/>
                </a:lnTo>
                <a:lnTo>
                  <a:pt x="98" y="421"/>
                </a:lnTo>
                <a:lnTo>
                  <a:pt x="99" y="420"/>
                </a:lnTo>
                <a:lnTo>
                  <a:pt x="98" y="420"/>
                </a:lnTo>
                <a:lnTo>
                  <a:pt x="94" y="418"/>
                </a:lnTo>
                <a:lnTo>
                  <a:pt x="87" y="415"/>
                </a:lnTo>
                <a:lnTo>
                  <a:pt x="85" y="415"/>
                </a:lnTo>
                <a:lnTo>
                  <a:pt x="81" y="414"/>
                </a:lnTo>
                <a:lnTo>
                  <a:pt x="80" y="414"/>
                </a:lnTo>
                <a:lnTo>
                  <a:pt x="79" y="415"/>
                </a:lnTo>
                <a:lnTo>
                  <a:pt x="74" y="415"/>
                </a:lnTo>
                <a:lnTo>
                  <a:pt x="74" y="414"/>
                </a:lnTo>
                <a:lnTo>
                  <a:pt x="73" y="412"/>
                </a:lnTo>
                <a:lnTo>
                  <a:pt x="71" y="412"/>
                </a:lnTo>
                <a:lnTo>
                  <a:pt x="71" y="411"/>
                </a:lnTo>
                <a:lnTo>
                  <a:pt x="69" y="411"/>
                </a:lnTo>
                <a:lnTo>
                  <a:pt x="68" y="410"/>
                </a:lnTo>
                <a:lnTo>
                  <a:pt x="68" y="408"/>
                </a:lnTo>
                <a:lnTo>
                  <a:pt x="67" y="408"/>
                </a:lnTo>
                <a:lnTo>
                  <a:pt x="66" y="406"/>
                </a:lnTo>
                <a:lnTo>
                  <a:pt x="63" y="406"/>
                </a:lnTo>
                <a:lnTo>
                  <a:pt x="63" y="408"/>
                </a:lnTo>
                <a:lnTo>
                  <a:pt x="62" y="408"/>
                </a:lnTo>
                <a:lnTo>
                  <a:pt x="62" y="409"/>
                </a:lnTo>
                <a:lnTo>
                  <a:pt x="61" y="409"/>
                </a:lnTo>
                <a:lnTo>
                  <a:pt x="60" y="410"/>
                </a:lnTo>
                <a:lnTo>
                  <a:pt x="54" y="410"/>
                </a:lnTo>
                <a:lnTo>
                  <a:pt x="54" y="409"/>
                </a:lnTo>
                <a:lnTo>
                  <a:pt x="52" y="408"/>
                </a:lnTo>
                <a:lnTo>
                  <a:pt x="52" y="409"/>
                </a:lnTo>
                <a:lnTo>
                  <a:pt x="50" y="410"/>
                </a:lnTo>
                <a:lnTo>
                  <a:pt x="49" y="410"/>
                </a:lnTo>
                <a:lnTo>
                  <a:pt x="49" y="405"/>
                </a:lnTo>
                <a:lnTo>
                  <a:pt x="48" y="405"/>
                </a:lnTo>
                <a:lnTo>
                  <a:pt x="46" y="404"/>
                </a:lnTo>
                <a:lnTo>
                  <a:pt x="41" y="404"/>
                </a:lnTo>
                <a:lnTo>
                  <a:pt x="41" y="405"/>
                </a:lnTo>
                <a:lnTo>
                  <a:pt x="42" y="406"/>
                </a:lnTo>
                <a:lnTo>
                  <a:pt x="41" y="408"/>
                </a:lnTo>
                <a:lnTo>
                  <a:pt x="37" y="408"/>
                </a:lnTo>
                <a:lnTo>
                  <a:pt x="36" y="406"/>
                </a:lnTo>
                <a:lnTo>
                  <a:pt x="36" y="403"/>
                </a:lnTo>
                <a:lnTo>
                  <a:pt x="35" y="404"/>
                </a:lnTo>
                <a:lnTo>
                  <a:pt x="35" y="403"/>
                </a:lnTo>
                <a:lnTo>
                  <a:pt x="34" y="402"/>
                </a:lnTo>
                <a:lnTo>
                  <a:pt x="34" y="399"/>
                </a:lnTo>
                <a:lnTo>
                  <a:pt x="30" y="397"/>
                </a:lnTo>
                <a:lnTo>
                  <a:pt x="30" y="396"/>
                </a:lnTo>
                <a:lnTo>
                  <a:pt x="29" y="396"/>
                </a:lnTo>
                <a:lnTo>
                  <a:pt x="30" y="394"/>
                </a:lnTo>
                <a:lnTo>
                  <a:pt x="30" y="393"/>
                </a:lnTo>
                <a:lnTo>
                  <a:pt x="28" y="392"/>
                </a:lnTo>
                <a:lnTo>
                  <a:pt x="28" y="390"/>
                </a:lnTo>
                <a:lnTo>
                  <a:pt x="27" y="389"/>
                </a:lnTo>
                <a:lnTo>
                  <a:pt x="23" y="387"/>
                </a:lnTo>
                <a:lnTo>
                  <a:pt x="21" y="387"/>
                </a:lnTo>
                <a:lnTo>
                  <a:pt x="21" y="380"/>
                </a:lnTo>
                <a:lnTo>
                  <a:pt x="23" y="378"/>
                </a:lnTo>
                <a:lnTo>
                  <a:pt x="23" y="377"/>
                </a:lnTo>
                <a:lnTo>
                  <a:pt x="24" y="377"/>
                </a:lnTo>
                <a:lnTo>
                  <a:pt x="24" y="375"/>
                </a:lnTo>
                <a:lnTo>
                  <a:pt x="23" y="375"/>
                </a:lnTo>
                <a:lnTo>
                  <a:pt x="23" y="374"/>
                </a:lnTo>
                <a:lnTo>
                  <a:pt x="24" y="374"/>
                </a:lnTo>
                <a:lnTo>
                  <a:pt x="27" y="372"/>
                </a:lnTo>
                <a:lnTo>
                  <a:pt x="27" y="368"/>
                </a:lnTo>
                <a:lnTo>
                  <a:pt x="28" y="366"/>
                </a:lnTo>
                <a:lnTo>
                  <a:pt x="27" y="366"/>
                </a:lnTo>
                <a:lnTo>
                  <a:pt x="25" y="365"/>
                </a:lnTo>
                <a:lnTo>
                  <a:pt x="22" y="365"/>
                </a:lnTo>
                <a:lnTo>
                  <a:pt x="21" y="363"/>
                </a:lnTo>
                <a:lnTo>
                  <a:pt x="21" y="362"/>
                </a:lnTo>
                <a:lnTo>
                  <a:pt x="18" y="362"/>
                </a:lnTo>
                <a:lnTo>
                  <a:pt x="18" y="361"/>
                </a:lnTo>
                <a:lnTo>
                  <a:pt x="17" y="361"/>
                </a:lnTo>
                <a:lnTo>
                  <a:pt x="16" y="360"/>
                </a:lnTo>
                <a:lnTo>
                  <a:pt x="15" y="356"/>
                </a:lnTo>
                <a:lnTo>
                  <a:pt x="13" y="355"/>
                </a:lnTo>
                <a:lnTo>
                  <a:pt x="13" y="356"/>
                </a:lnTo>
                <a:lnTo>
                  <a:pt x="12" y="355"/>
                </a:lnTo>
                <a:lnTo>
                  <a:pt x="12" y="354"/>
                </a:lnTo>
                <a:lnTo>
                  <a:pt x="11" y="353"/>
                </a:lnTo>
                <a:lnTo>
                  <a:pt x="11" y="349"/>
                </a:lnTo>
                <a:lnTo>
                  <a:pt x="10" y="349"/>
                </a:lnTo>
                <a:lnTo>
                  <a:pt x="11" y="348"/>
                </a:lnTo>
                <a:lnTo>
                  <a:pt x="10" y="348"/>
                </a:lnTo>
                <a:lnTo>
                  <a:pt x="11" y="346"/>
                </a:lnTo>
                <a:lnTo>
                  <a:pt x="11" y="341"/>
                </a:lnTo>
                <a:lnTo>
                  <a:pt x="13" y="341"/>
                </a:lnTo>
                <a:lnTo>
                  <a:pt x="13" y="338"/>
                </a:lnTo>
                <a:lnTo>
                  <a:pt x="12" y="338"/>
                </a:lnTo>
                <a:lnTo>
                  <a:pt x="12" y="337"/>
                </a:lnTo>
                <a:lnTo>
                  <a:pt x="13" y="337"/>
                </a:lnTo>
                <a:lnTo>
                  <a:pt x="15" y="336"/>
                </a:lnTo>
                <a:lnTo>
                  <a:pt x="17" y="335"/>
                </a:lnTo>
                <a:lnTo>
                  <a:pt x="17" y="334"/>
                </a:lnTo>
                <a:lnTo>
                  <a:pt x="18" y="332"/>
                </a:lnTo>
                <a:lnTo>
                  <a:pt x="22" y="332"/>
                </a:lnTo>
                <a:lnTo>
                  <a:pt x="22" y="330"/>
                </a:lnTo>
                <a:lnTo>
                  <a:pt x="21" y="328"/>
                </a:lnTo>
                <a:lnTo>
                  <a:pt x="21" y="323"/>
                </a:lnTo>
                <a:lnTo>
                  <a:pt x="19" y="322"/>
                </a:lnTo>
                <a:lnTo>
                  <a:pt x="19" y="320"/>
                </a:lnTo>
                <a:lnTo>
                  <a:pt x="18" y="320"/>
                </a:lnTo>
                <a:lnTo>
                  <a:pt x="17" y="319"/>
                </a:lnTo>
                <a:lnTo>
                  <a:pt x="16" y="320"/>
                </a:lnTo>
                <a:lnTo>
                  <a:pt x="15" y="320"/>
                </a:lnTo>
                <a:lnTo>
                  <a:pt x="15" y="319"/>
                </a:lnTo>
                <a:lnTo>
                  <a:pt x="13" y="319"/>
                </a:lnTo>
                <a:lnTo>
                  <a:pt x="15" y="318"/>
                </a:lnTo>
                <a:lnTo>
                  <a:pt x="13" y="318"/>
                </a:lnTo>
                <a:lnTo>
                  <a:pt x="13" y="316"/>
                </a:lnTo>
                <a:lnTo>
                  <a:pt x="17" y="312"/>
                </a:lnTo>
                <a:lnTo>
                  <a:pt x="13" y="312"/>
                </a:lnTo>
                <a:lnTo>
                  <a:pt x="13" y="311"/>
                </a:lnTo>
                <a:lnTo>
                  <a:pt x="12" y="310"/>
                </a:lnTo>
                <a:lnTo>
                  <a:pt x="13" y="310"/>
                </a:lnTo>
                <a:lnTo>
                  <a:pt x="10" y="306"/>
                </a:lnTo>
                <a:lnTo>
                  <a:pt x="10" y="305"/>
                </a:lnTo>
                <a:lnTo>
                  <a:pt x="6" y="305"/>
                </a:lnTo>
                <a:lnTo>
                  <a:pt x="6" y="301"/>
                </a:lnTo>
                <a:lnTo>
                  <a:pt x="5" y="301"/>
                </a:lnTo>
                <a:lnTo>
                  <a:pt x="5" y="300"/>
                </a:lnTo>
                <a:lnTo>
                  <a:pt x="6" y="299"/>
                </a:lnTo>
                <a:lnTo>
                  <a:pt x="6" y="297"/>
                </a:lnTo>
                <a:lnTo>
                  <a:pt x="7" y="297"/>
                </a:lnTo>
                <a:lnTo>
                  <a:pt x="9" y="295"/>
                </a:lnTo>
                <a:lnTo>
                  <a:pt x="9" y="292"/>
                </a:lnTo>
                <a:lnTo>
                  <a:pt x="7" y="292"/>
                </a:lnTo>
                <a:lnTo>
                  <a:pt x="6" y="291"/>
                </a:lnTo>
                <a:lnTo>
                  <a:pt x="6" y="288"/>
                </a:lnTo>
                <a:lnTo>
                  <a:pt x="5" y="288"/>
                </a:lnTo>
                <a:lnTo>
                  <a:pt x="4" y="287"/>
                </a:lnTo>
                <a:lnTo>
                  <a:pt x="3" y="287"/>
                </a:lnTo>
                <a:lnTo>
                  <a:pt x="1" y="288"/>
                </a:lnTo>
                <a:lnTo>
                  <a:pt x="0" y="288"/>
                </a:lnTo>
                <a:lnTo>
                  <a:pt x="0" y="283"/>
                </a:lnTo>
                <a:lnTo>
                  <a:pt x="1" y="282"/>
                </a:lnTo>
                <a:lnTo>
                  <a:pt x="3" y="283"/>
                </a:lnTo>
                <a:lnTo>
                  <a:pt x="4" y="283"/>
                </a:lnTo>
                <a:lnTo>
                  <a:pt x="5" y="281"/>
                </a:lnTo>
                <a:lnTo>
                  <a:pt x="10" y="277"/>
                </a:lnTo>
                <a:lnTo>
                  <a:pt x="12" y="276"/>
                </a:lnTo>
                <a:lnTo>
                  <a:pt x="11" y="275"/>
                </a:lnTo>
                <a:lnTo>
                  <a:pt x="12" y="274"/>
                </a:lnTo>
                <a:lnTo>
                  <a:pt x="10" y="275"/>
                </a:lnTo>
                <a:lnTo>
                  <a:pt x="9" y="274"/>
                </a:lnTo>
                <a:lnTo>
                  <a:pt x="9" y="270"/>
                </a:lnTo>
                <a:lnTo>
                  <a:pt x="10" y="269"/>
                </a:lnTo>
                <a:lnTo>
                  <a:pt x="10" y="268"/>
                </a:lnTo>
                <a:lnTo>
                  <a:pt x="12" y="264"/>
                </a:lnTo>
                <a:lnTo>
                  <a:pt x="13" y="263"/>
                </a:lnTo>
                <a:lnTo>
                  <a:pt x="15" y="263"/>
                </a:lnTo>
                <a:lnTo>
                  <a:pt x="15" y="251"/>
                </a:lnTo>
                <a:lnTo>
                  <a:pt x="12" y="250"/>
                </a:lnTo>
                <a:lnTo>
                  <a:pt x="10" y="245"/>
                </a:lnTo>
                <a:lnTo>
                  <a:pt x="10" y="243"/>
                </a:lnTo>
                <a:lnTo>
                  <a:pt x="7" y="242"/>
                </a:lnTo>
                <a:lnTo>
                  <a:pt x="6" y="240"/>
                </a:lnTo>
                <a:lnTo>
                  <a:pt x="7" y="238"/>
                </a:lnTo>
                <a:lnTo>
                  <a:pt x="6" y="238"/>
                </a:lnTo>
                <a:lnTo>
                  <a:pt x="5" y="237"/>
                </a:lnTo>
                <a:lnTo>
                  <a:pt x="4" y="237"/>
                </a:lnTo>
                <a:lnTo>
                  <a:pt x="4" y="236"/>
                </a:lnTo>
                <a:lnTo>
                  <a:pt x="5" y="234"/>
                </a:lnTo>
                <a:lnTo>
                  <a:pt x="5" y="233"/>
                </a:lnTo>
                <a:lnTo>
                  <a:pt x="3" y="231"/>
                </a:lnTo>
                <a:lnTo>
                  <a:pt x="4" y="230"/>
                </a:lnTo>
                <a:lnTo>
                  <a:pt x="6" y="230"/>
                </a:lnTo>
                <a:lnTo>
                  <a:pt x="7" y="228"/>
                </a:lnTo>
                <a:lnTo>
                  <a:pt x="12" y="228"/>
                </a:lnTo>
                <a:lnTo>
                  <a:pt x="11" y="226"/>
                </a:lnTo>
                <a:lnTo>
                  <a:pt x="10" y="226"/>
                </a:lnTo>
                <a:lnTo>
                  <a:pt x="11" y="225"/>
                </a:lnTo>
                <a:lnTo>
                  <a:pt x="12" y="226"/>
                </a:lnTo>
                <a:lnTo>
                  <a:pt x="15" y="227"/>
                </a:lnTo>
                <a:lnTo>
                  <a:pt x="17" y="227"/>
                </a:lnTo>
                <a:lnTo>
                  <a:pt x="18" y="228"/>
                </a:lnTo>
                <a:lnTo>
                  <a:pt x="19" y="228"/>
                </a:lnTo>
                <a:lnTo>
                  <a:pt x="21" y="230"/>
                </a:lnTo>
                <a:lnTo>
                  <a:pt x="21" y="231"/>
                </a:lnTo>
                <a:lnTo>
                  <a:pt x="22" y="230"/>
                </a:lnTo>
                <a:lnTo>
                  <a:pt x="23" y="230"/>
                </a:lnTo>
                <a:lnTo>
                  <a:pt x="22" y="227"/>
                </a:lnTo>
                <a:lnTo>
                  <a:pt x="25" y="228"/>
                </a:lnTo>
                <a:lnTo>
                  <a:pt x="27" y="228"/>
                </a:lnTo>
                <a:lnTo>
                  <a:pt x="29" y="226"/>
                </a:lnTo>
                <a:lnTo>
                  <a:pt x="32" y="225"/>
                </a:lnTo>
                <a:lnTo>
                  <a:pt x="37" y="225"/>
                </a:lnTo>
                <a:lnTo>
                  <a:pt x="38" y="224"/>
                </a:lnTo>
                <a:lnTo>
                  <a:pt x="40" y="221"/>
                </a:lnTo>
                <a:lnTo>
                  <a:pt x="41" y="221"/>
                </a:lnTo>
                <a:lnTo>
                  <a:pt x="41" y="220"/>
                </a:lnTo>
                <a:lnTo>
                  <a:pt x="40" y="220"/>
                </a:lnTo>
                <a:lnTo>
                  <a:pt x="40" y="219"/>
                </a:lnTo>
                <a:lnTo>
                  <a:pt x="38" y="218"/>
                </a:lnTo>
                <a:lnTo>
                  <a:pt x="36" y="217"/>
                </a:lnTo>
                <a:lnTo>
                  <a:pt x="35" y="217"/>
                </a:lnTo>
                <a:lnTo>
                  <a:pt x="35" y="214"/>
                </a:lnTo>
                <a:lnTo>
                  <a:pt x="36" y="214"/>
                </a:lnTo>
                <a:lnTo>
                  <a:pt x="36" y="213"/>
                </a:lnTo>
                <a:lnTo>
                  <a:pt x="37" y="212"/>
                </a:lnTo>
                <a:lnTo>
                  <a:pt x="37" y="211"/>
                </a:lnTo>
                <a:lnTo>
                  <a:pt x="41" y="211"/>
                </a:lnTo>
                <a:lnTo>
                  <a:pt x="42" y="209"/>
                </a:lnTo>
                <a:lnTo>
                  <a:pt x="42" y="208"/>
                </a:lnTo>
                <a:lnTo>
                  <a:pt x="43" y="207"/>
                </a:lnTo>
                <a:lnTo>
                  <a:pt x="46" y="206"/>
                </a:lnTo>
                <a:lnTo>
                  <a:pt x="47" y="203"/>
                </a:lnTo>
                <a:lnTo>
                  <a:pt x="48" y="203"/>
                </a:lnTo>
                <a:lnTo>
                  <a:pt x="49" y="202"/>
                </a:lnTo>
                <a:lnTo>
                  <a:pt x="49" y="197"/>
                </a:lnTo>
                <a:lnTo>
                  <a:pt x="50" y="195"/>
                </a:lnTo>
                <a:lnTo>
                  <a:pt x="50" y="193"/>
                </a:lnTo>
                <a:lnTo>
                  <a:pt x="49" y="191"/>
                </a:lnTo>
                <a:lnTo>
                  <a:pt x="47" y="187"/>
                </a:lnTo>
                <a:lnTo>
                  <a:pt x="47" y="188"/>
                </a:lnTo>
                <a:lnTo>
                  <a:pt x="41" y="188"/>
                </a:lnTo>
                <a:lnTo>
                  <a:pt x="37" y="187"/>
                </a:lnTo>
                <a:lnTo>
                  <a:pt x="36" y="187"/>
                </a:lnTo>
                <a:lnTo>
                  <a:pt x="35" y="185"/>
                </a:lnTo>
                <a:lnTo>
                  <a:pt x="35" y="181"/>
                </a:lnTo>
                <a:lnTo>
                  <a:pt x="37" y="179"/>
                </a:lnTo>
                <a:lnTo>
                  <a:pt x="36" y="178"/>
                </a:lnTo>
                <a:lnTo>
                  <a:pt x="36" y="175"/>
                </a:lnTo>
                <a:lnTo>
                  <a:pt x="37" y="175"/>
                </a:lnTo>
                <a:lnTo>
                  <a:pt x="38" y="174"/>
                </a:lnTo>
                <a:lnTo>
                  <a:pt x="42" y="174"/>
                </a:lnTo>
                <a:lnTo>
                  <a:pt x="44" y="175"/>
                </a:lnTo>
                <a:lnTo>
                  <a:pt x="49" y="175"/>
                </a:lnTo>
                <a:lnTo>
                  <a:pt x="50" y="174"/>
                </a:lnTo>
                <a:lnTo>
                  <a:pt x="50" y="162"/>
                </a:lnTo>
                <a:lnTo>
                  <a:pt x="52" y="160"/>
                </a:lnTo>
                <a:lnTo>
                  <a:pt x="52" y="159"/>
                </a:lnTo>
                <a:lnTo>
                  <a:pt x="55" y="153"/>
                </a:lnTo>
                <a:lnTo>
                  <a:pt x="56" y="151"/>
                </a:lnTo>
                <a:lnTo>
                  <a:pt x="56" y="140"/>
                </a:lnTo>
                <a:lnTo>
                  <a:pt x="55" y="140"/>
                </a:lnTo>
                <a:lnTo>
                  <a:pt x="55" y="139"/>
                </a:lnTo>
                <a:lnTo>
                  <a:pt x="56" y="136"/>
                </a:lnTo>
                <a:lnTo>
                  <a:pt x="56" y="132"/>
                </a:lnTo>
                <a:lnTo>
                  <a:pt x="59" y="129"/>
                </a:lnTo>
                <a:lnTo>
                  <a:pt x="57" y="128"/>
                </a:lnTo>
                <a:lnTo>
                  <a:pt x="60" y="126"/>
                </a:lnTo>
                <a:lnTo>
                  <a:pt x="61" y="126"/>
                </a:lnTo>
                <a:lnTo>
                  <a:pt x="63" y="127"/>
                </a:lnTo>
                <a:lnTo>
                  <a:pt x="62" y="126"/>
                </a:lnTo>
                <a:lnTo>
                  <a:pt x="61" y="126"/>
                </a:lnTo>
                <a:lnTo>
                  <a:pt x="52" y="125"/>
                </a:lnTo>
                <a:lnTo>
                  <a:pt x="50" y="125"/>
                </a:lnTo>
                <a:lnTo>
                  <a:pt x="49" y="122"/>
                </a:lnTo>
                <a:lnTo>
                  <a:pt x="49" y="116"/>
                </a:lnTo>
                <a:lnTo>
                  <a:pt x="50" y="114"/>
                </a:lnTo>
                <a:lnTo>
                  <a:pt x="50" y="113"/>
                </a:lnTo>
                <a:lnTo>
                  <a:pt x="53" y="113"/>
                </a:lnTo>
                <a:lnTo>
                  <a:pt x="54" y="111"/>
                </a:lnTo>
                <a:lnTo>
                  <a:pt x="54" y="109"/>
                </a:lnTo>
                <a:lnTo>
                  <a:pt x="53" y="109"/>
                </a:lnTo>
                <a:lnTo>
                  <a:pt x="52" y="108"/>
                </a:lnTo>
                <a:lnTo>
                  <a:pt x="57" y="102"/>
                </a:lnTo>
                <a:lnTo>
                  <a:pt x="61" y="101"/>
                </a:lnTo>
                <a:lnTo>
                  <a:pt x="67" y="99"/>
                </a:lnTo>
                <a:lnTo>
                  <a:pt x="68" y="99"/>
                </a:lnTo>
                <a:lnTo>
                  <a:pt x="68" y="101"/>
                </a:lnTo>
                <a:lnTo>
                  <a:pt x="69" y="101"/>
                </a:lnTo>
                <a:lnTo>
                  <a:pt x="75" y="99"/>
                </a:lnTo>
                <a:lnTo>
                  <a:pt x="88" y="98"/>
                </a:lnTo>
                <a:lnTo>
                  <a:pt x="92" y="98"/>
                </a:lnTo>
                <a:lnTo>
                  <a:pt x="92" y="102"/>
                </a:lnTo>
                <a:lnTo>
                  <a:pt x="94" y="107"/>
                </a:lnTo>
                <a:lnTo>
                  <a:pt x="96" y="107"/>
                </a:lnTo>
                <a:lnTo>
                  <a:pt x="96" y="109"/>
                </a:lnTo>
                <a:lnTo>
                  <a:pt x="97" y="109"/>
                </a:lnTo>
                <a:lnTo>
                  <a:pt x="98" y="110"/>
                </a:lnTo>
                <a:lnTo>
                  <a:pt x="96" y="113"/>
                </a:lnTo>
                <a:lnTo>
                  <a:pt x="93" y="113"/>
                </a:lnTo>
                <a:lnTo>
                  <a:pt x="93" y="116"/>
                </a:lnTo>
                <a:lnTo>
                  <a:pt x="94" y="116"/>
                </a:lnTo>
                <a:lnTo>
                  <a:pt x="94" y="117"/>
                </a:lnTo>
                <a:lnTo>
                  <a:pt x="97" y="117"/>
                </a:lnTo>
                <a:lnTo>
                  <a:pt x="99" y="120"/>
                </a:lnTo>
                <a:lnTo>
                  <a:pt x="102" y="120"/>
                </a:lnTo>
                <a:lnTo>
                  <a:pt x="104" y="115"/>
                </a:lnTo>
                <a:lnTo>
                  <a:pt x="104" y="113"/>
                </a:lnTo>
                <a:lnTo>
                  <a:pt x="103" y="111"/>
                </a:lnTo>
                <a:lnTo>
                  <a:pt x="100" y="111"/>
                </a:lnTo>
                <a:lnTo>
                  <a:pt x="100" y="107"/>
                </a:lnTo>
                <a:lnTo>
                  <a:pt x="102" y="107"/>
                </a:lnTo>
                <a:lnTo>
                  <a:pt x="102" y="105"/>
                </a:lnTo>
                <a:lnTo>
                  <a:pt x="105" y="105"/>
                </a:lnTo>
                <a:lnTo>
                  <a:pt x="106" y="107"/>
                </a:lnTo>
                <a:lnTo>
                  <a:pt x="106" y="108"/>
                </a:lnTo>
                <a:lnTo>
                  <a:pt x="109" y="109"/>
                </a:lnTo>
                <a:lnTo>
                  <a:pt x="112" y="110"/>
                </a:lnTo>
                <a:lnTo>
                  <a:pt x="114" y="110"/>
                </a:lnTo>
                <a:lnTo>
                  <a:pt x="114" y="111"/>
                </a:lnTo>
                <a:lnTo>
                  <a:pt x="112" y="111"/>
                </a:lnTo>
                <a:lnTo>
                  <a:pt x="112" y="113"/>
                </a:lnTo>
                <a:lnTo>
                  <a:pt x="111" y="115"/>
                </a:lnTo>
                <a:lnTo>
                  <a:pt x="114" y="113"/>
                </a:lnTo>
                <a:lnTo>
                  <a:pt x="115" y="110"/>
                </a:lnTo>
                <a:lnTo>
                  <a:pt x="114" y="107"/>
                </a:lnTo>
                <a:lnTo>
                  <a:pt x="112" y="107"/>
                </a:lnTo>
                <a:lnTo>
                  <a:pt x="112" y="104"/>
                </a:lnTo>
                <a:lnTo>
                  <a:pt x="111" y="103"/>
                </a:lnTo>
                <a:lnTo>
                  <a:pt x="111" y="98"/>
                </a:lnTo>
                <a:lnTo>
                  <a:pt x="112" y="95"/>
                </a:lnTo>
                <a:lnTo>
                  <a:pt x="114" y="90"/>
                </a:lnTo>
                <a:lnTo>
                  <a:pt x="115" y="88"/>
                </a:lnTo>
                <a:lnTo>
                  <a:pt x="116" y="86"/>
                </a:lnTo>
                <a:lnTo>
                  <a:pt x="117" y="86"/>
                </a:lnTo>
                <a:lnTo>
                  <a:pt x="118" y="85"/>
                </a:lnTo>
                <a:lnTo>
                  <a:pt x="122" y="89"/>
                </a:lnTo>
                <a:lnTo>
                  <a:pt x="123" y="89"/>
                </a:lnTo>
                <a:lnTo>
                  <a:pt x="127" y="90"/>
                </a:lnTo>
                <a:lnTo>
                  <a:pt x="129" y="90"/>
                </a:lnTo>
                <a:lnTo>
                  <a:pt x="131" y="89"/>
                </a:lnTo>
                <a:lnTo>
                  <a:pt x="134" y="90"/>
                </a:lnTo>
                <a:lnTo>
                  <a:pt x="134" y="89"/>
                </a:lnTo>
                <a:lnTo>
                  <a:pt x="137" y="88"/>
                </a:lnTo>
                <a:lnTo>
                  <a:pt x="145" y="88"/>
                </a:lnTo>
                <a:lnTo>
                  <a:pt x="146" y="89"/>
                </a:lnTo>
                <a:lnTo>
                  <a:pt x="149" y="96"/>
                </a:lnTo>
                <a:lnTo>
                  <a:pt x="153" y="99"/>
                </a:lnTo>
                <a:lnTo>
                  <a:pt x="153" y="101"/>
                </a:lnTo>
                <a:lnTo>
                  <a:pt x="154" y="102"/>
                </a:lnTo>
                <a:lnTo>
                  <a:pt x="156" y="107"/>
                </a:lnTo>
                <a:lnTo>
                  <a:pt x="158" y="107"/>
                </a:lnTo>
                <a:lnTo>
                  <a:pt x="158" y="108"/>
                </a:lnTo>
                <a:lnTo>
                  <a:pt x="160" y="108"/>
                </a:lnTo>
                <a:lnTo>
                  <a:pt x="165" y="110"/>
                </a:lnTo>
                <a:lnTo>
                  <a:pt x="168" y="110"/>
                </a:lnTo>
                <a:lnTo>
                  <a:pt x="167" y="109"/>
                </a:lnTo>
                <a:lnTo>
                  <a:pt x="166" y="109"/>
                </a:lnTo>
                <a:lnTo>
                  <a:pt x="162" y="108"/>
                </a:lnTo>
                <a:lnTo>
                  <a:pt x="160" y="108"/>
                </a:lnTo>
                <a:lnTo>
                  <a:pt x="156" y="104"/>
                </a:lnTo>
                <a:lnTo>
                  <a:pt x="155" y="102"/>
                </a:lnTo>
                <a:lnTo>
                  <a:pt x="155" y="98"/>
                </a:lnTo>
                <a:lnTo>
                  <a:pt x="153" y="97"/>
                </a:lnTo>
                <a:lnTo>
                  <a:pt x="152" y="97"/>
                </a:lnTo>
                <a:lnTo>
                  <a:pt x="150" y="96"/>
                </a:lnTo>
                <a:lnTo>
                  <a:pt x="150" y="93"/>
                </a:lnTo>
                <a:lnTo>
                  <a:pt x="149" y="91"/>
                </a:lnTo>
                <a:lnTo>
                  <a:pt x="149" y="90"/>
                </a:lnTo>
                <a:lnTo>
                  <a:pt x="148" y="90"/>
                </a:lnTo>
                <a:lnTo>
                  <a:pt x="146" y="88"/>
                </a:lnTo>
                <a:lnTo>
                  <a:pt x="143" y="86"/>
                </a:lnTo>
                <a:lnTo>
                  <a:pt x="142" y="86"/>
                </a:lnTo>
                <a:lnTo>
                  <a:pt x="136" y="85"/>
                </a:lnTo>
                <a:lnTo>
                  <a:pt x="133" y="85"/>
                </a:lnTo>
                <a:lnTo>
                  <a:pt x="130" y="84"/>
                </a:lnTo>
                <a:lnTo>
                  <a:pt x="129" y="83"/>
                </a:lnTo>
                <a:lnTo>
                  <a:pt x="125" y="76"/>
                </a:lnTo>
                <a:lnTo>
                  <a:pt x="128" y="74"/>
                </a:lnTo>
                <a:lnTo>
                  <a:pt x="129" y="74"/>
                </a:lnTo>
                <a:lnTo>
                  <a:pt x="131" y="77"/>
                </a:lnTo>
                <a:lnTo>
                  <a:pt x="133" y="76"/>
                </a:lnTo>
                <a:lnTo>
                  <a:pt x="133" y="74"/>
                </a:lnTo>
                <a:lnTo>
                  <a:pt x="134" y="73"/>
                </a:lnTo>
                <a:lnTo>
                  <a:pt x="134" y="71"/>
                </a:lnTo>
                <a:lnTo>
                  <a:pt x="131" y="68"/>
                </a:lnTo>
                <a:lnTo>
                  <a:pt x="131" y="67"/>
                </a:lnTo>
                <a:lnTo>
                  <a:pt x="129" y="67"/>
                </a:lnTo>
                <a:lnTo>
                  <a:pt x="128" y="68"/>
                </a:lnTo>
                <a:lnTo>
                  <a:pt x="127" y="68"/>
                </a:lnTo>
                <a:lnTo>
                  <a:pt x="125" y="67"/>
                </a:lnTo>
                <a:lnTo>
                  <a:pt x="125" y="65"/>
                </a:lnTo>
                <a:lnTo>
                  <a:pt x="124" y="65"/>
                </a:lnTo>
                <a:lnTo>
                  <a:pt x="125" y="64"/>
                </a:lnTo>
                <a:lnTo>
                  <a:pt x="125" y="62"/>
                </a:lnTo>
                <a:lnTo>
                  <a:pt x="127" y="61"/>
                </a:lnTo>
                <a:lnTo>
                  <a:pt x="125" y="60"/>
                </a:lnTo>
                <a:lnTo>
                  <a:pt x="127" y="59"/>
                </a:lnTo>
                <a:lnTo>
                  <a:pt x="129" y="59"/>
                </a:lnTo>
                <a:lnTo>
                  <a:pt x="129" y="58"/>
                </a:lnTo>
                <a:lnTo>
                  <a:pt x="130" y="58"/>
                </a:lnTo>
                <a:lnTo>
                  <a:pt x="130" y="56"/>
                </a:lnTo>
                <a:lnTo>
                  <a:pt x="131" y="55"/>
                </a:lnTo>
                <a:lnTo>
                  <a:pt x="130" y="55"/>
                </a:lnTo>
                <a:lnTo>
                  <a:pt x="129" y="56"/>
                </a:lnTo>
                <a:lnTo>
                  <a:pt x="121" y="56"/>
                </a:lnTo>
                <a:lnTo>
                  <a:pt x="119" y="59"/>
                </a:lnTo>
                <a:lnTo>
                  <a:pt x="116" y="55"/>
                </a:lnTo>
                <a:lnTo>
                  <a:pt x="116" y="53"/>
                </a:lnTo>
                <a:lnTo>
                  <a:pt x="117" y="52"/>
                </a:lnTo>
                <a:lnTo>
                  <a:pt x="119" y="52"/>
                </a:lnTo>
                <a:lnTo>
                  <a:pt x="118" y="51"/>
                </a:lnTo>
                <a:lnTo>
                  <a:pt x="117" y="52"/>
                </a:lnTo>
                <a:lnTo>
                  <a:pt x="117" y="49"/>
                </a:lnTo>
                <a:lnTo>
                  <a:pt x="118" y="48"/>
                </a:lnTo>
                <a:lnTo>
                  <a:pt x="118" y="49"/>
                </a:lnTo>
                <a:lnTo>
                  <a:pt x="122" y="48"/>
                </a:lnTo>
                <a:lnTo>
                  <a:pt x="128" y="48"/>
                </a:lnTo>
                <a:lnTo>
                  <a:pt x="130" y="46"/>
                </a:lnTo>
                <a:lnTo>
                  <a:pt x="133" y="45"/>
                </a:lnTo>
                <a:lnTo>
                  <a:pt x="133" y="40"/>
                </a:lnTo>
                <a:lnTo>
                  <a:pt x="128" y="35"/>
                </a:lnTo>
                <a:lnTo>
                  <a:pt x="128" y="34"/>
                </a:lnTo>
                <a:lnTo>
                  <a:pt x="125" y="34"/>
                </a:lnTo>
                <a:lnTo>
                  <a:pt x="127" y="33"/>
                </a:lnTo>
                <a:lnTo>
                  <a:pt x="125" y="29"/>
                </a:lnTo>
                <a:lnTo>
                  <a:pt x="124" y="28"/>
                </a:lnTo>
                <a:lnTo>
                  <a:pt x="123" y="28"/>
                </a:lnTo>
                <a:lnTo>
                  <a:pt x="119" y="24"/>
                </a:lnTo>
                <a:lnTo>
                  <a:pt x="119" y="22"/>
                </a:lnTo>
                <a:lnTo>
                  <a:pt x="118" y="19"/>
                </a:lnTo>
                <a:lnTo>
                  <a:pt x="118" y="18"/>
                </a:lnTo>
                <a:lnTo>
                  <a:pt x="117" y="17"/>
                </a:lnTo>
                <a:lnTo>
                  <a:pt x="118" y="15"/>
                </a:lnTo>
                <a:lnTo>
                  <a:pt x="118" y="13"/>
                </a:lnTo>
                <a:lnTo>
                  <a:pt x="122" y="13"/>
                </a:lnTo>
                <a:lnTo>
                  <a:pt x="124" y="12"/>
                </a:lnTo>
                <a:close/>
                <a:moveTo>
                  <a:pt x="108" y="0"/>
                </a:moveTo>
                <a:lnTo>
                  <a:pt x="110" y="2"/>
                </a:lnTo>
                <a:lnTo>
                  <a:pt x="108" y="2"/>
                </a:lnTo>
                <a:lnTo>
                  <a:pt x="109" y="3"/>
                </a:lnTo>
                <a:lnTo>
                  <a:pt x="109" y="4"/>
                </a:lnTo>
                <a:lnTo>
                  <a:pt x="106" y="5"/>
                </a:lnTo>
                <a:lnTo>
                  <a:pt x="105" y="6"/>
                </a:lnTo>
                <a:lnTo>
                  <a:pt x="105" y="11"/>
                </a:lnTo>
                <a:lnTo>
                  <a:pt x="106" y="13"/>
                </a:lnTo>
                <a:lnTo>
                  <a:pt x="111" y="13"/>
                </a:lnTo>
                <a:lnTo>
                  <a:pt x="110" y="15"/>
                </a:lnTo>
                <a:lnTo>
                  <a:pt x="104" y="15"/>
                </a:lnTo>
                <a:lnTo>
                  <a:pt x="103" y="16"/>
                </a:lnTo>
                <a:lnTo>
                  <a:pt x="103" y="24"/>
                </a:lnTo>
                <a:lnTo>
                  <a:pt x="102" y="23"/>
                </a:lnTo>
                <a:lnTo>
                  <a:pt x="102" y="21"/>
                </a:lnTo>
                <a:lnTo>
                  <a:pt x="103" y="13"/>
                </a:lnTo>
                <a:lnTo>
                  <a:pt x="103" y="12"/>
                </a:lnTo>
                <a:lnTo>
                  <a:pt x="106" y="3"/>
                </a:lnTo>
                <a:lnTo>
                  <a:pt x="108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1" name="Freeform 42">
            <a:extLst>
              <a:ext uri="{FF2B5EF4-FFF2-40B4-BE49-F238E27FC236}">
                <a16:creationId xmlns:a16="http://schemas.microsoft.com/office/drawing/2014/main" id="{486128D2-98C7-4A8A-962F-9D4D6533A545}"/>
              </a:ext>
            </a:extLst>
          </p:cNvPr>
          <p:cNvSpPr>
            <a:spLocks/>
          </p:cNvSpPr>
          <p:nvPr/>
        </p:nvSpPr>
        <p:spPr bwMode="auto">
          <a:xfrm>
            <a:off x="3676058" y="5289933"/>
            <a:ext cx="410050" cy="210097"/>
          </a:xfrm>
          <a:custGeom>
            <a:avLst/>
            <a:gdLst/>
            <a:ahLst/>
            <a:cxnLst>
              <a:cxn ang="0">
                <a:pos x="26" y="2"/>
              </a:cxn>
              <a:cxn ang="0">
                <a:pos x="43" y="12"/>
              </a:cxn>
              <a:cxn ang="0">
                <a:pos x="60" y="17"/>
              </a:cxn>
              <a:cxn ang="0">
                <a:pos x="73" y="22"/>
              </a:cxn>
              <a:cxn ang="0">
                <a:pos x="103" y="20"/>
              </a:cxn>
              <a:cxn ang="0">
                <a:pos x="112" y="24"/>
              </a:cxn>
              <a:cxn ang="0">
                <a:pos x="126" y="30"/>
              </a:cxn>
              <a:cxn ang="0">
                <a:pos x="143" y="41"/>
              </a:cxn>
              <a:cxn ang="0">
                <a:pos x="161" y="48"/>
              </a:cxn>
              <a:cxn ang="0">
                <a:pos x="161" y="57"/>
              </a:cxn>
              <a:cxn ang="0">
                <a:pos x="169" y="56"/>
              </a:cxn>
              <a:cxn ang="0">
                <a:pos x="181" y="50"/>
              </a:cxn>
              <a:cxn ang="0">
                <a:pos x="200" y="51"/>
              </a:cxn>
              <a:cxn ang="0">
                <a:pos x="204" y="50"/>
              </a:cxn>
              <a:cxn ang="0">
                <a:pos x="217" y="50"/>
              </a:cxn>
              <a:cxn ang="0">
                <a:pos x="229" y="61"/>
              </a:cxn>
              <a:cxn ang="0">
                <a:pos x="237" y="78"/>
              </a:cxn>
              <a:cxn ang="0">
                <a:pos x="250" y="90"/>
              </a:cxn>
              <a:cxn ang="0">
                <a:pos x="256" y="91"/>
              </a:cxn>
              <a:cxn ang="0">
                <a:pos x="266" y="94"/>
              </a:cxn>
              <a:cxn ang="0">
                <a:pos x="266" y="105"/>
              </a:cxn>
              <a:cxn ang="0">
                <a:pos x="263" y="113"/>
              </a:cxn>
              <a:cxn ang="0">
                <a:pos x="269" y="121"/>
              </a:cxn>
              <a:cxn ang="0">
                <a:pos x="280" y="128"/>
              </a:cxn>
              <a:cxn ang="0">
                <a:pos x="280" y="141"/>
              </a:cxn>
              <a:cxn ang="0">
                <a:pos x="272" y="142"/>
              </a:cxn>
              <a:cxn ang="0">
                <a:pos x="253" y="137"/>
              </a:cxn>
              <a:cxn ang="0">
                <a:pos x="241" y="129"/>
              </a:cxn>
              <a:cxn ang="0">
                <a:pos x="228" y="123"/>
              </a:cxn>
              <a:cxn ang="0">
                <a:pos x="210" y="131"/>
              </a:cxn>
              <a:cxn ang="0">
                <a:pos x="205" y="134"/>
              </a:cxn>
              <a:cxn ang="0">
                <a:pos x="192" y="137"/>
              </a:cxn>
              <a:cxn ang="0">
                <a:pos x="187" y="137"/>
              </a:cxn>
              <a:cxn ang="0">
                <a:pos x="178" y="134"/>
              </a:cxn>
              <a:cxn ang="0">
                <a:pos x="170" y="137"/>
              </a:cxn>
              <a:cxn ang="0">
                <a:pos x="151" y="140"/>
              </a:cxn>
              <a:cxn ang="0">
                <a:pos x="141" y="136"/>
              </a:cxn>
              <a:cxn ang="0">
                <a:pos x="131" y="133"/>
              </a:cxn>
              <a:cxn ang="0">
                <a:pos x="130" y="128"/>
              </a:cxn>
              <a:cxn ang="0">
                <a:pos x="122" y="119"/>
              </a:cxn>
              <a:cxn ang="0">
                <a:pos x="118" y="117"/>
              </a:cxn>
              <a:cxn ang="0">
                <a:pos x="109" y="118"/>
              </a:cxn>
              <a:cxn ang="0">
                <a:pos x="93" y="119"/>
              </a:cxn>
              <a:cxn ang="0">
                <a:pos x="78" y="123"/>
              </a:cxn>
              <a:cxn ang="0">
                <a:pos x="72" y="119"/>
              </a:cxn>
              <a:cxn ang="0">
                <a:pos x="72" y="110"/>
              </a:cxn>
              <a:cxn ang="0">
                <a:pos x="73" y="87"/>
              </a:cxn>
              <a:cxn ang="0">
                <a:pos x="64" y="54"/>
              </a:cxn>
              <a:cxn ang="0">
                <a:pos x="49" y="45"/>
              </a:cxn>
              <a:cxn ang="0">
                <a:pos x="37" y="30"/>
              </a:cxn>
              <a:cxn ang="0">
                <a:pos x="16" y="24"/>
              </a:cxn>
              <a:cxn ang="0">
                <a:pos x="11" y="16"/>
              </a:cxn>
              <a:cxn ang="0">
                <a:pos x="1" y="11"/>
              </a:cxn>
              <a:cxn ang="0">
                <a:pos x="7" y="0"/>
              </a:cxn>
            </a:cxnLst>
            <a:rect l="0" t="0" r="r" b="b"/>
            <a:pathLst>
              <a:path w="283" h="145">
                <a:moveTo>
                  <a:pt x="7" y="0"/>
                </a:moveTo>
                <a:lnTo>
                  <a:pt x="11" y="0"/>
                </a:lnTo>
                <a:lnTo>
                  <a:pt x="20" y="4"/>
                </a:lnTo>
                <a:lnTo>
                  <a:pt x="23" y="5"/>
                </a:lnTo>
                <a:lnTo>
                  <a:pt x="24" y="4"/>
                </a:lnTo>
                <a:lnTo>
                  <a:pt x="26" y="2"/>
                </a:lnTo>
                <a:lnTo>
                  <a:pt x="29" y="2"/>
                </a:lnTo>
                <a:lnTo>
                  <a:pt x="30" y="4"/>
                </a:lnTo>
                <a:lnTo>
                  <a:pt x="32" y="5"/>
                </a:lnTo>
                <a:lnTo>
                  <a:pt x="36" y="6"/>
                </a:lnTo>
                <a:lnTo>
                  <a:pt x="37" y="7"/>
                </a:lnTo>
                <a:lnTo>
                  <a:pt x="43" y="12"/>
                </a:lnTo>
                <a:lnTo>
                  <a:pt x="50" y="12"/>
                </a:lnTo>
                <a:lnTo>
                  <a:pt x="51" y="13"/>
                </a:lnTo>
                <a:lnTo>
                  <a:pt x="53" y="13"/>
                </a:lnTo>
                <a:lnTo>
                  <a:pt x="55" y="14"/>
                </a:lnTo>
                <a:lnTo>
                  <a:pt x="60" y="14"/>
                </a:lnTo>
                <a:lnTo>
                  <a:pt x="60" y="17"/>
                </a:lnTo>
                <a:lnTo>
                  <a:pt x="61" y="17"/>
                </a:lnTo>
                <a:lnTo>
                  <a:pt x="63" y="18"/>
                </a:lnTo>
                <a:lnTo>
                  <a:pt x="67" y="22"/>
                </a:lnTo>
                <a:lnTo>
                  <a:pt x="69" y="22"/>
                </a:lnTo>
                <a:lnTo>
                  <a:pt x="72" y="20"/>
                </a:lnTo>
                <a:lnTo>
                  <a:pt x="73" y="22"/>
                </a:lnTo>
                <a:lnTo>
                  <a:pt x="82" y="22"/>
                </a:lnTo>
                <a:lnTo>
                  <a:pt x="85" y="23"/>
                </a:lnTo>
                <a:lnTo>
                  <a:pt x="88" y="23"/>
                </a:lnTo>
                <a:lnTo>
                  <a:pt x="92" y="22"/>
                </a:lnTo>
                <a:lnTo>
                  <a:pt x="93" y="20"/>
                </a:lnTo>
                <a:lnTo>
                  <a:pt x="103" y="20"/>
                </a:lnTo>
                <a:lnTo>
                  <a:pt x="105" y="22"/>
                </a:lnTo>
                <a:lnTo>
                  <a:pt x="107" y="24"/>
                </a:lnTo>
                <a:lnTo>
                  <a:pt x="110" y="25"/>
                </a:lnTo>
                <a:lnTo>
                  <a:pt x="111" y="26"/>
                </a:lnTo>
                <a:lnTo>
                  <a:pt x="112" y="25"/>
                </a:lnTo>
                <a:lnTo>
                  <a:pt x="112" y="24"/>
                </a:lnTo>
                <a:lnTo>
                  <a:pt x="120" y="24"/>
                </a:lnTo>
                <a:lnTo>
                  <a:pt x="123" y="26"/>
                </a:lnTo>
                <a:lnTo>
                  <a:pt x="124" y="26"/>
                </a:lnTo>
                <a:lnTo>
                  <a:pt x="128" y="27"/>
                </a:lnTo>
                <a:lnTo>
                  <a:pt x="128" y="29"/>
                </a:lnTo>
                <a:lnTo>
                  <a:pt x="126" y="30"/>
                </a:lnTo>
                <a:lnTo>
                  <a:pt x="126" y="31"/>
                </a:lnTo>
                <a:lnTo>
                  <a:pt x="128" y="31"/>
                </a:lnTo>
                <a:lnTo>
                  <a:pt x="134" y="37"/>
                </a:lnTo>
                <a:lnTo>
                  <a:pt x="135" y="37"/>
                </a:lnTo>
                <a:lnTo>
                  <a:pt x="136" y="38"/>
                </a:lnTo>
                <a:lnTo>
                  <a:pt x="143" y="41"/>
                </a:lnTo>
                <a:lnTo>
                  <a:pt x="148" y="42"/>
                </a:lnTo>
                <a:lnTo>
                  <a:pt x="149" y="42"/>
                </a:lnTo>
                <a:lnTo>
                  <a:pt x="151" y="43"/>
                </a:lnTo>
                <a:lnTo>
                  <a:pt x="155" y="47"/>
                </a:lnTo>
                <a:lnTo>
                  <a:pt x="159" y="48"/>
                </a:lnTo>
                <a:lnTo>
                  <a:pt x="161" y="48"/>
                </a:lnTo>
                <a:lnTo>
                  <a:pt x="161" y="51"/>
                </a:lnTo>
                <a:lnTo>
                  <a:pt x="159" y="53"/>
                </a:lnTo>
                <a:lnTo>
                  <a:pt x="157" y="54"/>
                </a:lnTo>
                <a:lnTo>
                  <a:pt x="157" y="55"/>
                </a:lnTo>
                <a:lnTo>
                  <a:pt x="159" y="56"/>
                </a:lnTo>
                <a:lnTo>
                  <a:pt x="161" y="57"/>
                </a:lnTo>
                <a:lnTo>
                  <a:pt x="165" y="57"/>
                </a:lnTo>
                <a:lnTo>
                  <a:pt x="167" y="60"/>
                </a:lnTo>
                <a:lnTo>
                  <a:pt x="168" y="60"/>
                </a:lnTo>
                <a:lnTo>
                  <a:pt x="168" y="59"/>
                </a:lnTo>
                <a:lnTo>
                  <a:pt x="169" y="57"/>
                </a:lnTo>
                <a:lnTo>
                  <a:pt x="169" y="56"/>
                </a:lnTo>
                <a:lnTo>
                  <a:pt x="172" y="56"/>
                </a:lnTo>
                <a:lnTo>
                  <a:pt x="175" y="55"/>
                </a:lnTo>
                <a:lnTo>
                  <a:pt x="178" y="55"/>
                </a:lnTo>
                <a:lnTo>
                  <a:pt x="179" y="54"/>
                </a:lnTo>
                <a:lnTo>
                  <a:pt x="180" y="51"/>
                </a:lnTo>
                <a:lnTo>
                  <a:pt x="181" y="50"/>
                </a:lnTo>
                <a:lnTo>
                  <a:pt x="186" y="50"/>
                </a:lnTo>
                <a:lnTo>
                  <a:pt x="190" y="48"/>
                </a:lnTo>
                <a:lnTo>
                  <a:pt x="194" y="48"/>
                </a:lnTo>
                <a:lnTo>
                  <a:pt x="197" y="49"/>
                </a:lnTo>
                <a:lnTo>
                  <a:pt x="198" y="49"/>
                </a:lnTo>
                <a:lnTo>
                  <a:pt x="200" y="51"/>
                </a:lnTo>
                <a:lnTo>
                  <a:pt x="200" y="53"/>
                </a:lnTo>
                <a:lnTo>
                  <a:pt x="201" y="55"/>
                </a:lnTo>
                <a:lnTo>
                  <a:pt x="201" y="56"/>
                </a:lnTo>
                <a:lnTo>
                  <a:pt x="203" y="56"/>
                </a:lnTo>
                <a:lnTo>
                  <a:pt x="203" y="53"/>
                </a:lnTo>
                <a:lnTo>
                  <a:pt x="204" y="50"/>
                </a:lnTo>
                <a:lnTo>
                  <a:pt x="205" y="49"/>
                </a:lnTo>
                <a:lnTo>
                  <a:pt x="205" y="48"/>
                </a:lnTo>
                <a:lnTo>
                  <a:pt x="207" y="48"/>
                </a:lnTo>
                <a:lnTo>
                  <a:pt x="212" y="51"/>
                </a:lnTo>
                <a:lnTo>
                  <a:pt x="216" y="51"/>
                </a:lnTo>
                <a:lnTo>
                  <a:pt x="217" y="50"/>
                </a:lnTo>
                <a:lnTo>
                  <a:pt x="219" y="53"/>
                </a:lnTo>
                <a:lnTo>
                  <a:pt x="223" y="57"/>
                </a:lnTo>
                <a:lnTo>
                  <a:pt x="224" y="59"/>
                </a:lnTo>
                <a:lnTo>
                  <a:pt x="224" y="60"/>
                </a:lnTo>
                <a:lnTo>
                  <a:pt x="225" y="61"/>
                </a:lnTo>
                <a:lnTo>
                  <a:pt x="229" y="61"/>
                </a:lnTo>
                <a:lnTo>
                  <a:pt x="231" y="60"/>
                </a:lnTo>
                <a:lnTo>
                  <a:pt x="234" y="60"/>
                </a:lnTo>
                <a:lnTo>
                  <a:pt x="241" y="62"/>
                </a:lnTo>
                <a:lnTo>
                  <a:pt x="243" y="65"/>
                </a:lnTo>
                <a:lnTo>
                  <a:pt x="242" y="66"/>
                </a:lnTo>
                <a:lnTo>
                  <a:pt x="237" y="78"/>
                </a:lnTo>
                <a:lnTo>
                  <a:pt x="241" y="81"/>
                </a:lnTo>
                <a:lnTo>
                  <a:pt x="246" y="84"/>
                </a:lnTo>
                <a:lnTo>
                  <a:pt x="249" y="85"/>
                </a:lnTo>
                <a:lnTo>
                  <a:pt x="249" y="86"/>
                </a:lnTo>
                <a:lnTo>
                  <a:pt x="250" y="88"/>
                </a:lnTo>
                <a:lnTo>
                  <a:pt x="250" y="90"/>
                </a:lnTo>
                <a:lnTo>
                  <a:pt x="253" y="90"/>
                </a:lnTo>
                <a:lnTo>
                  <a:pt x="253" y="88"/>
                </a:lnTo>
                <a:lnTo>
                  <a:pt x="254" y="88"/>
                </a:lnTo>
                <a:lnTo>
                  <a:pt x="254" y="90"/>
                </a:lnTo>
                <a:lnTo>
                  <a:pt x="256" y="90"/>
                </a:lnTo>
                <a:lnTo>
                  <a:pt x="256" y="91"/>
                </a:lnTo>
                <a:lnTo>
                  <a:pt x="258" y="92"/>
                </a:lnTo>
                <a:lnTo>
                  <a:pt x="259" y="92"/>
                </a:lnTo>
                <a:lnTo>
                  <a:pt x="261" y="91"/>
                </a:lnTo>
                <a:lnTo>
                  <a:pt x="263" y="91"/>
                </a:lnTo>
                <a:lnTo>
                  <a:pt x="265" y="92"/>
                </a:lnTo>
                <a:lnTo>
                  <a:pt x="266" y="94"/>
                </a:lnTo>
                <a:lnTo>
                  <a:pt x="267" y="94"/>
                </a:lnTo>
                <a:lnTo>
                  <a:pt x="269" y="96"/>
                </a:lnTo>
                <a:lnTo>
                  <a:pt x="271" y="96"/>
                </a:lnTo>
                <a:lnTo>
                  <a:pt x="272" y="97"/>
                </a:lnTo>
                <a:lnTo>
                  <a:pt x="271" y="100"/>
                </a:lnTo>
                <a:lnTo>
                  <a:pt x="266" y="105"/>
                </a:lnTo>
                <a:lnTo>
                  <a:pt x="263" y="104"/>
                </a:lnTo>
                <a:lnTo>
                  <a:pt x="262" y="105"/>
                </a:lnTo>
                <a:lnTo>
                  <a:pt x="261" y="108"/>
                </a:lnTo>
                <a:lnTo>
                  <a:pt x="261" y="110"/>
                </a:lnTo>
                <a:lnTo>
                  <a:pt x="262" y="112"/>
                </a:lnTo>
                <a:lnTo>
                  <a:pt x="263" y="113"/>
                </a:lnTo>
                <a:lnTo>
                  <a:pt x="263" y="112"/>
                </a:lnTo>
                <a:lnTo>
                  <a:pt x="265" y="112"/>
                </a:lnTo>
                <a:lnTo>
                  <a:pt x="266" y="115"/>
                </a:lnTo>
                <a:lnTo>
                  <a:pt x="266" y="118"/>
                </a:lnTo>
                <a:lnTo>
                  <a:pt x="267" y="119"/>
                </a:lnTo>
                <a:lnTo>
                  <a:pt x="269" y="121"/>
                </a:lnTo>
                <a:lnTo>
                  <a:pt x="271" y="122"/>
                </a:lnTo>
                <a:lnTo>
                  <a:pt x="273" y="123"/>
                </a:lnTo>
                <a:lnTo>
                  <a:pt x="277" y="125"/>
                </a:lnTo>
                <a:lnTo>
                  <a:pt x="279" y="127"/>
                </a:lnTo>
                <a:lnTo>
                  <a:pt x="279" y="128"/>
                </a:lnTo>
                <a:lnTo>
                  <a:pt x="280" y="128"/>
                </a:lnTo>
                <a:lnTo>
                  <a:pt x="281" y="129"/>
                </a:lnTo>
                <a:lnTo>
                  <a:pt x="283" y="131"/>
                </a:lnTo>
                <a:lnTo>
                  <a:pt x="283" y="134"/>
                </a:lnTo>
                <a:lnTo>
                  <a:pt x="281" y="135"/>
                </a:lnTo>
                <a:lnTo>
                  <a:pt x="280" y="137"/>
                </a:lnTo>
                <a:lnTo>
                  <a:pt x="280" y="141"/>
                </a:lnTo>
                <a:lnTo>
                  <a:pt x="279" y="142"/>
                </a:lnTo>
                <a:lnTo>
                  <a:pt x="275" y="142"/>
                </a:lnTo>
                <a:lnTo>
                  <a:pt x="275" y="143"/>
                </a:lnTo>
                <a:lnTo>
                  <a:pt x="274" y="145"/>
                </a:lnTo>
                <a:lnTo>
                  <a:pt x="273" y="145"/>
                </a:lnTo>
                <a:lnTo>
                  <a:pt x="272" y="142"/>
                </a:lnTo>
                <a:lnTo>
                  <a:pt x="271" y="142"/>
                </a:lnTo>
                <a:lnTo>
                  <a:pt x="268" y="141"/>
                </a:lnTo>
                <a:lnTo>
                  <a:pt x="263" y="136"/>
                </a:lnTo>
                <a:lnTo>
                  <a:pt x="258" y="136"/>
                </a:lnTo>
                <a:lnTo>
                  <a:pt x="256" y="137"/>
                </a:lnTo>
                <a:lnTo>
                  <a:pt x="253" y="137"/>
                </a:lnTo>
                <a:lnTo>
                  <a:pt x="246" y="135"/>
                </a:lnTo>
                <a:lnTo>
                  <a:pt x="244" y="134"/>
                </a:lnTo>
                <a:lnTo>
                  <a:pt x="243" y="134"/>
                </a:lnTo>
                <a:lnTo>
                  <a:pt x="242" y="133"/>
                </a:lnTo>
                <a:lnTo>
                  <a:pt x="241" y="130"/>
                </a:lnTo>
                <a:lnTo>
                  <a:pt x="241" y="129"/>
                </a:lnTo>
                <a:lnTo>
                  <a:pt x="243" y="129"/>
                </a:lnTo>
                <a:lnTo>
                  <a:pt x="243" y="128"/>
                </a:lnTo>
                <a:lnTo>
                  <a:pt x="240" y="128"/>
                </a:lnTo>
                <a:lnTo>
                  <a:pt x="234" y="125"/>
                </a:lnTo>
                <a:lnTo>
                  <a:pt x="231" y="123"/>
                </a:lnTo>
                <a:lnTo>
                  <a:pt x="228" y="123"/>
                </a:lnTo>
                <a:lnTo>
                  <a:pt x="225" y="122"/>
                </a:lnTo>
                <a:lnTo>
                  <a:pt x="222" y="122"/>
                </a:lnTo>
                <a:lnTo>
                  <a:pt x="216" y="128"/>
                </a:lnTo>
                <a:lnTo>
                  <a:pt x="212" y="130"/>
                </a:lnTo>
                <a:lnTo>
                  <a:pt x="211" y="131"/>
                </a:lnTo>
                <a:lnTo>
                  <a:pt x="210" y="131"/>
                </a:lnTo>
                <a:lnTo>
                  <a:pt x="210" y="133"/>
                </a:lnTo>
                <a:lnTo>
                  <a:pt x="207" y="133"/>
                </a:lnTo>
                <a:lnTo>
                  <a:pt x="204" y="131"/>
                </a:lnTo>
                <a:lnTo>
                  <a:pt x="203" y="133"/>
                </a:lnTo>
                <a:lnTo>
                  <a:pt x="204" y="134"/>
                </a:lnTo>
                <a:lnTo>
                  <a:pt x="205" y="134"/>
                </a:lnTo>
                <a:lnTo>
                  <a:pt x="205" y="135"/>
                </a:lnTo>
                <a:lnTo>
                  <a:pt x="194" y="135"/>
                </a:lnTo>
                <a:lnTo>
                  <a:pt x="194" y="136"/>
                </a:lnTo>
                <a:lnTo>
                  <a:pt x="193" y="136"/>
                </a:lnTo>
                <a:lnTo>
                  <a:pt x="193" y="137"/>
                </a:lnTo>
                <a:lnTo>
                  <a:pt x="192" y="137"/>
                </a:lnTo>
                <a:lnTo>
                  <a:pt x="192" y="136"/>
                </a:lnTo>
                <a:lnTo>
                  <a:pt x="191" y="135"/>
                </a:lnTo>
                <a:lnTo>
                  <a:pt x="191" y="136"/>
                </a:lnTo>
                <a:lnTo>
                  <a:pt x="190" y="136"/>
                </a:lnTo>
                <a:lnTo>
                  <a:pt x="188" y="137"/>
                </a:lnTo>
                <a:lnTo>
                  <a:pt x="187" y="137"/>
                </a:lnTo>
                <a:lnTo>
                  <a:pt x="187" y="136"/>
                </a:lnTo>
                <a:lnTo>
                  <a:pt x="185" y="135"/>
                </a:lnTo>
                <a:lnTo>
                  <a:pt x="184" y="135"/>
                </a:lnTo>
                <a:lnTo>
                  <a:pt x="182" y="136"/>
                </a:lnTo>
                <a:lnTo>
                  <a:pt x="180" y="136"/>
                </a:lnTo>
                <a:lnTo>
                  <a:pt x="178" y="134"/>
                </a:lnTo>
                <a:lnTo>
                  <a:pt x="176" y="134"/>
                </a:lnTo>
                <a:lnTo>
                  <a:pt x="176" y="136"/>
                </a:lnTo>
                <a:lnTo>
                  <a:pt x="175" y="136"/>
                </a:lnTo>
                <a:lnTo>
                  <a:pt x="174" y="137"/>
                </a:lnTo>
                <a:lnTo>
                  <a:pt x="172" y="136"/>
                </a:lnTo>
                <a:lnTo>
                  <a:pt x="170" y="137"/>
                </a:lnTo>
                <a:lnTo>
                  <a:pt x="168" y="137"/>
                </a:lnTo>
                <a:lnTo>
                  <a:pt x="167" y="139"/>
                </a:lnTo>
                <a:lnTo>
                  <a:pt x="162" y="139"/>
                </a:lnTo>
                <a:lnTo>
                  <a:pt x="160" y="141"/>
                </a:lnTo>
                <a:lnTo>
                  <a:pt x="157" y="141"/>
                </a:lnTo>
                <a:lnTo>
                  <a:pt x="151" y="140"/>
                </a:lnTo>
                <a:lnTo>
                  <a:pt x="149" y="140"/>
                </a:lnTo>
                <a:lnTo>
                  <a:pt x="147" y="141"/>
                </a:lnTo>
                <a:lnTo>
                  <a:pt x="145" y="141"/>
                </a:lnTo>
                <a:lnTo>
                  <a:pt x="147" y="140"/>
                </a:lnTo>
                <a:lnTo>
                  <a:pt x="143" y="136"/>
                </a:lnTo>
                <a:lnTo>
                  <a:pt x="141" y="136"/>
                </a:lnTo>
                <a:lnTo>
                  <a:pt x="137" y="137"/>
                </a:lnTo>
                <a:lnTo>
                  <a:pt x="136" y="137"/>
                </a:lnTo>
                <a:lnTo>
                  <a:pt x="135" y="135"/>
                </a:lnTo>
                <a:lnTo>
                  <a:pt x="135" y="134"/>
                </a:lnTo>
                <a:lnTo>
                  <a:pt x="132" y="134"/>
                </a:lnTo>
                <a:lnTo>
                  <a:pt x="131" y="133"/>
                </a:lnTo>
                <a:lnTo>
                  <a:pt x="134" y="131"/>
                </a:lnTo>
                <a:lnTo>
                  <a:pt x="135" y="131"/>
                </a:lnTo>
                <a:lnTo>
                  <a:pt x="135" y="130"/>
                </a:lnTo>
                <a:lnTo>
                  <a:pt x="134" y="130"/>
                </a:lnTo>
                <a:lnTo>
                  <a:pt x="132" y="129"/>
                </a:lnTo>
                <a:lnTo>
                  <a:pt x="130" y="128"/>
                </a:lnTo>
                <a:lnTo>
                  <a:pt x="128" y="125"/>
                </a:lnTo>
                <a:lnTo>
                  <a:pt x="126" y="125"/>
                </a:lnTo>
                <a:lnTo>
                  <a:pt x="125" y="123"/>
                </a:lnTo>
                <a:lnTo>
                  <a:pt x="125" y="122"/>
                </a:lnTo>
                <a:lnTo>
                  <a:pt x="124" y="122"/>
                </a:lnTo>
                <a:lnTo>
                  <a:pt x="122" y="119"/>
                </a:lnTo>
                <a:lnTo>
                  <a:pt x="120" y="119"/>
                </a:lnTo>
                <a:lnTo>
                  <a:pt x="120" y="121"/>
                </a:lnTo>
                <a:lnTo>
                  <a:pt x="119" y="121"/>
                </a:lnTo>
                <a:lnTo>
                  <a:pt x="117" y="118"/>
                </a:lnTo>
                <a:lnTo>
                  <a:pt x="118" y="118"/>
                </a:lnTo>
                <a:lnTo>
                  <a:pt x="118" y="117"/>
                </a:lnTo>
                <a:lnTo>
                  <a:pt x="119" y="117"/>
                </a:lnTo>
                <a:lnTo>
                  <a:pt x="119" y="115"/>
                </a:lnTo>
                <a:lnTo>
                  <a:pt x="113" y="113"/>
                </a:lnTo>
                <a:lnTo>
                  <a:pt x="111" y="115"/>
                </a:lnTo>
                <a:lnTo>
                  <a:pt x="109" y="115"/>
                </a:lnTo>
                <a:lnTo>
                  <a:pt x="109" y="118"/>
                </a:lnTo>
                <a:lnTo>
                  <a:pt x="105" y="122"/>
                </a:lnTo>
                <a:lnTo>
                  <a:pt x="105" y="123"/>
                </a:lnTo>
                <a:lnTo>
                  <a:pt x="104" y="123"/>
                </a:lnTo>
                <a:lnTo>
                  <a:pt x="97" y="119"/>
                </a:lnTo>
                <a:lnTo>
                  <a:pt x="94" y="121"/>
                </a:lnTo>
                <a:lnTo>
                  <a:pt x="93" y="119"/>
                </a:lnTo>
                <a:lnTo>
                  <a:pt x="86" y="119"/>
                </a:lnTo>
                <a:lnTo>
                  <a:pt x="82" y="118"/>
                </a:lnTo>
                <a:lnTo>
                  <a:pt x="81" y="119"/>
                </a:lnTo>
                <a:lnTo>
                  <a:pt x="80" y="119"/>
                </a:lnTo>
                <a:lnTo>
                  <a:pt x="79" y="122"/>
                </a:lnTo>
                <a:lnTo>
                  <a:pt x="78" y="123"/>
                </a:lnTo>
                <a:lnTo>
                  <a:pt x="76" y="123"/>
                </a:lnTo>
                <a:lnTo>
                  <a:pt x="75" y="122"/>
                </a:lnTo>
                <a:lnTo>
                  <a:pt x="74" y="122"/>
                </a:lnTo>
                <a:lnTo>
                  <a:pt x="73" y="121"/>
                </a:lnTo>
                <a:lnTo>
                  <a:pt x="73" y="119"/>
                </a:lnTo>
                <a:lnTo>
                  <a:pt x="72" y="119"/>
                </a:lnTo>
                <a:lnTo>
                  <a:pt x="72" y="121"/>
                </a:lnTo>
                <a:lnTo>
                  <a:pt x="69" y="121"/>
                </a:lnTo>
                <a:lnTo>
                  <a:pt x="64" y="118"/>
                </a:lnTo>
                <a:lnTo>
                  <a:pt x="68" y="113"/>
                </a:lnTo>
                <a:lnTo>
                  <a:pt x="69" y="111"/>
                </a:lnTo>
                <a:lnTo>
                  <a:pt x="72" y="110"/>
                </a:lnTo>
                <a:lnTo>
                  <a:pt x="72" y="109"/>
                </a:lnTo>
                <a:lnTo>
                  <a:pt x="74" y="105"/>
                </a:lnTo>
                <a:lnTo>
                  <a:pt x="74" y="103"/>
                </a:lnTo>
                <a:lnTo>
                  <a:pt x="75" y="102"/>
                </a:lnTo>
                <a:lnTo>
                  <a:pt x="75" y="91"/>
                </a:lnTo>
                <a:lnTo>
                  <a:pt x="73" y="87"/>
                </a:lnTo>
                <a:lnTo>
                  <a:pt x="72" y="85"/>
                </a:lnTo>
                <a:lnTo>
                  <a:pt x="70" y="85"/>
                </a:lnTo>
                <a:lnTo>
                  <a:pt x="70" y="79"/>
                </a:lnTo>
                <a:lnTo>
                  <a:pt x="68" y="70"/>
                </a:lnTo>
                <a:lnTo>
                  <a:pt x="66" y="68"/>
                </a:lnTo>
                <a:lnTo>
                  <a:pt x="64" y="54"/>
                </a:lnTo>
                <a:lnTo>
                  <a:pt x="63" y="51"/>
                </a:lnTo>
                <a:lnTo>
                  <a:pt x="61" y="49"/>
                </a:lnTo>
                <a:lnTo>
                  <a:pt x="56" y="47"/>
                </a:lnTo>
                <a:lnTo>
                  <a:pt x="55" y="47"/>
                </a:lnTo>
                <a:lnTo>
                  <a:pt x="55" y="45"/>
                </a:lnTo>
                <a:lnTo>
                  <a:pt x="49" y="45"/>
                </a:lnTo>
                <a:lnTo>
                  <a:pt x="48" y="43"/>
                </a:lnTo>
                <a:lnTo>
                  <a:pt x="47" y="39"/>
                </a:lnTo>
                <a:lnTo>
                  <a:pt x="44" y="36"/>
                </a:lnTo>
                <a:lnTo>
                  <a:pt x="44" y="35"/>
                </a:lnTo>
                <a:lnTo>
                  <a:pt x="39" y="35"/>
                </a:lnTo>
                <a:lnTo>
                  <a:pt x="37" y="30"/>
                </a:lnTo>
                <a:lnTo>
                  <a:pt x="33" y="29"/>
                </a:lnTo>
                <a:lnTo>
                  <a:pt x="25" y="29"/>
                </a:lnTo>
                <a:lnTo>
                  <a:pt x="23" y="26"/>
                </a:lnTo>
                <a:lnTo>
                  <a:pt x="20" y="26"/>
                </a:lnTo>
                <a:lnTo>
                  <a:pt x="18" y="24"/>
                </a:lnTo>
                <a:lnTo>
                  <a:pt x="16" y="24"/>
                </a:lnTo>
                <a:lnTo>
                  <a:pt x="14" y="25"/>
                </a:lnTo>
                <a:lnTo>
                  <a:pt x="13" y="24"/>
                </a:lnTo>
                <a:lnTo>
                  <a:pt x="13" y="23"/>
                </a:lnTo>
                <a:lnTo>
                  <a:pt x="12" y="22"/>
                </a:lnTo>
                <a:lnTo>
                  <a:pt x="12" y="18"/>
                </a:lnTo>
                <a:lnTo>
                  <a:pt x="11" y="16"/>
                </a:lnTo>
                <a:lnTo>
                  <a:pt x="10" y="16"/>
                </a:lnTo>
                <a:lnTo>
                  <a:pt x="8" y="14"/>
                </a:lnTo>
                <a:lnTo>
                  <a:pt x="6" y="14"/>
                </a:lnTo>
                <a:lnTo>
                  <a:pt x="5" y="12"/>
                </a:lnTo>
                <a:lnTo>
                  <a:pt x="2" y="12"/>
                </a:lnTo>
                <a:lnTo>
                  <a:pt x="1" y="11"/>
                </a:lnTo>
                <a:lnTo>
                  <a:pt x="0" y="11"/>
                </a:lnTo>
                <a:lnTo>
                  <a:pt x="0" y="10"/>
                </a:lnTo>
                <a:lnTo>
                  <a:pt x="4" y="2"/>
                </a:lnTo>
                <a:lnTo>
                  <a:pt x="4" y="1"/>
                </a:lnTo>
                <a:lnTo>
                  <a:pt x="5" y="1"/>
                </a:lnTo>
                <a:lnTo>
                  <a:pt x="7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2" name="Freeform 43">
            <a:extLst>
              <a:ext uri="{FF2B5EF4-FFF2-40B4-BE49-F238E27FC236}">
                <a16:creationId xmlns:a16="http://schemas.microsoft.com/office/drawing/2014/main" id="{2B6F0462-2393-4E12-A3CB-F7A928AF7179}"/>
              </a:ext>
            </a:extLst>
          </p:cNvPr>
          <p:cNvSpPr>
            <a:spLocks noEditPoints="1"/>
          </p:cNvSpPr>
          <p:nvPr/>
        </p:nvSpPr>
        <p:spPr bwMode="auto">
          <a:xfrm>
            <a:off x="918724" y="4611829"/>
            <a:ext cx="896894" cy="862120"/>
          </a:xfrm>
          <a:custGeom>
            <a:avLst/>
            <a:gdLst/>
            <a:ahLst/>
            <a:cxnLst>
              <a:cxn ang="0">
                <a:pos x="613" y="561"/>
              </a:cxn>
              <a:cxn ang="0">
                <a:pos x="600" y="590"/>
              </a:cxn>
              <a:cxn ang="0">
                <a:pos x="582" y="574"/>
              </a:cxn>
              <a:cxn ang="0">
                <a:pos x="585" y="555"/>
              </a:cxn>
              <a:cxn ang="0">
                <a:pos x="581" y="533"/>
              </a:cxn>
              <a:cxn ang="0">
                <a:pos x="610" y="501"/>
              </a:cxn>
              <a:cxn ang="0">
                <a:pos x="167" y="329"/>
              </a:cxn>
              <a:cxn ang="0">
                <a:pos x="151" y="309"/>
              </a:cxn>
              <a:cxn ang="0">
                <a:pos x="87" y="242"/>
              </a:cxn>
              <a:cxn ang="0">
                <a:pos x="3" y="172"/>
              </a:cxn>
              <a:cxn ang="0">
                <a:pos x="330" y="20"/>
              </a:cxn>
              <a:cxn ang="0">
                <a:pos x="363" y="40"/>
              </a:cxn>
              <a:cxn ang="0">
                <a:pos x="391" y="64"/>
              </a:cxn>
              <a:cxn ang="0">
                <a:pos x="422" y="77"/>
              </a:cxn>
              <a:cxn ang="0">
                <a:pos x="453" y="104"/>
              </a:cxn>
              <a:cxn ang="0">
                <a:pos x="493" y="116"/>
              </a:cxn>
              <a:cxn ang="0">
                <a:pos x="529" y="126"/>
              </a:cxn>
              <a:cxn ang="0">
                <a:pos x="546" y="162"/>
              </a:cxn>
              <a:cxn ang="0">
                <a:pos x="534" y="222"/>
              </a:cxn>
              <a:cxn ang="0">
                <a:pos x="509" y="236"/>
              </a:cxn>
              <a:cxn ang="0">
                <a:pos x="487" y="272"/>
              </a:cxn>
              <a:cxn ang="0">
                <a:pos x="468" y="316"/>
              </a:cxn>
              <a:cxn ang="0">
                <a:pos x="506" y="318"/>
              </a:cxn>
              <a:cxn ang="0">
                <a:pos x="518" y="362"/>
              </a:cxn>
              <a:cxn ang="0">
                <a:pos x="509" y="393"/>
              </a:cxn>
              <a:cxn ang="0">
                <a:pos x="524" y="435"/>
              </a:cxn>
              <a:cxn ang="0">
                <a:pos x="525" y="462"/>
              </a:cxn>
              <a:cxn ang="0">
                <a:pos x="497" y="484"/>
              </a:cxn>
              <a:cxn ang="0">
                <a:pos x="474" y="497"/>
              </a:cxn>
              <a:cxn ang="0">
                <a:pos x="442" y="487"/>
              </a:cxn>
              <a:cxn ang="0">
                <a:pos x="423" y="478"/>
              </a:cxn>
              <a:cxn ang="0">
                <a:pos x="385" y="469"/>
              </a:cxn>
              <a:cxn ang="0">
                <a:pos x="348" y="529"/>
              </a:cxn>
              <a:cxn ang="0">
                <a:pos x="305" y="537"/>
              </a:cxn>
              <a:cxn ang="0">
                <a:pos x="264" y="518"/>
              </a:cxn>
              <a:cxn ang="0">
                <a:pos x="219" y="518"/>
              </a:cxn>
              <a:cxn ang="0">
                <a:pos x="183" y="504"/>
              </a:cxn>
              <a:cxn ang="0">
                <a:pos x="155" y="487"/>
              </a:cxn>
              <a:cxn ang="0">
                <a:pos x="157" y="454"/>
              </a:cxn>
              <a:cxn ang="0">
                <a:pos x="183" y="365"/>
              </a:cxn>
              <a:cxn ang="0">
                <a:pos x="164" y="338"/>
              </a:cxn>
              <a:cxn ang="0">
                <a:pos x="169" y="316"/>
              </a:cxn>
              <a:cxn ang="0">
                <a:pos x="139" y="289"/>
              </a:cxn>
              <a:cxn ang="0">
                <a:pos x="122" y="253"/>
              </a:cxn>
              <a:cxn ang="0">
                <a:pos x="114" y="247"/>
              </a:cxn>
              <a:cxn ang="0">
                <a:pos x="103" y="230"/>
              </a:cxn>
              <a:cxn ang="0">
                <a:pos x="91" y="223"/>
              </a:cxn>
              <a:cxn ang="0">
                <a:pos x="81" y="222"/>
              </a:cxn>
              <a:cxn ang="0">
                <a:pos x="51" y="209"/>
              </a:cxn>
              <a:cxn ang="0">
                <a:pos x="20" y="199"/>
              </a:cxn>
              <a:cxn ang="0">
                <a:pos x="23" y="179"/>
              </a:cxn>
              <a:cxn ang="0">
                <a:pos x="20" y="179"/>
              </a:cxn>
              <a:cxn ang="0">
                <a:pos x="33" y="157"/>
              </a:cxn>
              <a:cxn ang="0">
                <a:pos x="60" y="156"/>
              </a:cxn>
              <a:cxn ang="0">
                <a:pos x="87" y="148"/>
              </a:cxn>
              <a:cxn ang="0">
                <a:pos x="118" y="157"/>
              </a:cxn>
              <a:cxn ang="0">
                <a:pos x="131" y="159"/>
              </a:cxn>
              <a:cxn ang="0">
                <a:pos x="150" y="135"/>
              </a:cxn>
              <a:cxn ang="0">
                <a:pos x="137" y="104"/>
              </a:cxn>
              <a:cxn ang="0">
                <a:pos x="161" y="101"/>
              </a:cxn>
              <a:cxn ang="0">
                <a:pos x="236" y="107"/>
              </a:cxn>
              <a:cxn ang="0">
                <a:pos x="279" y="60"/>
              </a:cxn>
              <a:cxn ang="0">
                <a:pos x="306" y="5"/>
              </a:cxn>
            </a:cxnLst>
            <a:rect l="0" t="0" r="r" b="b"/>
            <a:pathLst>
              <a:path w="619" h="595">
                <a:moveTo>
                  <a:pt x="299" y="531"/>
                </a:moveTo>
                <a:lnTo>
                  <a:pt x="298" y="533"/>
                </a:lnTo>
                <a:lnTo>
                  <a:pt x="299" y="534"/>
                </a:lnTo>
                <a:lnTo>
                  <a:pt x="300" y="534"/>
                </a:lnTo>
                <a:lnTo>
                  <a:pt x="300" y="533"/>
                </a:lnTo>
                <a:lnTo>
                  <a:pt x="299" y="531"/>
                </a:lnTo>
                <a:close/>
                <a:moveTo>
                  <a:pt x="613" y="500"/>
                </a:moveTo>
                <a:lnTo>
                  <a:pt x="613" y="501"/>
                </a:lnTo>
                <a:lnTo>
                  <a:pt x="615" y="501"/>
                </a:lnTo>
                <a:lnTo>
                  <a:pt x="615" y="504"/>
                </a:lnTo>
                <a:lnTo>
                  <a:pt x="616" y="505"/>
                </a:lnTo>
                <a:lnTo>
                  <a:pt x="616" y="513"/>
                </a:lnTo>
                <a:lnTo>
                  <a:pt x="615" y="518"/>
                </a:lnTo>
                <a:lnTo>
                  <a:pt x="615" y="524"/>
                </a:lnTo>
                <a:lnTo>
                  <a:pt x="616" y="524"/>
                </a:lnTo>
                <a:lnTo>
                  <a:pt x="616" y="527"/>
                </a:lnTo>
                <a:lnTo>
                  <a:pt x="617" y="527"/>
                </a:lnTo>
                <a:lnTo>
                  <a:pt x="617" y="525"/>
                </a:lnTo>
                <a:lnTo>
                  <a:pt x="618" y="527"/>
                </a:lnTo>
                <a:lnTo>
                  <a:pt x="618" y="538"/>
                </a:lnTo>
                <a:lnTo>
                  <a:pt x="619" y="541"/>
                </a:lnTo>
                <a:lnTo>
                  <a:pt x="619" y="553"/>
                </a:lnTo>
                <a:lnTo>
                  <a:pt x="618" y="553"/>
                </a:lnTo>
                <a:lnTo>
                  <a:pt x="617" y="554"/>
                </a:lnTo>
                <a:lnTo>
                  <a:pt x="617" y="555"/>
                </a:lnTo>
                <a:lnTo>
                  <a:pt x="616" y="556"/>
                </a:lnTo>
                <a:lnTo>
                  <a:pt x="613" y="560"/>
                </a:lnTo>
                <a:lnTo>
                  <a:pt x="613" y="561"/>
                </a:lnTo>
                <a:lnTo>
                  <a:pt x="612" y="561"/>
                </a:lnTo>
                <a:lnTo>
                  <a:pt x="612" y="577"/>
                </a:lnTo>
                <a:lnTo>
                  <a:pt x="611" y="578"/>
                </a:lnTo>
                <a:lnTo>
                  <a:pt x="611" y="579"/>
                </a:lnTo>
                <a:lnTo>
                  <a:pt x="610" y="579"/>
                </a:lnTo>
                <a:lnTo>
                  <a:pt x="610" y="580"/>
                </a:lnTo>
                <a:lnTo>
                  <a:pt x="608" y="580"/>
                </a:lnTo>
                <a:lnTo>
                  <a:pt x="608" y="581"/>
                </a:lnTo>
                <a:lnTo>
                  <a:pt x="611" y="581"/>
                </a:lnTo>
                <a:lnTo>
                  <a:pt x="610" y="583"/>
                </a:lnTo>
                <a:lnTo>
                  <a:pt x="610" y="584"/>
                </a:lnTo>
                <a:lnTo>
                  <a:pt x="609" y="584"/>
                </a:lnTo>
                <a:lnTo>
                  <a:pt x="608" y="585"/>
                </a:lnTo>
                <a:lnTo>
                  <a:pt x="608" y="586"/>
                </a:lnTo>
                <a:lnTo>
                  <a:pt x="606" y="586"/>
                </a:lnTo>
                <a:lnTo>
                  <a:pt x="608" y="587"/>
                </a:lnTo>
                <a:lnTo>
                  <a:pt x="605" y="590"/>
                </a:lnTo>
                <a:lnTo>
                  <a:pt x="605" y="591"/>
                </a:lnTo>
                <a:lnTo>
                  <a:pt x="606" y="591"/>
                </a:lnTo>
                <a:lnTo>
                  <a:pt x="606" y="592"/>
                </a:lnTo>
                <a:lnTo>
                  <a:pt x="605" y="593"/>
                </a:lnTo>
                <a:lnTo>
                  <a:pt x="605" y="595"/>
                </a:lnTo>
                <a:lnTo>
                  <a:pt x="604" y="595"/>
                </a:lnTo>
                <a:lnTo>
                  <a:pt x="603" y="593"/>
                </a:lnTo>
                <a:lnTo>
                  <a:pt x="600" y="593"/>
                </a:lnTo>
                <a:lnTo>
                  <a:pt x="599" y="592"/>
                </a:lnTo>
                <a:lnTo>
                  <a:pt x="600" y="591"/>
                </a:lnTo>
                <a:lnTo>
                  <a:pt x="600" y="590"/>
                </a:lnTo>
                <a:lnTo>
                  <a:pt x="599" y="590"/>
                </a:lnTo>
                <a:lnTo>
                  <a:pt x="598" y="589"/>
                </a:lnTo>
                <a:lnTo>
                  <a:pt x="599" y="589"/>
                </a:lnTo>
                <a:lnTo>
                  <a:pt x="599" y="587"/>
                </a:lnTo>
                <a:lnTo>
                  <a:pt x="598" y="589"/>
                </a:lnTo>
                <a:lnTo>
                  <a:pt x="596" y="589"/>
                </a:lnTo>
                <a:lnTo>
                  <a:pt x="596" y="587"/>
                </a:lnTo>
                <a:lnTo>
                  <a:pt x="592" y="587"/>
                </a:lnTo>
                <a:lnTo>
                  <a:pt x="592" y="586"/>
                </a:lnTo>
                <a:lnTo>
                  <a:pt x="591" y="586"/>
                </a:lnTo>
                <a:lnTo>
                  <a:pt x="591" y="585"/>
                </a:lnTo>
                <a:lnTo>
                  <a:pt x="590" y="585"/>
                </a:lnTo>
                <a:lnTo>
                  <a:pt x="588" y="584"/>
                </a:lnTo>
                <a:lnTo>
                  <a:pt x="587" y="584"/>
                </a:lnTo>
                <a:lnTo>
                  <a:pt x="587" y="581"/>
                </a:lnTo>
                <a:lnTo>
                  <a:pt x="586" y="581"/>
                </a:lnTo>
                <a:lnTo>
                  <a:pt x="587" y="580"/>
                </a:lnTo>
                <a:lnTo>
                  <a:pt x="587" y="579"/>
                </a:lnTo>
                <a:lnTo>
                  <a:pt x="588" y="579"/>
                </a:lnTo>
                <a:lnTo>
                  <a:pt x="591" y="578"/>
                </a:lnTo>
                <a:lnTo>
                  <a:pt x="591" y="577"/>
                </a:lnTo>
                <a:lnTo>
                  <a:pt x="592" y="577"/>
                </a:lnTo>
                <a:lnTo>
                  <a:pt x="592" y="576"/>
                </a:lnTo>
                <a:lnTo>
                  <a:pt x="587" y="576"/>
                </a:lnTo>
                <a:lnTo>
                  <a:pt x="586" y="574"/>
                </a:lnTo>
                <a:lnTo>
                  <a:pt x="586" y="573"/>
                </a:lnTo>
                <a:lnTo>
                  <a:pt x="584" y="574"/>
                </a:lnTo>
                <a:lnTo>
                  <a:pt x="582" y="574"/>
                </a:lnTo>
                <a:lnTo>
                  <a:pt x="584" y="573"/>
                </a:lnTo>
                <a:lnTo>
                  <a:pt x="581" y="573"/>
                </a:lnTo>
                <a:lnTo>
                  <a:pt x="582" y="572"/>
                </a:lnTo>
                <a:lnTo>
                  <a:pt x="584" y="572"/>
                </a:lnTo>
                <a:lnTo>
                  <a:pt x="584" y="570"/>
                </a:lnTo>
                <a:lnTo>
                  <a:pt x="585" y="570"/>
                </a:lnTo>
                <a:lnTo>
                  <a:pt x="586" y="568"/>
                </a:lnTo>
                <a:lnTo>
                  <a:pt x="586" y="567"/>
                </a:lnTo>
                <a:lnTo>
                  <a:pt x="587" y="567"/>
                </a:lnTo>
                <a:lnTo>
                  <a:pt x="586" y="566"/>
                </a:lnTo>
                <a:lnTo>
                  <a:pt x="587" y="565"/>
                </a:lnTo>
                <a:lnTo>
                  <a:pt x="587" y="564"/>
                </a:lnTo>
                <a:lnTo>
                  <a:pt x="586" y="564"/>
                </a:lnTo>
                <a:lnTo>
                  <a:pt x="586" y="562"/>
                </a:lnTo>
                <a:lnTo>
                  <a:pt x="585" y="562"/>
                </a:lnTo>
                <a:lnTo>
                  <a:pt x="584" y="564"/>
                </a:lnTo>
                <a:lnTo>
                  <a:pt x="580" y="564"/>
                </a:lnTo>
                <a:lnTo>
                  <a:pt x="579" y="565"/>
                </a:lnTo>
                <a:lnTo>
                  <a:pt x="579" y="564"/>
                </a:lnTo>
                <a:lnTo>
                  <a:pt x="580" y="562"/>
                </a:lnTo>
                <a:lnTo>
                  <a:pt x="579" y="562"/>
                </a:lnTo>
                <a:lnTo>
                  <a:pt x="578" y="560"/>
                </a:lnTo>
                <a:lnTo>
                  <a:pt x="581" y="560"/>
                </a:lnTo>
                <a:lnTo>
                  <a:pt x="581" y="558"/>
                </a:lnTo>
                <a:lnTo>
                  <a:pt x="584" y="558"/>
                </a:lnTo>
                <a:lnTo>
                  <a:pt x="584" y="556"/>
                </a:lnTo>
                <a:lnTo>
                  <a:pt x="585" y="556"/>
                </a:lnTo>
                <a:lnTo>
                  <a:pt x="585" y="555"/>
                </a:lnTo>
                <a:lnTo>
                  <a:pt x="584" y="555"/>
                </a:lnTo>
                <a:lnTo>
                  <a:pt x="584" y="553"/>
                </a:lnTo>
                <a:lnTo>
                  <a:pt x="581" y="553"/>
                </a:lnTo>
                <a:lnTo>
                  <a:pt x="581" y="552"/>
                </a:lnTo>
                <a:lnTo>
                  <a:pt x="578" y="552"/>
                </a:lnTo>
                <a:lnTo>
                  <a:pt x="579" y="550"/>
                </a:lnTo>
                <a:lnTo>
                  <a:pt x="578" y="550"/>
                </a:lnTo>
                <a:lnTo>
                  <a:pt x="578" y="546"/>
                </a:lnTo>
                <a:lnTo>
                  <a:pt x="577" y="546"/>
                </a:lnTo>
                <a:lnTo>
                  <a:pt x="577" y="544"/>
                </a:lnTo>
                <a:lnTo>
                  <a:pt x="581" y="544"/>
                </a:lnTo>
                <a:lnTo>
                  <a:pt x="581" y="543"/>
                </a:lnTo>
                <a:lnTo>
                  <a:pt x="582" y="543"/>
                </a:lnTo>
                <a:lnTo>
                  <a:pt x="582" y="542"/>
                </a:lnTo>
                <a:lnTo>
                  <a:pt x="581" y="542"/>
                </a:lnTo>
                <a:lnTo>
                  <a:pt x="580" y="541"/>
                </a:lnTo>
                <a:lnTo>
                  <a:pt x="579" y="541"/>
                </a:lnTo>
                <a:lnTo>
                  <a:pt x="579" y="540"/>
                </a:lnTo>
                <a:lnTo>
                  <a:pt x="580" y="540"/>
                </a:lnTo>
                <a:lnTo>
                  <a:pt x="579" y="538"/>
                </a:lnTo>
                <a:lnTo>
                  <a:pt x="577" y="540"/>
                </a:lnTo>
                <a:lnTo>
                  <a:pt x="577" y="537"/>
                </a:lnTo>
                <a:lnTo>
                  <a:pt x="578" y="537"/>
                </a:lnTo>
                <a:lnTo>
                  <a:pt x="578" y="536"/>
                </a:lnTo>
                <a:lnTo>
                  <a:pt x="579" y="537"/>
                </a:lnTo>
                <a:lnTo>
                  <a:pt x="579" y="535"/>
                </a:lnTo>
                <a:lnTo>
                  <a:pt x="581" y="535"/>
                </a:lnTo>
                <a:lnTo>
                  <a:pt x="581" y="533"/>
                </a:lnTo>
                <a:lnTo>
                  <a:pt x="582" y="531"/>
                </a:lnTo>
                <a:lnTo>
                  <a:pt x="581" y="531"/>
                </a:lnTo>
                <a:lnTo>
                  <a:pt x="581" y="530"/>
                </a:lnTo>
                <a:lnTo>
                  <a:pt x="582" y="529"/>
                </a:lnTo>
                <a:lnTo>
                  <a:pt x="584" y="529"/>
                </a:lnTo>
                <a:lnTo>
                  <a:pt x="584" y="527"/>
                </a:lnTo>
                <a:lnTo>
                  <a:pt x="587" y="527"/>
                </a:lnTo>
                <a:lnTo>
                  <a:pt x="587" y="524"/>
                </a:lnTo>
                <a:lnTo>
                  <a:pt x="588" y="524"/>
                </a:lnTo>
                <a:lnTo>
                  <a:pt x="592" y="523"/>
                </a:lnTo>
                <a:lnTo>
                  <a:pt x="597" y="522"/>
                </a:lnTo>
                <a:lnTo>
                  <a:pt x="598" y="521"/>
                </a:lnTo>
                <a:lnTo>
                  <a:pt x="598" y="519"/>
                </a:lnTo>
                <a:lnTo>
                  <a:pt x="600" y="517"/>
                </a:lnTo>
                <a:lnTo>
                  <a:pt x="605" y="517"/>
                </a:lnTo>
                <a:lnTo>
                  <a:pt x="606" y="518"/>
                </a:lnTo>
                <a:lnTo>
                  <a:pt x="608" y="518"/>
                </a:lnTo>
                <a:lnTo>
                  <a:pt x="608" y="521"/>
                </a:lnTo>
                <a:lnTo>
                  <a:pt x="610" y="518"/>
                </a:lnTo>
                <a:lnTo>
                  <a:pt x="610" y="512"/>
                </a:lnTo>
                <a:lnTo>
                  <a:pt x="609" y="512"/>
                </a:lnTo>
                <a:lnTo>
                  <a:pt x="609" y="511"/>
                </a:lnTo>
                <a:lnTo>
                  <a:pt x="610" y="510"/>
                </a:lnTo>
                <a:lnTo>
                  <a:pt x="610" y="506"/>
                </a:lnTo>
                <a:lnTo>
                  <a:pt x="611" y="506"/>
                </a:lnTo>
                <a:lnTo>
                  <a:pt x="611" y="505"/>
                </a:lnTo>
                <a:lnTo>
                  <a:pt x="610" y="504"/>
                </a:lnTo>
                <a:lnTo>
                  <a:pt x="610" y="501"/>
                </a:lnTo>
                <a:lnTo>
                  <a:pt x="612" y="501"/>
                </a:lnTo>
                <a:lnTo>
                  <a:pt x="613" y="500"/>
                </a:lnTo>
                <a:close/>
                <a:moveTo>
                  <a:pt x="478" y="500"/>
                </a:moveTo>
                <a:lnTo>
                  <a:pt x="480" y="500"/>
                </a:lnTo>
                <a:lnTo>
                  <a:pt x="480" y="501"/>
                </a:lnTo>
                <a:lnTo>
                  <a:pt x="479" y="501"/>
                </a:lnTo>
                <a:lnTo>
                  <a:pt x="479" y="503"/>
                </a:lnTo>
                <a:lnTo>
                  <a:pt x="478" y="503"/>
                </a:lnTo>
                <a:lnTo>
                  <a:pt x="476" y="501"/>
                </a:lnTo>
                <a:lnTo>
                  <a:pt x="478" y="501"/>
                </a:lnTo>
                <a:lnTo>
                  <a:pt x="478" y="500"/>
                </a:lnTo>
                <a:close/>
                <a:moveTo>
                  <a:pt x="473" y="499"/>
                </a:moveTo>
                <a:lnTo>
                  <a:pt x="475" y="499"/>
                </a:lnTo>
                <a:lnTo>
                  <a:pt x="473" y="500"/>
                </a:lnTo>
                <a:lnTo>
                  <a:pt x="473" y="499"/>
                </a:lnTo>
                <a:close/>
                <a:moveTo>
                  <a:pt x="414" y="468"/>
                </a:moveTo>
                <a:lnTo>
                  <a:pt x="416" y="470"/>
                </a:lnTo>
                <a:lnTo>
                  <a:pt x="416" y="469"/>
                </a:lnTo>
                <a:lnTo>
                  <a:pt x="414" y="468"/>
                </a:lnTo>
                <a:close/>
                <a:moveTo>
                  <a:pt x="163" y="405"/>
                </a:moveTo>
                <a:lnTo>
                  <a:pt x="163" y="407"/>
                </a:lnTo>
                <a:lnTo>
                  <a:pt x="163" y="405"/>
                </a:lnTo>
                <a:close/>
                <a:moveTo>
                  <a:pt x="157" y="321"/>
                </a:moveTo>
                <a:lnTo>
                  <a:pt x="158" y="321"/>
                </a:lnTo>
                <a:lnTo>
                  <a:pt x="162" y="325"/>
                </a:lnTo>
                <a:lnTo>
                  <a:pt x="164" y="325"/>
                </a:lnTo>
                <a:lnTo>
                  <a:pt x="164" y="328"/>
                </a:lnTo>
                <a:lnTo>
                  <a:pt x="167" y="329"/>
                </a:lnTo>
                <a:lnTo>
                  <a:pt x="167" y="333"/>
                </a:lnTo>
                <a:lnTo>
                  <a:pt x="165" y="334"/>
                </a:lnTo>
                <a:lnTo>
                  <a:pt x="165" y="335"/>
                </a:lnTo>
                <a:lnTo>
                  <a:pt x="164" y="335"/>
                </a:lnTo>
                <a:lnTo>
                  <a:pt x="164" y="333"/>
                </a:lnTo>
                <a:lnTo>
                  <a:pt x="163" y="332"/>
                </a:lnTo>
                <a:lnTo>
                  <a:pt x="161" y="328"/>
                </a:lnTo>
                <a:lnTo>
                  <a:pt x="159" y="328"/>
                </a:lnTo>
                <a:lnTo>
                  <a:pt x="158" y="327"/>
                </a:lnTo>
                <a:lnTo>
                  <a:pt x="158" y="323"/>
                </a:lnTo>
                <a:lnTo>
                  <a:pt x="157" y="321"/>
                </a:lnTo>
                <a:close/>
                <a:moveTo>
                  <a:pt x="152" y="308"/>
                </a:moveTo>
                <a:lnTo>
                  <a:pt x="153" y="308"/>
                </a:lnTo>
                <a:lnTo>
                  <a:pt x="153" y="309"/>
                </a:lnTo>
                <a:lnTo>
                  <a:pt x="155" y="309"/>
                </a:lnTo>
                <a:lnTo>
                  <a:pt x="153" y="310"/>
                </a:lnTo>
                <a:lnTo>
                  <a:pt x="156" y="310"/>
                </a:lnTo>
                <a:lnTo>
                  <a:pt x="157" y="312"/>
                </a:lnTo>
                <a:lnTo>
                  <a:pt x="161" y="312"/>
                </a:lnTo>
                <a:lnTo>
                  <a:pt x="162" y="313"/>
                </a:lnTo>
                <a:lnTo>
                  <a:pt x="163" y="313"/>
                </a:lnTo>
                <a:lnTo>
                  <a:pt x="163" y="314"/>
                </a:lnTo>
                <a:lnTo>
                  <a:pt x="162" y="315"/>
                </a:lnTo>
                <a:lnTo>
                  <a:pt x="162" y="314"/>
                </a:lnTo>
                <a:lnTo>
                  <a:pt x="159" y="314"/>
                </a:lnTo>
                <a:lnTo>
                  <a:pt x="156" y="312"/>
                </a:lnTo>
                <a:lnTo>
                  <a:pt x="152" y="312"/>
                </a:lnTo>
                <a:lnTo>
                  <a:pt x="151" y="309"/>
                </a:lnTo>
                <a:lnTo>
                  <a:pt x="150" y="309"/>
                </a:lnTo>
                <a:lnTo>
                  <a:pt x="152" y="308"/>
                </a:lnTo>
                <a:close/>
                <a:moveTo>
                  <a:pt x="115" y="279"/>
                </a:moveTo>
                <a:lnTo>
                  <a:pt x="118" y="279"/>
                </a:lnTo>
                <a:lnTo>
                  <a:pt x="119" y="280"/>
                </a:lnTo>
                <a:lnTo>
                  <a:pt x="120" y="280"/>
                </a:lnTo>
                <a:lnTo>
                  <a:pt x="120" y="282"/>
                </a:lnTo>
                <a:lnTo>
                  <a:pt x="116" y="282"/>
                </a:lnTo>
                <a:lnTo>
                  <a:pt x="115" y="280"/>
                </a:lnTo>
                <a:lnTo>
                  <a:pt x="115" y="279"/>
                </a:lnTo>
                <a:close/>
                <a:moveTo>
                  <a:pt x="124" y="265"/>
                </a:moveTo>
                <a:lnTo>
                  <a:pt x="125" y="265"/>
                </a:lnTo>
                <a:lnTo>
                  <a:pt x="126" y="266"/>
                </a:lnTo>
                <a:lnTo>
                  <a:pt x="126" y="269"/>
                </a:lnTo>
                <a:lnTo>
                  <a:pt x="125" y="269"/>
                </a:lnTo>
                <a:lnTo>
                  <a:pt x="125" y="267"/>
                </a:lnTo>
                <a:lnTo>
                  <a:pt x="124" y="265"/>
                </a:lnTo>
                <a:close/>
                <a:moveTo>
                  <a:pt x="120" y="261"/>
                </a:moveTo>
                <a:lnTo>
                  <a:pt x="124" y="261"/>
                </a:lnTo>
                <a:lnTo>
                  <a:pt x="124" y="265"/>
                </a:lnTo>
                <a:lnTo>
                  <a:pt x="121" y="265"/>
                </a:lnTo>
                <a:lnTo>
                  <a:pt x="120" y="264"/>
                </a:lnTo>
                <a:lnTo>
                  <a:pt x="120" y="261"/>
                </a:lnTo>
                <a:close/>
                <a:moveTo>
                  <a:pt x="78" y="239"/>
                </a:moveTo>
                <a:lnTo>
                  <a:pt x="80" y="239"/>
                </a:lnTo>
                <a:lnTo>
                  <a:pt x="82" y="240"/>
                </a:lnTo>
                <a:lnTo>
                  <a:pt x="84" y="242"/>
                </a:lnTo>
                <a:lnTo>
                  <a:pt x="87" y="242"/>
                </a:lnTo>
                <a:lnTo>
                  <a:pt x="87" y="245"/>
                </a:lnTo>
                <a:lnTo>
                  <a:pt x="82" y="245"/>
                </a:lnTo>
                <a:lnTo>
                  <a:pt x="80" y="243"/>
                </a:lnTo>
                <a:lnTo>
                  <a:pt x="80" y="241"/>
                </a:lnTo>
                <a:lnTo>
                  <a:pt x="78" y="240"/>
                </a:lnTo>
                <a:lnTo>
                  <a:pt x="78" y="239"/>
                </a:lnTo>
                <a:close/>
                <a:moveTo>
                  <a:pt x="84" y="229"/>
                </a:moveTo>
                <a:lnTo>
                  <a:pt x="84" y="234"/>
                </a:lnTo>
                <a:lnTo>
                  <a:pt x="83" y="232"/>
                </a:lnTo>
                <a:lnTo>
                  <a:pt x="83" y="230"/>
                </a:lnTo>
                <a:lnTo>
                  <a:pt x="84" y="229"/>
                </a:lnTo>
                <a:close/>
                <a:moveTo>
                  <a:pt x="99" y="224"/>
                </a:moveTo>
                <a:lnTo>
                  <a:pt x="101" y="224"/>
                </a:lnTo>
                <a:lnTo>
                  <a:pt x="102" y="226"/>
                </a:lnTo>
                <a:lnTo>
                  <a:pt x="101" y="226"/>
                </a:lnTo>
                <a:lnTo>
                  <a:pt x="99" y="224"/>
                </a:lnTo>
                <a:close/>
                <a:moveTo>
                  <a:pt x="41" y="206"/>
                </a:moveTo>
                <a:lnTo>
                  <a:pt x="41" y="208"/>
                </a:lnTo>
                <a:lnTo>
                  <a:pt x="43" y="208"/>
                </a:lnTo>
                <a:lnTo>
                  <a:pt x="41" y="206"/>
                </a:lnTo>
                <a:close/>
                <a:moveTo>
                  <a:pt x="38" y="180"/>
                </a:moveTo>
                <a:lnTo>
                  <a:pt x="35" y="183"/>
                </a:lnTo>
                <a:lnTo>
                  <a:pt x="39" y="181"/>
                </a:lnTo>
                <a:lnTo>
                  <a:pt x="38" y="181"/>
                </a:lnTo>
                <a:lnTo>
                  <a:pt x="38" y="180"/>
                </a:lnTo>
                <a:close/>
                <a:moveTo>
                  <a:pt x="2" y="169"/>
                </a:moveTo>
                <a:lnTo>
                  <a:pt x="3" y="171"/>
                </a:lnTo>
                <a:lnTo>
                  <a:pt x="3" y="172"/>
                </a:lnTo>
                <a:lnTo>
                  <a:pt x="0" y="172"/>
                </a:lnTo>
                <a:lnTo>
                  <a:pt x="2" y="169"/>
                </a:lnTo>
                <a:close/>
                <a:moveTo>
                  <a:pt x="85" y="149"/>
                </a:moveTo>
                <a:lnTo>
                  <a:pt x="84" y="150"/>
                </a:lnTo>
                <a:lnTo>
                  <a:pt x="84" y="153"/>
                </a:lnTo>
                <a:lnTo>
                  <a:pt x="84" y="150"/>
                </a:lnTo>
                <a:lnTo>
                  <a:pt x="85" y="150"/>
                </a:lnTo>
                <a:lnTo>
                  <a:pt x="85" y="149"/>
                </a:lnTo>
                <a:close/>
                <a:moveTo>
                  <a:pt x="88" y="148"/>
                </a:moveTo>
                <a:lnTo>
                  <a:pt x="89" y="148"/>
                </a:lnTo>
                <a:lnTo>
                  <a:pt x="89" y="149"/>
                </a:lnTo>
                <a:lnTo>
                  <a:pt x="88" y="149"/>
                </a:lnTo>
                <a:lnTo>
                  <a:pt x="88" y="148"/>
                </a:lnTo>
                <a:close/>
                <a:moveTo>
                  <a:pt x="323" y="0"/>
                </a:moveTo>
                <a:lnTo>
                  <a:pt x="323" y="1"/>
                </a:lnTo>
                <a:lnTo>
                  <a:pt x="324" y="5"/>
                </a:lnTo>
                <a:lnTo>
                  <a:pt x="324" y="6"/>
                </a:lnTo>
                <a:lnTo>
                  <a:pt x="326" y="8"/>
                </a:lnTo>
                <a:lnTo>
                  <a:pt x="326" y="11"/>
                </a:lnTo>
                <a:lnTo>
                  <a:pt x="325" y="12"/>
                </a:lnTo>
                <a:lnTo>
                  <a:pt x="325" y="17"/>
                </a:lnTo>
                <a:lnTo>
                  <a:pt x="326" y="17"/>
                </a:lnTo>
                <a:lnTo>
                  <a:pt x="326" y="18"/>
                </a:lnTo>
                <a:lnTo>
                  <a:pt x="327" y="19"/>
                </a:lnTo>
                <a:lnTo>
                  <a:pt x="329" y="18"/>
                </a:lnTo>
                <a:lnTo>
                  <a:pt x="329" y="19"/>
                </a:lnTo>
                <a:lnTo>
                  <a:pt x="330" y="19"/>
                </a:lnTo>
                <a:lnTo>
                  <a:pt x="330" y="20"/>
                </a:lnTo>
                <a:lnTo>
                  <a:pt x="332" y="21"/>
                </a:lnTo>
                <a:lnTo>
                  <a:pt x="332" y="24"/>
                </a:lnTo>
                <a:lnTo>
                  <a:pt x="333" y="25"/>
                </a:lnTo>
                <a:lnTo>
                  <a:pt x="337" y="26"/>
                </a:lnTo>
                <a:lnTo>
                  <a:pt x="338" y="26"/>
                </a:lnTo>
                <a:lnTo>
                  <a:pt x="339" y="24"/>
                </a:lnTo>
                <a:lnTo>
                  <a:pt x="341" y="23"/>
                </a:lnTo>
                <a:lnTo>
                  <a:pt x="342" y="23"/>
                </a:lnTo>
                <a:lnTo>
                  <a:pt x="346" y="20"/>
                </a:lnTo>
                <a:lnTo>
                  <a:pt x="348" y="20"/>
                </a:lnTo>
                <a:lnTo>
                  <a:pt x="349" y="21"/>
                </a:lnTo>
                <a:lnTo>
                  <a:pt x="349" y="23"/>
                </a:lnTo>
                <a:lnTo>
                  <a:pt x="350" y="24"/>
                </a:lnTo>
                <a:lnTo>
                  <a:pt x="350" y="25"/>
                </a:lnTo>
                <a:lnTo>
                  <a:pt x="351" y="25"/>
                </a:lnTo>
                <a:lnTo>
                  <a:pt x="352" y="26"/>
                </a:lnTo>
                <a:lnTo>
                  <a:pt x="352" y="31"/>
                </a:lnTo>
                <a:lnTo>
                  <a:pt x="354" y="34"/>
                </a:lnTo>
                <a:lnTo>
                  <a:pt x="354" y="37"/>
                </a:lnTo>
                <a:lnTo>
                  <a:pt x="355" y="38"/>
                </a:lnTo>
                <a:lnTo>
                  <a:pt x="355" y="39"/>
                </a:lnTo>
                <a:lnTo>
                  <a:pt x="357" y="39"/>
                </a:lnTo>
                <a:lnTo>
                  <a:pt x="357" y="40"/>
                </a:lnTo>
                <a:lnTo>
                  <a:pt x="358" y="39"/>
                </a:lnTo>
                <a:lnTo>
                  <a:pt x="361" y="39"/>
                </a:lnTo>
                <a:lnTo>
                  <a:pt x="361" y="38"/>
                </a:lnTo>
                <a:lnTo>
                  <a:pt x="363" y="38"/>
                </a:lnTo>
                <a:lnTo>
                  <a:pt x="363" y="40"/>
                </a:lnTo>
                <a:lnTo>
                  <a:pt x="368" y="40"/>
                </a:lnTo>
                <a:lnTo>
                  <a:pt x="369" y="42"/>
                </a:lnTo>
                <a:lnTo>
                  <a:pt x="369" y="43"/>
                </a:lnTo>
                <a:lnTo>
                  <a:pt x="370" y="45"/>
                </a:lnTo>
                <a:lnTo>
                  <a:pt x="370" y="51"/>
                </a:lnTo>
                <a:lnTo>
                  <a:pt x="372" y="52"/>
                </a:lnTo>
                <a:lnTo>
                  <a:pt x="373" y="52"/>
                </a:lnTo>
                <a:lnTo>
                  <a:pt x="373" y="51"/>
                </a:lnTo>
                <a:lnTo>
                  <a:pt x="374" y="50"/>
                </a:lnTo>
                <a:lnTo>
                  <a:pt x="374" y="49"/>
                </a:lnTo>
                <a:lnTo>
                  <a:pt x="376" y="49"/>
                </a:lnTo>
                <a:lnTo>
                  <a:pt x="377" y="50"/>
                </a:lnTo>
                <a:lnTo>
                  <a:pt x="380" y="50"/>
                </a:lnTo>
                <a:lnTo>
                  <a:pt x="380" y="51"/>
                </a:lnTo>
                <a:lnTo>
                  <a:pt x="381" y="51"/>
                </a:lnTo>
                <a:lnTo>
                  <a:pt x="383" y="50"/>
                </a:lnTo>
                <a:lnTo>
                  <a:pt x="386" y="50"/>
                </a:lnTo>
                <a:lnTo>
                  <a:pt x="388" y="52"/>
                </a:lnTo>
                <a:lnTo>
                  <a:pt x="389" y="52"/>
                </a:lnTo>
                <a:lnTo>
                  <a:pt x="389" y="55"/>
                </a:lnTo>
                <a:lnTo>
                  <a:pt x="391" y="56"/>
                </a:lnTo>
                <a:lnTo>
                  <a:pt x="391" y="55"/>
                </a:lnTo>
                <a:lnTo>
                  <a:pt x="393" y="55"/>
                </a:lnTo>
                <a:lnTo>
                  <a:pt x="393" y="57"/>
                </a:lnTo>
                <a:lnTo>
                  <a:pt x="392" y="57"/>
                </a:lnTo>
                <a:lnTo>
                  <a:pt x="392" y="58"/>
                </a:lnTo>
                <a:lnTo>
                  <a:pt x="391" y="58"/>
                </a:lnTo>
                <a:lnTo>
                  <a:pt x="391" y="64"/>
                </a:lnTo>
                <a:lnTo>
                  <a:pt x="392" y="63"/>
                </a:lnTo>
                <a:lnTo>
                  <a:pt x="392" y="64"/>
                </a:lnTo>
                <a:lnTo>
                  <a:pt x="393" y="67"/>
                </a:lnTo>
                <a:lnTo>
                  <a:pt x="394" y="68"/>
                </a:lnTo>
                <a:lnTo>
                  <a:pt x="393" y="68"/>
                </a:lnTo>
                <a:lnTo>
                  <a:pt x="393" y="69"/>
                </a:lnTo>
                <a:lnTo>
                  <a:pt x="392" y="69"/>
                </a:lnTo>
                <a:lnTo>
                  <a:pt x="391" y="70"/>
                </a:lnTo>
                <a:lnTo>
                  <a:pt x="391" y="74"/>
                </a:lnTo>
                <a:lnTo>
                  <a:pt x="393" y="75"/>
                </a:lnTo>
                <a:lnTo>
                  <a:pt x="397" y="75"/>
                </a:lnTo>
                <a:lnTo>
                  <a:pt x="403" y="76"/>
                </a:lnTo>
                <a:lnTo>
                  <a:pt x="405" y="76"/>
                </a:lnTo>
                <a:lnTo>
                  <a:pt x="412" y="73"/>
                </a:lnTo>
                <a:lnTo>
                  <a:pt x="413" y="73"/>
                </a:lnTo>
                <a:lnTo>
                  <a:pt x="413" y="67"/>
                </a:lnTo>
                <a:lnTo>
                  <a:pt x="418" y="62"/>
                </a:lnTo>
                <a:lnTo>
                  <a:pt x="419" y="62"/>
                </a:lnTo>
                <a:lnTo>
                  <a:pt x="419" y="63"/>
                </a:lnTo>
                <a:lnTo>
                  <a:pt x="422" y="62"/>
                </a:lnTo>
                <a:lnTo>
                  <a:pt x="422" y="67"/>
                </a:lnTo>
                <a:lnTo>
                  <a:pt x="420" y="67"/>
                </a:lnTo>
                <a:lnTo>
                  <a:pt x="419" y="68"/>
                </a:lnTo>
                <a:lnTo>
                  <a:pt x="419" y="70"/>
                </a:lnTo>
                <a:lnTo>
                  <a:pt x="418" y="74"/>
                </a:lnTo>
                <a:lnTo>
                  <a:pt x="418" y="76"/>
                </a:lnTo>
                <a:lnTo>
                  <a:pt x="420" y="76"/>
                </a:lnTo>
                <a:lnTo>
                  <a:pt x="422" y="77"/>
                </a:lnTo>
                <a:lnTo>
                  <a:pt x="422" y="79"/>
                </a:lnTo>
                <a:lnTo>
                  <a:pt x="420" y="80"/>
                </a:lnTo>
                <a:lnTo>
                  <a:pt x="420" y="86"/>
                </a:lnTo>
                <a:lnTo>
                  <a:pt x="426" y="86"/>
                </a:lnTo>
                <a:lnTo>
                  <a:pt x="429" y="88"/>
                </a:lnTo>
                <a:lnTo>
                  <a:pt x="430" y="88"/>
                </a:lnTo>
                <a:lnTo>
                  <a:pt x="431" y="89"/>
                </a:lnTo>
                <a:lnTo>
                  <a:pt x="432" y="92"/>
                </a:lnTo>
                <a:lnTo>
                  <a:pt x="433" y="92"/>
                </a:lnTo>
                <a:lnTo>
                  <a:pt x="433" y="93"/>
                </a:lnTo>
                <a:lnTo>
                  <a:pt x="435" y="93"/>
                </a:lnTo>
                <a:lnTo>
                  <a:pt x="437" y="92"/>
                </a:lnTo>
                <a:lnTo>
                  <a:pt x="438" y="92"/>
                </a:lnTo>
                <a:lnTo>
                  <a:pt x="438" y="93"/>
                </a:lnTo>
                <a:lnTo>
                  <a:pt x="439" y="94"/>
                </a:lnTo>
                <a:lnTo>
                  <a:pt x="439" y="98"/>
                </a:lnTo>
                <a:lnTo>
                  <a:pt x="441" y="98"/>
                </a:lnTo>
                <a:lnTo>
                  <a:pt x="441" y="97"/>
                </a:lnTo>
                <a:lnTo>
                  <a:pt x="442" y="97"/>
                </a:lnTo>
                <a:lnTo>
                  <a:pt x="443" y="98"/>
                </a:lnTo>
                <a:lnTo>
                  <a:pt x="444" y="98"/>
                </a:lnTo>
                <a:lnTo>
                  <a:pt x="445" y="101"/>
                </a:lnTo>
                <a:lnTo>
                  <a:pt x="447" y="103"/>
                </a:lnTo>
                <a:lnTo>
                  <a:pt x="445" y="104"/>
                </a:lnTo>
                <a:lnTo>
                  <a:pt x="447" y="105"/>
                </a:lnTo>
                <a:lnTo>
                  <a:pt x="448" y="105"/>
                </a:lnTo>
                <a:lnTo>
                  <a:pt x="449" y="104"/>
                </a:lnTo>
                <a:lnTo>
                  <a:pt x="453" y="104"/>
                </a:lnTo>
                <a:lnTo>
                  <a:pt x="453" y="103"/>
                </a:lnTo>
                <a:lnTo>
                  <a:pt x="454" y="101"/>
                </a:lnTo>
                <a:lnTo>
                  <a:pt x="455" y="103"/>
                </a:lnTo>
                <a:lnTo>
                  <a:pt x="457" y="103"/>
                </a:lnTo>
                <a:lnTo>
                  <a:pt x="457" y="101"/>
                </a:lnTo>
                <a:lnTo>
                  <a:pt x="459" y="101"/>
                </a:lnTo>
                <a:lnTo>
                  <a:pt x="460" y="103"/>
                </a:lnTo>
                <a:lnTo>
                  <a:pt x="462" y="104"/>
                </a:lnTo>
                <a:lnTo>
                  <a:pt x="462" y="105"/>
                </a:lnTo>
                <a:lnTo>
                  <a:pt x="463" y="105"/>
                </a:lnTo>
                <a:lnTo>
                  <a:pt x="466" y="106"/>
                </a:lnTo>
                <a:lnTo>
                  <a:pt x="467" y="107"/>
                </a:lnTo>
                <a:lnTo>
                  <a:pt x="467" y="109"/>
                </a:lnTo>
                <a:lnTo>
                  <a:pt x="472" y="109"/>
                </a:lnTo>
                <a:lnTo>
                  <a:pt x="473" y="107"/>
                </a:lnTo>
                <a:lnTo>
                  <a:pt x="473" y="106"/>
                </a:lnTo>
                <a:lnTo>
                  <a:pt x="475" y="106"/>
                </a:lnTo>
                <a:lnTo>
                  <a:pt x="475" y="105"/>
                </a:lnTo>
                <a:lnTo>
                  <a:pt x="480" y="105"/>
                </a:lnTo>
                <a:lnTo>
                  <a:pt x="481" y="107"/>
                </a:lnTo>
                <a:lnTo>
                  <a:pt x="486" y="107"/>
                </a:lnTo>
                <a:lnTo>
                  <a:pt x="490" y="109"/>
                </a:lnTo>
                <a:lnTo>
                  <a:pt x="491" y="110"/>
                </a:lnTo>
                <a:lnTo>
                  <a:pt x="491" y="112"/>
                </a:lnTo>
                <a:lnTo>
                  <a:pt x="493" y="113"/>
                </a:lnTo>
                <a:lnTo>
                  <a:pt x="493" y="114"/>
                </a:lnTo>
                <a:lnTo>
                  <a:pt x="492" y="116"/>
                </a:lnTo>
                <a:lnTo>
                  <a:pt x="493" y="116"/>
                </a:lnTo>
                <a:lnTo>
                  <a:pt x="493" y="117"/>
                </a:lnTo>
                <a:lnTo>
                  <a:pt x="497" y="119"/>
                </a:lnTo>
                <a:lnTo>
                  <a:pt x="497" y="122"/>
                </a:lnTo>
                <a:lnTo>
                  <a:pt x="498" y="123"/>
                </a:lnTo>
                <a:lnTo>
                  <a:pt x="498" y="124"/>
                </a:lnTo>
                <a:lnTo>
                  <a:pt x="499" y="123"/>
                </a:lnTo>
                <a:lnTo>
                  <a:pt x="499" y="126"/>
                </a:lnTo>
                <a:lnTo>
                  <a:pt x="500" y="128"/>
                </a:lnTo>
                <a:lnTo>
                  <a:pt x="504" y="128"/>
                </a:lnTo>
                <a:lnTo>
                  <a:pt x="505" y="126"/>
                </a:lnTo>
                <a:lnTo>
                  <a:pt x="504" y="125"/>
                </a:lnTo>
                <a:lnTo>
                  <a:pt x="504" y="124"/>
                </a:lnTo>
                <a:lnTo>
                  <a:pt x="509" y="124"/>
                </a:lnTo>
                <a:lnTo>
                  <a:pt x="511" y="125"/>
                </a:lnTo>
                <a:lnTo>
                  <a:pt x="512" y="125"/>
                </a:lnTo>
                <a:lnTo>
                  <a:pt x="512" y="130"/>
                </a:lnTo>
                <a:lnTo>
                  <a:pt x="513" y="130"/>
                </a:lnTo>
                <a:lnTo>
                  <a:pt x="515" y="129"/>
                </a:lnTo>
                <a:lnTo>
                  <a:pt x="515" y="128"/>
                </a:lnTo>
                <a:lnTo>
                  <a:pt x="517" y="129"/>
                </a:lnTo>
                <a:lnTo>
                  <a:pt x="517" y="130"/>
                </a:lnTo>
                <a:lnTo>
                  <a:pt x="523" y="130"/>
                </a:lnTo>
                <a:lnTo>
                  <a:pt x="524" y="129"/>
                </a:lnTo>
                <a:lnTo>
                  <a:pt x="525" y="129"/>
                </a:lnTo>
                <a:lnTo>
                  <a:pt x="525" y="128"/>
                </a:lnTo>
                <a:lnTo>
                  <a:pt x="526" y="128"/>
                </a:lnTo>
                <a:lnTo>
                  <a:pt x="526" y="126"/>
                </a:lnTo>
                <a:lnTo>
                  <a:pt x="529" y="126"/>
                </a:lnTo>
                <a:lnTo>
                  <a:pt x="530" y="128"/>
                </a:lnTo>
                <a:lnTo>
                  <a:pt x="531" y="128"/>
                </a:lnTo>
                <a:lnTo>
                  <a:pt x="531" y="130"/>
                </a:lnTo>
                <a:lnTo>
                  <a:pt x="532" y="131"/>
                </a:lnTo>
                <a:lnTo>
                  <a:pt x="534" y="131"/>
                </a:lnTo>
                <a:lnTo>
                  <a:pt x="534" y="132"/>
                </a:lnTo>
                <a:lnTo>
                  <a:pt x="536" y="132"/>
                </a:lnTo>
                <a:lnTo>
                  <a:pt x="537" y="134"/>
                </a:lnTo>
                <a:lnTo>
                  <a:pt x="537" y="135"/>
                </a:lnTo>
                <a:lnTo>
                  <a:pt x="542" y="135"/>
                </a:lnTo>
                <a:lnTo>
                  <a:pt x="543" y="134"/>
                </a:lnTo>
                <a:lnTo>
                  <a:pt x="544" y="134"/>
                </a:lnTo>
                <a:lnTo>
                  <a:pt x="548" y="135"/>
                </a:lnTo>
                <a:lnTo>
                  <a:pt x="550" y="135"/>
                </a:lnTo>
                <a:lnTo>
                  <a:pt x="557" y="138"/>
                </a:lnTo>
                <a:lnTo>
                  <a:pt x="561" y="140"/>
                </a:lnTo>
                <a:lnTo>
                  <a:pt x="562" y="140"/>
                </a:lnTo>
                <a:lnTo>
                  <a:pt x="561" y="141"/>
                </a:lnTo>
                <a:lnTo>
                  <a:pt x="560" y="143"/>
                </a:lnTo>
                <a:lnTo>
                  <a:pt x="557" y="149"/>
                </a:lnTo>
                <a:lnTo>
                  <a:pt x="555" y="150"/>
                </a:lnTo>
                <a:lnTo>
                  <a:pt x="555" y="152"/>
                </a:lnTo>
                <a:lnTo>
                  <a:pt x="554" y="153"/>
                </a:lnTo>
                <a:lnTo>
                  <a:pt x="551" y="153"/>
                </a:lnTo>
                <a:lnTo>
                  <a:pt x="551" y="155"/>
                </a:lnTo>
                <a:lnTo>
                  <a:pt x="548" y="159"/>
                </a:lnTo>
                <a:lnTo>
                  <a:pt x="547" y="159"/>
                </a:lnTo>
                <a:lnTo>
                  <a:pt x="546" y="162"/>
                </a:lnTo>
                <a:lnTo>
                  <a:pt x="546" y="168"/>
                </a:lnTo>
                <a:lnTo>
                  <a:pt x="544" y="168"/>
                </a:lnTo>
                <a:lnTo>
                  <a:pt x="544" y="169"/>
                </a:lnTo>
                <a:lnTo>
                  <a:pt x="543" y="171"/>
                </a:lnTo>
                <a:lnTo>
                  <a:pt x="543" y="173"/>
                </a:lnTo>
                <a:lnTo>
                  <a:pt x="542" y="175"/>
                </a:lnTo>
                <a:lnTo>
                  <a:pt x="542" y="177"/>
                </a:lnTo>
                <a:lnTo>
                  <a:pt x="543" y="178"/>
                </a:lnTo>
                <a:lnTo>
                  <a:pt x="543" y="179"/>
                </a:lnTo>
                <a:lnTo>
                  <a:pt x="541" y="181"/>
                </a:lnTo>
                <a:lnTo>
                  <a:pt x="541" y="185"/>
                </a:lnTo>
                <a:lnTo>
                  <a:pt x="540" y="186"/>
                </a:lnTo>
                <a:lnTo>
                  <a:pt x="537" y="190"/>
                </a:lnTo>
                <a:lnTo>
                  <a:pt x="537" y="191"/>
                </a:lnTo>
                <a:lnTo>
                  <a:pt x="536" y="192"/>
                </a:lnTo>
                <a:lnTo>
                  <a:pt x="536" y="197"/>
                </a:lnTo>
                <a:lnTo>
                  <a:pt x="537" y="200"/>
                </a:lnTo>
                <a:lnTo>
                  <a:pt x="537" y="203"/>
                </a:lnTo>
                <a:lnTo>
                  <a:pt x="536" y="204"/>
                </a:lnTo>
                <a:lnTo>
                  <a:pt x="536" y="208"/>
                </a:lnTo>
                <a:lnTo>
                  <a:pt x="535" y="208"/>
                </a:lnTo>
                <a:lnTo>
                  <a:pt x="535" y="211"/>
                </a:lnTo>
                <a:lnTo>
                  <a:pt x="534" y="211"/>
                </a:lnTo>
                <a:lnTo>
                  <a:pt x="534" y="218"/>
                </a:lnTo>
                <a:lnTo>
                  <a:pt x="532" y="218"/>
                </a:lnTo>
                <a:lnTo>
                  <a:pt x="532" y="221"/>
                </a:lnTo>
                <a:lnTo>
                  <a:pt x="534" y="221"/>
                </a:lnTo>
                <a:lnTo>
                  <a:pt x="534" y="222"/>
                </a:lnTo>
                <a:lnTo>
                  <a:pt x="535" y="222"/>
                </a:lnTo>
                <a:lnTo>
                  <a:pt x="536" y="224"/>
                </a:lnTo>
                <a:lnTo>
                  <a:pt x="536" y="227"/>
                </a:lnTo>
                <a:lnTo>
                  <a:pt x="535" y="227"/>
                </a:lnTo>
                <a:lnTo>
                  <a:pt x="534" y="228"/>
                </a:lnTo>
                <a:lnTo>
                  <a:pt x="531" y="229"/>
                </a:lnTo>
                <a:lnTo>
                  <a:pt x="532" y="230"/>
                </a:lnTo>
                <a:lnTo>
                  <a:pt x="532" y="232"/>
                </a:lnTo>
                <a:lnTo>
                  <a:pt x="531" y="232"/>
                </a:lnTo>
                <a:lnTo>
                  <a:pt x="531" y="233"/>
                </a:lnTo>
                <a:lnTo>
                  <a:pt x="529" y="233"/>
                </a:lnTo>
                <a:lnTo>
                  <a:pt x="529" y="236"/>
                </a:lnTo>
                <a:lnTo>
                  <a:pt x="523" y="236"/>
                </a:lnTo>
                <a:lnTo>
                  <a:pt x="522" y="238"/>
                </a:lnTo>
                <a:lnTo>
                  <a:pt x="520" y="238"/>
                </a:lnTo>
                <a:lnTo>
                  <a:pt x="520" y="236"/>
                </a:lnTo>
                <a:lnTo>
                  <a:pt x="519" y="236"/>
                </a:lnTo>
                <a:lnTo>
                  <a:pt x="518" y="235"/>
                </a:lnTo>
                <a:lnTo>
                  <a:pt x="519" y="233"/>
                </a:lnTo>
                <a:lnTo>
                  <a:pt x="512" y="233"/>
                </a:lnTo>
                <a:lnTo>
                  <a:pt x="512" y="232"/>
                </a:lnTo>
                <a:lnTo>
                  <a:pt x="511" y="233"/>
                </a:lnTo>
                <a:lnTo>
                  <a:pt x="510" y="233"/>
                </a:lnTo>
                <a:lnTo>
                  <a:pt x="510" y="234"/>
                </a:lnTo>
                <a:lnTo>
                  <a:pt x="511" y="234"/>
                </a:lnTo>
                <a:lnTo>
                  <a:pt x="511" y="235"/>
                </a:lnTo>
                <a:lnTo>
                  <a:pt x="510" y="236"/>
                </a:lnTo>
                <a:lnTo>
                  <a:pt x="509" y="236"/>
                </a:lnTo>
                <a:lnTo>
                  <a:pt x="509" y="238"/>
                </a:lnTo>
                <a:lnTo>
                  <a:pt x="506" y="240"/>
                </a:lnTo>
                <a:lnTo>
                  <a:pt x="506" y="241"/>
                </a:lnTo>
                <a:lnTo>
                  <a:pt x="511" y="241"/>
                </a:lnTo>
                <a:lnTo>
                  <a:pt x="511" y="240"/>
                </a:lnTo>
                <a:lnTo>
                  <a:pt x="513" y="242"/>
                </a:lnTo>
                <a:lnTo>
                  <a:pt x="512" y="243"/>
                </a:lnTo>
                <a:lnTo>
                  <a:pt x="511" y="243"/>
                </a:lnTo>
                <a:lnTo>
                  <a:pt x="511" y="245"/>
                </a:lnTo>
                <a:lnTo>
                  <a:pt x="510" y="245"/>
                </a:lnTo>
                <a:lnTo>
                  <a:pt x="510" y="248"/>
                </a:lnTo>
                <a:lnTo>
                  <a:pt x="506" y="249"/>
                </a:lnTo>
                <a:lnTo>
                  <a:pt x="505" y="252"/>
                </a:lnTo>
                <a:lnTo>
                  <a:pt x="505" y="253"/>
                </a:lnTo>
                <a:lnTo>
                  <a:pt x="501" y="255"/>
                </a:lnTo>
                <a:lnTo>
                  <a:pt x="500" y="255"/>
                </a:lnTo>
                <a:lnTo>
                  <a:pt x="500" y="257"/>
                </a:lnTo>
                <a:lnTo>
                  <a:pt x="499" y="258"/>
                </a:lnTo>
                <a:lnTo>
                  <a:pt x="498" y="258"/>
                </a:lnTo>
                <a:lnTo>
                  <a:pt x="498" y="260"/>
                </a:lnTo>
                <a:lnTo>
                  <a:pt x="494" y="264"/>
                </a:lnTo>
                <a:lnTo>
                  <a:pt x="490" y="265"/>
                </a:lnTo>
                <a:lnTo>
                  <a:pt x="488" y="266"/>
                </a:lnTo>
                <a:lnTo>
                  <a:pt x="487" y="269"/>
                </a:lnTo>
                <a:lnTo>
                  <a:pt x="487" y="270"/>
                </a:lnTo>
                <a:lnTo>
                  <a:pt x="488" y="270"/>
                </a:lnTo>
                <a:lnTo>
                  <a:pt x="488" y="272"/>
                </a:lnTo>
                <a:lnTo>
                  <a:pt x="487" y="272"/>
                </a:lnTo>
                <a:lnTo>
                  <a:pt x="487" y="278"/>
                </a:lnTo>
                <a:lnTo>
                  <a:pt x="486" y="279"/>
                </a:lnTo>
                <a:lnTo>
                  <a:pt x="485" y="279"/>
                </a:lnTo>
                <a:lnTo>
                  <a:pt x="484" y="280"/>
                </a:lnTo>
                <a:lnTo>
                  <a:pt x="484" y="282"/>
                </a:lnTo>
                <a:lnTo>
                  <a:pt x="480" y="283"/>
                </a:lnTo>
                <a:lnTo>
                  <a:pt x="474" y="289"/>
                </a:lnTo>
                <a:lnTo>
                  <a:pt x="474" y="290"/>
                </a:lnTo>
                <a:lnTo>
                  <a:pt x="475" y="291"/>
                </a:lnTo>
                <a:lnTo>
                  <a:pt x="474" y="292"/>
                </a:lnTo>
                <a:lnTo>
                  <a:pt x="473" y="295"/>
                </a:lnTo>
                <a:lnTo>
                  <a:pt x="472" y="296"/>
                </a:lnTo>
                <a:lnTo>
                  <a:pt x="472" y="298"/>
                </a:lnTo>
                <a:lnTo>
                  <a:pt x="474" y="300"/>
                </a:lnTo>
                <a:lnTo>
                  <a:pt x="474" y="301"/>
                </a:lnTo>
                <a:lnTo>
                  <a:pt x="475" y="302"/>
                </a:lnTo>
                <a:lnTo>
                  <a:pt x="474" y="304"/>
                </a:lnTo>
                <a:lnTo>
                  <a:pt x="474" y="306"/>
                </a:lnTo>
                <a:lnTo>
                  <a:pt x="473" y="306"/>
                </a:lnTo>
                <a:lnTo>
                  <a:pt x="473" y="309"/>
                </a:lnTo>
                <a:lnTo>
                  <a:pt x="470" y="309"/>
                </a:lnTo>
                <a:lnTo>
                  <a:pt x="468" y="310"/>
                </a:lnTo>
                <a:lnTo>
                  <a:pt x="467" y="312"/>
                </a:lnTo>
                <a:lnTo>
                  <a:pt x="467" y="313"/>
                </a:lnTo>
                <a:lnTo>
                  <a:pt x="468" y="313"/>
                </a:lnTo>
                <a:lnTo>
                  <a:pt x="468" y="315"/>
                </a:lnTo>
                <a:lnTo>
                  <a:pt x="467" y="316"/>
                </a:lnTo>
                <a:lnTo>
                  <a:pt x="468" y="316"/>
                </a:lnTo>
                <a:lnTo>
                  <a:pt x="470" y="315"/>
                </a:lnTo>
                <a:lnTo>
                  <a:pt x="472" y="315"/>
                </a:lnTo>
                <a:lnTo>
                  <a:pt x="474" y="316"/>
                </a:lnTo>
                <a:lnTo>
                  <a:pt x="481" y="309"/>
                </a:lnTo>
                <a:lnTo>
                  <a:pt x="481" y="308"/>
                </a:lnTo>
                <a:lnTo>
                  <a:pt x="479" y="308"/>
                </a:lnTo>
                <a:lnTo>
                  <a:pt x="479" y="306"/>
                </a:lnTo>
                <a:lnTo>
                  <a:pt x="478" y="306"/>
                </a:lnTo>
                <a:lnTo>
                  <a:pt x="479" y="304"/>
                </a:lnTo>
                <a:lnTo>
                  <a:pt x="479" y="303"/>
                </a:lnTo>
                <a:lnTo>
                  <a:pt x="480" y="302"/>
                </a:lnTo>
                <a:lnTo>
                  <a:pt x="482" y="301"/>
                </a:lnTo>
                <a:lnTo>
                  <a:pt x="484" y="300"/>
                </a:lnTo>
                <a:lnTo>
                  <a:pt x="486" y="300"/>
                </a:lnTo>
                <a:lnTo>
                  <a:pt x="490" y="297"/>
                </a:lnTo>
                <a:lnTo>
                  <a:pt x="492" y="296"/>
                </a:lnTo>
                <a:lnTo>
                  <a:pt x="495" y="296"/>
                </a:lnTo>
                <a:lnTo>
                  <a:pt x="501" y="298"/>
                </a:lnTo>
                <a:lnTo>
                  <a:pt x="503" y="300"/>
                </a:lnTo>
                <a:lnTo>
                  <a:pt x="503" y="301"/>
                </a:lnTo>
                <a:lnTo>
                  <a:pt x="500" y="303"/>
                </a:lnTo>
                <a:lnTo>
                  <a:pt x="501" y="304"/>
                </a:lnTo>
                <a:lnTo>
                  <a:pt x="503" y="307"/>
                </a:lnTo>
                <a:lnTo>
                  <a:pt x="504" y="308"/>
                </a:lnTo>
                <a:lnTo>
                  <a:pt x="501" y="313"/>
                </a:lnTo>
                <a:lnTo>
                  <a:pt x="501" y="316"/>
                </a:lnTo>
                <a:lnTo>
                  <a:pt x="505" y="316"/>
                </a:lnTo>
                <a:lnTo>
                  <a:pt x="506" y="318"/>
                </a:lnTo>
                <a:lnTo>
                  <a:pt x="505" y="319"/>
                </a:lnTo>
                <a:lnTo>
                  <a:pt x="505" y="321"/>
                </a:lnTo>
                <a:lnTo>
                  <a:pt x="507" y="321"/>
                </a:lnTo>
                <a:lnTo>
                  <a:pt x="511" y="325"/>
                </a:lnTo>
                <a:lnTo>
                  <a:pt x="511" y="327"/>
                </a:lnTo>
                <a:lnTo>
                  <a:pt x="512" y="328"/>
                </a:lnTo>
                <a:lnTo>
                  <a:pt x="512" y="329"/>
                </a:lnTo>
                <a:lnTo>
                  <a:pt x="511" y="329"/>
                </a:lnTo>
                <a:lnTo>
                  <a:pt x="511" y="331"/>
                </a:lnTo>
                <a:lnTo>
                  <a:pt x="507" y="334"/>
                </a:lnTo>
                <a:lnTo>
                  <a:pt x="506" y="334"/>
                </a:lnTo>
                <a:lnTo>
                  <a:pt x="505" y="333"/>
                </a:lnTo>
                <a:lnTo>
                  <a:pt x="505" y="334"/>
                </a:lnTo>
                <a:lnTo>
                  <a:pt x="503" y="334"/>
                </a:lnTo>
                <a:lnTo>
                  <a:pt x="503" y="341"/>
                </a:lnTo>
                <a:lnTo>
                  <a:pt x="505" y="344"/>
                </a:lnTo>
                <a:lnTo>
                  <a:pt x="506" y="344"/>
                </a:lnTo>
                <a:lnTo>
                  <a:pt x="507" y="345"/>
                </a:lnTo>
                <a:lnTo>
                  <a:pt x="510" y="346"/>
                </a:lnTo>
                <a:lnTo>
                  <a:pt x="510" y="353"/>
                </a:lnTo>
                <a:lnTo>
                  <a:pt x="511" y="353"/>
                </a:lnTo>
                <a:lnTo>
                  <a:pt x="512" y="355"/>
                </a:lnTo>
                <a:lnTo>
                  <a:pt x="515" y="356"/>
                </a:lnTo>
                <a:lnTo>
                  <a:pt x="515" y="358"/>
                </a:lnTo>
                <a:lnTo>
                  <a:pt x="516" y="358"/>
                </a:lnTo>
                <a:lnTo>
                  <a:pt x="516" y="359"/>
                </a:lnTo>
                <a:lnTo>
                  <a:pt x="518" y="359"/>
                </a:lnTo>
                <a:lnTo>
                  <a:pt x="518" y="362"/>
                </a:lnTo>
                <a:lnTo>
                  <a:pt x="517" y="363"/>
                </a:lnTo>
                <a:lnTo>
                  <a:pt x="516" y="365"/>
                </a:lnTo>
                <a:lnTo>
                  <a:pt x="516" y="369"/>
                </a:lnTo>
                <a:lnTo>
                  <a:pt x="513" y="371"/>
                </a:lnTo>
                <a:lnTo>
                  <a:pt x="511" y="371"/>
                </a:lnTo>
                <a:lnTo>
                  <a:pt x="510" y="372"/>
                </a:lnTo>
                <a:lnTo>
                  <a:pt x="509" y="372"/>
                </a:lnTo>
                <a:lnTo>
                  <a:pt x="509" y="374"/>
                </a:lnTo>
                <a:lnTo>
                  <a:pt x="507" y="375"/>
                </a:lnTo>
                <a:lnTo>
                  <a:pt x="506" y="375"/>
                </a:lnTo>
                <a:lnTo>
                  <a:pt x="506" y="376"/>
                </a:lnTo>
                <a:lnTo>
                  <a:pt x="505" y="377"/>
                </a:lnTo>
                <a:lnTo>
                  <a:pt x="503" y="376"/>
                </a:lnTo>
                <a:lnTo>
                  <a:pt x="501" y="375"/>
                </a:lnTo>
                <a:lnTo>
                  <a:pt x="500" y="375"/>
                </a:lnTo>
                <a:lnTo>
                  <a:pt x="499" y="376"/>
                </a:lnTo>
                <a:lnTo>
                  <a:pt x="497" y="376"/>
                </a:lnTo>
                <a:lnTo>
                  <a:pt x="494" y="378"/>
                </a:lnTo>
                <a:lnTo>
                  <a:pt x="495" y="380"/>
                </a:lnTo>
                <a:lnTo>
                  <a:pt x="495" y="381"/>
                </a:lnTo>
                <a:lnTo>
                  <a:pt x="497" y="382"/>
                </a:lnTo>
                <a:lnTo>
                  <a:pt x="497" y="383"/>
                </a:lnTo>
                <a:lnTo>
                  <a:pt x="499" y="383"/>
                </a:lnTo>
                <a:lnTo>
                  <a:pt x="500" y="386"/>
                </a:lnTo>
                <a:lnTo>
                  <a:pt x="500" y="390"/>
                </a:lnTo>
                <a:lnTo>
                  <a:pt x="501" y="392"/>
                </a:lnTo>
                <a:lnTo>
                  <a:pt x="505" y="393"/>
                </a:lnTo>
                <a:lnTo>
                  <a:pt x="509" y="393"/>
                </a:lnTo>
                <a:lnTo>
                  <a:pt x="511" y="394"/>
                </a:lnTo>
                <a:lnTo>
                  <a:pt x="511" y="396"/>
                </a:lnTo>
                <a:lnTo>
                  <a:pt x="512" y="398"/>
                </a:lnTo>
                <a:lnTo>
                  <a:pt x="512" y="400"/>
                </a:lnTo>
                <a:lnTo>
                  <a:pt x="513" y="402"/>
                </a:lnTo>
                <a:lnTo>
                  <a:pt x="513" y="404"/>
                </a:lnTo>
                <a:lnTo>
                  <a:pt x="511" y="402"/>
                </a:lnTo>
                <a:lnTo>
                  <a:pt x="509" y="405"/>
                </a:lnTo>
                <a:lnTo>
                  <a:pt x="509" y="407"/>
                </a:lnTo>
                <a:lnTo>
                  <a:pt x="507" y="409"/>
                </a:lnTo>
                <a:lnTo>
                  <a:pt x="505" y="412"/>
                </a:lnTo>
                <a:lnTo>
                  <a:pt x="504" y="412"/>
                </a:lnTo>
                <a:lnTo>
                  <a:pt x="505" y="414"/>
                </a:lnTo>
                <a:lnTo>
                  <a:pt x="505" y="415"/>
                </a:lnTo>
                <a:lnTo>
                  <a:pt x="507" y="418"/>
                </a:lnTo>
                <a:lnTo>
                  <a:pt x="506" y="419"/>
                </a:lnTo>
                <a:lnTo>
                  <a:pt x="506" y="423"/>
                </a:lnTo>
                <a:lnTo>
                  <a:pt x="507" y="424"/>
                </a:lnTo>
                <a:lnTo>
                  <a:pt x="507" y="426"/>
                </a:lnTo>
                <a:lnTo>
                  <a:pt x="509" y="426"/>
                </a:lnTo>
                <a:lnTo>
                  <a:pt x="510" y="427"/>
                </a:lnTo>
                <a:lnTo>
                  <a:pt x="510" y="429"/>
                </a:lnTo>
                <a:lnTo>
                  <a:pt x="511" y="430"/>
                </a:lnTo>
                <a:lnTo>
                  <a:pt x="513" y="430"/>
                </a:lnTo>
                <a:lnTo>
                  <a:pt x="516" y="431"/>
                </a:lnTo>
                <a:lnTo>
                  <a:pt x="517" y="431"/>
                </a:lnTo>
                <a:lnTo>
                  <a:pt x="522" y="435"/>
                </a:lnTo>
                <a:lnTo>
                  <a:pt x="524" y="435"/>
                </a:lnTo>
                <a:lnTo>
                  <a:pt x="524" y="436"/>
                </a:lnTo>
                <a:lnTo>
                  <a:pt x="528" y="436"/>
                </a:lnTo>
                <a:lnTo>
                  <a:pt x="535" y="435"/>
                </a:lnTo>
                <a:lnTo>
                  <a:pt x="536" y="435"/>
                </a:lnTo>
                <a:lnTo>
                  <a:pt x="537" y="433"/>
                </a:lnTo>
                <a:lnTo>
                  <a:pt x="538" y="433"/>
                </a:lnTo>
                <a:lnTo>
                  <a:pt x="538" y="436"/>
                </a:lnTo>
                <a:lnTo>
                  <a:pt x="541" y="438"/>
                </a:lnTo>
                <a:lnTo>
                  <a:pt x="541" y="439"/>
                </a:lnTo>
                <a:lnTo>
                  <a:pt x="538" y="442"/>
                </a:lnTo>
                <a:lnTo>
                  <a:pt x="538" y="444"/>
                </a:lnTo>
                <a:lnTo>
                  <a:pt x="537" y="445"/>
                </a:lnTo>
                <a:lnTo>
                  <a:pt x="535" y="447"/>
                </a:lnTo>
                <a:lnTo>
                  <a:pt x="534" y="448"/>
                </a:lnTo>
                <a:lnTo>
                  <a:pt x="532" y="450"/>
                </a:lnTo>
                <a:lnTo>
                  <a:pt x="531" y="451"/>
                </a:lnTo>
                <a:lnTo>
                  <a:pt x="531" y="452"/>
                </a:lnTo>
                <a:lnTo>
                  <a:pt x="532" y="456"/>
                </a:lnTo>
                <a:lnTo>
                  <a:pt x="531" y="456"/>
                </a:lnTo>
                <a:lnTo>
                  <a:pt x="531" y="457"/>
                </a:lnTo>
                <a:lnTo>
                  <a:pt x="530" y="457"/>
                </a:lnTo>
                <a:lnTo>
                  <a:pt x="530" y="458"/>
                </a:lnTo>
                <a:lnTo>
                  <a:pt x="529" y="457"/>
                </a:lnTo>
                <a:lnTo>
                  <a:pt x="528" y="457"/>
                </a:lnTo>
                <a:lnTo>
                  <a:pt x="526" y="458"/>
                </a:lnTo>
                <a:lnTo>
                  <a:pt x="526" y="460"/>
                </a:lnTo>
                <a:lnTo>
                  <a:pt x="525" y="461"/>
                </a:lnTo>
                <a:lnTo>
                  <a:pt x="525" y="462"/>
                </a:lnTo>
                <a:lnTo>
                  <a:pt x="524" y="462"/>
                </a:lnTo>
                <a:lnTo>
                  <a:pt x="523" y="461"/>
                </a:lnTo>
                <a:lnTo>
                  <a:pt x="522" y="462"/>
                </a:lnTo>
                <a:lnTo>
                  <a:pt x="520" y="462"/>
                </a:lnTo>
                <a:lnTo>
                  <a:pt x="520" y="464"/>
                </a:lnTo>
                <a:lnTo>
                  <a:pt x="519" y="464"/>
                </a:lnTo>
                <a:lnTo>
                  <a:pt x="519" y="463"/>
                </a:lnTo>
                <a:lnTo>
                  <a:pt x="518" y="463"/>
                </a:lnTo>
                <a:lnTo>
                  <a:pt x="517" y="464"/>
                </a:lnTo>
                <a:lnTo>
                  <a:pt x="517" y="470"/>
                </a:lnTo>
                <a:lnTo>
                  <a:pt x="516" y="469"/>
                </a:lnTo>
                <a:lnTo>
                  <a:pt x="513" y="469"/>
                </a:lnTo>
                <a:lnTo>
                  <a:pt x="513" y="470"/>
                </a:lnTo>
                <a:lnTo>
                  <a:pt x="510" y="470"/>
                </a:lnTo>
                <a:lnTo>
                  <a:pt x="509" y="472"/>
                </a:lnTo>
                <a:lnTo>
                  <a:pt x="509" y="473"/>
                </a:lnTo>
                <a:lnTo>
                  <a:pt x="510" y="473"/>
                </a:lnTo>
                <a:lnTo>
                  <a:pt x="507" y="475"/>
                </a:lnTo>
                <a:lnTo>
                  <a:pt x="507" y="476"/>
                </a:lnTo>
                <a:lnTo>
                  <a:pt x="505" y="476"/>
                </a:lnTo>
                <a:lnTo>
                  <a:pt x="505" y="478"/>
                </a:lnTo>
                <a:lnTo>
                  <a:pt x="500" y="478"/>
                </a:lnTo>
                <a:lnTo>
                  <a:pt x="500" y="480"/>
                </a:lnTo>
                <a:lnTo>
                  <a:pt x="499" y="480"/>
                </a:lnTo>
                <a:lnTo>
                  <a:pt x="499" y="481"/>
                </a:lnTo>
                <a:lnTo>
                  <a:pt x="498" y="481"/>
                </a:lnTo>
                <a:lnTo>
                  <a:pt x="497" y="482"/>
                </a:lnTo>
                <a:lnTo>
                  <a:pt x="497" y="484"/>
                </a:lnTo>
                <a:lnTo>
                  <a:pt x="495" y="485"/>
                </a:lnTo>
                <a:lnTo>
                  <a:pt x="494" y="485"/>
                </a:lnTo>
                <a:lnTo>
                  <a:pt x="494" y="486"/>
                </a:lnTo>
                <a:lnTo>
                  <a:pt x="499" y="486"/>
                </a:lnTo>
                <a:lnTo>
                  <a:pt x="498" y="487"/>
                </a:lnTo>
                <a:lnTo>
                  <a:pt x="498" y="488"/>
                </a:lnTo>
                <a:lnTo>
                  <a:pt x="497" y="488"/>
                </a:lnTo>
                <a:lnTo>
                  <a:pt x="498" y="490"/>
                </a:lnTo>
                <a:lnTo>
                  <a:pt x="497" y="491"/>
                </a:lnTo>
                <a:lnTo>
                  <a:pt x="495" y="491"/>
                </a:lnTo>
                <a:lnTo>
                  <a:pt x="494" y="492"/>
                </a:lnTo>
                <a:lnTo>
                  <a:pt x="494" y="491"/>
                </a:lnTo>
                <a:lnTo>
                  <a:pt x="492" y="491"/>
                </a:lnTo>
                <a:lnTo>
                  <a:pt x="492" y="492"/>
                </a:lnTo>
                <a:lnTo>
                  <a:pt x="491" y="493"/>
                </a:lnTo>
                <a:lnTo>
                  <a:pt x="486" y="493"/>
                </a:lnTo>
                <a:lnTo>
                  <a:pt x="485" y="494"/>
                </a:lnTo>
                <a:lnTo>
                  <a:pt x="485" y="497"/>
                </a:lnTo>
                <a:lnTo>
                  <a:pt x="484" y="497"/>
                </a:lnTo>
                <a:lnTo>
                  <a:pt x="481" y="494"/>
                </a:lnTo>
                <a:lnTo>
                  <a:pt x="479" y="494"/>
                </a:lnTo>
                <a:lnTo>
                  <a:pt x="478" y="495"/>
                </a:lnTo>
                <a:lnTo>
                  <a:pt x="476" y="495"/>
                </a:lnTo>
                <a:lnTo>
                  <a:pt x="476" y="497"/>
                </a:lnTo>
                <a:lnTo>
                  <a:pt x="475" y="498"/>
                </a:lnTo>
                <a:lnTo>
                  <a:pt x="475" y="499"/>
                </a:lnTo>
                <a:lnTo>
                  <a:pt x="474" y="498"/>
                </a:lnTo>
                <a:lnTo>
                  <a:pt x="474" y="497"/>
                </a:lnTo>
                <a:lnTo>
                  <a:pt x="470" y="497"/>
                </a:lnTo>
                <a:lnTo>
                  <a:pt x="469" y="495"/>
                </a:lnTo>
                <a:lnTo>
                  <a:pt x="467" y="495"/>
                </a:lnTo>
                <a:lnTo>
                  <a:pt x="467" y="494"/>
                </a:lnTo>
                <a:lnTo>
                  <a:pt x="464" y="494"/>
                </a:lnTo>
                <a:lnTo>
                  <a:pt x="464" y="495"/>
                </a:lnTo>
                <a:lnTo>
                  <a:pt x="466" y="497"/>
                </a:lnTo>
                <a:lnTo>
                  <a:pt x="467" y="497"/>
                </a:lnTo>
                <a:lnTo>
                  <a:pt x="467" y="498"/>
                </a:lnTo>
                <a:lnTo>
                  <a:pt x="463" y="498"/>
                </a:lnTo>
                <a:lnTo>
                  <a:pt x="463" y="499"/>
                </a:lnTo>
                <a:lnTo>
                  <a:pt x="461" y="499"/>
                </a:lnTo>
                <a:lnTo>
                  <a:pt x="460" y="498"/>
                </a:lnTo>
                <a:lnTo>
                  <a:pt x="460" y="497"/>
                </a:lnTo>
                <a:lnTo>
                  <a:pt x="461" y="497"/>
                </a:lnTo>
                <a:lnTo>
                  <a:pt x="461" y="495"/>
                </a:lnTo>
                <a:lnTo>
                  <a:pt x="460" y="495"/>
                </a:lnTo>
                <a:lnTo>
                  <a:pt x="460" y="494"/>
                </a:lnTo>
                <a:lnTo>
                  <a:pt x="459" y="494"/>
                </a:lnTo>
                <a:lnTo>
                  <a:pt x="456" y="493"/>
                </a:lnTo>
                <a:lnTo>
                  <a:pt x="456" y="492"/>
                </a:lnTo>
                <a:lnTo>
                  <a:pt x="455" y="491"/>
                </a:lnTo>
                <a:lnTo>
                  <a:pt x="454" y="491"/>
                </a:lnTo>
                <a:lnTo>
                  <a:pt x="454" y="492"/>
                </a:lnTo>
                <a:lnTo>
                  <a:pt x="451" y="492"/>
                </a:lnTo>
                <a:lnTo>
                  <a:pt x="449" y="490"/>
                </a:lnTo>
                <a:lnTo>
                  <a:pt x="442" y="490"/>
                </a:lnTo>
                <a:lnTo>
                  <a:pt x="442" y="487"/>
                </a:lnTo>
                <a:lnTo>
                  <a:pt x="443" y="486"/>
                </a:lnTo>
                <a:lnTo>
                  <a:pt x="442" y="486"/>
                </a:lnTo>
                <a:lnTo>
                  <a:pt x="442" y="485"/>
                </a:lnTo>
                <a:lnTo>
                  <a:pt x="441" y="482"/>
                </a:lnTo>
                <a:lnTo>
                  <a:pt x="439" y="481"/>
                </a:lnTo>
                <a:lnTo>
                  <a:pt x="437" y="482"/>
                </a:lnTo>
                <a:lnTo>
                  <a:pt x="429" y="482"/>
                </a:lnTo>
                <a:lnTo>
                  <a:pt x="428" y="481"/>
                </a:lnTo>
                <a:lnTo>
                  <a:pt x="428" y="478"/>
                </a:lnTo>
                <a:lnTo>
                  <a:pt x="433" y="478"/>
                </a:lnTo>
                <a:lnTo>
                  <a:pt x="436" y="475"/>
                </a:lnTo>
                <a:lnTo>
                  <a:pt x="436" y="473"/>
                </a:lnTo>
                <a:lnTo>
                  <a:pt x="435" y="473"/>
                </a:lnTo>
                <a:lnTo>
                  <a:pt x="433" y="474"/>
                </a:lnTo>
                <a:lnTo>
                  <a:pt x="432" y="474"/>
                </a:lnTo>
                <a:lnTo>
                  <a:pt x="432" y="473"/>
                </a:lnTo>
                <a:lnTo>
                  <a:pt x="431" y="472"/>
                </a:lnTo>
                <a:lnTo>
                  <a:pt x="431" y="470"/>
                </a:lnTo>
                <a:lnTo>
                  <a:pt x="429" y="470"/>
                </a:lnTo>
                <a:lnTo>
                  <a:pt x="429" y="469"/>
                </a:lnTo>
                <a:lnTo>
                  <a:pt x="428" y="469"/>
                </a:lnTo>
                <a:lnTo>
                  <a:pt x="428" y="473"/>
                </a:lnTo>
                <a:lnTo>
                  <a:pt x="430" y="475"/>
                </a:lnTo>
                <a:lnTo>
                  <a:pt x="428" y="478"/>
                </a:lnTo>
                <a:lnTo>
                  <a:pt x="426" y="478"/>
                </a:lnTo>
                <a:lnTo>
                  <a:pt x="424" y="476"/>
                </a:lnTo>
                <a:lnTo>
                  <a:pt x="423" y="476"/>
                </a:lnTo>
                <a:lnTo>
                  <a:pt x="423" y="478"/>
                </a:lnTo>
                <a:lnTo>
                  <a:pt x="420" y="478"/>
                </a:lnTo>
                <a:lnTo>
                  <a:pt x="420" y="479"/>
                </a:lnTo>
                <a:lnTo>
                  <a:pt x="422" y="480"/>
                </a:lnTo>
                <a:lnTo>
                  <a:pt x="423" y="480"/>
                </a:lnTo>
                <a:lnTo>
                  <a:pt x="420" y="482"/>
                </a:lnTo>
                <a:lnTo>
                  <a:pt x="420" y="480"/>
                </a:lnTo>
                <a:lnTo>
                  <a:pt x="418" y="479"/>
                </a:lnTo>
                <a:lnTo>
                  <a:pt x="417" y="478"/>
                </a:lnTo>
                <a:lnTo>
                  <a:pt x="416" y="475"/>
                </a:lnTo>
                <a:lnTo>
                  <a:pt x="416" y="478"/>
                </a:lnTo>
                <a:lnTo>
                  <a:pt x="417" y="479"/>
                </a:lnTo>
                <a:lnTo>
                  <a:pt x="418" y="479"/>
                </a:lnTo>
                <a:lnTo>
                  <a:pt x="419" y="480"/>
                </a:lnTo>
                <a:lnTo>
                  <a:pt x="419" y="481"/>
                </a:lnTo>
                <a:lnTo>
                  <a:pt x="410" y="481"/>
                </a:lnTo>
                <a:lnTo>
                  <a:pt x="408" y="480"/>
                </a:lnTo>
                <a:lnTo>
                  <a:pt x="408" y="479"/>
                </a:lnTo>
                <a:lnTo>
                  <a:pt x="410" y="479"/>
                </a:lnTo>
                <a:lnTo>
                  <a:pt x="410" y="476"/>
                </a:lnTo>
                <a:lnTo>
                  <a:pt x="408" y="476"/>
                </a:lnTo>
                <a:lnTo>
                  <a:pt x="406" y="475"/>
                </a:lnTo>
                <a:lnTo>
                  <a:pt x="392" y="475"/>
                </a:lnTo>
                <a:lnTo>
                  <a:pt x="392" y="474"/>
                </a:lnTo>
                <a:lnTo>
                  <a:pt x="391" y="474"/>
                </a:lnTo>
                <a:lnTo>
                  <a:pt x="389" y="472"/>
                </a:lnTo>
                <a:lnTo>
                  <a:pt x="391" y="470"/>
                </a:lnTo>
                <a:lnTo>
                  <a:pt x="389" y="469"/>
                </a:lnTo>
                <a:lnTo>
                  <a:pt x="385" y="469"/>
                </a:lnTo>
                <a:lnTo>
                  <a:pt x="382" y="470"/>
                </a:lnTo>
                <a:lnTo>
                  <a:pt x="374" y="478"/>
                </a:lnTo>
                <a:lnTo>
                  <a:pt x="369" y="480"/>
                </a:lnTo>
                <a:lnTo>
                  <a:pt x="368" y="481"/>
                </a:lnTo>
                <a:lnTo>
                  <a:pt x="364" y="486"/>
                </a:lnTo>
                <a:lnTo>
                  <a:pt x="363" y="486"/>
                </a:lnTo>
                <a:lnTo>
                  <a:pt x="362" y="485"/>
                </a:lnTo>
                <a:lnTo>
                  <a:pt x="358" y="485"/>
                </a:lnTo>
                <a:lnTo>
                  <a:pt x="356" y="486"/>
                </a:lnTo>
                <a:lnTo>
                  <a:pt x="351" y="491"/>
                </a:lnTo>
                <a:lnTo>
                  <a:pt x="351" y="492"/>
                </a:lnTo>
                <a:lnTo>
                  <a:pt x="350" y="492"/>
                </a:lnTo>
                <a:lnTo>
                  <a:pt x="350" y="493"/>
                </a:lnTo>
                <a:lnTo>
                  <a:pt x="349" y="494"/>
                </a:lnTo>
                <a:lnTo>
                  <a:pt x="348" y="494"/>
                </a:lnTo>
                <a:lnTo>
                  <a:pt x="348" y="495"/>
                </a:lnTo>
                <a:lnTo>
                  <a:pt x="346" y="497"/>
                </a:lnTo>
                <a:lnTo>
                  <a:pt x="346" y="499"/>
                </a:lnTo>
                <a:lnTo>
                  <a:pt x="345" y="500"/>
                </a:lnTo>
                <a:lnTo>
                  <a:pt x="345" y="501"/>
                </a:lnTo>
                <a:lnTo>
                  <a:pt x="344" y="504"/>
                </a:lnTo>
                <a:lnTo>
                  <a:pt x="344" y="505"/>
                </a:lnTo>
                <a:lnTo>
                  <a:pt x="345" y="506"/>
                </a:lnTo>
                <a:lnTo>
                  <a:pt x="345" y="507"/>
                </a:lnTo>
                <a:lnTo>
                  <a:pt x="344" y="510"/>
                </a:lnTo>
                <a:lnTo>
                  <a:pt x="344" y="528"/>
                </a:lnTo>
                <a:lnTo>
                  <a:pt x="346" y="528"/>
                </a:lnTo>
                <a:lnTo>
                  <a:pt x="348" y="529"/>
                </a:lnTo>
                <a:lnTo>
                  <a:pt x="349" y="529"/>
                </a:lnTo>
                <a:lnTo>
                  <a:pt x="349" y="531"/>
                </a:lnTo>
                <a:lnTo>
                  <a:pt x="350" y="533"/>
                </a:lnTo>
                <a:lnTo>
                  <a:pt x="350" y="534"/>
                </a:lnTo>
                <a:lnTo>
                  <a:pt x="349" y="535"/>
                </a:lnTo>
                <a:lnTo>
                  <a:pt x="346" y="535"/>
                </a:lnTo>
                <a:lnTo>
                  <a:pt x="345" y="534"/>
                </a:lnTo>
                <a:lnTo>
                  <a:pt x="344" y="534"/>
                </a:lnTo>
                <a:lnTo>
                  <a:pt x="344" y="533"/>
                </a:lnTo>
                <a:lnTo>
                  <a:pt x="338" y="533"/>
                </a:lnTo>
                <a:lnTo>
                  <a:pt x="338" y="534"/>
                </a:lnTo>
                <a:lnTo>
                  <a:pt x="336" y="534"/>
                </a:lnTo>
                <a:lnTo>
                  <a:pt x="335" y="535"/>
                </a:lnTo>
                <a:lnTo>
                  <a:pt x="330" y="535"/>
                </a:lnTo>
                <a:lnTo>
                  <a:pt x="330" y="536"/>
                </a:lnTo>
                <a:lnTo>
                  <a:pt x="327" y="537"/>
                </a:lnTo>
                <a:lnTo>
                  <a:pt x="327" y="538"/>
                </a:lnTo>
                <a:lnTo>
                  <a:pt x="329" y="540"/>
                </a:lnTo>
                <a:lnTo>
                  <a:pt x="326" y="540"/>
                </a:lnTo>
                <a:lnTo>
                  <a:pt x="324" y="538"/>
                </a:lnTo>
                <a:lnTo>
                  <a:pt x="323" y="538"/>
                </a:lnTo>
                <a:lnTo>
                  <a:pt x="323" y="540"/>
                </a:lnTo>
                <a:lnTo>
                  <a:pt x="320" y="540"/>
                </a:lnTo>
                <a:lnTo>
                  <a:pt x="317" y="536"/>
                </a:lnTo>
                <a:lnTo>
                  <a:pt x="313" y="535"/>
                </a:lnTo>
                <a:lnTo>
                  <a:pt x="306" y="535"/>
                </a:lnTo>
                <a:lnTo>
                  <a:pt x="305" y="536"/>
                </a:lnTo>
                <a:lnTo>
                  <a:pt x="305" y="537"/>
                </a:lnTo>
                <a:lnTo>
                  <a:pt x="304" y="537"/>
                </a:lnTo>
                <a:lnTo>
                  <a:pt x="304" y="538"/>
                </a:lnTo>
                <a:lnTo>
                  <a:pt x="300" y="538"/>
                </a:lnTo>
                <a:lnTo>
                  <a:pt x="299" y="537"/>
                </a:lnTo>
                <a:lnTo>
                  <a:pt x="298" y="535"/>
                </a:lnTo>
                <a:lnTo>
                  <a:pt x="298" y="534"/>
                </a:lnTo>
                <a:lnTo>
                  <a:pt x="295" y="534"/>
                </a:lnTo>
                <a:lnTo>
                  <a:pt x="293" y="531"/>
                </a:lnTo>
                <a:lnTo>
                  <a:pt x="289" y="531"/>
                </a:lnTo>
                <a:lnTo>
                  <a:pt x="288" y="530"/>
                </a:lnTo>
                <a:lnTo>
                  <a:pt x="288" y="528"/>
                </a:lnTo>
                <a:lnTo>
                  <a:pt x="289" y="527"/>
                </a:lnTo>
                <a:lnTo>
                  <a:pt x="290" y="527"/>
                </a:lnTo>
                <a:lnTo>
                  <a:pt x="290" y="525"/>
                </a:lnTo>
                <a:lnTo>
                  <a:pt x="288" y="525"/>
                </a:lnTo>
                <a:lnTo>
                  <a:pt x="288" y="524"/>
                </a:lnTo>
                <a:lnTo>
                  <a:pt x="283" y="523"/>
                </a:lnTo>
                <a:lnTo>
                  <a:pt x="281" y="522"/>
                </a:lnTo>
                <a:lnTo>
                  <a:pt x="277" y="522"/>
                </a:lnTo>
                <a:lnTo>
                  <a:pt x="277" y="524"/>
                </a:lnTo>
                <a:lnTo>
                  <a:pt x="276" y="525"/>
                </a:lnTo>
                <a:lnTo>
                  <a:pt x="276" y="524"/>
                </a:lnTo>
                <a:lnTo>
                  <a:pt x="275" y="522"/>
                </a:lnTo>
                <a:lnTo>
                  <a:pt x="274" y="521"/>
                </a:lnTo>
                <a:lnTo>
                  <a:pt x="274" y="519"/>
                </a:lnTo>
                <a:lnTo>
                  <a:pt x="273" y="519"/>
                </a:lnTo>
                <a:lnTo>
                  <a:pt x="273" y="518"/>
                </a:lnTo>
                <a:lnTo>
                  <a:pt x="264" y="518"/>
                </a:lnTo>
                <a:lnTo>
                  <a:pt x="263" y="517"/>
                </a:lnTo>
                <a:lnTo>
                  <a:pt x="263" y="516"/>
                </a:lnTo>
                <a:lnTo>
                  <a:pt x="262" y="515"/>
                </a:lnTo>
                <a:lnTo>
                  <a:pt x="257" y="515"/>
                </a:lnTo>
                <a:lnTo>
                  <a:pt x="256" y="513"/>
                </a:lnTo>
                <a:lnTo>
                  <a:pt x="254" y="513"/>
                </a:lnTo>
                <a:lnTo>
                  <a:pt x="252" y="512"/>
                </a:lnTo>
                <a:lnTo>
                  <a:pt x="250" y="511"/>
                </a:lnTo>
                <a:lnTo>
                  <a:pt x="244" y="511"/>
                </a:lnTo>
                <a:lnTo>
                  <a:pt x="244" y="513"/>
                </a:lnTo>
                <a:lnTo>
                  <a:pt x="243" y="515"/>
                </a:lnTo>
                <a:lnTo>
                  <a:pt x="244" y="516"/>
                </a:lnTo>
                <a:lnTo>
                  <a:pt x="243" y="516"/>
                </a:lnTo>
                <a:lnTo>
                  <a:pt x="243" y="517"/>
                </a:lnTo>
                <a:lnTo>
                  <a:pt x="244" y="517"/>
                </a:lnTo>
                <a:lnTo>
                  <a:pt x="244" y="519"/>
                </a:lnTo>
                <a:lnTo>
                  <a:pt x="232" y="519"/>
                </a:lnTo>
                <a:lnTo>
                  <a:pt x="231" y="518"/>
                </a:lnTo>
                <a:lnTo>
                  <a:pt x="230" y="518"/>
                </a:lnTo>
                <a:lnTo>
                  <a:pt x="230" y="519"/>
                </a:lnTo>
                <a:lnTo>
                  <a:pt x="228" y="521"/>
                </a:lnTo>
                <a:lnTo>
                  <a:pt x="227" y="521"/>
                </a:lnTo>
                <a:lnTo>
                  <a:pt x="227" y="519"/>
                </a:lnTo>
                <a:lnTo>
                  <a:pt x="226" y="518"/>
                </a:lnTo>
                <a:lnTo>
                  <a:pt x="225" y="518"/>
                </a:lnTo>
                <a:lnTo>
                  <a:pt x="223" y="517"/>
                </a:lnTo>
                <a:lnTo>
                  <a:pt x="221" y="518"/>
                </a:lnTo>
                <a:lnTo>
                  <a:pt x="219" y="518"/>
                </a:lnTo>
                <a:lnTo>
                  <a:pt x="215" y="519"/>
                </a:lnTo>
                <a:lnTo>
                  <a:pt x="212" y="519"/>
                </a:lnTo>
                <a:lnTo>
                  <a:pt x="212" y="518"/>
                </a:lnTo>
                <a:lnTo>
                  <a:pt x="211" y="518"/>
                </a:lnTo>
                <a:lnTo>
                  <a:pt x="211" y="517"/>
                </a:lnTo>
                <a:lnTo>
                  <a:pt x="209" y="516"/>
                </a:lnTo>
                <a:lnTo>
                  <a:pt x="209" y="513"/>
                </a:lnTo>
                <a:lnTo>
                  <a:pt x="208" y="513"/>
                </a:lnTo>
                <a:lnTo>
                  <a:pt x="207" y="515"/>
                </a:lnTo>
                <a:lnTo>
                  <a:pt x="203" y="511"/>
                </a:lnTo>
                <a:lnTo>
                  <a:pt x="202" y="511"/>
                </a:lnTo>
                <a:lnTo>
                  <a:pt x="202" y="512"/>
                </a:lnTo>
                <a:lnTo>
                  <a:pt x="201" y="512"/>
                </a:lnTo>
                <a:lnTo>
                  <a:pt x="201" y="511"/>
                </a:lnTo>
                <a:lnTo>
                  <a:pt x="199" y="513"/>
                </a:lnTo>
                <a:lnTo>
                  <a:pt x="196" y="513"/>
                </a:lnTo>
                <a:lnTo>
                  <a:pt x="194" y="512"/>
                </a:lnTo>
                <a:lnTo>
                  <a:pt x="193" y="515"/>
                </a:lnTo>
                <a:lnTo>
                  <a:pt x="192" y="515"/>
                </a:lnTo>
                <a:lnTo>
                  <a:pt x="192" y="513"/>
                </a:lnTo>
                <a:lnTo>
                  <a:pt x="190" y="513"/>
                </a:lnTo>
                <a:lnTo>
                  <a:pt x="190" y="512"/>
                </a:lnTo>
                <a:lnTo>
                  <a:pt x="189" y="510"/>
                </a:lnTo>
                <a:lnTo>
                  <a:pt x="188" y="510"/>
                </a:lnTo>
                <a:lnTo>
                  <a:pt x="187" y="509"/>
                </a:lnTo>
                <a:lnTo>
                  <a:pt x="184" y="509"/>
                </a:lnTo>
                <a:lnTo>
                  <a:pt x="184" y="505"/>
                </a:lnTo>
                <a:lnTo>
                  <a:pt x="183" y="504"/>
                </a:lnTo>
                <a:lnTo>
                  <a:pt x="180" y="505"/>
                </a:lnTo>
                <a:lnTo>
                  <a:pt x="176" y="505"/>
                </a:lnTo>
                <a:lnTo>
                  <a:pt x="175" y="504"/>
                </a:lnTo>
                <a:lnTo>
                  <a:pt x="172" y="503"/>
                </a:lnTo>
                <a:lnTo>
                  <a:pt x="171" y="503"/>
                </a:lnTo>
                <a:lnTo>
                  <a:pt x="170" y="501"/>
                </a:lnTo>
                <a:lnTo>
                  <a:pt x="168" y="501"/>
                </a:lnTo>
                <a:lnTo>
                  <a:pt x="167" y="500"/>
                </a:lnTo>
                <a:lnTo>
                  <a:pt x="164" y="499"/>
                </a:lnTo>
                <a:lnTo>
                  <a:pt x="162" y="499"/>
                </a:lnTo>
                <a:lnTo>
                  <a:pt x="162" y="498"/>
                </a:lnTo>
                <a:lnTo>
                  <a:pt x="161" y="498"/>
                </a:lnTo>
                <a:lnTo>
                  <a:pt x="161" y="495"/>
                </a:lnTo>
                <a:lnTo>
                  <a:pt x="159" y="495"/>
                </a:lnTo>
                <a:lnTo>
                  <a:pt x="159" y="497"/>
                </a:lnTo>
                <a:lnTo>
                  <a:pt x="158" y="498"/>
                </a:lnTo>
                <a:lnTo>
                  <a:pt x="158" y="500"/>
                </a:lnTo>
                <a:lnTo>
                  <a:pt x="157" y="500"/>
                </a:lnTo>
                <a:lnTo>
                  <a:pt x="156" y="499"/>
                </a:lnTo>
                <a:lnTo>
                  <a:pt x="155" y="499"/>
                </a:lnTo>
                <a:lnTo>
                  <a:pt x="153" y="498"/>
                </a:lnTo>
                <a:lnTo>
                  <a:pt x="153" y="497"/>
                </a:lnTo>
                <a:lnTo>
                  <a:pt x="156" y="494"/>
                </a:lnTo>
                <a:lnTo>
                  <a:pt x="157" y="492"/>
                </a:lnTo>
                <a:lnTo>
                  <a:pt x="157" y="487"/>
                </a:lnTo>
                <a:lnTo>
                  <a:pt x="156" y="486"/>
                </a:lnTo>
                <a:lnTo>
                  <a:pt x="155" y="486"/>
                </a:lnTo>
                <a:lnTo>
                  <a:pt x="155" y="487"/>
                </a:lnTo>
                <a:lnTo>
                  <a:pt x="152" y="486"/>
                </a:lnTo>
                <a:lnTo>
                  <a:pt x="151" y="485"/>
                </a:lnTo>
                <a:lnTo>
                  <a:pt x="150" y="485"/>
                </a:lnTo>
                <a:lnTo>
                  <a:pt x="150" y="486"/>
                </a:lnTo>
                <a:lnTo>
                  <a:pt x="149" y="487"/>
                </a:lnTo>
                <a:lnTo>
                  <a:pt x="146" y="487"/>
                </a:lnTo>
                <a:lnTo>
                  <a:pt x="146" y="485"/>
                </a:lnTo>
                <a:lnTo>
                  <a:pt x="145" y="484"/>
                </a:lnTo>
                <a:lnTo>
                  <a:pt x="144" y="485"/>
                </a:lnTo>
                <a:lnTo>
                  <a:pt x="141" y="485"/>
                </a:lnTo>
                <a:lnTo>
                  <a:pt x="141" y="482"/>
                </a:lnTo>
                <a:lnTo>
                  <a:pt x="140" y="482"/>
                </a:lnTo>
                <a:lnTo>
                  <a:pt x="140" y="480"/>
                </a:lnTo>
                <a:lnTo>
                  <a:pt x="141" y="480"/>
                </a:lnTo>
                <a:lnTo>
                  <a:pt x="143" y="479"/>
                </a:lnTo>
                <a:lnTo>
                  <a:pt x="146" y="479"/>
                </a:lnTo>
                <a:lnTo>
                  <a:pt x="146" y="478"/>
                </a:lnTo>
                <a:lnTo>
                  <a:pt x="147" y="476"/>
                </a:lnTo>
                <a:lnTo>
                  <a:pt x="149" y="476"/>
                </a:lnTo>
                <a:lnTo>
                  <a:pt x="149" y="475"/>
                </a:lnTo>
                <a:lnTo>
                  <a:pt x="150" y="474"/>
                </a:lnTo>
                <a:lnTo>
                  <a:pt x="150" y="473"/>
                </a:lnTo>
                <a:lnTo>
                  <a:pt x="152" y="470"/>
                </a:lnTo>
                <a:lnTo>
                  <a:pt x="152" y="469"/>
                </a:lnTo>
                <a:lnTo>
                  <a:pt x="153" y="468"/>
                </a:lnTo>
                <a:lnTo>
                  <a:pt x="153" y="466"/>
                </a:lnTo>
                <a:lnTo>
                  <a:pt x="155" y="463"/>
                </a:lnTo>
                <a:lnTo>
                  <a:pt x="157" y="454"/>
                </a:lnTo>
                <a:lnTo>
                  <a:pt x="158" y="450"/>
                </a:lnTo>
                <a:lnTo>
                  <a:pt x="159" y="443"/>
                </a:lnTo>
                <a:lnTo>
                  <a:pt x="163" y="418"/>
                </a:lnTo>
                <a:lnTo>
                  <a:pt x="163" y="411"/>
                </a:lnTo>
                <a:lnTo>
                  <a:pt x="164" y="409"/>
                </a:lnTo>
                <a:lnTo>
                  <a:pt x="164" y="408"/>
                </a:lnTo>
                <a:lnTo>
                  <a:pt x="165" y="406"/>
                </a:lnTo>
                <a:lnTo>
                  <a:pt x="165" y="405"/>
                </a:lnTo>
                <a:lnTo>
                  <a:pt x="171" y="405"/>
                </a:lnTo>
                <a:lnTo>
                  <a:pt x="171" y="401"/>
                </a:lnTo>
                <a:lnTo>
                  <a:pt x="168" y="399"/>
                </a:lnTo>
                <a:lnTo>
                  <a:pt x="168" y="398"/>
                </a:lnTo>
                <a:lnTo>
                  <a:pt x="167" y="398"/>
                </a:lnTo>
                <a:lnTo>
                  <a:pt x="167" y="399"/>
                </a:lnTo>
                <a:lnTo>
                  <a:pt x="165" y="399"/>
                </a:lnTo>
                <a:lnTo>
                  <a:pt x="164" y="402"/>
                </a:lnTo>
                <a:lnTo>
                  <a:pt x="163" y="405"/>
                </a:lnTo>
                <a:lnTo>
                  <a:pt x="165" y="377"/>
                </a:lnTo>
                <a:lnTo>
                  <a:pt x="167" y="368"/>
                </a:lnTo>
                <a:lnTo>
                  <a:pt x="168" y="355"/>
                </a:lnTo>
                <a:lnTo>
                  <a:pt x="170" y="351"/>
                </a:lnTo>
                <a:lnTo>
                  <a:pt x="170" y="350"/>
                </a:lnTo>
                <a:lnTo>
                  <a:pt x="171" y="350"/>
                </a:lnTo>
                <a:lnTo>
                  <a:pt x="171" y="353"/>
                </a:lnTo>
                <a:lnTo>
                  <a:pt x="172" y="355"/>
                </a:lnTo>
                <a:lnTo>
                  <a:pt x="177" y="357"/>
                </a:lnTo>
                <a:lnTo>
                  <a:pt x="182" y="363"/>
                </a:lnTo>
                <a:lnTo>
                  <a:pt x="183" y="365"/>
                </a:lnTo>
                <a:lnTo>
                  <a:pt x="184" y="366"/>
                </a:lnTo>
                <a:lnTo>
                  <a:pt x="184" y="370"/>
                </a:lnTo>
                <a:lnTo>
                  <a:pt x="186" y="376"/>
                </a:lnTo>
                <a:lnTo>
                  <a:pt x="187" y="380"/>
                </a:lnTo>
                <a:lnTo>
                  <a:pt x="193" y="386"/>
                </a:lnTo>
                <a:lnTo>
                  <a:pt x="193" y="384"/>
                </a:lnTo>
                <a:lnTo>
                  <a:pt x="192" y="383"/>
                </a:lnTo>
                <a:lnTo>
                  <a:pt x="194" y="383"/>
                </a:lnTo>
                <a:lnTo>
                  <a:pt x="193" y="382"/>
                </a:lnTo>
                <a:lnTo>
                  <a:pt x="190" y="381"/>
                </a:lnTo>
                <a:lnTo>
                  <a:pt x="188" y="378"/>
                </a:lnTo>
                <a:lnTo>
                  <a:pt x="188" y="376"/>
                </a:lnTo>
                <a:lnTo>
                  <a:pt x="186" y="365"/>
                </a:lnTo>
                <a:lnTo>
                  <a:pt x="186" y="363"/>
                </a:lnTo>
                <a:lnTo>
                  <a:pt x="184" y="359"/>
                </a:lnTo>
                <a:lnTo>
                  <a:pt x="183" y="357"/>
                </a:lnTo>
                <a:lnTo>
                  <a:pt x="182" y="356"/>
                </a:lnTo>
                <a:lnTo>
                  <a:pt x="181" y="353"/>
                </a:lnTo>
                <a:lnTo>
                  <a:pt x="175" y="350"/>
                </a:lnTo>
                <a:lnTo>
                  <a:pt x="175" y="349"/>
                </a:lnTo>
                <a:lnTo>
                  <a:pt x="174" y="347"/>
                </a:lnTo>
                <a:lnTo>
                  <a:pt x="172" y="347"/>
                </a:lnTo>
                <a:lnTo>
                  <a:pt x="169" y="344"/>
                </a:lnTo>
                <a:lnTo>
                  <a:pt x="168" y="344"/>
                </a:lnTo>
                <a:lnTo>
                  <a:pt x="165" y="341"/>
                </a:lnTo>
                <a:lnTo>
                  <a:pt x="164" y="343"/>
                </a:lnTo>
                <a:lnTo>
                  <a:pt x="163" y="341"/>
                </a:lnTo>
                <a:lnTo>
                  <a:pt x="164" y="338"/>
                </a:lnTo>
                <a:lnTo>
                  <a:pt x="164" y="337"/>
                </a:lnTo>
                <a:lnTo>
                  <a:pt x="167" y="335"/>
                </a:lnTo>
                <a:lnTo>
                  <a:pt x="170" y="339"/>
                </a:lnTo>
                <a:lnTo>
                  <a:pt x="171" y="339"/>
                </a:lnTo>
                <a:lnTo>
                  <a:pt x="171" y="340"/>
                </a:lnTo>
                <a:lnTo>
                  <a:pt x="175" y="341"/>
                </a:lnTo>
                <a:lnTo>
                  <a:pt x="174" y="340"/>
                </a:lnTo>
                <a:lnTo>
                  <a:pt x="170" y="338"/>
                </a:lnTo>
                <a:lnTo>
                  <a:pt x="169" y="335"/>
                </a:lnTo>
                <a:lnTo>
                  <a:pt x="168" y="335"/>
                </a:lnTo>
                <a:lnTo>
                  <a:pt x="168" y="332"/>
                </a:lnTo>
                <a:lnTo>
                  <a:pt x="169" y="332"/>
                </a:lnTo>
                <a:lnTo>
                  <a:pt x="169" y="331"/>
                </a:lnTo>
                <a:lnTo>
                  <a:pt x="170" y="331"/>
                </a:lnTo>
                <a:lnTo>
                  <a:pt x="171" y="329"/>
                </a:lnTo>
                <a:lnTo>
                  <a:pt x="171" y="328"/>
                </a:lnTo>
                <a:lnTo>
                  <a:pt x="170" y="328"/>
                </a:lnTo>
                <a:lnTo>
                  <a:pt x="170" y="327"/>
                </a:lnTo>
                <a:lnTo>
                  <a:pt x="171" y="326"/>
                </a:lnTo>
                <a:lnTo>
                  <a:pt x="170" y="326"/>
                </a:lnTo>
                <a:lnTo>
                  <a:pt x="170" y="325"/>
                </a:lnTo>
                <a:lnTo>
                  <a:pt x="169" y="323"/>
                </a:lnTo>
                <a:lnTo>
                  <a:pt x="171" y="323"/>
                </a:lnTo>
                <a:lnTo>
                  <a:pt x="171" y="321"/>
                </a:lnTo>
                <a:lnTo>
                  <a:pt x="170" y="321"/>
                </a:lnTo>
                <a:lnTo>
                  <a:pt x="170" y="318"/>
                </a:lnTo>
                <a:lnTo>
                  <a:pt x="168" y="318"/>
                </a:lnTo>
                <a:lnTo>
                  <a:pt x="169" y="316"/>
                </a:lnTo>
                <a:lnTo>
                  <a:pt x="168" y="316"/>
                </a:lnTo>
                <a:lnTo>
                  <a:pt x="168" y="315"/>
                </a:lnTo>
                <a:lnTo>
                  <a:pt x="165" y="315"/>
                </a:lnTo>
                <a:lnTo>
                  <a:pt x="165" y="313"/>
                </a:lnTo>
                <a:lnTo>
                  <a:pt x="167" y="313"/>
                </a:lnTo>
                <a:lnTo>
                  <a:pt x="165" y="312"/>
                </a:lnTo>
                <a:lnTo>
                  <a:pt x="169" y="308"/>
                </a:lnTo>
                <a:lnTo>
                  <a:pt x="169" y="306"/>
                </a:lnTo>
                <a:lnTo>
                  <a:pt x="168" y="304"/>
                </a:lnTo>
                <a:lnTo>
                  <a:pt x="167" y="304"/>
                </a:lnTo>
                <a:lnTo>
                  <a:pt x="164" y="306"/>
                </a:lnTo>
                <a:lnTo>
                  <a:pt x="165" y="307"/>
                </a:lnTo>
                <a:lnTo>
                  <a:pt x="164" y="307"/>
                </a:lnTo>
                <a:lnTo>
                  <a:pt x="162" y="304"/>
                </a:lnTo>
                <a:lnTo>
                  <a:pt x="159" y="304"/>
                </a:lnTo>
                <a:lnTo>
                  <a:pt x="158" y="303"/>
                </a:lnTo>
                <a:lnTo>
                  <a:pt x="155" y="303"/>
                </a:lnTo>
                <a:lnTo>
                  <a:pt x="155" y="301"/>
                </a:lnTo>
                <a:lnTo>
                  <a:pt x="152" y="298"/>
                </a:lnTo>
                <a:lnTo>
                  <a:pt x="147" y="298"/>
                </a:lnTo>
                <a:lnTo>
                  <a:pt x="147" y="297"/>
                </a:lnTo>
                <a:lnTo>
                  <a:pt x="145" y="296"/>
                </a:lnTo>
                <a:lnTo>
                  <a:pt x="144" y="295"/>
                </a:lnTo>
                <a:lnTo>
                  <a:pt x="141" y="295"/>
                </a:lnTo>
                <a:lnTo>
                  <a:pt x="141" y="294"/>
                </a:lnTo>
                <a:lnTo>
                  <a:pt x="140" y="292"/>
                </a:lnTo>
                <a:lnTo>
                  <a:pt x="140" y="294"/>
                </a:lnTo>
                <a:lnTo>
                  <a:pt x="139" y="289"/>
                </a:lnTo>
                <a:lnTo>
                  <a:pt x="139" y="288"/>
                </a:lnTo>
                <a:lnTo>
                  <a:pt x="138" y="288"/>
                </a:lnTo>
                <a:lnTo>
                  <a:pt x="138" y="285"/>
                </a:lnTo>
                <a:lnTo>
                  <a:pt x="137" y="285"/>
                </a:lnTo>
                <a:lnTo>
                  <a:pt x="137" y="284"/>
                </a:lnTo>
                <a:lnTo>
                  <a:pt x="136" y="284"/>
                </a:lnTo>
                <a:lnTo>
                  <a:pt x="136" y="282"/>
                </a:lnTo>
                <a:lnTo>
                  <a:pt x="133" y="282"/>
                </a:lnTo>
                <a:lnTo>
                  <a:pt x="133" y="280"/>
                </a:lnTo>
                <a:lnTo>
                  <a:pt x="132" y="278"/>
                </a:lnTo>
                <a:lnTo>
                  <a:pt x="128" y="275"/>
                </a:lnTo>
                <a:lnTo>
                  <a:pt x="126" y="275"/>
                </a:lnTo>
                <a:lnTo>
                  <a:pt x="126" y="269"/>
                </a:lnTo>
                <a:lnTo>
                  <a:pt x="127" y="269"/>
                </a:lnTo>
                <a:lnTo>
                  <a:pt x="127" y="267"/>
                </a:lnTo>
                <a:lnTo>
                  <a:pt x="128" y="266"/>
                </a:lnTo>
                <a:lnTo>
                  <a:pt x="130" y="266"/>
                </a:lnTo>
                <a:lnTo>
                  <a:pt x="130" y="265"/>
                </a:lnTo>
                <a:lnTo>
                  <a:pt x="131" y="263"/>
                </a:lnTo>
                <a:lnTo>
                  <a:pt x="131" y="261"/>
                </a:lnTo>
                <a:lnTo>
                  <a:pt x="132" y="261"/>
                </a:lnTo>
                <a:lnTo>
                  <a:pt x="132" y="259"/>
                </a:lnTo>
                <a:lnTo>
                  <a:pt x="131" y="258"/>
                </a:lnTo>
                <a:lnTo>
                  <a:pt x="127" y="255"/>
                </a:lnTo>
                <a:lnTo>
                  <a:pt x="122" y="255"/>
                </a:lnTo>
                <a:lnTo>
                  <a:pt x="121" y="254"/>
                </a:lnTo>
                <a:lnTo>
                  <a:pt x="122" y="254"/>
                </a:lnTo>
                <a:lnTo>
                  <a:pt x="122" y="253"/>
                </a:lnTo>
                <a:lnTo>
                  <a:pt x="125" y="253"/>
                </a:lnTo>
                <a:lnTo>
                  <a:pt x="125" y="246"/>
                </a:lnTo>
                <a:lnTo>
                  <a:pt x="126" y="246"/>
                </a:lnTo>
                <a:lnTo>
                  <a:pt x="130" y="245"/>
                </a:lnTo>
                <a:lnTo>
                  <a:pt x="132" y="245"/>
                </a:lnTo>
                <a:lnTo>
                  <a:pt x="134" y="246"/>
                </a:lnTo>
                <a:lnTo>
                  <a:pt x="136" y="246"/>
                </a:lnTo>
                <a:lnTo>
                  <a:pt x="136" y="247"/>
                </a:lnTo>
                <a:lnTo>
                  <a:pt x="137" y="248"/>
                </a:lnTo>
                <a:lnTo>
                  <a:pt x="139" y="248"/>
                </a:lnTo>
                <a:lnTo>
                  <a:pt x="140" y="249"/>
                </a:lnTo>
                <a:lnTo>
                  <a:pt x="140" y="248"/>
                </a:lnTo>
                <a:lnTo>
                  <a:pt x="138" y="247"/>
                </a:lnTo>
                <a:lnTo>
                  <a:pt x="136" y="245"/>
                </a:lnTo>
                <a:lnTo>
                  <a:pt x="133" y="245"/>
                </a:lnTo>
                <a:lnTo>
                  <a:pt x="133" y="243"/>
                </a:lnTo>
                <a:lnTo>
                  <a:pt x="125" y="243"/>
                </a:lnTo>
                <a:lnTo>
                  <a:pt x="124" y="245"/>
                </a:lnTo>
                <a:lnTo>
                  <a:pt x="124" y="246"/>
                </a:lnTo>
                <a:lnTo>
                  <a:pt x="122" y="246"/>
                </a:lnTo>
                <a:lnTo>
                  <a:pt x="121" y="247"/>
                </a:lnTo>
                <a:lnTo>
                  <a:pt x="120" y="247"/>
                </a:lnTo>
                <a:lnTo>
                  <a:pt x="120" y="248"/>
                </a:lnTo>
                <a:lnTo>
                  <a:pt x="119" y="248"/>
                </a:lnTo>
                <a:lnTo>
                  <a:pt x="115" y="245"/>
                </a:lnTo>
                <a:lnTo>
                  <a:pt x="115" y="246"/>
                </a:lnTo>
                <a:lnTo>
                  <a:pt x="114" y="246"/>
                </a:lnTo>
                <a:lnTo>
                  <a:pt x="114" y="247"/>
                </a:lnTo>
                <a:lnTo>
                  <a:pt x="113" y="247"/>
                </a:lnTo>
                <a:lnTo>
                  <a:pt x="108" y="245"/>
                </a:lnTo>
                <a:lnTo>
                  <a:pt x="108" y="243"/>
                </a:lnTo>
                <a:lnTo>
                  <a:pt x="109" y="245"/>
                </a:lnTo>
                <a:lnTo>
                  <a:pt x="113" y="245"/>
                </a:lnTo>
                <a:lnTo>
                  <a:pt x="113" y="243"/>
                </a:lnTo>
                <a:lnTo>
                  <a:pt x="112" y="242"/>
                </a:lnTo>
                <a:lnTo>
                  <a:pt x="112" y="241"/>
                </a:lnTo>
                <a:lnTo>
                  <a:pt x="110" y="241"/>
                </a:lnTo>
                <a:lnTo>
                  <a:pt x="109" y="240"/>
                </a:lnTo>
                <a:lnTo>
                  <a:pt x="108" y="240"/>
                </a:lnTo>
                <a:lnTo>
                  <a:pt x="112" y="238"/>
                </a:lnTo>
                <a:lnTo>
                  <a:pt x="115" y="238"/>
                </a:lnTo>
                <a:lnTo>
                  <a:pt x="115" y="236"/>
                </a:lnTo>
                <a:lnTo>
                  <a:pt x="113" y="236"/>
                </a:lnTo>
                <a:lnTo>
                  <a:pt x="113" y="235"/>
                </a:lnTo>
                <a:lnTo>
                  <a:pt x="110" y="235"/>
                </a:lnTo>
                <a:lnTo>
                  <a:pt x="112" y="234"/>
                </a:lnTo>
                <a:lnTo>
                  <a:pt x="110" y="233"/>
                </a:lnTo>
                <a:lnTo>
                  <a:pt x="112" y="233"/>
                </a:lnTo>
                <a:lnTo>
                  <a:pt x="114" y="232"/>
                </a:lnTo>
                <a:lnTo>
                  <a:pt x="110" y="230"/>
                </a:lnTo>
                <a:lnTo>
                  <a:pt x="106" y="230"/>
                </a:lnTo>
                <a:lnTo>
                  <a:pt x="107" y="229"/>
                </a:lnTo>
                <a:lnTo>
                  <a:pt x="106" y="229"/>
                </a:lnTo>
                <a:lnTo>
                  <a:pt x="106" y="232"/>
                </a:lnTo>
                <a:lnTo>
                  <a:pt x="105" y="230"/>
                </a:lnTo>
                <a:lnTo>
                  <a:pt x="103" y="230"/>
                </a:lnTo>
                <a:lnTo>
                  <a:pt x="103" y="232"/>
                </a:lnTo>
                <a:lnTo>
                  <a:pt x="99" y="232"/>
                </a:lnTo>
                <a:lnTo>
                  <a:pt x="97" y="233"/>
                </a:lnTo>
                <a:lnTo>
                  <a:pt x="97" y="232"/>
                </a:lnTo>
                <a:lnTo>
                  <a:pt x="96" y="232"/>
                </a:lnTo>
                <a:lnTo>
                  <a:pt x="95" y="230"/>
                </a:lnTo>
                <a:lnTo>
                  <a:pt x="95" y="229"/>
                </a:lnTo>
                <a:lnTo>
                  <a:pt x="94" y="229"/>
                </a:lnTo>
                <a:lnTo>
                  <a:pt x="93" y="228"/>
                </a:lnTo>
                <a:lnTo>
                  <a:pt x="95" y="228"/>
                </a:lnTo>
                <a:lnTo>
                  <a:pt x="96" y="229"/>
                </a:lnTo>
                <a:lnTo>
                  <a:pt x="97" y="229"/>
                </a:lnTo>
                <a:lnTo>
                  <a:pt x="97" y="228"/>
                </a:lnTo>
                <a:lnTo>
                  <a:pt x="99" y="229"/>
                </a:lnTo>
                <a:lnTo>
                  <a:pt x="100" y="229"/>
                </a:lnTo>
                <a:lnTo>
                  <a:pt x="101" y="228"/>
                </a:lnTo>
                <a:lnTo>
                  <a:pt x="102" y="226"/>
                </a:lnTo>
                <a:lnTo>
                  <a:pt x="102" y="224"/>
                </a:lnTo>
                <a:lnTo>
                  <a:pt x="101" y="224"/>
                </a:lnTo>
                <a:lnTo>
                  <a:pt x="100" y="223"/>
                </a:lnTo>
                <a:lnTo>
                  <a:pt x="99" y="223"/>
                </a:lnTo>
                <a:lnTo>
                  <a:pt x="97" y="224"/>
                </a:lnTo>
                <a:lnTo>
                  <a:pt x="95" y="224"/>
                </a:lnTo>
                <a:lnTo>
                  <a:pt x="95" y="226"/>
                </a:lnTo>
                <a:lnTo>
                  <a:pt x="91" y="226"/>
                </a:lnTo>
                <a:lnTo>
                  <a:pt x="91" y="224"/>
                </a:lnTo>
                <a:lnTo>
                  <a:pt x="93" y="223"/>
                </a:lnTo>
                <a:lnTo>
                  <a:pt x="91" y="223"/>
                </a:lnTo>
                <a:lnTo>
                  <a:pt x="90" y="222"/>
                </a:lnTo>
                <a:lnTo>
                  <a:pt x="90" y="226"/>
                </a:lnTo>
                <a:lnTo>
                  <a:pt x="91" y="226"/>
                </a:lnTo>
                <a:lnTo>
                  <a:pt x="91" y="227"/>
                </a:lnTo>
                <a:lnTo>
                  <a:pt x="93" y="228"/>
                </a:lnTo>
                <a:lnTo>
                  <a:pt x="91" y="228"/>
                </a:lnTo>
                <a:lnTo>
                  <a:pt x="90" y="227"/>
                </a:lnTo>
                <a:lnTo>
                  <a:pt x="89" y="227"/>
                </a:lnTo>
                <a:lnTo>
                  <a:pt x="89" y="226"/>
                </a:lnTo>
                <a:lnTo>
                  <a:pt x="88" y="226"/>
                </a:lnTo>
                <a:lnTo>
                  <a:pt x="89" y="227"/>
                </a:lnTo>
                <a:lnTo>
                  <a:pt x="85" y="227"/>
                </a:lnTo>
                <a:lnTo>
                  <a:pt x="84" y="226"/>
                </a:lnTo>
                <a:lnTo>
                  <a:pt x="84" y="227"/>
                </a:lnTo>
                <a:lnTo>
                  <a:pt x="81" y="223"/>
                </a:lnTo>
                <a:lnTo>
                  <a:pt x="81" y="222"/>
                </a:lnTo>
                <a:lnTo>
                  <a:pt x="82" y="221"/>
                </a:lnTo>
                <a:lnTo>
                  <a:pt x="84" y="220"/>
                </a:lnTo>
                <a:lnTo>
                  <a:pt x="84" y="218"/>
                </a:lnTo>
                <a:lnTo>
                  <a:pt x="83" y="218"/>
                </a:lnTo>
                <a:lnTo>
                  <a:pt x="83" y="217"/>
                </a:lnTo>
                <a:lnTo>
                  <a:pt x="82" y="217"/>
                </a:lnTo>
                <a:lnTo>
                  <a:pt x="82" y="216"/>
                </a:lnTo>
                <a:lnTo>
                  <a:pt x="81" y="217"/>
                </a:lnTo>
                <a:lnTo>
                  <a:pt x="82" y="217"/>
                </a:lnTo>
                <a:lnTo>
                  <a:pt x="82" y="220"/>
                </a:lnTo>
                <a:lnTo>
                  <a:pt x="81" y="220"/>
                </a:lnTo>
                <a:lnTo>
                  <a:pt x="81" y="222"/>
                </a:lnTo>
                <a:lnTo>
                  <a:pt x="80" y="222"/>
                </a:lnTo>
                <a:lnTo>
                  <a:pt x="78" y="221"/>
                </a:lnTo>
                <a:lnTo>
                  <a:pt x="77" y="221"/>
                </a:lnTo>
                <a:lnTo>
                  <a:pt x="75" y="218"/>
                </a:lnTo>
                <a:lnTo>
                  <a:pt x="75" y="217"/>
                </a:lnTo>
                <a:lnTo>
                  <a:pt x="76" y="217"/>
                </a:lnTo>
                <a:lnTo>
                  <a:pt x="76" y="216"/>
                </a:lnTo>
                <a:lnTo>
                  <a:pt x="77" y="215"/>
                </a:lnTo>
                <a:lnTo>
                  <a:pt x="77" y="214"/>
                </a:lnTo>
                <a:lnTo>
                  <a:pt x="76" y="215"/>
                </a:lnTo>
                <a:lnTo>
                  <a:pt x="76" y="216"/>
                </a:lnTo>
                <a:lnTo>
                  <a:pt x="74" y="217"/>
                </a:lnTo>
                <a:lnTo>
                  <a:pt x="74" y="218"/>
                </a:lnTo>
                <a:lnTo>
                  <a:pt x="70" y="220"/>
                </a:lnTo>
                <a:lnTo>
                  <a:pt x="70" y="218"/>
                </a:lnTo>
                <a:lnTo>
                  <a:pt x="68" y="216"/>
                </a:lnTo>
                <a:lnTo>
                  <a:pt x="68" y="215"/>
                </a:lnTo>
                <a:lnTo>
                  <a:pt x="63" y="215"/>
                </a:lnTo>
                <a:lnTo>
                  <a:pt x="62" y="214"/>
                </a:lnTo>
                <a:lnTo>
                  <a:pt x="59" y="214"/>
                </a:lnTo>
                <a:lnTo>
                  <a:pt x="59" y="212"/>
                </a:lnTo>
                <a:lnTo>
                  <a:pt x="57" y="214"/>
                </a:lnTo>
                <a:lnTo>
                  <a:pt x="53" y="214"/>
                </a:lnTo>
                <a:lnTo>
                  <a:pt x="53" y="212"/>
                </a:lnTo>
                <a:lnTo>
                  <a:pt x="52" y="211"/>
                </a:lnTo>
                <a:lnTo>
                  <a:pt x="52" y="210"/>
                </a:lnTo>
                <a:lnTo>
                  <a:pt x="51" y="210"/>
                </a:lnTo>
                <a:lnTo>
                  <a:pt x="51" y="209"/>
                </a:lnTo>
                <a:lnTo>
                  <a:pt x="49" y="206"/>
                </a:lnTo>
                <a:lnTo>
                  <a:pt x="47" y="206"/>
                </a:lnTo>
                <a:lnTo>
                  <a:pt x="49" y="208"/>
                </a:lnTo>
                <a:lnTo>
                  <a:pt x="47" y="209"/>
                </a:lnTo>
                <a:lnTo>
                  <a:pt x="46" y="209"/>
                </a:lnTo>
                <a:lnTo>
                  <a:pt x="46" y="210"/>
                </a:lnTo>
                <a:lnTo>
                  <a:pt x="45" y="209"/>
                </a:lnTo>
                <a:lnTo>
                  <a:pt x="41" y="209"/>
                </a:lnTo>
                <a:lnTo>
                  <a:pt x="40" y="210"/>
                </a:lnTo>
                <a:lnTo>
                  <a:pt x="40" y="209"/>
                </a:lnTo>
                <a:lnTo>
                  <a:pt x="39" y="209"/>
                </a:lnTo>
                <a:lnTo>
                  <a:pt x="40" y="210"/>
                </a:lnTo>
                <a:lnTo>
                  <a:pt x="39" y="210"/>
                </a:lnTo>
                <a:lnTo>
                  <a:pt x="39" y="211"/>
                </a:lnTo>
                <a:lnTo>
                  <a:pt x="40" y="211"/>
                </a:lnTo>
                <a:lnTo>
                  <a:pt x="38" y="214"/>
                </a:lnTo>
                <a:lnTo>
                  <a:pt x="32" y="212"/>
                </a:lnTo>
                <a:lnTo>
                  <a:pt x="32" y="211"/>
                </a:lnTo>
                <a:lnTo>
                  <a:pt x="33" y="211"/>
                </a:lnTo>
                <a:lnTo>
                  <a:pt x="33" y="209"/>
                </a:lnTo>
                <a:lnTo>
                  <a:pt x="32" y="208"/>
                </a:lnTo>
                <a:lnTo>
                  <a:pt x="32" y="206"/>
                </a:lnTo>
                <a:lnTo>
                  <a:pt x="31" y="205"/>
                </a:lnTo>
                <a:lnTo>
                  <a:pt x="28" y="202"/>
                </a:lnTo>
                <a:lnTo>
                  <a:pt x="25" y="199"/>
                </a:lnTo>
                <a:lnTo>
                  <a:pt x="23" y="200"/>
                </a:lnTo>
                <a:lnTo>
                  <a:pt x="22" y="199"/>
                </a:lnTo>
                <a:lnTo>
                  <a:pt x="20" y="199"/>
                </a:lnTo>
                <a:lnTo>
                  <a:pt x="16" y="198"/>
                </a:lnTo>
                <a:lnTo>
                  <a:pt x="18" y="197"/>
                </a:lnTo>
                <a:lnTo>
                  <a:pt x="19" y="197"/>
                </a:lnTo>
                <a:lnTo>
                  <a:pt x="32" y="193"/>
                </a:lnTo>
                <a:lnTo>
                  <a:pt x="34" y="195"/>
                </a:lnTo>
                <a:lnTo>
                  <a:pt x="35" y="193"/>
                </a:lnTo>
                <a:lnTo>
                  <a:pt x="35" y="191"/>
                </a:lnTo>
                <a:lnTo>
                  <a:pt x="34" y="190"/>
                </a:lnTo>
                <a:lnTo>
                  <a:pt x="34" y="187"/>
                </a:lnTo>
                <a:lnTo>
                  <a:pt x="32" y="187"/>
                </a:lnTo>
                <a:lnTo>
                  <a:pt x="32" y="186"/>
                </a:lnTo>
                <a:lnTo>
                  <a:pt x="31" y="186"/>
                </a:lnTo>
                <a:lnTo>
                  <a:pt x="28" y="185"/>
                </a:lnTo>
                <a:lnTo>
                  <a:pt x="27" y="185"/>
                </a:lnTo>
                <a:lnTo>
                  <a:pt x="26" y="186"/>
                </a:lnTo>
                <a:lnTo>
                  <a:pt x="26" y="189"/>
                </a:lnTo>
                <a:lnTo>
                  <a:pt x="25" y="190"/>
                </a:lnTo>
                <a:lnTo>
                  <a:pt x="23" y="190"/>
                </a:lnTo>
                <a:lnTo>
                  <a:pt x="23" y="189"/>
                </a:lnTo>
                <a:lnTo>
                  <a:pt x="25" y="187"/>
                </a:lnTo>
                <a:lnTo>
                  <a:pt x="23" y="187"/>
                </a:lnTo>
                <a:lnTo>
                  <a:pt x="23" y="184"/>
                </a:lnTo>
                <a:lnTo>
                  <a:pt x="21" y="184"/>
                </a:lnTo>
                <a:lnTo>
                  <a:pt x="21" y="183"/>
                </a:lnTo>
                <a:lnTo>
                  <a:pt x="23" y="183"/>
                </a:lnTo>
                <a:lnTo>
                  <a:pt x="23" y="181"/>
                </a:lnTo>
                <a:lnTo>
                  <a:pt x="22" y="181"/>
                </a:lnTo>
                <a:lnTo>
                  <a:pt x="23" y="179"/>
                </a:lnTo>
                <a:lnTo>
                  <a:pt x="25" y="179"/>
                </a:lnTo>
                <a:lnTo>
                  <a:pt x="25" y="181"/>
                </a:lnTo>
                <a:lnTo>
                  <a:pt x="26" y="183"/>
                </a:lnTo>
                <a:lnTo>
                  <a:pt x="29" y="181"/>
                </a:lnTo>
                <a:lnTo>
                  <a:pt x="29" y="183"/>
                </a:lnTo>
                <a:lnTo>
                  <a:pt x="32" y="183"/>
                </a:lnTo>
                <a:lnTo>
                  <a:pt x="33" y="181"/>
                </a:lnTo>
                <a:lnTo>
                  <a:pt x="35" y="181"/>
                </a:lnTo>
                <a:lnTo>
                  <a:pt x="35" y="180"/>
                </a:lnTo>
                <a:lnTo>
                  <a:pt x="34" y="180"/>
                </a:lnTo>
                <a:lnTo>
                  <a:pt x="34" y="179"/>
                </a:lnTo>
                <a:lnTo>
                  <a:pt x="35" y="179"/>
                </a:lnTo>
                <a:lnTo>
                  <a:pt x="35" y="178"/>
                </a:lnTo>
                <a:lnTo>
                  <a:pt x="34" y="179"/>
                </a:lnTo>
                <a:lnTo>
                  <a:pt x="28" y="179"/>
                </a:lnTo>
                <a:lnTo>
                  <a:pt x="31" y="177"/>
                </a:lnTo>
                <a:lnTo>
                  <a:pt x="31" y="175"/>
                </a:lnTo>
                <a:lnTo>
                  <a:pt x="33" y="174"/>
                </a:lnTo>
                <a:lnTo>
                  <a:pt x="34" y="174"/>
                </a:lnTo>
                <a:lnTo>
                  <a:pt x="35" y="173"/>
                </a:lnTo>
                <a:lnTo>
                  <a:pt x="33" y="174"/>
                </a:lnTo>
                <a:lnTo>
                  <a:pt x="32" y="174"/>
                </a:lnTo>
                <a:lnTo>
                  <a:pt x="29" y="175"/>
                </a:lnTo>
                <a:lnTo>
                  <a:pt x="28" y="175"/>
                </a:lnTo>
                <a:lnTo>
                  <a:pt x="25" y="178"/>
                </a:lnTo>
                <a:lnTo>
                  <a:pt x="23" y="178"/>
                </a:lnTo>
                <a:lnTo>
                  <a:pt x="22" y="179"/>
                </a:lnTo>
                <a:lnTo>
                  <a:pt x="20" y="179"/>
                </a:lnTo>
                <a:lnTo>
                  <a:pt x="19" y="178"/>
                </a:lnTo>
                <a:lnTo>
                  <a:pt x="18" y="178"/>
                </a:lnTo>
                <a:lnTo>
                  <a:pt x="18" y="179"/>
                </a:lnTo>
                <a:lnTo>
                  <a:pt x="15" y="179"/>
                </a:lnTo>
                <a:lnTo>
                  <a:pt x="14" y="178"/>
                </a:lnTo>
                <a:lnTo>
                  <a:pt x="14" y="177"/>
                </a:lnTo>
                <a:lnTo>
                  <a:pt x="15" y="177"/>
                </a:lnTo>
                <a:lnTo>
                  <a:pt x="14" y="174"/>
                </a:lnTo>
                <a:lnTo>
                  <a:pt x="14" y="172"/>
                </a:lnTo>
                <a:lnTo>
                  <a:pt x="15" y="171"/>
                </a:lnTo>
                <a:lnTo>
                  <a:pt x="14" y="169"/>
                </a:lnTo>
                <a:lnTo>
                  <a:pt x="15" y="168"/>
                </a:lnTo>
                <a:lnTo>
                  <a:pt x="16" y="166"/>
                </a:lnTo>
                <a:lnTo>
                  <a:pt x="16" y="165"/>
                </a:lnTo>
                <a:lnTo>
                  <a:pt x="18" y="165"/>
                </a:lnTo>
                <a:lnTo>
                  <a:pt x="19" y="163"/>
                </a:lnTo>
                <a:lnTo>
                  <a:pt x="20" y="163"/>
                </a:lnTo>
                <a:lnTo>
                  <a:pt x="21" y="165"/>
                </a:lnTo>
                <a:lnTo>
                  <a:pt x="22" y="165"/>
                </a:lnTo>
                <a:lnTo>
                  <a:pt x="22" y="163"/>
                </a:lnTo>
                <a:lnTo>
                  <a:pt x="21" y="162"/>
                </a:lnTo>
                <a:lnTo>
                  <a:pt x="23" y="162"/>
                </a:lnTo>
                <a:lnTo>
                  <a:pt x="23" y="161"/>
                </a:lnTo>
                <a:lnTo>
                  <a:pt x="27" y="161"/>
                </a:lnTo>
                <a:lnTo>
                  <a:pt x="29" y="160"/>
                </a:lnTo>
                <a:lnTo>
                  <a:pt x="29" y="159"/>
                </a:lnTo>
                <a:lnTo>
                  <a:pt x="32" y="159"/>
                </a:lnTo>
                <a:lnTo>
                  <a:pt x="33" y="157"/>
                </a:lnTo>
                <a:lnTo>
                  <a:pt x="34" y="157"/>
                </a:lnTo>
                <a:lnTo>
                  <a:pt x="34" y="160"/>
                </a:lnTo>
                <a:lnTo>
                  <a:pt x="35" y="160"/>
                </a:lnTo>
                <a:lnTo>
                  <a:pt x="37" y="159"/>
                </a:lnTo>
                <a:lnTo>
                  <a:pt x="38" y="159"/>
                </a:lnTo>
                <a:lnTo>
                  <a:pt x="39" y="160"/>
                </a:lnTo>
                <a:lnTo>
                  <a:pt x="39" y="157"/>
                </a:lnTo>
                <a:lnTo>
                  <a:pt x="40" y="156"/>
                </a:lnTo>
                <a:lnTo>
                  <a:pt x="44" y="156"/>
                </a:lnTo>
                <a:lnTo>
                  <a:pt x="44" y="157"/>
                </a:lnTo>
                <a:lnTo>
                  <a:pt x="45" y="157"/>
                </a:lnTo>
                <a:lnTo>
                  <a:pt x="45" y="155"/>
                </a:lnTo>
                <a:lnTo>
                  <a:pt x="47" y="155"/>
                </a:lnTo>
                <a:lnTo>
                  <a:pt x="49" y="154"/>
                </a:lnTo>
                <a:lnTo>
                  <a:pt x="49" y="157"/>
                </a:lnTo>
                <a:lnTo>
                  <a:pt x="50" y="157"/>
                </a:lnTo>
                <a:lnTo>
                  <a:pt x="49" y="159"/>
                </a:lnTo>
                <a:lnTo>
                  <a:pt x="50" y="159"/>
                </a:lnTo>
                <a:lnTo>
                  <a:pt x="50" y="157"/>
                </a:lnTo>
                <a:lnTo>
                  <a:pt x="52" y="157"/>
                </a:lnTo>
                <a:lnTo>
                  <a:pt x="51" y="159"/>
                </a:lnTo>
                <a:lnTo>
                  <a:pt x="52" y="159"/>
                </a:lnTo>
                <a:lnTo>
                  <a:pt x="53" y="160"/>
                </a:lnTo>
                <a:lnTo>
                  <a:pt x="53" y="157"/>
                </a:lnTo>
                <a:lnTo>
                  <a:pt x="54" y="159"/>
                </a:lnTo>
                <a:lnTo>
                  <a:pt x="54" y="155"/>
                </a:lnTo>
                <a:lnTo>
                  <a:pt x="59" y="155"/>
                </a:lnTo>
                <a:lnTo>
                  <a:pt x="60" y="156"/>
                </a:lnTo>
                <a:lnTo>
                  <a:pt x="63" y="156"/>
                </a:lnTo>
                <a:lnTo>
                  <a:pt x="63" y="157"/>
                </a:lnTo>
                <a:lnTo>
                  <a:pt x="65" y="157"/>
                </a:lnTo>
                <a:lnTo>
                  <a:pt x="65" y="154"/>
                </a:lnTo>
                <a:lnTo>
                  <a:pt x="66" y="154"/>
                </a:lnTo>
                <a:lnTo>
                  <a:pt x="65" y="152"/>
                </a:lnTo>
                <a:lnTo>
                  <a:pt x="65" y="150"/>
                </a:lnTo>
                <a:lnTo>
                  <a:pt x="68" y="148"/>
                </a:lnTo>
                <a:lnTo>
                  <a:pt x="68" y="147"/>
                </a:lnTo>
                <a:lnTo>
                  <a:pt x="69" y="148"/>
                </a:lnTo>
                <a:lnTo>
                  <a:pt x="71" y="148"/>
                </a:lnTo>
                <a:lnTo>
                  <a:pt x="71" y="149"/>
                </a:lnTo>
                <a:lnTo>
                  <a:pt x="74" y="149"/>
                </a:lnTo>
                <a:lnTo>
                  <a:pt x="74" y="148"/>
                </a:lnTo>
                <a:lnTo>
                  <a:pt x="77" y="147"/>
                </a:lnTo>
                <a:lnTo>
                  <a:pt x="78" y="147"/>
                </a:lnTo>
                <a:lnTo>
                  <a:pt x="80" y="146"/>
                </a:lnTo>
                <a:lnTo>
                  <a:pt x="81" y="146"/>
                </a:lnTo>
                <a:lnTo>
                  <a:pt x="81" y="149"/>
                </a:lnTo>
                <a:lnTo>
                  <a:pt x="80" y="149"/>
                </a:lnTo>
                <a:lnTo>
                  <a:pt x="80" y="150"/>
                </a:lnTo>
                <a:lnTo>
                  <a:pt x="81" y="149"/>
                </a:lnTo>
                <a:lnTo>
                  <a:pt x="82" y="147"/>
                </a:lnTo>
                <a:lnTo>
                  <a:pt x="83" y="147"/>
                </a:lnTo>
                <a:lnTo>
                  <a:pt x="83" y="146"/>
                </a:lnTo>
                <a:lnTo>
                  <a:pt x="85" y="146"/>
                </a:lnTo>
                <a:lnTo>
                  <a:pt x="85" y="148"/>
                </a:lnTo>
                <a:lnTo>
                  <a:pt x="87" y="148"/>
                </a:lnTo>
                <a:lnTo>
                  <a:pt x="88" y="149"/>
                </a:lnTo>
                <a:lnTo>
                  <a:pt x="88" y="152"/>
                </a:lnTo>
                <a:lnTo>
                  <a:pt x="93" y="152"/>
                </a:lnTo>
                <a:lnTo>
                  <a:pt x="93" y="154"/>
                </a:lnTo>
                <a:lnTo>
                  <a:pt x="91" y="154"/>
                </a:lnTo>
                <a:lnTo>
                  <a:pt x="96" y="159"/>
                </a:lnTo>
                <a:lnTo>
                  <a:pt x="97" y="161"/>
                </a:lnTo>
                <a:lnTo>
                  <a:pt x="97" y="163"/>
                </a:lnTo>
                <a:lnTo>
                  <a:pt x="99" y="163"/>
                </a:lnTo>
                <a:lnTo>
                  <a:pt x="101" y="165"/>
                </a:lnTo>
                <a:lnTo>
                  <a:pt x="101" y="167"/>
                </a:lnTo>
                <a:lnTo>
                  <a:pt x="102" y="167"/>
                </a:lnTo>
                <a:lnTo>
                  <a:pt x="102" y="168"/>
                </a:lnTo>
                <a:lnTo>
                  <a:pt x="103" y="168"/>
                </a:lnTo>
                <a:lnTo>
                  <a:pt x="103" y="167"/>
                </a:lnTo>
                <a:lnTo>
                  <a:pt x="105" y="167"/>
                </a:lnTo>
                <a:lnTo>
                  <a:pt x="106" y="166"/>
                </a:lnTo>
                <a:lnTo>
                  <a:pt x="107" y="163"/>
                </a:lnTo>
                <a:lnTo>
                  <a:pt x="108" y="163"/>
                </a:lnTo>
                <a:lnTo>
                  <a:pt x="109" y="162"/>
                </a:lnTo>
                <a:lnTo>
                  <a:pt x="112" y="161"/>
                </a:lnTo>
                <a:lnTo>
                  <a:pt x="112" y="160"/>
                </a:lnTo>
                <a:lnTo>
                  <a:pt x="110" y="160"/>
                </a:lnTo>
                <a:lnTo>
                  <a:pt x="113" y="159"/>
                </a:lnTo>
                <a:lnTo>
                  <a:pt x="114" y="159"/>
                </a:lnTo>
                <a:lnTo>
                  <a:pt x="114" y="160"/>
                </a:lnTo>
                <a:lnTo>
                  <a:pt x="115" y="160"/>
                </a:lnTo>
                <a:lnTo>
                  <a:pt x="118" y="157"/>
                </a:lnTo>
                <a:lnTo>
                  <a:pt x="118" y="156"/>
                </a:lnTo>
                <a:lnTo>
                  <a:pt x="119" y="157"/>
                </a:lnTo>
                <a:lnTo>
                  <a:pt x="120" y="157"/>
                </a:lnTo>
                <a:lnTo>
                  <a:pt x="120" y="159"/>
                </a:lnTo>
                <a:lnTo>
                  <a:pt x="119" y="159"/>
                </a:lnTo>
                <a:lnTo>
                  <a:pt x="119" y="160"/>
                </a:lnTo>
                <a:lnTo>
                  <a:pt x="118" y="161"/>
                </a:lnTo>
                <a:lnTo>
                  <a:pt x="119" y="161"/>
                </a:lnTo>
                <a:lnTo>
                  <a:pt x="120" y="160"/>
                </a:lnTo>
                <a:lnTo>
                  <a:pt x="121" y="160"/>
                </a:lnTo>
                <a:lnTo>
                  <a:pt x="121" y="161"/>
                </a:lnTo>
                <a:lnTo>
                  <a:pt x="122" y="162"/>
                </a:lnTo>
                <a:lnTo>
                  <a:pt x="122" y="163"/>
                </a:lnTo>
                <a:lnTo>
                  <a:pt x="125" y="163"/>
                </a:lnTo>
                <a:lnTo>
                  <a:pt x="125" y="161"/>
                </a:lnTo>
                <a:lnTo>
                  <a:pt x="126" y="161"/>
                </a:lnTo>
                <a:lnTo>
                  <a:pt x="126" y="160"/>
                </a:lnTo>
                <a:lnTo>
                  <a:pt x="130" y="160"/>
                </a:lnTo>
                <a:lnTo>
                  <a:pt x="131" y="161"/>
                </a:lnTo>
                <a:lnTo>
                  <a:pt x="131" y="165"/>
                </a:lnTo>
                <a:lnTo>
                  <a:pt x="132" y="166"/>
                </a:lnTo>
                <a:lnTo>
                  <a:pt x="132" y="168"/>
                </a:lnTo>
                <a:lnTo>
                  <a:pt x="133" y="168"/>
                </a:lnTo>
                <a:lnTo>
                  <a:pt x="134" y="167"/>
                </a:lnTo>
                <a:lnTo>
                  <a:pt x="132" y="165"/>
                </a:lnTo>
                <a:lnTo>
                  <a:pt x="132" y="162"/>
                </a:lnTo>
                <a:lnTo>
                  <a:pt x="131" y="161"/>
                </a:lnTo>
                <a:lnTo>
                  <a:pt x="131" y="159"/>
                </a:lnTo>
                <a:lnTo>
                  <a:pt x="132" y="159"/>
                </a:lnTo>
                <a:lnTo>
                  <a:pt x="132" y="156"/>
                </a:lnTo>
                <a:lnTo>
                  <a:pt x="134" y="156"/>
                </a:lnTo>
                <a:lnTo>
                  <a:pt x="138" y="155"/>
                </a:lnTo>
                <a:lnTo>
                  <a:pt x="138" y="161"/>
                </a:lnTo>
                <a:lnTo>
                  <a:pt x="140" y="161"/>
                </a:lnTo>
                <a:lnTo>
                  <a:pt x="143" y="162"/>
                </a:lnTo>
                <a:lnTo>
                  <a:pt x="146" y="161"/>
                </a:lnTo>
                <a:lnTo>
                  <a:pt x="149" y="160"/>
                </a:lnTo>
                <a:lnTo>
                  <a:pt x="158" y="160"/>
                </a:lnTo>
                <a:lnTo>
                  <a:pt x="158" y="159"/>
                </a:lnTo>
                <a:lnTo>
                  <a:pt x="155" y="159"/>
                </a:lnTo>
                <a:lnTo>
                  <a:pt x="155" y="157"/>
                </a:lnTo>
                <a:lnTo>
                  <a:pt x="153" y="157"/>
                </a:lnTo>
                <a:lnTo>
                  <a:pt x="152" y="156"/>
                </a:lnTo>
                <a:lnTo>
                  <a:pt x="152" y="155"/>
                </a:lnTo>
                <a:lnTo>
                  <a:pt x="150" y="153"/>
                </a:lnTo>
                <a:lnTo>
                  <a:pt x="150" y="148"/>
                </a:lnTo>
                <a:lnTo>
                  <a:pt x="149" y="147"/>
                </a:lnTo>
                <a:lnTo>
                  <a:pt x="150" y="146"/>
                </a:lnTo>
                <a:lnTo>
                  <a:pt x="150" y="142"/>
                </a:lnTo>
                <a:lnTo>
                  <a:pt x="151" y="142"/>
                </a:lnTo>
                <a:lnTo>
                  <a:pt x="151" y="141"/>
                </a:lnTo>
                <a:lnTo>
                  <a:pt x="150" y="141"/>
                </a:lnTo>
                <a:lnTo>
                  <a:pt x="150" y="140"/>
                </a:lnTo>
                <a:lnTo>
                  <a:pt x="151" y="136"/>
                </a:lnTo>
                <a:lnTo>
                  <a:pt x="151" y="135"/>
                </a:lnTo>
                <a:lnTo>
                  <a:pt x="150" y="135"/>
                </a:lnTo>
                <a:lnTo>
                  <a:pt x="150" y="136"/>
                </a:lnTo>
                <a:lnTo>
                  <a:pt x="149" y="136"/>
                </a:lnTo>
                <a:lnTo>
                  <a:pt x="149" y="129"/>
                </a:lnTo>
                <a:lnTo>
                  <a:pt x="150" y="128"/>
                </a:lnTo>
                <a:lnTo>
                  <a:pt x="149" y="128"/>
                </a:lnTo>
                <a:lnTo>
                  <a:pt x="149" y="124"/>
                </a:lnTo>
                <a:lnTo>
                  <a:pt x="147" y="123"/>
                </a:lnTo>
                <a:lnTo>
                  <a:pt x="150" y="123"/>
                </a:lnTo>
                <a:lnTo>
                  <a:pt x="149" y="122"/>
                </a:lnTo>
                <a:lnTo>
                  <a:pt x="147" y="122"/>
                </a:lnTo>
                <a:lnTo>
                  <a:pt x="147" y="123"/>
                </a:lnTo>
                <a:lnTo>
                  <a:pt x="146" y="122"/>
                </a:lnTo>
                <a:lnTo>
                  <a:pt x="146" y="118"/>
                </a:lnTo>
                <a:lnTo>
                  <a:pt x="145" y="118"/>
                </a:lnTo>
                <a:lnTo>
                  <a:pt x="144" y="117"/>
                </a:lnTo>
                <a:lnTo>
                  <a:pt x="144" y="116"/>
                </a:lnTo>
                <a:lnTo>
                  <a:pt x="145" y="116"/>
                </a:lnTo>
                <a:lnTo>
                  <a:pt x="144" y="114"/>
                </a:lnTo>
                <a:lnTo>
                  <a:pt x="144" y="116"/>
                </a:lnTo>
                <a:lnTo>
                  <a:pt x="141" y="113"/>
                </a:lnTo>
                <a:lnTo>
                  <a:pt x="141" y="112"/>
                </a:lnTo>
                <a:lnTo>
                  <a:pt x="140" y="112"/>
                </a:lnTo>
                <a:lnTo>
                  <a:pt x="140" y="113"/>
                </a:lnTo>
                <a:lnTo>
                  <a:pt x="139" y="113"/>
                </a:lnTo>
                <a:lnTo>
                  <a:pt x="139" y="107"/>
                </a:lnTo>
                <a:lnTo>
                  <a:pt x="138" y="106"/>
                </a:lnTo>
                <a:lnTo>
                  <a:pt x="138" y="105"/>
                </a:lnTo>
                <a:lnTo>
                  <a:pt x="137" y="104"/>
                </a:lnTo>
                <a:lnTo>
                  <a:pt x="137" y="101"/>
                </a:lnTo>
                <a:lnTo>
                  <a:pt x="138" y="101"/>
                </a:lnTo>
                <a:lnTo>
                  <a:pt x="138" y="94"/>
                </a:lnTo>
                <a:lnTo>
                  <a:pt x="136" y="94"/>
                </a:lnTo>
                <a:lnTo>
                  <a:pt x="134" y="93"/>
                </a:lnTo>
                <a:lnTo>
                  <a:pt x="134" y="91"/>
                </a:lnTo>
                <a:lnTo>
                  <a:pt x="139" y="91"/>
                </a:lnTo>
                <a:lnTo>
                  <a:pt x="139" y="92"/>
                </a:lnTo>
                <a:lnTo>
                  <a:pt x="140" y="92"/>
                </a:lnTo>
                <a:lnTo>
                  <a:pt x="141" y="93"/>
                </a:lnTo>
                <a:lnTo>
                  <a:pt x="144" y="93"/>
                </a:lnTo>
                <a:lnTo>
                  <a:pt x="147" y="94"/>
                </a:lnTo>
                <a:lnTo>
                  <a:pt x="147" y="95"/>
                </a:lnTo>
                <a:lnTo>
                  <a:pt x="149" y="95"/>
                </a:lnTo>
                <a:lnTo>
                  <a:pt x="149" y="94"/>
                </a:lnTo>
                <a:lnTo>
                  <a:pt x="153" y="94"/>
                </a:lnTo>
                <a:lnTo>
                  <a:pt x="153" y="92"/>
                </a:lnTo>
                <a:lnTo>
                  <a:pt x="155" y="92"/>
                </a:lnTo>
                <a:lnTo>
                  <a:pt x="157" y="91"/>
                </a:lnTo>
                <a:lnTo>
                  <a:pt x="162" y="92"/>
                </a:lnTo>
                <a:lnTo>
                  <a:pt x="163" y="92"/>
                </a:lnTo>
                <a:lnTo>
                  <a:pt x="163" y="94"/>
                </a:lnTo>
                <a:lnTo>
                  <a:pt x="164" y="95"/>
                </a:lnTo>
                <a:lnTo>
                  <a:pt x="164" y="97"/>
                </a:lnTo>
                <a:lnTo>
                  <a:pt x="163" y="98"/>
                </a:lnTo>
                <a:lnTo>
                  <a:pt x="163" y="99"/>
                </a:lnTo>
                <a:lnTo>
                  <a:pt x="161" y="99"/>
                </a:lnTo>
                <a:lnTo>
                  <a:pt x="161" y="101"/>
                </a:lnTo>
                <a:lnTo>
                  <a:pt x="162" y="103"/>
                </a:lnTo>
                <a:lnTo>
                  <a:pt x="162" y="104"/>
                </a:lnTo>
                <a:lnTo>
                  <a:pt x="163" y="105"/>
                </a:lnTo>
                <a:lnTo>
                  <a:pt x="167" y="110"/>
                </a:lnTo>
                <a:lnTo>
                  <a:pt x="167" y="113"/>
                </a:lnTo>
                <a:lnTo>
                  <a:pt x="168" y="113"/>
                </a:lnTo>
                <a:lnTo>
                  <a:pt x="168" y="114"/>
                </a:lnTo>
                <a:lnTo>
                  <a:pt x="169" y="114"/>
                </a:lnTo>
                <a:lnTo>
                  <a:pt x="169" y="112"/>
                </a:lnTo>
                <a:lnTo>
                  <a:pt x="170" y="112"/>
                </a:lnTo>
                <a:lnTo>
                  <a:pt x="171" y="111"/>
                </a:lnTo>
                <a:lnTo>
                  <a:pt x="181" y="113"/>
                </a:lnTo>
                <a:lnTo>
                  <a:pt x="188" y="114"/>
                </a:lnTo>
                <a:lnTo>
                  <a:pt x="199" y="114"/>
                </a:lnTo>
                <a:lnTo>
                  <a:pt x="200" y="116"/>
                </a:lnTo>
                <a:lnTo>
                  <a:pt x="201" y="116"/>
                </a:lnTo>
                <a:lnTo>
                  <a:pt x="202" y="117"/>
                </a:lnTo>
                <a:lnTo>
                  <a:pt x="207" y="119"/>
                </a:lnTo>
                <a:lnTo>
                  <a:pt x="208" y="118"/>
                </a:lnTo>
                <a:lnTo>
                  <a:pt x="214" y="117"/>
                </a:lnTo>
                <a:lnTo>
                  <a:pt x="217" y="116"/>
                </a:lnTo>
                <a:lnTo>
                  <a:pt x="218" y="114"/>
                </a:lnTo>
                <a:lnTo>
                  <a:pt x="219" y="114"/>
                </a:lnTo>
                <a:lnTo>
                  <a:pt x="220" y="112"/>
                </a:lnTo>
                <a:lnTo>
                  <a:pt x="223" y="110"/>
                </a:lnTo>
                <a:lnTo>
                  <a:pt x="228" y="109"/>
                </a:lnTo>
                <a:lnTo>
                  <a:pt x="233" y="107"/>
                </a:lnTo>
                <a:lnTo>
                  <a:pt x="236" y="107"/>
                </a:lnTo>
                <a:lnTo>
                  <a:pt x="236" y="106"/>
                </a:lnTo>
                <a:lnTo>
                  <a:pt x="237" y="105"/>
                </a:lnTo>
                <a:lnTo>
                  <a:pt x="233" y="107"/>
                </a:lnTo>
                <a:lnTo>
                  <a:pt x="227" y="107"/>
                </a:lnTo>
                <a:lnTo>
                  <a:pt x="224" y="106"/>
                </a:lnTo>
                <a:lnTo>
                  <a:pt x="221" y="106"/>
                </a:lnTo>
                <a:lnTo>
                  <a:pt x="220" y="105"/>
                </a:lnTo>
                <a:lnTo>
                  <a:pt x="220" y="104"/>
                </a:lnTo>
                <a:lnTo>
                  <a:pt x="219" y="104"/>
                </a:lnTo>
                <a:lnTo>
                  <a:pt x="219" y="103"/>
                </a:lnTo>
                <a:lnTo>
                  <a:pt x="221" y="98"/>
                </a:lnTo>
                <a:lnTo>
                  <a:pt x="224" y="92"/>
                </a:lnTo>
                <a:lnTo>
                  <a:pt x="226" y="89"/>
                </a:lnTo>
                <a:lnTo>
                  <a:pt x="227" y="89"/>
                </a:lnTo>
                <a:lnTo>
                  <a:pt x="232" y="87"/>
                </a:lnTo>
                <a:lnTo>
                  <a:pt x="233" y="86"/>
                </a:lnTo>
                <a:lnTo>
                  <a:pt x="238" y="83"/>
                </a:lnTo>
                <a:lnTo>
                  <a:pt x="239" y="82"/>
                </a:lnTo>
                <a:lnTo>
                  <a:pt x="244" y="80"/>
                </a:lnTo>
                <a:lnTo>
                  <a:pt x="248" y="80"/>
                </a:lnTo>
                <a:lnTo>
                  <a:pt x="265" y="75"/>
                </a:lnTo>
                <a:lnTo>
                  <a:pt x="267" y="74"/>
                </a:lnTo>
                <a:lnTo>
                  <a:pt x="268" y="74"/>
                </a:lnTo>
                <a:lnTo>
                  <a:pt x="269" y="71"/>
                </a:lnTo>
                <a:lnTo>
                  <a:pt x="275" y="67"/>
                </a:lnTo>
                <a:lnTo>
                  <a:pt x="277" y="64"/>
                </a:lnTo>
                <a:lnTo>
                  <a:pt x="277" y="63"/>
                </a:lnTo>
                <a:lnTo>
                  <a:pt x="279" y="60"/>
                </a:lnTo>
                <a:lnTo>
                  <a:pt x="280" y="58"/>
                </a:lnTo>
                <a:lnTo>
                  <a:pt x="282" y="58"/>
                </a:lnTo>
                <a:lnTo>
                  <a:pt x="286" y="60"/>
                </a:lnTo>
                <a:lnTo>
                  <a:pt x="286" y="57"/>
                </a:lnTo>
                <a:lnTo>
                  <a:pt x="283" y="57"/>
                </a:lnTo>
                <a:lnTo>
                  <a:pt x="283" y="55"/>
                </a:lnTo>
                <a:lnTo>
                  <a:pt x="281" y="55"/>
                </a:lnTo>
                <a:lnTo>
                  <a:pt x="281" y="49"/>
                </a:lnTo>
                <a:lnTo>
                  <a:pt x="282" y="48"/>
                </a:lnTo>
                <a:lnTo>
                  <a:pt x="283" y="48"/>
                </a:lnTo>
                <a:lnTo>
                  <a:pt x="282" y="45"/>
                </a:lnTo>
                <a:lnTo>
                  <a:pt x="282" y="37"/>
                </a:lnTo>
                <a:lnTo>
                  <a:pt x="283" y="36"/>
                </a:lnTo>
                <a:lnTo>
                  <a:pt x="283" y="34"/>
                </a:lnTo>
                <a:lnTo>
                  <a:pt x="282" y="33"/>
                </a:lnTo>
                <a:lnTo>
                  <a:pt x="282" y="25"/>
                </a:lnTo>
                <a:lnTo>
                  <a:pt x="283" y="23"/>
                </a:lnTo>
                <a:lnTo>
                  <a:pt x="283" y="15"/>
                </a:lnTo>
                <a:lnTo>
                  <a:pt x="282" y="15"/>
                </a:lnTo>
                <a:lnTo>
                  <a:pt x="282" y="14"/>
                </a:lnTo>
                <a:lnTo>
                  <a:pt x="285" y="14"/>
                </a:lnTo>
                <a:lnTo>
                  <a:pt x="286" y="13"/>
                </a:lnTo>
                <a:lnTo>
                  <a:pt x="287" y="13"/>
                </a:lnTo>
                <a:lnTo>
                  <a:pt x="288" y="11"/>
                </a:lnTo>
                <a:lnTo>
                  <a:pt x="289" y="9"/>
                </a:lnTo>
                <a:lnTo>
                  <a:pt x="296" y="6"/>
                </a:lnTo>
                <a:lnTo>
                  <a:pt x="299" y="6"/>
                </a:lnTo>
                <a:lnTo>
                  <a:pt x="306" y="5"/>
                </a:lnTo>
                <a:lnTo>
                  <a:pt x="313" y="2"/>
                </a:lnTo>
                <a:lnTo>
                  <a:pt x="317" y="2"/>
                </a:lnTo>
                <a:lnTo>
                  <a:pt x="320" y="1"/>
                </a:lnTo>
                <a:lnTo>
                  <a:pt x="321" y="1"/>
                </a:lnTo>
                <a:lnTo>
                  <a:pt x="323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3" name="Freeform 44">
            <a:extLst>
              <a:ext uri="{FF2B5EF4-FFF2-40B4-BE49-F238E27FC236}">
                <a16:creationId xmlns:a16="http://schemas.microsoft.com/office/drawing/2014/main" id="{A12260FF-C170-47BC-A703-A7F40FC884C6}"/>
              </a:ext>
            </a:extLst>
          </p:cNvPr>
          <p:cNvSpPr>
            <a:spLocks noEditPoints="1"/>
          </p:cNvSpPr>
          <p:nvPr/>
        </p:nvSpPr>
        <p:spPr bwMode="auto">
          <a:xfrm>
            <a:off x="2424174" y="2163120"/>
            <a:ext cx="737511" cy="1504000"/>
          </a:xfrm>
          <a:custGeom>
            <a:avLst/>
            <a:gdLst/>
            <a:ahLst/>
            <a:cxnLst>
              <a:cxn ang="0">
                <a:pos x="39" y="1022"/>
              </a:cxn>
              <a:cxn ang="0">
                <a:pos x="40" y="1019"/>
              </a:cxn>
              <a:cxn ang="0">
                <a:pos x="27" y="1022"/>
              </a:cxn>
              <a:cxn ang="0">
                <a:pos x="32" y="1013"/>
              </a:cxn>
              <a:cxn ang="0">
                <a:pos x="98" y="1009"/>
              </a:cxn>
              <a:cxn ang="0">
                <a:pos x="77" y="1007"/>
              </a:cxn>
              <a:cxn ang="0">
                <a:pos x="89" y="1001"/>
              </a:cxn>
              <a:cxn ang="0">
                <a:pos x="259" y="1004"/>
              </a:cxn>
              <a:cxn ang="0">
                <a:pos x="125" y="1022"/>
              </a:cxn>
              <a:cxn ang="0">
                <a:pos x="111" y="995"/>
              </a:cxn>
              <a:cxn ang="0">
                <a:pos x="51" y="995"/>
              </a:cxn>
              <a:cxn ang="0">
                <a:pos x="26" y="994"/>
              </a:cxn>
              <a:cxn ang="0">
                <a:pos x="21" y="1003"/>
              </a:cxn>
              <a:cxn ang="0">
                <a:pos x="11" y="996"/>
              </a:cxn>
              <a:cxn ang="0">
                <a:pos x="296" y="989"/>
              </a:cxn>
              <a:cxn ang="0">
                <a:pos x="66" y="982"/>
              </a:cxn>
              <a:cxn ang="0">
                <a:pos x="74" y="977"/>
              </a:cxn>
              <a:cxn ang="0">
                <a:pos x="76" y="939"/>
              </a:cxn>
              <a:cxn ang="0">
                <a:pos x="69" y="731"/>
              </a:cxn>
              <a:cxn ang="0">
                <a:pos x="104" y="730"/>
              </a:cxn>
              <a:cxn ang="0">
                <a:pos x="73" y="725"/>
              </a:cxn>
              <a:cxn ang="0">
                <a:pos x="234" y="558"/>
              </a:cxn>
              <a:cxn ang="0">
                <a:pos x="379" y="36"/>
              </a:cxn>
              <a:cxn ang="0">
                <a:pos x="428" y="265"/>
              </a:cxn>
              <a:cxn ang="0">
                <a:pos x="443" y="470"/>
              </a:cxn>
              <a:cxn ang="0">
                <a:pos x="430" y="579"/>
              </a:cxn>
              <a:cxn ang="0">
                <a:pos x="466" y="647"/>
              </a:cxn>
              <a:cxn ang="0">
                <a:pos x="502" y="780"/>
              </a:cxn>
              <a:cxn ang="0">
                <a:pos x="412" y="909"/>
              </a:cxn>
              <a:cxn ang="0">
                <a:pos x="343" y="979"/>
              </a:cxn>
              <a:cxn ang="0">
                <a:pos x="317" y="978"/>
              </a:cxn>
              <a:cxn ang="0">
                <a:pos x="306" y="973"/>
              </a:cxn>
              <a:cxn ang="0">
                <a:pos x="279" y="994"/>
              </a:cxn>
              <a:cxn ang="0">
                <a:pos x="260" y="994"/>
              </a:cxn>
              <a:cxn ang="0">
                <a:pos x="230" y="1009"/>
              </a:cxn>
              <a:cxn ang="0">
                <a:pos x="205" y="1020"/>
              </a:cxn>
              <a:cxn ang="0">
                <a:pos x="166" y="1026"/>
              </a:cxn>
              <a:cxn ang="0">
                <a:pos x="161" y="1020"/>
              </a:cxn>
              <a:cxn ang="0">
                <a:pos x="142" y="1007"/>
              </a:cxn>
              <a:cxn ang="0">
                <a:pos x="125" y="988"/>
              </a:cxn>
              <a:cxn ang="0">
                <a:pos x="89" y="980"/>
              </a:cxn>
              <a:cxn ang="0">
                <a:pos x="77" y="945"/>
              </a:cxn>
              <a:cxn ang="0">
                <a:pos x="85" y="911"/>
              </a:cxn>
              <a:cxn ang="0">
                <a:pos x="82" y="869"/>
              </a:cxn>
              <a:cxn ang="0">
                <a:pos x="75" y="817"/>
              </a:cxn>
              <a:cxn ang="0">
                <a:pos x="70" y="776"/>
              </a:cxn>
              <a:cxn ang="0">
                <a:pos x="85" y="738"/>
              </a:cxn>
              <a:cxn ang="0">
                <a:pos x="118" y="731"/>
              </a:cxn>
              <a:cxn ang="0">
                <a:pos x="127" y="696"/>
              </a:cxn>
              <a:cxn ang="0">
                <a:pos x="148" y="683"/>
              </a:cxn>
              <a:cxn ang="0">
                <a:pos x="186" y="636"/>
              </a:cxn>
              <a:cxn ang="0">
                <a:pos x="212" y="583"/>
              </a:cxn>
              <a:cxn ang="0">
                <a:pos x="250" y="568"/>
              </a:cxn>
              <a:cxn ang="0">
                <a:pos x="236" y="505"/>
              </a:cxn>
              <a:cxn ang="0">
                <a:pos x="203" y="482"/>
              </a:cxn>
              <a:cxn ang="0">
                <a:pos x="181" y="406"/>
              </a:cxn>
              <a:cxn ang="0">
                <a:pos x="179" y="315"/>
              </a:cxn>
              <a:cxn ang="0">
                <a:pos x="151" y="216"/>
              </a:cxn>
              <a:cxn ang="0">
                <a:pos x="82" y="166"/>
              </a:cxn>
              <a:cxn ang="0">
                <a:pos x="112" y="135"/>
              </a:cxn>
              <a:cxn ang="0">
                <a:pos x="231" y="175"/>
              </a:cxn>
              <a:cxn ang="0">
                <a:pos x="267" y="80"/>
              </a:cxn>
              <a:cxn ang="0">
                <a:pos x="329" y="18"/>
              </a:cxn>
            </a:cxnLst>
            <a:rect l="0" t="0" r="r" b="b"/>
            <a:pathLst>
              <a:path w="509" h="1038">
                <a:moveTo>
                  <a:pt x="126" y="1032"/>
                </a:moveTo>
                <a:lnTo>
                  <a:pt x="126" y="1033"/>
                </a:lnTo>
                <a:lnTo>
                  <a:pt x="124" y="1034"/>
                </a:lnTo>
                <a:lnTo>
                  <a:pt x="123" y="1034"/>
                </a:lnTo>
                <a:lnTo>
                  <a:pt x="123" y="1033"/>
                </a:lnTo>
                <a:lnTo>
                  <a:pt x="125" y="1033"/>
                </a:lnTo>
                <a:lnTo>
                  <a:pt x="126" y="1032"/>
                </a:lnTo>
                <a:close/>
                <a:moveTo>
                  <a:pt x="57" y="1027"/>
                </a:moveTo>
                <a:lnTo>
                  <a:pt x="60" y="1027"/>
                </a:lnTo>
                <a:lnTo>
                  <a:pt x="60" y="1029"/>
                </a:lnTo>
                <a:lnTo>
                  <a:pt x="57" y="1029"/>
                </a:lnTo>
                <a:lnTo>
                  <a:pt x="57" y="1027"/>
                </a:lnTo>
                <a:close/>
                <a:moveTo>
                  <a:pt x="60" y="1026"/>
                </a:moveTo>
                <a:lnTo>
                  <a:pt x="63" y="1026"/>
                </a:lnTo>
                <a:lnTo>
                  <a:pt x="63" y="1027"/>
                </a:lnTo>
                <a:lnTo>
                  <a:pt x="62" y="1027"/>
                </a:lnTo>
                <a:lnTo>
                  <a:pt x="63" y="1028"/>
                </a:lnTo>
                <a:lnTo>
                  <a:pt x="62" y="1028"/>
                </a:lnTo>
                <a:lnTo>
                  <a:pt x="60" y="1027"/>
                </a:lnTo>
                <a:lnTo>
                  <a:pt x="60" y="1026"/>
                </a:lnTo>
                <a:close/>
                <a:moveTo>
                  <a:pt x="185" y="1023"/>
                </a:moveTo>
                <a:lnTo>
                  <a:pt x="186" y="1025"/>
                </a:lnTo>
                <a:lnTo>
                  <a:pt x="186" y="1026"/>
                </a:lnTo>
                <a:lnTo>
                  <a:pt x="184" y="1026"/>
                </a:lnTo>
                <a:lnTo>
                  <a:pt x="184" y="1025"/>
                </a:lnTo>
                <a:lnTo>
                  <a:pt x="185" y="1023"/>
                </a:lnTo>
                <a:close/>
                <a:moveTo>
                  <a:pt x="131" y="1022"/>
                </a:moveTo>
                <a:lnTo>
                  <a:pt x="131" y="1023"/>
                </a:lnTo>
                <a:lnTo>
                  <a:pt x="130" y="1023"/>
                </a:lnTo>
                <a:lnTo>
                  <a:pt x="131" y="1022"/>
                </a:lnTo>
                <a:close/>
                <a:moveTo>
                  <a:pt x="35" y="1020"/>
                </a:moveTo>
                <a:lnTo>
                  <a:pt x="36" y="1020"/>
                </a:lnTo>
                <a:lnTo>
                  <a:pt x="38" y="1021"/>
                </a:lnTo>
                <a:lnTo>
                  <a:pt x="39" y="1021"/>
                </a:lnTo>
                <a:lnTo>
                  <a:pt x="39" y="1022"/>
                </a:lnTo>
                <a:lnTo>
                  <a:pt x="38" y="1023"/>
                </a:lnTo>
                <a:lnTo>
                  <a:pt x="35" y="1023"/>
                </a:lnTo>
                <a:lnTo>
                  <a:pt x="35" y="1025"/>
                </a:lnTo>
                <a:lnTo>
                  <a:pt x="33" y="1026"/>
                </a:lnTo>
                <a:lnTo>
                  <a:pt x="32" y="1026"/>
                </a:lnTo>
                <a:lnTo>
                  <a:pt x="32" y="1023"/>
                </a:lnTo>
                <a:lnTo>
                  <a:pt x="33" y="1022"/>
                </a:lnTo>
                <a:lnTo>
                  <a:pt x="35" y="1020"/>
                </a:lnTo>
                <a:close/>
                <a:moveTo>
                  <a:pt x="142" y="1019"/>
                </a:moveTo>
                <a:lnTo>
                  <a:pt x="143" y="1019"/>
                </a:lnTo>
                <a:lnTo>
                  <a:pt x="143" y="1020"/>
                </a:lnTo>
                <a:lnTo>
                  <a:pt x="142" y="1021"/>
                </a:lnTo>
                <a:lnTo>
                  <a:pt x="141" y="1020"/>
                </a:lnTo>
                <a:lnTo>
                  <a:pt x="142" y="1019"/>
                </a:lnTo>
                <a:close/>
                <a:moveTo>
                  <a:pt x="43" y="1017"/>
                </a:moveTo>
                <a:lnTo>
                  <a:pt x="46" y="1017"/>
                </a:lnTo>
                <a:lnTo>
                  <a:pt x="46" y="1021"/>
                </a:lnTo>
                <a:lnTo>
                  <a:pt x="45" y="1021"/>
                </a:lnTo>
                <a:lnTo>
                  <a:pt x="44" y="1020"/>
                </a:lnTo>
                <a:lnTo>
                  <a:pt x="44" y="1021"/>
                </a:lnTo>
                <a:lnTo>
                  <a:pt x="42" y="1021"/>
                </a:lnTo>
                <a:lnTo>
                  <a:pt x="42" y="1020"/>
                </a:lnTo>
                <a:lnTo>
                  <a:pt x="43" y="1019"/>
                </a:lnTo>
                <a:lnTo>
                  <a:pt x="43" y="1017"/>
                </a:lnTo>
                <a:close/>
                <a:moveTo>
                  <a:pt x="142" y="1016"/>
                </a:moveTo>
                <a:lnTo>
                  <a:pt x="144" y="1016"/>
                </a:lnTo>
                <a:lnTo>
                  <a:pt x="144" y="1017"/>
                </a:lnTo>
                <a:lnTo>
                  <a:pt x="143" y="1019"/>
                </a:lnTo>
                <a:lnTo>
                  <a:pt x="143" y="1017"/>
                </a:lnTo>
                <a:lnTo>
                  <a:pt x="142" y="1017"/>
                </a:lnTo>
                <a:lnTo>
                  <a:pt x="142" y="1016"/>
                </a:lnTo>
                <a:close/>
                <a:moveTo>
                  <a:pt x="42" y="1016"/>
                </a:moveTo>
                <a:lnTo>
                  <a:pt x="43" y="1016"/>
                </a:lnTo>
                <a:lnTo>
                  <a:pt x="43" y="1019"/>
                </a:lnTo>
                <a:lnTo>
                  <a:pt x="40" y="1019"/>
                </a:lnTo>
                <a:lnTo>
                  <a:pt x="40" y="1017"/>
                </a:lnTo>
                <a:lnTo>
                  <a:pt x="42" y="1016"/>
                </a:lnTo>
                <a:close/>
                <a:moveTo>
                  <a:pt x="39" y="1016"/>
                </a:moveTo>
                <a:lnTo>
                  <a:pt x="40" y="1016"/>
                </a:lnTo>
                <a:lnTo>
                  <a:pt x="39" y="1019"/>
                </a:lnTo>
                <a:lnTo>
                  <a:pt x="39" y="1020"/>
                </a:lnTo>
                <a:lnTo>
                  <a:pt x="37" y="1020"/>
                </a:lnTo>
                <a:lnTo>
                  <a:pt x="38" y="1019"/>
                </a:lnTo>
                <a:lnTo>
                  <a:pt x="38" y="1017"/>
                </a:lnTo>
                <a:lnTo>
                  <a:pt x="39" y="1016"/>
                </a:lnTo>
                <a:close/>
                <a:moveTo>
                  <a:pt x="120" y="1015"/>
                </a:moveTo>
                <a:lnTo>
                  <a:pt x="122" y="1015"/>
                </a:lnTo>
                <a:lnTo>
                  <a:pt x="122" y="1017"/>
                </a:lnTo>
                <a:lnTo>
                  <a:pt x="123" y="1017"/>
                </a:lnTo>
                <a:lnTo>
                  <a:pt x="122" y="1015"/>
                </a:lnTo>
                <a:lnTo>
                  <a:pt x="123" y="1015"/>
                </a:lnTo>
                <a:lnTo>
                  <a:pt x="124" y="1016"/>
                </a:lnTo>
                <a:lnTo>
                  <a:pt x="124" y="1022"/>
                </a:lnTo>
                <a:lnTo>
                  <a:pt x="123" y="1021"/>
                </a:lnTo>
                <a:lnTo>
                  <a:pt x="122" y="1021"/>
                </a:lnTo>
                <a:lnTo>
                  <a:pt x="122" y="1022"/>
                </a:lnTo>
                <a:lnTo>
                  <a:pt x="120" y="1021"/>
                </a:lnTo>
                <a:lnTo>
                  <a:pt x="120" y="1015"/>
                </a:lnTo>
                <a:close/>
                <a:moveTo>
                  <a:pt x="214" y="1014"/>
                </a:moveTo>
                <a:lnTo>
                  <a:pt x="216" y="1014"/>
                </a:lnTo>
                <a:lnTo>
                  <a:pt x="214" y="1014"/>
                </a:lnTo>
                <a:close/>
                <a:moveTo>
                  <a:pt x="25" y="1014"/>
                </a:moveTo>
                <a:lnTo>
                  <a:pt x="26" y="1015"/>
                </a:lnTo>
                <a:lnTo>
                  <a:pt x="27" y="1015"/>
                </a:lnTo>
                <a:lnTo>
                  <a:pt x="29" y="1016"/>
                </a:lnTo>
                <a:lnTo>
                  <a:pt x="30" y="1019"/>
                </a:lnTo>
                <a:lnTo>
                  <a:pt x="30" y="1022"/>
                </a:lnTo>
                <a:lnTo>
                  <a:pt x="29" y="1023"/>
                </a:lnTo>
                <a:lnTo>
                  <a:pt x="29" y="1022"/>
                </a:lnTo>
                <a:lnTo>
                  <a:pt x="27" y="1022"/>
                </a:lnTo>
                <a:lnTo>
                  <a:pt x="26" y="1023"/>
                </a:lnTo>
                <a:lnTo>
                  <a:pt x="25" y="1022"/>
                </a:lnTo>
                <a:lnTo>
                  <a:pt x="26" y="1021"/>
                </a:lnTo>
                <a:lnTo>
                  <a:pt x="25" y="1020"/>
                </a:lnTo>
                <a:lnTo>
                  <a:pt x="24" y="1020"/>
                </a:lnTo>
                <a:lnTo>
                  <a:pt x="24" y="1019"/>
                </a:lnTo>
                <a:lnTo>
                  <a:pt x="21" y="1019"/>
                </a:lnTo>
                <a:lnTo>
                  <a:pt x="23" y="1016"/>
                </a:lnTo>
                <a:lnTo>
                  <a:pt x="24" y="1016"/>
                </a:lnTo>
                <a:lnTo>
                  <a:pt x="25" y="1014"/>
                </a:lnTo>
                <a:close/>
                <a:moveTo>
                  <a:pt x="143" y="1011"/>
                </a:moveTo>
                <a:lnTo>
                  <a:pt x="145" y="1011"/>
                </a:lnTo>
                <a:lnTo>
                  <a:pt x="145" y="1015"/>
                </a:lnTo>
                <a:lnTo>
                  <a:pt x="141" y="1015"/>
                </a:lnTo>
                <a:lnTo>
                  <a:pt x="142" y="1014"/>
                </a:lnTo>
                <a:lnTo>
                  <a:pt x="142" y="1013"/>
                </a:lnTo>
                <a:lnTo>
                  <a:pt x="143" y="1011"/>
                </a:lnTo>
                <a:close/>
                <a:moveTo>
                  <a:pt x="102" y="1010"/>
                </a:moveTo>
                <a:lnTo>
                  <a:pt x="104" y="1010"/>
                </a:lnTo>
                <a:lnTo>
                  <a:pt x="105" y="1011"/>
                </a:lnTo>
                <a:lnTo>
                  <a:pt x="106" y="1011"/>
                </a:lnTo>
                <a:lnTo>
                  <a:pt x="106" y="1013"/>
                </a:lnTo>
                <a:lnTo>
                  <a:pt x="102" y="1013"/>
                </a:lnTo>
                <a:lnTo>
                  <a:pt x="102" y="1010"/>
                </a:lnTo>
                <a:close/>
                <a:moveTo>
                  <a:pt x="48" y="1009"/>
                </a:moveTo>
                <a:lnTo>
                  <a:pt x="49" y="1009"/>
                </a:lnTo>
                <a:lnTo>
                  <a:pt x="49" y="1010"/>
                </a:lnTo>
                <a:lnTo>
                  <a:pt x="50" y="1010"/>
                </a:lnTo>
                <a:lnTo>
                  <a:pt x="50" y="1013"/>
                </a:lnTo>
                <a:lnTo>
                  <a:pt x="49" y="1013"/>
                </a:lnTo>
                <a:lnTo>
                  <a:pt x="48" y="1010"/>
                </a:lnTo>
                <a:lnTo>
                  <a:pt x="48" y="1009"/>
                </a:lnTo>
                <a:close/>
                <a:moveTo>
                  <a:pt x="30" y="1009"/>
                </a:moveTo>
                <a:lnTo>
                  <a:pt x="31" y="1011"/>
                </a:lnTo>
                <a:lnTo>
                  <a:pt x="32" y="1013"/>
                </a:lnTo>
                <a:lnTo>
                  <a:pt x="32" y="1011"/>
                </a:lnTo>
                <a:lnTo>
                  <a:pt x="31" y="1010"/>
                </a:lnTo>
                <a:lnTo>
                  <a:pt x="31" y="1009"/>
                </a:lnTo>
                <a:lnTo>
                  <a:pt x="33" y="1011"/>
                </a:lnTo>
                <a:lnTo>
                  <a:pt x="33" y="1013"/>
                </a:lnTo>
                <a:lnTo>
                  <a:pt x="32" y="1015"/>
                </a:lnTo>
                <a:lnTo>
                  <a:pt x="32" y="1016"/>
                </a:lnTo>
                <a:lnTo>
                  <a:pt x="31" y="1016"/>
                </a:lnTo>
                <a:lnTo>
                  <a:pt x="31" y="1015"/>
                </a:lnTo>
                <a:lnTo>
                  <a:pt x="30" y="1015"/>
                </a:lnTo>
                <a:lnTo>
                  <a:pt x="29" y="1013"/>
                </a:lnTo>
                <a:lnTo>
                  <a:pt x="30" y="1011"/>
                </a:lnTo>
                <a:lnTo>
                  <a:pt x="30" y="1009"/>
                </a:lnTo>
                <a:close/>
                <a:moveTo>
                  <a:pt x="86" y="1008"/>
                </a:moveTo>
                <a:lnTo>
                  <a:pt x="89" y="1008"/>
                </a:lnTo>
                <a:lnTo>
                  <a:pt x="91" y="1009"/>
                </a:lnTo>
                <a:lnTo>
                  <a:pt x="89" y="1010"/>
                </a:lnTo>
                <a:lnTo>
                  <a:pt x="89" y="1013"/>
                </a:lnTo>
                <a:lnTo>
                  <a:pt x="87" y="1013"/>
                </a:lnTo>
                <a:lnTo>
                  <a:pt x="86" y="1014"/>
                </a:lnTo>
                <a:lnTo>
                  <a:pt x="85" y="1014"/>
                </a:lnTo>
                <a:lnTo>
                  <a:pt x="85" y="1013"/>
                </a:lnTo>
                <a:lnTo>
                  <a:pt x="83" y="1013"/>
                </a:lnTo>
                <a:lnTo>
                  <a:pt x="85" y="1011"/>
                </a:lnTo>
                <a:lnTo>
                  <a:pt x="87" y="1011"/>
                </a:lnTo>
                <a:lnTo>
                  <a:pt x="86" y="1010"/>
                </a:lnTo>
                <a:lnTo>
                  <a:pt x="83" y="1010"/>
                </a:lnTo>
                <a:lnTo>
                  <a:pt x="86" y="1008"/>
                </a:lnTo>
                <a:close/>
                <a:moveTo>
                  <a:pt x="94" y="1005"/>
                </a:moveTo>
                <a:lnTo>
                  <a:pt x="99" y="1005"/>
                </a:lnTo>
                <a:lnTo>
                  <a:pt x="100" y="1007"/>
                </a:lnTo>
                <a:lnTo>
                  <a:pt x="99" y="1007"/>
                </a:lnTo>
                <a:lnTo>
                  <a:pt x="99" y="1008"/>
                </a:lnTo>
                <a:lnTo>
                  <a:pt x="100" y="1009"/>
                </a:lnTo>
                <a:lnTo>
                  <a:pt x="98" y="1009"/>
                </a:lnTo>
                <a:lnTo>
                  <a:pt x="96" y="1010"/>
                </a:lnTo>
                <a:lnTo>
                  <a:pt x="96" y="1011"/>
                </a:lnTo>
                <a:lnTo>
                  <a:pt x="94" y="1013"/>
                </a:lnTo>
                <a:lnTo>
                  <a:pt x="93" y="1013"/>
                </a:lnTo>
                <a:lnTo>
                  <a:pt x="92" y="1011"/>
                </a:lnTo>
                <a:lnTo>
                  <a:pt x="93" y="1011"/>
                </a:lnTo>
                <a:lnTo>
                  <a:pt x="93" y="1007"/>
                </a:lnTo>
                <a:lnTo>
                  <a:pt x="94" y="1005"/>
                </a:lnTo>
                <a:close/>
                <a:moveTo>
                  <a:pt x="122" y="1004"/>
                </a:moveTo>
                <a:lnTo>
                  <a:pt x="122" y="1005"/>
                </a:lnTo>
                <a:lnTo>
                  <a:pt x="119" y="1008"/>
                </a:lnTo>
                <a:lnTo>
                  <a:pt x="119" y="1009"/>
                </a:lnTo>
                <a:lnTo>
                  <a:pt x="118" y="1009"/>
                </a:lnTo>
                <a:lnTo>
                  <a:pt x="118" y="1005"/>
                </a:lnTo>
                <a:lnTo>
                  <a:pt x="122" y="1004"/>
                </a:lnTo>
                <a:close/>
                <a:moveTo>
                  <a:pt x="106" y="1004"/>
                </a:moveTo>
                <a:lnTo>
                  <a:pt x="107" y="1004"/>
                </a:lnTo>
                <a:lnTo>
                  <a:pt x="108" y="1005"/>
                </a:lnTo>
                <a:lnTo>
                  <a:pt x="106" y="1008"/>
                </a:lnTo>
                <a:lnTo>
                  <a:pt x="107" y="1009"/>
                </a:lnTo>
                <a:lnTo>
                  <a:pt x="106" y="1010"/>
                </a:lnTo>
                <a:lnTo>
                  <a:pt x="104" y="1010"/>
                </a:lnTo>
                <a:lnTo>
                  <a:pt x="102" y="1009"/>
                </a:lnTo>
                <a:lnTo>
                  <a:pt x="102" y="1007"/>
                </a:lnTo>
                <a:lnTo>
                  <a:pt x="105" y="1005"/>
                </a:lnTo>
                <a:lnTo>
                  <a:pt x="106" y="1004"/>
                </a:lnTo>
                <a:close/>
                <a:moveTo>
                  <a:pt x="75" y="1004"/>
                </a:moveTo>
                <a:lnTo>
                  <a:pt x="77" y="1004"/>
                </a:lnTo>
                <a:lnTo>
                  <a:pt x="79" y="1005"/>
                </a:lnTo>
                <a:lnTo>
                  <a:pt x="82" y="1005"/>
                </a:lnTo>
                <a:lnTo>
                  <a:pt x="82" y="1007"/>
                </a:lnTo>
                <a:lnTo>
                  <a:pt x="80" y="1007"/>
                </a:lnTo>
                <a:lnTo>
                  <a:pt x="80" y="1008"/>
                </a:lnTo>
                <a:lnTo>
                  <a:pt x="79" y="1008"/>
                </a:lnTo>
                <a:lnTo>
                  <a:pt x="77" y="1007"/>
                </a:lnTo>
                <a:lnTo>
                  <a:pt x="75" y="1007"/>
                </a:lnTo>
                <a:lnTo>
                  <a:pt x="75" y="1005"/>
                </a:lnTo>
                <a:lnTo>
                  <a:pt x="74" y="1005"/>
                </a:lnTo>
                <a:lnTo>
                  <a:pt x="75" y="1004"/>
                </a:lnTo>
                <a:close/>
                <a:moveTo>
                  <a:pt x="267" y="1003"/>
                </a:moveTo>
                <a:lnTo>
                  <a:pt x="268" y="1003"/>
                </a:lnTo>
                <a:lnTo>
                  <a:pt x="268" y="1005"/>
                </a:lnTo>
                <a:lnTo>
                  <a:pt x="266" y="1005"/>
                </a:lnTo>
                <a:lnTo>
                  <a:pt x="266" y="1004"/>
                </a:lnTo>
                <a:lnTo>
                  <a:pt x="267" y="1003"/>
                </a:lnTo>
                <a:close/>
                <a:moveTo>
                  <a:pt x="124" y="1003"/>
                </a:moveTo>
                <a:lnTo>
                  <a:pt x="125" y="1003"/>
                </a:lnTo>
                <a:lnTo>
                  <a:pt x="124" y="1005"/>
                </a:lnTo>
                <a:lnTo>
                  <a:pt x="124" y="1003"/>
                </a:lnTo>
                <a:close/>
                <a:moveTo>
                  <a:pt x="24" y="1003"/>
                </a:moveTo>
                <a:lnTo>
                  <a:pt x="24" y="1005"/>
                </a:lnTo>
                <a:lnTo>
                  <a:pt x="23" y="1005"/>
                </a:lnTo>
                <a:lnTo>
                  <a:pt x="24" y="1003"/>
                </a:lnTo>
                <a:close/>
                <a:moveTo>
                  <a:pt x="50" y="1002"/>
                </a:moveTo>
                <a:lnTo>
                  <a:pt x="50" y="1003"/>
                </a:lnTo>
                <a:lnTo>
                  <a:pt x="51" y="1004"/>
                </a:lnTo>
                <a:lnTo>
                  <a:pt x="51" y="1005"/>
                </a:lnTo>
                <a:lnTo>
                  <a:pt x="49" y="1005"/>
                </a:lnTo>
                <a:lnTo>
                  <a:pt x="49" y="1003"/>
                </a:lnTo>
                <a:lnTo>
                  <a:pt x="50" y="1002"/>
                </a:lnTo>
                <a:close/>
                <a:moveTo>
                  <a:pt x="116" y="1001"/>
                </a:moveTo>
                <a:lnTo>
                  <a:pt x="118" y="1001"/>
                </a:lnTo>
                <a:lnTo>
                  <a:pt x="118" y="1003"/>
                </a:lnTo>
                <a:lnTo>
                  <a:pt x="117" y="1005"/>
                </a:lnTo>
                <a:lnTo>
                  <a:pt x="114" y="1007"/>
                </a:lnTo>
                <a:lnTo>
                  <a:pt x="114" y="1003"/>
                </a:lnTo>
                <a:lnTo>
                  <a:pt x="116" y="1001"/>
                </a:lnTo>
                <a:close/>
                <a:moveTo>
                  <a:pt x="88" y="999"/>
                </a:moveTo>
                <a:lnTo>
                  <a:pt x="88" y="1001"/>
                </a:lnTo>
                <a:lnTo>
                  <a:pt x="89" y="1001"/>
                </a:lnTo>
                <a:lnTo>
                  <a:pt x="88" y="1002"/>
                </a:lnTo>
                <a:lnTo>
                  <a:pt x="88" y="1003"/>
                </a:lnTo>
                <a:lnTo>
                  <a:pt x="87" y="1003"/>
                </a:lnTo>
                <a:lnTo>
                  <a:pt x="87" y="1001"/>
                </a:lnTo>
                <a:lnTo>
                  <a:pt x="88" y="999"/>
                </a:lnTo>
                <a:close/>
                <a:moveTo>
                  <a:pt x="36" y="999"/>
                </a:moveTo>
                <a:lnTo>
                  <a:pt x="39" y="999"/>
                </a:lnTo>
                <a:lnTo>
                  <a:pt x="39" y="1001"/>
                </a:lnTo>
                <a:lnTo>
                  <a:pt x="37" y="1005"/>
                </a:lnTo>
                <a:lnTo>
                  <a:pt x="37" y="1002"/>
                </a:lnTo>
                <a:lnTo>
                  <a:pt x="36" y="1003"/>
                </a:lnTo>
                <a:lnTo>
                  <a:pt x="36" y="999"/>
                </a:lnTo>
                <a:close/>
                <a:moveTo>
                  <a:pt x="4" y="999"/>
                </a:moveTo>
                <a:lnTo>
                  <a:pt x="6" y="1002"/>
                </a:lnTo>
                <a:lnTo>
                  <a:pt x="6" y="1004"/>
                </a:lnTo>
                <a:lnTo>
                  <a:pt x="7" y="1005"/>
                </a:lnTo>
                <a:lnTo>
                  <a:pt x="7" y="1009"/>
                </a:lnTo>
                <a:lnTo>
                  <a:pt x="6" y="1009"/>
                </a:lnTo>
                <a:lnTo>
                  <a:pt x="5" y="1008"/>
                </a:lnTo>
                <a:lnTo>
                  <a:pt x="5" y="1005"/>
                </a:lnTo>
                <a:lnTo>
                  <a:pt x="4" y="1005"/>
                </a:lnTo>
                <a:lnTo>
                  <a:pt x="4" y="1010"/>
                </a:lnTo>
                <a:lnTo>
                  <a:pt x="2" y="1011"/>
                </a:lnTo>
                <a:lnTo>
                  <a:pt x="1" y="1010"/>
                </a:lnTo>
                <a:lnTo>
                  <a:pt x="1" y="1009"/>
                </a:lnTo>
                <a:lnTo>
                  <a:pt x="0" y="1008"/>
                </a:lnTo>
                <a:lnTo>
                  <a:pt x="0" y="1005"/>
                </a:lnTo>
                <a:lnTo>
                  <a:pt x="1" y="1005"/>
                </a:lnTo>
                <a:lnTo>
                  <a:pt x="1" y="1002"/>
                </a:lnTo>
                <a:lnTo>
                  <a:pt x="4" y="999"/>
                </a:lnTo>
                <a:close/>
                <a:moveTo>
                  <a:pt x="256" y="997"/>
                </a:moveTo>
                <a:lnTo>
                  <a:pt x="257" y="997"/>
                </a:lnTo>
                <a:lnTo>
                  <a:pt x="261" y="1001"/>
                </a:lnTo>
                <a:lnTo>
                  <a:pt x="259" y="1003"/>
                </a:lnTo>
                <a:lnTo>
                  <a:pt x="259" y="1004"/>
                </a:lnTo>
                <a:lnTo>
                  <a:pt x="257" y="1004"/>
                </a:lnTo>
                <a:lnTo>
                  <a:pt x="257" y="1002"/>
                </a:lnTo>
                <a:lnTo>
                  <a:pt x="256" y="1002"/>
                </a:lnTo>
                <a:lnTo>
                  <a:pt x="256" y="999"/>
                </a:lnTo>
                <a:lnTo>
                  <a:pt x="255" y="998"/>
                </a:lnTo>
                <a:lnTo>
                  <a:pt x="256" y="997"/>
                </a:lnTo>
                <a:close/>
                <a:moveTo>
                  <a:pt x="143" y="997"/>
                </a:moveTo>
                <a:lnTo>
                  <a:pt x="145" y="997"/>
                </a:lnTo>
                <a:lnTo>
                  <a:pt x="145" y="999"/>
                </a:lnTo>
                <a:lnTo>
                  <a:pt x="144" y="999"/>
                </a:lnTo>
                <a:lnTo>
                  <a:pt x="143" y="1001"/>
                </a:lnTo>
                <a:lnTo>
                  <a:pt x="143" y="1002"/>
                </a:lnTo>
                <a:lnTo>
                  <a:pt x="142" y="1003"/>
                </a:lnTo>
                <a:lnTo>
                  <a:pt x="142" y="1004"/>
                </a:lnTo>
                <a:lnTo>
                  <a:pt x="141" y="1004"/>
                </a:lnTo>
                <a:lnTo>
                  <a:pt x="141" y="1008"/>
                </a:lnTo>
                <a:lnTo>
                  <a:pt x="139" y="1008"/>
                </a:lnTo>
                <a:lnTo>
                  <a:pt x="141" y="1009"/>
                </a:lnTo>
                <a:lnTo>
                  <a:pt x="141" y="1013"/>
                </a:lnTo>
                <a:lnTo>
                  <a:pt x="139" y="1015"/>
                </a:lnTo>
                <a:lnTo>
                  <a:pt x="136" y="1017"/>
                </a:lnTo>
                <a:lnTo>
                  <a:pt x="136" y="1019"/>
                </a:lnTo>
                <a:lnTo>
                  <a:pt x="137" y="1019"/>
                </a:lnTo>
                <a:lnTo>
                  <a:pt x="137" y="1020"/>
                </a:lnTo>
                <a:lnTo>
                  <a:pt x="136" y="1021"/>
                </a:lnTo>
                <a:lnTo>
                  <a:pt x="135" y="1021"/>
                </a:lnTo>
                <a:lnTo>
                  <a:pt x="133" y="1022"/>
                </a:lnTo>
                <a:lnTo>
                  <a:pt x="133" y="1021"/>
                </a:lnTo>
                <a:lnTo>
                  <a:pt x="132" y="1019"/>
                </a:lnTo>
                <a:lnTo>
                  <a:pt x="132" y="1020"/>
                </a:lnTo>
                <a:lnTo>
                  <a:pt x="131" y="1022"/>
                </a:lnTo>
                <a:lnTo>
                  <a:pt x="130" y="1021"/>
                </a:lnTo>
                <a:lnTo>
                  <a:pt x="130" y="1019"/>
                </a:lnTo>
                <a:lnTo>
                  <a:pt x="127" y="1021"/>
                </a:lnTo>
                <a:lnTo>
                  <a:pt x="125" y="1022"/>
                </a:lnTo>
                <a:lnTo>
                  <a:pt x="125" y="1014"/>
                </a:lnTo>
                <a:lnTo>
                  <a:pt x="124" y="1013"/>
                </a:lnTo>
                <a:lnTo>
                  <a:pt x="123" y="1013"/>
                </a:lnTo>
                <a:lnTo>
                  <a:pt x="125" y="1010"/>
                </a:lnTo>
                <a:lnTo>
                  <a:pt x="130" y="1010"/>
                </a:lnTo>
                <a:lnTo>
                  <a:pt x="123" y="1009"/>
                </a:lnTo>
                <a:lnTo>
                  <a:pt x="123" y="1008"/>
                </a:lnTo>
                <a:lnTo>
                  <a:pt x="124" y="1005"/>
                </a:lnTo>
                <a:lnTo>
                  <a:pt x="125" y="1007"/>
                </a:lnTo>
                <a:lnTo>
                  <a:pt x="129" y="1005"/>
                </a:lnTo>
                <a:lnTo>
                  <a:pt x="131" y="1004"/>
                </a:lnTo>
                <a:lnTo>
                  <a:pt x="139" y="1003"/>
                </a:lnTo>
                <a:lnTo>
                  <a:pt x="141" y="1002"/>
                </a:lnTo>
                <a:lnTo>
                  <a:pt x="143" y="997"/>
                </a:lnTo>
                <a:close/>
                <a:moveTo>
                  <a:pt x="54" y="997"/>
                </a:moveTo>
                <a:lnTo>
                  <a:pt x="55" y="997"/>
                </a:lnTo>
                <a:lnTo>
                  <a:pt x="55" y="998"/>
                </a:lnTo>
                <a:lnTo>
                  <a:pt x="56" y="999"/>
                </a:lnTo>
                <a:lnTo>
                  <a:pt x="57" y="999"/>
                </a:lnTo>
                <a:lnTo>
                  <a:pt x="57" y="1001"/>
                </a:lnTo>
                <a:lnTo>
                  <a:pt x="55" y="1001"/>
                </a:lnTo>
                <a:lnTo>
                  <a:pt x="55" y="1002"/>
                </a:lnTo>
                <a:lnTo>
                  <a:pt x="54" y="1002"/>
                </a:lnTo>
                <a:lnTo>
                  <a:pt x="54" y="997"/>
                </a:lnTo>
                <a:close/>
                <a:moveTo>
                  <a:pt x="100" y="996"/>
                </a:moveTo>
                <a:lnTo>
                  <a:pt x="104" y="996"/>
                </a:lnTo>
                <a:lnTo>
                  <a:pt x="104" y="997"/>
                </a:lnTo>
                <a:lnTo>
                  <a:pt x="105" y="997"/>
                </a:lnTo>
                <a:lnTo>
                  <a:pt x="104" y="998"/>
                </a:lnTo>
                <a:lnTo>
                  <a:pt x="101" y="998"/>
                </a:lnTo>
                <a:lnTo>
                  <a:pt x="101" y="997"/>
                </a:lnTo>
                <a:lnTo>
                  <a:pt x="100" y="997"/>
                </a:lnTo>
                <a:lnTo>
                  <a:pt x="100" y="996"/>
                </a:lnTo>
                <a:close/>
                <a:moveTo>
                  <a:pt x="110" y="995"/>
                </a:moveTo>
                <a:lnTo>
                  <a:pt x="111" y="995"/>
                </a:lnTo>
                <a:lnTo>
                  <a:pt x="116" y="996"/>
                </a:lnTo>
                <a:lnTo>
                  <a:pt x="119" y="997"/>
                </a:lnTo>
                <a:lnTo>
                  <a:pt x="119" y="999"/>
                </a:lnTo>
                <a:lnTo>
                  <a:pt x="118" y="999"/>
                </a:lnTo>
                <a:lnTo>
                  <a:pt x="118" y="998"/>
                </a:lnTo>
                <a:lnTo>
                  <a:pt x="117" y="999"/>
                </a:lnTo>
                <a:lnTo>
                  <a:pt x="116" y="999"/>
                </a:lnTo>
                <a:lnTo>
                  <a:pt x="114" y="1001"/>
                </a:lnTo>
                <a:lnTo>
                  <a:pt x="113" y="1001"/>
                </a:lnTo>
                <a:lnTo>
                  <a:pt x="114" y="999"/>
                </a:lnTo>
                <a:lnTo>
                  <a:pt x="113" y="998"/>
                </a:lnTo>
                <a:lnTo>
                  <a:pt x="112" y="999"/>
                </a:lnTo>
                <a:lnTo>
                  <a:pt x="111" y="999"/>
                </a:lnTo>
                <a:lnTo>
                  <a:pt x="110" y="998"/>
                </a:lnTo>
                <a:lnTo>
                  <a:pt x="108" y="999"/>
                </a:lnTo>
                <a:lnTo>
                  <a:pt x="108" y="996"/>
                </a:lnTo>
                <a:lnTo>
                  <a:pt x="110" y="995"/>
                </a:lnTo>
                <a:close/>
                <a:moveTo>
                  <a:pt x="122" y="991"/>
                </a:moveTo>
                <a:lnTo>
                  <a:pt x="122" y="992"/>
                </a:lnTo>
                <a:lnTo>
                  <a:pt x="123" y="994"/>
                </a:lnTo>
                <a:lnTo>
                  <a:pt x="125" y="994"/>
                </a:lnTo>
                <a:lnTo>
                  <a:pt x="125" y="995"/>
                </a:lnTo>
                <a:lnTo>
                  <a:pt x="124" y="996"/>
                </a:lnTo>
                <a:lnTo>
                  <a:pt x="123" y="996"/>
                </a:lnTo>
                <a:lnTo>
                  <a:pt x="122" y="997"/>
                </a:lnTo>
                <a:lnTo>
                  <a:pt x="120" y="997"/>
                </a:lnTo>
                <a:lnTo>
                  <a:pt x="122" y="996"/>
                </a:lnTo>
                <a:lnTo>
                  <a:pt x="122" y="995"/>
                </a:lnTo>
                <a:lnTo>
                  <a:pt x="118" y="995"/>
                </a:lnTo>
                <a:lnTo>
                  <a:pt x="122" y="991"/>
                </a:lnTo>
                <a:close/>
                <a:moveTo>
                  <a:pt x="52" y="991"/>
                </a:moveTo>
                <a:lnTo>
                  <a:pt x="54" y="991"/>
                </a:lnTo>
                <a:lnTo>
                  <a:pt x="54" y="995"/>
                </a:lnTo>
                <a:lnTo>
                  <a:pt x="52" y="996"/>
                </a:lnTo>
                <a:lnTo>
                  <a:pt x="51" y="995"/>
                </a:lnTo>
                <a:lnTo>
                  <a:pt x="51" y="994"/>
                </a:lnTo>
                <a:lnTo>
                  <a:pt x="52" y="992"/>
                </a:lnTo>
                <a:lnTo>
                  <a:pt x="52" y="991"/>
                </a:lnTo>
                <a:close/>
                <a:moveTo>
                  <a:pt x="116" y="990"/>
                </a:moveTo>
                <a:lnTo>
                  <a:pt x="117" y="990"/>
                </a:lnTo>
                <a:lnTo>
                  <a:pt x="118" y="991"/>
                </a:lnTo>
                <a:lnTo>
                  <a:pt x="117" y="991"/>
                </a:lnTo>
                <a:lnTo>
                  <a:pt x="113" y="992"/>
                </a:lnTo>
                <a:lnTo>
                  <a:pt x="112" y="992"/>
                </a:lnTo>
                <a:lnTo>
                  <a:pt x="112" y="991"/>
                </a:lnTo>
                <a:lnTo>
                  <a:pt x="116" y="990"/>
                </a:lnTo>
                <a:close/>
                <a:moveTo>
                  <a:pt x="111" y="990"/>
                </a:moveTo>
                <a:lnTo>
                  <a:pt x="114" y="990"/>
                </a:lnTo>
                <a:lnTo>
                  <a:pt x="110" y="992"/>
                </a:lnTo>
                <a:lnTo>
                  <a:pt x="111" y="990"/>
                </a:lnTo>
                <a:close/>
                <a:moveTo>
                  <a:pt x="76" y="989"/>
                </a:moveTo>
                <a:lnTo>
                  <a:pt x="77" y="989"/>
                </a:lnTo>
                <a:lnTo>
                  <a:pt x="77" y="991"/>
                </a:lnTo>
                <a:lnTo>
                  <a:pt x="76" y="991"/>
                </a:lnTo>
                <a:lnTo>
                  <a:pt x="75" y="990"/>
                </a:lnTo>
                <a:lnTo>
                  <a:pt x="76" y="989"/>
                </a:lnTo>
                <a:close/>
                <a:moveTo>
                  <a:pt x="14" y="988"/>
                </a:moveTo>
                <a:lnTo>
                  <a:pt x="17" y="988"/>
                </a:lnTo>
                <a:lnTo>
                  <a:pt x="17" y="989"/>
                </a:lnTo>
                <a:lnTo>
                  <a:pt x="18" y="990"/>
                </a:lnTo>
                <a:lnTo>
                  <a:pt x="18" y="991"/>
                </a:lnTo>
                <a:lnTo>
                  <a:pt x="20" y="991"/>
                </a:lnTo>
                <a:lnTo>
                  <a:pt x="23" y="994"/>
                </a:lnTo>
                <a:lnTo>
                  <a:pt x="21" y="992"/>
                </a:lnTo>
                <a:lnTo>
                  <a:pt x="21" y="991"/>
                </a:lnTo>
                <a:lnTo>
                  <a:pt x="23" y="991"/>
                </a:lnTo>
                <a:lnTo>
                  <a:pt x="24" y="992"/>
                </a:lnTo>
                <a:lnTo>
                  <a:pt x="25" y="991"/>
                </a:lnTo>
                <a:lnTo>
                  <a:pt x="25" y="992"/>
                </a:lnTo>
                <a:lnTo>
                  <a:pt x="26" y="994"/>
                </a:lnTo>
                <a:lnTo>
                  <a:pt x="29" y="995"/>
                </a:lnTo>
                <a:lnTo>
                  <a:pt x="29" y="997"/>
                </a:lnTo>
                <a:lnTo>
                  <a:pt x="30" y="997"/>
                </a:lnTo>
                <a:lnTo>
                  <a:pt x="31" y="998"/>
                </a:lnTo>
                <a:lnTo>
                  <a:pt x="32" y="998"/>
                </a:lnTo>
                <a:lnTo>
                  <a:pt x="31" y="1001"/>
                </a:lnTo>
                <a:lnTo>
                  <a:pt x="31" y="1002"/>
                </a:lnTo>
                <a:lnTo>
                  <a:pt x="30" y="1003"/>
                </a:lnTo>
                <a:lnTo>
                  <a:pt x="30" y="1005"/>
                </a:lnTo>
                <a:lnTo>
                  <a:pt x="29" y="1005"/>
                </a:lnTo>
                <a:lnTo>
                  <a:pt x="29" y="1008"/>
                </a:lnTo>
                <a:lnTo>
                  <a:pt x="27" y="1008"/>
                </a:lnTo>
                <a:lnTo>
                  <a:pt x="27" y="1007"/>
                </a:lnTo>
                <a:lnTo>
                  <a:pt x="25" y="1007"/>
                </a:lnTo>
                <a:lnTo>
                  <a:pt x="25" y="1003"/>
                </a:lnTo>
                <a:lnTo>
                  <a:pt x="26" y="1002"/>
                </a:lnTo>
                <a:lnTo>
                  <a:pt x="29" y="1002"/>
                </a:lnTo>
                <a:lnTo>
                  <a:pt x="29" y="1001"/>
                </a:lnTo>
                <a:lnTo>
                  <a:pt x="27" y="1001"/>
                </a:lnTo>
                <a:lnTo>
                  <a:pt x="25" y="1002"/>
                </a:lnTo>
                <a:lnTo>
                  <a:pt x="24" y="1003"/>
                </a:lnTo>
                <a:lnTo>
                  <a:pt x="23" y="1003"/>
                </a:lnTo>
                <a:lnTo>
                  <a:pt x="23" y="1002"/>
                </a:lnTo>
                <a:lnTo>
                  <a:pt x="21" y="1001"/>
                </a:lnTo>
                <a:lnTo>
                  <a:pt x="23" y="998"/>
                </a:lnTo>
                <a:lnTo>
                  <a:pt x="23" y="997"/>
                </a:lnTo>
                <a:lnTo>
                  <a:pt x="24" y="996"/>
                </a:lnTo>
                <a:lnTo>
                  <a:pt x="21" y="995"/>
                </a:lnTo>
                <a:lnTo>
                  <a:pt x="21" y="996"/>
                </a:lnTo>
                <a:lnTo>
                  <a:pt x="23" y="997"/>
                </a:lnTo>
                <a:lnTo>
                  <a:pt x="21" y="998"/>
                </a:lnTo>
                <a:lnTo>
                  <a:pt x="21" y="999"/>
                </a:lnTo>
                <a:lnTo>
                  <a:pt x="20" y="998"/>
                </a:lnTo>
                <a:lnTo>
                  <a:pt x="20" y="1002"/>
                </a:lnTo>
                <a:lnTo>
                  <a:pt x="21" y="1003"/>
                </a:lnTo>
                <a:lnTo>
                  <a:pt x="23" y="1003"/>
                </a:lnTo>
                <a:lnTo>
                  <a:pt x="21" y="1004"/>
                </a:lnTo>
                <a:lnTo>
                  <a:pt x="21" y="1007"/>
                </a:lnTo>
                <a:lnTo>
                  <a:pt x="19" y="1005"/>
                </a:lnTo>
                <a:lnTo>
                  <a:pt x="19" y="1003"/>
                </a:lnTo>
                <a:lnTo>
                  <a:pt x="17" y="1003"/>
                </a:lnTo>
                <a:lnTo>
                  <a:pt x="18" y="1004"/>
                </a:lnTo>
                <a:lnTo>
                  <a:pt x="18" y="1007"/>
                </a:lnTo>
                <a:lnTo>
                  <a:pt x="20" y="1007"/>
                </a:lnTo>
                <a:lnTo>
                  <a:pt x="20" y="1008"/>
                </a:lnTo>
                <a:lnTo>
                  <a:pt x="23" y="1008"/>
                </a:lnTo>
                <a:lnTo>
                  <a:pt x="23" y="1015"/>
                </a:lnTo>
                <a:lnTo>
                  <a:pt x="21" y="1014"/>
                </a:lnTo>
                <a:lnTo>
                  <a:pt x="19" y="1014"/>
                </a:lnTo>
                <a:lnTo>
                  <a:pt x="19" y="1017"/>
                </a:lnTo>
                <a:lnTo>
                  <a:pt x="18" y="1017"/>
                </a:lnTo>
                <a:lnTo>
                  <a:pt x="18" y="1014"/>
                </a:lnTo>
                <a:lnTo>
                  <a:pt x="15" y="1014"/>
                </a:lnTo>
                <a:lnTo>
                  <a:pt x="15" y="1015"/>
                </a:lnTo>
                <a:lnTo>
                  <a:pt x="13" y="1015"/>
                </a:lnTo>
                <a:lnTo>
                  <a:pt x="13" y="1014"/>
                </a:lnTo>
                <a:lnTo>
                  <a:pt x="12" y="1014"/>
                </a:lnTo>
                <a:lnTo>
                  <a:pt x="11" y="1015"/>
                </a:lnTo>
                <a:lnTo>
                  <a:pt x="11" y="1014"/>
                </a:lnTo>
                <a:lnTo>
                  <a:pt x="8" y="1009"/>
                </a:lnTo>
                <a:lnTo>
                  <a:pt x="8" y="1008"/>
                </a:lnTo>
                <a:lnTo>
                  <a:pt x="7" y="1005"/>
                </a:lnTo>
                <a:lnTo>
                  <a:pt x="7" y="1003"/>
                </a:lnTo>
                <a:lnTo>
                  <a:pt x="6" y="999"/>
                </a:lnTo>
                <a:lnTo>
                  <a:pt x="7" y="999"/>
                </a:lnTo>
                <a:lnTo>
                  <a:pt x="8" y="1001"/>
                </a:lnTo>
                <a:lnTo>
                  <a:pt x="8" y="998"/>
                </a:lnTo>
                <a:lnTo>
                  <a:pt x="9" y="998"/>
                </a:lnTo>
                <a:lnTo>
                  <a:pt x="11" y="997"/>
                </a:lnTo>
                <a:lnTo>
                  <a:pt x="11" y="996"/>
                </a:lnTo>
                <a:lnTo>
                  <a:pt x="12" y="996"/>
                </a:lnTo>
                <a:lnTo>
                  <a:pt x="12" y="998"/>
                </a:lnTo>
                <a:lnTo>
                  <a:pt x="11" y="1001"/>
                </a:lnTo>
                <a:lnTo>
                  <a:pt x="11" y="1002"/>
                </a:lnTo>
                <a:lnTo>
                  <a:pt x="12" y="1002"/>
                </a:lnTo>
                <a:lnTo>
                  <a:pt x="12" y="1005"/>
                </a:lnTo>
                <a:lnTo>
                  <a:pt x="13" y="1005"/>
                </a:lnTo>
                <a:lnTo>
                  <a:pt x="13" y="1002"/>
                </a:lnTo>
                <a:lnTo>
                  <a:pt x="14" y="1003"/>
                </a:lnTo>
                <a:lnTo>
                  <a:pt x="14" y="1001"/>
                </a:lnTo>
                <a:lnTo>
                  <a:pt x="15" y="999"/>
                </a:lnTo>
                <a:lnTo>
                  <a:pt x="15" y="997"/>
                </a:lnTo>
                <a:lnTo>
                  <a:pt x="17" y="996"/>
                </a:lnTo>
                <a:lnTo>
                  <a:pt x="17" y="998"/>
                </a:lnTo>
                <a:lnTo>
                  <a:pt x="18" y="998"/>
                </a:lnTo>
                <a:lnTo>
                  <a:pt x="18" y="995"/>
                </a:lnTo>
                <a:lnTo>
                  <a:pt x="17" y="995"/>
                </a:lnTo>
                <a:lnTo>
                  <a:pt x="17" y="992"/>
                </a:lnTo>
                <a:lnTo>
                  <a:pt x="15" y="992"/>
                </a:lnTo>
                <a:lnTo>
                  <a:pt x="15" y="995"/>
                </a:lnTo>
                <a:lnTo>
                  <a:pt x="14" y="995"/>
                </a:lnTo>
                <a:lnTo>
                  <a:pt x="14" y="994"/>
                </a:lnTo>
                <a:lnTo>
                  <a:pt x="13" y="992"/>
                </a:lnTo>
                <a:lnTo>
                  <a:pt x="12" y="992"/>
                </a:lnTo>
                <a:lnTo>
                  <a:pt x="12" y="991"/>
                </a:lnTo>
                <a:lnTo>
                  <a:pt x="13" y="990"/>
                </a:lnTo>
                <a:lnTo>
                  <a:pt x="13" y="989"/>
                </a:lnTo>
                <a:lnTo>
                  <a:pt x="14" y="988"/>
                </a:lnTo>
                <a:close/>
                <a:moveTo>
                  <a:pt x="299" y="984"/>
                </a:moveTo>
                <a:lnTo>
                  <a:pt x="301" y="985"/>
                </a:lnTo>
                <a:lnTo>
                  <a:pt x="301" y="986"/>
                </a:lnTo>
                <a:lnTo>
                  <a:pt x="300" y="986"/>
                </a:lnTo>
                <a:lnTo>
                  <a:pt x="298" y="988"/>
                </a:lnTo>
                <a:lnTo>
                  <a:pt x="297" y="990"/>
                </a:lnTo>
                <a:lnTo>
                  <a:pt x="296" y="989"/>
                </a:lnTo>
                <a:lnTo>
                  <a:pt x="296" y="986"/>
                </a:lnTo>
                <a:lnTo>
                  <a:pt x="298" y="986"/>
                </a:lnTo>
                <a:lnTo>
                  <a:pt x="298" y="985"/>
                </a:lnTo>
                <a:lnTo>
                  <a:pt x="299" y="984"/>
                </a:lnTo>
                <a:close/>
                <a:moveTo>
                  <a:pt x="98" y="982"/>
                </a:moveTo>
                <a:lnTo>
                  <a:pt x="100" y="984"/>
                </a:lnTo>
                <a:lnTo>
                  <a:pt x="101" y="984"/>
                </a:lnTo>
                <a:lnTo>
                  <a:pt x="101" y="985"/>
                </a:lnTo>
                <a:lnTo>
                  <a:pt x="102" y="986"/>
                </a:lnTo>
                <a:lnTo>
                  <a:pt x="102" y="989"/>
                </a:lnTo>
                <a:lnTo>
                  <a:pt x="101" y="988"/>
                </a:lnTo>
                <a:lnTo>
                  <a:pt x="101" y="989"/>
                </a:lnTo>
                <a:lnTo>
                  <a:pt x="102" y="990"/>
                </a:lnTo>
                <a:lnTo>
                  <a:pt x="102" y="991"/>
                </a:lnTo>
                <a:lnTo>
                  <a:pt x="104" y="990"/>
                </a:lnTo>
                <a:lnTo>
                  <a:pt x="105" y="991"/>
                </a:lnTo>
                <a:lnTo>
                  <a:pt x="104" y="992"/>
                </a:lnTo>
                <a:lnTo>
                  <a:pt x="105" y="992"/>
                </a:lnTo>
                <a:lnTo>
                  <a:pt x="105" y="994"/>
                </a:lnTo>
                <a:lnTo>
                  <a:pt x="101" y="994"/>
                </a:lnTo>
                <a:lnTo>
                  <a:pt x="101" y="992"/>
                </a:lnTo>
                <a:lnTo>
                  <a:pt x="100" y="992"/>
                </a:lnTo>
                <a:lnTo>
                  <a:pt x="98" y="991"/>
                </a:lnTo>
                <a:lnTo>
                  <a:pt x="96" y="990"/>
                </a:lnTo>
                <a:lnTo>
                  <a:pt x="96" y="988"/>
                </a:lnTo>
                <a:lnTo>
                  <a:pt x="99" y="988"/>
                </a:lnTo>
                <a:lnTo>
                  <a:pt x="99" y="986"/>
                </a:lnTo>
                <a:lnTo>
                  <a:pt x="96" y="984"/>
                </a:lnTo>
                <a:lnTo>
                  <a:pt x="96" y="983"/>
                </a:lnTo>
                <a:lnTo>
                  <a:pt x="98" y="982"/>
                </a:lnTo>
                <a:close/>
                <a:moveTo>
                  <a:pt x="66" y="982"/>
                </a:moveTo>
                <a:lnTo>
                  <a:pt x="67" y="982"/>
                </a:lnTo>
                <a:lnTo>
                  <a:pt x="67" y="984"/>
                </a:lnTo>
                <a:lnTo>
                  <a:pt x="66" y="983"/>
                </a:lnTo>
                <a:lnTo>
                  <a:pt x="66" y="982"/>
                </a:lnTo>
                <a:close/>
                <a:moveTo>
                  <a:pt x="94" y="977"/>
                </a:moveTo>
                <a:lnTo>
                  <a:pt x="95" y="977"/>
                </a:lnTo>
                <a:lnTo>
                  <a:pt x="95" y="978"/>
                </a:lnTo>
                <a:lnTo>
                  <a:pt x="94" y="979"/>
                </a:lnTo>
                <a:lnTo>
                  <a:pt x="94" y="980"/>
                </a:lnTo>
                <a:lnTo>
                  <a:pt x="93" y="982"/>
                </a:lnTo>
                <a:lnTo>
                  <a:pt x="93" y="983"/>
                </a:lnTo>
                <a:lnTo>
                  <a:pt x="92" y="983"/>
                </a:lnTo>
                <a:lnTo>
                  <a:pt x="92" y="980"/>
                </a:lnTo>
                <a:lnTo>
                  <a:pt x="93" y="979"/>
                </a:lnTo>
                <a:lnTo>
                  <a:pt x="94" y="977"/>
                </a:lnTo>
                <a:close/>
                <a:moveTo>
                  <a:pt x="77" y="974"/>
                </a:moveTo>
                <a:lnTo>
                  <a:pt x="80" y="974"/>
                </a:lnTo>
                <a:lnTo>
                  <a:pt x="80" y="976"/>
                </a:lnTo>
                <a:lnTo>
                  <a:pt x="82" y="976"/>
                </a:lnTo>
                <a:lnTo>
                  <a:pt x="83" y="977"/>
                </a:lnTo>
                <a:lnTo>
                  <a:pt x="82" y="977"/>
                </a:lnTo>
                <a:lnTo>
                  <a:pt x="82" y="980"/>
                </a:lnTo>
                <a:lnTo>
                  <a:pt x="81" y="980"/>
                </a:lnTo>
                <a:lnTo>
                  <a:pt x="82" y="982"/>
                </a:lnTo>
                <a:lnTo>
                  <a:pt x="81" y="982"/>
                </a:lnTo>
                <a:lnTo>
                  <a:pt x="79" y="979"/>
                </a:lnTo>
                <a:lnTo>
                  <a:pt x="79" y="977"/>
                </a:lnTo>
                <a:lnTo>
                  <a:pt x="77" y="977"/>
                </a:lnTo>
                <a:lnTo>
                  <a:pt x="77" y="978"/>
                </a:lnTo>
                <a:lnTo>
                  <a:pt x="76" y="977"/>
                </a:lnTo>
                <a:lnTo>
                  <a:pt x="76" y="976"/>
                </a:lnTo>
                <a:lnTo>
                  <a:pt x="77" y="974"/>
                </a:lnTo>
                <a:close/>
                <a:moveTo>
                  <a:pt x="73" y="974"/>
                </a:moveTo>
                <a:lnTo>
                  <a:pt x="74" y="974"/>
                </a:lnTo>
                <a:lnTo>
                  <a:pt x="75" y="976"/>
                </a:lnTo>
                <a:lnTo>
                  <a:pt x="76" y="978"/>
                </a:lnTo>
                <a:lnTo>
                  <a:pt x="76" y="980"/>
                </a:lnTo>
                <a:lnTo>
                  <a:pt x="74" y="980"/>
                </a:lnTo>
                <a:lnTo>
                  <a:pt x="74" y="977"/>
                </a:lnTo>
                <a:lnTo>
                  <a:pt x="73" y="976"/>
                </a:lnTo>
                <a:lnTo>
                  <a:pt x="73" y="974"/>
                </a:lnTo>
                <a:close/>
                <a:moveTo>
                  <a:pt x="86" y="973"/>
                </a:moveTo>
                <a:lnTo>
                  <a:pt x="87" y="974"/>
                </a:lnTo>
                <a:lnTo>
                  <a:pt x="87" y="973"/>
                </a:lnTo>
                <a:lnTo>
                  <a:pt x="86" y="973"/>
                </a:lnTo>
                <a:close/>
                <a:moveTo>
                  <a:pt x="74" y="967"/>
                </a:moveTo>
                <a:lnTo>
                  <a:pt x="75" y="968"/>
                </a:lnTo>
                <a:lnTo>
                  <a:pt x="75" y="973"/>
                </a:lnTo>
                <a:lnTo>
                  <a:pt x="74" y="972"/>
                </a:lnTo>
                <a:lnTo>
                  <a:pt x="73" y="972"/>
                </a:lnTo>
                <a:lnTo>
                  <a:pt x="73" y="971"/>
                </a:lnTo>
                <a:lnTo>
                  <a:pt x="71" y="970"/>
                </a:lnTo>
                <a:lnTo>
                  <a:pt x="74" y="967"/>
                </a:lnTo>
                <a:close/>
                <a:moveTo>
                  <a:pt x="70" y="948"/>
                </a:moveTo>
                <a:lnTo>
                  <a:pt x="73" y="948"/>
                </a:lnTo>
                <a:lnTo>
                  <a:pt x="73" y="949"/>
                </a:lnTo>
                <a:lnTo>
                  <a:pt x="74" y="949"/>
                </a:lnTo>
                <a:lnTo>
                  <a:pt x="74" y="951"/>
                </a:lnTo>
                <a:lnTo>
                  <a:pt x="71" y="949"/>
                </a:lnTo>
                <a:lnTo>
                  <a:pt x="70" y="948"/>
                </a:lnTo>
                <a:close/>
                <a:moveTo>
                  <a:pt x="73" y="945"/>
                </a:moveTo>
                <a:lnTo>
                  <a:pt x="75" y="946"/>
                </a:lnTo>
                <a:lnTo>
                  <a:pt x="74" y="947"/>
                </a:lnTo>
                <a:lnTo>
                  <a:pt x="73" y="947"/>
                </a:lnTo>
                <a:lnTo>
                  <a:pt x="73" y="946"/>
                </a:lnTo>
                <a:lnTo>
                  <a:pt x="71" y="946"/>
                </a:lnTo>
                <a:lnTo>
                  <a:pt x="73" y="945"/>
                </a:lnTo>
                <a:close/>
                <a:moveTo>
                  <a:pt x="75" y="943"/>
                </a:moveTo>
                <a:lnTo>
                  <a:pt x="76" y="943"/>
                </a:lnTo>
                <a:lnTo>
                  <a:pt x="76" y="947"/>
                </a:lnTo>
                <a:lnTo>
                  <a:pt x="75" y="947"/>
                </a:lnTo>
                <a:lnTo>
                  <a:pt x="75" y="943"/>
                </a:lnTo>
                <a:close/>
                <a:moveTo>
                  <a:pt x="74" y="939"/>
                </a:moveTo>
                <a:lnTo>
                  <a:pt x="76" y="939"/>
                </a:lnTo>
                <a:lnTo>
                  <a:pt x="76" y="940"/>
                </a:lnTo>
                <a:lnTo>
                  <a:pt x="79" y="942"/>
                </a:lnTo>
                <a:lnTo>
                  <a:pt x="77" y="943"/>
                </a:lnTo>
                <a:lnTo>
                  <a:pt x="76" y="943"/>
                </a:lnTo>
                <a:lnTo>
                  <a:pt x="75" y="941"/>
                </a:lnTo>
                <a:lnTo>
                  <a:pt x="73" y="941"/>
                </a:lnTo>
                <a:lnTo>
                  <a:pt x="74" y="939"/>
                </a:lnTo>
                <a:close/>
                <a:moveTo>
                  <a:pt x="77" y="918"/>
                </a:moveTo>
                <a:lnTo>
                  <a:pt x="79" y="918"/>
                </a:lnTo>
                <a:lnTo>
                  <a:pt x="81" y="921"/>
                </a:lnTo>
                <a:lnTo>
                  <a:pt x="77" y="921"/>
                </a:lnTo>
                <a:lnTo>
                  <a:pt x="77" y="918"/>
                </a:lnTo>
                <a:close/>
                <a:moveTo>
                  <a:pt x="79" y="917"/>
                </a:moveTo>
                <a:lnTo>
                  <a:pt x="80" y="918"/>
                </a:lnTo>
                <a:lnTo>
                  <a:pt x="79" y="918"/>
                </a:lnTo>
                <a:lnTo>
                  <a:pt x="79" y="917"/>
                </a:lnTo>
                <a:close/>
                <a:moveTo>
                  <a:pt x="83" y="880"/>
                </a:moveTo>
                <a:lnTo>
                  <a:pt x="85" y="880"/>
                </a:lnTo>
                <a:lnTo>
                  <a:pt x="85" y="881"/>
                </a:lnTo>
                <a:lnTo>
                  <a:pt x="83" y="881"/>
                </a:lnTo>
                <a:lnTo>
                  <a:pt x="83" y="880"/>
                </a:lnTo>
                <a:close/>
                <a:moveTo>
                  <a:pt x="68" y="756"/>
                </a:moveTo>
                <a:lnTo>
                  <a:pt x="70" y="756"/>
                </a:lnTo>
                <a:lnTo>
                  <a:pt x="71" y="757"/>
                </a:lnTo>
                <a:lnTo>
                  <a:pt x="71" y="758"/>
                </a:lnTo>
                <a:lnTo>
                  <a:pt x="73" y="759"/>
                </a:lnTo>
                <a:lnTo>
                  <a:pt x="73" y="761"/>
                </a:lnTo>
                <a:lnTo>
                  <a:pt x="70" y="761"/>
                </a:lnTo>
                <a:lnTo>
                  <a:pt x="70" y="762"/>
                </a:lnTo>
                <a:lnTo>
                  <a:pt x="69" y="761"/>
                </a:lnTo>
                <a:lnTo>
                  <a:pt x="69" y="757"/>
                </a:lnTo>
                <a:lnTo>
                  <a:pt x="68" y="756"/>
                </a:lnTo>
                <a:close/>
                <a:moveTo>
                  <a:pt x="67" y="730"/>
                </a:moveTo>
                <a:lnTo>
                  <a:pt x="68" y="731"/>
                </a:lnTo>
                <a:lnTo>
                  <a:pt x="69" y="731"/>
                </a:lnTo>
                <a:lnTo>
                  <a:pt x="71" y="730"/>
                </a:lnTo>
                <a:lnTo>
                  <a:pt x="73" y="730"/>
                </a:lnTo>
                <a:lnTo>
                  <a:pt x="73" y="731"/>
                </a:lnTo>
                <a:lnTo>
                  <a:pt x="71" y="732"/>
                </a:lnTo>
                <a:lnTo>
                  <a:pt x="71" y="736"/>
                </a:lnTo>
                <a:lnTo>
                  <a:pt x="74" y="736"/>
                </a:lnTo>
                <a:lnTo>
                  <a:pt x="75" y="737"/>
                </a:lnTo>
                <a:lnTo>
                  <a:pt x="75" y="734"/>
                </a:lnTo>
                <a:lnTo>
                  <a:pt x="77" y="732"/>
                </a:lnTo>
                <a:lnTo>
                  <a:pt x="80" y="732"/>
                </a:lnTo>
                <a:lnTo>
                  <a:pt x="81" y="733"/>
                </a:lnTo>
                <a:lnTo>
                  <a:pt x="81" y="738"/>
                </a:lnTo>
                <a:lnTo>
                  <a:pt x="79" y="738"/>
                </a:lnTo>
                <a:lnTo>
                  <a:pt x="79" y="737"/>
                </a:lnTo>
                <a:lnTo>
                  <a:pt x="75" y="739"/>
                </a:lnTo>
                <a:lnTo>
                  <a:pt x="75" y="740"/>
                </a:lnTo>
                <a:lnTo>
                  <a:pt x="76" y="740"/>
                </a:lnTo>
                <a:lnTo>
                  <a:pt x="76" y="741"/>
                </a:lnTo>
                <a:lnTo>
                  <a:pt x="75" y="741"/>
                </a:lnTo>
                <a:lnTo>
                  <a:pt x="73" y="743"/>
                </a:lnTo>
                <a:lnTo>
                  <a:pt x="73" y="740"/>
                </a:lnTo>
                <a:lnTo>
                  <a:pt x="71" y="739"/>
                </a:lnTo>
                <a:lnTo>
                  <a:pt x="71" y="738"/>
                </a:lnTo>
                <a:lnTo>
                  <a:pt x="70" y="739"/>
                </a:lnTo>
                <a:lnTo>
                  <a:pt x="69" y="739"/>
                </a:lnTo>
                <a:lnTo>
                  <a:pt x="69" y="737"/>
                </a:lnTo>
                <a:lnTo>
                  <a:pt x="67" y="734"/>
                </a:lnTo>
                <a:lnTo>
                  <a:pt x="67" y="730"/>
                </a:lnTo>
                <a:close/>
                <a:moveTo>
                  <a:pt x="106" y="726"/>
                </a:moveTo>
                <a:lnTo>
                  <a:pt x="107" y="728"/>
                </a:lnTo>
                <a:lnTo>
                  <a:pt x="107" y="730"/>
                </a:lnTo>
                <a:lnTo>
                  <a:pt x="106" y="731"/>
                </a:lnTo>
                <a:lnTo>
                  <a:pt x="105" y="730"/>
                </a:lnTo>
                <a:lnTo>
                  <a:pt x="105" y="731"/>
                </a:lnTo>
                <a:lnTo>
                  <a:pt x="104" y="730"/>
                </a:lnTo>
                <a:lnTo>
                  <a:pt x="104" y="728"/>
                </a:lnTo>
                <a:lnTo>
                  <a:pt x="105" y="727"/>
                </a:lnTo>
                <a:lnTo>
                  <a:pt x="106" y="727"/>
                </a:lnTo>
                <a:lnTo>
                  <a:pt x="106" y="726"/>
                </a:lnTo>
                <a:close/>
                <a:moveTo>
                  <a:pt x="114" y="725"/>
                </a:moveTo>
                <a:lnTo>
                  <a:pt x="116" y="725"/>
                </a:lnTo>
                <a:lnTo>
                  <a:pt x="116" y="728"/>
                </a:lnTo>
                <a:lnTo>
                  <a:pt x="114" y="730"/>
                </a:lnTo>
                <a:lnTo>
                  <a:pt x="114" y="731"/>
                </a:lnTo>
                <a:lnTo>
                  <a:pt x="113" y="731"/>
                </a:lnTo>
                <a:lnTo>
                  <a:pt x="112" y="730"/>
                </a:lnTo>
                <a:lnTo>
                  <a:pt x="111" y="730"/>
                </a:lnTo>
                <a:lnTo>
                  <a:pt x="112" y="731"/>
                </a:lnTo>
                <a:lnTo>
                  <a:pt x="112" y="732"/>
                </a:lnTo>
                <a:lnTo>
                  <a:pt x="111" y="732"/>
                </a:lnTo>
                <a:lnTo>
                  <a:pt x="111" y="733"/>
                </a:lnTo>
                <a:lnTo>
                  <a:pt x="108" y="732"/>
                </a:lnTo>
                <a:lnTo>
                  <a:pt x="108" y="726"/>
                </a:lnTo>
                <a:lnTo>
                  <a:pt x="111" y="726"/>
                </a:lnTo>
                <a:lnTo>
                  <a:pt x="111" y="727"/>
                </a:lnTo>
                <a:lnTo>
                  <a:pt x="112" y="727"/>
                </a:lnTo>
                <a:lnTo>
                  <a:pt x="112" y="726"/>
                </a:lnTo>
                <a:lnTo>
                  <a:pt x="113" y="726"/>
                </a:lnTo>
                <a:lnTo>
                  <a:pt x="113" y="727"/>
                </a:lnTo>
                <a:lnTo>
                  <a:pt x="114" y="726"/>
                </a:lnTo>
                <a:lnTo>
                  <a:pt x="114" y="725"/>
                </a:lnTo>
                <a:close/>
                <a:moveTo>
                  <a:pt x="76" y="722"/>
                </a:moveTo>
                <a:lnTo>
                  <a:pt x="77" y="722"/>
                </a:lnTo>
                <a:lnTo>
                  <a:pt x="79" y="724"/>
                </a:lnTo>
                <a:lnTo>
                  <a:pt x="79" y="727"/>
                </a:lnTo>
                <a:lnTo>
                  <a:pt x="76" y="730"/>
                </a:lnTo>
                <a:lnTo>
                  <a:pt x="76" y="727"/>
                </a:lnTo>
                <a:lnTo>
                  <a:pt x="75" y="728"/>
                </a:lnTo>
                <a:lnTo>
                  <a:pt x="73" y="726"/>
                </a:lnTo>
                <a:lnTo>
                  <a:pt x="73" y="725"/>
                </a:lnTo>
                <a:lnTo>
                  <a:pt x="75" y="725"/>
                </a:lnTo>
                <a:lnTo>
                  <a:pt x="76" y="722"/>
                </a:lnTo>
                <a:close/>
                <a:moveTo>
                  <a:pt x="105" y="720"/>
                </a:moveTo>
                <a:lnTo>
                  <a:pt x="110" y="720"/>
                </a:lnTo>
                <a:lnTo>
                  <a:pt x="110" y="721"/>
                </a:lnTo>
                <a:lnTo>
                  <a:pt x="108" y="721"/>
                </a:lnTo>
                <a:lnTo>
                  <a:pt x="108" y="722"/>
                </a:lnTo>
                <a:lnTo>
                  <a:pt x="106" y="722"/>
                </a:lnTo>
                <a:lnTo>
                  <a:pt x="105" y="724"/>
                </a:lnTo>
                <a:lnTo>
                  <a:pt x="105" y="725"/>
                </a:lnTo>
                <a:lnTo>
                  <a:pt x="102" y="725"/>
                </a:lnTo>
                <a:lnTo>
                  <a:pt x="104" y="724"/>
                </a:lnTo>
                <a:lnTo>
                  <a:pt x="104" y="721"/>
                </a:lnTo>
                <a:lnTo>
                  <a:pt x="105" y="721"/>
                </a:lnTo>
                <a:lnTo>
                  <a:pt x="105" y="720"/>
                </a:lnTo>
                <a:close/>
                <a:moveTo>
                  <a:pt x="136" y="682"/>
                </a:moveTo>
                <a:lnTo>
                  <a:pt x="138" y="682"/>
                </a:lnTo>
                <a:lnTo>
                  <a:pt x="138" y="683"/>
                </a:lnTo>
                <a:lnTo>
                  <a:pt x="139" y="683"/>
                </a:lnTo>
                <a:lnTo>
                  <a:pt x="139" y="687"/>
                </a:lnTo>
                <a:lnTo>
                  <a:pt x="138" y="687"/>
                </a:lnTo>
                <a:lnTo>
                  <a:pt x="138" y="688"/>
                </a:lnTo>
                <a:lnTo>
                  <a:pt x="136" y="688"/>
                </a:lnTo>
                <a:lnTo>
                  <a:pt x="135" y="687"/>
                </a:lnTo>
                <a:lnTo>
                  <a:pt x="135" y="685"/>
                </a:lnTo>
                <a:lnTo>
                  <a:pt x="133" y="684"/>
                </a:lnTo>
                <a:lnTo>
                  <a:pt x="135" y="684"/>
                </a:lnTo>
                <a:lnTo>
                  <a:pt x="135" y="683"/>
                </a:lnTo>
                <a:lnTo>
                  <a:pt x="136" y="683"/>
                </a:lnTo>
                <a:lnTo>
                  <a:pt x="136" y="682"/>
                </a:lnTo>
                <a:close/>
                <a:moveTo>
                  <a:pt x="225" y="554"/>
                </a:moveTo>
                <a:lnTo>
                  <a:pt x="228" y="556"/>
                </a:lnTo>
                <a:lnTo>
                  <a:pt x="226" y="556"/>
                </a:lnTo>
                <a:lnTo>
                  <a:pt x="226" y="558"/>
                </a:lnTo>
                <a:lnTo>
                  <a:pt x="234" y="558"/>
                </a:lnTo>
                <a:lnTo>
                  <a:pt x="235" y="559"/>
                </a:lnTo>
                <a:lnTo>
                  <a:pt x="232" y="560"/>
                </a:lnTo>
                <a:lnTo>
                  <a:pt x="230" y="560"/>
                </a:lnTo>
                <a:lnTo>
                  <a:pt x="226" y="559"/>
                </a:lnTo>
                <a:lnTo>
                  <a:pt x="224" y="559"/>
                </a:lnTo>
                <a:lnTo>
                  <a:pt x="223" y="561"/>
                </a:lnTo>
                <a:lnTo>
                  <a:pt x="220" y="564"/>
                </a:lnTo>
                <a:lnTo>
                  <a:pt x="222" y="566"/>
                </a:lnTo>
                <a:lnTo>
                  <a:pt x="224" y="566"/>
                </a:lnTo>
                <a:lnTo>
                  <a:pt x="224" y="567"/>
                </a:lnTo>
                <a:lnTo>
                  <a:pt x="222" y="567"/>
                </a:lnTo>
                <a:lnTo>
                  <a:pt x="222" y="568"/>
                </a:lnTo>
                <a:lnTo>
                  <a:pt x="219" y="568"/>
                </a:lnTo>
                <a:lnTo>
                  <a:pt x="219" y="565"/>
                </a:lnTo>
                <a:lnTo>
                  <a:pt x="218" y="564"/>
                </a:lnTo>
                <a:lnTo>
                  <a:pt x="217" y="566"/>
                </a:lnTo>
                <a:lnTo>
                  <a:pt x="216" y="567"/>
                </a:lnTo>
                <a:lnTo>
                  <a:pt x="214" y="565"/>
                </a:lnTo>
                <a:lnTo>
                  <a:pt x="214" y="562"/>
                </a:lnTo>
                <a:lnTo>
                  <a:pt x="213" y="561"/>
                </a:lnTo>
                <a:lnTo>
                  <a:pt x="213" y="560"/>
                </a:lnTo>
                <a:lnTo>
                  <a:pt x="214" y="559"/>
                </a:lnTo>
                <a:lnTo>
                  <a:pt x="217" y="555"/>
                </a:lnTo>
                <a:lnTo>
                  <a:pt x="220" y="555"/>
                </a:lnTo>
                <a:lnTo>
                  <a:pt x="225" y="554"/>
                </a:lnTo>
                <a:close/>
                <a:moveTo>
                  <a:pt x="353" y="0"/>
                </a:moveTo>
                <a:lnTo>
                  <a:pt x="355" y="2"/>
                </a:lnTo>
                <a:lnTo>
                  <a:pt x="358" y="8"/>
                </a:lnTo>
                <a:lnTo>
                  <a:pt x="366" y="22"/>
                </a:lnTo>
                <a:lnTo>
                  <a:pt x="366" y="24"/>
                </a:lnTo>
                <a:lnTo>
                  <a:pt x="374" y="27"/>
                </a:lnTo>
                <a:lnTo>
                  <a:pt x="374" y="31"/>
                </a:lnTo>
                <a:lnTo>
                  <a:pt x="375" y="33"/>
                </a:lnTo>
                <a:lnTo>
                  <a:pt x="377" y="34"/>
                </a:lnTo>
                <a:lnTo>
                  <a:pt x="379" y="36"/>
                </a:lnTo>
                <a:lnTo>
                  <a:pt x="392" y="43"/>
                </a:lnTo>
                <a:lnTo>
                  <a:pt x="406" y="49"/>
                </a:lnTo>
                <a:lnTo>
                  <a:pt x="406" y="50"/>
                </a:lnTo>
                <a:lnTo>
                  <a:pt x="409" y="60"/>
                </a:lnTo>
                <a:lnTo>
                  <a:pt x="415" y="75"/>
                </a:lnTo>
                <a:lnTo>
                  <a:pt x="410" y="86"/>
                </a:lnTo>
                <a:lnTo>
                  <a:pt x="394" y="105"/>
                </a:lnTo>
                <a:lnTo>
                  <a:pt x="394" y="108"/>
                </a:lnTo>
                <a:lnTo>
                  <a:pt x="393" y="117"/>
                </a:lnTo>
                <a:lnTo>
                  <a:pt x="393" y="120"/>
                </a:lnTo>
                <a:lnTo>
                  <a:pt x="398" y="126"/>
                </a:lnTo>
                <a:lnTo>
                  <a:pt x="393" y="132"/>
                </a:lnTo>
                <a:lnTo>
                  <a:pt x="389" y="134"/>
                </a:lnTo>
                <a:lnTo>
                  <a:pt x="378" y="142"/>
                </a:lnTo>
                <a:lnTo>
                  <a:pt x="375" y="142"/>
                </a:lnTo>
                <a:lnTo>
                  <a:pt x="375" y="144"/>
                </a:lnTo>
                <a:lnTo>
                  <a:pt x="377" y="145"/>
                </a:lnTo>
                <a:lnTo>
                  <a:pt x="389" y="145"/>
                </a:lnTo>
                <a:lnTo>
                  <a:pt x="392" y="149"/>
                </a:lnTo>
                <a:lnTo>
                  <a:pt x="390" y="159"/>
                </a:lnTo>
                <a:lnTo>
                  <a:pt x="389" y="162"/>
                </a:lnTo>
                <a:lnTo>
                  <a:pt x="378" y="184"/>
                </a:lnTo>
                <a:lnTo>
                  <a:pt x="377" y="185"/>
                </a:lnTo>
                <a:lnTo>
                  <a:pt x="377" y="186"/>
                </a:lnTo>
                <a:lnTo>
                  <a:pt x="378" y="190"/>
                </a:lnTo>
                <a:lnTo>
                  <a:pt x="379" y="192"/>
                </a:lnTo>
                <a:lnTo>
                  <a:pt x="386" y="222"/>
                </a:lnTo>
                <a:lnTo>
                  <a:pt x="387" y="224"/>
                </a:lnTo>
                <a:lnTo>
                  <a:pt x="389" y="226"/>
                </a:lnTo>
                <a:lnTo>
                  <a:pt x="400" y="230"/>
                </a:lnTo>
                <a:lnTo>
                  <a:pt x="414" y="236"/>
                </a:lnTo>
                <a:lnTo>
                  <a:pt x="416" y="239"/>
                </a:lnTo>
                <a:lnTo>
                  <a:pt x="419" y="246"/>
                </a:lnTo>
                <a:lnTo>
                  <a:pt x="421" y="249"/>
                </a:lnTo>
                <a:lnTo>
                  <a:pt x="428" y="265"/>
                </a:lnTo>
                <a:lnTo>
                  <a:pt x="430" y="269"/>
                </a:lnTo>
                <a:lnTo>
                  <a:pt x="443" y="280"/>
                </a:lnTo>
                <a:lnTo>
                  <a:pt x="442" y="282"/>
                </a:lnTo>
                <a:lnTo>
                  <a:pt x="442" y="283"/>
                </a:lnTo>
                <a:lnTo>
                  <a:pt x="441" y="284"/>
                </a:lnTo>
                <a:lnTo>
                  <a:pt x="441" y="294"/>
                </a:lnTo>
                <a:lnTo>
                  <a:pt x="440" y="298"/>
                </a:lnTo>
                <a:lnTo>
                  <a:pt x="439" y="300"/>
                </a:lnTo>
                <a:lnTo>
                  <a:pt x="422" y="323"/>
                </a:lnTo>
                <a:lnTo>
                  <a:pt x="422" y="326"/>
                </a:lnTo>
                <a:lnTo>
                  <a:pt x="421" y="327"/>
                </a:lnTo>
                <a:lnTo>
                  <a:pt x="421" y="328"/>
                </a:lnTo>
                <a:lnTo>
                  <a:pt x="418" y="331"/>
                </a:lnTo>
                <a:lnTo>
                  <a:pt x="405" y="357"/>
                </a:lnTo>
                <a:lnTo>
                  <a:pt x="403" y="365"/>
                </a:lnTo>
                <a:lnTo>
                  <a:pt x="404" y="374"/>
                </a:lnTo>
                <a:lnTo>
                  <a:pt x="414" y="390"/>
                </a:lnTo>
                <a:lnTo>
                  <a:pt x="416" y="396"/>
                </a:lnTo>
                <a:lnTo>
                  <a:pt x="417" y="398"/>
                </a:lnTo>
                <a:lnTo>
                  <a:pt x="417" y="401"/>
                </a:lnTo>
                <a:lnTo>
                  <a:pt x="418" y="402"/>
                </a:lnTo>
                <a:lnTo>
                  <a:pt x="423" y="411"/>
                </a:lnTo>
                <a:lnTo>
                  <a:pt x="423" y="417"/>
                </a:lnTo>
                <a:lnTo>
                  <a:pt x="424" y="418"/>
                </a:lnTo>
                <a:lnTo>
                  <a:pt x="424" y="423"/>
                </a:lnTo>
                <a:lnTo>
                  <a:pt x="425" y="425"/>
                </a:lnTo>
                <a:lnTo>
                  <a:pt x="428" y="431"/>
                </a:lnTo>
                <a:lnTo>
                  <a:pt x="434" y="443"/>
                </a:lnTo>
                <a:lnTo>
                  <a:pt x="437" y="448"/>
                </a:lnTo>
                <a:lnTo>
                  <a:pt x="439" y="450"/>
                </a:lnTo>
                <a:lnTo>
                  <a:pt x="440" y="455"/>
                </a:lnTo>
                <a:lnTo>
                  <a:pt x="441" y="462"/>
                </a:lnTo>
                <a:lnTo>
                  <a:pt x="441" y="464"/>
                </a:lnTo>
                <a:lnTo>
                  <a:pt x="442" y="469"/>
                </a:lnTo>
                <a:lnTo>
                  <a:pt x="443" y="470"/>
                </a:lnTo>
                <a:lnTo>
                  <a:pt x="446" y="480"/>
                </a:lnTo>
                <a:lnTo>
                  <a:pt x="446" y="482"/>
                </a:lnTo>
                <a:lnTo>
                  <a:pt x="447" y="492"/>
                </a:lnTo>
                <a:lnTo>
                  <a:pt x="448" y="494"/>
                </a:lnTo>
                <a:lnTo>
                  <a:pt x="447" y="497"/>
                </a:lnTo>
                <a:lnTo>
                  <a:pt x="446" y="497"/>
                </a:lnTo>
                <a:lnTo>
                  <a:pt x="443" y="494"/>
                </a:lnTo>
                <a:lnTo>
                  <a:pt x="433" y="498"/>
                </a:lnTo>
                <a:lnTo>
                  <a:pt x="430" y="500"/>
                </a:lnTo>
                <a:lnTo>
                  <a:pt x="431" y="501"/>
                </a:lnTo>
                <a:lnTo>
                  <a:pt x="435" y="504"/>
                </a:lnTo>
                <a:lnTo>
                  <a:pt x="436" y="506"/>
                </a:lnTo>
                <a:lnTo>
                  <a:pt x="435" y="507"/>
                </a:lnTo>
                <a:lnTo>
                  <a:pt x="431" y="512"/>
                </a:lnTo>
                <a:lnTo>
                  <a:pt x="431" y="513"/>
                </a:lnTo>
                <a:lnTo>
                  <a:pt x="430" y="518"/>
                </a:lnTo>
                <a:lnTo>
                  <a:pt x="431" y="527"/>
                </a:lnTo>
                <a:lnTo>
                  <a:pt x="431" y="530"/>
                </a:lnTo>
                <a:lnTo>
                  <a:pt x="427" y="536"/>
                </a:lnTo>
                <a:lnTo>
                  <a:pt x="425" y="540"/>
                </a:lnTo>
                <a:lnTo>
                  <a:pt x="427" y="542"/>
                </a:lnTo>
                <a:lnTo>
                  <a:pt x="433" y="542"/>
                </a:lnTo>
                <a:lnTo>
                  <a:pt x="436" y="543"/>
                </a:lnTo>
                <a:lnTo>
                  <a:pt x="436" y="547"/>
                </a:lnTo>
                <a:lnTo>
                  <a:pt x="435" y="548"/>
                </a:lnTo>
                <a:lnTo>
                  <a:pt x="435" y="550"/>
                </a:lnTo>
                <a:lnTo>
                  <a:pt x="436" y="550"/>
                </a:lnTo>
                <a:lnTo>
                  <a:pt x="436" y="553"/>
                </a:lnTo>
                <a:lnTo>
                  <a:pt x="435" y="554"/>
                </a:lnTo>
                <a:lnTo>
                  <a:pt x="429" y="555"/>
                </a:lnTo>
                <a:lnTo>
                  <a:pt x="427" y="558"/>
                </a:lnTo>
                <a:lnTo>
                  <a:pt x="425" y="560"/>
                </a:lnTo>
                <a:lnTo>
                  <a:pt x="425" y="565"/>
                </a:lnTo>
                <a:lnTo>
                  <a:pt x="427" y="573"/>
                </a:lnTo>
                <a:lnTo>
                  <a:pt x="430" y="579"/>
                </a:lnTo>
                <a:lnTo>
                  <a:pt x="434" y="584"/>
                </a:lnTo>
                <a:lnTo>
                  <a:pt x="437" y="585"/>
                </a:lnTo>
                <a:lnTo>
                  <a:pt x="446" y="585"/>
                </a:lnTo>
                <a:lnTo>
                  <a:pt x="447" y="586"/>
                </a:lnTo>
                <a:lnTo>
                  <a:pt x="448" y="586"/>
                </a:lnTo>
                <a:lnTo>
                  <a:pt x="448" y="587"/>
                </a:lnTo>
                <a:lnTo>
                  <a:pt x="447" y="589"/>
                </a:lnTo>
                <a:lnTo>
                  <a:pt x="447" y="591"/>
                </a:lnTo>
                <a:lnTo>
                  <a:pt x="448" y="592"/>
                </a:lnTo>
                <a:lnTo>
                  <a:pt x="448" y="593"/>
                </a:lnTo>
                <a:lnTo>
                  <a:pt x="449" y="595"/>
                </a:lnTo>
                <a:lnTo>
                  <a:pt x="450" y="597"/>
                </a:lnTo>
                <a:lnTo>
                  <a:pt x="450" y="599"/>
                </a:lnTo>
                <a:lnTo>
                  <a:pt x="448" y="602"/>
                </a:lnTo>
                <a:lnTo>
                  <a:pt x="441" y="605"/>
                </a:lnTo>
                <a:lnTo>
                  <a:pt x="441" y="609"/>
                </a:lnTo>
                <a:lnTo>
                  <a:pt x="442" y="609"/>
                </a:lnTo>
                <a:lnTo>
                  <a:pt x="442" y="612"/>
                </a:lnTo>
                <a:lnTo>
                  <a:pt x="445" y="614"/>
                </a:lnTo>
                <a:lnTo>
                  <a:pt x="446" y="616"/>
                </a:lnTo>
                <a:lnTo>
                  <a:pt x="446" y="618"/>
                </a:lnTo>
                <a:lnTo>
                  <a:pt x="445" y="621"/>
                </a:lnTo>
                <a:lnTo>
                  <a:pt x="445" y="624"/>
                </a:lnTo>
                <a:lnTo>
                  <a:pt x="447" y="627"/>
                </a:lnTo>
                <a:lnTo>
                  <a:pt x="449" y="628"/>
                </a:lnTo>
                <a:lnTo>
                  <a:pt x="456" y="630"/>
                </a:lnTo>
                <a:lnTo>
                  <a:pt x="460" y="634"/>
                </a:lnTo>
                <a:lnTo>
                  <a:pt x="460" y="636"/>
                </a:lnTo>
                <a:lnTo>
                  <a:pt x="461" y="638"/>
                </a:lnTo>
                <a:lnTo>
                  <a:pt x="464" y="638"/>
                </a:lnTo>
                <a:lnTo>
                  <a:pt x="466" y="640"/>
                </a:lnTo>
                <a:lnTo>
                  <a:pt x="466" y="642"/>
                </a:lnTo>
                <a:lnTo>
                  <a:pt x="465" y="645"/>
                </a:lnTo>
                <a:lnTo>
                  <a:pt x="465" y="646"/>
                </a:lnTo>
                <a:lnTo>
                  <a:pt x="466" y="647"/>
                </a:lnTo>
                <a:lnTo>
                  <a:pt x="466" y="650"/>
                </a:lnTo>
                <a:lnTo>
                  <a:pt x="467" y="653"/>
                </a:lnTo>
                <a:lnTo>
                  <a:pt x="467" y="657"/>
                </a:lnTo>
                <a:lnTo>
                  <a:pt x="466" y="659"/>
                </a:lnTo>
                <a:lnTo>
                  <a:pt x="464" y="663"/>
                </a:lnTo>
                <a:lnTo>
                  <a:pt x="456" y="671"/>
                </a:lnTo>
                <a:lnTo>
                  <a:pt x="454" y="678"/>
                </a:lnTo>
                <a:lnTo>
                  <a:pt x="452" y="682"/>
                </a:lnTo>
                <a:lnTo>
                  <a:pt x="445" y="684"/>
                </a:lnTo>
                <a:lnTo>
                  <a:pt x="442" y="685"/>
                </a:lnTo>
                <a:lnTo>
                  <a:pt x="442" y="689"/>
                </a:lnTo>
                <a:lnTo>
                  <a:pt x="453" y="702"/>
                </a:lnTo>
                <a:lnTo>
                  <a:pt x="459" y="706"/>
                </a:lnTo>
                <a:lnTo>
                  <a:pt x="461" y="710"/>
                </a:lnTo>
                <a:lnTo>
                  <a:pt x="464" y="713"/>
                </a:lnTo>
                <a:lnTo>
                  <a:pt x="477" y="721"/>
                </a:lnTo>
                <a:lnTo>
                  <a:pt x="484" y="730"/>
                </a:lnTo>
                <a:lnTo>
                  <a:pt x="492" y="736"/>
                </a:lnTo>
                <a:lnTo>
                  <a:pt x="495" y="738"/>
                </a:lnTo>
                <a:lnTo>
                  <a:pt x="495" y="744"/>
                </a:lnTo>
                <a:lnTo>
                  <a:pt x="496" y="745"/>
                </a:lnTo>
                <a:lnTo>
                  <a:pt x="496" y="746"/>
                </a:lnTo>
                <a:lnTo>
                  <a:pt x="497" y="749"/>
                </a:lnTo>
                <a:lnTo>
                  <a:pt x="499" y="750"/>
                </a:lnTo>
                <a:lnTo>
                  <a:pt x="501" y="752"/>
                </a:lnTo>
                <a:lnTo>
                  <a:pt x="504" y="756"/>
                </a:lnTo>
                <a:lnTo>
                  <a:pt x="504" y="757"/>
                </a:lnTo>
                <a:lnTo>
                  <a:pt x="505" y="757"/>
                </a:lnTo>
                <a:lnTo>
                  <a:pt x="507" y="759"/>
                </a:lnTo>
                <a:lnTo>
                  <a:pt x="507" y="762"/>
                </a:lnTo>
                <a:lnTo>
                  <a:pt x="508" y="764"/>
                </a:lnTo>
                <a:lnTo>
                  <a:pt x="509" y="765"/>
                </a:lnTo>
                <a:lnTo>
                  <a:pt x="505" y="773"/>
                </a:lnTo>
                <a:lnTo>
                  <a:pt x="503" y="776"/>
                </a:lnTo>
                <a:lnTo>
                  <a:pt x="502" y="780"/>
                </a:lnTo>
                <a:lnTo>
                  <a:pt x="501" y="788"/>
                </a:lnTo>
                <a:lnTo>
                  <a:pt x="499" y="790"/>
                </a:lnTo>
                <a:lnTo>
                  <a:pt x="498" y="794"/>
                </a:lnTo>
                <a:lnTo>
                  <a:pt x="497" y="795"/>
                </a:lnTo>
                <a:lnTo>
                  <a:pt x="496" y="800"/>
                </a:lnTo>
                <a:lnTo>
                  <a:pt x="495" y="802"/>
                </a:lnTo>
                <a:lnTo>
                  <a:pt x="495" y="804"/>
                </a:lnTo>
                <a:lnTo>
                  <a:pt x="492" y="805"/>
                </a:lnTo>
                <a:lnTo>
                  <a:pt x="491" y="805"/>
                </a:lnTo>
                <a:lnTo>
                  <a:pt x="491" y="806"/>
                </a:lnTo>
                <a:lnTo>
                  <a:pt x="490" y="808"/>
                </a:lnTo>
                <a:lnTo>
                  <a:pt x="484" y="816"/>
                </a:lnTo>
                <a:lnTo>
                  <a:pt x="484" y="817"/>
                </a:lnTo>
                <a:lnTo>
                  <a:pt x="483" y="819"/>
                </a:lnTo>
                <a:lnTo>
                  <a:pt x="481" y="820"/>
                </a:lnTo>
                <a:lnTo>
                  <a:pt x="481" y="822"/>
                </a:lnTo>
                <a:lnTo>
                  <a:pt x="472" y="829"/>
                </a:lnTo>
                <a:lnTo>
                  <a:pt x="471" y="830"/>
                </a:lnTo>
                <a:lnTo>
                  <a:pt x="470" y="830"/>
                </a:lnTo>
                <a:lnTo>
                  <a:pt x="470" y="831"/>
                </a:lnTo>
                <a:lnTo>
                  <a:pt x="468" y="833"/>
                </a:lnTo>
                <a:lnTo>
                  <a:pt x="462" y="842"/>
                </a:lnTo>
                <a:lnTo>
                  <a:pt x="456" y="848"/>
                </a:lnTo>
                <a:lnTo>
                  <a:pt x="449" y="861"/>
                </a:lnTo>
                <a:lnTo>
                  <a:pt x="442" y="872"/>
                </a:lnTo>
                <a:lnTo>
                  <a:pt x="435" y="879"/>
                </a:lnTo>
                <a:lnTo>
                  <a:pt x="434" y="882"/>
                </a:lnTo>
                <a:lnTo>
                  <a:pt x="434" y="884"/>
                </a:lnTo>
                <a:lnTo>
                  <a:pt x="428" y="891"/>
                </a:lnTo>
                <a:lnTo>
                  <a:pt x="423" y="893"/>
                </a:lnTo>
                <a:lnTo>
                  <a:pt x="422" y="894"/>
                </a:lnTo>
                <a:lnTo>
                  <a:pt x="422" y="896"/>
                </a:lnTo>
                <a:lnTo>
                  <a:pt x="419" y="900"/>
                </a:lnTo>
                <a:lnTo>
                  <a:pt x="414" y="906"/>
                </a:lnTo>
                <a:lnTo>
                  <a:pt x="412" y="909"/>
                </a:lnTo>
                <a:lnTo>
                  <a:pt x="412" y="910"/>
                </a:lnTo>
                <a:lnTo>
                  <a:pt x="411" y="911"/>
                </a:lnTo>
                <a:lnTo>
                  <a:pt x="409" y="915"/>
                </a:lnTo>
                <a:lnTo>
                  <a:pt x="406" y="917"/>
                </a:lnTo>
                <a:lnTo>
                  <a:pt x="399" y="922"/>
                </a:lnTo>
                <a:lnTo>
                  <a:pt x="397" y="923"/>
                </a:lnTo>
                <a:lnTo>
                  <a:pt x="394" y="927"/>
                </a:lnTo>
                <a:lnTo>
                  <a:pt x="392" y="928"/>
                </a:lnTo>
                <a:lnTo>
                  <a:pt x="390" y="930"/>
                </a:lnTo>
                <a:lnTo>
                  <a:pt x="387" y="934"/>
                </a:lnTo>
                <a:lnTo>
                  <a:pt x="386" y="935"/>
                </a:lnTo>
                <a:lnTo>
                  <a:pt x="386" y="937"/>
                </a:lnTo>
                <a:lnTo>
                  <a:pt x="384" y="940"/>
                </a:lnTo>
                <a:lnTo>
                  <a:pt x="380" y="941"/>
                </a:lnTo>
                <a:lnTo>
                  <a:pt x="373" y="948"/>
                </a:lnTo>
                <a:lnTo>
                  <a:pt x="368" y="954"/>
                </a:lnTo>
                <a:lnTo>
                  <a:pt x="365" y="958"/>
                </a:lnTo>
                <a:lnTo>
                  <a:pt x="359" y="965"/>
                </a:lnTo>
                <a:lnTo>
                  <a:pt x="358" y="966"/>
                </a:lnTo>
                <a:lnTo>
                  <a:pt x="354" y="971"/>
                </a:lnTo>
                <a:lnTo>
                  <a:pt x="350" y="974"/>
                </a:lnTo>
                <a:lnTo>
                  <a:pt x="349" y="974"/>
                </a:lnTo>
                <a:lnTo>
                  <a:pt x="349" y="973"/>
                </a:lnTo>
                <a:lnTo>
                  <a:pt x="348" y="972"/>
                </a:lnTo>
                <a:lnTo>
                  <a:pt x="347" y="973"/>
                </a:lnTo>
                <a:lnTo>
                  <a:pt x="348" y="973"/>
                </a:lnTo>
                <a:lnTo>
                  <a:pt x="348" y="974"/>
                </a:lnTo>
                <a:lnTo>
                  <a:pt x="347" y="974"/>
                </a:lnTo>
                <a:lnTo>
                  <a:pt x="347" y="977"/>
                </a:lnTo>
                <a:lnTo>
                  <a:pt x="348" y="978"/>
                </a:lnTo>
                <a:lnTo>
                  <a:pt x="347" y="978"/>
                </a:lnTo>
                <a:lnTo>
                  <a:pt x="348" y="979"/>
                </a:lnTo>
                <a:lnTo>
                  <a:pt x="347" y="980"/>
                </a:lnTo>
                <a:lnTo>
                  <a:pt x="343" y="980"/>
                </a:lnTo>
                <a:lnTo>
                  <a:pt x="343" y="979"/>
                </a:lnTo>
                <a:lnTo>
                  <a:pt x="344" y="978"/>
                </a:lnTo>
                <a:lnTo>
                  <a:pt x="346" y="978"/>
                </a:lnTo>
                <a:lnTo>
                  <a:pt x="343" y="977"/>
                </a:lnTo>
                <a:lnTo>
                  <a:pt x="343" y="978"/>
                </a:lnTo>
                <a:lnTo>
                  <a:pt x="342" y="978"/>
                </a:lnTo>
                <a:lnTo>
                  <a:pt x="342" y="980"/>
                </a:lnTo>
                <a:lnTo>
                  <a:pt x="343" y="982"/>
                </a:lnTo>
                <a:lnTo>
                  <a:pt x="341" y="982"/>
                </a:lnTo>
                <a:lnTo>
                  <a:pt x="337" y="978"/>
                </a:lnTo>
                <a:lnTo>
                  <a:pt x="336" y="979"/>
                </a:lnTo>
                <a:lnTo>
                  <a:pt x="337" y="980"/>
                </a:lnTo>
                <a:lnTo>
                  <a:pt x="336" y="980"/>
                </a:lnTo>
                <a:lnTo>
                  <a:pt x="336" y="982"/>
                </a:lnTo>
                <a:lnTo>
                  <a:pt x="337" y="982"/>
                </a:lnTo>
                <a:lnTo>
                  <a:pt x="337" y="983"/>
                </a:lnTo>
                <a:lnTo>
                  <a:pt x="335" y="983"/>
                </a:lnTo>
                <a:lnTo>
                  <a:pt x="331" y="979"/>
                </a:lnTo>
                <a:lnTo>
                  <a:pt x="327" y="979"/>
                </a:lnTo>
                <a:lnTo>
                  <a:pt x="325" y="978"/>
                </a:lnTo>
                <a:lnTo>
                  <a:pt x="325" y="977"/>
                </a:lnTo>
                <a:lnTo>
                  <a:pt x="329" y="977"/>
                </a:lnTo>
                <a:lnTo>
                  <a:pt x="328" y="976"/>
                </a:lnTo>
                <a:lnTo>
                  <a:pt x="325" y="974"/>
                </a:lnTo>
                <a:lnTo>
                  <a:pt x="325" y="972"/>
                </a:lnTo>
                <a:lnTo>
                  <a:pt x="324" y="972"/>
                </a:lnTo>
                <a:lnTo>
                  <a:pt x="324" y="978"/>
                </a:lnTo>
                <a:lnTo>
                  <a:pt x="323" y="977"/>
                </a:lnTo>
                <a:lnTo>
                  <a:pt x="322" y="977"/>
                </a:lnTo>
                <a:lnTo>
                  <a:pt x="322" y="976"/>
                </a:lnTo>
                <a:lnTo>
                  <a:pt x="321" y="976"/>
                </a:lnTo>
                <a:lnTo>
                  <a:pt x="321" y="977"/>
                </a:lnTo>
                <a:lnTo>
                  <a:pt x="319" y="977"/>
                </a:lnTo>
                <a:lnTo>
                  <a:pt x="318" y="976"/>
                </a:lnTo>
                <a:lnTo>
                  <a:pt x="317" y="976"/>
                </a:lnTo>
                <a:lnTo>
                  <a:pt x="317" y="978"/>
                </a:lnTo>
                <a:lnTo>
                  <a:pt x="316" y="980"/>
                </a:lnTo>
                <a:lnTo>
                  <a:pt x="313" y="980"/>
                </a:lnTo>
                <a:lnTo>
                  <a:pt x="315" y="982"/>
                </a:lnTo>
                <a:lnTo>
                  <a:pt x="315" y="984"/>
                </a:lnTo>
                <a:lnTo>
                  <a:pt x="313" y="982"/>
                </a:lnTo>
                <a:lnTo>
                  <a:pt x="312" y="982"/>
                </a:lnTo>
                <a:lnTo>
                  <a:pt x="309" y="983"/>
                </a:lnTo>
                <a:lnTo>
                  <a:pt x="307" y="983"/>
                </a:lnTo>
                <a:lnTo>
                  <a:pt x="307" y="982"/>
                </a:lnTo>
                <a:lnTo>
                  <a:pt x="309" y="980"/>
                </a:lnTo>
                <a:lnTo>
                  <a:pt x="306" y="980"/>
                </a:lnTo>
                <a:lnTo>
                  <a:pt x="306" y="982"/>
                </a:lnTo>
                <a:lnTo>
                  <a:pt x="305" y="982"/>
                </a:lnTo>
                <a:lnTo>
                  <a:pt x="305" y="985"/>
                </a:lnTo>
                <a:lnTo>
                  <a:pt x="304" y="985"/>
                </a:lnTo>
                <a:lnTo>
                  <a:pt x="304" y="986"/>
                </a:lnTo>
                <a:lnTo>
                  <a:pt x="303" y="986"/>
                </a:lnTo>
                <a:lnTo>
                  <a:pt x="303" y="985"/>
                </a:lnTo>
                <a:lnTo>
                  <a:pt x="301" y="984"/>
                </a:lnTo>
                <a:lnTo>
                  <a:pt x="300" y="984"/>
                </a:lnTo>
                <a:lnTo>
                  <a:pt x="300" y="983"/>
                </a:lnTo>
                <a:lnTo>
                  <a:pt x="299" y="984"/>
                </a:lnTo>
                <a:lnTo>
                  <a:pt x="298" y="984"/>
                </a:lnTo>
                <a:lnTo>
                  <a:pt x="298" y="985"/>
                </a:lnTo>
                <a:lnTo>
                  <a:pt x="297" y="985"/>
                </a:lnTo>
                <a:lnTo>
                  <a:pt x="297" y="984"/>
                </a:lnTo>
                <a:lnTo>
                  <a:pt x="294" y="982"/>
                </a:lnTo>
                <a:lnTo>
                  <a:pt x="294" y="979"/>
                </a:lnTo>
                <a:lnTo>
                  <a:pt x="296" y="979"/>
                </a:lnTo>
                <a:lnTo>
                  <a:pt x="297" y="978"/>
                </a:lnTo>
                <a:lnTo>
                  <a:pt x="298" y="976"/>
                </a:lnTo>
                <a:lnTo>
                  <a:pt x="298" y="972"/>
                </a:lnTo>
                <a:lnTo>
                  <a:pt x="300" y="970"/>
                </a:lnTo>
                <a:lnTo>
                  <a:pt x="301" y="970"/>
                </a:lnTo>
                <a:lnTo>
                  <a:pt x="306" y="973"/>
                </a:lnTo>
                <a:lnTo>
                  <a:pt x="305" y="970"/>
                </a:lnTo>
                <a:lnTo>
                  <a:pt x="304" y="967"/>
                </a:lnTo>
                <a:lnTo>
                  <a:pt x="301" y="966"/>
                </a:lnTo>
                <a:lnTo>
                  <a:pt x="299" y="968"/>
                </a:lnTo>
                <a:lnTo>
                  <a:pt x="297" y="972"/>
                </a:lnTo>
                <a:lnTo>
                  <a:pt x="293" y="979"/>
                </a:lnTo>
                <a:lnTo>
                  <a:pt x="293" y="982"/>
                </a:lnTo>
                <a:lnTo>
                  <a:pt x="294" y="984"/>
                </a:lnTo>
                <a:lnTo>
                  <a:pt x="293" y="985"/>
                </a:lnTo>
                <a:lnTo>
                  <a:pt x="293" y="986"/>
                </a:lnTo>
                <a:lnTo>
                  <a:pt x="292" y="986"/>
                </a:lnTo>
                <a:lnTo>
                  <a:pt x="292" y="989"/>
                </a:lnTo>
                <a:lnTo>
                  <a:pt x="290" y="986"/>
                </a:lnTo>
                <a:lnTo>
                  <a:pt x="290" y="989"/>
                </a:lnTo>
                <a:lnTo>
                  <a:pt x="288" y="989"/>
                </a:lnTo>
                <a:lnTo>
                  <a:pt x="288" y="990"/>
                </a:lnTo>
                <a:lnTo>
                  <a:pt x="287" y="989"/>
                </a:lnTo>
                <a:lnTo>
                  <a:pt x="287" y="988"/>
                </a:lnTo>
                <a:lnTo>
                  <a:pt x="286" y="986"/>
                </a:lnTo>
                <a:lnTo>
                  <a:pt x="286" y="985"/>
                </a:lnTo>
                <a:lnTo>
                  <a:pt x="285" y="984"/>
                </a:lnTo>
                <a:lnTo>
                  <a:pt x="284" y="984"/>
                </a:lnTo>
                <a:lnTo>
                  <a:pt x="284" y="986"/>
                </a:lnTo>
                <a:lnTo>
                  <a:pt x="286" y="988"/>
                </a:lnTo>
                <a:lnTo>
                  <a:pt x="280" y="988"/>
                </a:lnTo>
                <a:lnTo>
                  <a:pt x="278" y="986"/>
                </a:lnTo>
                <a:lnTo>
                  <a:pt x="272" y="980"/>
                </a:lnTo>
                <a:lnTo>
                  <a:pt x="271" y="980"/>
                </a:lnTo>
                <a:lnTo>
                  <a:pt x="271" y="982"/>
                </a:lnTo>
                <a:lnTo>
                  <a:pt x="273" y="983"/>
                </a:lnTo>
                <a:lnTo>
                  <a:pt x="275" y="985"/>
                </a:lnTo>
                <a:lnTo>
                  <a:pt x="275" y="988"/>
                </a:lnTo>
                <a:lnTo>
                  <a:pt x="274" y="988"/>
                </a:lnTo>
                <a:lnTo>
                  <a:pt x="274" y="989"/>
                </a:lnTo>
                <a:lnTo>
                  <a:pt x="279" y="994"/>
                </a:lnTo>
                <a:lnTo>
                  <a:pt x="279" y="995"/>
                </a:lnTo>
                <a:lnTo>
                  <a:pt x="278" y="996"/>
                </a:lnTo>
                <a:lnTo>
                  <a:pt x="275" y="996"/>
                </a:lnTo>
                <a:lnTo>
                  <a:pt x="275" y="995"/>
                </a:lnTo>
                <a:lnTo>
                  <a:pt x="274" y="992"/>
                </a:lnTo>
                <a:lnTo>
                  <a:pt x="274" y="991"/>
                </a:lnTo>
                <a:lnTo>
                  <a:pt x="272" y="991"/>
                </a:lnTo>
                <a:lnTo>
                  <a:pt x="268" y="988"/>
                </a:lnTo>
                <a:lnTo>
                  <a:pt x="267" y="988"/>
                </a:lnTo>
                <a:lnTo>
                  <a:pt x="269" y="990"/>
                </a:lnTo>
                <a:lnTo>
                  <a:pt x="269" y="991"/>
                </a:lnTo>
                <a:lnTo>
                  <a:pt x="271" y="991"/>
                </a:lnTo>
                <a:lnTo>
                  <a:pt x="271" y="994"/>
                </a:lnTo>
                <a:lnTo>
                  <a:pt x="269" y="995"/>
                </a:lnTo>
                <a:lnTo>
                  <a:pt x="269" y="997"/>
                </a:lnTo>
                <a:lnTo>
                  <a:pt x="271" y="999"/>
                </a:lnTo>
                <a:lnTo>
                  <a:pt x="271" y="1001"/>
                </a:lnTo>
                <a:lnTo>
                  <a:pt x="269" y="1001"/>
                </a:lnTo>
                <a:lnTo>
                  <a:pt x="268" y="999"/>
                </a:lnTo>
                <a:lnTo>
                  <a:pt x="268" y="998"/>
                </a:lnTo>
                <a:lnTo>
                  <a:pt x="267" y="997"/>
                </a:lnTo>
                <a:lnTo>
                  <a:pt x="266" y="997"/>
                </a:lnTo>
                <a:lnTo>
                  <a:pt x="265" y="995"/>
                </a:lnTo>
                <a:lnTo>
                  <a:pt x="263" y="995"/>
                </a:lnTo>
                <a:lnTo>
                  <a:pt x="263" y="997"/>
                </a:lnTo>
                <a:lnTo>
                  <a:pt x="265" y="998"/>
                </a:lnTo>
                <a:lnTo>
                  <a:pt x="267" y="999"/>
                </a:lnTo>
                <a:lnTo>
                  <a:pt x="265" y="1001"/>
                </a:lnTo>
                <a:lnTo>
                  <a:pt x="263" y="1002"/>
                </a:lnTo>
                <a:lnTo>
                  <a:pt x="262" y="1001"/>
                </a:lnTo>
                <a:lnTo>
                  <a:pt x="260" y="997"/>
                </a:lnTo>
                <a:lnTo>
                  <a:pt x="259" y="996"/>
                </a:lnTo>
                <a:lnTo>
                  <a:pt x="259" y="995"/>
                </a:lnTo>
                <a:lnTo>
                  <a:pt x="260" y="995"/>
                </a:lnTo>
                <a:lnTo>
                  <a:pt x="260" y="994"/>
                </a:lnTo>
                <a:lnTo>
                  <a:pt x="259" y="994"/>
                </a:lnTo>
                <a:lnTo>
                  <a:pt x="259" y="992"/>
                </a:lnTo>
                <a:lnTo>
                  <a:pt x="261" y="992"/>
                </a:lnTo>
                <a:lnTo>
                  <a:pt x="261" y="991"/>
                </a:lnTo>
                <a:lnTo>
                  <a:pt x="259" y="991"/>
                </a:lnTo>
                <a:lnTo>
                  <a:pt x="259" y="992"/>
                </a:lnTo>
                <a:lnTo>
                  <a:pt x="257" y="994"/>
                </a:lnTo>
                <a:lnTo>
                  <a:pt x="254" y="994"/>
                </a:lnTo>
                <a:lnTo>
                  <a:pt x="254" y="995"/>
                </a:lnTo>
                <a:lnTo>
                  <a:pt x="255" y="995"/>
                </a:lnTo>
                <a:lnTo>
                  <a:pt x="255" y="998"/>
                </a:lnTo>
                <a:lnTo>
                  <a:pt x="254" y="998"/>
                </a:lnTo>
                <a:lnTo>
                  <a:pt x="254" y="1001"/>
                </a:lnTo>
                <a:lnTo>
                  <a:pt x="247" y="1001"/>
                </a:lnTo>
                <a:lnTo>
                  <a:pt x="247" y="999"/>
                </a:lnTo>
                <a:lnTo>
                  <a:pt x="245" y="998"/>
                </a:lnTo>
                <a:lnTo>
                  <a:pt x="245" y="1001"/>
                </a:lnTo>
                <a:lnTo>
                  <a:pt x="240" y="1001"/>
                </a:lnTo>
                <a:lnTo>
                  <a:pt x="240" y="1003"/>
                </a:lnTo>
                <a:lnTo>
                  <a:pt x="238" y="1002"/>
                </a:lnTo>
                <a:lnTo>
                  <a:pt x="238" y="1003"/>
                </a:lnTo>
                <a:lnTo>
                  <a:pt x="240" y="1004"/>
                </a:lnTo>
                <a:lnTo>
                  <a:pt x="240" y="1007"/>
                </a:lnTo>
                <a:lnTo>
                  <a:pt x="236" y="1007"/>
                </a:lnTo>
                <a:lnTo>
                  <a:pt x="236" y="1005"/>
                </a:lnTo>
                <a:lnTo>
                  <a:pt x="234" y="1008"/>
                </a:lnTo>
                <a:lnTo>
                  <a:pt x="235" y="1008"/>
                </a:lnTo>
                <a:lnTo>
                  <a:pt x="235" y="1009"/>
                </a:lnTo>
                <a:lnTo>
                  <a:pt x="232" y="1009"/>
                </a:lnTo>
                <a:lnTo>
                  <a:pt x="231" y="1008"/>
                </a:lnTo>
                <a:lnTo>
                  <a:pt x="232" y="1008"/>
                </a:lnTo>
                <a:lnTo>
                  <a:pt x="232" y="1004"/>
                </a:lnTo>
                <a:lnTo>
                  <a:pt x="231" y="1004"/>
                </a:lnTo>
                <a:lnTo>
                  <a:pt x="231" y="1005"/>
                </a:lnTo>
                <a:lnTo>
                  <a:pt x="230" y="1009"/>
                </a:lnTo>
                <a:lnTo>
                  <a:pt x="230" y="1010"/>
                </a:lnTo>
                <a:lnTo>
                  <a:pt x="225" y="1010"/>
                </a:lnTo>
                <a:lnTo>
                  <a:pt x="225" y="1009"/>
                </a:lnTo>
                <a:lnTo>
                  <a:pt x="226" y="1008"/>
                </a:lnTo>
                <a:lnTo>
                  <a:pt x="226" y="1007"/>
                </a:lnTo>
                <a:lnTo>
                  <a:pt x="225" y="1005"/>
                </a:lnTo>
                <a:lnTo>
                  <a:pt x="224" y="1005"/>
                </a:lnTo>
                <a:lnTo>
                  <a:pt x="224" y="1009"/>
                </a:lnTo>
                <a:lnTo>
                  <a:pt x="223" y="1009"/>
                </a:lnTo>
                <a:lnTo>
                  <a:pt x="222" y="1010"/>
                </a:lnTo>
                <a:lnTo>
                  <a:pt x="218" y="1010"/>
                </a:lnTo>
                <a:lnTo>
                  <a:pt x="218" y="1014"/>
                </a:lnTo>
                <a:lnTo>
                  <a:pt x="217" y="1014"/>
                </a:lnTo>
                <a:lnTo>
                  <a:pt x="217" y="1011"/>
                </a:lnTo>
                <a:lnTo>
                  <a:pt x="216" y="1010"/>
                </a:lnTo>
                <a:lnTo>
                  <a:pt x="213" y="1009"/>
                </a:lnTo>
                <a:lnTo>
                  <a:pt x="212" y="1009"/>
                </a:lnTo>
                <a:lnTo>
                  <a:pt x="213" y="1010"/>
                </a:lnTo>
                <a:lnTo>
                  <a:pt x="214" y="1010"/>
                </a:lnTo>
                <a:lnTo>
                  <a:pt x="214" y="1013"/>
                </a:lnTo>
                <a:lnTo>
                  <a:pt x="213" y="1013"/>
                </a:lnTo>
                <a:lnTo>
                  <a:pt x="212" y="1014"/>
                </a:lnTo>
                <a:lnTo>
                  <a:pt x="212" y="1015"/>
                </a:lnTo>
                <a:lnTo>
                  <a:pt x="214" y="1014"/>
                </a:lnTo>
                <a:lnTo>
                  <a:pt x="214" y="1015"/>
                </a:lnTo>
                <a:lnTo>
                  <a:pt x="213" y="1015"/>
                </a:lnTo>
                <a:lnTo>
                  <a:pt x="214" y="1016"/>
                </a:lnTo>
                <a:lnTo>
                  <a:pt x="210" y="1021"/>
                </a:lnTo>
                <a:lnTo>
                  <a:pt x="210" y="1022"/>
                </a:lnTo>
                <a:lnTo>
                  <a:pt x="207" y="1022"/>
                </a:lnTo>
                <a:lnTo>
                  <a:pt x="207" y="1021"/>
                </a:lnTo>
                <a:lnTo>
                  <a:pt x="209" y="1019"/>
                </a:lnTo>
                <a:lnTo>
                  <a:pt x="209" y="1017"/>
                </a:lnTo>
                <a:lnTo>
                  <a:pt x="205" y="1021"/>
                </a:lnTo>
                <a:lnTo>
                  <a:pt x="205" y="1020"/>
                </a:lnTo>
                <a:lnTo>
                  <a:pt x="203" y="1022"/>
                </a:lnTo>
                <a:lnTo>
                  <a:pt x="203" y="1021"/>
                </a:lnTo>
                <a:lnTo>
                  <a:pt x="205" y="1019"/>
                </a:lnTo>
                <a:lnTo>
                  <a:pt x="205" y="1015"/>
                </a:lnTo>
                <a:lnTo>
                  <a:pt x="203" y="1015"/>
                </a:lnTo>
                <a:lnTo>
                  <a:pt x="203" y="1016"/>
                </a:lnTo>
                <a:lnTo>
                  <a:pt x="201" y="1016"/>
                </a:lnTo>
                <a:lnTo>
                  <a:pt x="201" y="1017"/>
                </a:lnTo>
                <a:lnTo>
                  <a:pt x="200" y="1019"/>
                </a:lnTo>
                <a:lnTo>
                  <a:pt x="198" y="1017"/>
                </a:lnTo>
                <a:lnTo>
                  <a:pt x="197" y="1017"/>
                </a:lnTo>
                <a:lnTo>
                  <a:pt x="197" y="1019"/>
                </a:lnTo>
                <a:lnTo>
                  <a:pt x="198" y="1020"/>
                </a:lnTo>
                <a:lnTo>
                  <a:pt x="195" y="1020"/>
                </a:lnTo>
                <a:lnTo>
                  <a:pt x="194" y="1019"/>
                </a:lnTo>
                <a:lnTo>
                  <a:pt x="192" y="1020"/>
                </a:lnTo>
                <a:lnTo>
                  <a:pt x="191" y="1021"/>
                </a:lnTo>
                <a:lnTo>
                  <a:pt x="189" y="1021"/>
                </a:lnTo>
                <a:lnTo>
                  <a:pt x="189" y="1020"/>
                </a:lnTo>
                <a:lnTo>
                  <a:pt x="191" y="1019"/>
                </a:lnTo>
                <a:lnTo>
                  <a:pt x="189" y="1019"/>
                </a:lnTo>
                <a:lnTo>
                  <a:pt x="188" y="1020"/>
                </a:lnTo>
                <a:lnTo>
                  <a:pt x="188" y="1021"/>
                </a:lnTo>
                <a:lnTo>
                  <a:pt x="187" y="1021"/>
                </a:lnTo>
                <a:lnTo>
                  <a:pt x="187" y="1022"/>
                </a:lnTo>
                <a:lnTo>
                  <a:pt x="185" y="1022"/>
                </a:lnTo>
                <a:lnTo>
                  <a:pt x="181" y="1026"/>
                </a:lnTo>
                <a:lnTo>
                  <a:pt x="180" y="1025"/>
                </a:lnTo>
                <a:lnTo>
                  <a:pt x="173" y="1026"/>
                </a:lnTo>
                <a:lnTo>
                  <a:pt x="173" y="1025"/>
                </a:lnTo>
                <a:lnTo>
                  <a:pt x="172" y="1025"/>
                </a:lnTo>
                <a:lnTo>
                  <a:pt x="172" y="1023"/>
                </a:lnTo>
                <a:lnTo>
                  <a:pt x="168" y="1025"/>
                </a:lnTo>
                <a:lnTo>
                  <a:pt x="167" y="1026"/>
                </a:lnTo>
                <a:lnTo>
                  <a:pt x="166" y="1026"/>
                </a:lnTo>
                <a:lnTo>
                  <a:pt x="166" y="1025"/>
                </a:lnTo>
                <a:lnTo>
                  <a:pt x="168" y="1021"/>
                </a:lnTo>
                <a:lnTo>
                  <a:pt x="168" y="1020"/>
                </a:lnTo>
                <a:lnTo>
                  <a:pt x="170" y="1020"/>
                </a:lnTo>
                <a:lnTo>
                  <a:pt x="170" y="1015"/>
                </a:lnTo>
                <a:lnTo>
                  <a:pt x="169" y="1016"/>
                </a:lnTo>
                <a:lnTo>
                  <a:pt x="168" y="1016"/>
                </a:lnTo>
                <a:lnTo>
                  <a:pt x="168" y="1019"/>
                </a:lnTo>
                <a:lnTo>
                  <a:pt x="167" y="1019"/>
                </a:lnTo>
                <a:lnTo>
                  <a:pt x="167" y="1020"/>
                </a:lnTo>
                <a:lnTo>
                  <a:pt x="166" y="1021"/>
                </a:lnTo>
                <a:lnTo>
                  <a:pt x="166" y="1023"/>
                </a:lnTo>
                <a:lnTo>
                  <a:pt x="164" y="1023"/>
                </a:lnTo>
                <a:lnTo>
                  <a:pt x="164" y="1025"/>
                </a:lnTo>
                <a:lnTo>
                  <a:pt x="163" y="1027"/>
                </a:lnTo>
                <a:lnTo>
                  <a:pt x="161" y="1028"/>
                </a:lnTo>
                <a:lnTo>
                  <a:pt x="157" y="1031"/>
                </a:lnTo>
                <a:lnTo>
                  <a:pt x="157" y="1034"/>
                </a:lnTo>
                <a:lnTo>
                  <a:pt x="158" y="1034"/>
                </a:lnTo>
                <a:lnTo>
                  <a:pt x="158" y="1035"/>
                </a:lnTo>
                <a:lnTo>
                  <a:pt x="150" y="1036"/>
                </a:lnTo>
                <a:lnTo>
                  <a:pt x="147" y="1036"/>
                </a:lnTo>
                <a:lnTo>
                  <a:pt x="145" y="1038"/>
                </a:lnTo>
                <a:lnTo>
                  <a:pt x="143" y="1038"/>
                </a:lnTo>
                <a:lnTo>
                  <a:pt x="143" y="1036"/>
                </a:lnTo>
                <a:lnTo>
                  <a:pt x="145" y="1034"/>
                </a:lnTo>
                <a:lnTo>
                  <a:pt x="147" y="1034"/>
                </a:lnTo>
                <a:lnTo>
                  <a:pt x="153" y="1032"/>
                </a:lnTo>
                <a:lnTo>
                  <a:pt x="155" y="1032"/>
                </a:lnTo>
                <a:lnTo>
                  <a:pt x="154" y="1029"/>
                </a:lnTo>
                <a:lnTo>
                  <a:pt x="157" y="1029"/>
                </a:lnTo>
                <a:lnTo>
                  <a:pt x="157" y="1028"/>
                </a:lnTo>
                <a:lnTo>
                  <a:pt x="160" y="1026"/>
                </a:lnTo>
                <a:lnTo>
                  <a:pt x="161" y="1023"/>
                </a:lnTo>
                <a:lnTo>
                  <a:pt x="161" y="1020"/>
                </a:lnTo>
                <a:lnTo>
                  <a:pt x="157" y="1026"/>
                </a:lnTo>
                <a:lnTo>
                  <a:pt x="157" y="1028"/>
                </a:lnTo>
                <a:lnTo>
                  <a:pt x="156" y="1028"/>
                </a:lnTo>
                <a:lnTo>
                  <a:pt x="156" y="1026"/>
                </a:lnTo>
                <a:lnTo>
                  <a:pt x="155" y="1026"/>
                </a:lnTo>
                <a:lnTo>
                  <a:pt x="155" y="1027"/>
                </a:lnTo>
                <a:lnTo>
                  <a:pt x="153" y="1027"/>
                </a:lnTo>
                <a:lnTo>
                  <a:pt x="153" y="1028"/>
                </a:lnTo>
                <a:lnTo>
                  <a:pt x="151" y="1028"/>
                </a:lnTo>
                <a:lnTo>
                  <a:pt x="151" y="1027"/>
                </a:lnTo>
                <a:lnTo>
                  <a:pt x="153" y="1025"/>
                </a:lnTo>
                <a:lnTo>
                  <a:pt x="153" y="1023"/>
                </a:lnTo>
                <a:lnTo>
                  <a:pt x="156" y="1022"/>
                </a:lnTo>
                <a:lnTo>
                  <a:pt x="156" y="1021"/>
                </a:lnTo>
                <a:lnTo>
                  <a:pt x="157" y="1019"/>
                </a:lnTo>
                <a:lnTo>
                  <a:pt x="158" y="1019"/>
                </a:lnTo>
                <a:lnTo>
                  <a:pt x="156" y="1017"/>
                </a:lnTo>
                <a:lnTo>
                  <a:pt x="151" y="1019"/>
                </a:lnTo>
                <a:lnTo>
                  <a:pt x="149" y="1019"/>
                </a:lnTo>
                <a:lnTo>
                  <a:pt x="148" y="1017"/>
                </a:lnTo>
                <a:lnTo>
                  <a:pt x="148" y="1016"/>
                </a:lnTo>
                <a:lnTo>
                  <a:pt x="147" y="1015"/>
                </a:lnTo>
                <a:lnTo>
                  <a:pt x="148" y="1014"/>
                </a:lnTo>
                <a:lnTo>
                  <a:pt x="149" y="1011"/>
                </a:lnTo>
                <a:lnTo>
                  <a:pt x="149" y="1010"/>
                </a:lnTo>
                <a:lnTo>
                  <a:pt x="148" y="1011"/>
                </a:lnTo>
                <a:lnTo>
                  <a:pt x="148" y="1013"/>
                </a:lnTo>
                <a:lnTo>
                  <a:pt x="147" y="1014"/>
                </a:lnTo>
                <a:lnTo>
                  <a:pt x="147" y="1013"/>
                </a:lnTo>
                <a:lnTo>
                  <a:pt x="145" y="1011"/>
                </a:lnTo>
                <a:lnTo>
                  <a:pt x="143" y="1010"/>
                </a:lnTo>
                <a:lnTo>
                  <a:pt x="143" y="1009"/>
                </a:lnTo>
                <a:lnTo>
                  <a:pt x="142" y="1009"/>
                </a:lnTo>
                <a:lnTo>
                  <a:pt x="143" y="1008"/>
                </a:lnTo>
                <a:lnTo>
                  <a:pt x="142" y="1007"/>
                </a:lnTo>
                <a:lnTo>
                  <a:pt x="144" y="1002"/>
                </a:lnTo>
                <a:lnTo>
                  <a:pt x="149" y="997"/>
                </a:lnTo>
                <a:lnTo>
                  <a:pt x="149" y="994"/>
                </a:lnTo>
                <a:lnTo>
                  <a:pt x="150" y="994"/>
                </a:lnTo>
                <a:lnTo>
                  <a:pt x="151" y="992"/>
                </a:lnTo>
                <a:lnTo>
                  <a:pt x="150" y="991"/>
                </a:lnTo>
                <a:lnTo>
                  <a:pt x="149" y="992"/>
                </a:lnTo>
                <a:lnTo>
                  <a:pt x="148" y="995"/>
                </a:lnTo>
                <a:lnTo>
                  <a:pt x="148" y="996"/>
                </a:lnTo>
                <a:lnTo>
                  <a:pt x="145" y="995"/>
                </a:lnTo>
                <a:lnTo>
                  <a:pt x="142" y="996"/>
                </a:lnTo>
                <a:lnTo>
                  <a:pt x="136" y="1002"/>
                </a:lnTo>
                <a:lnTo>
                  <a:pt x="131" y="1003"/>
                </a:lnTo>
                <a:lnTo>
                  <a:pt x="129" y="1004"/>
                </a:lnTo>
                <a:lnTo>
                  <a:pt x="127" y="1004"/>
                </a:lnTo>
                <a:lnTo>
                  <a:pt x="130" y="1002"/>
                </a:lnTo>
                <a:lnTo>
                  <a:pt x="129" y="1002"/>
                </a:lnTo>
                <a:lnTo>
                  <a:pt x="130" y="999"/>
                </a:lnTo>
                <a:lnTo>
                  <a:pt x="131" y="999"/>
                </a:lnTo>
                <a:lnTo>
                  <a:pt x="132" y="998"/>
                </a:lnTo>
                <a:lnTo>
                  <a:pt x="130" y="998"/>
                </a:lnTo>
                <a:lnTo>
                  <a:pt x="130" y="999"/>
                </a:lnTo>
                <a:lnTo>
                  <a:pt x="127" y="1001"/>
                </a:lnTo>
                <a:lnTo>
                  <a:pt x="124" y="1001"/>
                </a:lnTo>
                <a:lnTo>
                  <a:pt x="125" y="999"/>
                </a:lnTo>
                <a:lnTo>
                  <a:pt x="125" y="998"/>
                </a:lnTo>
                <a:lnTo>
                  <a:pt x="126" y="997"/>
                </a:lnTo>
                <a:lnTo>
                  <a:pt x="126" y="996"/>
                </a:lnTo>
                <a:lnTo>
                  <a:pt x="129" y="994"/>
                </a:lnTo>
                <a:lnTo>
                  <a:pt x="130" y="991"/>
                </a:lnTo>
                <a:lnTo>
                  <a:pt x="132" y="989"/>
                </a:lnTo>
                <a:lnTo>
                  <a:pt x="131" y="988"/>
                </a:lnTo>
                <a:lnTo>
                  <a:pt x="130" y="990"/>
                </a:lnTo>
                <a:lnTo>
                  <a:pt x="125" y="990"/>
                </a:lnTo>
                <a:lnTo>
                  <a:pt x="125" y="988"/>
                </a:lnTo>
                <a:lnTo>
                  <a:pt x="119" y="990"/>
                </a:lnTo>
                <a:lnTo>
                  <a:pt x="118" y="990"/>
                </a:lnTo>
                <a:lnTo>
                  <a:pt x="113" y="985"/>
                </a:lnTo>
                <a:lnTo>
                  <a:pt x="110" y="985"/>
                </a:lnTo>
                <a:lnTo>
                  <a:pt x="110" y="983"/>
                </a:lnTo>
                <a:lnTo>
                  <a:pt x="108" y="984"/>
                </a:lnTo>
                <a:lnTo>
                  <a:pt x="108" y="985"/>
                </a:lnTo>
                <a:lnTo>
                  <a:pt x="107" y="985"/>
                </a:lnTo>
                <a:lnTo>
                  <a:pt x="106" y="983"/>
                </a:lnTo>
                <a:lnTo>
                  <a:pt x="106" y="982"/>
                </a:lnTo>
                <a:lnTo>
                  <a:pt x="105" y="982"/>
                </a:lnTo>
                <a:lnTo>
                  <a:pt x="105" y="980"/>
                </a:lnTo>
                <a:lnTo>
                  <a:pt x="102" y="980"/>
                </a:lnTo>
                <a:lnTo>
                  <a:pt x="102" y="977"/>
                </a:lnTo>
                <a:lnTo>
                  <a:pt x="99" y="977"/>
                </a:lnTo>
                <a:lnTo>
                  <a:pt x="99" y="979"/>
                </a:lnTo>
                <a:lnTo>
                  <a:pt x="100" y="982"/>
                </a:lnTo>
                <a:lnTo>
                  <a:pt x="98" y="980"/>
                </a:lnTo>
                <a:lnTo>
                  <a:pt x="96" y="980"/>
                </a:lnTo>
                <a:lnTo>
                  <a:pt x="96" y="973"/>
                </a:lnTo>
                <a:lnTo>
                  <a:pt x="98" y="972"/>
                </a:lnTo>
                <a:lnTo>
                  <a:pt x="99" y="972"/>
                </a:lnTo>
                <a:lnTo>
                  <a:pt x="98" y="971"/>
                </a:lnTo>
                <a:lnTo>
                  <a:pt x="98" y="970"/>
                </a:lnTo>
                <a:lnTo>
                  <a:pt x="99" y="968"/>
                </a:lnTo>
                <a:lnTo>
                  <a:pt x="95" y="971"/>
                </a:lnTo>
                <a:lnTo>
                  <a:pt x="95" y="972"/>
                </a:lnTo>
                <a:lnTo>
                  <a:pt x="94" y="972"/>
                </a:lnTo>
                <a:lnTo>
                  <a:pt x="92" y="973"/>
                </a:lnTo>
                <a:lnTo>
                  <a:pt x="91" y="973"/>
                </a:lnTo>
                <a:lnTo>
                  <a:pt x="91" y="974"/>
                </a:lnTo>
                <a:lnTo>
                  <a:pt x="92" y="976"/>
                </a:lnTo>
                <a:lnTo>
                  <a:pt x="91" y="977"/>
                </a:lnTo>
                <a:lnTo>
                  <a:pt x="91" y="979"/>
                </a:lnTo>
                <a:lnTo>
                  <a:pt x="89" y="980"/>
                </a:lnTo>
                <a:lnTo>
                  <a:pt x="87" y="980"/>
                </a:lnTo>
                <a:lnTo>
                  <a:pt x="88" y="979"/>
                </a:lnTo>
                <a:lnTo>
                  <a:pt x="87" y="977"/>
                </a:lnTo>
                <a:lnTo>
                  <a:pt x="85" y="973"/>
                </a:lnTo>
                <a:lnTo>
                  <a:pt x="81" y="973"/>
                </a:lnTo>
                <a:lnTo>
                  <a:pt x="81" y="970"/>
                </a:lnTo>
                <a:lnTo>
                  <a:pt x="82" y="971"/>
                </a:lnTo>
                <a:lnTo>
                  <a:pt x="82" y="970"/>
                </a:lnTo>
                <a:lnTo>
                  <a:pt x="80" y="967"/>
                </a:lnTo>
                <a:lnTo>
                  <a:pt x="79" y="967"/>
                </a:lnTo>
                <a:lnTo>
                  <a:pt x="79" y="965"/>
                </a:lnTo>
                <a:lnTo>
                  <a:pt x="77" y="964"/>
                </a:lnTo>
                <a:lnTo>
                  <a:pt x="77" y="962"/>
                </a:lnTo>
                <a:lnTo>
                  <a:pt x="81" y="964"/>
                </a:lnTo>
                <a:lnTo>
                  <a:pt x="82" y="962"/>
                </a:lnTo>
                <a:lnTo>
                  <a:pt x="81" y="962"/>
                </a:lnTo>
                <a:lnTo>
                  <a:pt x="81" y="960"/>
                </a:lnTo>
                <a:lnTo>
                  <a:pt x="82" y="960"/>
                </a:lnTo>
                <a:lnTo>
                  <a:pt x="82" y="959"/>
                </a:lnTo>
                <a:lnTo>
                  <a:pt x="80" y="959"/>
                </a:lnTo>
                <a:lnTo>
                  <a:pt x="80" y="956"/>
                </a:lnTo>
                <a:lnTo>
                  <a:pt x="81" y="956"/>
                </a:lnTo>
                <a:lnTo>
                  <a:pt x="80" y="955"/>
                </a:lnTo>
                <a:lnTo>
                  <a:pt x="79" y="955"/>
                </a:lnTo>
                <a:lnTo>
                  <a:pt x="79" y="952"/>
                </a:lnTo>
                <a:lnTo>
                  <a:pt x="77" y="953"/>
                </a:lnTo>
                <a:lnTo>
                  <a:pt x="77" y="952"/>
                </a:lnTo>
                <a:lnTo>
                  <a:pt x="76" y="951"/>
                </a:lnTo>
                <a:lnTo>
                  <a:pt x="77" y="949"/>
                </a:lnTo>
                <a:lnTo>
                  <a:pt x="76" y="948"/>
                </a:lnTo>
                <a:lnTo>
                  <a:pt x="80" y="948"/>
                </a:lnTo>
                <a:lnTo>
                  <a:pt x="81" y="947"/>
                </a:lnTo>
                <a:lnTo>
                  <a:pt x="79" y="947"/>
                </a:lnTo>
                <a:lnTo>
                  <a:pt x="79" y="946"/>
                </a:lnTo>
                <a:lnTo>
                  <a:pt x="77" y="945"/>
                </a:lnTo>
                <a:lnTo>
                  <a:pt x="79" y="945"/>
                </a:lnTo>
                <a:lnTo>
                  <a:pt x="79" y="943"/>
                </a:lnTo>
                <a:lnTo>
                  <a:pt x="80" y="943"/>
                </a:lnTo>
                <a:lnTo>
                  <a:pt x="80" y="945"/>
                </a:lnTo>
                <a:lnTo>
                  <a:pt x="81" y="945"/>
                </a:lnTo>
                <a:lnTo>
                  <a:pt x="81" y="942"/>
                </a:lnTo>
                <a:lnTo>
                  <a:pt x="80" y="942"/>
                </a:lnTo>
                <a:lnTo>
                  <a:pt x="80" y="941"/>
                </a:lnTo>
                <a:lnTo>
                  <a:pt x="79" y="941"/>
                </a:lnTo>
                <a:lnTo>
                  <a:pt x="79" y="940"/>
                </a:lnTo>
                <a:lnTo>
                  <a:pt x="77" y="936"/>
                </a:lnTo>
                <a:lnTo>
                  <a:pt x="76" y="935"/>
                </a:lnTo>
                <a:lnTo>
                  <a:pt x="77" y="934"/>
                </a:lnTo>
                <a:lnTo>
                  <a:pt x="75" y="931"/>
                </a:lnTo>
                <a:lnTo>
                  <a:pt x="76" y="931"/>
                </a:lnTo>
                <a:lnTo>
                  <a:pt x="79" y="933"/>
                </a:lnTo>
                <a:lnTo>
                  <a:pt x="80" y="933"/>
                </a:lnTo>
                <a:lnTo>
                  <a:pt x="80" y="931"/>
                </a:lnTo>
                <a:lnTo>
                  <a:pt x="79" y="931"/>
                </a:lnTo>
                <a:lnTo>
                  <a:pt x="80" y="930"/>
                </a:lnTo>
                <a:lnTo>
                  <a:pt x="82" y="931"/>
                </a:lnTo>
                <a:lnTo>
                  <a:pt x="83" y="931"/>
                </a:lnTo>
                <a:lnTo>
                  <a:pt x="82" y="930"/>
                </a:lnTo>
                <a:lnTo>
                  <a:pt x="82" y="921"/>
                </a:lnTo>
                <a:lnTo>
                  <a:pt x="85" y="921"/>
                </a:lnTo>
                <a:lnTo>
                  <a:pt x="85" y="919"/>
                </a:lnTo>
                <a:lnTo>
                  <a:pt x="83" y="919"/>
                </a:lnTo>
                <a:lnTo>
                  <a:pt x="85" y="918"/>
                </a:lnTo>
                <a:lnTo>
                  <a:pt x="87" y="918"/>
                </a:lnTo>
                <a:lnTo>
                  <a:pt x="86" y="916"/>
                </a:lnTo>
                <a:lnTo>
                  <a:pt x="85" y="916"/>
                </a:lnTo>
                <a:lnTo>
                  <a:pt x="83" y="915"/>
                </a:lnTo>
                <a:lnTo>
                  <a:pt x="83" y="913"/>
                </a:lnTo>
                <a:lnTo>
                  <a:pt x="85" y="913"/>
                </a:lnTo>
                <a:lnTo>
                  <a:pt x="85" y="911"/>
                </a:lnTo>
                <a:lnTo>
                  <a:pt x="86" y="911"/>
                </a:lnTo>
                <a:lnTo>
                  <a:pt x="86" y="905"/>
                </a:lnTo>
                <a:lnTo>
                  <a:pt x="85" y="903"/>
                </a:lnTo>
                <a:lnTo>
                  <a:pt x="85" y="902"/>
                </a:lnTo>
                <a:lnTo>
                  <a:pt x="82" y="902"/>
                </a:lnTo>
                <a:lnTo>
                  <a:pt x="82" y="900"/>
                </a:lnTo>
                <a:lnTo>
                  <a:pt x="86" y="900"/>
                </a:lnTo>
                <a:lnTo>
                  <a:pt x="87" y="899"/>
                </a:lnTo>
                <a:lnTo>
                  <a:pt x="87" y="898"/>
                </a:lnTo>
                <a:lnTo>
                  <a:pt x="85" y="896"/>
                </a:lnTo>
                <a:lnTo>
                  <a:pt x="81" y="894"/>
                </a:lnTo>
                <a:lnTo>
                  <a:pt x="81" y="893"/>
                </a:lnTo>
                <a:lnTo>
                  <a:pt x="87" y="894"/>
                </a:lnTo>
                <a:lnTo>
                  <a:pt x="88" y="893"/>
                </a:lnTo>
                <a:lnTo>
                  <a:pt x="87" y="891"/>
                </a:lnTo>
                <a:lnTo>
                  <a:pt x="85" y="891"/>
                </a:lnTo>
                <a:lnTo>
                  <a:pt x="82" y="888"/>
                </a:lnTo>
                <a:lnTo>
                  <a:pt x="82" y="886"/>
                </a:lnTo>
                <a:lnTo>
                  <a:pt x="85" y="886"/>
                </a:lnTo>
                <a:lnTo>
                  <a:pt x="92" y="890"/>
                </a:lnTo>
                <a:lnTo>
                  <a:pt x="93" y="891"/>
                </a:lnTo>
                <a:lnTo>
                  <a:pt x="93" y="890"/>
                </a:lnTo>
                <a:lnTo>
                  <a:pt x="91" y="887"/>
                </a:lnTo>
                <a:lnTo>
                  <a:pt x="89" y="885"/>
                </a:lnTo>
                <a:lnTo>
                  <a:pt x="88" y="881"/>
                </a:lnTo>
                <a:lnTo>
                  <a:pt x="87" y="880"/>
                </a:lnTo>
                <a:lnTo>
                  <a:pt x="86" y="880"/>
                </a:lnTo>
                <a:lnTo>
                  <a:pt x="86" y="876"/>
                </a:lnTo>
                <a:lnTo>
                  <a:pt x="85" y="874"/>
                </a:lnTo>
                <a:lnTo>
                  <a:pt x="86" y="874"/>
                </a:lnTo>
                <a:lnTo>
                  <a:pt x="87" y="875"/>
                </a:lnTo>
                <a:lnTo>
                  <a:pt x="88" y="875"/>
                </a:lnTo>
                <a:lnTo>
                  <a:pt x="87" y="873"/>
                </a:lnTo>
                <a:lnTo>
                  <a:pt x="83" y="872"/>
                </a:lnTo>
                <a:lnTo>
                  <a:pt x="82" y="869"/>
                </a:lnTo>
                <a:lnTo>
                  <a:pt x="83" y="868"/>
                </a:lnTo>
                <a:lnTo>
                  <a:pt x="83" y="865"/>
                </a:lnTo>
                <a:lnTo>
                  <a:pt x="82" y="863"/>
                </a:lnTo>
                <a:lnTo>
                  <a:pt x="82" y="862"/>
                </a:lnTo>
                <a:lnTo>
                  <a:pt x="81" y="860"/>
                </a:lnTo>
                <a:lnTo>
                  <a:pt x="80" y="859"/>
                </a:lnTo>
                <a:lnTo>
                  <a:pt x="80" y="856"/>
                </a:lnTo>
                <a:lnTo>
                  <a:pt x="81" y="856"/>
                </a:lnTo>
                <a:lnTo>
                  <a:pt x="80" y="855"/>
                </a:lnTo>
                <a:lnTo>
                  <a:pt x="80" y="854"/>
                </a:lnTo>
                <a:lnTo>
                  <a:pt x="79" y="854"/>
                </a:lnTo>
                <a:lnTo>
                  <a:pt x="79" y="853"/>
                </a:lnTo>
                <a:lnTo>
                  <a:pt x="76" y="854"/>
                </a:lnTo>
                <a:lnTo>
                  <a:pt x="76" y="853"/>
                </a:lnTo>
                <a:lnTo>
                  <a:pt x="75" y="853"/>
                </a:lnTo>
                <a:lnTo>
                  <a:pt x="75" y="849"/>
                </a:lnTo>
                <a:lnTo>
                  <a:pt x="73" y="849"/>
                </a:lnTo>
                <a:lnTo>
                  <a:pt x="75" y="843"/>
                </a:lnTo>
                <a:lnTo>
                  <a:pt x="75" y="836"/>
                </a:lnTo>
                <a:lnTo>
                  <a:pt x="76" y="838"/>
                </a:lnTo>
                <a:lnTo>
                  <a:pt x="76" y="835"/>
                </a:lnTo>
                <a:lnTo>
                  <a:pt x="77" y="833"/>
                </a:lnTo>
                <a:lnTo>
                  <a:pt x="76" y="833"/>
                </a:lnTo>
                <a:lnTo>
                  <a:pt x="79" y="831"/>
                </a:lnTo>
                <a:lnTo>
                  <a:pt x="79" y="830"/>
                </a:lnTo>
                <a:lnTo>
                  <a:pt x="80" y="829"/>
                </a:lnTo>
                <a:lnTo>
                  <a:pt x="77" y="826"/>
                </a:lnTo>
                <a:lnTo>
                  <a:pt x="79" y="824"/>
                </a:lnTo>
                <a:lnTo>
                  <a:pt x="77" y="824"/>
                </a:lnTo>
                <a:lnTo>
                  <a:pt x="77" y="826"/>
                </a:lnTo>
                <a:lnTo>
                  <a:pt x="76" y="826"/>
                </a:lnTo>
                <a:lnTo>
                  <a:pt x="76" y="823"/>
                </a:lnTo>
                <a:lnTo>
                  <a:pt x="77" y="822"/>
                </a:lnTo>
                <a:lnTo>
                  <a:pt x="77" y="816"/>
                </a:lnTo>
                <a:lnTo>
                  <a:pt x="75" y="817"/>
                </a:lnTo>
                <a:lnTo>
                  <a:pt x="74" y="816"/>
                </a:lnTo>
                <a:lnTo>
                  <a:pt x="74" y="813"/>
                </a:lnTo>
                <a:lnTo>
                  <a:pt x="75" y="812"/>
                </a:lnTo>
                <a:lnTo>
                  <a:pt x="74" y="811"/>
                </a:lnTo>
                <a:lnTo>
                  <a:pt x="71" y="816"/>
                </a:lnTo>
                <a:lnTo>
                  <a:pt x="71" y="812"/>
                </a:lnTo>
                <a:lnTo>
                  <a:pt x="70" y="812"/>
                </a:lnTo>
                <a:lnTo>
                  <a:pt x="71" y="811"/>
                </a:lnTo>
                <a:lnTo>
                  <a:pt x="71" y="810"/>
                </a:lnTo>
                <a:lnTo>
                  <a:pt x="70" y="810"/>
                </a:lnTo>
                <a:lnTo>
                  <a:pt x="69" y="811"/>
                </a:lnTo>
                <a:lnTo>
                  <a:pt x="68" y="810"/>
                </a:lnTo>
                <a:lnTo>
                  <a:pt x="69" y="807"/>
                </a:lnTo>
                <a:lnTo>
                  <a:pt x="69" y="806"/>
                </a:lnTo>
                <a:lnTo>
                  <a:pt x="68" y="806"/>
                </a:lnTo>
                <a:lnTo>
                  <a:pt x="68" y="801"/>
                </a:lnTo>
                <a:lnTo>
                  <a:pt x="69" y="800"/>
                </a:lnTo>
                <a:lnTo>
                  <a:pt x="69" y="799"/>
                </a:lnTo>
                <a:lnTo>
                  <a:pt x="68" y="798"/>
                </a:lnTo>
                <a:lnTo>
                  <a:pt x="71" y="794"/>
                </a:lnTo>
                <a:lnTo>
                  <a:pt x="71" y="793"/>
                </a:lnTo>
                <a:lnTo>
                  <a:pt x="68" y="793"/>
                </a:lnTo>
                <a:lnTo>
                  <a:pt x="68" y="790"/>
                </a:lnTo>
                <a:lnTo>
                  <a:pt x="67" y="792"/>
                </a:lnTo>
                <a:lnTo>
                  <a:pt x="66" y="794"/>
                </a:lnTo>
                <a:lnTo>
                  <a:pt x="66" y="792"/>
                </a:lnTo>
                <a:lnTo>
                  <a:pt x="67" y="788"/>
                </a:lnTo>
                <a:lnTo>
                  <a:pt x="67" y="786"/>
                </a:lnTo>
                <a:lnTo>
                  <a:pt x="70" y="782"/>
                </a:lnTo>
                <a:lnTo>
                  <a:pt x="70" y="781"/>
                </a:lnTo>
                <a:lnTo>
                  <a:pt x="69" y="781"/>
                </a:lnTo>
                <a:lnTo>
                  <a:pt x="68" y="780"/>
                </a:lnTo>
                <a:lnTo>
                  <a:pt x="68" y="776"/>
                </a:lnTo>
                <a:lnTo>
                  <a:pt x="69" y="775"/>
                </a:lnTo>
                <a:lnTo>
                  <a:pt x="70" y="776"/>
                </a:lnTo>
                <a:lnTo>
                  <a:pt x="71" y="776"/>
                </a:lnTo>
                <a:lnTo>
                  <a:pt x="71" y="774"/>
                </a:lnTo>
                <a:lnTo>
                  <a:pt x="73" y="771"/>
                </a:lnTo>
                <a:lnTo>
                  <a:pt x="73" y="768"/>
                </a:lnTo>
                <a:lnTo>
                  <a:pt x="74" y="768"/>
                </a:lnTo>
                <a:lnTo>
                  <a:pt x="77" y="770"/>
                </a:lnTo>
                <a:lnTo>
                  <a:pt x="77" y="769"/>
                </a:lnTo>
                <a:lnTo>
                  <a:pt x="79" y="769"/>
                </a:lnTo>
                <a:lnTo>
                  <a:pt x="79" y="768"/>
                </a:lnTo>
                <a:lnTo>
                  <a:pt x="80" y="768"/>
                </a:lnTo>
                <a:lnTo>
                  <a:pt x="80" y="764"/>
                </a:lnTo>
                <a:lnTo>
                  <a:pt x="81" y="762"/>
                </a:lnTo>
                <a:lnTo>
                  <a:pt x="82" y="761"/>
                </a:lnTo>
                <a:lnTo>
                  <a:pt x="82" y="753"/>
                </a:lnTo>
                <a:lnTo>
                  <a:pt x="81" y="753"/>
                </a:lnTo>
                <a:lnTo>
                  <a:pt x="81" y="752"/>
                </a:lnTo>
                <a:lnTo>
                  <a:pt x="83" y="752"/>
                </a:lnTo>
                <a:lnTo>
                  <a:pt x="83" y="750"/>
                </a:lnTo>
                <a:lnTo>
                  <a:pt x="85" y="750"/>
                </a:lnTo>
                <a:lnTo>
                  <a:pt x="88" y="753"/>
                </a:lnTo>
                <a:lnTo>
                  <a:pt x="89" y="753"/>
                </a:lnTo>
                <a:lnTo>
                  <a:pt x="91" y="755"/>
                </a:lnTo>
                <a:lnTo>
                  <a:pt x="92" y="753"/>
                </a:lnTo>
                <a:lnTo>
                  <a:pt x="91" y="751"/>
                </a:lnTo>
                <a:lnTo>
                  <a:pt x="87" y="749"/>
                </a:lnTo>
                <a:lnTo>
                  <a:pt x="87" y="747"/>
                </a:lnTo>
                <a:lnTo>
                  <a:pt x="86" y="746"/>
                </a:lnTo>
                <a:lnTo>
                  <a:pt x="87" y="745"/>
                </a:lnTo>
                <a:lnTo>
                  <a:pt x="86" y="745"/>
                </a:lnTo>
                <a:lnTo>
                  <a:pt x="85" y="744"/>
                </a:lnTo>
                <a:lnTo>
                  <a:pt x="85" y="740"/>
                </a:lnTo>
                <a:lnTo>
                  <a:pt x="86" y="740"/>
                </a:lnTo>
                <a:lnTo>
                  <a:pt x="86" y="739"/>
                </a:lnTo>
                <a:lnTo>
                  <a:pt x="85" y="739"/>
                </a:lnTo>
                <a:lnTo>
                  <a:pt x="85" y="738"/>
                </a:lnTo>
                <a:lnTo>
                  <a:pt x="83" y="737"/>
                </a:lnTo>
                <a:lnTo>
                  <a:pt x="86" y="734"/>
                </a:lnTo>
                <a:lnTo>
                  <a:pt x="87" y="734"/>
                </a:lnTo>
                <a:lnTo>
                  <a:pt x="91" y="738"/>
                </a:lnTo>
                <a:lnTo>
                  <a:pt x="91" y="736"/>
                </a:lnTo>
                <a:lnTo>
                  <a:pt x="92" y="737"/>
                </a:lnTo>
                <a:lnTo>
                  <a:pt x="93" y="737"/>
                </a:lnTo>
                <a:lnTo>
                  <a:pt x="94" y="738"/>
                </a:lnTo>
                <a:lnTo>
                  <a:pt x="95" y="737"/>
                </a:lnTo>
                <a:lnTo>
                  <a:pt x="94" y="737"/>
                </a:lnTo>
                <a:lnTo>
                  <a:pt x="93" y="736"/>
                </a:lnTo>
                <a:lnTo>
                  <a:pt x="95" y="733"/>
                </a:lnTo>
                <a:lnTo>
                  <a:pt x="96" y="734"/>
                </a:lnTo>
                <a:lnTo>
                  <a:pt x="98" y="733"/>
                </a:lnTo>
                <a:lnTo>
                  <a:pt x="100" y="732"/>
                </a:lnTo>
                <a:lnTo>
                  <a:pt x="101" y="732"/>
                </a:lnTo>
                <a:lnTo>
                  <a:pt x="100" y="733"/>
                </a:lnTo>
                <a:lnTo>
                  <a:pt x="100" y="739"/>
                </a:lnTo>
                <a:lnTo>
                  <a:pt x="101" y="740"/>
                </a:lnTo>
                <a:lnTo>
                  <a:pt x="105" y="743"/>
                </a:lnTo>
                <a:lnTo>
                  <a:pt x="104" y="740"/>
                </a:lnTo>
                <a:lnTo>
                  <a:pt x="104" y="739"/>
                </a:lnTo>
                <a:lnTo>
                  <a:pt x="105" y="738"/>
                </a:lnTo>
                <a:lnTo>
                  <a:pt x="105" y="737"/>
                </a:lnTo>
                <a:lnTo>
                  <a:pt x="106" y="736"/>
                </a:lnTo>
                <a:lnTo>
                  <a:pt x="106" y="734"/>
                </a:lnTo>
                <a:lnTo>
                  <a:pt x="107" y="733"/>
                </a:lnTo>
                <a:lnTo>
                  <a:pt x="107" y="734"/>
                </a:lnTo>
                <a:lnTo>
                  <a:pt x="108" y="736"/>
                </a:lnTo>
                <a:lnTo>
                  <a:pt x="110" y="734"/>
                </a:lnTo>
                <a:lnTo>
                  <a:pt x="113" y="734"/>
                </a:lnTo>
                <a:lnTo>
                  <a:pt x="116" y="731"/>
                </a:lnTo>
                <a:lnTo>
                  <a:pt x="117" y="730"/>
                </a:lnTo>
                <a:lnTo>
                  <a:pt x="117" y="728"/>
                </a:lnTo>
                <a:lnTo>
                  <a:pt x="118" y="731"/>
                </a:lnTo>
                <a:lnTo>
                  <a:pt x="119" y="730"/>
                </a:lnTo>
                <a:lnTo>
                  <a:pt x="120" y="727"/>
                </a:lnTo>
                <a:lnTo>
                  <a:pt x="120" y="724"/>
                </a:lnTo>
                <a:lnTo>
                  <a:pt x="118" y="721"/>
                </a:lnTo>
                <a:lnTo>
                  <a:pt x="116" y="718"/>
                </a:lnTo>
                <a:lnTo>
                  <a:pt x="114" y="718"/>
                </a:lnTo>
                <a:lnTo>
                  <a:pt x="114" y="716"/>
                </a:lnTo>
                <a:lnTo>
                  <a:pt x="113" y="715"/>
                </a:lnTo>
                <a:lnTo>
                  <a:pt x="113" y="713"/>
                </a:lnTo>
                <a:lnTo>
                  <a:pt x="114" y="712"/>
                </a:lnTo>
                <a:lnTo>
                  <a:pt x="116" y="712"/>
                </a:lnTo>
                <a:lnTo>
                  <a:pt x="117" y="714"/>
                </a:lnTo>
                <a:lnTo>
                  <a:pt x="119" y="716"/>
                </a:lnTo>
                <a:lnTo>
                  <a:pt x="120" y="716"/>
                </a:lnTo>
                <a:lnTo>
                  <a:pt x="122" y="718"/>
                </a:lnTo>
                <a:lnTo>
                  <a:pt x="119" y="713"/>
                </a:lnTo>
                <a:lnTo>
                  <a:pt x="117" y="710"/>
                </a:lnTo>
                <a:lnTo>
                  <a:pt x="117" y="707"/>
                </a:lnTo>
                <a:lnTo>
                  <a:pt x="119" y="707"/>
                </a:lnTo>
                <a:lnTo>
                  <a:pt x="119" y="710"/>
                </a:lnTo>
                <a:lnTo>
                  <a:pt x="122" y="710"/>
                </a:lnTo>
                <a:lnTo>
                  <a:pt x="122" y="714"/>
                </a:lnTo>
                <a:lnTo>
                  <a:pt x="124" y="712"/>
                </a:lnTo>
                <a:lnTo>
                  <a:pt x="123" y="710"/>
                </a:lnTo>
                <a:lnTo>
                  <a:pt x="124" y="709"/>
                </a:lnTo>
                <a:lnTo>
                  <a:pt x="124" y="708"/>
                </a:lnTo>
                <a:lnTo>
                  <a:pt x="125" y="704"/>
                </a:lnTo>
                <a:lnTo>
                  <a:pt x="125" y="703"/>
                </a:lnTo>
                <a:lnTo>
                  <a:pt x="126" y="702"/>
                </a:lnTo>
                <a:lnTo>
                  <a:pt x="126" y="701"/>
                </a:lnTo>
                <a:lnTo>
                  <a:pt x="129" y="702"/>
                </a:lnTo>
                <a:lnTo>
                  <a:pt x="127" y="701"/>
                </a:lnTo>
                <a:lnTo>
                  <a:pt x="126" y="697"/>
                </a:lnTo>
                <a:lnTo>
                  <a:pt x="126" y="696"/>
                </a:lnTo>
                <a:lnTo>
                  <a:pt x="127" y="696"/>
                </a:lnTo>
                <a:lnTo>
                  <a:pt x="127" y="695"/>
                </a:lnTo>
                <a:lnTo>
                  <a:pt x="130" y="695"/>
                </a:lnTo>
                <a:lnTo>
                  <a:pt x="130" y="690"/>
                </a:lnTo>
                <a:lnTo>
                  <a:pt x="131" y="690"/>
                </a:lnTo>
                <a:lnTo>
                  <a:pt x="131" y="691"/>
                </a:lnTo>
                <a:lnTo>
                  <a:pt x="132" y="691"/>
                </a:lnTo>
                <a:lnTo>
                  <a:pt x="132" y="690"/>
                </a:lnTo>
                <a:lnTo>
                  <a:pt x="133" y="690"/>
                </a:lnTo>
                <a:lnTo>
                  <a:pt x="135" y="691"/>
                </a:lnTo>
                <a:lnTo>
                  <a:pt x="135" y="695"/>
                </a:lnTo>
                <a:lnTo>
                  <a:pt x="136" y="697"/>
                </a:lnTo>
                <a:lnTo>
                  <a:pt x="138" y="697"/>
                </a:lnTo>
                <a:lnTo>
                  <a:pt x="138" y="696"/>
                </a:lnTo>
                <a:lnTo>
                  <a:pt x="139" y="696"/>
                </a:lnTo>
                <a:lnTo>
                  <a:pt x="141" y="695"/>
                </a:lnTo>
                <a:lnTo>
                  <a:pt x="141" y="693"/>
                </a:lnTo>
                <a:lnTo>
                  <a:pt x="142" y="691"/>
                </a:lnTo>
                <a:lnTo>
                  <a:pt x="143" y="691"/>
                </a:lnTo>
                <a:lnTo>
                  <a:pt x="143" y="689"/>
                </a:lnTo>
                <a:lnTo>
                  <a:pt x="141" y="688"/>
                </a:lnTo>
                <a:lnTo>
                  <a:pt x="143" y="688"/>
                </a:lnTo>
                <a:lnTo>
                  <a:pt x="142" y="687"/>
                </a:lnTo>
                <a:lnTo>
                  <a:pt x="142" y="685"/>
                </a:lnTo>
                <a:lnTo>
                  <a:pt x="143" y="687"/>
                </a:lnTo>
                <a:lnTo>
                  <a:pt x="144" y="687"/>
                </a:lnTo>
                <a:lnTo>
                  <a:pt x="144" y="684"/>
                </a:lnTo>
                <a:lnTo>
                  <a:pt x="143" y="683"/>
                </a:lnTo>
                <a:lnTo>
                  <a:pt x="143" y="682"/>
                </a:lnTo>
                <a:lnTo>
                  <a:pt x="144" y="681"/>
                </a:lnTo>
                <a:lnTo>
                  <a:pt x="145" y="681"/>
                </a:lnTo>
                <a:lnTo>
                  <a:pt x="145" y="682"/>
                </a:lnTo>
                <a:lnTo>
                  <a:pt x="147" y="683"/>
                </a:lnTo>
                <a:lnTo>
                  <a:pt x="147" y="684"/>
                </a:lnTo>
                <a:lnTo>
                  <a:pt x="148" y="684"/>
                </a:lnTo>
                <a:lnTo>
                  <a:pt x="148" y="683"/>
                </a:lnTo>
                <a:lnTo>
                  <a:pt x="147" y="682"/>
                </a:lnTo>
                <a:lnTo>
                  <a:pt x="147" y="679"/>
                </a:lnTo>
                <a:lnTo>
                  <a:pt x="150" y="676"/>
                </a:lnTo>
                <a:lnTo>
                  <a:pt x="153" y="676"/>
                </a:lnTo>
                <a:lnTo>
                  <a:pt x="154" y="675"/>
                </a:lnTo>
                <a:lnTo>
                  <a:pt x="154" y="672"/>
                </a:lnTo>
                <a:lnTo>
                  <a:pt x="160" y="672"/>
                </a:lnTo>
                <a:lnTo>
                  <a:pt x="161" y="670"/>
                </a:lnTo>
                <a:lnTo>
                  <a:pt x="162" y="671"/>
                </a:lnTo>
                <a:lnTo>
                  <a:pt x="163" y="671"/>
                </a:lnTo>
                <a:lnTo>
                  <a:pt x="164" y="670"/>
                </a:lnTo>
                <a:lnTo>
                  <a:pt x="164" y="669"/>
                </a:lnTo>
                <a:lnTo>
                  <a:pt x="163" y="667"/>
                </a:lnTo>
                <a:lnTo>
                  <a:pt x="163" y="657"/>
                </a:lnTo>
                <a:lnTo>
                  <a:pt x="167" y="657"/>
                </a:lnTo>
                <a:lnTo>
                  <a:pt x="167" y="658"/>
                </a:lnTo>
                <a:lnTo>
                  <a:pt x="170" y="658"/>
                </a:lnTo>
                <a:lnTo>
                  <a:pt x="173" y="659"/>
                </a:lnTo>
                <a:lnTo>
                  <a:pt x="174" y="658"/>
                </a:lnTo>
                <a:lnTo>
                  <a:pt x="172" y="653"/>
                </a:lnTo>
                <a:lnTo>
                  <a:pt x="172" y="651"/>
                </a:lnTo>
                <a:lnTo>
                  <a:pt x="173" y="652"/>
                </a:lnTo>
                <a:lnTo>
                  <a:pt x="174" y="651"/>
                </a:lnTo>
                <a:lnTo>
                  <a:pt x="174" y="650"/>
                </a:lnTo>
                <a:lnTo>
                  <a:pt x="175" y="650"/>
                </a:lnTo>
                <a:lnTo>
                  <a:pt x="175" y="647"/>
                </a:lnTo>
                <a:lnTo>
                  <a:pt x="176" y="647"/>
                </a:lnTo>
                <a:lnTo>
                  <a:pt x="178" y="646"/>
                </a:lnTo>
                <a:lnTo>
                  <a:pt x="178" y="641"/>
                </a:lnTo>
                <a:lnTo>
                  <a:pt x="180" y="641"/>
                </a:lnTo>
                <a:lnTo>
                  <a:pt x="182" y="640"/>
                </a:lnTo>
                <a:lnTo>
                  <a:pt x="182" y="639"/>
                </a:lnTo>
                <a:lnTo>
                  <a:pt x="184" y="635"/>
                </a:lnTo>
                <a:lnTo>
                  <a:pt x="185" y="636"/>
                </a:lnTo>
                <a:lnTo>
                  <a:pt x="186" y="636"/>
                </a:lnTo>
                <a:lnTo>
                  <a:pt x="187" y="638"/>
                </a:lnTo>
                <a:lnTo>
                  <a:pt x="187" y="636"/>
                </a:lnTo>
                <a:lnTo>
                  <a:pt x="186" y="635"/>
                </a:lnTo>
                <a:lnTo>
                  <a:pt x="186" y="634"/>
                </a:lnTo>
                <a:lnTo>
                  <a:pt x="187" y="633"/>
                </a:lnTo>
                <a:lnTo>
                  <a:pt x="187" y="630"/>
                </a:lnTo>
                <a:lnTo>
                  <a:pt x="188" y="629"/>
                </a:lnTo>
                <a:lnTo>
                  <a:pt x="188" y="628"/>
                </a:lnTo>
                <a:lnTo>
                  <a:pt x="189" y="624"/>
                </a:lnTo>
                <a:lnTo>
                  <a:pt x="189" y="623"/>
                </a:lnTo>
                <a:lnTo>
                  <a:pt x="191" y="623"/>
                </a:lnTo>
                <a:lnTo>
                  <a:pt x="193" y="621"/>
                </a:lnTo>
                <a:lnTo>
                  <a:pt x="193" y="620"/>
                </a:lnTo>
                <a:lnTo>
                  <a:pt x="194" y="620"/>
                </a:lnTo>
                <a:lnTo>
                  <a:pt x="194" y="618"/>
                </a:lnTo>
                <a:lnTo>
                  <a:pt x="195" y="618"/>
                </a:lnTo>
                <a:lnTo>
                  <a:pt x="197" y="617"/>
                </a:lnTo>
                <a:lnTo>
                  <a:pt x="199" y="617"/>
                </a:lnTo>
                <a:lnTo>
                  <a:pt x="198" y="616"/>
                </a:lnTo>
                <a:lnTo>
                  <a:pt x="199" y="615"/>
                </a:lnTo>
                <a:lnTo>
                  <a:pt x="199" y="614"/>
                </a:lnTo>
                <a:lnTo>
                  <a:pt x="200" y="615"/>
                </a:lnTo>
                <a:lnTo>
                  <a:pt x="201" y="614"/>
                </a:lnTo>
                <a:lnTo>
                  <a:pt x="201" y="611"/>
                </a:lnTo>
                <a:lnTo>
                  <a:pt x="203" y="611"/>
                </a:lnTo>
                <a:lnTo>
                  <a:pt x="204" y="610"/>
                </a:lnTo>
                <a:lnTo>
                  <a:pt x="205" y="608"/>
                </a:lnTo>
                <a:lnTo>
                  <a:pt x="205" y="602"/>
                </a:lnTo>
                <a:lnTo>
                  <a:pt x="206" y="601"/>
                </a:lnTo>
                <a:lnTo>
                  <a:pt x="207" y="598"/>
                </a:lnTo>
                <a:lnTo>
                  <a:pt x="207" y="596"/>
                </a:lnTo>
                <a:lnTo>
                  <a:pt x="212" y="591"/>
                </a:lnTo>
                <a:lnTo>
                  <a:pt x="212" y="587"/>
                </a:lnTo>
                <a:lnTo>
                  <a:pt x="214" y="585"/>
                </a:lnTo>
                <a:lnTo>
                  <a:pt x="212" y="583"/>
                </a:lnTo>
                <a:lnTo>
                  <a:pt x="214" y="583"/>
                </a:lnTo>
                <a:lnTo>
                  <a:pt x="217" y="585"/>
                </a:lnTo>
                <a:lnTo>
                  <a:pt x="218" y="585"/>
                </a:lnTo>
                <a:lnTo>
                  <a:pt x="218" y="580"/>
                </a:lnTo>
                <a:lnTo>
                  <a:pt x="220" y="580"/>
                </a:lnTo>
                <a:lnTo>
                  <a:pt x="220" y="578"/>
                </a:lnTo>
                <a:lnTo>
                  <a:pt x="222" y="577"/>
                </a:lnTo>
                <a:lnTo>
                  <a:pt x="228" y="577"/>
                </a:lnTo>
                <a:lnTo>
                  <a:pt x="235" y="572"/>
                </a:lnTo>
                <a:lnTo>
                  <a:pt x="236" y="572"/>
                </a:lnTo>
                <a:lnTo>
                  <a:pt x="237" y="573"/>
                </a:lnTo>
                <a:lnTo>
                  <a:pt x="237" y="574"/>
                </a:lnTo>
                <a:lnTo>
                  <a:pt x="238" y="575"/>
                </a:lnTo>
                <a:lnTo>
                  <a:pt x="238" y="574"/>
                </a:lnTo>
                <a:lnTo>
                  <a:pt x="240" y="575"/>
                </a:lnTo>
                <a:lnTo>
                  <a:pt x="240" y="578"/>
                </a:lnTo>
                <a:lnTo>
                  <a:pt x="242" y="580"/>
                </a:lnTo>
                <a:lnTo>
                  <a:pt x="241" y="581"/>
                </a:lnTo>
                <a:lnTo>
                  <a:pt x="243" y="581"/>
                </a:lnTo>
                <a:lnTo>
                  <a:pt x="247" y="580"/>
                </a:lnTo>
                <a:lnTo>
                  <a:pt x="247" y="572"/>
                </a:lnTo>
                <a:lnTo>
                  <a:pt x="245" y="573"/>
                </a:lnTo>
                <a:lnTo>
                  <a:pt x="244" y="573"/>
                </a:lnTo>
                <a:lnTo>
                  <a:pt x="243" y="571"/>
                </a:lnTo>
                <a:lnTo>
                  <a:pt x="242" y="571"/>
                </a:lnTo>
                <a:lnTo>
                  <a:pt x="241" y="570"/>
                </a:lnTo>
                <a:lnTo>
                  <a:pt x="240" y="567"/>
                </a:lnTo>
                <a:lnTo>
                  <a:pt x="240" y="566"/>
                </a:lnTo>
                <a:lnTo>
                  <a:pt x="241" y="566"/>
                </a:lnTo>
                <a:lnTo>
                  <a:pt x="241" y="565"/>
                </a:lnTo>
                <a:lnTo>
                  <a:pt x="245" y="565"/>
                </a:lnTo>
                <a:lnTo>
                  <a:pt x="245" y="566"/>
                </a:lnTo>
                <a:lnTo>
                  <a:pt x="248" y="567"/>
                </a:lnTo>
                <a:lnTo>
                  <a:pt x="249" y="568"/>
                </a:lnTo>
                <a:lnTo>
                  <a:pt x="250" y="568"/>
                </a:lnTo>
                <a:lnTo>
                  <a:pt x="250" y="566"/>
                </a:lnTo>
                <a:lnTo>
                  <a:pt x="249" y="565"/>
                </a:lnTo>
                <a:lnTo>
                  <a:pt x="249" y="560"/>
                </a:lnTo>
                <a:lnTo>
                  <a:pt x="248" y="559"/>
                </a:lnTo>
                <a:lnTo>
                  <a:pt x="248" y="555"/>
                </a:lnTo>
                <a:lnTo>
                  <a:pt x="245" y="553"/>
                </a:lnTo>
                <a:lnTo>
                  <a:pt x="241" y="552"/>
                </a:lnTo>
                <a:lnTo>
                  <a:pt x="241" y="548"/>
                </a:lnTo>
                <a:lnTo>
                  <a:pt x="243" y="546"/>
                </a:lnTo>
                <a:lnTo>
                  <a:pt x="243" y="544"/>
                </a:lnTo>
                <a:lnTo>
                  <a:pt x="244" y="543"/>
                </a:lnTo>
                <a:lnTo>
                  <a:pt x="243" y="541"/>
                </a:lnTo>
                <a:lnTo>
                  <a:pt x="244" y="542"/>
                </a:lnTo>
                <a:lnTo>
                  <a:pt x="244" y="541"/>
                </a:lnTo>
                <a:lnTo>
                  <a:pt x="245" y="541"/>
                </a:lnTo>
                <a:lnTo>
                  <a:pt x="244" y="540"/>
                </a:lnTo>
                <a:lnTo>
                  <a:pt x="244" y="538"/>
                </a:lnTo>
                <a:lnTo>
                  <a:pt x="245" y="538"/>
                </a:lnTo>
                <a:lnTo>
                  <a:pt x="244" y="537"/>
                </a:lnTo>
                <a:lnTo>
                  <a:pt x="243" y="537"/>
                </a:lnTo>
                <a:lnTo>
                  <a:pt x="244" y="536"/>
                </a:lnTo>
                <a:lnTo>
                  <a:pt x="244" y="534"/>
                </a:lnTo>
                <a:lnTo>
                  <a:pt x="245" y="531"/>
                </a:lnTo>
                <a:lnTo>
                  <a:pt x="244" y="530"/>
                </a:lnTo>
                <a:lnTo>
                  <a:pt x="245" y="530"/>
                </a:lnTo>
                <a:lnTo>
                  <a:pt x="245" y="529"/>
                </a:lnTo>
                <a:lnTo>
                  <a:pt x="243" y="525"/>
                </a:lnTo>
                <a:lnTo>
                  <a:pt x="244" y="525"/>
                </a:lnTo>
                <a:lnTo>
                  <a:pt x="247" y="523"/>
                </a:lnTo>
                <a:lnTo>
                  <a:pt x="247" y="515"/>
                </a:lnTo>
                <a:lnTo>
                  <a:pt x="245" y="512"/>
                </a:lnTo>
                <a:lnTo>
                  <a:pt x="240" y="506"/>
                </a:lnTo>
                <a:lnTo>
                  <a:pt x="238" y="506"/>
                </a:lnTo>
                <a:lnTo>
                  <a:pt x="238" y="507"/>
                </a:lnTo>
                <a:lnTo>
                  <a:pt x="236" y="505"/>
                </a:lnTo>
                <a:lnTo>
                  <a:pt x="236" y="504"/>
                </a:lnTo>
                <a:lnTo>
                  <a:pt x="235" y="503"/>
                </a:lnTo>
                <a:lnTo>
                  <a:pt x="235" y="501"/>
                </a:lnTo>
                <a:lnTo>
                  <a:pt x="234" y="501"/>
                </a:lnTo>
                <a:lnTo>
                  <a:pt x="232" y="500"/>
                </a:lnTo>
                <a:lnTo>
                  <a:pt x="229" y="500"/>
                </a:lnTo>
                <a:lnTo>
                  <a:pt x="228" y="498"/>
                </a:lnTo>
                <a:lnTo>
                  <a:pt x="225" y="497"/>
                </a:lnTo>
                <a:lnTo>
                  <a:pt x="223" y="497"/>
                </a:lnTo>
                <a:lnTo>
                  <a:pt x="220" y="498"/>
                </a:lnTo>
                <a:lnTo>
                  <a:pt x="219" y="499"/>
                </a:lnTo>
                <a:lnTo>
                  <a:pt x="218" y="499"/>
                </a:lnTo>
                <a:lnTo>
                  <a:pt x="218" y="493"/>
                </a:lnTo>
                <a:lnTo>
                  <a:pt x="217" y="493"/>
                </a:lnTo>
                <a:lnTo>
                  <a:pt x="214" y="492"/>
                </a:lnTo>
                <a:lnTo>
                  <a:pt x="214" y="491"/>
                </a:lnTo>
                <a:lnTo>
                  <a:pt x="213" y="489"/>
                </a:lnTo>
                <a:lnTo>
                  <a:pt x="213" y="481"/>
                </a:lnTo>
                <a:lnTo>
                  <a:pt x="217" y="474"/>
                </a:lnTo>
                <a:lnTo>
                  <a:pt x="218" y="473"/>
                </a:lnTo>
                <a:lnTo>
                  <a:pt x="219" y="473"/>
                </a:lnTo>
                <a:lnTo>
                  <a:pt x="219" y="472"/>
                </a:lnTo>
                <a:lnTo>
                  <a:pt x="217" y="473"/>
                </a:lnTo>
                <a:lnTo>
                  <a:pt x="216" y="473"/>
                </a:lnTo>
                <a:lnTo>
                  <a:pt x="216" y="475"/>
                </a:lnTo>
                <a:lnTo>
                  <a:pt x="214" y="476"/>
                </a:lnTo>
                <a:lnTo>
                  <a:pt x="212" y="481"/>
                </a:lnTo>
                <a:lnTo>
                  <a:pt x="211" y="482"/>
                </a:lnTo>
                <a:lnTo>
                  <a:pt x="209" y="482"/>
                </a:lnTo>
                <a:lnTo>
                  <a:pt x="207" y="484"/>
                </a:lnTo>
                <a:lnTo>
                  <a:pt x="207" y="485"/>
                </a:lnTo>
                <a:lnTo>
                  <a:pt x="206" y="486"/>
                </a:lnTo>
                <a:lnTo>
                  <a:pt x="205" y="485"/>
                </a:lnTo>
                <a:lnTo>
                  <a:pt x="204" y="482"/>
                </a:lnTo>
                <a:lnTo>
                  <a:pt x="203" y="482"/>
                </a:lnTo>
                <a:lnTo>
                  <a:pt x="201" y="481"/>
                </a:lnTo>
                <a:lnTo>
                  <a:pt x="199" y="480"/>
                </a:lnTo>
                <a:lnTo>
                  <a:pt x="200" y="481"/>
                </a:lnTo>
                <a:lnTo>
                  <a:pt x="200" y="485"/>
                </a:lnTo>
                <a:lnTo>
                  <a:pt x="198" y="485"/>
                </a:lnTo>
                <a:lnTo>
                  <a:pt x="198" y="484"/>
                </a:lnTo>
                <a:lnTo>
                  <a:pt x="197" y="482"/>
                </a:lnTo>
                <a:lnTo>
                  <a:pt x="197" y="478"/>
                </a:lnTo>
                <a:lnTo>
                  <a:pt x="194" y="475"/>
                </a:lnTo>
                <a:lnTo>
                  <a:pt x="194" y="472"/>
                </a:lnTo>
                <a:lnTo>
                  <a:pt x="192" y="467"/>
                </a:lnTo>
                <a:lnTo>
                  <a:pt x="192" y="463"/>
                </a:lnTo>
                <a:lnTo>
                  <a:pt x="191" y="458"/>
                </a:lnTo>
                <a:lnTo>
                  <a:pt x="191" y="456"/>
                </a:lnTo>
                <a:lnTo>
                  <a:pt x="189" y="456"/>
                </a:lnTo>
                <a:lnTo>
                  <a:pt x="189" y="455"/>
                </a:lnTo>
                <a:lnTo>
                  <a:pt x="188" y="454"/>
                </a:lnTo>
                <a:lnTo>
                  <a:pt x="186" y="446"/>
                </a:lnTo>
                <a:lnTo>
                  <a:pt x="185" y="445"/>
                </a:lnTo>
                <a:lnTo>
                  <a:pt x="180" y="443"/>
                </a:lnTo>
                <a:lnTo>
                  <a:pt x="178" y="441"/>
                </a:lnTo>
                <a:lnTo>
                  <a:pt x="176" y="435"/>
                </a:lnTo>
                <a:lnTo>
                  <a:pt x="176" y="432"/>
                </a:lnTo>
                <a:lnTo>
                  <a:pt x="175" y="430"/>
                </a:lnTo>
                <a:lnTo>
                  <a:pt x="175" y="426"/>
                </a:lnTo>
                <a:lnTo>
                  <a:pt x="176" y="425"/>
                </a:lnTo>
                <a:lnTo>
                  <a:pt x="176" y="424"/>
                </a:lnTo>
                <a:lnTo>
                  <a:pt x="175" y="421"/>
                </a:lnTo>
                <a:lnTo>
                  <a:pt x="175" y="417"/>
                </a:lnTo>
                <a:lnTo>
                  <a:pt x="174" y="415"/>
                </a:lnTo>
                <a:lnTo>
                  <a:pt x="175" y="413"/>
                </a:lnTo>
                <a:lnTo>
                  <a:pt x="178" y="411"/>
                </a:lnTo>
                <a:lnTo>
                  <a:pt x="179" y="411"/>
                </a:lnTo>
                <a:lnTo>
                  <a:pt x="179" y="408"/>
                </a:lnTo>
                <a:lnTo>
                  <a:pt x="181" y="406"/>
                </a:lnTo>
                <a:lnTo>
                  <a:pt x="181" y="405"/>
                </a:lnTo>
                <a:lnTo>
                  <a:pt x="184" y="403"/>
                </a:lnTo>
                <a:lnTo>
                  <a:pt x="185" y="402"/>
                </a:lnTo>
                <a:lnTo>
                  <a:pt x="185" y="392"/>
                </a:lnTo>
                <a:lnTo>
                  <a:pt x="186" y="389"/>
                </a:lnTo>
                <a:lnTo>
                  <a:pt x="186" y="387"/>
                </a:lnTo>
                <a:lnTo>
                  <a:pt x="185" y="383"/>
                </a:lnTo>
                <a:lnTo>
                  <a:pt x="185" y="382"/>
                </a:lnTo>
                <a:lnTo>
                  <a:pt x="186" y="380"/>
                </a:lnTo>
                <a:lnTo>
                  <a:pt x="187" y="378"/>
                </a:lnTo>
                <a:lnTo>
                  <a:pt x="188" y="378"/>
                </a:lnTo>
                <a:lnTo>
                  <a:pt x="189" y="377"/>
                </a:lnTo>
                <a:lnTo>
                  <a:pt x="189" y="376"/>
                </a:lnTo>
                <a:lnTo>
                  <a:pt x="188" y="370"/>
                </a:lnTo>
                <a:lnTo>
                  <a:pt x="187" y="368"/>
                </a:lnTo>
                <a:lnTo>
                  <a:pt x="186" y="366"/>
                </a:lnTo>
                <a:lnTo>
                  <a:pt x="185" y="364"/>
                </a:lnTo>
                <a:lnTo>
                  <a:pt x="182" y="358"/>
                </a:lnTo>
                <a:lnTo>
                  <a:pt x="180" y="356"/>
                </a:lnTo>
                <a:lnTo>
                  <a:pt x="179" y="356"/>
                </a:lnTo>
                <a:lnTo>
                  <a:pt x="178" y="353"/>
                </a:lnTo>
                <a:lnTo>
                  <a:pt x="176" y="350"/>
                </a:lnTo>
                <a:lnTo>
                  <a:pt x="175" y="349"/>
                </a:lnTo>
                <a:lnTo>
                  <a:pt x="175" y="344"/>
                </a:lnTo>
                <a:lnTo>
                  <a:pt x="174" y="341"/>
                </a:lnTo>
                <a:lnTo>
                  <a:pt x="172" y="339"/>
                </a:lnTo>
                <a:lnTo>
                  <a:pt x="172" y="337"/>
                </a:lnTo>
                <a:lnTo>
                  <a:pt x="173" y="335"/>
                </a:lnTo>
                <a:lnTo>
                  <a:pt x="173" y="327"/>
                </a:lnTo>
                <a:lnTo>
                  <a:pt x="174" y="326"/>
                </a:lnTo>
                <a:lnTo>
                  <a:pt x="179" y="325"/>
                </a:lnTo>
                <a:lnTo>
                  <a:pt x="180" y="322"/>
                </a:lnTo>
                <a:lnTo>
                  <a:pt x="180" y="319"/>
                </a:lnTo>
                <a:lnTo>
                  <a:pt x="179" y="317"/>
                </a:lnTo>
                <a:lnTo>
                  <a:pt x="179" y="315"/>
                </a:lnTo>
                <a:lnTo>
                  <a:pt x="180" y="313"/>
                </a:lnTo>
                <a:lnTo>
                  <a:pt x="180" y="310"/>
                </a:lnTo>
                <a:lnTo>
                  <a:pt x="179" y="309"/>
                </a:lnTo>
                <a:lnTo>
                  <a:pt x="175" y="308"/>
                </a:lnTo>
                <a:lnTo>
                  <a:pt x="173" y="307"/>
                </a:lnTo>
                <a:lnTo>
                  <a:pt x="168" y="307"/>
                </a:lnTo>
                <a:lnTo>
                  <a:pt x="166" y="306"/>
                </a:lnTo>
                <a:lnTo>
                  <a:pt x="166" y="301"/>
                </a:lnTo>
                <a:lnTo>
                  <a:pt x="168" y="296"/>
                </a:lnTo>
                <a:lnTo>
                  <a:pt x="167" y="295"/>
                </a:lnTo>
                <a:lnTo>
                  <a:pt x="168" y="294"/>
                </a:lnTo>
                <a:lnTo>
                  <a:pt x="170" y="292"/>
                </a:lnTo>
                <a:lnTo>
                  <a:pt x="170" y="288"/>
                </a:lnTo>
                <a:lnTo>
                  <a:pt x="169" y="284"/>
                </a:lnTo>
                <a:lnTo>
                  <a:pt x="169" y="283"/>
                </a:lnTo>
                <a:lnTo>
                  <a:pt x="168" y="278"/>
                </a:lnTo>
                <a:lnTo>
                  <a:pt x="168" y="259"/>
                </a:lnTo>
                <a:lnTo>
                  <a:pt x="169" y="258"/>
                </a:lnTo>
                <a:lnTo>
                  <a:pt x="173" y="257"/>
                </a:lnTo>
                <a:lnTo>
                  <a:pt x="174" y="255"/>
                </a:lnTo>
                <a:lnTo>
                  <a:pt x="175" y="253"/>
                </a:lnTo>
                <a:lnTo>
                  <a:pt x="175" y="251"/>
                </a:lnTo>
                <a:lnTo>
                  <a:pt x="174" y="249"/>
                </a:lnTo>
                <a:lnTo>
                  <a:pt x="172" y="248"/>
                </a:lnTo>
                <a:lnTo>
                  <a:pt x="168" y="243"/>
                </a:lnTo>
                <a:lnTo>
                  <a:pt x="167" y="242"/>
                </a:lnTo>
                <a:lnTo>
                  <a:pt x="163" y="240"/>
                </a:lnTo>
                <a:lnTo>
                  <a:pt x="163" y="237"/>
                </a:lnTo>
                <a:lnTo>
                  <a:pt x="161" y="230"/>
                </a:lnTo>
                <a:lnTo>
                  <a:pt x="161" y="229"/>
                </a:lnTo>
                <a:lnTo>
                  <a:pt x="158" y="229"/>
                </a:lnTo>
                <a:lnTo>
                  <a:pt x="155" y="231"/>
                </a:lnTo>
                <a:lnTo>
                  <a:pt x="154" y="230"/>
                </a:lnTo>
                <a:lnTo>
                  <a:pt x="154" y="218"/>
                </a:lnTo>
                <a:lnTo>
                  <a:pt x="151" y="216"/>
                </a:lnTo>
                <a:lnTo>
                  <a:pt x="151" y="215"/>
                </a:lnTo>
                <a:lnTo>
                  <a:pt x="150" y="215"/>
                </a:lnTo>
                <a:lnTo>
                  <a:pt x="150" y="212"/>
                </a:lnTo>
                <a:lnTo>
                  <a:pt x="149" y="211"/>
                </a:lnTo>
                <a:lnTo>
                  <a:pt x="143" y="208"/>
                </a:lnTo>
                <a:lnTo>
                  <a:pt x="142" y="205"/>
                </a:lnTo>
                <a:lnTo>
                  <a:pt x="141" y="202"/>
                </a:lnTo>
                <a:lnTo>
                  <a:pt x="139" y="200"/>
                </a:lnTo>
                <a:lnTo>
                  <a:pt x="137" y="202"/>
                </a:lnTo>
                <a:lnTo>
                  <a:pt x="136" y="200"/>
                </a:lnTo>
                <a:lnTo>
                  <a:pt x="135" y="198"/>
                </a:lnTo>
                <a:lnTo>
                  <a:pt x="133" y="197"/>
                </a:lnTo>
                <a:lnTo>
                  <a:pt x="131" y="197"/>
                </a:lnTo>
                <a:lnTo>
                  <a:pt x="129" y="196"/>
                </a:lnTo>
                <a:lnTo>
                  <a:pt x="127" y="196"/>
                </a:lnTo>
                <a:lnTo>
                  <a:pt x="124" y="193"/>
                </a:lnTo>
                <a:lnTo>
                  <a:pt x="120" y="193"/>
                </a:lnTo>
                <a:lnTo>
                  <a:pt x="122" y="192"/>
                </a:lnTo>
                <a:lnTo>
                  <a:pt x="120" y="192"/>
                </a:lnTo>
                <a:lnTo>
                  <a:pt x="118" y="191"/>
                </a:lnTo>
                <a:lnTo>
                  <a:pt x="108" y="191"/>
                </a:lnTo>
                <a:lnTo>
                  <a:pt x="107" y="190"/>
                </a:lnTo>
                <a:lnTo>
                  <a:pt x="107" y="187"/>
                </a:lnTo>
                <a:lnTo>
                  <a:pt x="106" y="187"/>
                </a:lnTo>
                <a:lnTo>
                  <a:pt x="106" y="186"/>
                </a:lnTo>
                <a:lnTo>
                  <a:pt x="104" y="184"/>
                </a:lnTo>
                <a:lnTo>
                  <a:pt x="104" y="183"/>
                </a:lnTo>
                <a:lnTo>
                  <a:pt x="101" y="180"/>
                </a:lnTo>
                <a:lnTo>
                  <a:pt x="94" y="178"/>
                </a:lnTo>
                <a:lnTo>
                  <a:pt x="93" y="174"/>
                </a:lnTo>
                <a:lnTo>
                  <a:pt x="91" y="173"/>
                </a:lnTo>
                <a:lnTo>
                  <a:pt x="87" y="169"/>
                </a:lnTo>
                <a:lnTo>
                  <a:pt x="83" y="168"/>
                </a:lnTo>
                <a:lnTo>
                  <a:pt x="82" y="167"/>
                </a:lnTo>
                <a:lnTo>
                  <a:pt x="82" y="166"/>
                </a:lnTo>
                <a:lnTo>
                  <a:pt x="81" y="162"/>
                </a:lnTo>
                <a:lnTo>
                  <a:pt x="81" y="161"/>
                </a:lnTo>
                <a:lnTo>
                  <a:pt x="80" y="160"/>
                </a:lnTo>
                <a:lnTo>
                  <a:pt x="80" y="159"/>
                </a:lnTo>
                <a:lnTo>
                  <a:pt x="75" y="159"/>
                </a:lnTo>
                <a:lnTo>
                  <a:pt x="75" y="156"/>
                </a:lnTo>
                <a:lnTo>
                  <a:pt x="73" y="151"/>
                </a:lnTo>
                <a:lnTo>
                  <a:pt x="69" y="149"/>
                </a:lnTo>
                <a:lnTo>
                  <a:pt x="66" y="145"/>
                </a:lnTo>
                <a:lnTo>
                  <a:pt x="60" y="142"/>
                </a:lnTo>
                <a:lnTo>
                  <a:pt x="58" y="141"/>
                </a:lnTo>
                <a:lnTo>
                  <a:pt x="58" y="138"/>
                </a:lnTo>
                <a:lnTo>
                  <a:pt x="60" y="138"/>
                </a:lnTo>
                <a:lnTo>
                  <a:pt x="61" y="136"/>
                </a:lnTo>
                <a:lnTo>
                  <a:pt x="61" y="134"/>
                </a:lnTo>
                <a:lnTo>
                  <a:pt x="60" y="132"/>
                </a:lnTo>
                <a:lnTo>
                  <a:pt x="57" y="131"/>
                </a:lnTo>
                <a:lnTo>
                  <a:pt x="55" y="129"/>
                </a:lnTo>
                <a:lnTo>
                  <a:pt x="49" y="128"/>
                </a:lnTo>
                <a:lnTo>
                  <a:pt x="48" y="125"/>
                </a:lnTo>
                <a:lnTo>
                  <a:pt x="51" y="118"/>
                </a:lnTo>
                <a:lnTo>
                  <a:pt x="52" y="118"/>
                </a:lnTo>
                <a:lnTo>
                  <a:pt x="64" y="125"/>
                </a:lnTo>
                <a:lnTo>
                  <a:pt x="67" y="125"/>
                </a:lnTo>
                <a:lnTo>
                  <a:pt x="69" y="119"/>
                </a:lnTo>
                <a:lnTo>
                  <a:pt x="64" y="108"/>
                </a:lnTo>
                <a:lnTo>
                  <a:pt x="66" y="105"/>
                </a:lnTo>
                <a:lnTo>
                  <a:pt x="67" y="103"/>
                </a:lnTo>
                <a:lnTo>
                  <a:pt x="67" y="101"/>
                </a:lnTo>
                <a:lnTo>
                  <a:pt x="76" y="95"/>
                </a:lnTo>
                <a:lnTo>
                  <a:pt x="89" y="98"/>
                </a:lnTo>
                <a:lnTo>
                  <a:pt x="91" y="99"/>
                </a:lnTo>
                <a:lnTo>
                  <a:pt x="102" y="123"/>
                </a:lnTo>
                <a:lnTo>
                  <a:pt x="106" y="129"/>
                </a:lnTo>
                <a:lnTo>
                  <a:pt x="112" y="135"/>
                </a:lnTo>
                <a:lnTo>
                  <a:pt x="112" y="137"/>
                </a:lnTo>
                <a:lnTo>
                  <a:pt x="113" y="140"/>
                </a:lnTo>
                <a:lnTo>
                  <a:pt x="113" y="141"/>
                </a:lnTo>
                <a:lnTo>
                  <a:pt x="117" y="147"/>
                </a:lnTo>
                <a:lnTo>
                  <a:pt x="120" y="149"/>
                </a:lnTo>
                <a:lnTo>
                  <a:pt x="120" y="150"/>
                </a:lnTo>
                <a:lnTo>
                  <a:pt x="122" y="161"/>
                </a:lnTo>
                <a:lnTo>
                  <a:pt x="123" y="163"/>
                </a:lnTo>
                <a:lnTo>
                  <a:pt x="127" y="162"/>
                </a:lnTo>
                <a:lnTo>
                  <a:pt x="130" y="162"/>
                </a:lnTo>
                <a:lnTo>
                  <a:pt x="141" y="168"/>
                </a:lnTo>
                <a:lnTo>
                  <a:pt x="148" y="167"/>
                </a:lnTo>
                <a:lnTo>
                  <a:pt x="150" y="167"/>
                </a:lnTo>
                <a:lnTo>
                  <a:pt x="151" y="168"/>
                </a:lnTo>
                <a:lnTo>
                  <a:pt x="155" y="174"/>
                </a:lnTo>
                <a:lnTo>
                  <a:pt x="156" y="174"/>
                </a:lnTo>
                <a:lnTo>
                  <a:pt x="168" y="167"/>
                </a:lnTo>
                <a:lnTo>
                  <a:pt x="174" y="166"/>
                </a:lnTo>
                <a:lnTo>
                  <a:pt x="179" y="163"/>
                </a:lnTo>
                <a:lnTo>
                  <a:pt x="181" y="154"/>
                </a:lnTo>
                <a:lnTo>
                  <a:pt x="184" y="151"/>
                </a:lnTo>
                <a:lnTo>
                  <a:pt x="187" y="151"/>
                </a:lnTo>
                <a:lnTo>
                  <a:pt x="195" y="156"/>
                </a:lnTo>
                <a:lnTo>
                  <a:pt x="197" y="159"/>
                </a:lnTo>
                <a:lnTo>
                  <a:pt x="198" y="160"/>
                </a:lnTo>
                <a:lnTo>
                  <a:pt x="204" y="165"/>
                </a:lnTo>
                <a:lnTo>
                  <a:pt x="210" y="166"/>
                </a:lnTo>
                <a:lnTo>
                  <a:pt x="218" y="169"/>
                </a:lnTo>
                <a:lnTo>
                  <a:pt x="222" y="172"/>
                </a:lnTo>
                <a:lnTo>
                  <a:pt x="224" y="178"/>
                </a:lnTo>
                <a:lnTo>
                  <a:pt x="226" y="181"/>
                </a:lnTo>
                <a:lnTo>
                  <a:pt x="226" y="183"/>
                </a:lnTo>
                <a:lnTo>
                  <a:pt x="229" y="180"/>
                </a:lnTo>
                <a:lnTo>
                  <a:pt x="229" y="178"/>
                </a:lnTo>
                <a:lnTo>
                  <a:pt x="231" y="175"/>
                </a:lnTo>
                <a:lnTo>
                  <a:pt x="232" y="175"/>
                </a:lnTo>
                <a:lnTo>
                  <a:pt x="235" y="173"/>
                </a:lnTo>
                <a:lnTo>
                  <a:pt x="236" y="173"/>
                </a:lnTo>
                <a:lnTo>
                  <a:pt x="237" y="172"/>
                </a:lnTo>
                <a:lnTo>
                  <a:pt x="238" y="169"/>
                </a:lnTo>
                <a:lnTo>
                  <a:pt x="237" y="168"/>
                </a:lnTo>
                <a:lnTo>
                  <a:pt x="237" y="167"/>
                </a:lnTo>
                <a:lnTo>
                  <a:pt x="238" y="166"/>
                </a:lnTo>
                <a:lnTo>
                  <a:pt x="238" y="155"/>
                </a:lnTo>
                <a:lnTo>
                  <a:pt x="241" y="151"/>
                </a:lnTo>
                <a:lnTo>
                  <a:pt x="248" y="144"/>
                </a:lnTo>
                <a:lnTo>
                  <a:pt x="250" y="143"/>
                </a:lnTo>
                <a:lnTo>
                  <a:pt x="251" y="143"/>
                </a:lnTo>
                <a:lnTo>
                  <a:pt x="257" y="145"/>
                </a:lnTo>
                <a:lnTo>
                  <a:pt x="260" y="143"/>
                </a:lnTo>
                <a:lnTo>
                  <a:pt x="260" y="141"/>
                </a:lnTo>
                <a:lnTo>
                  <a:pt x="261" y="138"/>
                </a:lnTo>
                <a:lnTo>
                  <a:pt x="263" y="136"/>
                </a:lnTo>
                <a:lnTo>
                  <a:pt x="263" y="132"/>
                </a:lnTo>
                <a:lnTo>
                  <a:pt x="266" y="131"/>
                </a:lnTo>
                <a:lnTo>
                  <a:pt x="266" y="128"/>
                </a:lnTo>
                <a:lnTo>
                  <a:pt x="265" y="128"/>
                </a:lnTo>
                <a:lnTo>
                  <a:pt x="265" y="125"/>
                </a:lnTo>
                <a:lnTo>
                  <a:pt x="263" y="123"/>
                </a:lnTo>
                <a:lnTo>
                  <a:pt x="263" y="116"/>
                </a:lnTo>
                <a:lnTo>
                  <a:pt x="265" y="116"/>
                </a:lnTo>
                <a:lnTo>
                  <a:pt x="265" y="113"/>
                </a:lnTo>
                <a:lnTo>
                  <a:pt x="263" y="111"/>
                </a:lnTo>
                <a:lnTo>
                  <a:pt x="262" y="107"/>
                </a:lnTo>
                <a:lnTo>
                  <a:pt x="263" y="104"/>
                </a:lnTo>
                <a:lnTo>
                  <a:pt x="265" y="94"/>
                </a:lnTo>
                <a:lnTo>
                  <a:pt x="265" y="93"/>
                </a:lnTo>
                <a:lnTo>
                  <a:pt x="268" y="86"/>
                </a:lnTo>
                <a:lnTo>
                  <a:pt x="268" y="85"/>
                </a:lnTo>
                <a:lnTo>
                  <a:pt x="267" y="80"/>
                </a:lnTo>
                <a:lnTo>
                  <a:pt x="268" y="77"/>
                </a:lnTo>
                <a:lnTo>
                  <a:pt x="269" y="76"/>
                </a:lnTo>
                <a:lnTo>
                  <a:pt x="269" y="71"/>
                </a:lnTo>
                <a:lnTo>
                  <a:pt x="271" y="70"/>
                </a:lnTo>
                <a:lnTo>
                  <a:pt x="269" y="69"/>
                </a:lnTo>
                <a:lnTo>
                  <a:pt x="269" y="67"/>
                </a:lnTo>
                <a:lnTo>
                  <a:pt x="272" y="64"/>
                </a:lnTo>
                <a:lnTo>
                  <a:pt x="274" y="60"/>
                </a:lnTo>
                <a:lnTo>
                  <a:pt x="274" y="57"/>
                </a:lnTo>
                <a:lnTo>
                  <a:pt x="273" y="55"/>
                </a:lnTo>
                <a:lnTo>
                  <a:pt x="273" y="54"/>
                </a:lnTo>
                <a:lnTo>
                  <a:pt x="272" y="52"/>
                </a:lnTo>
                <a:lnTo>
                  <a:pt x="273" y="51"/>
                </a:lnTo>
                <a:lnTo>
                  <a:pt x="273" y="49"/>
                </a:lnTo>
                <a:lnTo>
                  <a:pt x="275" y="46"/>
                </a:lnTo>
                <a:lnTo>
                  <a:pt x="281" y="45"/>
                </a:lnTo>
                <a:lnTo>
                  <a:pt x="282" y="44"/>
                </a:lnTo>
                <a:lnTo>
                  <a:pt x="282" y="43"/>
                </a:lnTo>
                <a:lnTo>
                  <a:pt x="284" y="43"/>
                </a:lnTo>
                <a:lnTo>
                  <a:pt x="285" y="39"/>
                </a:lnTo>
                <a:lnTo>
                  <a:pt x="287" y="34"/>
                </a:lnTo>
                <a:lnTo>
                  <a:pt x="292" y="30"/>
                </a:lnTo>
                <a:lnTo>
                  <a:pt x="293" y="27"/>
                </a:lnTo>
                <a:lnTo>
                  <a:pt x="292" y="25"/>
                </a:lnTo>
                <a:lnTo>
                  <a:pt x="293" y="24"/>
                </a:lnTo>
                <a:lnTo>
                  <a:pt x="296" y="19"/>
                </a:lnTo>
                <a:lnTo>
                  <a:pt x="297" y="19"/>
                </a:lnTo>
                <a:lnTo>
                  <a:pt x="304" y="18"/>
                </a:lnTo>
                <a:lnTo>
                  <a:pt x="306" y="18"/>
                </a:lnTo>
                <a:lnTo>
                  <a:pt x="310" y="17"/>
                </a:lnTo>
                <a:lnTo>
                  <a:pt x="315" y="19"/>
                </a:lnTo>
                <a:lnTo>
                  <a:pt x="317" y="19"/>
                </a:lnTo>
                <a:lnTo>
                  <a:pt x="319" y="21"/>
                </a:lnTo>
                <a:lnTo>
                  <a:pt x="321" y="21"/>
                </a:lnTo>
                <a:lnTo>
                  <a:pt x="329" y="18"/>
                </a:lnTo>
                <a:lnTo>
                  <a:pt x="331" y="15"/>
                </a:lnTo>
                <a:lnTo>
                  <a:pt x="330" y="15"/>
                </a:lnTo>
                <a:lnTo>
                  <a:pt x="330" y="13"/>
                </a:lnTo>
                <a:lnTo>
                  <a:pt x="332" y="13"/>
                </a:lnTo>
                <a:lnTo>
                  <a:pt x="335" y="9"/>
                </a:lnTo>
                <a:lnTo>
                  <a:pt x="340" y="7"/>
                </a:lnTo>
                <a:lnTo>
                  <a:pt x="340" y="5"/>
                </a:lnTo>
                <a:lnTo>
                  <a:pt x="342" y="2"/>
                </a:lnTo>
                <a:lnTo>
                  <a:pt x="344" y="1"/>
                </a:lnTo>
                <a:lnTo>
                  <a:pt x="349" y="2"/>
                </a:lnTo>
                <a:lnTo>
                  <a:pt x="353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4" name="Freeform 45">
            <a:extLst>
              <a:ext uri="{FF2B5EF4-FFF2-40B4-BE49-F238E27FC236}">
                <a16:creationId xmlns:a16="http://schemas.microsoft.com/office/drawing/2014/main" id="{962DE2E1-162C-45F6-B71E-998B75A425BF}"/>
              </a:ext>
            </a:extLst>
          </p:cNvPr>
          <p:cNvSpPr>
            <a:spLocks noEditPoints="1"/>
          </p:cNvSpPr>
          <p:nvPr/>
        </p:nvSpPr>
        <p:spPr bwMode="auto">
          <a:xfrm>
            <a:off x="765137" y="3339659"/>
            <a:ext cx="82590" cy="130405"/>
          </a:xfrm>
          <a:custGeom>
            <a:avLst/>
            <a:gdLst/>
            <a:ahLst/>
            <a:cxnLst>
              <a:cxn ang="0">
                <a:pos x="41" y="90"/>
              </a:cxn>
              <a:cxn ang="0">
                <a:pos x="38" y="85"/>
              </a:cxn>
              <a:cxn ang="0">
                <a:pos x="35" y="84"/>
              </a:cxn>
              <a:cxn ang="0">
                <a:pos x="32" y="69"/>
              </a:cxn>
              <a:cxn ang="0">
                <a:pos x="39" y="74"/>
              </a:cxn>
              <a:cxn ang="0">
                <a:pos x="37" y="76"/>
              </a:cxn>
              <a:cxn ang="0">
                <a:pos x="40" y="82"/>
              </a:cxn>
              <a:cxn ang="0">
                <a:pos x="32" y="80"/>
              </a:cxn>
              <a:cxn ang="0">
                <a:pos x="28" y="70"/>
              </a:cxn>
              <a:cxn ang="0">
                <a:pos x="31" y="67"/>
              </a:cxn>
              <a:cxn ang="0">
                <a:pos x="37" y="45"/>
              </a:cxn>
              <a:cxn ang="0">
                <a:pos x="41" y="50"/>
              </a:cxn>
              <a:cxn ang="0">
                <a:pos x="40" y="58"/>
              </a:cxn>
              <a:cxn ang="0">
                <a:pos x="32" y="50"/>
              </a:cxn>
              <a:cxn ang="0">
                <a:pos x="2" y="25"/>
              </a:cxn>
              <a:cxn ang="0">
                <a:pos x="1" y="25"/>
              </a:cxn>
              <a:cxn ang="0">
                <a:pos x="21" y="25"/>
              </a:cxn>
              <a:cxn ang="0">
                <a:pos x="20" y="31"/>
              </a:cxn>
              <a:cxn ang="0">
                <a:pos x="17" y="30"/>
              </a:cxn>
              <a:cxn ang="0">
                <a:pos x="10" y="30"/>
              </a:cxn>
              <a:cxn ang="0">
                <a:pos x="9" y="26"/>
              </a:cxn>
              <a:cxn ang="0">
                <a:pos x="13" y="24"/>
              </a:cxn>
              <a:cxn ang="0">
                <a:pos x="57" y="8"/>
              </a:cxn>
              <a:cxn ang="0">
                <a:pos x="52" y="11"/>
              </a:cxn>
              <a:cxn ang="0">
                <a:pos x="22" y="8"/>
              </a:cxn>
              <a:cxn ang="0">
                <a:pos x="28" y="19"/>
              </a:cxn>
              <a:cxn ang="0">
                <a:pos x="34" y="26"/>
              </a:cxn>
              <a:cxn ang="0">
                <a:pos x="38" y="31"/>
              </a:cxn>
              <a:cxn ang="0">
                <a:pos x="39" y="41"/>
              </a:cxn>
              <a:cxn ang="0">
                <a:pos x="29" y="31"/>
              </a:cxn>
              <a:cxn ang="0">
                <a:pos x="26" y="25"/>
              </a:cxn>
              <a:cxn ang="0">
                <a:pos x="19" y="23"/>
              </a:cxn>
              <a:cxn ang="0">
                <a:pos x="17" y="18"/>
              </a:cxn>
              <a:cxn ang="0">
                <a:pos x="19" y="7"/>
              </a:cxn>
              <a:cxn ang="0">
                <a:pos x="31" y="8"/>
              </a:cxn>
              <a:cxn ang="0">
                <a:pos x="33" y="10"/>
              </a:cxn>
              <a:cxn ang="0">
                <a:pos x="38" y="13"/>
              </a:cxn>
              <a:cxn ang="0">
                <a:pos x="38" y="18"/>
              </a:cxn>
              <a:cxn ang="0">
                <a:pos x="41" y="23"/>
              </a:cxn>
              <a:cxn ang="0">
                <a:pos x="39" y="27"/>
              </a:cxn>
              <a:cxn ang="0">
                <a:pos x="34" y="18"/>
              </a:cxn>
              <a:cxn ang="0">
                <a:pos x="33" y="21"/>
              </a:cxn>
              <a:cxn ang="0">
                <a:pos x="26" y="14"/>
              </a:cxn>
              <a:cxn ang="0">
                <a:pos x="27" y="6"/>
              </a:cxn>
              <a:cxn ang="0">
                <a:pos x="52" y="12"/>
              </a:cxn>
              <a:cxn ang="0">
                <a:pos x="47" y="13"/>
              </a:cxn>
              <a:cxn ang="0">
                <a:pos x="51" y="19"/>
              </a:cxn>
              <a:cxn ang="0">
                <a:pos x="47" y="18"/>
              </a:cxn>
              <a:cxn ang="0">
                <a:pos x="45" y="13"/>
              </a:cxn>
              <a:cxn ang="0">
                <a:pos x="46" y="2"/>
              </a:cxn>
              <a:cxn ang="0">
                <a:pos x="44" y="10"/>
              </a:cxn>
              <a:cxn ang="0">
                <a:pos x="41" y="10"/>
              </a:cxn>
              <a:cxn ang="0">
                <a:pos x="38" y="6"/>
              </a:cxn>
              <a:cxn ang="0">
                <a:pos x="39" y="12"/>
              </a:cxn>
              <a:cxn ang="0">
                <a:pos x="35" y="4"/>
              </a:cxn>
              <a:cxn ang="0">
                <a:pos x="48" y="4"/>
              </a:cxn>
              <a:cxn ang="0">
                <a:pos x="52" y="6"/>
              </a:cxn>
              <a:cxn ang="0">
                <a:pos x="46" y="2"/>
              </a:cxn>
            </a:cxnLst>
            <a:rect l="0" t="0" r="r" b="b"/>
            <a:pathLst>
              <a:path w="57" h="90">
                <a:moveTo>
                  <a:pt x="38" y="84"/>
                </a:moveTo>
                <a:lnTo>
                  <a:pt x="40" y="84"/>
                </a:lnTo>
                <a:lnTo>
                  <a:pt x="40" y="86"/>
                </a:lnTo>
                <a:lnTo>
                  <a:pt x="41" y="87"/>
                </a:lnTo>
                <a:lnTo>
                  <a:pt x="41" y="90"/>
                </a:lnTo>
                <a:lnTo>
                  <a:pt x="40" y="90"/>
                </a:lnTo>
                <a:lnTo>
                  <a:pt x="39" y="88"/>
                </a:lnTo>
                <a:lnTo>
                  <a:pt x="38" y="86"/>
                </a:lnTo>
                <a:lnTo>
                  <a:pt x="37" y="85"/>
                </a:lnTo>
                <a:lnTo>
                  <a:pt x="38" y="85"/>
                </a:lnTo>
                <a:lnTo>
                  <a:pt x="38" y="84"/>
                </a:lnTo>
                <a:close/>
                <a:moveTo>
                  <a:pt x="35" y="84"/>
                </a:moveTo>
                <a:lnTo>
                  <a:pt x="37" y="84"/>
                </a:lnTo>
                <a:lnTo>
                  <a:pt x="37" y="85"/>
                </a:lnTo>
                <a:lnTo>
                  <a:pt x="35" y="84"/>
                </a:lnTo>
                <a:close/>
                <a:moveTo>
                  <a:pt x="31" y="67"/>
                </a:moveTo>
                <a:lnTo>
                  <a:pt x="32" y="68"/>
                </a:lnTo>
                <a:lnTo>
                  <a:pt x="31" y="68"/>
                </a:lnTo>
                <a:lnTo>
                  <a:pt x="31" y="69"/>
                </a:lnTo>
                <a:lnTo>
                  <a:pt x="32" y="69"/>
                </a:lnTo>
                <a:lnTo>
                  <a:pt x="31" y="72"/>
                </a:lnTo>
                <a:lnTo>
                  <a:pt x="34" y="72"/>
                </a:lnTo>
                <a:lnTo>
                  <a:pt x="35" y="73"/>
                </a:lnTo>
                <a:lnTo>
                  <a:pt x="38" y="73"/>
                </a:lnTo>
                <a:lnTo>
                  <a:pt x="39" y="74"/>
                </a:lnTo>
                <a:lnTo>
                  <a:pt x="39" y="75"/>
                </a:lnTo>
                <a:lnTo>
                  <a:pt x="38" y="76"/>
                </a:lnTo>
                <a:lnTo>
                  <a:pt x="37" y="75"/>
                </a:lnTo>
                <a:lnTo>
                  <a:pt x="35" y="75"/>
                </a:lnTo>
                <a:lnTo>
                  <a:pt x="37" y="76"/>
                </a:lnTo>
                <a:lnTo>
                  <a:pt x="37" y="78"/>
                </a:lnTo>
                <a:lnTo>
                  <a:pt x="39" y="78"/>
                </a:lnTo>
                <a:lnTo>
                  <a:pt x="39" y="80"/>
                </a:lnTo>
                <a:lnTo>
                  <a:pt x="40" y="81"/>
                </a:lnTo>
                <a:lnTo>
                  <a:pt x="40" y="82"/>
                </a:lnTo>
                <a:lnTo>
                  <a:pt x="38" y="82"/>
                </a:lnTo>
                <a:lnTo>
                  <a:pt x="37" y="84"/>
                </a:lnTo>
                <a:lnTo>
                  <a:pt x="35" y="82"/>
                </a:lnTo>
                <a:lnTo>
                  <a:pt x="35" y="84"/>
                </a:lnTo>
                <a:lnTo>
                  <a:pt x="32" y="80"/>
                </a:lnTo>
                <a:lnTo>
                  <a:pt x="32" y="78"/>
                </a:lnTo>
                <a:lnTo>
                  <a:pt x="31" y="76"/>
                </a:lnTo>
                <a:lnTo>
                  <a:pt x="29" y="74"/>
                </a:lnTo>
                <a:lnTo>
                  <a:pt x="29" y="72"/>
                </a:lnTo>
                <a:lnTo>
                  <a:pt x="28" y="70"/>
                </a:lnTo>
                <a:lnTo>
                  <a:pt x="28" y="69"/>
                </a:lnTo>
                <a:lnTo>
                  <a:pt x="29" y="69"/>
                </a:lnTo>
                <a:lnTo>
                  <a:pt x="29" y="68"/>
                </a:lnTo>
                <a:lnTo>
                  <a:pt x="28" y="68"/>
                </a:lnTo>
                <a:lnTo>
                  <a:pt x="31" y="67"/>
                </a:lnTo>
                <a:close/>
                <a:moveTo>
                  <a:pt x="31" y="44"/>
                </a:moveTo>
                <a:lnTo>
                  <a:pt x="33" y="44"/>
                </a:lnTo>
                <a:lnTo>
                  <a:pt x="34" y="45"/>
                </a:lnTo>
                <a:lnTo>
                  <a:pt x="35" y="44"/>
                </a:lnTo>
                <a:lnTo>
                  <a:pt x="37" y="45"/>
                </a:lnTo>
                <a:lnTo>
                  <a:pt x="37" y="47"/>
                </a:lnTo>
                <a:lnTo>
                  <a:pt x="38" y="47"/>
                </a:lnTo>
                <a:lnTo>
                  <a:pt x="40" y="48"/>
                </a:lnTo>
                <a:lnTo>
                  <a:pt x="41" y="48"/>
                </a:lnTo>
                <a:lnTo>
                  <a:pt x="41" y="50"/>
                </a:lnTo>
                <a:lnTo>
                  <a:pt x="42" y="51"/>
                </a:lnTo>
                <a:lnTo>
                  <a:pt x="42" y="57"/>
                </a:lnTo>
                <a:lnTo>
                  <a:pt x="41" y="57"/>
                </a:lnTo>
                <a:lnTo>
                  <a:pt x="41" y="58"/>
                </a:lnTo>
                <a:lnTo>
                  <a:pt x="40" y="58"/>
                </a:lnTo>
                <a:lnTo>
                  <a:pt x="38" y="53"/>
                </a:lnTo>
                <a:lnTo>
                  <a:pt x="38" y="51"/>
                </a:lnTo>
                <a:lnTo>
                  <a:pt x="33" y="51"/>
                </a:lnTo>
                <a:lnTo>
                  <a:pt x="33" y="50"/>
                </a:lnTo>
                <a:lnTo>
                  <a:pt x="32" y="50"/>
                </a:lnTo>
                <a:lnTo>
                  <a:pt x="32" y="48"/>
                </a:lnTo>
                <a:lnTo>
                  <a:pt x="31" y="45"/>
                </a:lnTo>
                <a:lnTo>
                  <a:pt x="31" y="44"/>
                </a:lnTo>
                <a:close/>
                <a:moveTo>
                  <a:pt x="1" y="25"/>
                </a:moveTo>
                <a:lnTo>
                  <a:pt x="2" y="25"/>
                </a:lnTo>
                <a:lnTo>
                  <a:pt x="3" y="26"/>
                </a:lnTo>
                <a:lnTo>
                  <a:pt x="4" y="26"/>
                </a:lnTo>
                <a:lnTo>
                  <a:pt x="3" y="27"/>
                </a:lnTo>
                <a:lnTo>
                  <a:pt x="0" y="26"/>
                </a:lnTo>
                <a:lnTo>
                  <a:pt x="1" y="25"/>
                </a:lnTo>
                <a:close/>
                <a:moveTo>
                  <a:pt x="15" y="21"/>
                </a:moveTo>
                <a:lnTo>
                  <a:pt x="17" y="21"/>
                </a:lnTo>
                <a:lnTo>
                  <a:pt x="17" y="23"/>
                </a:lnTo>
                <a:lnTo>
                  <a:pt x="19" y="23"/>
                </a:lnTo>
                <a:lnTo>
                  <a:pt x="21" y="25"/>
                </a:lnTo>
                <a:lnTo>
                  <a:pt x="21" y="26"/>
                </a:lnTo>
                <a:lnTo>
                  <a:pt x="25" y="26"/>
                </a:lnTo>
                <a:lnTo>
                  <a:pt x="25" y="30"/>
                </a:lnTo>
                <a:lnTo>
                  <a:pt x="23" y="31"/>
                </a:lnTo>
                <a:lnTo>
                  <a:pt x="20" y="31"/>
                </a:lnTo>
                <a:lnTo>
                  <a:pt x="20" y="32"/>
                </a:lnTo>
                <a:lnTo>
                  <a:pt x="21" y="32"/>
                </a:lnTo>
                <a:lnTo>
                  <a:pt x="19" y="33"/>
                </a:lnTo>
                <a:lnTo>
                  <a:pt x="19" y="31"/>
                </a:lnTo>
                <a:lnTo>
                  <a:pt x="17" y="30"/>
                </a:lnTo>
                <a:lnTo>
                  <a:pt x="17" y="32"/>
                </a:lnTo>
                <a:lnTo>
                  <a:pt x="15" y="31"/>
                </a:lnTo>
                <a:lnTo>
                  <a:pt x="13" y="31"/>
                </a:lnTo>
                <a:lnTo>
                  <a:pt x="11" y="30"/>
                </a:lnTo>
                <a:lnTo>
                  <a:pt x="10" y="30"/>
                </a:lnTo>
                <a:lnTo>
                  <a:pt x="10" y="29"/>
                </a:lnTo>
                <a:lnTo>
                  <a:pt x="14" y="29"/>
                </a:lnTo>
                <a:lnTo>
                  <a:pt x="13" y="27"/>
                </a:lnTo>
                <a:lnTo>
                  <a:pt x="10" y="27"/>
                </a:lnTo>
                <a:lnTo>
                  <a:pt x="9" y="26"/>
                </a:lnTo>
                <a:lnTo>
                  <a:pt x="8" y="24"/>
                </a:lnTo>
                <a:lnTo>
                  <a:pt x="8" y="23"/>
                </a:lnTo>
                <a:lnTo>
                  <a:pt x="9" y="23"/>
                </a:lnTo>
                <a:lnTo>
                  <a:pt x="10" y="24"/>
                </a:lnTo>
                <a:lnTo>
                  <a:pt x="13" y="24"/>
                </a:lnTo>
                <a:lnTo>
                  <a:pt x="13" y="23"/>
                </a:lnTo>
                <a:lnTo>
                  <a:pt x="14" y="23"/>
                </a:lnTo>
                <a:lnTo>
                  <a:pt x="15" y="21"/>
                </a:lnTo>
                <a:close/>
                <a:moveTo>
                  <a:pt x="56" y="8"/>
                </a:moveTo>
                <a:lnTo>
                  <a:pt x="57" y="8"/>
                </a:lnTo>
                <a:lnTo>
                  <a:pt x="56" y="11"/>
                </a:lnTo>
                <a:lnTo>
                  <a:pt x="56" y="13"/>
                </a:lnTo>
                <a:lnTo>
                  <a:pt x="53" y="13"/>
                </a:lnTo>
                <a:lnTo>
                  <a:pt x="53" y="12"/>
                </a:lnTo>
                <a:lnTo>
                  <a:pt x="52" y="11"/>
                </a:lnTo>
                <a:lnTo>
                  <a:pt x="53" y="10"/>
                </a:lnTo>
                <a:lnTo>
                  <a:pt x="56" y="8"/>
                </a:lnTo>
                <a:close/>
                <a:moveTo>
                  <a:pt x="19" y="7"/>
                </a:moveTo>
                <a:lnTo>
                  <a:pt x="19" y="8"/>
                </a:lnTo>
                <a:lnTo>
                  <a:pt x="22" y="8"/>
                </a:lnTo>
                <a:lnTo>
                  <a:pt x="25" y="11"/>
                </a:lnTo>
                <a:lnTo>
                  <a:pt x="25" y="13"/>
                </a:lnTo>
                <a:lnTo>
                  <a:pt x="27" y="17"/>
                </a:lnTo>
                <a:lnTo>
                  <a:pt x="27" y="19"/>
                </a:lnTo>
                <a:lnTo>
                  <a:pt x="28" y="19"/>
                </a:lnTo>
                <a:lnTo>
                  <a:pt x="31" y="21"/>
                </a:lnTo>
                <a:lnTo>
                  <a:pt x="33" y="23"/>
                </a:lnTo>
                <a:lnTo>
                  <a:pt x="33" y="25"/>
                </a:lnTo>
                <a:lnTo>
                  <a:pt x="32" y="26"/>
                </a:lnTo>
                <a:lnTo>
                  <a:pt x="34" y="26"/>
                </a:lnTo>
                <a:lnTo>
                  <a:pt x="35" y="27"/>
                </a:lnTo>
                <a:lnTo>
                  <a:pt x="35" y="30"/>
                </a:lnTo>
                <a:lnTo>
                  <a:pt x="33" y="30"/>
                </a:lnTo>
                <a:lnTo>
                  <a:pt x="33" y="31"/>
                </a:lnTo>
                <a:lnTo>
                  <a:pt x="38" y="31"/>
                </a:lnTo>
                <a:lnTo>
                  <a:pt x="39" y="32"/>
                </a:lnTo>
                <a:lnTo>
                  <a:pt x="38" y="33"/>
                </a:lnTo>
                <a:lnTo>
                  <a:pt x="38" y="37"/>
                </a:lnTo>
                <a:lnTo>
                  <a:pt x="39" y="37"/>
                </a:lnTo>
                <a:lnTo>
                  <a:pt x="39" y="41"/>
                </a:lnTo>
                <a:lnTo>
                  <a:pt x="38" y="42"/>
                </a:lnTo>
                <a:lnTo>
                  <a:pt x="37" y="39"/>
                </a:lnTo>
                <a:lnTo>
                  <a:pt x="33" y="36"/>
                </a:lnTo>
                <a:lnTo>
                  <a:pt x="31" y="32"/>
                </a:lnTo>
                <a:lnTo>
                  <a:pt x="29" y="31"/>
                </a:lnTo>
                <a:lnTo>
                  <a:pt x="28" y="31"/>
                </a:lnTo>
                <a:lnTo>
                  <a:pt x="28" y="27"/>
                </a:lnTo>
                <a:lnTo>
                  <a:pt x="27" y="27"/>
                </a:lnTo>
                <a:lnTo>
                  <a:pt x="27" y="26"/>
                </a:lnTo>
                <a:lnTo>
                  <a:pt x="26" y="25"/>
                </a:lnTo>
                <a:lnTo>
                  <a:pt x="22" y="25"/>
                </a:lnTo>
                <a:lnTo>
                  <a:pt x="21" y="24"/>
                </a:lnTo>
                <a:lnTo>
                  <a:pt x="21" y="21"/>
                </a:lnTo>
                <a:lnTo>
                  <a:pt x="20" y="21"/>
                </a:lnTo>
                <a:lnTo>
                  <a:pt x="19" y="23"/>
                </a:lnTo>
                <a:lnTo>
                  <a:pt x="19" y="21"/>
                </a:lnTo>
                <a:lnTo>
                  <a:pt x="17" y="20"/>
                </a:lnTo>
                <a:lnTo>
                  <a:pt x="16" y="20"/>
                </a:lnTo>
                <a:lnTo>
                  <a:pt x="16" y="18"/>
                </a:lnTo>
                <a:lnTo>
                  <a:pt x="17" y="18"/>
                </a:lnTo>
                <a:lnTo>
                  <a:pt x="17" y="14"/>
                </a:lnTo>
                <a:lnTo>
                  <a:pt x="19" y="14"/>
                </a:lnTo>
                <a:lnTo>
                  <a:pt x="17" y="13"/>
                </a:lnTo>
                <a:lnTo>
                  <a:pt x="17" y="11"/>
                </a:lnTo>
                <a:lnTo>
                  <a:pt x="19" y="7"/>
                </a:lnTo>
                <a:close/>
                <a:moveTo>
                  <a:pt x="29" y="5"/>
                </a:moveTo>
                <a:lnTo>
                  <a:pt x="29" y="6"/>
                </a:lnTo>
                <a:lnTo>
                  <a:pt x="31" y="6"/>
                </a:lnTo>
                <a:lnTo>
                  <a:pt x="32" y="7"/>
                </a:lnTo>
                <a:lnTo>
                  <a:pt x="31" y="8"/>
                </a:lnTo>
                <a:lnTo>
                  <a:pt x="29" y="8"/>
                </a:lnTo>
                <a:lnTo>
                  <a:pt x="29" y="13"/>
                </a:lnTo>
                <a:lnTo>
                  <a:pt x="31" y="14"/>
                </a:lnTo>
                <a:lnTo>
                  <a:pt x="31" y="11"/>
                </a:lnTo>
                <a:lnTo>
                  <a:pt x="33" y="10"/>
                </a:lnTo>
                <a:lnTo>
                  <a:pt x="34" y="10"/>
                </a:lnTo>
                <a:lnTo>
                  <a:pt x="35" y="11"/>
                </a:lnTo>
                <a:lnTo>
                  <a:pt x="34" y="11"/>
                </a:lnTo>
                <a:lnTo>
                  <a:pt x="38" y="12"/>
                </a:lnTo>
                <a:lnTo>
                  <a:pt x="38" y="13"/>
                </a:lnTo>
                <a:lnTo>
                  <a:pt x="37" y="14"/>
                </a:lnTo>
                <a:lnTo>
                  <a:pt x="37" y="15"/>
                </a:lnTo>
                <a:lnTo>
                  <a:pt x="39" y="15"/>
                </a:lnTo>
                <a:lnTo>
                  <a:pt x="44" y="18"/>
                </a:lnTo>
                <a:lnTo>
                  <a:pt x="38" y="18"/>
                </a:lnTo>
                <a:lnTo>
                  <a:pt x="38" y="19"/>
                </a:lnTo>
                <a:lnTo>
                  <a:pt x="44" y="21"/>
                </a:lnTo>
                <a:lnTo>
                  <a:pt x="45" y="24"/>
                </a:lnTo>
                <a:lnTo>
                  <a:pt x="42" y="23"/>
                </a:lnTo>
                <a:lnTo>
                  <a:pt x="41" y="23"/>
                </a:lnTo>
                <a:lnTo>
                  <a:pt x="44" y="25"/>
                </a:lnTo>
                <a:lnTo>
                  <a:pt x="44" y="26"/>
                </a:lnTo>
                <a:lnTo>
                  <a:pt x="41" y="26"/>
                </a:lnTo>
                <a:lnTo>
                  <a:pt x="41" y="30"/>
                </a:lnTo>
                <a:lnTo>
                  <a:pt x="39" y="27"/>
                </a:lnTo>
                <a:lnTo>
                  <a:pt x="39" y="23"/>
                </a:lnTo>
                <a:lnTo>
                  <a:pt x="38" y="21"/>
                </a:lnTo>
                <a:lnTo>
                  <a:pt x="37" y="19"/>
                </a:lnTo>
                <a:lnTo>
                  <a:pt x="35" y="18"/>
                </a:lnTo>
                <a:lnTo>
                  <a:pt x="34" y="18"/>
                </a:lnTo>
                <a:lnTo>
                  <a:pt x="37" y="20"/>
                </a:lnTo>
                <a:lnTo>
                  <a:pt x="38" y="23"/>
                </a:lnTo>
                <a:lnTo>
                  <a:pt x="38" y="26"/>
                </a:lnTo>
                <a:lnTo>
                  <a:pt x="35" y="25"/>
                </a:lnTo>
                <a:lnTo>
                  <a:pt x="33" y="21"/>
                </a:lnTo>
                <a:lnTo>
                  <a:pt x="31" y="21"/>
                </a:lnTo>
                <a:lnTo>
                  <a:pt x="31" y="20"/>
                </a:lnTo>
                <a:lnTo>
                  <a:pt x="29" y="19"/>
                </a:lnTo>
                <a:lnTo>
                  <a:pt x="28" y="19"/>
                </a:lnTo>
                <a:lnTo>
                  <a:pt x="26" y="14"/>
                </a:lnTo>
                <a:lnTo>
                  <a:pt x="25" y="10"/>
                </a:lnTo>
                <a:lnTo>
                  <a:pt x="23" y="8"/>
                </a:lnTo>
                <a:lnTo>
                  <a:pt x="23" y="7"/>
                </a:lnTo>
                <a:lnTo>
                  <a:pt x="26" y="7"/>
                </a:lnTo>
                <a:lnTo>
                  <a:pt x="27" y="6"/>
                </a:lnTo>
                <a:lnTo>
                  <a:pt x="29" y="5"/>
                </a:lnTo>
                <a:close/>
                <a:moveTo>
                  <a:pt x="46" y="2"/>
                </a:moveTo>
                <a:lnTo>
                  <a:pt x="48" y="10"/>
                </a:lnTo>
                <a:lnTo>
                  <a:pt x="50" y="11"/>
                </a:lnTo>
                <a:lnTo>
                  <a:pt x="52" y="12"/>
                </a:lnTo>
                <a:lnTo>
                  <a:pt x="52" y="13"/>
                </a:lnTo>
                <a:lnTo>
                  <a:pt x="51" y="14"/>
                </a:lnTo>
                <a:lnTo>
                  <a:pt x="48" y="13"/>
                </a:lnTo>
                <a:lnTo>
                  <a:pt x="48" y="12"/>
                </a:lnTo>
                <a:lnTo>
                  <a:pt x="47" y="13"/>
                </a:lnTo>
                <a:lnTo>
                  <a:pt x="50" y="15"/>
                </a:lnTo>
                <a:lnTo>
                  <a:pt x="51" y="15"/>
                </a:lnTo>
                <a:lnTo>
                  <a:pt x="51" y="18"/>
                </a:lnTo>
                <a:lnTo>
                  <a:pt x="52" y="18"/>
                </a:lnTo>
                <a:lnTo>
                  <a:pt x="51" y="19"/>
                </a:lnTo>
                <a:lnTo>
                  <a:pt x="50" y="19"/>
                </a:lnTo>
                <a:lnTo>
                  <a:pt x="48" y="18"/>
                </a:lnTo>
                <a:lnTo>
                  <a:pt x="47" y="15"/>
                </a:lnTo>
                <a:lnTo>
                  <a:pt x="46" y="15"/>
                </a:lnTo>
                <a:lnTo>
                  <a:pt x="47" y="18"/>
                </a:lnTo>
                <a:lnTo>
                  <a:pt x="47" y="20"/>
                </a:lnTo>
                <a:lnTo>
                  <a:pt x="46" y="19"/>
                </a:lnTo>
                <a:lnTo>
                  <a:pt x="46" y="18"/>
                </a:lnTo>
                <a:lnTo>
                  <a:pt x="44" y="15"/>
                </a:lnTo>
                <a:lnTo>
                  <a:pt x="45" y="13"/>
                </a:lnTo>
                <a:lnTo>
                  <a:pt x="46" y="13"/>
                </a:lnTo>
                <a:lnTo>
                  <a:pt x="46" y="8"/>
                </a:lnTo>
                <a:lnTo>
                  <a:pt x="45" y="6"/>
                </a:lnTo>
                <a:lnTo>
                  <a:pt x="45" y="4"/>
                </a:lnTo>
                <a:lnTo>
                  <a:pt x="46" y="2"/>
                </a:lnTo>
                <a:close/>
                <a:moveTo>
                  <a:pt x="40" y="2"/>
                </a:moveTo>
                <a:lnTo>
                  <a:pt x="41" y="2"/>
                </a:lnTo>
                <a:lnTo>
                  <a:pt x="41" y="4"/>
                </a:lnTo>
                <a:lnTo>
                  <a:pt x="44" y="8"/>
                </a:lnTo>
                <a:lnTo>
                  <a:pt x="44" y="10"/>
                </a:lnTo>
                <a:lnTo>
                  <a:pt x="45" y="11"/>
                </a:lnTo>
                <a:lnTo>
                  <a:pt x="45" y="12"/>
                </a:lnTo>
                <a:lnTo>
                  <a:pt x="42" y="12"/>
                </a:lnTo>
                <a:lnTo>
                  <a:pt x="42" y="11"/>
                </a:lnTo>
                <a:lnTo>
                  <a:pt x="41" y="10"/>
                </a:lnTo>
                <a:lnTo>
                  <a:pt x="40" y="7"/>
                </a:lnTo>
                <a:lnTo>
                  <a:pt x="40" y="2"/>
                </a:lnTo>
                <a:close/>
                <a:moveTo>
                  <a:pt x="35" y="1"/>
                </a:moveTo>
                <a:lnTo>
                  <a:pt x="37" y="2"/>
                </a:lnTo>
                <a:lnTo>
                  <a:pt x="38" y="6"/>
                </a:lnTo>
                <a:lnTo>
                  <a:pt x="41" y="12"/>
                </a:lnTo>
                <a:lnTo>
                  <a:pt x="41" y="14"/>
                </a:lnTo>
                <a:lnTo>
                  <a:pt x="40" y="14"/>
                </a:lnTo>
                <a:lnTo>
                  <a:pt x="40" y="13"/>
                </a:lnTo>
                <a:lnTo>
                  <a:pt x="39" y="12"/>
                </a:lnTo>
                <a:lnTo>
                  <a:pt x="39" y="10"/>
                </a:lnTo>
                <a:lnTo>
                  <a:pt x="38" y="8"/>
                </a:lnTo>
                <a:lnTo>
                  <a:pt x="37" y="6"/>
                </a:lnTo>
                <a:lnTo>
                  <a:pt x="37" y="5"/>
                </a:lnTo>
                <a:lnTo>
                  <a:pt x="35" y="4"/>
                </a:lnTo>
                <a:lnTo>
                  <a:pt x="35" y="1"/>
                </a:lnTo>
                <a:close/>
                <a:moveTo>
                  <a:pt x="45" y="0"/>
                </a:moveTo>
                <a:lnTo>
                  <a:pt x="47" y="0"/>
                </a:lnTo>
                <a:lnTo>
                  <a:pt x="48" y="1"/>
                </a:lnTo>
                <a:lnTo>
                  <a:pt x="48" y="4"/>
                </a:lnTo>
                <a:lnTo>
                  <a:pt x="50" y="5"/>
                </a:lnTo>
                <a:lnTo>
                  <a:pt x="50" y="7"/>
                </a:lnTo>
                <a:lnTo>
                  <a:pt x="51" y="7"/>
                </a:lnTo>
                <a:lnTo>
                  <a:pt x="51" y="6"/>
                </a:lnTo>
                <a:lnTo>
                  <a:pt x="52" y="6"/>
                </a:lnTo>
                <a:lnTo>
                  <a:pt x="52" y="10"/>
                </a:lnTo>
                <a:lnTo>
                  <a:pt x="51" y="10"/>
                </a:lnTo>
                <a:lnTo>
                  <a:pt x="47" y="6"/>
                </a:lnTo>
                <a:lnTo>
                  <a:pt x="47" y="5"/>
                </a:lnTo>
                <a:lnTo>
                  <a:pt x="46" y="2"/>
                </a:lnTo>
                <a:lnTo>
                  <a:pt x="46" y="1"/>
                </a:lnTo>
                <a:lnTo>
                  <a:pt x="45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5" name="Freeform 46">
            <a:extLst>
              <a:ext uri="{FF2B5EF4-FFF2-40B4-BE49-F238E27FC236}">
                <a16:creationId xmlns:a16="http://schemas.microsoft.com/office/drawing/2014/main" id="{84B9B2B5-4CED-42E4-9931-8F8F82222784}"/>
              </a:ext>
            </a:extLst>
          </p:cNvPr>
          <p:cNvSpPr>
            <a:spLocks noEditPoints="1"/>
          </p:cNvSpPr>
          <p:nvPr/>
        </p:nvSpPr>
        <p:spPr bwMode="auto">
          <a:xfrm>
            <a:off x="2566170" y="3684507"/>
            <a:ext cx="389765" cy="253565"/>
          </a:xfrm>
          <a:custGeom>
            <a:avLst/>
            <a:gdLst/>
            <a:ahLst/>
            <a:cxnLst>
              <a:cxn ang="0">
                <a:pos x="91" y="127"/>
              </a:cxn>
              <a:cxn ang="0">
                <a:pos x="34" y="89"/>
              </a:cxn>
              <a:cxn ang="0">
                <a:pos x="55" y="93"/>
              </a:cxn>
              <a:cxn ang="0">
                <a:pos x="58" y="100"/>
              </a:cxn>
              <a:cxn ang="0">
                <a:pos x="53" y="105"/>
              </a:cxn>
              <a:cxn ang="0">
                <a:pos x="41" y="114"/>
              </a:cxn>
              <a:cxn ang="0">
                <a:pos x="31" y="115"/>
              </a:cxn>
              <a:cxn ang="0">
                <a:pos x="18" y="129"/>
              </a:cxn>
              <a:cxn ang="0">
                <a:pos x="6" y="137"/>
              </a:cxn>
              <a:cxn ang="0">
                <a:pos x="15" y="124"/>
              </a:cxn>
              <a:cxn ang="0">
                <a:pos x="3" y="111"/>
              </a:cxn>
              <a:cxn ang="0">
                <a:pos x="4" y="101"/>
              </a:cxn>
              <a:cxn ang="0">
                <a:pos x="10" y="99"/>
              </a:cxn>
              <a:cxn ang="0">
                <a:pos x="21" y="89"/>
              </a:cxn>
              <a:cxn ang="0">
                <a:pos x="66" y="92"/>
              </a:cxn>
              <a:cxn ang="0">
                <a:pos x="55" y="86"/>
              </a:cxn>
              <a:cxn ang="0">
                <a:pos x="65" y="52"/>
              </a:cxn>
              <a:cxn ang="0">
                <a:pos x="56" y="57"/>
              </a:cxn>
              <a:cxn ang="0">
                <a:pos x="35" y="49"/>
              </a:cxn>
              <a:cxn ang="0">
                <a:pos x="49" y="62"/>
              </a:cxn>
              <a:cxn ang="0">
                <a:pos x="46" y="68"/>
              </a:cxn>
              <a:cxn ang="0">
                <a:pos x="40" y="71"/>
              </a:cxn>
              <a:cxn ang="0">
                <a:pos x="28" y="80"/>
              </a:cxn>
              <a:cxn ang="0">
                <a:pos x="22" y="64"/>
              </a:cxn>
              <a:cxn ang="0">
                <a:pos x="28" y="53"/>
              </a:cxn>
              <a:cxn ang="0">
                <a:pos x="112" y="7"/>
              </a:cxn>
              <a:cxn ang="0">
                <a:pos x="165" y="4"/>
              </a:cxn>
              <a:cxn ang="0">
                <a:pos x="171" y="4"/>
              </a:cxn>
              <a:cxn ang="0">
                <a:pos x="192" y="8"/>
              </a:cxn>
              <a:cxn ang="0">
                <a:pos x="214" y="18"/>
              </a:cxn>
              <a:cxn ang="0">
                <a:pos x="261" y="20"/>
              </a:cxn>
              <a:cxn ang="0">
                <a:pos x="268" y="27"/>
              </a:cxn>
              <a:cxn ang="0">
                <a:pos x="257" y="35"/>
              </a:cxn>
              <a:cxn ang="0">
                <a:pos x="237" y="80"/>
              </a:cxn>
              <a:cxn ang="0">
                <a:pos x="245" y="138"/>
              </a:cxn>
              <a:cxn ang="0">
                <a:pos x="239" y="154"/>
              </a:cxn>
              <a:cxn ang="0">
                <a:pos x="232" y="168"/>
              </a:cxn>
              <a:cxn ang="0">
                <a:pos x="214" y="167"/>
              </a:cxn>
              <a:cxn ang="0">
                <a:pos x="200" y="174"/>
              </a:cxn>
              <a:cxn ang="0">
                <a:pos x="181" y="157"/>
              </a:cxn>
              <a:cxn ang="0">
                <a:pos x="164" y="144"/>
              </a:cxn>
              <a:cxn ang="0">
                <a:pos x="150" y="133"/>
              </a:cxn>
              <a:cxn ang="0">
                <a:pos x="143" y="137"/>
              </a:cxn>
              <a:cxn ang="0">
                <a:pos x="126" y="137"/>
              </a:cxn>
              <a:cxn ang="0">
                <a:pos x="107" y="145"/>
              </a:cxn>
              <a:cxn ang="0">
                <a:pos x="112" y="113"/>
              </a:cxn>
              <a:cxn ang="0">
                <a:pos x="103" y="110"/>
              </a:cxn>
              <a:cxn ang="0">
                <a:pos x="95" y="114"/>
              </a:cxn>
              <a:cxn ang="0">
                <a:pos x="80" y="102"/>
              </a:cxn>
              <a:cxn ang="0">
                <a:pos x="72" y="88"/>
              </a:cxn>
              <a:cxn ang="0">
                <a:pos x="72" y="77"/>
              </a:cxn>
              <a:cxn ang="0">
                <a:pos x="83" y="74"/>
              </a:cxn>
              <a:cxn ang="0">
                <a:pos x="74" y="70"/>
              </a:cxn>
              <a:cxn ang="0">
                <a:pos x="68" y="59"/>
              </a:cxn>
              <a:cxn ang="0">
                <a:pos x="74" y="56"/>
              </a:cxn>
              <a:cxn ang="0">
                <a:pos x="72" y="47"/>
              </a:cxn>
              <a:cxn ang="0">
                <a:pos x="82" y="34"/>
              </a:cxn>
              <a:cxn ang="0">
                <a:pos x="96" y="32"/>
              </a:cxn>
              <a:cxn ang="0">
                <a:pos x="101" y="20"/>
              </a:cxn>
              <a:cxn ang="0">
                <a:pos x="116" y="16"/>
              </a:cxn>
              <a:cxn ang="0">
                <a:pos x="124" y="18"/>
              </a:cxn>
              <a:cxn ang="0">
                <a:pos x="132" y="13"/>
              </a:cxn>
              <a:cxn ang="0">
                <a:pos x="153" y="10"/>
              </a:cxn>
            </a:cxnLst>
            <a:rect l="0" t="0" r="r" b="b"/>
            <a:pathLst>
              <a:path w="269" h="175">
                <a:moveTo>
                  <a:pt x="58" y="150"/>
                </a:moveTo>
                <a:lnTo>
                  <a:pt x="60" y="150"/>
                </a:lnTo>
                <a:lnTo>
                  <a:pt x="60" y="153"/>
                </a:lnTo>
                <a:lnTo>
                  <a:pt x="59" y="153"/>
                </a:lnTo>
                <a:lnTo>
                  <a:pt x="58" y="151"/>
                </a:lnTo>
                <a:lnTo>
                  <a:pt x="58" y="150"/>
                </a:lnTo>
                <a:close/>
                <a:moveTo>
                  <a:pt x="90" y="123"/>
                </a:moveTo>
                <a:lnTo>
                  <a:pt x="93" y="124"/>
                </a:lnTo>
                <a:lnTo>
                  <a:pt x="93" y="125"/>
                </a:lnTo>
                <a:lnTo>
                  <a:pt x="91" y="127"/>
                </a:lnTo>
                <a:lnTo>
                  <a:pt x="90" y="127"/>
                </a:lnTo>
                <a:lnTo>
                  <a:pt x="89" y="126"/>
                </a:lnTo>
                <a:lnTo>
                  <a:pt x="89" y="124"/>
                </a:lnTo>
                <a:lnTo>
                  <a:pt x="90" y="123"/>
                </a:lnTo>
                <a:close/>
                <a:moveTo>
                  <a:pt x="32" y="84"/>
                </a:moveTo>
                <a:lnTo>
                  <a:pt x="32" y="86"/>
                </a:lnTo>
                <a:lnTo>
                  <a:pt x="33" y="87"/>
                </a:lnTo>
                <a:lnTo>
                  <a:pt x="33" y="88"/>
                </a:lnTo>
                <a:lnTo>
                  <a:pt x="34" y="88"/>
                </a:lnTo>
                <a:lnTo>
                  <a:pt x="34" y="89"/>
                </a:lnTo>
                <a:lnTo>
                  <a:pt x="35" y="88"/>
                </a:lnTo>
                <a:lnTo>
                  <a:pt x="39" y="88"/>
                </a:lnTo>
                <a:lnTo>
                  <a:pt x="41" y="86"/>
                </a:lnTo>
                <a:lnTo>
                  <a:pt x="43" y="87"/>
                </a:lnTo>
                <a:lnTo>
                  <a:pt x="45" y="86"/>
                </a:lnTo>
                <a:lnTo>
                  <a:pt x="46" y="86"/>
                </a:lnTo>
                <a:lnTo>
                  <a:pt x="49" y="88"/>
                </a:lnTo>
                <a:lnTo>
                  <a:pt x="53" y="90"/>
                </a:lnTo>
                <a:lnTo>
                  <a:pt x="55" y="92"/>
                </a:lnTo>
                <a:lnTo>
                  <a:pt x="55" y="93"/>
                </a:lnTo>
                <a:lnTo>
                  <a:pt x="57" y="95"/>
                </a:lnTo>
                <a:lnTo>
                  <a:pt x="60" y="95"/>
                </a:lnTo>
                <a:lnTo>
                  <a:pt x="63" y="98"/>
                </a:lnTo>
                <a:lnTo>
                  <a:pt x="63" y="100"/>
                </a:lnTo>
                <a:lnTo>
                  <a:pt x="60" y="99"/>
                </a:lnTo>
                <a:lnTo>
                  <a:pt x="59" y="99"/>
                </a:lnTo>
                <a:lnTo>
                  <a:pt x="60" y="100"/>
                </a:lnTo>
                <a:lnTo>
                  <a:pt x="60" y="101"/>
                </a:lnTo>
                <a:lnTo>
                  <a:pt x="59" y="100"/>
                </a:lnTo>
                <a:lnTo>
                  <a:pt x="58" y="100"/>
                </a:lnTo>
                <a:lnTo>
                  <a:pt x="58" y="99"/>
                </a:lnTo>
                <a:lnTo>
                  <a:pt x="57" y="99"/>
                </a:lnTo>
                <a:lnTo>
                  <a:pt x="57" y="98"/>
                </a:lnTo>
                <a:lnTo>
                  <a:pt x="56" y="98"/>
                </a:lnTo>
                <a:lnTo>
                  <a:pt x="56" y="100"/>
                </a:lnTo>
                <a:lnTo>
                  <a:pt x="55" y="101"/>
                </a:lnTo>
                <a:lnTo>
                  <a:pt x="53" y="101"/>
                </a:lnTo>
                <a:lnTo>
                  <a:pt x="52" y="102"/>
                </a:lnTo>
                <a:lnTo>
                  <a:pt x="53" y="102"/>
                </a:lnTo>
                <a:lnTo>
                  <a:pt x="53" y="105"/>
                </a:lnTo>
                <a:lnTo>
                  <a:pt x="52" y="105"/>
                </a:lnTo>
                <a:lnTo>
                  <a:pt x="50" y="107"/>
                </a:lnTo>
                <a:lnTo>
                  <a:pt x="49" y="105"/>
                </a:lnTo>
                <a:lnTo>
                  <a:pt x="47" y="105"/>
                </a:lnTo>
                <a:lnTo>
                  <a:pt x="47" y="106"/>
                </a:lnTo>
                <a:lnTo>
                  <a:pt x="49" y="107"/>
                </a:lnTo>
                <a:lnTo>
                  <a:pt x="44" y="112"/>
                </a:lnTo>
                <a:lnTo>
                  <a:pt x="43" y="112"/>
                </a:lnTo>
                <a:lnTo>
                  <a:pt x="41" y="113"/>
                </a:lnTo>
                <a:lnTo>
                  <a:pt x="41" y="114"/>
                </a:lnTo>
                <a:lnTo>
                  <a:pt x="38" y="114"/>
                </a:lnTo>
                <a:lnTo>
                  <a:pt x="37" y="115"/>
                </a:lnTo>
                <a:lnTo>
                  <a:pt x="39" y="117"/>
                </a:lnTo>
                <a:lnTo>
                  <a:pt x="38" y="118"/>
                </a:lnTo>
                <a:lnTo>
                  <a:pt x="35" y="118"/>
                </a:lnTo>
                <a:lnTo>
                  <a:pt x="34" y="117"/>
                </a:lnTo>
                <a:lnTo>
                  <a:pt x="34" y="115"/>
                </a:lnTo>
                <a:lnTo>
                  <a:pt x="32" y="115"/>
                </a:lnTo>
                <a:lnTo>
                  <a:pt x="31" y="117"/>
                </a:lnTo>
                <a:lnTo>
                  <a:pt x="31" y="115"/>
                </a:lnTo>
                <a:lnTo>
                  <a:pt x="29" y="115"/>
                </a:lnTo>
                <a:lnTo>
                  <a:pt x="29" y="118"/>
                </a:lnTo>
                <a:lnTo>
                  <a:pt x="28" y="118"/>
                </a:lnTo>
                <a:lnTo>
                  <a:pt x="28" y="117"/>
                </a:lnTo>
                <a:lnTo>
                  <a:pt x="26" y="117"/>
                </a:lnTo>
                <a:lnTo>
                  <a:pt x="26" y="118"/>
                </a:lnTo>
                <a:lnTo>
                  <a:pt x="22" y="118"/>
                </a:lnTo>
                <a:lnTo>
                  <a:pt x="19" y="121"/>
                </a:lnTo>
                <a:lnTo>
                  <a:pt x="19" y="126"/>
                </a:lnTo>
                <a:lnTo>
                  <a:pt x="18" y="129"/>
                </a:lnTo>
                <a:lnTo>
                  <a:pt x="16" y="132"/>
                </a:lnTo>
                <a:lnTo>
                  <a:pt x="16" y="133"/>
                </a:lnTo>
                <a:lnTo>
                  <a:pt x="15" y="133"/>
                </a:lnTo>
                <a:lnTo>
                  <a:pt x="15" y="137"/>
                </a:lnTo>
                <a:lnTo>
                  <a:pt x="9" y="143"/>
                </a:lnTo>
                <a:lnTo>
                  <a:pt x="8" y="143"/>
                </a:lnTo>
                <a:lnTo>
                  <a:pt x="7" y="141"/>
                </a:lnTo>
                <a:lnTo>
                  <a:pt x="7" y="138"/>
                </a:lnTo>
                <a:lnTo>
                  <a:pt x="6" y="138"/>
                </a:lnTo>
                <a:lnTo>
                  <a:pt x="6" y="137"/>
                </a:lnTo>
                <a:lnTo>
                  <a:pt x="7" y="137"/>
                </a:lnTo>
                <a:lnTo>
                  <a:pt x="8" y="135"/>
                </a:lnTo>
                <a:lnTo>
                  <a:pt x="9" y="131"/>
                </a:lnTo>
                <a:lnTo>
                  <a:pt x="10" y="130"/>
                </a:lnTo>
                <a:lnTo>
                  <a:pt x="10" y="129"/>
                </a:lnTo>
                <a:lnTo>
                  <a:pt x="12" y="129"/>
                </a:lnTo>
                <a:lnTo>
                  <a:pt x="13" y="130"/>
                </a:lnTo>
                <a:lnTo>
                  <a:pt x="14" y="129"/>
                </a:lnTo>
                <a:lnTo>
                  <a:pt x="14" y="126"/>
                </a:lnTo>
                <a:lnTo>
                  <a:pt x="15" y="124"/>
                </a:lnTo>
                <a:lnTo>
                  <a:pt x="15" y="123"/>
                </a:lnTo>
                <a:lnTo>
                  <a:pt x="13" y="123"/>
                </a:lnTo>
                <a:lnTo>
                  <a:pt x="10" y="121"/>
                </a:lnTo>
                <a:lnTo>
                  <a:pt x="9" y="121"/>
                </a:lnTo>
                <a:lnTo>
                  <a:pt x="8" y="117"/>
                </a:lnTo>
                <a:lnTo>
                  <a:pt x="4" y="117"/>
                </a:lnTo>
                <a:lnTo>
                  <a:pt x="1" y="113"/>
                </a:lnTo>
                <a:lnTo>
                  <a:pt x="1" y="111"/>
                </a:lnTo>
                <a:lnTo>
                  <a:pt x="3" y="112"/>
                </a:lnTo>
                <a:lnTo>
                  <a:pt x="3" y="111"/>
                </a:lnTo>
                <a:lnTo>
                  <a:pt x="2" y="110"/>
                </a:lnTo>
                <a:lnTo>
                  <a:pt x="2" y="108"/>
                </a:lnTo>
                <a:lnTo>
                  <a:pt x="3" y="108"/>
                </a:lnTo>
                <a:lnTo>
                  <a:pt x="4" y="110"/>
                </a:lnTo>
                <a:lnTo>
                  <a:pt x="4" y="111"/>
                </a:lnTo>
                <a:lnTo>
                  <a:pt x="6" y="110"/>
                </a:lnTo>
                <a:lnTo>
                  <a:pt x="6" y="107"/>
                </a:lnTo>
                <a:lnTo>
                  <a:pt x="7" y="107"/>
                </a:lnTo>
                <a:lnTo>
                  <a:pt x="7" y="105"/>
                </a:lnTo>
                <a:lnTo>
                  <a:pt x="4" y="101"/>
                </a:lnTo>
                <a:lnTo>
                  <a:pt x="4" y="100"/>
                </a:lnTo>
                <a:lnTo>
                  <a:pt x="0" y="95"/>
                </a:lnTo>
                <a:lnTo>
                  <a:pt x="2" y="96"/>
                </a:lnTo>
                <a:lnTo>
                  <a:pt x="3" y="96"/>
                </a:lnTo>
                <a:lnTo>
                  <a:pt x="3" y="95"/>
                </a:lnTo>
                <a:lnTo>
                  <a:pt x="4" y="94"/>
                </a:lnTo>
                <a:lnTo>
                  <a:pt x="6" y="94"/>
                </a:lnTo>
                <a:lnTo>
                  <a:pt x="7" y="95"/>
                </a:lnTo>
                <a:lnTo>
                  <a:pt x="8" y="95"/>
                </a:lnTo>
                <a:lnTo>
                  <a:pt x="10" y="99"/>
                </a:lnTo>
                <a:lnTo>
                  <a:pt x="10" y="102"/>
                </a:lnTo>
                <a:lnTo>
                  <a:pt x="12" y="101"/>
                </a:lnTo>
                <a:lnTo>
                  <a:pt x="12" y="96"/>
                </a:lnTo>
                <a:lnTo>
                  <a:pt x="15" y="93"/>
                </a:lnTo>
                <a:lnTo>
                  <a:pt x="15" y="92"/>
                </a:lnTo>
                <a:lnTo>
                  <a:pt x="16" y="92"/>
                </a:lnTo>
                <a:lnTo>
                  <a:pt x="16" y="95"/>
                </a:lnTo>
                <a:lnTo>
                  <a:pt x="19" y="95"/>
                </a:lnTo>
                <a:lnTo>
                  <a:pt x="19" y="90"/>
                </a:lnTo>
                <a:lnTo>
                  <a:pt x="21" y="89"/>
                </a:lnTo>
                <a:lnTo>
                  <a:pt x="27" y="88"/>
                </a:lnTo>
                <a:lnTo>
                  <a:pt x="31" y="86"/>
                </a:lnTo>
                <a:lnTo>
                  <a:pt x="32" y="84"/>
                </a:lnTo>
                <a:close/>
                <a:moveTo>
                  <a:pt x="56" y="81"/>
                </a:moveTo>
                <a:lnTo>
                  <a:pt x="58" y="81"/>
                </a:lnTo>
                <a:lnTo>
                  <a:pt x="62" y="82"/>
                </a:lnTo>
                <a:lnTo>
                  <a:pt x="64" y="84"/>
                </a:lnTo>
                <a:lnTo>
                  <a:pt x="64" y="88"/>
                </a:lnTo>
                <a:lnTo>
                  <a:pt x="66" y="90"/>
                </a:lnTo>
                <a:lnTo>
                  <a:pt x="66" y="92"/>
                </a:lnTo>
                <a:lnTo>
                  <a:pt x="65" y="92"/>
                </a:lnTo>
                <a:lnTo>
                  <a:pt x="65" y="93"/>
                </a:lnTo>
                <a:lnTo>
                  <a:pt x="63" y="93"/>
                </a:lnTo>
                <a:lnTo>
                  <a:pt x="63" y="92"/>
                </a:lnTo>
                <a:lnTo>
                  <a:pt x="60" y="92"/>
                </a:lnTo>
                <a:lnTo>
                  <a:pt x="59" y="93"/>
                </a:lnTo>
                <a:lnTo>
                  <a:pt x="55" y="89"/>
                </a:lnTo>
                <a:lnTo>
                  <a:pt x="52" y="87"/>
                </a:lnTo>
                <a:lnTo>
                  <a:pt x="52" y="86"/>
                </a:lnTo>
                <a:lnTo>
                  <a:pt x="55" y="86"/>
                </a:lnTo>
                <a:lnTo>
                  <a:pt x="55" y="82"/>
                </a:lnTo>
                <a:lnTo>
                  <a:pt x="56" y="81"/>
                </a:lnTo>
                <a:close/>
                <a:moveTo>
                  <a:pt x="26" y="56"/>
                </a:moveTo>
                <a:lnTo>
                  <a:pt x="27" y="57"/>
                </a:lnTo>
                <a:lnTo>
                  <a:pt x="26" y="57"/>
                </a:lnTo>
                <a:lnTo>
                  <a:pt x="26" y="56"/>
                </a:lnTo>
                <a:close/>
                <a:moveTo>
                  <a:pt x="56" y="51"/>
                </a:moveTo>
                <a:lnTo>
                  <a:pt x="58" y="51"/>
                </a:lnTo>
                <a:lnTo>
                  <a:pt x="60" y="52"/>
                </a:lnTo>
                <a:lnTo>
                  <a:pt x="65" y="52"/>
                </a:lnTo>
                <a:lnTo>
                  <a:pt x="65" y="55"/>
                </a:lnTo>
                <a:lnTo>
                  <a:pt x="66" y="56"/>
                </a:lnTo>
                <a:lnTo>
                  <a:pt x="65" y="57"/>
                </a:lnTo>
                <a:lnTo>
                  <a:pt x="64" y="57"/>
                </a:lnTo>
                <a:lnTo>
                  <a:pt x="64" y="56"/>
                </a:lnTo>
                <a:lnTo>
                  <a:pt x="63" y="57"/>
                </a:lnTo>
                <a:lnTo>
                  <a:pt x="59" y="57"/>
                </a:lnTo>
                <a:lnTo>
                  <a:pt x="59" y="56"/>
                </a:lnTo>
                <a:lnTo>
                  <a:pt x="57" y="58"/>
                </a:lnTo>
                <a:lnTo>
                  <a:pt x="56" y="57"/>
                </a:lnTo>
                <a:lnTo>
                  <a:pt x="55" y="53"/>
                </a:lnTo>
                <a:lnTo>
                  <a:pt x="55" y="52"/>
                </a:lnTo>
                <a:lnTo>
                  <a:pt x="56" y="51"/>
                </a:lnTo>
                <a:close/>
                <a:moveTo>
                  <a:pt x="74" y="49"/>
                </a:moveTo>
                <a:lnTo>
                  <a:pt x="74" y="50"/>
                </a:lnTo>
                <a:lnTo>
                  <a:pt x="76" y="51"/>
                </a:lnTo>
                <a:lnTo>
                  <a:pt x="74" y="49"/>
                </a:lnTo>
                <a:close/>
                <a:moveTo>
                  <a:pt x="32" y="47"/>
                </a:moveTo>
                <a:lnTo>
                  <a:pt x="34" y="47"/>
                </a:lnTo>
                <a:lnTo>
                  <a:pt x="35" y="49"/>
                </a:lnTo>
                <a:lnTo>
                  <a:pt x="37" y="49"/>
                </a:lnTo>
                <a:lnTo>
                  <a:pt x="38" y="50"/>
                </a:lnTo>
                <a:lnTo>
                  <a:pt x="37" y="52"/>
                </a:lnTo>
                <a:lnTo>
                  <a:pt x="37" y="53"/>
                </a:lnTo>
                <a:lnTo>
                  <a:pt x="38" y="55"/>
                </a:lnTo>
                <a:lnTo>
                  <a:pt x="43" y="55"/>
                </a:lnTo>
                <a:lnTo>
                  <a:pt x="46" y="56"/>
                </a:lnTo>
                <a:lnTo>
                  <a:pt x="47" y="57"/>
                </a:lnTo>
                <a:lnTo>
                  <a:pt x="47" y="61"/>
                </a:lnTo>
                <a:lnTo>
                  <a:pt x="49" y="62"/>
                </a:lnTo>
                <a:lnTo>
                  <a:pt x="49" y="63"/>
                </a:lnTo>
                <a:lnTo>
                  <a:pt x="50" y="63"/>
                </a:lnTo>
                <a:lnTo>
                  <a:pt x="50" y="67"/>
                </a:lnTo>
                <a:lnTo>
                  <a:pt x="51" y="67"/>
                </a:lnTo>
                <a:lnTo>
                  <a:pt x="51" y="69"/>
                </a:lnTo>
                <a:lnTo>
                  <a:pt x="50" y="69"/>
                </a:lnTo>
                <a:lnTo>
                  <a:pt x="49" y="68"/>
                </a:lnTo>
                <a:lnTo>
                  <a:pt x="47" y="68"/>
                </a:lnTo>
                <a:lnTo>
                  <a:pt x="47" y="69"/>
                </a:lnTo>
                <a:lnTo>
                  <a:pt x="46" y="68"/>
                </a:lnTo>
                <a:lnTo>
                  <a:pt x="46" y="69"/>
                </a:lnTo>
                <a:lnTo>
                  <a:pt x="44" y="69"/>
                </a:lnTo>
                <a:lnTo>
                  <a:pt x="44" y="70"/>
                </a:lnTo>
                <a:lnTo>
                  <a:pt x="45" y="70"/>
                </a:lnTo>
                <a:lnTo>
                  <a:pt x="45" y="72"/>
                </a:lnTo>
                <a:lnTo>
                  <a:pt x="44" y="72"/>
                </a:lnTo>
                <a:lnTo>
                  <a:pt x="43" y="74"/>
                </a:lnTo>
                <a:lnTo>
                  <a:pt x="41" y="74"/>
                </a:lnTo>
                <a:lnTo>
                  <a:pt x="40" y="72"/>
                </a:lnTo>
                <a:lnTo>
                  <a:pt x="40" y="71"/>
                </a:lnTo>
                <a:lnTo>
                  <a:pt x="41" y="70"/>
                </a:lnTo>
                <a:lnTo>
                  <a:pt x="43" y="70"/>
                </a:lnTo>
                <a:lnTo>
                  <a:pt x="41" y="69"/>
                </a:lnTo>
                <a:lnTo>
                  <a:pt x="40" y="69"/>
                </a:lnTo>
                <a:lnTo>
                  <a:pt x="38" y="71"/>
                </a:lnTo>
                <a:lnTo>
                  <a:pt x="38" y="72"/>
                </a:lnTo>
                <a:lnTo>
                  <a:pt x="34" y="80"/>
                </a:lnTo>
                <a:lnTo>
                  <a:pt x="33" y="81"/>
                </a:lnTo>
                <a:lnTo>
                  <a:pt x="31" y="81"/>
                </a:lnTo>
                <a:lnTo>
                  <a:pt x="28" y="80"/>
                </a:lnTo>
                <a:lnTo>
                  <a:pt x="27" y="78"/>
                </a:lnTo>
                <a:lnTo>
                  <a:pt x="27" y="77"/>
                </a:lnTo>
                <a:lnTo>
                  <a:pt x="28" y="76"/>
                </a:lnTo>
                <a:lnTo>
                  <a:pt x="27" y="76"/>
                </a:lnTo>
                <a:lnTo>
                  <a:pt x="27" y="74"/>
                </a:lnTo>
                <a:lnTo>
                  <a:pt x="26" y="72"/>
                </a:lnTo>
                <a:lnTo>
                  <a:pt x="26" y="68"/>
                </a:lnTo>
                <a:lnTo>
                  <a:pt x="25" y="67"/>
                </a:lnTo>
                <a:lnTo>
                  <a:pt x="24" y="64"/>
                </a:lnTo>
                <a:lnTo>
                  <a:pt x="22" y="64"/>
                </a:lnTo>
                <a:lnTo>
                  <a:pt x="21" y="63"/>
                </a:lnTo>
                <a:lnTo>
                  <a:pt x="20" y="64"/>
                </a:lnTo>
                <a:lnTo>
                  <a:pt x="15" y="64"/>
                </a:lnTo>
                <a:lnTo>
                  <a:pt x="9" y="61"/>
                </a:lnTo>
                <a:lnTo>
                  <a:pt x="9" y="59"/>
                </a:lnTo>
                <a:lnTo>
                  <a:pt x="12" y="58"/>
                </a:lnTo>
                <a:lnTo>
                  <a:pt x="14" y="59"/>
                </a:lnTo>
                <a:lnTo>
                  <a:pt x="27" y="57"/>
                </a:lnTo>
                <a:lnTo>
                  <a:pt x="28" y="57"/>
                </a:lnTo>
                <a:lnTo>
                  <a:pt x="28" y="53"/>
                </a:lnTo>
                <a:lnTo>
                  <a:pt x="29" y="53"/>
                </a:lnTo>
                <a:lnTo>
                  <a:pt x="32" y="51"/>
                </a:lnTo>
                <a:lnTo>
                  <a:pt x="32" y="47"/>
                </a:lnTo>
                <a:close/>
                <a:moveTo>
                  <a:pt x="113" y="6"/>
                </a:moveTo>
                <a:lnTo>
                  <a:pt x="114" y="7"/>
                </a:lnTo>
                <a:lnTo>
                  <a:pt x="115" y="9"/>
                </a:lnTo>
                <a:lnTo>
                  <a:pt x="114" y="9"/>
                </a:lnTo>
                <a:lnTo>
                  <a:pt x="113" y="10"/>
                </a:lnTo>
                <a:lnTo>
                  <a:pt x="112" y="9"/>
                </a:lnTo>
                <a:lnTo>
                  <a:pt x="112" y="7"/>
                </a:lnTo>
                <a:lnTo>
                  <a:pt x="113" y="6"/>
                </a:lnTo>
                <a:close/>
                <a:moveTo>
                  <a:pt x="156" y="0"/>
                </a:moveTo>
                <a:lnTo>
                  <a:pt x="157" y="0"/>
                </a:lnTo>
                <a:lnTo>
                  <a:pt x="158" y="3"/>
                </a:lnTo>
                <a:lnTo>
                  <a:pt x="159" y="4"/>
                </a:lnTo>
                <a:lnTo>
                  <a:pt x="161" y="4"/>
                </a:lnTo>
                <a:lnTo>
                  <a:pt x="162" y="7"/>
                </a:lnTo>
                <a:lnTo>
                  <a:pt x="163" y="8"/>
                </a:lnTo>
                <a:lnTo>
                  <a:pt x="165" y="8"/>
                </a:lnTo>
                <a:lnTo>
                  <a:pt x="165" y="4"/>
                </a:lnTo>
                <a:lnTo>
                  <a:pt x="164" y="4"/>
                </a:lnTo>
                <a:lnTo>
                  <a:pt x="164" y="0"/>
                </a:lnTo>
                <a:lnTo>
                  <a:pt x="165" y="0"/>
                </a:lnTo>
                <a:lnTo>
                  <a:pt x="168" y="2"/>
                </a:lnTo>
                <a:lnTo>
                  <a:pt x="168" y="3"/>
                </a:lnTo>
                <a:lnTo>
                  <a:pt x="169" y="4"/>
                </a:lnTo>
                <a:lnTo>
                  <a:pt x="169" y="7"/>
                </a:lnTo>
                <a:lnTo>
                  <a:pt x="170" y="8"/>
                </a:lnTo>
                <a:lnTo>
                  <a:pt x="173" y="6"/>
                </a:lnTo>
                <a:lnTo>
                  <a:pt x="171" y="4"/>
                </a:lnTo>
                <a:lnTo>
                  <a:pt x="173" y="3"/>
                </a:lnTo>
                <a:lnTo>
                  <a:pt x="174" y="3"/>
                </a:lnTo>
                <a:lnTo>
                  <a:pt x="175" y="6"/>
                </a:lnTo>
                <a:lnTo>
                  <a:pt x="176" y="6"/>
                </a:lnTo>
                <a:lnTo>
                  <a:pt x="176" y="3"/>
                </a:lnTo>
                <a:lnTo>
                  <a:pt x="178" y="3"/>
                </a:lnTo>
                <a:lnTo>
                  <a:pt x="181" y="6"/>
                </a:lnTo>
                <a:lnTo>
                  <a:pt x="181" y="7"/>
                </a:lnTo>
                <a:lnTo>
                  <a:pt x="190" y="7"/>
                </a:lnTo>
                <a:lnTo>
                  <a:pt x="192" y="8"/>
                </a:lnTo>
                <a:lnTo>
                  <a:pt x="196" y="10"/>
                </a:lnTo>
                <a:lnTo>
                  <a:pt x="199" y="10"/>
                </a:lnTo>
                <a:lnTo>
                  <a:pt x="199" y="12"/>
                </a:lnTo>
                <a:lnTo>
                  <a:pt x="201" y="9"/>
                </a:lnTo>
                <a:lnTo>
                  <a:pt x="203" y="9"/>
                </a:lnTo>
                <a:lnTo>
                  <a:pt x="206" y="10"/>
                </a:lnTo>
                <a:lnTo>
                  <a:pt x="208" y="13"/>
                </a:lnTo>
                <a:lnTo>
                  <a:pt x="211" y="14"/>
                </a:lnTo>
                <a:lnTo>
                  <a:pt x="212" y="16"/>
                </a:lnTo>
                <a:lnTo>
                  <a:pt x="214" y="18"/>
                </a:lnTo>
                <a:lnTo>
                  <a:pt x="215" y="19"/>
                </a:lnTo>
                <a:lnTo>
                  <a:pt x="217" y="19"/>
                </a:lnTo>
                <a:lnTo>
                  <a:pt x="224" y="20"/>
                </a:lnTo>
                <a:lnTo>
                  <a:pt x="231" y="19"/>
                </a:lnTo>
                <a:lnTo>
                  <a:pt x="237" y="19"/>
                </a:lnTo>
                <a:lnTo>
                  <a:pt x="243" y="21"/>
                </a:lnTo>
                <a:lnTo>
                  <a:pt x="250" y="21"/>
                </a:lnTo>
                <a:lnTo>
                  <a:pt x="256" y="24"/>
                </a:lnTo>
                <a:lnTo>
                  <a:pt x="258" y="22"/>
                </a:lnTo>
                <a:lnTo>
                  <a:pt x="261" y="20"/>
                </a:lnTo>
                <a:lnTo>
                  <a:pt x="262" y="18"/>
                </a:lnTo>
                <a:lnTo>
                  <a:pt x="263" y="19"/>
                </a:lnTo>
                <a:lnTo>
                  <a:pt x="265" y="20"/>
                </a:lnTo>
                <a:lnTo>
                  <a:pt x="265" y="21"/>
                </a:lnTo>
                <a:lnTo>
                  <a:pt x="267" y="24"/>
                </a:lnTo>
                <a:lnTo>
                  <a:pt x="268" y="24"/>
                </a:lnTo>
                <a:lnTo>
                  <a:pt x="268" y="25"/>
                </a:lnTo>
                <a:lnTo>
                  <a:pt x="269" y="26"/>
                </a:lnTo>
                <a:lnTo>
                  <a:pt x="269" y="27"/>
                </a:lnTo>
                <a:lnTo>
                  <a:pt x="268" y="27"/>
                </a:lnTo>
                <a:lnTo>
                  <a:pt x="267" y="28"/>
                </a:lnTo>
                <a:lnTo>
                  <a:pt x="263" y="28"/>
                </a:lnTo>
                <a:lnTo>
                  <a:pt x="262" y="29"/>
                </a:lnTo>
                <a:lnTo>
                  <a:pt x="264" y="31"/>
                </a:lnTo>
                <a:lnTo>
                  <a:pt x="265" y="31"/>
                </a:lnTo>
                <a:lnTo>
                  <a:pt x="264" y="32"/>
                </a:lnTo>
                <a:lnTo>
                  <a:pt x="260" y="32"/>
                </a:lnTo>
                <a:lnTo>
                  <a:pt x="257" y="33"/>
                </a:lnTo>
                <a:lnTo>
                  <a:pt x="256" y="34"/>
                </a:lnTo>
                <a:lnTo>
                  <a:pt x="257" y="35"/>
                </a:lnTo>
                <a:lnTo>
                  <a:pt x="256" y="37"/>
                </a:lnTo>
                <a:lnTo>
                  <a:pt x="255" y="44"/>
                </a:lnTo>
                <a:lnTo>
                  <a:pt x="252" y="50"/>
                </a:lnTo>
                <a:lnTo>
                  <a:pt x="251" y="52"/>
                </a:lnTo>
                <a:lnTo>
                  <a:pt x="249" y="56"/>
                </a:lnTo>
                <a:lnTo>
                  <a:pt x="249" y="57"/>
                </a:lnTo>
                <a:lnTo>
                  <a:pt x="244" y="62"/>
                </a:lnTo>
                <a:lnTo>
                  <a:pt x="238" y="67"/>
                </a:lnTo>
                <a:lnTo>
                  <a:pt x="236" y="76"/>
                </a:lnTo>
                <a:lnTo>
                  <a:pt x="237" y="80"/>
                </a:lnTo>
                <a:lnTo>
                  <a:pt x="237" y="84"/>
                </a:lnTo>
                <a:lnTo>
                  <a:pt x="239" y="94"/>
                </a:lnTo>
                <a:lnTo>
                  <a:pt x="242" y="106"/>
                </a:lnTo>
                <a:lnTo>
                  <a:pt x="238" y="112"/>
                </a:lnTo>
                <a:lnTo>
                  <a:pt x="238" y="119"/>
                </a:lnTo>
                <a:lnTo>
                  <a:pt x="240" y="124"/>
                </a:lnTo>
                <a:lnTo>
                  <a:pt x="242" y="127"/>
                </a:lnTo>
                <a:lnTo>
                  <a:pt x="244" y="130"/>
                </a:lnTo>
                <a:lnTo>
                  <a:pt x="244" y="137"/>
                </a:lnTo>
                <a:lnTo>
                  <a:pt x="245" y="138"/>
                </a:lnTo>
                <a:lnTo>
                  <a:pt x="245" y="144"/>
                </a:lnTo>
                <a:lnTo>
                  <a:pt x="250" y="147"/>
                </a:lnTo>
                <a:lnTo>
                  <a:pt x="251" y="149"/>
                </a:lnTo>
                <a:lnTo>
                  <a:pt x="250" y="149"/>
                </a:lnTo>
                <a:lnTo>
                  <a:pt x="249" y="150"/>
                </a:lnTo>
                <a:lnTo>
                  <a:pt x="246" y="151"/>
                </a:lnTo>
                <a:lnTo>
                  <a:pt x="240" y="153"/>
                </a:lnTo>
                <a:lnTo>
                  <a:pt x="239" y="153"/>
                </a:lnTo>
                <a:lnTo>
                  <a:pt x="240" y="154"/>
                </a:lnTo>
                <a:lnTo>
                  <a:pt x="239" y="154"/>
                </a:lnTo>
                <a:lnTo>
                  <a:pt x="238" y="155"/>
                </a:lnTo>
                <a:lnTo>
                  <a:pt x="238" y="160"/>
                </a:lnTo>
                <a:lnTo>
                  <a:pt x="237" y="161"/>
                </a:lnTo>
                <a:lnTo>
                  <a:pt x="233" y="162"/>
                </a:lnTo>
                <a:lnTo>
                  <a:pt x="233" y="163"/>
                </a:lnTo>
                <a:lnTo>
                  <a:pt x="232" y="163"/>
                </a:lnTo>
                <a:lnTo>
                  <a:pt x="232" y="164"/>
                </a:lnTo>
                <a:lnTo>
                  <a:pt x="233" y="166"/>
                </a:lnTo>
                <a:lnTo>
                  <a:pt x="233" y="168"/>
                </a:lnTo>
                <a:lnTo>
                  <a:pt x="232" y="168"/>
                </a:lnTo>
                <a:lnTo>
                  <a:pt x="232" y="169"/>
                </a:lnTo>
                <a:lnTo>
                  <a:pt x="231" y="169"/>
                </a:lnTo>
                <a:lnTo>
                  <a:pt x="231" y="174"/>
                </a:lnTo>
                <a:lnTo>
                  <a:pt x="230" y="175"/>
                </a:lnTo>
                <a:lnTo>
                  <a:pt x="224" y="173"/>
                </a:lnTo>
                <a:lnTo>
                  <a:pt x="220" y="173"/>
                </a:lnTo>
                <a:lnTo>
                  <a:pt x="218" y="170"/>
                </a:lnTo>
                <a:lnTo>
                  <a:pt x="217" y="168"/>
                </a:lnTo>
                <a:lnTo>
                  <a:pt x="215" y="168"/>
                </a:lnTo>
                <a:lnTo>
                  <a:pt x="214" y="167"/>
                </a:lnTo>
                <a:lnTo>
                  <a:pt x="212" y="167"/>
                </a:lnTo>
                <a:lnTo>
                  <a:pt x="211" y="166"/>
                </a:lnTo>
                <a:lnTo>
                  <a:pt x="211" y="167"/>
                </a:lnTo>
                <a:lnTo>
                  <a:pt x="209" y="168"/>
                </a:lnTo>
                <a:lnTo>
                  <a:pt x="209" y="169"/>
                </a:lnTo>
                <a:lnTo>
                  <a:pt x="208" y="169"/>
                </a:lnTo>
                <a:lnTo>
                  <a:pt x="208" y="170"/>
                </a:lnTo>
                <a:lnTo>
                  <a:pt x="202" y="170"/>
                </a:lnTo>
                <a:lnTo>
                  <a:pt x="200" y="173"/>
                </a:lnTo>
                <a:lnTo>
                  <a:pt x="200" y="174"/>
                </a:lnTo>
                <a:lnTo>
                  <a:pt x="196" y="174"/>
                </a:lnTo>
                <a:lnTo>
                  <a:pt x="195" y="175"/>
                </a:lnTo>
                <a:lnTo>
                  <a:pt x="194" y="174"/>
                </a:lnTo>
                <a:lnTo>
                  <a:pt x="193" y="172"/>
                </a:lnTo>
                <a:lnTo>
                  <a:pt x="193" y="170"/>
                </a:lnTo>
                <a:lnTo>
                  <a:pt x="189" y="169"/>
                </a:lnTo>
                <a:lnTo>
                  <a:pt x="187" y="168"/>
                </a:lnTo>
                <a:lnTo>
                  <a:pt x="186" y="166"/>
                </a:lnTo>
                <a:lnTo>
                  <a:pt x="182" y="160"/>
                </a:lnTo>
                <a:lnTo>
                  <a:pt x="181" y="157"/>
                </a:lnTo>
                <a:lnTo>
                  <a:pt x="176" y="154"/>
                </a:lnTo>
                <a:lnTo>
                  <a:pt x="175" y="153"/>
                </a:lnTo>
                <a:lnTo>
                  <a:pt x="175" y="150"/>
                </a:lnTo>
                <a:lnTo>
                  <a:pt x="176" y="150"/>
                </a:lnTo>
                <a:lnTo>
                  <a:pt x="176" y="149"/>
                </a:lnTo>
                <a:lnTo>
                  <a:pt x="175" y="149"/>
                </a:lnTo>
                <a:lnTo>
                  <a:pt x="175" y="148"/>
                </a:lnTo>
                <a:lnTo>
                  <a:pt x="167" y="148"/>
                </a:lnTo>
                <a:lnTo>
                  <a:pt x="165" y="147"/>
                </a:lnTo>
                <a:lnTo>
                  <a:pt x="164" y="144"/>
                </a:lnTo>
                <a:lnTo>
                  <a:pt x="164" y="143"/>
                </a:lnTo>
                <a:lnTo>
                  <a:pt x="163" y="142"/>
                </a:lnTo>
                <a:lnTo>
                  <a:pt x="162" y="142"/>
                </a:lnTo>
                <a:lnTo>
                  <a:pt x="161" y="143"/>
                </a:lnTo>
                <a:lnTo>
                  <a:pt x="158" y="143"/>
                </a:lnTo>
                <a:lnTo>
                  <a:pt x="156" y="141"/>
                </a:lnTo>
                <a:lnTo>
                  <a:pt x="156" y="138"/>
                </a:lnTo>
                <a:lnTo>
                  <a:pt x="153" y="138"/>
                </a:lnTo>
                <a:lnTo>
                  <a:pt x="152" y="137"/>
                </a:lnTo>
                <a:lnTo>
                  <a:pt x="150" y="133"/>
                </a:lnTo>
                <a:lnTo>
                  <a:pt x="147" y="132"/>
                </a:lnTo>
                <a:lnTo>
                  <a:pt x="147" y="133"/>
                </a:lnTo>
                <a:lnTo>
                  <a:pt x="146" y="132"/>
                </a:lnTo>
                <a:lnTo>
                  <a:pt x="146" y="131"/>
                </a:lnTo>
                <a:lnTo>
                  <a:pt x="145" y="130"/>
                </a:lnTo>
                <a:lnTo>
                  <a:pt x="144" y="130"/>
                </a:lnTo>
                <a:lnTo>
                  <a:pt x="144" y="131"/>
                </a:lnTo>
                <a:lnTo>
                  <a:pt x="145" y="133"/>
                </a:lnTo>
                <a:lnTo>
                  <a:pt x="145" y="135"/>
                </a:lnTo>
                <a:lnTo>
                  <a:pt x="143" y="137"/>
                </a:lnTo>
                <a:lnTo>
                  <a:pt x="142" y="137"/>
                </a:lnTo>
                <a:lnTo>
                  <a:pt x="142" y="136"/>
                </a:lnTo>
                <a:lnTo>
                  <a:pt x="140" y="135"/>
                </a:lnTo>
                <a:lnTo>
                  <a:pt x="140" y="131"/>
                </a:lnTo>
                <a:lnTo>
                  <a:pt x="139" y="130"/>
                </a:lnTo>
                <a:lnTo>
                  <a:pt x="136" y="130"/>
                </a:lnTo>
                <a:lnTo>
                  <a:pt x="131" y="135"/>
                </a:lnTo>
                <a:lnTo>
                  <a:pt x="127" y="135"/>
                </a:lnTo>
                <a:lnTo>
                  <a:pt x="126" y="136"/>
                </a:lnTo>
                <a:lnTo>
                  <a:pt x="126" y="137"/>
                </a:lnTo>
                <a:lnTo>
                  <a:pt x="124" y="137"/>
                </a:lnTo>
                <a:lnTo>
                  <a:pt x="122" y="136"/>
                </a:lnTo>
                <a:lnTo>
                  <a:pt x="121" y="136"/>
                </a:lnTo>
                <a:lnTo>
                  <a:pt x="120" y="138"/>
                </a:lnTo>
                <a:lnTo>
                  <a:pt x="119" y="139"/>
                </a:lnTo>
                <a:lnTo>
                  <a:pt x="113" y="139"/>
                </a:lnTo>
                <a:lnTo>
                  <a:pt x="111" y="141"/>
                </a:lnTo>
                <a:lnTo>
                  <a:pt x="108" y="143"/>
                </a:lnTo>
                <a:lnTo>
                  <a:pt x="108" y="144"/>
                </a:lnTo>
                <a:lnTo>
                  <a:pt x="107" y="145"/>
                </a:lnTo>
                <a:lnTo>
                  <a:pt x="103" y="145"/>
                </a:lnTo>
                <a:lnTo>
                  <a:pt x="103" y="144"/>
                </a:lnTo>
                <a:lnTo>
                  <a:pt x="105" y="144"/>
                </a:lnTo>
                <a:lnTo>
                  <a:pt x="105" y="141"/>
                </a:lnTo>
                <a:lnTo>
                  <a:pt x="107" y="136"/>
                </a:lnTo>
                <a:lnTo>
                  <a:pt x="107" y="133"/>
                </a:lnTo>
                <a:lnTo>
                  <a:pt x="109" y="130"/>
                </a:lnTo>
                <a:lnTo>
                  <a:pt x="111" y="129"/>
                </a:lnTo>
                <a:lnTo>
                  <a:pt x="111" y="114"/>
                </a:lnTo>
                <a:lnTo>
                  <a:pt x="112" y="113"/>
                </a:lnTo>
                <a:lnTo>
                  <a:pt x="113" y="113"/>
                </a:lnTo>
                <a:lnTo>
                  <a:pt x="114" y="112"/>
                </a:lnTo>
                <a:lnTo>
                  <a:pt x="115" y="110"/>
                </a:lnTo>
                <a:lnTo>
                  <a:pt x="109" y="104"/>
                </a:lnTo>
                <a:lnTo>
                  <a:pt x="108" y="104"/>
                </a:lnTo>
                <a:lnTo>
                  <a:pt x="107" y="102"/>
                </a:lnTo>
                <a:lnTo>
                  <a:pt x="105" y="104"/>
                </a:lnTo>
                <a:lnTo>
                  <a:pt x="105" y="105"/>
                </a:lnTo>
                <a:lnTo>
                  <a:pt x="103" y="106"/>
                </a:lnTo>
                <a:lnTo>
                  <a:pt x="103" y="110"/>
                </a:lnTo>
                <a:lnTo>
                  <a:pt x="102" y="112"/>
                </a:lnTo>
                <a:lnTo>
                  <a:pt x="101" y="112"/>
                </a:lnTo>
                <a:lnTo>
                  <a:pt x="101" y="113"/>
                </a:lnTo>
                <a:lnTo>
                  <a:pt x="100" y="113"/>
                </a:lnTo>
                <a:lnTo>
                  <a:pt x="99" y="112"/>
                </a:lnTo>
                <a:lnTo>
                  <a:pt x="97" y="112"/>
                </a:lnTo>
                <a:lnTo>
                  <a:pt x="97" y="113"/>
                </a:lnTo>
                <a:lnTo>
                  <a:pt x="96" y="114"/>
                </a:lnTo>
                <a:lnTo>
                  <a:pt x="96" y="115"/>
                </a:lnTo>
                <a:lnTo>
                  <a:pt x="95" y="114"/>
                </a:lnTo>
                <a:lnTo>
                  <a:pt x="94" y="112"/>
                </a:lnTo>
                <a:lnTo>
                  <a:pt x="91" y="111"/>
                </a:lnTo>
                <a:lnTo>
                  <a:pt x="90" y="108"/>
                </a:lnTo>
                <a:lnTo>
                  <a:pt x="88" y="107"/>
                </a:lnTo>
                <a:lnTo>
                  <a:pt x="84" y="107"/>
                </a:lnTo>
                <a:lnTo>
                  <a:pt x="84" y="106"/>
                </a:lnTo>
                <a:lnTo>
                  <a:pt x="82" y="106"/>
                </a:lnTo>
                <a:lnTo>
                  <a:pt x="81" y="107"/>
                </a:lnTo>
                <a:lnTo>
                  <a:pt x="80" y="106"/>
                </a:lnTo>
                <a:lnTo>
                  <a:pt x="80" y="102"/>
                </a:lnTo>
                <a:lnTo>
                  <a:pt x="78" y="101"/>
                </a:lnTo>
                <a:lnTo>
                  <a:pt x="78" y="100"/>
                </a:lnTo>
                <a:lnTo>
                  <a:pt x="77" y="99"/>
                </a:lnTo>
                <a:lnTo>
                  <a:pt x="78" y="96"/>
                </a:lnTo>
                <a:lnTo>
                  <a:pt x="78" y="92"/>
                </a:lnTo>
                <a:lnTo>
                  <a:pt x="75" y="92"/>
                </a:lnTo>
                <a:lnTo>
                  <a:pt x="74" y="90"/>
                </a:lnTo>
                <a:lnTo>
                  <a:pt x="74" y="88"/>
                </a:lnTo>
                <a:lnTo>
                  <a:pt x="72" y="87"/>
                </a:lnTo>
                <a:lnTo>
                  <a:pt x="72" y="88"/>
                </a:lnTo>
                <a:lnTo>
                  <a:pt x="71" y="88"/>
                </a:lnTo>
                <a:lnTo>
                  <a:pt x="71" y="89"/>
                </a:lnTo>
                <a:lnTo>
                  <a:pt x="70" y="89"/>
                </a:lnTo>
                <a:lnTo>
                  <a:pt x="70" y="87"/>
                </a:lnTo>
                <a:lnTo>
                  <a:pt x="71" y="87"/>
                </a:lnTo>
                <a:lnTo>
                  <a:pt x="71" y="84"/>
                </a:lnTo>
                <a:lnTo>
                  <a:pt x="70" y="82"/>
                </a:lnTo>
                <a:lnTo>
                  <a:pt x="70" y="78"/>
                </a:lnTo>
                <a:lnTo>
                  <a:pt x="71" y="77"/>
                </a:lnTo>
                <a:lnTo>
                  <a:pt x="72" y="77"/>
                </a:lnTo>
                <a:lnTo>
                  <a:pt x="72" y="76"/>
                </a:lnTo>
                <a:lnTo>
                  <a:pt x="71" y="75"/>
                </a:lnTo>
                <a:lnTo>
                  <a:pt x="72" y="74"/>
                </a:lnTo>
                <a:lnTo>
                  <a:pt x="75" y="75"/>
                </a:lnTo>
                <a:lnTo>
                  <a:pt x="76" y="75"/>
                </a:lnTo>
                <a:lnTo>
                  <a:pt x="77" y="74"/>
                </a:lnTo>
                <a:lnTo>
                  <a:pt x="80" y="74"/>
                </a:lnTo>
                <a:lnTo>
                  <a:pt x="82" y="75"/>
                </a:lnTo>
                <a:lnTo>
                  <a:pt x="83" y="75"/>
                </a:lnTo>
                <a:lnTo>
                  <a:pt x="83" y="74"/>
                </a:lnTo>
                <a:lnTo>
                  <a:pt x="82" y="72"/>
                </a:lnTo>
                <a:lnTo>
                  <a:pt x="83" y="71"/>
                </a:lnTo>
                <a:lnTo>
                  <a:pt x="84" y="71"/>
                </a:lnTo>
                <a:lnTo>
                  <a:pt x="86" y="72"/>
                </a:lnTo>
                <a:lnTo>
                  <a:pt x="87" y="72"/>
                </a:lnTo>
                <a:lnTo>
                  <a:pt x="84" y="70"/>
                </a:lnTo>
                <a:lnTo>
                  <a:pt x="83" y="70"/>
                </a:lnTo>
                <a:lnTo>
                  <a:pt x="82" y="71"/>
                </a:lnTo>
                <a:lnTo>
                  <a:pt x="81" y="70"/>
                </a:lnTo>
                <a:lnTo>
                  <a:pt x="74" y="70"/>
                </a:lnTo>
                <a:lnTo>
                  <a:pt x="74" y="71"/>
                </a:lnTo>
                <a:lnTo>
                  <a:pt x="70" y="71"/>
                </a:lnTo>
                <a:lnTo>
                  <a:pt x="68" y="72"/>
                </a:lnTo>
                <a:lnTo>
                  <a:pt x="69" y="69"/>
                </a:lnTo>
                <a:lnTo>
                  <a:pt x="71" y="69"/>
                </a:lnTo>
                <a:lnTo>
                  <a:pt x="72" y="68"/>
                </a:lnTo>
                <a:lnTo>
                  <a:pt x="69" y="64"/>
                </a:lnTo>
                <a:lnTo>
                  <a:pt x="69" y="63"/>
                </a:lnTo>
                <a:lnTo>
                  <a:pt x="68" y="61"/>
                </a:lnTo>
                <a:lnTo>
                  <a:pt x="68" y="59"/>
                </a:lnTo>
                <a:lnTo>
                  <a:pt x="69" y="58"/>
                </a:lnTo>
                <a:lnTo>
                  <a:pt x="71" y="58"/>
                </a:lnTo>
                <a:lnTo>
                  <a:pt x="72" y="57"/>
                </a:lnTo>
                <a:lnTo>
                  <a:pt x="75" y="57"/>
                </a:lnTo>
                <a:lnTo>
                  <a:pt x="76" y="56"/>
                </a:lnTo>
                <a:lnTo>
                  <a:pt x="76" y="52"/>
                </a:lnTo>
                <a:lnTo>
                  <a:pt x="75" y="52"/>
                </a:lnTo>
                <a:lnTo>
                  <a:pt x="75" y="53"/>
                </a:lnTo>
                <a:lnTo>
                  <a:pt x="74" y="53"/>
                </a:lnTo>
                <a:lnTo>
                  <a:pt x="74" y="56"/>
                </a:lnTo>
                <a:lnTo>
                  <a:pt x="72" y="56"/>
                </a:lnTo>
                <a:lnTo>
                  <a:pt x="72" y="55"/>
                </a:lnTo>
                <a:lnTo>
                  <a:pt x="69" y="53"/>
                </a:lnTo>
                <a:lnTo>
                  <a:pt x="68" y="51"/>
                </a:lnTo>
                <a:lnTo>
                  <a:pt x="69" y="51"/>
                </a:lnTo>
                <a:lnTo>
                  <a:pt x="68" y="50"/>
                </a:lnTo>
                <a:lnTo>
                  <a:pt x="69" y="49"/>
                </a:lnTo>
                <a:lnTo>
                  <a:pt x="70" y="46"/>
                </a:lnTo>
                <a:lnTo>
                  <a:pt x="71" y="46"/>
                </a:lnTo>
                <a:lnTo>
                  <a:pt x="72" y="47"/>
                </a:lnTo>
                <a:lnTo>
                  <a:pt x="72" y="43"/>
                </a:lnTo>
                <a:lnTo>
                  <a:pt x="70" y="35"/>
                </a:lnTo>
                <a:lnTo>
                  <a:pt x="72" y="34"/>
                </a:lnTo>
                <a:lnTo>
                  <a:pt x="75" y="34"/>
                </a:lnTo>
                <a:lnTo>
                  <a:pt x="76" y="33"/>
                </a:lnTo>
                <a:lnTo>
                  <a:pt x="77" y="33"/>
                </a:lnTo>
                <a:lnTo>
                  <a:pt x="77" y="32"/>
                </a:lnTo>
                <a:lnTo>
                  <a:pt x="78" y="32"/>
                </a:lnTo>
                <a:lnTo>
                  <a:pt x="81" y="34"/>
                </a:lnTo>
                <a:lnTo>
                  <a:pt x="82" y="34"/>
                </a:lnTo>
                <a:lnTo>
                  <a:pt x="82" y="32"/>
                </a:lnTo>
                <a:lnTo>
                  <a:pt x="81" y="32"/>
                </a:lnTo>
                <a:lnTo>
                  <a:pt x="82" y="31"/>
                </a:lnTo>
                <a:lnTo>
                  <a:pt x="82" y="29"/>
                </a:lnTo>
                <a:lnTo>
                  <a:pt x="86" y="29"/>
                </a:lnTo>
                <a:lnTo>
                  <a:pt x="88" y="31"/>
                </a:lnTo>
                <a:lnTo>
                  <a:pt x="90" y="31"/>
                </a:lnTo>
                <a:lnTo>
                  <a:pt x="91" y="29"/>
                </a:lnTo>
                <a:lnTo>
                  <a:pt x="94" y="29"/>
                </a:lnTo>
                <a:lnTo>
                  <a:pt x="96" y="32"/>
                </a:lnTo>
                <a:lnTo>
                  <a:pt x="96" y="28"/>
                </a:lnTo>
                <a:lnTo>
                  <a:pt x="94" y="25"/>
                </a:lnTo>
                <a:lnTo>
                  <a:pt x="94" y="21"/>
                </a:lnTo>
                <a:lnTo>
                  <a:pt x="96" y="21"/>
                </a:lnTo>
                <a:lnTo>
                  <a:pt x="100" y="25"/>
                </a:lnTo>
                <a:lnTo>
                  <a:pt x="102" y="25"/>
                </a:lnTo>
                <a:lnTo>
                  <a:pt x="102" y="24"/>
                </a:lnTo>
                <a:lnTo>
                  <a:pt x="101" y="21"/>
                </a:lnTo>
                <a:lnTo>
                  <a:pt x="100" y="21"/>
                </a:lnTo>
                <a:lnTo>
                  <a:pt x="101" y="20"/>
                </a:lnTo>
                <a:lnTo>
                  <a:pt x="105" y="20"/>
                </a:lnTo>
                <a:lnTo>
                  <a:pt x="106" y="19"/>
                </a:lnTo>
                <a:lnTo>
                  <a:pt x="107" y="15"/>
                </a:lnTo>
                <a:lnTo>
                  <a:pt x="109" y="14"/>
                </a:lnTo>
                <a:lnTo>
                  <a:pt x="111" y="14"/>
                </a:lnTo>
                <a:lnTo>
                  <a:pt x="112" y="15"/>
                </a:lnTo>
                <a:lnTo>
                  <a:pt x="113" y="18"/>
                </a:lnTo>
                <a:lnTo>
                  <a:pt x="114" y="18"/>
                </a:lnTo>
                <a:lnTo>
                  <a:pt x="115" y="16"/>
                </a:lnTo>
                <a:lnTo>
                  <a:pt x="116" y="16"/>
                </a:lnTo>
                <a:lnTo>
                  <a:pt x="119" y="18"/>
                </a:lnTo>
                <a:lnTo>
                  <a:pt x="120" y="18"/>
                </a:lnTo>
                <a:lnTo>
                  <a:pt x="120" y="16"/>
                </a:lnTo>
                <a:lnTo>
                  <a:pt x="119" y="16"/>
                </a:lnTo>
                <a:lnTo>
                  <a:pt x="119" y="15"/>
                </a:lnTo>
                <a:lnTo>
                  <a:pt x="120" y="15"/>
                </a:lnTo>
                <a:lnTo>
                  <a:pt x="121" y="14"/>
                </a:lnTo>
                <a:lnTo>
                  <a:pt x="121" y="13"/>
                </a:lnTo>
                <a:lnTo>
                  <a:pt x="124" y="15"/>
                </a:lnTo>
                <a:lnTo>
                  <a:pt x="124" y="18"/>
                </a:lnTo>
                <a:lnTo>
                  <a:pt x="125" y="18"/>
                </a:lnTo>
                <a:lnTo>
                  <a:pt x="126" y="16"/>
                </a:lnTo>
                <a:lnTo>
                  <a:pt x="127" y="14"/>
                </a:lnTo>
                <a:lnTo>
                  <a:pt x="127" y="12"/>
                </a:lnTo>
                <a:lnTo>
                  <a:pt x="126" y="12"/>
                </a:lnTo>
                <a:lnTo>
                  <a:pt x="126" y="8"/>
                </a:lnTo>
                <a:lnTo>
                  <a:pt x="127" y="7"/>
                </a:lnTo>
                <a:lnTo>
                  <a:pt x="128" y="8"/>
                </a:lnTo>
                <a:lnTo>
                  <a:pt x="131" y="12"/>
                </a:lnTo>
                <a:lnTo>
                  <a:pt x="132" y="13"/>
                </a:lnTo>
                <a:lnTo>
                  <a:pt x="136" y="12"/>
                </a:lnTo>
                <a:lnTo>
                  <a:pt x="137" y="12"/>
                </a:lnTo>
                <a:lnTo>
                  <a:pt x="138" y="13"/>
                </a:lnTo>
                <a:lnTo>
                  <a:pt x="140" y="13"/>
                </a:lnTo>
                <a:lnTo>
                  <a:pt x="139" y="10"/>
                </a:lnTo>
                <a:lnTo>
                  <a:pt x="142" y="10"/>
                </a:lnTo>
                <a:lnTo>
                  <a:pt x="143" y="12"/>
                </a:lnTo>
                <a:lnTo>
                  <a:pt x="152" y="14"/>
                </a:lnTo>
                <a:lnTo>
                  <a:pt x="152" y="12"/>
                </a:lnTo>
                <a:lnTo>
                  <a:pt x="153" y="10"/>
                </a:lnTo>
                <a:lnTo>
                  <a:pt x="158" y="10"/>
                </a:lnTo>
                <a:lnTo>
                  <a:pt x="158" y="9"/>
                </a:lnTo>
                <a:lnTo>
                  <a:pt x="157" y="9"/>
                </a:lnTo>
                <a:lnTo>
                  <a:pt x="156" y="8"/>
                </a:lnTo>
                <a:lnTo>
                  <a:pt x="156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6" name="Freeform 47">
            <a:extLst>
              <a:ext uri="{FF2B5EF4-FFF2-40B4-BE49-F238E27FC236}">
                <a16:creationId xmlns:a16="http://schemas.microsoft.com/office/drawing/2014/main" id="{D727B8E4-ABD1-403B-BEB5-2E79E479FD86}"/>
              </a:ext>
            </a:extLst>
          </p:cNvPr>
          <p:cNvSpPr>
            <a:spLocks noEditPoints="1"/>
          </p:cNvSpPr>
          <p:nvPr/>
        </p:nvSpPr>
        <p:spPr bwMode="auto">
          <a:xfrm>
            <a:off x="1725785" y="3910542"/>
            <a:ext cx="431784" cy="349195"/>
          </a:xfrm>
          <a:custGeom>
            <a:avLst/>
            <a:gdLst/>
            <a:ahLst/>
            <a:cxnLst>
              <a:cxn ang="0">
                <a:pos x="101" y="217"/>
              </a:cxn>
              <a:cxn ang="0">
                <a:pos x="186" y="213"/>
              </a:cxn>
              <a:cxn ang="0">
                <a:pos x="176" y="204"/>
              </a:cxn>
              <a:cxn ang="0">
                <a:pos x="71" y="210"/>
              </a:cxn>
              <a:cxn ang="0">
                <a:pos x="23" y="198"/>
              </a:cxn>
              <a:cxn ang="0">
                <a:pos x="117" y="206"/>
              </a:cxn>
              <a:cxn ang="0">
                <a:pos x="20" y="203"/>
              </a:cxn>
              <a:cxn ang="0">
                <a:pos x="296" y="206"/>
              </a:cxn>
              <a:cxn ang="0">
                <a:pos x="68" y="176"/>
              </a:cxn>
              <a:cxn ang="0">
                <a:pos x="102" y="169"/>
              </a:cxn>
              <a:cxn ang="0">
                <a:pos x="111" y="171"/>
              </a:cxn>
              <a:cxn ang="0">
                <a:pos x="115" y="196"/>
              </a:cxn>
              <a:cxn ang="0">
                <a:pos x="87" y="198"/>
              </a:cxn>
              <a:cxn ang="0">
                <a:pos x="73" y="180"/>
              </a:cxn>
              <a:cxn ang="0">
                <a:pos x="190" y="167"/>
              </a:cxn>
              <a:cxn ang="0">
                <a:pos x="108" y="151"/>
              </a:cxn>
              <a:cxn ang="0">
                <a:pos x="183" y="127"/>
              </a:cxn>
              <a:cxn ang="0">
                <a:pos x="186" y="163"/>
              </a:cxn>
              <a:cxn ang="0">
                <a:pos x="170" y="197"/>
              </a:cxn>
              <a:cxn ang="0">
                <a:pos x="163" y="209"/>
              </a:cxn>
              <a:cxn ang="0">
                <a:pos x="164" y="240"/>
              </a:cxn>
              <a:cxn ang="0">
                <a:pos x="142" y="237"/>
              </a:cxn>
              <a:cxn ang="0">
                <a:pos x="140" y="219"/>
              </a:cxn>
              <a:cxn ang="0">
                <a:pos x="153" y="213"/>
              </a:cxn>
              <a:cxn ang="0">
                <a:pos x="153" y="194"/>
              </a:cxn>
              <a:cxn ang="0">
                <a:pos x="132" y="184"/>
              </a:cxn>
              <a:cxn ang="0">
                <a:pos x="127" y="163"/>
              </a:cxn>
              <a:cxn ang="0">
                <a:pos x="139" y="153"/>
              </a:cxn>
              <a:cxn ang="0">
                <a:pos x="153" y="142"/>
              </a:cxn>
              <a:cxn ang="0">
                <a:pos x="155" y="160"/>
              </a:cxn>
              <a:cxn ang="0">
                <a:pos x="161" y="160"/>
              </a:cxn>
              <a:cxn ang="0">
                <a:pos x="45" y="85"/>
              </a:cxn>
              <a:cxn ang="0">
                <a:pos x="147" y="83"/>
              </a:cxn>
              <a:cxn ang="0">
                <a:pos x="33" y="69"/>
              </a:cxn>
              <a:cxn ang="0">
                <a:pos x="20" y="74"/>
              </a:cxn>
              <a:cxn ang="0">
                <a:pos x="79" y="54"/>
              </a:cxn>
              <a:cxn ang="0">
                <a:pos x="127" y="38"/>
              </a:cxn>
              <a:cxn ang="0">
                <a:pos x="99" y="13"/>
              </a:cxn>
              <a:cxn ang="0">
                <a:pos x="95" y="81"/>
              </a:cxn>
              <a:cxn ang="0">
                <a:pos x="96" y="90"/>
              </a:cxn>
              <a:cxn ang="0">
                <a:pos x="109" y="117"/>
              </a:cxn>
              <a:cxn ang="0">
                <a:pos x="101" y="114"/>
              </a:cxn>
              <a:cxn ang="0">
                <a:pos x="89" y="143"/>
              </a:cxn>
              <a:cxn ang="0">
                <a:pos x="76" y="158"/>
              </a:cxn>
              <a:cxn ang="0">
                <a:pos x="60" y="173"/>
              </a:cxn>
              <a:cxn ang="0">
                <a:pos x="61" y="196"/>
              </a:cxn>
              <a:cxn ang="0">
                <a:pos x="70" y="210"/>
              </a:cxn>
              <a:cxn ang="0">
                <a:pos x="60" y="219"/>
              </a:cxn>
              <a:cxn ang="0">
                <a:pos x="24" y="203"/>
              </a:cxn>
              <a:cxn ang="0">
                <a:pos x="8" y="171"/>
              </a:cxn>
              <a:cxn ang="0">
                <a:pos x="9" y="146"/>
              </a:cxn>
              <a:cxn ang="0">
                <a:pos x="5" y="85"/>
              </a:cxn>
              <a:cxn ang="0">
                <a:pos x="28" y="92"/>
              </a:cxn>
              <a:cxn ang="0">
                <a:pos x="43" y="77"/>
              </a:cxn>
              <a:cxn ang="0">
                <a:pos x="49" y="92"/>
              </a:cxn>
              <a:cxn ang="0">
                <a:pos x="48" y="80"/>
              </a:cxn>
              <a:cxn ang="0">
                <a:pos x="64" y="61"/>
              </a:cxn>
              <a:cxn ang="0">
                <a:pos x="48" y="57"/>
              </a:cxn>
              <a:cxn ang="0">
                <a:pos x="25" y="62"/>
              </a:cxn>
              <a:cxn ang="0">
                <a:pos x="17" y="84"/>
              </a:cxn>
              <a:cxn ang="0">
                <a:pos x="16" y="57"/>
              </a:cxn>
              <a:cxn ang="0">
                <a:pos x="79" y="12"/>
              </a:cxn>
            </a:cxnLst>
            <a:rect l="0" t="0" r="r" b="b"/>
            <a:pathLst>
              <a:path w="298" h="241">
                <a:moveTo>
                  <a:pt x="77" y="216"/>
                </a:moveTo>
                <a:lnTo>
                  <a:pt x="79" y="219"/>
                </a:lnTo>
                <a:lnTo>
                  <a:pt x="80" y="219"/>
                </a:lnTo>
                <a:lnTo>
                  <a:pt x="79" y="220"/>
                </a:lnTo>
                <a:lnTo>
                  <a:pt x="78" y="219"/>
                </a:lnTo>
                <a:lnTo>
                  <a:pt x="77" y="219"/>
                </a:lnTo>
                <a:lnTo>
                  <a:pt x="76" y="217"/>
                </a:lnTo>
                <a:lnTo>
                  <a:pt x="77" y="216"/>
                </a:lnTo>
                <a:close/>
                <a:moveTo>
                  <a:pt x="89" y="212"/>
                </a:moveTo>
                <a:lnTo>
                  <a:pt x="90" y="212"/>
                </a:lnTo>
                <a:lnTo>
                  <a:pt x="93" y="214"/>
                </a:lnTo>
                <a:lnTo>
                  <a:pt x="95" y="215"/>
                </a:lnTo>
                <a:lnTo>
                  <a:pt x="95" y="216"/>
                </a:lnTo>
                <a:lnTo>
                  <a:pt x="96" y="216"/>
                </a:lnTo>
                <a:lnTo>
                  <a:pt x="96" y="217"/>
                </a:lnTo>
                <a:lnTo>
                  <a:pt x="97" y="217"/>
                </a:lnTo>
                <a:lnTo>
                  <a:pt x="97" y="215"/>
                </a:lnTo>
                <a:lnTo>
                  <a:pt x="98" y="216"/>
                </a:lnTo>
                <a:lnTo>
                  <a:pt x="98" y="219"/>
                </a:lnTo>
                <a:lnTo>
                  <a:pt x="101" y="219"/>
                </a:lnTo>
                <a:lnTo>
                  <a:pt x="101" y="217"/>
                </a:lnTo>
                <a:lnTo>
                  <a:pt x="102" y="217"/>
                </a:lnTo>
                <a:lnTo>
                  <a:pt x="102" y="220"/>
                </a:lnTo>
                <a:lnTo>
                  <a:pt x="103" y="220"/>
                </a:lnTo>
                <a:lnTo>
                  <a:pt x="99" y="221"/>
                </a:lnTo>
                <a:lnTo>
                  <a:pt x="98" y="222"/>
                </a:lnTo>
                <a:lnTo>
                  <a:pt x="97" y="222"/>
                </a:lnTo>
                <a:lnTo>
                  <a:pt x="90" y="214"/>
                </a:lnTo>
                <a:lnTo>
                  <a:pt x="89" y="212"/>
                </a:lnTo>
                <a:close/>
                <a:moveTo>
                  <a:pt x="154" y="204"/>
                </a:moveTo>
                <a:lnTo>
                  <a:pt x="155" y="206"/>
                </a:lnTo>
                <a:lnTo>
                  <a:pt x="154" y="206"/>
                </a:lnTo>
                <a:lnTo>
                  <a:pt x="154" y="204"/>
                </a:lnTo>
                <a:close/>
                <a:moveTo>
                  <a:pt x="176" y="204"/>
                </a:moveTo>
                <a:lnTo>
                  <a:pt x="177" y="204"/>
                </a:lnTo>
                <a:lnTo>
                  <a:pt x="178" y="207"/>
                </a:lnTo>
                <a:lnTo>
                  <a:pt x="183" y="207"/>
                </a:lnTo>
                <a:lnTo>
                  <a:pt x="186" y="208"/>
                </a:lnTo>
                <a:lnTo>
                  <a:pt x="188" y="209"/>
                </a:lnTo>
                <a:lnTo>
                  <a:pt x="189" y="212"/>
                </a:lnTo>
                <a:lnTo>
                  <a:pt x="189" y="213"/>
                </a:lnTo>
                <a:lnTo>
                  <a:pt x="186" y="213"/>
                </a:lnTo>
                <a:lnTo>
                  <a:pt x="182" y="212"/>
                </a:lnTo>
                <a:lnTo>
                  <a:pt x="180" y="213"/>
                </a:lnTo>
                <a:lnTo>
                  <a:pt x="178" y="213"/>
                </a:lnTo>
                <a:lnTo>
                  <a:pt x="177" y="214"/>
                </a:lnTo>
                <a:lnTo>
                  <a:pt x="174" y="217"/>
                </a:lnTo>
                <a:lnTo>
                  <a:pt x="173" y="217"/>
                </a:lnTo>
                <a:lnTo>
                  <a:pt x="170" y="216"/>
                </a:lnTo>
                <a:lnTo>
                  <a:pt x="170" y="215"/>
                </a:lnTo>
                <a:lnTo>
                  <a:pt x="171" y="215"/>
                </a:lnTo>
                <a:lnTo>
                  <a:pt x="171" y="213"/>
                </a:lnTo>
                <a:lnTo>
                  <a:pt x="172" y="212"/>
                </a:lnTo>
                <a:lnTo>
                  <a:pt x="173" y="212"/>
                </a:lnTo>
                <a:lnTo>
                  <a:pt x="173" y="210"/>
                </a:lnTo>
                <a:lnTo>
                  <a:pt x="174" y="210"/>
                </a:lnTo>
                <a:lnTo>
                  <a:pt x="174" y="212"/>
                </a:lnTo>
                <a:lnTo>
                  <a:pt x="176" y="212"/>
                </a:lnTo>
                <a:lnTo>
                  <a:pt x="177" y="210"/>
                </a:lnTo>
                <a:lnTo>
                  <a:pt x="177" y="208"/>
                </a:lnTo>
                <a:lnTo>
                  <a:pt x="178" y="208"/>
                </a:lnTo>
                <a:lnTo>
                  <a:pt x="176" y="206"/>
                </a:lnTo>
                <a:lnTo>
                  <a:pt x="176" y="204"/>
                </a:lnTo>
                <a:close/>
                <a:moveTo>
                  <a:pt x="153" y="204"/>
                </a:moveTo>
                <a:lnTo>
                  <a:pt x="154" y="204"/>
                </a:lnTo>
                <a:lnTo>
                  <a:pt x="153" y="204"/>
                </a:lnTo>
                <a:close/>
                <a:moveTo>
                  <a:pt x="68" y="203"/>
                </a:moveTo>
                <a:lnTo>
                  <a:pt x="72" y="203"/>
                </a:lnTo>
                <a:lnTo>
                  <a:pt x="74" y="207"/>
                </a:lnTo>
                <a:lnTo>
                  <a:pt x="76" y="207"/>
                </a:lnTo>
                <a:lnTo>
                  <a:pt x="78" y="208"/>
                </a:lnTo>
                <a:lnTo>
                  <a:pt x="79" y="208"/>
                </a:lnTo>
                <a:lnTo>
                  <a:pt x="80" y="209"/>
                </a:lnTo>
                <a:lnTo>
                  <a:pt x="81" y="212"/>
                </a:lnTo>
                <a:lnTo>
                  <a:pt x="81" y="213"/>
                </a:lnTo>
                <a:lnTo>
                  <a:pt x="84" y="217"/>
                </a:lnTo>
                <a:lnTo>
                  <a:pt x="83" y="219"/>
                </a:lnTo>
                <a:lnTo>
                  <a:pt x="80" y="219"/>
                </a:lnTo>
                <a:lnTo>
                  <a:pt x="77" y="215"/>
                </a:lnTo>
                <a:lnTo>
                  <a:pt x="76" y="215"/>
                </a:lnTo>
                <a:lnTo>
                  <a:pt x="76" y="216"/>
                </a:lnTo>
                <a:lnTo>
                  <a:pt x="73" y="216"/>
                </a:lnTo>
                <a:lnTo>
                  <a:pt x="71" y="214"/>
                </a:lnTo>
                <a:lnTo>
                  <a:pt x="71" y="210"/>
                </a:lnTo>
                <a:lnTo>
                  <a:pt x="73" y="213"/>
                </a:lnTo>
                <a:lnTo>
                  <a:pt x="74" y="213"/>
                </a:lnTo>
                <a:lnTo>
                  <a:pt x="74" y="212"/>
                </a:lnTo>
                <a:lnTo>
                  <a:pt x="72" y="210"/>
                </a:lnTo>
                <a:lnTo>
                  <a:pt x="72" y="208"/>
                </a:lnTo>
                <a:lnTo>
                  <a:pt x="67" y="208"/>
                </a:lnTo>
                <a:lnTo>
                  <a:pt x="67" y="207"/>
                </a:lnTo>
                <a:lnTo>
                  <a:pt x="68" y="206"/>
                </a:lnTo>
                <a:lnTo>
                  <a:pt x="65" y="206"/>
                </a:lnTo>
                <a:lnTo>
                  <a:pt x="68" y="203"/>
                </a:lnTo>
                <a:close/>
                <a:moveTo>
                  <a:pt x="149" y="202"/>
                </a:moveTo>
                <a:lnTo>
                  <a:pt x="152" y="203"/>
                </a:lnTo>
                <a:lnTo>
                  <a:pt x="153" y="204"/>
                </a:lnTo>
                <a:lnTo>
                  <a:pt x="151" y="204"/>
                </a:lnTo>
                <a:lnTo>
                  <a:pt x="149" y="203"/>
                </a:lnTo>
                <a:lnTo>
                  <a:pt x="149" y="202"/>
                </a:lnTo>
                <a:close/>
                <a:moveTo>
                  <a:pt x="23" y="198"/>
                </a:moveTo>
                <a:lnTo>
                  <a:pt x="24" y="200"/>
                </a:lnTo>
                <a:lnTo>
                  <a:pt x="23" y="198"/>
                </a:lnTo>
                <a:close/>
                <a:moveTo>
                  <a:pt x="21" y="198"/>
                </a:moveTo>
                <a:lnTo>
                  <a:pt x="23" y="198"/>
                </a:lnTo>
                <a:lnTo>
                  <a:pt x="21" y="198"/>
                </a:lnTo>
                <a:close/>
                <a:moveTo>
                  <a:pt x="121" y="197"/>
                </a:moveTo>
                <a:lnTo>
                  <a:pt x="121" y="198"/>
                </a:lnTo>
                <a:lnTo>
                  <a:pt x="120" y="207"/>
                </a:lnTo>
                <a:lnTo>
                  <a:pt x="116" y="214"/>
                </a:lnTo>
                <a:lnTo>
                  <a:pt x="112" y="227"/>
                </a:lnTo>
                <a:lnTo>
                  <a:pt x="111" y="228"/>
                </a:lnTo>
                <a:lnTo>
                  <a:pt x="110" y="228"/>
                </a:lnTo>
                <a:lnTo>
                  <a:pt x="109" y="223"/>
                </a:lnTo>
                <a:lnTo>
                  <a:pt x="108" y="223"/>
                </a:lnTo>
                <a:lnTo>
                  <a:pt x="108" y="222"/>
                </a:lnTo>
                <a:lnTo>
                  <a:pt x="107" y="221"/>
                </a:lnTo>
                <a:lnTo>
                  <a:pt x="108" y="221"/>
                </a:lnTo>
                <a:lnTo>
                  <a:pt x="109" y="220"/>
                </a:lnTo>
                <a:lnTo>
                  <a:pt x="109" y="217"/>
                </a:lnTo>
                <a:lnTo>
                  <a:pt x="111" y="217"/>
                </a:lnTo>
                <a:lnTo>
                  <a:pt x="111" y="216"/>
                </a:lnTo>
                <a:lnTo>
                  <a:pt x="110" y="216"/>
                </a:lnTo>
                <a:lnTo>
                  <a:pt x="110" y="214"/>
                </a:lnTo>
                <a:lnTo>
                  <a:pt x="115" y="209"/>
                </a:lnTo>
                <a:lnTo>
                  <a:pt x="117" y="206"/>
                </a:lnTo>
                <a:lnTo>
                  <a:pt x="117" y="204"/>
                </a:lnTo>
                <a:lnTo>
                  <a:pt x="118" y="201"/>
                </a:lnTo>
                <a:lnTo>
                  <a:pt x="121" y="197"/>
                </a:lnTo>
                <a:close/>
                <a:moveTo>
                  <a:pt x="80" y="196"/>
                </a:moveTo>
                <a:lnTo>
                  <a:pt x="81" y="198"/>
                </a:lnTo>
                <a:lnTo>
                  <a:pt x="81" y="200"/>
                </a:lnTo>
                <a:lnTo>
                  <a:pt x="80" y="200"/>
                </a:lnTo>
                <a:lnTo>
                  <a:pt x="80" y="196"/>
                </a:lnTo>
                <a:close/>
                <a:moveTo>
                  <a:pt x="80" y="195"/>
                </a:moveTo>
                <a:lnTo>
                  <a:pt x="80" y="196"/>
                </a:lnTo>
                <a:lnTo>
                  <a:pt x="79" y="196"/>
                </a:lnTo>
                <a:lnTo>
                  <a:pt x="80" y="195"/>
                </a:lnTo>
                <a:close/>
                <a:moveTo>
                  <a:pt x="17" y="195"/>
                </a:moveTo>
                <a:lnTo>
                  <a:pt x="21" y="195"/>
                </a:lnTo>
                <a:lnTo>
                  <a:pt x="22" y="196"/>
                </a:lnTo>
                <a:lnTo>
                  <a:pt x="21" y="196"/>
                </a:lnTo>
                <a:lnTo>
                  <a:pt x="20" y="197"/>
                </a:lnTo>
                <a:lnTo>
                  <a:pt x="20" y="198"/>
                </a:lnTo>
                <a:lnTo>
                  <a:pt x="21" y="198"/>
                </a:lnTo>
                <a:lnTo>
                  <a:pt x="20" y="200"/>
                </a:lnTo>
                <a:lnTo>
                  <a:pt x="20" y="203"/>
                </a:lnTo>
                <a:lnTo>
                  <a:pt x="18" y="203"/>
                </a:lnTo>
                <a:lnTo>
                  <a:pt x="18" y="204"/>
                </a:lnTo>
                <a:lnTo>
                  <a:pt x="17" y="204"/>
                </a:lnTo>
                <a:lnTo>
                  <a:pt x="16" y="203"/>
                </a:lnTo>
                <a:lnTo>
                  <a:pt x="16" y="196"/>
                </a:lnTo>
                <a:lnTo>
                  <a:pt x="17" y="195"/>
                </a:lnTo>
                <a:close/>
                <a:moveTo>
                  <a:pt x="282" y="186"/>
                </a:moveTo>
                <a:lnTo>
                  <a:pt x="284" y="189"/>
                </a:lnTo>
                <a:lnTo>
                  <a:pt x="284" y="190"/>
                </a:lnTo>
                <a:lnTo>
                  <a:pt x="285" y="191"/>
                </a:lnTo>
                <a:lnTo>
                  <a:pt x="288" y="192"/>
                </a:lnTo>
                <a:lnTo>
                  <a:pt x="289" y="194"/>
                </a:lnTo>
                <a:lnTo>
                  <a:pt x="291" y="194"/>
                </a:lnTo>
                <a:lnTo>
                  <a:pt x="291" y="195"/>
                </a:lnTo>
                <a:lnTo>
                  <a:pt x="295" y="198"/>
                </a:lnTo>
                <a:lnTo>
                  <a:pt x="297" y="198"/>
                </a:lnTo>
                <a:lnTo>
                  <a:pt x="298" y="200"/>
                </a:lnTo>
                <a:lnTo>
                  <a:pt x="297" y="201"/>
                </a:lnTo>
                <a:lnTo>
                  <a:pt x="298" y="202"/>
                </a:lnTo>
                <a:lnTo>
                  <a:pt x="298" y="203"/>
                </a:lnTo>
                <a:lnTo>
                  <a:pt x="296" y="206"/>
                </a:lnTo>
                <a:lnTo>
                  <a:pt x="296" y="209"/>
                </a:lnTo>
                <a:lnTo>
                  <a:pt x="295" y="210"/>
                </a:lnTo>
                <a:lnTo>
                  <a:pt x="292" y="209"/>
                </a:lnTo>
                <a:lnTo>
                  <a:pt x="291" y="209"/>
                </a:lnTo>
                <a:lnTo>
                  <a:pt x="289" y="208"/>
                </a:lnTo>
                <a:lnTo>
                  <a:pt x="285" y="207"/>
                </a:lnTo>
                <a:lnTo>
                  <a:pt x="283" y="206"/>
                </a:lnTo>
                <a:lnTo>
                  <a:pt x="279" y="203"/>
                </a:lnTo>
                <a:lnTo>
                  <a:pt x="278" y="202"/>
                </a:lnTo>
                <a:lnTo>
                  <a:pt x="279" y="201"/>
                </a:lnTo>
                <a:lnTo>
                  <a:pt x="279" y="191"/>
                </a:lnTo>
                <a:lnTo>
                  <a:pt x="281" y="190"/>
                </a:lnTo>
                <a:lnTo>
                  <a:pt x="281" y="189"/>
                </a:lnTo>
                <a:lnTo>
                  <a:pt x="282" y="188"/>
                </a:lnTo>
                <a:lnTo>
                  <a:pt x="282" y="186"/>
                </a:lnTo>
                <a:close/>
                <a:moveTo>
                  <a:pt x="68" y="174"/>
                </a:moveTo>
                <a:lnTo>
                  <a:pt x="70" y="176"/>
                </a:lnTo>
                <a:lnTo>
                  <a:pt x="71" y="176"/>
                </a:lnTo>
                <a:lnTo>
                  <a:pt x="72" y="177"/>
                </a:lnTo>
                <a:lnTo>
                  <a:pt x="70" y="177"/>
                </a:lnTo>
                <a:lnTo>
                  <a:pt x="68" y="176"/>
                </a:lnTo>
                <a:lnTo>
                  <a:pt x="68" y="174"/>
                </a:lnTo>
                <a:close/>
                <a:moveTo>
                  <a:pt x="12" y="174"/>
                </a:moveTo>
                <a:lnTo>
                  <a:pt x="14" y="174"/>
                </a:lnTo>
                <a:lnTo>
                  <a:pt x="14" y="177"/>
                </a:lnTo>
                <a:lnTo>
                  <a:pt x="16" y="177"/>
                </a:lnTo>
                <a:lnTo>
                  <a:pt x="16" y="183"/>
                </a:lnTo>
                <a:lnTo>
                  <a:pt x="17" y="184"/>
                </a:lnTo>
                <a:lnTo>
                  <a:pt x="16" y="184"/>
                </a:lnTo>
                <a:lnTo>
                  <a:pt x="14" y="182"/>
                </a:lnTo>
                <a:lnTo>
                  <a:pt x="12" y="177"/>
                </a:lnTo>
                <a:lnTo>
                  <a:pt x="12" y="174"/>
                </a:lnTo>
                <a:close/>
                <a:moveTo>
                  <a:pt x="92" y="164"/>
                </a:moveTo>
                <a:lnTo>
                  <a:pt x="92" y="166"/>
                </a:lnTo>
                <a:lnTo>
                  <a:pt x="93" y="166"/>
                </a:lnTo>
                <a:lnTo>
                  <a:pt x="93" y="164"/>
                </a:lnTo>
                <a:lnTo>
                  <a:pt x="95" y="164"/>
                </a:lnTo>
                <a:lnTo>
                  <a:pt x="98" y="166"/>
                </a:lnTo>
                <a:lnTo>
                  <a:pt x="98" y="167"/>
                </a:lnTo>
                <a:lnTo>
                  <a:pt x="99" y="167"/>
                </a:lnTo>
                <a:lnTo>
                  <a:pt x="99" y="169"/>
                </a:lnTo>
                <a:lnTo>
                  <a:pt x="102" y="169"/>
                </a:lnTo>
                <a:lnTo>
                  <a:pt x="103" y="170"/>
                </a:lnTo>
                <a:lnTo>
                  <a:pt x="101" y="170"/>
                </a:lnTo>
                <a:lnTo>
                  <a:pt x="101" y="171"/>
                </a:lnTo>
                <a:lnTo>
                  <a:pt x="102" y="172"/>
                </a:lnTo>
                <a:lnTo>
                  <a:pt x="98" y="176"/>
                </a:lnTo>
                <a:lnTo>
                  <a:pt x="99" y="177"/>
                </a:lnTo>
                <a:lnTo>
                  <a:pt x="101" y="177"/>
                </a:lnTo>
                <a:lnTo>
                  <a:pt x="102" y="174"/>
                </a:lnTo>
                <a:lnTo>
                  <a:pt x="105" y="173"/>
                </a:lnTo>
                <a:lnTo>
                  <a:pt x="107" y="173"/>
                </a:lnTo>
                <a:lnTo>
                  <a:pt x="107" y="172"/>
                </a:lnTo>
                <a:lnTo>
                  <a:pt x="105" y="171"/>
                </a:lnTo>
                <a:lnTo>
                  <a:pt x="105" y="170"/>
                </a:lnTo>
                <a:lnTo>
                  <a:pt x="107" y="171"/>
                </a:lnTo>
                <a:lnTo>
                  <a:pt x="107" y="164"/>
                </a:lnTo>
                <a:lnTo>
                  <a:pt x="108" y="164"/>
                </a:lnTo>
                <a:lnTo>
                  <a:pt x="109" y="165"/>
                </a:lnTo>
                <a:lnTo>
                  <a:pt x="110" y="169"/>
                </a:lnTo>
                <a:lnTo>
                  <a:pt x="110" y="170"/>
                </a:lnTo>
                <a:lnTo>
                  <a:pt x="111" y="170"/>
                </a:lnTo>
                <a:lnTo>
                  <a:pt x="111" y="171"/>
                </a:lnTo>
                <a:lnTo>
                  <a:pt x="112" y="172"/>
                </a:lnTo>
                <a:lnTo>
                  <a:pt x="112" y="173"/>
                </a:lnTo>
                <a:lnTo>
                  <a:pt x="111" y="173"/>
                </a:lnTo>
                <a:lnTo>
                  <a:pt x="109" y="176"/>
                </a:lnTo>
                <a:lnTo>
                  <a:pt x="105" y="174"/>
                </a:lnTo>
                <a:lnTo>
                  <a:pt x="105" y="176"/>
                </a:lnTo>
                <a:lnTo>
                  <a:pt x="104" y="176"/>
                </a:lnTo>
                <a:lnTo>
                  <a:pt x="104" y="177"/>
                </a:lnTo>
                <a:lnTo>
                  <a:pt x="105" y="177"/>
                </a:lnTo>
                <a:lnTo>
                  <a:pt x="105" y="176"/>
                </a:lnTo>
                <a:lnTo>
                  <a:pt x="110" y="176"/>
                </a:lnTo>
                <a:lnTo>
                  <a:pt x="110" y="177"/>
                </a:lnTo>
                <a:lnTo>
                  <a:pt x="115" y="183"/>
                </a:lnTo>
                <a:lnTo>
                  <a:pt x="116" y="186"/>
                </a:lnTo>
                <a:lnTo>
                  <a:pt x="116" y="188"/>
                </a:lnTo>
                <a:lnTo>
                  <a:pt x="115" y="188"/>
                </a:lnTo>
                <a:lnTo>
                  <a:pt x="115" y="186"/>
                </a:lnTo>
                <a:lnTo>
                  <a:pt x="114" y="186"/>
                </a:lnTo>
                <a:lnTo>
                  <a:pt x="114" y="189"/>
                </a:lnTo>
                <a:lnTo>
                  <a:pt x="115" y="191"/>
                </a:lnTo>
                <a:lnTo>
                  <a:pt x="115" y="196"/>
                </a:lnTo>
                <a:lnTo>
                  <a:pt x="114" y="197"/>
                </a:lnTo>
                <a:lnTo>
                  <a:pt x="114" y="200"/>
                </a:lnTo>
                <a:lnTo>
                  <a:pt x="112" y="202"/>
                </a:lnTo>
                <a:lnTo>
                  <a:pt x="112" y="203"/>
                </a:lnTo>
                <a:lnTo>
                  <a:pt x="111" y="204"/>
                </a:lnTo>
                <a:lnTo>
                  <a:pt x="107" y="204"/>
                </a:lnTo>
                <a:lnTo>
                  <a:pt x="104" y="207"/>
                </a:lnTo>
                <a:lnTo>
                  <a:pt x="103" y="207"/>
                </a:lnTo>
                <a:lnTo>
                  <a:pt x="101" y="206"/>
                </a:lnTo>
                <a:lnTo>
                  <a:pt x="97" y="206"/>
                </a:lnTo>
                <a:lnTo>
                  <a:pt x="97" y="204"/>
                </a:lnTo>
                <a:lnTo>
                  <a:pt x="95" y="204"/>
                </a:lnTo>
                <a:lnTo>
                  <a:pt x="91" y="202"/>
                </a:lnTo>
                <a:lnTo>
                  <a:pt x="90" y="202"/>
                </a:lnTo>
                <a:lnTo>
                  <a:pt x="89" y="203"/>
                </a:lnTo>
                <a:lnTo>
                  <a:pt x="89" y="204"/>
                </a:lnTo>
                <a:lnTo>
                  <a:pt x="86" y="202"/>
                </a:lnTo>
                <a:lnTo>
                  <a:pt x="84" y="203"/>
                </a:lnTo>
                <a:lnTo>
                  <a:pt x="84" y="202"/>
                </a:lnTo>
                <a:lnTo>
                  <a:pt x="87" y="200"/>
                </a:lnTo>
                <a:lnTo>
                  <a:pt x="87" y="198"/>
                </a:lnTo>
                <a:lnTo>
                  <a:pt x="86" y="198"/>
                </a:lnTo>
                <a:lnTo>
                  <a:pt x="86" y="197"/>
                </a:lnTo>
                <a:lnTo>
                  <a:pt x="85" y="196"/>
                </a:lnTo>
                <a:lnTo>
                  <a:pt x="85" y="195"/>
                </a:lnTo>
                <a:lnTo>
                  <a:pt x="84" y="196"/>
                </a:lnTo>
                <a:lnTo>
                  <a:pt x="83" y="196"/>
                </a:lnTo>
                <a:lnTo>
                  <a:pt x="81" y="195"/>
                </a:lnTo>
                <a:lnTo>
                  <a:pt x="80" y="195"/>
                </a:lnTo>
                <a:lnTo>
                  <a:pt x="80" y="194"/>
                </a:lnTo>
                <a:lnTo>
                  <a:pt x="79" y="194"/>
                </a:lnTo>
                <a:lnTo>
                  <a:pt x="78" y="192"/>
                </a:lnTo>
                <a:lnTo>
                  <a:pt x="77" y="192"/>
                </a:lnTo>
                <a:lnTo>
                  <a:pt x="77" y="191"/>
                </a:lnTo>
                <a:lnTo>
                  <a:pt x="76" y="190"/>
                </a:lnTo>
                <a:lnTo>
                  <a:pt x="77" y="189"/>
                </a:lnTo>
                <a:lnTo>
                  <a:pt x="77" y="188"/>
                </a:lnTo>
                <a:lnTo>
                  <a:pt x="76" y="186"/>
                </a:lnTo>
                <a:lnTo>
                  <a:pt x="76" y="183"/>
                </a:lnTo>
                <a:lnTo>
                  <a:pt x="72" y="183"/>
                </a:lnTo>
                <a:lnTo>
                  <a:pt x="72" y="180"/>
                </a:lnTo>
                <a:lnTo>
                  <a:pt x="73" y="180"/>
                </a:lnTo>
                <a:lnTo>
                  <a:pt x="74" y="179"/>
                </a:lnTo>
                <a:lnTo>
                  <a:pt x="73" y="179"/>
                </a:lnTo>
                <a:lnTo>
                  <a:pt x="73" y="177"/>
                </a:lnTo>
                <a:lnTo>
                  <a:pt x="68" y="173"/>
                </a:lnTo>
                <a:lnTo>
                  <a:pt x="67" y="172"/>
                </a:lnTo>
                <a:lnTo>
                  <a:pt x="68" y="172"/>
                </a:lnTo>
                <a:lnTo>
                  <a:pt x="68" y="171"/>
                </a:lnTo>
                <a:lnTo>
                  <a:pt x="71" y="169"/>
                </a:lnTo>
                <a:lnTo>
                  <a:pt x="73" y="169"/>
                </a:lnTo>
                <a:lnTo>
                  <a:pt x="73" y="170"/>
                </a:lnTo>
                <a:lnTo>
                  <a:pt x="76" y="172"/>
                </a:lnTo>
                <a:lnTo>
                  <a:pt x="90" y="165"/>
                </a:lnTo>
                <a:lnTo>
                  <a:pt x="91" y="165"/>
                </a:lnTo>
                <a:lnTo>
                  <a:pt x="92" y="164"/>
                </a:lnTo>
                <a:close/>
                <a:moveTo>
                  <a:pt x="190" y="158"/>
                </a:moveTo>
                <a:lnTo>
                  <a:pt x="191" y="158"/>
                </a:lnTo>
                <a:lnTo>
                  <a:pt x="194" y="165"/>
                </a:lnTo>
                <a:lnTo>
                  <a:pt x="192" y="166"/>
                </a:lnTo>
                <a:lnTo>
                  <a:pt x="191" y="166"/>
                </a:lnTo>
                <a:lnTo>
                  <a:pt x="191" y="167"/>
                </a:lnTo>
                <a:lnTo>
                  <a:pt x="190" y="167"/>
                </a:lnTo>
                <a:lnTo>
                  <a:pt x="190" y="169"/>
                </a:lnTo>
                <a:lnTo>
                  <a:pt x="189" y="169"/>
                </a:lnTo>
                <a:lnTo>
                  <a:pt x="188" y="167"/>
                </a:lnTo>
                <a:lnTo>
                  <a:pt x="188" y="163"/>
                </a:lnTo>
                <a:lnTo>
                  <a:pt x="190" y="160"/>
                </a:lnTo>
                <a:lnTo>
                  <a:pt x="190" y="158"/>
                </a:lnTo>
                <a:close/>
                <a:moveTo>
                  <a:pt x="165" y="158"/>
                </a:moveTo>
                <a:lnTo>
                  <a:pt x="166" y="158"/>
                </a:lnTo>
                <a:lnTo>
                  <a:pt x="167" y="159"/>
                </a:lnTo>
                <a:lnTo>
                  <a:pt x="165" y="159"/>
                </a:lnTo>
                <a:lnTo>
                  <a:pt x="165" y="158"/>
                </a:lnTo>
                <a:close/>
                <a:moveTo>
                  <a:pt x="105" y="140"/>
                </a:moveTo>
                <a:lnTo>
                  <a:pt x="107" y="140"/>
                </a:lnTo>
                <a:lnTo>
                  <a:pt x="108" y="141"/>
                </a:lnTo>
                <a:lnTo>
                  <a:pt x="107" y="141"/>
                </a:lnTo>
                <a:lnTo>
                  <a:pt x="107" y="143"/>
                </a:lnTo>
                <a:lnTo>
                  <a:pt x="108" y="145"/>
                </a:lnTo>
                <a:lnTo>
                  <a:pt x="109" y="143"/>
                </a:lnTo>
                <a:lnTo>
                  <a:pt x="109" y="145"/>
                </a:lnTo>
                <a:lnTo>
                  <a:pt x="108" y="146"/>
                </a:lnTo>
                <a:lnTo>
                  <a:pt x="108" y="151"/>
                </a:lnTo>
                <a:lnTo>
                  <a:pt x="105" y="153"/>
                </a:lnTo>
                <a:lnTo>
                  <a:pt x="104" y="153"/>
                </a:lnTo>
                <a:lnTo>
                  <a:pt x="103" y="151"/>
                </a:lnTo>
                <a:lnTo>
                  <a:pt x="103" y="146"/>
                </a:lnTo>
                <a:lnTo>
                  <a:pt x="104" y="146"/>
                </a:lnTo>
                <a:lnTo>
                  <a:pt x="104" y="145"/>
                </a:lnTo>
                <a:lnTo>
                  <a:pt x="105" y="143"/>
                </a:lnTo>
                <a:lnTo>
                  <a:pt x="105" y="140"/>
                </a:lnTo>
                <a:close/>
                <a:moveTo>
                  <a:pt x="103" y="135"/>
                </a:moveTo>
                <a:lnTo>
                  <a:pt x="104" y="135"/>
                </a:lnTo>
                <a:lnTo>
                  <a:pt x="104" y="139"/>
                </a:lnTo>
                <a:lnTo>
                  <a:pt x="105" y="140"/>
                </a:lnTo>
                <a:lnTo>
                  <a:pt x="103" y="140"/>
                </a:lnTo>
                <a:lnTo>
                  <a:pt x="103" y="135"/>
                </a:lnTo>
                <a:close/>
                <a:moveTo>
                  <a:pt x="2" y="134"/>
                </a:moveTo>
                <a:lnTo>
                  <a:pt x="3" y="135"/>
                </a:lnTo>
                <a:lnTo>
                  <a:pt x="2" y="135"/>
                </a:lnTo>
                <a:lnTo>
                  <a:pt x="2" y="134"/>
                </a:lnTo>
                <a:close/>
                <a:moveTo>
                  <a:pt x="176" y="126"/>
                </a:moveTo>
                <a:lnTo>
                  <a:pt x="179" y="126"/>
                </a:lnTo>
                <a:lnTo>
                  <a:pt x="183" y="127"/>
                </a:lnTo>
                <a:lnTo>
                  <a:pt x="185" y="127"/>
                </a:lnTo>
                <a:lnTo>
                  <a:pt x="188" y="129"/>
                </a:lnTo>
                <a:lnTo>
                  <a:pt x="189" y="129"/>
                </a:lnTo>
                <a:lnTo>
                  <a:pt x="191" y="131"/>
                </a:lnTo>
                <a:lnTo>
                  <a:pt x="191" y="133"/>
                </a:lnTo>
                <a:lnTo>
                  <a:pt x="189" y="135"/>
                </a:lnTo>
                <a:lnTo>
                  <a:pt x="189" y="136"/>
                </a:lnTo>
                <a:lnTo>
                  <a:pt x="188" y="140"/>
                </a:lnTo>
                <a:lnTo>
                  <a:pt x="186" y="140"/>
                </a:lnTo>
                <a:lnTo>
                  <a:pt x="186" y="141"/>
                </a:lnTo>
                <a:lnTo>
                  <a:pt x="189" y="143"/>
                </a:lnTo>
                <a:lnTo>
                  <a:pt x="189" y="146"/>
                </a:lnTo>
                <a:lnTo>
                  <a:pt x="190" y="148"/>
                </a:lnTo>
                <a:lnTo>
                  <a:pt x="190" y="149"/>
                </a:lnTo>
                <a:lnTo>
                  <a:pt x="191" y="151"/>
                </a:lnTo>
                <a:lnTo>
                  <a:pt x="190" y="151"/>
                </a:lnTo>
                <a:lnTo>
                  <a:pt x="190" y="155"/>
                </a:lnTo>
                <a:lnTo>
                  <a:pt x="191" y="157"/>
                </a:lnTo>
                <a:lnTo>
                  <a:pt x="190" y="158"/>
                </a:lnTo>
                <a:lnTo>
                  <a:pt x="188" y="161"/>
                </a:lnTo>
                <a:lnTo>
                  <a:pt x="186" y="163"/>
                </a:lnTo>
                <a:lnTo>
                  <a:pt x="186" y="164"/>
                </a:lnTo>
                <a:lnTo>
                  <a:pt x="185" y="164"/>
                </a:lnTo>
                <a:lnTo>
                  <a:pt x="185" y="165"/>
                </a:lnTo>
                <a:lnTo>
                  <a:pt x="184" y="164"/>
                </a:lnTo>
                <a:lnTo>
                  <a:pt x="183" y="164"/>
                </a:lnTo>
                <a:lnTo>
                  <a:pt x="179" y="165"/>
                </a:lnTo>
                <a:lnTo>
                  <a:pt x="176" y="169"/>
                </a:lnTo>
                <a:lnTo>
                  <a:pt x="173" y="173"/>
                </a:lnTo>
                <a:lnTo>
                  <a:pt x="174" y="177"/>
                </a:lnTo>
                <a:lnTo>
                  <a:pt x="177" y="179"/>
                </a:lnTo>
                <a:lnTo>
                  <a:pt x="180" y="179"/>
                </a:lnTo>
                <a:lnTo>
                  <a:pt x="184" y="183"/>
                </a:lnTo>
                <a:lnTo>
                  <a:pt x="184" y="186"/>
                </a:lnTo>
                <a:lnTo>
                  <a:pt x="185" y="188"/>
                </a:lnTo>
                <a:lnTo>
                  <a:pt x="184" y="189"/>
                </a:lnTo>
                <a:lnTo>
                  <a:pt x="182" y="190"/>
                </a:lnTo>
                <a:lnTo>
                  <a:pt x="173" y="192"/>
                </a:lnTo>
                <a:lnTo>
                  <a:pt x="172" y="194"/>
                </a:lnTo>
                <a:lnTo>
                  <a:pt x="171" y="194"/>
                </a:lnTo>
                <a:lnTo>
                  <a:pt x="171" y="195"/>
                </a:lnTo>
                <a:lnTo>
                  <a:pt x="170" y="197"/>
                </a:lnTo>
                <a:lnTo>
                  <a:pt x="170" y="198"/>
                </a:lnTo>
                <a:lnTo>
                  <a:pt x="168" y="198"/>
                </a:lnTo>
                <a:lnTo>
                  <a:pt x="168" y="196"/>
                </a:lnTo>
                <a:lnTo>
                  <a:pt x="166" y="196"/>
                </a:lnTo>
                <a:lnTo>
                  <a:pt x="166" y="198"/>
                </a:lnTo>
                <a:lnTo>
                  <a:pt x="167" y="198"/>
                </a:lnTo>
                <a:lnTo>
                  <a:pt x="171" y="200"/>
                </a:lnTo>
                <a:lnTo>
                  <a:pt x="172" y="200"/>
                </a:lnTo>
                <a:lnTo>
                  <a:pt x="173" y="202"/>
                </a:lnTo>
                <a:lnTo>
                  <a:pt x="172" y="202"/>
                </a:lnTo>
                <a:lnTo>
                  <a:pt x="172" y="203"/>
                </a:lnTo>
                <a:lnTo>
                  <a:pt x="171" y="203"/>
                </a:lnTo>
                <a:lnTo>
                  <a:pt x="170" y="204"/>
                </a:lnTo>
                <a:lnTo>
                  <a:pt x="171" y="204"/>
                </a:lnTo>
                <a:lnTo>
                  <a:pt x="172" y="208"/>
                </a:lnTo>
                <a:lnTo>
                  <a:pt x="172" y="209"/>
                </a:lnTo>
                <a:lnTo>
                  <a:pt x="171" y="210"/>
                </a:lnTo>
                <a:lnTo>
                  <a:pt x="168" y="210"/>
                </a:lnTo>
                <a:lnTo>
                  <a:pt x="167" y="212"/>
                </a:lnTo>
                <a:lnTo>
                  <a:pt x="165" y="212"/>
                </a:lnTo>
                <a:lnTo>
                  <a:pt x="163" y="209"/>
                </a:lnTo>
                <a:lnTo>
                  <a:pt x="161" y="209"/>
                </a:lnTo>
                <a:lnTo>
                  <a:pt x="161" y="212"/>
                </a:lnTo>
                <a:lnTo>
                  <a:pt x="160" y="213"/>
                </a:lnTo>
                <a:lnTo>
                  <a:pt x="160" y="214"/>
                </a:lnTo>
                <a:lnTo>
                  <a:pt x="161" y="215"/>
                </a:lnTo>
                <a:lnTo>
                  <a:pt x="163" y="215"/>
                </a:lnTo>
                <a:lnTo>
                  <a:pt x="163" y="214"/>
                </a:lnTo>
                <a:lnTo>
                  <a:pt x="164" y="213"/>
                </a:lnTo>
                <a:lnTo>
                  <a:pt x="164" y="214"/>
                </a:lnTo>
                <a:lnTo>
                  <a:pt x="167" y="217"/>
                </a:lnTo>
                <a:lnTo>
                  <a:pt x="168" y="216"/>
                </a:lnTo>
                <a:lnTo>
                  <a:pt x="170" y="216"/>
                </a:lnTo>
                <a:lnTo>
                  <a:pt x="170" y="217"/>
                </a:lnTo>
                <a:lnTo>
                  <a:pt x="171" y="219"/>
                </a:lnTo>
                <a:lnTo>
                  <a:pt x="172" y="221"/>
                </a:lnTo>
                <a:lnTo>
                  <a:pt x="168" y="225"/>
                </a:lnTo>
                <a:lnTo>
                  <a:pt x="166" y="228"/>
                </a:lnTo>
                <a:lnTo>
                  <a:pt x="166" y="229"/>
                </a:lnTo>
                <a:lnTo>
                  <a:pt x="165" y="231"/>
                </a:lnTo>
                <a:lnTo>
                  <a:pt x="164" y="231"/>
                </a:lnTo>
                <a:lnTo>
                  <a:pt x="164" y="240"/>
                </a:lnTo>
                <a:lnTo>
                  <a:pt x="163" y="241"/>
                </a:lnTo>
                <a:lnTo>
                  <a:pt x="163" y="239"/>
                </a:lnTo>
                <a:lnTo>
                  <a:pt x="161" y="238"/>
                </a:lnTo>
                <a:lnTo>
                  <a:pt x="160" y="235"/>
                </a:lnTo>
                <a:lnTo>
                  <a:pt x="160" y="232"/>
                </a:lnTo>
                <a:lnTo>
                  <a:pt x="161" y="229"/>
                </a:lnTo>
                <a:lnTo>
                  <a:pt x="160" y="229"/>
                </a:lnTo>
                <a:lnTo>
                  <a:pt x="160" y="227"/>
                </a:lnTo>
                <a:lnTo>
                  <a:pt x="159" y="227"/>
                </a:lnTo>
                <a:lnTo>
                  <a:pt x="159" y="229"/>
                </a:lnTo>
                <a:lnTo>
                  <a:pt x="158" y="229"/>
                </a:lnTo>
                <a:lnTo>
                  <a:pt x="157" y="231"/>
                </a:lnTo>
                <a:lnTo>
                  <a:pt x="159" y="232"/>
                </a:lnTo>
                <a:lnTo>
                  <a:pt x="159" y="233"/>
                </a:lnTo>
                <a:lnTo>
                  <a:pt x="158" y="234"/>
                </a:lnTo>
                <a:lnTo>
                  <a:pt x="155" y="235"/>
                </a:lnTo>
                <a:lnTo>
                  <a:pt x="148" y="234"/>
                </a:lnTo>
                <a:lnTo>
                  <a:pt x="147" y="234"/>
                </a:lnTo>
                <a:lnTo>
                  <a:pt x="145" y="235"/>
                </a:lnTo>
                <a:lnTo>
                  <a:pt x="143" y="237"/>
                </a:lnTo>
                <a:lnTo>
                  <a:pt x="142" y="237"/>
                </a:lnTo>
                <a:lnTo>
                  <a:pt x="135" y="232"/>
                </a:lnTo>
                <a:lnTo>
                  <a:pt x="130" y="229"/>
                </a:lnTo>
                <a:lnTo>
                  <a:pt x="129" y="228"/>
                </a:lnTo>
                <a:lnTo>
                  <a:pt x="127" y="227"/>
                </a:lnTo>
                <a:lnTo>
                  <a:pt x="124" y="227"/>
                </a:lnTo>
                <a:lnTo>
                  <a:pt x="123" y="226"/>
                </a:lnTo>
                <a:lnTo>
                  <a:pt x="123" y="223"/>
                </a:lnTo>
                <a:lnTo>
                  <a:pt x="127" y="223"/>
                </a:lnTo>
                <a:lnTo>
                  <a:pt x="128" y="221"/>
                </a:lnTo>
                <a:lnTo>
                  <a:pt x="127" y="221"/>
                </a:lnTo>
                <a:lnTo>
                  <a:pt x="124" y="219"/>
                </a:lnTo>
                <a:lnTo>
                  <a:pt x="124" y="215"/>
                </a:lnTo>
                <a:lnTo>
                  <a:pt x="126" y="213"/>
                </a:lnTo>
                <a:lnTo>
                  <a:pt x="127" y="214"/>
                </a:lnTo>
                <a:lnTo>
                  <a:pt x="133" y="213"/>
                </a:lnTo>
                <a:lnTo>
                  <a:pt x="134" y="213"/>
                </a:lnTo>
                <a:lnTo>
                  <a:pt x="136" y="214"/>
                </a:lnTo>
                <a:lnTo>
                  <a:pt x="136" y="215"/>
                </a:lnTo>
                <a:lnTo>
                  <a:pt x="138" y="215"/>
                </a:lnTo>
                <a:lnTo>
                  <a:pt x="139" y="217"/>
                </a:lnTo>
                <a:lnTo>
                  <a:pt x="140" y="219"/>
                </a:lnTo>
                <a:lnTo>
                  <a:pt x="141" y="219"/>
                </a:lnTo>
                <a:lnTo>
                  <a:pt x="148" y="223"/>
                </a:lnTo>
                <a:lnTo>
                  <a:pt x="148" y="222"/>
                </a:lnTo>
                <a:lnTo>
                  <a:pt x="147" y="221"/>
                </a:lnTo>
                <a:lnTo>
                  <a:pt x="147" y="220"/>
                </a:lnTo>
                <a:lnTo>
                  <a:pt x="149" y="220"/>
                </a:lnTo>
                <a:lnTo>
                  <a:pt x="151" y="219"/>
                </a:lnTo>
                <a:lnTo>
                  <a:pt x="151" y="215"/>
                </a:lnTo>
                <a:lnTo>
                  <a:pt x="154" y="219"/>
                </a:lnTo>
                <a:lnTo>
                  <a:pt x="154" y="220"/>
                </a:lnTo>
                <a:lnTo>
                  <a:pt x="155" y="221"/>
                </a:lnTo>
                <a:lnTo>
                  <a:pt x="157" y="221"/>
                </a:lnTo>
                <a:lnTo>
                  <a:pt x="155" y="222"/>
                </a:lnTo>
                <a:lnTo>
                  <a:pt x="159" y="226"/>
                </a:lnTo>
                <a:lnTo>
                  <a:pt x="159" y="225"/>
                </a:lnTo>
                <a:lnTo>
                  <a:pt x="157" y="223"/>
                </a:lnTo>
                <a:lnTo>
                  <a:pt x="157" y="221"/>
                </a:lnTo>
                <a:lnTo>
                  <a:pt x="154" y="219"/>
                </a:lnTo>
                <a:lnTo>
                  <a:pt x="154" y="214"/>
                </a:lnTo>
                <a:lnTo>
                  <a:pt x="153" y="214"/>
                </a:lnTo>
                <a:lnTo>
                  <a:pt x="153" y="213"/>
                </a:lnTo>
                <a:lnTo>
                  <a:pt x="154" y="212"/>
                </a:lnTo>
                <a:lnTo>
                  <a:pt x="155" y="212"/>
                </a:lnTo>
                <a:lnTo>
                  <a:pt x="157" y="213"/>
                </a:lnTo>
                <a:lnTo>
                  <a:pt x="158" y="213"/>
                </a:lnTo>
                <a:lnTo>
                  <a:pt x="159" y="212"/>
                </a:lnTo>
                <a:lnTo>
                  <a:pt x="160" y="212"/>
                </a:lnTo>
                <a:lnTo>
                  <a:pt x="160" y="210"/>
                </a:lnTo>
                <a:lnTo>
                  <a:pt x="159" y="208"/>
                </a:lnTo>
                <a:lnTo>
                  <a:pt x="159" y="207"/>
                </a:lnTo>
                <a:lnTo>
                  <a:pt x="155" y="206"/>
                </a:lnTo>
                <a:lnTo>
                  <a:pt x="158" y="206"/>
                </a:lnTo>
                <a:lnTo>
                  <a:pt x="154" y="202"/>
                </a:lnTo>
                <a:lnTo>
                  <a:pt x="153" y="200"/>
                </a:lnTo>
                <a:lnTo>
                  <a:pt x="158" y="200"/>
                </a:lnTo>
                <a:lnTo>
                  <a:pt x="157" y="198"/>
                </a:lnTo>
                <a:lnTo>
                  <a:pt x="157" y="197"/>
                </a:lnTo>
                <a:lnTo>
                  <a:pt x="154" y="198"/>
                </a:lnTo>
                <a:lnTo>
                  <a:pt x="153" y="197"/>
                </a:lnTo>
                <a:lnTo>
                  <a:pt x="154" y="196"/>
                </a:lnTo>
                <a:lnTo>
                  <a:pt x="154" y="195"/>
                </a:lnTo>
                <a:lnTo>
                  <a:pt x="153" y="194"/>
                </a:lnTo>
                <a:lnTo>
                  <a:pt x="152" y="194"/>
                </a:lnTo>
                <a:lnTo>
                  <a:pt x="152" y="195"/>
                </a:lnTo>
                <a:lnTo>
                  <a:pt x="151" y="196"/>
                </a:lnTo>
                <a:lnTo>
                  <a:pt x="149" y="196"/>
                </a:lnTo>
                <a:lnTo>
                  <a:pt x="148" y="195"/>
                </a:lnTo>
                <a:lnTo>
                  <a:pt x="145" y="195"/>
                </a:lnTo>
                <a:lnTo>
                  <a:pt x="145" y="194"/>
                </a:lnTo>
                <a:lnTo>
                  <a:pt x="143" y="195"/>
                </a:lnTo>
                <a:lnTo>
                  <a:pt x="141" y="192"/>
                </a:lnTo>
                <a:lnTo>
                  <a:pt x="140" y="194"/>
                </a:lnTo>
                <a:lnTo>
                  <a:pt x="135" y="194"/>
                </a:lnTo>
                <a:lnTo>
                  <a:pt x="135" y="195"/>
                </a:lnTo>
                <a:lnTo>
                  <a:pt x="134" y="195"/>
                </a:lnTo>
                <a:lnTo>
                  <a:pt x="134" y="194"/>
                </a:lnTo>
                <a:lnTo>
                  <a:pt x="133" y="191"/>
                </a:lnTo>
                <a:lnTo>
                  <a:pt x="134" y="192"/>
                </a:lnTo>
                <a:lnTo>
                  <a:pt x="135" y="191"/>
                </a:lnTo>
                <a:lnTo>
                  <a:pt x="133" y="191"/>
                </a:lnTo>
                <a:lnTo>
                  <a:pt x="133" y="188"/>
                </a:lnTo>
                <a:lnTo>
                  <a:pt x="130" y="185"/>
                </a:lnTo>
                <a:lnTo>
                  <a:pt x="132" y="184"/>
                </a:lnTo>
                <a:lnTo>
                  <a:pt x="130" y="183"/>
                </a:lnTo>
                <a:lnTo>
                  <a:pt x="129" y="183"/>
                </a:lnTo>
                <a:lnTo>
                  <a:pt x="129" y="184"/>
                </a:lnTo>
                <a:lnTo>
                  <a:pt x="128" y="184"/>
                </a:lnTo>
                <a:lnTo>
                  <a:pt x="128" y="185"/>
                </a:lnTo>
                <a:lnTo>
                  <a:pt x="127" y="184"/>
                </a:lnTo>
                <a:lnTo>
                  <a:pt x="127" y="182"/>
                </a:lnTo>
                <a:lnTo>
                  <a:pt x="128" y="183"/>
                </a:lnTo>
                <a:lnTo>
                  <a:pt x="130" y="180"/>
                </a:lnTo>
                <a:lnTo>
                  <a:pt x="132" y="180"/>
                </a:lnTo>
                <a:lnTo>
                  <a:pt x="132" y="176"/>
                </a:lnTo>
                <a:lnTo>
                  <a:pt x="130" y="173"/>
                </a:lnTo>
                <a:lnTo>
                  <a:pt x="130" y="172"/>
                </a:lnTo>
                <a:lnTo>
                  <a:pt x="129" y="171"/>
                </a:lnTo>
                <a:lnTo>
                  <a:pt x="128" y="171"/>
                </a:lnTo>
                <a:lnTo>
                  <a:pt x="127" y="172"/>
                </a:lnTo>
                <a:lnTo>
                  <a:pt x="127" y="170"/>
                </a:lnTo>
                <a:lnTo>
                  <a:pt x="128" y="170"/>
                </a:lnTo>
                <a:lnTo>
                  <a:pt x="129" y="169"/>
                </a:lnTo>
                <a:lnTo>
                  <a:pt x="129" y="165"/>
                </a:lnTo>
                <a:lnTo>
                  <a:pt x="127" y="163"/>
                </a:lnTo>
                <a:lnTo>
                  <a:pt x="124" y="161"/>
                </a:lnTo>
                <a:lnTo>
                  <a:pt x="120" y="160"/>
                </a:lnTo>
                <a:lnTo>
                  <a:pt x="127" y="160"/>
                </a:lnTo>
                <a:lnTo>
                  <a:pt x="126" y="159"/>
                </a:lnTo>
                <a:lnTo>
                  <a:pt x="123" y="158"/>
                </a:lnTo>
                <a:lnTo>
                  <a:pt x="122" y="158"/>
                </a:lnTo>
                <a:lnTo>
                  <a:pt x="122" y="155"/>
                </a:lnTo>
                <a:lnTo>
                  <a:pt x="118" y="155"/>
                </a:lnTo>
                <a:lnTo>
                  <a:pt x="117" y="154"/>
                </a:lnTo>
                <a:lnTo>
                  <a:pt x="124" y="155"/>
                </a:lnTo>
                <a:lnTo>
                  <a:pt x="126" y="155"/>
                </a:lnTo>
                <a:lnTo>
                  <a:pt x="128" y="154"/>
                </a:lnTo>
                <a:lnTo>
                  <a:pt x="132" y="158"/>
                </a:lnTo>
                <a:lnTo>
                  <a:pt x="133" y="157"/>
                </a:lnTo>
                <a:lnTo>
                  <a:pt x="130" y="155"/>
                </a:lnTo>
                <a:lnTo>
                  <a:pt x="132" y="154"/>
                </a:lnTo>
                <a:lnTo>
                  <a:pt x="132" y="155"/>
                </a:lnTo>
                <a:lnTo>
                  <a:pt x="134" y="155"/>
                </a:lnTo>
                <a:lnTo>
                  <a:pt x="136" y="154"/>
                </a:lnTo>
                <a:lnTo>
                  <a:pt x="138" y="153"/>
                </a:lnTo>
                <a:lnTo>
                  <a:pt x="139" y="153"/>
                </a:lnTo>
                <a:lnTo>
                  <a:pt x="139" y="148"/>
                </a:lnTo>
                <a:lnTo>
                  <a:pt x="140" y="148"/>
                </a:lnTo>
                <a:lnTo>
                  <a:pt x="142" y="146"/>
                </a:lnTo>
                <a:lnTo>
                  <a:pt x="143" y="147"/>
                </a:lnTo>
                <a:lnTo>
                  <a:pt x="145" y="145"/>
                </a:lnTo>
                <a:lnTo>
                  <a:pt x="145" y="142"/>
                </a:lnTo>
                <a:lnTo>
                  <a:pt x="143" y="139"/>
                </a:lnTo>
                <a:lnTo>
                  <a:pt x="139" y="139"/>
                </a:lnTo>
                <a:lnTo>
                  <a:pt x="136" y="137"/>
                </a:lnTo>
                <a:lnTo>
                  <a:pt x="135" y="136"/>
                </a:lnTo>
                <a:lnTo>
                  <a:pt x="135" y="135"/>
                </a:lnTo>
                <a:lnTo>
                  <a:pt x="140" y="137"/>
                </a:lnTo>
                <a:lnTo>
                  <a:pt x="141" y="137"/>
                </a:lnTo>
                <a:lnTo>
                  <a:pt x="147" y="139"/>
                </a:lnTo>
                <a:lnTo>
                  <a:pt x="153" y="139"/>
                </a:lnTo>
                <a:lnTo>
                  <a:pt x="154" y="137"/>
                </a:lnTo>
                <a:lnTo>
                  <a:pt x="155" y="137"/>
                </a:lnTo>
                <a:lnTo>
                  <a:pt x="155" y="139"/>
                </a:lnTo>
                <a:lnTo>
                  <a:pt x="154" y="140"/>
                </a:lnTo>
                <a:lnTo>
                  <a:pt x="154" y="142"/>
                </a:lnTo>
                <a:lnTo>
                  <a:pt x="153" y="142"/>
                </a:lnTo>
                <a:lnTo>
                  <a:pt x="153" y="141"/>
                </a:lnTo>
                <a:lnTo>
                  <a:pt x="152" y="141"/>
                </a:lnTo>
                <a:lnTo>
                  <a:pt x="151" y="142"/>
                </a:lnTo>
                <a:lnTo>
                  <a:pt x="153" y="146"/>
                </a:lnTo>
                <a:lnTo>
                  <a:pt x="154" y="147"/>
                </a:lnTo>
                <a:lnTo>
                  <a:pt x="153" y="149"/>
                </a:lnTo>
                <a:lnTo>
                  <a:pt x="152" y="148"/>
                </a:lnTo>
                <a:lnTo>
                  <a:pt x="149" y="151"/>
                </a:lnTo>
                <a:lnTo>
                  <a:pt x="148" y="151"/>
                </a:lnTo>
                <a:lnTo>
                  <a:pt x="149" y="152"/>
                </a:lnTo>
                <a:lnTo>
                  <a:pt x="152" y="151"/>
                </a:lnTo>
                <a:lnTo>
                  <a:pt x="153" y="151"/>
                </a:lnTo>
                <a:lnTo>
                  <a:pt x="153" y="149"/>
                </a:lnTo>
                <a:lnTo>
                  <a:pt x="155" y="152"/>
                </a:lnTo>
                <a:lnTo>
                  <a:pt x="155" y="154"/>
                </a:lnTo>
                <a:lnTo>
                  <a:pt x="151" y="154"/>
                </a:lnTo>
                <a:lnTo>
                  <a:pt x="151" y="155"/>
                </a:lnTo>
                <a:lnTo>
                  <a:pt x="155" y="155"/>
                </a:lnTo>
                <a:lnTo>
                  <a:pt x="157" y="158"/>
                </a:lnTo>
                <a:lnTo>
                  <a:pt x="157" y="159"/>
                </a:lnTo>
                <a:lnTo>
                  <a:pt x="155" y="160"/>
                </a:lnTo>
                <a:lnTo>
                  <a:pt x="157" y="160"/>
                </a:lnTo>
                <a:lnTo>
                  <a:pt x="158" y="159"/>
                </a:lnTo>
                <a:lnTo>
                  <a:pt x="159" y="155"/>
                </a:lnTo>
                <a:lnTo>
                  <a:pt x="159" y="151"/>
                </a:lnTo>
                <a:lnTo>
                  <a:pt x="161" y="148"/>
                </a:lnTo>
                <a:lnTo>
                  <a:pt x="163" y="148"/>
                </a:lnTo>
                <a:lnTo>
                  <a:pt x="164" y="146"/>
                </a:lnTo>
                <a:lnTo>
                  <a:pt x="161" y="141"/>
                </a:lnTo>
                <a:lnTo>
                  <a:pt x="161" y="140"/>
                </a:lnTo>
                <a:lnTo>
                  <a:pt x="163" y="140"/>
                </a:lnTo>
                <a:lnTo>
                  <a:pt x="165" y="142"/>
                </a:lnTo>
                <a:lnTo>
                  <a:pt x="165" y="146"/>
                </a:lnTo>
                <a:lnTo>
                  <a:pt x="166" y="146"/>
                </a:lnTo>
                <a:lnTo>
                  <a:pt x="166" y="148"/>
                </a:lnTo>
                <a:lnTo>
                  <a:pt x="167" y="152"/>
                </a:lnTo>
                <a:lnTo>
                  <a:pt x="167" y="154"/>
                </a:lnTo>
                <a:lnTo>
                  <a:pt x="166" y="157"/>
                </a:lnTo>
                <a:lnTo>
                  <a:pt x="165" y="155"/>
                </a:lnTo>
                <a:lnTo>
                  <a:pt x="164" y="155"/>
                </a:lnTo>
                <a:lnTo>
                  <a:pt x="164" y="158"/>
                </a:lnTo>
                <a:lnTo>
                  <a:pt x="161" y="160"/>
                </a:lnTo>
                <a:lnTo>
                  <a:pt x="164" y="160"/>
                </a:lnTo>
                <a:lnTo>
                  <a:pt x="165" y="159"/>
                </a:lnTo>
                <a:lnTo>
                  <a:pt x="167" y="161"/>
                </a:lnTo>
                <a:lnTo>
                  <a:pt x="170" y="157"/>
                </a:lnTo>
                <a:lnTo>
                  <a:pt x="170" y="155"/>
                </a:lnTo>
                <a:lnTo>
                  <a:pt x="167" y="147"/>
                </a:lnTo>
                <a:lnTo>
                  <a:pt x="167" y="143"/>
                </a:lnTo>
                <a:lnTo>
                  <a:pt x="166" y="139"/>
                </a:lnTo>
                <a:lnTo>
                  <a:pt x="165" y="137"/>
                </a:lnTo>
                <a:lnTo>
                  <a:pt x="164" y="137"/>
                </a:lnTo>
                <a:lnTo>
                  <a:pt x="159" y="140"/>
                </a:lnTo>
                <a:lnTo>
                  <a:pt x="159" y="136"/>
                </a:lnTo>
                <a:lnTo>
                  <a:pt x="166" y="133"/>
                </a:lnTo>
                <a:lnTo>
                  <a:pt x="172" y="127"/>
                </a:lnTo>
                <a:lnTo>
                  <a:pt x="176" y="126"/>
                </a:lnTo>
                <a:close/>
                <a:moveTo>
                  <a:pt x="89" y="98"/>
                </a:moveTo>
                <a:lnTo>
                  <a:pt x="89" y="99"/>
                </a:lnTo>
                <a:lnTo>
                  <a:pt x="90" y="99"/>
                </a:lnTo>
                <a:lnTo>
                  <a:pt x="90" y="98"/>
                </a:lnTo>
                <a:lnTo>
                  <a:pt x="89" y="98"/>
                </a:lnTo>
                <a:close/>
                <a:moveTo>
                  <a:pt x="45" y="85"/>
                </a:moveTo>
                <a:lnTo>
                  <a:pt x="46" y="85"/>
                </a:lnTo>
                <a:lnTo>
                  <a:pt x="45" y="86"/>
                </a:lnTo>
                <a:lnTo>
                  <a:pt x="45" y="85"/>
                </a:lnTo>
                <a:close/>
                <a:moveTo>
                  <a:pt x="86" y="80"/>
                </a:moveTo>
                <a:lnTo>
                  <a:pt x="85" y="81"/>
                </a:lnTo>
                <a:lnTo>
                  <a:pt x="84" y="81"/>
                </a:lnTo>
                <a:lnTo>
                  <a:pt x="81" y="83"/>
                </a:lnTo>
                <a:lnTo>
                  <a:pt x="79" y="85"/>
                </a:lnTo>
                <a:lnTo>
                  <a:pt x="73" y="86"/>
                </a:lnTo>
                <a:lnTo>
                  <a:pt x="74" y="86"/>
                </a:lnTo>
                <a:lnTo>
                  <a:pt x="81" y="85"/>
                </a:lnTo>
                <a:lnTo>
                  <a:pt x="83" y="84"/>
                </a:lnTo>
                <a:lnTo>
                  <a:pt x="83" y="83"/>
                </a:lnTo>
                <a:lnTo>
                  <a:pt x="86" y="83"/>
                </a:lnTo>
                <a:lnTo>
                  <a:pt x="86" y="80"/>
                </a:lnTo>
                <a:close/>
                <a:moveTo>
                  <a:pt x="151" y="79"/>
                </a:moveTo>
                <a:lnTo>
                  <a:pt x="151" y="80"/>
                </a:lnTo>
                <a:lnTo>
                  <a:pt x="149" y="80"/>
                </a:lnTo>
                <a:lnTo>
                  <a:pt x="148" y="81"/>
                </a:lnTo>
                <a:lnTo>
                  <a:pt x="148" y="83"/>
                </a:lnTo>
                <a:lnTo>
                  <a:pt x="147" y="83"/>
                </a:lnTo>
                <a:lnTo>
                  <a:pt x="147" y="84"/>
                </a:lnTo>
                <a:lnTo>
                  <a:pt x="146" y="84"/>
                </a:lnTo>
                <a:lnTo>
                  <a:pt x="145" y="83"/>
                </a:lnTo>
                <a:lnTo>
                  <a:pt x="145" y="80"/>
                </a:lnTo>
                <a:lnTo>
                  <a:pt x="148" y="80"/>
                </a:lnTo>
                <a:lnTo>
                  <a:pt x="151" y="79"/>
                </a:lnTo>
                <a:close/>
                <a:moveTo>
                  <a:pt x="6" y="75"/>
                </a:moveTo>
                <a:lnTo>
                  <a:pt x="8" y="79"/>
                </a:lnTo>
                <a:lnTo>
                  <a:pt x="8" y="81"/>
                </a:lnTo>
                <a:lnTo>
                  <a:pt x="6" y="81"/>
                </a:lnTo>
                <a:lnTo>
                  <a:pt x="6" y="75"/>
                </a:lnTo>
                <a:close/>
                <a:moveTo>
                  <a:pt x="33" y="61"/>
                </a:moveTo>
                <a:lnTo>
                  <a:pt x="34" y="62"/>
                </a:lnTo>
                <a:lnTo>
                  <a:pt x="35" y="61"/>
                </a:lnTo>
                <a:lnTo>
                  <a:pt x="35" y="68"/>
                </a:lnTo>
                <a:lnTo>
                  <a:pt x="34" y="68"/>
                </a:lnTo>
                <a:lnTo>
                  <a:pt x="34" y="67"/>
                </a:lnTo>
                <a:lnTo>
                  <a:pt x="33" y="67"/>
                </a:lnTo>
                <a:lnTo>
                  <a:pt x="31" y="68"/>
                </a:lnTo>
                <a:lnTo>
                  <a:pt x="31" y="69"/>
                </a:lnTo>
                <a:lnTo>
                  <a:pt x="33" y="69"/>
                </a:lnTo>
                <a:lnTo>
                  <a:pt x="33" y="73"/>
                </a:lnTo>
                <a:lnTo>
                  <a:pt x="34" y="73"/>
                </a:lnTo>
                <a:lnTo>
                  <a:pt x="34" y="74"/>
                </a:lnTo>
                <a:lnTo>
                  <a:pt x="33" y="74"/>
                </a:lnTo>
                <a:lnTo>
                  <a:pt x="33" y="75"/>
                </a:lnTo>
                <a:lnTo>
                  <a:pt x="31" y="77"/>
                </a:lnTo>
                <a:lnTo>
                  <a:pt x="31" y="78"/>
                </a:lnTo>
                <a:lnTo>
                  <a:pt x="29" y="80"/>
                </a:lnTo>
                <a:lnTo>
                  <a:pt x="29" y="81"/>
                </a:lnTo>
                <a:lnTo>
                  <a:pt x="25" y="83"/>
                </a:lnTo>
                <a:lnTo>
                  <a:pt x="24" y="84"/>
                </a:lnTo>
                <a:lnTo>
                  <a:pt x="24" y="83"/>
                </a:lnTo>
                <a:lnTo>
                  <a:pt x="23" y="80"/>
                </a:lnTo>
                <a:lnTo>
                  <a:pt x="22" y="80"/>
                </a:lnTo>
                <a:lnTo>
                  <a:pt x="21" y="79"/>
                </a:lnTo>
                <a:lnTo>
                  <a:pt x="21" y="78"/>
                </a:lnTo>
                <a:lnTo>
                  <a:pt x="20" y="78"/>
                </a:lnTo>
                <a:lnTo>
                  <a:pt x="18" y="79"/>
                </a:lnTo>
                <a:lnTo>
                  <a:pt x="18" y="77"/>
                </a:lnTo>
                <a:lnTo>
                  <a:pt x="20" y="77"/>
                </a:lnTo>
                <a:lnTo>
                  <a:pt x="20" y="74"/>
                </a:lnTo>
                <a:lnTo>
                  <a:pt x="21" y="74"/>
                </a:lnTo>
                <a:lnTo>
                  <a:pt x="23" y="73"/>
                </a:lnTo>
                <a:lnTo>
                  <a:pt x="24" y="72"/>
                </a:lnTo>
                <a:lnTo>
                  <a:pt x="23" y="72"/>
                </a:lnTo>
                <a:lnTo>
                  <a:pt x="23" y="71"/>
                </a:lnTo>
                <a:lnTo>
                  <a:pt x="24" y="69"/>
                </a:lnTo>
                <a:lnTo>
                  <a:pt x="24" y="67"/>
                </a:lnTo>
                <a:lnTo>
                  <a:pt x="25" y="67"/>
                </a:lnTo>
                <a:lnTo>
                  <a:pt x="27" y="66"/>
                </a:lnTo>
                <a:lnTo>
                  <a:pt x="29" y="66"/>
                </a:lnTo>
                <a:lnTo>
                  <a:pt x="30" y="65"/>
                </a:lnTo>
                <a:lnTo>
                  <a:pt x="30" y="66"/>
                </a:lnTo>
                <a:lnTo>
                  <a:pt x="31" y="65"/>
                </a:lnTo>
                <a:lnTo>
                  <a:pt x="33" y="61"/>
                </a:lnTo>
                <a:close/>
                <a:moveTo>
                  <a:pt x="35" y="60"/>
                </a:moveTo>
                <a:lnTo>
                  <a:pt x="36" y="60"/>
                </a:lnTo>
                <a:lnTo>
                  <a:pt x="35" y="61"/>
                </a:lnTo>
                <a:lnTo>
                  <a:pt x="35" y="60"/>
                </a:lnTo>
                <a:close/>
                <a:moveTo>
                  <a:pt x="80" y="51"/>
                </a:moveTo>
                <a:lnTo>
                  <a:pt x="79" y="53"/>
                </a:lnTo>
                <a:lnTo>
                  <a:pt x="79" y="54"/>
                </a:lnTo>
                <a:lnTo>
                  <a:pt x="79" y="53"/>
                </a:lnTo>
                <a:lnTo>
                  <a:pt x="80" y="53"/>
                </a:lnTo>
                <a:lnTo>
                  <a:pt x="81" y="51"/>
                </a:lnTo>
                <a:lnTo>
                  <a:pt x="81" y="53"/>
                </a:lnTo>
                <a:lnTo>
                  <a:pt x="86" y="56"/>
                </a:lnTo>
                <a:lnTo>
                  <a:pt x="89" y="59"/>
                </a:lnTo>
                <a:lnTo>
                  <a:pt x="91" y="59"/>
                </a:lnTo>
                <a:lnTo>
                  <a:pt x="87" y="56"/>
                </a:lnTo>
                <a:lnTo>
                  <a:pt x="85" y="54"/>
                </a:lnTo>
                <a:lnTo>
                  <a:pt x="83" y="53"/>
                </a:lnTo>
                <a:lnTo>
                  <a:pt x="81" y="51"/>
                </a:lnTo>
                <a:lnTo>
                  <a:pt x="80" y="51"/>
                </a:lnTo>
                <a:close/>
                <a:moveTo>
                  <a:pt x="129" y="32"/>
                </a:moveTo>
                <a:lnTo>
                  <a:pt x="130" y="32"/>
                </a:lnTo>
                <a:lnTo>
                  <a:pt x="132" y="34"/>
                </a:lnTo>
                <a:lnTo>
                  <a:pt x="132" y="36"/>
                </a:lnTo>
                <a:lnTo>
                  <a:pt x="130" y="35"/>
                </a:lnTo>
                <a:lnTo>
                  <a:pt x="129" y="35"/>
                </a:lnTo>
                <a:lnTo>
                  <a:pt x="126" y="36"/>
                </a:lnTo>
                <a:lnTo>
                  <a:pt x="127" y="36"/>
                </a:lnTo>
                <a:lnTo>
                  <a:pt x="127" y="38"/>
                </a:lnTo>
                <a:lnTo>
                  <a:pt x="126" y="40"/>
                </a:lnTo>
                <a:lnTo>
                  <a:pt x="126" y="41"/>
                </a:lnTo>
                <a:lnTo>
                  <a:pt x="124" y="42"/>
                </a:lnTo>
                <a:lnTo>
                  <a:pt x="124" y="43"/>
                </a:lnTo>
                <a:lnTo>
                  <a:pt x="123" y="43"/>
                </a:lnTo>
                <a:lnTo>
                  <a:pt x="120" y="40"/>
                </a:lnTo>
                <a:lnTo>
                  <a:pt x="118" y="40"/>
                </a:lnTo>
                <a:lnTo>
                  <a:pt x="117" y="38"/>
                </a:lnTo>
                <a:lnTo>
                  <a:pt x="117" y="37"/>
                </a:lnTo>
                <a:lnTo>
                  <a:pt x="118" y="37"/>
                </a:lnTo>
                <a:lnTo>
                  <a:pt x="121" y="35"/>
                </a:lnTo>
                <a:lnTo>
                  <a:pt x="123" y="35"/>
                </a:lnTo>
                <a:lnTo>
                  <a:pt x="124" y="34"/>
                </a:lnTo>
                <a:lnTo>
                  <a:pt x="127" y="34"/>
                </a:lnTo>
                <a:lnTo>
                  <a:pt x="129" y="32"/>
                </a:lnTo>
                <a:close/>
                <a:moveTo>
                  <a:pt x="104" y="0"/>
                </a:moveTo>
                <a:lnTo>
                  <a:pt x="108" y="0"/>
                </a:lnTo>
                <a:lnTo>
                  <a:pt x="105" y="1"/>
                </a:lnTo>
                <a:lnTo>
                  <a:pt x="104" y="4"/>
                </a:lnTo>
                <a:lnTo>
                  <a:pt x="101" y="8"/>
                </a:lnTo>
                <a:lnTo>
                  <a:pt x="99" y="13"/>
                </a:lnTo>
                <a:lnTo>
                  <a:pt x="102" y="20"/>
                </a:lnTo>
                <a:lnTo>
                  <a:pt x="104" y="24"/>
                </a:lnTo>
                <a:lnTo>
                  <a:pt x="103" y="28"/>
                </a:lnTo>
                <a:lnTo>
                  <a:pt x="103" y="32"/>
                </a:lnTo>
                <a:lnTo>
                  <a:pt x="104" y="40"/>
                </a:lnTo>
                <a:lnTo>
                  <a:pt x="99" y="44"/>
                </a:lnTo>
                <a:lnTo>
                  <a:pt x="97" y="49"/>
                </a:lnTo>
                <a:lnTo>
                  <a:pt x="97" y="53"/>
                </a:lnTo>
                <a:lnTo>
                  <a:pt x="96" y="56"/>
                </a:lnTo>
                <a:lnTo>
                  <a:pt x="96" y="57"/>
                </a:lnTo>
                <a:lnTo>
                  <a:pt x="95" y="59"/>
                </a:lnTo>
                <a:lnTo>
                  <a:pt x="93" y="59"/>
                </a:lnTo>
                <a:lnTo>
                  <a:pt x="95" y="60"/>
                </a:lnTo>
                <a:lnTo>
                  <a:pt x="92" y="62"/>
                </a:lnTo>
                <a:lnTo>
                  <a:pt x="92" y="67"/>
                </a:lnTo>
                <a:lnTo>
                  <a:pt x="93" y="71"/>
                </a:lnTo>
                <a:lnTo>
                  <a:pt x="93" y="75"/>
                </a:lnTo>
                <a:lnTo>
                  <a:pt x="95" y="79"/>
                </a:lnTo>
                <a:lnTo>
                  <a:pt x="95" y="80"/>
                </a:lnTo>
                <a:lnTo>
                  <a:pt x="96" y="80"/>
                </a:lnTo>
                <a:lnTo>
                  <a:pt x="95" y="81"/>
                </a:lnTo>
                <a:lnTo>
                  <a:pt x="93" y="80"/>
                </a:lnTo>
                <a:lnTo>
                  <a:pt x="90" y="80"/>
                </a:lnTo>
                <a:lnTo>
                  <a:pt x="90" y="81"/>
                </a:lnTo>
                <a:lnTo>
                  <a:pt x="89" y="80"/>
                </a:lnTo>
                <a:lnTo>
                  <a:pt x="87" y="80"/>
                </a:lnTo>
                <a:lnTo>
                  <a:pt x="89" y="81"/>
                </a:lnTo>
                <a:lnTo>
                  <a:pt x="89" y="83"/>
                </a:lnTo>
                <a:lnTo>
                  <a:pt x="92" y="83"/>
                </a:lnTo>
                <a:lnTo>
                  <a:pt x="93" y="81"/>
                </a:lnTo>
                <a:lnTo>
                  <a:pt x="95" y="81"/>
                </a:lnTo>
                <a:lnTo>
                  <a:pt x="96" y="83"/>
                </a:lnTo>
                <a:lnTo>
                  <a:pt x="96" y="87"/>
                </a:lnTo>
                <a:lnTo>
                  <a:pt x="92" y="90"/>
                </a:lnTo>
                <a:lnTo>
                  <a:pt x="90" y="92"/>
                </a:lnTo>
                <a:lnTo>
                  <a:pt x="90" y="96"/>
                </a:lnTo>
                <a:lnTo>
                  <a:pt x="91" y="93"/>
                </a:lnTo>
                <a:lnTo>
                  <a:pt x="91" y="92"/>
                </a:lnTo>
                <a:lnTo>
                  <a:pt x="92" y="91"/>
                </a:lnTo>
                <a:lnTo>
                  <a:pt x="95" y="90"/>
                </a:lnTo>
                <a:lnTo>
                  <a:pt x="95" y="88"/>
                </a:lnTo>
                <a:lnTo>
                  <a:pt x="96" y="90"/>
                </a:lnTo>
                <a:lnTo>
                  <a:pt x="96" y="92"/>
                </a:lnTo>
                <a:lnTo>
                  <a:pt x="97" y="93"/>
                </a:lnTo>
                <a:lnTo>
                  <a:pt x="101" y="96"/>
                </a:lnTo>
                <a:lnTo>
                  <a:pt x="104" y="96"/>
                </a:lnTo>
                <a:lnTo>
                  <a:pt x="114" y="94"/>
                </a:lnTo>
                <a:lnTo>
                  <a:pt x="117" y="94"/>
                </a:lnTo>
                <a:lnTo>
                  <a:pt x="117" y="96"/>
                </a:lnTo>
                <a:lnTo>
                  <a:pt x="118" y="98"/>
                </a:lnTo>
                <a:lnTo>
                  <a:pt x="122" y="100"/>
                </a:lnTo>
                <a:lnTo>
                  <a:pt x="122" y="102"/>
                </a:lnTo>
                <a:lnTo>
                  <a:pt x="121" y="102"/>
                </a:lnTo>
                <a:lnTo>
                  <a:pt x="120" y="104"/>
                </a:lnTo>
                <a:lnTo>
                  <a:pt x="120" y="110"/>
                </a:lnTo>
                <a:lnTo>
                  <a:pt x="112" y="117"/>
                </a:lnTo>
                <a:lnTo>
                  <a:pt x="112" y="123"/>
                </a:lnTo>
                <a:lnTo>
                  <a:pt x="110" y="123"/>
                </a:lnTo>
                <a:lnTo>
                  <a:pt x="108" y="121"/>
                </a:lnTo>
                <a:lnTo>
                  <a:pt x="109" y="121"/>
                </a:lnTo>
                <a:lnTo>
                  <a:pt x="110" y="120"/>
                </a:lnTo>
                <a:lnTo>
                  <a:pt x="110" y="118"/>
                </a:lnTo>
                <a:lnTo>
                  <a:pt x="109" y="117"/>
                </a:lnTo>
                <a:lnTo>
                  <a:pt x="108" y="117"/>
                </a:lnTo>
                <a:lnTo>
                  <a:pt x="104" y="121"/>
                </a:lnTo>
                <a:lnTo>
                  <a:pt x="104" y="123"/>
                </a:lnTo>
                <a:lnTo>
                  <a:pt x="105" y="126"/>
                </a:lnTo>
                <a:lnTo>
                  <a:pt x="105" y="127"/>
                </a:lnTo>
                <a:lnTo>
                  <a:pt x="102" y="127"/>
                </a:lnTo>
                <a:lnTo>
                  <a:pt x="102" y="124"/>
                </a:lnTo>
                <a:lnTo>
                  <a:pt x="103" y="123"/>
                </a:lnTo>
                <a:lnTo>
                  <a:pt x="103" y="122"/>
                </a:lnTo>
                <a:lnTo>
                  <a:pt x="97" y="122"/>
                </a:lnTo>
                <a:lnTo>
                  <a:pt x="97" y="121"/>
                </a:lnTo>
                <a:lnTo>
                  <a:pt x="96" y="120"/>
                </a:lnTo>
                <a:lnTo>
                  <a:pt x="97" y="120"/>
                </a:lnTo>
                <a:lnTo>
                  <a:pt x="98" y="118"/>
                </a:lnTo>
                <a:lnTo>
                  <a:pt x="99" y="118"/>
                </a:lnTo>
                <a:lnTo>
                  <a:pt x="101" y="120"/>
                </a:lnTo>
                <a:lnTo>
                  <a:pt x="102" y="118"/>
                </a:lnTo>
                <a:lnTo>
                  <a:pt x="101" y="117"/>
                </a:lnTo>
                <a:lnTo>
                  <a:pt x="101" y="116"/>
                </a:lnTo>
                <a:lnTo>
                  <a:pt x="102" y="114"/>
                </a:lnTo>
                <a:lnTo>
                  <a:pt x="101" y="114"/>
                </a:lnTo>
                <a:lnTo>
                  <a:pt x="101" y="112"/>
                </a:lnTo>
                <a:lnTo>
                  <a:pt x="98" y="112"/>
                </a:lnTo>
                <a:lnTo>
                  <a:pt x="98" y="114"/>
                </a:lnTo>
                <a:lnTo>
                  <a:pt x="97" y="114"/>
                </a:lnTo>
                <a:lnTo>
                  <a:pt x="97" y="115"/>
                </a:lnTo>
                <a:lnTo>
                  <a:pt x="96" y="115"/>
                </a:lnTo>
                <a:lnTo>
                  <a:pt x="95" y="117"/>
                </a:lnTo>
                <a:lnTo>
                  <a:pt x="95" y="118"/>
                </a:lnTo>
                <a:lnTo>
                  <a:pt x="90" y="123"/>
                </a:lnTo>
                <a:lnTo>
                  <a:pt x="90" y="124"/>
                </a:lnTo>
                <a:lnTo>
                  <a:pt x="92" y="127"/>
                </a:lnTo>
                <a:lnTo>
                  <a:pt x="92" y="130"/>
                </a:lnTo>
                <a:lnTo>
                  <a:pt x="91" y="131"/>
                </a:lnTo>
                <a:lnTo>
                  <a:pt x="91" y="133"/>
                </a:lnTo>
                <a:lnTo>
                  <a:pt x="92" y="133"/>
                </a:lnTo>
                <a:lnTo>
                  <a:pt x="92" y="134"/>
                </a:lnTo>
                <a:lnTo>
                  <a:pt x="91" y="136"/>
                </a:lnTo>
                <a:lnTo>
                  <a:pt x="91" y="141"/>
                </a:lnTo>
                <a:lnTo>
                  <a:pt x="90" y="142"/>
                </a:lnTo>
                <a:lnTo>
                  <a:pt x="90" y="143"/>
                </a:lnTo>
                <a:lnTo>
                  <a:pt x="89" y="143"/>
                </a:lnTo>
                <a:lnTo>
                  <a:pt x="89" y="146"/>
                </a:lnTo>
                <a:lnTo>
                  <a:pt x="90" y="146"/>
                </a:lnTo>
                <a:lnTo>
                  <a:pt x="89" y="147"/>
                </a:lnTo>
                <a:lnTo>
                  <a:pt x="87" y="147"/>
                </a:lnTo>
                <a:lnTo>
                  <a:pt x="86" y="146"/>
                </a:lnTo>
                <a:lnTo>
                  <a:pt x="86" y="143"/>
                </a:lnTo>
                <a:lnTo>
                  <a:pt x="80" y="143"/>
                </a:lnTo>
                <a:lnTo>
                  <a:pt x="80" y="145"/>
                </a:lnTo>
                <a:lnTo>
                  <a:pt x="79" y="146"/>
                </a:lnTo>
                <a:lnTo>
                  <a:pt x="76" y="146"/>
                </a:lnTo>
                <a:lnTo>
                  <a:pt x="77" y="147"/>
                </a:lnTo>
                <a:lnTo>
                  <a:pt x="83" y="148"/>
                </a:lnTo>
                <a:lnTo>
                  <a:pt x="83" y="149"/>
                </a:lnTo>
                <a:lnTo>
                  <a:pt x="81" y="151"/>
                </a:lnTo>
                <a:lnTo>
                  <a:pt x="81" y="153"/>
                </a:lnTo>
                <a:lnTo>
                  <a:pt x="84" y="153"/>
                </a:lnTo>
                <a:lnTo>
                  <a:pt x="84" y="154"/>
                </a:lnTo>
                <a:lnTo>
                  <a:pt x="81" y="154"/>
                </a:lnTo>
                <a:lnTo>
                  <a:pt x="81" y="158"/>
                </a:lnTo>
                <a:lnTo>
                  <a:pt x="80" y="157"/>
                </a:lnTo>
                <a:lnTo>
                  <a:pt x="76" y="158"/>
                </a:lnTo>
                <a:lnTo>
                  <a:pt x="73" y="159"/>
                </a:lnTo>
                <a:lnTo>
                  <a:pt x="72" y="159"/>
                </a:lnTo>
                <a:lnTo>
                  <a:pt x="70" y="158"/>
                </a:lnTo>
                <a:lnTo>
                  <a:pt x="68" y="157"/>
                </a:lnTo>
                <a:lnTo>
                  <a:pt x="62" y="157"/>
                </a:lnTo>
                <a:lnTo>
                  <a:pt x="62" y="158"/>
                </a:lnTo>
                <a:lnTo>
                  <a:pt x="66" y="158"/>
                </a:lnTo>
                <a:lnTo>
                  <a:pt x="70" y="161"/>
                </a:lnTo>
                <a:lnTo>
                  <a:pt x="70" y="163"/>
                </a:lnTo>
                <a:lnTo>
                  <a:pt x="74" y="163"/>
                </a:lnTo>
                <a:lnTo>
                  <a:pt x="74" y="164"/>
                </a:lnTo>
                <a:lnTo>
                  <a:pt x="72" y="165"/>
                </a:lnTo>
                <a:lnTo>
                  <a:pt x="71" y="167"/>
                </a:lnTo>
                <a:lnTo>
                  <a:pt x="68" y="167"/>
                </a:lnTo>
                <a:lnTo>
                  <a:pt x="68" y="170"/>
                </a:lnTo>
                <a:lnTo>
                  <a:pt x="66" y="170"/>
                </a:lnTo>
                <a:lnTo>
                  <a:pt x="65" y="171"/>
                </a:lnTo>
                <a:lnTo>
                  <a:pt x="62" y="171"/>
                </a:lnTo>
                <a:lnTo>
                  <a:pt x="62" y="172"/>
                </a:lnTo>
                <a:lnTo>
                  <a:pt x="60" y="172"/>
                </a:lnTo>
                <a:lnTo>
                  <a:pt x="60" y="173"/>
                </a:lnTo>
                <a:lnTo>
                  <a:pt x="64" y="173"/>
                </a:lnTo>
                <a:lnTo>
                  <a:pt x="64" y="172"/>
                </a:lnTo>
                <a:lnTo>
                  <a:pt x="66" y="174"/>
                </a:lnTo>
                <a:lnTo>
                  <a:pt x="67" y="174"/>
                </a:lnTo>
                <a:lnTo>
                  <a:pt x="66" y="176"/>
                </a:lnTo>
                <a:lnTo>
                  <a:pt x="66" y="177"/>
                </a:lnTo>
                <a:lnTo>
                  <a:pt x="64" y="177"/>
                </a:lnTo>
                <a:lnTo>
                  <a:pt x="64" y="179"/>
                </a:lnTo>
                <a:lnTo>
                  <a:pt x="65" y="180"/>
                </a:lnTo>
                <a:lnTo>
                  <a:pt x="64" y="180"/>
                </a:lnTo>
                <a:lnTo>
                  <a:pt x="64" y="182"/>
                </a:lnTo>
                <a:lnTo>
                  <a:pt x="66" y="184"/>
                </a:lnTo>
                <a:lnTo>
                  <a:pt x="66" y="186"/>
                </a:lnTo>
                <a:lnTo>
                  <a:pt x="67" y="189"/>
                </a:lnTo>
                <a:lnTo>
                  <a:pt x="68" y="189"/>
                </a:lnTo>
                <a:lnTo>
                  <a:pt x="68" y="192"/>
                </a:lnTo>
                <a:lnTo>
                  <a:pt x="67" y="194"/>
                </a:lnTo>
                <a:lnTo>
                  <a:pt x="67" y="195"/>
                </a:lnTo>
                <a:lnTo>
                  <a:pt x="62" y="195"/>
                </a:lnTo>
                <a:lnTo>
                  <a:pt x="62" y="196"/>
                </a:lnTo>
                <a:lnTo>
                  <a:pt x="61" y="196"/>
                </a:lnTo>
                <a:lnTo>
                  <a:pt x="61" y="197"/>
                </a:lnTo>
                <a:lnTo>
                  <a:pt x="59" y="197"/>
                </a:lnTo>
                <a:lnTo>
                  <a:pt x="59" y="198"/>
                </a:lnTo>
                <a:lnTo>
                  <a:pt x="60" y="198"/>
                </a:lnTo>
                <a:lnTo>
                  <a:pt x="60" y="200"/>
                </a:lnTo>
                <a:lnTo>
                  <a:pt x="58" y="200"/>
                </a:lnTo>
                <a:lnTo>
                  <a:pt x="59" y="201"/>
                </a:lnTo>
                <a:lnTo>
                  <a:pt x="61" y="201"/>
                </a:lnTo>
                <a:lnTo>
                  <a:pt x="61" y="202"/>
                </a:lnTo>
                <a:lnTo>
                  <a:pt x="62" y="203"/>
                </a:lnTo>
                <a:lnTo>
                  <a:pt x="60" y="206"/>
                </a:lnTo>
                <a:lnTo>
                  <a:pt x="58" y="206"/>
                </a:lnTo>
                <a:lnTo>
                  <a:pt x="56" y="207"/>
                </a:lnTo>
                <a:lnTo>
                  <a:pt x="58" y="208"/>
                </a:lnTo>
                <a:lnTo>
                  <a:pt x="60" y="207"/>
                </a:lnTo>
                <a:lnTo>
                  <a:pt x="62" y="207"/>
                </a:lnTo>
                <a:lnTo>
                  <a:pt x="62" y="206"/>
                </a:lnTo>
                <a:lnTo>
                  <a:pt x="64" y="206"/>
                </a:lnTo>
                <a:lnTo>
                  <a:pt x="67" y="209"/>
                </a:lnTo>
                <a:lnTo>
                  <a:pt x="70" y="209"/>
                </a:lnTo>
                <a:lnTo>
                  <a:pt x="70" y="210"/>
                </a:lnTo>
                <a:lnTo>
                  <a:pt x="71" y="216"/>
                </a:lnTo>
                <a:lnTo>
                  <a:pt x="71" y="217"/>
                </a:lnTo>
                <a:lnTo>
                  <a:pt x="70" y="217"/>
                </a:lnTo>
                <a:lnTo>
                  <a:pt x="70" y="216"/>
                </a:lnTo>
                <a:lnTo>
                  <a:pt x="68" y="216"/>
                </a:lnTo>
                <a:lnTo>
                  <a:pt x="68" y="217"/>
                </a:lnTo>
                <a:lnTo>
                  <a:pt x="71" y="220"/>
                </a:lnTo>
                <a:lnTo>
                  <a:pt x="71" y="221"/>
                </a:lnTo>
                <a:lnTo>
                  <a:pt x="70" y="221"/>
                </a:lnTo>
                <a:lnTo>
                  <a:pt x="68" y="220"/>
                </a:lnTo>
                <a:lnTo>
                  <a:pt x="66" y="220"/>
                </a:lnTo>
                <a:lnTo>
                  <a:pt x="65" y="219"/>
                </a:lnTo>
                <a:lnTo>
                  <a:pt x="66" y="219"/>
                </a:lnTo>
                <a:lnTo>
                  <a:pt x="65" y="217"/>
                </a:lnTo>
                <a:lnTo>
                  <a:pt x="65" y="216"/>
                </a:lnTo>
                <a:lnTo>
                  <a:pt x="66" y="215"/>
                </a:lnTo>
                <a:lnTo>
                  <a:pt x="65" y="214"/>
                </a:lnTo>
                <a:lnTo>
                  <a:pt x="62" y="216"/>
                </a:lnTo>
                <a:lnTo>
                  <a:pt x="62" y="217"/>
                </a:lnTo>
                <a:lnTo>
                  <a:pt x="61" y="219"/>
                </a:lnTo>
                <a:lnTo>
                  <a:pt x="60" y="219"/>
                </a:lnTo>
                <a:lnTo>
                  <a:pt x="58" y="221"/>
                </a:lnTo>
                <a:lnTo>
                  <a:pt x="58" y="223"/>
                </a:lnTo>
                <a:lnTo>
                  <a:pt x="55" y="223"/>
                </a:lnTo>
                <a:lnTo>
                  <a:pt x="55" y="222"/>
                </a:lnTo>
                <a:lnTo>
                  <a:pt x="54" y="222"/>
                </a:lnTo>
                <a:lnTo>
                  <a:pt x="54" y="223"/>
                </a:lnTo>
                <a:lnTo>
                  <a:pt x="48" y="223"/>
                </a:lnTo>
                <a:lnTo>
                  <a:pt x="48" y="221"/>
                </a:lnTo>
                <a:lnTo>
                  <a:pt x="47" y="220"/>
                </a:lnTo>
                <a:lnTo>
                  <a:pt x="37" y="219"/>
                </a:lnTo>
                <a:lnTo>
                  <a:pt x="35" y="216"/>
                </a:lnTo>
                <a:lnTo>
                  <a:pt x="30" y="216"/>
                </a:lnTo>
                <a:lnTo>
                  <a:pt x="28" y="217"/>
                </a:lnTo>
                <a:lnTo>
                  <a:pt x="24" y="217"/>
                </a:lnTo>
                <a:lnTo>
                  <a:pt x="24" y="215"/>
                </a:lnTo>
                <a:lnTo>
                  <a:pt x="25" y="213"/>
                </a:lnTo>
                <a:lnTo>
                  <a:pt x="24" y="212"/>
                </a:lnTo>
                <a:lnTo>
                  <a:pt x="24" y="209"/>
                </a:lnTo>
                <a:lnTo>
                  <a:pt x="23" y="208"/>
                </a:lnTo>
                <a:lnTo>
                  <a:pt x="23" y="206"/>
                </a:lnTo>
                <a:lnTo>
                  <a:pt x="24" y="203"/>
                </a:lnTo>
                <a:lnTo>
                  <a:pt x="24" y="202"/>
                </a:lnTo>
                <a:lnTo>
                  <a:pt x="25" y="200"/>
                </a:lnTo>
                <a:lnTo>
                  <a:pt x="24" y="200"/>
                </a:lnTo>
                <a:lnTo>
                  <a:pt x="25" y="198"/>
                </a:lnTo>
                <a:lnTo>
                  <a:pt x="25" y="197"/>
                </a:lnTo>
                <a:lnTo>
                  <a:pt x="24" y="195"/>
                </a:lnTo>
                <a:lnTo>
                  <a:pt x="24" y="183"/>
                </a:lnTo>
                <a:lnTo>
                  <a:pt x="23" y="180"/>
                </a:lnTo>
                <a:lnTo>
                  <a:pt x="23" y="177"/>
                </a:lnTo>
                <a:lnTo>
                  <a:pt x="22" y="176"/>
                </a:lnTo>
                <a:lnTo>
                  <a:pt x="17" y="176"/>
                </a:lnTo>
                <a:lnTo>
                  <a:pt x="15" y="174"/>
                </a:lnTo>
                <a:lnTo>
                  <a:pt x="14" y="173"/>
                </a:lnTo>
                <a:lnTo>
                  <a:pt x="10" y="167"/>
                </a:lnTo>
                <a:lnTo>
                  <a:pt x="10" y="166"/>
                </a:lnTo>
                <a:lnTo>
                  <a:pt x="8" y="166"/>
                </a:lnTo>
                <a:lnTo>
                  <a:pt x="8" y="167"/>
                </a:lnTo>
                <a:lnTo>
                  <a:pt x="6" y="169"/>
                </a:lnTo>
                <a:lnTo>
                  <a:pt x="8" y="170"/>
                </a:lnTo>
                <a:lnTo>
                  <a:pt x="6" y="171"/>
                </a:lnTo>
                <a:lnTo>
                  <a:pt x="8" y="171"/>
                </a:lnTo>
                <a:lnTo>
                  <a:pt x="10" y="173"/>
                </a:lnTo>
                <a:lnTo>
                  <a:pt x="10" y="174"/>
                </a:lnTo>
                <a:lnTo>
                  <a:pt x="5" y="171"/>
                </a:lnTo>
                <a:lnTo>
                  <a:pt x="4" y="170"/>
                </a:lnTo>
                <a:lnTo>
                  <a:pt x="2" y="170"/>
                </a:lnTo>
                <a:lnTo>
                  <a:pt x="0" y="169"/>
                </a:lnTo>
                <a:lnTo>
                  <a:pt x="0" y="167"/>
                </a:lnTo>
                <a:lnTo>
                  <a:pt x="3" y="161"/>
                </a:lnTo>
                <a:lnTo>
                  <a:pt x="4" y="158"/>
                </a:lnTo>
                <a:lnTo>
                  <a:pt x="4" y="152"/>
                </a:lnTo>
                <a:lnTo>
                  <a:pt x="2" y="137"/>
                </a:lnTo>
                <a:lnTo>
                  <a:pt x="2" y="135"/>
                </a:lnTo>
                <a:lnTo>
                  <a:pt x="3" y="136"/>
                </a:lnTo>
                <a:lnTo>
                  <a:pt x="4" y="142"/>
                </a:lnTo>
                <a:lnTo>
                  <a:pt x="4" y="145"/>
                </a:lnTo>
                <a:lnTo>
                  <a:pt x="5" y="145"/>
                </a:lnTo>
                <a:lnTo>
                  <a:pt x="5" y="146"/>
                </a:lnTo>
                <a:lnTo>
                  <a:pt x="4" y="147"/>
                </a:lnTo>
                <a:lnTo>
                  <a:pt x="4" y="148"/>
                </a:lnTo>
                <a:lnTo>
                  <a:pt x="5" y="149"/>
                </a:lnTo>
                <a:lnTo>
                  <a:pt x="9" y="146"/>
                </a:lnTo>
                <a:lnTo>
                  <a:pt x="10" y="146"/>
                </a:lnTo>
                <a:lnTo>
                  <a:pt x="12" y="143"/>
                </a:lnTo>
                <a:lnTo>
                  <a:pt x="14" y="141"/>
                </a:lnTo>
                <a:lnTo>
                  <a:pt x="12" y="140"/>
                </a:lnTo>
                <a:lnTo>
                  <a:pt x="12" y="139"/>
                </a:lnTo>
                <a:lnTo>
                  <a:pt x="10" y="136"/>
                </a:lnTo>
                <a:lnTo>
                  <a:pt x="10" y="130"/>
                </a:lnTo>
                <a:lnTo>
                  <a:pt x="9" y="129"/>
                </a:lnTo>
                <a:lnTo>
                  <a:pt x="4" y="127"/>
                </a:lnTo>
                <a:lnTo>
                  <a:pt x="3" y="127"/>
                </a:lnTo>
                <a:lnTo>
                  <a:pt x="3" y="131"/>
                </a:lnTo>
                <a:lnTo>
                  <a:pt x="2" y="134"/>
                </a:lnTo>
                <a:lnTo>
                  <a:pt x="0" y="133"/>
                </a:lnTo>
                <a:lnTo>
                  <a:pt x="0" y="126"/>
                </a:lnTo>
                <a:lnTo>
                  <a:pt x="2" y="121"/>
                </a:lnTo>
                <a:lnTo>
                  <a:pt x="2" y="90"/>
                </a:lnTo>
                <a:lnTo>
                  <a:pt x="4" y="84"/>
                </a:lnTo>
                <a:lnTo>
                  <a:pt x="5" y="81"/>
                </a:lnTo>
                <a:lnTo>
                  <a:pt x="6" y="81"/>
                </a:lnTo>
                <a:lnTo>
                  <a:pt x="6" y="83"/>
                </a:lnTo>
                <a:lnTo>
                  <a:pt x="5" y="85"/>
                </a:lnTo>
                <a:lnTo>
                  <a:pt x="5" y="86"/>
                </a:lnTo>
                <a:lnTo>
                  <a:pt x="6" y="86"/>
                </a:lnTo>
                <a:lnTo>
                  <a:pt x="6" y="88"/>
                </a:lnTo>
                <a:lnTo>
                  <a:pt x="9" y="88"/>
                </a:lnTo>
                <a:lnTo>
                  <a:pt x="9" y="92"/>
                </a:lnTo>
                <a:lnTo>
                  <a:pt x="10" y="92"/>
                </a:lnTo>
                <a:lnTo>
                  <a:pt x="10" y="91"/>
                </a:lnTo>
                <a:lnTo>
                  <a:pt x="15" y="91"/>
                </a:lnTo>
                <a:lnTo>
                  <a:pt x="16" y="92"/>
                </a:lnTo>
                <a:lnTo>
                  <a:pt x="18" y="93"/>
                </a:lnTo>
                <a:lnTo>
                  <a:pt x="20" y="92"/>
                </a:lnTo>
                <a:lnTo>
                  <a:pt x="20" y="91"/>
                </a:lnTo>
                <a:lnTo>
                  <a:pt x="21" y="91"/>
                </a:lnTo>
                <a:lnTo>
                  <a:pt x="22" y="94"/>
                </a:lnTo>
                <a:lnTo>
                  <a:pt x="22" y="97"/>
                </a:lnTo>
                <a:lnTo>
                  <a:pt x="23" y="97"/>
                </a:lnTo>
                <a:lnTo>
                  <a:pt x="23" y="98"/>
                </a:lnTo>
                <a:lnTo>
                  <a:pt x="24" y="99"/>
                </a:lnTo>
                <a:lnTo>
                  <a:pt x="27" y="98"/>
                </a:lnTo>
                <a:lnTo>
                  <a:pt x="28" y="98"/>
                </a:lnTo>
                <a:lnTo>
                  <a:pt x="28" y="92"/>
                </a:lnTo>
                <a:lnTo>
                  <a:pt x="29" y="92"/>
                </a:lnTo>
                <a:lnTo>
                  <a:pt x="27" y="90"/>
                </a:lnTo>
                <a:lnTo>
                  <a:pt x="27" y="88"/>
                </a:lnTo>
                <a:lnTo>
                  <a:pt x="25" y="88"/>
                </a:lnTo>
                <a:lnTo>
                  <a:pt x="25" y="86"/>
                </a:lnTo>
                <a:lnTo>
                  <a:pt x="28" y="86"/>
                </a:lnTo>
                <a:lnTo>
                  <a:pt x="30" y="81"/>
                </a:lnTo>
                <a:lnTo>
                  <a:pt x="35" y="81"/>
                </a:lnTo>
                <a:lnTo>
                  <a:pt x="35" y="80"/>
                </a:lnTo>
                <a:lnTo>
                  <a:pt x="31" y="80"/>
                </a:lnTo>
                <a:lnTo>
                  <a:pt x="33" y="79"/>
                </a:lnTo>
                <a:lnTo>
                  <a:pt x="33" y="78"/>
                </a:lnTo>
                <a:lnTo>
                  <a:pt x="35" y="75"/>
                </a:lnTo>
                <a:lnTo>
                  <a:pt x="36" y="73"/>
                </a:lnTo>
                <a:lnTo>
                  <a:pt x="39" y="73"/>
                </a:lnTo>
                <a:lnTo>
                  <a:pt x="39" y="74"/>
                </a:lnTo>
                <a:lnTo>
                  <a:pt x="40" y="74"/>
                </a:lnTo>
                <a:lnTo>
                  <a:pt x="40" y="73"/>
                </a:lnTo>
                <a:lnTo>
                  <a:pt x="42" y="73"/>
                </a:lnTo>
                <a:lnTo>
                  <a:pt x="43" y="74"/>
                </a:lnTo>
                <a:lnTo>
                  <a:pt x="43" y="77"/>
                </a:lnTo>
                <a:lnTo>
                  <a:pt x="46" y="79"/>
                </a:lnTo>
                <a:lnTo>
                  <a:pt x="46" y="81"/>
                </a:lnTo>
                <a:lnTo>
                  <a:pt x="45" y="81"/>
                </a:lnTo>
                <a:lnTo>
                  <a:pt x="42" y="84"/>
                </a:lnTo>
                <a:lnTo>
                  <a:pt x="43" y="85"/>
                </a:lnTo>
                <a:lnTo>
                  <a:pt x="42" y="85"/>
                </a:lnTo>
                <a:lnTo>
                  <a:pt x="41" y="86"/>
                </a:lnTo>
                <a:lnTo>
                  <a:pt x="41" y="92"/>
                </a:lnTo>
                <a:lnTo>
                  <a:pt x="42" y="92"/>
                </a:lnTo>
                <a:lnTo>
                  <a:pt x="42" y="91"/>
                </a:lnTo>
                <a:lnTo>
                  <a:pt x="43" y="88"/>
                </a:lnTo>
                <a:lnTo>
                  <a:pt x="46" y="88"/>
                </a:lnTo>
                <a:lnTo>
                  <a:pt x="45" y="87"/>
                </a:lnTo>
                <a:lnTo>
                  <a:pt x="45" y="86"/>
                </a:lnTo>
                <a:lnTo>
                  <a:pt x="48" y="86"/>
                </a:lnTo>
                <a:lnTo>
                  <a:pt x="49" y="87"/>
                </a:lnTo>
                <a:lnTo>
                  <a:pt x="49" y="86"/>
                </a:lnTo>
                <a:lnTo>
                  <a:pt x="51" y="86"/>
                </a:lnTo>
                <a:lnTo>
                  <a:pt x="51" y="88"/>
                </a:lnTo>
                <a:lnTo>
                  <a:pt x="49" y="90"/>
                </a:lnTo>
                <a:lnTo>
                  <a:pt x="49" y="92"/>
                </a:lnTo>
                <a:lnTo>
                  <a:pt x="51" y="92"/>
                </a:lnTo>
                <a:lnTo>
                  <a:pt x="51" y="93"/>
                </a:lnTo>
                <a:lnTo>
                  <a:pt x="52" y="93"/>
                </a:lnTo>
                <a:lnTo>
                  <a:pt x="52" y="94"/>
                </a:lnTo>
                <a:lnTo>
                  <a:pt x="53" y="94"/>
                </a:lnTo>
                <a:lnTo>
                  <a:pt x="53" y="93"/>
                </a:lnTo>
                <a:lnTo>
                  <a:pt x="54" y="93"/>
                </a:lnTo>
                <a:lnTo>
                  <a:pt x="54" y="92"/>
                </a:lnTo>
                <a:lnTo>
                  <a:pt x="53" y="91"/>
                </a:lnTo>
                <a:lnTo>
                  <a:pt x="52" y="92"/>
                </a:lnTo>
                <a:lnTo>
                  <a:pt x="51" y="92"/>
                </a:lnTo>
                <a:lnTo>
                  <a:pt x="52" y="91"/>
                </a:lnTo>
                <a:lnTo>
                  <a:pt x="52" y="86"/>
                </a:lnTo>
                <a:lnTo>
                  <a:pt x="53" y="84"/>
                </a:lnTo>
                <a:lnTo>
                  <a:pt x="52" y="81"/>
                </a:lnTo>
                <a:lnTo>
                  <a:pt x="51" y="81"/>
                </a:lnTo>
                <a:lnTo>
                  <a:pt x="48" y="83"/>
                </a:lnTo>
                <a:lnTo>
                  <a:pt x="47" y="84"/>
                </a:lnTo>
                <a:lnTo>
                  <a:pt x="46" y="84"/>
                </a:lnTo>
                <a:lnTo>
                  <a:pt x="46" y="81"/>
                </a:lnTo>
                <a:lnTo>
                  <a:pt x="48" y="80"/>
                </a:lnTo>
                <a:lnTo>
                  <a:pt x="48" y="79"/>
                </a:lnTo>
                <a:lnTo>
                  <a:pt x="49" y="78"/>
                </a:lnTo>
                <a:lnTo>
                  <a:pt x="48" y="77"/>
                </a:lnTo>
                <a:lnTo>
                  <a:pt x="47" y="77"/>
                </a:lnTo>
                <a:lnTo>
                  <a:pt x="47" y="75"/>
                </a:lnTo>
                <a:lnTo>
                  <a:pt x="46" y="74"/>
                </a:lnTo>
                <a:lnTo>
                  <a:pt x="46" y="72"/>
                </a:lnTo>
                <a:lnTo>
                  <a:pt x="48" y="69"/>
                </a:lnTo>
                <a:lnTo>
                  <a:pt x="47" y="68"/>
                </a:lnTo>
                <a:lnTo>
                  <a:pt x="47" y="67"/>
                </a:lnTo>
                <a:lnTo>
                  <a:pt x="46" y="67"/>
                </a:lnTo>
                <a:lnTo>
                  <a:pt x="46" y="65"/>
                </a:lnTo>
                <a:lnTo>
                  <a:pt x="49" y="61"/>
                </a:lnTo>
                <a:lnTo>
                  <a:pt x="49" y="60"/>
                </a:lnTo>
                <a:lnTo>
                  <a:pt x="51" y="60"/>
                </a:lnTo>
                <a:lnTo>
                  <a:pt x="51" y="59"/>
                </a:lnTo>
                <a:lnTo>
                  <a:pt x="58" y="56"/>
                </a:lnTo>
                <a:lnTo>
                  <a:pt x="59" y="56"/>
                </a:lnTo>
                <a:lnTo>
                  <a:pt x="64" y="59"/>
                </a:lnTo>
                <a:lnTo>
                  <a:pt x="62" y="60"/>
                </a:lnTo>
                <a:lnTo>
                  <a:pt x="64" y="61"/>
                </a:lnTo>
                <a:lnTo>
                  <a:pt x="65" y="61"/>
                </a:lnTo>
                <a:lnTo>
                  <a:pt x="65" y="60"/>
                </a:lnTo>
                <a:lnTo>
                  <a:pt x="66" y="57"/>
                </a:lnTo>
                <a:lnTo>
                  <a:pt x="67" y="56"/>
                </a:lnTo>
                <a:lnTo>
                  <a:pt x="67" y="55"/>
                </a:lnTo>
                <a:lnTo>
                  <a:pt x="70" y="55"/>
                </a:lnTo>
                <a:lnTo>
                  <a:pt x="71" y="54"/>
                </a:lnTo>
                <a:lnTo>
                  <a:pt x="77" y="54"/>
                </a:lnTo>
                <a:lnTo>
                  <a:pt x="74" y="51"/>
                </a:lnTo>
                <a:lnTo>
                  <a:pt x="73" y="51"/>
                </a:lnTo>
                <a:lnTo>
                  <a:pt x="73" y="50"/>
                </a:lnTo>
                <a:lnTo>
                  <a:pt x="72" y="50"/>
                </a:lnTo>
                <a:lnTo>
                  <a:pt x="71" y="53"/>
                </a:lnTo>
                <a:lnTo>
                  <a:pt x="70" y="53"/>
                </a:lnTo>
                <a:lnTo>
                  <a:pt x="68" y="54"/>
                </a:lnTo>
                <a:lnTo>
                  <a:pt x="68" y="53"/>
                </a:lnTo>
                <a:lnTo>
                  <a:pt x="66" y="53"/>
                </a:lnTo>
                <a:lnTo>
                  <a:pt x="64" y="55"/>
                </a:lnTo>
                <a:lnTo>
                  <a:pt x="60" y="55"/>
                </a:lnTo>
                <a:lnTo>
                  <a:pt x="49" y="59"/>
                </a:lnTo>
                <a:lnTo>
                  <a:pt x="48" y="57"/>
                </a:lnTo>
                <a:lnTo>
                  <a:pt x="43" y="54"/>
                </a:lnTo>
                <a:lnTo>
                  <a:pt x="43" y="55"/>
                </a:lnTo>
                <a:lnTo>
                  <a:pt x="42" y="56"/>
                </a:lnTo>
                <a:lnTo>
                  <a:pt x="41" y="56"/>
                </a:lnTo>
                <a:lnTo>
                  <a:pt x="41" y="57"/>
                </a:lnTo>
                <a:lnTo>
                  <a:pt x="40" y="57"/>
                </a:lnTo>
                <a:lnTo>
                  <a:pt x="40" y="56"/>
                </a:lnTo>
                <a:lnTo>
                  <a:pt x="37" y="56"/>
                </a:lnTo>
                <a:lnTo>
                  <a:pt x="37" y="57"/>
                </a:lnTo>
                <a:lnTo>
                  <a:pt x="36" y="57"/>
                </a:lnTo>
                <a:lnTo>
                  <a:pt x="35" y="59"/>
                </a:lnTo>
                <a:lnTo>
                  <a:pt x="35" y="60"/>
                </a:lnTo>
                <a:lnTo>
                  <a:pt x="34" y="59"/>
                </a:lnTo>
                <a:lnTo>
                  <a:pt x="34" y="57"/>
                </a:lnTo>
                <a:lnTo>
                  <a:pt x="33" y="59"/>
                </a:lnTo>
                <a:lnTo>
                  <a:pt x="31" y="59"/>
                </a:lnTo>
                <a:lnTo>
                  <a:pt x="33" y="60"/>
                </a:lnTo>
                <a:lnTo>
                  <a:pt x="30" y="61"/>
                </a:lnTo>
                <a:lnTo>
                  <a:pt x="29" y="62"/>
                </a:lnTo>
                <a:lnTo>
                  <a:pt x="27" y="61"/>
                </a:lnTo>
                <a:lnTo>
                  <a:pt x="25" y="62"/>
                </a:lnTo>
                <a:lnTo>
                  <a:pt x="24" y="62"/>
                </a:lnTo>
                <a:lnTo>
                  <a:pt x="24" y="65"/>
                </a:lnTo>
                <a:lnTo>
                  <a:pt x="23" y="66"/>
                </a:lnTo>
                <a:lnTo>
                  <a:pt x="23" y="67"/>
                </a:lnTo>
                <a:lnTo>
                  <a:pt x="22" y="68"/>
                </a:lnTo>
                <a:lnTo>
                  <a:pt x="22" y="71"/>
                </a:lnTo>
                <a:lnTo>
                  <a:pt x="21" y="73"/>
                </a:lnTo>
                <a:lnTo>
                  <a:pt x="18" y="73"/>
                </a:lnTo>
                <a:lnTo>
                  <a:pt x="18" y="74"/>
                </a:lnTo>
                <a:lnTo>
                  <a:pt x="17" y="74"/>
                </a:lnTo>
                <a:lnTo>
                  <a:pt x="17" y="80"/>
                </a:lnTo>
                <a:lnTo>
                  <a:pt x="18" y="80"/>
                </a:lnTo>
                <a:lnTo>
                  <a:pt x="20" y="81"/>
                </a:lnTo>
                <a:lnTo>
                  <a:pt x="18" y="81"/>
                </a:lnTo>
                <a:lnTo>
                  <a:pt x="18" y="83"/>
                </a:lnTo>
                <a:lnTo>
                  <a:pt x="17" y="83"/>
                </a:lnTo>
                <a:lnTo>
                  <a:pt x="16" y="81"/>
                </a:lnTo>
                <a:lnTo>
                  <a:pt x="15" y="81"/>
                </a:lnTo>
                <a:lnTo>
                  <a:pt x="15" y="83"/>
                </a:lnTo>
                <a:lnTo>
                  <a:pt x="16" y="83"/>
                </a:lnTo>
                <a:lnTo>
                  <a:pt x="17" y="84"/>
                </a:lnTo>
                <a:lnTo>
                  <a:pt x="21" y="83"/>
                </a:lnTo>
                <a:lnTo>
                  <a:pt x="22" y="83"/>
                </a:lnTo>
                <a:lnTo>
                  <a:pt x="21" y="85"/>
                </a:lnTo>
                <a:lnTo>
                  <a:pt x="22" y="86"/>
                </a:lnTo>
                <a:lnTo>
                  <a:pt x="22" y="88"/>
                </a:lnTo>
                <a:lnTo>
                  <a:pt x="20" y="88"/>
                </a:lnTo>
                <a:lnTo>
                  <a:pt x="20" y="90"/>
                </a:lnTo>
                <a:lnTo>
                  <a:pt x="17" y="87"/>
                </a:lnTo>
                <a:lnTo>
                  <a:pt x="17" y="86"/>
                </a:lnTo>
                <a:lnTo>
                  <a:pt x="15" y="84"/>
                </a:lnTo>
                <a:lnTo>
                  <a:pt x="14" y="84"/>
                </a:lnTo>
                <a:lnTo>
                  <a:pt x="12" y="83"/>
                </a:lnTo>
                <a:lnTo>
                  <a:pt x="11" y="83"/>
                </a:lnTo>
                <a:lnTo>
                  <a:pt x="10" y="81"/>
                </a:lnTo>
                <a:lnTo>
                  <a:pt x="10" y="77"/>
                </a:lnTo>
                <a:lnTo>
                  <a:pt x="9" y="77"/>
                </a:lnTo>
                <a:lnTo>
                  <a:pt x="8" y="75"/>
                </a:lnTo>
                <a:lnTo>
                  <a:pt x="6" y="75"/>
                </a:lnTo>
                <a:lnTo>
                  <a:pt x="6" y="73"/>
                </a:lnTo>
                <a:lnTo>
                  <a:pt x="8" y="71"/>
                </a:lnTo>
                <a:lnTo>
                  <a:pt x="16" y="57"/>
                </a:lnTo>
                <a:lnTo>
                  <a:pt x="17" y="56"/>
                </a:lnTo>
                <a:lnTo>
                  <a:pt x="21" y="50"/>
                </a:lnTo>
                <a:lnTo>
                  <a:pt x="23" y="49"/>
                </a:lnTo>
                <a:lnTo>
                  <a:pt x="24" y="49"/>
                </a:lnTo>
                <a:lnTo>
                  <a:pt x="28" y="50"/>
                </a:lnTo>
                <a:lnTo>
                  <a:pt x="29" y="50"/>
                </a:lnTo>
                <a:lnTo>
                  <a:pt x="34" y="49"/>
                </a:lnTo>
                <a:lnTo>
                  <a:pt x="35" y="48"/>
                </a:lnTo>
                <a:lnTo>
                  <a:pt x="37" y="47"/>
                </a:lnTo>
                <a:lnTo>
                  <a:pt x="37" y="45"/>
                </a:lnTo>
                <a:lnTo>
                  <a:pt x="48" y="48"/>
                </a:lnTo>
                <a:lnTo>
                  <a:pt x="52" y="47"/>
                </a:lnTo>
                <a:lnTo>
                  <a:pt x="56" y="45"/>
                </a:lnTo>
                <a:lnTo>
                  <a:pt x="60" y="43"/>
                </a:lnTo>
                <a:lnTo>
                  <a:pt x="62" y="40"/>
                </a:lnTo>
                <a:lnTo>
                  <a:pt x="72" y="23"/>
                </a:lnTo>
                <a:lnTo>
                  <a:pt x="73" y="20"/>
                </a:lnTo>
                <a:lnTo>
                  <a:pt x="77" y="17"/>
                </a:lnTo>
                <a:lnTo>
                  <a:pt x="78" y="14"/>
                </a:lnTo>
                <a:lnTo>
                  <a:pt x="78" y="13"/>
                </a:lnTo>
                <a:lnTo>
                  <a:pt x="79" y="12"/>
                </a:lnTo>
                <a:lnTo>
                  <a:pt x="85" y="12"/>
                </a:lnTo>
                <a:lnTo>
                  <a:pt x="92" y="10"/>
                </a:lnTo>
                <a:lnTo>
                  <a:pt x="96" y="7"/>
                </a:lnTo>
                <a:lnTo>
                  <a:pt x="101" y="2"/>
                </a:lnTo>
                <a:lnTo>
                  <a:pt x="104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7" name="Freeform 48">
            <a:extLst>
              <a:ext uri="{FF2B5EF4-FFF2-40B4-BE49-F238E27FC236}">
                <a16:creationId xmlns:a16="http://schemas.microsoft.com/office/drawing/2014/main" id="{69CC7D3F-5381-476C-9E28-AB60CA410F2B}"/>
              </a:ext>
            </a:extLst>
          </p:cNvPr>
          <p:cNvSpPr>
            <a:spLocks/>
          </p:cNvSpPr>
          <p:nvPr/>
        </p:nvSpPr>
        <p:spPr bwMode="auto">
          <a:xfrm>
            <a:off x="1969206" y="4616176"/>
            <a:ext cx="412948" cy="236178"/>
          </a:xfrm>
          <a:custGeom>
            <a:avLst/>
            <a:gdLst/>
            <a:ahLst/>
            <a:cxnLst>
              <a:cxn ang="0">
                <a:pos x="108" y="8"/>
              </a:cxn>
              <a:cxn ang="0">
                <a:pos x="115" y="16"/>
              </a:cxn>
              <a:cxn ang="0">
                <a:pos x="123" y="2"/>
              </a:cxn>
              <a:cxn ang="0">
                <a:pos x="130" y="4"/>
              </a:cxn>
              <a:cxn ang="0">
                <a:pos x="136" y="14"/>
              </a:cxn>
              <a:cxn ang="0">
                <a:pos x="152" y="20"/>
              </a:cxn>
              <a:cxn ang="0">
                <a:pos x="164" y="24"/>
              </a:cxn>
              <a:cxn ang="0">
                <a:pos x="170" y="27"/>
              </a:cxn>
              <a:cxn ang="0">
                <a:pos x="184" y="31"/>
              </a:cxn>
              <a:cxn ang="0">
                <a:pos x="176" y="39"/>
              </a:cxn>
              <a:cxn ang="0">
                <a:pos x="182" y="48"/>
              </a:cxn>
              <a:cxn ang="0">
                <a:pos x="192" y="63"/>
              </a:cxn>
              <a:cxn ang="0">
                <a:pos x="207" y="54"/>
              </a:cxn>
              <a:cxn ang="0">
                <a:pos x="205" y="49"/>
              </a:cxn>
              <a:cxn ang="0">
                <a:pos x="208" y="42"/>
              </a:cxn>
              <a:cxn ang="0">
                <a:pos x="222" y="48"/>
              </a:cxn>
              <a:cxn ang="0">
                <a:pos x="235" y="52"/>
              </a:cxn>
              <a:cxn ang="0">
                <a:pos x="239" y="57"/>
              </a:cxn>
              <a:cxn ang="0">
                <a:pos x="240" y="65"/>
              </a:cxn>
              <a:cxn ang="0">
                <a:pos x="251" y="67"/>
              </a:cxn>
              <a:cxn ang="0">
                <a:pos x="260" y="72"/>
              </a:cxn>
              <a:cxn ang="0">
                <a:pos x="266" y="73"/>
              </a:cxn>
              <a:cxn ang="0">
                <a:pos x="276" y="79"/>
              </a:cxn>
              <a:cxn ang="0">
                <a:pos x="281" y="90"/>
              </a:cxn>
              <a:cxn ang="0">
                <a:pos x="285" y="101"/>
              </a:cxn>
              <a:cxn ang="0">
                <a:pos x="272" y="103"/>
              </a:cxn>
              <a:cxn ang="0">
                <a:pos x="256" y="121"/>
              </a:cxn>
              <a:cxn ang="0">
                <a:pos x="245" y="139"/>
              </a:cxn>
              <a:cxn ang="0">
                <a:pos x="226" y="145"/>
              </a:cxn>
              <a:cxn ang="0">
                <a:pos x="210" y="149"/>
              </a:cxn>
              <a:cxn ang="0">
                <a:pos x="201" y="152"/>
              </a:cxn>
              <a:cxn ang="0">
                <a:pos x="189" y="146"/>
              </a:cxn>
              <a:cxn ang="0">
                <a:pos x="167" y="150"/>
              </a:cxn>
              <a:cxn ang="0">
                <a:pos x="155" y="144"/>
              </a:cxn>
              <a:cxn ang="0">
                <a:pos x="139" y="135"/>
              </a:cxn>
              <a:cxn ang="0">
                <a:pos x="127" y="134"/>
              </a:cxn>
              <a:cxn ang="0">
                <a:pos x="122" y="149"/>
              </a:cxn>
              <a:cxn ang="0">
                <a:pos x="110" y="162"/>
              </a:cxn>
              <a:cxn ang="0">
                <a:pos x="99" y="160"/>
              </a:cxn>
              <a:cxn ang="0">
                <a:pos x="83" y="159"/>
              </a:cxn>
              <a:cxn ang="0">
                <a:pos x="80" y="153"/>
              </a:cxn>
              <a:cxn ang="0">
                <a:pos x="70" y="143"/>
              </a:cxn>
              <a:cxn ang="0">
                <a:pos x="62" y="137"/>
              </a:cxn>
              <a:cxn ang="0">
                <a:pos x="47" y="127"/>
              </a:cxn>
              <a:cxn ang="0">
                <a:pos x="37" y="114"/>
              </a:cxn>
              <a:cxn ang="0">
                <a:pos x="24" y="107"/>
              </a:cxn>
              <a:cxn ang="0">
                <a:pos x="20" y="95"/>
              </a:cxn>
              <a:cxn ang="0">
                <a:pos x="14" y="85"/>
              </a:cxn>
              <a:cxn ang="0">
                <a:pos x="17" y="73"/>
              </a:cxn>
              <a:cxn ang="0">
                <a:pos x="5" y="58"/>
              </a:cxn>
              <a:cxn ang="0">
                <a:pos x="0" y="48"/>
              </a:cxn>
              <a:cxn ang="0">
                <a:pos x="8" y="54"/>
              </a:cxn>
              <a:cxn ang="0">
                <a:pos x="12" y="52"/>
              </a:cxn>
              <a:cxn ang="0">
                <a:pos x="27" y="43"/>
              </a:cxn>
              <a:cxn ang="0">
                <a:pos x="40" y="41"/>
              </a:cxn>
              <a:cxn ang="0">
                <a:pos x="52" y="31"/>
              </a:cxn>
              <a:cxn ang="0">
                <a:pos x="60" y="28"/>
              </a:cxn>
              <a:cxn ang="0">
                <a:pos x="76" y="21"/>
              </a:cxn>
              <a:cxn ang="0">
                <a:pos x="91" y="11"/>
              </a:cxn>
              <a:cxn ang="0">
                <a:pos x="93" y="4"/>
              </a:cxn>
            </a:cxnLst>
            <a:rect l="0" t="0" r="r" b="b"/>
            <a:pathLst>
              <a:path w="285" h="163">
                <a:moveTo>
                  <a:pt x="93" y="0"/>
                </a:moveTo>
                <a:lnTo>
                  <a:pt x="97" y="0"/>
                </a:lnTo>
                <a:lnTo>
                  <a:pt x="97" y="2"/>
                </a:lnTo>
                <a:lnTo>
                  <a:pt x="103" y="2"/>
                </a:lnTo>
                <a:lnTo>
                  <a:pt x="103" y="3"/>
                </a:lnTo>
                <a:lnTo>
                  <a:pt x="105" y="3"/>
                </a:lnTo>
                <a:lnTo>
                  <a:pt x="105" y="9"/>
                </a:lnTo>
                <a:lnTo>
                  <a:pt x="108" y="8"/>
                </a:lnTo>
                <a:lnTo>
                  <a:pt x="108" y="9"/>
                </a:lnTo>
                <a:lnTo>
                  <a:pt x="109" y="9"/>
                </a:lnTo>
                <a:lnTo>
                  <a:pt x="108" y="10"/>
                </a:lnTo>
                <a:lnTo>
                  <a:pt x="108" y="14"/>
                </a:lnTo>
                <a:lnTo>
                  <a:pt x="109" y="14"/>
                </a:lnTo>
                <a:lnTo>
                  <a:pt x="111" y="15"/>
                </a:lnTo>
                <a:lnTo>
                  <a:pt x="113" y="16"/>
                </a:lnTo>
                <a:lnTo>
                  <a:pt x="115" y="16"/>
                </a:lnTo>
                <a:lnTo>
                  <a:pt x="115" y="14"/>
                </a:lnTo>
                <a:lnTo>
                  <a:pt x="116" y="12"/>
                </a:lnTo>
                <a:lnTo>
                  <a:pt x="123" y="12"/>
                </a:lnTo>
                <a:lnTo>
                  <a:pt x="123" y="5"/>
                </a:lnTo>
                <a:lnTo>
                  <a:pt x="122" y="4"/>
                </a:lnTo>
                <a:lnTo>
                  <a:pt x="122" y="3"/>
                </a:lnTo>
                <a:lnTo>
                  <a:pt x="123" y="3"/>
                </a:lnTo>
                <a:lnTo>
                  <a:pt x="123" y="2"/>
                </a:lnTo>
                <a:lnTo>
                  <a:pt x="124" y="2"/>
                </a:lnTo>
                <a:lnTo>
                  <a:pt x="124" y="3"/>
                </a:lnTo>
                <a:lnTo>
                  <a:pt x="127" y="3"/>
                </a:lnTo>
                <a:lnTo>
                  <a:pt x="128" y="4"/>
                </a:lnTo>
                <a:lnTo>
                  <a:pt x="129" y="4"/>
                </a:lnTo>
                <a:lnTo>
                  <a:pt x="129" y="3"/>
                </a:lnTo>
                <a:lnTo>
                  <a:pt x="130" y="2"/>
                </a:lnTo>
                <a:lnTo>
                  <a:pt x="130" y="4"/>
                </a:lnTo>
                <a:lnTo>
                  <a:pt x="133" y="4"/>
                </a:lnTo>
                <a:lnTo>
                  <a:pt x="135" y="6"/>
                </a:lnTo>
                <a:lnTo>
                  <a:pt x="135" y="8"/>
                </a:lnTo>
                <a:lnTo>
                  <a:pt x="134" y="9"/>
                </a:lnTo>
                <a:lnTo>
                  <a:pt x="135" y="10"/>
                </a:lnTo>
                <a:lnTo>
                  <a:pt x="135" y="12"/>
                </a:lnTo>
                <a:lnTo>
                  <a:pt x="136" y="12"/>
                </a:lnTo>
                <a:lnTo>
                  <a:pt x="136" y="14"/>
                </a:lnTo>
                <a:lnTo>
                  <a:pt x="139" y="14"/>
                </a:lnTo>
                <a:lnTo>
                  <a:pt x="139" y="18"/>
                </a:lnTo>
                <a:lnTo>
                  <a:pt x="140" y="18"/>
                </a:lnTo>
                <a:lnTo>
                  <a:pt x="140" y="17"/>
                </a:lnTo>
                <a:lnTo>
                  <a:pt x="141" y="16"/>
                </a:lnTo>
                <a:lnTo>
                  <a:pt x="142" y="16"/>
                </a:lnTo>
                <a:lnTo>
                  <a:pt x="151" y="20"/>
                </a:lnTo>
                <a:lnTo>
                  <a:pt x="152" y="20"/>
                </a:lnTo>
                <a:lnTo>
                  <a:pt x="152" y="21"/>
                </a:lnTo>
                <a:lnTo>
                  <a:pt x="153" y="21"/>
                </a:lnTo>
                <a:lnTo>
                  <a:pt x="157" y="20"/>
                </a:lnTo>
                <a:lnTo>
                  <a:pt x="158" y="21"/>
                </a:lnTo>
                <a:lnTo>
                  <a:pt x="159" y="24"/>
                </a:lnTo>
                <a:lnTo>
                  <a:pt x="161" y="24"/>
                </a:lnTo>
                <a:lnTo>
                  <a:pt x="164" y="23"/>
                </a:lnTo>
                <a:lnTo>
                  <a:pt x="164" y="24"/>
                </a:lnTo>
                <a:lnTo>
                  <a:pt x="165" y="24"/>
                </a:lnTo>
                <a:lnTo>
                  <a:pt x="165" y="25"/>
                </a:lnTo>
                <a:lnTo>
                  <a:pt x="166" y="27"/>
                </a:lnTo>
                <a:lnTo>
                  <a:pt x="166" y="28"/>
                </a:lnTo>
                <a:lnTo>
                  <a:pt x="165" y="28"/>
                </a:lnTo>
                <a:lnTo>
                  <a:pt x="165" y="29"/>
                </a:lnTo>
                <a:lnTo>
                  <a:pt x="167" y="29"/>
                </a:lnTo>
                <a:lnTo>
                  <a:pt x="170" y="27"/>
                </a:lnTo>
                <a:lnTo>
                  <a:pt x="171" y="27"/>
                </a:lnTo>
                <a:lnTo>
                  <a:pt x="173" y="28"/>
                </a:lnTo>
                <a:lnTo>
                  <a:pt x="175" y="28"/>
                </a:lnTo>
                <a:lnTo>
                  <a:pt x="175" y="27"/>
                </a:lnTo>
                <a:lnTo>
                  <a:pt x="176" y="25"/>
                </a:lnTo>
                <a:lnTo>
                  <a:pt x="179" y="25"/>
                </a:lnTo>
                <a:lnTo>
                  <a:pt x="184" y="30"/>
                </a:lnTo>
                <a:lnTo>
                  <a:pt x="184" y="31"/>
                </a:lnTo>
                <a:lnTo>
                  <a:pt x="183" y="33"/>
                </a:lnTo>
                <a:lnTo>
                  <a:pt x="183" y="35"/>
                </a:lnTo>
                <a:lnTo>
                  <a:pt x="182" y="35"/>
                </a:lnTo>
                <a:lnTo>
                  <a:pt x="182" y="36"/>
                </a:lnTo>
                <a:lnTo>
                  <a:pt x="178" y="36"/>
                </a:lnTo>
                <a:lnTo>
                  <a:pt x="178" y="37"/>
                </a:lnTo>
                <a:lnTo>
                  <a:pt x="177" y="39"/>
                </a:lnTo>
                <a:lnTo>
                  <a:pt x="176" y="39"/>
                </a:lnTo>
                <a:lnTo>
                  <a:pt x="176" y="40"/>
                </a:lnTo>
                <a:lnTo>
                  <a:pt x="175" y="40"/>
                </a:lnTo>
                <a:lnTo>
                  <a:pt x="175" y="42"/>
                </a:lnTo>
                <a:lnTo>
                  <a:pt x="176" y="42"/>
                </a:lnTo>
                <a:lnTo>
                  <a:pt x="177" y="45"/>
                </a:lnTo>
                <a:lnTo>
                  <a:pt x="180" y="45"/>
                </a:lnTo>
                <a:lnTo>
                  <a:pt x="180" y="47"/>
                </a:lnTo>
                <a:lnTo>
                  <a:pt x="182" y="48"/>
                </a:lnTo>
                <a:lnTo>
                  <a:pt x="184" y="49"/>
                </a:lnTo>
                <a:lnTo>
                  <a:pt x="185" y="51"/>
                </a:lnTo>
                <a:lnTo>
                  <a:pt x="186" y="53"/>
                </a:lnTo>
                <a:lnTo>
                  <a:pt x="189" y="55"/>
                </a:lnTo>
                <a:lnTo>
                  <a:pt x="189" y="57"/>
                </a:lnTo>
                <a:lnTo>
                  <a:pt x="190" y="59"/>
                </a:lnTo>
                <a:lnTo>
                  <a:pt x="190" y="60"/>
                </a:lnTo>
                <a:lnTo>
                  <a:pt x="192" y="63"/>
                </a:lnTo>
                <a:lnTo>
                  <a:pt x="196" y="63"/>
                </a:lnTo>
                <a:lnTo>
                  <a:pt x="198" y="60"/>
                </a:lnTo>
                <a:lnTo>
                  <a:pt x="198" y="59"/>
                </a:lnTo>
                <a:lnTo>
                  <a:pt x="201" y="57"/>
                </a:lnTo>
                <a:lnTo>
                  <a:pt x="203" y="57"/>
                </a:lnTo>
                <a:lnTo>
                  <a:pt x="204" y="55"/>
                </a:lnTo>
                <a:lnTo>
                  <a:pt x="207" y="55"/>
                </a:lnTo>
                <a:lnTo>
                  <a:pt x="207" y="54"/>
                </a:lnTo>
                <a:lnTo>
                  <a:pt x="208" y="54"/>
                </a:lnTo>
                <a:lnTo>
                  <a:pt x="208" y="55"/>
                </a:lnTo>
                <a:lnTo>
                  <a:pt x="209" y="55"/>
                </a:lnTo>
                <a:lnTo>
                  <a:pt x="209" y="54"/>
                </a:lnTo>
                <a:lnTo>
                  <a:pt x="208" y="53"/>
                </a:lnTo>
                <a:lnTo>
                  <a:pt x="208" y="51"/>
                </a:lnTo>
                <a:lnTo>
                  <a:pt x="207" y="49"/>
                </a:lnTo>
                <a:lnTo>
                  <a:pt x="205" y="49"/>
                </a:lnTo>
                <a:lnTo>
                  <a:pt x="205" y="48"/>
                </a:lnTo>
                <a:lnTo>
                  <a:pt x="204" y="47"/>
                </a:lnTo>
                <a:lnTo>
                  <a:pt x="204" y="45"/>
                </a:lnTo>
                <a:lnTo>
                  <a:pt x="203" y="42"/>
                </a:lnTo>
                <a:lnTo>
                  <a:pt x="202" y="41"/>
                </a:lnTo>
                <a:lnTo>
                  <a:pt x="205" y="41"/>
                </a:lnTo>
                <a:lnTo>
                  <a:pt x="207" y="42"/>
                </a:lnTo>
                <a:lnTo>
                  <a:pt x="208" y="42"/>
                </a:lnTo>
                <a:lnTo>
                  <a:pt x="211" y="43"/>
                </a:lnTo>
                <a:lnTo>
                  <a:pt x="213" y="43"/>
                </a:lnTo>
                <a:lnTo>
                  <a:pt x="213" y="45"/>
                </a:lnTo>
                <a:lnTo>
                  <a:pt x="216" y="45"/>
                </a:lnTo>
                <a:lnTo>
                  <a:pt x="216" y="47"/>
                </a:lnTo>
                <a:lnTo>
                  <a:pt x="217" y="47"/>
                </a:lnTo>
                <a:lnTo>
                  <a:pt x="219" y="48"/>
                </a:lnTo>
                <a:lnTo>
                  <a:pt x="222" y="48"/>
                </a:lnTo>
                <a:lnTo>
                  <a:pt x="222" y="52"/>
                </a:lnTo>
                <a:lnTo>
                  <a:pt x="223" y="53"/>
                </a:lnTo>
                <a:lnTo>
                  <a:pt x="223" y="52"/>
                </a:lnTo>
                <a:lnTo>
                  <a:pt x="226" y="52"/>
                </a:lnTo>
                <a:lnTo>
                  <a:pt x="226" y="53"/>
                </a:lnTo>
                <a:lnTo>
                  <a:pt x="227" y="53"/>
                </a:lnTo>
                <a:lnTo>
                  <a:pt x="228" y="52"/>
                </a:lnTo>
                <a:lnTo>
                  <a:pt x="235" y="52"/>
                </a:lnTo>
                <a:lnTo>
                  <a:pt x="236" y="49"/>
                </a:lnTo>
                <a:lnTo>
                  <a:pt x="236" y="48"/>
                </a:lnTo>
                <a:lnTo>
                  <a:pt x="238" y="48"/>
                </a:lnTo>
                <a:lnTo>
                  <a:pt x="239" y="49"/>
                </a:lnTo>
                <a:lnTo>
                  <a:pt x="239" y="54"/>
                </a:lnTo>
                <a:lnTo>
                  <a:pt x="240" y="55"/>
                </a:lnTo>
                <a:lnTo>
                  <a:pt x="239" y="55"/>
                </a:lnTo>
                <a:lnTo>
                  <a:pt x="239" y="57"/>
                </a:lnTo>
                <a:lnTo>
                  <a:pt x="236" y="58"/>
                </a:lnTo>
                <a:lnTo>
                  <a:pt x="234" y="58"/>
                </a:lnTo>
                <a:lnTo>
                  <a:pt x="233" y="59"/>
                </a:lnTo>
                <a:lnTo>
                  <a:pt x="233" y="60"/>
                </a:lnTo>
                <a:lnTo>
                  <a:pt x="235" y="63"/>
                </a:lnTo>
                <a:lnTo>
                  <a:pt x="239" y="63"/>
                </a:lnTo>
                <a:lnTo>
                  <a:pt x="239" y="65"/>
                </a:lnTo>
                <a:lnTo>
                  <a:pt x="240" y="65"/>
                </a:lnTo>
                <a:lnTo>
                  <a:pt x="240" y="67"/>
                </a:lnTo>
                <a:lnTo>
                  <a:pt x="244" y="71"/>
                </a:lnTo>
                <a:lnTo>
                  <a:pt x="247" y="71"/>
                </a:lnTo>
                <a:lnTo>
                  <a:pt x="248" y="70"/>
                </a:lnTo>
                <a:lnTo>
                  <a:pt x="251" y="70"/>
                </a:lnTo>
                <a:lnTo>
                  <a:pt x="252" y="68"/>
                </a:lnTo>
                <a:lnTo>
                  <a:pt x="252" y="67"/>
                </a:lnTo>
                <a:lnTo>
                  <a:pt x="251" y="67"/>
                </a:lnTo>
                <a:lnTo>
                  <a:pt x="251" y="66"/>
                </a:lnTo>
                <a:lnTo>
                  <a:pt x="252" y="66"/>
                </a:lnTo>
                <a:lnTo>
                  <a:pt x="254" y="68"/>
                </a:lnTo>
                <a:lnTo>
                  <a:pt x="254" y="70"/>
                </a:lnTo>
                <a:lnTo>
                  <a:pt x="257" y="71"/>
                </a:lnTo>
                <a:lnTo>
                  <a:pt x="258" y="71"/>
                </a:lnTo>
                <a:lnTo>
                  <a:pt x="259" y="72"/>
                </a:lnTo>
                <a:lnTo>
                  <a:pt x="260" y="72"/>
                </a:lnTo>
                <a:lnTo>
                  <a:pt x="262" y="73"/>
                </a:lnTo>
                <a:lnTo>
                  <a:pt x="262" y="74"/>
                </a:lnTo>
                <a:lnTo>
                  <a:pt x="263" y="76"/>
                </a:lnTo>
                <a:lnTo>
                  <a:pt x="264" y="76"/>
                </a:lnTo>
                <a:lnTo>
                  <a:pt x="265" y="74"/>
                </a:lnTo>
                <a:lnTo>
                  <a:pt x="264" y="74"/>
                </a:lnTo>
                <a:lnTo>
                  <a:pt x="264" y="73"/>
                </a:lnTo>
                <a:lnTo>
                  <a:pt x="266" y="73"/>
                </a:lnTo>
                <a:lnTo>
                  <a:pt x="267" y="74"/>
                </a:lnTo>
                <a:lnTo>
                  <a:pt x="271" y="76"/>
                </a:lnTo>
                <a:lnTo>
                  <a:pt x="272" y="76"/>
                </a:lnTo>
                <a:lnTo>
                  <a:pt x="273" y="74"/>
                </a:lnTo>
                <a:lnTo>
                  <a:pt x="273" y="76"/>
                </a:lnTo>
                <a:lnTo>
                  <a:pt x="275" y="77"/>
                </a:lnTo>
                <a:lnTo>
                  <a:pt x="275" y="78"/>
                </a:lnTo>
                <a:lnTo>
                  <a:pt x="276" y="79"/>
                </a:lnTo>
                <a:lnTo>
                  <a:pt x="275" y="80"/>
                </a:lnTo>
                <a:lnTo>
                  <a:pt x="275" y="84"/>
                </a:lnTo>
                <a:lnTo>
                  <a:pt x="276" y="86"/>
                </a:lnTo>
                <a:lnTo>
                  <a:pt x="277" y="88"/>
                </a:lnTo>
                <a:lnTo>
                  <a:pt x="277" y="89"/>
                </a:lnTo>
                <a:lnTo>
                  <a:pt x="279" y="89"/>
                </a:lnTo>
                <a:lnTo>
                  <a:pt x="279" y="90"/>
                </a:lnTo>
                <a:lnTo>
                  <a:pt x="281" y="90"/>
                </a:lnTo>
                <a:lnTo>
                  <a:pt x="281" y="91"/>
                </a:lnTo>
                <a:lnTo>
                  <a:pt x="282" y="91"/>
                </a:lnTo>
                <a:lnTo>
                  <a:pt x="282" y="90"/>
                </a:lnTo>
                <a:lnTo>
                  <a:pt x="283" y="90"/>
                </a:lnTo>
                <a:lnTo>
                  <a:pt x="284" y="91"/>
                </a:lnTo>
                <a:lnTo>
                  <a:pt x="284" y="95"/>
                </a:lnTo>
                <a:lnTo>
                  <a:pt x="285" y="95"/>
                </a:lnTo>
                <a:lnTo>
                  <a:pt x="285" y="101"/>
                </a:lnTo>
                <a:lnTo>
                  <a:pt x="284" y="101"/>
                </a:lnTo>
                <a:lnTo>
                  <a:pt x="282" y="103"/>
                </a:lnTo>
                <a:lnTo>
                  <a:pt x="279" y="103"/>
                </a:lnTo>
                <a:lnTo>
                  <a:pt x="277" y="102"/>
                </a:lnTo>
                <a:lnTo>
                  <a:pt x="276" y="103"/>
                </a:lnTo>
                <a:lnTo>
                  <a:pt x="273" y="102"/>
                </a:lnTo>
                <a:lnTo>
                  <a:pt x="273" y="103"/>
                </a:lnTo>
                <a:lnTo>
                  <a:pt x="272" y="103"/>
                </a:lnTo>
                <a:lnTo>
                  <a:pt x="272" y="106"/>
                </a:lnTo>
                <a:lnTo>
                  <a:pt x="269" y="109"/>
                </a:lnTo>
                <a:lnTo>
                  <a:pt x="266" y="109"/>
                </a:lnTo>
                <a:lnTo>
                  <a:pt x="266" y="111"/>
                </a:lnTo>
                <a:lnTo>
                  <a:pt x="264" y="114"/>
                </a:lnTo>
                <a:lnTo>
                  <a:pt x="258" y="116"/>
                </a:lnTo>
                <a:lnTo>
                  <a:pt x="256" y="119"/>
                </a:lnTo>
                <a:lnTo>
                  <a:pt x="256" y="121"/>
                </a:lnTo>
                <a:lnTo>
                  <a:pt x="254" y="123"/>
                </a:lnTo>
                <a:lnTo>
                  <a:pt x="254" y="129"/>
                </a:lnTo>
                <a:lnTo>
                  <a:pt x="251" y="133"/>
                </a:lnTo>
                <a:lnTo>
                  <a:pt x="247" y="133"/>
                </a:lnTo>
                <a:lnTo>
                  <a:pt x="246" y="134"/>
                </a:lnTo>
                <a:lnTo>
                  <a:pt x="246" y="138"/>
                </a:lnTo>
                <a:lnTo>
                  <a:pt x="245" y="138"/>
                </a:lnTo>
                <a:lnTo>
                  <a:pt x="245" y="139"/>
                </a:lnTo>
                <a:lnTo>
                  <a:pt x="241" y="139"/>
                </a:lnTo>
                <a:lnTo>
                  <a:pt x="241" y="140"/>
                </a:lnTo>
                <a:lnTo>
                  <a:pt x="240" y="143"/>
                </a:lnTo>
                <a:lnTo>
                  <a:pt x="239" y="143"/>
                </a:lnTo>
                <a:lnTo>
                  <a:pt x="231" y="146"/>
                </a:lnTo>
                <a:lnTo>
                  <a:pt x="229" y="146"/>
                </a:lnTo>
                <a:lnTo>
                  <a:pt x="227" y="144"/>
                </a:lnTo>
                <a:lnTo>
                  <a:pt x="226" y="145"/>
                </a:lnTo>
                <a:lnTo>
                  <a:pt x="225" y="145"/>
                </a:lnTo>
                <a:lnTo>
                  <a:pt x="223" y="146"/>
                </a:lnTo>
                <a:lnTo>
                  <a:pt x="219" y="144"/>
                </a:lnTo>
                <a:lnTo>
                  <a:pt x="217" y="143"/>
                </a:lnTo>
                <a:lnTo>
                  <a:pt x="215" y="143"/>
                </a:lnTo>
                <a:lnTo>
                  <a:pt x="213" y="145"/>
                </a:lnTo>
                <a:lnTo>
                  <a:pt x="213" y="146"/>
                </a:lnTo>
                <a:lnTo>
                  <a:pt x="210" y="149"/>
                </a:lnTo>
                <a:lnTo>
                  <a:pt x="209" y="151"/>
                </a:lnTo>
                <a:lnTo>
                  <a:pt x="207" y="157"/>
                </a:lnTo>
                <a:lnTo>
                  <a:pt x="205" y="158"/>
                </a:lnTo>
                <a:lnTo>
                  <a:pt x="205" y="159"/>
                </a:lnTo>
                <a:lnTo>
                  <a:pt x="204" y="158"/>
                </a:lnTo>
                <a:lnTo>
                  <a:pt x="204" y="153"/>
                </a:lnTo>
                <a:lnTo>
                  <a:pt x="203" y="152"/>
                </a:lnTo>
                <a:lnTo>
                  <a:pt x="201" y="152"/>
                </a:lnTo>
                <a:lnTo>
                  <a:pt x="200" y="153"/>
                </a:lnTo>
                <a:lnTo>
                  <a:pt x="197" y="151"/>
                </a:lnTo>
                <a:lnTo>
                  <a:pt x="194" y="151"/>
                </a:lnTo>
                <a:lnTo>
                  <a:pt x="194" y="149"/>
                </a:lnTo>
                <a:lnTo>
                  <a:pt x="192" y="149"/>
                </a:lnTo>
                <a:lnTo>
                  <a:pt x="191" y="147"/>
                </a:lnTo>
                <a:lnTo>
                  <a:pt x="189" y="147"/>
                </a:lnTo>
                <a:lnTo>
                  <a:pt x="189" y="146"/>
                </a:lnTo>
                <a:lnTo>
                  <a:pt x="188" y="146"/>
                </a:lnTo>
                <a:lnTo>
                  <a:pt x="186" y="147"/>
                </a:lnTo>
                <a:lnTo>
                  <a:pt x="184" y="147"/>
                </a:lnTo>
                <a:lnTo>
                  <a:pt x="182" y="151"/>
                </a:lnTo>
                <a:lnTo>
                  <a:pt x="182" y="152"/>
                </a:lnTo>
                <a:lnTo>
                  <a:pt x="180" y="151"/>
                </a:lnTo>
                <a:lnTo>
                  <a:pt x="170" y="151"/>
                </a:lnTo>
                <a:lnTo>
                  <a:pt x="167" y="150"/>
                </a:lnTo>
                <a:lnTo>
                  <a:pt x="163" y="146"/>
                </a:lnTo>
                <a:lnTo>
                  <a:pt x="163" y="145"/>
                </a:lnTo>
                <a:lnTo>
                  <a:pt x="160" y="145"/>
                </a:lnTo>
                <a:lnTo>
                  <a:pt x="161" y="144"/>
                </a:lnTo>
                <a:lnTo>
                  <a:pt x="159" y="144"/>
                </a:lnTo>
                <a:lnTo>
                  <a:pt x="159" y="143"/>
                </a:lnTo>
                <a:lnTo>
                  <a:pt x="157" y="143"/>
                </a:lnTo>
                <a:lnTo>
                  <a:pt x="155" y="144"/>
                </a:lnTo>
                <a:lnTo>
                  <a:pt x="153" y="144"/>
                </a:lnTo>
                <a:lnTo>
                  <a:pt x="149" y="141"/>
                </a:lnTo>
                <a:lnTo>
                  <a:pt x="147" y="140"/>
                </a:lnTo>
                <a:lnTo>
                  <a:pt x="146" y="140"/>
                </a:lnTo>
                <a:lnTo>
                  <a:pt x="144" y="138"/>
                </a:lnTo>
                <a:lnTo>
                  <a:pt x="142" y="138"/>
                </a:lnTo>
                <a:lnTo>
                  <a:pt x="141" y="137"/>
                </a:lnTo>
                <a:lnTo>
                  <a:pt x="139" y="135"/>
                </a:lnTo>
                <a:lnTo>
                  <a:pt x="135" y="135"/>
                </a:lnTo>
                <a:lnTo>
                  <a:pt x="135" y="137"/>
                </a:lnTo>
                <a:lnTo>
                  <a:pt x="134" y="137"/>
                </a:lnTo>
                <a:lnTo>
                  <a:pt x="134" y="138"/>
                </a:lnTo>
                <a:lnTo>
                  <a:pt x="130" y="138"/>
                </a:lnTo>
                <a:lnTo>
                  <a:pt x="130" y="135"/>
                </a:lnTo>
                <a:lnTo>
                  <a:pt x="129" y="134"/>
                </a:lnTo>
                <a:lnTo>
                  <a:pt x="127" y="134"/>
                </a:lnTo>
                <a:lnTo>
                  <a:pt x="124" y="133"/>
                </a:lnTo>
                <a:lnTo>
                  <a:pt x="123" y="133"/>
                </a:lnTo>
                <a:lnTo>
                  <a:pt x="123" y="134"/>
                </a:lnTo>
                <a:lnTo>
                  <a:pt x="122" y="135"/>
                </a:lnTo>
                <a:lnTo>
                  <a:pt x="122" y="145"/>
                </a:lnTo>
                <a:lnTo>
                  <a:pt x="121" y="146"/>
                </a:lnTo>
                <a:lnTo>
                  <a:pt x="121" y="147"/>
                </a:lnTo>
                <a:lnTo>
                  <a:pt x="122" y="149"/>
                </a:lnTo>
                <a:lnTo>
                  <a:pt x="121" y="150"/>
                </a:lnTo>
                <a:lnTo>
                  <a:pt x="118" y="149"/>
                </a:lnTo>
                <a:lnTo>
                  <a:pt x="115" y="149"/>
                </a:lnTo>
                <a:lnTo>
                  <a:pt x="115" y="152"/>
                </a:lnTo>
                <a:lnTo>
                  <a:pt x="113" y="153"/>
                </a:lnTo>
                <a:lnTo>
                  <a:pt x="111" y="154"/>
                </a:lnTo>
                <a:lnTo>
                  <a:pt x="111" y="160"/>
                </a:lnTo>
                <a:lnTo>
                  <a:pt x="110" y="162"/>
                </a:lnTo>
                <a:lnTo>
                  <a:pt x="109" y="162"/>
                </a:lnTo>
                <a:lnTo>
                  <a:pt x="109" y="159"/>
                </a:lnTo>
                <a:lnTo>
                  <a:pt x="107" y="159"/>
                </a:lnTo>
                <a:lnTo>
                  <a:pt x="107" y="158"/>
                </a:lnTo>
                <a:lnTo>
                  <a:pt x="104" y="159"/>
                </a:lnTo>
                <a:lnTo>
                  <a:pt x="102" y="158"/>
                </a:lnTo>
                <a:lnTo>
                  <a:pt x="101" y="157"/>
                </a:lnTo>
                <a:lnTo>
                  <a:pt x="99" y="160"/>
                </a:lnTo>
                <a:lnTo>
                  <a:pt x="98" y="160"/>
                </a:lnTo>
                <a:lnTo>
                  <a:pt x="97" y="162"/>
                </a:lnTo>
                <a:lnTo>
                  <a:pt x="96" y="162"/>
                </a:lnTo>
                <a:lnTo>
                  <a:pt x="96" y="163"/>
                </a:lnTo>
                <a:lnTo>
                  <a:pt x="95" y="163"/>
                </a:lnTo>
                <a:lnTo>
                  <a:pt x="91" y="160"/>
                </a:lnTo>
                <a:lnTo>
                  <a:pt x="85" y="160"/>
                </a:lnTo>
                <a:lnTo>
                  <a:pt x="83" y="159"/>
                </a:lnTo>
                <a:lnTo>
                  <a:pt x="83" y="158"/>
                </a:lnTo>
                <a:lnTo>
                  <a:pt x="82" y="158"/>
                </a:lnTo>
                <a:lnTo>
                  <a:pt x="82" y="157"/>
                </a:lnTo>
                <a:lnTo>
                  <a:pt x="83" y="157"/>
                </a:lnTo>
                <a:lnTo>
                  <a:pt x="83" y="154"/>
                </a:lnTo>
                <a:lnTo>
                  <a:pt x="82" y="154"/>
                </a:lnTo>
                <a:lnTo>
                  <a:pt x="82" y="153"/>
                </a:lnTo>
                <a:lnTo>
                  <a:pt x="80" y="153"/>
                </a:lnTo>
                <a:lnTo>
                  <a:pt x="78" y="151"/>
                </a:lnTo>
                <a:lnTo>
                  <a:pt x="77" y="151"/>
                </a:lnTo>
                <a:lnTo>
                  <a:pt x="77" y="150"/>
                </a:lnTo>
                <a:lnTo>
                  <a:pt x="76" y="150"/>
                </a:lnTo>
                <a:lnTo>
                  <a:pt x="74" y="149"/>
                </a:lnTo>
                <a:lnTo>
                  <a:pt x="73" y="149"/>
                </a:lnTo>
                <a:lnTo>
                  <a:pt x="71" y="144"/>
                </a:lnTo>
                <a:lnTo>
                  <a:pt x="70" y="143"/>
                </a:lnTo>
                <a:lnTo>
                  <a:pt x="67" y="143"/>
                </a:lnTo>
                <a:lnTo>
                  <a:pt x="67" y="141"/>
                </a:lnTo>
                <a:lnTo>
                  <a:pt x="66" y="141"/>
                </a:lnTo>
                <a:lnTo>
                  <a:pt x="66" y="140"/>
                </a:lnTo>
                <a:lnTo>
                  <a:pt x="65" y="139"/>
                </a:lnTo>
                <a:lnTo>
                  <a:pt x="65" y="138"/>
                </a:lnTo>
                <a:lnTo>
                  <a:pt x="64" y="138"/>
                </a:lnTo>
                <a:lnTo>
                  <a:pt x="62" y="137"/>
                </a:lnTo>
                <a:lnTo>
                  <a:pt x="60" y="137"/>
                </a:lnTo>
                <a:lnTo>
                  <a:pt x="60" y="138"/>
                </a:lnTo>
                <a:lnTo>
                  <a:pt x="59" y="138"/>
                </a:lnTo>
                <a:lnTo>
                  <a:pt x="55" y="134"/>
                </a:lnTo>
                <a:lnTo>
                  <a:pt x="55" y="132"/>
                </a:lnTo>
                <a:lnTo>
                  <a:pt x="52" y="128"/>
                </a:lnTo>
                <a:lnTo>
                  <a:pt x="52" y="127"/>
                </a:lnTo>
                <a:lnTo>
                  <a:pt x="47" y="127"/>
                </a:lnTo>
                <a:lnTo>
                  <a:pt x="46" y="126"/>
                </a:lnTo>
                <a:lnTo>
                  <a:pt x="46" y="125"/>
                </a:lnTo>
                <a:lnTo>
                  <a:pt x="42" y="119"/>
                </a:lnTo>
                <a:lnTo>
                  <a:pt x="41" y="119"/>
                </a:lnTo>
                <a:lnTo>
                  <a:pt x="40" y="116"/>
                </a:lnTo>
                <a:lnTo>
                  <a:pt x="40" y="115"/>
                </a:lnTo>
                <a:lnTo>
                  <a:pt x="39" y="115"/>
                </a:lnTo>
                <a:lnTo>
                  <a:pt x="37" y="114"/>
                </a:lnTo>
                <a:lnTo>
                  <a:pt x="37" y="113"/>
                </a:lnTo>
                <a:lnTo>
                  <a:pt x="34" y="113"/>
                </a:lnTo>
                <a:lnTo>
                  <a:pt x="34" y="114"/>
                </a:lnTo>
                <a:lnTo>
                  <a:pt x="30" y="113"/>
                </a:lnTo>
                <a:lnTo>
                  <a:pt x="29" y="111"/>
                </a:lnTo>
                <a:lnTo>
                  <a:pt x="28" y="109"/>
                </a:lnTo>
                <a:lnTo>
                  <a:pt x="26" y="107"/>
                </a:lnTo>
                <a:lnTo>
                  <a:pt x="24" y="107"/>
                </a:lnTo>
                <a:lnTo>
                  <a:pt x="24" y="106"/>
                </a:lnTo>
                <a:lnTo>
                  <a:pt x="23" y="104"/>
                </a:lnTo>
                <a:lnTo>
                  <a:pt x="23" y="101"/>
                </a:lnTo>
                <a:lnTo>
                  <a:pt x="22" y="101"/>
                </a:lnTo>
                <a:lnTo>
                  <a:pt x="22" y="100"/>
                </a:lnTo>
                <a:lnTo>
                  <a:pt x="21" y="100"/>
                </a:lnTo>
                <a:lnTo>
                  <a:pt x="21" y="96"/>
                </a:lnTo>
                <a:lnTo>
                  <a:pt x="20" y="95"/>
                </a:lnTo>
                <a:lnTo>
                  <a:pt x="18" y="95"/>
                </a:lnTo>
                <a:lnTo>
                  <a:pt x="18" y="91"/>
                </a:lnTo>
                <a:lnTo>
                  <a:pt x="17" y="90"/>
                </a:lnTo>
                <a:lnTo>
                  <a:pt x="16" y="90"/>
                </a:lnTo>
                <a:lnTo>
                  <a:pt x="16" y="89"/>
                </a:lnTo>
                <a:lnTo>
                  <a:pt x="15" y="89"/>
                </a:lnTo>
                <a:lnTo>
                  <a:pt x="14" y="88"/>
                </a:lnTo>
                <a:lnTo>
                  <a:pt x="14" y="85"/>
                </a:lnTo>
                <a:lnTo>
                  <a:pt x="16" y="84"/>
                </a:lnTo>
                <a:lnTo>
                  <a:pt x="16" y="82"/>
                </a:lnTo>
                <a:lnTo>
                  <a:pt x="18" y="79"/>
                </a:lnTo>
                <a:lnTo>
                  <a:pt x="18" y="78"/>
                </a:lnTo>
                <a:lnTo>
                  <a:pt x="20" y="77"/>
                </a:lnTo>
                <a:lnTo>
                  <a:pt x="20" y="74"/>
                </a:lnTo>
                <a:lnTo>
                  <a:pt x="18" y="74"/>
                </a:lnTo>
                <a:lnTo>
                  <a:pt x="17" y="73"/>
                </a:lnTo>
                <a:lnTo>
                  <a:pt x="17" y="71"/>
                </a:lnTo>
                <a:lnTo>
                  <a:pt x="16" y="71"/>
                </a:lnTo>
                <a:lnTo>
                  <a:pt x="15" y="70"/>
                </a:lnTo>
                <a:lnTo>
                  <a:pt x="14" y="70"/>
                </a:lnTo>
                <a:lnTo>
                  <a:pt x="8" y="66"/>
                </a:lnTo>
                <a:lnTo>
                  <a:pt x="8" y="65"/>
                </a:lnTo>
                <a:lnTo>
                  <a:pt x="5" y="63"/>
                </a:lnTo>
                <a:lnTo>
                  <a:pt x="5" y="58"/>
                </a:lnTo>
                <a:lnTo>
                  <a:pt x="4" y="58"/>
                </a:lnTo>
                <a:lnTo>
                  <a:pt x="4" y="57"/>
                </a:lnTo>
                <a:lnTo>
                  <a:pt x="3" y="55"/>
                </a:lnTo>
                <a:lnTo>
                  <a:pt x="0" y="54"/>
                </a:lnTo>
                <a:lnTo>
                  <a:pt x="0" y="53"/>
                </a:lnTo>
                <a:lnTo>
                  <a:pt x="2" y="53"/>
                </a:lnTo>
                <a:lnTo>
                  <a:pt x="2" y="49"/>
                </a:lnTo>
                <a:lnTo>
                  <a:pt x="0" y="48"/>
                </a:lnTo>
                <a:lnTo>
                  <a:pt x="4" y="48"/>
                </a:lnTo>
                <a:lnTo>
                  <a:pt x="4" y="51"/>
                </a:lnTo>
                <a:lnTo>
                  <a:pt x="5" y="52"/>
                </a:lnTo>
                <a:lnTo>
                  <a:pt x="8" y="52"/>
                </a:lnTo>
                <a:lnTo>
                  <a:pt x="8" y="53"/>
                </a:lnTo>
                <a:lnTo>
                  <a:pt x="6" y="53"/>
                </a:lnTo>
                <a:lnTo>
                  <a:pt x="6" y="54"/>
                </a:lnTo>
                <a:lnTo>
                  <a:pt x="8" y="54"/>
                </a:lnTo>
                <a:lnTo>
                  <a:pt x="8" y="55"/>
                </a:lnTo>
                <a:lnTo>
                  <a:pt x="9" y="57"/>
                </a:lnTo>
                <a:lnTo>
                  <a:pt x="9" y="59"/>
                </a:lnTo>
                <a:lnTo>
                  <a:pt x="10" y="59"/>
                </a:lnTo>
                <a:lnTo>
                  <a:pt x="10" y="54"/>
                </a:lnTo>
                <a:lnTo>
                  <a:pt x="11" y="53"/>
                </a:lnTo>
                <a:lnTo>
                  <a:pt x="11" y="52"/>
                </a:lnTo>
                <a:lnTo>
                  <a:pt x="12" y="52"/>
                </a:lnTo>
                <a:lnTo>
                  <a:pt x="12" y="51"/>
                </a:lnTo>
                <a:lnTo>
                  <a:pt x="14" y="48"/>
                </a:lnTo>
                <a:lnTo>
                  <a:pt x="15" y="48"/>
                </a:lnTo>
                <a:lnTo>
                  <a:pt x="16" y="47"/>
                </a:lnTo>
                <a:lnTo>
                  <a:pt x="17" y="47"/>
                </a:lnTo>
                <a:lnTo>
                  <a:pt x="17" y="45"/>
                </a:lnTo>
                <a:lnTo>
                  <a:pt x="18" y="43"/>
                </a:lnTo>
                <a:lnTo>
                  <a:pt x="27" y="43"/>
                </a:lnTo>
                <a:lnTo>
                  <a:pt x="27" y="42"/>
                </a:lnTo>
                <a:lnTo>
                  <a:pt x="28" y="41"/>
                </a:lnTo>
                <a:lnTo>
                  <a:pt x="30" y="41"/>
                </a:lnTo>
                <a:lnTo>
                  <a:pt x="31" y="40"/>
                </a:lnTo>
                <a:lnTo>
                  <a:pt x="36" y="42"/>
                </a:lnTo>
                <a:lnTo>
                  <a:pt x="37" y="42"/>
                </a:lnTo>
                <a:lnTo>
                  <a:pt x="39" y="41"/>
                </a:lnTo>
                <a:lnTo>
                  <a:pt x="40" y="41"/>
                </a:lnTo>
                <a:lnTo>
                  <a:pt x="40" y="36"/>
                </a:lnTo>
                <a:lnTo>
                  <a:pt x="46" y="36"/>
                </a:lnTo>
                <a:lnTo>
                  <a:pt x="47" y="35"/>
                </a:lnTo>
                <a:lnTo>
                  <a:pt x="48" y="35"/>
                </a:lnTo>
                <a:lnTo>
                  <a:pt x="49" y="30"/>
                </a:lnTo>
                <a:lnTo>
                  <a:pt x="51" y="30"/>
                </a:lnTo>
                <a:lnTo>
                  <a:pt x="51" y="31"/>
                </a:lnTo>
                <a:lnTo>
                  <a:pt x="52" y="31"/>
                </a:lnTo>
                <a:lnTo>
                  <a:pt x="53" y="30"/>
                </a:lnTo>
                <a:lnTo>
                  <a:pt x="53" y="29"/>
                </a:lnTo>
                <a:lnTo>
                  <a:pt x="54" y="28"/>
                </a:lnTo>
                <a:lnTo>
                  <a:pt x="55" y="28"/>
                </a:lnTo>
                <a:lnTo>
                  <a:pt x="58" y="30"/>
                </a:lnTo>
                <a:lnTo>
                  <a:pt x="59" y="30"/>
                </a:lnTo>
                <a:lnTo>
                  <a:pt x="59" y="29"/>
                </a:lnTo>
                <a:lnTo>
                  <a:pt x="60" y="28"/>
                </a:lnTo>
                <a:lnTo>
                  <a:pt x="60" y="27"/>
                </a:lnTo>
                <a:lnTo>
                  <a:pt x="61" y="27"/>
                </a:lnTo>
                <a:lnTo>
                  <a:pt x="61" y="23"/>
                </a:lnTo>
                <a:lnTo>
                  <a:pt x="62" y="22"/>
                </a:lnTo>
                <a:lnTo>
                  <a:pt x="71" y="22"/>
                </a:lnTo>
                <a:lnTo>
                  <a:pt x="72" y="21"/>
                </a:lnTo>
                <a:lnTo>
                  <a:pt x="74" y="22"/>
                </a:lnTo>
                <a:lnTo>
                  <a:pt x="76" y="21"/>
                </a:lnTo>
                <a:lnTo>
                  <a:pt x="77" y="21"/>
                </a:lnTo>
                <a:lnTo>
                  <a:pt x="77" y="17"/>
                </a:lnTo>
                <a:lnTo>
                  <a:pt x="79" y="17"/>
                </a:lnTo>
                <a:lnTo>
                  <a:pt x="79" y="16"/>
                </a:lnTo>
                <a:lnTo>
                  <a:pt x="83" y="16"/>
                </a:lnTo>
                <a:lnTo>
                  <a:pt x="90" y="14"/>
                </a:lnTo>
                <a:lnTo>
                  <a:pt x="90" y="12"/>
                </a:lnTo>
                <a:lnTo>
                  <a:pt x="91" y="11"/>
                </a:lnTo>
                <a:lnTo>
                  <a:pt x="96" y="11"/>
                </a:lnTo>
                <a:lnTo>
                  <a:pt x="97" y="10"/>
                </a:lnTo>
                <a:lnTo>
                  <a:pt x="98" y="8"/>
                </a:lnTo>
                <a:lnTo>
                  <a:pt x="95" y="8"/>
                </a:lnTo>
                <a:lnTo>
                  <a:pt x="93" y="6"/>
                </a:lnTo>
                <a:lnTo>
                  <a:pt x="93" y="5"/>
                </a:lnTo>
                <a:lnTo>
                  <a:pt x="95" y="5"/>
                </a:lnTo>
                <a:lnTo>
                  <a:pt x="93" y="4"/>
                </a:lnTo>
                <a:lnTo>
                  <a:pt x="91" y="4"/>
                </a:lnTo>
                <a:lnTo>
                  <a:pt x="92" y="3"/>
                </a:lnTo>
                <a:lnTo>
                  <a:pt x="92" y="2"/>
                </a:lnTo>
                <a:lnTo>
                  <a:pt x="93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8" name="Freeform 49">
            <a:extLst>
              <a:ext uri="{FF2B5EF4-FFF2-40B4-BE49-F238E27FC236}">
                <a16:creationId xmlns:a16="http://schemas.microsoft.com/office/drawing/2014/main" id="{E3CDF4E4-91FF-4D23-AA07-CAA9E7652F2F}"/>
              </a:ext>
            </a:extLst>
          </p:cNvPr>
          <p:cNvSpPr>
            <a:spLocks/>
          </p:cNvSpPr>
          <p:nvPr/>
        </p:nvSpPr>
        <p:spPr bwMode="auto">
          <a:xfrm>
            <a:off x="3205152" y="5915875"/>
            <a:ext cx="140548" cy="84039"/>
          </a:xfrm>
          <a:custGeom>
            <a:avLst/>
            <a:gdLst/>
            <a:ahLst/>
            <a:cxnLst>
              <a:cxn ang="0">
                <a:pos x="97" y="0"/>
              </a:cxn>
              <a:cxn ang="0">
                <a:pos x="95" y="3"/>
              </a:cxn>
              <a:cxn ang="0">
                <a:pos x="88" y="9"/>
              </a:cxn>
              <a:cxn ang="0">
                <a:pos x="75" y="18"/>
              </a:cxn>
              <a:cxn ang="0">
                <a:pos x="70" y="19"/>
              </a:cxn>
              <a:cxn ang="0">
                <a:pos x="69" y="23"/>
              </a:cxn>
              <a:cxn ang="0">
                <a:pos x="69" y="28"/>
              </a:cxn>
              <a:cxn ang="0">
                <a:pos x="71" y="31"/>
              </a:cxn>
              <a:cxn ang="0">
                <a:pos x="74" y="33"/>
              </a:cxn>
              <a:cxn ang="0">
                <a:pos x="75" y="34"/>
              </a:cxn>
              <a:cxn ang="0">
                <a:pos x="76" y="36"/>
              </a:cxn>
              <a:cxn ang="0">
                <a:pos x="74" y="37"/>
              </a:cxn>
              <a:cxn ang="0">
                <a:pos x="72" y="36"/>
              </a:cxn>
              <a:cxn ang="0">
                <a:pos x="68" y="37"/>
              </a:cxn>
              <a:cxn ang="0">
                <a:pos x="66" y="39"/>
              </a:cxn>
              <a:cxn ang="0">
                <a:pos x="59" y="37"/>
              </a:cxn>
              <a:cxn ang="0">
                <a:pos x="58" y="40"/>
              </a:cxn>
              <a:cxn ang="0">
                <a:pos x="57" y="43"/>
              </a:cxn>
              <a:cxn ang="0">
                <a:pos x="56" y="46"/>
              </a:cxn>
              <a:cxn ang="0">
                <a:pos x="52" y="47"/>
              </a:cxn>
              <a:cxn ang="0">
                <a:pos x="49" y="48"/>
              </a:cxn>
              <a:cxn ang="0">
                <a:pos x="47" y="49"/>
              </a:cxn>
              <a:cxn ang="0">
                <a:pos x="43" y="51"/>
              </a:cxn>
              <a:cxn ang="0">
                <a:pos x="41" y="52"/>
              </a:cxn>
              <a:cxn ang="0">
                <a:pos x="38" y="51"/>
              </a:cxn>
              <a:cxn ang="0">
                <a:pos x="33" y="52"/>
              </a:cxn>
              <a:cxn ang="0">
                <a:pos x="31" y="54"/>
              </a:cxn>
              <a:cxn ang="0">
                <a:pos x="32" y="58"/>
              </a:cxn>
              <a:cxn ang="0">
                <a:pos x="28" y="57"/>
              </a:cxn>
              <a:cxn ang="0">
                <a:pos x="27" y="53"/>
              </a:cxn>
              <a:cxn ang="0">
                <a:pos x="20" y="54"/>
              </a:cxn>
              <a:cxn ang="0">
                <a:pos x="14" y="53"/>
              </a:cxn>
              <a:cxn ang="0">
                <a:pos x="12" y="52"/>
              </a:cxn>
              <a:cxn ang="0">
                <a:pos x="7" y="51"/>
              </a:cxn>
              <a:cxn ang="0">
                <a:pos x="6" y="47"/>
              </a:cxn>
              <a:cxn ang="0">
                <a:pos x="4" y="43"/>
              </a:cxn>
              <a:cxn ang="0">
                <a:pos x="3" y="42"/>
              </a:cxn>
              <a:cxn ang="0">
                <a:pos x="2" y="40"/>
              </a:cxn>
              <a:cxn ang="0">
                <a:pos x="1" y="36"/>
              </a:cxn>
              <a:cxn ang="0">
                <a:pos x="0" y="31"/>
              </a:cxn>
              <a:cxn ang="0">
                <a:pos x="3" y="34"/>
              </a:cxn>
              <a:cxn ang="0">
                <a:pos x="10" y="29"/>
              </a:cxn>
              <a:cxn ang="0">
                <a:pos x="12" y="27"/>
              </a:cxn>
              <a:cxn ang="0">
                <a:pos x="22" y="28"/>
              </a:cxn>
              <a:cxn ang="0">
                <a:pos x="27" y="25"/>
              </a:cxn>
              <a:cxn ang="0">
                <a:pos x="28" y="16"/>
              </a:cxn>
              <a:cxn ang="0">
                <a:pos x="37" y="17"/>
              </a:cxn>
              <a:cxn ang="0">
                <a:pos x="43" y="18"/>
              </a:cxn>
              <a:cxn ang="0">
                <a:pos x="58" y="17"/>
              </a:cxn>
              <a:cxn ang="0">
                <a:pos x="63" y="15"/>
              </a:cxn>
              <a:cxn ang="0">
                <a:pos x="68" y="14"/>
              </a:cxn>
              <a:cxn ang="0">
                <a:pos x="76" y="10"/>
              </a:cxn>
              <a:cxn ang="0">
                <a:pos x="80" y="8"/>
              </a:cxn>
              <a:cxn ang="0">
                <a:pos x="84" y="6"/>
              </a:cxn>
              <a:cxn ang="0">
                <a:pos x="95" y="0"/>
              </a:cxn>
            </a:cxnLst>
            <a:rect l="0" t="0" r="r" b="b"/>
            <a:pathLst>
              <a:path w="97" h="58">
                <a:moveTo>
                  <a:pt x="95" y="0"/>
                </a:moveTo>
                <a:lnTo>
                  <a:pt x="97" y="0"/>
                </a:lnTo>
                <a:lnTo>
                  <a:pt x="96" y="3"/>
                </a:lnTo>
                <a:lnTo>
                  <a:pt x="95" y="3"/>
                </a:lnTo>
                <a:lnTo>
                  <a:pt x="91" y="6"/>
                </a:lnTo>
                <a:lnTo>
                  <a:pt x="88" y="9"/>
                </a:lnTo>
                <a:lnTo>
                  <a:pt x="78" y="15"/>
                </a:lnTo>
                <a:lnTo>
                  <a:pt x="75" y="18"/>
                </a:lnTo>
                <a:lnTo>
                  <a:pt x="75" y="19"/>
                </a:lnTo>
                <a:lnTo>
                  <a:pt x="70" y="19"/>
                </a:lnTo>
                <a:lnTo>
                  <a:pt x="69" y="22"/>
                </a:lnTo>
                <a:lnTo>
                  <a:pt x="69" y="23"/>
                </a:lnTo>
                <a:lnTo>
                  <a:pt x="68" y="28"/>
                </a:lnTo>
                <a:lnTo>
                  <a:pt x="69" y="28"/>
                </a:lnTo>
                <a:lnTo>
                  <a:pt x="71" y="30"/>
                </a:lnTo>
                <a:lnTo>
                  <a:pt x="71" y="31"/>
                </a:lnTo>
                <a:lnTo>
                  <a:pt x="72" y="33"/>
                </a:lnTo>
                <a:lnTo>
                  <a:pt x="74" y="33"/>
                </a:lnTo>
                <a:lnTo>
                  <a:pt x="74" y="34"/>
                </a:lnTo>
                <a:lnTo>
                  <a:pt x="75" y="34"/>
                </a:lnTo>
                <a:lnTo>
                  <a:pt x="75" y="35"/>
                </a:lnTo>
                <a:lnTo>
                  <a:pt x="76" y="36"/>
                </a:lnTo>
                <a:lnTo>
                  <a:pt x="76" y="37"/>
                </a:lnTo>
                <a:lnTo>
                  <a:pt x="74" y="37"/>
                </a:lnTo>
                <a:lnTo>
                  <a:pt x="74" y="36"/>
                </a:lnTo>
                <a:lnTo>
                  <a:pt x="72" y="36"/>
                </a:lnTo>
                <a:lnTo>
                  <a:pt x="71" y="37"/>
                </a:lnTo>
                <a:lnTo>
                  <a:pt x="68" y="37"/>
                </a:lnTo>
                <a:lnTo>
                  <a:pt x="68" y="39"/>
                </a:lnTo>
                <a:lnTo>
                  <a:pt x="66" y="39"/>
                </a:lnTo>
                <a:lnTo>
                  <a:pt x="65" y="37"/>
                </a:lnTo>
                <a:lnTo>
                  <a:pt x="59" y="37"/>
                </a:lnTo>
                <a:lnTo>
                  <a:pt x="58" y="39"/>
                </a:lnTo>
                <a:lnTo>
                  <a:pt x="58" y="40"/>
                </a:lnTo>
                <a:lnTo>
                  <a:pt x="57" y="40"/>
                </a:lnTo>
                <a:lnTo>
                  <a:pt x="57" y="43"/>
                </a:lnTo>
                <a:lnTo>
                  <a:pt x="56" y="43"/>
                </a:lnTo>
                <a:lnTo>
                  <a:pt x="56" y="46"/>
                </a:lnTo>
                <a:lnTo>
                  <a:pt x="53" y="46"/>
                </a:lnTo>
                <a:lnTo>
                  <a:pt x="52" y="47"/>
                </a:lnTo>
                <a:lnTo>
                  <a:pt x="50" y="47"/>
                </a:lnTo>
                <a:lnTo>
                  <a:pt x="49" y="48"/>
                </a:lnTo>
                <a:lnTo>
                  <a:pt x="47" y="48"/>
                </a:lnTo>
                <a:lnTo>
                  <a:pt x="47" y="49"/>
                </a:lnTo>
                <a:lnTo>
                  <a:pt x="46" y="49"/>
                </a:lnTo>
                <a:lnTo>
                  <a:pt x="43" y="51"/>
                </a:lnTo>
                <a:lnTo>
                  <a:pt x="41" y="51"/>
                </a:lnTo>
                <a:lnTo>
                  <a:pt x="41" y="52"/>
                </a:lnTo>
                <a:lnTo>
                  <a:pt x="40" y="52"/>
                </a:lnTo>
                <a:lnTo>
                  <a:pt x="38" y="51"/>
                </a:lnTo>
                <a:lnTo>
                  <a:pt x="34" y="52"/>
                </a:lnTo>
                <a:lnTo>
                  <a:pt x="33" y="52"/>
                </a:lnTo>
                <a:lnTo>
                  <a:pt x="32" y="54"/>
                </a:lnTo>
                <a:lnTo>
                  <a:pt x="31" y="54"/>
                </a:lnTo>
                <a:lnTo>
                  <a:pt x="31" y="57"/>
                </a:lnTo>
                <a:lnTo>
                  <a:pt x="32" y="58"/>
                </a:lnTo>
                <a:lnTo>
                  <a:pt x="28" y="58"/>
                </a:lnTo>
                <a:lnTo>
                  <a:pt x="28" y="57"/>
                </a:lnTo>
                <a:lnTo>
                  <a:pt x="27" y="54"/>
                </a:lnTo>
                <a:lnTo>
                  <a:pt x="27" y="53"/>
                </a:lnTo>
                <a:lnTo>
                  <a:pt x="22" y="53"/>
                </a:lnTo>
                <a:lnTo>
                  <a:pt x="20" y="54"/>
                </a:lnTo>
                <a:lnTo>
                  <a:pt x="16" y="54"/>
                </a:lnTo>
                <a:lnTo>
                  <a:pt x="14" y="53"/>
                </a:lnTo>
                <a:lnTo>
                  <a:pt x="13" y="52"/>
                </a:lnTo>
                <a:lnTo>
                  <a:pt x="12" y="52"/>
                </a:lnTo>
                <a:lnTo>
                  <a:pt x="10" y="51"/>
                </a:lnTo>
                <a:lnTo>
                  <a:pt x="7" y="51"/>
                </a:lnTo>
                <a:lnTo>
                  <a:pt x="6" y="49"/>
                </a:lnTo>
                <a:lnTo>
                  <a:pt x="6" y="47"/>
                </a:lnTo>
                <a:lnTo>
                  <a:pt x="4" y="46"/>
                </a:lnTo>
                <a:lnTo>
                  <a:pt x="4" y="43"/>
                </a:lnTo>
                <a:lnTo>
                  <a:pt x="3" y="43"/>
                </a:lnTo>
                <a:lnTo>
                  <a:pt x="3" y="42"/>
                </a:lnTo>
                <a:lnTo>
                  <a:pt x="2" y="42"/>
                </a:lnTo>
                <a:lnTo>
                  <a:pt x="2" y="40"/>
                </a:lnTo>
                <a:lnTo>
                  <a:pt x="1" y="39"/>
                </a:lnTo>
                <a:lnTo>
                  <a:pt x="1" y="36"/>
                </a:lnTo>
                <a:lnTo>
                  <a:pt x="0" y="34"/>
                </a:lnTo>
                <a:lnTo>
                  <a:pt x="0" y="31"/>
                </a:lnTo>
                <a:lnTo>
                  <a:pt x="1" y="31"/>
                </a:lnTo>
                <a:lnTo>
                  <a:pt x="3" y="34"/>
                </a:lnTo>
                <a:lnTo>
                  <a:pt x="6" y="34"/>
                </a:lnTo>
                <a:lnTo>
                  <a:pt x="10" y="29"/>
                </a:lnTo>
                <a:lnTo>
                  <a:pt x="10" y="28"/>
                </a:lnTo>
                <a:lnTo>
                  <a:pt x="12" y="27"/>
                </a:lnTo>
                <a:lnTo>
                  <a:pt x="21" y="27"/>
                </a:lnTo>
                <a:lnTo>
                  <a:pt x="22" y="28"/>
                </a:lnTo>
                <a:lnTo>
                  <a:pt x="25" y="28"/>
                </a:lnTo>
                <a:lnTo>
                  <a:pt x="27" y="25"/>
                </a:lnTo>
                <a:lnTo>
                  <a:pt x="27" y="16"/>
                </a:lnTo>
                <a:lnTo>
                  <a:pt x="28" y="16"/>
                </a:lnTo>
                <a:lnTo>
                  <a:pt x="29" y="17"/>
                </a:lnTo>
                <a:lnTo>
                  <a:pt x="37" y="17"/>
                </a:lnTo>
                <a:lnTo>
                  <a:pt x="41" y="18"/>
                </a:lnTo>
                <a:lnTo>
                  <a:pt x="43" y="18"/>
                </a:lnTo>
                <a:lnTo>
                  <a:pt x="49" y="19"/>
                </a:lnTo>
                <a:lnTo>
                  <a:pt x="58" y="17"/>
                </a:lnTo>
                <a:lnTo>
                  <a:pt x="62" y="16"/>
                </a:lnTo>
                <a:lnTo>
                  <a:pt x="63" y="15"/>
                </a:lnTo>
                <a:lnTo>
                  <a:pt x="65" y="15"/>
                </a:lnTo>
                <a:lnTo>
                  <a:pt x="68" y="14"/>
                </a:lnTo>
                <a:lnTo>
                  <a:pt x="74" y="11"/>
                </a:lnTo>
                <a:lnTo>
                  <a:pt x="76" y="10"/>
                </a:lnTo>
                <a:lnTo>
                  <a:pt x="78" y="10"/>
                </a:lnTo>
                <a:lnTo>
                  <a:pt x="80" y="8"/>
                </a:lnTo>
                <a:lnTo>
                  <a:pt x="81" y="8"/>
                </a:lnTo>
                <a:lnTo>
                  <a:pt x="84" y="6"/>
                </a:lnTo>
                <a:lnTo>
                  <a:pt x="85" y="5"/>
                </a:lnTo>
                <a:lnTo>
                  <a:pt x="95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9" name="Freeform 50">
            <a:extLst>
              <a:ext uri="{FF2B5EF4-FFF2-40B4-BE49-F238E27FC236}">
                <a16:creationId xmlns:a16="http://schemas.microsoft.com/office/drawing/2014/main" id="{F2FC683D-33D4-4689-B0A4-7451D0C25A93}"/>
              </a:ext>
            </a:extLst>
          </p:cNvPr>
          <p:cNvSpPr>
            <a:spLocks noEditPoints="1"/>
          </p:cNvSpPr>
          <p:nvPr/>
        </p:nvSpPr>
        <p:spPr bwMode="auto">
          <a:xfrm>
            <a:off x="2056143" y="5033471"/>
            <a:ext cx="360787" cy="353541"/>
          </a:xfrm>
          <a:custGeom>
            <a:avLst/>
            <a:gdLst/>
            <a:ahLst/>
            <a:cxnLst>
              <a:cxn ang="0">
                <a:pos x="190" y="226"/>
              </a:cxn>
              <a:cxn ang="0">
                <a:pos x="198" y="232"/>
              </a:cxn>
              <a:cxn ang="0">
                <a:pos x="165" y="224"/>
              </a:cxn>
              <a:cxn ang="0">
                <a:pos x="144" y="216"/>
              </a:cxn>
              <a:cxn ang="0">
                <a:pos x="172" y="215"/>
              </a:cxn>
              <a:cxn ang="0">
                <a:pos x="185" y="221"/>
              </a:cxn>
              <a:cxn ang="0">
                <a:pos x="160" y="213"/>
              </a:cxn>
              <a:cxn ang="0">
                <a:pos x="109" y="208"/>
              </a:cxn>
              <a:cxn ang="0">
                <a:pos x="135" y="203"/>
              </a:cxn>
              <a:cxn ang="0">
                <a:pos x="126" y="189"/>
              </a:cxn>
              <a:cxn ang="0">
                <a:pos x="124" y="189"/>
              </a:cxn>
              <a:cxn ang="0">
                <a:pos x="122" y="183"/>
              </a:cxn>
              <a:cxn ang="0">
                <a:pos x="79" y="165"/>
              </a:cxn>
              <a:cxn ang="0">
                <a:pos x="69" y="158"/>
              </a:cxn>
              <a:cxn ang="0">
                <a:pos x="73" y="158"/>
              </a:cxn>
              <a:cxn ang="0">
                <a:pos x="69" y="147"/>
              </a:cxn>
              <a:cxn ang="0">
                <a:pos x="58" y="144"/>
              </a:cxn>
              <a:cxn ang="0">
                <a:pos x="72" y="132"/>
              </a:cxn>
              <a:cxn ang="0">
                <a:pos x="41" y="120"/>
              </a:cxn>
              <a:cxn ang="0">
                <a:pos x="60" y="116"/>
              </a:cxn>
              <a:cxn ang="0">
                <a:pos x="67" y="128"/>
              </a:cxn>
              <a:cxn ang="0">
                <a:pos x="69" y="134"/>
              </a:cxn>
              <a:cxn ang="0">
                <a:pos x="38" y="116"/>
              </a:cxn>
              <a:cxn ang="0">
                <a:pos x="18" y="105"/>
              </a:cxn>
              <a:cxn ang="0">
                <a:pos x="53" y="102"/>
              </a:cxn>
              <a:cxn ang="0">
                <a:pos x="37" y="84"/>
              </a:cxn>
              <a:cxn ang="0">
                <a:pos x="42" y="116"/>
              </a:cxn>
              <a:cxn ang="0">
                <a:pos x="39" y="96"/>
              </a:cxn>
              <a:cxn ang="0">
                <a:pos x="50" y="89"/>
              </a:cxn>
              <a:cxn ang="0">
                <a:pos x="39" y="87"/>
              </a:cxn>
              <a:cxn ang="0">
                <a:pos x="128" y="3"/>
              </a:cxn>
              <a:cxn ang="0">
                <a:pos x="150" y="23"/>
              </a:cxn>
              <a:cxn ang="0">
                <a:pos x="182" y="44"/>
              </a:cxn>
              <a:cxn ang="0">
                <a:pos x="219" y="38"/>
              </a:cxn>
              <a:cxn ang="0">
                <a:pos x="229" y="60"/>
              </a:cxn>
              <a:cxn ang="0">
                <a:pos x="236" y="74"/>
              </a:cxn>
              <a:cxn ang="0">
                <a:pos x="235" y="86"/>
              </a:cxn>
              <a:cxn ang="0">
                <a:pos x="221" y="92"/>
              </a:cxn>
              <a:cxn ang="0">
                <a:pos x="190" y="85"/>
              </a:cxn>
              <a:cxn ang="0">
                <a:pos x="156" y="85"/>
              </a:cxn>
              <a:cxn ang="0">
                <a:pos x="129" y="80"/>
              </a:cxn>
              <a:cxn ang="0">
                <a:pos x="107" y="80"/>
              </a:cxn>
              <a:cxn ang="0">
                <a:pos x="100" y="111"/>
              </a:cxn>
              <a:cxn ang="0">
                <a:pos x="112" y="127"/>
              </a:cxn>
              <a:cxn ang="0">
                <a:pos x="124" y="152"/>
              </a:cxn>
              <a:cxn ang="0">
                <a:pos x="160" y="190"/>
              </a:cxn>
              <a:cxn ang="0">
                <a:pos x="168" y="209"/>
              </a:cxn>
              <a:cxn ang="0">
                <a:pos x="149" y="194"/>
              </a:cxn>
              <a:cxn ang="0">
                <a:pos x="116" y="181"/>
              </a:cxn>
              <a:cxn ang="0">
                <a:pos x="104" y="171"/>
              </a:cxn>
              <a:cxn ang="0">
                <a:pos x="85" y="158"/>
              </a:cxn>
              <a:cxn ang="0">
                <a:pos x="73" y="136"/>
              </a:cxn>
              <a:cxn ang="0">
                <a:pos x="67" y="121"/>
              </a:cxn>
              <a:cxn ang="0">
                <a:pos x="54" y="85"/>
              </a:cxn>
              <a:cxn ang="0">
                <a:pos x="32" y="83"/>
              </a:cxn>
              <a:cxn ang="0">
                <a:pos x="22" y="99"/>
              </a:cxn>
              <a:cxn ang="0">
                <a:pos x="6" y="86"/>
              </a:cxn>
              <a:cxn ang="0">
                <a:pos x="6" y="66"/>
              </a:cxn>
              <a:cxn ang="0">
                <a:pos x="42" y="62"/>
              </a:cxn>
              <a:cxn ang="0">
                <a:pos x="63" y="64"/>
              </a:cxn>
              <a:cxn ang="0">
                <a:pos x="75" y="52"/>
              </a:cxn>
              <a:cxn ang="0">
                <a:pos x="89" y="23"/>
              </a:cxn>
              <a:cxn ang="0">
                <a:pos x="118" y="11"/>
              </a:cxn>
            </a:cxnLst>
            <a:rect l="0" t="0" r="r" b="b"/>
            <a:pathLst>
              <a:path w="249" h="244">
                <a:moveTo>
                  <a:pt x="210" y="243"/>
                </a:moveTo>
                <a:lnTo>
                  <a:pt x="211" y="243"/>
                </a:lnTo>
                <a:lnTo>
                  <a:pt x="211" y="244"/>
                </a:lnTo>
                <a:lnTo>
                  <a:pt x="210" y="243"/>
                </a:lnTo>
                <a:close/>
                <a:moveTo>
                  <a:pt x="141" y="224"/>
                </a:moveTo>
                <a:lnTo>
                  <a:pt x="145" y="224"/>
                </a:lnTo>
                <a:lnTo>
                  <a:pt x="145" y="226"/>
                </a:lnTo>
                <a:lnTo>
                  <a:pt x="143" y="226"/>
                </a:lnTo>
                <a:lnTo>
                  <a:pt x="142" y="225"/>
                </a:lnTo>
                <a:lnTo>
                  <a:pt x="142" y="226"/>
                </a:lnTo>
                <a:lnTo>
                  <a:pt x="141" y="226"/>
                </a:lnTo>
                <a:lnTo>
                  <a:pt x="141" y="225"/>
                </a:lnTo>
                <a:lnTo>
                  <a:pt x="140" y="225"/>
                </a:lnTo>
                <a:lnTo>
                  <a:pt x="141" y="224"/>
                </a:lnTo>
                <a:close/>
                <a:moveTo>
                  <a:pt x="186" y="222"/>
                </a:moveTo>
                <a:lnTo>
                  <a:pt x="187" y="222"/>
                </a:lnTo>
                <a:lnTo>
                  <a:pt x="190" y="225"/>
                </a:lnTo>
                <a:lnTo>
                  <a:pt x="190" y="226"/>
                </a:lnTo>
                <a:lnTo>
                  <a:pt x="192" y="227"/>
                </a:lnTo>
                <a:lnTo>
                  <a:pt x="200" y="232"/>
                </a:lnTo>
                <a:lnTo>
                  <a:pt x="202" y="233"/>
                </a:lnTo>
                <a:lnTo>
                  <a:pt x="205" y="233"/>
                </a:lnTo>
                <a:lnTo>
                  <a:pt x="205" y="234"/>
                </a:lnTo>
                <a:lnTo>
                  <a:pt x="206" y="236"/>
                </a:lnTo>
                <a:lnTo>
                  <a:pt x="209" y="236"/>
                </a:lnTo>
                <a:lnTo>
                  <a:pt x="209" y="240"/>
                </a:lnTo>
                <a:lnTo>
                  <a:pt x="210" y="242"/>
                </a:lnTo>
                <a:lnTo>
                  <a:pt x="210" y="243"/>
                </a:lnTo>
                <a:lnTo>
                  <a:pt x="209" y="242"/>
                </a:lnTo>
                <a:lnTo>
                  <a:pt x="207" y="242"/>
                </a:lnTo>
                <a:lnTo>
                  <a:pt x="207" y="240"/>
                </a:lnTo>
                <a:lnTo>
                  <a:pt x="200" y="236"/>
                </a:lnTo>
                <a:lnTo>
                  <a:pt x="199" y="234"/>
                </a:lnTo>
                <a:lnTo>
                  <a:pt x="200" y="233"/>
                </a:lnTo>
                <a:lnTo>
                  <a:pt x="199" y="232"/>
                </a:lnTo>
                <a:lnTo>
                  <a:pt x="198" y="232"/>
                </a:lnTo>
                <a:lnTo>
                  <a:pt x="196" y="231"/>
                </a:lnTo>
                <a:lnTo>
                  <a:pt x="193" y="231"/>
                </a:lnTo>
                <a:lnTo>
                  <a:pt x="193" y="228"/>
                </a:lnTo>
                <a:lnTo>
                  <a:pt x="191" y="228"/>
                </a:lnTo>
                <a:lnTo>
                  <a:pt x="188" y="226"/>
                </a:lnTo>
                <a:lnTo>
                  <a:pt x="186" y="225"/>
                </a:lnTo>
                <a:lnTo>
                  <a:pt x="185" y="224"/>
                </a:lnTo>
                <a:lnTo>
                  <a:pt x="186" y="222"/>
                </a:lnTo>
                <a:close/>
                <a:moveTo>
                  <a:pt x="162" y="222"/>
                </a:moveTo>
                <a:lnTo>
                  <a:pt x="166" y="222"/>
                </a:lnTo>
                <a:lnTo>
                  <a:pt x="167" y="224"/>
                </a:lnTo>
                <a:lnTo>
                  <a:pt x="171" y="224"/>
                </a:lnTo>
                <a:lnTo>
                  <a:pt x="175" y="226"/>
                </a:lnTo>
                <a:lnTo>
                  <a:pt x="176" y="225"/>
                </a:lnTo>
                <a:lnTo>
                  <a:pt x="176" y="226"/>
                </a:lnTo>
                <a:lnTo>
                  <a:pt x="179" y="227"/>
                </a:lnTo>
                <a:lnTo>
                  <a:pt x="180" y="228"/>
                </a:lnTo>
                <a:lnTo>
                  <a:pt x="165" y="224"/>
                </a:lnTo>
                <a:lnTo>
                  <a:pt x="163" y="225"/>
                </a:lnTo>
                <a:lnTo>
                  <a:pt x="163" y="224"/>
                </a:lnTo>
                <a:lnTo>
                  <a:pt x="162" y="224"/>
                </a:lnTo>
                <a:lnTo>
                  <a:pt x="162" y="222"/>
                </a:lnTo>
                <a:close/>
                <a:moveTo>
                  <a:pt x="134" y="210"/>
                </a:moveTo>
                <a:lnTo>
                  <a:pt x="135" y="210"/>
                </a:lnTo>
                <a:lnTo>
                  <a:pt x="136" y="212"/>
                </a:lnTo>
                <a:lnTo>
                  <a:pt x="138" y="212"/>
                </a:lnTo>
                <a:lnTo>
                  <a:pt x="141" y="213"/>
                </a:lnTo>
                <a:lnTo>
                  <a:pt x="143" y="213"/>
                </a:lnTo>
                <a:lnTo>
                  <a:pt x="144" y="212"/>
                </a:lnTo>
                <a:lnTo>
                  <a:pt x="149" y="212"/>
                </a:lnTo>
                <a:lnTo>
                  <a:pt x="153" y="213"/>
                </a:lnTo>
                <a:lnTo>
                  <a:pt x="155" y="213"/>
                </a:lnTo>
                <a:lnTo>
                  <a:pt x="155" y="214"/>
                </a:lnTo>
                <a:lnTo>
                  <a:pt x="156" y="215"/>
                </a:lnTo>
                <a:lnTo>
                  <a:pt x="147" y="215"/>
                </a:lnTo>
                <a:lnTo>
                  <a:pt x="144" y="216"/>
                </a:lnTo>
                <a:lnTo>
                  <a:pt x="142" y="216"/>
                </a:lnTo>
                <a:lnTo>
                  <a:pt x="137" y="215"/>
                </a:lnTo>
                <a:lnTo>
                  <a:pt x="134" y="215"/>
                </a:lnTo>
                <a:lnTo>
                  <a:pt x="132" y="214"/>
                </a:lnTo>
                <a:lnTo>
                  <a:pt x="136" y="213"/>
                </a:lnTo>
                <a:lnTo>
                  <a:pt x="135" y="212"/>
                </a:lnTo>
                <a:lnTo>
                  <a:pt x="132" y="212"/>
                </a:lnTo>
                <a:lnTo>
                  <a:pt x="134" y="210"/>
                </a:lnTo>
                <a:close/>
                <a:moveTo>
                  <a:pt x="149" y="208"/>
                </a:moveTo>
                <a:lnTo>
                  <a:pt x="150" y="209"/>
                </a:lnTo>
                <a:lnTo>
                  <a:pt x="159" y="209"/>
                </a:lnTo>
                <a:lnTo>
                  <a:pt x="165" y="212"/>
                </a:lnTo>
                <a:lnTo>
                  <a:pt x="167" y="214"/>
                </a:lnTo>
                <a:lnTo>
                  <a:pt x="167" y="215"/>
                </a:lnTo>
                <a:lnTo>
                  <a:pt x="169" y="215"/>
                </a:lnTo>
                <a:lnTo>
                  <a:pt x="171" y="216"/>
                </a:lnTo>
                <a:lnTo>
                  <a:pt x="171" y="215"/>
                </a:lnTo>
                <a:lnTo>
                  <a:pt x="172" y="215"/>
                </a:lnTo>
                <a:lnTo>
                  <a:pt x="173" y="216"/>
                </a:lnTo>
                <a:lnTo>
                  <a:pt x="174" y="216"/>
                </a:lnTo>
                <a:lnTo>
                  <a:pt x="175" y="218"/>
                </a:lnTo>
                <a:lnTo>
                  <a:pt x="176" y="218"/>
                </a:lnTo>
                <a:lnTo>
                  <a:pt x="179" y="220"/>
                </a:lnTo>
                <a:lnTo>
                  <a:pt x="178" y="219"/>
                </a:lnTo>
                <a:lnTo>
                  <a:pt x="178" y="218"/>
                </a:lnTo>
                <a:lnTo>
                  <a:pt x="176" y="218"/>
                </a:lnTo>
                <a:lnTo>
                  <a:pt x="175" y="216"/>
                </a:lnTo>
                <a:lnTo>
                  <a:pt x="176" y="216"/>
                </a:lnTo>
                <a:lnTo>
                  <a:pt x="176" y="215"/>
                </a:lnTo>
                <a:lnTo>
                  <a:pt x="179" y="215"/>
                </a:lnTo>
                <a:lnTo>
                  <a:pt x="180" y="216"/>
                </a:lnTo>
                <a:lnTo>
                  <a:pt x="181" y="216"/>
                </a:lnTo>
                <a:lnTo>
                  <a:pt x="182" y="215"/>
                </a:lnTo>
                <a:lnTo>
                  <a:pt x="182" y="219"/>
                </a:lnTo>
                <a:lnTo>
                  <a:pt x="184" y="219"/>
                </a:lnTo>
                <a:lnTo>
                  <a:pt x="185" y="221"/>
                </a:lnTo>
                <a:lnTo>
                  <a:pt x="186" y="222"/>
                </a:lnTo>
                <a:lnTo>
                  <a:pt x="185" y="222"/>
                </a:lnTo>
                <a:lnTo>
                  <a:pt x="184" y="221"/>
                </a:lnTo>
                <a:lnTo>
                  <a:pt x="181" y="221"/>
                </a:lnTo>
                <a:lnTo>
                  <a:pt x="181" y="222"/>
                </a:lnTo>
                <a:lnTo>
                  <a:pt x="180" y="222"/>
                </a:lnTo>
                <a:lnTo>
                  <a:pt x="180" y="221"/>
                </a:lnTo>
                <a:lnTo>
                  <a:pt x="179" y="221"/>
                </a:lnTo>
                <a:lnTo>
                  <a:pt x="180" y="222"/>
                </a:lnTo>
                <a:lnTo>
                  <a:pt x="179" y="222"/>
                </a:lnTo>
                <a:lnTo>
                  <a:pt x="176" y="221"/>
                </a:lnTo>
                <a:lnTo>
                  <a:pt x="175" y="221"/>
                </a:lnTo>
                <a:lnTo>
                  <a:pt x="171" y="219"/>
                </a:lnTo>
                <a:lnTo>
                  <a:pt x="167" y="218"/>
                </a:lnTo>
                <a:lnTo>
                  <a:pt x="167" y="216"/>
                </a:lnTo>
                <a:lnTo>
                  <a:pt x="166" y="215"/>
                </a:lnTo>
                <a:lnTo>
                  <a:pt x="163" y="215"/>
                </a:lnTo>
                <a:lnTo>
                  <a:pt x="160" y="213"/>
                </a:lnTo>
                <a:lnTo>
                  <a:pt x="159" y="213"/>
                </a:lnTo>
                <a:lnTo>
                  <a:pt x="157" y="212"/>
                </a:lnTo>
                <a:lnTo>
                  <a:pt x="150" y="212"/>
                </a:lnTo>
                <a:lnTo>
                  <a:pt x="150" y="210"/>
                </a:lnTo>
                <a:lnTo>
                  <a:pt x="149" y="210"/>
                </a:lnTo>
                <a:lnTo>
                  <a:pt x="149" y="208"/>
                </a:lnTo>
                <a:close/>
                <a:moveTo>
                  <a:pt x="110" y="206"/>
                </a:moveTo>
                <a:lnTo>
                  <a:pt x="116" y="206"/>
                </a:lnTo>
                <a:lnTo>
                  <a:pt x="116" y="207"/>
                </a:lnTo>
                <a:lnTo>
                  <a:pt x="117" y="206"/>
                </a:lnTo>
                <a:lnTo>
                  <a:pt x="117" y="207"/>
                </a:lnTo>
                <a:lnTo>
                  <a:pt x="115" y="209"/>
                </a:lnTo>
                <a:lnTo>
                  <a:pt x="111" y="209"/>
                </a:lnTo>
                <a:lnTo>
                  <a:pt x="110" y="210"/>
                </a:lnTo>
                <a:lnTo>
                  <a:pt x="109" y="209"/>
                </a:lnTo>
                <a:lnTo>
                  <a:pt x="110" y="209"/>
                </a:lnTo>
                <a:lnTo>
                  <a:pt x="110" y="208"/>
                </a:lnTo>
                <a:lnTo>
                  <a:pt x="109" y="208"/>
                </a:lnTo>
                <a:lnTo>
                  <a:pt x="109" y="207"/>
                </a:lnTo>
                <a:lnTo>
                  <a:pt x="110" y="206"/>
                </a:lnTo>
                <a:close/>
                <a:moveTo>
                  <a:pt x="122" y="199"/>
                </a:moveTo>
                <a:lnTo>
                  <a:pt x="123" y="199"/>
                </a:lnTo>
                <a:lnTo>
                  <a:pt x="123" y="200"/>
                </a:lnTo>
                <a:lnTo>
                  <a:pt x="122" y="200"/>
                </a:lnTo>
                <a:lnTo>
                  <a:pt x="122" y="199"/>
                </a:lnTo>
                <a:close/>
                <a:moveTo>
                  <a:pt x="131" y="197"/>
                </a:moveTo>
                <a:lnTo>
                  <a:pt x="134" y="197"/>
                </a:lnTo>
                <a:lnTo>
                  <a:pt x="134" y="199"/>
                </a:lnTo>
                <a:lnTo>
                  <a:pt x="135" y="199"/>
                </a:lnTo>
                <a:lnTo>
                  <a:pt x="135" y="200"/>
                </a:lnTo>
                <a:lnTo>
                  <a:pt x="136" y="201"/>
                </a:lnTo>
                <a:lnTo>
                  <a:pt x="143" y="201"/>
                </a:lnTo>
                <a:lnTo>
                  <a:pt x="144" y="202"/>
                </a:lnTo>
                <a:lnTo>
                  <a:pt x="155" y="202"/>
                </a:lnTo>
                <a:lnTo>
                  <a:pt x="156" y="203"/>
                </a:lnTo>
                <a:lnTo>
                  <a:pt x="135" y="203"/>
                </a:lnTo>
                <a:lnTo>
                  <a:pt x="130" y="202"/>
                </a:lnTo>
                <a:lnTo>
                  <a:pt x="126" y="201"/>
                </a:lnTo>
                <a:lnTo>
                  <a:pt x="125" y="201"/>
                </a:lnTo>
                <a:lnTo>
                  <a:pt x="124" y="200"/>
                </a:lnTo>
                <a:lnTo>
                  <a:pt x="124" y="199"/>
                </a:lnTo>
                <a:lnTo>
                  <a:pt x="129" y="199"/>
                </a:lnTo>
                <a:lnTo>
                  <a:pt x="129" y="200"/>
                </a:lnTo>
                <a:lnTo>
                  <a:pt x="130" y="200"/>
                </a:lnTo>
                <a:lnTo>
                  <a:pt x="130" y="199"/>
                </a:lnTo>
                <a:lnTo>
                  <a:pt x="131" y="199"/>
                </a:lnTo>
                <a:lnTo>
                  <a:pt x="131" y="197"/>
                </a:lnTo>
                <a:close/>
                <a:moveTo>
                  <a:pt x="129" y="197"/>
                </a:moveTo>
                <a:lnTo>
                  <a:pt x="130" y="197"/>
                </a:lnTo>
                <a:lnTo>
                  <a:pt x="130" y="199"/>
                </a:lnTo>
                <a:lnTo>
                  <a:pt x="129" y="197"/>
                </a:lnTo>
                <a:close/>
                <a:moveTo>
                  <a:pt x="124" y="188"/>
                </a:moveTo>
                <a:lnTo>
                  <a:pt x="125" y="188"/>
                </a:lnTo>
                <a:lnTo>
                  <a:pt x="126" y="189"/>
                </a:lnTo>
                <a:lnTo>
                  <a:pt x="135" y="189"/>
                </a:lnTo>
                <a:lnTo>
                  <a:pt x="141" y="190"/>
                </a:lnTo>
                <a:lnTo>
                  <a:pt x="140" y="190"/>
                </a:lnTo>
                <a:lnTo>
                  <a:pt x="140" y="191"/>
                </a:lnTo>
                <a:lnTo>
                  <a:pt x="141" y="191"/>
                </a:lnTo>
                <a:lnTo>
                  <a:pt x="141" y="190"/>
                </a:lnTo>
                <a:lnTo>
                  <a:pt x="143" y="193"/>
                </a:lnTo>
                <a:lnTo>
                  <a:pt x="143" y="194"/>
                </a:lnTo>
                <a:lnTo>
                  <a:pt x="142" y="194"/>
                </a:lnTo>
                <a:lnTo>
                  <a:pt x="142" y="195"/>
                </a:lnTo>
                <a:lnTo>
                  <a:pt x="130" y="195"/>
                </a:lnTo>
                <a:lnTo>
                  <a:pt x="128" y="194"/>
                </a:lnTo>
                <a:lnTo>
                  <a:pt x="124" y="193"/>
                </a:lnTo>
                <a:lnTo>
                  <a:pt x="123" y="191"/>
                </a:lnTo>
                <a:lnTo>
                  <a:pt x="124" y="191"/>
                </a:lnTo>
                <a:lnTo>
                  <a:pt x="124" y="190"/>
                </a:lnTo>
                <a:lnTo>
                  <a:pt x="125" y="190"/>
                </a:lnTo>
                <a:lnTo>
                  <a:pt x="124" y="189"/>
                </a:lnTo>
                <a:lnTo>
                  <a:pt x="124" y="188"/>
                </a:lnTo>
                <a:close/>
                <a:moveTo>
                  <a:pt x="115" y="187"/>
                </a:moveTo>
                <a:lnTo>
                  <a:pt x="118" y="187"/>
                </a:lnTo>
                <a:lnTo>
                  <a:pt x="118" y="188"/>
                </a:lnTo>
                <a:lnTo>
                  <a:pt x="120" y="188"/>
                </a:lnTo>
                <a:lnTo>
                  <a:pt x="120" y="189"/>
                </a:lnTo>
                <a:lnTo>
                  <a:pt x="122" y="190"/>
                </a:lnTo>
                <a:lnTo>
                  <a:pt x="123" y="190"/>
                </a:lnTo>
                <a:lnTo>
                  <a:pt x="122" y="191"/>
                </a:lnTo>
                <a:lnTo>
                  <a:pt x="120" y="191"/>
                </a:lnTo>
                <a:lnTo>
                  <a:pt x="118" y="189"/>
                </a:lnTo>
                <a:lnTo>
                  <a:pt x="116" y="189"/>
                </a:lnTo>
                <a:lnTo>
                  <a:pt x="115" y="188"/>
                </a:lnTo>
                <a:lnTo>
                  <a:pt x="115" y="187"/>
                </a:lnTo>
                <a:close/>
                <a:moveTo>
                  <a:pt x="117" y="181"/>
                </a:moveTo>
                <a:lnTo>
                  <a:pt x="119" y="182"/>
                </a:lnTo>
                <a:lnTo>
                  <a:pt x="122" y="182"/>
                </a:lnTo>
                <a:lnTo>
                  <a:pt x="122" y="183"/>
                </a:lnTo>
                <a:lnTo>
                  <a:pt x="120" y="183"/>
                </a:lnTo>
                <a:lnTo>
                  <a:pt x="118" y="182"/>
                </a:lnTo>
                <a:lnTo>
                  <a:pt x="117" y="183"/>
                </a:lnTo>
                <a:lnTo>
                  <a:pt x="116" y="183"/>
                </a:lnTo>
                <a:lnTo>
                  <a:pt x="115" y="182"/>
                </a:lnTo>
                <a:lnTo>
                  <a:pt x="117" y="182"/>
                </a:lnTo>
                <a:lnTo>
                  <a:pt x="117" y="181"/>
                </a:lnTo>
                <a:close/>
                <a:moveTo>
                  <a:pt x="92" y="173"/>
                </a:moveTo>
                <a:lnTo>
                  <a:pt x="93" y="173"/>
                </a:lnTo>
                <a:lnTo>
                  <a:pt x="95" y="175"/>
                </a:lnTo>
                <a:lnTo>
                  <a:pt x="92" y="173"/>
                </a:lnTo>
                <a:close/>
                <a:moveTo>
                  <a:pt x="89" y="171"/>
                </a:moveTo>
                <a:lnTo>
                  <a:pt x="91" y="171"/>
                </a:lnTo>
                <a:lnTo>
                  <a:pt x="92" y="172"/>
                </a:lnTo>
                <a:lnTo>
                  <a:pt x="92" y="173"/>
                </a:lnTo>
                <a:lnTo>
                  <a:pt x="89" y="172"/>
                </a:lnTo>
                <a:lnTo>
                  <a:pt x="89" y="171"/>
                </a:lnTo>
                <a:close/>
                <a:moveTo>
                  <a:pt x="79" y="165"/>
                </a:moveTo>
                <a:lnTo>
                  <a:pt x="80" y="165"/>
                </a:lnTo>
                <a:lnTo>
                  <a:pt x="80" y="166"/>
                </a:lnTo>
                <a:lnTo>
                  <a:pt x="79" y="165"/>
                </a:lnTo>
                <a:close/>
                <a:moveTo>
                  <a:pt x="74" y="159"/>
                </a:moveTo>
                <a:lnTo>
                  <a:pt x="79" y="164"/>
                </a:lnTo>
                <a:lnTo>
                  <a:pt x="79" y="165"/>
                </a:lnTo>
                <a:lnTo>
                  <a:pt x="76" y="164"/>
                </a:lnTo>
                <a:lnTo>
                  <a:pt x="76" y="163"/>
                </a:lnTo>
                <a:lnTo>
                  <a:pt x="75" y="161"/>
                </a:lnTo>
                <a:lnTo>
                  <a:pt x="74" y="161"/>
                </a:lnTo>
                <a:lnTo>
                  <a:pt x="74" y="159"/>
                </a:lnTo>
                <a:close/>
                <a:moveTo>
                  <a:pt x="70" y="159"/>
                </a:moveTo>
                <a:lnTo>
                  <a:pt x="72" y="159"/>
                </a:lnTo>
                <a:lnTo>
                  <a:pt x="70" y="159"/>
                </a:lnTo>
                <a:close/>
                <a:moveTo>
                  <a:pt x="69" y="158"/>
                </a:moveTo>
                <a:lnTo>
                  <a:pt x="70" y="158"/>
                </a:lnTo>
                <a:lnTo>
                  <a:pt x="70" y="159"/>
                </a:lnTo>
                <a:lnTo>
                  <a:pt x="69" y="158"/>
                </a:lnTo>
                <a:close/>
                <a:moveTo>
                  <a:pt x="75" y="152"/>
                </a:moveTo>
                <a:lnTo>
                  <a:pt x="76" y="152"/>
                </a:lnTo>
                <a:lnTo>
                  <a:pt x="79" y="154"/>
                </a:lnTo>
                <a:lnTo>
                  <a:pt x="80" y="154"/>
                </a:lnTo>
                <a:lnTo>
                  <a:pt x="80" y="156"/>
                </a:lnTo>
                <a:lnTo>
                  <a:pt x="81" y="157"/>
                </a:lnTo>
                <a:lnTo>
                  <a:pt x="82" y="157"/>
                </a:lnTo>
                <a:lnTo>
                  <a:pt x="82" y="159"/>
                </a:lnTo>
                <a:lnTo>
                  <a:pt x="81" y="159"/>
                </a:lnTo>
                <a:lnTo>
                  <a:pt x="81" y="158"/>
                </a:lnTo>
                <a:lnTo>
                  <a:pt x="80" y="158"/>
                </a:lnTo>
                <a:lnTo>
                  <a:pt x="79" y="157"/>
                </a:lnTo>
                <a:lnTo>
                  <a:pt x="79" y="156"/>
                </a:lnTo>
                <a:lnTo>
                  <a:pt x="76" y="156"/>
                </a:lnTo>
                <a:lnTo>
                  <a:pt x="76" y="154"/>
                </a:lnTo>
                <a:lnTo>
                  <a:pt x="75" y="152"/>
                </a:lnTo>
                <a:close/>
                <a:moveTo>
                  <a:pt x="64" y="150"/>
                </a:moveTo>
                <a:lnTo>
                  <a:pt x="73" y="158"/>
                </a:lnTo>
                <a:lnTo>
                  <a:pt x="72" y="159"/>
                </a:lnTo>
                <a:lnTo>
                  <a:pt x="70" y="157"/>
                </a:lnTo>
                <a:lnTo>
                  <a:pt x="69" y="157"/>
                </a:lnTo>
                <a:lnTo>
                  <a:pt x="69" y="158"/>
                </a:lnTo>
                <a:lnTo>
                  <a:pt x="68" y="157"/>
                </a:lnTo>
                <a:lnTo>
                  <a:pt x="67" y="154"/>
                </a:lnTo>
                <a:lnTo>
                  <a:pt x="66" y="153"/>
                </a:lnTo>
                <a:lnTo>
                  <a:pt x="64" y="150"/>
                </a:lnTo>
                <a:close/>
                <a:moveTo>
                  <a:pt x="63" y="148"/>
                </a:moveTo>
                <a:lnTo>
                  <a:pt x="64" y="148"/>
                </a:lnTo>
                <a:lnTo>
                  <a:pt x="64" y="150"/>
                </a:lnTo>
                <a:lnTo>
                  <a:pt x="63" y="148"/>
                </a:lnTo>
                <a:close/>
                <a:moveTo>
                  <a:pt x="67" y="144"/>
                </a:moveTo>
                <a:lnTo>
                  <a:pt x="73" y="148"/>
                </a:lnTo>
                <a:lnTo>
                  <a:pt x="74" y="150"/>
                </a:lnTo>
                <a:lnTo>
                  <a:pt x="70" y="150"/>
                </a:lnTo>
                <a:lnTo>
                  <a:pt x="70" y="148"/>
                </a:lnTo>
                <a:lnTo>
                  <a:pt x="69" y="147"/>
                </a:lnTo>
                <a:lnTo>
                  <a:pt x="68" y="145"/>
                </a:lnTo>
                <a:lnTo>
                  <a:pt x="67" y="145"/>
                </a:lnTo>
                <a:lnTo>
                  <a:pt x="67" y="144"/>
                </a:lnTo>
                <a:close/>
                <a:moveTo>
                  <a:pt x="56" y="144"/>
                </a:moveTo>
                <a:lnTo>
                  <a:pt x="58" y="144"/>
                </a:lnTo>
                <a:lnTo>
                  <a:pt x="61" y="145"/>
                </a:lnTo>
                <a:lnTo>
                  <a:pt x="61" y="146"/>
                </a:lnTo>
                <a:lnTo>
                  <a:pt x="62" y="146"/>
                </a:lnTo>
                <a:lnTo>
                  <a:pt x="62" y="147"/>
                </a:lnTo>
                <a:lnTo>
                  <a:pt x="64" y="147"/>
                </a:lnTo>
                <a:lnTo>
                  <a:pt x="63" y="148"/>
                </a:lnTo>
                <a:lnTo>
                  <a:pt x="62" y="148"/>
                </a:lnTo>
                <a:lnTo>
                  <a:pt x="58" y="145"/>
                </a:lnTo>
                <a:lnTo>
                  <a:pt x="57" y="145"/>
                </a:lnTo>
                <a:lnTo>
                  <a:pt x="56" y="144"/>
                </a:lnTo>
                <a:close/>
                <a:moveTo>
                  <a:pt x="57" y="142"/>
                </a:moveTo>
                <a:lnTo>
                  <a:pt x="58" y="142"/>
                </a:lnTo>
                <a:lnTo>
                  <a:pt x="58" y="144"/>
                </a:lnTo>
                <a:lnTo>
                  <a:pt x="57" y="142"/>
                </a:lnTo>
                <a:close/>
                <a:moveTo>
                  <a:pt x="53" y="136"/>
                </a:moveTo>
                <a:lnTo>
                  <a:pt x="54" y="136"/>
                </a:lnTo>
                <a:lnTo>
                  <a:pt x="54" y="138"/>
                </a:lnTo>
                <a:lnTo>
                  <a:pt x="53" y="136"/>
                </a:lnTo>
                <a:close/>
                <a:moveTo>
                  <a:pt x="54" y="135"/>
                </a:moveTo>
                <a:lnTo>
                  <a:pt x="55" y="136"/>
                </a:lnTo>
                <a:lnTo>
                  <a:pt x="54" y="136"/>
                </a:lnTo>
                <a:lnTo>
                  <a:pt x="54" y="135"/>
                </a:lnTo>
                <a:close/>
                <a:moveTo>
                  <a:pt x="47" y="132"/>
                </a:moveTo>
                <a:lnTo>
                  <a:pt x="48" y="133"/>
                </a:lnTo>
                <a:lnTo>
                  <a:pt x="49" y="133"/>
                </a:lnTo>
                <a:lnTo>
                  <a:pt x="49" y="134"/>
                </a:lnTo>
                <a:lnTo>
                  <a:pt x="47" y="133"/>
                </a:lnTo>
                <a:lnTo>
                  <a:pt x="47" y="132"/>
                </a:lnTo>
                <a:close/>
                <a:moveTo>
                  <a:pt x="70" y="130"/>
                </a:moveTo>
                <a:lnTo>
                  <a:pt x="70" y="132"/>
                </a:lnTo>
                <a:lnTo>
                  <a:pt x="72" y="132"/>
                </a:lnTo>
                <a:lnTo>
                  <a:pt x="70" y="130"/>
                </a:lnTo>
                <a:close/>
                <a:moveTo>
                  <a:pt x="54" y="128"/>
                </a:moveTo>
                <a:lnTo>
                  <a:pt x="55" y="128"/>
                </a:lnTo>
                <a:lnTo>
                  <a:pt x="55" y="130"/>
                </a:lnTo>
                <a:lnTo>
                  <a:pt x="56" y="130"/>
                </a:lnTo>
                <a:lnTo>
                  <a:pt x="56" y="132"/>
                </a:lnTo>
                <a:lnTo>
                  <a:pt x="55" y="133"/>
                </a:lnTo>
                <a:lnTo>
                  <a:pt x="55" y="132"/>
                </a:lnTo>
                <a:lnTo>
                  <a:pt x="54" y="132"/>
                </a:lnTo>
                <a:lnTo>
                  <a:pt x="54" y="128"/>
                </a:lnTo>
                <a:close/>
                <a:moveTo>
                  <a:pt x="41" y="121"/>
                </a:moveTo>
                <a:lnTo>
                  <a:pt x="42" y="121"/>
                </a:lnTo>
                <a:lnTo>
                  <a:pt x="44" y="123"/>
                </a:lnTo>
                <a:lnTo>
                  <a:pt x="44" y="124"/>
                </a:lnTo>
                <a:lnTo>
                  <a:pt x="43" y="124"/>
                </a:lnTo>
                <a:lnTo>
                  <a:pt x="42" y="123"/>
                </a:lnTo>
                <a:lnTo>
                  <a:pt x="41" y="121"/>
                </a:lnTo>
                <a:close/>
                <a:moveTo>
                  <a:pt x="41" y="120"/>
                </a:moveTo>
                <a:lnTo>
                  <a:pt x="42" y="121"/>
                </a:lnTo>
                <a:lnTo>
                  <a:pt x="41" y="120"/>
                </a:lnTo>
                <a:close/>
                <a:moveTo>
                  <a:pt x="32" y="114"/>
                </a:moveTo>
                <a:lnTo>
                  <a:pt x="32" y="116"/>
                </a:lnTo>
                <a:lnTo>
                  <a:pt x="31" y="116"/>
                </a:lnTo>
                <a:lnTo>
                  <a:pt x="31" y="115"/>
                </a:lnTo>
                <a:lnTo>
                  <a:pt x="32" y="114"/>
                </a:lnTo>
                <a:close/>
                <a:moveTo>
                  <a:pt x="32" y="113"/>
                </a:moveTo>
                <a:lnTo>
                  <a:pt x="33" y="113"/>
                </a:lnTo>
                <a:lnTo>
                  <a:pt x="33" y="114"/>
                </a:lnTo>
                <a:lnTo>
                  <a:pt x="32" y="114"/>
                </a:lnTo>
                <a:lnTo>
                  <a:pt x="32" y="113"/>
                </a:lnTo>
                <a:close/>
                <a:moveTo>
                  <a:pt x="53" y="111"/>
                </a:moveTo>
                <a:lnTo>
                  <a:pt x="55" y="113"/>
                </a:lnTo>
                <a:lnTo>
                  <a:pt x="57" y="117"/>
                </a:lnTo>
                <a:lnTo>
                  <a:pt x="58" y="118"/>
                </a:lnTo>
                <a:lnTo>
                  <a:pt x="58" y="116"/>
                </a:lnTo>
                <a:lnTo>
                  <a:pt x="60" y="116"/>
                </a:lnTo>
                <a:lnTo>
                  <a:pt x="62" y="118"/>
                </a:lnTo>
                <a:lnTo>
                  <a:pt x="63" y="121"/>
                </a:lnTo>
                <a:lnTo>
                  <a:pt x="64" y="121"/>
                </a:lnTo>
                <a:lnTo>
                  <a:pt x="67" y="123"/>
                </a:lnTo>
                <a:lnTo>
                  <a:pt x="67" y="124"/>
                </a:lnTo>
                <a:lnTo>
                  <a:pt x="66" y="124"/>
                </a:lnTo>
                <a:lnTo>
                  <a:pt x="64" y="123"/>
                </a:lnTo>
                <a:lnTo>
                  <a:pt x="64" y="122"/>
                </a:lnTo>
                <a:lnTo>
                  <a:pt x="62" y="121"/>
                </a:lnTo>
                <a:lnTo>
                  <a:pt x="61" y="121"/>
                </a:lnTo>
                <a:lnTo>
                  <a:pt x="61" y="120"/>
                </a:lnTo>
                <a:lnTo>
                  <a:pt x="60" y="120"/>
                </a:lnTo>
                <a:lnTo>
                  <a:pt x="60" y="121"/>
                </a:lnTo>
                <a:lnTo>
                  <a:pt x="62" y="122"/>
                </a:lnTo>
                <a:lnTo>
                  <a:pt x="66" y="127"/>
                </a:lnTo>
                <a:lnTo>
                  <a:pt x="67" y="128"/>
                </a:lnTo>
                <a:lnTo>
                  <a:pt x="68" y="128"/>
                </a:lnTo>
                <a:lnTo>
                  <a:pt x="67" y="128"/>
                </a:lnTo>
                <a:lnTo>
                  <a:pt x="67" y="127"/>
                </a:lnTo>
                <a:lnTo>
                  <a:pt x="66" y="126"/>
                </a:lnTo>
                <a:lnTo>
                  <a:pt x="66" y="124"/>
                </a:lnTo>
                <a:lnTo>
                  <a:pt x="67" y="126"/>
                </a:lnTo>
                <a:lnTo>
                  <a:pt x="72" y="129"/>
                </a:lnTo>
                <a:lnTo>
                  <a:pt x="72" y="130"/>
                </a:lnTo>
                <a:lnTo>
                  <a:pt x="73" y="130"/>
                </a:lnTo>
                <a:lnTo>
                  <a:pt x="74" y="132"/>
                </a:lnTo>
                <a:lnTo>
                  <a:pt x="74" y="133"/>
                </a:lnTo>
                <a:lnTo>
                  <a:pt x="73" y="132"/>
                </a:lnTo>
                <a:lnTo>
                  <a:pt x="73" y="134"/>
                </a:lnTo>
                <a:lnTo>
                  <a:pt x="72" y="134"/>
                </a:lnTo>
                <a:lnTo>
                  <a:pt x="70" y="133"/>
                </a:lnTo>
                <a:lnTo>
                  <a:pt x="69" y="133"/>
                </a:lnTo>
                <a:lnTo>
                  <a:pt x="72" y="134"/>
                </a:lnTo>
                <a:lnTo>
                  <a:pt x="72" y="135"/>
                </a:lnTo>
                <a:lnTo>
                  <a:pt x="70" y="135"/>
                </a:lnTo>
                <a:lnTo>
                  <a:pt x="69" y="134"/>
                </a:lnTo>
                <a:lnTo>
                  <a:pt x="68" y="134"/>
                </a:lnTo>
                <a:lnTo>
                  <a:pt x="68" y="130"/>
                </a:lnTo>
                <a:lnTo>
                  <a:pt x="69" y="129"/>
                </a:lnTo>
                <a:lnTo>
                  <a:pt x="66" y="129"/>
                </a:lnTo>
                <a:lnTo>
                  <a:pt x="64" y="127"/>
                </a:lnTo>
                <a:lnTo>
                  <a:pt x="62" y="126"/>
                </a:lnTo>
                <a:lnTo>
                  <a:pt x="62" y="124"/>
                </a:lnTo>
                <a:lnTo>
                  <a:pt x="60" y="123"/>
                </a:lnTo>
                <a:lnTo>
                  <a:pt x="61" y="123"/>
                </a:lnTo>
                <a:lnTo>
                  <a:pt x="60" y="122"/>
                </a:lnTo>
                <a:lnTo>
                  <a:pt x="58" y="120"/>
                </a:lnTo>
                <a:lnTo>
                  <a:pt x="54" y="114"/>
                </a:lnTo>
                <a:lnTo>
                  <a:pt x="53" y="113"/>
                </a:lnTo>
                <a:lnTo>
                  <a:pt x="53" y="111"/>
                </a:lnTo>
                <a:close/>
                <a:moveTo>
                  <a:pt x="36" y="110"/>
                </a:moveTo>
                <a:lnTo>
                  <a:pt x="37" y="111"/>
                </a:lnTo>
                <a:lnTo>
                  <a:pt x="38" y="111"/>
                </a:lnTo>
                <a:lnTo>
                  <a:pt x="38" y="116"/>
                </a:lnTo>
                <a:lnTo>
                  <a:pt x="39" y="117"/>
                </a:lnTo>
                <a:lnTo>
                  <a:pt x="41" y="120"/>
                </a:lnTo>
                <a:lnTo>
                  <a:pt x="39" y="118"/>
                </a:lnTo>
                <a:lnTo>
                  <a:pt x="38" y="118"/>
                </a:lnTo>
                <a:lnTo>
                  <a:pt x="38" y="120"/>
                </a:lnTo>
                <a:lnTo>
                  <a:pt x="37" y="120"/>
                </a:lnTo>
                <a:lnTo>
                  <a:pt x="37" y="118"/>
                </a:lnTo>
                <a:lnTo>
                  <a:pt x="38" y="117"/>
                </a:lnTo>
                <a:lnTo>
                  <a:pt x="37" y="116"/>
                </a:lnTo>
                <a:lnTo>
                  <a:pt x="36" y="114"/>
                </a:lnTo>
                <a:lnTo>
                  <a:pt x="36" y="110"/>
                </a:lnTo>
                <a:close/>
                <a:moveTo>
                  <a:pt x="18" y="105"/>
                </a:moveTo>
                <a:lnTo>
                  <a:pt x="18" y="107"/>
                </a:lnTo>
                <a:lnTo>
                  <a:pt x="17" y="107"/>
                </a:lnTo>
                <a:lnTo>
                  <a:pt x="18" y="105"/>
                </a:lnTo>
                <a:close/>
                <a:moveTo>
                  <a:pt x="17" y="104"/>
                </a:moveTo>
                <a:lnTo>
                  <a:pt x="18" y="104"/>
                </a:lnTo>
                <a:lnTo>
                  <a:pt x="18" y="105"/>
                </a:lnTo>
                <a:lnTo>
                  <a:pt x="17" y="104"/>
                </a:lnTo>
                <a:close/>
                <a:moveTo>
                  <a:pt x="53" y="102"/>
                </a:moveTo>
                <a:lnTo>
                  <a:pt x="54" y="103"/>
                </a:lnTo>
                <a:lnTo>
                  <a:pt x="53" y="104"/>
                </a:lnTo>
                <a:lnTo>
                  <a:pt x="54" y="104"/>
                </a:lnTo>
                <a:lnTo>
                  <a:pt x="55" y="107"/>
                </a:lnTo>
                <a:lnTo>
                  <a:pt x="56" y="107"/>
                </a:lnTo>
                <a:lnTo>
                  <a:pt x="57" y="109"/>
                </a:lnTo>
                <a:lnTo>
                  <a:pt x="57" y="111"/>
                </a:lnTo>
                <a:lnTo>
                  <a:pt x="53" y="107"/>
                </a:lnTo>
                <a:lnTo>
                  <a:pt x="53" y="108"/>
                </a:lnTo>
                <a:lnTo>
                  <a:pt x="51" y="108"/>
                </a:lnTo>
                <a:lnTo>
                  <a:pt x="49" y="105"/>
                </a:lnTo>
                <a:lnTo>
                  <a:pt x="53" y="105"/>
                </a:lnTo>
                <a:lnTo>
                  <a:pt x="51" y="104"/>
                </a:lnTo>
                <a:lnTo>
                  <a:pt x="51" y="103"/>
                </a:lnTo>
                <a:lnTo>
                  <a:pt x="53" y="103"/>
                </a:lnTo>
                <a:lnTo>
                  <a:pt x="53" y="102"/>
                </a:lnTo>
                <a:close/>
                <a:moveTo>
                  <a:pt x="13" y="101"/>
                </a:moveTo>
                <a:lnTo>
                  <a:pt x="14" y="102"/>
                </a:lnTo>
                <a:lnTo>
                  <a:pt x="13" y="102"/>
                </a:lnTo>
                <a:lnTo>
                  <a:pt x="13" y="101"/>
                </a:lnTo>
                <a:close/>
                <a:moveTo>
                  <a:pt x="25" y="96"/>
                </a:moveTo>
                <a:lnTo>
                  <a:pt x="25" y="97"/>
                </a:lnTo>
                <a:lnTo>
                  <a:pt x="24" y="97"/>
                </a:lnTo>
                <a:lnTo>
                  <a:pt x="25" y="96"/>
                </a:lnTo>
                <a:close/>
                <a:moveTo>
                  <a:pt x="23" y="91"/>
                </a:moveTo>
                <a:lnTo>
                  <a:pt x="24" y="92"/>
                </a:lnTo>
                <a:lnTo>
                  <a:pt x="23" y="93"/>
                </a:lnTo>
                <a:lnTo>
                  <a:pt x="25" y="93"/>
                </a:lnTo>
                <a:lnTo>
                  <a:pt x="24" y="92"/>
                </a:lnTo>
                <a:lnTo>
                  <a:pt x="24" y="91"/>
                </a:lnTo>
                <a:lnTo>
                  <a:pt x="23" y="91"/>
                </a:lnTo>
                <a:close/>
                <a:moveTo>
                  <a:pt x="35" y="83"/>
                </a:moveTo>
                <a:lnTo>
                  <a:pt x="36" y="83"/>
                </a:lnTo>
                <a:lnTo>
                  <a:pt x="37" y="84"/>
                </a:lnTo>
                <a:lnTo>
                  <a:pt x="37" y="89"/>
                </a:lnTo>
                <a:lnTo>
                  <a:pt x="39" y="93"/>
                </a:lnTo>
                <a:lnTo>
                  <a:pt x="39" y="95"/>
                </a:lnTo>
                <a:lnTo>
                  <a:pt x="42" y="95"/>
                </a:lnTo>
                <a:lnTo>
                  <a:pt x="42" y="96"/>
                </a:lnTo>
                <a:lnTo>
                  <a:pt x="41" y="97"/>
                </a:lnTo>
                <a:lnTo>
                  <a:pt x="41" y="102"/>
                </a:lnTo>
                <a:lnTo>
                  <a:pt x="42" y="104"/>
                </a:lnTo>
                <a:lnTo>
                  <a:pt x="42" y="105"/>
                </a:lnTo>
                <a:lnTo>
                  <a:pt x="41" y="105"/>
                </a:lnTo>
                <a:lnTo>
                  <a:pt x="41" y="107"/>
                </a:lnTo>
                <a:lnTo>
                  <a:pt x="42" y="107"/>
                </a:lnTo>
                <a:lnTo>
                  <a:pt x="42" y="111"/>
                </a:lnTo>
                <a:lnTo>
                  <a:pt x="43" y="113"/>
                </a:lnTo>
                <a:lnTo>
                  <a:pt x="43" y="115"/>
                </a:lnTo>
                <a:lnTo>
                  <a:pt x="44" y="115"/>
                </a:lnTo>
                <a:lnTo>
                  <a:pt x="44" y="116"/>
                </a:lnTo>
                <a:lnTo>
                  <a:pt x="42" y="116"/>
                </a:lnTo>
                <a:lnTo>
                  <a:pt x="39" y="114"/>
                </a:lnTo>
                <a:lnTo>
                  <a:pt x="38" y="111"/>
                </a:lnTo>
                <a:lnTo>
                  <a:pt x="38" y="108"/>
                </a:lnTo>
                <a:lnTo>
                  <a:pt x="37" y="108"/>
                </a:lnTo>
                <a:lnTo>
                  <a:pt x="37" y="104"/>
                </a:lnTo>
                <a:lnTo>
                  <a:pt x="36" y="104"/>
                </a:lnTo>
                <a:lnTo>
                  <a:pt x="36" y="103"/>
                </a:lnTo>
                <a:lnTo>
                  <a:pt x="35" y="99"/>
                </a:lnTo>
                <a:lnTo>
                  <a:pt x="33" y="99"/>
                </a:lnTo>
                <a:lnTo>
                  <a:pt x="33" y="98"/>
                </a:lnTo>
                <a:lnTo>
                  <a:pt x="35" y="98"/>
                </a:lnTo>
                <a:lnTo>
                  <a:pt x="33" y="97"/>
                </a:lnTo>
                <a:lnTo>
                  <a:pt x="36" y="97"/>
                </a:lnTo>
                <a:lnTo>
                  <a:pt x="36" y="98"/>
                </a:lnTo>
                <a:lnTo>
                  <a:pt x="37" y="99"/>
                </a:lnTo>
                <a:lnTo>
                  <a:pt x="38" y="99"/>
                </a:lnTo>
                <a:lnTo>
                  <a:pt x="38" y="97"/>
                </a:lnTo>
                <a:lnTo>
                  <a:pt x="39" y="96"/>
                </a:lnTo>
                <a:lnTo>
                  <a:pt x="38" y="96"/>
                </a:lnTo>
                <a:lnTo>
                  <a:pt x="37" y="95"/>
                </a:lnTo>
                <a:lnTo>
                  <a:pt x="36" y="91"/>
                </a:lnTo>
                <a:lnTo>
                  <a:pt x="36" y="90"/>
                </a:lnTo>
                <a:lnTo>
                  <a:pt x="33" y="87"/>
                </a:lnTo>
                <a:lnTo>
                  <a:pt x="33" y="85"/>
                </a:lnTo>
                <a:lnTo>
                  <a:pt x="35" y="84"/>
                </a:lnTo>
                <a:lnTo>
                  <a:pt x="35" y="83"/>
                </a:lnTo>
                <a:close/>
                <a:moveTo>
                  <a:pt x="44" y="79"/>
                </a:moveTo>
                <a:lnTo>
                  <a:pt x="47" y="79"/>
                </a:lnTo>
                <a:lnTo>
                  <a:pt x="47" y="80"/>
                </a:lnTo>
                <a:lnTo>
                  <a:pt x="48" y="81"/>
                </a:lnTo>
                <a:lnTo>
                  <a:pt x="48" y="83"/>
                </a:lnTo>
                <a:lnTo>
                  <a:pt x="47" y="84"/>
                </a:lnTo>
                <a:lnTo>
                  <a:pt x="50" y="84"/>
                </a:lnTo>
                <a:lnTo>
                  <a:pt x="50" y="85"/>
                </a:lnTo>
                <a:lnTo>
                  <a:pt x="49" y="87"/>
                </a:lnTo>
                <a:lnTo>
                  <a:pt x="50" y="89"/>
                </a:lnTo>
                <a:lnTo>
                  <a:pt x="53" y="89"/>
                </a:lnTo>
                <a:lnTo>
                  <a:pt x="53" y="91"/>
                </a:lnTo>
                <a:lnTo>
                  <a:pt x="56" y="95"/>
                </a:lnTo>
                <a:lnTo>
                  <a:pt x="55" y="95"/>
                </a:lnTo>
                <a:lnTo>
                  <a:pt x="55" y="96"/>
                </a:lnTo>
                <a:lnTo>
                  <a:pt x="54" y="95"/>
                </a:lnTo>
                <a:lnTo>
                  <a:pt x="54" y="97"/>
                </a:lnTo>
                <a:lnTo>
                  <a:pt x="51" y="97"/>
                </a:lnTo>
                <a:lnTo>
                  <a:pt x="49" y="96"/>
                </a:lnTo>
                <a:lnTo>
                  <a:pt x="48" y="95"/>
                </a:lnTo>
                <a:lnTo>
                  <a:pt x="48" y="91"/>
                </a:lnTo>
                <a:lnTo>
                  <a:pt x="47" y="91"/>
                </a:lnTo>
                <a:lnTo>
                  <a:pt x="48" y="92"/>
                </a:lnTo>
                <a:lnTo>
                  <a:pt x="47" y="92"/>
                </a:lnTo>
                <a:lnTo>
                  <a:pt x="43" y="91"/>
                </a:lnTo>
                <a:lnTo>
                  <a:pt x="42" y="91"/>
                </a:lnTo>
                <a:lnTo>
                  <a:pt x="39" y="89"/>
                </a:lnTo>
                <a:lnTo>
                  <a:pt x="39" y="87"/>
                </a:lnTo>
                <a:lnTo>
                  <a:pt x="42" y="87"/>
                </a:lnTo>
                <a:lnTo>
                  <a:pt x="42" y="86"/>
                </a:lnTo>
                <a:lnTo>
                  <a:pt x="43" y="86"/>
                </a:lnTo>
                <a:lnTo>
                  <a:pt x="44" y="85"/>
                </a:lnTo>
                <a:lnTo>
                  <a:pt x="44" y="81"/>
                </a:lnTo>
                <a:lnTo>
                  <a:pt x="45" y="80"/>
                </a:lnTo>
                <a:lnTo>
                  <a:pt x="44" y="80"/>
                </a:lnTo>
                <a:lnTo>
                  <a:pt x="44" y="79"/>
                </a:lnTo>
                <a:close/>
                <a:moveTo>
                  <a:pt x="228" y="37"/>
                </a:moveTo>
                <a:lnTo>
                  <a:pt x="229" y="37"/>
                </a:lnTo>
                <a:lnTo>
                  <a:pt x="229" y="38"/>
                </a:lnTo>
                <a:lnTo>
                  <a:pt x="228" y="38"/>
                </a:lnTo>
                <a:lnTo>
                  <a:pt x="228" y="37"/>
                </a:lnTo>
                <a:close/>
                <a:moveTo>
                  <a:pt x="120" y="0"/>
                </a:moveTo>
                <a:lnTo>
                  <a:pt x="124" y="0"/>
                </a:lnTo>
                <a:lnTo>
                  <a:pt x="124" y="1"/>
                </a:lnTo>
                <a:lnTo>
                  <a:pt x="126" y="1"/>
                </a:lnTo>
                <a:lnTo>
                  <a:pt x="128" y="3"/>
                </a:lnTo>
                <a:lnTo>
                  <a:pt x="130" y="4"/>
                </a:lnTo>
                <a:lnTo>
                  <a:pt x="130" y="5"/>
                </a:lnTo>
                <a:lnTo>
                  <a:pt x="131" y="5"/>
                </a:lnTo>
                <a:lnTo>
                  <a:pt x="131" y="4"/>
                </a:lnTo>
                <a:lnTo>
                  <a:pt x="132" y="4"/>
                </a:lnTo>
                <a:lnTo>
                  <a:pt x="135" y="6"/>
                </a:lnTo>
                <a:lnTo>
                  <a:pt x="135" y="7"/>
                </a:lnTo>
                <a:lnTo>
                  <a:pt x="136" y="9"/>
                </a:lnTo>
                <a:lnTo>
                  <a:pt x="137" y="9"/>
                </a:lnTo>
                <a:lnTo>
                  <a:pt x="138" y="10"/>
                </a:lnTo>
                <a:lnTo>
                  <a:pt x="142" y="10"/>
                </a:lnTo>
                <a:lnTo>
                  <a:pt x="142" y="11"/>
                </a:lnTo>
                <a:lnTo>
                  <a:pt x="143" y="12"/>
                </a:lnTo>
                <a:lnTo>
                  <a:pt x="143" y="16"/>
                </a:lnTo>
                <a:lnTo>
                  <a:pt x="144" y="16"/>
                </a:lnTo>
                <a:lnTo>
                  <a:pt x="147" y="21"/>
                </a:lnTo>
                <a:lnTo>
                  <a:pt x="149" y="23"/>
                </a:lnTo>
                <a:lnTo>
                  <a:pt x="150" y="23"/>
                </a:lnTo>
                <a:lnTo>
                  <a:pt x="150" y="24"/>
                </a:lnTo>
                <a:lnTo>
                  <a:pt x="153" y="25"/>
                </a:lnTo>
                <a:lnTo>
                  <a:pt x="156" y="27"/>
                </a:lnTo>
                <a:lnTo>
                  <a:pt x="157" y="27"/>
                </a:lnTo>
                <a:lnTo>
                  <a:pt x="160" y="31"/>
                </a:lnTo>
                <a:lnTo>
                  <a:pt x="160" y="32"/>
                </a:lnTo>
                <a:lnTo>
                  <a:pt x="161" y="32"/>
                </a:lnTo>
                <a:lnTo>
                  <a:pt x="161" y="35"/>
                </a:lnTo>
                <a:lnTo>
                  <a:pt x="162" y="35"/>
                </a:lnTo>
                <a:lnTo>
                  <a:pt x="162" y="36"/>
                </a:lnTo>
                <a:lnTo>
                  <a:pt x="165" y="36"/>
                </a:lnTo>
                <a:lnTo>
                  <a:pt x="166" y="37"/>
                </a:lnTo>
                <a:lnTo>
                  <a:pt x="166" y="36"/>
                </a:lnTo>
                <a:lnTo>
                  <a:pt x="172" y="36"/>
                </a:lnTo>
                <a:lnTo>
                  <a:pt x="175" y="40"/>
                </a:lnTo>
                <a:lnTo>
                  <a:pt x="175" y="43"/>
                </a:lnTo>
                <a:lnTo>
                  <a:pt x="178" y="43"/>
                </a:lnTo>
                <a:lnTo>
                  <a:pt x="182" y="44"/>
                </a:lnTo>
                <a:lnTo>
                  <a:pt x="185" y="47"/>
                </a:lnTo>
                <a:lnTo>
                  <a:pt x="185" y="46"/>
                </a:lnTo>
                <a:lnTo>
                  <a:pt x="190" y="46"/>
                </a:lnTo>
                <a:lnTo>
                  <a:pt x="193" y="47"/>
                </a:lnTo>
                <a:lnTo>
                  <a:pt x="200" y="47"/>
                </a:lnTo>
                <a:lnTo>
                  <a:pt x="202" y="48"/>
                </a:lnTo>
                <a:lnTo>
                  <a:pt x="206" y="48"/>
                </a:lnTo>
                <a:lnTo>
                  <a:pt x="206" y="49"/>
                </a:lnTo>
                <a:lnTo>
                  <a:pt x="207" y="49"/>
                </a:lnTo>
                <a:lnTo>
                  <a:pt x="211" y="46"/>
                </a:lnTo>
                <a:lnTo>
                  <a:pt x="211" y="47"/>
                </a:lnTo>
                <a:lnTo>
                  <a:pt x="212" y="46"/>
                </a:lnTo>
                <a:lnTo>
                  <a:pt x="215" y="44"/>
                </a:lnTo>
                <a:lnTo>
                  <a:pt x="215" y="43"/>
                </a:lnTo>
                <a:lnTo>
                  <a:pt x="217" y="41"/>
                </a:lnTo>
                <a:lnTo>
                  <a:pt x="217" y="40"/>
                </a:lnTo>
                <a:lnTo>
                  <a:pt x="218" y="38"/>
                </a:lnTo>
                <a:lnTo>
                  <a:pt x="219" y="38"/>
                </a:lnTo>
                <a:lnTo>
                  <a:pt x="221" y="40"/>
                </a:lnTo>
                <a:lnTo>
                  <a:pt x="223" y="41"/>
                </a:lnTo>
                <a:lnTo>
                  <a:pt x="223" y="40"/>
                </a:lnTo>
                <a:lnTo>
                  <a:pt x="224" y="40"/>
                </a:lnTo>
                <a:lnTo>
                  <a:pt x="224" y="38"/>
                </a:lnTo>
                <a:lnTo>
                  <a:pt x="228" y="38"/>
                </a:lnTo>
                <a:lnTo>
                  <a:pt x="228" y="41"/>
                </a:lnTo>
                <a:lnTo>
                  <a:pt x="229" y="41"/>
                </a:lnTo>
                <a:lnTo>
                  <a:pt x="228" y="42"/>
                </a:lnTo>
                <a:lnTo>
                  <a:pt x="227" y="42"/>
                </a:lnTo>
                <a:lnTo>
                  <a:pt x="227" y="46"/>
                </a:lnTo>
                <a:lnTo>
                  <a:pt x="229" y="48"/>
                </a:lnTo>
                <a:lnTo>
                  <a:pt x="229" y="52"/>
                </a:lnTo>
                <a:lnTo>
                  <a:pt x="230" y="52"/>
                </a:lnTo>
                <a:lnTo>
                  <a:pt x="231" y="53"/>
                </a:lnTo>
                <a:lnTo>
                  <a:pt x="231" y="54"/>
                </a:lnTo>
                <a:lnTo>
                  <a:pt x="229" y="56"/>
                </a:lnTo>
                <a:lnTo>
                  <a:pt x="229" y="60"/>
                </a:lnTo>
                <a:lnTo>
                  <a:pt x="230" y="61"/>
                </a:lnTo>
                <a:lnTo>
                  <a:pt x="231" y="61"/>
                </a:lnTo>
                <a:lnTo>
                  <a:pt x="231" y="60"/>
                </a:lnTo>
                <a:lnTo>
                  <a:pt x="234" y="60"/>
                </a:lnTo>
                <a:lnTo>
                  <a:pt x="234" y="61"/>
                </a:lnTo>
                <a:lnTo>
                  <a:pt x="236" y="61"/>
                </a:lnTo>
                <a:lnTo>
                  <a:pt x="236" y="62"/>
                </a:lnTo>
                <a:lnTo>
                  <a:pt x="237" y="62"/>
                </a:lnTo>
                <a:lnTo>
                  <a:pt x="236" y="64"/>
                </a:lnTo>
                <a:lnTo>
                  <a:pt x="233" y="64"/>
                </a:lnTo>
                <a:lnTo>
                  <a:pt x="233" y="67"/>
                </a:lnTo>
                <a:lnTo>
                  <a:pt x="234" y="67"/>
                </a:lnTo>
                <a:lnTo>
                  <a:pt x="234" y="68"/>
                </a:lnTo>
                <a:lnTo>
                  <a:pt x="231" y="70"/>
                </a:lnTo>
                <a:lnTo>
                  <a:pt x="233" y="71"/>
                </a:lnTo>
                <a:lnTo>
                  <a:pt x="233" y="72"/>
                </a:lnTo>
                <a:lnTo>
                  <a:pt x="236" y="72"/>
                </a:lnTo>
                <a:lnTo>
                  <a:pt x="236" y="74"/>
                </a:lnTo>
                <a:lnTo>
                  <a:pt x="237" y="74"/>
                </a:lnTo>
                <a:lnTo>
                  <a:pt x="237" y="75"/>
                </a:lnTo>
                <a:lnTo>
                  <a:pt x="240" y="77"/>
                </a:lnTo>
                <a:lnTo>
                  <a:pt x="248" y="79"/>
                </a:lnTo>
                <a:lnTo>
                  <a:pt x="248" y="80"/>
                </a:lnTo>
                <a:lnTo>
                  <a:pt x="249" y="80"/>
                </a:lnTo>
                <a:lnTo>
                  <a:pt x="249" y="84"/>
                </a:lnTo>
                <a:lnTo>
                  <a:pt x="246" y="84"/>
                </a:lnTo>
                <a:lnTo>
                  <a:pt x="244" y="83"/>
                </a:lnTo>
                <a:lnTo>
                  <a:pt x="244" y="84"/>
                </a:lnTo>
                <a:lnTo>
                  <a:pt x="241" y="84"/>
                </a:lnTo>
                <a:lnTo>
                  <a:pt x="240" y="83"/>
                </a:lnTo>
                <a:lnTo>
                  <a:pt x="240" y="81"/>
                </a:lnTo>
                <a:lnTo>
                  <a:pt x="237" y="81"/>
                </a:lnTo>
                <a:lnTo>
                  <a:pt x="238" y="83"/>
                </a:lnTo>
                <a:lnTo>
                  <a:pt x="238" y="85"/>
                </a:lnTo>
                <a:lnTo>
                  <a:pt x="235" y="85"/>
                </a:lnTo>
                <a:lnTo>
                  <a:pt x="235" y="86"/>
                </a:lnTo>
                <a:lnTo>
                  <a:pt x="236" y="87"/>
                </a:lnTo>
                <a:lnTo>
                  <a:pt x="236" y="95"/>
                </a:lnTo>
                <a:lnTo>
                  <a:pt x="237" y="96"/>
                </a:lnTo>
                <a:lnTo>
                  <a:pt x="237" y="95"/>
                </a:lnTo>
                <a:lnTo>
                  <a:pt x="238" y="96"/>
                </a:lnTo>
                <a:lnTo>
                  <a:pt x="235" y="99"/>
                </a:lnTo>
                <a:lnTo>
                  <a:pt x="234" y="98"/>
                </a:lnTo>
                <a:lnTo>
                  <a:pt x="233" y="98"/>
                </a:lnTo>
                <a:lnTo>
                  <a:pt x="233" y="99"/>
                </a:lnTo>
                <a:lnTo>
                  <a:pt x="234" y="102"/>
                </a:lnTo>
                <a:lnTo>
                  <a:pt x="227" y="102"/>
                </a:lnTo>
                <a:lnTo>
                  <a:pt x="223" y="98"/>
                </a:lnTo>
                <a:lnTo>
                  <a:pt x="223" y="96"/>
                </a:lnTo>
                <a:lnTo>
                  <a:pt x="224" y="96"/>
                </a:lnTo>
                <a:lnTo>
                  <a:pt x="224" y="93"/>
                </a:lnTo>
                <a:lnTo>
                  <a:pt x="223" y="93"/>
                </a:lnTo>
                <a:lnTo>
                  <a:pt x="222" y="92"/>
                </a:lnTo>
                <a:lnTo>
                  <a:pt x="221" y="92"/>
                </a:lnTo>
                <a:lnTo>
                  <a:pt x="219" y="89"/>
                </a:lnTo>
                <a:lnTo>
                  <a:pt x="218" y="89"/>
                </a:lnTo>
                <a:lnTo>
                  <a:pt x="218" y="90"/>
                </a:lnTo>
                <a:lnTo>
                  <a:pt x="217" y="90"/>
                </a:lnTo>
                <a:lnTo>
                  <a:pt x="217" y="87"/>
                </a:lnTo>
                <a:lnTo>
                  <a:pt x="213" y="87"/>
                </a:lnTo>
                <a:lnTo>
                  <a:pt x="213" y="90"/>
                </a:lnTo>
                <a:lnTo>
                  <a:pt x="211" y="90"/>
                </a:lnTo>
                <a:lnTo>
                  <a:pt x="207" y="86"/>
                </a:lnTo>
                <a:lnTo>
                  <a:pt x="204" y="86"/>
                </a:lnTo>
                <a:lnTo>
                  <a:pt x="202" y="85"/>
                </a:lnTo>
                <a:lnTo>
                  <a:pt x="200" y="84"/>
                </a:lnTo>
                <a:lnTo>
                  <a:pt x="199" y="84"/>
                </a:lnTo>
                <a:lnTo>
                  <a:pt x="199" y="86"/>
                </a:lnTo>
                <a:lnTo>
                  <a:pt x="198" y="87"/>
                </a:lnTo>
                <a:lnTo>
                  <a:pt x="194" y="87"/>
                </a:lnTo>
                <a:lnTo>
                  <a:pt x="192" y="85"/>
                </a:lnTo>
                <a:lnTo>
                  <a:pt x="190" y="85"/>
                </a:lnTo>
                <a:lnTo>
                  <a:pt x="187" y="87"/>
                </a:lnTo>
                <a:lnTo>
                  <a:pt x="187" y="89"/>
                </a:lnTo>
                <a:lnTo>
                  <a:pt x="185" y="89"/>
                </a:lnTo>
                <a:lnTo>
                  <a:pt x="184" y="90"/>
                </a:lnTo>
                <a:lnTo>
                  <a:pt x="182" y="90"/>
                </a:lnTo>
                <a:lnTo>
                  <a:pt x="181" y="89"/>
                </a:lnTo>
                <a:lnTo>
                  <a:pt x="179" y="85"/>
                </a:lnTo>
                <a:lnTo>
                  <a:pt x="179" y="84"/>
                </a:lnTo>
                <a:lnTo>
                  <a:pt x="175" y="84"/>
                </a:lnTo>
                <a:lnTo>
                  <a:pt x="173" y="86"/>
                </a:lnTo>
                <a:lnTo>
                  <a:pt x="168" y="86"/>
                </a:lnTo>
                <a:lnTo>
                  <a:pt x="169" y="85"/>
                </a:lnTo>
                <a:lnTo>
                  <a:pt x="163" y="85"/>
                </a:lnTo>
                <a:lnTo>
                  <a:pt x="161" y="83"/>
                </a:lnTo>
                <a:lnTo>
                  <a:pt x="160" y="83"/>
                </a:lnTo>
                <a:lnTo>
                  <a:pt x="159" y="84"/>
                </a:lnTo>
                <a:lnTo>
                  <a:pt x="156" y="84"/>
                </a:lnTo>
                <a:lnTo>
                  <a:pt x="156" y="85"/>
                </a:lnTo>
                <a:lnTo>
                  <a:pt x="154" y="84"/>
                </a:lnTo>
                <a:lnTo>
                  <a:pt x="153" y="83"/>
                </a:lnTo>
                <a:lnTo>
                  <a:pt x="150" y="81"/>
                </a:lnTo>
                <a:lnTo>
                  <a:pt x="150" y="80"/>
                </a:lnTo>
                <a:lnTo>
                  <a:pt x="149" y="80"/>
                </a:lnTo>
                <a:lnTo>
                  <a:pt x="149" y="79"/>
                </a:lnTo>
                <a:lnTo>
                  <a:pt x="145" y="79"/>
                </a:lnTo>
                <a:lnTo>
                  <a:pt x="145" y="77"/>
                </a:lnTo>
                <a:lnTo>
                  <a:pt x="144" y="78"/>
                </a:lnTo>
                <a:lnTo>
                  <a:pt x="143" y="78"/>
                </a:lnTo>
                <a:lnTo>
                  <a:pt x="143" y="79"/>
                </a:lnTo>
                <a:lnTo>
                  <a:pt x="142" y="79"/>
                </a:lnTo>
                <a:lnTo>
                  <a:pt x="142" y="80"/>
                </a:lnTo>
                <a:lnTo>
                  <a:pt x="141" y="80"/>
                </a:lnTo>
                <a:lnTo>
                  <a:pt x="141" y="83"/>
                </a:lnTo>
                <a:lnTo>
                  <a:pt x="140" y="83"/>
                </a:lnTo>
                <a:lnTo>
                  <a:pt x="131" y="80"/>
                </a:lnTo>
                <a:lnTo>
                  <a:pt x="129" y="80"/>
                </a:lnTo>
                <a:lnTo>
                  <a:pt x="126" y="81"/>
                </a:lnTo>
                <a:lnTo>
                  <a:pt x="125" y="85"/>
                </a:lnTo>
                <a:lnTo>
                  <a:pt x="124" y="85"/>
                </a:lnTo>
                <a:lnTo>
                  <a:pt x="124" y="86"/>
                </a:lnTo>
                <a:lnTo>
                  <a:pt x="123" y="86"/>
                </a:lnTo>
                <a:lnTo>
                  <a:pt x="122" y="87"/>
                </a:lnTo>
                <a:lnTo>
                  <a:pt x="122" y="89"/>
                </a:lnTo>
                <a:lnTo>
                  <a:pt x="120" y="91"/>
                </a:lnTo>
                <a:lnTo>
                  <a:pt x="120" y="93"/>
                </a:lnTo>
                <a:lnTo>
                  <a:pt x="118" y="93"/>
                </a:lnTo>
                <a:lnTo>
                  <a:pt x="116" y="92"/>
                </a:lnTo>
                <a:lnTo>
                  <a:pt x="111" y="87"/>
                </a:lnTo>
                <a:lnTo>
                  <a:pt x="111" y="86"/>
                </a:lnTo>
                <a:lnTo>
                  <a:pt x="110" y="84"/>
                </a:lnTo>
                <a:lnTo>
                  <a:pt x="109" y="84"/>
                </a:lnTo>
                <a:lnTo>
                  <a:pt x="109" y="83"/>
                </a:lnTo>
                <a:lnTo>
                  <a:pt x="107" y="83"/>
                </a:lnTo>
                <a:lnTo>
                  <a:pt x="107" y="80"/>
                </a:lnTo>
                <a:lnTo>
                  <a:pt x="99" y="80"/>
                </a:lnTo>
                <a:lnTo>
                  <a:pt x="97" y="83"/>
                </a:lnTo>
                <a:lnTo>
                  <a:pt x="97" y="89"/>
                </a:lnTo>
                <a:lnTo>
                  <a:pt x="95" y="91"/>
                </a:lnTo>
                <a:lnTo>
                  <a:pt x="95" y="92"/>
                </a:lnTo>
                <a:lnTo>
                  <a:pt x="97" y="93"/>
                </a:lnTo>
                <a:lnTo>
                  <a:pt x="95" y="95"/>
                </a:lnTo>
                <a:lnTo>
                  <a:pt x="95" y="97"/>
                </a:lnTo>
                <a:lnTo>
                  <a:pt x="94" y="97"/>
                </a:lnTo>
                <a:lnTo>
                  <a:pt x="94" y="99"/>
                </a:lnTo>
                <a:lnTo>
                  <a:pt x="95" y="101"/>
                </a:lnTo>
                <a:lnTo>
                  <a:pt x="95" y="102"/>
                </a:lnTo>
                <a:lnTo>
                  <a:pt x="97" y="103"/>
                </a:lnTo>
                <a:lnTo>
                  <a:pt x="97" y="104"/>
                </a:lnTo>
                <a:lnTo>
                  <a:pt x="94" y="104"/>
                </a:lnTo>
                <a:lnTo>
                  <a:pt x="94" y="108"/>
                </a:lnTo>
                <a:lnTo>
                  <a:pt x="98" y="111"/>
                </a:lnTo>
                <a:lnTo>
                  <a:pt x="100" y="111"/>
                </a:lnTo>
                <a:lnTo>
                  <a:pt x="100" y="110"/>
                </a:lnTo>
                <a:lnTo>
                  <a:pt x="101" y="110"/>
                </a:lnTo>
                <a:lnTo>
                  <a:pt x="101" y="111"/>
                </a:lnTo>
                <a:lnTo>
                  <a:pt x="103" y="111"/>
                </a:lnTo>
                <a:lnTo>
                  <a:pt x="104" y="113"/>
                </a:lnTo>
                <a:lnTo>
                  <a:pt x="104" y="114"/>
                </a:lnTo>
                <a:lnTo>
                  <a:pt x="105" y="115"/>
                </a:lnTo>
                <a:lnTo>
                  <a:pt x="106" y="115"/>
                </a:lnTo>
                <a:lnTo>
                  <a:pt x="107" y="116"/>
                </a:lnTo>
                <a:lnTo>
                  <a:pt x="107" y="118"/>
                </a:lnTo>
                <a:lnTo>
                  <a:pt x="106" y="120"/>
                </a:lnTo>
                <a:lnTo>
                  <a:pt x="106" y="121"/>
                </a:lnTo>
                <a:lnTo>
                  <a:pt x="107" y="122"/>
                </a:lnTo>
                <a:lnTo>
                  <a:pt x="109" y="122"/>
                </a:lnTo>
                <a:lnTo>
                  <a:pt x="110" y="121"/>
                </a:lnTo>
                <a:lnTo>
                  <a:pt x="111" y="121"/>
                </a:lnTo>
                <a:lnTo>
                  <a:pt x="111" y="124"/>
                </a:lnTo>
                <a:lnTo>
                  <a:pt x="112" y="127"/>
                </a:lnTo>
                <a:lnTo>
                  <a:pt x="113" y="128"/>
                </a:lnTo>
                <a:lnTo>
                  <a:pt x="113" y="129"/>
                </a:lnTo>
                <a:lnTo>
                  <a:pt x="112" y="129"/>
                </a:lnTo>
                <a:lnTo>
                  <a:pt x="112" y="130"/>
                </a:lnTo>
                <a:lnTo>
                  <a:pt x="115" y="130"/>
                </a:lnTo>
                <a:lnTo>
                  <a:pt x="115" y="134"/>
                </a:lnTo>
                <a:lnTo>
                  <a:pt x="113" y="135"/>
                </a:lnTo>
                <a:lnTo>
                  <a:pt x="113" y="136"/>
                </a:lnTo>
                <a:lnTo>
                  <a:pt x="115" y="138"/>
                </a:lnTo>
                <a:lnTo>
                  <a:pt x="115" y="140"/>
                </a:lnTo>
                <a:lnTo>
                  <a:pt x="118" y="144"/>
                </a:lnTo>
                <a:lnTo>
                  <a:pt x="118" y="145"/>
                </a:lnTo>
                <a:lnTo>
                  <a:pt x="119" y="147"/>
                </a:lnTo>
                <a:lnTo>
                  <a:pt x="120" y="148"/>
                </a:lnTo>
                <a:lnTo>
                  <a:pt x="122" y="148"/>
                </a:lnTo>
                <a:lnTo>
                  <a:pt x="122" y="150"/>
                </a:lnTo>
                <a:lnTo>
                  <a:pt x="124" y="150"/>
                </a:lnTo>
                <a:lnTo>
                  <a:pt x="124" y="152"/>
                </a:lnTo>
                <a:lnTo>
                  <a:pt x="126" y="152"/>
                </a:lnTo>
                <a:lnTo>
                  <a:pt x="129" y="154"/>
                </a:lnTo>
                <a:lnTo>
                  <a:pt x="130" y="157"/>
                </a:lnTo>
                <a:lnTo>
                  <a:pt x="131" y="158"/>
                </a:lnTo>
                <a:lnTo>
                  <a:pt x="132" y="160"/>
                </a:lnTo>
                <a:lnTo>
                  <a:pt x="135" y="161"/>
                </a:lnTo>
                <a:lnTo>
                  <a:pt x="135" y="164"/>
                </a:lnTo>
                <a:lnTo>
                  <a:pt x="136" y="165"/>
                </a:lnTo>
                <a:lnTo>
                  <a:pt x="136" y="166"/>
                </a:lnTo>
                <a:lnTo>
                  <a:pt x="141" y="170"/>
                </a:lnTo>
                <a:lnTo>
                  <a:pt x="148" y="177"/>
                </a:lnTo>
                <a:lnTo>
                  <a:pt x="149" y="179"/>
                </a:lnTo>
                <a:lnTo>
                  <a:pt x="150" y="181"/>
                </a:lnTo>
                <a:lnTo>
                  <a:pt x="151" y="181"/>
                </a:lnTo>
                <a:lnTo>
                  <a:pt x="154" y="182"/>
                </a:lnTo>
                <a:lnTo>
                  <a:pt x="159" y="183"/>
                </a:lnTo>
                <a:lnTo>
                  <a:pt x="160" y="184"/>
                </a:lnTo>
                <a:lnTo>
                  <a:pt x="160" y="190"/>
                </a:lnTo>
                <a:lnTo>
                  <a:pt x="161" y="193"/>
                </a:lnTo>
                <a:lnTo>
                  <a:pt x="162" y="196"/>
                </a:lnTo>
                <a:lnTo>
                  <a:pt x="163" y="197"/>
                </a:lnTo>
                <a:lnTo>
                  <a:pt x="165" y="197"/>
                </a:lnTo>
                <a:lnTo>
                  <a:pt x="165" y="199"/>
                </a:lnTo>
                <a:lnTo>
                  <a:pt x="166" y="199"/>
                </a:lnTo>
                <a:lnTo>
                  <a:pt x="166" y="201"/>
                </a:lnTo>
                <a:lnTo>
                  <a:pt x="167" y="202"/>
                </a:lnTo>
                <a:lnTo>
                  <a:pt x="173" y="206"/>
                </a:lnTo>
                <a:lnTo>
                  <a:pt x="173" y="207"/>
                </a:lnTo>
                <a:lnTo>
                  <a:pt x="176" y="210"/>
                </a:lnTo>
                <a:lnTo>
                  <a:pt x="176" y="213"/>
                </a:lnTo>
                <a:lnTo>
                  <a:pt x="175" y="214"/>
                </a:lnTo>
                <a:lnTo>
                  <a:pt x="173" y="214"/>
                </a:lnTo>
                <a:lnTo>
                  <a:pt x="172" y="213"/>
                </a:lnTo>
                <a:lnTo>
                  <a:pt x="171" y="213"/>
                </a:lnTo>
                <a:lnTo>
                  <a:pt x="168" y="210"/>
                </a:lnTo>
                <a:lnTo>
                  <a:pt x="168" y="209"/>
                </a:lnTo>
                <a:lnTo>
                  <a:pt x="169" y="209"/>
                </a:lnTo>
                <a:lnTo>
                  <a:pt x="169" y="208"/>
                </a:lnTo>
                <a:lnTo>
                  <a:pt x="168" y="209"/>
                </a:lnTo>
                <a:lnTo>
                  <a:pt x="167" y="209"/>
                </a:lnTo>
                <a:lnTo>
                  <a:pt x="167" y="208"/>
                </a:lnTo>
                <a:lnTo>
                  <a:pt x="166" y="207"/>
                </a:lnTo>
                <a:lnTo>
                  <a:pt x="166" y="208"/>
                </a:lnTo>
                <a:lnTo>
                  <a:pt x="163" y="207"/>
                </a:lnTo>
                <a:lnTo>
                  <a:pt x="161" y="203"/>
                </a:lnTo>
                <a:lnTo>
                  <a:pt x="155" y="200"/>
                </a:lnTo>
                <a:lnTo>
                  <a:pt x="154" y="199"/>
                </a:lnTo>
                <a:lnTo>
                  <a:pt x="153" y="199"/>
                </a:lnTo>
                <a:lnTo>
                  <a:pt x="153" y="197"/>
                </a:lnTo>
                <a:lnTo>
                  <a:pt x="151" y="197"/>
                </a:lnTo>
                <a:lnTo>
                  <a:pt x="151" y="196"/>
                </a:lnTo>
                <a:lnTo>
                  <a:pt x="150" y="196"/>
                </a:lnTo>
                <a:lnTo>
                  <a:pt x="150" y="195"/>
                </a:lnTo>
                <a:lnTo>
                  <a:pt x="149" y="194"/>
                </a:lnTo>
                <a:lnTo>
                  <a:pt x="145" y="189"/>
                </a:lnTo>
                <a:lnTo>
                  <a:pt x="144" y="188"/>
                </a:lnTo>
                <a:lnTo>
                  <a:pt x="143" y="188"/>
                </a:lnTo>
                <a:lnTo>
                  <a:pt x="143" y="187"/>
                </a:lnTo>
                <a:lnTo>
                  <a:pt x="137" y="187"/>
                </a:lnTo>
                <a:lnTo>
                  <a:pt x="132" y="184"/>
                </a:lnTo>
                <a:lnTo>
                  <a:pt x="129" y="182"/>
                </a:lnTo>
                <a:lnTo>
                  <a:pt x="129" y="181"/>
                </a:lnTo>
                <a:lnTo>
                  <a:pt x="128" y="181"/>
                </a:lnTo>
                <a:lnTo>
                  <a:pt x="128" y="182"/>
                </a:lnTo>
                <a:lnTo>
                  <a:pt x="125" y="181"/>
                </a:lnTo>
                <a:lnTo>
                  <a:pt x="124" y="181"/>
                </a:lnTo>
                <a:lnTo>
                  <a:pt x="125" y="179"/>
                </a:lnTo>
                <a:lnTo>
                  <a:pt x="124" y="178"/>
                </a:lnTo>
                <a:lnTo>
                  <a:pt x="120" y="178"/>
                </a:lnTo>
                <a:lnTo>
                  <a:pt x="119" y="179"/>
                </a:lnTo>
                <a:lnTo>
                  <a:pt x="118" y="179"/>
                </a:lnTo>
                <a:lnTo>
                  <a:pt x="116" y="181"/>
                </a:lnTo>
                <a:lnTo>
                  <a:pt x="112" y="181"/>
                </a:lnTo>
                <a:lnTo>
                  <a:pt x="113" y="182"/>
                </a:lnTo>
                <a:lnTo>
                  <a:pt x="111" y="182"/>
                </a:lnTo>
                <a:lnTo>
                  <a:pt x="111" y="183"/>
                </a:lnTo>
                <a:lnTo>
                  <a:pt x="110" y="183"/>
                </a:lnTo>
                <a:lnTo>
                  <a:pt x="109" y="182"/>
                </a:lnTo>
                <a:lnTo>
                  <a:pt x="104" y="182"/>
                </a:lnTo>
                <a:lnTo>
                  <a:pt x="104" y="181"/>
                </a:lnTo>
                <a:lnTo>
                  <a:pt x="105" y="181"/>
                </a:lnTo>
                <a:lnTo>
                  <a:pt x="105" y="179"/>
                </a:lnTo>
                <a:lnTo>
                  <a:pt x="104" y="179"/>
                </a:lnTo>
                <a:lnTo>
                  <a:pt x="104" y="177"/>
                </a:lnTo>
                <a:lnTo>
                  <a:pt x="103" y="177"/>
                </a:lnTo>
                <a:lnTo>
                  <a:pt x="103" y="173"/>
                </a:lnTo>
                <a:lnTo>
                  <a:pt x="101" y="173"/>
                </a:lnTo>
                <a:lnTo>
                  <a:pt x="103" y="172"/>
                </a:lnTo>
                <a:lnTo>
                  <a:pt x="104" y="173"/>
                </a:lnTo>
                <a:lnTo>
                  <a:pt x="104" y="171"/>
                </a:lnTo>
                <a:lnTo>
                  <a:pt x="103" y="171"/>
                </a:lnTo>
                <a:lnTo>
                  <a:pt x="101" y="170"/>
                </a:lnTo>
                <a:lnTo>
                  <a:pt x="100" y="170"/>
                </a:lnTo>
                <a:lnTo>
                  <a:pt x="100" y="169"/>
                </a:lnTo>
                <a:lnTo>
                  <a:pt x="99" y="169"/>
                </a:lnTo>
                <a:lnTo>
                  <a:pt x="98" y="167"/>
                </a:lnTo>
                <a:lnTo>
                  <a:pt x="97" y="167"/>
                </a:lnTo>
                <a:lnTo>
                  <a:pt x="97" y="166"/>
                </a:lnTo>
                <a:lnTo>
                  <a:pt x="93" y="166"/>
                </a:lnTo>
                <a:lnTo>
                  <a:pt x="93" y="164"/>
                </a:lnTo>
                <a:lnTo>
                  <a:pt x="92" y="164"/>
                </a:lnTo>
                <a:lnTo>
                  <a:pt x="92" y="163"/>
                </a:lnTo>
                <a:lnTo>
                  <a:pt x="91" y="163"/>
                </a:lnTo>
                <a:lnTo>
                  <a:pt x="88" y="160"/>
                </a:lnTo>
                <a:lnTo>
                  <a:pt x="87" y="160"/>
                </a:lnTo>
                <a:lnTo>
                  <a:pt x="87" y="159"/>
                </a:lnTo>
                <a:lnTo>
                  <a:pt x="86" y="158"/>
                </a:lnTo>
                <a:lnTo>
                  <a:pt x="85" y="158"/>
                </a:lnTo>
                <a:lnTo>
                  <a:pt x="84" y="157"/>
                </a:lnTo>
                <a:lnTo>
                  <a:pt x="82" y="157"/>
                </a:lnTo>
                <a:lnTo>
                  <a:pt x="82" y="156"/>
                </a:lnTo>
                <a:lnTo>
                  <a:pt x="80" y="153"/>
                </a:lnTo>
                <a:lnTo>
                  <a:pt x="79" y="151"/>
                </a:lnTo>
                <a:lnTo>
                  <a:pt x="76" y="151"/>
                </a:lnTo>
                <a:lnTo>
                  <a:pt x="76" y="150"/>
                </a:lnTo>
                <a:lnTo>
                  <a:pt x="75" y="147"/>
                </a:lnTo>
                <a:lnTo>
                  <a:pt x="73" y="145"/>
                </a:lnTo>
                <a:lnTo>
                  <a:pt x="73" y="144"/>
                </a:lnTo>
                <a:lnTo>
                  <a:pt x="72" y="144"/>
                </a:lnTo>
                <a:lnTo>
                  <a:pt x="70" y="141"/>
                </a:lnTo>
                <a:lnTo>
                  <a:pt x="70" y="139"/>
                </a:lnTo>
                <a:lnTo>
                  <a:pt x="68" y="136"/>
                </a:lnTo>
                <a:lnTo>
                  <a:pt x="70" y="136"/>
                </a:lnTo>
                <a:lnTo>
                  <a:pt x="70" y="138"/>
                </a:lnTo>
                <a:lnTo>
                  <a:pt x="72" y="138"/>
                </a:lnTo>
                <a:lnTo>
                  <a:pt x="73" y="136"/>
                </a:lnTo>
                <a:lnTo>
                  <a:pt x="72" y="135"/>
                </a:lnTo>
                <a:lnTo>
                  <a:pt x="74" y="136"/>
                </a:lnTo>
                <a:lnTo>
                  <a:pt x="75" y="138"/>
                </a:lnTo>
                <a:lnTo>
                  <a:pt x="76" y="138"/>
                </a:lnTo>
                <a:lnTo>
                  <a:pt x="75" y="135"/>
                </a:lnTo>
                <a:lnTo>
                  <a:pt x="76" y="135"/>
                </a:lnTo>
                <a:lnTo>
                  <a:pt x="75" y="134"/>
                </a:lnTo>
                <a:lnTo>
                  <a:pt x="75" y="133"/>
                </a:lnTo>
                <a:lnTo>
                  <a:pt x="76" y="135"/>
                </a:lnTo>
                <a:lnTo>
                  <a:pt x="85" y="138"/>
                </a:lnTo>
                <a:lnTo>
                  <a:pt x="86" y="138"/>
                </a:lnTo>
                <a:lnTo>
                  <a:pt x="86" y="136"/>
                </a:lnTo>
                <a:lnTo>
                  <a:pt x="82" y="135"/>
                </a:lnTo>
                <a:lnTo>
                  <a:pt x="81" y="134"/>
                </a:lnTo>
                <a:lnTo>
                  <a:pt x="76" y="132"/>
                </a:lnTo>
                <a:lnTo>
                  <a:pt x="70" y="126"/>
                </a:lnTo>
                <a:lnTo>
                  <a:pt x="68" y="122"/>
                </a:lnTo>
                <a:lnTo>
                  <a:pt x="67" y="121"/>
                </a:lnTo>
                <a:lnTo>
                  <a:pt x="66" y="121"/>
                </a:lnTo>
                <a:lnTo>
                  <a:pt x="66" y="120"/>
                </a:lnTo>
                <a:lnTo>
                  <a:pt x="64" y="118"/>
                </a:lnTo>
                <a:lnTo>
                  <a:pt x="63" y="118"/>
                </a:lnTo>
                <a:lnTo>
                  <a:pt x="60" y="111"/>
                </a:lnTo>
                <a:lnTo>
                  <a:pt x="58" y="110"/>
                </a:lnTo>
                <a:lnTo>
                  <a:pt x="60" y="109"/>
                </a:lnTo>
                <a:lnTo>
                  <a:pt x="60" y="108"/>
                </a:lnTo>
                <a:lnTo>
                  <a:pt x="58" y="108"/>
                </a:lnTo>
                <a:lnTo>
                  <a:pt x="58" y="102"/>
                </a:lnTo>
                <a:lnTo>
                  <a:pt x="60" y="98"/>
                </a:lnTo>
                <a:lnTo>
                  <a:pt x="60" y="97"/>
                </a:lnTo>
                <a:lnTo>
                  <a:pt x="61" y="96"/>
                </a:lnTo>
                <a:lnTo>
                  <a:pt x="60" y="95"/>
                </a:lnTo>
                <a:lnTo>
                  <a:pt x="57" y="89"/>
                </a:lnTo>
                <a:lnTo>
                  <a:pt x="57" y="87"/>
                </a:lnTo>
                <a:lnTo>
                  <a:pt x="56" y="86"/>
                </a:lnTo>
                <a:lnTo>
                  <a:pt x="54" y="85"/>
                </a:lnTo>
                <a:lnTo>
                  <a:pt x="49" y="81"/>
                </a:lnTo>
                <a:lnTo>
                  <a:pt x="48" y="79"/>
                </a:lnTo>
                <a:lnTo>
                  <a:pt x="47" y="79"/>
                </a:lnTo>
                <a:lnTo>
                  <a:pt x="45" y="78"/>
                </a:lnTo>
                <a:lnTo>
                  <a:pt x="45" y="77"/>
                </a:lnTo>
                <a:lnTo>
                  <a:pt x="47" y="77"/>
                </a:lnTo>
                <a:lnTo>
                  <a:pt x="44" y="74"/>
                </a:lnTo>
                <a:lnTo>
                  <a:pt x="45" y="75"/>
                </a:lnTo>
                <a:lnTo>
                  <a:pt x="45" y="77"/>
                </a:lnTo>
                <a:lnTo>
                  <a:pt x="44" y="77"/>
                </a:lnTo>
                <a:lnTo>
                  <a:pt x="43" y="75"/>
                </a:lnTo>
                <a:lnTo>
                  <a:pt x="38" y="73"/>
                </a:lnTo>
                <a:lnTo>
                  <a:pt x="37" y="73"/>
                </a:lnTo>
                <a:lnTo>
                  <a:pt x="36" y="72"/>
                </a:lnTo>
                <a:lnTo>
                  <a:pt x="33" y="74"/>
                </a:lnTo>
                <a:lnTo>
                  <a:pt x="33" y="77"/>
                </a:lnTo>
                <a:lnTo>
                  <a:pt x="32" y="78"/>
                </a:lnTo>
                <a:lnTo>
                  <a:pt x="32" y="83"/>
                </a:lnTo>
                <a:lnTo>
                  <a:pt x="31" y="84"/>
                </a:lnTo>
                <a:lnTo>
                  <a:pt x="31" y="85"/>
                </a:lnTo>
                <a:lnTo>
                  <a:pt x="30" y="86"/>
                </a:lnTo>
                <a:lnTo>
                  <a:pt x="30" y="87"/>
                </a:lnTo>
                <a:lnTo>
                  <a:pt x="29" y="87"/>
                </a:lnTo>
                <a:lnTo>
                  <a:pt x="29" y="90"/>
                </a:lnTo>
                <a:lnTo>
                  <a:pt x="28" y="90"/>
                </a:lnTo>
                <a:lnTo>
                  <a:pt x="29" y="91"/>
                </a:lnTo>
                <a:lnTo>
                  <a:pt x="29" y="93"/>
                </a:lnTo>
                <a:lnTo>
                  <a:pt x="28" y="95"/>
                </a:lnTo>
                <a:lnTo>
                  <a:pt x="26" y="95"/>
                </a:lnTo>
                <a:lnTo>
                  <a:pt x="25" y="96"/>
                </a:lnTo>
                <a:lnTo>
                  <a:pt x="25" y="95"/>
                </a:lnTo>
                <a:lnTo>
                  <a:pt x="24" y="95"/>
                </a:lnTo>
                <a:lnTo>
                  <a:pt x="24" y="96"/>
                </a:lnTo>
                <a:lnTo>
                  <a:pt x="23" y="96"/>
                </a:lnTo>
                <a:lnTo>
                  <a:pt x="23" y="99"/>
                </a:lnTo>
                <a:lnTo>
                  <a:pt x="22" y="99"/>
                </a:lnTo>
                <a:lnTo>
                  <a:pt x="22" y="102"/>
                </a:lnTo>
                <a:lnTo>
                  <a:pt x="20" y="102"/>
                </a:lnTo>
                <a:lnTo>
                  <a:pt x="20" y="104"/>
                </a:lnTo>
                <a:lnTo>
                  <a:pt x="18" y="104"/>
                </a:lnTo>
                <a:lnTo>
                  <a:pt x="18" y="103"/>
                </a:lnTo>
                <a:lnTo>
                  <a:pt x="17" y="104"/>
                </a:lnTo>
                <a:lnTo>
                  <a:pt x="16" y="104"/>
                </a:lnTo>
                <a:lnTo>
                  <a:pt x="16" y="103"/>
                </a:lnTo>
                <a:lnTo>
                  <a:pt x="14" y="102"/>
                </a:lnTo>
                <a:lnTo>
                  <a:pt x="14" y="101"/>
                </a:lnTo>
                <a:lnTo>
                  <a:pt x="13" y="101"/>
                </a:lnTo>
                <a:lnTo>
                  <a:pt x="13" y="98"/>
                </a:lnTo>
                <a:lnTo>
                  <a:pt x="11" y="93"/>
                </a:lnTo>
                <a:lnTo>
                  <a:pt x="7" y="90"/>
                </a:lnTo>
                <a:lnTo>
                  <a:pt x="6" y="90"/>
                </a:lnTo>
                <a:lnTo>
                  <a:pt x="6" y="87"/>
                </a:lnTo>
                <a:lnTo>
                  <a:pt x="5" y="86"/>
                </a:lnTo>
                <a:lnTo>
                  <a:pt x="6" y="86"/>
                </a:lnTo>
                <a:lnTo>
                  <a:pt x="10" y="85"/>
                </a:lnTo>
                <a:lnTo>
                  <a:pt x="5" y="85"/>
                </a:lnTo>
                <a:lnTo>
                  <a:pt x="5" y="78"/>
                </a:lnTo>
                <a:lnTo>
                  <a:pt x="4" y="78"/>
                </a:lnTo>
                <a:lnTo>
                  <a:pt x="4" y="77"/>
                </a:lnTo>
                <a:lnTo>
                  <a:pt x="5" y="77"/>
                </a:lnTo>
                <a:lnTo>
                  <a:pt x="4" y="75"/>
                </a:lnTo>
                <a:lnTo>
                  <a:pt x="5" y="74"/>
                </a:lnTo>
                <a:lnTo>
                  <a:pt x="4" y="74"/>
                </a:lnTo>
                <a:lnTo>
                  <a:pt x="2" y="73"/>
                </a:lnTo>
                <a:lnTo>
                  <a:pt x="2" y="71"/>
                </a:lnTo>
                <a:lnTo>
                  <a:pt x="1" y="67"/>
                </a:lnTo>
                <a:lnTo>
                  <a:pt x="1" y="65"/>
                </a:lnTo>
                <a:lnTo>
                  <a:pt x="0" y="64"/>
                </a:lnTo>
                <a:lnTo>
                  <a:pt x="1" y="62"/>
                </a:lnTo>
                <a:lnTo>
                  <a:pt x="1" y="64"/>
                </a:lnTo>
                <a:lnTo>
                  <a:pt x="4" y="64"/>
                </a:lnTo>
                <a:lnTo>
                  <a:pt x="6" y="66"/>
                </a:lnTo>
                <a:lnTo>
                  <a:pt x="12" y="66"/>
                </a:lnTo>
                <a:lnTo>
                  <a:pt x="13" y="67"/>
                </a:lnTo>
                <a:lnTo>
                  <a:pt x="14" y="67"/>
                </a:lnTo>
                <a:lnTo>
                  <a:pt x="14" y="68"/>
                </a:lnTo>
                <a:lnTo>
                  <a:pt x="17" y="68"/>
                </a:lnTo>
                <a:lnTo>
                  <a:pt x="18" y="67"/>
                </a:lnTo>
                <a:lnTo>
                  <a:pt x="20" y="66"/>
                </a:lnTo>
                <a:lnTo>
                  <a:pt x="20" y="62"/>
                </a:lnTo>
                <a:lnTo>
                  <a:pt x="22" y="62"/>
                </a:lnTo>
                <a:lnTo>
                  <a:pt x="23" y="64"/>
                </a:lnTo>
                <a:lnTo>
                  <a:pt x="24" y="64"/>
                </a:lnTo>
                <a:lnTo>
                  <a:pt x="24" y="65"/>
                </a:lnTo>
                <a:lnTo>
                  <a:pt x="28" y="65"/>
                </a:lnTo>
                <a:lnTo>
                  <a:pt x="30" y="64"/>
                </a:lnTo>
                <a:lnTo>
                  <a:pt x="32" y="64"/>
                </a:lnTo>
                <a:lnTo>
                  <a:pt x="33" y="65"/>
                </a:lnTo>
                <a:lnTo>
                  <a:pt x="37" y="65"/>
                </a:lnTo>
                <a:lnTo>
                  <a:pt x="42" y="62"/>
                </a:lnTo>
                <a:lnTo>
                  <a:pt x="42" y="59"/>
                </a:lnTo>
                <a:lnTo>
                  <a:pt x="44" y="56"/>
                </a:lnTo>
                <a:lnTo>
                  <a:pt x="44" y="55"/>
                </a:lnTo>
                <a:lnTo>
                  <a:pt x="45" y="54"/>
                </a:lnTo>
                <a:lnTo>
                  <a:pt x="47" y="54"/>
                </a:lnTo>
                <a:lnTo>
                  <a:pt x="47" y="58"/>
                </a:lnTo>
                <a:lnTo>
                  <a:pt x="48" y="58"/>
                </a:lnTo>
                <a:lnTo>
                  <a:pt x="49" y="59"/>
                </a:lnTo>
                <a:lnTo>
                  <a:pt x="50" y="59"/>
                </a:lnTo>
                <a:lnTo>
                  <a:pt x="50" y="62"/>
                </a:lnTo>
                <a:lnTo>
                  <a:pt x="55" y="64"/>
                </a:lnTo>
                <a:lnTo>
                  <a:pt x="55" y="66"/>
                </a:lnTo>
                <a:lnTo>
                  <a:pt x="57" y="66"/>
                </a:lnTo>
                <a:lnTo>
                  <a:pt x="60" y="64"/>
                </a:lnTo>
                <a:lnTo>
                  <a:pt x="60" y="62"/>
                </a:lnTo>
                <a:lnTo>
                  <a:pt x="61" y="62"/>
                </a:lnTo>
                <a:lnTo>
                  <a:pt x="62" y="64"/>
                </a:lnTo>
                <a:lnTo>
                  <a:pt x="63" y="64"/>
                </a:lnTo>
                <a:lnTo>
                  <a:pt x="63" y="65"/>
                </a:lnTo>
                <a:lnTo>
                  <a:pt x="67" y="65"/>
                </a:lnTo>
                <a:lnTo>
                  <a:pt x="69" y="67"/>
                </a:lnTo>
                <a:lnTo>
                  <a:pt x="72" y="68"/>
                </a:lnTo>
                <a:lnTo>
                  <a:pt x="73" y="67"/>
                </a:lnTo>
                <a:lnTo>
                  <a:pt x="75" y="66"/>
                </a:lnTo>
                <a:lnTo>
                  <a:pt x="76" y="66"/>
                </a:lnTo>
                <a:lnTo>
                  <a:pt x="79" y="65"/>
                </a:lnTo>
                <a:lnTo>
                  <a:pt x="76" y="64"/>
                </a:lnTo>
                <a:lnTo>
                  <a:pt x="76" y="61"/>
                </a:lnTo>
                <a:lnTo>
                  <a:pt x="75" y="59"/>
                </a:lnTo>
                <a:lnTo>
                  <a:pt x="75" y="58"/>
                </a:lnTo>
                <a:lnTo>
                  <a:pt x="76" y="55"/>
                </a:lnTo>
                <a:lnTo>
                  <a:pt x="80" y="55"/>
                </a:lnTo>
                <a:lnTo>
                  <a:pt x="79" y="54"/>
                </a:lnTo>
                <a:lnTo>
                  <a:pt x="79" y="53"/>
                </a:lnTo>
                <a:lnTo>
                  <a:pt x="75" y="53"/>
                </a:lnTo>
                <a:lnTo>
                  <a:pt x="75" y="52"/>
                </a:lnTo>
                <a:lnTo>
                  <a:pt x="74" y="50"/>
                </a:lnTo>
                <a:lnTo>
                  <a:pt x="75" y="49"/>
                </a:lnTo>
                <a:lnTo>
                  <a:pt x="76" y="49"/>
                </a:lnTo>
                <a:lnTo>
                  <a:pt x="76" y="48"/>
                </a:lnTo>
                <a:lnTo>
                  <a:pt x="82" y="47"/>
                </a:lnTo>
                <a:lnTo>
                  <a:pt x="82" y="44"/>
                </a:lnTo>
                <a:lnTo>
                  <a:pt x="86" y="44"/>
                </a:lnTo>
                <a:lnTo>
                  <a:pt x="86" y="43"/>
                </a:lnTo>
                <a:lnTo>
                  <a:pt x="87" y="44"/>
                </a:lnTo>
                <a:lnTo>
                  <a:pt x="91" y="44"/>
                </a:lnTo>
                <a:lnTo>
                  <a:pt x="92" y="43"/>
                </a:lnTo>
                <a:lnTo>
                  <a:pt x="92" y="34"/>
                </a:lnTo>
                <a:lnTo>
                  <a:pt x="93" y="32"/>
                </a:lnTo>
                <a:lnTo>
                  <a:pt x="93" y="30"/>
                </a:lnTo>
                <a:lnTo>
                  <a:pt x="92" y="30"/>
                </a:lnTo>
                <a:lnTo>
                  <a:pt x="88" y="27"/>
                </a:lnTo>
                <a:lnTo>
                  <a:pt x="88" y="25"/>
                </a:lnTo>
                <a:lnTo>
                  <a:pt x="89" y="23"/>
                </a:lnTo>
                <a:lnTo>
                  <a:pt x="91" y="22"/>
                </a:lnTo>
                <a:lnTo>
                  <a:pt x="91" y="21"/>
                </a:lnTo>
                <a:lnTo>
                  <a:pt x="97" y="21"/>
                </a:lnTo>
                <a:lnTo>
                  <a:pt x="97" y="18"/>
                </a:lnTo>
                <a:lnTo>
                  <a:pt x="99" y="18"/>
                </a:lnTo>
                <a:lnTo>
                  <a:pt x="101" y="17"/>
                </a:lnTo>
                <a:lnTo>
                  <a:pt x="103" y="17"/>
                </a:lnTo>
                <a:lnTo>
                  <a:pt x="104" y="16"/>
                </a:lnTo>
                <a:lnTo>
                  <a:pt x="106" y="16"/>
                </a:lnTo>
                <a:lnTo>
                  <a:pt x="107" y="15"/>
                </a:lnTo>
                <a:lnTo>
                  <a:pt x="109" y="15"/>
                </a:lnTo>
                <a:lnTo>
                  <a:pt x="109" y="10"/>
                </a:lnTo>
                <a:lnTo>
                  <a:pt x="110" y="11"/>
                </a:lnTo>
                <a:lnTo>
                  <a:pt x="111" y="11"/>
                </a:lnTo>
                <a:lnTo>
                  <a:pt x="111" y="10"/>
                </a:lnTo>
                <a:lnTo>
                  <a:pt x="112" y="10"/>
                </a:lnTo>
                <a:lnTo>
                  <a:pt x="113" y="11"/>
                </a:lnTo>
                <a:lnTo>
                  <a:pt x="118" y="11"/>
                </a:lnTo>
                <a:lnTo>
                  <a:pt x="118" y="10"/>
                </a:lnTo>
                <a:lnTo>
                  <a:pt x="117" y="9"/>
                </a:lnTo>
                <a:lnTo>
                  <a:pt x="117" y="6"/>
                </a:lnTo>
                <a:lnTo>
                  <a:pt x="116" y="5"/>
                </a:lnTo>
                <a:lnTo>
                  <a:pt x="116" y="4"/>
                </a:lnTo>
                <a:lnTo>
                  <a:pt x="117" y="1"/>
                </a:lnTo>
                <a:lnTo>
                  <a:pt x="119" y="1"/>
                </a:lnTo>
                <a:lnTo>
                  <a:pt x="12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0" name="Freeform 51">
            <a:extLst>
              <a:ext uri="{FF2B5EF4-FFF2-40B4-BE49-F238E27FC236}">
                <a16:creationId xmlns:a16="http://schemas.microsoft.com/office/drawing/2014/main" id="{09CE9261-CDAF-4406-B4CE-4620CA2C2925}"/>
              </a:ext>
            </a:extLst>
          </p:cNvPr>
          <p:cNvSpPr>
            <a:spLocks/>
          </p:cNvSpPr>
          <p:nvPr/>
        </p:nvSpPr>
        <p:spPr bwMode="auto">
          <a:xfrm>
            <a:off x="2596597" y="5234873"/>
            <a:ext cx="383970" cy="249218"/>
          </a:xfrm>
          <a:custGeom>
            <a:avLst/>
            <a:gdLst/>
            <a:ahLst/>
            <a:cxnLst>
              <a:cxn ang="0">
                <a:pos x="30" y="9"/>
              </a:cxn>
              <a:cxn ang="0">
                <a:pos x="22" y="21"/>
              </a:cxn>
              <a:cxn ang="0">
                <a:pos x="38" y="21"/>
              </a:cxn>
              <a:cxn ang="0">
                <a:pos x="62" y="24"/>
              </a:cxn>
              <a:cxn ang="0">
                <a:pos x="98" y="27"/>
              </a:cxn>
              <a:cxn ang="0">
                <a:pos x="126" y="33"/>
              </a:cxn>
              <a:cxn ang="0">
                <a:pos x="140" y="31"/>
              </a:cxn>
              <a:cxn ang="0">
                <a:pos x="153" y="21"/>
              </a:cxn>
              <a:cxn ang="0">
                <a:pos x="181" y="8"/>
              </a:cxn>
              <a:cxn ang="0">
                <a:pos x="202" y="5"/>
              </a:cxn>
              <a:cxn ang="0">
                <a:pos x="211" y="11"/>
              </a:cxn>
              <a:cxn ang="0">
                <a:pos x="228" y="17"/>
              </a:cxn>
              <a:cxn ang="0">
                <a:pos x="248" y="27"/>
              </a:cxn>
              <a:cxn ang="0">
                <a:pos x="262" y="45"/>
              </a:cxn>
              <a:cxn ang="0">
                <a:pos x="255" y="48"/>
              </a:cxn>
              <a:cxn ang="0">
                <a:pos x="240" y="58"/>
              </a:cxn>
              <a:cxn ang="0">
                <a:pos x="236" y="65"/>
              </a:cxn>
              <a:cxn ang="0">
                <a:pos x="224" y="92"/>
              </a:cxn>
              <a:cxn ang="0">
                <a:pos x="217" y="101"/>
              </a:cxn>
              <a:cxn ang="0">
                <a:pos x="222" y="103"/>
              </a:cxn>
              <a:cxn ang="0">
                <a:pos x="227" y="106"/>
              </a:cxn>
              <a:cxn ang="0">
                <a:pos x="230" y="111"/>
              </a:cxn>
              <a:cxn ang="0">
                <a:pos x="233" y="119"/>
              </a:cxn>
              <a:cxn ang="0">
                <a:pos x="239" y="125"/>
              </a:cxn>
              <a:cxn ang="0">
                <a:pos x="230" y="132"/>
              </a:cxn>
              <a:cxn ang="0">
                <a:pos x="218" y="132"/>
              </a:cxn>
              <a:cxn ang="0">
                <a:pos x="206" y="123"/>
              </a:cxn>
              <a:cxn ang="0">
                <a:pos x="194" y="129"/>
              </a:cxn>
              <a:cxn ang="0">
                <a:pos x="186" y="131"/>
              </a:cxn>
              <a:cxn ang="0">
                <a:pos x="179" y="135"/>
              </a:cxn>
              <a:cxn ang="0">
                <a:pos x="168" y="144"/>
              </a:cxn>
              <a:cxn ang="0">
                <a:pos x="163" y="144"/>
              </a:cxn>
              <a:cxn ang="0">
                <a:pos x="160" y="150"/>
              </a:cxn>
              <a:cxn ang="0">
                <a:pos x="161" y="159"/>
              </a:cxn>
              <a:cxn ang="0">
                <a:pos x="155" y="166"/>
              </a:cxn>
              <a:cxn ang="0">
                <a:pos x="144" y="167"/>
              </a:cxn>
              <a:cxn ang="0">
                <a:pos x="131" y="169"/>
              </a:cxn>
              <a:cxn ang="0">
                <a:pos x="117" y="167"/>
              </a:cxn>
              <a:cxn ang="0">
                <a:pos x="104" y="166"/>
              </a:cxn>
              <a:cxn ang="0">
                <a:pos x="95" y="161"/>
              </a:cxn>
              <a:cxn ang="0">
                <a:pos x="90" y="155"/>
              </a:cxn>
              <a:cxn ang="0">
                <a:pos x="78" y="155"/>
              </a:cxn>
              <a:cxn ang="0">
                <a:pos x="70" y="159"/>
              </a:cxn>
              <a:cxn ang="0">
                <a:pos x="61" y="161"/>
              </a:cxn>
              <a:cxn ang="0">
                <a:pos x="45" y="163"/>
              </a:cxn>
              <a:cxn ang="0">
                <a:pos x="39" y="162"/>
              </a:cxn>
              <a:cxn ang="0">
                <a:pos x="26" y="163"/>
              </a:cxn>
              <a:cxn ang="0">
                <a:pos x="28" y="147"/>
              </a:cxn>
              <a:cxn ang="0">
                <a:pos x="23" y="136"/>
              </a:cxn>
              <a:cxn ang="0">
                <a:pos x="16" y="125"/>
              </a:cxn>
              <a:cxn ang="0">
                <a:pos x="0" y="111"/>
              </a:cxn>
              <a:cxn ang="0">
                <a:pos x="8" y="105"/>
              </a:cxn>
              <a:cxn ang="0">
                <a:pos x="6" y="88"/>
              </a:cxn>
              <a:cxn ang="0">
                <a:pos x="7" y="80"/>
              </a:cxn>
              <a:cxn ang="0">
                <a:pos x="20" y="73"/>
              </a:cxn>
              <a:cxn ang="0">
                <a:pos x="26" y="60"/>
              </a:cxn>
              <a:cxn ang="0">
                <a:pos x="13" y="46"/>
              </a:cxn>
              <a:cxn ang="0">
                <a:pos x="6" y="39"/>
              </a:cxn>
              <a:cxn ang="0">
                <a:pos x="1" y="26"/>
              </a:cxn>
              <a:cxn ang="0">
                <a:pos x="10" y="9"/>
              </a:cxn>
              <a:cxn ang="0">
                <a:pos x="13" y="1"/>
              </a:cxn>
            </a:cxnLst>
            <a:rect l="0" t="0" r="r" b="b"/>
            <a:pathLst>
              <a:path w="265" h="172">
                <a:moveTo>
                  <a:pt x="16" y="0"/>
                </a:moveTo>
                <a:lnTo>
                  <a:pt x="24" y="6"/>
                </a:lnTo>
                <a:lnTo>
                  <a:pt x="26" y="7"/>
                </a:lnTo>
                <a:lnTo>
                  <a:pt x="28" y="7"/>
                </a:lnTo>
                <a:lnTo>
                  <a:pt x="29" y="8"/>
                </a:lnTo>
                <a:lnTo>
                  <a:pt x="30" y="8"/>
                </a:lnTo>
                <a:lnTo>
                  <a:pt x="30" y="9"/>
                </a:lnTo>
                <a:lnTo>
                  <a:pt x="29" y="12"/>
                </a:lnTo>
                <a:lnTo>
                  <a:pt x="28" y="13"/>
                </a:lnTo>
                <a:lnTo>
                  <a:pt x="24" y="13"/>
                </a:lnTo>
                <a:lnTo>
                  <a:pt x="24" y="14"/>
                </a:lnTo>
                <a:lnTo>
                  <a:pt x="23" y="15"/>
                </a:lnTo>
                <a:lnTo>
                  <a:pt x="22" y="20"/>
                </a:lnTo>
                <a:lnTo>
                  <a:pt x="22" y="21"/>
                </a:lnTo>
                <a:lnTo>
                  <a:pt x="23" y="22"/>
                </a:lnTo>
                <a:lnTo>
                  <a:pt x="24" y="22"/>
                </a:lnTo>
                <a:lnTo>
                  <a:pt x="25" y="24"/>
                </a:lnTo>
                <a:lnTo>
                  <a:pt x="31" y="22"/>
                </a:lnTo>
                <a:lnTo>
                  <a:pt x="34" y="22"/>
                </a:lnTo>
                <a:lnTo>
                  <a:pt x="35" y="21"/>
                </a:lnTo>
                <a:lnTo>
                  <a:pt x="38" y="21"/>
                </a:lnTo>
                <a:lnTo>
                  <a:pt x="42" y="20"/>
                </a:lnTo>
                <a:lnTo>
                  <a:pt x="49" y="20"/>
                </a:lnTo>
                <a:lnTo>
                  <a:pt x="54" y="22"/>
                </a:lnTo>
                <a:lnTo>
                  <a:pt x="55" y="24"/>
                </a:lnTo>
                <a:lnTo>
                  <a:pt x="59" y="22"/>
                </a:lnTo>
                <a:lnTo>
                  <a:pt x="60" y="22"/>
                </a:lnTo>
                <a:lnTo>
                  <a:pt x="62" y="24"/>
                </a:lnTo>
                <a:lnTo>
                  <a:pt x="76" y="27"/>
                </a:lnTo>
                <a:lnTo>
                  <a:pt x="78" y="28"/>
                </a:lnTo>
                <a:lnTo>
                  <a:pt x="85" y="27"/>
                </a:lnTo>
                <a:lnTo>
                  <a:pt x="86" y="27"/>
                </a:lnTo>
                <a:lnTo>
                  <a:pt x="91" y="25"/>
                </a:lnTo>
                <a:lnTo>
                  <a:pt x="92" y="25"/>
                </a:lnTo>
                <a:lnTo>
                  <a:pt x="98" y="27"/>
                </a:lnTo>
                <a:lnTo>
                  <a:pt x="100" y="28"/>
                </a:lnTo>
                <a:lnTo>
                  <a:pt x="111" y="28"/>
                </a:lnTo>
                <a:lnTo>
                  <a:pt x="116" y="30"/>
                </a:lnTo>
                <a:lnTo>
                  <a:pt x="122" y="31"/>
                </a:lnTo>
                <a:lnTo>
                  <a:pt x="123" y="31"/>
                </a:lnTo>
                <a:lnTo>
                  <a:pt x="125" y="32"/>
                </a:lnTo>
                <a:lnTo>
                  <a:pt x="126" y="33"/>
                </a:lnTo>
                <a:lnTo>
                  <a:pt x="128" y="33"/>
                </a:lnTo>
                <a:lnTo>
                  <a:pt x="130" y="34"/>
                </a:lnTo>
                <a:lnTo>
                  <a:pt x="131" y="33"/>
                </a:lnTo>
                <a:lnTo>
                  <a:pt x="136" y="33"/>
                </a:lnTo>
                <a:lnTo>
                  <a:pt x="137" y="32"/>
                </a:lnTo>
                <a:lnTo>
                  <a:pt x="138" y="32"/>
                </a:lnTo>
                <a:lnTo>
                  <a:pt x="140" y="31"/>
                </a:lnTo>
                <a:lnTo>
                  <a:pt x="141" y="31"/>
                </a:lnTo>
                <a:lnTo>
                  <a:pt x="141" y="30"/>
                </a:lnTo>
                <a:lnTo>
                  <a:pt x="146" y="30"/>
                </a:lnTo>
                <a:lnTo>
                  <a:pt x="147" y="27"/>
                </a:lnTo>
                <a:lnTo>
                  <a:pt x="152" y="22"/>
                </a:lnTo>
                <a:lnTo>
                  <a:pt x="152" y="21"/>
                </a:lnTo>
                <a:lnTo>
                  <a:pt x="153" y="21"/>
                </a:lnTo>
                <a:lnTo>
                  <a:pt x="157" y="18"/>
                </a:lnTo>
                <a:lnTo>
                  <a:pt x="157" y="17"/>
                </a:lnTo>
                <a:lnTo>
                  <a:pt x="161" y="13"/>
                </a:lnTo>
                <a:lnTo>
                  <a:pt x="168" y="11"/>
                </a:lnTo>
                <a:lnTo>
                  <a:pt x="169" y="11"/>
                </a:lnTo>
                <a:lnTo>
                  <a:pt x="173" y="9"/>
                </a:lnTo>
                <a:lnTo>
                  <a:pt x="181" y="8"/>
                </a:lnTo>
                <a:lnTo>
                  <a:pt x="184" y="8"/>
                </a:lnTo>
                <a:lnTo>
                  <a:pt x="185" y="7"/>
                </a:lnTo>
                <a:lnTo>
                  <a:pt x="188" y="7"/>
                </a:lnTo>
                <a:lnTo>
                  <a:pt x="192" y="5"/>
                </a:lnTo>
                <a:lnTo>
                  <a:pt x="197" y="3"/>
                </a:lnTo>
                <a:lnTo>
                  <a:pt x="198" y="3"/>
                </a:lnTo>
                <a:lnTo>
                  <a:pt x="202" y="5"/>
                </a:lnTo>
                <a:lnTo>
                  <a:pt x="206" y="6"/>
                </a:lnTo>
                <a:lnTo>
                  <a:pt x="206" y="7"/>
                </a:lnTo>
                <a:lnTo>
                  <a:pt x="208" y="6"/>
                </a:lnTo>
                <a:lnTo>
                  <a:pt x="208" y="7"/>
                </a:lnTo>
                <a:lnTo>
                  <a:pt x="209" y="7"/>
                </a:lnTo>
                <a:lnTo>
                  <a:pt x="209" y="9"/>
                </a:lnTo>
                <a:lnTo>
                  <a:pt x="211" y="11"/>
                </a:lnTo>
                <a:lnTo>
                  <a:pt x="212" y="11"/>
                </a:lnTo>
                <a:lnTo>
                  <a:pt x="212" y="12"/>
                </a:lnTo>
                <a:lnTo>
                  <a:pt x="213" y="13"/>
                </a:lnTo>
                <a:lnTo>
                  <a:pt x="222" y="13"/>
                </a:lnTo>
                <a:lnTo>
                  <a:pt x="224" y="12"/>
                </a:lnTo>
                <a:lnTo>
                  <a:pt x="225" y="14"/>
                </a:lnTo>
                <a:lnTo>
                  <a:pt x="228" y="17"/>
                </a:lnTo>
                <a:lnTo>
                  <a:pt x="230" y="15"/>
                </a:lnTo>
                <a:lnTo>
                  <a:pt x="234" y="14"/>
                </a:lnTo>
                <a:lnTo>
                  <a:pt x="236" y="14"/>
                </a:lnTo>
                <a:lnTo>
                  <a:pt x="236" y="15"/>
                </a:lnTo>
                <a:lnTo>
                  <a:pt x="239" y="22"/>
                </a:lnTo>
                <a:lnTo>
                  <a:pt x="240" y="24"/>
                </a:lnTo>
                <a:lnTo>
                  <a:pt x="248" y="27"/>
                </a:lnTo>
                <a:lnTo>
                  <a:pt x="258" y="28"/>
                </a:lnTo>
                <a:lnTo>
                  <a:pt x="264" y="28"/>
                </a:lnTo>
                <a:lnTo>
                  <a:pt x="264" y="38"/>
                </a:lnTo>
                <a:lnTo>
                  <a:pt x="265" y="39"/>
                </a:lnTo>
                <a:lnTo>
                  <a:pt x="265" y="42"/>
                </a:lnTo>
                <a:lnTo>
                  <a:pt x="264" y="44"/>
                </a:lnTo>
                <a:lnTo>
                  <a:pt x="262" y="45"/>
                </a:lnTo>
                <a:lnTo>
                  <a:pt x="262" y="46"/>
                </a:lnTo>
                <a:lnTo>
                  <a:pt x="260" y="48"/>
                </a:lnTo>
                <a:lnTo>
                  <a:pt x="260" y="49"/>
                </a:lnTo>
                <a:lnTo>
                  <a:pt x="259" y="50"/>
                </a:lnTo>
                <a:lnTo>
                  <a:pt x="256" y="49"/>
                </a:lnTo>
                <a:lnTo>
                  <a:pt x="256" y="48"/>
                </a:lnTo>
                <a:lnTo>
                  <a:pt x="255" y="48"/>
                </a:lnTo>
                <a:lnTo>
                  <a:pt x="253" y="46"/>
                </a:lnTo>
                <a:lnTo>
                  <a:pt x="252" y="48"/>
                </a:lnTo>
                <a:lnTo>
                  <a:pt x="246" y="48"/>
                </a:lnTo>
                <a:lnTo>
                  <a:pt x="244" y="49"/>
                </a:lnTo>
                <a:lnTo>
                  <a:pt x="243" y="51"/>
                </a:lnTo>
                <a:lnTo>
                  <a:pt x="241" y="57"/>
                </a:lnTo>
                <a:lnTo>
                  <a:pt x="240" y="58"/>
                </a:lnTo>
                <a:lnTo>
                  <a:pt x="236" y="60"/>
                </a:lnTo>
                <a:lnTo>
                  <a:pt x="235" y="60"/>
                </a:lnTo>
                <a:lnTo>
                  <a:pt x="235" y="61"/>
                </a:lnTo>
                <a:lnTo>
                  <a:pt x="236" y="62"/>
                </a:lnTo>
                <a:lnTo>
                  <a:pt x="237" y="62"/>
                </a:lnTo>
                <a:lnTo>
                  <a:pt x="237" y="63"/>
                </a:lnTo>
                <a:lnTo>
                  <a:pt x="236" y="65"/>
                </a:lnTo>
                <a:lnTo>
                  <a:pt x="236" y="68"/>
                </a:lnTo>
                <a:lnTo>
                  <a:pt x="235" y="68"/>
                </a:lnTo>
                <a:lnTo>
                  <a:pt x="235" y="88"/>
                </a:lnTo>
                <a:lnTo>
                  <a:pt x="228" y="88"/>
                </a:lnTo>
                <a:lnTo>
                  <a:pt x="228" y="91"/>
                </a:lnTo>
                <a:lnTo>
                  <a:pt x="227" y="92"/>
                </a:lnTo>
                <a:lnTo>
                  <a:pt x="224" y="92"/>
                </a:lnTo>
                <a:lnTo>
                  <a:pt x="223" y="93"/>
                </a:lnTo>
                <a:lnTo>
                  <a:pt x="224" y="94"/>
                </a:lnTo>
                <a:lnTo>
                  <a:pt x="224" y="97"/>
                </a:lnTo>
                <a:lnTo>
                  <a:pt x="219" y="97"/>
                </a:lnTo>
                <a:lnTo>
                  <a:pt x="218" y="98"/>
                </a:lnTo>
                <a:lnTo>
                  <a:pt x="218" y="100"/>
                </a:lnTo>
                <a:lnTo>
                  <a:pt x="217" y="101"/>
                </a:lnTo>
                <a:lnTo>
                  <a:pt x="216" y="101"/>
                </a:lnTo>
                <a:lnTo>
                  <a:pt x="216" y="103"/>
                </a:lnTo>
                <a:lnTo>
                  <a:pt x="217" y="103"/>
                </a:lnTo>
                <a:lnTo>
                  <a:pt x="218" y="104"/>
                </a:lnTo>
                <a:lnTo>
                  <a:pt x="219" y="104"/>
                </a:lnTo>
                <a:lnTo>
                  <a:pt x="219" y="103"/>
                </a:lnTo>
                <a:lnTo>
                  <a:pt x="222" y="103"/>
                </a:lnTo>
                <a:lnTo>
                  <a:pt x="222" y="104"/>
                </a:lnTo>
                <a:lnTo>
                  <a:pt x="223" y="103"/>
                </a:lnTo>
                <a:lnTo>
                  <a:pt x="224" y="103"/>
                </a:lnTo>
                <a:lnTo>
                  <a:pt x="224" y="105"/>
                </a:lnTo>
                <a:lnTo>
                  <a:pt x="228" y="105"/>
                </a:lnTo>
                <a:lnTo>
                  <a:pt x="228" y="106"/>
                </a:lnTo>
                <a:lnTo>
                  <a:pt x="227" y="106"/>
                </a:lnTo>
                <a:lnTo>
                  <a:pt x="228" y="107"/>
                </a:lnTo>
                <a:lnTo>
                  <a:pt x="227" y="107"/>
                </a:lnTo>
                <a:lnTo>
                  <a:pt x="227" y="108"/>
                </a:lnTo>
                <a:lnTo>
                  <a:pt x="228" y="108"/>
                </a:lnTo>
                <a:lnTo>
                  <a:pt x="228" y="110"/>
                </a:lnTo>
                <a:lnTo>
                  <a:pt x="230" y="110"/>
                </a:lnTo>
                <a:lnTo>
                  <a:pt x="230" y="111"/>
                </a:lnTo>
                <a:lnTo>
                  <a:pt x="229" y="112"/>
                </a:lnTo>
                <a:lnTo>
                  <a:pt x="229" y="114"/>
                </a:lnTo>
                <a:lnTo>
                  <a:pt x="230" y="114"/>
                </a:lnTo>
                <a:lnTo>
                  <a:pt x="230" y="116"/>
                </a:lnTo>
                <a:lnTo>
                  <a:pt x="233" y="118"/>
                </a:lnTo>
                <a:lnTo>
                  <a:pt x="234" y="118"/>
                </a:lnTo>
                <a:lnTo>
                  <a:pt x="233" y="119"/>
                </a:lnTo>
                <a:lnTo>
                  <a:pt x="234" y="120"/>
                </a:lnTo>
                <a:lnTo>
                  <a:pt x="235" y="120"/>
                </a:lnTo>
                <a:lnTo>
                  <a:pt x="235" y="122"/>
                </a:lnTo>
                <a:lnTo>
                  <a:pt x="237" y="123"/>
                </a:lnTo>
                <a:lnTo>
                  <a:pt x="237" y="124"/>
                </a:lnTo>
                <a:lnTo>
                  <a:pt x="239" y="124"/>
                </a:lnTo>
                <a:lnTo>
                  <a:pt x="239" y="125"/>
                </a:lnTo>
                <a:lnTo>
                  <a:pt x="240" y="126"/>
                </a:lnTo>
                <a:lnTo>
                  <a:pt x="240" y="130"/>
                </a:lnTo>
                <a:lnTo>
                  <a:pt x="235" y="130"/>
                </a:lnTo>
                <a:lnTo>
                  <a:pt x="234" y="129"/>
                </a:lnTo>
                <a:lnTo>
                  <a:pt x="231" y="129"/>
                </a:lnTo>
                <a:lnTo>
                  <a:pt x="231" y="132"/>
                </a:lnTo>
                <a:lnTo>
                  <a:pt x="230" y="132"/>
                </a:lnTo>
                <a:lnTo>
                  <a:pt x="228" y="130"/>
                </a:lnTo>
                <a:lnTo>
                  <a:pt x="227" y="130"/>
                </a:lnTo>
                <a:lnTo>
                  <a:pt x="223" y="131"/>
                </a:lnTo>
                <a:lnTo>
                  <a:pt x="223" y="132"/>
                </a:lnTo>
                <a:lnTo>
                  <a:pt x="221" y="132"/>
                </a:lnTo>
                <a:lnTo>
                  <a:pt x="221" y="135"/>
                </a:lnTo>
                <a:lnTo>
                  <a:pt x="218" y="132"/>
                </a:lnTo>
                <a:lnTo>
                  <a:pt x="215" y="130"/>
                </a:lnTo>
                <a:lnTo>
                  <a:pt x="213" y="129"/>
                </a:lnTo>
                <a:lnTo>
                  <a:pt x="211" y="125"/>
                </a:lnTo>
                <a:lnTo>
                  <a:pt x="210" y="124"/>
                </a:lnTo>
                <a:lnTo>
                  <a:pt x="209" y="124"/>
                </a:lnTo>
                <a:lnTo>
                  <a:pt x="208" y="123"/>
                </a:lnTo>
                <a:lnTo>
                  <a:pt x="206" y="123"/>
                </a:lnTo>
                <a:lnTo>
                  <a:pt x="205" y="124"/>
                </a:lnTo>
                <a:lnTo>
                  <a:pt x="205" y="125"/>
                </a:lnTo>
                <a:lnTo>
                  <a:pt x="202" y="125"/>
                </a:lnTo>
                <a:lnTo>
                  <a:pt x="200" y="124"/>
                </a:lnTo>
                <a:lnTo>
                  <a:pt x="198" y="124"/>
                </a:lnTo>
                <a:lnTo>
                  <a:pt x="197" y="126"/>
                </a:lnTo>
                <a:lnTo>
                  <a:pt x="194" y="129"/>
                </a:lnTo>
                <a:lnTo>
                  <a:pt x="193" y="129"/>
                </a:lnTo>
                <a:lnTo>
                  <a:pt x="192" y="130"/>
                </a:lnTo>
                <a:lnTo>
                  <a:pt x="190" y="130"/>
                </a:lnTo>
                <a:lnTo>
                  <a:pt x="190" y="131"/>
                </a:lnTo>
                <a:lnTo>
                  <a:pt x="188" y="130"/>
                </a:lnTo>
                <a:lnTo>
                  <a:pt x="187" y="130"/>
                </a:lnTo>
                <a:lnTo>
                  <a:pt x="186" y="131"/>
                </a:lnTo>
                <a:lnTo>
                  <a:pt x="185" y="131"/>
                </a:lnTo>
                <a:lnTo>
                  <a:pt x="181" y="130"/>
                </a:lnTo>
                <a:lnTo>
                  <a:pt x="179" y="132"/>
                </a:lnTo>
                <a:lnTo>
                  <a:pt x="178" y="132"/>
                </a:lnTo>
                <a:lnTo>
                  <a:pt x="178" y="134"/>
                </a:lnTo>
                <a:lnTo>
                  <a:pt x="179" y="134"/>
                </a:lnTo>
                <a:lnTo>
                  <a:pt x="179" y="135"/>
                </a:lnTo>
                <a:lnTo>
                  <a:pt x="178" y="135"/>
                </a:lnTo>
                <a:lnTo>
                  <a:pt x="178" y="138"/>
                </a:lnTo>
                <a:lnTo>
                  <a:pt x="177" y="138"/>
                </a:lnTo>
                <a:lnTo>
                  <a:pt x="175" y="140"/>
                </a:lnTo>
                <a:lnTo>
                  <a:pt x="171" y="140"/>
                </a:lnTo>
                <a:lnTo>
                  <a:pt x="168" y="142"/>
                </a:lnTo>
                <a:lnTo>
                  <a:pt x="168" y="144"/>
                </a:lnTo>
                <a:lnTo>
                  <a:pt x="169" y="146"/>
                </a:lnTo>
                <a:lnTo>
                  <a:pt x="167" y="146"/>
                </a:lnTo>
                <a:lnTo>
                  <a:pt x="167" y="144"/>
                </a:lnTo>
                <a:lnTo>
                  <a:pt x="166" y="144"/>
                </a:lnTo>
                <a:lnTo>
                  <a:pt x="165" y="143"/>
                </a:lnTo>
                <a:lnTo>
                  <a:pt x="163" y="143"/>
                </a:lnTo>
                <a:lnTo>
                  <a:pt x="163" y="144"/>
                </a:lnTo>
                <a:lnTo>
                  <a:pt x="160" y="144"/>
                </a:lnTo>
                <a:lnTo>
                  <a:pt x="159" y="146"/>
                </a:lnTo>
                <a:lnTo>
                  <a:pt x="157" y="146"/>
                </a:lnTo>
                <a:lnTo>
                  <a:pt x="157" y="149"/>
                </a:lnTo>
                <a:lnTo>
                  <a:pt x="159" y="149"/>
                </a:lnTo>
                <a:lnTo>
                  <a:pt x="159" y="150"/>
                </a:lnTo>
                <a:lnTo>
                  <a:pt x="160" y="150"/>
                </a:lnTo>
                <a:lnTo>
                  <a:pt x="160" y="154"/>
                </a:lnTo>
                <a:lnTo>
                  <a:pt x="161" y="154"/>
                </a:lnTo>
                <a:lnTo>
                  <a:pt x="161" y="155"/>
                </a:lnTo>
                <a:lnTo>
                  <a:pt x="162" y="155"/>
                </a:lnTo>
                <a:lnTo>
                  <a:pt x="162" y="156"/>
                </a:lnTo>
                <a:lnTo>
                  <a:pt x="161" y="157"/>
                </a:lnTo>
                <a:lnTo>
                  <a:pt x="161" y="159"/>
                </a:lnTo>
                <a:lnTo>
                  <a:pt x="162" y="160"/>
                </a:lnTo>
                <a:lnTo>
                  <a:pt x="162" y="161"/>
                </a:lnTo>
                <a:lnTo>
                  <a:pt x="161" y="161"/>
                </a:lnTo>
                <a:lnTo>
                  <a:pt x="161" y="165"/>
                </a:lnTo>
                <a:lnTo>
                  <a:pt x="160" y="165"/>
                </a:lnTo>
                <a:lnTo>
                  <a:pt x="156" y="166"/>
                </a:lnTo>
                <a:lnTo>
                  <a:pt x="155" y="166"/>
                </a:lnTo>
                <a:lnTo>
                  <a:pt x="154" y="167"/>
                </a:lnTo>
                <a:lnTo>
                  <a:pt x="152" y="167"/>
                </a:lnTo>
                <a:lnTo>
                  <a:pt x="150" y="168"/>
                </a:lnTo>
                <a:lnTo>
                  <a:pt x="149" y="168"/>
                </a:lnTo>
                <a:lnTo>
                  <a:pt x="148" y="166"/>
                </a:lnTo>
                <a:lnTo>
                  <a:pt x="147" y="166"/>
                </a:lnTo>
                <a:lnTo>
                  <a:pt x="144" y="167"/>
                </a:lnTo>
                <a:lnTo>
                  <a:pt x="143" y="167"/>
                </a:lnTo>
                <a:lnTo>
                  <a:pt x="142" y="168"/>
                </a:lnTo>
                <a:lnTo>
                  <a:pt x="140" y="168"/>
                </a:lnTo>
                <a:lnTo>
                  <a:pt x="140" y="167"/>
                </a:lnTo>
                <a:lnTo>
                  <a:pt x="135" y="167"/>
                </a:lnTo>
                <a:lnTo>
                  <a:pt x="135" y="169"/>
                </a:lnTo>
                <a:lnTo>
                  <a:pt x="131" y="169"/>
                </a:lnTo>
                <a:lnTo>
                  <a:pt x="125" y="172"/>
                </a:lnTo>
                <a:lnTo>
                  <a:pt x="123" y="172"/>
                </a:lnTo>
                <a:lnTo>
                  <a:pt x="122" y="171"/>
                </a:lnTo>
                <a:lnTo>
                  <a:pt x="121" y="168"/>
                </a:lnTo>
                <a:lnTo>
                  <a:pt x="119" y="168"/>
                </a:lnTo>
                <a:lnTo>
                  <a:pt x="118" y="167"/>
                </a:lnTo>
                <a:lnTo>
                  <a:pt x="117" y="167"/>
                </a:lnTo>
                <a:lnTo>
                  <a:pt x="117" y="166"/>
                </a:lnTo>
                <a:lnTo>
                  <a:pt x="116" y="166"/>
                </a:lnTo>
                <a:lnTo>
                  <a:pt x="110" y="163"/>
                </a:lnTo>
                <a:lnTo>
                  <a:pt x="107" y="162"/>
                </a:lnTo>
                <a:lnTo>
                  <a:pt x="106" y="163"/>
                </a:lnTo>
                <a:lnTo>
                  <a:pt x="104" y="163"/>
                </a:lnTo>
                <a:lnTo>
                  <a:pt x="104" y="166"/>
                </a:lnTo>
                <a:lnTo>
                  <a:pt x="103" y="166"/>
                </a:lnTo>
                <a:lnTo>
                  <a:pt x="103" y="165"/>
                </a:lnTo>
                <a:lnTo>
                  <a:pt x="100" y="163"/>
                </a:lnTo>
                <a:lnTo>
                  <a:pt x="100" y="162"/>
                </a:lnTo>
                <a:lnTo>
                  <a:pt x="99" y="162"/>
                </a:lnTo>
                <a:lnTo>
                  <a:pt x="98" y="161"/>
                </a:lnTo>
                <a:lnTo>
                  <a:pt x="95" y="161"/>
                </a:lnTo>
                <a:lnTo>
                  <a:pt x="95" y="159"/>
                </a:lnTo>
                <a:lnTo>
                  <a:pt x="94" y="159"/>
                </a:lnTo>
                <a:lnTo>
                  <a:pt x="94" y="157"/>
                </a:lnTo>
                <a:lnTo>
                  <a:pt x="93" y="157"/>
                </a:lnTo>
                <a:lnTo>
                  <a:pt x="93" y="154"/>
                </a:lnTo>
                <a:lnTo>
                  <a:pt x="90" y="154"/>
                </a:lnTo>
                <a:lnTo>
                  <a:pt x="90" y="155"/>
                </a:lnTo>
                <a:lnTo>
                  <a:pt x="87" y="155"/>
                </a:lnTo>
                <a:lnTo>
                  <a:pt x="86" y="156"/>
                </a:lnTo>
                <a:lnTo>
                  <a:pt x="82" y="156"/>
                </a:lnTo>
                <a:lnTo>
                  <a:pt x="82" y="155"/>
                </a:lnTo>
                <a:lnTo>
                  <a:pt x="81" y="154"/>
                </a:lnTo>
                <a:lnTo>
                  <a:pt x="79" y="154"/>
                </a:lnTo>
                <a:lnTo>
                  <a:pt x="78" y="155"/>
                </a:lnTo>
                <a:lnTo>
                  <a:pt x="78" y="156"/>
                </a:lnTo>
                <a:lnTo>
                  <a:pt x="76" y="156"/>
                </a:lnTo>
                <a:lnTo>
                  <a:pt x="76" y="155"/>
                </a:lnTo>
                <a:lnTo>
                  <a:pt x="73" y="155"/>
                </a:lnTo>
                <a:lnTo>
                  <a:pt x="73" y="160"/>
                </a:lnTo>
                <a:lnTo>
                  <a:pt x="72" y="160"/>
                </a:lnTo>
                <a:lnTo>
                  <a:pt x="70" y="159"/>
                </a:lnTo>
                <a:lnTo>
                  <a:pt x="70" y="160"/>
                </a:lnTo>
                <a:lnTo>
                  <a:pt x="69" y="160"/>
                </a:lnTo>
                <a:lnTo>
                  <a:pt x="68" y="161"/>
                </a:lnTo>
                <a:lnTo>
                  <a:pt x="67" y="159"/>
                </a:lnTo>
                <a:lnTo>
                  <a:pt x="66" y="159"/>
                </a:lnTo>
                <a:lnTo>
                  <a:pt x="63" y="161"/>
                </a:lnTo>
                <a:lnTo>
                  <a:pt x="61" y="161"/>
                </a:lnTo>
                <a:lnTo>
                  <a:pt x="60" y="162"/>
                </a:lnTo>
                <a:lnTo>
                  <a:pt x="56" y="162"/>
                </a:lnTo>
                <a:lnTo>
                  <a:pt x="54" y="165"/>
                </a:lnTo>
                <a:lnTo>
                  <a:pt x="53" y="165"/>
                </a:lnTo>
                <a:lnTo>
                  <a:pt x="50" y="162"/>
                </a:lnTo>
                <a:lnTo>
                  <a:pt x="45" y="162"/>
                </a:lnTo>
                <a:lnTo>
                  <a:pt x="45" y="163"/>
                </a:lnTo>
                <a:lnTo>
                  <a:pt x="44" y="163"/>
                </a:lnTo>
                <a:lnTo>
                  <a:pt x="43" y="165"/>
                </a:lnTo>
                <a:lnTo>
                  <a:pt x="42" y="165"/>
                </a:lnTo>
                <a:lnTo>
                  <a:pt x="42" y="163"/>
                </a:lnTo>
                <a:lnTo>
                  <a:pt x="41" y="163"/>
                </a:lnTo>
                <a:lnTo>
                  <a:pt x="41" y="162"/>
                </a:lnTo>
                <a:lnTo>
                  <a:pt x="39" y="162"/>
                </a:lnTo>
                <a:lnTo>
                  <a:pt x="37" y="165"/>
                </a:lnTo>
                <a:lnTo>
                  <a:pt x="37" y="166"/>
                </a:lnTo>
                <a:lnTo>
                  <a:pt x="36" y="167"/>
                </a:lnTo>
                <a:lnTo>
                  <a:pt x="34" y="167"/>
                </a:lnTo>
                <a:lnTo>
                  <a:pt x="25" y="166"/>
                </a:lnTo>
                <a:lnTo>
                  <a:pt x="26" y="166"/>
                </a:lnTo>
                <a:lnTo>
                  <a:pt x="26" y="163"/>
                </a:lnTo>
                <a:lnTo>
                  <a:pt x="25" y="162"/>
                </a:lnTo>
                <a:lnTo>
                  <a:pt x="26" y="162"/>
                </a:lnTo>
                <a:lnTo>
                  <a:pt x="26" y="153"/>
                </a:lnTo>
                <a:lnTo>
                  <a:pt x="25" y="153"/>
                </a:lnTo>
                <a:lnTo>
                  <a:pt x="25" y="150"/>
                </a:lnTo>
                <a:lnTo>
                  <a:pt x="28" y="148"/>
                </a:lnTo>
                <a:lnTo>
                  <a:pt x="28" y="147"/>
                </a:lnTo>
                <a:lnTo>
                  <a:pt x="29" y="146"/>
                </a:lnTo>
                <a:lnTo>
                  <a:pt x="29" y="143"/>
                </a:lnTo>
                <a:lnTo>
                  <a:pt x="28" y="142"/>
                </a:lnTo>
                <a:lnTo>
                  <a:pt x="26" y="142"/>
                </a:lnTo>
                <a:lnTo>
                  <a:pt x="24" y="137"/>
                </a:lnTo>
                <a:lnTo>
                  <a:pt x="24" y="136"/>
                </a:lnTo>
                <a:lnTo>
                  <a:pt x="23" y="136"/>
                </a:lnTo>
                <a:lnTo>
                  <a:pt x="23" y="130"/>
                </a:lnTo>
                <a:lnTo>
                  <a:pt x="22" y="129"/>
                </a:lnTo>
                <a:lnTo>
                  <a:pt x="22" y="128"/>
                </a:lnTo>
                <a:lnTo>
                  <a:pt x="19" y="128"/>
                </a:lnTo>
                <a:lnTo>
                  <a:pt x="19" y="126"/>
                </a:lnTo>
                <a:lnTo>
                  <a:pt x="17" y="126"/>
                </a:lnTo>
                <a:lnTo>
                  <a:pt x="16" y="125"/>
                </a:lnTo>
                <a:lnTo>
                  <a:pt x="14" y="125"/>
                </a:lnTo>
                <a:lnTo>
                  <a:pt x="12" y="124"/>
                </a:lnTo>
                <a:lnTo>
                  <a:pt x="8" y="122"/>
                </a:lnTo>
                <a:lnTo>
                  <a:pt x="7" y="120"/>
                </a:lnTo>
                <a:lnTo>
                  <a:pt x="7" y="119"/>
                </a:lnTo>
                <a:lnTo>
                  <a:pt x="5" y="117"/>
                </a:lnTo>
                <a:lnTo>
                  <a:pt x="0" y="111"/>
                </a:lnTo>
                <a:lnTo>
                  <a:pt x="4" y="111"/>
                </a:lnTo>
                <a:lnTo>
                  <a:pt x="4" y="110"/>
                </a:lnTo>
                <a:lnTo>
                  <a:pt x="5" y="110"/>
                </a:lnTo>
                <a:lnTo>
                  <a:pt x="5" y="107"/>
                </a:lnTo>
                <a:lnTo>
                  <a:pt x="6" y="106"/>
                </a:lnTo>
                <a:lnTo>
                  <a:pt x="7" y="106"/>
                </a:lnTo>
                <a:lnTo>
                  <a:pt x="8" y="105"/>
                </a:lnTo>
                <a:lnTo>
                  <a:pt x="8" y="100"/>
                </a:lnTo>
                <a:lnTo>
                  <a:pt x="6" y="98"/>
                </a:lnTo>
                <a:lnTo>
                  <a:pt x="4" y="97"/>
                </a:lnTo>
                <a:lnTo>
                  <a:pt x="4" y="95"/>
                </a:lnTo>
                <a:lnTo>
                  <a:pt x="5" y="93"/>
                </a:lnTo>
                <a:lnTo>
                  <a:pt x="5" y="89"/>
                </a:lnTo>
                <a:lnTo>
                  <a:pt x="6" y="88"/>
                </a:lnTo>
                <a:lnTo>
                  <a:pt x="6" y="86"/>
                </a:lnTo>
                <a:lnTo>
                  <a:pt x="5" y="85"/>
                </a:lnTo>
                <a:lnTo>
                  <a:pt x="4" y="82"/>
                </a:lnTo>
                <a:lnTo>
                  <a:pt x="5" y="82"/>
                </a:lnTo>
                <a:lnTo>
                  <a:pt x="5" y="81"/>
                </a:lnTo>
                <a:lnTo>
                  <a:pt x="6" y="81"/>
                </a:lnTo>
                <a:lnTo>
                  <a:pt x="7" y="80"/>
                </a:lnTo>
                <a:lnTo>
                  <a:pt x="7" y="79"/>
                </a:lnTo>
                <a:lnTo>
                  <a:pt x="17" y="79"/>
                </a:lnTo>
                <a:lnTo>
                  <a:pt x="17" y="77"/>
                </a:lnTo>
                <a:lnTo>
                  <a:pt x="18" y="76"/>
                </a:lnTo>
                <a:lnTo>
                  <a:pt x="18" y="74"/>
                </a:lnTo>
                <a:lnTo>
                  <a:pt x="19" y="73"/>
                </a:lnTo>
                <a:lnTo>
                  <a:pt x="20" y="73"/>
                </a:lnTo>
                <a:lnTo>
                  <a:pt x="24" y="69"/>
                </a:lnTo>
                <a:lnTo>
                  <a:pt x="24" y="67"/>
                </a:lnTo>
                <a:lnTo>
                  <a:pt x="25" y="67"/>
                </a:lnTo>
                <a:lnTo>
                  <a:pt x="26" y="65"/>
                </a:lnTo>
                <a:lnTo>
                  <a:pt x="28" y="63"/>
                </a:lnTo>
                <a:lnTo>
                  <a:pt x="28" y="61"/>
                </a:lnTo>
                <a:lnTo>
                  <a:pt x="26" y="60"/>
                </a:lnTo>
                <a:lnTo>
                  <a:pt x="25" y="60"/>
                </a:lnTo>
                <a:lnTo>
                  <a:pt x="20" y="55"/>
                </a:lnTo>
                <a:lnTo>
                  <a:pt x="20" y="52"/>
                </a:lnTo>
                <a:lnTo>
                  <a:pt x="17" y="50"/>
                </a:lnTo>
                <a:lnTo>
                  <a:pt x="17" y="49"/>
                </a:lnTo>
                <a:lnTo>
                  <a:pt x="13" y="49"/>
                </a:lnTo>
                <a:lnTo>
                  <a:pt x="13" y="46"/>
                </a:lnTo>
                <a:lnTo>
                  <a:pt x="11" y="46"/>
                </a:lnTo>
                <a:lnTo>
                  <a:pt x="11" y="45"/>
                </a:lnTo>
                <a:lnTo>
                  <a:pt x="8" y="45"/>
                </a:lnTo>
                <a:lnTo>
                  <a:pt x="8" y="44"/>
                </a:lnTo>
                <a:lnTo>
                  <a:pt x="7" y="43"/>
                </a:lnTo>
                <a:lnTo>
                  <a:pt x="7" y="40"/>
                </a:lnTo>
                <a:lnTo>
                  <a:pt x="6" y="39"/>
                </a:lnTo>
                <a:lnTo>
                  <a:pt x="6" y="34"/>
                </a:lnTo>
                <a:lnTo>
                  <a:pt x="5" y="33"/>
                </a:lnTo>
                <a:lnTo>
                  <a:pt x="4" y="33"/>
                </a:lnTo>
                <a:lnTo>
                  <a:pt x="4" y="32"/>
                </a:lnTo>
                <a:lnTo>
                  <a:pt x="3" y="31"/>
                </a:lnTo>
                <a:lnTo>
                  <a:pt x="3" y="27"/>
                </a:lnTo>
                <a:lnTo>
                  <a:pt x="1" y="26"/>
                </a:lnTo>
                <a:lnTo>
                  <a:pt x="1" y="22"/>
                </a:lnTo>
                <a:lnTo>
                  <a:pt x="3" y="20"/>
                </a:lnTo>
                <a:lnTo>
                  <a:pt x="3" y="14"/>
                </a:lnTo>
                <a:lnTo>
                  <a:pt x="4" y="13"/>
                </a:lnTo>
                <a:lnTo>
                  <a:pt x="7" y="13"/>
                </a:lnTo>
                <a:lnTo>
                  <a:pt x="7" y="12"/>
                </a:lnTo>
                <a:lnTo>
                  <a:pt x="10" y="9"/>
                </a:lnTo>
                <a:lnTo>
                  <a:pt x="12" y="9"/>
                </a:lnTo>
                <a:lnTo>
                  <a:pt x="12" y="8"/>
                </a:lnTo>
                <a:lnTo>
                  <a:pt x="11" y="7"/>
                </a:lnTo>
                <a:lnTo>
                  <a:pt x="11" y="6"/>
                </a:lnTo>
                <a:lnTo>
                  <a:pt x="12" y="5"/>
                </a:lnTo>
                <a:lnTo>
                  <a:pt x="12" y="2"/>
                </a:lnTo>
                <a:lnTo>
                  <a:pt x="13" y="1"/>
                </a:lnTo>
                <a:lnTo>
                  <a:pt x="16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1" name="Freeform 52">
            <a:extLst>
              <a:ext uri="{FF2B5EF4-FFF2-40B4-BE49-F238E27FC236}">
                <a16:creationId xmlns:a16="http://schemas.microsoft.com/office/drawing/2014/main" id="{971F895A-5570-4482-9AC1-652C67088AB2}"/>
              </a:ext>
            </a:extLst>
          </p:cNvPr>
          <p:cNvSpPr>
            <a:spLocks/>
          </p:cNvSpPr>
          <p:nvPr/>
        </p:nvSpPr>
        <p:spPr bwMode="auto">
          <a:xfrm>
            <a:off x="2192343" y="5145039"/>
            <a:ext cx="239076" cy="230382"/>
          </a:xfrm>
          <a:custGeom>
            <a:avLst/>
            <a:gdLst/>
            <a:ahLst/>
            <a:cxnLst>
              <a:cxn ang="0">
                <a:pos x="56" y="3"/>
              </a:cxn>
              <a:cxn ang="0">
                <a:pos x="62" y="7"/>
              </a:cxn>
              <a:cxn ang="0">
                <a:pos x="75" y="8"/>
              </a:cxn>
              <a:cxn ang="0">
                <a:pos x="85" y="8"/>
              </a:cxn>
              <a:cxn ang="0">
                <a:pos x="93" y="12"/>
              </a:cxn>
              <a:cxn ang="0">
                <a:pos x="104" y="10"/>
              </a:cxn>
              <a:cxn ang="0">
                <a:pos x="110" y="9"/>
              </a:cxn>
              <a:cxn ang="0">
                <a:pos x="123" y="10"/>
              </a:cxn>
              <a:cxn ang="0">
                <a:pos x="127" y="15"/>
              </a:cxn>
              <a:cxn ang="0">
                <a:pos x="129" y="19"/>
              </a:cxn>
              <a:cxn ang="0">
                <a:pos x="142" y="24"/>
              </a:cxn>
              <a:cxn ang="0">
                <a:pos x="148" y="21"/>
              </a:cxn>
              <a:cxn ang="0">
                <a:pos x="154" y="22"/>
              </a:cxn>
              <a:cxn ang="0">
                <a:pos x="150" y="34"/>
              </a:cxn>
              <a:cxn ang="0">
                <a:pos x="146" y="44"/>
              </a:cxn>
              <a:cxn ang="0">
                <a:pos x="143" y="56"/>
              </a:cxn>
              <a:cxn ang="0">
                <a:pos x="154" y="64"/>
              </a:cxn>
              <a:cxn ang="0">
                <a:pos x="160" y="70"/>
              </a:cxn>
              <a:cxn ang="0">
                <a:pos x="164" y="71"/>
              </a:cxn>
              <a:cxn ang="0">
                <a:pos x="160" y="77"/>
              </a:cxn>
              <a:cxn ang="0">
                <a:pos x="149" y="75"/>
              </a:cxn>
              <a:cxn ang="0">
                <a:pos x="152" y="81"/>
              </a:cxn>
              <a:cxn ang="0">
                <a:pos x="159" y="98"/>
              </a:cxn>
              <a:cxn ang="0">
                <a:pos x="155" y="101"/>
              </a:cxn>
              <a:cxn ang="0">
                <a:pos x="150" y="100"/>
              </a:cxn>
              <a:cxn ang="0">
                <a:pos x="143" y="102"/>
              </a:cxn>
              <a:cxn ang="0">
                <a:pos x="140" y="102"/>
              </a:cxn>
              <a:cxn ang="0">
                <a:pos x="136" y="106"/>
              </a:cxn>
              <a:cxn ang="0">
                <a:pos x="140" y="113"/>
              </a:cxn>
              <a:cxn ang="0">
                <a:pos x="139" y="118"/>
              </a:cxn>
              <a:cxn ang="0">
                <a:pos x="131" y="113"/>
              </a:cxn>
              <a:cxn ang="0">
                <a:pos x="125" y="120"/>
              </a:cxn>
              <a:cxn ang="0">
                <a:pos x="115" y="136"/>
              </a:cxn>
              <a:cxn ang="0">
                <a:pos x="115" y="144"/>
              </a:cxn>
              <a:cxn ang="0">
                <a:pos x="119" y="155"/>
              </a:cxn>
              <a:cxn ang="0">
                <a:pos x="111" y="156"/>
              </a:cxn>
              <a:cxn ang="0">
                <a:pos x="96" y="148"/>
              </a:cxn>
              <a:cxn ang="0">
                <a:pos x="88" y="142"/>
              </a:cxn>
              <a:cxn ang="0">
                <a:pos x="82" y="138"/>
              </a:cxn>
              <a:cxn ang="0">
                <a:pos x="80" y="138"/>
              </a:cxn>
              <a:cxn ang="0">
                <a:pos x="79" y="130"/>
              </a:cxn>
              <a:cxn ang="0">
                <a:pos x="71" y="122"/>
              </a:cxn>
              <a:cxn ang="0">
                <a:pos x="66" y="113"/>
              </a:cxn>
              <a:cxn ang="0">
                <a:pos x="56" y="104"/>
              </a:cxn>
              <a:cxn ang="0">
                <a:pos x="42" y="88"/>
              </a:cxn>
              <a:cxn ang="0">
                <a:pos x="36" y="80"/>
              </a:cxn>
              <a:cxn ang="0">
                <a:pos x="28" y="73"/>
              </a:cxn>
              <a:cxn ang="0">
                <a:pos x="24" y="67"/>
              </a:cxn>
              <a:cxn ang="0">
                <a:pos x="21" y="57"/>
              </a:cxn>
              <a:cxn ang="0">
                <a:pos x="19" y="51"/>
              </a:cxn>
              <a:cxn ang="0">
                <a:pos x="15" y="45"/>
              </a:cxn>
              <a:cxn ang="0">
                <a:pos x="13" y="39"/>
              </a:cxn>
              <a:cxn ang="0">
                <a:pos x="9" y="34"/>
              </a:cxn>
              <a:cxn ang="0">
                <a:pos x="4" y="34"/>
              </a:cxn>
              <a:cxn ang="0">
                <a:pos x="1" y="25"/>
              </a:cxn>
              <a:cxn ang="0">
                <a:pos x="1" y="18"/>
              </a:cxn>
              <a:cxn ang="0">
                <a:pos x="3" y="6"/>
              </a:cxn>
              <a:cxn ang="0">
                <a:pos x="15" y="7"/>
              </a:cxn>
              <a:cxn ang="0">
                <a:pos x="24" y="16"/>
              </a:cxn>
              <a:cxn ang="0">
                <a:pos x="29" y="9"/>
              </a:cxn>
              <a:cxn ang="0">
                <a:pos x="35" y="3"/>
              </a:cxn>
              <a:cxn ang="0">
                <a:pos x="48" y="3"/>
              </a:cxn>
              <a:cxn ang="0">
                <a:pos x="51" y="0"/>
              </a:cxn>
            </a:cxnLst>
            <a:rect l="0" t="0" r="r" b="b"/>
            <a:pathLst>
              <a:path w="165" h="159">
                <a:moveTo>
                  <a:pt x="51" y="0"/>
                </a:moveTo>
                <a:lnTo>
                  <a:pt x="51" y="2"/>
                </a:lnTo>
                <a:lnTo>
                  <a:pt x="55" y="2"/>
                </a:lnTo>
                <a:lnTo>
                  <a:pt x="55" y="3"/>
                </a:lnTo>
                <a:lnTo>
                  <a:pt x="56" y="3"/>
                </a:lnTo>
                <a:lnTo>
                  <a:pt x="56" y="4"/>
                </a:lnTo>
                <a:lnTo>
                  <a:pt x="59" y="6"/>
                </a:lnTo>
                <a:lnTo>
                  <a:pt x="60" y="7"/>
                </a:lnTo>
                <a:lnTo>
                  <a:pt x="62" y="8"/>
                </a:lnTo>
                <a:lnTo>
                  <a:pt x="62" y="7"/>
                </a:lnTo>
                <a:lnTo>
                  <a:pt x="65" y="7"/>
                </a:lnTo>
                <a:lnTo>
                  <a:pt x="66" y="6"/>
                </a:lnTo>
                <a:lnTo>
                  <a:pt x="67" y="6"/>
                </a:lnTo>
                <a:lnTo>
                  <a:pt x="69" y="8"/>
                </a:lnTo>
                <a:lnTo>
                  <a:pt x="75" y="8"/>
                </a:lnTo>
                <a:lnTo>
                  <a:pt x="74" y="9"/>
                </a:lnTo>
                <a:lnTo>
                  <a:pt x="79" y="9"/>
                </a:lnTo>
                <a:lnTo>
                  <a:pt x="81" y="7"/>
                </a:lnTo>
                <a:lnTo>
                  <a:pt x="85" y="7"/>
                </a:lnTo>
                <a:lnTo>
                  <a:pt x="85" y="8"/>
                </a:lnTo>
                <a:lnTo>
                  <a:pt x="87" y="12"/>
                </a:lnTo>
                <a:lnTo>
                  <a:pt x="88" y="13"/>
                </a:lnTo>
                <a:lnTo>
                  <a:pt x="90" y="13"/>
                </a:lnTo>
                <a:lnTo>
                  <a:pt x="91" y="12"/>
                </a:lnTo>
                <a:lnTo>
                  <a:pt x="93" y="12"/>
                </a:lnTo>
                <a:lnTo>
                  <a:pt x="93" y="10"/>
                </a:lnTo>
                <a:lnTo>
                  <a:pt x="96" y="8"/>
                </a:lnTo>
                <a:lnTo>
                  <a:pt x="98" y="8"/>
                </a:lnTo>
                <a:lnTo>
                  <a:pt x="100" y="10"/>
                </a:lnTo>
                <a:lnTo>
                  <a:pt x="104" y="10"/>
                </a:lnTo>
                <a:lnTo>
                  <a:pt x="105" y="9"/>
                </a:lnTo>
                <a:lnTo>
                  <a:pt x="105" y="7"/>
                </a:lnTo>
                <a:lnTo>
                  <a:pt x="106" y="7"/>
                </a:lnTo>
                <a:lnTo>
                  <a:pt x="108" y="8"/>
                </a:lnTo>
                <a:lnTo>
                  <a:pt x="110" y="9"/>
                </a:lnTo>
                <a:lnTo>
                  <a:pt x="113" y="9"/>
                </a:lnTo>
                <a:lnTo>
                  <a:pt x="117" y="13"/>
                </a:lnTo>
                <a:lnTo>
                  <a:pt x="119" y="13"/>
                </a:lnTo>
                <a:lnTo>
                  <a:pt x="119" y="10"/>
                </a:lnTo>
                <a:lnTo>
                  <a:pt x="123" y="10"/>
                </a:lnTo>
                <a:lnTo>
                  <a:pt x="123" y="13"/>
                </a:lnTo>
                <a:lnTo>
                  <a:pt x="124" y="13"/>
                </a:lnTo>
                <a:lnTo>
                  <a:pt x="124" y="12"/>
                </a:lnTo>
                <a:lnTo>
                  <a:pt x="125" y="12"/>
                </a:lnTo>
                <a:lnTo>
                  <a:pt x="127" y="15"/>
                </a:lnTo>
                <a:lnTo>
                  <a:pt x="128" y="15"/>
                </a:lnTo>
                <a:lnTo>
                  <a:pt x="129" y="16"/>
                </a:lnTo>
                <a:lnTo>
                  <a:pt x="130" y="16"/>
                </a:lnTo>
                <a:lnTo>
                  <a:pt x="130" y="19"/>
                </a:lnTo>
                <a:lnTo>
                  <a:pt x="129" y="19"/>
                </a:lnTo>
                <a:lnTo>
                  <a:pt x="129" y="21"/>
                </a:lnTo>
                <a:lnTo>
                  <a:pt x="133" y="25"/>
                </a:lnTo>
                <a:lnTo>
                  <a:pt x="140" y="25"/>
                </a:lnTo>
                <a:lnTo>
                  <a:pt x="141" y="24"/>
                </a:lnTo>
                <a:lnTo>
                  <a:pt x="142" y="24"/>
                </a:lnTo>
                <a:lnTo>
                  <a:pt x="146" y="21"/>
                </a:lnTo>
                <a:lnTo>
                  <a:pt x="147" y="21"/>
                </a:lnTo>
                <a:lnTo>
                  <a:pt x="147" y="22"/>
                </a:lnTo>
                <a:lnTo>
                  <a:pt x="148" y="22"/>
                </a:lnTo>
                <a:lnTo>
                  <a:pt x="148" y="21"/>
                </a:lnTo>
                <a:lnTo>
                  <a:pt x="149" y="21"/>
                </a:lnTo>
                <a:lnTo>
                  <a:pt x="150" y="22"/>
                </a:lnTo>
                <a:lnTo>
                  <a:pt x="152" y="21"/>
                </a:lnTo>
                <a:lnTo>
                  <a:pt x="153" y="22"/>
                </a:lnTo>
                <a:lnTo>
                  <a:pt x="154" y="22"/>
                </a:lnTo>
                <a:lnTo>
                  <a:pt x="154" y="25"/>
                </a:lnTo>
                <a:lnTo>
                  <a:pt x="153" y="32"/>
                </a:lnTo>
                <a:lnTo>
                  <a:pt x="152" y="33"/>
                </a:lnTo>
                <a:lnTo>
                  <a:pt x="152" y="34"/>
                </a:lnTo>
                <a:lnTo>
                  <a:pt x="150" y="34"/>
                </a:lnTo>
                <a:lnTo>
                  <a:pt x="150" y="36"/>
                </a:lnTo>
                <a:lnTo>
                  <a:pt x="149" y="38"/>
                </a:lnTo>
                <a:lnTo>
                  <a:pt x="147" y="40"/>
                </a:lnTo>
                <a:lnTo>
                  <a:pt x="147" y="44"/>
                </a:lnTo>
                <a:lnTo>
                  <a:pt x="146" y="44"/>
                </a:lnTo>
                <a:lnTo>
                  <a:pt x="146" y="45"/>
                </a:lnTo>
                <a:lnTo>
                  <a:pt x="144" y="45"/>
                </a:lnTo>
                <a:lnTo>
                  <a:pt x="144" y="51"/>
                </a:lnTo>
                <a:lnTo>
                  <a:pt x="143" y="52"/>
                </a:lnTo>
                <a:lnTo>
                  <a:pt x="143" y="56"/>
                </a:lnTo>
                <a:lnTo>
                  <a:pt x="146" y="58"/>
                </a:lnTo>
                <a:lnTo>
                  <a:pt x="148" y="59"/>
                </a:lnTo>
                <a:lnTo>
                  <a:pt x="152" y="59"/>
                </a:lnTo>
                <a:lnTo>
                  <a:pt x="154" y="62"/>
                </a:lnTo>
                <a:lnTo>
                  <a:pt x="154" y="64"/>
                </a:lnTo>
                <a:lnTo>
                  <a:pt x="156" y="67"/>
                </a:lnTo>
                <a:lnTo>
                  <a:pt x="159" y="67"/>
                </a:lnTo>
                <a:lnTo>
                  <a:pt x="159" y="69"/>
                </a:lnTo>
                <a:lnTo>
                  <a:pt x="160" y="69"/>
                </a:lnTo>
                <a:lnTo>
                  <a:pt x="160" y="70"/>
                </a:lnTo>
                <a:lnTo>
                  <a:pt x="161" y="70"/>
                </a:lnTo>
                <a:lnTo>
                  <a:pt x="162" y="71"/>
                </a:lnTo>
                <a:lnTo>
                  <a:pt x="162" y="73"/>
                </a:lnTo>
                <a:lnTo>
                  <a:pt x="164" y="73"/>
                </a:lnTo>
                <a:lnTo>
                  <a:pt x="164" y="71"/>
                </a:lnTo>
                <a:lnTo>
                  <a:pt x="165" y="73"/>
                </a:lnTo>
                <a:lnTo>
                  <a:pt x="165" y="75"/>
                </a:lnTo>
                <a:lnTo>
                  <a:pt x="164" y="75"/>
                </a:lnTo>
                <a:lnTo>
                  <a:pt x="161" y="77"/>
                </a:lnTo>
                <a:lnTo>
                  <a:pt x="160" y="77"/>
                </a:lnTo>
                <a:lnTo>
                  <a:pt x="158" y="76"/>
                </a:lnTo>
                <a:lnTo>
                  <a:pt x="155" y="77"/>
                </a:lnTo>
                <a:lnTo>
                  <a:pt x="154" y="77"/>
                </a:lnTo>
                <a:lnTo>
                  <a:pt x="152" y="75"/>
                </a:lnTo>
                <a:lnTo>
                  <a:pt x="149" y="75"/>
                </a:lnTo>
                <a:lnTo>
                  <a:pt x="148" y="76"/>
                </a:lnTo>
                <a:lnTo>
                  <a:pt x="149" y="77"/>
                </a:lnTo>
                <a:lnTo>
                  <a:pt x="148" y="79"/>
                </a:lnTo>
                <a:lnTo>
                  <a:pt x="149" y="79"/>
                </a:lnTo>
                <a:lnTo>
                  <a:pt x="152" y="81"/>
                </a:lnTo>
                <a:lnTo>
                  <a:pt x="154" y="84"/>
                </a:lnTo>
                <a:lnTo>
                  <a:pt x="158" y="89"/>
                </a:lnTo>
                <a:lnTo>
                  <a:pt x="160" y="94"/>
                </a:lnTo>
                <a:lnTo>
                  <a:pt x="160" y="96"/>
                </a:lnTo>
                <a:lnTo>
                  <a:pt x="159" y="98"/>
                </a:lnTo>
                <a:lnTo>
                  <a:pt x="159" y="101"/>
                </a:lnTo>
                <a:lnTo>
                  <a:pt x="158" y="100"/>
                </a:lnTo>
                <a:lnTo>
                  <a:pt x="156" y="100"/>
                </a:lnTo>
                <a:lnTo>
                  <a:pt x="156" y="102"/>
                </a:lnTo>
                <a:lnTo>
                  <a:pt x="155" y="101"/>
                </a:lnTo>
                <a:lnTo>
                  <a:pt x="155" y="100"/>
                </a:lnTo>
                <a:lnTo>
                  <a:pt x="154" y="99"/>
                </a:lnTo>
                <a:lnTo>
                  <a:pt x="152" y="99"/>
                </a:lnTo>
                <a:lnTo>
                  <a:pt x="152" y="100"/>
                </a:lnTo>
                <a:lnTo>
                  <a:pt x="150" y="100"/>
                </a:lnTo>
                <a:lnTo>
                  <a:pt x="149" y="99"/>
                </a:lnTo>
                <a:lnTo>
                  <a:pt x="149" y="100"/>
                </a:lnTo>
                <a:lnTo>
                  <a:pt x="148" y="101"/>
                </a:lnTo>
                <a:lnTo>
                  <a:pt x="148" y="102"/>
                </a:lnTo>
                <a:lnTo>
                  <a:pt x="143" y="102"/>
                </a:lnTo>
                <a:lnTo>
                  <a:pt x="142" y="104"/>
                </a:lnTo>
                <a:lnTo>
                  <a:pt x="142" y="105"/>
                </a:lnTo>
                <a:lnTo>
                  <a:pt x="141" y="105"/>
                </a:lnTo>
                <a:lnTo>
                  <a:pt x="140" y="104"/>
                </a:lnTo>
                <a:lnTo>
                  <a:pt x="140" y="102"/>
                </a:lnTo>
                <a:lnTo>
                  <a:pt x="137" y="102"/>
                </a:lnTo>
                <a:lnTo>
                  <a:pt x="136" y="104"/>
                </a:lnTo>
                <a:lnTo>
                  <a:pt x="135" y="104"/>
                </a:lnTo>
                <a:lnTo>
                  <a:pt x="135" y="106"/>
                </a:lnTo>
                <a:lnTo>
                  <a:pt x="136" y="106"/>
                </a:lnTo>
                <a:lnTo>
                  <a:pt x="136" y="108"/>
                </a:lnTo>
                <a:lnTo>
                  <a:pt x="137" y="107"/>
                </a:lnTo>
                <a:lnTo>
                  <a:pt x="137" y="108"/>
                </a:lnTo>
                <a:lnTo>
                  <a:pt x="139" y="110"/>
                </a:lnTo>
                <a:lnTo>
                  <a:pt x="140" y="113"/>
                </a:lnTo>
                <a:lnTo>
                  <a:pt x="142" y="116"/>
                </a:lnTo>
                <a:lnTo>
                  <a:pt x="140" y="116"/>
                </a:lnTo>
                <a:lnTo>
                  <a:pt x="140" y="117"/>
                </a:lnTo>
                <a:lnTo>
                  <a:pt x="139" y="117"/>
                </a:lnTo>
                <a:lnTo>
                  <a:pt x="139" y="118"/>
                </a:lnTo>
                <a:lnTo>
                  <a:pt x="137" y="117"/>
                </a:lnTo>
                <a:lnTo>
                  <a:pt x="137" y="114"/>
                </a:lnTo>
                <a:lnTo>
                  <a:pt x="136" y="114"/>
                </a:lnTo>
                <a:lnTo>
                  <a:pt x="135" y="113"/>
                </a:lnTo>
                <a:lnTo>
                  <a:pt x="131" y="113"/>
                </a:lnTo>
                <a:lnTo>
                  <a:pt x="131" y="114"/>
                </a:lnTo>
                <a:lnTo>
                  <a:pt x="130" y="116"/>
                </a:lnTo>
                <a:lnTo>
                  <a:pt x="125" y="119"/>
                </a:lnTo>
                <a:lnTo>
                  <a:pt x="124" y="120"/>
                </a:lnTo>
                <a:lnTo>
                  <a:pt x="125" y="120"/>
                </a:lnTo>
                <a:lnTo>
                  <a:pt x="123" y="123"/>
                </a:lnTo>
                <a:lnTo>
                  <a:pt x="123" y="132"/>
                </a:lnTo>
                <a:lnTo>
                  <a:pt x="117" y="132"/>
                </a:lnTo>
                <a:lnTo>
                  <a:pt x="116" y="133"/>
                </a:lnTo>
                <a:lnTo>
                  <a:pt x="115" y="136"/>
                </a:lnTo>
                <a:lnTo>
                  <a:pt x="115" y="138"/>
                </a:lnTo>
                <a:lnTo>
                  <a:pt x="116" y="141"/>
                </a:lnTo>
                <a:lnTo>
                  <a:pt x="116" y="143"/>
                </a:lnTo>
                <a:lnTo>
                  <a:pt x="115" y="143"/>
                </a:lnTo>
                <a:lnTo>
                  <a:pt x="115" y="144"/>
                </a:lnTo>
                <a:lnTo>
                  <a:pt x="116" y="145"/>
                </a:lnTo>
                <a:lnTo>
                  <a:pt x="116" y="147"/>
                </a:lnTo>
                <a:lnTo>
                  <a:pt x="117" y="149"/>
                </a:lnTo>
                <a:lnTo>
                  <a:pt x="119" y="151"/>
                </a:lnTo>
                <a:lnTo>
                  <a:pt x="119" y="155"/>
                </a:lnTo>
                <a:lnTo>
                  <a:pt x="117" y="157"/>
                </a:lnTo>
                <a:lnTo>
                  <a:pt x="117" y="159"/>
                </a:lnTo>
                <a:lnTo>
                  <a:pt x="112" y="159"/>
                </a:lnTo>
                <a:lnTo>
                  <a:pt x="111" y="157"/>
                </a:lnTo>
                <a:lnTo>
                  <a:pt x="111" y="156"/>
                </a:lnTo>
                <a:lnTo>
                  <a:pt x="108" y="156"/>
                </a:lnTo>
                <a:lnTo>
                  <a:pt x="106" y="155"/>
                </a:lnTo>
                <a:lnTo>
                  <a:pt x="98" y="150"/>
                </a:lnTo>
                <a:lnTo>
                  <a:pt x="96" y="149"/>
                </a:lnTo>
                <a:lnTo>
                  <a:pt x="96" y="148"/>
                </a:lnTo>
                <a:lnTo>
                  <a:pt x="93" y="145"/>
                </a:lnTo>
                <a:lnTo>
                  <a:pt x="92" y="145"/>
                </a:lnTo>
                <a:lnTo>
                  <a:pt x="91" y="144"/>
                </a:lnTo>
                <a:lnTo>
                  <a:pt x="90" y="142"/>
                </a:lnTo>
                <a:lnTo>
                  <a:pt x="88" y="142"/>
                </a:lnTo>
                <a:lnTo>
                  <a:pt x="88" y="138"/>
                </a:lnTo>
                <a:lnTo>
                  <a:pt x="87" y="139"/>
                </a:lnTo>
                <a:lnTo>
                  <a:pt x="86" y="139"/>
                </a:lnTo>
                <a:lnTo>
                  <a:pt x="85" y="138"/>
                </a:lnTo>
                <a:lnTo>
                  <a:pt x="82" y="138"/>
                </a:lnTo>
                <a:lnTo>
                  <a:pt x="82" y="139"/>
                </a:lnTo>
                <a:lnTo>
                  <a:pt x="81" y="139"/>
                </a:lnTo>
                <a:lnTo>
                  <a:pt x="78" y="137"/>
                </a:lnTo>
                <a:lnTo>
                  <a:pt x="79" y="137"/>
                </a:lnTo>
                <a:lnTo>
                  <a:pt x="80" y="138"/>
                </a:lnTo>
                <a:lnTo>
                  <a:pt x="80" y="137"/>
                </a:lnTo>
                <a:lnTo>
                  <a:pt x="81" y="137"/>
                </a:lnTo>
                <a:lnTo>
                  <a:pt x="82" y="136"/>
                </a:lnTo>
                <a:lnTo>
                  <a:pt x="82" y="133"/>
                </a:lnTo>
                <a:lnTo>
                  <a:pt x="79" y="130"/>
                </a:lnTo>
                <a:lnTo>
                  <a:pt x="79" y="129"/>
                </a:lnTo>
                <a:lnTo>
                  <a:pt x="73" y="125"/>
                </a:lnTo>
                <a:lnTo>
                  <a:pt x="72" y="124"/>
                </a:lnTo>
                <a:lnTo>
                  <a:pt x="72" y="122"/>
                </a:lnTo>
                <a:lnTo>
                  <a:pt x="71" y="122"/>
                </a:lnTo>
                <a:lnTo>
                  <a:pt x="71" y="120"/>
                </a:lnTo>
                <a:lnTo>
                  <a:pt x="69" y="120"/>
                </a:lnTo>
                <a:lnTo>
                  <a:pt x="68" y="119"/>
                </a:lnTo>
                <a:lnTo>
                  <a:pt x="67" y="116"/>
                </a:lnTo>
                <a:lnTo>
                  <a:pt x="66" y="113"/>
                </a:lnTo>
                <a:lnTo>
                  <a:pt x="66" y="107"/>
                </a:lnTo>
                <a:lnTo>
                  <a:pt x="65" y="106"/>
                </a:lnTo>
                <a:lnTo>
                  <a:pt x="60" y="105"/>
                </a:lnTo>
                <a:lnTo>
                  <a:pt x="57" y="104"/>
                </a:lnTo>
                <a:lnTo>
                  <a:pt x="56" y="104"/>
                </a:lnTo>
                <a:lnTo>
                  <a:pt x="55" y="102"/>
                </a:lnTo>
                <a:lnTo>
                  <a:pt x="54" y="100"/>
                </a:lnTo>
                <a:lnTo>
                  <a:pt x="47" y="93"/>
                </a:lnTo>
                <a:lnTo>
                  <a:pt x="42" y="89"/>
                </a:lnTo>
                <a:lnTo>
                  <a:pt x="42" y="88"/>
                </a:lnTo>
                <a:lnTo>
                  <a:pt x="41" y="87"/>
                </a:lnTo>
                <a:lnTo>
                  <a:pt x="41" y="84"/>
                </a:lnTo>
                <a:lnTo>
                  <a:pt x="38" y="83"/>
                </a:lnTo>
                <a:lnTo>
                  <a:pt x="37" y="81"/>
                </a:lnTo>
                <a:lnTo>
                  <a:pt x="36" y="80"/>
                </a:lnTo>
                <a:lnTo>
                  <a:pt x="35" y="77"/>
                </a:lnTo>
                <a:lnTo>
                  <a:pt x="32" y="75"/>
                </a:lnTo>
                <a:lnTo>
                  <a:pt x="30" y="75"/>
                </a:lnTo>
                <a:lnTo>
                  <a:pt x="30" y="73"/>
                </a:lnTo>
                <a:lnTo>
                  <a:pt x="28" y="73"/>
                </a:lnTo>
                <a:lnTo>
                  <a:pt x="28" y="71"/>
                </a:lnTo>
                <a:lnTo>
                  <a:pt x="26" y="71"/>
                </a:lnTo>
                <a:lnTo>
                  <a:pt x="25" y="70"/>
                </a:lnTo>
                <a:lnTo>
                  <a:pt x="24" y="68"/>
                </a:lnTo>
                <a:lnTo>
                  <a:pt x="24" y="67"/>
                </a:lnTo>
                <a:lnTo>
                  <a:pt x="21" y="63"/>
                </a:lnTo>
                <a:lnTo>
                  <a:pt x="21" y="61"/>
                </a:lnTo>
                <a:lnTo>
                  <a:pt x="19" y="59"/>
                </a:lnTo>
                <a:lnTo>
                  <a:pt x="19" y="58"/>
                </a:lnTo>
                <a:lnTo>
                  <a:pt x="21" y="57"/>
                </a:lnTo>
                <a:lnTo>
                  <a:pt x="21" y="53"/>
                </a:lnTo>
                <a:lnTo>
                  <a:pt x="18" y="53"/>
                </a:lnTo>
                <a:lnTo>
                  <a:pt x="18" y="52"/>
                </a:lnTo>
                <a:lnTo>
                  <a:pt x="19" y="52"/>
                </a:lnTo>
                <a:lnTo>
                  <a:pt x="19" y="51"/>
                </a:lnTo>
                <a:lnTo>
                  <a:pt x="18" y="50"/>
                </a:lnTo>
                <a:lnTo>
                  <a:pt x="17" y="47"/>
                </a:lnTo>
                <a:lnTo>
                  <a:pt x="17" y="44"/>
                </a:lnTo>
                <a:lnTo>
                  <a:pt x="16" y="44"/>
                </a:lnTo>
                <a:lnTo>
                  <a:pt x="15" y="45"/>
                </a:lnTo>
                <a:lnTo>
                  <a:pt x="13" y="45"/>
                </a:lnTo>
                <a:lnTo>
                  <a:pt x="12" y="44"/>
                </a:lnTo>
                <a:lnTo>
                  <a:pt x="12" y="43"/>
                </a:lnTo>
                <a:lnTo>
                  <a:pt x="13" y="41"/>
                </a:lnTo>
                <a:lnTo>
                  <a:pt x="13" y="39"/>
                </a:lnTo>
                <a:lnTo>
                  <a:pt x="12" y="38"/>
                </a:lnTo>
                <a:lnTo>
                  <a:pt x="11" y="38"/>
                </a:lnTo>
                <a:lnTo>
                  <a:pt x="10" y="37"/>
                </a:lnTo>
                <a:lnTo>
                  <a:pt x="10" y="36"/>
                </a:lnTo>
                <a:lnTo>
                  <a:pt x="9" y="34"/>
                </a:lnTo>
                <a:lnTo>
                  <a:pt x="7" y="34"/>
                </a:lnTo>
                <a:lnTo>
                  <a:pt x="7" y="33"/>
                </a:lnTo>
                <a:lnTo>
                  <a:pt x="6" y="33"/>
                </a:lnTo>
                <a:lnTo>
                  <a:pt x="6" y="34"/>
                </a:lnTo>
                <a:lnTo>
                  <a:pt x="4" y="34"/>
                </a:lnTo>
                <a:lnTo>
                  <a:pt x="0" y="31"/>
                </a:lnTo>
                <a:lnTo>
                  <a:pt x="0" y="27"/>
                </a:lnTo>
                <a:lnTo>
                  <a:pt x="3" y="27"/>
                </a:lnTo>
                <a:lnTo>
                  <a:pt x="3" y="26"/>
                </a:lnTo>
                <a:lnTo>
                  <a:pt x="1" y="25"/>
                </a:lnTo>
                <a:lnTo>
                  <a:pt x="1" y="24"/>
                </a:lnTo>
                <a:lnTo>
                  <a:pt x="0" y="22"/>
                </a:lnTo>
                <a:lnTo>
                  <a:pt x="0" y="20"/>
                </a:lnTo>
                <a:lnTo>
                  <a:pt x="1" y="20"/>
                </a:lnTo>
                <a:lnTo>
                  <a:pt x="1" y="18"/>
                </a:lnTo>
                <a:lnTo>
                  <a:pt x="3" y="16"/>
                </a:lnTo>
                <a:lnTo>
                  <a:pt x="1" y="15"/>
                </a:lnTo>
                <a:lnTo>
                  <a:pt x="1" y="14"/>
                </a:lnTo>
                <a:lnTo>
                  <a:pt x="3" y="12"/>
                </a:lnTo>
                <a:lnTo>
                  <a:pt x="3" y="6"/>
                </a:lnTo>
                <a:lnTo>
                  <a:pt x="5" y="3"/>
                </a:lnTo>
                <a:lnTo>
                  <a:pt x="13" y="3"/>
                </a:lnTo>
                <a:lnTo>
                  <a:pt x="13" y="6"/>
                </a:lnTo>
                <a:lnTo>
                  <a:pt x="15" y="6"/>
                </a:lnTo>
                <a:lnTo>
                  <a:pt x="15" y="7"/>
                </a:lnTo>
                <a:lnTo>
                  <a:pt x="16" y="7"/>
                </a:lnTo>
                <a:lnTo>
                  <a:pt x="17" y="9"/>
                </a:lnTo>
                <a:lnTo>
                  <a:pt x="17" y="10"/>
                </a:lnTo>
                <a:lnTo>
                  <a:pt x="22" y="15"/>
                </a:lnTo>
                <a:lnTo>
                  <a:pt x="24" y="16"/>
                </a:lnTo>
                <a:lnTo>
                  <a:pt x="26" y="16"/>
                </a:lnTo>
                <a:lnTo>
                  <a:pt x="26" y="14"/>
                </a:lnTo>
                <a:lnTo>
                  <a:pt x="28" y="12"/>
                </a:lnTo>
                <a:lnTo>
                  <a:pt x="28" y="10"/>
                </a:lnTo>
                <a:lnTo>
                  <a:pt x="29" y="9"/>
                </a:lnTo>
                <a:lnTo>
                  <a:pt x="30" y="9"/>
                </a:lnTo>
                <a:lnTo>
                  <a:pt x="30" y="8"/>
                </a:lnTo>
                <a:lnTo>
                  <a:pt x="31" y="8"/>
                </a:lnTo>
                <a:lnTo>
                  <a:pt x="32" y="4"/>
                </a:lnTo>
                <a:lnTo>
                  <a:pt x="35" y="3"/>
                </a:lnTo>
                <a:lnTo>
                  <a:pt x="37" y="3"/>
                </a:lnTo>
                <a:lnTo>
                  <a:pt x="46" y="6"/>
                </a:lnTo>
                <a:lnTo>
                  <a:pt x="47" y="6"/>
                </a:lnTo>
                <a:lnTo>
                  <a:pt x="47" y="3"/>
                </a:lnTo>
                <a:lnTo>
                  <a:pt x="48" y="3"/>
                </a:lnTo>
                <a:lnTo>
                  <a:pt x="48" y="2"/>
                </a:lnTo>
                <a:lnTo>
                  <a:pt x="49" y="2"/>
                </a:lnTo>
                <a:lnTo>
                  <a:pt x="49" y="1"/>
                </a:lnTo>
                <a:lnTo>
                  <a:pt x="50" y="1"/>
                </a:lnTo>
                <a:lnTo>
                  <a:pt x="51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2" name="Freeform 53">
            <a:extLst>
              <a:ext uri="{FF2B5EF4-FFF2-40B4-BE49-F238E27FC236}">
                <a16:creationId xmlns:a16="http://schemas.microsoft.com/office/drawing/2014/main" id="{A3567724-5B9B-4B1B-87EB-37386B7B0885}"/>
              </a:ext>
            </a:extLst>
          </p:cNvPr>
          <p:cNvSpPr>
            <a:spLocks noEditPoints="1"/>
          </p:cNvSpPr>
          <p:nvPr/>
        </p:nvSpPr>
        <p:spPr bwMode="auto">
          <a:xfrm>
            <a:off x="1386733" y="4571259"/>
            <a:ext cx="234728" cy="192710"/>
          </a:xfrm>
          <a:custGeom>
            <a:avLst/>
            <a:gdLst/>
            <a:ahLst/>
            <a:cxnLst>
              <a:cxn ang="0">
                <a:pos x="94" y="0"/>
              </a:cxn>
              <a:cxn ang="0">
                <a:pos x="94" y="5"/>
              </a:cxn>
              <a:cxn ang="0">
                <a:pos x="103" y="5"/>
              </a:cxn>
              <a:cxn ang="0">
                <a:pos x="107" y="3"/>
              </a:cxn>
              <a:cxn ang="0">
                <a:pos x="109" y="13"/>
              </a:cxn>
              <a:cxn ang="0">
                <a:pos x="120" y="17"/>
              </a:cxn>
              <a:cxn ang="0">
                <a:pos x="127" y="19"/>
              </a:cxn>
              <a:cxn ang="0">
                <a:pos x="137" y="23"/>
              </a:cxn>
              <a:cxn ang="0">
                <a:pos x="137" y="30"/>
              </a:cxn>
              <a:cxn ang="0">
                <a:pos x="134" y="39"/>
              </a:cxn>
              <a:cxn ang="0">
                <a:pos x="132" y="47"/>
              </a:cxn>
              <a:cxn ang="0">
                <a:pos x="137" y="51"/>
              </a:cxn>
              <a:cxn ang="0">
                <a:pos x="153" y="58"/>
              </a:cxn>
              <a:cxn ang="0">
                <a:pos x="153" y="64"/>
              </a:cxn>
              <a:cxn ang="0">
                <a:pos x="155" y="68"/>
              </a:cxn>
              <a:cxn ang="0">
                <a:pos x="159" y="70"/>
              </a:cxn>
              <a:cxn ang="0">
                <a:pos x="158" y="80"/>
              </a:cxn>
              <a:cxn ang="0">
                <a:pos x="152" y="85"/>
              </a:cxn>
              <a:cxn ang="0">
                <a:pos x="151" y="92"/>
              </a:cxn>
              <a:cxn ang="0">
                <a:pos x="144" y="89"/>
              </a:cxn>
              <a:cxn ang="0">
                <a:pos x="140" y="96"/>
              </a:cxn>
              <a:cxn ang="0">
                <a:pos x="136" y="103"/>
              </a:cxn>
              <a:cxn ang="0">
                <a:pos x="134" y="110"/>
              </a:cxn>
              <a:cxn ang="0">
                <a:pos x="137" y="115"/>
              </a:cxn>
              <a:cxn ang="0">
                <a:pos x="139" y="121"/>
              </a:cxn>
              <a:cxn ang="0">
                <a:pos x="140" y="126"/>
              </a:cxn>
              <a:cxn ang="0">
                <a:pos x="136" y="129"/>
              </a:cxn>
              <a:cxn ang="0">
                <a:pos x="130" y="131"/>
              </a:cxn>
              <a:cxn ang="0">
                <a:pos x="122" y="132"/>
              </a:cxn>
              <a:cxn ang="0">
                <a:pos x="119" y="125"/>
              </a:cxn>
              <a:cxn ang="0">
                <a:pos x="115" y="121"/>
              </a:cxn>
              <a:cxn ang="0">
                <a:pos x="110" y="120"/>
              </a:cxn>
              <a:cxn ang="0">
                <a:pos x="103" y="114"/>
              </a:cxn>
              <a:cxn ang="0">
                <a:pos x="97" y="104"/>
              </a:cxn>
              <a:cxn ang="0">
                <a:pos x="97" y="95"/>
              </a:cxn>
              <a:cxn ang="0">
                <a:pos x="95" y="90"/>
              </a:cxn>
              <a:cxn ang="0">
                <a:pos x="80" y="104"/>
              </a:cxn>
              <a:cxn ang="0">
                <a:pos x="69" y="97"/>
              </a:cxn>
              <a:cxn ang="0">
                <a:pos x="69" y="92"/>
              </a:cxn>
              <a:cxn ang="0">
                <a:pos x="69" y="85"/>
              </a:cxn>
              <a:cxn ang="0">
                <a:pos x="66" y="83"/>
              </a:cxn>
              <a:cxn ang="0">
                <a:pos x="58" y="79"/>
              </a:cxn>
              <a:cxn ang="0">
                <a:pos x="51" y="77"/>
              </a:cxn>
              <a:cxn ang="0">
                <a:pos x="47" y="79"/>
              </a:cxn>
              <a:cxn ang="0">
                <a:pos x="40" y="68"/>
              </a:cxn>
              <a:cxn ang="0">
                <a:pos x="34" y="68"/>
              </a:cxn>
              <a:cxn ang="0">
                <a:pos x="31" y="62"/>
              </a:cxn>
              <a:cxn ang="0">
                <a:pos x="27" y="52"/>
              </a:cxn>
              <a:cxn ang="0">
                <a:pos x="19" y="51"/>
              </a:cxn>
              <a:cxn ang="0">
                <a:pos x="10" y="53"/>
              </a:cxn>
              <a:cxn ang="0">
                <a:pos x="6" y="47"/>
              </a:cxn>
              <a:cxn ang="0">
                <a:pos x="2" y="45"/>
              </a:cxn>
              <a:cxn ang="0">
                <a:pos x="1" y="33"/>
              </a:cxn>
              <a:cxn ang="0">
                <a:pos x="25" y="11"/>
              </a:cxn>
              <a:cxn ang="0">
                <a:pos x="41" y="17"/>
              </a:cxn>
              <a:cxn ang="0">
                <a:pos x="52" y="17"/>
              </a:cxn>
              <a:cxn ang="0">
                <a:pos x="59" y="19"/>
              </a:cxn>
              <a:cxn ang="0">
                <a:pos x="71" y="9"/>
              </a:cxn>
              <a:cxn ang="0">
                <a:pos x="72" y="9"/>
              </a:cxn>
              <a:cxn ang="0">
                <a:pos x="78" y="6"/>
              </a:cxn>
              <a:cxn ang="0">
                <a:pos x="84" y="5"/>
              </a:cxn>
              <a:cxn ang="0">
                <a:pos x="94" y="0"/>
              </a:cxn>
            </a:cxnLst>
            <a:rect l="0" t="0" r="r" b="b"/>
            <a:pathLst>
              <a:path w="162" h="133">
                <a:moveTo>
                  <a:pt x="75" y="13"/>
                </a:moveTo>
                <a:lnTo>
                  <a:pt x="75" y="15"/>
                </a:lnTo>
                <a:lnTo>
                  <a:pt x="76" y="13"/>
                </a:lnTo>
                <a:lnTo>
                  <a:pt x="75" y="13"/>
                </a:lnTo>
                <a:close/>
                <a:moveTo>
                  <a:pt x="94" y="0"/>
                </a:moveTo>
                <a:lnTo>
                  <a:pt x="95" y="0"/>
                </a:lnTo>
                <a:lnTo>
                  <a:pt x="96" y="2"/>
                </a:lnTo>
                <a:lnTo>
                  <a:pt x="96" y="6"/>
                </a:lnTo>
                <a:lnTo>
                  <a:pt x="95" y="5"/>
                </a:lnTo>
                <a:lnTo>
                  <a:pt x="94" y="5"/>
                </a:lnTo>
                <a:lnTo>
                  <a:pt x="94" y="6"/>
                </a:lnTo>
                <a:lnTo>
                  <a:pt x="99" y="6"/>
                </a:lnTo>
                <a:lnTo>
                  <a:pt x="100" y="8"/>
                </a:lnTo>
                <a:lnTo>
                  <a:pt x="101" y="8"/>
                </a:lnTo>
                <a:lnTo>
                  <a:pt x="103" y="5"/>
                </a:lnTo>
                <a:lnTo>
                  <a:pt x="103" y="4"/>
                </a:lnTo>
                <a:lnTo>
                  <a:pt x="105" y="3"/>
                </a:lnTo>
                <a:lnTo>
                  <a:pt x="105" y="2"/>
                </a:lnTo>
                <a:lnTo>
                  <a:pt x="106" y="2"/>
                </a:lnTo>
                <a:lnTo>
                  <a:pt x="107" y="3"/>
                </a:lnTo>
                <a:lnTo>
                  <a:pt x="107" y="9"/>
                </a:lnTo>
                <a:lnTo>
                  <a:pt x="108" y="10"/>
                </a:lnTo>
                <a:lnTo>
                  <a:pt x="108" y="11"/>
                </a:lnTo>
                <a:lnTo>
                  <a:pt x="109" y="12"/>
                </a:lnTo>
                <a:lnTo>
                  <a:pt x="109" y="13"/>
                </a:lnTo>
                <a:lnTo>
                  <a:pt x="113" y="13"/>
                </a:lnTo>
                <a:lnTo>
                  <a:pt x="113" y="16"/>
                </a:lnTo>
                <a:lnTo>
                  <a:pt x="114" y="17"/>
                </a:lnTo>
                <a:lnTo>
                  <a:pt x="115" y="16"/>
                </a:lnTo>
                <a:lnTo>
                  <a:pt x="120" y="17"/>
                </a:lnTo>
                <a:lnTo>
                  <a:pt x="122" y="15"/>
                </a:lnTo>
                <a:lnTo>
                  <a:pt x="126" y="15"/>
                </a:lnTo>
                <a:lnTo>
                  <a:pt x="126" y="16"/>
                </a:lnTo>
                <a:lnTo>
                  <a:pt x="127" y="17"/>
                </a:lnTo>
                <a:lnTo>
                  <a:pt x="127" y="19"/>
                </a:lnTo>
                <a:lnTo>
                  <a:pt x="128" y="19"/>
                </a:lnTo>
                <a:lnTo>
                  <a:pt x="131" y="21"/>
                </a:lnTo>
                <a:lnTo>
                  <a:pt x="131" y="22"/>
                </a:lnTo>
                <a:lnTo>
                  <a:pt x="136" y="22"/>
                </a:lnTo>
                <a:lnTo>
                  <a:pt x="137" y="23"/>
                </a:lnTo>
                <a:lnTo>
                  <a:pt x="139" y="23"/>
                </a:lnTo>
                <a:lnTo>
                  <a:pt x="139" y="28"/>
                </a:lnTo>
                <a:lnTo>
                  <a:pt x="138" y="28"/>
                </a:lnTo>
                <a:lnTo>
                  <a:pt x="138" y="30"/>
                </a:lnTo>
                <a:lnTo>
                  <a:pt x="137" y="30"/>
                </a:lnTo>
                <a:lnTo>
                  <a:pt x="137" y="33"/>
                </a:lnTo>
                <a:lnTo>
                  <a:pt x="136" y="34"/>
                </a:lnTo>
                <a:lnTo>
                  <a:pt x="134" y="36"/>
                </a:lnTo>
                <a:lnTo>
                  <a:pt x="137" y="36"/>
                </a:lnTo>
                <a:lnTo>
                  <a:pt x="134" y="39"/>
                </a:lnTo>
                <a:lnTo>
                  <a:pt x="134" y="40"/>
                </a:lnTo>
                <a:lnTo>
                  <a:pt x="133" y="40"/>
                </a:lnTo>
                <a:lnTo>
                  <a:pt x="130" y="43"/>
                </a:lnTo>
                <a:lnTo>
                  <a:pt x="131" y="46"/>
                </a:lnTo>
                <a:lnTo>
                  <a:pt x="132" y="47"/>
                </a:lnTo>
                <a:lnTo>
                  <a:pt x="133" y="47"/>
                </a:lnTo>
                <a:lnTo>
                  <a:pt x="133" y="51"/>
                </a:lnTo>
                <a:lnTo>
                  <a:pt x="134" y="51"/>
                </a:lnTo>
                <a:lnTo>
                  <a:pt x="136" y="49"/>
                </a:lnTo>
                <a:lnTo>
                  <a:pt x="137" y="51"/>
                </a:lnTo>
                <a:lnTo>
                  <a:pt x="146" y="51"/>
                </a:lnTo>
                <a:lnTo>
                  <a:pt x="146" y="53"/>
                </a:lnTo>
                <a:lnTo>
                  <a:pt x="150" y="53"/>
                </a:lnTo>
                <a:lnTo>
                  <a:pt x="150" y="54"/>
                </a:lnTo>
                <a:lnTo>
                  <a:pt x="153" y="58"/>
                </a:lnTo>
                <a:lnTo>
                  <a:pt x="152" y="58"/>
                </a:lnTo>
                <a:lnTo>
                  <a:pt x="153" y="59"/>
                </a:lnTo>
                <a:lnTo>
                  <a:pt x="153" y="60"/>
                </a:lnTo>
                <a:lnTo>
                  <a:pt x="157" y="60"/>
                </a:lnTo>
                <a:lnTo>
                  <a:pt x="153" y="64"/>
                </a:lnTo>
                <a:lnTo>
                  <a:pt x="153" y="66"/>
                </a:lnTo>
                <a:lnTo>
                  <a:pt x="155" y="66"/>
                </a:lnTo>
                <a:lnTo>
                  <a:pt x="153" y="67"/>
                </a:lnTo>
                <a:lnTo>
                  <a:pt x="155" y="67"/>
                </a:lnTo>
                <a:lnTo>
                  <a:pt x="155" y="68"/>
                </a:lnTo>
                <a:lnTo>
                  <a:pt x="156" y="68"/>
                </a:lnTo>
                <a:lnTo>
                  <a:pt x="157" y="67"/>
                </a:lnTo>
                <a:lnTo>
                  <a:pt x="158" y="68"/>
                </a:lnTo>
                <a:lnTo>
                  <a:pt x="159" y="68"/>
                </a:lnTo>
                <a:lnTo>
                  <a:pt x="159" y="70"/>
                </a:lnTo>
                <a:lnTo>
                  <a:pt x="161" y="71"/>
                </a:lnTo>
                <a:lnTo>
                  <a:pt x="161" y="76"/>
                </a:lnTo>
                <a:lnTo>
                  <a:pt x="162" y="78"/>
                </a:lnTo>
                <a:lnTo>
                  <a:pt x="162" y="80"/>
                </a:lnTo>
                <a:lnTo>
                  <a:pt x="158" y="80"/>
                </a:lnTo>
                <a:lnTo>
                  <a:pt x="157" y="82"/>
                </a:lnTo>
                <a:lnTo>
                  <a:pt x="157" y="83"/>
                </a:lnTo>
                <a:lnTo>
                  <a:pt x="155" y="84"/>
                </a:lnTo>
                <a:lnTo>
                  <a:pt x="153" y="85"/>
                </a:lnTo>
                <a:lnTo>
                  <a:pt x="152" y="85"/>
                </a:lnTo>
                <a:lnTo>
                  <a:pt x="152" y="86"/>
                </a:lnTo>
                <a:lnTo>
                  <a:pt x="153" y="86"/>
                </a:lnTo>
                <a:lnTo>
                  <a:pt x="153" y="89"/>
                </a:lnTo>
                <a:lnTo>
                  <a:pt x="151" y="89"/>
                </a:lnTo>
                <a:lnTo>
                  <a:pt x="151" y="92"/>
                </a:lnTo>
                <a:lnTo>
                  <a:pt x="150" y="92"/>
                </a:lnTo>
                <a:lnTo>
                  <a:pt x="150" y="90"/>
                </a:lnTo>
                <a:lnTo>
                  <a:pt x="146" y="90"/>
                </a:lnTo>
                <a:lnTo>
                  <a:pt x="146" y="89"/>
                </a:lnTo>
                <a:lnTo>
                  <a:pt x="144" y="89"/>
                </a:lnTo>
                <a:lnTo>
                  <a:pt x="144" y="92"/>
                </a:lnTo>
                <a:lnTo>
                  <a:pt x="143" y="92"/>
                </a:lnTo>
                <a:lnTo>
                  <a:pt x="141" y="94"/>
                </a:lnTo>
                <a:lnTo>
                  <a:pt x="140" y="94"/>
                </a:lnTo>
                <a:lnTo>
                  <a:pt x="140" y="96"/>
                </a:lnTo>
                <a:lnTo>
                  <a:pt x="139" y="97"/>
                </a:lnTo>
                <a:lnTo>
                  <a:pt x="139" y="99"/>
                </a:lnTo>
                <a:lnTo>
                  <a:pt x="138" y="99"/>
                </a:lnTo>
                <a:lnTo>
                  <a:pt x="138" y="103"/>
                </a:lnTo>
                <a:lnTo>
                  <a:pt x="136" y="103"/>
                </a:lnTo>
                <a:lnTo>
                  <a:pt x="136" y="104"/>
                </a:lnTo>
                <a:lnTo>
                  <a:pt x="134" y="108"/>
                </a:lnTo>
                <a:lnTo>
                  <a:pt x="136" y="109"/>
                </a:lnTo>
                <a:lnTo>
                  <a:pt x="134" y="109"/>
                </a:lnTo>
                <a:lnTo>
                  <a:pt x="134" y="110"/>
                </a:lnTo>
                <a:lnTo>
                  <a:pt x="136" y="110"/>
                </a:lnTo>
                <a:lnTo>
                  <a:pt x="134" y="111"/>
                </a:lnTo>
                <a:lnTo>
                  <a:pt x="134" y="114"/>
                </a:lnTo>
                <a:lnTo>
                  <a:pt x="136" y="114"/>
                </a:lnTo>
                <a:lnTo>
                  <a:pt x="137" y="115"/>
                </a:lnTo>
                <a:lnTo>
                  <a:pt x="138" y="117"/>
                </a:lnTo>
                <a:lnTo>
                  <a:pt x="138" y="119"/>
                </a:lnTo>
                <a:lnTo>
                  <a:pt x="140" y="119"/>
                </a:lnTo>
                <a:lnTo>
                  <a:pt x="140" y="120"/>
                </a:lnTo>
                <a:lnTo>
                  <a:pt x="139" y="121"/>
                </a:lnTo>
                <a:lnTo>
                  <a:pt x="139" y="122"/>
                </a:lnTo>
                <a:lnTo>
                  <a:pt x="141" y="122"/>
                </a:lnTo>
                <a:lnTo>
                  <a:pt x="141" y="125"/>
                </a:lnTo>
                <a:lnTo>
                  <a:pt x="140" y="125"/>
                </a:lnTo>
                <a:lnTo>
                  <a:pt x="140" y="126"/>
                </a:lnTo>
                <a:lnTo>
                  <a:pt x="139" y="127"/>
                </a:lnTo>
                <a:lnTo>
                  <a:pt x="139" y="129"/>
                </a:lnTo>
                <a:lnTo>
                  <a:pt x="138" y="129"/>
                </a:lnTo>
                <a:lnTo>
                  <a:pt x="137" y="131"/>
                </a:lnTo>
                <a:lnTo>
                  <a:pt x="136" y="129"/>
                </a:lnTo>
                <a:lnTo>
                  <a:pt x="134" y="129"/>
                </a:lnTo>
                <a:lnTo>
                  <a:pt x="134" y="131"/>
                </a:lnTo>
                <a:lnTo>
                  <a:pt x="132" y="131"/>
                </a:lnTo>
                <a:lnTo>
                  <a:pt x="131" y="129"/>
                </a:lnTo>
                <a:lnTo>
                  <a:pt x="130" y="131"/>
                </a:lnTo>
                <a:lnTo>
                  <a:pt x="130" y="132"/>
                </a:lnTo>
                <a:lnTo>
                  <a:pt x="126" y="132"/>
                </a:lnTo>
                <a:lnTo>
                  <a:pt x="125" y="133"/>
                </a:lnTo>
                <a:lnTo>
                  <a:pt x="124" y="133"/>
                </a:lnTo>
                <a:lnTo>
                  <a:pt x="122" y="132"/>
                </a:lnTo>
                <a:lnTo>
                  <a:pt x="124" y="131"/>
                </a:lnTo>
                <a:lnTo>
                  <a:pt x="122" y="129"/>
                </a:lnTo>
                <a:lnTo>
                  <a:pt x="121" y="126"/>
                </a:lnTo>
                <a:lnTo>
                  <a:pt x="120" y="126"/>
                </a:lnTo>
                <a:lnTo>
                  <a:pt x="119" y="125"/>
                </a:lnTo>
                <a:lnTo>
                  <a:pt x="118" y="125"/>
                </a:lnTo>
                <a:lnTo>
                  <a:pt x="118" y="126"/>
                </a:lnTo>
                <a:lnTo>
                  <a:pt x="116" y="126"/>
                </a:lnTo>
                <a:lnTo>
                  <a:pt x="116" y="122"/>
                </a:lnTo>
                <a:lnTo>
                  <a:pt x="115" y="121"/>
                </a:lnTo>
                <a:lnTo>
                  <a:pt x="115" y="120"/>
                </a:lnTo>
                <a:lnTo>
                  <a:pt x="114" y="120"/>
                </a:lnTo>
                <a:lnTo>
                  <a:pt x="112" y="121"/>
                </a:lnTo>
                <a:lnTo>
                  <a:pt x="110" y="121"/>
                </a:lnTo>
                <a:lnTo>
                  <a:pt x="110" y="120"/>
                </a:lnTo>
                <a:lnTo>
                  <a:pt x="109" y="120"/>
                </a:lnTo>
                <a:lnTo>
                  <a:pt x="108" y="117"/>
                </a:lnTo>
                <a:lnTo>
                  <a:pt x="107" y="116"/>
                </a:lnTo>
                <a:lnTo>
                  <a:pt x="106" y="116"/>
                </a:lnTo>
                <a:lnTo>
                  <a:pt x="103" y="114"/>
                </a:lnTo>
                <a:lnTo>
                  <a:pt x="97" y="114"/>
                </a:lnTo>
                <a:lnTo>
                  <a:pt x="97" y="108"/>
                </a:lnTo>
                <a:lnTo>
                  <a:pt x="99" y="107"/>
                </a:lnTo>
                <a:lnTo>
                  <a:pt x="99" y="105"/>
                </a:lnTo>
                <a:lnTo>
                  <a:pt x="97" y="104"/>
                </a:lnTo>
                <a:lnTo>
                  <a:pt x="95" y="104"/>
                </a:lnTo>
                <a:lnTo>
                  <a:pt x="95" y="102"/>
                </a:lnTo>
                <a:lnTo>
                  <a:pt x="96" y="98"/>
                </a:lnTo>
                <a:lnTo>
                  <a:pt x="96" y="96"/>
                </a:lnTo>
                <a:lnTo>
                  <a:pt x="97" y="95"/>
                </a:lnTo>
                <a:lnTo>
                  <a:pt x="99" y="95"/>
                </a:lnTo>
                <a:lnTo>
                  <a:pt x="99" y="90"/>
                </a:lnTo>
                <a:lnTo>
                  <a:pt x="96" y="91"/>
                </a:lnTo>
                <a:lnTo>
                  <a:pt x="96" y="90"/>
                </a:lnTo>
                <a:lnTo>
                  <a:pt x="95" y="90"/>
                </a:lnTo>
                <a:lnTo>
                  <a:pt x="90" y="95"/>
                </a:lnTo>
                <a:lnTo>
                  <a:pt x="90" y="101"/>
                </a:lnTo>
                <a:lnTo>
                  <a:pt x="89" y="101"/>
                </a:lnTo>
                <a:lnTo>
                  <a:pt x="82" y="104"/>
                </a:lnTo>
                <a:lnTo>
                  <a:pt x="80" y="104"/>
                </a:lnTo>
                <a:lnTo>
                  <a:pt x="74" y="103"/>
                </a:lnTo>
                <a:lnTo>
                  <a:pt x="70" y="103"/>
                </a:lnTo>
                <a:lnTo>
                  <a:pt x="68" y="102"/>
                </a:lnTo>
                <a:lnTo>
                  <a:pt x="68" y="98"/>
                </a:lnTo>
                <a:lnTo>
                  <a:pt x="69" y="97"/>
                </a:lnTo>
                <a:lnTo>
                  <a:pt x="70" y="97"/>
                </a:lnTo>
                <a:lnTo>
                  <a:pt x="70" y="96"/>
                </a:lnTo>
                <a:lnTo>
                  <a:pt x="71" y="96"/>
                </a:lnTo>
                <a:lnTo>
                  <a:pt x="70" y="95"/>
                </a:lnTo>
                <a:lnTo>
                  <a:pt x="69" y="92"/>
                </a:lnTo>
                <a:lnTo>
                  <a:pt x="69" y="91"/>
                </a:lnTo>
                <a:lnTo>
                  <a:pt x="68" y="92"/>
                </a:lnTo>
                <a:lnTo>
                  <a:pt x="68" y="86"/>
                </a:lnTo>
                <a:lnTo>
                  <a:pt x="69" y="86"/>
                </a:lnTo>
                <a:lnTo>
                  <a:pt x="69" y="85"/>
                </a:lnTo>
                <a:lnTo>
                  <a:pt x="70" y="85"/>
                </a:lnTo>
                <a:lnTo>
                  <a:pt x="70" y="83"/>
                </a:lnTo>
                <a:lnTo>
                  <a:pt x="68" y="83"/>
                </a:lnTo>
                <a:lnTo>
                  <a:pt x="68" y="84"/>
                </a:lnTo>
                <a:lnTo>
                  <a:pt x="66" y="83"/>
                </a:lnTo>
                <a:lnTo>
                  <a:pt x="66" y="80"/>
                </a:lnTo>
                <a:lnTo>
                  <a:pt x="65" y="80"/>
                </a:lnTo>
                <a:lnTo>
                  <a:pt x="63" y="78"/>
                </a:lnTo>
                <a:lnTo>
                  <a:pt x="60" y="78"/>
                </a:lnTo>
                <a:lnTo>
                  <a:pt x="58" y="79"/>
                </a:lnTo>
                <a:lnTo>
                  <a:pt x="57" y="79"/>
                </a:lnTo>
                <a:lnTo>
                  <a:pt x="57" y="78"/>
                </a:lnTo>
                <a:lnTo>
                  <a:pt x="54" y="78"/>
                </a:lnTo>
                <a:lnTo>
                  <a:pt x="53" y="77"/>
                </a:lnTo>
                <a:lnTo>
                  <a:pt x="51" y="77"/>
                </a:lnTo>
                <a:lnTo>
                  <a:pt x="51" y="78"/>
                </a:lnTo>
                <a:lnTo>
                  <a:pt x="50" y="79"/>
                </a:lnTo>
                <a:lnTo>
                  <a:pt x="50" y="80"/>
                </a:lnTo>
                <a:lnTo>
                  <a:pt x="49" y="80"/>
                </a:lnTo>
                <a:lnTo>
                  <a:pt x="47" y="79"/>
                </a:lnTo>
                <a:lnTo>
                  <a:pt x="47" y="73"/>
                </a:lnTo>
                <a:lnTo>
                  <a:pt x="46" y="71"/>
                </a:lnTo>
                <a:lnTo>
                  <a:pt x="46" y="70"/>
                </a:lnTo>
                <a:lnTo>
                  <a:pt x="45" y="68"/>
                </a:lnTo>
                <a:lnTo>
                  <a:pt x="40" y="68"/>
                </a:lnTo>
                <a:lnTo>
                  <a:pt x="40" y="66"/>
                </a:lnTo>
                <a:lnTo>
                  <a:pt x="38" y="66"/>
                </a:lnTo>
                <a:lnTo>
                  <a:pt x="38" y="67"/>
                </a:lnTo>
                <a:lnTo>
                  <a:pt x="35" y="67"/>
                </a:lnTo>
                <a:lnTo>
                  <a:pt x="34" y="68"/>
                </a:lnTo>
                <a:lnTo>
                  <a:pt x="34" y="67"/>
                </a:lnTo>
                <a:lnTo>
                  <a:pt x="32" y="67"/>
                </a:lnTo>
                <a:lnTo>
                  <a:pt x="32" y="66"/>
                </a:lnTo>
                <a:lnTo>
                  <a:pt x="31" y="65"/>
                </a:lnTo>
                <a:lnTo>
                  <a:pt x="31" y="62"/>
                </a:lnTo>
                <a:lnTo>
                  <a:pt x="29" y="59"/>
                </a:lnTo>
                <a:lnTo>
                  <a:pt x="29" y="54"/>
                </a:lnTo>
                <a:lnTo>
                  <a:pt x="28" y="53"/>
                </a:lnTo>
                <a:lnTo>
                  <a:pt x="27" y="53"/>
                </a:lnTo>
                <a:lnTo>
                  <a:pt x="27" y="52"/>
                </a:lnTo>
                <a:lnTo>
                  <a:pt x="26" y="51"/>
                </a:lnTo>
                <a:lnTo>
                  <a:pt x="26" y="49"/>
                </a:lnTo>
                <a:lnTo>
                  <a:pt x="25" y="48"/>
                </a:lnTo>
                <a:lnTo>
                  <a:pt x="23" y="48"/>
                </a:lnTo>
                <a:lnTo>
                  <a:pt x="19" y="51"/>
                </a:lnTo>
                <a:lnTo>
                  <a:pt x="18" y="51"/>
                </a:lnTo>
                <a:lnTo>
                  <a:pt x="16" y="52"/>
                </a:lnTo>
                <a:lnTo>
                  <a:pt x="15" y="54"/>
                </a:lnTo>
                <a:lnTo>
                  <a:pt x="14" y="54"/>
                </a:lnTo>
                <a:lnTo>
                  <a:pt x="10" y="53"/>
                </a:lnTo>
                <a:lnTo>
                  <a:pt x="9" y="52"/>
                </a:lnTo>
                <a:lnTo>
                  <a:pt x="9" y="49"/>
                </a:lnTo>
                <a:lnTo>
                  <a:pt x="7" y="48"/>
                </a:lnTo>
                <a:lnTo>
                  <a:pt x="7" y="47"/>
                </a:lnTo>
                <a:lnTo>
                  <a:pt x="6" y="47"/>
                </a:lnTo>
                <a:lnTo>
                  <a:pt x="6" y="46"/>
                </a:lnTo>
                <a:lnTo>
                  <a:pt x="4" y="47"/>
                </a:lnTo>
                <a:lnTo>
                  <a:pt x="3" y="46"/>
                </a:lnTo>
                <a:lnTo>
                  <a:pt x="3" y="45"/>
                </a:lnTo>
                <a:lnTo>
                  <a:pt x="2" y="45"/>
                </a:lnTo>
                <a:lnTo>
                  <a:pt x="2" y="40"/>
                </a:lnTo>
                <a:lnTo>
                  <a:pt x="3" y="39"/>
                </a:lnTo>
                <a:lnTo>
                  <a:pt x="3" y="36"/>
                </a:lnTo>
                <a:lnTo>
                  <a:pt x="1" y="34"/>
                </a:lnTo>
                <a:lnTo>
                  <a:pt x="1" y="33"/>
                </a:lnTo>
                <a:lnTo>
                  <a:pt x="0" y="29"/>
                </a:lnTo>
                <a:lnTo>
                  <a:pt x="0" y="28"/>
                </a:lnTo>
                <a:lnTo>
                  <a:pt x="2" y="27"/>
                </a:lnTo>
                <a:lnTo>
                  <a:pt x="8" y="23"/>
                </a:lnTo>
                <a:lnTo>
                  <a:pt x="25" y="11"/>
                </a:lnTo>
                <a:lnTo>
                  <a:pt x="34" y="9"/>
                </a:lnTo>
                <a:lnTo>
                  <a:pt x="34" y="15"/>
                </a:lnTo>
                <a:lnTo>
                  <a:pt x="38" y="18"/>
                </a:lnTo>
                <a:lnTo>
                  <a:pt x="40" y="18"/>
                </a:lnTo>
                <a:lnTo>
                  <a:pt x="41" y="17"/>
                </a:lnTo>
                <a:lnTo>
                  <a:pt x="40" y="16"/>
                </a:lnTo>
                <a:lnTo>
                  <a:pt x="41" y="15"/>
                </a:lnTo>
                <a:lnTo>
                  <a:pt x="46" y="15"/>
                </a:lnTo>
                <a:lnTo>
                  <a:pt x="51" y="16"/>
                </a:lnTo>
                <a:lnTo>
                  <a:pt x="52" y="17"/>
                </a:lnTo>
                <a:lnTo>
                  <a:pt x="52" y="19"/>
                </a:lnTo>
                <a:lnTo>
                  <a:pt x="53" y="19"/>
                </a:lnTo>
                <a:lnTo>
                  <a:pt x="53" y="21"/>
                </a:lnTo>
                <a:lnTo>
                  <a:pt x="58" y="19"/>
                </a:lnTo>
                <a:lnTo>
                  <a:pt x="59" y="19"/>
                </a:lnTo>
                <a:lnTo>
                  <a:pt x="66" y="16"/>
                </a:lnTo>
                <a:lnTo>
                  <a:pt x="69" y="13"/>
                </a:lnTo>
                <a:lnTo>
                  <a:pt x="70" y="11"/>
                </a:lnTo>
                <a:lnTo>
                  <a:pt x="71" y="11"/>
                </a:lnTo>
                <a:lnTo>
                  <a:pt x="71" y="9"/>
                </a:lnTo>
                <a:lnTo>
                  <a:pt x="72" y="10"/>
                </a:lnTo>
                <a:lnTo>
                  <a:pt x="72" y="12"/>
                </a:lnTo>
                <a:lnTo>
                  <a:pt x="74" y="12"/>
                </a:lnTo>
                <a:lnTo>
                  <a:pt x="74" y="10"/>
                </a:lnTo>
                <a:lnTo>
                  <a:pt x="72" y="9"/>
                </a:lnTo>
                <a:lnTo>
                  <a:pt x="74" y="9"/>
                </a:lnTo>
                <a:lnTo>
                  <a:pt x="76" y="10"/>
                </a:lnTo>
                <a:lnTo>
                  <a:pt x="80" y="10"/>
                </a:lnTo>
                <a:lnTo>
                  <a:pt x="80" y="8"/>
                </a:lnTo>
                <a:lnTo>
                  <a:pt x="78" y="6"/>
                </a:lnTo>
                <a:lnTo>
                  <a:pt x="78" y="5"/>
                </a:lnTo>
                <a:lnTo>
                  <a:pt x="77" y="4"/>
                </a:lnTo>
                <a:lnTo>
                  <a:pt x="82" y="2"/>
                </a:lnTo>
                <a:lnTo>
                  <a:pt x="84" y="2"/>
                </a:lnTo>
                <a:lnTo>
                  <a:pt x="84" y="5"/>
                </a:lnTo>
                <a:lnTo>
                  <a:pt x="87" y="5"/>
                </a:lnTo>
                <a:lnTo>
                  <a:pt x="88" y="6"/>
                </a:lnTo>
                <a:lnTo>
                  <a:pt x="88" y="5"/>
                </a:lnTo>
                <a:lnTo>
                  <a:pt x="89" y="5"/>
                </a:lnTo>
                <a:lnTo>
                  <a:pt x="94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3" name="Freeform 54">
            <a:extLst>
              <a:ext uri="{FF2B5EF4-FFF2-40B4-BE49-F238E27FC236}">
                <a16:creationId xmlns:a16="http://schemas.microsoft.com/office/drawing/2014/main" id="{1C714D0C-F142-40E8-8086-5D43CCC74944}"/>
              </a:ext>
            </a:extLst>
          </p:cNvPr>
          <p:cNvSpPr>
            <a:spLocks/>
          </p:cNvSpPr>
          <p:nvPr/>
        </p:nvSpPr>
        <p:spPr bwMode="auto">
          <a:xfrm>
            <a:off x="2648759" y="4088762"/>
            <a:ext cx="583923" cy="508579"/>
          </a:xfrm>
          <a:custGeom>
            <a:avLst/>
            <a:gdLst/>
            <a:ahLst/>
            <a:cxnLst>
              <a:cxn ang="0">
                <a:pos x="230" y="7"/>
              </a:cxn>
              <a:cxn ang="0">
                <a:pos x="255" y="13"/>
              </a:cxn>
              <a:cxn ang="0">
                <a:pos x="260" y="26"/>
              </a:cxn>
              <a:cxn ang="0">
                <a:pos x="282" y="24"/>
              </a:cxn>
              <a:cxn ang="0">
                <a:pos x="307" y="30"/>
              </a:cxn>
              <a:cxn ang="0">
                <a:pos x="326" y="43"/>
              </a:cxn>
              <a:cxn ang="0">
                <a:pos x="323" y="67"/>
              </a:cxn>
              <a:cxn ang="0">
                <a:pos x="326" y="87"/>
              </a:cxn>
              <a:cxn ang="0">
                <a:pos x="319" y="100"/>
              </a:cxn>
              <a:cxn ang="0">
                <a:pos x="334" y="121"/>
              </a:cxn>
              <a:cxn ang="0">
                <a:pos x="343" y="141"/>
              </a:cxn>
              <a:cxn ang="0">
                <a:pos x="365" y="155"/>
              </a:cxn>
              <a:cxn ang="0">
                <a:pos x="379" y="174"/>
              </a:cxn>
              <a:cxn ang="0">
                <a:pos x="390" y="189"/>
              </a:cxn>
              <a:cxn ang="0">
                <a:pos x="403" y="198"/>
              </a:cxn>
              <a:cxn ang="0">
                <a:pos x="392" y="210"/>
              </a:cxn>
              <a:cxn ang="0">
                <a:pos x="377" y="225"/>
              </a:cxn>
              <a:cxn ang="0">
                <a:pos x="354" y="215"/>
              </a:cxn>
              <a:cxn ang="0">
                <a:pos x="349" y="240"/>
              </a:cxn>
              <a:cxn ang="0">
                <a:pos x="356" y="260"/>
              </a:cxn>
              <a:cxn ang="0">
                <a:pos x="354" y="277"/>
              </a:cxn>
              <a:cxn ang="0">
                <a:pos x="343" y="293"/>
              </a:cxn>
              <a:cxn ang="0">
                <a:pos x="326" y="299"/>
              </a:cxn>
              <a:cxn ang="0">
                <a:pos x="317" y="308"/>
              </a:cxn>
              <a:cxn ang="0">
                <a:pos x="312" y="323"/>
              </a:cxn>
              <a:cxn ang="0">
                <a:pos x="311" y="332"/>
              </a:cxn>
              <a:cxn ang="0">
                <a:pos x="312" y="346"/>
              </a:cxn>
              <a:cxn ang="0">
                <a:pos x="301" y="344"/>
              </a:cxn>
              <a:cxn ang="0">
                <a:pos x="281" y="338"/>
              </a:cxn>
              <a:cxn ang="0">
                <a:pos x="267" y="337"/>
              </a:cxn>
              <a:cxn ang="0">
                <a:pos x="255" y="336"/>
              </a:cxn>
              <a:cxn ang="0">
                <a:pos x="244" y="329"/>
              </a:cxn>
              <a:cxn ang="0">
                <a:pos x="231" y="337"/>
              </a:cxn>
              <a:cxn ang="0">
                <a:pos x="216" y="327"/>
              </a:cxn>
              <a:cxn ang="0">
                <a:pos x="201" y="329"/>
              </a:cxn>
              <a:cxn ang="0">
                <a:pos x="189" y="333"/>
              </a:cxn>
              <a:cxn ang="0">
                <a:pos x="173" y="327"/>
              </a:cxn>
              <a:cxn ang="0">
                <a:pos x="146" y="313"/>
              </a:cxn>
              <a:cxn ang="0">
                <a:pos x="82" y="302"/>
              </a:cxn>
              <a:cxn ang="0">
                <a:pos x="33" y="327"/>
              </a:cxn>
              <a:cxn ang="0">
                <a:pos x="17" y="331"/>
              </a:cxn>
              <a:cxn ang="0">
                <a:pos x="19" y="312"/>
              </a:cxn>
              <a:cxn ang="0">
                <a:pos x="20" y="296"/>
              </a:cxn>
              <a:cxn ang="0">
                <a:pos x="8" y="286"/>
              </a:cxn>
              <a:cxn ang="0">
                <a:pos x="13" y="260"/>
              </a:cxn>
              <a:cxn ang="0">
                <a:pos x="27" y="214"/>
              </a:cxn>
              <a:cxn ang="0">
                <a:pos x="13" y="167"/>
              </a:cxn>
              <a:cxn ang="0">
                <a:pos x="31" y="163"/>
              </a:cxn>
              <a:cxn ang="0">
                <a:pos x="52" y="166"/>
              </a:cxn>
              <a:cxn ang="0">
                <a:pos x="69" y="151"/>
              </a:cxn>
              <a:cxn ang="0">
                <a:pos x="89" y="141"/>
              </a:cxn>
              <a:cxn ang="0">
                <a:pos x="98" y="146"/>
              </a:cxn>
              <a:cxn ang="0">
                <a:pos x="106" y="137"/>
              </a:cxn>
              <a:cxn ang="0">
                <a:pos x="104" y="122"/>
              </a:cxn>
              <a:cxn ang="0">
                <a:pos x="111" y="94"/>
              </a:cxn>
              <a:cxn ang="0">
                <a:pos x="126" y="86"/>
              </a:cxn>
              <a:cxn ang="0">
                <a:pos x="145" y="77"/>
              </a:cxn>
              <a:cxn ang="0">
                <a:pos x="144" y="63"/>
              </a:cxn>
              <a:cxn ang="0">
                <a:pos x="145" y="35"/>
              </a:cxn>
              <a:cxn ang="0">
                <a:pos x="172" y="28"/>
              </a:cxn>
              <a:cxn ang="0">
                <a:pos x="194" y="12"/>
              </a:cxn>
            </a:cxnLst>
            <a:rect l="0" t="0" r="r" b="b"/>
            <a:pathLst>
              <a:path w="403" h="351">
                <a:moveTo>
                  <a:pt x="206" y="0"/>
                </a:moveTo>
                <a:lnTo>
                  <a:pt x="208" y="0"/>
                </a:lnTo>
                <a:lnTo>
                  <a:pt x="211" y="3"/>
                </a:lnTo>
                <a:lnTo>
                  <a:pt x="213" y="6"/>
                </a:lnTo>
                <a:lnTo>
                  <a:pt x="216" y="8"/>
                </a:lnTo>
                <a:lnTo>
                  <a:pt x="217" y="8"/>
                </a:lnTo>
                <a:lnTo>
                  <a:pt x="219" y="6"/>
                </a:lnTo>
                <a:lnTo>
                  <a:pt x="219" y="5"/>
                </a:lnTo>
                <a:lnTo>
                  <a:pt x="229" y="5"/>
                </a:lnTo>
                <a:lnTo>
                  <a:pt x="230" y="6"/>
                </a:lnTo>
                <a:lnTo>
                  <a:pt x="230" y="7"/>
                </a:lnTo>
                <a:lnTo>
                  <a:pt x="232" y="10"/>
                </a:lnTo>
                <a:lnTo>
                  <a:pt x="232" y="13"/>
                </a:lnTo>
                <a:lnTo>
                  <a:pt x="235" y="16"/>
                </a:lnTo>
                <a:lnTo>
                  <a:pt x="237" y="17"/>
                </a:lnTo>
                <a:lnTo>
                  <a:pt x="238" y="17"/>
                </a:lnTo>
                <a:lnTo>
                  <a:pt x="238" y="14"/>
                </a:lnTo>
                <a:lnTo>
                  <a:pt x="239" y="13"/>
                </a:lnTo>
                <a:lnTo>
                  <a:pt x="247" y="10"/>
                </a:lnTo>
                <a:lnTo>
                  <a:pt x="249" y="10"/>
                </a:lnTo>
                <a:lnTo>
                  <a:pt x="254" y="12"/>
                </a:lnTo>
                <a:lnTo>
                  <a:pt x="255" y="13"/>
                </a:lnTo>
                <a:lnTo>
                  <a:pt x="261" y="16"/>
                </a:lnTo>
                <a:lnTo>
                  <a:pt x="262" y="16"/>
                </a:lnTo>
                <a:lnTo>
                  <a:pt x="263" y="17"/>
                </a:lnTo>
                <a:lnTo>
                  <a:pt x="263" y="18"/>
                </a:lnTo>
                <a:lnTo>
                  <a:pt x="264" y="18"/>
                </a:lnTo>
                <a:lnTo>
                  <a:pt x="264" y="19"/>
                </a:lnTo>
                <a:lnTo>
                  <a:pt x="262" y="19"/>
                </a:lnTo>
                <a:lnTo>
                  <a:pt x="262" y="22"/>
                </a:lnTo>
                <a:lnTo>
                  <a:pt x="261" y="23"/>
                </a:lnTo>
                <a:lnTo>
                  <a:pt x="261" y="24"/>
                </a:lnTo>
                <a:lnTo>
                  <a:pt x="260" y="26"/>
                </a:lnTo>
                <a:lnTo>
                  <a:pt x="260" y="29"/>
                </a:lnTo>
                <a:lnTo>
                  <a:pt x="263" y="32"/>
                </a:lnTo>
                <a:lnTo>
                  <a:pt x="264" y="35"/>
                </a:lnTo>
                <a:lnTo>
                  <a:pt x="266" y="36"/>
                </a:lnTo>
                <a:lnTo>
                  <a:pt x="267" y="36"/>
                </a:lnTo>
                <a:lnTo>
                  <a:pt x="270" y="31"/>
                </a:lnTo>
                <a:lnTo>
                  <a:pt x="274" y="29"/>
                </a:lnTo>
                <a:lnTo>
                  <a:pt x="275" y="29"/>
                </a:lnTo>
                <a:lnTo>
                  <a:pt x="279" y="30"/>
                </a:lnTo>
                <a:lnTo>
                  <a:pt x="280" y="29"/>
                </a:lnTo>
                <a:lnTo>
                  <a:pt x="282" y="24"/>
                </a:lnTo>
                <a:lnTo>
                  <a:pt x="284" y="24"/>
                </a:lnTo>
                <a:lnTo>
                  <a:pt x="286" y="23"/>
                </a:lnTo>
                <a:lnTo>
                  <a:pt x="287" y="23"/>
                </a:lnTo>
                <a:lnTo>
                  <a:pt x="292" y="25"/>
                </a:lnTo>
                <a:lnTo>
                  <a:pt x="293" y="25"/>
                </a:lnTo>
                <a:lnTo>
                  <a:pt x="295" y="23"/>
                </a:lnTo>
                <a:lnTo>
                  <a:pt x="297" y="23"/>
                </a:lnTo>
                <a:lnTo>
                  <a:pt x="298" y="24"/>
                </a:lnTo>
                <a:lnTo>
                  <a:pt x="299" y="24"/>
                </a:lnTo>
                <a:lnTo>
                  <a:pt x="307" y="28"/>
                </a:lnTo>
                <a:lnTo>
                  <a:pt x="307" y="30"/>
                </a:lnTo>
                <a:lnTo>
                  <a:pt x="312" y="32"/>
                </a:lnTo>
                <a:lnTo>
                  <a:pt x="312" y="36"/>
                </a:lnTo>
                <a:lnTo>
                  <a:pt x="313" y="37"/>
                </a:lnTo>
                <a:lnTo>
                  <a:pt x="317" y="37"/>
                </a:lnTo>
                <a:lnTo>
                  <a:pt x="317" y="38"/>
                </a:lnTo>
                <a:lnTo>
                  <a:pt x="318" y="40"/>
                </a:lnTo>
                <a:lnTo>
                  <a:pt x="319" y="42"/>
                </a:lnTo>
                <a:lnTo>
                  <a:pt x="322" y="42"/>
                </a:lnTo>
                <a:lnTo>
                  <a:pt x="323" y="41"/>
                </a:lnTo>
                <a:lnTo>
                  <a:pt x="325" y="42"/>
                </a:lnTo>
                <a:lnTo>
                  <a:pt x="326" y="43"/>
                </a:lnTo>
                <a:lnTo>
                  <a:pt x="326" y="47"/>
                </a:lnTo>
                <a:lnTo>
                  <a:pt x="325" y="49"/>
                </a:lnTo>
                <a:lnTo>
                  <a:pt x="326" y="50"/>
                </a:lnTo>
                <a:lnTo>
                  <a:pt x="325" y="51"/>
                </a:lnTo>
                <a:lnTo>
                  <a:pt x="325" y="55"/>
                </a:lnTo>
                <a:lnTo>
                  <a:pt x="326" y="56"/>
                </a:lnTo>
                <a:lnTo>
                  <a:pt x="326" y="59"/>
                </a:lnTo>
                <a:lnTo>
                  <a:pt x="323" y="60"/>
                </a:lnTo>
                <a:lnTo>
                  <a:pt x="322" y="62"/>
                </a:lnTo>
                <a:lnTo>
                  <a:pt x="322" y="66"/>
                </a:lnTo>
                <a:lnTo>
                  <a:pt x="323" y="67"/>
                </a:lnTo>
                <a:lnTo>
                  <a:pt x="324" y="67"/>
                </a:lnTo>
                <a:lnTo>
                  <a:pt x="324" y="68"/>
                </a:lnTo>
                <a:lnTo>
                  <a:pt x="325" y="72"/>
                </a:lnTo>
                <a:lnTo>
                  <a:pt x="328" y="74"/>
                </a:lnTo>
                <a:lnTo>
                  <a:pt x="328" y="75"/>
                </a:lnTo>
                <a:lnTo>
                  <a:pt x="329" y="75"/>
                </a:lnTo>
                <a:lnTo>
                  <a:pt x="329" y="80"/>
                </a:lnTo>
                <a:lnTo>
                  <a:pt x="330" y="81"/>
                </a:lnTo>
                <a:lnTo>
                  <a:pt x="330" y="85"/>
                </a:lnTo>
                <a:lnTo>
                  <a:pt x="326" y="85"/>
                </a:lnTo>
                <a:lnTo>
                  <a:pt x="326" y="87"/>
                </a:lnTo>
                <a:lnTo>
                  <a:pt x="328" y="89"/>
                </a:lnTo>
                <a:lnTo>
                  <a:pt x="326" y="90"/>
                </a:lnTo>
                <a:lnTo>
                  <a:pt x="325" y="90"/>
                </a:lnTo>
                <a:lnTo>
                  <a:pt x="323" y="91"/>
                </a:lnTo>
                <a:lnTo>
                  <a:pt x="322" y="92"/>
                </a:lnTo>
                <a:lnTo>
                  <a:pt x="323" y="93"/>
                </a:lnTo>
                <a:lnTo>
                  <a:pt x="323" y="96"/>
                </a:lnTo>
                <a:lnTo>
                  <a:pt x="322" y="97"/>
                </a:lnTo>
                <a:lnTo>
                  <a:pt x="321" y="97"/>
                </a:lnTo>
                <a:lnTo>
                  <a:pt x="321" y="99"/>
                </a:lnTo>
                <a:lnTo>
                  <a:pt x="319" y="100"/>
                </a:lnTo>
                <a:lnTo>
                  <a:pt x="321" y="102"/>
                </a:lnTo>
                <a:lnTo>
                  <a:pt x="321" y="103"/>
                </a:lnTo>
                <a:lnTo>
                  <a:pt x="323" y="103"/>
                </a:lnTo>
                <a:lnTo>
                  <a:pt x="329" y="108"/>
                </a:lnTo>
                <a:lnTo>
                  <a:pt x="330" y="109"/>
                </a:lnTo>
                <a:lnTo>
                  <a:pt x="330" y="110"/>
                </a:lnTo>
                <a:lnTo>
                  <a:pt x="335" y="110"/>
                </a:lnTo>
                <a:lnTo>
                  <a:pt x="335" y="112"/>
                </a:lnTo>
                <a:lnTo>
                  <a:pt x="337" y="114"/>
                </a:lnTo>
                <a:lnTo>
                  <a:pt x="336" y="117"/>
                </a:lnTo>
                <a:lnTo>
                  <a:pt x="334" y="121"/>
                </a:lnTo>
                <a:lnTo>
                  <a:pt x="332" y="123"/>
                </a:lnTo>
                <a:lnTo>
                  <a:pt x="334" y="124"/>
                </a:lnTo>
                <a:lnTo>
                  <a:pt x="337" y="126"/>
                </a:lnTo>
                <a:lnTo>
                  <a:pt x="337" y="127"/>
                </a:lnTo>
                <a:lnTo>
                  <a:pt x="338" y="127"/>
                </a:lnTo>
                <a:lnTo>
                  <a:pt x="340" y="128"/>
                </a:lnTo>
                <a:lnTo>
                  <a:pt x="341" y="132"/>
                </a:lnTo>
                <a:lnTo>
                  <a:pt x="341" y="133"/>
                </a:lnTo>
                <a:lnTo>
                  <a:pt x="342" y="133"/>
                </a:lnTo>
                <a:lnTo>
                  <a:pt x="342" y="140"/>
                </a:lnTo>
                <a:lnTo>
                  <a:pt x="343" y="141"/>
                </a:lnTo>
                <a:lnTo>
                  <a:pt x="343" y="142"/>
                </a:lnTo>
                <a:lnTo>
                  <a:pt x="350" y="148"/>
                </a:lnTo>
                <a:lnTo>
                  <a:pt x="352" y="148"/>
                </a:lnTo>
                <a:lnTo>
                  <a:pt x="353" y="149"/>
                </a:lnTo>
                <a:lnTo>
                  <a:pt x="354" y="149"/>
                </a:lnTo>
                <a:lnTo>
                  <a:pt x="357" y="152"/>
                </a:lnTo>
                <a:lnTo>
                  <a:pt x="361" y="152"/>
                </a:lnTo>
                <a:lnTo>
                  <a:pt x="361" y="153"/>
                </a:lnTo>
                <a:lnTo>
                  <a:pt x="362" y="153"/>
                </a:lnTo>
                <a:lnTo>
                  <a:pt x="362" y="155"/>
                </a:lnTo>
                <a:lnTo>
                  <a:pt x="365" y="155"/>
                </a:lnTo>
                <a:lnTo>
                  <a:pt x="366" y="159"/>
                </a:lnTo>
                <a:lnTo>
                  <a:pt x="366" y="161"/>
                </a:lnTo>
                <a:lnTo>
                  <a:pt x="365" y="161"/>
                </a:lnTo>
                <a:lnTo>
                  <a:pt x="365" y="167"/>
                </a:lnTo>
                <a:lnTo>
                  <a:pt x="362" y="172"/>
                </a:lnTo>
                <a:lnTo>
                  <a:pt x="361" y="173"/>
                </a:lnTo>
                <a:lnTo>
                  <a:pt x="363" y="173"/>
                </a:lnTo>
                <a:lnTo>
                  <a:pt x="367" y="174"/>
                </a:lnTo>
                <a:lnTo>
                  <a:pt x="375" y="172"/>
                </a:lnTo>
                <a:lnTo>
                  <a:pt x="377" y="173"/>
                </a:lnTo>
                <a:lnTo>
                  <a:pt x="379" y="174"/>
                </a:lnTo>
                <a:lnTo>
                  <a:pt x="385" y="176"/>
                </a:lnTo>
                <a:lnTo>
                  <a:pt x="386" y="177"/>
                </a:lnTo>
                <a:lnTo>
                  <a:pt x="387" y="179"/>
                </a:lnTo>
                <a:lnTo>
                  <a:pt x="391" y="179"/>
                </a:lnTo>
                <a:lnTo>
                  <a:pt x="393" y="182"/>
                </a:lnTo>
                <a:lnTo>
                  <a:pt x="393" y="183"/>
                </a:lnTo>
                <a:lnTo>
                  <a:pt x="392" y="183"/>
                </a:lnTo>
                <a:lnTo>
                  <a:pt x="390" y="185"/>
                </a:lnTo>
                <a:lnTo>
                  <a:pt x="388" y="185"/>
                </a:lnTo>
                <a:lnTo>
                  <a:pt x="388" y="186"/>
                </a:lnTo>
                <a:lnTo>
                  <a:pt x="390" y="189"/>
                </a:lnTo>
                <a:lnTo>
                  <a:pt x="390" y="190"/>
                </a:lnTo>
                <a:lnTo>
                  <a:pt x="392" y="192"/>
                </a:lnTo>
                <a:lnTo>
                  <a:pt x="394" y="194"/>
                </a:lnTo>
                <a:lnTo>
                  <a:pt x="396" y="194"/>
                </a:lnTo>
                <a:lnTo>
                  <a:pt x="396" y="195"/>
                </a:lnTo>
                <a:lnTo>
                  <a:pt x="397" y="196"/>
                </a:lnTo>
                <a:lnTo>
                  <a:pt x="397" y="195"/>
                </a:lnTo>
                <a:lnTo>
                  <a:pt x="399" y="195"/>
                </a:lnTo>
                <a:lnTo>
                  <a:pt x="399" y="197"/>
                </a:lnTo>
                <a:lnTo>
                  <a:pt x="402" y="197"/>
                </a:lnTo>
                <a:lnTo>
                  <a:pt x="403" y="198"/>
                </a:lnTo>
                <a:lnTo>
                  <a:pt x="403" y="200"/>
                </a:lnTo>
                <a:lnTo>
                  <a:pt x="402" y="204"/>
                </a:lnTo>
                <a:lnTo>
                  <a:pt x="403" y="207"/>
                </a:lnTo>
                <a:lnTo>
                  <a:pt x="397" y="207"/>
                </a:lnTo>
                <a:lnTo>
                  <a:pt x="397" y="208"/>
                </a:lnTo>
                <a:lnTo>
                  <a:pt x="396" y="209"/>
                </a:lnTo>
                <a:lnTo>
                  <a:pt x="393" y="209"/>
                </a:lnTo>
                <a:lnTo>
                  <a:pt x="392" y="208"/>
                </a:lnTo>
                <a:lnTo>
                  <a:pt x="391" y="209"/>
                </a:lnTo>
                <a:lnTo>
                  <a:pt x="391" y="210"/>
                </a:lnTo>
                <a:lnTo>
                  <a:pt x="392" y="210"/>
                </a:lnTo>
                <a:lnTo>
                  <a:pt x="392" y="212"/>
                </a:lnTo>
                <a:lnTo>
                  <a:pt x="391" y="213"/>
                </a:lnTo>
                <a:lnTo>
                  <a:pt x="390" y="215"/>
                </a:lnTo>
                <a:lnTo>
                  <a:pt x="390" y="216"/>
                </a:lnTo>
                <a:lnTo>
                  <a:pt x="388" y="216"/>
                </a:lnTo>
                <a:lnTo>
                  <a:pt x="384" y="221"/>
                </a:lnTo>
                <a:lnTo>
                  <a:pt x="381" y="221"/>
                </a:lnTo>
                <a:lnTo>
                  <a:pt x="381" y="222"/>
                </a:lnTo>
                <a:lnTo>
                  <a:pt x="380" y="223"/>
                </a:lnTo>
                <a:lnTo>
                  <a:pt x="378" y="223"/>
                </a:lnTo>
                <a:lnTo>
                  <a:pt x="377" y="225"/>
                </a:lnTo>
                <a:lnTo>
                  <a:pt x="375" y="225"/>
                </a:lnTo>
                <a:lnTo>
                  <a:pt x="373" y="222"/>
                </a:lnTo>
                <a:lnTo>
                  <a:pt x="372" y="223"/>
                </a:lnTo>
                <a:lnTo>
                  <a:pt x="368" y="223"/>
                </a:lnTo>
                <a:lnTo>
                  <a:pt x="366" y="222"/>
                </a:lnTo>
                <a:lnTo>
                  <a:pt x="363" y="222"/>
                </a:lnTo>
                <a:lnTo>
                  <a:pt x="362" y="221"/>
                </a:lnTo>
                <a:lnTo>
                  <a:pt x="362" y="216"/>
                </a:lnTo>
                <a:lnTo>
                  <a:pt x="359" y="216"/>
                </a:lnTo>
                <a:lnTo>
                  <a:pt x="356" y="215"/>
                </a:lnTo>
                <a:lnTo>
                  <a:pt x="354" y="215"/>
                </a:lnTo>
                <a:lnTo>
                  <a:pt x="353" y="216"/>
                </a:lnTo>
                <a:lnTo>
                  <a:pt x="348" y="216"/>
                </a:lnTo>
                <a:lnTo>
                  <a:pt x="346" y="217"/>
                </a:lnTo>
                <a:lnTo>
                  <a:pt x="346" y="223"/>
                </a:lnTo>
                <a:lnTo>
                  <a:pt x="344" y="225"/>
                </a:lnTo>
                <a:lnTo>
                  <a:pt x="343" y="225"/>
                </a:lnTo>
                <a:lnTo>
                  <a:pt x="341" y="228"/>
                </a:lnTo>
                <a:lnTo>
                  <a:pt x="343" y="232"/>
                </a:lnTo>
                <a:lnTo>
                  <a:pt x="344" y="233"/>
                </a:lnTo>
                <a:lnTo>
                  <a:pt x="346" y="237"/>
                </a:lnTo>
                <a:lnTo>
                  <a:pt x="349" y="240"/>
                </a:lnTo>
                <a:lnTo>
                  <a:pt x="352" y="240"/>
                </a:lnTo>
                <a:lnTo>
                  <a:pt x="352" y="243"/>
                </a:lnTo>
                <a:lnTo>
                  <a:pt x="354" y="245"/>
                </a:lnTo>
                <a:lnTo>
                  <a:pt x="354" y="249"/>
                </a:lnTo>
                <a:lnTo>
                  <a:pt x="353" y="251"/>
                </a:lnTo>
                <a:lnTo>
                  <a:pt x="350" y="252"/>
                </a:lnTo>
                <a:lnTo>
                  <a:pt x="350" y="253"/>
                </a:lnTo>
                <a:lnTo>
                  <a:pt x="353" y="256"/>
                </a:lnTo>
                <a:lnTo>
                  <a:pt x="354" y="258"/>
                </a:lnTo>
                <a:lnTo>
                  <a:pt x="354" y="259"/>
                </a:lnTo>
                <a:lnTo>
                  <a:pt x="356" y="260"/>
                </a:lnTo>
                <a:lnTo>
                  <a:pt x="356" y="262"/>
                </a:lnTo>
                <a:lnTo>
                  <a:pt x="354" y="262"/>
                </a:lnTo>
                <a:lnTo>
                  <a:pt x="354" y="263"/>
                </a:lnTo>
                <a:lnTo>
                  <a:pt x="353" y="264"/>
                </a:lnTo>
                <a:lnTo>
                  <a:pt x="355" y="266"/>
                </a:lnTo>
                <a:lnTo>
                  <a:pt x="355" y="268"/>
                </a:lnTo>
                <a:lnTo>
                  <a:pt x="354" y="270"/>
                </a:lnTo>
                <a:lnTo>
                  <a:pt x="354" y="271"/>
                </a:lnTo>
                <a:lnTo>
                  <a:pt x="355" y="272"/>
                </a:lnTo>
                <a:lnTo>
                  <a:pt x="355" y="276"/>
                </a:lnTo>
                <a:lnTo>
                  <a:pt x="354" y="277"/>
                </a:lnTo>
                <a:lnTo>
                  <a:pt x="355" y="280"/>
                </a:lnTo>
                <a:lnTo>
                  <a:pt x="356" y="281"/>
                </a:lnTo>
                <a:lnTo>
                  <a:pt x="357" y="281"/>
                </a:lnTo>
                <a:lnTo>
                  <a:pt x="359" y="282"/>
                </a:lnTo>
                <a:lnTo>
                  <a:pt x="359" y="286"/>
                </a:lnTo>
                <a:lnTo>
                  <a:pt x="362" y="289"/>
                </a:lnTo>
                <a:lnTo>
                  <a:pt x="362" y="293"/>
                </a:lnTo>
                <a:lnTo>
                  <a:pt x="357" y="293"/>
                </a:lnTo>
                <a:lnTo>
                  <a:pt x="350" y="292"/>
                </a:lnTo>
                <a:lnTo>
                  <a:pt x="346" y="292"/>
                </a:lnTo>
                <a:lnTo>
                  <a:pt x="343" y="293"/>
                </a:lnTo>
                <a:lnTo>
                  <a:pt x="341" y="295"/>
                </a:lnTo>
                <a:lnTo>
                  <a:pt x="341" y="296"/>
                </a:lnTo>
                <a:lnTo>
                  <a:pt x="338" y="296"/>
                </a:lnTo>
                <a:lnTo>
                  <a:pt x="336" y="294"/>
                </a:lnTo>
                <a:lnTo>
                  <a:pt x="328" y="294"/>
                </a:lnTo>
                <a:lnTo>
                  <a:pt x="326" y="295"/>
                </a:lnTo>
                <a:lnTo>
                  <a:pt x="326" y="298"/>
                </a:lnTo>
                <a:lnTo>
                  <a:pt x="328" y="298"/>
                </a:lnTo>
                <a:lnTo>
                  <a:pt x="328" y="300"/>
                </a:lnTo>
                <a:lnTo>
                  <a:pt x="326" y="300"/>
                </a:lnTo>
                <a:lnTo>
                  <a:pt x="326" y="299"/>
                </a:lnTo>
                <a:lnTo>
                  <a:pt x="325" y="299"/>
                </a:lnTo>
                <a:lnTo>
                  <a:pt x="325" y="301"/>
                </a:lnTo>
                <a:lnTo>
                  <a:pt x="324" y="301"/>
                </a:lnTo>
                <a:lnTo>
                  <a:pt x="324" y="302"/>
                </a:lnTo>
                <a:lnTo>
                  <a:pt x="323" y="302"/>
                </a:lnTo>
                <a:lnTo>
                  <a:pt x="322" y="303"/>
                </a:lnTo>
                <a:lnTo>
                  <a:pt x="322" y="306"/>
                </a:lnTo>
                <a:lnTo>
                  <a:pt x="319" y="306"/>
                </a:lnTo>
                <a:lnTo>
                  <a:pt x="319" y="307"/>
                </a:lnTo>
                <a:lnTo>
                  <a:pt x="318" y="308"/>
                </a:lnTo>
                <a:lnTo>
                  <a:pt x="317" y="308"/>
                </a:lnTo>
                <a:lnTo>
                  <a:pt x="317" y="309"/>
                </a:lnTo>
                <a:lnTo>
                  <a:pt x="316" y="311"/>
                </a:lnTo>
                <a:lnTo>
                  <a:pt x="316" y="314"/>
                </a:lnTo>
                <a:lnTo>
                  <a:pt x="315" y="314"/>
                </a:lnTo>
                <a:lnTo>
                  <a:pt x="313" y="315"/>
                </a:lnTo>
                <a:lnTo>
                  <a:pt x="315" y="315"/>
                </a:lnTo>
                <a:lnTo>
                  <a:pt x="315" y="319"/>
                </a:lnTo>
                <a:lnTo>
                  <a:pt x="312" y="319"/>
                </a:lnTo>
                <a:lnTo>
                  <a:pt x="312" y="320"/>
                </a:lnTo>
                <a:lnTo>
                  <a:pt x="311" y="321"/>
                </a:lnTo>
                <a:lnTo>
                  <a:pt x="312" y="323"/>
                </a:lnTo>
                <a:lnTo>
                  <a:pt x="311" y="323"/>
                </a:lnTo>
                <a:lnTo>
                  <a:pt x="311" y="325"/>
                </a:lnTo>
                <a:lnTo>
                  <a:pt x="310" y="326"/>
                </a:lnTo>
                <a:lnTo>
                  <a:pt x="310" y="327"/>
                </a:lnTo>
                <a:lnTo>
                  <a:pt x="311" y="327"/>
                </a:lnTo>
                <a:lnTo>
                  <a:pt x="311" y="329"/>
                </a:lnTo>
                <a:lnTo>
                  <a:pt x="310" y="329"/>
                </a:lnTo>
                <a:lnTo>
                  <a:pt x="310" y="330"/>
                </a:lnTo>
                <a:lnTo>
                  <a:pt x="312" y="330"/>
                </a:lnTo>
                <a:lnTo>
                  <a:pt x="312" y="331"/>
                </a:lnTo>
                <a:lnTo>
                  <a:pt x="311" y="332"/>
                </a:lnTo>
                <a:lnTo>
                  <a:pt x="312" y="332"/>
                </a:lnTo>
                <a:lnTo>
                  <a:pt x="312" y="335"/>
                </a:lnTo>
                <a:lnTo>
                  <a:pt x="313" y="335"/>
                </a:lnTo>
                <a:lnTo>
                  <a:pt x="313" y="336"/>
                </a:lnTo>
                <a:lnTo>
                  <a:pt x="312" y="336"/>
                </a:lnTo>
                <a:lnTo>
                  <a:pt x="312" y="338"/>
                </a:lnTo>
                <a:lnTo>
                  <a:pt x="313" y="338"/>
                </a:lnTo>
                <a:lnTo>
                  <a:pt x="313" y="339"/>
                </a:lnTo>
                <a:lnTo>
                  <a:pt x="315" y="341"/>
                </a:lnTo>
                <a:lnTo>
                  <a:pt x="315" y="344"/>
                </a:lnTo>
                <a:lnTo>
                  <a:pt x="312" y="346"/>
                </a:lnTo>
                <a:lnTo>
                  <a:pt x="312" y="348"/>
                </a:lnTo>
                <a:lnTo>
                  <a:pt x="311" y="349"/>
                </a:lnTo>
                <a:lnTo>
                  <a:pt x="311" y="351"/>
                </a:lnTo>
                <a:lnTo>
                  <a:pt x="310" y="350"/>
                </a:lnTo>
                <a:lnTo>
                  <a:pt x="309" y="350"/>
                </a:lnTo>
                <a:lnTo>
                  <a:pt x="309" y="349"/>
                </a:lnTo>
                <a:lnTo>
                  <a:pt x="307" y="349"/>
                </a:lnTo>
                <a:lnTo>
                  <a:pt x="306" y="348"/>
                </a:lnTo>
                <a:lnTo>
                  <a:pt x="304" y="348"/>
                </a:lnTo>
                <a:lnTo>
                  <a:pt x="303" y="346"/>
                </a:lnTo>
                <a:lnTo>
                  <a:pt x="301" y="344"/>
                </a:lnTo>
                <a:lnTo>
                  <a:pt x="301" y="339"/>
                </a:lnTo>
                <a:lnTo>
                  <a:pt x="300" y="339"/>
                </a:lnTo>
                <a:lnTo>
                  <a:pt x="299" y="338"/>
                </a:lnTo>
                <a:lnTo>
                  <a:pt x="298" y="338"/>
                </a:lnTo>
                <a:lnTo>
                  <a:pt x="297" y="336"/>
                </a:lnTo>
                <a:lnTo>
                  <a:pt x="295" y="335"/>
                </a:lnTo>
                <a:lnTo>
                  <a:pt x="287" y="335"/>
                </a:lnTo>
                <a:lnTo>
                  <a:pt x="285" y="336"/>
                </a:lnTo>
                <a:lnTo>
                  <a:pt x="282" y="336"/>
                </a:lnTo>
                <a:lnTo>
                  <a:pt x="281" y="337"/>
                </a:lnTo>
                <a:lnTo>
                  <a:pt x="281" y="338"/>
                </a:lnTo>
                <a:lnTo>
                  <a:pt x="280" y="338"/>
                </a:lnTo>
                <a:lnTo>
                  <a:pt x="276" y="337"/>
                </a:lnTo>
                <a:lnTo>
                  <a:pt x="275" y="336"/>
                </a:lnTo>
                <a:lnTo>
                  <a:pt x="275" y="335"/>
                </a:lnTo>
                <a:lnTo>
                  <a:pt x="274" y="333"/>
                </a:lnTo>
                <a:lnTo>
                  <a:pt x="273" y="333"/>
                </a:lnTo>
                <a:lnTo>
                  <a:pt x="272" y="335"/>
                </a:lnTo>
                <a:lnTo>
                  <a:pt x="270" y="335"/>
                </a:lnTo>
                <a:lnTo>
                  <a:pt x="270" y="336"/>
                </a:lnTo>
                <a:lnTo>
                  <a:pt x="269" y="337"/>
                </a:lnTo>
                <a:lnTo>
                  <a:pt x="267" y="337"/>
                </a:lnTo>
                <a:lnTo>
                  <a:pt x="267" y="338"/>
                </a:lnTo>
                <a:lnTo>
                  <a:pt x="266" y="339"/>
                </a:lnTo>
                <a:lnTo>
                  <a:pt x="266" y="341"/>
                </a:lnTo>
                <a:lnTo>
                  <a:pt x="261" y="341"/>
                </a:lnTo>
                <a:lnTo>
                  <a:pt x="261" y="342"/>
                </a:lnTo>
                <a:lnTo>
                  <a:pt x="259" y="342"/>
                </a:lnTo>
                <a:lnTo>
                  <a:pt x="257" y="341"/>
                </a:lnTo>
                <a:lnTo>
                  <a:pt x="257" y="339"/>
                </a:lnTo>
                <a:lnTo>
                  <a:pt x="256" y="338"/>
                </a:lnTo>
                <a:lnTo>
                  <a:pt x="256" y="337"/>
                </a:lnTo>
                <a:lnTo>
                  <a:pt x="255" y="336"/>
                </a:lnTo>
                <a:lnTo>
                  <a:pt x="255" y="331"/>
                </a:lnTo>
                <a:lnTo>
                  <a:pt x="253" y="329"/>
                </a:lnTo>
                <a:lnTo>
                  <a:pt x="253" y="326"/>
                </a:lnTo>
                <a:lnTo>
                  <a:pt x="251" y="325"/>
                </a:lnTo>
                <a:lnTo>
                  <a:pt x="250" y="325"/>
                </a:lnTo>
                <a:lnTo>
                  <a:pt x="249" y="324"/>
                </a:lnTo>
                <a:lnTo>
                  <a:pt x="248" y="324"/>
                </a:lnTo>
                <a:lnTo>
                  <a:pt x="248" y="325"/>
                </a:lnTo>
                <a:lnTo>
                  <a:pt x="247" y="325"/>
                </a:lnTo>
                <a:lnTo>
                  <a:pt x="245" y="327"/>
                </a:lnTo>
                <a:lnTo>
                  <a:pt x="244" y="329"/>
                </a:lnTo>
                <a:lnTo>
                  <a:pt x="241" y="329"/>
                </a:lnTo>
                <a:lnTo>
                  <a:pt x="239" y="330"/>
                </a:lnTo>
                <a:lnTo>
                  <a:pt x="238" y="330"/>
                </a:lnTo>
                <a:lnTo>
                  <a:pt x="236" y="332"/>
                </a:lnTo>
                <a:lnTo>
                  <a:pt x="235" y="335"/>
                </a:lnTo>
                <a:lnTo>
                  <a:pt x="235" y="339"/>
                </a:lnTo>
                <a:lnTo>
                  <a:pt x="234" y="339"/>
                </a:lnTo>
                <a:lnTo>
                  <a:pt x="234" y="337"/>
                </a:lnTo>
                <a:lnTo>
                  <a:pt x="232" y="337"/>
                </a:lnTo>
                <a:lnTo>
                  <a:pt x="231" y="338"/>
                </a:lnTo>
                <a:lnTo>
                  <a:pt x="231" y="337"/>
                </a:lnTo>
                <a:lnTo>
                  <a:pt x="230" y="337"/>
                </a:lnTo>
                <a:lnTo>
                  <a:pt x="230" y="336"/>
                </a:lnTo>
                <a:lnTo>
                  <a:pt x="229" y="332"/>
                </a:lnTo>
                <a:lnTo>
                  <a:pt x="229" y="330"/>
                </a:lnTo>
                <a:lnTo>
                  <a:pt x="228" y="329"/>
                </a:lnTo>
                <a:lnTo>
                  <a:pt x="222" y="329"/>
                </a:lnTo>
                <a:lnTo>
                  <a:pt x="219" y="330"/>
                </a:lnTo>
                <a:lnTo>
                  <a:pt x="218" y="331"/>
                </a:lnTo>
                <a:lnTo>
                  <a:pt x="217" y="331"/>
                </a:lnTo>
                <a:lnTo>
                  <a:pt x="217" y="329"/>
                </a:lnTo>
                <a:lnTo>
                  <a:pt x="216" y="327"/>
                </a:lnTo>
                <a:lnTo>
                  <a:pt x="214" y="327"/>
                </a:lnTo>
                <a:lnTo>
                  <a:pt x="214" y="326"/>
                </a:lnTo>
                <a:lnTo>
                  <a:pt x="213" y="325"/>
                </a:lnTo>
                <a:lnTo>
                  <a:pt x="213" y="323"/>
                </a:lnTo>
                <a:lnTo>
                  <a:pt x="212" y="323"/>
                </a:lnTo>
                <a:lnTo>
                  <a:pt x="210" y="325"/>
                </a:lnTo>
                <a:lnTo>
                  <a:pt x="208" y="329"/>
                </a:lnTo>
                <a:lnTo>
                  <a:pt x="207" y="329"/>
                </a:lnTo>
                <a:lnTo>
                  <a:pt x="206" y="330"/>
                </a:lnTo>
                <a:lnTo>
                  <a:pt x="203" y="330"/>
                </a:lnTo>
                <a:lnTo>
                  <a:pt x="201" y="329"/>
                </a:lnTo>
                <a:lnTo>
                  <a:pt x="200" y="329"/>
                </a:lnTo>
                <a:lnTo>
                  <a:pt x="197" y="325"/>
                </a:lnTo>
                <a:lnTo>
                  <a:pt x="195" y="326"/>
                </a:lnTo>
                <a:lnTo>
                  <a:pt x="195" y="327"/>
                </a:lnTo>
                <a:lnTo>
                  <a:pt x="194" y="329"/>
                </a:lnTo>
                <a:lnTo>
                  <a:pt x="194" y="332"/>
                </a:lnTo>
                <a:lnTo>
                  <a:pt x="192" y="335"/>
                </a:lnTo>
                <a:lnTo>
                  <a:pt x="192" y="336"/>
                </a:lnTo>
                <a:lnTo>
                  <a:pt x="191" y="336"/>
                </a:lnTo>
                <a:lnTo>
                  <a:pt x="189" y="335"/>
                </a:lnTo>
                <a:lnTo>
                  <a:pt x="189" y="333"/>
                </a:lnTo>
                <a:lnTo>
                  <a:pt x="191" y="330"/>
                </a:lnTo>
                <a:lnTo>
                  <a:pt x="191" y="327"/>
                </a:lnTo>
                <a:lnTo>
                  <a:pt x="189" y="326"/>
                </a:lnTo>
                <a:lnTo>
                  <a:pt x="187" y="326"/>
                </a:lnTo>
                <a:lnTo>
                  <a:pt x="182" y="325"/>
                </a:lnTo>
                <a:lnTo>
                  <a:pt x="180" y="325"/>
                </a:lnTo>
                <a:lnTo>
                  <a:pt x="179" y="326"/>
                </a:lnTo>
                <a:lnTo>
                  <a:pt x="179" y="327"/>
                </a:lnTo>
                <a:lnTo>
                  <a:pt x="177" y="327"/>
                </a:lnTo>
                <a:lnTo>
                  <a:pt x="175" y="326"/>
                </a:lnTo>
                <a:lnTo>
                  <a:pt x="173" y="327"/>
                </a:lnTo>
                <a:lnTo>
                  <a:pt x="172" y="326"/>
                </a:lnTo>
                <a:lnTo>
                  <a:pt x="172" y="325"/>
                </a:lnTo>
                <a:lnTo>
                  <a:pt x="173" y="324"/>
                </a:lnTo>
                <a:lnTo>
                  <a:pt x="173" y="323"/>
                </a:lnTo>
                <a:lnTo>
                  <a:pt x="169" y="323"/>
                </a:lnTo>
                <a:lnTo>
                  <a:pt x="169" y="317"/>
                </a:lnTo>
                <a:lnTo>
                  <a:pt x="168" y="315"/>
                </a:lnTo>
                <a:lnTo>
                  <a:pt x="162" y="315"/>
                </a:lnTo>
                <a:lnTo>
                  <a:pt x="157" y="317"/>
                </a:lnTo>
                <a:lnTo>
                  <a:pt x="155" y="317"/>
                </a:lnTo>
                <a:lnTo>
                  <a:pt x="146" y="313"/>
                </a:lnTo>
                <a:lnTo>
                  <a:pt x="138" y="312"/>
                </a:lnTo>
                <a:lnTo>
                  <a:pt x="137" y="312"/>
                </a:lnTo>
                <a:lnTo>
                  <a:pt x="137" y="309"/>
                </a:lnTo>
                <a:lnTo>
                  <a:pt x="126" y="309"/>
                </a:lnTo>
                <a:lnTo>
                  <a:pt x="123" y="306"/>
                </a:lnTo>
                <a:lnTo>
                  <a:pt x="118" y="306"/>
                </a:lnTo>
                <a:lnTo>
                  <a:pt x="110" y="303"/>
                </a:lnTo>
                <a:lnTo>
                  <a:pt x="106" y="305"/>
                </a:lnTo>
                <a:lnTo>
                  <a:pt x="92" y="305"/>
                </a:lnTo>
                <a:lnTo>
                  <a:pt x="85" y="302"/>
                </a:lnTo>
                <a:lnTo>
                  <a:pt x="82" y="302"/>
                </a:lnTo>
                <a:lnTo>
                  <a:pt x="81" y="303"/>
                </a:lnTo>
                <a:lnTo>
                  <a:pt x="77" y="305"/>
                </a:lnTo>
                <a:lnTo>
                  <a:pt x="65" y="307"/>
                </a:lnTo>
                <a:lnTo>
                  <a:pt x="50" y="307"/>
                </a:lnTo>
                <a:lnTo>
                  <a:pt x="49" y="308"/>
                </a:lnTo>
                <a:lnTo>
                  <a:pt x="48" y="311"/>
                </a:lnTo>
                <a:lnTo>
                  <a:pt x="48" y="312"/>
                </a:lnTo>
                <a:lnTo>
                  <a:pt x="46" y="317"/>
                </a:lnTo>
                <a:lnTo>
                  <a:pt x="45" y="318"/>
                </a:lnTo>
                <a:lnTo>
                  <a:pt x="40" y="321"/>
                </a:lnTo>
                <a:lnTo>
                  <a:pt x="33" y="327"/>
                </a:lnTo>
                <a:lnTo>
                  <a:pt x="32" y="327"/>
                </a:lnTo>
                <a:lnTo>
                  <a:pt x="29" y="324"/>
                </a:lnTo>
                <a:lnTo>
                  <a:pt x="23" y="324"/>
                </a:lnTo>
                <a:lnTo>
                  <a:pt x="19" y="325"/>
                </a:lnTo>
                <a:lnTo>
                  <a:pt x="18" y="325"/>
                </a:lnTo>
                <a:lnTo>
                  <a:pt x="18" y="327"/>
                </a:lnTo>
                <a:lnTo>
                  <a:pt x="19" y="331"/>
                </a:lnTo>
                <a:lnTo>
                  <a:pt x="19" y="332"/>
                </a:lnTo>
                <a:lnTo>
                  <a:pt x="18" y="332"/>
                </a:lnTo>
                <a:lnTo>
                  <a:pt x="18" y="331"/>
                </a:lnTo>
                <a:lnTo>
                  <a:pt x="17" y="331"/>
                </a:lnTo>
                <a:lnTo>
                  <a:pt x="15" y="330"/>
                </a:lnTo>
                <a:lnTo>
                  <a:pt x="17" y="330"/>
                </a:lnTo>
                <a:lnTo>
                  <a:pt x="15" y="327"/>
                </a:lnTo>
                <a:lnTo>
                  <a:pt x="15" y="324"/>
                </a:lnTo>
                <a:lnTo>
                  <a:pt x="14" y="323"/>
                </a:lnTo>
                <a:lnTo>
                  <a:pt x="15" y="323"/>
                </a:lnTo>
                <a:lnTo>
                  <a:pt x="15" y="315"/>
                </a:lnTo>
                <a:lnTo>
                  <a:pt x="17" y="315"/>
                </a:lnTo>
                <a:lnTo>
                  <a:pt x="18" y="314"/>
                </a:lnTo>
                <a:lnTo>
                  <a:pt x="19" y="314"/>
                </a:lnTo>
                <a:lnTo>
                  <a:pt x="19" y="312"/>
                </a:lnTo>
                <a:lnTo>
                  <a:pt x="18" y="311"/>
                </a:lnTo>
                <a:lnTo>
                  <a:pt x="18" y="308"/>
                </a:lnTo>
                <a:lnTo>
                  <a:pt x="19" y="307"/>
                </a:lnTo>
                <a:lnTo>
                  <a:pt x="18" y="307"/>
                </a:lnTo>
                <a:lnTo>
                  <a:pt x="19" y="306"/>
                </a:lnTo>
                <a:lnTo>
                  <a:pt x="19" y="302"/>
                </a:lnTo>
                <a:lnTo>
                  <a:pt x="20" y="301"/>
                </a:lnTo>
                <a:lnTo>
                  <a:pt x="20" y="300"/>
                </a:lnTo>
                <a:lnTo>
                  <a:pt x="21" y="300"/>
                </a:lnTo>
                <a:lnTo>
                  <a:pt x="20" y="299"/>
                </a:lnTo>
                <a:lnTo>
                  <a:pt x="20" y="296"/>
                </a:lnTo>
                <a:lnTo>
                  <a:pt x="19" y="295"/>
                </a:lnTo>
                <a:lnTo>
                  <a:pt x="19" y="293"/>
                </a:lnTo>
                <a:lnTo>
                  <a:pt x="18" y="293"/>
                </a:lnTo>
                <a:lnTo>
                  <a:pt x="18" y="292"/>
                </a:lnTo>
                <a:lnTo>
                  <a:pt x="17" y="290"/>
                </a:lnTo>
                <a:lnTo>
                  <a:pt x="14" y="290"/>
                </a:lnTo>
                <a:lnTo>
                  <a:pt x="13" y="288"/>
                </a:lnTo>
                <a:lnTo>
                  <a:pt x="13" y="287"/>
                </a:lnTo>
                <a:lnTo>
                  <a:pt x="8" y="287"/>
                </a:lnTo>
                <a:lnTo>
                  <a:pt x="9" y="286"/>
                </a:lnTo>
                <a:lnTo>
                  <a:pt x="8" y="286"/>
                </a:lnTo>
                <a:lnTo>
                  <a:pt x="6" y="284"/>
                </a:lnTo>
                <a:lnTo>
                  <a:pt x="5" y="283"/>
                </a:lnTo>
                <a:lnTo>
                  <a:pt x="5" y="284"/>
                </a:lnTo>
                <a:lnTo>
                  <a:pt x="1" y="283"/>
                </a:lnTo>
                <a:lnTo>
                  <a:pt x="0" y="283"/>
                </a:lnTo>
                <a:lnTo>
                  <a:pt x="1" y="281"/>
                </a:lnTo>
                <a:lnTo>
                  <a:pt x="0" y="280"/>
                </a:lnTo>
                <a:lnTo>
                  <a:pt x="1" y="275"/>
                </a:lnTo>
                <a:lnTo>
                  <a:pt x="3" y="272"/>
                </a:lnTo>
                <a:lnTo>
                  <a:pt x="9" y="264"/>
                </a:lnTo>
                <a:lnTo>
                  <a:pt x="13" y="260"/>
                </a:lnTo>
                <a:lnTo>
                  <a:pt x="24" y="257"/>
                </a:lnTo>
                <a:lnTo>
                  <a:pt x="29" y="253"/>
                </a:lnTo>
                <a:lnTo>
                  <a:pt x="31" y="251"/>
                </a:lnTo>
                <a:lnTo>
                  <a:pt x="31" y="229"/>
                </a:lnTo>
                <a:lnTo>
                  <a:pt x="30" y="228"/>
                </a:lnTo>
                <a:lnTo>
                  <a:pt x="29" y="226"/>
                </a:lnTo>
                <a:lnTo>
                  <a:pt x="29" y="222"/>
                </a:lnTo>
                <a:lnTo>
                  <a:pt x="30" y="222"/>
                </a:lnTo>
                <a:lnTo>
                  <a:pt x="30" y="219"/>
                </a:lnTo>
                <a:lnTo>
                  <a:pt x="27" y="216"/>
                </a:lnTo>
                <a:lnTo>
                  <a:pt x="27" y="214"/>
                </a:lnTo>
                <a:lnTo>
                  <a:pt x="26" y="213"/>
                </a:lnTo>
                <a:lnTo>
                  <a:pt x="25" y="210"/>
                </a:lnTo>
                <a:lnTo>
                  <a:pt x="24" y="204"/>
                </a:lnTo>
                <a:lnTo>
                  <a:pt x="23" y="202"/>
                </a:lnTo>
                <a:lnTo>
                  <a:pt x="21" y="197"/>
                </a:lnTo>
                <a:lnTo>
                  <a:pt x="18" y="186"/>
                </a:lnTo>
                <a:lnTo>
                  <a:pt x="17" y="182"/>
                </a:lnTo>
                <a:lnTo>
                  <a:pt x="17" y="177"/>
                </a:lnTo>
                <a:lnTo>
                  <a:pt x="14" y="174"/>
                </a:lnTo>
                <a:lnTo>
                  <a:pt x="14" y="169"/>
                </a:lnTo>
                <a:lnTo>
                  <a:pt x="13" y="167"/>
                </a:lnTo>
                <a:lnTo>
                  <a:pt x="13" y="164"/>
                </a:lnTo>
                <a:lnTo>
                  <a:pt x="14" y="164"/>
                </a:lnTo>
                <a:lnTo>
                  <a:pt x="18" y="166"/>
                </a:lnTo>
                <a:lnTo>
                  <a:pt x="19" y="166"/>
                </a:lnTo>
                <a:lnTo>
                  <a:pt x="21" y="165"/>
                </a:lnTo>
                <a:lnTo>
                  <a:pt x="24" y="165"/>
                </a:lnTo>
                <a:lnTo>
                  <a:pt x="25" y="164"/>
                </a:lnTo>
                <a:lnTo>
                  <a:pt x="26" y="164"/>
                </a:lnTo>
                <a:lnTo>
                  <a:pt x="26" y="165"/>
                </a:lnTo>
                <a:lnTo>
                  <a:pt x="27" y="165"/>
                </a:lnTo>
                <a:lnTo>
                  <a:pt x="31" y="163"/>
                </a:lnTo>
                <a:lnTo>
                  <a:pt x="32" y="163"/>
                </a:lnTo>
                <a:lnTo>
                  <a:pt x="33" y="164"/>
                </a:lnTo>
                <a:lnTo>
                  <a:pt x="38" y="164"/>
                </a:lnTo>
                <a:lnTo>
                  <a:pt x="40" y="163"/>
                </a:lnTo>
                <a:lnTo>
                  <a:pt x="42" y="161"/>
                </a:lnTo>
                <a:lnTo>
                  <a:pt x="44" y="164"/>
                </a:lnTo>
                <a:lnTo>
                  <a:pt x="45" y="166"/>
                </a:lnTo>
                <a:lnTo>
                  <a:pt x="48" y="166"/>
                </a:lnTo>
                <a:lnTo>
                  <a:pt x="49" y="167"/>
                </a:lnTo>
                <a:lnTo>
                  <a:pt x="50" y="167"/>
                </a:lnTo>
                <a:lnTo>
                  <a:pt x="52" y="166"/>
                </a:lnTo>
                <a:lnTo>
                  <a:pt x="57" y="161"/>
                </a:lnTo>
                <a:lnTo>
                  <a:pt x="59" y="160"/>
                </a:lnTo>
                <a:lnTo>
                  <a:pt x="62" y="160"/>
                </a:lnTo>
                <a:lnTo>
                  <a:pt x="63" y="159"/>
                </a:lnTo>
                <a:lnTo>
                  <a:pt x="64" y="161"/>
                </a:lnTo>
                <a:lnTo>
                  <a:pt x="68" y="161"/>
                </a:lnTo>
                <a:lnTo>
                  <a:pt x="69" y="160"/>
                </a:lnTo>
                <a:lnTo>
                  <a:pt x="69" y="157"/>
                </a:lnTo>
                <a:lnTo>
                  <a:pt x="68" y="155"/>
                </a:lnTo>
                <a:lnTo>
                  <a:pt x="68" y="152"/>
                </a:lnTo>
                <a:lnTo>
                  <a:pt x="69" y="151"/>
                </a:lnTo>
                <a:lnTo>
                  <a:pt x="69" y="149"/>
                </a:lnTo>
                <a:lnTo>
                  <a:pt x="70" y="148"/>
                </a:lnTo>
                <a:lnTo>
                  <a:pt x="75" y="148"/>
                </a:lnTo>
                <a:lnTo>
                  <a:pt x="77" y="149"/>
                </a:lnTo>
                <a:lnTo>
                  <a:pt x="80" y="149"/>
                </a:lnTo>
                <a:lnTo>
                  <a:pt x="82" y="148"/>
                </a:lnTo>
                <a:lnTo>
                  <a:pt x="83" y="146"/>
                </a:lnTo>
                <a:lnTo>
                  <a:pt x="85" y="145"/>
                </a:lnTo>
                <a:lnTo>
                  <a:pt x="85" y="141"/>
                </a:lnTo>
                <a:lnTo>
                  <a:pt x="86" y="140"/>
                </a:lnTo>
                <a:lnTo>
                  <a:pt x="89" y="141"/>
                </a:lnTo>
                <a:lnTo>
                  <a:pt x="93" y="141"/>
                </a:lnTo>
                <a:lnTo>
                  <a:pt x="93" y="140"/>
                </a:lnTo>
                <a:lnTo>
                  <a:pt x="95" y="137"/>
                </a:lnTo>
                <a:lnTo>
                  <a:pt x="96" y="137"/>
                </a:lnTo>
                <a:lnTo>
                  <a:pt x="98" y="139"/>
                </a:lnTo>
                <a:lnTo>
                  <a:pt x="100" y="142"/>
                </a:lnTo>
                <a:lnTo>
                  <a:pt x="99" y="142"/>
                </a:lnTo>
                <a:lnTo>
                  <a:pt x="98" y="143"/>
                </a:lnTo>
                <a:lnTo>
                  <a:pt x="99" y="145"/>
                </a:lnTo>
                <a:lnTo>
                  <a:pt x="99" y="146"/>
                </a:lnTo>
                <a:lnTo>
                  <a:pt x="98" y="146"/>
                </a:lnTo>
                <a:lnTo>
                  <a:pt x="98" y="147"/>
                </a:lnTo>
                <a:lnTo>
                  <a:pt x="100" y="149"/>
                </a:lnTo>
                <a:lnTo>
                  <a:pt x="105" y="149"/>
                </a:lnTo>
                <a:lnTo>
                  <a:pt x="106" y="148"/>
                </a:lnTo>
                <a:lnTo>
                  <a:pt x="108" y="148"/>
                </a:lnTo>
                <a:lnTo>
                  <a:pt x="110" y="147"/>
                </a:lnTo>
                <a:lnTo>
                  <a:pt x="110" y="140"/>
                </a:lnTo>
                <a:lnTo>
                  <a:pt x="108" y="140"/>
                </a:lnTo>
                <a:lnTo>
                  <a:pt x="108" y="139"/>
                </a:lnTo>
                <a:lnTo>
                  <a:pt x="107" y="139"/>
                </a:lnTo>
                <a:lnTo>
                  <a:pt x="106" y="137"/>
                </a:lnTo>
                <a:lnTo>
                  <a:pt x="106" y="135"/>
                </a:lnTo>
                <a:lnTo>
                  <a:pt x="105" y="135"/>
                </a:lnTo>
                <a:lnTo>
                  <a:pt x="102" y="137"/>
                </a:lnTo>
                <a:lnTo>
                  <a:pt x="100" y="137"/>
                </a:lnTo>
                <a:lnTo>
                  <a:pt x="100" y="136"/>
                </a:lnTo>
                <a:lnTo>
                  <a:pt x="99" y="136"/>
                </a:lnTo>
                <a:lnTo>
                  <a:pt x="99" y="134"/>
                </a:lnTo>
                <a:lnTo>
                  <a:pt x="100" y="133"/>
                </a:lnTo>
                <a:lnTo>
                  <a:pt x="102" y="128"/>
                </a:lnTo>
                <a:lnTo>
                  <a:pt x="102" y="123"/>
                </a:lnTo>
                <a:lnTo>
                  <a:pt x="104" y="122"/>
                </a:lnTo>
                <a:lnTo>
                  <a:pt x="104" y="121"/>
                </a:lnTo>
                <a:lnTo>
                  <a:pt x="106" y="120"/>
                </a:lnTo>
                <a:lnTo>
                  <a:pt x="107" y="120"/>
                </a:lnTo>
                <a:lnTo>
                  <a:pt x="108" y="118"/>
                </a:lnTo>
                <a:lnTo>
                  <a:pt x="108" y="115"/>
                </a:lnTo>
                <a:lnTo>
                  <a:pt x="107" y="112"/>
                </a:lnTo>
                <a:lnTo>
                  <a:pt x="107" y="102"/>
                </a:lnTo>
                <a:lnTo>
                  <a:pt x="108" y="100"/>
                </a:lnTo>
                <a:lnTo>
                  <a:pt x="110" y="100"/>
                </a:lnTo>
                <a:lnTo>
                  <a:pt x="110" y="96"/>
                </a:lnTo>
                <a:lnTo>
                  <a:pt x="111" y="94"/>
                </a:lnTo>
                <a:lnTo>
                  <a:pt x="112" y="94"/>
                </a:lnTo>
                <a:lnTo>
                  <a:pt x="112" y="93"/>
                </a:lnTo>
                <a:lnTo>
                  <a:pt x="113" y="92"/>
                </a:lnTo>
                <a:lnTo>
                  <a:pt x="113" y="91"/>
                </a:lnTo>
                <a:lnTo>
                  <a:pt x="116" y="90"/>
                </a:lnTo>
                <a:lnTo>
                  <a:pt x="118" y="91"/>
                </a:lnTo>
                <a:lnTo>
                  <a:pt x="123" y="90"/>
                </a:lnTo>
                <a:lnTo>
                  <a:pt x="125" y="89"/>
                </a:lnTo>
                <a:lnTo>
                  <a:pt x="125" y="87"/>
                </a:lnTo>
                <a:lnTo>
                  <a:pt x="126" y="87"/>
                </a:lnTo>
                <a:lnTo>
                  <a:pt x="126" y="86"/>
                </a:lnTo>
                <a:lnTo>
                  <a:pt x="129" y="83"/>
                </a:lnTo>
                <a:lnTo>
                  <a:pt x="129" y="78"/>
                </a:lnTo>
                <a:lnTo>
                  <a:pt x="130" y="75"/>
                </a:lnTo>
                <a:lnTo>
                  <a:pt x="132" y="75"/>
                </a:lnTo>
                <a:lnTo>
                  <a:pt x="137" y="77"/>
                </a:lnTo>
                <a:lnTo>
                  <a:pt x="138" y="77"/>
                </a:lnTo>
                <a:lnTo>
                  <a:pt x="138" y="75"/>
                </a:lnTo>
                <a:lnTo>
                  <a:pt x="139" y="75"/>
                </a:lnTo>
                <a:lnTo>
                  <a:pt x="143" y="78"/>
                </a:lnTo>
                <a:lnTo>
                  <a:pt x="144" y="78"/>
                </a:lnTo>
                <a:lnTo>
                  <a:pt x="145" y="77"/>
                </a:lnTo>
                <a:lnTo>
                  <a:pt x="145" y="72"/>
                </a:lnTo>
                <a:lnTo>
                  <a:pt x="146" y="72"/>
                </a:lnTo>
                <a:lnTo>
                  <a:pt x="146" y="71"/>
                </a:lnTo>
                <a:lnTo>
                  <a:pt x="148" y="69"/>
                </a:lnTo>
                <a:lnTo>
                  <a:pt x="149" y="69"/>
                </a:lnTo>
                <a:lnTo>
                  <a:pt x="150" y="68"/>
                </a:lnTo>
                <a:lnTo>
                  <a:pt x="151" y="68"/>
                </a:lnTo>
                <a:lnTo>
                  <a:pt x="152" y="67"/>
                </a:lnTo>
                <a:lnTo>
                  <a:pt x="152" y="65"/>
                </a:lnTo>
                <a:lnTo>
                  <a:pt x="151" y="65"/>
                </a:lnTo>
                <a:lnTo>
                  <a:pt x="144" y="63"/>
                </a:lnTo>
                <a:lnTo>
                  <a:pt x="141" y="63"/>
                </a:lnTo>
                <a:lnTo>
                  <a:pt x="138" y="62"/>
                </a:lnTo>
                <a:lnTo>
                  <a:pt x="138" y="60"/>
                </a:lnTo>
                <a:lnTo>
                  <a:pt x="139" y="59"/>
                </a:lnTo>
                <a:lnTo>
                  <a:pt x="139" y="57"/>
                </a:lnTo>
                <a:lnTo>
                  <a:pt x="141" y="54"/>
                </a:lnTo>
                <a:lnTo>
                  <a:pt x="142" y="53"/>
                </a:lnTo>
                <a:lnTo>
                  <a:pt x="142" y="47"/>
                </a:lnTo>
                <a:lnTo>
                  <a:pt x="144" y="44"/>
                </a:lnTo>
                <a:lnTo>
                  <a:pt x="144" y="37"/>
                </a:lnTo>
                <a:lnTo>
                  <a:pt x="145" y="35"/>
                </a:lnTo>
                <a:lnTo>
                  <a:pt x="146" y="35"/>
                </a:lnTo>
                <a:lnTo>
                  <a:pt x="149" y="36"/>
                </a:lnTo>
                <a:lnTo>
                  <a:pt x="150" y="36"/>
                </a:lnTo>
                <a:lnTo>
                  <a:pt x="154" y="34"/>
                </a:lnTo>
                <a:lnTo>
                  <a:pt x="155" y="32"/>
                </a:lnTo>
                <a:lnTo>
                  <a:pt x="160" y="25"/>
                </a:lnTo>
                <a:lnTo>
                  <a:pt x="161" y="25"/>
                </a:lnTo>
                <a:lnTo>
                  <a:pt x="166" y="24"/>
                </a:lnTo>
                <a:lnTo>
                  <a:pt x="168" y="24"/>
                </a:lnTo>
                <a:lnTo>
                  <a:pt x="168" y="25"/>
                </a:lnTo>
                <a:lnTo>
                  <a:pt x="172" y="28"/>
                </a:lnTo>
                <a:lnTo>
                  <a:pt x="173" y="28"/>
                </a:lnTo>
                <a:lnTo>
                  <a:pt x="176" y="24"/>
                </a:lnTo>
                <a:lnTo>
                  <a:pt x="179" y="26"/>
                </a:lnTo>
                <a:lnTo>
                  <a:pt x="180" y="26"/>
                </a:lnTo>
                <a:lnTo>
                  <a:pt x="185" y="28"/>
                </a:lnTo>
                <a:lnTo>
                  <a:pt x="186" y="28"/>
                </a:lnTo>
                <a:lnTo>
                  <a:pt x="187" y="26"/>
                </a:lnTo>
                <a:lnTo>
                  <a:pt x="187" y="20"/>
                </a:lnTo>
                <a:lnTo>
                  <a:pt x="188" y="18"/>
                </a:lnTo>
                <a:lnTo>
                  <a:pt x="193" y="14"/>
                </a:lnTo>
                <a:lnTo>
                  <a:pt x="194" y="12"/>
                </a:lnTo>
                <a:lnTo>
                  <a:pt x="194" y="11"/>
                </a:lnTo>
                <a:lnTo>
                  <a:pt x="199" y="6"/>
                </a:lnTo>
                <a:lnTo>
                  <a:pt x="199" y="5"/>
                </a:lnTo>
                <a:lnTo>
                  <a:pt x="200" y="4"/>
                </a:lnTo>
                <a:lnTo>
                  <a:pt x="201" y="4"/>
                </a:lnTo>
                <a:lnTo>
                  <a:pt x="203" y="3"/>
                </a:lnTo>
                <a:lnTo>
                  <a:pt x="204" y="3"/>
                </a:lnTo>
                <a:lnTo>
                  <a:pt x="206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4" name="Freeform 55">
            <a:extLst>
              <a:ext uri="{FF2B5EF4-FFF2-40B4-BE49-F238E27FC236}">
                <a16:creationId xmlns:a16="http://schemas.microsoft.com/office/drawing/2014/main" id="{41F4F962-D26E-49D7-97B5-FCF5B2F6F4C5}"/>
              </a:ext>
            </a:extLst>
          </p:cNvPr>
          <p:cNvSpPr>
            <a:spLocks noEditPoints="1"/>
          </p:cNvSpPr>
          <p:nvPr/>
        </p:nvSpPr>
        <p:spPr bwMode="auto">
          <a:xfrm>
            <a:off x="3967294" y="5430481"/>
            <a:ext cx="359337" cy="279646"/>
          </a:xfrm>
          <a:custGeom>
            <a:avLst/>
            <a:gdLst/>
            <a:ahLst/>
            <a:cxnLst>
              <a:cxn ang="0">
                <a:pos x="17" y="124"/>
              </a:cxn>
              <a:cxn ang="0">
                <a:pos x="28" y="134"/>
              </a:cxn>
              <a:cxn ang="0">
                <a:pos x="43" y="138"/>
              </a:cxn>
              <a:cxn ang="0">
                <a:pos x="52" y="145"/>
              </a:cxn>
              <a:cxn ang="0">
                <a:pos x="55" y="167"/>
              </a:cxn>
              <a:cxn ang="0">
                <a:pos x="27" y="154"/>
              </a:cxn>
              <a:cxn ang="0">
                <a:pos x="16" y="144"/>
              </a:cxn>
              <a:cxn ang="0">
                <a:pos x="9" y="136"/>
              </a:cxn>
              <a:cxn ang="0">
                <a:pos x="2" y="123"/>
              </a:cxn>
              <a:cxn ang="0">
                <a:pos x="248" y="88"/>
              </a:cxn>
              <a:cxn ang="0">
                <a:pos x="238" y="81"/>
              </a:cxn>
              <a:cxn ang="0">
                <a:pos x="34" y="71"/>
              </a:cxn>
              <a:cxn ang="0">
                <a:pos x="11" y="46"/>
              </a:cxn>
              <a:cxn ang="0">
                <a:pos x="76" y="1"/>
              </a:cxn>
              <a:cxn ang="0">
                <a:pos x="87" y="9"/>
              </a:cxn>
              <a:cxn ang="0">
                <a:pos x="98" y="18"/>
              </a:cxn>
              <a:cxn ang="0">
                <a:pos x="107" y="33"/>
              </a:cxn>
              <a:cxn ang="0">
                <a:pos x="126" y="39"/>
              </a:cxn>
              <a:cxn ang="0">
                <a:pos x="136" y="31"/>
              </a:cxn>
              <a:cxn ang="0">
                <a:pos x="154" y="16"/>
              </a:cxn>
              <a:cxn ang="0">
                <a:pos x="171" y="14"/>
              </a:cxn>
              <a:cxn ang="0">
                <a:pos x="185" y="34"/>
              </a:cxn>
              <a:cxn ang="0">
                <a:pos x="196" y="58"/>
              </a:cxn>
              <a:cxn ang="0">
                <a:pos x="202" y="69"/>
              </a:cxn>
              <a:cxn ang="0">
                <a:pos x="226" y="75"/>
              </a:cxn>
              <a:cxn ang="0">
                <a:pos x="235" y="82"/>
              </a:cxn>
              <a:cxn ang="0">
                <a:pos x="232" y="87"/>
              </a:cxn>
              <a:cxn ang="0">
                <a:pos x="215" y="88"/>
              </a:cxn>
              <a:cxn ang="0">
                <a:pos x="200" y="98"/>
              </a:cxn>
              <a:cxn ang="0">
                <a:pos x="197" y="107"/>
              </a:cxn>
              <a:cxn ang="0">
                <a:pos x="197" y="122"/>
              </a:cxn>
              <a:cxn ang="0">
                <a:pos x="196" y="142"/>
              </a:cxn>
              <a:cxn ang="0">
                <a:pos x="183" y="162"/>
              </a:cxn>
              <a:cxn ang="0">
                <a:pos x="178" y="151"/>
              </a:cxn>
              <a:cxn ang="0">
                <a:pos x="173" y="181"/>
              </a:cxn>
              <a:cxn ang="0">
                <a:pos x="160" y="188"/>
              </a:cxn>
              <a:cxn ang="0">
                <a:pos x="147" y="175"/>
              </a:cxn>
              <a:cxn ang="0">
                <a:pos x="147" y="161"/>
              </a:cxn>
              <a:cxn ang="0">
                <a:pos x="147" y="142"/>
              </a:cxn>
              <a:cxn ang="0">
                <a:pos x="134" y="123"/>
              </a:cxn>
              <a:cxn ang="0">
                <a:pos x="110" y="135"/>
              </a:cxn>
              <a:cxn ang="0">
                <a:pos x="97" y="149"/>
              </a:cxn>
              <a:cxn ang="0">
                <a:pos x="86" y="154"/>
              </a:cxn>
              <a:cxn ang="0">
                <a:pos x="78" y="163"/>
              </a:cxn>
              <a:cxn ang="0">
                <a:pos x="70" y="149"/>
              </a:cxn>
              <a:cxn ang="0">
                <a:pos x="74" y="143"/>
              </a:cxn>
              <a:cxn ang="0">
                <a:pos x="74" y="129"/>
              </a:cxn>
              <a:cxn ang="0">
                <a:pos x="54" y="123"/>
              </a:cxn>
              <a:cxn ang="0">
                <a:pos x="42" y="108"/>
              </a:cxn>
              <a:cxn ang="0">
                <a:pos x="49" y="101"/>
              </a:cxn>
              <a:cxn ang="0">
                <a:pos x="33" y="81"/>
              </a:cxn>
              <a:cxn ang="0">
                <a:pos x="27" y="68"/>
              </a:cxn>
              <a:cxn ang="0">
                <a:pos x="33" y="56"/>
              </a:cxn>
              <a:cxn ang="0">
                <a:pos x="20" y="49"/>
              </a:cxn>
              <a:cxn ang="0">
                <a:pos x="20" y="42"/>
              </a:cxn>
              <a:cxn ang="0">
                <a:pos x="24" y="25"/>
              </a:cxn>
              <a:cxn ang="0">
                <a:pos x="41" y="36"/>
              </a:cxn>
              <a:cxn ang="0">
                <a:pos x="70" y="45"/>
              </a:cxn>
              <a:cxn ang="0">
                <a:pos x="80" y="38"/>
              </a:cxn>
              <a:cxn ang="0">
                <a:pos x="70" y="25"/>
              </a:cxn>
              <a:cxn ang="0">
                <a:pos x="60" y="13"/>
              </a:cxn>
            </a:cxnLst>
            <a:rect l="0" t="0" r="r" b="b"/>
            <a:pathLst>
              <a:path w="248" h="193">
                <a:moveTo>
                  <a:pt x="195" y="143"/>
                </a:moveTo>
                <a:lnTo>
                  <a:pt x="196" y="143"/>
                </a:lnTo>
                <a:lnTo>
                  <a:pt x="196" y="144"/>
                </a:lnTo>
                <a:lnTo>
                  <a:pt x="195" y="143"/>
                </a:lnTo>
                <a:close/>
                <a:moveTo>
                  <a:pt x="10" y="118"/>
                </a:moveTo>
                <a:lnTo>
                  <a:pt x="12" y="118"/>
                </a:lnTo>
                <a:lnTo>
                  <a:pt x="14" y="119"/>
                </a:lnTo>
                <a:lnTo>
                  <a:pt x="16" y="123"/>
                </a:lnTo>
                <a:lnTo>
                  <a:pt x="17" y="124"/>
                </a:lnTo>
                <a:lnTo>
                  <a:pt x="17" y="129"/>
                </a:lnTo>
                <a:lnTo>
                  <a:pt x="20" y="129"/>
                </a:lnTo>
                <a:lnTo>
                  <a:pt x="21" y="128"/>
                </a:lnTo>
                <a:lnTo>
                  <a:pt x="22" y="128"/>
                </a:lnTo>
                <a:lnTo>
                  <a:pt x="23" y="129"/>
                </a:lnTo>
                <a:lnTo>
                  <a:pt x="23" y="130"/>
                </a:lnTo>
                <a:lnTo>
                  <a:pt x="24" y="131"/>
                </a:lnTo>
                <a:lnTo>
                  <a:pt x="27" y="131"/>
                </a:lnTo>
                <a:lnTo>
                  <a:pt x="28" y="134"/>
                </a:lnTo>
                <a:lnTo>
                  <a:pt x="30" y="134"/>
                </a:lnTo>
                <a:lnTo>
                  <a:pt x="30" y="132"/>
                </a:lnTo>
                <a:lnTo>
                  <a:pt x="34" y="131"/>
                </a:lnTo>
                <a:lnTo>
                  <a:pt x="35" y="130"/>
                </a:lnTo>
                <a:lnTo>
                  <a:pt x="41" y="129"/>
                </a:lnTo>
                <a:lnTo>
                  <a:pt x="42" y="129"/>
                </a:lnTo>
                <a:lnTo>
                  <a:pt x="45" y="131"/>
                </a:lnTo>
                <a:lnTo>
                  <a:pt x="45" y="136"/>
                </a:lnTo>
                <a:lnTo>
                  <a:pt x="43" y="138"/>
                </a:lnTo>
                <a:lnTo>
                  <a:pt x="42" y="140"/>
                </a:lnTo>
                <a:lnTo>
                  <a:pt x="42" y="141"/>
                </a:lnTo>
                <a:lnTo>
                  <a:pt x="43" y="141"/>
                </a:lnTo>
                <a:lnTo>
                  <a:pt x="46" y="142"/>
                </a:lnTo>
                <a:lnTo>
                  <a:pt x="47" y="143"/>
                </a:lnTo>
                <a:lnTo>
                  <a:pt x="48" y="143"/>
                </a:lnTo>
                <a:lnTo>
                  <a:pt x="48" y="144"/>
                </a:lnTo>
                <a:lnTo>
                  <a:pt x="51" y="145"/>
                </a:lnTo>
                <a:lnTo>
                  <a:pt x="52" y="145"/>
                </a:lnTo>
                <a:lnTo>
                  <a:pt x="52" y="148"/>
                </a:lnTo>
                <a:lnTo>
                  <a:pt x="51" y="149"/>
                </a:lnTo>
                <a:lnTo>
                  <a:pt x="51" y="151"/>
                </a:lnTo>
                <a:lnTo>
                  <a:pt x="52" y="153"/>
                </a:lnTo>
                <a:lnTo>
                  <a:pt x="53" y="155"/>
                </a:lnTo>
                <a:lnTo>
                  <a:pt x="54" y="156"/>
                </a:lnTo>
                <a:lnTo>
                  <a:pt x="57" y="162"/>
                </a:lnTo>
                <a:lnTo>
                  <a:pt x="59" y="167"/>
                </a:lnTo>
                <a:lnTo>
                  <a:pt x="55" y="167"/>
                </a:lnTo>
                <a:lnTo>
                  <a:pt x="53" y="166"/>
                </a:lnTo>
                <a:lnTo>
                  <a:pt x="43" y="163"/>
                </a:lnTo>
                <a:lnTo>
                  <a:pt x="41" y="162"/>
                </a:lnTo>
                <a:lnTo>
                  <a:pt x="33" y="162"/>
                </a:lnTo>
                <a:lnTo>
                  <a:pt x="30" y="160"/>
                </a:lnTo>
                <a:lnTo>
                  <a:pt x="29" y="160"/>
                </a:lnTo>
                <a:lnTo>
                  <a:pt x="29" y="156"/>
                </a:lnTo>
                <a:lnTo>
                  <a:pt x="27" y="156"/>
                </a:lnTo>
                <a:lnTo>
                  <a:pt x="27" y="154"/>
                </a:lnTo>
                <a:lnTo>
                  <a:pt x="26" y="154"/>
                </a:lnTo>
                <a:lnTo>
                  <a:pt x="26" y="151"/>
                </a:lnTo>
                <a:lnTo>
                  <a:pt x="24" y="150"/>
                </a:lnTo>
                <a:lnTo>
                  <a:pt x="23" y="150"/>
                </a:lnTo>
                <a:lnTo>
                  <a:pt x="24" y="149"/>
                </a:lnTo>
                <a:lnTo>
                  <a:pt x="22" y="149"/>
                </a:lnTo>
                <a:lnTo>
                  <a:pt x="18" y="148"/>
                </a:lnTo>
                <a:lnTo>
                  <a:pt x="17" y="148"/>
                </a:lnTo>
                <a:lnTo>
                  <a:pt x="16" y="144"/>
                </a:lnTo>
                <a:lnTo>
                  <a:pt x="15" y="143"/>
                </a:lnTo>
                <a:lnTo>
                  <a:pt x="15" y="141"/>
                </a:lnTo>
                <a:lnTo>
                  <a:pt x="14" y="141"/>
                </a:lnTo>
                <a:lnTo>
                  <a:pt x="14" y="140"/>
                </a:lnTo>
                <a:lnTo>
                  <a:pt x="12" y="140"/>
                </a:lnTo>
                <a:lnTo>
                  <a:pt x="11" y="138"/>
                </a:lnTo>
                <a:lnTo>
                  <a:pt x="11" y="137"/>
                </a:lnTo>
                <a:lnTo>
                  <a:pt x="10" y="137"/>
                </a:lnTo>
                <a:lnTo>
                  <a:pt x="9" y="136"/>
                </a:lnTo>
                <a:lnTo>
                  <a:pt x="9" y="135"/>
                </a:lnTo>
                <a:lnTo>
                  <a:pt x="8" y="135"/>
                </a:lnTo>
                <a:lnTo>
                  <a:pt x="8" y="134"/>
                </a:lnTo>
                <a:lnTo>
                  <a:pt x="6" y="128"/>
                </a:lnTo>
                <a:lnTo>
                  <a:pt x="5" y="128"/>
                </a:lnTo>
                <a:lnTo>
                  <a:pt x="5" y="126"/>
                </a:lnTo>
                <a:lnTo>
                  <a:pt x="4" y="126"/>
                </a:lnTo>
                <a:lnTo>
                  <a:pt x="2" y="124"/>
                </a:lnTo>
                <a:lnTo>
                  <a:pt x="2" y="123"/>
                </a:lnTo>
                <a:lnTo>
                  <a:pt x="0" y="122"/>
                </a:lnTo>
                <a:lnTo>
                  <a:pt x="2" y="122"/>
                </a:lnTo>
                <a:lnTo>
                  <a:pt x="4" y="120"/>
                </a:lnTo>
                <a:lnTo>
                  <a:pt x="9" y="120"/>
                </a:lnTo>
                <a:lnTo>
                  <a:pt x="9" y="119"/>
                </a:lnTo>
                <a:lnTo>
                  <a:pt x="10" y="118"/>
                </a:lnTo>
                <a:close/>
                <a:moveTo>
                  <a:pt x="245" y="87"/>
                </a:moveTo>
                <a:lnTo>
                  <a:pt x="247" y="87"/>
                </a:lnTo>
                <a:lnTo>
                  <a:pt x="248" y="88"/>
                </a:lnTo>
                <a:lnTo>
                  <a:pt x="247" y="89"/>
                </a:lnTo>
                <a:lnTo>
                  <a:pt x="247" y="88"/>
                </a:lnTo>
                <a:lnTo>
                  <a:pt x="246" y="89"/>
                </a:lnTo>
                <a:lnTo>
                  <a:pt x="246" y="88"/>
                </a:lnTo>
                <a:lnTo>
                  <a:pt x="245" y="87"/>
                </a:lnTo>
                <a:close/>
                <a:moveTo>
                  <a:pt x="235" y="79"/>
                </a:moveTo>
                <a:lnTo>
                  <a:pt x="236" y="79"/>
                </a:lnTo>
                <a:lnTo>
                  <a:pt x="236" y="80"/>
                </a:lnTo>
                <a:lnTo>
                  <a:pt x="238" y="81"/>
                </a:lnTo>
                <a:lnTo>
                  <a:pt x="238" y="83"/>
                </a:lnTo>
                <a:lnTo>
                  <a:pt x="236" y="83"/>
                </a:lnTo>
                <a:lnTo>
                  <a:pt x="236" y="82"/>
                </a:lnTo>
                <a:lnTo>
                  <a:pt x="235" y="80"/>
                </a:lnTo>
                <a:lnTo>
                  <a:pt x="235" y="79"/>
                </a:lnTo>
                <a:close/>
                <a:moveTo>
                  <a:pt x="30" y="69"/>
                </a:moveTo>
                <a:lnTo>
                  <a:pt x="30" y="71"/>
                </a:lnTo>
                <a:lnTo>
                  <a:pt x="33" y="73"/>
                </a:lnTo>
                <a:lnTo>
                  <a:pt x="34" y="71"/>
                </a:lnTo>
                <a:lnTo>
                  <a:pt x="34" y="69"/>
                </a:lnTo>
                <a:lnTo>
                  <a:pt x="30" y="69"/>
                </a:lnTo>
                <a:close/>
                <a:moveTo>
                  <a:pt x="18" y="50"/>
                </a:moveTo>
                <a:lnTo>
                  <a:pt x="20" y="51"/>
                </a:lnTo>
                <a:lnTo>
                  <a:pt x="20" y="52"/>
                </a:lnTo>
                <a:lnTo>
                  <a:pt x="18" y="51"/>
                </a:lnTo>
                <a:lnTo>
                  <a:pt x="18" y="50"/>
                </a:lnTo>
                <a:close/>
                <a:moveTo>
                  <a:pt x="10" y="45"/>
                </a:moveTo>
                <a:lnTo>
                  <a:pt x="11" y="46"/>
                </a:lnTo>
                <a:lnTo>
                  <a:pt x="11" y="49"/>
                </a:lnTo>
                <a:lnTo>
                  <a:pt x="10" y="49"/>
                </a:lnTo>
                <a:lnTo>
                  <a:pt x="9" y="48"/>
                </a:lnTo>
                <a:lnTo>
                  <a:pt x="9" y="46"/>
                </a:lnTo>
                <a:lnTo>
                  <a:pt x="10" y="45"/>
                </a:lnTo>
                <a:close/>
                <a:moveTo>
                  <a:pt x="71" y="0"/>
                </a:moveTo>
                <a:lnTo>
                  <a:pt x="73" y="0"/>
                </a:lnTo>
                <a:lnTo>
                  <a:pt x="74" y="1"/>
                </a:lnTo>
                <a:lnTo>
                  <a:pt x="76" y="1"/>
                </a:lnTo>
                <a:lnTo>
                  <a:pt x="76" y="6"/>
                </a:lnTo>
                <a:lnTo>
                  <a:pt x="78" y="6"/>
                </a:lnTo>
                <a:lnTo>
                  <a:pt x="80" y="3"/>
                </a:lnTo>
                <a:lnTo>
                  <a:pt x="83" y="3"/>
                </a:lnTo>
                <a:lnTo>
                  <a:pt x="84" y="2"/>
                </a:lnTo>
                <a:lnTo>
                  <a:pt x="84" y="3"/>
                </a:lnTo>
                <a:lnTo>
                  <a:pt x="85" y="5"/>
                </a:lnTo>
                <a:lnTo>
                  <a:pt x="85" y="7"/>
                </a:lnTo>
                <a:lnTo>
                  <a:pt x="87" y="9"/>
                </a:lnTo>
                <a:lnTo>
                  <a:pt x="90" y="9"/>
                </a:lnTo>
                <a:lnTo>
                  <a:pt x="91" y="11"/>
                </a:lnTo>
                <a:lnTo>
                  <a:pt x="91" y="12"/>
                </a:lnTo>
                <a:lnTo>
                  <a:pt x="93" y="14"/>
                </a:lnTo>
                <a:lnTo>
                  <a:pt x="95" y="16"/>
                </a:lnTo>
                <a:lnTo>
                  <a:pt x="96" y="18"/>
                </a:lnTo>
                <a:lnTo>
                  <a:pt x="96" y="19"/>
                </a:lnTo>
                <a:lnTo>
                  <a:pt x="98" y="19"/>
                </a:lnTo>
                <a:lnTo>
                  <a:pt x="98" y="18"/>
                </a:lnTo>
                <a:lnTo>
                  <a:pt x="101" y="18"/>
                </a:lnTo>
                <a:lnTo>
                  <a:pt x="101" y="20"/>
                </a:lnTo>
                <a:lnTo>
                  <a:pt x="102" y="21"/>
                </a:lnTo>
                <a:lnTo>
                  <a:pt x="102" y="22"/>
                </a:lnTo>
                <a:lnTo>
                  <a:pt x="103" y="22"/>
                </a:lnTo>
                <a:lnTo>
                  <a:pt x="103" y="25"/>
                </a:lnTo>
                <a:lnTo>
                  <a:pt x="105" y="27"/>
                </a:lnTo>
                <a:lnTo>
                  <a:pt x="105" y="32"/>
                </a:lnTo>
                <a:lnTo>
                  <a:pt x="107" y="33"/>
                </a:lnTo>
                <a:lnTo>
                  <a:pt x="109" y="34"/>
                </a:lnTo>
                <a:lnTo>
                  <a:pt x="110" y="36"/>
                </a:lnTo>
                <a:lnTo>
                  <a:pt x="115" y="36"/>
                </a:lnTo>
                <a:lnTo>
                  <a:pt x="117" y="38"/>
                </a:lnTo>
                <a:lnTo>
                  <a:pt x="121" y="38"/>
                </a:lnTo>
                <a:lnTo>
                  <a:pt x="121" y="37"/>
                </a:lnTo>
                <a:lnTo>
                  <a:pt x="122" y="37"/>
                </a:lnTo>
                <a:lnTo>
                  <a:pt x="124" y="38"/>
                </a:lnTo>
                <a:lnTo>
                  <a:pt x="126" y="39"/>
                </a:lnTo>
                <a:lnTo>
                  <a:pt x="130" y="39"/>
                </a:lnTo>
                <a:lnTo>
                  <a:pt x="132" y="38"/>
                </a:lnTo>
                <a:lnTo>
                  <a:pt x="133" y="38"/>
                </a:lnTo>
                <a:lnTo>
                  <a:pt x="133" y="33"/>
                </a:lnTo>
                <a:lnTo>
                  <a:pt x="134" y="33"/>
                </a:lnTo>
                <a:lnTo>
                  <a:pt x="134" y="32"/>
                </a:lnTo>
                <a:lnTo>
                  <a:pt x="135" y="31"/>
                </a:lnTo>
                <a:lnTo>
                  <a:pt x="135" y="30"/>
                </a:lnTo>
                <a:lnTo>
                  <a:pt x="136" y="31"/>
                </a:lnTo>
                <a:lnTo>
                  <a:pt x="138" y="30"/>
                </a:lnTo>
                <a:lnTo>
                  <a:pt x="139" y="26"/>
                </a:lnTo>
                <a:lnTo>
                  <a:pt x="140" y="24"/>
                </a:lnTo>
                <a:lnTo>
                  <a:pt x="141" y="24"/>
                </a:lnTo>
                <a:lnTo>
                  <a:pt x="146" y="22"/>
                </a:lnTo>
                <a:lnTo>
                  <a:pt x="147" y="21"/>
                </a:lnTo>
                <a:lnTo>
                  <a:pt x="149" y="20"/>
                </a:lnTo>
                <a:lnTo>
                  <a:pt x="153" y="18"/>
                </a:lnTo>
                <a:lnTo>
                  <a:pt x="154" y="16"/>
                </a:lnTo>
                <a:lnTo>
                  <a:pt x="154" y="15"/>
                </a:lnTo>
                <a:lnTo>
                  <a:pt x="157" y="9"/>
                </a:lnTo>
                <a:lnTo>
                  <a:pt x="161" y="2"/>
                </a:lnTo>
                <a:lnTo>
                  <a:pt x="161" y="3"/>
                </a:lnTo>
                <a:lnTo>
                  <a:pt x="164" y="3"/>
                </a:lnTo>
                <a:lnTo>
                  <a:pt x="165" y="5"/>
                </a:lnTo>
                <a:lnTo>
                  <a:pt x="169" y="11"/>
                </a:lnTo>
                <a:lnTo>
                  <a:pt x="171" y="13"/>
                </a:lnTo>
                <a:lnTo>
                  <a:pt x="171" y="14"/>
                </a:lnTo>
                <a:lnTo>
                  <a:pt x="173" y="18"/>
                </a:lnTo>
                <a:lnTo>
                  <a:pt x="176" y="20"/>
                </a:lnTo>
                <a:lnTo>
                  <a:pt x="176" y="21"/>
                </a:lnTo>
                <a:lnTo>
                  <a:pt x="177" y="21"/>
                </a:lnTo>
                <a:lnTo>
                  <a:pt x="177" y="22"/>
                </a:lnTo>
                <a:lnTo>
                  <a:pt x="182" y="27"/>
                </a:lnTo>
                <a:lnTo>
                  <a:pt x="183" y="30"/>
                </a:lnTo>
                <a:lnTo>
                  <a:pt x="184" y="33"/>
                </a:lnTo>
                <a:lnTo>
                  <a:pt x="185" y="34"/>
                </a:lnTo>
                <a:lnTo>
                  <a:pt x="185" y="40"/>
                </a:lnTo>
                <a:lnTo>
                  <a:pt x="186" y="42"/>
                </a:lnTo>
                <a:lnTo>
                  <a:pt x="186" y="43"/>
                </a:lnTo>
                <a:lnTo>
                  <a:pt x="188" y="46"/>
                </a:lnTo>
                <a:lnTo>
                  <a:pt x="190" y="50"/>
                </a:lnTo>
                <a:lnTo>
                  <a:pt x="195" y="56"/>
                </a:lnTo>
                <a:lnTo>
                  <a:pt x="195" y="57"/>
                </a:lnTo>
                <a:lnTo>
                  <a:pt x="196" y="57"/>
                </a:lnTo>
                <a:lnTo>
                  <a:pt x="196" y="58"/>
                </a:lnTo>
                <a:lnTo>
                  <a:pt x="198" y="59"/>
                </a:lnTo>
                <a:lnTo>
                  <a:pt x="200" y="59"/>
                </a:lnTo>
                <a:lnTo>
                  <a:pt x="201" y="61"/>
                </a:lnTo>
                <a:lnTo>
                  <a:pt x="202" y="61"/>
                </a:lnTo>
                <a:lnTo>
                  <a:pt x="202" y="63"/>
                </a:lnTo>
                <a:lnTo>
                  <a:pt x="201" y="65"/>
                </a:lnTo>
                <a:lnTo>
                  <a:pt x="201" y="68"/>
                </a:lnTo>
                <a:lnTo>
                  <a:pt x="202" y="68"/>
                </a:lnTo>
                <a:lnTo>
                  <a:pt x="202" y="69"/>
                </a:lnTo>
                <a:lnTo>
                  <a:pt x="204" y="71"/>
                </a:lnTo>
                <a:lnTo>
                  <a:pt x="208" y="71"/>
                </a:lnTo>
                <a:lnTo>
                  <a:pt x="210" y="74"/>
                </a:lnTo>
                <a:lnTo>
                  <a:pt x="215" y="74"/>
                </a:lnTo>
                <a:lnTo>
                  <a:pt x="217" y="73"/>
                </a:lnTo>
                <a:lnTo>
                  <a:pt x="223" y="73"/>
                </a:lnTo>
                <a:lnTo>
                  <a:pt x="225" y="74"/>
                </a:lnTo>
                <a:lnTo>
                  <a:pt x="225" y="75"/>
                </a:lnTo>
                <a:lnTo>
                  <a:pt x="226" y="75"/>
                </a:lnTo>
                <a:lnTo>
                  <a:pt x="226" y="76"/>
                </a:lnTo>
                <a:lnTo>
                  <a:pt x="227" y="76"/>
                </a:lnTo>
                <a:lnTo>
                  <a:pt x="231" y="77"/>
                </a:lnTo>
                <a:lnTo>
                  <a:pt x="232" y="77"/>
                </a:lnTo>
                <a:lnTo>
                  <a:pt x="232" y="79"/>
                </a:lnTo>
                <a:lnTo>
                  <a:pt x="233" y="80"/>
                </a:lnTo>
                <a:lnTo>
                  <a:pt x="233" y="81"/>
                </a:lnTo>
                <a:lnTo>
                  <a:pt x="234" y="82"/>
                </a:lnTo>
                <a:lnTo>
                  <a:pt x="235" y="82"/>
                </a:lnTo>
                <a:lnTo>
                  <a:pt x="235" y="83"/>
                </a:lnTo>
                <a:lnTo>
                  <a:pt x="236" y="85"/>
                </a:lnTo>
                <a:lnTo>
                  <a:pt x="236" y="86"/>
                </a:lnTo>
                <a:lnTo>
                  <a:pt x="238" y="89"/>
                </a:lnTo>
                <a:lnTo>
                  <a:pt x="238" y="93"/>
                </a:lnTo>
                <a:lnTo>
                  <a:pt x="236" y="92"/>
                </a:lnTo>
                <a:lnTo>
                  <a:pt x="236" y="91"/>
                </a:lnTo>
                <a:lnTo>
                  <a:pt x="233" y="87"/>
                </a:lnTo>
                <a:lnTo>
                  <a:pt x="232" y="87"/>
                </a:lnTo>
                <a:lnTo>
                  <a:pt x="229" y="86"/>
                </a:lnTo>
                <a:lnTo>
                  <a:pt x="223" y="86"/>
                </a:lnTo>
                <a:lnTo>
                  <a:pt x="222" y="87"/>
                </a:lnTo>
                <a:lnTo>
                  <a:pt x="220" y="87"/>
                </a:lnTo>
                <a:lnTo>
                  <a:pt x="220" y="86"/>
                </a:lnTo>
                <a:lnTo>
                  <a:pt x="219" y="86"/>
                </a:lnTo>
                <a:lnTo>
                  <a:pt x="217" y="85"/>
                </a:lnTo>
                <a:lnTo>
                  <a:pt x="215" y="87"/>
                </a:lnTo>
                <a:lnTo>
                  <a:pt x="215" y="88"/>
                </a:lnTo>
                <a:lnTo>
                  <a:pt x="213" y="91"/>
                </a:lnTo>
                <a:lnTo>
                  <a:pt x="209" y="91"/>
                </a:lnTo>
                <a:lnTo>
                  <a:pt x="207" y="92"/>
                </a:lnTo>
                <a:lnTo>
                  <a:pt x="203" y="93"/>
                </a:lnTo>
                <a:lnTo>
                  <a:pt x="203" y="94"/>
                </a:lnTo>
                <a:lnTo>
                  <a:pt x="201" y="95"/>
                </a:lnTo>
                <a:lnTo>
                  <a:pt x="201" y="97"/>
                </a:lnTo>
                <a:lnTo>
                  <a:pt x="200" y="97"/>
                </a:lnTo>
                <a:lnTo>
                  <a:pt x="200" y="98"/>
                </a:lnTo>
                <a:lnTo>
                  <a:pt x="201" y="100"/>
                </a:lnTo>
                <a:lnTo>
                  <a:pt x="198" y="101"/>
                </a:lnTo>
                <a:lnTo>
                  <a:pt x="197" y="102"/>
                </a:lnTo>
                <a:lnTo>
                  <a:pt x="198" y="104"/>
                </a:lnTo>
                <a:lnTo>
                  <a:pt x="198" y="105"/>
                </a:lnTo>
                <a:lnTo>
                  <a:pt x="200" y="105"/>
                </a:lnTo>
                <a:lnTo>
                  <a:pt x="200" y="106"/>
                </a:lnTo>
                <a:lnTo>
                  <a:pt x="198" y="107"/>
                </a:lnTo>
                <a:lnTo>
                  <a:pt x="197" y="107"/>
                </a:lnTo>
                <a:lnTo>
                  <a:pt x="197" y="111"/>
                </a:lnTo>
                <a:lnTo>
                  <a:pt x="198" y="112"/>
                </a:lnTo>
                <a:lnTo>
                  <a:pt x="198" y="113"/>
                </a:lnTo>
                <a:lnTo>
                  <a:pt x="197" y="113"/>
                </a:lnTo>
                <a:lnTo>
                  <a:pt x="197" y="116"/>
                </a:lnTo>
                <a:lnTo>
                  <a:pt x="196" y="117"/>
                </a:lnTo>
                <a:lnTo>
                  <a:pt x="196" y="119"/>
                </a:lnTo>
                <a:lnTo>
                  <a:pt x="197" y="120"/>
                </a:lnTo>
                <a:lnTo>
                  <a:pt x="197" y="122"/>
                </a:lnTo>
                <a:lnTo>
                  <a:pt x="192" y="126"/>
                </a:lnTo>
                <a:lnTo>
                  <a:pt x="192" y="129"/>
                </a:lnTo>
                <a:lnTo>
                  <a:pt x="191" y="130"/>
                </a:lnTo>
                <a:lnTo>
                  <a:pt x="191" y="134"/>
                </a:lnTo>
                <a:lnTo>
                  <a:pt x="196" y="137"/>
                </a:lnTo>
                <a:lnTo>
                  <a:pt x="196" y="138"/>
                </a:lnTo>
                <a:lnTo>
                  <a:pt x="197" y="140"/>
                </a:lnTo>
                <a:lnTo>
                  <a:pt x="196" y="140"/>
                </a:lnTo>
                <a:lnTo>
                  <a:pt x="196" y="142"/>
                </a:lnTo>
                <a:lnTo>
                  <a:pt x="195" y="142"/>
                </a:lnTo>
                <a:lnTo>
                  <a:pt x="195" y="143"/>
                </a:lnTo>
                <a:lnTo>
                  <a:pt x="192" y="141"/>
                </a:lnTo>
                <a:lnTo>
                  <a:pt x="189" y="144"/>
                </a:lnTo>
                <a:lnTo>
                  <a:pt x="189" y="154"/>
                </a:lnTo>
                <a:lnTo>
                  <a:pt x="188" y="155"/>
                </a:lnTo>
                <a:lnTo>
                  <a:pt x="188" y="159"/>
                </a:lnTo>
                <a:lnTo>
                  <a:pt x="184" y="161"/>
                </a:lnTo>
                <a:lnTo>
                  <a:pt x="183" y="162"/>
                </a:lnTo>
                <a:lnTo>
                  <a:pt x="182" y="161"/>
                </a:lnTo>
                <a:lnTo>
                  <a:pt x="182" y="159"/>
                </a:lnTo>
                <a:lnTo>
                  <a:pt x="184" y="159"/>
                </a:lnTo>
                <a:lnTo>
                  <a:pt x="185" y="157"/>
                </a:lnTo>
                <a:lnTo>
                  <a:pt x="185" y="154"/>
                </a:lnTo>
                <a:lnTo>
                  <a:pt x="182" y="154"/>
                </a:lnTo>
                <a:lnTo>
                  <a:pt x="182" y="150"/>
                </a:lnTo>
                <a:lnTo>
                  <a:pt x="178" y="150"/>
                </a:lnTo>
                <a:lnTo>
                  <a:pt x="178" y="151"/>
                </a:lnTo>
                <a:lnTo>
                  <a:pt x="177" y="151"/>
                </a:lnTo>
                <a:lnTo>
                  <a:pt x="177" y="160"/>
                </a:lnTo>
                <a:lnTo>
                  <a:pt x="176" y="163"/>
                </a:lnTo>
                <a:lnTo>
                  <a:pt x="174" y="166"/>
                </a:lnTo>
                <a:lnTo>
                  <a:pt x="173" y="167"/>
                </a:lnTo>
                <a:lnTo>
                  <a:pt x="172" y="167"/>
                </a:lnTo>
                <a:lnTo>
                  <a:pt x="172" y="171"/>
                </a:lnTo>
                <a:lnTo>
                  <a:pt x="173" y="173"/>
                </a:lnTo>
                <a:lnTo>
                  <a:pt x="173" y="181"/>
                </a:lnTo>
                <a:lnTo>
                  <a:pt x="174" y="191"/>
                </a:lnTo>
                <a:lnTo>
                  <a:pt x="171" y="190"/>
                </a:lnTo>
                <a:lnTo>
                  <a:pt x="170" y="190"/>
                </a:lnTo>
                <a:lnTo>
                  <a:pt x="167" y="192"/>
                </a:lnTo>
                <a:lnTo>
                  <a:pt x="166" y="192"/>
                </a:lnTo>
                <a:lnTo>
                  <a:pt x="165" y="193"/>
                </a:lnTo>
                <a:lnTo>
                  <a:pt x="163" y="192"/>
                </a:lnTo>
                <a:lnTo>
                  <a:pt x="160" y="190"/>
                </a:lnTo>
                <a:lnTo>
                  <a:pt x="160" y="188"/>
                </a:lnTo>
                <a:lnTo>
                  <a:pt x="155" y="184"/>
                </a:lnTo>
                <a:lnTo>
                  <a:pt x="155" y="181"/>
                </a:lnTo>
                <a:lnTo>
                  <a:pt x="154" y="180"/>
                </a:lnTo>
                <a:lnTo>
                  <a:pt x="153" y="180"/>
                </a:lnTo>
                <a:lnTo>
                  <a:pt x="152" y="181"/>
                </a:lnTo>
                <a:lnTo>
                  <a:pt x="149" y="181"/>
                </a:lnTo>
                <a:lnTo>
                  <a:pt x="148" y="180"/>
                </a:lnTo>
                <a:lnTo>
                  <a:pt x="147" y="178"/>
                </a:lnTo>
                <a:lnTo>
                  <a:pt x="147" y="175"/>
                </a:lnTo>
                <a:lnTo>
                  <a:pt x="146" y="174"/>
                </a:lnTo>
                <a:lnTo>
                  <a:pt x="140" y="172"/>
                </a:lnTo>
                <a:lnTo>
                  <a:pt x="136" y="168"/>
                </a:lnTo>
                <a:lnTo>
                  <a:pt x="136" y="166"/>
                </a:lnTo>
                <a:lnTo>
                  <a:pt x="138" y="166"/>
                </a:lnTo>
                <a:lnTo>
                  <a:pt x="139" y="163"/>
                </a:lnTo>
                <a:lnTo>
                  <a:pt x="140" y="163"/>
                </a:lnTo>
                <a:lnTo>
                  <a:pt x="140" y="162"/>
                </a:lnTo>
                <a:lnTo>
                  <a:pt x="147" y="161"/>
                </a:lnTo>
                <a:lnTo>
                  <a:pt x="149" y="160"/>
                </a:lnTo>
                <a:lnTo>
                  <a:pt x="149" y="156"/>
                </a:lnTo>
                <a:lnTo>
                  <a:pt x="148" y="154"/>
                </a:lnTo>
                <a:lnTo>
                  <a:pt x="146" y="153"/>
                </a:lnTo>
                <a:lnTo>
                  <a:pt x="142" y="149"/>
                </a:lnTo>
                <a:lnTo>
                  <a:pt x="141" y="147"/>
                </a:lnTo>
                <a:lnTo>
                  <a:pt x="141" y="145"/>
                </a:lnTo>
                <a:lnTo>
                  <a:pt x="145" y="142"/>
                </a:lnTo>
                <a:lnTo>
                  <a:pt x="147" y="142"/>
                </a:lnTo>
                <a:lnTo>
                  <a:pt x="149" y="140"/>
                </a:lnTo>
                <a:lnTo>
                  <a:pt x="152" y="140"/>
                </a:lnTo>
                <a:lnTo>
                  <a:pt x="151" y="137"/>
                </a:lnTo>
                <a:lnTo>
                  <a:pt x="149" y="136"/>
                </a:lnTo>
                <a:lnTo>
                  <a:pt x="146" y="134"/>
                </a:lnTo>
                <a:lnTo>
                  <a:pt x="139" y="124"/>
                </a:lnTo>
                <a:lnTo>
                  <a:pt x="136" y="122"/>
                </a:lnTo>
                <a:lnTo>
                  <a:pt x="135" y="122"/>
                </a:lnTo>
                <a:lnTo>
                  <a:pt x="134" y="123"/>
                </a:lnTo>
                <a:lnTo>
                  <a:pt x="129" y="123"/>
                </a:lnTo>
                <a:lnTo>
                  <a:pt x="129" y="124"/>
                </a:lnTo>
                <a:lnTo>
                  <a:pt x="128" y="124"/>
                </a:lnTo>
                <a:lnTo>
                  <a:pt x="127" y="126"/>
                </a:lnTo>
                <a:lnTo>
                  <a:pt x="121" y="129"/>
                </a:lnTo>
                <a:lnTo>
                  <a:pt x="117" y="132"/>
                </a:lnTo>
                <a:lnTo>
                  <a:pt x="114" y="134"/>
                </a:lnTo>
                <a:lnTo>
                  <a:pt x="113" y="134"/>
                </a:lnTo>
                <a:lnTo>
                  <a:pt x="110" y="135"/>
                </a:lnTo>
                <a:lnTo>
                  <a:pt x="109" y="138"/>
                </a:lnTo>
                <a:lnTo>
                  <a:pt x="108" y="140"/>
                </a:lnTo>
                <a:lnTo>
                  <a:pt x="105" y="140"/>
                </a:lnTo>
                <a:lnTo>
                  <a:pt x="105" y="141"/>
                </a:lnTo>
                <a:lnTo>
                  <a:pt x="102" y="142"/>
                </a:lnTo>
                <a:lnTo>
                  <a:pt x="99" y="143"/>
                </a:lnTo>
                <a:lnTo>
                  <a:pt x="98" y="144"/>
                </a:lnTo>
                <a:lnTo>
                  <a:pt x="97" y="147"/>
                </a:lnTo>
                <a:lnTo>
                  <a:pt x="97" y="149"/>
                </a:lnTo>
                <a:lnTo>
                  <a:pt x="96" y="149"/>
                </a:lnTo>
                <a:lnTo>
                  <a:pt x="96" y="150"/>
                </a:lnTo>
                <a:lnTo>
                  <a:pt x="93" y="151"/>
                </a:lnTo>
                <a:lnTo>
                  <a:pt x="92" y="151"/>
                </a:lnTo>
                <a:lnTo>
                  <a:pt x="91" y="150"/>
                </a:lnTo>
                <a:lnTo>
                  <a:pt x="90" y="150"/>
                </a:lnTo>
                <a:lnTo>
                  <a:pt x="87" y="153"/>
                </a:lnTo>
                <a:lnTo>
                  <a:pt x="87" y="154"/>
                </a:lnTo>
                <a:lnTo>
                  <a:pt x="86" y="154"/>
                </a:lnTo>
                <a:lnTo>
                  <a:pt x="86" y="155"/>
                </a:lnTo>
                <a:lnTo>
                  <a:pt x="85" y="155"/>
                </a:lnTo>
                <a:lnTo>
                  <a:pt x="85" y="156"/>
                </a:lnTo>
                <a:lnTo>
                  <a:pt x="84" y="157"/>
                </a:lnTo>
                <a:lnTo>
                  <a:pt x="84" y="159"/>
                </a:lnTo>
                <a:lnTo>
                  <a:pt x="82" y="160"/>
                </a:lnTo>
                <a:lnTo>
                  <a:pt x="80" y="160"/>
                </a:lnTo>
                <a:lnTo>
                  <a:pt x="79" y="161"/>
                </a:lnTo>
                <a:lnTo>
                  <a:pt x="78" y="163"/>
                </a:lnTo>
                <a:lnTo>
                  <a:pt x="78" y="165"/>
                </a:lnTo>
                <a:lnTo>
                  <a:pt x="77" y="166"/>
                </a:lnTo>
                <a:lnTo>
                  <a:pt x="74" y="166"/>
                </a:lnTo>
                <a:lnTo>
                  <a:pt x="73" y="163"/>
                </a:lnTo>
                <a:lnTo>
                  <a:pt x="73" y="154"/>
                </a:lnTo>
                <a:lnTo>
                  <a:pt x="72" y="153"/>
                </a:lnTo>
                <a:lnTo>
                  <a:pt x="71" y="153"/>
                </a:lnTo>
                <a:lnTo>
                  <a:pt x="70" y="151"/>
                </a:lnTo>
                <a:lnTo>
                  <a:pt x="70" y="149"/>
                </a:lnTo>
                <a:lnTo>
                  <a:pt x="71" y="148"/>
                </a:lnTo>
                <a:lnTo>
                  <a:pt x="72" y="149"/>
                </a:lnTo>
                <a:lnTo>
                  <a:pt x="74" y="150"/>
                </a:lnTo>
                <a:lnTo>
                  <a:pt x="77" y="149"/>
                </a:lnTo>
                <a:lnTo>
                  <a:pt x="78" y="148"/>
                </a:lnTo>
                <a:lnTo>
                  <a:pt x="78" y="147"/>
                </a:lnTo>
                <a:lnTo>
                  <a:pt x="76" y="145"/>
                </a:lnTo>
                <a:lnTo>
                  <a:pt x="74" y="144"/>
                </a:lnTo>
                <a:lnTo>
                  <a:pt x="74" y="143"/>
                </a:lnTo>
                <a:lnTo>
                  <a:pt x="73" y="142"/>
                </a:lnTo>
                <a:lnTo>
                  <a:pt x="70" y="141"/>
                </a:lnTo>
                <a:lnTo>
                  <a:pt x="68" y="140"/>
                </a:lnTo>
                <a:lnTo>
                  <a:pt x="68" y="136"/>
                </a:lnTo>
                <a:lnTo>
                  <a:pt x="70" y="136"/>
                </a:lnTo>
                <a:lnTo>
                  <a:pt x="73" y="135"/>
                </a:lnTo>
                <a:lnTo>
                  <a:pt x="73" y="132"/>
                </a:lnTo>
                <a:lnTo>
                  <a:pt x="74" y="132"/>
                </a:lnTo>
                <a:lnTo>
                  <a:pt x="74" y="129"/>
                </a:lnTo>
                <a:lnTo>
                  <a:pt x="70" y="129"/>
                </a:lnTo>
                <a:lnTo>
                  <a:pt x="67" y="126"/>
                </a:lnTo>
                <a:lnTo>
                  <a:pt x="66" y="126"/>
                </a:lnTo>
                <a:lnTo>
                  <a:pt x="62" y="128"/>
                </a:lnTo>
                <a:lnTo>
                  <a:pt x="60" y="128"/>
                </a:lnTo>
                <a:lnTo>
                  <a:pt x="59" y="125"/>
                </a:lnTo>
                <a:lnTo>
                  <a:pt x="58" y="124"/>
                </a:lnTo>
                <a:lnTo>
                  <a:pt x="57" y="124"/>
                </a:lnTo>
                <a:lnTo>
                  <a:pt x="54" y="123"/>
                </a:lnTo>
                <a:lnTo>
                  <a:pt x="53" y="119"/>
                </a:lnTo>
                <a:lnTo>
                  <a:pt x="52" y="118"/>
                </a:lnTo>
                <a:lnTo>
                  <a:pt x="49" y="117"/>
                </a:lnTo>
                <a:lnTo>
                  <a:pt x="48" y="117"/>
                </a:lnTo>
                <a:lnTo>
                  <a:pt x="47" y="116"/>
                </a:lnTo>
                <a:lnTo>
                  <a:pt x="45" y="114"/>
                </a:lnTo>
                <a:lnTo>
                  <a:pt x="45" y="113"/>
                </a:lnTo>
                <a:lnTo>
                  <a:pt x="42" y="110"/>
                </a:lnTo>
                <a:lnTo>
                  <a:pt x="42" y="108"/>
                </a:lnTo>
                <a:lnTo>
                  <a:pt x="41" y="108"/>
                </a:lnTo>
                <a:lnTo>
                  <a:pt x="36" y="107"/>
                </a:lnTo>
                <a:lnTo>
                  <a:pt x="35" y="107"/>
                </a:lnTo>
                <a:lnTo>
                  <a:pt x="35" y="106"/>
                </a:lnTo>
                <a:lnTo>
                  <a:pt x="37" y="104"/>
                </a:lnTo>
                <a:lnTo>
                  <a:pt x="45" y="105"/>
                </a:lnTo>
                <a:lnTo>
                  <a:pt x="48" y="105"/>
                </a:lnTo>
                <a:lnTo>
                  <a:pt x="48" y="101"/>
                </a:lnTo>
                <a:lnTo>
                  <a:pt x="49" y="101"/>
                </a:lnTo>
                <a:lnTo>
                  <a:pt x="49" y="100"/>
                </a:lnTo>
                <a:lnTo>
                  <a:pt x="52" y="98"/>
                </a:lnTo>
                <a:lnTo>
                  <a:pt x="52" y="93"/>
                </a:lnTo>
                <a:lnTo>
                  <a:pt x="51" y="92"/>
                </a:lnTo>
                <a:lnTo>
                  <a:pt x="51" y="91"/>
                </a:lnTo>
                <a:lnTo>
                  <a:pt x="47" y="91"/>
                </a:lnTo>
                <a:lnTo>
                  <a:pt x="45" y="89"/>
                </a:lnTo>
                <a:lnTo>
                  <a:pt x="35" y="83"/>
                </a:lnTo>
                <a:lnTo>
                  <a:pt x="33" y="81"/>
                </a:lnTo>
                <a:lnTo>
                  <a:pt x="31" y="79"/>
                </a:lnTo>
                <a:lnTo>
                  <a:pt x="31" y="77"/>
                </a:lnTo>
                <a:lnTo>
                  <a:pt x="30" y="77"/>
                </a:lnTo>
                <a:lnTo>
                  <a:pt x="30" y="76"/>
                </a:lnTo>
                <a:lnTo>
                  <a:pt x="29" y="76"/>
                </a:lnTo>
                <a:lnTo>
                  <a:pt x="29" y="73"/>
                </a:lnTo>
                <a:lnTo>
                  <a:pt x="28" y="73"/>
                </a:lnTo>
                <a:lnTo>
                  <a:pt x="27" y="71"/>
                </a:lnTo>
                <a:lnTo>
                  <a:pt x="27" y="68"/>
                </a:lnTo>
                <a:lnTo>
                  <a:pt x="28" y="67"/>
                </a:lnTo>
                <a:lnTo>
                  <a:pt x="29" y="64"/>
                </a:lnTo>
                <a:lnTo>
                  <a:pt x="30" y="64"/>
                </a:lnTo>
                <a:lnTo>
                  <a:pt x="34" y="62"/>
                </a:lnTo>
                <a:lnTo>
                  <a:pt x="35" y="61"/>
                </a:lnTo>
                <a:lnTo>
                  <a:pt x="36" y="58"/>
                </a:lnTo>
                <a:lnTo>
                  <a:pt x="36" y="57"/>
                </a:lnTo>
                <a:lnTo>
                  <a:pt x="33" y="57"/>
                </a:lnTo>
                <a:lnTo>
                  <a:pt x="33" y="56"/>
                </a:lnTo>
                <a:lnTo>
                  <a:pt x="30" y="54"/>
                </a:lnTo>
                <a:lnTo>
                  <a:pt x="29" y="54"/>
                </a:lnTo>
                <a:lnTo>
                  <a:pt x="29" y="52"/>
                </a:lnTo>
                <a:lnTo>
                  <a:pt x="28" y="52"/>
                </a:lnTo>
                <a:lnTo>
                  <a:pt x="28" y="49"/>
                </a:lnTo>
                <a:lnTo>
                  <a:pt x="27" y="49"/>
                </a:lnTo>
                <a:lnTo>
                  <a:pt x="27" y="50"/>
                </a:lnTo>
                <a:lnTo>
                  <a:pt x="22" y="50"/>
                </a:lnTo>
                <a:lnTo>
                  <a:pt x="20" y="49"/>
                </a:lnTo>
                <a:lnTo>
                  <a:pt x="18" y="48"/>
                </a:lnTo>
                <a:lnTo>
                  <a:pt x="17" y="48"/>
                </a:lnTo>
                <a:lnTo>
                  <a:pt x="16" y="46"/>
                </a:lnTo>
                <a:lnTo>
                  <a:pt x="15" y="48"/>
                </a:lnTo>
                <a:lnTo>
                  <a:pt x="12" y="45"/>
                </a:lnTo>
                <a:lnTo>
                  <a:pt x="14" y="44"/>
                </a:lnTo>
                <a:lnTo>
                  <a:pt x="17" y="44"/>
                </a:lnTo>
                <a:lnTo>
                  <a:pt x="20" y="43"/>
                </a:lnTo>
                <a:lnTo>
                  <a:pt x="20" y="42"/>
                </a:lnTo>
                <a:lnTo>
                  <a:pt x="18" y="42"/>
                </a:lnTo>
                <a:lnTo>
                  <a:pt x="16" y="39"/>
                </a:lnTo>
                <a:lnTo>
                  <a:pt x="12" y="39"/>
                </a:lnTo>
                <a:lnTo>
                  <a:pt x="11" y="38"/>
                </a:lnTo>
                <a:lnTo>
                  <a:pt x="12" y="37"/>
                </a:lnTo>
                <a:lnTo>
                  <a:pt x="11" y="33"/>
                </a:lnTo>
                <a:lnTo>
                  <a:pt x="15" y="31"/>
                </a:lnTo>
                <a:lnTo>
                  <a:pt x="21" y="25"/>
                </a:lnTo>
                <a:lnTo>
                  <a:pt x="24" y="25"/>
                </a:lnTo>
                <a:lnTo>
                  <a:pt x="27" y="26"/>
                </a:lnTo>
                <a:lnTo>
                  <a:pt x="30" y="26"/>
                </a:lnTo>
                <a:lnTo>
                  <a:pt x="33" y="28"/>
                </a:lnTo>
                <a:lnTo>
                  <a:pt x="39" y="31"/>
                </a:lnTo>
                <a:lnTo>
                  <a:pt x="42" y="31"/>
                </a:lnTo>
                <a:lnTo>
                  <a:pt x="42" y="32"/>
                </a:lnTo>
                <a:lnTo>
                  <a:pt x="40" y="32"/>
                </a:lnTo>
                <a:lnTo>
                  <a:pt x="40" y="33"/>
                </a:lnTo>
                <a:lnTo>
                  <a:pt x="41" y="36"/>
                </a:lnTo>
                <a:lnTo>
                  <a:pt x="42" y="37"/>
                </a:lnTo>
                <a:lnTo>
                  <a:pt x="43" y="37"/>
                </a:lnTo>
                <a:lnTo>
                  <a:pt x="45" y="38"/>
                </a:lnTo>
                <a:lnTo>
                  <a:pt x="52" y="40"/>
                </a:lnTo>
                <a:lnTo>
                  <a:pt x="55" y="40"/>
                </a:lnTo>
                <a:lnTo>
                  <a:pt x="57" y="39"/>
                </a:lnTo>
                <a:lnTo>
                  <a:pt x="62" y="39"/>
                </a:lnTo>
                <a:lnTo>
                  <a:pt x="67" y="44"/>
                </a:lnTo>
                <a:lnTo>
                  <a:pt x="70" y="45"/>
                </a:lnTo>
                <a:lnTo>
                  <a:pt x="71" y="45"/>
                </a:lnTo>
                <a:lnTo>
                  <a:pt x="72" y="48"/>
                </a:lnTo>
                <a:lnTo>
                  <a:pt x="73" y="48"/>
                </a:lnTo>
                <a:lnTo>
                  <a:pt x="74" y="46"/>
                </a:lnTo>
                <a:lnTo>
                  <a:pt x="74" y="45"/>
                </a:lnTo>
                <a:lnTo>
                  <a:pt x="78" y="45"/>
                </a:lnTo>
                <a:lnTo>
                  <a:pt x="79" y="44"/>
                </a:lnTo>
                <a:lnTo>
                  <a:pt x="79" y="40"/>
                </a:lnTo>
                <a:lnTo>
                  <a:pt x="80" y="38"/>
                </a:lnTo>
                <a:lnTo>
                  <a:pt x="82" y="37"/>
                </a:lnTo>
                <a:lnTo>
                  <a:pt x="82" y="34"/>
                </a:lnTo>
                <a:lnTo>
                  <a:pt x="80" y="32"/>
                </a:lnTo>
                <a:lnTo>
                  <a:pt x="79" y="31"/>
                </a:lnTo>
                <a:lnTo>
                  <a:pt x="78" y="31"/>
                </a:lnTo>
                <a:lnTo>
                  <a:pt x="78" y="30"/>
                </a:lnTo>
                <a:lnTo>
                  <a:pt x="76" y="28"/>
                </a:lnTo>
                <a:lnTo>
                  <a:pt x="72" y="26"/>
                </a:lnTo>
                <a:lnTo>
                  <a:pt x="70" y="25"/>
                </a:lnTo>
                <a:lnTo>
                  <a:pt x="68" y="24"/>
                </a:lnTo>
                <a:lnTo>
                  <a:pt x="66" y="22"/>
                </a:lnTo>
                <a:lnTo>
                  <a:pt x="65" y="21"/>
                </a:lnTo>
                <a:lnTo>
                  <a:pt x="65" y="18"/>
                </a:lnTo>
                <a:lnTo>
                  <a:pt x="64" y="15"/>
                </a:lnTo>
                <a:lnTo>
                  <a:pt x="62" y="15"/>
                </a:lnTo>
                <a:lnTo>
                  <a:pt x="62" y="16"/>
                </a:lnTo>
                <a:lnTo>
                  <a:pt x="61" y="15"/>
                </a:lnTo>
                <a:lnTo>
                  <a:pt x="60" y="13"/>
                </a:lnTo>
                <a:lnTo>
                  <a:pt x="60" y="11"/>
                </a:lnTo>
                <a:lnTo>
                  <a:pt x="61" y="8"/>
                </a:lnTo>
                <a:lnTo>
                  <a:pt x="62" y="7"/>
                </a:lnTo>
                <a:lnTo>
                  <a:pt x="65" y="8"/>
                </a:lnTo>
                <a:lnTo>
                  <a:pt x="70" y="3"/>
                </a:lnTo>
                <a:lnTo>
                  <a:pt x="71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5" name="Freeform 56">
            <a:extLst>
              <a:ext uri="{FF2B5EF4-FFF2-40B4-BE49-F238E27FC236}">
                <a16:creationId xmlns:a16="http://schemas.microsoft.com/office/drawing/2014/main" id="{398284B5-DE67-46A1-B1BC-E9DF504DEFDC}"/>
              </a:ext>
            </a:extLst>
          </p:cNvPr>
          <p:cNvSpPr>
            <a:spLocks noEditPoints="1"/>
          </p:cNvSpPr>
          <p:nvPr/>
        </p:nvSpPr>
        <p:spPr bwMode="auto">
          <a:xfrm>
            <a:off x="1814169" y="4808885"/>
            <a:ext cx="465110" cy="239076"/>
          </a:xfrm>
          <a:custGeom>
            <a:avLst/>
            <a:gdLst/>
            <a:ahLst/>
            <a:cxnLst>
              <a:cxn ang="0">
                <a:pos x="113" y="82"/>
              </a:cxn>
              <a:cxn ang="0">
                <a:pos x="231" y="0"/>
              </a:cxn>
              <a:cxn ang="0">
                <a:pos x="246" y="2"/>
              </a:cxn>
              <a:cxn ang="0">
                <a:pos x="264" y="10"/>
              </a:cxn>
              <a:cxn ang="0">
                <a:pos x="287" y="18"/>
              </a:cxn>
              <a:cxn ang="0">
                <a:pos x="299" y="16"/>
              </a:cxn>
              <a:cxn ang="0">
                <a:pos x="312" y="26"/>
              </a:cxn>
              <a:cxn ang="0">
                <a:pos x="310" y="43"/>
              </a:cxn>
              <a:cxn ang="0">
                <a:pos x="317" y="57"/>
              </a:cxn>
              <a:cxn ang="0">
                <a:pos x="318" y="67"/>
              </a:cxn>
              <a:cxn ang="0">
                <a:pos x="316" y="75"/>
              </a:cxn>
              <a:cxn ang="0">
                <a:pos x="308" y="84"/>
              </a:cxn>
              <a:cxn ang="0">
                <a:pos x="295" y="81"/>
              </a:cxn>
              <a:cxn ang="0">
                <a:pos x="295" y="87"/>
              </a:cxn>
              <a:cxn ang="0">
                <a:pos x="301" y="99"/>
              </a:cxn>
              <a:cxn ang="0">
                <a:pos x="291" y="112"/>
              </a:cxn>
              <a:cxn ang="0">
                <a:pos x="292" y="121"/>
              </a:cxn>
              <a:cxn ang="0">
                <a:pos x="290" y="127"/>
              </a:cxn>
              <a:cxn ang="0">
                <a:pos x="278" y="135"/>
              </a:cxn>
              <a:cxn ang="0">
                <a:pos x="271" y="146"/>
              </a:cxn>
              <a:cxn ang="0">
                <a:pos x="253" y="148"/>
              </a:cxn>
              <a:cxn ang="0">
                <a:pos x="228" y="150"/>
              </a:cxn>
              <a:cxn ang="0">
                <a:pos x="220" y="159"/>
              </a:cxn>
              <a:cxn ang="0">
                <a:pos x="211" y="165"/>
              </a:cxn>
              <a:cxn ang="0">
                <a:pos x="192" y="159"/>
              </a:cxn>
              <a:cxn ang="0">
                <a:pos x="167" y="155"/>
              </a:cxn>
              <a:cxn ang="0">
                <a:pos x="137" y="149"/>
              </a:cxn>
              <a:cxn ang="0">
                <a:pos x="118" y="142"/>
              </a:cxn>
              <a:cxn ang="0">
                <a:pos x="110" y="129"/>
              </a:cxn>
              <a:cxn ang="0">
                <a:pos x="98" y="127"/>
              </a:cxn>
              <a:cxn ang="0">
                <a:pos x="85" y="128"/>
              </a:cxn>
              <a:cxn ang="0">
                <a:pos x="69" y="129"/>
              </a:cxn>
              <a:cxn ang="0">
                <a:pos x="56" y="142"/>
              </a:cxn>
              <a:cxn ang="0">
                <a:pos x="47" y="136"/>
              </a:cxn>
              <a:cxn ang="0">
                <a:pos x="32" y="131"/>
              </a:cxn>
              <a:cxn ang="0">
                <a:pos x="15" y="127"/>
              </a:cxn>
              <a:cxn ang="0">
                <a:pos x="3" y="117"/>
              </a:cxn>
              <a:cxn ang="0">
                <a:pos x="0" y="94"/>
              </a:cxn>
              <a:cxn ang="0">
                <a:pos x="17" y="94"/>
              </a:cxn>
              <a:cxn ang="0">
                <a:pos x="22" y="102"/>
              </a:cxn>
              <a:cxn ang="0">
                <a:pos x="26" y="109"/>
              </a:cxn>
              <a:cxn ang="0">
                <a:pos x="37" y="97"/>
              </a:cxn>
              <a:cxn ang="0">
                <a:pos x="51" y="94"/>
              </a:cxn>
              <a:cxn ang="0">
                <a:pos x="61" y="100"/>
              </a:cxn>
              <a:cxn ang="0">
                <a:pos x="74" y="102"/>
              </a:cxn>
              <a:cxn ang="0">
                <a:pos x="86" y="94"/>
              </a:cxn>
              <a:cxn ang="0">
                <a:pos x="116" y="85"/>
              </a:cxn>
              <a:cxn ang="0">
                <a:pos x="127" y="88"/>
              </a:cxn>
              <a:cxn ang="0">
                <a:pos x="137" y="93"/>
              </a:cxn>
              <a:cxn ang="0">
                <a:pos x="149" y="85"/>
              </a:cxn>
              <a:cxn ang="0">
                <a:pos x="144" y="73"/>
              </a:cxn>
              <a:cxn ang="0">
                <a:pos x="136" y="57"/>
              </a:cxn>
              <a:cxn ang="0">
                <a:pos x="160" y="44"/>
              </a:cxn>
              <a:cxn ang="0">
                <a:pos x="168" y="27"/>
              </a:cxn>
              <a:cxn ang="0">
                <a:pos x="180" y="26"/>
              </a:cxn>
              <a:cxn ang="0">
                <a:pos x="184" y="18"/>
              </a:cxn>
              <a:cxn ang="0">
                <a:pos x="190" y="25"/>
              </a:cxn>
              <a:cxn ang="0">
                <a:pos x="206" y="27"/>
              </a:cxn>
              <a:cxn ang="0">
                <a:pos x="218" y="27"/>
              </a:cxn>
              <a:cxn ang="0">
                <a:pos x="228" y="13"/>
              </a:cxn>
            </a:cxnLst>
            <a:rect l="0" t="0" r="r" b="b"/>
            <a:pathLst>
              <a:path w="321" h="165">
                <a:moveTo>
                  <a:pt x="38" y="91"/>
                </a:moveTo>
                <a:lnTo>
                  <a:pt x="40" y="91"/>
                </a:lnTo>
                <a:lnTo>
                  <a:pt x="40" y="92"/>
                </a:lnTo>
                <a:lnTo>
                  <a:pt x="38" y="93"/>
                </a:lnTo>
                <a:lnTo>
                  <a:pt x="37" y="93"/>
                </a:lnTo>
                <a:lnTo>
                  <a:pt x="37" y="92"/>
                </a:lnTo>
                <a:lnTo>
                  <a:pt x="38" y="91"/>
                </a:lnTo>
                <a:close/>
                <a:moveTo>
                  <a:pt x="112" y="82"/>
                </a:moveTo>
                <a:lnTo>
                  <a:pt x="113" y="82"/>
                </a:lnTo>
                <a:lnTo>
                  <a:pt x="113" y="85"/>
                </a:lnTo>
                <a:lnTo>
                  <a:pt x="112" y="85"/>
                </a:lnTo>
                <a:lnTo>
                  <a:pt x="112" y="82"/>
                </a:lnTo>
                <a:close/>
                <a:moveTo>
                  <a:pt x="115" y="81"/>
                </a:moveTo>
                <a:lnTo>
                  <a:pt x="115" y="82"/>
                </a:lnTo>
                <a:lnTo>
                  <a:pt x="113" y="82"/>
                </a:lnTo>
                <a:lnTo>
                  <a:pt x="115" y="81"/>
                </a:lnTo>
                <a:close/>
                <a:moveTo>
                  <a:pt x="230" y="0"/>
                </a:moveTo>
                <a:lnTo>
                  <a:pt x="231" y="0"/>
                </a:lnTo>
                <a:lnTo>
                  <a:pt x="234" y="1"/>
                </a:lnTo>
                <a:lnTo>
                  <a:pt x="236" y="1"/>
                </a:lnTo>
                <a:lnTo>
                  <a:pt x="237" y="2"/>
                </a:lnTo>
                <a:lnTo>
                  <a:pt x="237" y="5"/>
                </a:lnTo>
                <a:lnTo>
                  <a:pt x="241" y="5"/>
                </a:lnTo>
                <a:lnTo>
                  <a:pt x="241" y="4"/>
                </a:lnTo>
                <a:lnTo>
                  <a:pt x="242" y="4"/>
                </a:lnTo>
                <a:lnTo>
                  <a:pt x="242" y="2"/>
                </a:lnTo>
                <a:lnTo>
                  <a:pt x="246" y="2"/>
                </a:lnTo>
                <a:lnTo>
                  <a:pt x="248" y="4"/>
                </a:lnTo>
                <a:lnTo>
                  <a:pt x="249" y="5"/>
                </a:lnTo>
                <a:lnTo>
                  <a:pt x="251" y="5"/>
                </a:lnTo>
                <a:lnTo>
                  <a:pt x="253" y="7"/>
                </a:lnTo>
                <a:lnTo>
                  <a:pt x="254" y="7"/>
                </a:lnTo>
                <a:lnTo>
                  <a:pt x="256" y="8"/>
                </a:lnTo>
                <a:lnTo>
                  <a:pt x="260" y="11"/>
                </a:lnTo>
                <a:lnTo>
                  <a:pt x="262" y="11"/>
                </a:lnTo>
                <a:lnTo>
                  <a:pt x="264" y="10"/>
                </a:lnTo>
                <a:lnTo>
                  <a:pt x="266" y="10"/>
                </a:lnTo>
                <a:lnTo>
                  <a:pt x="266" y="11"/>
                </a:lnTo>
                <a:lnTo>
                  <a:pt x="268" y="11"/>
                </a:lnTo>
                <a:lnTo>
                  <a:pt x="267" y="12"/>
                </a:lnTo>
                <a:lnTo>
                  <a:pt x="270" y="12"/>
                </a:lnTo>
                <a:lnTo>
                  <a:pt x="270" y="13"/>
                </a:lnTo>
                <a:lnTo>
                  <a:pt x="274" y="17"/>
                </a:lnTo>
                <a:lnTo>
                  <a:pt x="277" y="18"/>
                </a:lnTo>
                <a:lnTo>
                  <a:pt x="287" y="18"/>
                </a:lnTo>
                <a:lnTo>
                  <a:pt x="289" y="19"/>
                </a:lnTo>
                <a:lnTo>
                  <a:pt x="289" y="18"/>
                </a:lnTo>
                <a:lnTo>
                  <a:pt x="291" y="14"/>
                </a:lnTo>
                <a:lnTo>
                  <a:pt x="293" y="14"/>
                </a:lnTo>
                <a:lnTo>
                  <a:pt x="295" y="13"/>
                </a:lnTo>
                <a:lnTo>
                  <a:pt x="296" y="13"/>
                </a:lnTo>
                <a:lnTo>
                  <a:pt x="296" y="14"/>
                </a:lnTo>
                <a:lnTo>
                  <a:pt x="298" y="14"/>
                </a:lnTo>
                <a:lnTo>
                  <a:pt x="299" y="16"/>
                </a:lnTo>
                <a:lnTo>
                  <a:pt x="301" y="16"/>
                </a:lnTo>
                <a:lnTo>
                  <a:pt x="301" y="18"/>
                </a:lnTo>
                <a:lnTo>
                  <a:pt x="304" y="18"/>
                </a:lnTo>
                <a:lnTo>
                  <a:pt x="307" y="20"/>
                </a:lnTo>
                <a:lnTo>
                  <a:pt x="308" y="19"/>
                </a:lnTo>
                <a:lnTo>
                  <a:pt x="310" y="19"/>
                </a:lnTo>
                <a:lnTo>
                  <a:pt x="311" y="20"/>
                </a:lnTo>
                <a:lnTo>
                  <a:pt x="311" y="25"/>
                </a:lnTo>
                <a:lnTo>
                  <a:pt x="312" y="26"/>
                </a:lnTo>
                <a:lnTo>
                  <a:pt x="314" y="30"/>
                </a:lnTo>
                <a:lnTo>
                  <a:pt x="312" y="30"/>
                </a:lnTo>
                <a:lnTo>
                  <a:pt x="312" y="31"/>
                </a:lnTo>
                <a:lnTo>
                  <a:pt x="311" y="32"/>
                </a:lnTo>
                <a:lnTo>
                  <a:pt x="311" y="33"/>
                </a:lnTo>
                <a:lnTo>
                  <a:pt x="309" y="36"/>
                </a:lnTo>
                <a:lnTo>
                  <a:pt x="309" y="42"/>
                </a:lnTo>
                <a:lnTo>
                  <a:pt x="310" y="42"/>
                </a:lnTo>
                <a:lnTo>
                  <a:pt x="310" y="43"/>
                </a:lnTo>
                <a:lnTo>
                  <a:pt x="311" y="43"/>
                </a:lnTo>
                <a:lnTo>
                  <a:pt x="311" y="47"/>
                </a:lnTo>
                <a:lnTo>
                  <a:pt x="312" y="47"/>
                </a:lnTo>
                <a:lnTo>
                  <a:pt x="312" y="48"/>
                </a:lnTo>
                <a:lnTo>
                  <a:pt x="314" y="48"/>
                </a:lnTo>
                <a:lnTo>
                  <a:pt x="314" y="54"/>
                </a:lnTo>
                <a:lnTo>
                  <a:pt x="316" y="56"/>
                </a:lnTo>
                <a:lnTo>
                  <a:pt x="317" y="56"/>
                </a:lnTo>
                <a:lnTo>
                  <a:pt x="317" y="57"/>
                </a:lnTo>
                <a:lnTo>
                  <a:pt x="318" y="59"/>
                </a:lnTo>
                <a:lnTo>
                  <a:pt x="318" y="60"/>
                </a:lnTo>
                <a:lnTo>
                  <a:pt x="317" y="61"/>
                </a:lnTo>
                <a:lnTo>
                  <a:pt x="318" y="61"/>
                </a:lnTo>
                <a:lnTo>
                  <a:pt x="318" y="62"/>
                </a:lnTo>
                <a:lnTo>
                  <a:pt x="320" y="63"/>
                </a:lnTo>
                <a:lnTo>
                  <a:pt x="321" y="63"/>
                </a:lnTo>
                <a:lnTo>
                  <a:pt x="321" y="64"/>
                </a:lnTo>
                <a:lnTo>
                  <a:pt x="318" y="67"/>
                </a:lnTo>
                <a:lnTo>
                  <a:pt x="320" y="67"/>
                </a:lnTo>
                <a:lnTo>
                  <a:pt x="320" y="68"/>
                </a:lnTo>
                <a:lnTo>
                  <a:pt x="318" y="68"/>
                </a:lnTo>
                <a:lnTo>
                  <a:pt x="318" y="72"/>
                </a:lnTo>
                <a:lnTo>
                  <a:pt x="317" y="73"/>
                </a:lnTo>
                <a:lnTo>
                  <a:pt x="315" y="73"/>
                </a:lnTo>
                <a:lnTo>
                  <a:pt x="315" y="74"/>
                </a:lnTo>
                <a:lnTo>
                  <a:pt x="316" y="74"/>
                </a:lnTo>
                <a:lnTo>
                  <a:pt x="316" y="75"/>
                </a:lnTo>
                <a:lnTo>
                  <a:pt x="317" y="75"/>
                </a:lnTo>
                <a:lnTo>
                  <a:pt x="317" y="82"/>
                </a:lnTo>
                <a:lnTo>
                  <a:pt x="318" y="82"/>
                </a:lnTo>
                <a:lnTo>
                  <a:pt x="318" y="84"/>
                </a:lnTo>
                <a:lnTo>
                  <a:pt x="315" y="84"/>
                </a:lnTo>
                <a:lnTo>
                  <a:pt x="311" y="85"/>
                </a:lnTo>
                <a:lnTo>
                  <a:pt x="309" y="85"/>
                </a:lnTo>
                <a:lnTo>
                  <a:pt x="309" y="82"/>
                </a:lnTo>
                <a:lnTo>
                  <a:pt x="308" y="84"/>
                </a:lnTo>
                <a:lnTo>
                  <a:pt x="308" y="85"/>
                </a:lnTo>
                <a:lnTo>
                  <a:pt x="304" y="85"/>
                </a:lnTo>
                <a:lnTo>
                  <a:pt x="303" y="84"/>
                </a:lnTo>
                <a:lnTo>
                  <a:pt x="303" y="82"/>
                </a:lnTo>
                <a:lnTo>
                  <a:pt x="302" y="81"/>
                </a:lnTo>
                <a:lnTo>
                  <a:pt x="298" y="80"/>
                </a:lnTo>
                <a:lnTo>
                  <a:pt x="297" y="80"/>
                </a:lnTo>
                <a:lnTo>
                  <a:pt x="296" y="81"/>
                </a:lnTo>
                <a:lnTo>
                  <a:pt x="295" y="81"/>
                </a:lnTo>
                <a:lnTo>
                  <a:pt x="296" y="82"/>
                </a:lnTo>
                <a:lnTo>
                  <a:pt x="295" y="82"/>
                </a:lnTo>
                <a:lnTo>
                  <a:pt x="295" y="84"/>
                </a:lnTo>
                <a:lnTo>
                  <a:pt x="293" y="84"/>
                </a:lnTo>
                <a:lnTo>
                  <a:pt x="292" y="85"/>
                </a:lnTo>
                <a:lnTo>
                  <a:pt x="291" y="84"/>
                </a:lnTo>
                <a:lnTo>
                  <a:pt x="291" y="86"/>
                </a:lnTo>
                <a:lnTo>
                  <a:pt x="293" y="87"/>
                </a:lnTo>
                <a:lnTo>
                  <a:pt x="295" y="87"/>
                </a:lnTo>
                <a:lnTo>
                  <a:pt x="297" y="88"/>
                </a:lnTo>
                <a:lnTo>
                  <a:pt x="299" y="88"/>
                </a:lnTo>
                <a:lnTo>
                  <a:pt x="301" y="90"/>
                </a:lnTo>
                <a:lnTo>
                  <a:pt x="301" y="92"/>
                </a:lnTo>
                <a:lnTo>
                  <a:pt x="302" y="93"/>
                </a:lnTo>
                <a:lnTo>
                  <a:pt x="302" y="96"/>
                </a:lnTo>
                <a:lnTo>
                  <a:pt x="301" y="96"/>
                </a:lnTo>
                <a:lnTo>
                  <a:pt x="299" y="97"/>
                </a:lnTo>
                <a:lnTo>
                  <a:pt x="301" y="99"/>
                </a:lnTo>
                <a:lnTo>
                  <a:pt x="299" y="99"/>
                </a:lnTo>
                <a:lnTo>
                  <a:pt x="298" y="100"/>
                </a:lnTo>
                <a:lnTo>
                  <a:pt x="293" y="103"/>
                </a:lnTo>
                <a:lnTo>
                  <a:pt x="292" y="102"/>
                </a:lnTo>
                <a:lnTo>
                  <a:pt x="291" y="103"/>
                </a:lnTo>
                <a:lnTo>
                  <a:pt x="291" y="106"/>
                </a:lnTo>
                <a:lnTo>
                  <a:pt x="292" y="109"/>
                </a:lnTo>
                <a:lnTo>
                  <a:pt x="293" y="110"/>
                </a:lnTo>
                <a:lnTo>
                  <a:pt x="291" y="112"/>
                </a:lnTo>
                <a:lnTo>
                  <a:pt x="291" y="113"/>
                </a:lnTo>
                <a:lnTo>
                  <a:pt x="290" y="115"/>
                </a:lnTo>
                <a:lnTo>
                  <a:pt x="290" y="116"/>
                </a:lnTo>
                <a:lnTo>
                  <a:pt x="291" y="116"/>
                </a:lnTo>
                <a:lnTo>
                  <a:pt x="291" y="118"/>
                </a:lnTo>
                <a:lnTo>
                  <a:pt x="295" y="118"/>
                </a:lnTo>
                <a:lnTo>
                  <a:pt x="295" y="119"/>
                </a:lnTo>
                <a:lnTo>
                  <a:pt x="293" y="121"/>
                </a:lnTo>
                <a:lnTo>
                  <a:pt x="292" y="121"/>
                </a:lnTo>
                <a:lnTo>
                  <a:pt x="292" y="123"/>
                </a:lnTo>
                <a:lnTo>
                  <a:pt x="293" y="123"/>
                </a:lnTo>
                <a:lnTo>
                  <a:pt x="293" y="124"/>
                </a:lnTo>
                <a:lnTo>
                  <a:pt x="291" y="125"/>
                </a:lnTo>
                <a:lnTo>
                  <a:pt x="292" y="125"/>
                </a:lnTo>
                <a:lnTo>
                  <a:pt x="293" y="127"/>
                </a:lnTo>
                <a:lnTo>
                  <a:pt x="292" y="128"/>
                </a:lnTo>
                <a:lnTo>
                  <a:pt x="290" y="128"/>
                </a:lnTo>
                <a:lnTo>
                  <a:pt x="290" y="127"/>
                </a:lnTo>
                <a:lnTo>
                  <a:pt x="285" y="127"/>
                </a:lnTo>
                <a:lnTo>
                  <a:pt x="284" y="128"/>
                </a:lnTo>
                <a:lnTo>
                  <a:pt x="284" y="129"/>
                </a:lnTo>
                <a:lnTo>
                  <a:pt x="283" y="129"/>
                </a:lnTo>
                <a:lnTo>
                  <a:pt x="283" y="131"/>
                </a:lnTo>
                <a:lnTo>
                  <a:pt x="282" y="131"/>
                </a:lnTo>
                <a:lnTo>
                  <a:pt x="280" y="133"/>
                </a:lnTo>
                <a:lnTo>
                  <a:pt x="279" y="133"/>
                </a:lnTo>
                <a:lnTo>
                  <a:pt x="278" y="135"/>
                </a:lnTo>
                <a:lnTo>
                  <a:pt x="277" y="136"/>
                </a:lnTo>
                <a:lnTo>
                  <a:pt x="276" y="136"/>
                </a:lnTo>
                <a:lnTo>
                  <a:pt x="274" y="137"/>
                </a:lnTo>
                <a:lnTo>
                  <a:pt x="272" y="137"/>
                </a:lnTo>
                <a:lnTo>
                  <a:pt x="272" y="144"/>
                </a:lnTo>
                <a:lnTo>
                  <a:pt x="273" y="144"/>
                </a:lnTo>
                <a:lnTo>
                  <a:pt x="273" y="147"/>
                </a:lnTo>
                <a:lnTo>
                  <a:pt x="272" y="146"/>
                </a:lnTo>
                <a:lnTo>
                  <a:pt x="271" y="146"/>
                </a:lnTo>
                <a:lnTo>
                  <a:pt x="268" y="144"/>
                </a:lnTo>
                <a:lnTo>
                  <a:pt x="264" y="144"/>
                </a:lnTo>
                <a:lnTo>
                  <a:pt x="262" y="146"/>
                </a:lnTo>
                <a:lnTo>
                  <a:pt x="261" y="146"/>
                </a:lnTo>
                <a:lnTo>
                  <a:pt x="259" y="144"/>
                </a:lnTo>
                <a:lnTo>
                  <a:pt x="258" y="144"/>
                </a:lnTo>
                <a:lnTo>
                  <a:pt x="258" y="147"/>
                </a:lnTo>
                <a:lnTo>
                  <a:pt x="254" y="147"/>
                </a:lnTo>
                <a:lnTo>
                  <a:pt x="253" y="148"/>
                </a:lnTo>
                <a:lnTo>
                  <a:pt x="253" y="150"/>
                </a:lnTo>
                <a:lnTo>
                  <a:pt x="249" y="150"/>
                </a:lnTo>
                <a:lnTo>
                  <a:pt x="248" y="149"/>
                </a:lnTo>
                <a:lnTo>
                  <a:pt x="234" y="149"/>
                </a:lnTo>
                <a:lnTo>
                  <a:pt x="234" y="148"/>
                </a:lnTo>
                <a:lnTo>
                  <a:pt x="231" y="149"/>
                </a:lnTo>
                <a:lnTo>
                  <a:pt x="229" y="152"/>
                </a:lnTo>
                <a:lnTo>
                  <a:pt x="229" y="150"/>
                </a:lnTo>
                <a:lnTo>
                  <a:pt x="228" y="150"/>
                </a:lnTo>
                <a:lnTo>
                  <a:pt x="227" y="152"/>
                </a:lnTo>
                <a:lnTo>
                  <a:pt x="224" y="152"/>
                </a:lnTo>
                <a:lnTo>
                  <a:pt x="224" y="153"/>
                </a:lnTo>
                <a:lnTo>
                  <a:pt x="223" y="154"/>
                </a:lnTo>
                <a:lnTo>
                  <a:pt x="223" y="155"/>
                </a:lnTo>
                <a:lnTo>
                  <a:pt x="222" y="156"/>
                </a:lnTo>
                <a:lnTo>
                  <a:pt x="222" y="158"/>
                </a:lnTo>
                <a:lnTo>
                  <a:pt x="221" y="158"/>
                </a:lnTo>
                <a:lnTo>
                  <a:pt x="220" y="159"/>
                </a:lnTo>
                <a:lnTo>
                  <a:pt x="220" y="158"/>
                </a:lnTo>
                <a:lnTo>
                  <a:pt x="217" y="160"/>
                </a:lnTo>
                <a:lnTo>
                  <a:pt x="216" y="160"/>
                </a:lnTo>
                <a:lnTo>
                  <a:pt x="216" y="161"/>
                </a:lnTo>
                <a:lnTo>
                  <a:pt x="214" y="161"/>
                </a:lnTo>
                <a:lnTo>
                  <a:pt x="214" y="162"/>
                </a:lnTo>
                <a:lnTo>
                  <a:pt x="212" y="162"/>
                </a:lnTo>
                <a:lnTo>
                  <a:pt x="212" y="165"/>
                </a:lnTo>
                <a:lnTo>
                  <a:pt x="211" y="165"/>
                </a:lnTo>
                <a:lnTo>
                  <a:pt x="210" y="164"/>
                </a:lnTo>
                <a:lnTo>
                  <a:pt x="210" y="162"/>
                </a:lnTo>
                <a:lnTo>
                  <a:pt x="209" y="164"/>
                </a:lnTo>
                <a:lnTo>
                  <a:pt x="208" y="164"/>
                </a:lnTo>
                <a:lnTo>
                  <a:pt x="208" y="162"/>
                </a:lnTo>
                <a:lnTo>
                  <a:pt x="206" y="162"/>
                </a:lnTo>
                <a:lnTo>
                  <a:pt x="205" y="161"/>
                </a:lnTo>
                <a:lnTo>
                  <a:pt x="195" y="161"/>
                </a:lnTo>
                <a:lnTo>
                  <a:pt x="192" y="159"/>
                </a:lnTo>
                <a:lnTo>
                  <a:pt x="187" y="159"/>
                </a:lnTo>
                <a:lnTo>
                  <a:pt x="184" y="158"/>
                </a:lnTo>
                <a:lnTo>
                  <a:pt x="183" y="156"/>
                </a:lnTo>
                <a:lnTo>
                  <a:pt x="180" y="158"/>
                </a:lnTo>
                <a:lnTo>
                  <a:pt x="179" y="158"/>
                </a:lnTo>
                <a:lnTo>
                  <a:pt x="177" y="156"/>
                </a:lnTo>
                <a:lnTo>
                  <a:pt x="174" y="156"/>
                </a:lnTo>
                <a:lnTo>
                  <a:pt x="169" y="155"/>
                </a:lnTo>
                <a:lnTo>
                  <a:pt x="167" y="155"/>
                </a:lnTo>
                <a:lnTo>
                  <a:pt x="167" y="154"/>
                </a:lnTo>
                <a:lnTo>
                  <a:pt x="162" y="154"/>
                </a:lnTo>
                <a:lnTo>
                  <a:pt x="158" y="155"/>
                </a:lnTo>
                <a:lnTo>
                  <a:pt x="156" y="154"/>
                </a:lnTo>
                <a:lnTo>
                  <a:pt x="155" y="154"/>
                </a:lnTo>
                <a:lnTo>
                  <a:pt x="153" y="153"/>
                </a:lnTo>
                <a:lnTo>
                  <a:pt x="149" y="152"/>
                </a:lnTo>
                <a:lnTo>
                  <a:pt x="140" y="152"/>
                </a:lnTo>
                <a:lnTo>
                  <a:pt x="137" y="149"/>
                </a:lnTo>
                <a:lnTo>
                  <a:pt x="134" y="149"/>
                </a:lnTo>
                <a:lnTo>
                  <a:pt x="133" y="148"/>
                </a:lnTo>
                <a:lnTo>
                  <a:pt x="127" y="148"/>
                </a:lnTo>
                <a:lnTo>
                  <a:pt x="125" y="147"/>
                </a:lnTo>
                <a:lnTo>
                  <a:pt x="123" y="147"/>
                </a:lnTo>
                <a:lnTo>
                  <a:pt x="122" y="146"/>
                </a:lnTo>
                <a:lnTo>
                  <a:pt x="119" y="144"/>
                </a:lnTo>
                <a:lnTo>
                  <a:pt x="119" y="143"/>
                </a:lnTo>
                <a:lnTo>
                  <a:pt x="118" y="142"/>
                </a:lnTo>
                <a:lnTo>
                  <a:pt x="118" y="141"/>
                </a:lnTo>
                <a:lnTo>
                  <a:pt x="116" y="141"/>
                </a:lnTo>
                <a:lnTo>
                  <a:pt x="116" y="135"/>
                </a:lnTo>
                <a:lnTo>
                  <a:pt x="112" y="135"/>
                </a:lnTo>
                <a:lnTo>
                  <a:pt x="112" y="134"/>
                </a:lnTo>
                <a:lnTo>
                  <a:pt x="111" y="134"/>
                </a:lnTo>
                <a:lnTo>
                  <a:pt x="111" y="133"/>
                </a:lnTo>
                <a:lnTo>
                  <a:pt x="110" y="133"/>
                </a:lnTo>
                <a:lnTo>
                  <a:pt x="110" y="129"/>
                </a:lnTo>
                <a:lnTo>
                  <a:pt x="109" y="128"/>
                </a:lnTo>
                <a:lnTo>
                  <a:pt x="110" y="127"/>
                </a:lnTo>
                <a:lnTo>
                  <a:pt x="112" y="125"/>
                </a:lnTo>
                <a:lnTo>
                  <a:pt x="112" y="122"/>
                </a:lnTo>
                <a:lnTo>
                  <a:pt x="109" y="122"/>
                </a:lnTo>
                <a:lnTo>
                  <a:pt x="105" y="124"/>
                </a:lnTo>
                <a:lnTo>
                  <a:pt x="102" y="124"/>
                </a:lnTo>
                <a:lnTo>
                  <a:pt x="100" y="125"/>
                </a:lnTo>
                <a:lnTo>
                  <a:pt x="98" y="127"/>
                </a:lnTo>
                <a:lnTo>
                  <a:pt x="97" y="128"/>
                </a:lnTo>
                <a:lnTo>
                  <a:pt x="94" y="128"/>
                </a:lnTo>
                <a:lnTo>
                  <a:pt x="93" y="129"/>
                </a:lnTo>
                <a:lnTo>
                  <a:pt x="92" y="129"/>
                </a:lnTo>
                <a:lnTo>
                  <a:pt x="91" y="128"/>
                </a:lnTo>
                <a:lnTo>
                  <a:pt x="90" y="128"/>
                </a:lnTo>
                <a:lnTo>
                  <a:pt x="87" y="127"/>
                </a:lnTo>
                <a:lnTo>
                  <a:pt x="86" y="127"/>
                </a:lnTo>
                <a:lnTo>
                  <a:pt x="85" y="128"/>
                </a:lnTo>
                <a:lnTo>
                  <a:pt x="84" y="128"/>
                </a:lnTo>
                <a:lnTo>
                  <a:pt x="82" y="127"/>
                </a:lnTo>
                <a:lnTo>
                  <a:pt x="81" y="127"/>
                </a:lnTo>
                <a:lnTo>
                  <a:pt x="81" y="128"/>
                </a:lnTo>
                <a:lnTo>
                  <a:pt x="79" y="129"/>
                </a:lnTo>
                <a:lnTo>
                  <a:pt x="78" y="129"/>
                </a:lnTo>
                <a:lnTo>
                  <a:pt x="77" y="128"/>
                </a:lnTo>
                <a:lnTo>
                  <a:pt x="72" y="128"/>
                </a:lnTo>
                <a:lnTo>
                  <a:pt x="69" y="129"/>
                </a:lnTo>
                <a:lnTo>
                  <a:pt x="66" y="133"/>
                </a:lnTo>
                <a:lnTo>
                  <a:pt x="66" y="134"/>
                </a:lnTo>
                <a:lnTo>
                  <a:pt x="65" y="135"/>
                </a:lnTo>
                <a:lnTo>
                  <a:pt x="65" y="139"/>
                </a:lnTo>
                <a:lnTo>
                  <a:pt x="63" y="139"/>
                </a:lnTo>
                <a:lnTo>
                  <a:pt x="62" y="141"/>
                </a:lnTo>
                <a:lnTo>
                  <a:pt x="59" y="141"/>
                </a:lnTo>
                <a:lnTo>
                  <a:pt x="57" y="142"/>
                </a:lnTo>
                <a:lnTo>
                  <a:pt x="56" y="142"/>
                </a:lnTo>
                <a:lnTo>
                  <a:pt x="56" y="141"/>
                </a:lnTo>
                <a:lnTo>
                  <a:pt x="54" y="141"/>
                </a:lnTo>
                <a:lnTo>
                  <a:pt x="53" y="140"/>
                </a:lnTo>
                <a:lnTo>
                  <a:pt x="50" y="140"/>
                </a:lnTo>
                <a:lnTo>
                  <a:pt x="51" y="139"/>
                </a:lnTo>
                <a:lnTo>
                  <a:pt x="51" y="137"/>
                </a:lnTo>
                <a:lnTo>
                  <a:pt x="48" y="136"/>
                </a:lnTo>
                <a:lnTo>
                  <a:pt x="47" y="135"/>
                </a:lnTo>
                <a:lnTo>
                  <a:pt x="47" y="136"/>
                </a:lnTo>
                <a:lnTo>
                  <a:pt x="42" y="137"/>
                </a:lnTo>
                <a:lnTo>
                  <a:pt x="38" y="134"/>
                </a:lnTo>
                <a:lnTo>
                  <a:pt x="40" y="133"/>
                </a:lnTo>
                <a:lnTo>
                  <a:pt x="40" y="131"/>
                </a:lnTo>
                <a:lnTo>
                  <a:pt x="36" y="128"/>
                </a:lnTo>
                <a:lnTo>
                  <a:pt x="34" y="128"/>
                </a:lnTo>
                <a:lnTo>
                  <a:pt x="34" y="129"/>
                </a:lnTo>
                <a:lnTo>
                  <a:pt x="32" y="130"/>
                </a:lnTo>
                <a:lnTo>
                  <a:pt x="32" y="131"/>
                </a:lnTo>
                <a:lnTo>
                  <a:pt x="30" y="131"/>
                </a:lnTo>
                <a:lnTo>
                  <a:pt x="29" y="133"/>
                </a:lnTo>
                <a:lnTo>
                  <a:pt x="29" y="135"/>
                </a:lnTo>
                <a:lnTo>
                  <a:pt x="26" y="136"/>
                </a:lnTo>
                <a:lnTo>
                  <a:pt x="23" y="136"/>
                </a:lnTo>
                <a:lnTo>
                  <a:pt x="20" y="134"/>
                </a:lnTo>
                <a:lnTo>
                  <a:pt x="16" y="133"/>
                </a:lnTo>
                <a:lnTo>
                  <a:pt x="15" y="131"/>
                </a:lnTo>
                <a:lnTo>
                  <a:pt x="15" y="127"/>
                </a:lnTo>
                <a:lnTo>
                  <a:pt x="13" y="127"/>
                </a:lnTo>
                <a:lnTo>
                  <a:pt x="6" y="124"/>
                </a:lnTo>
                <a:lnTo>
                  <a:pt x="5" y="123"/>
                </a:lnTo>
                <a:lnTo>
                  <a:pt x="3" y="124"/>
                </a:lnTo>
                <a:lnTo>
                  <a:pt x="3" y="123"/>
                </a:lnTo>
                <a:lnTo>
                  <a:pt x="4" y="122"/>
                </a:lnTo>
                <a:lnTo>
                  <a:pt x="4" y="121"/>
                </a:lnTo>
                <a:lnTo>
                  <a:pt x="3" y="119"/>
                </a:lnTo>
                <a:lnTo>
                  <a:pt x="3" y="117"/>
                </a:lnTo>
                <a:lnTo>
                  <a:pt x="1" y="117"/>
                </a:lnTo>
                <a:lnTo>
                  <a:pt x="1" y="113"/>
                </a:lnTo>
                <a:lnTo>
                  <a:pt x="0" y="113"/>
                </a:lnTo>
                <a:lnTo>
                  <a:pt x="0" y="111"/>
                </a:lnTo>
                <a:lnTo>
                  <a:pt x="3" y="106"/>
                </a:lnTo>
                <a:lnTo>
                  <a:pt x="3" y="105"/>
                </a:lnTo>
                <a:lnTo>
                  <a:pt x="5" y="103"/>
                </a:lnTo>
                <a:lnTo>
                  <a:pt x="5" y="99"/>
                </a:lnTo>
                <a:lnTo>
                  <a:pt x="0" y="94"/>
                </a:lnTo>
                <a:lnTo>
                  <a:pt x="7" y="94"/>
                </a:lnTo>
                <a:lnTo>
                  <a:pt x="7" y="93"/>
                </a:lnTo>
                <a:lnTo>
                  <a:pt x="10" y="91"/>
                </a:lnTo>
                <a:lnTo>
                  <a:pt x="12" y="91"/>
                </a:lnTo>
                <a:lnTo>
                  <a:pt x="12" y="93"/>
                </a:lnTo>
                <a:lnTo>
                  <a:pt x="13" y="94"/>
                </a:lnTo>
                <a:lnTo>
                  <a:pt x="13" y="93"/>
                </a:lnTo>
                <a:lnTo>
                  <a:pt x="16" y="94"/>
                </a:lnTo>
                <a:lnTo>
                  <a:pt x="17" y="94"/>
                </a:lnTo>
                <a:lnTo>
                  <a:pt x="18" y="93"/>
                </a:lnTo>
                <a:lnTo>
                  <a:pt x="18" y="96"/>
                </a:lnTo>
                <a:lnTo>
                  <a:pt x="19" y="97"/>
                </a:lnTo>
                <a:lnTo>
                  <a:pt x="19" y="98"/>
                </a:lnTo>
                <a:lnTo>
                  <a:pt x="20" y="98"/>
                </a:lnTo>
                <a:lnTo>
                  <a:pt x="20" y="97"/>
                </a:lnTo>
                <a:lnTo>
                  <a:pt x="23" y="100"/>
                </a:lnTo>
                <a:lnTo>
                  <a:pt x="23" y="102"/>
                </a:lnTo>
                <a:lnTo>
                  <a:pt x="22" y="102"/>
                </a:lnTo>
                <a:lnTo>
                  <a:pt x="23" y="103"/>
                </a:lnTo>
                <a:lnTo>
                  <a:pt x="23" y="105"/>
                </a:lnTo>
                <a:lnTo>
                  <a:pt x="24" y="105"/>
                </a:lnTo>
                <a:lnTo>
                  <a:pt x="24" y="104"/>
                </a:lnTo>
                <a:lnTo>
                  <a:pt x="29" y="104"/>
                </a:lnTo>
                <a:lnTo>
                  <a:pt x="29" y="105"/>
                </a:lnTo>
                <a:lnTo>
                  <a:pt x="28" y="107"/>
                </a:lnTo>
                <a:lnTo>
                  <a:pt x="28" y="109"/>
                </a:lnTo>
                <a:lnTo>
                  <a:pt x="26" y="109"/>
                </a:lnTo>
                <a:lnTo>
                  <a:pt x="26" y="110"/>
                </a:lnTo>
                <a:lnTo>
                  <a:pt x="31" y="110"/>
                </a:lnTo>
                <a:lnTo>
                  <a:pt x="35" y="106"/>
                </a:lnTo>
                <a:lnTo>
                  <a:pt x="35" y="105"/>
                </a:lnTo>
                <a:lnTo>
                  <a:pt x="36" y="104"/>
                </a:lnTo>
                <a:lnTo>
                  <a:pt x="37" y="104"/>
                </a:lnTo>
                <a:lnTo>
                  <a:pt x="38" y="103"/>
                </a:lnTo>
                <a:lnTo>
                  <a:pt x="38" y="97"/>
                </a:lnTo>
                <a:lnTo>
                  <a:pt x="37" y="97"/>
                </a:lnTo>
                <a:lnTo>
                  <a:pt x="38" y="94"/>
                </a:lnTo>
                <a:lnTo>
                  <a:pt x="38" y="93"/>
                </a:lnTo>
                <a:lnTo>
                  <a:pt x="40" y="93"/>
                </a:lnTo>
                <a:lnTo>
                  <a:pt x="41" y="94"/>
                </a:lnTo>
                <a:lnTo>
                  <a:pt x="43" y="94"/>
                </a:lnTo>
                <a:lnTo>
                  <a:pt x="44" y="93"/>
                </a:lnTo>
                <a:lnTo>
                  <a:pt x="44" y="92"/>
                </a:lnTo>
                <a:lnTo>
                  <a:pt x="46" y="92"/>
                </a:lnTo>
                <a:lnTo>
                  <a:pt x="51" y="94"/>
                </a:lnTo>
                <a:lnTo>
                  <a:pt x="51" y="96"/>
                </a:lnTo>
                <a:lnTo>
                  <a:pt x="53" y="96"/>
                </a:lnTo>
                <a:lnTo>
                  <a:pt x="55" y="94"/>
                </a:lnTo>
                <a:lnTo>
                  <a:pt x="56" y="94"/>
                </a:lnTo>
                <a:lnTo>
                  <a:pt x="57" y="96"/>
                </a:lnTo>
                <a:lnTo>
                  <a:pt x="56" y="97"/>
                </a:lnTo>
                <a:lnTo>
                  <a:pt x="59" y="98"/>
                </a:lnTo>
                <a:lnTo>
                  <a:pt x="60" y="100"/>
                </a:lnTo>
                <a:lnTo>
                  <a:pt x="61" y="100"/>
                </a:lnTo>
                <a:lnTo>
                  <a:pt x="61" y="102"/>
                </a:lnTo>
                <a:lnTo>
                  <a:pt x="60" y="102"/>
                </a:lnTo>
                <a:lnTo>
                  <a:pt x="61" y="103"/>
                </a:lnTo>
                <a:lnTo>
                  <a:pt x="67" y="103"/>
                </a:lnTo>
                <a:lnTo>
                  <a:pt x="69" y="100"/>
                </a:lnTo>
                <a:lnTo>
                  <a:pt x="71" y="100"/>
                </a:lnTo>
                <a:lnTo>
                  <a:pt x="71" y="103"/>
                </a:lnTo>
                <a:lnTo>
                  <a:pt x="73" y="103"/>
                </a:lnTo>
                <a:lnTo>
                  <a:pt x="74" y="102"/>
                </a:lnTo>
                <a:lnTo>
                  <a:pt x="74" y="100"/>
                </a:lnTo>
                <a:lnTo>
                  <a:pt x="78" y="100"/>
                </a:lnTo>
                <a:lnTo>
                  <a:pt x="78" y="99"/>
                </a:lnTo>
                <a:lnTo>
                  <a:pt x="79" y="99"/>
                </a:lnTo>
                <a:lnTo>
                  <a:pt x="79" y="98"/>
                </a:lnTo>
                <a:lnTo>
                  <a:pt x="78" y="98"/>
                </a:lnTo>
                <a:lnTo>
                  <a:pt x="79" y="96"/>
                </a:lnTo>
                <a:lnTo>
                  <a:pt x="85" y="96"/>
                </a:lnTo>
                <a:lnTo>
                  <a:pt x="86" y="94"/>
                </a:lnTo>
                <a:lnTo>
                  <a:pt x="86" y="92"/>
                </a:lnTo>
                <a:lnTo>
                  <a:pt x="87" y="92"/>
                </a:lnTo>
                <a:lnTo>
                  <a:pt x="88" y="91"/>
                </a:lnTo>
                <a:lnTo>
                  <a:pt x="97" y="91"/>
                </a:lnTo>
                <a:lnTo>
                  <a:pt x="98" y="90"/>
                </a:lnTo>
                <a:lnTo>
                  <a:pt x="111" y="90"/>
                </a:lnTo>
                <a:lnTo>
                  <a:pt x="113" y="87"/>
                </a:lnTo>
                <a:lnTo>
                  <a:pt x="113" y="85"/>
                </a:lnTo>
                <a:lnTo>
                  <a:pt x="116" y="85"/>
                </a:lnTo>
                <a:lnTo>
                  <a:pt x="117" y="84"/>
                </a:lnTo>
                <a:lnTo>
                  <a:pt x="119" y="85"/>
                </a:lnTo>
                <a:lnTo>
                  <a:pt x="122" y="84"/>
                </a:lnTo>
                <a:lnTo>
                  <a:pt x="122" y="85"/>
                </a:lnTo>
                <a:lnTo>
                  <a:pt x="123" y="86"/>
                </a:lnTo>
                <a:lnTo>
                  <a:pt x="123" y="87"/>
                </a:lnTo>
                <a:lnTo>
                  <a:pt x="124" y="87"/>
                </a:lnTo>
                <a:lnTo>
                  <a:pt x="125" y="88"/>
                </a:lnTo>
                <a:lnTo>
                  <a:pt x="127" y="88"/>
                </a:lnTo>
                <a:lnTo>
                  <a:pt x="129" y="86"/>
                </a:lnTo>
                <a:lnTo>
                  <a:pt x="130" y="86"/>
                </a:lnTo>
                <a:lnTo>
                  <a:pt x="131" y="85"/>
                </a:lnTo>
                <a:lnTo>
                  <a:pt x="134" y="85"/>
                </a:lnTo>
                <a:lnTo>
                  <a:pt x="136" y="86"/>
                </a:lnTo>
                <a:lnTo>
                  <a:pt x="136" y="87"/>
                </a:lnTo>
                <a:lnTo>
                  <a:pt x="138" y="90"/>
                </a:lnTo>
                <a:lnTo>
                  <a:pt x="137" y="90"/>
                </a:lnTo>
                <a:lnTo>
                  <a:pt x="137" y="93"/>
                </a:lnTo>
                <a:lnTo>
                  <a:pt x="140" y="93"/>
                </a:lnTo>
                <a:lnTo>
                  <a:pt x="140" y="94"/>
                </a:lnTo>
                <a:lnTo>
                  <a:pt x="141" y="97"/>
                </a:lnTo>
                <a:lnTo>
                  <a:pt x="143" y="98"/>
                </a:lnTo>
                <a:lnTo>
                  <a:pt x="147" y="98"/>
                </a:lnTo>
                <a:lnTo>
                  <a:pt x="148" y="97"/>
                </a:lnTo>
                <a:lnTo>
                  <a:pt x="148" y="91"/>
                </a:lnTo>
                <a:lnTo>
                  <a:pt x="149" y="90"/>
                </a:lnTo>
                <a:lnTo>
                  <a:pt x="149" y="85"/>
                </a:lnTo>
                <a:lnTo>
                  <a:pt x="147" y="82"/>
                </a:lnTo>
                <a:lnTo>
                  <a:pt x="146" y="84"/>
                </a:lnTo>
                <a:lnTo>
                  <a:pt x="144" y="84"/>
                </a:lnTo>
                <a:lnTo>
                  <a:pt x="142" y="82"/>
                </a:lnTo>
                <a:lnTo>
                  <a:pt x="142" y="81"/>
                </a:lnTo>
                <a:lnTo>
                  <a:pt x="143" y="80"/>
                </a:lnTo>
                <a:lnTo>
                  <a:pt x="143" y="79"/>
                </a:lnTo>
                <a:lnTo>
                  <a:pt x="146" y="74"/>
                </a:lnTo>
                <a:lnTo>
                  <a:pt x="144" y="73"/>
                </a:lnTo>
                <a:lnTo>
                  <a:pt x="143" y="69"/>
                </a:lnTo>
                <a:lnTo>
                  <a:pt x="141" y="67"/>
                </a:lnTo>
                <a:lnTo>
                  <a:pt x="140" y="67"/>
                </a:lnTo>
                <a:lnTo>
                  <a:pt x="140" y="63"/>
                </a:lnTo>
                <a:lnTo>
                  <a:pt x="136" y="61"/>
                </a:lnTo>
                <a:lnTo>
                  <a:pt x="136" y="60"/>
                </a:lnTo>
                <a:lnTo>
                  <a:pt x="135" y="59"/>
                </a:lnTo>
                <a:lnTo>
                  <a:pt x="135" y="57"/>
                </a:lnTo>
                <a:lnTo>
                  <a:pt x="136" y="57"/>
                </a:lnTo>
                <a:lnTo>
                  <a:pt x="140" y="54"/>
                </a:lnTo>
                <a:lnTo>
                  <a:pt x="140" y="53"/>
                </a:lnTo>
                <a:lnTo>
                  <a:pt x="141" y="53"/>
                </a:lnTo>
                <a:lnTo>
                  <a:pt x="143" y="51"/>
                </a:lnTo>
                <a:lnTo>
                  <a:pt x="144" y="51"/>
                </a:lnTo>
                <a:lnTo>
                  <a:pt x="148" y="48"/>
                </a:lnTo>
                <a:lnTo>
                  <a:pt x="152" y="47"/>
                </a:lnTo>
                <a:lnTo>
                  <a:pt x="158" y="45"/>
                </a:lnTo>
                <a:lnTo>
                  <a:pt x="160" y="44"/>
                </a:lnTo>
                <a:lnTo>
                  <a:pt x="165" y="39"/>
                </a:lnTo>
                <a:lnTo>
                  <a:pt x="165" y="33"/>
                </a:lnTo>
                <a:lnTo>
                  <a:pt x="166" y="32"/>
                </a:lnTo>
                <a:lnTo>
                  <a:pt x="166" y="31"/>
                </a:lnTo>
                <a:lnTo>
                  <a:pt x="165" y="31"/>
                </a:lnTo>
                <a:lnTo>
                  <a:pt x="165" y="29"/>
                </a:lnTo>
                <a:lnTo>
                  <a:pt x="166" y="29"/>
                </a:lnTo>
                <a:lnTo>
                  <a:pt x="167" y="27"/>
                </a:lnTo>
                <a:lnTo>
                  <a:pt x="168" y="27"/>
                </a:lnTo>
                <a:lnTo>
                  <a:pt x="173" y="29"/>
                </a:lnTo>
                <a:lnTo>
                  <a:pt x="173" y="30"/>
                </a:lnTo>
                <a:lnTo>
                  <a:pt x="174" y="30"/>
                </a:lnTo>
                <a:lnTo>
                  <a:pt x="174" y="31"/>
                </a:lnTo>
                <a:lnTo>
                  <a:pt x="177" y="31"/>
                </a:lnTo>
                <a:lnTo>
                  <a:pt x="177" y="30"/>
                </a:lnTo>
                <a:lnTo>
                  <a:pt x="178" y="29"/>
                </a:lnTo>
                <a:lnTo>
                  <a:pt x="179" y="29"/>
                </a:lnTo>
                <a:lnTo>
                  <a:pt x="180" y="26"/>
                </a:lnTo>
                <a:lnTo>
                  <a:pt x="180" y="21"/>
                </a:lnTo>
                <a:lnTo>
                  <a:pt x="181" y="20"/>
                </a:lnTo>
                <a:lnTo>
                  <a:pt x="180" y="20"/>
                </a:lnTo>
                <a:lnTo>
                  <a:pt x="180" y="19"/>
                </a:lnTo>
                <a:lnTo>
                  <a:pt x="179" y="19"/>
                </a:lnTo>
                <a:lnTo>
                  <a:pt x="181" y="16"/>
                </a:lnTo>
                <a:lnTo>
                  <a:pt x="183" y="17"/>
                </a:lnTo>
                <a:lnTo>
                  <a:pt x="184" y="17"/>
                </a:lnTo>
                <a:lnTo>
                  <a:pt x="184" y="18"/>
                </a:lnTo>
                <a:lnTo>
                  <a:pt x="185" y="18"/>
                </a:lnTo>
                <a:lnTo>
                  <a:pt x="187" y="20"/>
                </a:lnTo>
                <a:lnTo>
                  <a:pt x="189" y="20"/>
                </a:lnTo>
                <a:lnTo>
                  <a:pt x="189" y="21"/>
                </a:lnTo>
                <a:lnTo>
                  <a:pt x="190" y="21"/>
                </a:lnTo>
                <a:lnTo>
                  <a:pt x="190" y="24"/>
                </a:lnTo>
                <a:lnTo>
                  <a:pt x="189" y="24"/>
                </a:lnTo>
                <a:lnTo>
                  <a:pt x="189" y="25"/>
                </a:lnTo>
                <a:lnTo>
                  <a:pt x="190" y="25"/>
                </a:lnTo>
                <a:lnTo>
                  <a:pt x="190" y="26"/>
                </a:lnTo>
                <a:lnTo>
                  <a:pt x="192" y="27"/>
                </a:lnTo>
                <a:lnTo>
                  <a:pt x="198" y="27"/>
                </a:lnTo>
                <a:lnTo>
                  <a:pt x="202" y="30"/>
                </a:lnTo>
                <a:lnTo>
                  <a:pt x="203" y="30"/>
                </a:lnTo>
                <a:lnTo>
                  <a:pt x="203" y="29"/>
                </a:lnTo>
                <a:lnTo>
                  <a:pt x="204" y="29"/>
                </a:lnTo>
                <a:lnTo>
                  <a:pt x="205" y="27"/>
                </a:lnTo>
                <a:lnTo>
                  <a:pt x="206" y="27"/>
                </a:lnTo>
                <a:lnTo>
                  <a:pt x="208" y="24"/>
                </a:lnTo>
                <a:lnTo>
                  <a:pt x="209" y="25"/>
                </a:lnTo>
                <a:lnTo>
                  <a:pt x="211" y="26"/>
                </a:lnTo>
                <a:lnTo>
                  <a:pt x="214" y="25"/>
                </a:lnTo>
                <a:lnTo>
                  <a:pt x="214" y="26"/>
                </a:lnTo>
                <a:lnTo>
                  <a:pt x="216" y="26"/>
                </a:lnTo>
                <a:lnTo>
                  <a:pt x="216" y="29"/>
                </a:lnTo>
                <a:lnTo>
                  <a:pt x="217" y="29"/>
                </a:lnTo>
                <a:lnTo>
                  <a:pt x="218" y="27"/>
                </a:lnTo>
                <a:lnTo>
                  <a:pt x="218" y="21"/>
                </a:lnTo>
                <a:lnTo>
                  <a:pt x="220" y="20"/>
                </a:lnTo>
                <a:lnTo>
                  <a:pt x="222" y="19"/>
                </a:lnTo>
                <a:lnTo>
                  <a:pt x="222" y="16"/>
                </a:lnTo>
                <a:lnTo>
                  <a:pt x="225" y="16"/>
                </a:lnTo>
                <a:lnTo>
                  <a:pt x="228" y="17"/>
                </a:lnTo>
                <a:lnTo>
                  <a:pt x="229" y="16"/>
                </a:lnTo>
                <a:lnTo>
                  <a:pt x="228" y="14"/>
                </a:lnTo>
                <a:lnTo>
                  <a:pt x="228" y="13"/>
                </a:lnTo>
                <a:lnTo>
                  <a:pt x="229" y="12"/>
                </a:lnTo>
                <a:lnTo>
                  <a:pt x="229" y="2"/>
                </a:lnTo>
                <a:lnTo>
                  <a:pt x="230" y="1"/>
                </a:lnTo>
                <a:lnTo>
                  <a:pt x="23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6" name="Freeform 57">
            <a:extLst>
              <a:ext uri="{FF2B5EF4-FFF2-40B4-BE49-F238E27FC236}">
                <a16:creationId xmlns:a16="http://schemas.microsoft.com/office/drawing/2014/main" id="{600E99C1-52E7-4B88-AEBC-8AFC041D3F15}"/>
              </a:ext>
            </a:extLst>
          </p:cNvPr>
          <p:cNvSpPr>
            <a:spLocks noEditPoints="1"/>
          </p:cNvSpPr>
          <p:nvPr/>
        </p:nvSpPr>
        <p:spPr bwMode="auto">
          <a:xfrm>
            <a:off x="3886154" y="5478295"/>
            <a:ext cx="194158" cy="194158"/>
          </a:xfrm>
          <a:custGeom>
            <a:avLst/>
            <a:gdLst/>
            <a:ahLst/>
            <a:cxnLst>
              <a:cxn ang="0">
                <a:pos x="86" y="38"/>
              </a:cxn>
              <a:cxn ang="0">
                <a:pos x="76" y="18"/>
              </a:cxn>
              <a:cxn ang="0">
                <a:pos x="66" y="16"/>
              </a:cxn>
              <a:cxn ang="0">
                <a:pos x="68" y="4"/>
              </a:cxn>
              <a:cxn ang="0">
                <a:pos x="76" y="9"/>
              </a:cxn>
              <a:cxn ang="0">
                <a:pos x="71" y="15"/>
              </a:cxn>
              <a:cxn ang="0">
                <a:pos x="78" y="17"/>
              </a:cxn>
              <a:cxn ang="0">
                <a:pos x="85" y="19"/>
              </a:cxn>
              <a:cxn ang="0">
                <a:pos x="92" y="24"/>
              </a:cxn>
              <a:cxn ang="0">
                <a:pos x="85" y="31"/>
              </a:cxn>
              <a:cxn ang="0">
                <a:pos x="85" y="40"/>
              </a:cxn>
              <a:cxn ang="0">
                <a:pos x="87" y="46"/>
              </a:cxn>
              <a:cxn ang="0">
                <a:pos x="107" y="58"/>
              </a:cxn>
              <a:cxn ang="0">
                <a:pos x="105" y="68"/>
              </a:cxn>
              <a:cxn ang="0">
                <a:pos x="91" y="73"/>
              </a:cxn>
              <a:cxn ang="0">
                <a:pos x="98" y="77"/>
              </a:cxn>
              <a:cxn ang="0">
                <a:pos x="105" y="84"/>
              </a:cxn>
              <a:cxn ang="0">
                <a:pos x="114" y="91"/>
              </a:cxn>
              <a:cxn ang="0">
                <a:pos x="123" y="93"/>
              </a:cxn>
              <a:cxn ang="0">
                <a:pos x="129" y="102"/>
              </a:cxn>
              <a:cxn ang="0">
                <a:pos x="129" y="109"/>
              </a:cxn>
              <a:cxn ang="0">
                <a:pos x="134" y="115"/>
              </a:cxn>
              <a:cxn ang="0">
                <a:pos x="126" y="116"/>
              </a:cxn>
              <a:cxn ang="0">
                <a:pos x="129" y="130"/>
              </a:cxn>
              <a:cxn ang="0">
                <a:pos x="118" y="134"/>
              </a:cxn>
              <a:cxn ang="0">
                <a:pos x="108" y="120"/>
              </a:cxn>
              <a:cxn ang="0">
                <a:pos x="107" y="112"/>
              </a:cxn>
              <a:cxn ang="0">
                <a:pos x="99" y="108"/>
              </a:cxn>
              <a:cxn ang="0">
                <a:pos x="101" y="98"/>
              </a:cxn>
              <a:cxn ang="0">
                <a:pos x="86" y="99"/>
              </a:cxn>
              <a:cxn ang="0">
                <a:pos x="79" y="97"/>
              </a:cxn>
              <a:cxn ang="0">
                <a:pos x="73" y="96"/>
              </a:cxn>
              <a:cxn ang="0">
                <a:pos x="66" y="85"/>
              </a:cxn>
              <a:cxn ang="0">
                <a:pos x="56" y="89"/>
              </a:cxn>
              <a:cxn ang="0">
                <a:pos x="49" y="81"/>
              </a:cxn>
              <a:cxn ang="0">
                <a:pos x="47" y="75"/>
              </a:cxn>
              <a:cxn ang="0">
                <a:pos x="33" y="71"/>
              </a:cxn>
              <a:cxn ang="0">
                <a:pos x="16" y="68"/>
              </a:cxn>
              <a:cxn ang="0">
                <a:pos x="12" y="62"/>
              </a:cxn>
              <a:cxn ang="0">
                <a:pos x="8" y="52"/>
              </a:cxn>
              <a:cxn ang="0">
                <a:pos x="8" y="44"/>
              </a:cxn>
              <a:cxn ang="0">
                <a:pos x="11" y="37"/>
              </a:cxn>
              <a:cxn ang="0">
                <a:pos x="6" y="18"/>
              </a:cxn>
              <a:cxn ang="0">
                <a:pos x="2" y="11"/>
              </a:cxn>
              <a:cxn ang="0">
                <a:pos x="17" y="9"/>
              </a:cxn>
              <a:cxn ang="0">
                <a:pos x="29" y="7"/>
              </a:cxn>
              <a:cxn ang="0">
                <a:pos x="35" y="6"/>
              </a:cxn>
              <a:cxn ang="0">
                <a:pos x="42" y="7"/>
              </a:cxn>
              <a:cxn ang="0">
                <a:pos x="47" y="6"/>
              </a:cxn>
              <a:cxn ang="0">
                <a:pos x="49" y="5"/>
              </a:cxn>
              <a:cxn ang="0">
                <a:pos x="59" y="1"/>
              </a:cxn>
              <a:cxn ang="0">
                <a:pos x="67" y="0"/>
              </a:cxn>
            </a:cxnLst>
            <a:rect l="0" t="0" r="r" b="b"/>
            <a:pathLst>
              <a:path w="134" h="134">
                <a:moveTo>
                  <a:pt x="86" y="36"/>
                </a:moveTo>
                <a:lnTo>
                  <a:pt x="90" y="36"/>
                </a:lnTo>
                <a:lnTo>
                  <a:pt x="90" y="38"/>
                </a:lnTo>
                <a:lnTo>
                  <a:pt x="89" y="40"/>
                </a:lnTo>
                <a:lnTo>
                  <a:pt x="86" y="38"/>
                </a:lnTo>
                <a:lnTo>
                  <a:pt x="86" y="36"/>
                </a:lnTo>
                <a:close/>
                <a:moveTo>
                  <a:pt x="74" y="17"/>
                </a:moveTo>
                <a:lnTo>
                  <a:pt x="74" y="18"/>
                </a:lnTo>
                <a:lnTo>
                  <a:pt x="76" y="19"/>
                </a:lnTo>
                <a:lnTo>
                  <a:pt x="76" y="18"/>
                </a:lnTo>
                <a:lnTo>
                  <a:pt x="74" y="17"/>
                </a:lnTo>
                <a:close/>
                <a:moveTo>
                  <a:pt x="66" y="12"/>
                </a:moveTo>
                <a:lnTo>
                  <a:pt x="65" y="13"/>
                </a:lnTo>
                <a:lnTo>
                  <a:pt x="65" y="15"/>
                </a:lnTo>
                <a:lnTo>
                  <a:pt x="66" y="16"/>
                </a:lnTo>
                <a:lnTo>
                  <a:pt x="67" y="16"/>
                </a:lnTo>
                <a:lnTo>
                  <a:pt x="67" y="13"/>
                </a:lnTo>
                <a:lnTo>
                  <a:pt x="66" y="12"/>
                </a:lnTo>
                <a:close/>
                <a:moveTo>
                  <a:pt x="67" y="0"/>
                </a:moveTo>
                <a:lnTo>
                  <a:pt x="68" y="4"/>
                </a:lnTo>
                <a:lnTo>
                  <a:pt x="67" y="5"/>
                </a:lnTo>
                <a:lnTo>
                  <a:pt x="68" y="6"/>
                </a:lnTo>
                <a:lnTo>
                  <a:pt x="72" y="6"/>
                </a:lnTo>
                <a:lnTo>
                  <a:pt x="74" y="9"/>
                </a:lnTo>
                <a:lnTo>
                  <a:pt x="76" y="9"/>
                </a:lnTo>
                <a:lnTo>
                  <a:pt x="76" y="10"/>
                </a:lnTo>
                <a:lnTo>
                  <a:pt x="73" y="11"/>
                </a:lnTo>
                <a:lnTo>
                  <a:pt x="70" y="11"/>
                </a:lnTo>
                <a:lnTo>
                  <a:pt x="68" y="12"/>
                </a:lnTo>
                <a:lnTo>
                  <a:pt x="71" y="15"/>
                </a:lnTo>
                <a:lnTo>
                  <a:pt x="72" y="13"/>
                </a:lnTo>
                <a:lnTo>
                  <a:pt x="73" y="15"/>
                </a:lnTo>
                <a:lnTo>
                  <a:pt x="74" y="15"/>
                </a:lnTo>
                <a:lnTo>
                  <a:pt x="76" y="16"/>
                </a:lnTo>
                <a:lnTo>
                  <a:pt x="78" y="17"/>
                </a:lnTo>
                <a:lnTo>
                  <a:pt x="83" y="17"/>
                </a:lnTo>
                <a:lnTo>
                  <a:pt x="83" y="16"/>
                </a:lnTo>
                <a:lnTo>
                  <a:pt x="84" y="16"/>
                </a:lnTo>
                <a:lnTo>
                  <a:pt x="84" y="19"/>
                </a:lnTo>
                <a:lnTo>
                  <a:pt x="85" y="19"/>
                </a:lnTo>
                <a:lnTo>
                  <a:pt x="85" y="21"/>
                </a:lnTo>
                <a:lnTo>
                  <a:pt x="86" y="21"/>
                </a:lnTo>
                <a:lnTo>
                  <a:pt x="89" y="23"/>
                </a:lnTo>
                <a:lnTo>
                  <a:pt x="89" y="24"/>
                </a:lnTo>
                <a:lnTo>
                  <a:pt x="92" y="24"/>
                </a:lnTo>
                <a:lnTo>
                  <a:pt x="92" y="25"/>
                </a:lnTo>
                <a:lnTo>
                  <a:pt x="91" y="28"/>
                </a:lnTo>
                <a:lnTo>
                  <a:pt x="90" y="29"/>
                </a:lnTo>
                <a:lnTo>
                  <a:pt x="86" y="31"/>
                </a:lnTo>
                <a:lnTo>
                  <a:pt x="85" y="31"/>
                </a:lnTo>
                <a:lnTo>
                  <a:pt x="84" y="34"/>
                </a:lnTo>
                <a:lnTo>
                  <a:pt x="83" y="35"/>
                </a:lnTo>
                <a:lnTo>
                  <a:pt x="83" y="38"/>
                </a:lnTo>
                <a:lnTo>
                  <a:pt x="84" y="40"/>
                </a:lnTo>
                <a:lnTo>
                  <a:pt x="85" y="40"/>
                </a:lnTo>
                <a:lnTo>
                  <a:pt x="85" y="43"/>
                </a:lnTo>
                <a:lnTo>
                  <a:pt x="86" y="43"/>
                </a:lnTo>
                <a:lnTo>
                  <a:pt x="86" y="44"/>
                </a:lnTo>
                <a:lnTo>
                  <a:pt x="87" y="44"/>
                </a:lnTo>
                <a:lnTo>
                  <a:pt x="87" y="46"/>
                </a:lnTo>
                <a:lnTo>
                  <a:pt x="89" y="48"/>
                </a:lnTo>
                <a:lnTo>
                  <a:pt x="91" y="50"/>
                </a:lnTo>
                <a:lnTo>
                  <a:pt x="101" y="56"/>
                </a:lnTo>
                <a:lnTo>
                  <a:pt x="103" y="58"/>
                </a:lnTo>
                <a:lnTo>
                  <a:pt x="107" y="58"/>
                </a:lnTo>
                <a:lnTo>
                  <a:pt x="107" y="59"/>
                </a:lnTo>
                <a:lnTo>
                  <a:pt x="108" y="60"/>
                </a:lnTo>
                <a:lnTo>
                  <a:pt x="108" y="65"/>
                </a:lnTo>
                <a:lnTo>
                  <a:pt x="105" y="67"/>
                </a:lnTo>
                <a:lnTo>
                  <a:pt x="105" y="68"/>
                </a:lnTo>
                <a:lnTo>
                  <a:pt x="104" y="68"/>
                </a:lnTo>
                <a:lnTo>
                  <a:pt x="104" y="72"/>
                </a:lnTo>
                <a:lnTo>
                  <a:pt x="101" y="72"/>
                </a:lnTo>
                <a:lnTo>
                  <a:pt x="93" y="71"/>
                </a:lnTo>
                <a:lnTo>
                  <a:pt x="91" y="73"/>
                </a:lnTo>
                <a:lnTo>
                  <a:pt x="91" y="74"/>
                </a:lnTo>
                <a:lnTo>
                  <a:pt x="92" y="74"/>
                </a:lnTo>
                <a:lnTo>
                  <a:pt x="97" y="75"/>
                </a:lnTo>
                <a:lnTo>
                  <a:pt x="98" y="75"/>
                </a:lnTo>
                <a:lnTo>
                  <a:pt x="98" y="77"/>
                </a:lnTo>
                <a:lnTo>
                  <a:pt x="101" y="80"/>
                </a:lnTo>
                <a:lnTo>
                  <a:pt x="101" y="81"/>
                </a:lnTo>
                <a:lnTo>
                  <a:pt x="103" y="83"/>
                </a:lnTo>
                <a:lnTo>
                  <a:pt x="104" y="84"/>
                </a:lnTo>
                <a:lnTo>
                  <a:pt x="105" y="84"/>
                </a:lnTo>
                <a:lnTo>
                  <a:pt x="108" y="85"/>
                </a:lnTo>
                <a:lnTo>
                  <a:pt x="109" y="86"/>
                </a:lnTo>
                <a:lnTo>
                  <a:pt x="110" y="90"/>
                </a:lnTo>
                <a:lnTo>
                  <a:pt x="113" y="91"/>
                </a:lnTo>
                <a:lnTo>
                  <a:pt x="114" y="91"/>
                </a:lnTo>
                <a:lnTo>
                  <a:pt x="115" y="92"/>
                </a:lnTo>
                <a:lnTo>
                  <a:pt x="116" y="95"/>
                </a:lnTo>
                <a:lnTo>
                  <a:pt x="118" y="95"/>
                </a:lnTo>
                <a:lnTo>
                  <a:pt x="122" y="93"/>
                </a:lnTo>
                <a:lnTo>
                  <a:pt x="123" y="93"/>
                </a:lnTo>
                <a:lnTo>
                  <a:pt x="126" y="96"/>
                </a:lnTo>
                <a:lnTo>
                  <a:pt x="130" y="96"/>
                </a:lnTo>
                <a:lnTo>
                  <a:pt x="130" y="99"/>
                </a:lnTo>
                <a:lnTo>
                  <a:pt x="129" y="99"/>
                </a:lnTo>
                <a:lnTo>
                  <a:pt x="129" y="102"/>
                </a:lnTo>
                <a:lnTo>
                  <a:pt x="126" y="103"/>
                </a:lnTo>
                <a:lnTo>
                  <a:pt x="124" y="103"/>
                </a:lnTo>
                <a:lnTo>
                  <a:pt x="124" y="107"/>
                </a:lnTo>
                <a:lnTo>
                  <a:pt x="126" y="108"/>
                </a:lnTo>
                <a:lnTo>
                  <a:pt x="129" y="109"/>
                </a:lnTo>
                <a:lnTo>
                  <a:pt x="130" y="110"/>
                </a:lnTo>
                <a:lnTo>
                  <a:pt x="130" y="111"/>
                </a:lnTo>
                <a:lnTo>
                  <a:pt x="132" y="112"/>
                </a:lnTo>
                <a:lnTo>
                  <a:pt x="134" y="114"/>
                </a:lnTo>
                <a:lnTo>
                  <a:pt x="134" y="115"/>
                </a:lnTo>
                <a:lnTo>
                  <a:pt x="133" y="116"/>
                </a:lnTo>
                <a:lnTo>
                  <a:pt x="130" y="117"/>
                </a:lnTo>
                <a:lnTo>
                  <a:pt x="128" y="116"/>
                </a:lnTo>
                <a:lnTo>
                  <a:pt x="127" y="115"/>
                </a:lnTo>
                <a:lnTo>
                  <a:pt x="126" y="116"/>
                </a:lnTo>
                <a:lnTo>
                  <a:pt x="126" y="118"/>
                </a:lnTo>
                <a:lnTo>
                  <a:pt x="127" y="120"/>
                </a:lnTo>
                <a:lnTo>
                  <a:pt x="128" y="120"/>
                </a:lnTo>
                <a:lnTo>
                  <a:pt x="129" y="121"/>
                </a:lnTo>
                <a:lnTo>
                  <a:pt x="129" y="130"/>
                </a:lnTo>
                <a:lnTo>
                  <a:pt x="130" y="133"/>
                </a:lnTo>
                <a:lnTo>
                  <a:pt x="129" y="133"/>
                </a:lnTo>
                <a:lnTo>
                  <a:pt x="126" y="132"/>
                </a:lnTo>
                <a:lnTo>
                  <a:pt x="120" y="132"/>
                </a:lnTo>
                <a:lnTo>
                  <a:pt x="118" y="134"/>
                </a:lnTo>
                <a:lnTo>
                  <a:pt x="115" y="134"/>
                </a:lnTo>
                <a:lnTo>
                  <a:pt x="113" y="129"/>
                </a:lnTo>
                <a:lnTo>
                  <a:pt x="110" y="123"/>
                </a:lnTo>
                <a:lnTo>
                  <a:pt x="109" y="122"/>
                </a:lnTo>
                <a:lnTo>
                  <a:pt x="108" y="120"/>
                </a:lnTo>
                <a:lnTo>
                  <a:pt x="107" y="118"/>
                </a:lnTo>
                <a:lnTo>
                  <a:pt x="107" y="116"/>
                </a:lnTo>
                <a:lnTo>
                  <a:pt x="108" y="115"/>
                </a:lnTo>
                <a:lnTo>
                  <a:pt x="108" y="112"/>
                </a:lnTo>
                <a:lnTo>
                  <a:pt x="107" y="112"/>
                </a:lnTo>
                <a:lnTo>
                  <a:pt x="104" y="111"/>
                </a:lnTo>
                <a:lnTo>
                  <a:pt x="104" y="110"/>
                </a:lnTo>
                <a:lnTo>
                  <a:pt x="103" y="110"/>
                </a:lnTo>
                <a:lnTo>
                  <a:pt x="102" y="109"/>
                </a:lnTo>
                <a:lnTo>
                  <a:pt x="99" y="108"/>
                </a:lnTo>
                <a:lnTo>
                  <a:pt x="98" y="108"/>
                </a:lnTo>
                <a:lnTo>
                  <a:pt x="98" y="107"/>
                </a:lnTo>
                <a:lnTo>
                  <a:pt x="99" y="105"/>
                </a:lnTo>
                <a:lnTo>
                  <a:pt x="101" y="103"/>
                </a:lnTo>
                <a:lnTo>
                  <a:pt x="101" y="98"/>
                </a:lnTo>
                <a:lnTo>
                  <a:pt x="98" y="96"/>
                </a:lnTo>
                <a:lnTo>
                  <a:pt x="97" y="96"/>
                </a:lnTo>
                <a:lnTo>
                  <a:pt x="91" y="97"/>
                </a:lnTo>
                <a:lnTo>
                  <a:pt x="90" y="98"/>
                </a:lnTo>
                <a:lnTo>
                  <a:pt x="86" y="99"/>
                </a:lnTo>
                <a:lnTo>
                  <a:pt x="86" y="101"/>
                </a:lnTo>
                <a:lnTo>
                  <a:pt x="84" y="101"/>
                </a:lnTo>
                <a:lnTo>
                  <a:pt x="83" y="98"/>
                </a:lnTo>
                <a:lnTo>
                  <a:pt x="80" y="98"/>
                </a:lnTo>
                <a:lnTo>
                  <a:pt x="79" y="97"/>
                </a:lnTo>
                <a:lnTo>
                  <a:pt x="79" y="96"/>
                </a:lnTo>
                <a:lnTo>
                  <a:pt x="78" y="95"/>
                </a:lnTo>
                <a:lnTo>
                  <a:pt x="77" y="95"/>
                </a:lnTo>
                <a:lnTo>
                  <a:pt x="76" y="96"/>
                </a:lnTo>
                <a:lnTo>
                  <a:pt x="73" y="96"/>
                </a:lnTo>
                <a:lnTo>
                  <a:pt x="73" y="91"/>
                </a:lnTo>
                <a:lnTo>
                  <a:pt x="72" y="90"/>
                </a:lnTo>
                <a:lnTo>
                  <a:pt x="70" y="86"/>
                </a:lnTo>
                <a:lnTo>
                  <a:pt x="68" y="85"/>
                </a:lnTo>
                <a:lnTo>
                  <a:pt x="66" y="85"/>
                </a:lnTo>
                <a:lnTo>
                  <a:pt x="65" y="86"/>
                </a:lnTo>
                <a:lnTo>
                  <a:pt x="65" y="87"/>
                </a:lnTo>
                <a:lnTo>
                  <a:pt x="60" y="87"/>
                </a:lnTo>
                <a:lnTo>
                  <a:pt x="58" y="89"/>
                </a:lnTo>
                <a:lnTo>
                  <a:pt x="56" y="89"/>
                </a:lnTo>
                <a:lnTo>
                  <a:pt x="56" y="87"/>
                </a:lnTo>
                <a:lnTo>
                  <a:pt x="54" y="84"/>
                </a:lnTo>
                <a:lnTo>
                  <a:pt x="53" y="84"/>
                </a:lnTo>
                <a:lnTo>
                  <a:pt x="51" y="81"/>
                </a:lnTo>
                <a:lnTo>
                  <a:pt x="49" y="81"/>
                </a:lnTo>
                <a:lnTo>
                  <a:pt x="49" y="80"/>
                </a:lnTo>
                <a:lnTo>
                  <a:pt x="48" y="80"/>
                </a:lnTo>
                <a:lnTo>
                  <a:pt x="48" y="78"/>
                </a:lnTo>
                <a:lnTo>
                  <a:pt x="47" y="77"/>
                </a:lnTo>
                <a:lnTo>
                  <a:pt x="47" y="75"/>
                </a:lnTo>
                <a:lnTo>
                  <a:pt x="43" y="74"/>
                </a:lnTo>
                <a:lnTo>
                  <a:pt x="41" y="72"/>
                </a:lnTo>
                <a:lnTo>
                  <a:pt x="36" y="69"/>
                </a:lnTo>
                <a:lnTo>
                  <a:pt x="35" y="69"/>
                </a:lnTo>
                <a:lnTo>
                  <a:pt x="33" y="71"/>
                </a:lnTo>
                <a:lnTo>
                  <a:pt x="28" y="71"/>
                </a:lnTo>
                <a:lnTo>
                  <a:pt x="27" y="72"/>
                </a:lnTo>
                <a:lnTo>
                  <a:pt x="25" y="72"/>
                </a:lnTo>
                <a:lnTo>
                  <a:pt x="21" y="71"/>
                </a:lnTo>
                <a:lnTo>
                  <a:pt x="16" y="68"/>
                </a:lnTo>
                <a:lnTo>
                  <a:pt x="12" y="67"/>
                </a:lnTo>
                <a:lnTo>
                  <a:pt x="10" y="66"/>
                </a:lnTo>
                <a:lnTo>
                  <a:pt x="10" y="65"/>
                </a:lnTo>
                <a:lnTo>
                  <a:pt x="12" y="64"/>
                </a:lnTo>
                <a:lnTo>
                  <a:pt x="12" y="62"/>
                </a:lnTo>
                <a:lnTo>
                  <a:pt x="10" y="60"/>
                </a:lnTo>
                <a:lnTo>
                  <a:pt x="11" y="59"/>
                </a:lnTo>
                <a:lnTo>
                  <a:pt x="11" y="58"/>
                </a:lnTo>
                <a:lnTo>
                  <a:pt x="8" y="54"/>
                </a:lnTo>
                <a:lnTo>
                  <a:pt x="8" y="52"/>
                </a:lnTo>
                <a:lnTo>
                  <a:pt x="9" y="49"/>
                </a:lnTo>
                <a:lnTo>
                  <a:pt x="6" y="48"/>
                </a:lnTo>
                <a:lnTo>
                  <a:pt x="6" y="47"/>
                </a:lnTo>
                <a:lnTo>
                  <a:pt x="5" y="46"/>
                </a:lnTo>
                <a:lnTo>
                  <a:pt x="8" y="44"/>
                </a:lnTo>
                <a:lnTo>
                  <a:pt x="8" y="43"/>
                </a:lnTo>
                <a:lnTo>
                  <a:pt x="10" y="43"/>
                </a:lnTo>
                <a:lnTo>
                  <a:pt x="10" y="41"/>
                </a:lnTo>
                <a:lnTo>
                  <a:pt x="12" y="38"/>
                </a:lnTo>
                <a:lnTo>
                  <a:pt x="11" y="37"/>
                </a:lnTo>
                <a:lnTo>
                  <a:pt x="12" y="37"/>
                </a:lnTo>
                <a:lnTo>
                  <a:pt x="12" y="29"/>
                </a:lnTo>
                <a:lnTo>
                  <a:pt x="10" y="26"/>
                </a:lnTo>
                <a:lnTo>
                  <a:pt x="10" y="22"/>
                </a:lnTo>
                <a:lnTo>
                  <a:pt x="6" y="18"/>
                </a:lnTo>
                <a:lnTo>
                  <a:pt x="4" y="17"/>
                </a:lnTo>
                <a:lnTo>
                  <a:pt x="3" y="17"/>
                </a:lnTo>
                <a:lnTo>
                  <a:pt x="0" y="15"/>
                </a:lnTo>
                <a:lnTo>
                  <a:pt x="0" y="11"/>
                </a:lnTo>
                <a:lnTo>
                  <a:pt x="2" y="11"/>
                </a:lnTo>
                <a:lnTo>
                  <a:pt x="4" y="10"/>
                </a:lnTo>
                <a:lnTo>
                  <a:pt x="6" y="10"/>
                </a:lnTo>
                <a:lnTo>
                  <a:pt x="12" y="11"/>
                </a:lnTo>
                <a:lnTo>
                  <a:pt x="15" y="11"/>
                </a:lnTo>
                <a:lnTo>
                  <a:pt x="17" y="9"/>
                </a:lnTo>
                <a:lnTo>
                  <a:pt x="22" y="9"/>
                </a:lnTo>
                <a:lnTo>
                  <a:pt x="23" y="7"/>
                </a:lnTo>
                <a:lnTo>
                  <a:pt x="25" y="7"/>
                </a:lnTo>
                <a:lnTo>
                  <a:pt x="27" y="6"/>
                </a:lnTo>
                <a:lnTo>
                  <a:pt x="29" y="7"/>
                </a:lnTo>
                <a:lnTo>
                  <a:pt x="30" y="6"/>
                </a:lnTo>
                <a:lnTo>
                  <a:pt x="31" y="6"/>
                </a:lnTo>
                <a:lnTo>
                  <a:pt x="31" y="4"/>
                </a:lnTo>
                <a:lnTo>
                  <a:pt x="33" y="4"/>
                </a:lnTo>
                <a:lnTo>
                  <a:pt x="35" y="6"/>
                </a:lnTo>
                <a:lnTo>
                  <a:pt x="37" y="6"/>
                </a:lnTo>
                <a:lnTo>
                  <a:pt x="39" y="5"/>
                </a:lnTo>
                <a:lnTo>
                  <a:pt x="40" y="5"/>
                </a:lnTo>
                <a:lnTo>
                  <a:pt x="42" y="6"/>
                </a:lnTo>
                <a:lnTo>
                  <a:pt x="42" y="7"/>
                </a:lnTo>
                <a:lnTo>
                  <a:pt x="43" y="7"/>
                </a:lnTo>
                <a:lnTo>
                  <a:pt x="45" y="6"/>
                </a:lnTo>
                <a:lnTo>
                  <a:pt x="46" y="6"/>
                </a:lnTo>
                <a:lnTo>
                  <a:pt x="46" y="5"/>
                </a:lnTo>
                <a:lnTo>
                  <a:pt x="47" y="6"/>
                </a:lnTo>
                <a:lnTo>
                  <a:pt x="47" y="7"/>
                </a:lnTo>
                <a:lnTo>
                  <a:pt x="48" y="7"/>
                </a:lnTo>
                <a:lnTo>
                  <a:pt x="48" y="6"/>
                </a:lnTo>
                <a:lnTo>
                  <a:pt x="49" y="6"/>
                </a:lnTo>
                <a:lnTo>
                  <a:pt x="49" y="5"/>
                </a:lnTo>
                <a:lnTo>
                  <a:pt x="60" y="5"/>
                </a:lnTo>
                <a:lnTo>
                  <a:pt x="60" y="4"/>
                </a:lnTo>
                <a:lnTo>
                  <a:pt x="59" y="4"/>
                </a:lnTo>
                <a:lnTo>
                  <a:pt x="58" y="3"/>
                </a:lnTo>
                <a:lnTo>
                  <a:pt x="59" y="1"/>
                </a:lnTo>
                <a:lnTo>
                  <a:pt x="62" y="3"/>
                </a:lnTo>
                <a:lnTo>
                  <a:pt x="65" y="3"/>
                </a:lnTo>
                <a:lnTo>
                  <a:pt x="65" y="1"/>
                </a:lnTo>
                <a:lnTo>
                  <a:pt x="66" y="1"/>
                </a:lnTo>
                <a:lnTo>
                  <a:pt x="67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7" name="Freeform 58">
            <a:extLst>
              <a:ext uri="{FF2B5EF4-FFF2-40B4-BE49-F238E27FC236}">
                <a16:creationId xmlns:a16="http://schemas.microsoft.com/office/drawing/2014/main" id="{4CC66256-D0DC-4AA9-8392-0F6471495785}"/>
              </a:ext>
            </a:extLst>
          </p:cNvPr>
          <p:cNvSpPr>
            <a:spLocks/>
          </p:cNvSpPr>
          <p:nvPr/>
        </p:nvSpPr>
        <p:spPr bwMode="auto">
          <a:xfrm>
            <a:off x="1317183" y="5368176"/>
            <a:ext cx="21735" cy="18837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6" y="0"/>
              </a:cxn>
              <a:cxn ang="0">
                <a:pos x="8" y="1"/>
              </a:cxn>
              <a:cxn ang="0">
                <a:pos x="13" y="2"/>
              </a:cxn>
              <a:cxn ang="0">
                <a:pos x="13" y="3"/>
              </a:cxn>
              <a:cxn ang="0">
                <a:pos x="15" y="3"/>
              </a:cxn>
              <a:cxn ang="0">
                <a:pos x="15" y="5"/>
              </a:cxn>
              <a:cxn ang="0">
                <a:pos x="14" y="5"/>
              </a:cxn>
              <a:cxn ang="0">
                <a:pos x="13" y="6"/>
              </a:cxn>
              <a:cxn ang="0">
                <a:pos x="13" y="8"/>
              </a:cxn>
              <a:cxn ang="0">
                <a:pos x="12" y="9"/>
              </a:cxn>
              <a:cxn ang="0">
                <a:pos x="11" y="8"/>
              </a:cxn>
              <a:cxn ang="0">
                <a:pos x="10" y="11"/>
              </a:cxn>
              <a:cxn ang="0">
                <a:pos x="8" y="11"/>
              </a:cxn>
              <a:cxn ang="0">
                <a:pos x="6" y="12"/>
              </a:cxn>
              <a:cxn ang="0">
                <a:pos x="5" y="13"/>
              </a:cxn>
              <a:cxn ang="0">
                <a:pos x="2" y="12"/>
              </a:cxn>
              <a:cxn ang="0">
                <a:pos x="1" y="12"/>
              </a:cxn>
              <a:cxn ang="0">
                <a:pos x="1" y="11"/>
              </a:cxn>
              <a:cxn ang="0">
                <a:pos x="0" y="9"/>
              </a:cxn>
              <a:cxn ang="0">
                <a:pos x="1" y="8"/>
              </a:cxn>
              <a:cxn ang="0">
                <a:pos x="2" y="8"/>
              </a:cxn>
              <a:cxn ang="0">
                <a:pos x="2" y="7"/>
              </a:cxn>
              <a:cxn ang="0">
                <a:pos x="0" y="7"/>
              </a:cxn>
              <a:cxn ang="0">
                <a:pos x="0" y="6"/>
              </a:cxn>
              <a:cxn ang="0">
                <a:pos x="1" y="5"/>
              </a:cxn>
              <a:cxn ang="0">
                <a:pos x="1" y="3"/>
              </a:cxn>
              <a:cxn ang="0">
                <a:pos x="2" y="2"/>
              </a:cxn>
              <a:cxn ang="0">
                <a:pos x="2" y="0"/>
              </a:cxn>
            </a:cxnLst>
            <a:rect l="0" t="0" r="r" b="b"/>
            <a:pathLst>
              <a:path w="15" h="13">
                <a:moveTo>
                  <a:pt x="2" y="0"/>
                </a:moveTo>
                <a:lnTo>
                  <a:pt x="6" y="0"/>
                </a:lnTo>
                <a:lnTo>
                  <a:pt x="8" y="1"/>
                </a:lnTo>
                <a:lnTo>
                  <a:pt x="13" y="2"/>
                </a:lnTo>
                <a:lnTo>
                  <a:pt x="13" y="3"/>
                </a:lnTo>
                <a:lnTo>
                  <a:pt x="15" y="3"/>
                </a:lnTo>
                <a:lnTo>
                  <a:pt x="15" y="5"/>
                </a:lnTo>
                <a:lnTo>
                  <a:pt x="14" y="5"/>
                </a:lnTo>
                <a:lnTo>
                  <a:pt x="13" y="6"/>
                </a:lnTo>
                <a:lnTo>
                  <a:pt x="13" y="8"/>
                </a:lnTo>
                <a:lnTo>
                  <a:pt x="12" y="9"/>
                </a:lnTo>
                <a:lnTo>
                  <a:pt x="11" y="8"/>
                </a:lnTo>
                <a:lnTo>
                  <a:pt x="10" y="11"/>
                </a:lnTo>
                <a:lnTo>
                  <a:pt x="8" y="11"/>
                </a:lnTo>
                <a:lnTo>
                  <a:pt x="6" y="12"/>
                </a:lnTo>
                <a:lnTo>
                  <a:pt x="5" y="13"/>
                </a:lnTo>
                <a:lnTo>
                  <a:pt x="2" y="12"/>
                </a:lnTo>
                <a:lnTo>
                  <a:pt x="1" y="12"/>
                </a:lnTo>
                <a:lnTo>
                  <a:pt x="1" y="11"/>
                </a:lnTo>
                <a:lnTo>
                  <a:pt x="0" y="9"/>
                </a:lnTo>
                <a:lnTo>
                  <a:pt x="1" y="8"/>
                </a:lnTo>
                <a:lnTo>
                  <a:pt x="2" y="8"/>
                </a:lnTo>
                <a:lnTo>
                  <a:pt x="2" y="7"/>
                </a:lnTo>
                <a:lnTo>
                  <a:pt x="0" y="7"/>
                </a:lnTo>
                <a:lnTo>
                  <a:pt x="0" y="6"/>
                </a:lnTo>
                <a:lnTo>
                  <a:pt x="1" y="5"/>
                </a:lnTo>
                <a:lnTo>
                  <a:pt x="1" y="3"/>
                </a:lnTo>
                <a:lnTo>
                  <a:pt x="2" y="2"/>
                </a:lnTo>
                <a:lnTo>
                  <a:pt x="2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8" name="Freeform 59">
            <a:extLst>
              <a:ext uri="{FF2B5EF4-FFF2-40B4-BE49-F238E27FC236}">
                <a16:creationId xmlns:a16="http://schemas.microsoft.com/office/drawing/2014/main" id="{8E65C5A4-367F-4D7C-B872-351A6CC3BEAA}"/>
              </a:ext>
            </a:extLst>
          </p:cNvPr>
          <p:cNvSpPr>
            <a:spLocks noEditPoints="1"/>
          </p:cNvSpPr>
          <p:nvPr/>
        </p:nvSpPr>
        <p:spPr bwMode="auto">
          <a:xfrm>
            <a:off x="2409684" y="5368176"/>
            <a:ext cx="107222" cy="243422"/>
          </a:xfrm>
          <a:custGeom>
            <a:avLst/>
            <a:gdLst/>
            <a:ahLst/>
            <a:cxnLst>
              <a:cxn ang="0">
                <a:pos x="6" y="97"/>
              </a:cxn>
              <a:cxn ang="0">
                <a:pos x="17" y="0"/>
              </a:cxn>
              <a:cxn ang="0">
                <a:pos x="24" y="11"/>
              </a:cxn>
              <a:cxn ang="0">
                <a:pos x="33" y="5"/>
              </a:cxn>
              <a:cxn ang="0">
                <a:pos x="39" y="12"/>
              </a:cxn>
              <a:cxn ang="0">
                <a:pos x="40" y="18"/>
              </a:cxn>
              <a:cxn ang="0">
                <a:pos x="50" y="24"/>
              </a:cxn>
              <a:cxn ang="0">
                <a:pos x="55" y="37"/>
              </a:cxn>
              <a:cxn ang="0">
                <a:pos x="54" y="43"/>
              </a:cxn>
              <a:cxn ang="0">
                <a:pos x="52" y="56"/>
              </a:cxn>
              <a:cxn ang="0">
                <a:pos x="49" y="65"/>
              </a:cxn>
              <a:cxn ang="0">
                <a:pos x="53" y="69"/>
              </a:cxn>
              <a:cxn ang="0">
                <a:pos x="53" y="74"/>
              </a:cxn>
              <a:cxn ang="0">
                <a:pos x="53" y="81"/>
              </a:cxn>
              <a:cxn ang="0">
                <a:pos x="58" y="88"/>
              </a:cxn>
              <a:cxn ang="0">
                <a:pos x="61" y="99"/>
              </a:cxn>
              <a:cxn ang="0">
                <a:pos x="72" y="100"/>
              </a:cxn>
              <a:cxn ang="0">
                <a:pos x="74" y="110"/>
              </a:cxn>
              <a:cxn ang="0">
                <a:pos x="71" y="120"/>
              </a:cxn>
              <a:cxn ang="0">
                <a:pos x="62" y="130"/>
              </a:cxn>
              <a:cxn ang="0">
                <a:pos x="59" y="138"/>
              </a:cxn>
              <a:cxn ang="0">
                <a:pos x="50" y="145"/>
              </a:cxn>
              <a:cxn ang="0">
                <a:pos x="45" y="153"/>
              </a:cxn>
              <a:cxn ang="0">
                <a:pos x="45" y="160"/>
              </a:cxn>
              <a:cxn ang="0">
                <a:pos x="42" y="161"/>
              </a:cxn>
              <a:cxn ang="0">
                <a:pos x="41" y="167"/>
              </a:cxn>
              <a:cxn ang="0">
                <a:pos x="33" y="166"/>
              </a:cxn>
              <a:cxn ang="0">
                <a:pos x="30" y="162"/>
              </a:cxn>
              <a:cxn ang="0">
                <a:pos x="29" y="155"/>
              </a:cxn>
              <a:cxn ang="0">
                <a:pos x="28" y="151"/>
              </a:cxn>
              <a:cxn ang="0">
                <a:pos x="21" y="144"/>
              </a:cxn>
              <a:cxn ang="0">
                <a:pos x="14" y="140"/>
              </a:cxn>
              <a:cxn ang="0">
                <a:pos x="4" y="131"/>
              </a:cxn>
              <a:cxn ang="0">
                <a:pos x="0" y="125"/>
              </a:cxn>
              <a:cxn ang="0">
                <a:pos x="5" y="129"/>
              </a:cxn>
              <a:cxn ang="0">
                <a:pos x="8" y="123"/>
              </a:cxn>
              <a:cxn ang="0">
                <a:pos x="8" y="120"/>
              </a:cxn>
              <a:cxn ang="0">
                <a:pos x="4" y="117"/>
              </a:cxn>
              <a:cxn ang="0">
                <a:pos x="4" y="110"/>
              </a:cxn>
              <a:cxn ang="0">
                <a:pos x="10" y="98"/>
              </a:cxn>
              <a:cxn ang="0">
                <a:pos x="9" y="94"/>
              </a:cxn>
              <a:cxn ang="0">
                <a:pos x="9" y="82"/>
              </a:cxn>
              <a:cxn ang="0">
                <a:pos x="6" y="75"/>
              </a:cxn>
              <a:cxn ang="0">
                <a:pos x="10" y="65"/>
              </a:cxn>
              <a:cxn ang="0">
                <a:pos x="12" y="61"/>
              </a:cxn>
              <a:cxn ang="0">
                <a:pos x="12" y="56"/>
              </a:cxn>
              <a:cxn ang="0">
                <a:pos x="14" y="48"/>
              </a:cxn>
              <a:cxn ang="0">
                <a:pos x="4" y="43"/>
              </a:cxn>
              <a:cxn ang="0">
                <a:pos x="4" y="39"/>
              </a:cxn>
              <a:cxn ang="0">
                <a:pos x="2" y="28"/>
              </a:cxn>
              <a:cxn ang="0">
                <a:pos x="5" y="16"/>
              </a:cxn>
              <a:cxn ang="0">
                <a:pos x="11" y="9"/>
              </a:cxn>
              <a:cxn ang="0">
                <a:pos x="17" y="0"/>
              </a:cxn>
            </a:cxnLst>
            <a:rect l="0" t="0" r="r" b="b"/>
            <a:pathLst>
              <a:path w="74" h="168">
                <a:moveTo>
                  <a:pt x="6" y="97"/>
                </a:moveTo>
                <a:lnTo>
                  <a:pt x="6" y="100"/>
                </a:lnTo>
                <a:lnTo>
                  <a:pt x="5" y="100"/>
                </a:lnTo>
                <a:lnTo>
                  <a:pt x="5" y="98"/>
                </a:lnTo>
                <a:lnTo>
                  <a:pt x="6" y="97"/>
                </a:lnTo>
                <a:close/>
                <a:moveTo>
                  <a:pt x="9" y="95"/>
                </a:moveTo>
                <a:lnTo>
                  <a:pt x="8" y="98"/>
                </a:lnTo>
                <a:lnTo>
                  <a:pt x="8" y="97"/>
                </a:lnTo>
                <a:lnTo>
                  <a:pt x="9" y="95"/>
                </a:lnTo>
                <a:close/>
                <a:moveTo>
                  <a:pt x="17" y="0"/>
                </a:moveTo>
                <a:lnTo>
                  <a:pt x="19" y="0"/>
                </a:lnTo>
                <a:lnTo>
                  <a:pt x="19" y="7"/>
                </a:lnTo>
                <a:lnTo>
                  <a:pt x="22" y="9"/>
                </a:lnTo>
                <a:lnTo>
                  <a:pt x="22" y="11"/>
                </a:lnTo>
                <a:lnTo>
                  <a:pt x="24" y="11"/>
                </a:lnTo>
                <a:lnTo>
                  <a:pt x="25" y="9"/>
                </a:lnTo>
                <a:lnTo>
                  <a:pt x="25" y="8"/>
                </a:lnTo>
                <a:lnTo>
                  <a:pt x="30" y="8"/>
                </a:lnTo>
                <a:lnTo>
                  <a:pt x="31" y="6"/>
                </a:lnTo>
                <a:lnTo>
                  <a:pt x="33" y="5"/>
                </a:lnTo>
                <a:lnTo>
                  <a:pt x="34" y="6"/>
                </a:lnTo>
                <a:lnTo>
                  <a:pt x="34" y="7"/>
                </a:lnTo>
                <a:lnTo>
                  <a:pt x="36" y="8"/>
                </a:lnTo>
                <a:lnTo>
                  <a:pt x="37" y="8"/>
                </a:lnTo>
                <a:lnTo>
                  <a:pt x="39" y="12"/>
                </a:lnTo>
                <a:lnTo>
                  <a:pt x="40" y="13"/>
                </a:lnTo>
                <a:lnTo>
                  <a:pt x="39" y="14"/>
                </a:lnTo>
                <a:lnTo>
                  <a:pt x="39" y="15"/>
                </a:lnTo>
                <a:lnTo>
                  <a:pt x="40" y="15"/>
                </a:lnTo>
                <a:lnTo>
                  <a:pt x="40" y="18"/>
                </a:lnTo>
                <a:lnTo>
                  <a:pt x="41" y="18"/>
                </a:lnTo>
                <a:lnTo>
                  <a:pt x="41" y="19"/>
                </a:lnTo>
                <a:lnTo>
                  <a:pt x="45" y="19"/>
                </a:lnTo>
                <a:lnTo>
                  <a:pt x="50" y="22"/>
                </a:lnTo>
                <a:lnTo>
                  <a:pt x="50" y="24"/>
                </a:lnTo>
                <a:lnTo>
                  <a:pt x="52" y="24"/>
                </a:lnTo>
                <a:lnTo>
                  <a:pt x="52" y="25"/>
                </a:lnTo>
                <a:lnTo>
                  <a:pt x="54" y="28"/>
                </a:lnTo>
                <a:lnTo>
                  <a:pt x="54" y="33"/>
                </a:lnTo>
                <a:lnTo>
                  <a:pt x="55" y="37"/>
                </a:lnTo>
                <a:lnTo>
                  <a:pt x="55" y="38"/>
                </a:lnTo>
                <a:lnTo>
                  <a:pt x="56" y="39"/>
                </a:lnTo>
                <a:lnTo>
                  <a:pt x="55" y="40"/>
                </a:lnTo>
                <a:lnTo>
                  <a:pt x="55" y="42"/>
                </a:lnTo>
                <a:lnTo>
                  <a:pt x="54" y="43"/>
                </a:lnTo>
                <a:lnTo>
                  <a:pt x="55" y="44"/>
                </a:lnTo>
                <a:lnTo>
                  <a:pt x="54" y="45"/>
                </a:lnTo>
                <a:lnTo>
                  <a:pt x="54" y="49"/>
                </a:lnTo>
                <a:lnTo>
                  <a:pt x="52" y="51"/>
                </a:lnTo>
                <a:lnTo>
                  <a:pt x="52" y="56"/>
                </a:lnTo>
                <a:lnTo>
                  <a:pt x="53" y="57"/>
                </a:lnTo>
                <a:lnTo>
                  <a:pt x="53" y="61"/>
                </a:lnTo>
                <a:lnTo>
                  <a:pt x="52" y="62"/>
                </a:lnTo>
                <a:lnTo>
                  <a:pt x="49" y="62"/>
                </a:lnTo>
                <a:lnTo>
                  <a:pt x="49" y="65"/>
                </a:lnTo>
                <a:lnTo>
                  <a:pt x="50" y="65"/>
                </a:lnTo>
                <a:lnTo>
                  <a:pt x="50" y="67"/>
                </a:lnTo>
                <a:lnTo>
                  <a:pt x="52" y="67"/>
                </a:lnTo>
                <a:lnTo>
                  <a:pt x="52" y="69"/>
                </a:lnTo>
                <a:lnTo>
                  <a:pt x="53" y="69"/>
                </a:lnTo>
                <a:lnTo>
                  <a:pt x="53" y="70"/>
                </a:lnTo>
                <a:lnTo>
                  <a:pt x="54" y="70"/>
                </a:lnTo>
                <a:lnTo>
                  <a:pt x="54" y="71"/>
                </a:lnTo>
                <a:lnTo>
                  <a:pt x="53" y="73"/>
                </a:lnTo>
                <a:lnTo>
                  <a:pt x="53" y="74"/>
                </a:lnTo>
                <a:lnTo>
                  <a:pt x="52" y="74"/>
                </a:lnTo>
                <a:lnTo>
                  <a:pt x="50" y="75"/>
                </a:lnTo>
                <a:lnTo>
                  <a:pt x="52" y="76"/>
                </a:lnTo>
                <a:lnTo>
                  <a:pt x="52" y="80"/>
                </a:lnTo>
                <a:lnTo>
                  <a:pt x="53" y="81"/>
                </a:lnTo>
                <a:lnTo>
                  <a:pt x="54" y="83"/>
                </a:lnTo>
                <a:lnTo>
                  <a:pt x="54" y="85"/>
                </a:lnTo>
                <a:lnTo>
                  <a:pt x="55" y="86"/>
                </a:lnTo>
                <a:lnTo>
                  <a:pt x="55" y="88"/>
                </a:lnTo>
                <a:lnTo>
                  <a:pt x="58" y="88"/>
                </a:lnTo>
                <a:lnTo>
                  <a:pt x="59" y="89"/>
                </a:lnTo>
                <a:lnTo>
                  <a:pt x="60" y="93"/>
                </a:lnTo>
                <a:lnTo>
                  <a:pt x="60" y="97"/>
                </a:lnTo>
                <a:lnTo>
                  <a:pt x="61" y="98"/>
                </a:lnTo>
                <a:lnTo>
                  <a:pt x="61" y="99"/>
                </a:lnTo>
                <a:lnTo>
                  <a:pt x="64" y="99"/>
                </a:lnTo>
                <a:lnTo>
                  <a:pt x="65" y="98"/>
                </a:lnTo>
                <a:lnTo>
                  <a:pt x="71" y="98"/>
                </a:lnTo>
                <a:lnTo>
                  <a:pt x="71" y="99"/>
                </a:lnTo>
                <a:lnTo>
                  <a:pt x="72" y="100"/>
                </a:lnTo>
                <a:lnTo>
                  <a:pt x="72" y="104"/>
                </a:lnTo>
                <a:lnTo>
                  <a:pt x="71" y="105"/>
                </a:lnTo>
                <a:lnTo>
                  <a:pt x="71" y="107"/>
                </a:lnTo>
                <a:lnTo>
                  <a:pt x="72" y="107"/>
                </a:lnTo>
                <a:lnTo>
                  <a:pt x="74" y="110"/>
                </a:lnTo>
                <a:lnTo>
                  <a:pt x="74" y="118"/>
                </a:lnTo>
                <a:lnTo>
                  <a:pt x="73" y="118"/>
                </a:lnTo>
                <a:lnTo>
                  <a:pt x="73" y="119"/>
                </a:lnTo>
                <a:lnTo>
                  <a:pt x="72" y="119"/>
                </a:lnTo>
                <a:lnTo>
                  <a:pt x="71" y="120"/>
                </a:lnTo>
                <a:lnTo>
                  <a:pt x="71" y="123"/>
                </a:lnTo>
                <a:lnTo>
                  <a:pt x="66" y="123"/>
                </a:lnTo>
                <a:lnTo>
                  <a:pt x="64" y="125"/>
                </a:lnTo>
                <a:lnTo>
                  <a:pt x="64" y="129"/>
                </a:lnTo>
                <a:lnTo>
                  <a:pt x="62" y="130"/>
                </a:lnTo>
                <a:lnTo>
                  <a:pt x="62" y="131"/>
                </a:lnTo>
                <a:lnTo>
                  <a:pt x="61" y="132"/>
                </a:lnTo>
                <a:lnTo>
                  <a:pt x="60" y="132"/>
                </a:lnTo>
                <a:lnTo>
                  <a:pt x="60" y="138"/>
                </a:lnTo>
                <a:lnTo>
                  <a:pt x="59" y="138"/>
                </a:lnTo>
                <a:lnTo>
                  <a:pt x="59" y="143"/>
                </a:lnTo>
                <a:lnTo>
                  <a:pt x="58" y="143"/>
                </a:lnTo>
                <a:lnTo>
                  <a:pt x="56" y="144"/>
                </a:lnTo>
                <a:lnTo>
                  <a:pt x="52" y="144"/>
                </a:lnTo>
                <a:lnTo>
                  <a:pt x="50" y="145"/>
                </a:lnTo>
                <a:lnTo>
                  <a:pt x="49" y="144"/>
                </a:lnTo>
                <a:lnTo>
                  <a:pt x="47" y="147"/>
                </a:lnTo>
                <a:lnTo>
                  <a:pt x="47" y="149"/>
                </a:lnTo>
                <a:lnTo>
                  <a:pt x="43" y="149"/>
                </a:lnTo>
                <a:lnTo>
                  <a:pt x="45" y="153"/>
                </a:lnTo>
                <a:lnTo>
                  <a:pt x="46" y="154"/>
                </a:lnTo>
                <a:lnTo>
                  <a:pt x="47" y="157"/>
                </a:lnTo>
                <a:lnTo>
                  <a:pt x="48" y="159"/>
                </a:lnTo>
                <a:lnTo>
                  <a:pt x="47" y="160"/>
                </a:lnTo>
                <a:lnTo>
                  <a:pt x="45" y="160"/>
                </a:lnTo>
                <a:lnTo>
                  <a:pt x="43" y="159"/>
                </a:lnTo>
                <a:lnTo>
                  <a:pt x="42" y="159"/>
                </a:lnTo>
                <a:lnTo>
                  <a:pt x="42" y="160"/>
                </a:lnTo>
                <a:lnTo>
                  <a:pt x="43" y="161"/>
                </a:lnTo>
                <a:lnTo>
                  <a:pt x="42" y="161"/>
                </a:lnTo>
                <a:lnTo>
                  <a:pt x="42" y="162"/>
                </a:lnTo>
                <a:lnTo>
                  <a:pt x="43" y="162"/>
                </a:lnTo>
                <a:lnTo>
                  <a:pt x="43" y="163"/>
                </a:lnTo>
                <a:lnTo>
                  <a:pt x="41" y="166"/>
                </a:lnTo>
                <a:lnTo>
                  <a:pt x="41" y="167"/>
                </a:lnTo>
                <a:lnTo>
                  <a:pt x="40" y="167"/>
                </a:lnTo>
                <a:lnTo>
                  <a:pt x="40" y="168"/>
                </a:lnTo>
                <a:lnTo>
                  <a:pt x="37" y="168"/>
                </a:lnTo>
                <a:lnTo>
                  <a:pt x="35" y="166"/>
                </a:lnTo>
                <a:lnTo>
                  <a:pt x="33" y="166"/>
                </a:lnTo>
                <a:lnTo>
                  <a:pt x="31" y="165"/>
                </a:lnTo>
                <a:lnTo>
                  <a:pt x="30" y="166"/>
                </a:lnTo>
                <a:lnTo>
                  <a:pt x="30" y="163"/>
                </a:lnTo>
                <a:lnTo>
                  <a:pt x="31" y="162"/>
                </a:lnTo>
                <a:lnTo>
                  <a:pt x="30" y="162"/>
                </a:lnTo>
                <a:lnTo>
                  <a:pt x="30" y="160"/>
                </a:lnTo>
                <a:lnTo>
                  <a:pt x="31" y="157"/>
                </a:lnTo>
                <a:lnTo>
                  <a:pt x="31" y="156"/>
                </a:lnTo>
                <a:lnTo>
                  <a:pt x="30" y="155"/>
                </a:lnTo>
                <a:lnTo>
                  <a:pt x="29" y="155"/>
                </a:lnTo>
                <a:lnTo>
                  <a:pt x="29" y="154"/>
                </a:lnTo>
                <a:lnTo>
                  <a:pt x="27" y="154"/>
                </a:lnTo>
                <a:lnTo>
                  <a:pt x="27" y="153"/>
                </a:lnTo>
                <a:lnTo>
                  <a:pt x="28" y="153"/>
                </a:lnTo>
                <a:lnTo>
                  <a:pt x="28" y="151"/>
                </a:lnTo>
                <a:lnTo>
                  <a:pt x="25" y="147"/>
                </a:lnTo>
                <a:lnTo>
                  <a:pt x="25" y="145"/>
                </a:lnTo>
                <a:lnTo>
                  <a:pt x="22" y="145"/>
                </a:lnTo>
                <a:lnTo>
                  <a:pt x="23" y="144"/>
                </a:lnTo>
                <a:lnTo>
                  <a:pt x="21" y="144"/>
                </a:lnTo>
                <a:lnTo>
                  <a:pt x="21" y="143"/>
                </a:lnTo>
                <a:lnTo>
                  <a:pt x="19" y="143"/>
                </a:lnTo>
                <a:lnTo>
                  <a:pt x="19" y="142"/>
                </a:lnTo>
                <a:lnTo>
                  <a:pt x="18" y="142"/>
                </a:lnTo>
                <a:lnTo>
                  <a:pt x="14" y="140"/>
                </a:lnTo>
                <a:lnTo>
                  <a:pt x="12" y="138"/>
                </a:lnTo>
                <a:lnTo>
                  <a:pt x="10" y="137"/>
                </a:lnTo>
                <a:lnTo>
                  <a:pt x="9" y="137"/>
                </a:lnTo>
                <a:lnTo>
                  <a:pt x="5" y="132"/>
                </a:lnTo>
                <a:lnTo>
                  <a:pt x="4" y="131"/>
                </a:lnTo>
                <a:lnTo>
                  <a:pt x="3" y="129"/>
                </a:lnTo>
                <a:lnTo>
                  <a:pt x="3" y="128"/>
                </a:lnTo>
                <a:lnTo>
                  <a:pt x="2" y="126"/>
                </a:lnTo>
                <a:lnTo>
                  <a:pt x="2" y="125"/>
                </a:lnTo>
                <a:lnTo>
                  <a:pt x="0" y="125"/>
                </a:lnTo>
                <a:lnTo>
                  <a:pt x="2" y="124"/>
                </a:lnTo>
                <a:lnTo>
                  <a:pt x="3" y="124"/>
                </a:lnTo>
                <a:lnTo>
                  <a:pt x="3" y="125"/>
                </a:lnTo>
                <a:lnTo>
                  <a:pt x="5" y="126"/>
                </a:lnTo>
                <a:lnTo>
                  <a:pt x="5" y="129"/>
                </a:lnTo>
                <a:lnTo>
                  <a:pt x="6" y="129"/>
                </a:lnTo>
                <a:lnTo>
                  <a:pt x="6" y="130"/>
                </a:lnTo>
                <a:lnTo>
                  <a:pt x="9" y="130"/>
                </a:lnTo>
                <a:lnTo>
                  <a:pt x="9" y="123"/>
                </a:lnTo>
                <a:lnTo>
                  <a:pt x="8" y="123"/>
                </a:lnTo>
                <a:lnTo>
                  <a:pt x="6" y="122"/>
                </a:lnTo>
                <a:lnTo>
                  <a:pt x="5" y="119"/>
                </a:lnTo>
                <a:lnTo>
                  <a:pt x="6" y="119"/>
                </a:lnTo>
                <a:lnTo>
                  <a:pt x="6" y="120"/>
                </a:lnTo>
                <a:lnTo>
                  <a:pt x="8" y="120"/>
                </a:lnTo>
                <a:lnTo>
                  <a:pt x="8" y="117"/>
                </a:lnTo>
                <a:lnTo>
                  <a:pt x="6" y="116"/>
                </a:lnTo>
                <a:lnTo>
                  <a:pt x="5" y="117"/>
                </a:lnTo>
                <a:lnTo>
                  <a:pt x="5" y="118"/>
                </a:lnTo>
                <a:lnTo>
                  <a:pt x="4" y="117"/>
                </a:lnTo>
                <a:lnTo>
                  <a:pt x="2" y="113"/>
                </a:lnTo>
                <a:lnTo>
                  <a:pt x="2" y="111"/>
                </a:lnTo>
                <a:lnTo>
                  <a:pt x="3" y="111"/>
                </a:lnTo>
                <a:lnTo>
                  <a:pt x="3" y="110"/>
                </a:lnTo>
                <a:lnTo>
                  <a:pt x="4" y="110"/>
                </a:lnTo>
                <a:lnTo>
                  <a:pt x="4" y="104"/>
                </a:lnTo>
                <a:lnTo>
                  <a:pt x="5" y="104"/>
                </a:lnTo>
                <a:lnTo>
                  <a:pt x="5" y="101"/>
                </a:lnTo>
                <a:lnTo>
                  <a:pt x="8" y="99"/>
                </a:lnTo>
                <a:lnTo>
                  <a:pt x="10" y="98"/>
                </a:lnTo>
                <a:lnTo>
                  <a:pt x="11" y="98"/>
                </a:lnTo>
                <a:lnTo>
                  <a:pt x="11" y="97"/>
                </a:lnTo>
                <a:lnTo>
                  <a:pt x="10" y="95"/>
                </a:lnTo>
                <a:lnTo>
                  <a:pt x="10" y="93"/>
                </a:lnTo>
                <a:lnTo>
                  <a:pt x="9" y="94"/>
                </a:lnTo>
                <a:lnTo>
                  <a:pt x="9" y="93"/>
                </a:lnTo>
                <a:lnTo>
                  <a:pt x="8" y="93"/>
                </a:lnTo>
                <a:lnTo>
                  <a:pt x="8" y="85"/>
                </a:lnTo>
                <a:lnTo>
                  <a:pt x="9" y="83"/>
                </a:lnTo>
                <a:lnTo>
                  <a:pt x="9" y="82"/>
                </a:lnTo>
                <a:lnTo>
                  <a:pt x="10" y="80"/>
                </a:lnTo>
                <a:lnTo>
                  <a:pt x="10" y="76"/>
                </a:lnTo>
                <a:lnTo>
                  <a:pt x="9" y="76"/>
                </a:lnTo>
                <a:lnTo>
                  <a:pt x="9" y="75"/>
                </a:lnTo>
                <a:lnTo>
                  <a:pt x="6" y="75"/>
                </a:lnTo>
                <a:lnTo>
                  <a:pt x="6" y="71"/>
                </a:lnTo>
                <a:lnTo>
                  <a:pt x="5" y="70"/>
                </a:lnTo>
                <a:lnTo>
                  <a:pt x="8" y="70"/>
                </a:lnTo>
                <a:lnTo>
                  <a:pt x="8" y="68"/>
                </a:lnTo>
                <a:lnTo>
                  <a:pt x="10" y="65"/>
                </a:lnTo>
                <a:lnTo>
                  <a:pt x="10" y="63"/>
                </a:lnTo>
                <a:lnTo>
                  <a:pt x="9" y="63"/>
                </a:lnTo>
                <a:lnTo>
                  <a:pt x="9" y="62"/>
                </a:lnTo>
                <a:lnTo>
                  <a:pt x="8" y="61"/>
                </a:lnTo>
                <a:lnTo>
                  <a:pt x="12" y="61"/>
                </a:lnTo>
                <a:lnTo>
                  <a:pt x="14" y="58"/>
                </a:lnTo>
                <a:lnTo>
                  <a:pt x="14" y="59"/>
                </a:lnTo>
                <a:lnTo>
                  <a:pt x="15" y="59"/>
                </a:lnTo>
                <a:lnTo>
                  <a:pt x="14" y="57"/>
                </a:lnTo>
                <a:lnTo>
                  <a:pt x="12" y="56"/>
                </a:lnTo>
                <a:lnTo>
                  <a:pt x="14" y="55"/>
                </a:lnTo>
                <a:lnTo>
                  <a:pt x="12" y="52"/>
                </a:lnTo>
                <a:lnTo>
                  <a:pt x="12" y="50"/>
                </a:lnTo>
                <a:lnTo>
                  <a:pt x="14" y="50"/>
                </a:lnTo>
                <a:lnTo>
                  <a:pt x="14" y="48"/>
                </a:lnTo>
                <a:lnTo>
                  <a:pt x="9" y="45"/>
                </a:lnTo>
                <a:lnTo>
                  <a:pt x="8" y="44"/>
                </a:lnTo>
                <a:lnTo>
                  <a:pt x="6" y="44"/>
                </a:lnTo>
                <a:lnTo>
                  <a:pt x="4" y="45"/>
                </a:lnTo>
                <a:lnTo>
                  <a:pt x="4" y="43"/>
                </a:lnTo>
                <a:lnTo>
                  <a:pt x="3" y="42"/>
                </a:lnTo>
                <a:lnTo>
                  <a:pt x="3" y="40"/>
                </a:lnTo>
                <a:lnTo>
                  <a:pt x="4" y="40"/>
                </a:lnTo>
                <a:lnTo>
                  <a:pt x="3" y="39"/>
                </a:lnTo>
                <a:lnTo>
                  <a:pt x="4" y="39"/>
                </a:lnTo>
                <a:lnTo>
                  <a:pt x="4" y="37"/>
                </a:lnTo>
                <a:lnTo>
                  <a:pt x="3" y="36"/>
                </a:lnTo>
                <a:lnTo>
                  <a:pt x="4" y="34"/>
                </a:lnTo>
                <a:lnTo>
                  <a:pt x="4" y="30"/>
                </a:lnTo>
                <a:lnTo>
                  <a:pt x="2" y="28"/>
                </a:lnTo>
                <a:lnTo>
                  <a:pt x="0" y="27"/>
                </a:lnTo>
                <a:lnTo>
                  <a:pt x="0" y="26"/>
                </a:lnTo>
                <a:lnTo>
                  <a:pt x="2" y="25"/>
                </a:lnTo>
                <a:lnTo>
                  <a:pt x="5" y="18"/>
                </a:lnTo>
                <a:lnTo>
                  <a:pt x="5" y="16"/>
                </a:lnTo>
                <a:lnTo>
                  <a:pt x="9" y="13"/>
                </a:lnTo>
                <a:lnTo>
                  <a:pt x="9" y="12"/>
                </a:lnTo>
                <a:lnTo>
                  <a:pt x="10" y="12"/>
                </a:lnTo>
                <a:lnTo>
                  <a:pt x="10" y="11"/>
                </a:lnTo>
                <a:lnTo>
                  <a:pt x="11" y="9"/>
                </a:lnTo>
                <a:lnTo>
                  <a:pt x="11" y="8"/>
                </a:lnTo>
                <a:lnTo>
                  <a:pt x="12" y="7"/>
                </a:lnTo>
                <a:lnTo>
                  <a:pt x="14" y="7"/>
                </a:lnTo>
                <a:lnTo>
                  <a:pt x="14" y="3"/>
                </a:lnTo>
                <a:lnTo>
                  <a:pt x="17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9" name="Freeform 13">
            <a:extLst>
              <a:ext uri="{FF2B5EF4-FFF2-40B4-BE49-F238E27FC236}">
                <a16:creationId xmlns:a16="http://schemas.microsoft.com/office/drawing/2014/main" id="{CE11F174-3BF4-4AB1-AB72-A710808ADCF9}"/>
              </a:ext>
            </a:extLst>
          </p:cNvPr>
          <p:cNvSpPr>
            <a:spLocks noEditPoints="1"/>
          </p:cNvSpPr>
          <p:nvPr/>
        </p:nvSpPr>
        <p:spPr bwMode="auto">
          <a:xfrm>
            <a:off x="113840" y="5288125"/>
            <a:ext cx="1376493" cy="1220008"/>
          </a:xfrm>
          <a:custGeom>
            <a:avLst/>
            <a:gdLst/>
            <a:ahLst/>
            <a:cxnLst>
              <a:cxn ang="0">
                <a:pos x="117" y="817"/>
              </a:cxn>
              <a:cxn ang="0">
                <a:pos x="99" y="828"/>
              </a:cxn>
              <a:cxn ang="0">
                <a:pos x="87" y="800"/>
              </a:cxn>
              <a:cxn ang="0">
                <a:pos x="57" y="816"/>
              </a:cxn>
              <a:cxn ang="0">
                <a:pos x="184" y="792"/>
              </a:cxn>
              <a:cxn ang="0">
                <a:pos x="168" y="813"/>
              </a:cxn>
              <a:cxn ang="0">
                <a:pos x="16" y="803"/>
              </a:cxn>
              <a:cxn ang="0">
                <a:pos x="188" y="782"/>
              </a:cxn>
              <a:cxn ang="0">
                <a:pos x="195" y="767"/>
              </a:cxn>
              <a:cxn ang="0">
                <a:pos x="501" y="380"/>
              </a:cxn>
              <a:cxn ang="0">
                <a:pos x="828" y="263"/>
              </a:cxn>
              <a:cxn ang="0">
                <a:pos x="822" y="271"/>
              </a:cxn>
              <a:cxn ang="0">
                <a:pos x="897" y="221"/>
              </a:cxn>
              <a:cxn ang="0">
                <a:pos x="902" y="250"/>
              </a:cxn>
              <a:cxn ang="0">
                <a:pos x="872" y="244"/>
              </a:cxn>
              <a:cxn ang="0">
                <a:pos x="942" y="211"/>
              </a:cxn>
              <a:cxn ang="0">
                <a:pos x="928" y="211"/>
              </a:cxn>
              <a:cxn ang="0">
                <a:pos x="391" y="75"/>
              </a:cxn>
              <a:cxn ang="0">
                <a:pos x="471" y="13"/>
              </a:cxn>
              <a:cxn ang="0">
                <a:pos x="511" y="12"/>
              </a:cxn>
              <a:cxn ang="0">
                <a:pos x="558" y="19"/>
              </a:cxn>
              <a:cxn ang="0">
                <a:pos x="608" y="18"/>
              </a:cxn>
              <a:cxn ang="0">
                <a:pos x="621" y="22"/>
              </a:cxn>
              <a:cxn ang="0">
                <a:pos x="656" y="22"/>
              </a:cxn>
              <a:cxn ang="0">
                <a:pos x="697" y="31"/>
              </a:cxn>
              <a:cxn ang="0">
                <a:pos x="715" y="43"/>
              </a:cxn>
              <a:cxn ang="0">
                <a:pos x="753" y="56"/>
              </a:cxn>
              <a:cxn ang="0">
                <a:pos x="795" y="61"/>
              </a:cxn>
              <a:cxn ang="0">
                <a:pos x="828" y="73"/>
              </a:cxn>
              <a:cxn ang="0">
                <a:pos x="857" y="79"/>
              </a:cxn>
              <a:cxn ang="0">
                <a:pos x="906" y="84"/>
              </a:cxn>
              <a:cxn ang="0">
                <a:pos x="887" y="120"/>
              </a:cxn>
              <a:cxn ang="0">
                <a:pos x="809" y="157"/>
              </a:cxn>
              <a:cxn ang="0">
                <a:pos x="782" y="198"/>
              </a:cxn>
              <a:cxn ang="0">
                <a:pos x="757" y="263"/>
              </a:cxn>
              <a:cxn ang="0">
                <a:pos x="759" y="294"/>
              </a:cxn>
              <a:cxn ang="0">
                <a:pos x="735" y="333"/>
              </a:cxn>
              <a:cxn ang="0">
                <a:pos x="714" y="346"/>
              </a:cxn>
              <a:cxn ang="0">
                <a:pos x="682" y="385"/>
              </a:cxn>
              <a:cxn ang="0">
                <a:pos x="652" y="392"/>
              </a:cxn>
              <a:cxn ang="0">
                <a:pos x="595" y="389"/>
              </a:cxn>
              <a:cxn ang="0">
                <a:pos x="544" y="416"/>
              </a:cxn>
              <a:cxn ang="0">
                <a:pos x="501" y="400"/>
              </a:cxn>
              <a:cxn ang="0">
                <a:pos x="480" y="369"/>
              </a:cxn>
              <a:cxn ang="0">
                <a:pos x="452" y="354"/>
              </a:cxn>
              <a:cxn ang="0">
                <a:pos x="472" y="317"/>
              </a:cxn>
              <a:cxn ang="0">
                <a:pos x="468" y="277"/>
              </a:cxn>
              <a:cxn ang="0">
                <a:pos x="458" y="244"/>
              </a:cxn>
              <a:cxn ang="0">
                <a:pos x="470" y="206"/>
              </a:cxn>
              <a:cxn ang="0">
                <a:pos x="478" y="166"/>
              </a:cxn>
              <a:cxn ang="0">
                <a:pos x="502" y="131"/>
              </a:cxn>
              <a:cxn ang="0">
                <a:pos x="474" y="106"/>
              </a:cxn>
              <a:cxn ang="0">
                <a:pos x="435" y="110"/>
              </a:cxn>
              <a:cxn ang="0">
                <a:pos x="416" y="97"/>
              </a:cxn>
              <a:cxn ang="0">
                <a:pos x="395" y="92"/>
              </a:cxn>
              <a:cxn ang="0">
                <a:pos x="398" y="79"/>
              </a:cxn>
              <a:cxn ang="0">
                <a:pos x="386" y="73"/>
              </a:cxn>
              <a:cxn ang="0">
                <a:pos x="380" y="50"/>
              </a:cxn>
              <a:cxn ang="0">
                <a:pos x="385" y="35"/>
              </a:cxn>
              <a:cxn ang="0">
                <a:pos x="414" y="25"/>
              </a:cxn>
              <a:cxn ang="0">
                <a:pos x="416" y="13"/>
              </a:cxn>
              <a:cxn ang="0">
                <a:pos x="442" y="0"/>
              </a:cxn>
            </a:cxnLst>
            <a:rect l="0" t="0" r="r" b="b"/>
            <a:pathLst>
              <a:path w="950" h="842">
                <a:moveTo>
                  <a:pt x="11" y="833"/>
                </a:moveTo>
                <a:lnTo>
                  <a:pt x="13" y="835"/>
                </a:lnTo>
                <a:lnTo>
                  <a:pt x="12" y="835"/>
                </a:lnTo>
                <a:lnTo>
                  <a:pt x="11" y="837"/>
                </a:lnTo>
                <a:lnTo>
                  <a:pt x="11" y="840"/>
                </a:lnTo>
                <a:lnTo>
                  <a:pt x="10" y="840"/>
                </a:lnTo>
                <a:lnTo>
                  <a:pt x="10" y="841"/>
                </a:lnTo>
                <a:lnTo>
                  <a:pt x="8" y="841"/>
                </a:lnTo>
                <a:lnTo>
                  <a:pt x="8" y="842"/>
                </a:lnTo>
                <a:lnTo>
                  <a:pt x="7" y="842"/>
                </a:lnTo>
                <a:lnTo>
                  <a:pt x="6" y="841"/>
                </a:lnTo>
                <a:lnTo>
                  <a:pt x="5" y="841"/>
                </a:lnTo>
                <a:lnTo>
                  <a:pt x="2" y="840"/>
                </a:lnTo>
                <a:lnTo>
                  <a:pt x="1" y="840"/>
                </a:lnTo>
                <a:lnTo>
                  <a:pt x="1" y="839"/>
                </a:lnTo>
                <a:lnTo>
                  <a:pt x="0" y="837"/>
                </a:lnTo>
                <a:lnTo>
                  <a:pt x="1" y="836"/>
                </a:lnTo>
                <a:lnTo>
                  <a:pt x="4" y="837"/>
                </a:lnTo>
                <a:lnTo>
                  <a:pt x="6" y="837"/>
                </a:lnTo>
                <a:lnTo>
                  <a:pt x="7" y="835"/>
                </a:lnTo>
                <a:lnTo>
                  <a:pt x="7" y="834"/>
                </a:lnTo>
                <a:lnTo>
                  <a:pt x="8" y="834"/>
                </a:lnTo>
                <a:lnTo>
                  <a:pt x="11" y="833"/>
                </a:lnTo>
                <a:close/>
                <a:moveTo>
                  <a:pt x="116" y="817"/>
                </a:moveTo>
                <a:lnTo>
                  <a:pt x="117" y="817"/>
                </a:lnTo>
                <a:lnTo>
                  <a:pt x="117" y="824"/>
                </a:lnTo>
                <a:lnTo>
                  <a:pt x="118" y="824"/>
                </a:lnTo>
                <a:lnTo>
                  <a:pt x="118" y="825"/>
                </a:lnTo>
                <a:lnTo>
                  <a:pt x="119" y="825"/>
                </a:lnTo>
                <a:lnTo>
                  <a:pt x="119" y="827"/>
                </a:lnTo>
                <a:lnTo>
                  <a:pt x="118" y="827"/>
                </a:lnTo>
                <a:lnTo>
                  <a:pt x="118" y="828"/>
                </a:lnTo>
                <a:lnTo>
                  <a:pt x="119" y="829"/>
                </a:lnTo>
                <a:lnTo>
                  <a:pt x="118" y="829"/>
                </a:lnTo>
                <a:lnTo>
                  <a:pt x="118" y="833"/>
                </a:lnTo>
                <a:lnTo>
                  <a:pt x="114" y="836"/>
                </a:lnTo>
                <a:lnTo>
                  <a:pt x="112" y="836"/>
                </a:lnTo>
                <a:lnTo>
                  <a:pt x="112" y="837"/>
                </a:lnTo>
                <a:lnTo>
                  <a:pt x="111" y="837"/>
                </a:lnTo>
                <a:lnTo>
                  <a:pt x="110" y="839"/>
                </a:lnTo>
                <a:lnTo>
                  <a:pt x="108" y="837"/>
                </a:lnTo>
                <a:lnTo>
                  <a:pt x="105" y="837"/>
                </a:lnTo>
                <a:lnTo>
                  <a:pt x="103" y="835"/>
                </a:lnTo>
                <a:lnTo>
                  <a:pt x="103" y="834"/>
                </a:lnTo>
                <a:lnTo>
                  <a:pt x="101" y="834"/>
                </a:lnTo>
                <a:lnTo>
                  <a:pt x="101" y="833"/>
                </a:lnTo>
                <a:lnTo>
                  <a:pt x="100" y="830"/>
                </a:lnTo>
                <a:lnTo>
                  <a:pt x="99" y="829"/>
                </a:lnTo>
                <a:lnTo>
                  <a:pt x="100" y="829"/>
                </a:lnTo>
                <a:lnTo>
                  <a:pt x="99" y="828"/>
                </a:lnTo>
                <a:lnTo>
                  <a:pt x="99" y="827"/>
                </a:lnTo>
                <a:lnTo>
                  <a:pt x="101" y="824"/>
                </a:lnTo>
                <a:lnTo>
                  <a:pt x="103" y="824"/>
                </a:lnTo>
                <a:lnTo>
                  <a:pt x="104" y="823"/>
                </a:lnTo>
                <a:lnTo>
                  <a:pt x="104" y="821"/>
                </a:lnTo>
                <a:lnTo>
                  <a:pt x="105" y="821"/>
                </a:lnTo>
                <a:lnTo>
                  <a:pt x="105" y="818"/>
                </a:lnTo>
                <a:lnTo>
                  <a:pt x="112" y="818"/>
                </a:lnTo>
                <a:lnTo>
                  <a:pt x="114" y="819"/>
                </a:lnTo>
                <a:lnTo>
                  <a:pt x="116" y="819"/>
                </a:lnTo>
                <a:lnTo>
                  <a:pt x="116" y="817"/>
                </a:lnTo>
                <a:close/>
                <a:moveTo>
                  <a:pt x="37" y="816"/>
                </a:moveTo>
                <a:lnTo>
                  <a:pt x="41" y="816"/>
                </a:lnTo>
                <a:lnTo>
                  <a:pt x="45" y="818"/>
                </a:lnTo>
                <a:lnTo>
                  <a:pt x="45" y="822"/>
                </a:lnTo>
                <a:lnTo>
                  <a:pt x="44" y="822"/>
                </a:lnTo>
                <a:lnTo>
                  <a:pt x="42" y="824"/>
                </a:lnTo>
                <a:lnTo>
                  <a:pt x="39" y="824"/>
                </a:lnTo>
                <a:lnTo>
                  <a:pt x="37" y="823"/>
                </a:lnTo>
                <a:lnTo>
                  <a:pt x="36" y="821"/>
                </a:lnTo>
                <a:lnTo>
                  <a:pt x="36" y="817"/>
                </a:lnTo>
                <a:lnTo>
                  <a:pt x="37" y="816"/>
                </a:lnTo>
                <a:close/>
                <a:moveTo>
                  <a:pt x="86" y="798"/>
                </a:moveTo>
                <a:lnTo>
                  <a:pt x="87" y="798"/>
                </a:lnTo>
                <a:lnTo>
                  <a:pt x="87" y="800"/>
                </a:lnTo>
                <a:lnTo>
                  <a:pt x="86" y="800"/>
                </a:lnTo>
                <a:lnTo>
                  <a:pt x="82" y="803"/>
                </a:lnTo>
                <a:lnTo>
                  <a:pt x="81" y="804"/>
                </a:lnTo>
                <a:lnTo>
                  <a:pt x="81" y="805"/>
                </a:lnTo>
                <a:lnTo>
                  <a:pt x="80" y="806"/>
                </a:lnTo>
                <a:lnTo>
                  <a:pt x="79" y="806"/>
                </a:lnTo>
                <a:lnTo>
                  <a:pt x="77" y="807"/>
                </a:lnTo>
                <a:lnTo>
                  <a:pt x="76" y="807"/>
                </a:lnTo>
                <a:lnTo>
                  <a:pt x="76" y="812"/>
                </a:lnTo>
                <a:lnTo>
                  <a:pt x="75" y="813"/>
                </a:lnTo>
                <a:lnTo>
                  <a:pt x="74" y="816"/>
                </a:lnTo>
                <a:lnTo>
                  <a:pt x="74" y="818"/>
                </a:lnTo>
                <a:lnTo>
                  <a:pt x="73" y="819"/>
                </a:lnTo>
                <a:lnTo>
                  <a:pt x="73" y="821"/>
                </a:lnTo>
                <a:lnTo>
                  <a:pt x="69" y="824"/>
                </a:lnTo>
                <a:lnTo>
                  <a:pt x="68" y="824"/>
                </a:lnTo>
                <a:lnTo>
                  <a:pt x="66" y="825"/>
                </a:lnTo>
                <a:lnTo>
                  <a:pt x="62" y="825"/>
                </a:lnTo>
                <a:lnTo>
                  <a:pt x="62" y="823"/>
                </a:lnTo>
                <a:lnTo>
                  <a:pt x="61" y="823"/>
                </a:lnTo>
                <a:lnTo>
                  <a:pt x="61" y="822"/>
                </a:lnTo>
                <a:lnTo>
                  <a:pt x="58" y="819"/>
                </a:lnTo>
                <a:lnTo>
                  <a:pt x="58" y="818"/>
                </a:lnTo>
                <a:lnTo>
                  <a:pt x="57" y="817"/>
                </a:lnTo>
                <a:lnTo>
                  <a:pt x="57" y="816"/>
                </a:lnTo>
                <a:lnTo>
                  <a:pt x="56" y="816"/>
                </a:lnTo>
                <a:lnTo>
                  <a:pt x="56" y="812"/>
                </a:lnTo>
                <a:lnTo>
                  <a:pt x="54" y="810"/>
                </a:lnTo>
                <a:lnTo>
                  <a:pt x="54" y="809"/>
                </a:lnTo>
                <a:lnTo>
                  <a:pt x="55" y="809"/>
                </a:lnTo>
                <a:lnTo>
                  <a:pt x="56" y="807"/>
                </a:lnTo>
                <a:lnTo>
                  <a:pt x="57" y="807"/>
                </a:lnTo>
                <a:lnTo>
                  <a:pt x="58" y="809"/>
                </a:lnTo>
                <a:lnTo>
                  <a:pt x="60" y="809"/>
                </a:lnTo>
                <a:lnTo>
                  <a:pt x="61" y="807"/>
                </a:lnTo>
                <a:lnTo>
                  <a:pt x="63" y="807"/>
                </a:lnTo>
                <a:lnTo>
                  <a:pt x="64" y="806"/>
                </a:lnTo>
                <a:lnTo>
                  <a:pt x="69" y="806"/>
                </a:lnTo>
                <a:lnTo>
                  <a:pt x="69" y="805"/>
                </a:lnTo>
                <a:lnTo>
                  <a:pt x="72" y="805"/>
                </a:lnTo>
                <a:lnTo>
                  <a:pt x="74" y="803"/>
                </a:lnTo>
                <a:lnTo>
                  <a:pt x="74" y="801"/>
                </a:lnTo>
                <a:lnTo>
                  <a:pt x="75" y="800"/>
                </a:lnTo>
                <a:lnTo>
                  <a:pt x="76" y="800"/>
                </a:lnTo>
                <a:lnTo>
                  <a:pt x="77" y="799"/>
                </a:lnTo>
                <a:lnTo>
                  <a:pt x="83" y="799"/>
                </a:lnTo>
                <a:lnTo>
                  <a:pt x="86" y="798"/>
                </a:lnTo>
                <a:close/>
                <a:moveTo>
                  <a:pt x="179" y="790"/>
                </a:moveTo>
                <a:lnTo>
                  <a:pt x="182" y="790"/>
                </a:lnTo>
                <a:lnTo>
                  <a:pt x="184" y="792"/>
                </a:lnTo>
                <a:lnTo>
                  <a:pt x="184" y="800"/>
                </a:lnTo>
                <a:lnTo>
                  <a:pt x="182" y="803"/>
                </a:lnTo>
                <a:lnTo>
                  <a:pt x="182" y="807"/>
                </a:lnTo>
                <a:lnTo>
                  <a:pt x="181" y="807"/>
                </a:lnTo>
                <a:lnTo>
                  <a:pt x="181" y="810"/>
                </a:lnTo>
                <a:lnTo>
                  <a:pt x="180" y="811"/>
                </a:lnTo>
                <a:lnTo>
                  <a:pt x="180" y="812"/>
                </a:lnTo>
                <a:lnTo>
                  <a:pt x="179" y="815"/>
                </a:lnTo>
                <a:lnTo>
                  <a:pt x="178" y="815"/>
                </a:lnTo>
                <a:lnTo>
                  <a:pt x="173" y="816"/>
                </a:lnTo>
                <a:lnTo>
                  <a:pt x="172" y="816"/>
                </a:lnTo>
                <a:lnTo>
                  <a:pt x="169" y="817"/>
                </a:lnTo>
                <a:lnTo>
                  <a:pt x="168" y="817"/>
                </a:lnTo>
                <a:lnTo>
                  <a:pt x="164" y="821"/>
                </a:lnTo>
                <a:lnTo>
                  <a:pt x="163" y="823"/>
                </a:lnTo>
                <a:lnTo>
                  <a:pt x="159" y="823"/>
                </a:lnTo>
                <a:lnTo>
                  <a:pt x="159" y="822"/>
                </a:lnTo>
                <a:lnTo>
                  <a:pt x="155" y="823"/>
                </a:lnTo>
                <a:lnTo>
                  <a:pt x="155" y="821"/>
                </a:lnTo>
                <a:lnTo>
                  <a:pt x="160" y="821"/>
                </a:lnTo>
                <a:lnTo>
                  <a:pt x="162" y="819"/>
                </a:lnTo>
                <a:lnTo>
                  <a:pt x="166" y="816"/>
                </a:lnTo>
                <a:lnTo>
                  <a:pt x="167" y="816"/>
                </a:lnTo>
                <a:lnTo>
                  <a:pt x="167" y="815"/>
                </a:lnTo>
                <a:lnTo>
                  <a:pt x="168" y="813"/>
                </a:lnTo>
                <a:lnTo>
                  <a:pt x="168" y="810"/>
                </a:lnTo>
                <a:lnTo>
                  <a:pt x="169" y="809"/>
                </a:lnTo>
                <a:lnTo>
                  <a:pt x="170" y="805"/>
                </a:lnTo>
                <a:lnTo>
                  <a:pt x="173" y="800"/>
                </a:lnTo>
                <a:lnTo>
                  <a:pt x="175" y="798"/>
                </a:lnTo>
                <a:lnTo>
                  <a:pt x="175" y="796"/>
                </a:lnTo>
                <a:lnTo>
                  <a:pt x="176" y="794"/>
                </a:lnTo>
                <a:lnTo>
                  <a:pt x="176" y="791"/>
                </a:lnTo>
                <a:lnTo>
                  <a:pt x="178" y="791"/>
                </a:lnTo>
                <a:lnTo>
                  <a:pt x="179" y="790"/>
                </a:lnTo>
                <a:close/>
                <a:moveTo>
                  <a:pt x="11" y="785"/>
                </a:moveTo>
                <a:lnTo>
                  <a:pt x="12" y="785"/>
                </a:lnTo>
                <a:lnTo>
                  <a:pt x="13" y="786"/>
                </a:lnTo>
                <a:lnTo>
                  <a:pt x="14" y="786"/>
                </a:lnTo>
                <a:lnTo>
                  <a:pt x="16" y="785"/>
                </a:lnTo>
                <a:lnTo>
                  <a:pt x="17" y="786"/>
                </a:lnTo>
                <a:lnTo>
                  <a:pt x="18" y="786"/>
                </a:lnTo>
                <a:lnTo>
                  <a:pt x="18" y="790"/>
                </a:lnTo>
                <a:lnTo>
                  <a:pt x="19" y="790"/>
                </a:lnTo>
                <a:lnTo>
                  <a:pt x="19" y="791"/>
                </a:lnTo>
                <a:lnTo>
                  <a:pt x="18" y="792"/>
                </a:lnTo>
                <a:lnTo>
                  <a:pt x="18" y="798"/>
                </a:lnTo>
                <a:lnTo>
                  <a:pt x="17" y="799"/>
                </a:lnTo>
                <a:lnTo>
                  <a:pt x="16" y="801"/>
                </a:lnTo>
                <a:lnTo>
                  <a:pt x="16" y="803"/>
                </a:lnTo>
                <a:lnTo>
                  <a:pt x="14" y="804"/>
                </a:lnTo>
                <a:lnTo>
                  <a:pt x="13" y="803"/>
                </a:lnTo>
                <a:lnTo>
                  <a:pt x="13" y="800"/>
                </a:lnTo>
                <a:lnTo>
                  <a:pt x="12" y="799"/>
                </a:lnTo>
                <a:lnTo>
                  <a:pt x="12" y="798"/>
                </a:lnTo>
                <a:lnTo>
                  <a:pt x="11" y="797"/>
                </a:lnTo>
                <a:lnTo>
                  <a:pt x="10" y="793"/>
                </a:lnTo>
                <a:lnTo>
                  <a:pt x="8" y="792"/>
                </a:lnTo>
                <a:lnTo>
                  <a:pt x="8" y="791"/>
                </a:lnTo>
                <a:lnTo>
                  <a:pt x="7" y="790"/>
                </a:lnTo>
                <a:lnTo>
                  <a:pt x="7" y="788"/>
                </a:lnTo>
                <a:lnTo>
                  <a:pt x="8" y="787"/>
                </a:lnTo>
                <a:lnTo>
                  <a:pt x="11" y="786"/>
                </a:lnTo>
                <a:lnTo>
                  <a:pt x="11" y="785"/>
                </a:lnTo>
                <a:close/>
                <a:moveTo>
                  <a:pt x="199" y="766"/>
                </a:moveTo>
                <a:lnTo>
                  <a:pt x="199" y="767"/>
                </a:lnTo>
                <a:lnTo>
                  <a:pt x="200" y="768"/>
                </a:lnTo>
                <a:lnTo>
                  <a:pt x="200" y="770"/>
                </a:lnTo>
                <a:lnTo>
                  <a:pt x="199" y="770"/>
                </a:lnTo>
                <a:lnTo>
                  <a:pt x="199" y="776"/>
                </a:lnTo>
                <a:lnTo>
                  <a:pt x="195" y="780"/>
                </a:lnTo>
                <a:lnTo>
                  <a:pt x="193" y="780"/>
                </a:lnTo>
                <a:lnTo>
                  <a:pt x="193" y="781"/>
                </a:lnTo>
                <a:lnTo>
                  <a:pt x="190" y="781"/>
                </a:lnTo>
                <a:lnTo>
                  <a:pt x="188" y="782"/>
                </a:lnTo>
                <a:lnTo>
                  <a:pt x="187" y="782"/>
                </a:lnTo>
                <a:lnTo>
                  <a:pt x="186" y="784"/>
                </a:lnTo>
                <a:lnTo>
                  <a:pt x="186" y="786"/>
                </a:lnTo>
                <a:lnTo>
                  <a:pt x="185" y="785"/>
                </a:lnTo>
                <a:lnTo>
                  <a:pt x="182" y="785"/>
                </a:lnTo>
                <a:lnTo>
                  <a:pt x="181" y="784"/>
                </a:lnTo>
                <a:lnTo>
                  <a:pt x="181" y="782"/>
                </a:lnTo>
                <a:lnTo>
                  <a:pt x="182" y="782"/>
                </a:lnTo>
                <a:lnTo>
                  <a:pt x="182" y="781"/>
                </a:lnTo>
                <a:lnTo>
                  <a:pt x="184" y="781"/>
                </a:lnTo>
                <a:lnTo>
                  <a:pt x="184" y="778"/>
                </a:lnTo>
                <a:lnTo>
                  <a:pt x="185" y="775"/>
                </a:lnTo>
                <a:lnTo>
                  <a:pt x="186" y="775"/>
                </a:lnTo>
                <a:lnTo>
                  <a:pt x="186" y="774"/>
                </a:lnTo>
                <a:lnTo>
                  <a:pt x="190" y="774"/>
                </a:lnTo>
                <a:lnTo>
                  <a:pt x="192" y="772"/>
                </a:lnTo>
                <a:lnTo>
                  <a:pt x="195" y="772"/>
                </a:lnTo>
                <a:lnTo>
                  <a:pt x="197" y="770"/>
                </a:lnTo>
                <a:lnTo>
                  <a:pt x="197" y="768"/>
                </a:lnTo>
                <a:lnTo>
                  <a:pt x="199" y="766"/>
                </a:lnTo>
                <a:close/>
                <a:moveTo>
                  <a:pt x="197" y="764"/>
                </a:moveTo>
                <a:lnTo>
                  <a:pt x="198" y="764"/>
                </a:lnTo>
                <a:lnTo>
                  <a:pt x="198" y="766"/>
                </a:lnTo>
                <a:lnTo>
                  <a:pt x="197" y="767"/>
                </a:lnTo>
                <a:lnTo>
                  <a:pt x="195" y="767"/>
                </a:lnTo>
                <a:lnTo>
                  <a:pt x="197" y="766"/>
                </a:lnTo>
                <a:lnTo>
                  <a:pt x="197" y="764"/>
                </a:lnTo>
                <a:close/>
                <a:moveTo>
                  <a:pt x="641" y="463"/>
                </a:moveTo>
                <a:lnTo>
                  <a:pt x="642" y="463"/>
                </a:lnTo>
                <a:lnTo>
                  <a:pt x="644" y="465"/>
                </a:lnTo>
                <a:lnTo>
                  <a:pt x="644" y="466"/>
                </a:lnTo>
                <a:lnTo>
                  <a:pt x="642" y="466"/>
                </a:lnTo>
                <a:lnTo>
                  <a:pt x="642" y="465"/>
                </a:lnTo>
                <a:lnTo>
                  <a:pt x="641" y="463"/>
                </a:lnTo>
                <a:close/>
                <a:moveTo>
                  <a:pt x="539" y="432"/>
                </a:moveTo>
                <a:lnTo>
                  <a:pt x="541" y="432"/>
                </a:lnTo>
                <a:lnTo>
                  <a:pt x="542" y="434"/>
                </a:lnTo>
                <a:lnTo>
                  <a:pt x="544" y="434"/>
                </a:lnTo>
                <a:lnTo>
                  <a:pt x="541" y="436"/>
                </a:lnTo>
                <a:lnTo>
                  <a:pt x="541" y="435"/>
                </a:lnTo>
                <a:lnTo>
                  <a:pt x="540" y="435"/>
                </a:lnTo>
                <a:lnTo>
                  <a:pt x="540" y="434"/>
                </a:lnTo>
                <a:lnTo>
                  <a:pt x="539" y="432"/>
                </a:lnTo>
                <a:close/>
                <a:moveTo>
                  <a:pt x="501" y="380"/>
                </a:moveTo>
                <a:lnTo>
                  <a:pt x="499" y="381"/>
                </a:lnTo>
                <a:lnTo>
                  <a:pt x="499" y="382"/>
                </a:lnTo>
                <a:lnTo>
                  <a:pt x="501" y="381"/>
                </a:lnTo>
                <a:lnTo>
                  <a:pt x="504" y="381"/>
                </a:lnTo>
                <a:lnTo>
                  <a:pt x="505" y="380"/>
                </a:lnTo>
                <a:lnTo>
                  <a:pt x="501" y="380"/>
                </a:lnTo>
                <a:close/>
                <a:moveTo>
                  <a:pt x="735" y="338"/>
                </a:moveTo>
                <a:lnTo>
                  <a:pt x="737" y="340"/>
                </a:lnTo>
                <a:lnTo>
                  <a:pt x="735" y="339"/>
                </a:lnTo>
                <a:lnTo>
                  <a:pt x="735" y="338"/>
                </a:lnTo>
                <a:close/>
                <a:moveTo>
                  <a:pt x="735" y="336"/>
                </a:moveTo>
                <a:lnTo>
                  <a:pt x="737" y="336"/>
                </a:lnTo>
                <a:lnTo>
                  <a:pt x="735" y="337"/>
                </a:lnTo>
                <a:lnTo>
                  <a:pt x="735" y="336"/>
                </a:lnTo>
                <a:close/>
                <a:moveTo>
                  <a:pt x="827" y="282"/>
                </a:moveTo>
                <a:lnTo>
                  <a:pt x="830" y="286"/>
                </a:lnTo>
                <a:lnTo>
                  <a:pt x="831" y="287"/>
                </a:lnTo>
                <a:lnTo>
                  <a:pt x="833" y="286"/>
                </a:lnTo>
                <a:lnTo>
                  <a:pt x="833" y="288"/>
                </a:lnTo>
                <a:lnTo>
                  <a:pt x="831" y="288"/>
                </a:lnTo>
                <a:lnTo>
                  <a:pt x="830" y="287"/>
                </a:lnTo>
                <a:lnTo>
                  <a:pt x="827" y="287"/>
                </a:lnTo>
                <a:lnTo>
                  <a:pt x="826" y="288"/>
                </a:lnTo>
                <a:lnTo>
                  <a:pt x="825" y="288"/>
                </a:lnTo>
                <a:lnTo>
                  <a:pt x="826" y="287"/>
                </a:lnTo>
                <a:lnTo>
                  <a:pt x="825" y="287"/>
                </a:lnTo>
                <a:lnTo>
                  <a:pt x="826" y="286"/>
                </a:lnTo>
                <a:lnTo>
                  <a:pt x="826" y="284"/>
                </a:lnTo>
                <a:lnTo>
                  <a:pt x="827" y="283"/>
                </a:lnTo>
                <a:lnTo>
                  <a:pt x="827" y="282"/>
                </a:lnTo>
                <a:close/>
                <a:moveTo>
                  <a:pt x="828" y="263"/>
                </a:moveTo>
                <a:lnTo>
                  <a:pt x="834" y="263"/>
                </a:lnTo>
                <a:lnTo>
                  <a:pt x="834" y="265"/>
                </a:lnTo>
                <a:lnTo>
                  <a:pt x="836" y="268"/>
                </a:lnTo>
                <a:lnTo>
                  <a:pt x="834" y="268"/>
                </a:lnTo>
                <a:lnTo>
                  <a:pt x="834" y="269"/>
                </a:lnTo>
                <a:lnTo>
                  <a:pt x="833" y="269"/>
                </a:lnTo>
                <a:lnTo>
                  <a:pt x="833" y="270"/>
                </a:lnTo>
                <a:lnTo>
                  <a:pt x="830" y="274"/>
                </a:lnTo>
                <a:lnTo>
                  <a:pt x="828" y="274"/>
                </a:lnTo>
                <a:lnTo>
                  <a:pt x="827" y="275"/>
                </a:lnTo>
                <a:lnTo>
                  <a:pt x="826" y="277"/>
                </a:lnTo>
                <a:lnTo>
                  <a:pt x="826" y="278"/>
                </a:lnTo>
                <a:lnTo>
                  <a:pt x="825" y="278"/>
                </a:lnTo>
                <a:lnTo>
                  <a:pt x="825" y="277"/>
                </a:lnTo>
                <a:lnTo>
                  <a:pt x="824" y="276"/>
                </a:lnTo>
                <a:lnTo>
                  <a:pt x="822" y="277"/>
                </a:lnTo>
                <a:lnTo>
                  <a:pt x="821" y="276"/>
                </a:lnTo>
                <a:lnTo>
                  <a:pt x="820" y="276"/>
                </a:lnTo>
                <a:lnTo>
                  <a:pt x="820" y="277"/>
                </a:lnTo>
                <a:lnTo>
                  <a:pt x="819" y="276"/>
                </a:lnTo>
                <a:lnTo>
                  <a:pt x="819" y="275"/>
                </a:lnTo>
                <a:lnTo>
                  <a:pt x="818" y="275"/>
                </a:lnTo>
                <a:lnTo>
                  <a:pt x="819" y="272"/>
                </a:lnTo>
                <a:lnTo>
                  <a:pt x="819" y="271"/>
                </a:lnTo>
                <a:lnTo>
                  <a:pt x="822" y="271"/>
                </a:lnTo>
                <a:lnTo>
                  <a:pt x="821" y="269"/>
                </a:lnTo>
                <a:lnTo>
                  <a:pt x="821" y="268"/>
                </a:lnTo>
                <a:lnTo>
                  <a:pt x="822" y="266"/>
                </a:lnTo>
                <a:lnTo>
                  <a:pt x="824" y="266"/>
                </a:lnTo>
                <a:lnTo>
                  <a:pt x="824" y="265"/>
                </a:lnTo>
                <a:lnTo>
                  <a:pt x="825" y="265"/>
                </a:lnTo>
                <a:lnTo>
                  <a:pt x="826" y="264"/>
                </a:lnTo>
                <a:lnTo>
                  <a:pt x="826" y="265"/>
                </a:lnTo>
                <a:lnTo>
                  <a:pt x="828" y="263"/>
                </a:lnTo>
                <a:close/>
                <a:moveTo>
                  <a:pt x="892" y="259"/>
                </a:moveTo>
                <a:lnTo>
                  <a:pt x="893" y="259"/>
                </a:lnTo>
                <a:lnTo>
                  <a:pt x="893" y="262"/>
                </a:lnTo>
                <a:lnTo>
                  <a:pt x="892" y="263"/>
                </a:lnTo>
                <a:lnTo>
                  <a:pt x="890" y="263"/>
                </a:lnTo>
                <a:lnTo>
                  <a:pt x="890" y="260"/>
                </a:lnTo>
                <a:lnTo>
                  <a:pt x="892" y="259"/>
                </a:lnTo>
                <a:close/>
                <a:moveTo>
                  <a:pt x="901" y="216"/>
                </a:moveTo>
                <a:lnTo>
                  <a:pt x="902" y="216"/>
                </a:lnTo>
                <a:lnTo>
                  <a:pt x="902" y="217"/>
                </a:lnTo>
                <a:lnTo>
                  <a:pt x="900" y="217"/>
                </a:lnTo>
                <a:lnTo>
                  <a:pt x="900" y="219"/>
                </a:lnTo>
                <a:lnTo>
                  <a:pt x="899" y="219"/>
                </a:lnTo>
                <a:lnTo>
                  <a:pt x="899" y="220"/>
                </a:lnTo>
                <a:lnTo>
                  <a:pt x="897" y="219"/>
                </a:lnTo>
                <a:lnTo>
                  <a:pt x="897" y="221"/>
                </a:lnTo>
                <a:lnTo>
                  <a:pt x="899" y="221"/>
                </a:lnTo>
                <a:lnTo>
                  <a:pt x="902" y="220"/>
                </a:lnTo>
                <a:lnTo>
                  <a:pt x="902" y="222"/>
                </a:lnTo>
                <a:lnTo>
                  <a:pt x="901" y="222"/>
                </a:lnTo>
                <a:lnTo>
                  <a:pt x="901" y="223"/>
                </a:lnTo>
                <a:lnTo>
                  <a:pt x="899" y="223"/>
                </a:lnTo>
                <a:lnTo>
                  <a:pt x="899" y="226"/>
                </a:lnTo>
                <a:lnTo>
                  <a:pt x="900" y="227"/>
                </a:lnTo>
                <a:lnTo>
                  <a:pt x="902" y="228"/>
                </a:lnTo>
                <a:lnTo>
                  <a:pt x="907" y="228"/>
                </a:lnTo>
                <a:lnTo>
                  <a:pt x="908" y="227"/>
                </a:lnTo>
                <a:lnTo>
                  <a:pt x="908" y="226"/>
                </a:lnTo>
                <a:lnTo>
                  <a:pt x="909" y="227"/>
                </a:lnTo>
                <a:lnTo>
                  <a:pt x="912" y="228"/>
                </a:lnTo>
                <a:lnTo>
                  <a:pt x="913" y="228"/>
                </a:lnTo>
                <a:lnTo>
                  <a:pt x="913" y="233"/>
                </a:lnTo>
                <a:lnTo>
                  <a:pt x="912" y="234"/>
                </a:lnTo>
                <a:lnTo>
                  <a:pt x="911" y="234"/>
                </a:lnTo>
                <a:lnTo>
                  <a:pt x="911" y="237"/>
                </a:lnTo>
                <a:lnTo>
                  <a:pt x="907" y="240"/>
                </a:lnTo>
                <a:lnTo>
                  <a:pt x="906" y="243"/>
                </a:lnTo>
                <a:lnTo>
                  <a:pt x="906" y="246"/>
                </a:lnTo>
                <a:lnTo>
                  <a:pt x="905" y="246"/>
                </a:lnTo>
                <a:lnTo>
                  <a:pt x="905" y="249"/>
                </a:lnTo>
                <a:lnTo>
                  <a:pt x="902" y="250"/>
                </a:lnTo>
                <a:lnTo>
                  <a:pt x="899" y="252"/>
                </a:lnTo>
                <a:lnTo>
                  <a:pt x="896" y="254"/>
                </a:lnTo>
                <a:lnTo>
                  <a:pt x="895" y="252"/>
                </a:lnTo>
                <a:lnTo>
                  <a:pt x="894" y="252"/>
                </a:lnTo>
                <a:lnTo>
                  <a:pt x="894" y="251"/>
                </a:lnTo>
                <a:lnTo>
                  <a:pt x="893" y="251"/>
                </a:lnTo>
                <a:lnTo>
                  <a:pt x="893" y="250"/>
                </a:lnTo>
                <a:lnTo>
                  <a:pt x="892" y="250"/>
                </a:lnTo>
                <a:lnTo>
                  <a:pt x="892" y="249"/>
                </a:lnTo>
                <a:lnTo>
                  <a:pt x="890" y="250"/>
                </a:lnTo>
                <a:lnTo>
                  <a:pt x="886" y="250"/>
                </a:lnTo>
                <a:lnTo>
                  <a:pt x="883" y="247"/>
                </a:lnTo>
                <a:lnTo>
                  <a:pt x="883" y="244"/>
                </a:lnTo>
                <a:lnTo>
                  <a:pt x="882" y="244"/>
                </a:lnTo>
                <a:lnTo>
                  <a:pt x="882" y="243"/>
                </a:lnTo>
                <a:lnTo>
                  <a:pt x="883" y="241"/>
                </a:lnTo>
                <a:lnTo>
                  <a:pt x="883" y="240"/>
                </a:lnTo>
                <a:lnTo>
                  <a:pt x="882" y="239"/>
                </a:lnTo>
                <a:lnTo>
                  <a:pt x="880" y="239"/>
                </a:lnTo>
                <a:lnTo>
                  <a:pt x="878" y="238"/>
                </a:lnTo>
                <a:lnTo>
                  <a:pt x="878" y="239"/>
                </a:lnTo>
                <a:lnTo>
                  <a:pt x="875" y="240"/>
                </a:lnTo>
                <a:lnTo>
                  <a:pt x="875" y="243"/>
                </a:lnTo>
                <a:lnTo>
                  <a:pt x="874" y="244"/>
                </a:lnTo>
                <a:lnTo>
                  <a:pt x="872" y="244"/>
                </a:lnTo>
                <a:lnTo>
                  <a:pt x="871" y="243"/>
                </a:lnTo>
                <a:lnTo>
                  <a:pt x="871" y="241"/>
                </a:lnTo>
                <a:lnTo>
                  <a:pt x="870" y="240"/>
                </a:lnTo>
                <a:lnTo>
                  <a:pt x="868" y="240"/>
                </a:lnTo>
                <a:lnTo>
                  <a:pt x="866" y="239"/>
                </a:lnTo>
                <a:lnTo>
                  <a:pt x="866" y="235"/>
                </a:lnTo>
                <a:lnTo>
                  <a:pt x="869" y="234"/>
                </a:lnTo>
                <a:lnTo>
                  <a:pt x="870" y="233"/>
                </a:lnTo>
                <a:lnTo>
                  <a:pt x="871" y="233"/>
                </a:lnTo>
                <a:lnTo>
                  <a:pt x="874" y="231"/>
                </a:lnTo>
                <a:lnTo>
                  <a:pt x="875" y="231"/>
                </a:lnTo>
                <a:lnTo>
                  <a:pt x="881" y="225"/>
                </a:lnTo>
                <a:lnTo>
                  <a:pt x="882" y="225"/>
                </a:lnTo>
                <a:lnTo>
                  <a:pt x="884" y="222"/>
                </a:lnTo>
                <a:lnTo>
                  <a:pt x="886" y="222"/>
                </a:lnTo>
                <a:lnTo>
                  <a:pt x="886" y="221"/>
                </a:lnTo>
                <a:lnTo>
                  <a:pt x="888" y="221"/>
                </a:lnTo>
                <a:lnTo>
                  <a:pt x="890" y="219"/>
                </a:lnTo>
                <a:lnTo>
                  <a:pt x="894" y="219"/>
                </a:lnTo>
                <a:lnTo>
                  <a:pt x="896" y="217"/>
                </a:lnTo>
                <a:lnTo>
                  <a:pt x="901" y="216"/>
                </a:lnTo>
                <a:close/>
                <a:moveTo>
                  <a:pt x="939" y="210"/>
                </a:moveTo>
                <a:lnTo>
                  <a:pt x="940" y="210"/>
                </a:lnTo>
                <a:lnTo>
                  <a:pt x="940" y="211"/>
                </a:lnTo>
                <a:lnTo>
                  <a:pt x="942" y="211"/>
                </a:lnTo>
                <a:lnTo>
                  <a:pt x="942" y="213"/>
                </a:lnTo>
                <a:lnTo>
                  <a:pt x="944" y="213"/>
                </a:lnTo>
                <a:lnTo>
                  <a:pt x="945" y="214"/>
                </a:lnTo>
                <a:lnTo>
                  <a:pt x="946" y="214"/>
                </a:lnTo>
                <a:lnTo>
                  <a:pt x="946" y="215"/>
                </a:lnTo>
                <a:lnTo>
                  <a:pt x="948" y="216"/>
                </a:lnTo>
                <a:lnTo>
                  <a:pt x="946" y="217"/>
                </a:lnTo>
                <a:lnTo>
                  <a:pt x="949" y="217"/>
                </a:lnTo>
                <a:lnTo>
                  <a:pt x="949" y="220"/>
                </a:lnTo>
                <a:lnTo>
                  <a:pt x="950" y="221"/>
                </a:lnTo>
                <a:lnTo>
                  <a:pt x="949" y="221"/>
                </a:lnTo>
                <a:lnTo>
                  <a:pt x="949" y="225"/>
                </a:lnTo>
                <a:lnTo>
                  <a:pt x="946" y="225"/>
                </a:lnTo>
                <a:lnTo>
                  <a:pt x="943" y="223"/>
                </a:lnTo>
                <a:lnTo>
                  <a:pt x="937" y="219"/>
                </a:lnTo>
                <a:lnTo>
                  <a:pt x="934" y="217"/>
                </a:lnTo>
                <a:lnTo>
                  <a:pt x="933" y="217"/>
                </a:lnTo>
                <a:lnTo>
                  <a:pt x="930" y="219"/>
                </a:lnTo>
                <a:lnTo>
                  <a:pt x="928" y="217"/>
                </a:lnTo>
                <a:lnTo>
                  <a:pt x="928" y="216"/>
                </a:lnTo>
                <a:lnTo>
                  <a:pt x="930" y="215"/>
                </a:lnTo>
                <a:lnTo>
                  <a:pt x="928" y="215"/>
                </a:lnTo>
                <a:lnTo>
                  <a:pt x="927" y="214"/>
                </a:lnTo>
                <a:lnTo>
                  <a:pt x="927" y="213"/>
                </a:lnTo>
                <a:lnTo>
                  <a:pt x="928" y="211"/>
                </a:lnTo>
                <a:lnTo>
                  <a:pt x="938" y="211"/>
                </a:lnTo>
                <a:lnTo>
                  <a:pt x="939" y="210"/>
                </a:lnTo>
                <a:close/>
                <a:moveTo>
                  <a:pt x="794" y="182"/>
                </a:moveTo>
                <a:lnTo>
                  <a:pt x="795" y="183"/>
                </a:lnTo>
                <a:lnTo>
                  <a:pt x="794" y="184"/>
                </a:lnTo>
                <a:lnTo>
                  <a:pt x="793" y="184"/>
                </a:lnTo>
                <a:lnTo>
                  <a:pt x="791" y="183"/>
                </a:lnTo>
                <a:lnTo>
                  <a:pt x="794" y="182"/>
                </a:lnTo>
                <a:close/>
                <a:moveTo>
                  <a:pt x="799" y="171"/>
                </a:moveTo>
                <a:lnTo>
                  <a:pt x="800" y="171"/>
                </a:lnTo>
                <a:lnTo>
                  <a:pt x="800" y="172"/>
                </a:lnTo>
                <a:lnTo>
                  <a:pt x="799" y="171"/>
                </a:lnTo>
                <a:close/>
                <a:moveTo>
                  <a:pt x="850" y="75"/>
                </a:moveTo>
                <a:lnTo>
                  <a:pt x="851" y="77"/>
                </a:lnTo>
                <a:lnTo>
                  <a:pt x="851" y="78"/>
                </a:lnTo>
                <a:lnTo>
                  <a:pt x="850" y="78"/>
                </a:lnTo>
                <a:lnTo>
                  <a:pt x="849" y="77"/>
                </a:lnTo>
                <a:lnTo>
                  <a:pt x="850" y="75"/>
                </a:lnTo>
                <a:close/>
                <a:moveTo>
                  <a:pt x="392" y="74"/>
                </a:moveTo>
                <a:lnTo>
                  <a:pt x="393" y="74"/>
                </a:lnTo>
                <a:lnTo>
                  <a:pt x="393" y="75"/>
                </a:lnTo>
                <a:lnTo>
                  <a:pt x="392" y="77"/>
                </a:lnTo>
                <a:lnTo>
                  <a:pt x="390" y="77"/>
                </a:lnTo>
                <a:lnTo>
                  <a:pt x="390" y="75"/>
                </a:lnTo>
                <a:lnTo>
                  <a:pt x="391" y="75"/>
                </a:lnTo>
                <a:lnTo>
                  <a:pt x="392" y="74"/>
                </a:lnTo>
                <a:close/>
                <a:moveTo>
                  <a:pt x="435" y="4"/>
                </a:moveTo>
                <a:lnTo>
                  <a:pt x="436" y="4"/>
                </a:lnTo>
                <a:lnTo>
                  <a:pt x="436" y="5"/>
                </a:lnTo>
                <a:lnTo>
                  <a:pt x="435" y="4"/>
                </a:lnTo>
                <a:close/>
                <a:moveTo>
                  <a:pt x="442" y="0"/>
                </a:moveTo>
                <a:lnTo>
                  <a:pt x="443" y="0"/>
                </a:lnTo>
                <a:lnTo>
                  <a:pt x="443" y="1"/>
                </a:lnTo>
                <a:lnTo>
                  <a:pt x="442" y="2"/>
                </a:lnTo>
                <a:lnTo>
                  <a:pt x="442" y="4"/>
                </a:lnTo>
                <a:lnTo>
                  <a:pt x="443" y="4"/>
                </a:lnTo>
                <a:lnTo>
                  <a:pt x="443" y="2"/>
                </a:lnTo>
                <a:lnTo>
                  <a:pt x="445" y="2"/>
                </a:lnTo>
                <a:lnTo>
                  <a:pt x="446" y="5"/>
                </a:lnTo>
                <a:lnTo>
                  <a:pt x="446" y="6"/>
                </a:lnTo>
                <a:lnTo>
                  <a:pt x="447" y="5"/>
                </a:lnTo>
                <a:lnTo>
                  <a:pt x="447" y="4"/>
                </a:lnTo>
                <a:lnTo>
                  <a:pt x="451" y="4"/>
                </a:lnTo>
                <a:lnTo>
                  <a:pt x="454" y="6"/>
                </a:lnTo>
                <a:lnTo>
                  <a:pt x="456" y="6"/>
                </a:lnTo>
                <a:lnTo>
                  <a:pt x="459" y="11"/>
                </a:lnTo>
                <a:lnTo>
                  <a:pt x="461" y="12"/>
                </a:lnTo>
                <a:lnTo>
                  <a:pt x="460" y="12"/>
                </a:lnTo>
                <a:lnTo>
                  <a:pt x="460" y="13"/>
                </a:lnTo>
                <a:lnTo>
                  <a:pt x="471" y="13"/>
                </a:lnTo>
                <a:lnTo>
                  <a:pt x="471" y="14"/>
                </a:lnTo>
                <a:lnTo>
                  <a:pt x="470" y="16"/>
                </a:lnTo>
                <a:lnTo>
                  <a:pt x="470" y="18"/>
                </a:lnTo>
                <a:lnTo>
                  <a:pt x="471" y="17"/>
                </a:lnTo>
                <a:lnTo>
                  <a:pt x="471" y="14"/>
                </a:lnTo>
                <a:lnTo>
                  <a:pt x="472" y="13"/>
                </a:lnTo>
                <a:lnTo>
                  <a:pt x="484" y="13"/>
                </a:lnTo>
                <a:lnTo>
                  <a:pt x="486" y="12"/>
                </a:lnTo>
                <a:lnTo>
                  <a:pt x="489" y="12"/>
                </a:lnTo>
                <a:lnTo>
                  <a:pt x="491" y="13"/>
                </a:lnTo>
                <a:lnTo>
                  <a:pt x="492" y="14"/>
                </a:lnTo>
                <a:lnTo>
                  <a:pt x="492" y="13"/>
                </a:lnTo>
                <a:lnTo>
                  <a:pt x="495" y="13"/>
                </a:lnTo>
                <a:lnTo>
                  <a:pt x="495" y="12"/>
                </a:lnTo>
                <a:lnTo>
                  <a:pt x="496" y="13"/>
                </a:lnTo>
                <a:lnTo>
                  <a:pt x="501" y="13"/>
                </a:lnTo>
                <a:lnTo>
                  <a:pt x="501" y="12"/>
                </a:lnTo>
                <a:lnTo>
                  <a:pt x="503" y="12"/>
                </a:lnTo>
                <a:lnTo>
                  <a:pt x="504" y="11"/>
                </a:lnTo>
                <a:lnTo>
                  <a:pt x="505" y="12"/>
                </a:lnTo>
                <a:lnTo>
                  <a:pt x="507" y="12"/>
                </a:lnTo>
                <a:lnTo>
                  <a:pt x="510" y="13"/>
                </a:lnTo>
                <a:lnTo>
                  <a:pt x="510" y="12"/>
                </a:lnTo>
                <a:lnTo>
                  <a:pt x="511" y="13"/>
                </a:lnTo>
                <a:lnTo>
                  <a:pt x="511" y="12"/>
                </a:lnTo>
                <a:lnTo>
                  <a:pt x="517" y="12"/>
                </a:lnTo>
                <a:lnTo>
                  <a:pt x="518" y="11"/>
                </a:lnTo>
                <a:lnTo>
                  <a:pt x="517" y="11"/>
                </a:lnTo>
                <a:lnTo>
                  <a:pt x="517" y="10"/>
                </a:lnTo>
                <a:lnTo>
                  <a:pt x="518" y="10"/>
                </a:lnTo>
                <a:lnTo>
                  <a:pt x="517" y="8"/>
                </a:lnTo>
                <a:lnTo>
                  <a:pt x="520" y="8"/>
                </a:lnTo>
                <a:lnTo>
                  <a:pt x="520" y="7"/>
                </a:lnTo>
                <a:lnTo>
                  <a:pt x="521" y="7"/>
                </a:lnTo>
                <a:lnTo>
                  <a:pt x="522" y="8"/>
                </a:lnTo>
                <a:lnTo>
                  <a:pt x="523" y="8"/>
                </a:lnTo>
                <a:lnTo>
                  <a:pt x="526" y="12"/>
                </a:lnTo>
                <a:lnTo>
                  <a:pt x="526" y="13"/>
                </a:lnTo>
                <a:lnTo>
                  <a:pt x="540" y="13"/>
                </a:lnTo>
                <a:lnTo>
                  <a:pt x="540" y="14"/>
                </a:lnTo>
                <a:lnTo>
                  <a:pt x="539" y="16"/>
                </a:lnTo>
                <a:lnTo>
                  <a:pt x="541" y="16"/>
                </a:lnTo>
                <a:lnTo>
                  <a:pt x="541" y="14"/>
                </a:lnTo>
                <a:lnTo>
                  <a:pt x="544" y="14"/>
                </a:lnTo>
                <a:lnTo>
                  <a:pt x="547" y="17"/>
                </a:lnTo>
                <a:lnTo>
                  <a:pt x="548" y="17"/>
                </a:lnTo>
                <a:lnTo>
                  <a:pt x="552" y="18"/>
                </a:lnTo>
                <a:lnTo>
                  <a:pt x="554" y="18"/>
                </a:lnTo>
                <a:lnTo>
                  <a:pt x="557" y="19"/>
                </a:lnTo>
                <a:lnTo>
                  <a:pt x="558" y="19"/>
                </a:lnTo>
                <a:lnTo>
                  <a:pt x="558" y="18"/>
                </a:lnTo>
                <a:lnTo>
                  <a:pt x="559" y="18"/>
                </a:lnTo>
                <a:lnTo>
                  <a:pt x="560" y="19"/>
                </a:lnTo>
                <a:lnTo>
                  <a:pt x="563" y="19"/>
                </a:lnTo>
                <a:lnTo>
                  <a:pt x="566" y="22"/>
                </a:lnTo>
                <a:lnTo>
                  <a:pt x="567" y="22"/>
                </a:lnTo>
                <a:lnTo>
                  <a:pt x="577" y="23"/>
                </a:lnTo>
                <a:lnTo>
                  <a:pt x="578" y="24"/>
                </a:lnTo>
                <a:lnTo>
                  <a:pt x="579" y="23"/>
                </a:lnTo>
                <a:lnTo>
                  <a:pt x="582" y="23"/>
                </a:lnTo>
                <a:lnTo>
                  <a:pt x="582" y="24"/>
                </a:lnTo>
                <a:lnTo>
                  <a:pt x="583" y="23"/>
                </a:lnTo>
                <a:lnTo>
                  <a:pt x="590" y="23"/>
                </a:lnTo>
                <a:lnTo>
                  <a:pt x="591" y="22"/>
                </a:lnTo>
                <a:lnTo>
                  <a:pt x="594" y="20"/>
                </a:lnTo>
                <a:lnTo>
                  <a:pt x="597" y="20"/>
                </a:lnTo>
                <a:lnTo>
                  <a:pt x="597" y="19"/>
                </a:lnTo>
                <a:lnTo>
                  <a:pt x="598" y="19"/>
                </a:lnTo>
                <a:lnTo>
                  <a:pt x="600" y="20"/>
                </a:lnTo>
                <a:lnTo>
                  <a:pt x="600" y="19"/>
                </a:lnTo>
                <a:lnTo>
                  <a:pt x="601" y="18"/>
                </a:lnTo>
                <a:lnTo>
                  <a:pt x="603" y="18"/>
                </a:lnTo>
                <a:lnTo>
                  <a:pt x="604" y="17"/>
                </a:lnTo>
                <a:lnTo>
                  <a:pt x="607" y="17"/>
                </a:lnTo>
                <a:lnTo>
                  <a:pt x="608" y="18"/>
                </a:lnTo>
                <a:lnTo>
                  <a:pt x="605" y="19"/>
                </a:lnTo>
                <a:lnTo>
                  <a:pt x="604" y="20"/>
                </a:lnTo>
                <a:lnTo>
                  <a:pt x="605" y="20"/>
                </a:lnTo>
                <a:lnTo>
                  <a:pt x="605" y="22"/>
                </a:lnTo>
                <a:lnTo>
                  <a:pt x="607" y="22"/>
                </a:lnTo>
                <a:lnTo>
                  <a:pt x="607" y="20"/>
                </a:lnTo>
                <a:lnTo>
                  <a:pt x="608" y="19"/>
                </a:lnTo>
                <a:lnTo>
                  <a:pt x="609" y="20"/>
                </a:lnTo>
                <a:lnTo>
                  <a:pt x="609" y="19"/>
                </a:lnTo>
                <a:lnTo>
                  <a:pt x="610" y="18"/>
                </a:lnTo>
                <a:lnTo>
                  <a:pt x="611" y="18"/>
                </a:lnTo>
                <a:lnTo>
                  <a:pt x="611" y="17"/>
                </a:lnTo>
                <a:lnTo>
                  <a:pt x="613" y="17"/>
                </a:lnTo>
                <a:lnTo>
                  <a:pt x="616" y="16"/>
                </a:lnTo>
                <a:lnTo>
                  <a:pt x="617" y="16"/>
                </a:lnTo>
                <a:lnTo>
                  <a:pt x="617" y="17"/>
                </a:lnTo>
                <a:lnTo>
                  <a:pt x="619" y="17"/>
                </a:lnTo>
                <a:lnTo>
                  <a:pt x="619" y="18"/>
                </a:lnTo>
                <a:lnTo>
                  <a:pt x="622" y="18"/>
                </a:lnTo>
                <a:lnTo>
                  <a:pt x="622" y="20"/>
                </a:lnTo>
                <a:lnTo>
                  <a:pt x="621" y="20"/>
                </a:lnTo>
                <a:lnTo>
                  <a:pt x="621" y="19"/>
                </a:lnTo>
                <a:lnTo>
                  <a:pt x="620" y="19"/>
                </a:lnTo>
                <a:lnTo>
                  <a:pt x="620" y="20"/>
                </a:lnTo>
                <a:lnTo>
                  <a:pt x="621" y="22"/>
                </a:lnTo>
                <a:lnTo>
                  <a:pt x="621" y="20"/>
                </a:lnTo>
                <a:lnTo>
                  <a:pt x="622" y="22"/>
                </a:lnTo>
                <a:lnTo>
                  <a:pt x="627" y="22"/>
                </a:lnTo>
                <a:lnTo>
                  <a:pt x="629" y="23"/>
                </a:lnTo>
                <a:lnTo>
                  <a:pt x="632" y="23"/>
                </a:lnTo>
                <a:lnTo>
                  <a:pt x="634" y="25"/>
                </a:lnTo>
                <a:lnTo>
                  <a:pt x="635" y="25"/>
                </a:lnTo>
                <a:lnTo>
                  <a:pt x="636" y="24"/>
                </a:lnTo>
                <a:lnTo>
                  <a:pt x="640" y="28"/>
                </a:lnTo>
                <a:lnTo>
                  <a:pt x="640" y="25"/>
                </a:lnTo>
                <a:lnTo>
                  <a:pt x="639" y="24"/>
                </a:lnTo>
                <a:lnTo>
                  <a:pt x="640" y="24"/>
                </a:lnTo>
                <a:lnTo>
                  <a:pt x="640" y="23"/>
                </a:lnTo>
                <a:lnTo>
                  <a:pt x="642" y="22"/>
                </a:lnTo>
                <a:lnTo>
                  <a:pt x="642" y="20"/>
                </a:lnTo>
                <a:lnTo>
                  <a:pt x="648" y="20"/>
                </a:lnTo>
                <a:lnTo>
                  <a:pt x="650" y="19"/>
                </a:lnTo>
                <a:lnTo>
                  <a:pt x="651" y="19"/>
                </a:lnTo>
                <a:lnTo>
                  <a:pt x="652" y="20"/>
                </a:lnTo>
                <a:lnTo>
                  <a:pt x="652" y="22"/>
                </a:lnTo>
                <a:lnTo>
                  <a:pt x="653" y="22"/>
                </a:lnTo>
                <a:lnTo>
                  <a:pt x="653" y="24"/>
                </a:lnTo>
                <a:lnTo>
                  <a:pt x="654" y="23"/>
                </a:lnTo>
                <a:lnTo>
                  <a:pt x="654" y="22"/>
                </a:lnTo>
                <a:lnTo>
                  <a:pt x="656" y="22"/>
                </a:lnTo>
                <a:lnTo>
                  <a:pt x="657" y="23"/>
                </a:lnTo>
                <a:lnTo>
                  <a:pt x="659" y="24"/>
                </a:lnTo>
                <a:lnTo>
                  <a:pt x="663" y="24"/>
                </a:lnTo>
                <a:lnTo>
                  <a:pt x="663" y="25"/>
                </a:lnTo>
                <a:lnTo>
                  <a:pt x="667" y="28"/>
                </a:lnTo>
                <a:lnTo>
                  <a:pt x="675" y="28"/>
                </a:lnTo>
                <a:lnTo>
                  <a:pt x="675" y="29"/>
                </a:lnTo>
                <a:lnTo>
                  <a:pt x="677" y="29"/>
                </a:lnTo>
                <a:lnTo>
                  <a:pt x="678" y="28"/>
                </a:lnTo>
                <a:lnTo>
                  <a:pt x="679" y="28"/>
                </a:lnTo>
                <a:lnTo>
                  <a:pt x="683" y="26"/>
                </a:lnTo>
                <a:lnTo>
                  <a:pt x="685" y="26"/>
                </a:lnTo>
                <a:lnTo>
                  <a:pt x="687" y="28"/>
                </a:lnTo>
                <a:lnTo>
                  <a:pt x="687" y="26"/>
                </a:lnTo>
                <a:lnTo>
                  <a:pt x="685" y="26"/>
                </a:lnTo>
                <a:lnTo>
                  <a:pt x="688" y="25"/>
                </a:lnTo>
                <a:lnTo>
                  <a:pt x="690" y="23"/>
                </a:lnTo>
                <a:lnTo>
                  <a:pt x="691" y="23"/>
                </a:lnTo>
                <a:lnTo>
                  <a:pt x="691" y="26"/>
                </a:lnTo>
                <a:lnTo>
                  <a:pt x="692" y="26"/>
                </a:lnTo>
                <a:lnTo>
                  <a:pt x="692" y="29"/>
                </a:lnTo>
                <a:lnTo>
                  <a:pt x="695" y="29"/>
                </a:lnTo>
                <a:lnTo>
                  <a:pt x="696" y="28"/>
                </a:lnTo>
                <a:lnTo>
                  <a:pt x="697" y="29"/>
                </a:lnTo>
                <a:lnTo>
                  <a:pt x="697" y="31"/>
                </a:lnTo>
                <a:lnTo>
                  <a:pt x="700" y="31"/>
                </a:lnTo>
                <a:lnTo>
                  <a:pt x="701" y="30"/>
                </a:lnTo>
                <a:lnTo>
                  <a:pt x="701" y="29"/>
                </a:lnTo>
                <a:lnTo>
                  <a:pt x="702" y="29"/>
                </a:lnTo>
                <a:lnTo>
                  <a:pt x="703" y="30"/>
                </a:lnTo>
                <a:lnTo>
                  <a:pt x="706" y="31"/>
                </a:lnTo>
                <a:lnTo>
                  <a:pt x="706" y="30"/>
                </a:lnTo>
                <a:lnTo>
                  <a:pt x="707" y="30"/>
                </a:lnTo>
                <a:lnTo>
                  <a:pt x="708" y="31"/>
                </a:lnTo>
                <a:lnTo>
                  <a:pt x="708" y="36"/>
                </a:lnTo>
                <a:lnTo>
                  <a:pt x="707" y="38"/>
                </a:lnTo>
                <a:lnTo>
                  <a:pt x="704" y="41"/>
                </a:lnTo>
                <a:lnTo>
                  <a:pt x="704" y="42"/>
                </a:lnTo>
                <a:lnTo>
                  <a:pt x="706" y="43"/>
                </a:lnTo>
                <a:lnTo>
                  <a:pt x="707" y="43"/>
                </a:lnTo>
                <a:lnTo>
                  <a:pt x="708" y="44"/>
                </a:lnTo>
                <a:lnTo>
                  <a:pt x="709" y="44"/>
                </a:lnTo>
                <a:lnTo>
                  <a:pt x="709" y="42"/>
                </a:lnTo>
                <a:lnTo>
                  <a:pt x="710" y="41"/>
                </a:lnTo>
                <a:lnTo>
                  <a:pt x="710" y="39"/>
                </a:lnTo>
                <a:lnTo>
                  <a:pt x="712" y="39"/>
                </a:lnTo>
                <a:lnTo>
                  <a:pt x="712" y="42"/>
                </a:lnTo>
                <a:lnTo>
                  <a:pt x="713" y="42"/>
                </a:lnTo>
                <a:lnTo>
                  <a:pt x="713" y="43"/>
                </a:lnTo>
                <a:lnTo>
                  <a:pt x="715" y="43"/>
                </a:lnTo>
                <a:lnTo>
                  <a:pt x="718" y="44"/>
                </a:lnTo>
                <a:lnTo>
                  <a:pt x="719" y="45"/>
                </a:lnTo>
                <a:lnTo>
                  <a:pt x="721" y="45"/>
                </a:lnTo>
                <a:lnTo>
                  <a:pt x="722" y="47"/>
                </a:lnTo>
                <a:lnTo>
                  <a:pt x="723" y="47"/>
                </a:lnTo>
                <a:lnTo>
                  <a:pt x="726" y="48"/>
                </a:lnTo>
                <a:lnTo>
                  <a:pt x="727" y="49"/>
                </a:lnTo>
                <a:lnTo>
                  <a:pt x="731" y="49"/>
                </a:lnTo>
                <a:lnTo>
                  <a:pt x="734" y="48"/>
                </a:lnTo>
                <a:lnTo>
                  <a:pt x="735" y="49"/>
                </a:lnTo>
                <a:lnTo>
                  <a:pt x="735" y="53"/>
                </a:lnTo>
                <a:lnTo>
                  <a:pt x="738" y="53"/>
                </a:lnTo>
                <a:lnTo>
                  <a:pt x="739" y="54"/>
                </a:lnTo>
                <a:lnTo>
                  <a:pt x="740" y="54"/>
                </a:lnTo>
                <a:lnTo>
                  <a:pt x="741" y="56"/>
                </a:lnTo>
                <a:lnTo>
                  <a:pt x="741" y="57"/>
                </a:lnTo>
                <a:lnTo>
                  <a:pt x="743" y="57"/>
                </a:lnTo>
                <a:lnTo>
                  <a:pt x="743" y="59"/>
                </a:lnTo>
                <a:lnTo>
                  <a:pt x="744" y="59"/>
                </a:lnTo>
                <a:lnTo>
                  <a:pt x="745" y="56"/>
                </a:lnTo>
                <a:lnTo>
                  <a:pt x="747" y="57"/>
                </a:lnTo>
                <a:lnTo>
                  <a:pt x="750" y="57"/>
                </a:lnTo>
                <a:lnTo>
                  <a:pt x="752" y="55"/>
                </a:lnTo>
                <a:lnTo>
                  <a:pt x="752" y="56"/>
                </a:lnTo>
                <a:lnTo>
                  <a:pt x="753" y="56"/>
                </a:lnTo>
                <a:lnTo>
                  <a:pt x="753" y="55"/>
                </a:lnTo>
                <a:lnTo>
                  <a:pt x="754" y="55"/>
                </a:lnTo>
                <a:lnTo>
                  <a:pt x="758" y="59"/>
                </a:lnTo>
                <a:lnTo>
                  <a:pt x="759" y="57"/>
                </a:lnTo>
                <a:lnTo>
                  <a:pt x="760" y="57"/>
                </a:lnTo>
                <a:lnTo>
                  <a:pt x="760" y="60"/>
                </a:lnTo>
                <a:lnTo>
                  <a:pt x="762" y="61"/>
                </a:lnTo>
                <a:lnTo>
                  <a:pt x="762" y="62"/>
                </a:lnTo>
                <a:lnTo>
                  <a:pt x="763" y="62"/>
                </a:lnTo>
                <a:lnTo>
                  <a:pt x="763" y="63"/>
                </a:lnTo>
                <a:lnTo>
                  <a:pt x="766" y="63"/>
                </a:lnTo>
                <a:lnTo>
                  <a:pt x="770" y="62"/>
                </a:lnTo>
                <a:lnTo>
                  <a:pt x="772" y="62"/>
                </a:lnTo>
                <a:lnTo>
                  <a:pt x="774" y="61"/>
                </a:lnTo>
                <a:lnTo>
                  <a:pt x="776" y="62"/>
                </a:lnTo>
                <a:lnTo>
                  <a:pt x="777" y="62"/>
                </a:lnTo>
                <a:lnTo>
                  <a:pt x="778" y="63"/>
                </a:lnTo>
                <a:lnTo>
                  <a:pt x="778" y="65"/>
                </a:lnTo>
                <a:lnTo>
                  <a:pt x="779" y="65"/>
                </a:lnTo>
                <a:lnTo>
                  <a:pt x="781" y="63"/>
                </a:lnTo>
                <a:lnTo>
                  <a:pt x="781" y="62"/>
                </a:lnTo>
                <a:lnTo>
                  <a:pt x="782" y="62"/>
                </a:lnTo>
                <a:lnTo>
                  <a:pt x="783" y="63"/>
                </a:lnTo>
                <a:lnTo>
                  <a:pt x="795" y="63"/>
                </a:lnTo>
                <a:lnTo>
                  <a:pt x="795" y="61"/>
                </a:lnTo>
                <a:lnTo>
                  <a:pt x="794" y="61"/>
                </a:lnTo>
                <a:lnTo>
                  <a:pt x="794" y="60"/>
                </a:lnTo>
                <a:lnTo>
                  <a:pt x="795" y="60"/>
                </a:lnTo>
                <a:lnTo>
                  <a:pt x="794" y="59"/>
                </a:lnTo>
                <a:lnTo>
                  <a:pt x="795" y="57"/>
                </a:lnTo>
                <a:lnTo>
                  <a:pt x="795" y="55"/>
                </a:lnTo>
                <a:lnTo>
                  <a:pt x="801" y="55"/>
                </a:lnTo>
                <a:lnTo>
                  <a:pt x="803" y="56"/>
                </a:lnTo>
                <a:lnTo>
                  <a:pt x="805" y="57"/>
                </a:lnTo>
                <a:lnTo>
                  <a:pt x="807" y="57"/>
                </a:lnTo>
                <a:lnTo>
                  <a:pt x="808" y="59"/>
                </a:lnTo>
                <a:lnTo>
                  <a:pt x="813" y="59"/>
                </a:lnTo>
                <a:lnTo>
                  <a:pt x="814" y="60"/>
                </a:lnTo>
                <a:lnTo>
                  <a:pt x="814" y="61"/>
                </a:lnTo>
                <a:lnTo>
                  <a:pt x="815" y="62"/>
                </a:lnTo>
                <a:lnTo>
                  <a:pt x="824" y="62"/>
                </a:lnTo>
                <a:lnTo>
                  <a:pt x="824" y="63"/>
                </a:lnTo>
                <a:lnTo>
                  <a:pt x="825" y="63"/>
                </a:lnTo>
                <a:lnTo>
                  <a:pt x="825" y="65"/>
                </a:lnTo>
                <a:lnTo>
                  <a:pt x="826" y="66"/>
                </a:lnTo>
                <a:lnTo>
                  <a:pt x="827" y="68"/>
                </a:lnTo>
                <a:lnTo>
                  <a:pt x="827" y="71"/>
                </a:lnTo>
                <a:lnTo>
                  <a:pt x="826" y="72"/>
                </a:lnTo>
                <a:lnTo>
                  <a:pt x="826" y="73"/>
                </a:lnTo>
                <a:lnTo>
                  <a:pt x="828" y="73"/>
                </a:lnTo>
                <a:lnTo>
                  <a:pt x="828" y="74"/>
                </a:lnTo>
                <a:lnTo>
                  <a:pt x="827" y="74"/>
                </a:lnTo>
                <a:lnTo>
                  <a:pt x="826" y="75"/>
                </a:lnTo>
                <a:lnTo>
                  <a:pt x="827" y="77"/>
                </a:lnTo>
                <a:lnTo>
                  <a:pt x="827" y="78"/>
                </a:lnTo>
                <a:lnTo>
                  <a:pt x="828" y="78"/>
                </a:lnTo>
                <a:lnTo>
                  <a:pt x="831" y="79"/>
                </a:lnTo>
                <a:lnTo>
                  <a:pt x="832" y="78"/>
                </a:lnTo>
                <a:lnTo>
                  <a:pt x="834" y="77"/>
                </a:lnTo>
                <a:lnTo>
                  <a:pt x="836" y="77"/>
                </a:lnTo>
                <a:lnTo>
                  <a:pt x="837" y="74"/>
                </a:lnTo>
                <a:lnTo>
                  <a:pt x="838" y="75"/>
                </a:lnTo>
                <a:lnTo>
                  <a:pt x="839" y="74"/>
                </a:lnTo>
                <a:lnTo>
                  <a:pt x="840" y="75"/>
                </a:lnTo>
                <a:lnTo>
                  <a:pt x="844" y="75"/>
                </a:lnTo>
                <a:lnTo>
                  <a:pt x="846" y="78"/>
                </a:lnTo>
                <a:lnTo>
                  <a:pt x="849" y="78"/>
                </a:lnTo>
                <a:lnTo>
                  <a:pt x="849" y="79"/>
                </a:lnTo>
                <a:lnTo>
                  <a:pt x="850" y="81"/>
                </a:lnTo>
                <a:lnTo>
                  <a:pt x="851" y="82"/>
                </a:lnTo>
                <a:lnTo>
                  <a:pt x="855" y="82"/>
                </a:lnTo>
                <a:lnTo>
                  <a:pt x="855" y="81"/>
                </a:lnTo>
                <a:lnTo>
                  <a:pt x="856" y="81"/>
                </a:lnTo>
                <a:lnTo>
                  <a:pt x="856" y="80"/>
                </a:lnTo>
                <a:lnTo>
                  <a:pt x="857" y="79"/>
                </a:lnTo>
                <a:lnTo>
                  <a:pt x="864" y="79"/>
                </a:lnTo>
                <a:lnTo>
                  <a:pt x="868" y="80"/>
                </a:lnTo>
                <a:lnTo>
                  <a:pt x="871" y="84"/>
                </a:lnTo>
                <a:lnTo>
                  <a:pt x="874" y="84"/>
                </a:lnTo>
                <a:lnTo>
                  <a:pt x="874" y="82"/>
                </a:lnTo>
                <a:lnTo>
                  <a:pt x="875" y="82"/>
                </a:lnTo>
                <a:lnTo>
                  <a:pt x="877" y="84"/>
                </a:lnTo>
                <a:lnTo>
                  <a:pt x="880" y="84"/>
                </a:lnTo>
                <a:lnTo>
                  <a:pt x="878" y="82"/>
                </a:lnTo>
                <a:lnTo>
                  <a:pt x="878" y="81"/>
                </a:lnTo>
                <a:lnTo>
                  <a:pt x="881" y="80"/>
                </a:lnTo>
                <a:lnTo>
                  <a:pt x="881" y="79"/>
                </a:lnTo>
                <a:lnTo>
                  <a:pt x="886" y="79"/>
                </a:lnTo>
                <a:lnTo>
                  <a:pt x="887" y="78"/>
                </a:lnTo>
                <a:lnTo>
                  <a:pt x="889" y="78"/>
                </a:lnTo>
                <a:lnTo>
                  <a:pt x="889" y="77"/>
                </a:lnTo>
                <a:lnTo>
                  <a:pt x="895" y="77"/>
                </a:lnTo>
                <a:lnTo>
                  <a:pt x="895" y="78"/>
                </a:lnTo>
                <a:lnTo>
                  <a:pt x="896" y="78"/>
                </a:lnTo>
                <a:lnTo>
                  <a:pt x="897" y="79"/>
                </a:lnTo>
                <a:lnTo>
                  <a:pt x="900" y="79"/>
                </a:lnTo>
                <a:lnTo>
                  <a:pt x="901" y="78"/>
                </a:lnTo>
                <a:lnTo>
                  <a:pt x="901" y="82"/>
                </a:lnTo>
                <a:lnTo>
                  <a:pt x="902" y="84"/>
                </a:lnTo>
                <a:lnTo>
                  <a:pt x="906" y="84"/>
                </a:lnTo>
                <a:lnTo>
                  <a:pt x="907" y="85"/>
                </a:lnTo>
                <a:lnTo>
                  <a:pt x="906" y="86"/>
                </a:lnTo>
                <a:lnTo>
                  <a:pt x="906" y="88"/>
                </a:lnTo>
                <a:lnTo>
                  <a:pt x="905" y="88"/>
                </a:lnTo>
                <a:lnTo>
                  <a:pt x="905" y="90"/>
                </a:lnTo>
                <a:lnTo>
                  <a:pt x="903" y="88"/>
                </a:lnTo>
                <a:lnTo>
                  <a:pt x="902" y="90"/>
                </a:lnTo>
                <a:lnTo>
                  <a:pt x="901" y="88"/>
                </a:lnTo>
                <a:lnTo>
                  <a:pt x="900" y="88"/>
                </a:lnTo>
                <a:lnTo>
                  <a:pt x="899" y="90"/>
                </a:lnTo>
                <a:lnTo>
                  <a:pt x="899" y="94"/>
                </a:lnTo>
                <a:lnTo>
                  <a:pt x="901" y="97"/>
                </a:lnTo>
                <a:lnTo>
                  <a:pt x="901" y="98"/>
                </a:lnTo>
                <a:lnTo>
                  <a:pt x="902" y="99"/>
                </a:lnTo>
                <a:lnTo>
                  <a:pt x="902" y="104"/>
                </a:lnTo>
                <a:lnTo>
                  <a:pt x="903" y="104"/>
                </a:lnTo>
                <a:lnTo>
                  <a:pt x="903" y="106"/>
                </a:lnTo>
                <a:lnTo>
                  <a:pt x="902" y="108"/>
                </a:lnTo>
                <a:lnTo>
                  <a:pt x="902" y="109"/>
                </a:lnTo>
                <a:lnTo>
                  <a:pt x="900" y="111"/>
                </a:lnTo>
                <a:lnTo>
                  <a:pt x="899" y="111"/>
                </a:lnTo>
                <a:lnTo>
                  <a:pt x="896" y="112"/>
                </a:lnTo>
                <a:lnTo>
                  <a:pt x="896" y="114"/>
                </a:lnTo>
                <a:lnTo>
                  <a:pt x="890" y="120"/>
                </a:lnTo>
                <a:lnTo>
                  <a:pt x="887" y="120"/>
                </a:lnTo>
                <a:lnTo>
                  <a:pt x="887" y="121"/>
                </a:lnTo>
                <a:lnTo>
                  <a:pt x="886" y="121"/>
                </a:lnTo>
                <a:lnTo>
                  <a:pt x="886" y="122"/>
                </a:lnTo>
                <a:lnTo>
                  <a:pt x="884" y="122"/>
                </a:lnTo>
                <a:lnTo>
                  <a:pt x="884" y="123"/>
                </a:lnTo>
                <a:lnTo>
                  <a:pt x="878" y="125"/>
                </a:lnTo>
                <a:lnTo>
                  <a:pt x="870" y="129"/>
                </a:lnTo>
                <a:lnTo>
                  <a:pt x="869" y="130"/>
                </a:lnTo>
                <a:lnTo>
                  <a:pt x="864" y="133"/>
                </a:lnTo>
                <a:lnTo>
                  <a:pt x="862" y="135"/>
                </a:lnTo>
                <a:lnTo>
                  <a:pt x="859" y="139"/>
                </a:lnTo>
                <a:lnTo>
                  <a:pt x="858" y="141"/>
                </a:lnTo>
                <a:lnTo>
                  <a:pt x="857" y="142"/>
                </a:lnTo>
                <a:lnTo>
                  <a:pt x="853" y="143"/>
                </a:lnTo>
                <a:lnTo>
                  <a:pt x="852" y="145"/>
                </a:lnTo>
                <a:lnTo>
                  <a:pt x="846" y="145"/>
                </a:lnTo>
                <a:lnTo>
                  <a:pt x="845" y="146"/>
                </a:lnTo>
                <a:lnTo>
                  <a:pt x="844" y="146"/>
                </a:lnTo>
                <a:lnTo>
                  <a:pt x="836" y="148"/>
                </a:lnTo>
                <a:lnTo>
                  <a:pt x="832" y="148"/>
                </a:lnTo>
                <a:lnTo>
                  <a:pt x="821" y="153"/>
                </a:lnTo>
                <a:lnTo>
                  <a:pt x="818" y="153"/>
                </a:lnTo>
                <a:lnTo>
                  <a:pt x="818" y="155"/>
                </a:lnTo>
                <a:lnTo>
                  <a:pt x="812" y="155"/>
                </a:lnTo>
                <a:lnTo>
                  <a:pt x="809" y="157"/>
                </a:lnTo>
                <a:lnTo>
                  <a:pt x="805" y="161"/>
                </a:lnTo>
                <a:lnTo>
                  <a:pt x="802" y="165"/>
                </a:lnTo>
                <a:lnTo>
                  <a:pt x="796" y="171"/>
                </a:lnTo>
                <a:lnTo>
                  <a:pt x="797" y="172"/>
                </a:lnTo>
                <a:lnTo>
                  <a:pt x="800" y="172"/>
                </a:lnTo>
                <a:lnTo>
                  <a:pt x="802" y="174"/>
                </a:lnTo>
                <a:lnTo>
                  <a:pt x="803" y="173"/>
                </a:lnTo>
                <a:lnTo>
                  <a:pt x="803" y="177"/>
                </a:lnTo>
                <a:lnTo>
                  <a:pt x="802" y="177"/>
                </a:lnTo>
                <a:lnTo>
                  <a:pt x="800" y="178"/>
                </a:lnTo>
                <a:lnTo>
                  <a:pt x="796" y="182"/>
                </a:lnTo>
                <a:lnTo>
                  <a:pt x="797" y="179"/>
                </a:lnTo>
                <a:lnTo>
                  <a:pt x="796" y="179"/>
                </a:lnTo>
                <a:lnTo>
                  <a:pt x="793" y="180"/>
                </a:lnTo>
                <a:lnTo>
                  <a:pt x="791" y="182"/>
                </a:lnTo>
                <a:lnTo>
                  <a:pt x="790" y="182"/>
                </a:lnTo>
                <a:lnTo>
                  <a:pt x="790" y="183"/>
                </a:lnTo>
                <a:lnTo>
                  <a:pt x="789" y="186"/>
                </a:lnTo>
                <a:lnTo>
                  <a:pt x="788" y="188"/>
                </a:lnTo>
                <a:lnTo>
                  <a:pt x="788" y="189"/>
                </a:lnTo>
                <a:lnTo>
                  <a:pt x="787" y="190"/>
                </a:lnTo>
                <a:lnTo>
                  <a:pt x="785" y="190"/>
                </a:lnTo>
                <a:lnTo>
                  <a:pt x="785" y="192"/>
                </a:lnTo>
                <a:lnTo>
                  <a:pt x="784" y="192"/>
                </a:lnTo>
                <a:lnTo>
                  <a:pt x="782" y="198"/>
                </a:lnTo>
                <a:lnTo>
                  <a:pt x="781" y="200"/>
                </a:lnTo>
                <a:lnTo>
                  <a:pt x="781" y="201"/>
                </a:lnTo>
                <a:lnTo>
                  <a:pt x="779" y="201"/>
                </a:lnTo>
                <a:lnTo>
                  <a:pt x="778" y="203"/>
                </a:lnTo>
                <a:lnTo>
                  <a:pt x="776" y="206"/>
                </a:lnTo>
                <a:lnTo>
                  <a:pt x="774" y="210"/>
                </a:lnTo>
                <a:lnTo>
                  <a:pt x="772" y="211"/>
                </a:lnTo>
                <a:lnTo>
                  <a:pt x="770" y="213"/>
                </a:lnTo>
                <a:lnTo>
                  <a:pt x="769" y="214"/>
                </a:lnTo>
                <a:lnTo>
                  <a:pt x="766" y="219"/>
                </a:lnTo>
                <a:lnTo>
                  <a:pt x="763" y="222"/>
                </a:lnTo>
                <a:lnTo>
                  <a:pt x="759" y="229"/>
                </a:lnTo>
                <a:lnTo>
                  <a:pt x="758" y="231"/>
                </a:lnTo>
                <a:lnTo>
                  <a:pt x="758" y="233"/>
                </a:lnTo>
                <a:lnTo>
                  <a:pt x="756" y="235"/>
                </a:lnTo>
                <a:lnTo>
                  <a:pt x="756" y="238"/>
                </a:lnTo>
                <a:lnTo>
                  <a:pt x="754" y="238"/>
                </a:lnTo>
                <a:lnTo>
                  <a:pt x="753" y="240"/>
                </a:lnTo>
                <a:lnTo>
                  <a:pt x="753" y="247"/>
                </a:lnTo>
                <a:lnTo>
                  <a:pt x="754" y="251"/>
                </a:lnTo>
                <a:lnTo>
                  <a:pt x="757" y="257"/>
                </a:lnTo>
                <a:lnTo>
                  <a:pt x="757" y="258"/>
                </a:lnTo>
                <a:lnTo>
                  <a:pt x="758" y="259"/>
                </a:lnTo>
                <a:lnTo>
                  <a:pt x="757" y="259"/>
                </a:lnTo>
                <a:lnTo>
                  <a:pt x="757" y="263"/>
                </a:lnTo>
                <a:lnTo>
                  <a:pt x="758" y="265"/>
                </a:lnTo>
                <a:lnTo>
                  <a:pt x="759" y="266"/>
                </a:lnTo>
                <a:lnTo>
                  <a:pt x="762" y="271"/>
                </a:lnTo>
                <a:lnTo>
                  <a:pt x="766" y="276"/>
                </a:lnTo>
                <a:lnTo>
                  <a:pt x="770" y="276"/>
                </a:lnTo>
                <a:lnTo>
                  <a:pt x="771" y="277"/>
                </a:lnTo>
                <a:lnTo>
                  <a:pt x="774" y="278"/>
                </a:lnTo>
                <a:lnTo>
                  <a:pt x="775" y="280"/>
                </a:lnTo>
                <a:lnTo>
                  <a:pt x="775" y="281"/>
                </a:lnTo>
                <a:lnTo>
                  <a:pt x="776" y="282"/>
                </a:lnTo>
                <a:lnTo>
                  <a:pt x="777" y="282"/>
                </a:lnTo>
                <a:lnTo>
                  <a:pt x="777" y="283"/>
                </a:lnTo>
                <a:lnTo>
                  <a:pt x="775" y="283"/>
                </a:lnTo>
                <a:lnTo>
                  <a:pt x="775" y="284"/>
                </a:lnTo>
                <a:lnTo>
                  <a:pt x="774" y="284"/>
                </a:lnTo>
                <a:lnTo>
                  <a:pt x="774" y="286"/>
                </a:lnTo>
                <a:lnTo>
                  <a:pt x="772" y="286"/>
                </a:lnTo>
                <a:lnTo>
                  <a:pt x="771" y="287"/>
                </a:lnTo>
                <a:lnTo>
                  <a:pt x="770" y="287"/>
                </a:lnTo>
                <a:lnTo>
                  <a:pt x="770" y="289"/>
                </a:lnTo>
                <a:lnTo>
                  <a:pt x="765" y="289"/>
                </a:lnTo>
                <a:lnTo>
                  <a:pt x="765" y="293"/>
                </a:lnTo>
                <a:lnTo>
                  <a:pt x="764" y="293"/>
                </a:lnTo>
                <a:lnTo>
                  <a:pt x="764" y="294"/>
                </a:lnTo>
                <a:lnTo>
                  <a:pt x="759" y="294"/>
                </a:lnTo>
                <a:lnTo>
                  <a:pt x="757" y="296"/>
                </a:lnTo>
                <a:lnTo>
                  <a:pt x="753" y="297"/>
                </a:lnTo>
                <a:lnTo>
                  <a:pt x="752" y="297"/>
                </a:lnTo>
                <a:lnTo>
                  <a:pt x="752" y="299"/>
                </a:lnTo>
                <a:lnTo>
                  <a:pt x="750" y="301"/>
                </a:lnTo>
                <a:lnTo>
                  <a:pt x="750" y="303"/>
                </a:lnTo>
                <a:lnTo>
                  <a:pt x="747" y="303"/>
                </a:lnTo>
                <a:lnTo>
                  <a:pt x="747" y="305"/>
                </a:lnTo>
                <a:lnTo>
                  <a:pt x="745" y="305"/>
                </a:lnTo>
                <a:lnTo>
                  <a:pt x="745" y="307"/>
                </a:lnTo>
                <a:lnTo>
                  <a:pt x="746" y="312"/>
                </a:lnTo>
                <a:lnTo>
                  <a:pt x="745" y="312"/>
                </a:lnTo>
                <a:lnTo>
                  <a:pt x="745" y="313"/>
                </a:lnTo>
                <a:lnTo>
                  <a:pt x="743" y="312"/>
                </a:lnTo>
                <a:lnTo>
                  <a:pt x="743" y="313"/>
                </a:lnTo>
                <a:lnTo>
                  <a:pt x="741" y="313"/>
                </a:lnTo>
                <a:lnTo>
                  <a:pt x="740" y="314"/>
                </a:lnTo>
                <a:lnTo>
                  <a:pt x="740" y="319"/>
                </a:lnTo>
                <a:lnTo>
                  <a:pt x="739" y="323"/>
                </a:lnTo>
                <a:lnTo>
                  <a:pt x="739" y="324"/>
                </a:lnTo>
                <a:lnTo>
                  <a:pt x="738" y="324"/>
                </a:lnTo>
                <a:lnTo>
                  <a:pt x="737" y="325"/>
                </a:lnTo>
                <a:lnTo>
                  <a:pt x="737" y="326"/>
                </a:lnTo>
                <a:lnTo>
                  <a:pt x="735" y="330"/>
                </a:lnTo>
                <a:lnTo>
                  <a:pt x="735" y="333"/>
                </a:lnTo>
                <a:lnTo>
                  <a:pt x="734" y="332"/>
                </a:lnTo>
                <a:lnTo>
                  <a:pt x="733" y="334"/>
                </a:lnTo>
                <a:lnTo>
                  <a:pt x="732" y="336"/>
                </a:lnTo>
                <a:lnTo>
                  <a:pt x="731" y="336"/>
                </a:lnTo>
                <a:lnTo>
                  <a:pt x="731" y="337"/>
                </a:lnTo>
                <a:lnTo>
                  <a:pt x="732" y="340"/>
                </a:lnTo>
                <a:lnTo>
                  <a:pt x="733" y="340"/>
                </a:lnTo>
                <a:lnTo>
                  <a:pt x="734" y="342"/>
                </a:lnTo>
                <a:lnTo>
                  <a:pt x="737" y="342"/>
                </a:lnTo>
                <a:lnTo>
                  <a:pt x="738" y="343"/>
                </a:lnTo>
                <a:lnTo>
                  <a:pt x="737" y="343"/>
                </a:lnTo>
                <a:lnTo>
                  <a:pt x="737" y="344"/>
                </a:lnTo>
                <a:lnTo>
                  <a:pt x="733" y="344"/>
                </a:lnTo>
                <a:lnTo>
                  <a:pt x="733" y="345"/>
                </a:lnTo>
                <a:lnTo>
                  <a:pt x="729" y="345"/>
                </a:lnTo>
                <a:lnTo>
                  <a:pt x="728" y="346"/>
                </a:lnTo>
                <a:lnTo>
                  <a:pt x="727" y="346"/>
                </a:lnTo>
                <a:lnTo>
                  <a:pt x="726" y="345"/>
                </a:lnTo>
                <a:lnTo>
                  <a:pt x="720" y="345"/>
                </a:lnTo>
                <a:lnTo>
                  <a:pt x="720" y="348"/>
                </a:lnTo>
                <a:lnTo>
                  <a:pt x="718" y="348"/>
                </a:lnTo>
                <a:lnTo>
                  <a:pt x="718" y="346"/>
                </a:lnTo>
                <a:lnTo>
                  <a:pt x="716" y="345"/>
                </a:lnTo>
                <a:lnTo>
                  <a:pt x="714" y="345"/>
                </a:lnTo>
                <a:lnTo>
                  <a:pt x="714" y="346"/>
                </a:lnTo>
                <a:lnTo>
                  <a:pt x="710" y="346"/>
                </a:lnTo>
                <a:lnTo>
                  <a:pt x="709" y="348"/>
                </a:lnTo>
                <a:lnTo>
                  <a:pt x="707" y="349"/>
                </a:lnTo>
                <a:lnTo>
                  <a:pt x="707" y="350"/>
                </a:lnTo>
                <a:lnTo>
                  <a:pt x="704" y="350"/>
                </a:lnTo>
                <a:lnTo>
                  <a:pt x="704" y="352"/>
                </a:lnTo>
                <a:lnTo>
                  <a:pt x="703" y="354"/>
                </a:lnTo>
                <a:lnTo>
                  <a:pt x="701" y="354"/>
                </a:lnTo>
                <a:lnTo>
                  <a:pt x="698" y="355"/>
                </a:lnTo>
                <a:lnTo>
                  <a:pt x="697" y="356"/>
                </a:lnTo>
                <a:lnTo>
                  <a:pt x="697" y="357"/>
                </a:lnTo>
                <a:lnTo>
                  <a:pt x="696" y="357"/>
                </a:lnTo>
                <a:lnTo>
                  <a:pt x="696" y="358"/>
                </a:lnTo>
                <a:lnTo>
                  <a:pt x="690" y="364"/>
                </a:lnTo>
                <a:lnTo>
                  <a:pt x="690" y="367"/>
                </a:lnTo>
                <a:lnTo>
                  <a:pt x="689" y="369"/>
                </a:lnTo>
                <a:lnTo>
                  <a:pt x="689" y="372"/>
                </a:lnTo>
                <a:lnTo>
                  <a:pt x="688" y="375"/>
                </a:lnTo>
                <a:lnTo>
                  <a:pt x="687" y="376"/>
                </a:lnTo>
                <a:lnTo>
                  <a:pt x="687" y="380"/>
                </a:lnTo>
                <a:lnTo>
                  <a:pt x="684" y="380"/>
                </a:lnTo>
                <a:lnTo>
                  <a:pt x="683" y="381"/>
                </a:lnTo>
                <a:lnTo>
                  <a:pt x="683" y="382"/>
                </a:lnTo>
                <a:lnTo>
                  <a:pt x="682" y="383"/>
                </a:lnTo>
                <a:lnTo>
                  <a:pt x="682" y="385"/>
                </a:lnTo>
                <a:lnTo>
                  <a:pt x="681" y="385"/>
                </a:lnTo>
                <a:lnTo>
                  <a:pt x="681" y="386"/>
                </a:lnTo>
                <a:lnTo>
                  <a:pt x="679" y="387"/>
                </a:lnTo>
                <a:lnTo>
                  <a:pt x="679" y="388"/>
                </a:lnTo>
                <a:lnTo>
                  <a:pt x="678" y="388"/>
                </a:lnTo>
                <a:lnTo>
                  <a:pt x="678" y="389"/>
                </a:lnTo>
                <a:lnTo>
                  <a:pt x="676" y="389"/>
                </a:lnTo>
                <a:lnTo>
                  <a:pt x="676" y="391"/>
                </a:lnTo>
                <a:lnTo>
                  <a:pt x="673" y="389"/>
                </a:lnTo>
                <a:lnTo>
                  <a:pt x="672" y="388"/>
                </a:lnTo>
                <a:lnTo>
                  <a:pt x="672" y="387"/>
                </a:lnTo>
                <a:lnTo>
                  <a:pt x="671" y="386"/>
                </a:lnTo>
                <a:lnTo>
                  <a:pt x="669" y="385"/>
                </a:lnTo>
                <a:lnTo>
                  <a:pt x="666" y="385"/>
                </a:lnTo>
                <a:lnTo>
                  <a:pt x="665" y="386"/>
                </a:lnTo>
                <a:lnTo>
                  <a:pt x="664" y="386"/>
                </a:lnTo>
                <a:lnTo>
                  <a:pt x="663" y="385"/>
                </a:lnTo>
                <a:lnTo>
                  <a:pt x="659" y="386"/>
                </a:lnTo>
                <a:lnTo>
                  <a:pt x="658" y="386"/>
                </a:lnTo>
                <a:lnTo>
                  <a:pt x="658" y="388"/>
                </a:lnTo>
                <a:lnTo>
                  <a:pt x="657" y="391"/>
                </a:lnTo>
                <a:lnTo>
                  <a:pt x="656" y="392"/>
                </a:lnTo>
                <a:lnTo>
                  <a:pt x="653" y="392"/>
                </a:lnTo>
                <a:lnTo>
                  <a:pt x="652" y="393"/>
                </a:lnTo>
                <a:lnTo>
                  <a:pt x="652" y="392"/>
                </a:lnTo>
                <a:lnTo>
                  <a:pt x="651" y="393"/>
                </a:lnTo>
                <a:lnTo>
                  <a:pt x="648" y="391"/>
                </a:lnTo>
                <a:lnTo>
                  <a:pt x="647" y="391"/>
                </a:lnTo>
                <a:lnTo>
                  <a:pt x="647" y="392"/>
                </a:lnTo>
                <a:lnTo>
                  <a:pt x="646" y="392"/>
                </a:lnTo>
                <a:lnTo>
                  <a:pt x="645" y="389"/>
                </a:lnTo>
                <a:lnTo>
                  <a:pt x="634" y="389"/>
                </a:lnTo>
                <a:lnTo>
                  <a:pt x="631" y="388"/>
                </a:lnTo>
                <a:lnTo>
                  <a:pt x="627" y="389"/>
                </a:lnTo>
                <a:lnTo>
                  <a:pt x="626" y="389"/>
                </a:lnTo>
                <a:lnTo>
                  <a:pt x="626" y="391"/>
                </a:lnTo>
                <a:lnTo>
                  <a:pt x="625" y="391"/>
                </a:lnTo>
                <a:lnTo>
                  <a:pt x="623" y="392"/>
                </a:lnTo>
                <a:lnTo>
                  <a:pt x="620" y="392"/>
                </a:lnTo>
                <a:lnTo>
                  <a:pt x="619" y="391"/>
                </a:lnTo>
                <a:lnTo>
                  <a:pt x="616" y="391"/>
                </a:lnTo>
                <a:lnTo>
                  <a:pt x="615" y="389"/>
                </a:lnTo>
                <a:lnTo>
                  <a:pt x="613" y="389"/>
                </a:lnTo>
                <a:lnTo>
                  <a:pt x="611" y="391"/>
                </a:lnTo>
                <a:lnTo>
                  <a:pt x="609" y="391"/>
                </a:lnTo>
                <a:lnTo>
                  <a:pt x="607" y="389"/>
                </a:lnTo>
                <a:lnTo>
                  <a:pt x="603" y="389"/>
                </a:lnTo>
                <a:lnTo>
                  <a:pt x="600" y="391"/>
                </a:lnTo>
                <a:lnTo>
                  <a:pt x="596" y="389"/>
                </a:lnTo>
                <a:lnTo>
                  <a:pt x="595" y="389"/>
                </a:lnTo>
                <a:lnTo>
                  <a:pt x="594" y="391"/>
                </a:lnTo>
                <a:lnTo>
                  <a:pt x="580" y="391"/>
                </a:lnTo>
                <a:lnTo>
                  <a:pt x="579" y="393"/>
                </a:lnTo>
                <a:lnTo>
                  <a:pt x="578" y="393"/>
                </a:lnTo>
                <a:lnTo>
                  <a:pt x="578" y="394"/>
                </a:lnTo>
                <a:lnTo>
                  <a:pt x="577" y="395"/>
                </a:lnTo>
                <a:lnTo>
                  <a:pt x="576" y="398"/>
                </a:lnTo>
                <a:lnTo>
                  <a:pt x="573" y="398"/>
                </a:lnTo>
                <a:lnTo>
                  <a:pt x="572" y="400"/>
                </a:lnTo>
                <a:lnTo>
                  <a:pt x="570" y="403"/>
                </a:lnTo>
                <a:lnTo>
                  <a:pt x="566" y="403"/>
                </a:lnTo>
                <a:lnTo>
                  <a:pt x="561" y="401"/>
                </a:lnTo>
                <a:lnTo>
                  <a:pt x="560" y="401"/>
                </a:lnTo>
                <a:lnTo>
                  <a:pt x="559" y="403"/>
                </a:lnTo>
                <a:lnTo>
                  <a:pt x="557" y="404"/>
                </a:lnTo>
                <a:lnTo>
                  <a:pt x="553" y="405"/>
                </a:lnTo>
                <a:lnTo>
                  <a:pt x="552" y="406"/>
                </a:lnTo>
                <a:lnTo>
                  <a:pt x="548" y="406"/>
                </a:lnTo>
                <a:lnTo>
                  <a:pt x="547" y="407"/>
                </a:lnTo>
                <a:lnTo>
                  <a:pt x="546" y="410"/>
                </a:lnTo>
                <a:lnTo>
                  <a:pt x="546" y="412"/>
                </a:lnTo>
                <a:lnTo>
                  <a:pt x="545" y="412"/>
                </a:lnTo>
                <a:lnTo>
                  <a:pt x="545" y="413"/>
                </a:lnTo>
                <a:lnTo>
                  <a:pt x="544" y="413"/>
                </a:lnTo>
                <a:lnTo>
                  <a:pt x="544" y="416"/>
                </a:lnTo>
                <a:lnTo>
                  <a:pt x="541" y="420"/>
                </a:lnTo>
                <a:lnTo>
                  <a:pt x="540" y="419"/>
                </a:lnTo>
                <a:lnTo>
                  <a:pt x="538" y="419"/>
                </a:lnTo>
                <a:lnTo>
                  <a:pt x="538" y="425"/>
                </a:lnTo>
                <a:lnTo>
                  <a:pt x="536" y="425"/>
                </a:lnTo>
                <a:lnTo>
                  <a:pt x="532" y="428"/>
                </a:lnTo>
                <a:lnTo>
                  <a:pt x="530" y="428"/>
                </a:lnTo>
                <a:lnTo>
                  <a:pt x="528" y="425"/>
                </a:lnTo>
                <a:lnTo>
                  <a:pt x="524" y="425"/>
                </a:lnTo>
                <a:lnTo>
                  <a:pt x="524" y="424"/>
                </a:lnTo>
                <a:lnTo>
                  <a:pt x="522" y="424"/>
                </a:lnTo>
                <a:lnTo>
                  <a:pt x="522" y="423"/>
                </a:lnTo>
                <a:lnTo>
                  <a:pt x="517" y="418"/>
                </a:lnTo>
                <a:lnTo>
                  <a:pt x="516" y="418"/>
                </a:lnTo>
                <a:lnTo>
                  <a:pt x="515" y="419"/>
                </a:lnTo>
                <a:lnTo>
                  <a:pt x="513" y="418"/>
                </a:lnTo>
                <a:lnTo>
                  <a:pt x="510" y="416"/>
                </a:lnTo>
                <a:lnTo>
                  <a:pt x="509" y="413"/>
                </a:lnTo>
                <a:lnTo>
                  <a:pt x="507" y="412"/>
                </a:lnTo>
                <a:lnTo>
                  <a:pt x="507" y="409"/>
                </a:lnTo>
                <a:lnTo>
                  <a:pt x="504" y="407"/>
                </a:lnTo>
                <a:lnTo>
                  <a:pt x="503" y="405"/>
                </a:lnTo>
                <a:lnTo>
                  <a:pt x="503" y="404"/>
                </a:lnTo>
                <a:lnTo>
                  <a:pt x="502" y="401"/>
                </a:lnTo>
                <a:lnTo>
                  <a:pt x="501" y="400"/>
                </a:lnTo>
                <a:lnTo>
                  <a:pt x="502" y="400"/>
                </a:lnTo>
                <a:lnTo>
                  <a:pt x="503" y="401"/>
                </a:lnTo>
                <a:lnTo>
                  <a:pt x="503" y="403"/>
                </a:lnTo>
                <a:lnTo>
                  <a:pt x="504" y="404"/>
                </a:lnTo>
                <a:lnTo>
                  <a:pt x="507" y="401"/>
                </a:lnTo>
                <a:lnTo>
                  <a:pt x="504" y="401"/>
                </a:lnTo>
                <a:lnTo>
                  <a:pt x="504" y="398"/>
                </a:lnTo>
                <a:lnTo>
                  <a:pt x="502" y="397"/>
                </a:lnTo>
                <a:lnTo>
                  <a:pt x="502" y="395"/>
                </a:lnTo>
                <a:lnTo>
                  <a:pt x="497" y="395"/>
                </a:lnTo>
                <a:lnTo>
                  <a:pt x="497" y="393"/>
                </a:lnTo>
                <a:lnTo>
                  <a:pt x="496" y="392"/>
                </a:lnTo>
                <a:lnTo>
                  <a:pt x="496" y="388"/>
                </a:lnTo>
                <a:lnTo>
                  <a:pt x="497" y="388"/>
                </a:lnTo>
                <a:lnTo>
                  <a:pt x="498" y="387"/>
                </a:lnTo>
                <a:lnTo>
                  <a:pt x="499" y="387"/>
                </a:lnTo>
                <a:lnTo>
                  <a:pt x="499" y="386"/>
                </a:lnTo>
                <a:lnTo>
                  <a:pt x="497" y="386"/>
                </a:lnTo>
                <a:lnTo>
                  <a:pt x="496" y="385"/>
                </a:lnTo>
                <a:lnTo>
                  <a:pt x="495" y="381"/>
                </a:lnTo>
                <a:lnTo>
                  <a:pt x="493" y="379"/>
                </a:lnTo>
                <a:lnTo>
                  <a:pt x="492" y="377"/>
                </a:lnTo>
                <a:lnTo>
                  <a:pt x="483" y="370"/>
                </a:lnTo>
                <a:lnTo>
                  <a:pt x="482" y="370"/>
                </a:lnTo>
                <a:lnTo>
                  <a:pt x="480" y="369"/>
                </a:lnTo>
                <a:lnTo>
                  <a:pt x="479" y="369"/>
                </a:lnTo>
                <a:lnTo>
                  <a:pt x="478" y="368"/>
                </a:lnTo>
                <a:lnTo>
                  <a:pt x="477" y="368"/>
                </a:lnTo>
                <a:lnTo>
                  <a:pt x="476" y="367"/>
                </a:lnTo>
                <a:lnTo>
                  <a:pt x="476" y="363"/>
                </a:lnTo>
                <a:lnTo>
                  <a:pt x="478" y="361"/>
                </a:lnTo>
                <a:lnTo>
                  <a:pt x="477" y="361"/>
                </a:lnTo>
                <a:lnTo>
                  <a:pt x="476" y="363"/>
                </a:lnTo>
                <a:lnTo>
                  <a:pt x="473" y="363"/>
                </a:lnTo>
                <a:lnTo>
                  <a:pt x="473" y="364"/>
                </a:lnTo>
                <a:lnTo>
                  <a:pt x="474" y="366"/>
                </a:lnTo>
                <a:lnTo>
                  <a:pt x="474" y="367"/>
                </a:lnTo>
                <a:lnTo>
                  <a:pt x="471" y="366"/>
                </a:lnTo>
                <a:lnTo>
                  <a:pt x="468" y="364"/>
                </a:lnTo>
                <a:lnTo>
                  <a:pt x="458" y="366"/>
                </a:lnTo>
                <a:lnTo>
                  <a:pt x="456" y="367"/>
                </a:lnTo>
                <a:lnTo>
                  <a:pt x="455" y="367"/>
                </a:lnTo>
                <a:lnTo>
                  <a:pt x="455" y="366"/>
                </a:lnTo>
                <a:lnTo>
                  <a:pt x="454" y="366"/>
                </a:lnTo>
                <a:lnTo>
                  <a:pt x="453" y="363"/>
                </a:lnTo>
                <a:lnTo>
                  <a:pt x="453" y="362"/>
                </a:lnTo>
                <a:lnTo>
                  <a:pt x="454" y="361"/>
                </a:lnTo>
                <a:lnTo>
                  <a:pt x="453" y="360"/>
                </a:lnTo>
                <a:lnTo>
                  <a:pt x="453" y="355"/>
                </a:lnTo>
                <a:lnTo>
                  <a:pt x="452" y="354"/>
                </a:lnTo>
                <a:lnTo>
                  <a:pt x="452" y="349"/>
                </a:lnTo>
                <a:lnTo>
                  <a:pt x="451" y="349"/>
                </a:lnTo>
                <a:lnTo>
                  <a:pt x="449" y="348"/>
                </a:lnTo>
                <a:lnTo>
                  <a:pt x="449" y="345"/>
                </a:lnTo>
                <a:lnTo>
                  <a:pt x="452" y="343"/>
                </a:lnTo>
                <a:lnTo>
                  <a:pt x="452" y="339"/>
                </a:lnTo>
                <a:lnTo>
                  <a:pt x="453" y="337"/>
                </a:lnTo>
                <a:lnTo>
                  <a:pt x="454" y="336"/>
                </a:lnTo>
                <a:lnTo>
                  <a:pt x="458" y="333"/>
                </a:lnTo>
                <a:lnTo>
                  <a:pt x="459" y="331"/>
                </a:lnTo>
                <a:lnTo>
                  <a:pt x="459" y="329"/>
                </a:lnTo>
                <a:lnTo>
                  <a:pt x="460" y="326"/>
                </a:lnTo>
                <a:lnTo>
                  <a:pt x="460" y="324"/>
                </a:lnTo>
                <a:lnTo>
                  <a:pt x="461" y="324"/>
                </a:lnTo>
                <a:lnTo>
                  <a:pt x="462" y="323"/>
                </a:lnTo>
                <a:lnTo>
                  <a:pt x="464" y="324"/>
                </a:lnTo>
                <a:lnTo>
                  <a:pt x="465" y="323"/>
                </a:lnTo>
                <a:lnTo>
                  <a:pt x="466" y="323"/>
                </a:lnTo>
                <a:lnTo>
                  <a:pt x="466" y="320"/>
                </a:lnTo>
                <a:lnTo>
                  <a:pt x="467" y="320"/>
                </a:lnTo>
                <a:lnTo>
                  <a:pt x="470" y="321"/>
                </a:lnTo>
                <a:lnTo>
                  <a:pt x="471" y="321"/>
                </a:lnTo>
                <a:lnTo>
                  <a:pt x="471" y="320"/>
                </a:lnTo>
                <a:lnTo>
                  <a:pt x="472" y="318"/>
                </a:lnTo>
                <a:lnTo>
                  <a:pt x="472" y="317"/>
                </a:lnTo>
                <a:lnTo>
                  <a:pt x="474" y="312"/>
                </a:lnTo>
                <a:lnTo>
                  <a:pt x="471" y="312"/>
                </a:lnTo>
                <a:lnTo>
                  <a:pt x="470" y="313"/>
                </a:lnTo>
                <a:lnTo>
                  <a:pt x="466" y="313"/>
                </a:lnTo>
                <a:lnTo>
                  <a:pt x="465" y="308"/>
                </a:lnTo>
                <a:lnTo>
                  <a:pt x="462" y="306"/>
                </a:lnTo>
                <a:lnTo>
                  <a:pt x="458" y="300"/>
                </a:lnTo>
                <a:lnTo>
                  <a:pt x="456" y="299"/>
                </a:lnTo>
                <a:lnTo>
                  <a:pt x="458" y="297"/>
                </a:lnTo>
                <a:lnTo>
                  <a:pt x="456" y="296"/>
                </a:lnTo>
                <a:lnTo>
                  <a:pt x="458" y="295"/>
                </a:lnTo>
                <a:lnTo>
                  <a:pt x="458" y="293"/>
                </a:lnTo>
                <a:lnTo>
                  <a:pt x="460" y="290"/>
                </a:lnTo>
                <a:lnTo>
                  <a:pt x="460" y="289"/>
                </a:lnTo>
                <a:lnTo>
                  <a:pt x="459" y="288"/>
                </a:lnTo>
                <a:lnTo>
                  <a:pt x="459" y="287"/>
                </a:lnTo>
                <a:lnTo>
                  <a:pt x="460" y="284"/>
                </a:lnTo>
                <a:lnTo>
                  <a:pt x="460" y="283"/>
                </a:lnTo>
                <a:lnTo>
                  <a:pt x="462" y="282"/>
                </a:lnTo>
                <a:lnTo>
                  <a:pt x="462" y="281"/>
                </a:lnTo>
                <a:lnTo>
                  <a:pt x="464" y="281"/>
                </a:lnTo>
                <a:lnTo>
                  <a:pt x="465" y="280"/>
                </a:lnTo>
                <a:lnTo>
                  <a:pt x="465" y="278"/>
                </a:lnTo>
                <a:lnTo>
                  <a:pt x="468" y="278"/>
                </a:lnTo>
                <a:lnTo>
                  <a:pt x="468" y="277"/>
                </a:lnTo>
                <a:lnTo>
                  <a:pt x="470" y="277"/>
                </a:lnTo>
                <a:lnTo>
                  <a:pt x="470" y="275"/>
                </a:lnTo>
                <a:lnTo>
                  <a:pt x="468" y="274"/>
                </a:lnTo>
                <a:lnTo>
                  <a:pt x="470" y="274"/>
                </a:lnTo>
                <a:lnTo>
                  <a:pt x="471" y="272"/>
                </a:lnTo>
                <a:lnTo>
                  <a:pt x="472" y="269"/>
                </a:lnTo>
                <a:lnTo>
                  <a:pt x="473" y="268"/>
                </a:lnTo>
                <a:lnTo>
                  <a:pt x="472" y="268"/>
                </a:lnTo>
                <a:lnTo>
                  <a:pt x="472" y="264"/>
                </a:lnTo>
                <a:lnTo>
                  <a:pt x="471" y="264"/>
                </a:lnTo>
                <a:lnTo>
                  <a:pt x="470" y="263"/>
                </a:lnTo>
                <a:lnTo>
                  <a:pt x="467" y="263"/>
                </a:lnTo>
                <a:lnTo>
                  <a:pt x="467" y="264"/>
                </a:lnTo>
                <a:lnTo>
                  <a:pt x="466" y="264"/>
                </a:lnTo>
                <a:lnTo>
                  <a:pt x="465" y="263"/>
                </a:lnTo>
                <a:lnTo>
                  <a:pt x="465" y="259"/>
                </a:lnTo>
                <a:lnTo>
                  <a:pt x="462" y="259"/>
                </a:lnTo>
                <a:lnTo>
                  <a:pt x="460" y="257"/>
                </a:lnTo>
                <a:lnTo>
                  <a:pt x="460" y="256"/>
                </a:lnTo>
                <a:lnTo>
                  <a:pt x="461" y="254"/>
                </a:lnTo>
                <a:lnTo>
                  <a:pt x="458" y="251"/>
                </a:lnTo>
                <a:lnTo>
                  <a:pt x="458" y="246"/>
                </a:lnTo>
                <a:lnTo>
                  <a:pt x="459" y="245"/>
                </a:lnTo>
                <a:lnTo>
                  <a:pt x="459" y="244"/>
                </a:lnTo>
                <a:lnTo>
                  <a:pt x="458" y="244"/>
                </a:lnTo>
                <a:lnTo>
                  <a:pt x="456" y="243"/>
                </a:lnTo>
                <a:lnTo>
                  <a:pt x="455" y="243"/>
                </a:lnTo>
                <a:lnTo>
                  <a:pt x="454" y="241"/>
                </a:lnTo>
                <a:lnTo>
                  <a:pt x="454" y="240"/>
                </a:lnTo>
                <a:lnTo>
                  <a:pt x="453" y="240"/>
                </a:lnTo>
                <a:lnTo>
                  <a:pt x="449" y="237"/>
                </a:lnTo>
                <a:lnTo>
                  <a:pt x="448" y="233"/>
                </a:lnTo>
                <a:lnTo>
                  <a:pt x="448" y="232"/>
                </a:lnTo>
                <a:lnTo>
                  <a:pt x="470" y="232"/>
                </a:lnTo>
                <a:lnTo>
                  <a:pt x="471" y="231"/>
                </a:lnTo>
                <a:lnTo>
                  <a:pt x="471" y="228"/>
                </a:lnTo>
                <a:lnTo>
                  <a:pt x="472" y="227"/>
                </a:lnTo>
                <a:lnTo>
                  <a:pt x="472" y="225"/>
                </a:lnTo>
                <a:lnTo>
                  <a:pt x="474" y="222"/>
                </a:lnTo>
                <a:lnTo>
                  <a:pt x="474" y="219"/>
                </a:lnTo>
                <a:lnTo>
                  <a:pt x="476" y="219"/>
                </a:lnTo>
                <a:lnTo>
                  <a:pt x="476" y="215"/>
                </a:lnTo>
                <a:lnTo>
                  <a:pt x="477" y="214"/>
                </a:lnTo>
                <a:lnTo>
                  <a:pt x="476" y="210"/>
                </a:lnTo>
                <a:lnTo>
                  <a:pt x="474" y="209"/>
                </a:lnTo>
                <a:lnTo>
                  <a:pt x="473" y="209"/>
                </a:lnTo>
                <a:lnTo>
                  <a:pt x="473" y="208"/>
                </a:lnTo>
                <a:lnTo>
                  <a:pt x="471" y="208"/>
                </a:lnTo>
                <a:lnTo>
                  <a:pt x="471" y="207"/>
                </a:lnTo>
                <a:lnTo>
                  <a:pt x="470" y="206"/>
                </a:lnTo>
                <a:lnTo>
                  <a:pt x="470" y="204"/>
                </a:lnTo>
                <a:lnTo>
                  <a:pt x="471" y="202"/>
                </a:lnTo>
                <a:lnTo>
                  <a:pt x="472" y="202"/>
                </a:lnTo>
                <a:lnTo>
                  <a:pt x="473" y="201"/>
                </a:lnTo>
                <a:lnTo>
                  <a:pt x="476" y="201"/>
                </a:lnTo>
                <a:lnTo>
                  <a:pt x="477" y="200"/>
                </a:lnTo>
                <a:lnTo>
                  <a:pt x="477" y="198"/>
                </a:lnTo>
                <a:lnTo>
                  <a:pt x="480" y="195"/>
                </a:lnTo>
                <a:lnTo>
                  <a:pt x="478" y="192"/>
                </a:lnTo>
                <a:lnTo>
                  <a:pt x="478" y="188"/>
                </a:lnTo>
                <a:lnTo>
                  <a:pt x="479" y="186"/>
                </a:lnTo>
                <a:lnTo>
                  <a:pt x="479" y="184"/>
                </a:lnTo>
                <a:lnTo>
                  <a:pt x="478" y="184"/>
                </a:lnTo>
                <a:lnTo>
                  <a:pt x="478" y="182"/>
                </a:lnTo>
                <a:lnTo>
                  <a:pt x="479" y="179"/>
                </a:lnTo>
                <a:lnTo>
                  <a:pt x="479" y="176"/>
                </a:lnTo>
                <a:lnTo>
                  <a:pt x="478" y="173"/>
                </a:lnTo>
                <a:lnTo>
                  <a:pt x="478" y="171"/>
                </a:lnTo>
                <a:lnTo>
                  <a:pt x="479" y="171"/>
                </a:lnTo>
                <a:lnTo>
                  <a:pt x="479" y="170"/>
                </a:lnTo>
                <a:lnTo>
                  <a:pt x="478" y="170"/>
                </a:lnTo>
                <a:lnTo>
                  <a:pt x="478" y="168"/>
                </a:lnTo>
                <a:lnTo>
                  <a:pt x="479" y="167"/>
                </a:lnTo>
                <a:lnTo>
                  <a:pt x="479" y="166"/>
                </a:lnTo>
                <a:lnTo>
                  <a:pt x="478" y="166"/>
                </a:lnTo>
                <a:lnTo>
                  <a:pt x="478" y="165"/>
                </a:lnTo>
                <a:lnTo>
                  <a:pt x="477" y="164"/>
                </a:lnTo>
                <a:lnTo>
                  <a:pt x="477" y="161"/>
                </a:lnTo>
                <a:lnTo>
                  <a:pt x="476" y="161"/>
                </a:lnTo>
                <a:lnTo>
                  <a:pt x="474" y="159"/>
                </a:lnTo>
                <a:lnTo>
                  <a:pt x="474" y="157"/>
                </a:lnTo>
                <a:lnTo>
                  <a:pt x="476" y="155"/>
                </a:lnTo>
                <a:lnTo>
                  <a:pt x="478" y="157"/>
                </a:lnTo>
                <a:lnTo>
                  <a:pt x="479" y="157"/>
                </a:lnTo>
                <a:lnTo>
                  <a:pt x="480" y="155"/>
                </a:lnTo>
                <a:lnTo>
                  <a:pt x="482" y="153"/>
                </a:lnTo>
                <a:lnTo>
                  <a:pt x="482" y="151"/>
                </a:lnTo>
                <a:lnTo>
                  <a:pt x="485" y="147"/>
                </a:lnTo>
                <a:lnTo>
                  <a:pt x="486" y="145"/>
                </a:lnTo>
                <a:lnTo>
                  <a:pt x="487" y="143"/>
                </a:lnTo>
                <a:lnTo>
                  <a:pt x="490" y="143"/>
                </a:lnTo>
                <a:lnTo>
                  <a:pt x="493" y="142"/>
                </a:lnTo>
                <a:lnTo>
                  <a:pt x="496" y="140"/>
                </a:lnTo>
                <a:lnTo>
                  <a:pt x="497" y="137"/>
                </a:lnTo>
                <a:lnTo>
                  <a:pt x="498" y="137"/>
                </a:lnTo>
                <a:lnTo>
                  <a:pt x="498" y="136"/>
                </a:lnTo>
                <a:lnTo>
                  <a:pt x="501" y="136"/>
                </a:lnTo>
                <a:lnTo>
                  <a:pt x="501" y="135"/>
                </a:lnTo>
                <a:lnTo>
                  <a:pt x="502" y="133"/>
                </a:lnTo>
                <a:lnTo>
                  <a:pt x="502" y="131"/>
                </a:lnTo>
                <a:lnTo>
                  <a:pt x="503" y="130"/>
                </a:lnTo>
                <a:lnTo>
                  <a:pt x="505" y="127"/>
                </a:lnTo>
                <a:lnTo>
                  <a:pt x="504" y="127"/>
                </a:lnTo>
                <a:lnTo>
                  <a:pt x="504" y="125"/>
                </a:lnTo>
                <a:lnTo>
                  <a:pt x="502" y="124"/>
                </a:lnTo>
                <a:lnTo>
                  <a:pt x="501" y="123"/>
                </a:lnTo>
                <a:lnTo>
                  <a:pt x="498" y="122"/>
                </a:lnTo>
                <a:lnTo>
                  <a:pt x="495" y="121"/>
                </a:lnTo>
                <a:lnTo>
                  <a:pt x="493" y="122"/>
                </a:lnTo>
                <a:lnTo>
                  <a:pt x="491" y="122"/>
                </a:lnTo>
                <a:lnTo>
                  <a:pt x="490" y="121"/>
                </a:lnTo>
                <a:lnTo>
                  <a:pt x="490" y="116"/>
                </a:lnTo>
                <a:lnTo>
                  <a:pt x="491" y="111"/>
                </a:lnTo>
                <a:lnTo>
                  <a:pt x="492" y="110"/>
                </a:lnTo>
                <a:lnTo>
                  <a:pt x="490" y="110"/>
                </a:lnTo>
                <a:lnTo>
                  <a:pt x="490" y="106"/>
                </a:lnTo>
                <a:lnTo>
                  <a:pt x="489" y="105"/>
                </a:lnTo>
                <a:lnTo>
                  <a:pt x="487" y="105"/>
                </a:lnTo>
                <a:lnTo>
                  <a:pt x="487" y="106"/>
                </a:lnTo>
                <a:lnTo>
                  <a:pt x="482" y="106"/>
                </a:lnTo>
                <a:lnTo>
                  <a:pt x="480" y="104"/>
                </a:lnTo>
                <a:lnTo>
                  <a:pt x="479" y="104"/>
                </a:lnTo>
                <a:lnTo>
                  <a:pt x="479" y="105"/>
                </a:lnTo>
                <a:lnTo>
                  <a:pt x="478" y="106"/>
                </a:lnTo>
                <a:lnTo>
                  <a:pt x="474" y="106"/>
                </a:lnTo>
                <a:lnTo>
                  <a:pt x="473" y="105"/>
                </a:lnTo>
                <a:lnTo>
                  <a:pt x="471" y="105"/>
                </a:lnTo>
                <a:lnTo>
                  <a:pt x="470" y="106"/>
                </a:lnTo>
                <a:lnTo>
                  <a:pt x="467" y="104"/>
                </a:lnTo>
                <a:lnTo>
                  <a:pt x="464" y="104"/>
                </a:lnTo>
                <a:lnTo>
                  <a:pt x="464" y="109"/>
                </a:lnTo>
                <a:lnTo>
                  <a:pt x="462" y="109"/>
                </a:lnTo>
                <a:lnTo>
                  <a:pt x="462" y="110"/>
                </a:lnTo>
                <a:lnTo>
                  <a:pt x="461" y="110"/>
                </a:lnTo>
                <a:lnTo>
                  <a:pt x="458" y="111"/>
                </a:lnTo>
                <a:lnTo>
                  <a:pt x="455" y="111"/>
                </a:lnTo>
                <a:lnTo>
                  <a:pt x="453" y="114"/>
                </a:lnTo>
                <a:lnTo>
                  <a:pt x="453" y="112"/>
                </a:lnTo>
                <a:lnTo>
                  <a:pt x="452" y="111"/>
                </a:lnTo>
                <a:lnTo>
                  <a:pt x="451" y="111"/>
                </a:lnTo>
                <a:lnTo>
                  <a:pt x="451" y="110"/>
                </a:lnTo>
                <a:lnTo>
                  <a:pt x="449" y="110"/>
                </a:lnTo>
                <a:lnTo>
                  <a:pt x="449" y="112"/>
                </a:lnTo>
                <a:lnTo>
                  <a:pt x="446" y="112"/>
                </a:lnTo>
                <a:lnTo>
                  <a:pt x="446" y="110"/>
                </a:lnTo>
                <a:lnTo>
                  <a:pt x="443" y="110"/>
                </a:lnTo>
                <a:lnTo>
                  <a:pt x="442" y="109"/>
                </a:lnTo>
                <a:lnTo>
                  <a:pt x="440" y="109"/>
                </a:lnTo>
                <a:lnTo>
                  <a:pt x="437" y="110"/>
                </a:lnTo>
                <a:lnTo>
                  <a:pt x="435" y="110"/>
                </a:lnTo>
                <a:lnTo>
                  <a:pt x="435" y="111"/>
                </a:lnTo>
                <a:lnTo>
                  <a:pt x="434" y="111"/>
                </a:lnTo>
                <a:lnTo>
                  <a:pt x="434" y="108"/>
                </a:lnTo>
                <a:lnTo>
                  <a:pt x="433" y="108"/>
                </a:lnTo>
                <a:lnTo>
                  <a:pt x="433" y="110"/>
                </a:lnTo>
                <a:lnTo>
                  <a:pt x="429" y="110"/>
                </a:lnTo>
                <a:lnTo>
                  <a:pt x="429" y="111"/>
                </a:lnTo>
                <a:lnTo>
                  <a:pt x="428" y="114"/>
                </a:lnTo>
                <a:lnTo>
                  <a:pt x="422" y="114"/>
                </a:lnTo>
                <a:lnTo>
                  <a:pt x="422" y="111"/>
                </a:lnTo>
                <a:lnTo>
                  <a:pt x="420" y="110"/>
                </a:lnTo>
                <a:lnTo>
                  <a:pt x="420" y="108"/>
                </a:lnTo>
                <a:lnTo>
                  <a:pt x="424" y="103"/>
                </a:lnTo>
                <a:lnTo>
                  <a:pt x="424" y="102"/>
                </a:lnTo>
                <a:lnTo>
                  <a:pt x="426" y="102"/>
                </a:lnTo>
                <a:lnTo>
                  <a:pt x="426" y="99"/>
                </a:lnTo>
                <a:lnTo>
                  <a:pt x="424" y="99"/>
                </a:lnTo>
                <a:lnTo>
                  <a:pt x="423" y="98"/>
                </a:lnTo>
                <a:lnTo>
                  <a:pt x="423" y="99"/>
                </a:lnTo>
                <a:lnTo>
                  <a:pt x="421" y="99"/>
                </a:lnTo>
                <a:lnTo>
                  <a:pt x="421" y="94"/>
                </a:lnTo>
                <a:lnTo>
                  <a:pt x="418" y="94"/>
                </a:lnTo>
                <a:lnTo>
                  <a:pt x="418" y="96"/>
                </a:lnTo>
                <a:lnTo>
                  <a:pt x="416" y="96"/>
                </a:lnTo>
                <a:lnTo>
                  <a:pt x="416" y="97"/>
                </a:lnTo>
                <a:lnTo>
                  <a:pt x="415" y="97"/>
                </a:lnTo>
                <a:lnTo>
                  <a:pt x="409" y="98"/>
                </a:lnTo>
                <a:lnTo>
                  <a:pt x="408" y="98"/>
                </a:lnTo>
                <a:lnTo>
                  <a:pt x="406" y="99"/>
                </a:lnTo>
                <a:lnTo>
                  <a:pt x="404" y="99"/>
                </a:lnTo>
                <a:lnTo>
                  <a:pt x="403" y="100"/>
                </a:lnTo>
                <a:lnTo>
                  <a:pt x="402" y="100"/>
                </a:lnTo>
                <a:lnTo>
                  <a:pt x="402" y="103"/>
                </a:lnTo>
                <a:lnTo>
                  <a:pt x="400" y="103"/>
                </a:lnTo>
                <a:lnTo>
                  <a:pt x="399" y="104"/>
                </a:lnTo>
                <a:lnTo>
                  <a:pt x="398" y="104"/>
                </a:lnTo>
                <a:lnTo>
                  <a:pt x="397" y="105"/>
                </a:lnTo>
                <a:lnTo>
                  <a:pt x="397" y="106"/>
                </a:lnTo>
                <a:lnTo>
                  <a:pt x="396" y="106"/>
                </a:lnTo>
                <a:lnTo>
                  <a:pt x="393" y="109"/>
                </a:lnTo>
                <a:lnTo>
                  <a:pt x="392" y="109"/>
                </a:lnTo>
                <a:lnTo>
                  <a:pt x="392" y="108"/>
                </a:lnTo>
                <a:lnTo>
                  <a:pt x="391" y="97"/>
                </a:lnTo>
                <a:lnTo>
                  <a:pt x="392" y="96"/>
                </a:lnTo>
                <a:lnTo>
                  <a:pt x="395" y="96"/>
                </a:lnTo>
                <a:lnTo>
                  <a:pt x="395" y="94"/>
                </a:lnTo>
                <a:lnTo>
                  <a:pt x="393" y="94"/>
                </a:lnTo>
                <a:lnTo>
                  <a:pt x="393" y="93"/>
                </a:lnTo>
                <a:lnTo>
                  <a:pt x="395" y="93"/>
                </a:lnTo>
                <a:lnTo>
                  <a:pt x="395" y="92"/>
                </a:lnTo>
                <a:lnTo>
                  <a:pt x="396" y="92"/>
                </a:lnTo>
                <a:lnTo>
                  <a:pt x="396" y="91"/>
                </a:lnTo>
                <a:lnTo>
                  <a:pt x="397" y="90"/>
                </a:lnTo>
                <a:lnTo>
                  <a:pt x="402" y="87"/>
                </a:lnTo>
                <a:lnTo>
                  <a:pt x="402" y="86"/>
                </a:lnTo>
                <a:lnTo>
                  <a:pt x="403" y="86"/>
                </a:lnTo>
                <a:lnTo>
                  <a:pt x="403" y="82"/>
                </a:lnTo>
                <a:lnTo>
                  <a:pt x="402" y="84"/>
                </a:lnTo>
                <a:lnTo>
                  <a:pt x="402" y="85"/>
                </a:lnTo>
                <a:lnTo>
                  <a:pt x="400" y="86"/>
                </a:lnTo>
                <a:lnTo>
                  <a:pt x="399" y="86"/>
                </a:lnTo>
                <a:lnTo>
                  <a:pt x="397" y="87"/>
                </a:lnTo>
                <a:lnTo>
                  <a:pt x="396" y="88"/>
                </a:lnTo>
                <a:lnTo>
                  <a:pt x="393" y="88"/>
                </a:lnTo>
                <a:lnTo>
                  <a:pt x="393" y="85"/>
                </a:lnTo>
                <a:lnTo>
                  <a:pt x="395" y="86"/>
                </a:lnTo>
                <a:lnTo>
                  <a:pt x="395" y="82"/>
                </a:lnTo>
                <a:lnTo>
                  <a:pt x="397" y="84"/>
                </a:lnTo>
                <a:lnTo>
                  <a:pt x="397" y="82"/>
                </a:lnTo>
                <a:lnTo>
                  <a:pt x="400" y="79"/>
                </a:lnTo>
                <a:lnTo>
                  <a:pt x="402" y="79"/>
                </a:lnTo>
                <a:lnTo>
                  <a:pt x="402" y="78"/>
                </a:lnTo>
                <a:lnTo>
                  <a:pt x="400" y="78"/>
                </a:lnTo>
                <a:lnTo>
                  <a:pt x="399" y="79"/>
                </a:lnTo>
                <a:lnTo>
                  <a:pt x="398" y="79"/>
                </a:lnTo>
                <a:lnTo>
                  <a:pt x="397" y="80"/>
                </a:lnTo>
                <a:lnTo>
                  <a:pt x="393" y="80"/>
                </a:lnTo>
                <a:lnTo>
                  <a:pt x="393" y="79"/>
                </a:lnTo>
                <a:lnTo>
                  <a:pt x="392" y="79"/>
                </a:lnTo>
                <a:lnTo>
                  <a:pt x="392" y="77"/>
                </a:lnTo>
                <a:lnTo>
                  <a:pt x="395" y="77"/>
                </a:lnTo>
                <a:lnTo>
                  <a:pt x="395" y="69"/>
                </a:lnTo>
                <a:lnTo>
                  <a:pt x="396" y="69"/>
                </a:lnTo>
                <a:lnTo>
                  <a:pt x="397" y="68"/>
                </a:lnTo>
                <a:lnTo>
                  <a:pt x="398" y="66"/>
                </a:lnTo>
                <a:lnTo>
                  <a:pt x="398" y="65"/>
                </a:lnTo>
                <a:lnTo>
                  <a:pt x="398" y="66"/>
                </a:lnTo>
                <a:lnTo>
                  <a:pt x="395" y="66"/>
                </a:lnTo>
                <a:lnTo>
                  <a:pt x="395" y="63"/>
                </a:lnTo>
                <a:lnTo>
                  <a:pt x="393" y="65"/>
                </a:lnTo>
                <a:lnTo>
                  <a:pt x="393" y="68"/>
                </a:lnTo>
                <a:lnTo>
                  <a:pt x="392" y="68"/>
                </a:lnTo>
                <a:lnTo>
                  <a:pt x="392" y="67"/>
                </a:lnTo>
                <a:lnTo>
                  <a:pt x="391" y="67"/>
                </a:lnTo>
                <a:lnTo>
                  <a:pt x="390" y="68"/>
                </a:lnTo>
                <a:lnTo>
                  <a:pt x="391" y="69"/>
                </a:lnTo>
                <a:lnTo>
                  <a:pt x="389" y="69"/>
                </a:lnTo>
                <a:lnTo>
                  <a:pt x="389" y="72"/>
                </a:lnTo>
                <a:lnTo>
                  <a:pt x="387" y="72"/>
                </a:lnTo>
                <a:lnTo>
                  <a:pt x="386" y="73"/>
                </a:lnTo>
                <a:lnTo>
                  <a:pt x="386" y="69"/>
                </a:lnTo>
                <a:lnTo>
                  <a:pt x="384" y="69"/>
                </a:lnTo>
                <a:lnTo>
                  <a:pt x="385" y="67"/>
                </a:lnTo>
                <a:lnTo>
                  <a:pt x="385" y="65"/>
                </a:lnTo>
                <a:lnTo>
                  <a:pt x="386" y="63"/>
                </a:lnTo>
                <a:lnTo>
                  <a:pt x="386" y="61"/>
                </a:lnTo>
                <a:lnTo>
                  <a:pt x="387" y="61"/>
                </a:lnTo>
                <a:lnTo>
                  <a:pt x="391" y="57"/>
                </a:lnTo>
                <a:lnTo>
                  <a:pt x="392" y="57"/>
                </a:lnTo>
                <a:lnTo>
                  <a:pt x="392" y="55"/>
                </a:lnTo>
                <a:lnTo>
                  <a:pt x="391" y="55"/>
                </a:lnTo>
                <a:lnTo>
                  <a:pt x="391" y="56"/>
                </a:lnTo>
                <a:lnTo>
                  <a:pt x="390" y="57"/>
                </a:lnTo>
                <a:lnTo>
                  <a:pt x="385" y="57"/>
                </a:lnTo>
                <a:lnTo>
                  <a:pt x="385" y="59"/>
                </a:lnTo>
                <a:lnTo>
                  <a:pt x="384" y="60"/>
                </a:lnTo>
                <a:lnTo>
                  <a:pt x="383" y="60"/>
                </a:lnTo>
                <a:lnTo>
                  <a:pt x="383" y="59"/>
                </a:lnTo>
                <a:lnTo>
                  <a:pt x="381" y="57"/>
                </a:lnTo>
                <a:lnTo>
                  <a:pt x="381" y="56"/>
                </a:lnTo>
                <a:lnTo>
                  <a:pt x="383" y="56"/>
                </a:lnTo>
                <a:lnTo>
                  <a:pt x="383" y="54"/>
                </a:lnTo>
                <a:lnTo>
                  <a:pt x="381" y="54"/>
                </a:lnTo>
                <a:lnTo>
                  <a:pt x="381" y="50"/>
                </a:lnTo>
                <a:lnTo>
                  <a:pt x="380" y="50"/>
                </a:lnTo>
                <a:lnTo>
                  <a:pt x="379" y="49"/>
                </a:lnTo>
                <a:lnTo>
                  <a:pt x="379" y="50"/>
                </a:lnTo>
                <a:lnTo>
                  <a:pt x="378" y="50"/>
                </a:lnTo>
                <a:lnTo>
                  <a:pt x="378" y="49"/>
                </a:lnTo>
                <a:lnTo>
                  <a:pt x="377" y="50"/>
                </a:lnTo>
                <a:lnTo>
                  <a:pt x="377" y="51"/>
                </a:lnTo>
                <a:lnTo>
                  <a:pt x="375" y="51"/>
                </a:lnTo>
                <a:lnTo>
                  <a:pt x="375" y="47"/>
                </a:lnTo>
                <a:lnTo>
                  <a:pt x="377" y="47"/>
                </a:lnTo>
                <a:lnTo>
                  <a:pt x="377" y="44"/>
                </a:lnTo>
                <a:lnTo>
                  <a:pt x="375" y="44"/>
                </a:lnTo>
                <a:lnTo>
                  <a:pt x="375" y="42"/>
                </a:lnTo>
                <a:lnTo>
                  <a:pt x="377" y="42"/>
                </a:lnTo>
                <a:lnTo>
                  <a:pt x="377" y="41"/>
                </a:lnTo>
                <a:lnTo>
                  <a:pt x="378" y="39"/>
                </a:lnTo>
                <a:lnTo>
                  <a:pt x="380" y="39"/>
                </a:lnTo>
                <a:lnTo>
                  <a:pt x="380" y="38"/>
                </a:lnTo>
                <a:lnTo>
                  <a:pt x="381" y="38"/>
                </a:lnTo>
                <a:lnTo>
                  <a:pt x="381" y="37"/>
                </a:lnTo>
                <a:lnTo>
                  <a:pt x="380" y="37"/>
                </a:lnTo>
                <a:lnTo>
                  <a:pt x="379" y="38"/>
                </a:lnTo>
                <a:lnTo>
                  <a:pt x="378" y="37"/>
                </a:lnTo>
                <a:lnTo>
                  <a:pt x="381" y="34"/>
                </a:lnTo>
                <a:lnTo>
                  <a:pt x="383" y="35"/>
                </a:lnTo>
                <a:lnTo>
                  <a:pt x="385" y="35"/>
                </a:lnTo>
                <a:lnTo>
                  <a:pt x="385" y="34"/>
                </a:lnTo>
                <a:lnTo>
                  <a:pt x="386" y="34"/>
                </a:lnTo>
                <a:lnTo>
                  <a:pt x="386" y="32"/>
                </a:lnTo>
                <a:lnTo>
                  <a:pt x="390" y="32"/>
                </a:lnTo>
                <a:lnTo>
                  <a:pt x="391" y="31"/>
                </a:lnTo>
                <a:lnTo>
                  <a:pt x="390" y="31"/>
                </a:lnTo>
                <a:lnTo>
                  <a:pt x="387" y="29"/>
                </a:lnTo>
                <a:lnTo>
                  <a:pt x="390" y="29"/>
                </a:lnTo>
                <a:lnTo>
                  <a:pt x="392" y="28"/>
                </a:lnTo>
                <a:lnTo>
                  <a:pt x="393" y="26"/>
                </a:lnTo>
                <a:lnTo>
                  <a:pt x="395" y="26"/>
                </a:lnTo>
                <a:lnTo>
                  <a:pt x="396" y="28"/>
                </a:lnTo>
                <a:lnTo>
                  <a:pt x="398" y="28"/>
                </a:lnTo>
                <a:lnTo>
                  <a:pt x="399" y="29"/>
                </a:lnTo>
                <a:lnTo>
                  <a:pt x="402" y="29"/>
                </a:lnTo>
                <a:lnTo>
                  <a:pt x="404" y="26"/>
                </a:lnTo>
                <a:lnTo>
                  <a:pt x="406" y="28"/>
                </a:lnTo>
                <a:lnTo>
                  <a:pt x="408" y="26"/>
                </a:lnTo>
                <a:lnTo>
                  <a:pt x="409" y="26"/>
                </a:lnTo>
                <a:lnTo>
                  <a:pt x="409" y="25"/>
                </a:lnTo>
                <a:lnTo>
                  <a:pt x="410" y="25"/>
                </a:lnTo>
                <a:lnTo>
                  <a:pt x="410" y="24"/>
                </a:lnTo>
                <a:lnTo>
                  <a:pt x="411" y="24"/>
                </a:lnTo>
                <a:lnTo>
                  <a:pt x="414" y="23"/>
                </a:lnTo>
                <a:lnTo>
                  <a:pt x="414" y="25"/>
                </a:lnTo>
                <a:lnTo>
                  <a:pt x="415" y="25"/>
                </a:lnTo>
                <a:lnTo>
                  <a:pt x="415" y="23"/>
                </a:lnTo>
                <a:lnTo>
                  <a:pt x="416" y="22"/>
                </a:lnTo>
                <a:lnTo>
                  <a:pt x="416" y="23"/>
                </a:lnTo>
                <a:lnTo>
                  <a:pt x="418" y="23"/>
                </a:lnTo>
                <a:lnTo>
                  <a:pt x="418" y="25"/>
                </a:lnTo>
                <a:lnTo>
                  <a:pt x="420" y="26"/>
                </a:lnTo>
                <a:lnTo>
                  <a:pt x="421" y="26"/>
                </a:lnTo>
                <a:lnTo>
                  <a:pt x="421" y="22"/>
                </a:lnTo>
                <a:lnTo>
                  <a:pt x="420" y="22"/>
                </a:lnTo>
                <a:lnTo>
                  <a:pt x="418" y="20"/>
                </a:lnTo>
                <a:lnTo>
                  <a:pt x="417" y="20"/>
                </a:lnTo>
                <a:lnTo>
                  <a:pt x="416" y="19"/>
                </a:lnTo>
                <a:lnTo>
                  <a:pt x="417" y="19"/>
                </a:lnTo>
                <a:lnTo>
                  <a:pt x="422" y="18"/>
                </a:lnTo>
                <a:lnTo>
                  <a:pt x="422" y="17"/>
                </a:lnTo>
                <a:lnTo>
                  <a:pt x="421" y="18"/>
                </a:lnTo>
                <a:lnTo>
                  <a:pt x="420" y="18"/>
                </a:lnTo>
                <a:lnTo>
                  <a:pt x="418" y="17"/>
                </a:lnTo>
                <a:lnTo>
                  <a:pt x="418" y="18"/>
                </a:lnTo>
                <a:lnTo>
                  <a:pt x="416" y="18"/>
                </a:lnTo>
                <a:lnTo>
                  <a:pt x="416" y="16"/>
                </a:lnTo>
                <a:lnTo>
                  <a:pt x="417" y="14"/>
                </a:lnTo>
                <a:lnTo>
                  <a:pt x="416" y="14"/>
                </a:lnTo>
                <a:lnTo>
                  <a:pt x="416" y="13"/>
                </a:lnTo>
                <a:lnTo>
                  <a:pt x="418" y="13"/>
                </a:lnTo>
                <a:lnTo>
                  <a:pt x="420" y="12"/>
                </a:lnTo>
                <a:lnTo>
                  <a:pt x="426" y="7"/>
                </a:lnTo>
                <a:lnTo>
                  <a:pt x="426" y="8"/>
                </a:lnTo>
                <a:lnTo>
                  <a:pt x="427" y="8"/>
                </a:lnTo>
                <a:lnTo>
                  <a:pt x="427" y="5"/>
                </a:lnTo>
                <a:lnTo>
                  <a:pt x="429" y="5"/>
                </a:lnTo>
                <a:lnTo>
                  <a:pt x="430" y="4"/>
                </a:lnTo>
                <a:lnTo>
                  <a:pt x="431" y="4"/>
                </a:lnTo>
                <a:lnTo>
                  <a:pt x="434" y="1"/>
                </a:lnTo>
                <a:lnTo>
                  <a:pt x="435" y="2"/>
                </a:lnTo>
                <a:lnTo>
                  <a:pt x="435" y="6"/>
                </a:lnTo>
                <a:lnTo>
                  <a:pt x="434" y="6"/>
                </a:lnTo>
                <a:lnTo>
                  <a:pt x="434" y="7"/>
                </a:lnTo>
                <a:lnTo>
                  <a:pt x="435" y="7"/>
                </a:lnTo>
                <a:lnTo>
                  <a:pt x="436" y="6"/>
                </a:lnTo>
                <a:lnTo>
                  <a:pt x="435" y="5"/>
                </a:lnTo>
                <a:lnTo>
                  <a:pt x="436" y="5"/>
                </a:lnTo>
                <a:lnTo>
                  <a:pt x="437" y="4"/>
                </a:lnTo>
                <a:lnTo>
                  <a:pt x="439" y="4"/>
                </a:lnTo>
                <a:lnTo>
                  <a:pt x="439" y="2"/>
                </a:lnTo>
                <a:lnTo>
                  <a:pt x="441" y="2"/>
                </a:lnTo>
                <a:lnTo>
                  <a:pt x="441" y="1"/>
                </a:lnTo>
                <a:lnTo>
                  <a:pt x="442" y="1"/>
                </a:lnTo>
                <a:lnTo>
                  <a:pt x="442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FD794A4E-3174-4610-9880-4F80088104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02328" y="3987336"/>
            <a:ext cx="612992" cy="605133"/>
          </a:xfrm>
          <a:prstGeom prst="rect">
            <a:avLst/>
          </a:prstGeom>
        </p:spPr>
      </p:pic>
      <p:sp>
        <p:nvSpPr>
          <p:cNvPr id="190" name="Textfeld 189">
            <a:extLst>
              <a:ext uri="{FF2B5EF4-FFF2-40B4-BE49-F238E27FC236}">
                <a16:creationId xmlns:a16="http://schemas.microsoft.com/office/drawing/2014/main" id="{CAC23F87-D4CB-4C9F-B49F-3690B98F0708}"/>
              </a:ext>
            </a:extLst>
          </p:cNvPr>
          <p:cNvSpPr txBox="1"/>
          <p:nvPr/>
        </p:nvSpPr>
        <p:spPr>
          <a:xfrm>
            <a:off x="5324766" y="2284724"/>
            <a:ext cx="6095404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00"/>
              </a:spcBef>
            </a:pPr>
            <a:r>
              <a:rPr lang="de-DE" sz="1200" b="1" dirty="0">
                <a:solidFill>
                  <a:srgbClr val="32C8C8"/>
                </a:solidFill>
              </a:rPr>
              <a:t>Wettbewerbssituation</a:t>
            </a:r>
          </a:p>
          <a:p>
            <a:pPr marL="176213" indent="-87313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Übernahme des einzigen Wettbewerbers </a:t>
            </a:r>
            <a:r>
              <a:rPr lang="de-DE" sz="1100" dirty="0" err="1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Sandd</a:t>
            </a:r>
            <a:r>
              <a:rPr lang="de-DE" sz="1100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 durch </a:t>
            </a:r>
            <a:r>
              <a:rPr lang="de-DE" sz="1100" dirty="0" err="1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PostNL</a:t>
            </a:r>
            <a:endParaRPr lang="de-DE" sz="1100" dirty="0">
              <a:solidFill>
                <a:schemeClr val="bg1">
                  <a:lumMod val="50000"/>
                </a:schemeClr>
              </a:solidFill>
              <a:cs typeface="Times New Roman" panose="02020603050405020304" pitchFamily="18" charset="0"/>
            </a:endParaRPr>
          </a:p>
          <a:p>
            <a:pPr marL="176213" indent="-87313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100" dirty="0">
              <a:solidFill>
                <a:schemeClr val="bg1">
                  <a:lumMod val="50000"/>
                </a:schemeClr>
              </a:solidFill>
              <a:cs typeface="Times New Roman" panose="02020603050405020304" pitchFamily="18" charset="0"/>
            </a:endParaRPr>
          </a:p>
        </p:txBody>
      </p:sp>
      <p:sp>
        <p:nvSpPr>
          <p:cNvPr id="191" name="Textfeld 190">
            <a:extLst>
              <a:ext uri="{FF2B5EF4-FFF2-40B4-BE49-F238E27FC236}">
                <a16:creationId xmlns:a16="http://schemas.microsoft.com/office/drawing/2014/main" id="{F5FA454D-1EAC-4BA7-A2B8-371A79C80188}"/>
              </a:ext>
            </a:extLst>
          </p:cNvPr>
          <p:cNvSpPr txBox="1"/>
          <p:nvPr/>
        </p:nvSpPr>
        <p:spPr>
          <a:xfrm>
            <a:off x="5329679" y="2876571"/>
            <a:ext cx="6255793" cy="10695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00"/>
              </a:spcBef>
            </a:pPr>
            <a:r>
              <a:rPr lang="de-DE" sz="1200" b="1" dirty="0">
                <a:solidFill>
                  <a:srgbClr val="32C8C8"/>
                </a:solidFill>
              </a:rPr>
              <a:t>Preisregulierung</a:t>
            </a:r>
            <a:endParaRPr lang="de-DE" sz="1400" b="1" dirty="0">
              <a:solidFill>
                <a:srgbClr val="32C8C8"/>
              </a:solidFill>
            </a:endParaRPr>
          </a:p>
          <a:p>
            <a:pPr marL="176213" indent="-87313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Deutliche Lockerung der Preisregulierung in den letzten Jahren </a:t>
            </a:r>
          </a:p>
          <a:p>
            <a:pPr marL="176213" indent="-87313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Anstieg Entgelte für Standardbrief um 92% auf 0,96€</a:t>
            </a:r>
          </a:p>
          <a:p>
            <a:pPr marL="176213" indent="-87313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Forderung Seitens </a:t>
            </a:r>
            <a:r>
              <a:rPr lang="de-DE" sz="1100" dirty="0" err="1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PostNL</a:t>
            </a:r>
            <a:r>
              <a:rPr lang="de-DE" sz="1100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 zukünftige Stückkostensteigerungen durch staatliche Subventionen auszugleichen </a:t>
            </a:r>
            <a:endParaRPr lang="de-DE" sz="1400" dirty="0">
              <a:solidFill>
                <a:schemeClr val="bg1">
                  <a:lumMod val="50000"/>
                </a:schemeClr>
              </a:solidFill>
              <a:cs typeface="Times New Roman" panose="02020603050405020304" pitchFamily="18" charset="0"/>
            </a:endParaRPr>
          </a:p>
        </p:txBody>
      </p:sp>
      <p:sp>
        <p:nvSpPr>
          <p:cNvPr id="192" name="Textfeld 191">
            <a:extLst>
              <a:ext uri="{FF2B5EF4-FFF2-40B4-BE49-F238E27FC236}">
                <a16:creationId xmlns:a16="http://schemas.microsoft.com/office/drawing/2014/main" id="{B8C7B20A-E963-45A7-BBBC-6B2B20553D59}"/>
              </a:ext>
            </a:extLst>
          </p:cNvPr>
          <p:cNvSpPr txBox="1"/>
          <p:nvPr/>
        </p:nvSpPr>
        <p:spPr>
          <a:xfrm>
            <a:off x="5324764" y="4066801"/>
            <a:ext cx="609540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00"/>
              </a:spcBef>
            </a:pPr>
            <a:r>
              <a:rPr lang="de-DE" sz="1200" b="1" dirty="0">
                <a:solidFill>
                  <a:srgbClr val="32C8C8"/>
                </a:solidFill>
              </a:rPr>
              <a:t>Laufzeitvorgaben beim Universaldienst</a:t>
            </a:r>
          </a:p>
          <a:p>
            <a:pPr marL="176213" indent="-87313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Laufzeitvorgabe von 95% E+1 bei 5 Zustelltagen pro Woche</a:t>
            </a:r>
          </a:p>
          <a:p>
            <a:pPr marL="176213" indent="-87313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bg1">
                  <a:lumMod val="50000"/>
                </a:schemeClr>
              </a:solidFill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99797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746319-778D-4FBC-9CA5-614FACA00834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4175206" y="6325766"/>
            <a:ext cx="4900087" cy="293322"/>
          </a:xfrm>
        </p:spPr>
        <p:txBody>
          <a:bodyPr/>
          <a:lstStyle/>
          <a:p>
            <a:r>
              <a:rPr lang="en-US" dirty="0" err="1"/>
              <a:t>Europäischer</a:t>
            </a:r>
            <a:r>
              <a:rPr lang="en-US" dirty="0"/>
              <a:t> </a:t>
            </a:r>
            <a:r>
              <a:rPr lang="en-US" dirty="0" err="1"/>
              <a:t>Vergleich</a:t>
            </a:r>
            <a:r>
              <a:rPr lang="en-US" dirty="0"/>
              <a:t> der </a:t>
            </a:r>
            <a:r>
              <a:rPr lang="en-US" dirty="0" err="1"/>
              <a:t>Regulierungsintensität</a:t>
            </a:r>
            <a:r>
              <a:rPr lang="en-US" dirty="0"/>
              <a:t> </a:t>
            </a:r>
            <a:r>
              <a:rPr lang="en-US" dirty="0" err="1"/>
              <a:t>im</a:t>
            </a:r>
            <a:r>
              <a:rPr lang="en-US" dirty="0"/>
              <a:t> </a:t>
            </a:r>
            <a:r>
              <a:rPr lang="en-US" dirty="0" err="1"/>
              <a:t>Postsektor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A51AE9-2B16-4F40-B911-5FF43E4529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F70EEBF-E97C-49FF-B05B-3B4D348638DC}" type="slidenum">
              <a:rPr lang="en-US" smtClean="0"/>
              <a:pPr/>
              <a:t>8</a:t>
            </a:fld>
            <a:endParaRPr lang="en-US" dirty="0"/>
          </a:p>
        </p:txBody>
      </p:sp>
      <p:cxnSp>
        <p:nvCxnSpPr>
          <p:cNvPr id="91" name="Straight Connector 145">
            <a:extLst>
              <a:ext uri="{FF2B5EF4-FFF2-40B4-BE49-F238E27FC236}">
                <a16:creationId xmlns:a16="http://schemas.microsoft.com/office/drawing/2014/main" id="{61AA8C87-2648-409D-A1B6-181424C9C201}"/>
              </a:ext>
            </a:extLst>
          </p:cNvPr>
          <p:cNvCxnSpPr>
            <a:cxnSpLocks/>
          </p:cNvCxnSpPr>
          <p:nvPr/>
        </p:nvCxnSpPr>
        <p:spPr>
          <a:xfrm flipH="1">
            <a:off x="5125378" y="1774414"/>
            <a:ext cx="15263" cy="4410076"/>
          </a:xfrm>
          <a:prstGeom prst="line">
            <a:avLst/>
          </a:prstGeom>
          <a:ln w="889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7" name="Group 1">
            <a:extLst>
              <a:ext uri="{FF2B5EF4-FFF2-40B4-BE49-F238E27FC236}">
                <a16:creationId xmlns:a16="http://schemas.microsoft.com/office/drawing/2014/main" id="{DF724E20-F84B-40AA-890B-11CDA80E2947}"/>
              </a:ext>
            </a:extLst>
          </p:cNvPr>
          <p:cNvGrpSpPr/>
          <p:nvPr/>
        </p:nvGrpSpPr>
        <p:grpSpPr>
          <a:xfrm>
            <a:off x="796928" y="690314"/>
            <a:ext cx="5475080" cy="553998"/>
            <a:chOff x="796928" y="836802"/>
            <a:chExt cx="5475080" cy="553998"/>
          </a:xfrm>
        </p:grpSpPr>
        <p:sp>
          <p:nvSpPr>
            <p:cNvPr id="92" name="TextBox 142">
              <a:extLst>
                <a:ext uri="{FF2B5EF4-FFF2-40B4-BE49-F238E27FC236}">
                  <a16:creationId xmlns:a16="http://schemas.microsoft.com/office/drawing/2014/main" id="{6C7E8A18-012B-46B1-9680-98BB430D987C}"/>
                </a:ext>
              </a:extLst>
            </p:cNvPr>
            <p:cNvSpPr txBox="1"/>
            <p:nvPr/>
          </p:nvSpPr>
          <p:spPr>
            <a:xfrm>
              <a:off x="1069295" y="836802"/>
              <a:ext cx="5202713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000" dirty="0" err="1">
                  <a:solidFill>
                    <a:schemeClr val="accent1"/>
                  </a:solidFill>
                  <a:latin typeface="+mj-lt"/>
                </a:rPr>
                <a:t>Großbritannien</a:t>
              </a:r>
              <a:endParaRPr lang="en-US" sz="3000" spc="-200" dirty="0">
                <a:solidFill>
                  <a:schemeClr val="accent1"/>
                </a:solidFill>
                <a:latin typeface="+mj-lt"/>
              </a:endParaRPr>
            </a:p>
          </p:txBody>
        </p:sp>
        <p:cxnSp>
          <p:nvCxnSpPr>
            <p:cNvPr id="93" name="Straight Connector 145">
              <a:extLst>
                <a:ext uri="{FF2B5EF4-FFF2-40B4-BE49-F238E27FC236}">
                  <a16:creationId xmlns:a16="http://schemas.microsoft.com/office/drawing/2014/main" id="{D4D4BFBA-6AF9-43D9-B65E-7983B5A4EC19}"/>
                </a:ext>
              </a:extLst>
            </p:cNvPr>
            <p:cNvCxnSpPr>
              <a:cxnSpLocks/>
            </p:cNvCxnSpPr>
            <p:nvPr/>
          </p:nvCxnSpPr>
          <p:spPr>
            <a:xfrm>
              <a:off x="796928" y="858120"/>
              <a:ext cx="0" cy="531091"/>
            </a:xfrm>
            <a:prstGeom prst="line">
              <a:avLst/>
            </a:prstGeom>
            <a:ln w="889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9" name="Textfeld 148">
            <a:extLst>
              <a:ext uri="{FF2B5EF4-FFF2-40B4-BE49-F238E27FC236}">
                <a16:creationId xmlns:a16="http://schemas.microsoft.com/office/drawing/2014/main" id="{4F2E1C45-CDF7-4B4F-AE0C-3C99E9708FC0}"/>
              </a:ext>
            </a:extLst>
          </p:cNvPr>
          <p:cNvSpPr txBox="1"/>
          <p:nvPr/>
        </p:nvSpPr>
        <p:spPr>
          <a:xfrm>
            <a:off x="765137" y="6598338"/>
            <a:ext cx="6264998" cy="14561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lvl1pPr>
              <a:buFont typeface="Arial"/>
              <a:buChar char="•"/>
            </a:lvl1pPr>
            <a:lvl2pPr>
              <a:buFont typeface="Arial"/>
              <a:buChar char="•"/>
            </a:lvl2pPr>
            <a:lvl3pPr>
              <a:buFont typeface="Arial"/>
              <a:buChar char="•"/>
            </a:lvl3pPr>
            <a:lvl4pPr>
              <a:buFont typeface="Arial"/>
              <a:buChar char="•"/>
            </a:lvl4pPr>
            <a:lvl5pPr>
              <a:buFont typeface="Arial"/>
              <a:buChar char="•"/>
            </a:lvl5pPr>
            <a:lvl6pPr>
              <a:buFont typeface="Arial"/>
              <a:buChar char="•"/>
            </a:lvl6pPr>
            <a:lvl7pPr>
              <a:buFont typeface="Arial"/>
              <a:buChar char="•"/>
            </a:lvl7pPr>
            <a:lvl8pPr>
              <a:buFont typeface="Arial"/>
              <a:buChar char="•"/>
            </a:lvl8pPr>
            <a:lvl9pPr>
              <a:buFont typeface="Arial"/>
              <a:buChar char="•"/>
            </a:lvl9pPr>
          </a:lstStyle>
          <a:p>
            <a:pPr algn="l">
              <a:lnSpc>
                <a:spcPct val="110000"/>
              </a:lnSpc>
              <a:spcAft>
                <a:spcPts val="500"/>
              </a:spcAft>
              <a:buNone/>
            </a:pPr>
            <a:r>
              <a:rPr lang="de-DE" sz="900" dirty="0">
                <a:solidFill>
                  <a:srgbClr val="878787"/>
                </a:solidFill>
              </a:rPr>
              <a:t>Quellen: IPC </a:t>
            </a:r>
            <a:r>
              <a:rPr lang="de-DE" sz="900" dirty="0" err="1">
                <a:solidFill>
                  <a:srgbClr val="878787"/>
                </a:solidFill>
              </a:rPr>
              <a:t>Regulatory</a:t>
            </a:r>
            <a:r>
              <a:rPr lang="de-DE" sz="900" dirty="0">
                <a:solidFill>
                  <a:srgbClr val="878787"/>
                </a:solidFill>
              </a:rPr>
              <a:t> Database 2022, Geschäftsberichte, EU-Kommission, Regulierungsbehörden</a:t>
            </a:r>
          </a:p>
        </p:txBody>
      </p:sp>
      <p:sp>
        <p:nvSpPr>
          <p:cNvPr id="150" name="Textfeld 149">
            <a:extLst>
              <a:ext uri="{FF2B5EF4-FFF2-40B4-BE49-F238E27FC236}">
                <a16:creationId xmlns:a16="http://schemas.microsoft.com/office/drawing/2014/main" id="{C17EFF9D-BA7B-40E4-87D9-3F36A2F2CAD2}"/>
              </a:ext>
            </a:extLst>
          </p:cNvPr>
          <p:cNvSpPr txBox="1"/>
          <p:nvPr/>
        </p:nvSpPr>
        <p:spPr>
          <a:xfrm>
            <a:off x="5329680" y="1690252"/>
            <a:ext cx="6095404" cy="4847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00"/>
              </a:spcBef>
            </a:pPr>
            <a:r>
              <a:rPr lang="de-DE" sz="1200" b="1" dirty="0">
                <a:solidFill>
                  <a:srgbClr val="32C8C8"/>
                </a:solidFill>
              </a:rPr>
              <a:t>Briefmengenentwicklung (2012 zu 2021)</a:t>
            </a:r>
          </a:p>
          <a:p>
            <a:pPr marL="176213" indent="-87313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Deutlicher Sendungsmengenrückgang von rund 60%</a:t>
            </a:r>
          </a:p>
        </p:txBody>
      </p:sp>
      <p:sp>
        <p:nvSpPr>
          <p:cNvPr id="190" name="Textfeld 189">
            <a:extLst>
              <a:ext uri="{FF2B5EF4-FFF2-40B4-BE49-F238E27FC236}">
                <a16:creationId xmlns:a16="http://schemas.microsoft.com/office/drawing/2014/main" id="{CAC23F87-D4CB-4C9F-B49F-3690B98F0708}"/>
              </a:ext>
            </a:extLst>
          </p:cNvPr>
          <p:cNvSpPr txBox="1"/>
          <p:nvPr/>
        </p:nvSpPr>
        <p:spPr>
          <a:xfrm>
            <a:off x="5324766" y="2284724"/>
            <a:ext cx="6095404" cy="10695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00"/>
              </a:spcBef>
            </a:pPr>
            <a:r>
              <a:rPr lang="de-DE" sz="1200" b="1" dirty="0">
                <a:solidFill>
                  <a:srgbClr val="32C8C8"/>
                </a:solidFill>
              </a:rPr>
              <a:t>Wettbewerbssituation</a:t>
            </a:r>
          </a:p>
          <a:p>
            <a:pPr marL="176213" indent="-87313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Kein nennenswerter Wettbewerb</a:t>
            </a:r>
          </a:p>
          <a:p>
            <a:pPr marL="176213" indent="-87313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Intensiver Netzzugangswettbewerb ist aufgrund rückläufiger Mengen zum Erliegen gekommen </a:t>
            </a:r>
          </a:p>
          <a:p>
            <a:pPr marL="176213" indent="-87313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100" dirty="0">
              <a:solidFill>
                <a:schemeClr val="bg1">
                  <a:lumMod val="50000"/>
                </a:schemeClr>
              </a:solidFill>
              <a:cs typeface="Times New Roman" panose="02020603050405020304" pitchFamily="18" charset="0"/>
            </a:endParaRPr>
          </a:p>
        </p:txBody>
      </p:sp>
      <p:sp>
        <p:nvSpPr>
          <p:cNvPr id="191" name="Textfeld 190">
            <a:extLst>
              <a:ext uri="{FF2B5EF4-FFF2-40B4-BE49-F238E27FC236}">
                <a16:creationId xmlns:a16="http://schemas.microsoft.com/office/drawing/2014/main" id="{F5FA454D-1EAC-4BA7-A2B8-371A79C80188}"/>
              </a:ext>
            </a:extLst>
          </p:cNvPr>
          <p:cNvSpPr txBox="1"/>
          <p:nvPr/>
        </p:nvSpPr>
        <p:spPr>
          <a:xfrm>
            <a:off x="5329679" y="3238711"/>
            <a:ext cx="625579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00"/>
              </a:spcBef>
            </a:pPr>
            <a:r>
              <a:rPr lang="de-DE" sz="1200" b="1" dirty="0">
                <a:solidFill>
                  <a:srgbClr val="32C8C8"/>
                </a:solidFill>
              </a:rPr>
              <a:t>Preisregulierung</a:t>
            </a:r>
            <a:endParaRPr lang="de-DE" sz="1400" b="1" dirty="0">
              <a:solidFill>
                <a:srgbClr val="32C8C8"/>
              </a:solidFill>
            </a:endParaRPr>
          </a:p>
          <a:p>
            <a:pPr marL="176213" indent="-87313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Anstieg Entgelte für Standardbrief um 61% auf 1,11€</a:t>
            </a:r>
          </a:p>
          <a:p>
            <a:pPr marL="176213" indent="-87313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Royal Mail ist mit 8 Mrd.€ Beihilfen seit 2012 der größte Empfänger staatlicher Ausgleichszahlungen in Europa </a:t>
            </a:r>
            <a:endParaRPr lang="de-DE" sz="1400" dirty="0">
              <a:solidFill>
                <a:schemeClr val="bg1">
                  <a:lumMod val="50000"/>
                </a:schemeClr>
              </a:solidFill>
              <a:cs typeface="Times New Roman" panose="02020603050405020304" pitchFamily="18" charset="0"/>
            </a:endParaRPr>
          </a:p>
        </p:txBody>
      </p:sp>
      <p:sp>
        <p:nvSpPr>
          <p:cNvPr id="192" name="Textfeld 191">
            <a:extLst>
              <a:ext uri="{FF2B5EF4-FFF2-40B4-BE49-F238E27FC236}">
                <a16:creationId xmlns:a16="http://schemas.microsoft.com/office/drawing/2014/main" id="{B8C7B20A-E963-45A7-BBBC-6B2B20553D59}"/>
              </a:ext>
            </a:extLst>
          </p:cNvPr>
          <p:cNvSpPr txBox="1"/>
          <p:nvPr/>
        </p:nvSpPr>
        <p:spPr>
          <a:xfrm>
            <a:off x="5324764" y="4211658"/>
            <a:ext cx="609540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00"/>
              </a:spcBef>
            </a:pPr>
            <a:r>
              <a:rPr lang="de-DE" sz="1200" b="1" dirty="0">
                <a:solidFill>
                  <a:srgbClr val="32C8C8"/>
                </a:solidFill>
              </a:rPr>
              <a:t>Laufzeitvorgaben beim Universaldienst</a:t>
            </a:r>
          </a:p>
          <a:p>
            <a:pPr marL="176213" indent="-87313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Laufzeitvorgabe von 95% E+1 bei 1st </a:t>
            </a:r>
            <a:r>
              <a:rPr lang="de-DE" sz="1100" dirty="0" err="1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class</a:t>
            </a:r>
            <a:r>
              <a:rPr lang="de-DE" sz="1100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 mail und 98% E+3 bei 2nd </a:t>
            </a:r>
            <a:r>
              <a:rPr lang="de-DE" sz="1100" dirty="0" err="1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class</a:t>
            </a:r>
            <a:r>
              <a:rPr lang="de-DE" sz="1100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 mail</a:t>
            </a:r>
          </a:p>
          <a:p>
            <a:pPr marL="176213" indent="-87313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bg1">
                  <a:lumMod val="50000"/>
                </a:schemeClr>
              </a:solidFill>
              <a:cs typeface="Times New Roman" panose="02020603050405020304" pitchFamily="18" charset="0"/>
            </a:endParaRPr>
          </a:p>
        </p:txBody>
      </p:sp>
      <p:sp>
        <p:nvSpPr>
          <p:cNvPr id="65" name="Freeform 6">
            <a:extLst>
              <a:ext uri="{FF2B5EF4-FFF2-40B4-BE49-F238E27FC236}">
                <a16:creationId xmlns:a16="http://schemas.microsoft.com/office/drawing/2014/main" id="{B016DBEB-1044-482D-9F71-49815A6BC5D1}"/>
              </a:ext>
            </a:extLst>
          </p:cNvPr>
          <p:cNvSpPr>
            <a:spLocks noEditPoints="1"/>
          </p:cNvSpPr>
          <p:nvPr/>
        </p:nvSpPr>
        <p:spPr bwMode="auto">
          <a:xfrm>
            <a:off x="2585006" y="4485772"/>
            <a:ext cx="1101194" cy="736062"/>
          </a:xfrm>
          <a:custGeom>
            <a:avLst/>
            <a:gdLst/>
            <a:ahLst/>
            <a:cxnLst>
              <a:cxn ang="0">
                <a:pos x="472" y="405"/>
              </a:cxn>
              <a:cxn ang="0">
                <a:pos x="555" y="395"/>
              </a:cxn>
              <a:cxn ang="0">
                <a:pos x="405" y="334"/>
              </a:cxn>
              <a:cxn ang="0">
                <a:pos x="492" y="1"/>
              </a:cxn>
              <a:cxn ang="0">
                <a:pos x="518" y="43"/>
              </a:cxn>
              <a:cxn ang="0">
                <a:pos x="535" y="81"/>
              </a:cxn>
              <a:cxn ang="0">
                <a:pos x="558" y="102"/>
              </a:cxn>
              <a:cxn ang="0">
                <a:pos x="591" y="132"/>
              </a:cxn>
              <a:cxn ang="0">
                <a:pos x="652" y="147"/>
              </a:cxn>
              <a:cxn ang="0">
                <a:pos x="701" y="167"/>
              </a:cxn>
              <a:cxn ang="0">
                <a:pos x="746" y="190"/>
              </a:cxn>
              <a:cxn ang="0">
                <a:pos x="740" y="227"/>
              </a:cxn>
              <a:cxn ang="0">
                <a:pos x="738" y="250"/>
              </a:cxn>
              <a:cxn ang="0">
                <a:pos x="745" y="295"/>
              </a:cxn>
              <a:cxn ang="0">
                <a:pos x="680" y="326"/>
              </a:cxn>
              <a:cxn ang="0">
                <a:pos x="640" y="358"/>
              </a:cxn>
              <a:cxn ang="0">
                <a:pos x="597" y="372"/>
              </a:cxn>
              <a:cxn ang="0">
                <a:pos x="555" y="391"/>
              </a:cxn>
              <a:cxn ang="0">
                <a:pos x="544" y="431"/>
              </a:cxn>
              <a:cxn ang="0">
                <a:pos x="598" y="444"/>
              </a:cxn>
              <a:cxn ang="0">
                <a:pos x="595" y="471"/>
              </a:cxn>
              <a:cxn ang="0">
                <a:pos x="546" y="483"/>
              </a:cxn>
              <a:cxn ang="0">
                <a:pos x="494" y="507"/>
              </a:cxn>
              <a:cxn ang="0">
                <a:pos x="483" y="470"/>
              </a:cxn>
              <a:cxn ang="0">
                <a:pos x="443" y="440"/>
              </a:cxn>
              <a:cxn ang="0">
                <a:pos x="487" y="420"/>
              </a:cxn>
              <a:cxn ang="0">
                <a:pos x="467" y="402"/>
              </a:cxn>
              <a:cxn ang="0">
                <a:pos x="428" y="400"/>
              </a:cxn>
              <a:cxn ang="0">
                <a:pos x="401" y="383"/>
              </a:cxn>
              <a:cxn ang="0">
                <a:pos x="422" y="377"/>
              </a:cxn>
              <a:cxn ang="0">
                <a:pos x="412" y="360"/>
              </a:cxn>
              <a:cxn ang="0">
                <a:pos x="392" y="363"/>
              </a:cxn>
              <a:cxn ang="0">
                <a:pos x="365" y="384"/>
              </a:cxn>
              <a:cxn ang="0">
                <a:pos x="330" y="425"/>
              </a:cxn>
              <a:cxn ang="0">
                <a:pos x="314" y="438"/>
              </a:cxn>
              <a:cxn ang="0">
                <a:pos x="318" y="457"/>
              </a:cxn>
              <a:cxn ang="0">
                <a:pos x="281" y="457"/>
              </a:cxn>
              <a:cxn ang="0">
                <a:pos x="268" y="433"/>
              </a:cxn>
              <a:cxn ang="0">
                <a:pos x="291" y="400"/>
              </a:cxn>
              <a:cxn ang="0">
                <a:pos x="317" y="385"/>
              </a:cxn>
              <a:cxn ang="0">
                <a:pos x="330" y="367"/>
              </a:cxn>
              <a:cxn ang="0">
                <a:pos x="314" y="334"/>
              </a:cxn>
              <a:cxn ang="0">
                <a:pos x="298" y="305"/>
              </a:cxn>
              <a:cxn ang="0">
                <a:pos x="279" y="279"/>
              </a:cxn>
              <a:cxn ang="0">
                <a:pos x="251" y="273"/>
              </a:cxn>
              <a:cxn ang="0">
                <a:pos x="205" y="265"/>
              </a:cxn>
              <a:cxn ang="0">
                <a:pos x="171" y="285"/>
              </a:cxn>
              <a:cxn ang="0">
                <a:pos x="88" y="295"/>
              </a:cxn>
              <a:cxn ang="0">
                <a:pos x="36" y="289"/>
              </a:cxn>
              <a:cxn ang="0">
                <a:pos x="9" y="272"/>
              </a:cxn>
              <a:cxn ang="0">
                <a:pos x="18" y="218"/>
              </a:cxn>
              <a:cxn ang="0">
                <a:pos x="32" y="174"/>
              </a:cxn>
              <a:cxn ang="0">
                <a:pos x="80" y="108"/>
              </a:cxn>
              <a:cxn ang="0">
                <a:pos x="63" y="70"/>
              </a:cxn>
              <a:cxn ang="0">
                <a:pos x="121" y="31"/>
              </a:cxn>
              <a:cxn ang="0">
                <a:pos x="223" y="53"/>
              </a:cxn>
              <a:cxn ang="0">
                <a:pos x="257" y="51"/>
              </a:cxn>
              <a:cxn ang="0">
                <a:pos x="291" y="51"/>
              </a:cxn>
              <a:cxn ang="0">
                <a:pos x="319" y="61"/>
              </a:cxn>
              <a:cxn ang="0">
                <a:pos x="359" y="70"/>
              </a:cxn>
              <a:cxn ang="0">
                <a:pos x="357" y="41"/>
              </a:cxn>
              <a:cxn ang="0">
                <a:pos x="387" y="19"/>
              </a:cxn>
              <a:cxn ang="0">
                <a:pos x="447" y="8"/>
              </a:cxn>
            </a:cxnLst>
            <a:rect l="0" t="0" r="r" b="b"/>
            <a:pathLst>
              <a:path w="760" h="508">
                <a:moveTo>
                  <a:pt x="337" y="422"/>
                </a:moveTo>
                <a:lnTo>
                  <a:pt x="328" y="432"/>
                </a:lnTo>
                <a:lnTo>
                  <a:pt x="324" y="434"/>
                </a:lnTo>
                <a:lnTo>
                  <a:pt x="320" y="436"/>
                </a:lnTo>
                <a:lnTo>
                  <a:pt x="323" y="434"/>
                </a:lnTo>
                <a:lnTo>
                  <a:pt x="324" y="433"/>
                </a:lnTo>
                <a:lnTo>
                  <a:pt x="325" y="433"/>
                </a:lnTo>
                <a:lnTo>
                  <a:pt x="325" y="432"/>
                </a:lnTo>
                <a:lnTo>
                  <a:pt x="326" y="432"/>
                </a:lnTo>
                <a:lnTo>
                  <a:pt x="335" y="424"/>
                </a:lnTo>
                <a:lnTo>
                  <a:pt x="337" y="422"/>
                </a:lnTo>
                <a:close/>
                <a:moveTo>
                  <a:pt x="442" y="407"/>
                </a:moveTo>
                <a:lnTo>
                  <a:pt x="443" y="407"/>
                </a:lnTo>
                <a:lnTo>
                  <a:pt x="443" y="408"/>
                </a:lnTo>
                <a:lnTo>
                  <a:pt x="453" y="408"/>
                </a:lnTo>
                <a:lnTo>
                  <a:pt x="455" y="409"/>
                </a:lnTo>
                <a:lnTo>
                  <a:pt x="456" y="408"/>
                </a:lnTo>
                <a:lnTo>
                  <a:pt x="457" y="408"/>
                </a:lnTo>
                <a:lnTo>
                  <a:pt x="457" y="409"/>
                </a:lnTo>
                <a:lnTo>
                  <a:pt x="461" y="409"/>
                </a:lnTo>
                <a:lnTo>
                  <a:pt x="460" y="410"/>
                </a:lnTo>
                <a:lnTo>
                  <a:pt x="442" y="408"/>
                </a:lnTo>
                <a:lnTo>
                  <a:pt x="442" y="407"/>
                </a:lnTo>
                <a:close/>
                <a:moveTo>
                  <a:pt x="472" y="405"/>
                </a:moveTo>
                <a:lnTo>
                  <a:pt x="472" y="406"/>
                </a:lnTo>
                <a:lnTo>
                  <a:pt x="471" y="406"/>
                </a:lnTo>
                <a:lnTo>
                  <a:pt x="472" y="405"/>
                </a:lnTo>
                <a:close/>
                <a:moveTo>
                  <a:pt x="553" y="396"/>
                </a:moveTo>
                <a:lnTo>
                  <a:pt x="554" y="396"/>
                </a:lnTo>
                <a:lnTo>
                  <a:pt x="552" y="401"/>
                </a:lnTo>
                <a:lnTo>
                  <a:pt x="548" y="405"/>
                </a:lnTo>
                <a:lnTo>
                  <a:pt x="547" y="405"/>
                </a:lnTo>
                <a:lnTo>
                  <a:pt x="546" y="406"/>
                </a:lnTo>
                <a:lnTo>
                  <a:pt x="544" y="406"/>
                </a:lnTo>
                <a:lnTo>
                  <a:pt x="542" y="407"/>
                </a:lnTo>
                <a:lnTo>
                  <a:pt x="542" y="406"/>
                </a:lnTo>
                <a:lnTo>
                  <a:pt x="544" y="403"/>
                </a:lnTo>
                <a:lnTo>
                  <a:pt x="544" y="402"/>
                </a:lnTo>
                <a:lnTo>
                  <a:pt x="549" y="401"/>
                </a:lnTo>
                <a:lnTo>
                  <a:pt x="552" y="400"/>
                </a:lnTo>
                <a:lnTo>
                  <a:pt x="552" y="397"/>
                </a:lnTo>
                <a:lnTo>
                  <a:pt x="553" y="396"/>
                </a:lnTo>
                <a:close/>
                <a:moveTo>
                  <a:pt x="398" y="395"/>
                </a:moveTo>
                <a:lnTo>
                  <a:pt x="400" y="395"/>
                </a:lnTo>
                <a:lnTo>
                  <a:pt x="413" y="399"/>
                </a:lnTo>
                <a:lnTo>
                  <a:pt x="419" y="400"/>
                </a:lnTo>
                <a:lnTo>
                  <a:pt x="423" y="402"/>
                </a:lnTo>
                <a:lnTo>
                  <a:pt x="422" y="402"/>
                </a:lnTo>
                <a:lnTo>
                  <a:pt x="421" y="401"/>
                </a:lnTo>
                <a:lnTo>
                  <a:pt x="405" y="397"/>
                </a:lnTo>
                <a:lnTo>
                  <a:pt x="398" y="395"/>
                </a:lnTo>
                <a:close/>
                <a:moveTo>
                  <a:pt x="556" y="391"/>
                </a:moveTo>
                <a:lnTo>
                  <a:pt x="558" y="391"/>
                </a:lnTo>
                <a:lnTo>
                  <a:pt x="555" y="395"/>
                </a:lnTo>
                <a:lnTo>
                  <a:pt x="554" y="396"/>
                </a:lnTo>
                <a:lnTo>
                  <a:pt x="556" y="391"/>
                </a:lnTo>
                <a:close/>
                <a:moveTo>
                  <a:pt x="396" y="389"/>
                </a:moveTo>
                <a:lnTo>
                  <a:pt x="397" y="391"/>
                </a:lnTo>
                <a:lnTo>
                  <a:pt x="397" y="394"/>
                </a:lnTo>
                <a:lnTo>
                  <a:pt x="398" y="395"/>
                </a:lnTo>
                <a:lnTo>
                  <a:pt x="396" y="393"/>
                </a:lnTo>
                <a:lnTo>
                  <a:pt x="396" y="389"/>
                </a:lnTo>
                <a:close/>
                <a:moveTo>
                  <a:pt x="616" y="371"/>
                </a:moveTo>
                <a:lnTo>
                  <a:pt x="617" y="372"/>
                </a:lnTo>
                <a:lnTo>
                  <a:pt x="616" y="372"/>
                </a:lnTo>
                <a:lnTo>
                  <a:pt x="616" y="371"/>
                </a:lnTo>
                <a:close/>
                <a:moveTo>
                  <a:pt x="409" y="341"/>
                </a:moveTo>
                <a:lnTo>
                  <a:pt x="409" y="342"/>
                </a:lnTo>
                <a:lnTo>
                  <a:pt x="411" y="345"/>
                </a:lnTo>
                <a:lnTo>
                  <a:pt x="410" y="346"/>
                </a:lnTo>
                <a:lnTo>
                  <a:pt x="410" y="347"/>
                </a:lnTo>
                <a:lnTo>
                  <a:pt x="409" y="350"/>
                </a:lnTo>
                <a:lnTo>
                  <a:pt x="411" y="350"/>
                </a:lnTo>
                <a:lnTo>
                  <a:pt x="410" y="348"/>
                </a:lnTo>
                <a:lnTo>
                  <a:pt x="411" y="346"/>
                </a:lnTo>
                <a:lnTo>
                  <a:pt x="412" y="345"/>
                </a:lnTo>
                <a:lnTo>
                  <a:pt x="411" y="342"/>
                </a:lnTo>
                <a:lnTo>
                  <a:pt x="410" y="342"/>
                </a:lnTo>
                <a:lnTo>
                  <a:pt x="410" y="341"/>
                </a:lnTo>
                <a:lnTo>
                  <a:pt x="409" y="341"/>
                </a:lnTo>
                <a:close/>
                <a:moveTo>
                  <a:pt x="405" y="334"/>
                </a:moveTo>
                <a:lnTo>
                  <a:pt x="404" y="335"/>
                </a:lnTo>
                <a:lnTo>
                  <a:pt x="405" y="336"/>
                </a:lnTo>
                <a:lnTo>
                  <a:pt x="405" y="338"/>
                </a:lnTo>
                <a:lnTo>
                  <a:pt x="407" y="338"/>
                </a:lnTo>
                <a:lnTo>
                  <a:pt x="409" y="339"/>
                </a:lnTo>
                <a:lnTo>
                  <a:pt x="409" y="338"/>
                </a:lnTo>
                <a:lnTo>
                  <a:pt x="406" y="336"/>
                </a:lnTo>
                <a:lnTo>
                  <a:pt x="405" y="336"/>
                </a:lnTo>
                <a:lnTo>
                  <a:pt x="406" y="335"/>
                </a:lnTo>
                <a:lnTo>
                  <a:pt x="405" y="334"/>
                </a:lnTo>
                <a:close/>
                <a:moveTo>
                  <a:pt x="22" y="213"/>
                </a:moveTo>
                <a:lnTo>
                  <a:pt x="24" y="213"/>
                </a:lnTo>
                <a:lnTo>
                  <a:pt x="24" y="215"/>
                </a:lnTo>
                <a:lnTo>
                  <a:pt x="22" y="213"/>
                </a:lnTo>
                <a:close/>
                <a:moveTo>
                  <a:pt x="466" y="0"/>
                </a:moveTo>
                <a:lnTo>
                  <a:pt x="467" y="0"/>
                </a:lnTo>
                <a:lnTo>
                  <a:pt x="471" y="1"/>
                </a:lnTo>
                <a:lnTo>
                  <a:pt x="474" y="1"/>
                </a:lnTo>
                <a:lnTo>
                  <a:pt x="475" y="2"/>
                </a:lnTo>
                <a:lnTo>
                  <a:pt x="477" y="2"/>
                </a:lnTo>
                <a:lnTo>
                  <a:pt x="478" y="1"/>
                </a:lnTo>
                <a:lnTo>
                  <a:pt x="479" y="1"/>
                </a:lnTo>
                <a:lnTo>
                  <a:pt x="479" y="4"/>
                </a:lnTo>
                <a:lnTo>
                  <a:pt x="480" y="6"/>
                </a:lnTo>
                <a:lnTo>
                  <a:pt x="484" y="2"/>
                </a:lnTo>
                <a:lnTo>
                  <a:pt x="487" y="1"/>
                </a:lnTo>
                <a:lnTo>
                  <a:pt x="492" y="1"/>
                </a:lnTo>
                <a:lnTo>
                  <a:pt x="493" y="2"/>
                </a:lnTo>
                <a:lnTo>
                  <a:pt x="493" y="3"/>
                </a:lnTo>
                <a:lnTo>
                  <a:pt x="494" y="4"/>
                </a:lnTo>
                <a:lnTo>
                  <a:pt x="497" y="6"/>
                </a:lnTo>
                <a:lnTo>
                  <a:pt x="497" y="7"/>
                </a:lnTo>
                <a:lnTo>
                  <a:pt x="498" y="9"/>
                </a:lnTo>
                <a:lnTo>
                  <a:pt x="499" y="9"/>
                </a:lnTo>
                <a:lnTo>
                  <a:pt x="502" y="12"/>
                </a:lnTo>
                <a:lnTo>
                  <a:pt x="502" y="13"/>
                </a:lnTo>
                <a:lnTo>
                  <a:pt x="504" y="15"/>
                </a:lnTo>
                <a:lnTo>
                  <a:pt x="504" y="16"/>
                </a:lnTo>
                <a:lnTo>
                  <a:pt x="503" y="18"/>
                </a:lnTo>
                <a:lnTo>
                  <a:pt x="503" y="24"/>
                </a:lnTo>
                <a:lnTo>
                  <a:pt x="505" y="26"/>
                </a:lnTo>
                <a:lnTo>
                  <a:pt x="505" y="27"/>
                </a:lnTo>
                <a:lnTo>
                  <a:pt x="504" y="28"/>
                </a:lnTo>
                <a:lnTo>
                  <a:pt x="506" y="28"/>
                </a:lnTo>
                <a:lnTo>
                  <a:pt x="509" y="31"/>
                </a:lnTo>
                <a:lnTo>
                  <a:pt x="509" y="32"/>
                </a:lnTo>
                <a:lnTo>
                  <a:pt x="510" y="32"/>
                </a:lnTo>
                <a:lnTo>
                  <a:pt x="510" y="33"/>
                </a:lnTo>
                <a:lnTo>
                  <a:pt x="512" y="33"/>
                </a:lnTo>
                <a:lnTo>
                  <a:pt x="512" y="34"/>
                </a:lnTo>
                <a:lnTo>
                  <a:pt x="515" y="35"/>
                </a:lnTo>
                <a:lnTo>
                  <a:pt x="517" y="38"/>
                </a:lnTo>
                <a:lnTo>
                  <a:pt x="518" y="40"/>
                </a:lnTo>
                <a:lnTo>
                  <a:pt x="518" y="43"/>
                </a:lnTo>
                <a:lnTo>
                  <a:pt x="516" y="45"/>
                </a:lnTo>
                <a:lnTo>
                  <a:pt x="513" y="45"/>
                </a:lnTo>
                <a:lnTo>
                  <a:pt x="506" y="47"/>
                </a:lnTo>
                <a:lnTo>
                  <a:pt x="504" y="47"/>
                </a:lnTo>
                <a:lnTo>
                  <a:pt x="504" y="50"/>
                </a:lnTo>
                <a:lnTo>
                  <a:pt x="505" y="51"/>
                </a:lnTo>
                <a:lnTo>
                  <a:pt x="506" y="51"/>
                </a:lnTo>
                <a:lnTo>
                  <a:pt x="506" y="53"/>
                </a:lnTo>
                <a:lnTo>
                  <a:pt x="510" y="57"/>
                </a:lnTo>
                <a:lnTo>
                  <a:pt x="510" y="65"/>
                </a:lnTo>
                <a:lnTo>
                  <a:pt x="508" y="65"/>
                </a:lnTo>
                <a:lnTo>
                  <a:pt x="511" y="69"/>
                </a:lnTo>
                <a:lnTo>
                  <a:pt x="512" y="69"/>
                </a:lnTo>
                <a:lnTo>
                  <a:pt x="513" y="68"/>
                </a:lnTo>
                <a:lnTo>
                  <a:pt x="513" y="70"/>
                </a:lnTo>
                <a:lnTo>
                  <a:pt x="511" y="75"/>
                </a:lnTo>
                <a:lnTo>
                  <a:pt x="509" y="76"/>
                </a:lnTo>
                <a:lnTo>
                  <a:pt x="511" y="77"/>
                </a:lnTo>
                <a:lnTo>
                  <a:pt x="513" y="77"/>
                </a:lnTo>
                <a:lnTo>
                  <a:pt x="515" y="76"/>
                </a:lnTo>
                <a:lnTo>
                  <a:pt x="518" y="76"/>
                </a:lnTo>
                <a:lnTo>
                  <a:pt x="521" y="77"/>
                </a:lnTo>
                <a:lnTo>
                  <a:pt x="527" y="77"/>
                </a:lnTo>
                <a:lnTo>
                  <a:pt x="527" y="80"/>
                </a:lnTo>
                <a:lnTo>
                  <a:pt x="529" y="82"/>
                </a:lnTo>
                <a:lnTo>
                  <a:pt x="533" y="82"/>
                </a:lnTo>
                <a:lnTo>
                  <a:pt x="535" y="81"/>
                </a:lnTo>
                <a:lnTo>
                  <a:pt x="539" y="80"/>
                </a:lnTo>
                <a:lnTo>
                  <a:pt x="541" y="78"/>
                </a:lnTo>
                <a:lnTo>
                  <a:pt x="542" y="78"/>
                </a:lnTo>
                <a:lnTo>
                  <a:pt x="542" y="80"/>
                </a:lnTo>
                <a:lnTo>
                  <a:pt x="543" y="80"/>
                </a:lnTo>
                <a:lnTo>
                  <a:pt x="544" y="78"/>
                </a:lnTo>
                <a:lnTo>
                  <a:pt x="546" y="78"/>
                </a:lnTo>
                <a:lnTo>
                  <a:pt x="547" y="80"/>
                </a:lnTo>
                <a:lnTo>
                  <a:pt x="547" y="81"/>
                </a:lnTo>
                <a:lnTo>
                  <a:pt x="548" y="87"/>
                </a:lnTo>
                <a:lnTo>
                  <a:pt x="549" y="89"/>
                </a:lnTo>
                <a:lnTo>
                  <a:pt x="550" y="90"/>
                </a:lnTo>
                <a:lnTo>
                  <a:pt x="552" y="90"/>
                </a:lnTo>
                <a:lnTo>
                  <a:pt x="554" y="89"/>
                </a:lnTo>
                <a:lnTo>
                  <a:pt x="555" y="89"/>
                </a:lnTo>
                <a:lnTo>
                  <a:pt x="556" y="90"/>
                </a:lnTo>
                <a:lnTo>
                  <a:pt x="558" y="90"/>
                </a:lnTo>
                <a:lnTo>
                  <a:pt x="558" y="93"/>
                </a:lnTo>
                <a:lnTo>
                  <a:pt x="554" y="93"/>
                </a:lnTo>
                <a:lnTo>
                  <a:pt x="554" y="96"/>
                </a:lnTo>
                <a:lnTo>
                  <a:pt x="555" y="96"/>
                </a:lnTo>
                <a:lnTo>
                  <a:pt x="555" y="98"/>
                </a:lnTo>
                <a:lnTo>
                  <a:pt x="556" y="98"/>
                </a:lnTo>
                <a:lnTo>
                  <a:pt x="558" y="99"/>
                </a:lnTo>
                <a:lnTo>
                  <a:pt x="556" y="100"/>
                </a:lnTo>
                <a:lnTo>
                  <a:pt x="558" y="101"/>
                </a:lnTo>
                <a:lnTo>
                  <a:pt x="558" y="102"/>
                </a:lnTo>
                <a:lnTo>
                  <a:pt x="559" y="104"/>
                </a:lnTo>
                <a:lnTo>
                  <a:pt x="559" y="107"/>
                </a:lnTo>
                <a:lnTo>
                  <a:pt x="560" y="107"/>
                </a:lnTo>
                <a:lnTo>
                  <a:pt x="561" y="108"/>
                </a:lnTo>
                <a:lnTo>
                  <a:pt x="561" y="114"/>
                </a:lnTo>
                <a:lnTo>
                  <a:pt x="562" y="115"/>
                </a:lnTo>
                <a:lnTo>
                  <a:pt x="559" y="117"/>
                </a:lnTo>
                <a:lnTo>
                  <a:pt x="559" y="118"/>
                </a:lnTo>
                <a:lnTo>
                  <a:pt x="560" y="126"/>
                </a:lnTo>
                <a:lnTo>
                  <a:pt x="562" y="129"/>
                </a:lnTo>
                <a:lnTo>
                  <a:pt x="565" y="129"/>
                </a:lnTo>
                <a:lnTo>
                  <a:pt x="566" y="130"/>
                </a:lnTo>
                <a:lnTo>
                  <a:pt x="566" y="133"/>
                </a:lnTo>
                <a:lnTo>
                  <a:pt x="567" y="135"/>
                </a:lnTo>
                <a:lnTo>
                  <a:pt x="567" y="136"/>
                </a:lnTo>
                <a:lnTo>
                  <a:pt x="568" y="136"/>
                </a:lnTo>
                <a:lnTo>
                  <a:pt x="570" y="137"/>
                </a:lnTo>
                <a:lnTo>
                  <a:pt x="572" y="137"/>
                </a:lnTo>
                <a:lnTo>
                  <a:pt x="573" y="136"/>
                </a:lnTo>
                <a:lnTo>
                  <a:pt x="573" y="135"/>
                </a:lnTo>
                <a:lnTo>
                  <a:pt x="574" y="135"/>
                </a:lnTo>
                <a:lnTo>
                  <a:pt x="574" y="133"/>
                </a:lnTo>
                <a:lnTo>
                  <a:pt x="575" y="133"/>
                </a:lnTo>
                <a:lnTo>
                  <a:pt x="577" y="132"/>
                </a:lnTo>
                <a:lnTo>
                  <a:pt x="577" y="131"/>
                </a:lnTo>
                <a:lnTo>
                  <a:pt x="590" y="131"/>
                </a:lnTo>
                <a:lnTo>
                  <a:pt x="591" y="132"/>
                </a:lnTo>
                <a:lnTo>
                  <a:pt x="591" y="133"/>
                </a:lnTo>
                <a:lnTo>
                  <a:pt x="592" y="133"/>
                </a:lnTo>
                <a:lnTo>
                  <a:pt x="596" y="141"/>
                </a:lnTo>
                <a:lnTo>
                  <a:pt x="599" y="141"/>
                </a:lnTo>
                <a:lnTo>
                  <a:pt x="601" y="139"/>
                </a:lnTo>
                <a:lnTo>
                  <a:pt x="604" y="139"/>
                </a:lnTo>
                <a:lnTo>
                  <a:pt x="605" y="141"/>
                </a:lnTo>
                <a:lnTo>
                  <a:pt x="606" y="141"/>
                </a:lnTo>
                <a:lnTo>
                  <a:pt x="608" y="142"/>
                </a:lnTo>
                <a:lnTo>
                  <a:pt x="608" y="145"/>
                </a:lnTo>
                <a:lnTo>
                  <a:pt x="611" y="145"/>
                </a:lnTo>
                <a:lnTo>
                  <a:pt x="612" y="144"/>
                </a:lnTo>
                <a:lnTo>
                  <a:pt x="612" y="143"/>
                </a:lnTo>
                <a:lnTo>
                  <a:pt x="614" y="143"/>
                </a:lnTo>
                <a:lnTo>
                  <a:pt x="614" y="142"/>
                </a:lnTo>
                <a:lnTo>
                  <a:pt x="623" y="137"/>
                </a:lnTo>
                <a:lnTo>
                  <a:pt x="629" y="137"/>
                </a:lnTo>
                <a:lnTo>
                  <a:pt x="635" y="136"/>
                </a:lnTo>
                <a:lnTo>
                  <a:pt x="640" y="131"/>
                </a:lnTo>
                <a:lnTo>
                  <a:pt x="646" y="131"/>
                </a:lnTo>
                <a:lnTo>
                  <a:pt x="646" y="133"/>
                </a:lnTo>
                <a:lnTo>
                  <a:pt x="647" y="135"/>
                </a:lnTo>
                <a:lnTo>
                  <a:pt x="647" y="137"/>
                </a:lnTo>
                <a:lnTo>
                  <a:pt x="651" y="138"/>
                </a:lnTo>
                <a:lnTo>
                  <a:pt x="653" y="143"/>
                </a:lnTo>
                <a:lnTo>
                  <a:pt x="652" y="144"/>
                </a:lnTo>
                <a:lnTo>
                  <a:pt x="652" y="147"/>
                </a:lnTo>
                <a:lnTo>
                  <a:pt x="654" y="148"/>
                </a:lnTo>
                <a:lnTo>
                  <a:pt x="658" y="154"/>
                </a:lnTo>
                <a:lnTo>
                  <a:pt x="659" y="155"/>
                </a:lnTo>
                <a:lnTo>
                  <a:pt x="662" y="156"/>
                </a:lnTo>
                <a:lnTo>
                  <a:pt x="664" y="157"/>
                </a:lnTo>
                <a:lnTo>
                  <a:pt x="666" y="158"/>
                </a:lnTo>
                <a:lnTo>
                  <a:pt x="668" y="163"/>
                </a:lnTo>
                <a:lnTo>
                  <a:pt x="668" y="166"/>
                </a:lnTo>
                <a:lnTo>
                  <a:pt x="670" y="166"/>
                </a:lnTo>
                <a:lnTo>
                  <a:pt x="672" y="164"/>
                </a:lnTo>
                <a:lnTo>
                  <a:pt x="672" y="163"/>
                </a:lnTo>
                <a:lnTo>
                  <a:pt x="673" y="163"/>
                </a:lnTo>
                <a:lnTo>
                  <a:pt x="673" y="164"/>
                </a:lnTo>
                <a:lnTo>
                  <a:pt x="674" y="164"/>
                </a:lnTo>
                <a:lnTo>
                  <a:pt x="677" y="163"/>
                </a:lnTo>
                <a:lnTo>
                  <a:pt x="677" y="160"/>
                </a:lnTo>
                <a:lnTo>
                  <a:pt x="676" y="157"/>
                </a:lnTo>
                <a:lnTo>
                  <a:pt x="677" y="155"/>
                </a:lnTo>
                <a:lnTo>
                  <a:pt x="682" y="155"/>
                </a:lnTo>
                <a:lnTo>
                  <a:pt x="683" y="156"/>
                </a:lnTo>
                <a:lnTo>
                  <a:pt x="684" y="160"/>
                </a:lnTo>
                <a:lnTo>
                  <a:pt x="684" y="161"/>
                </a:lnTo>
                <a:lnTo>
                  <a:pt x="688" y="161"/>
                </a:lnTo>
                <a:lnTo>
                  <a:pt x="689" y="162"/>
                </a:lnTo>
                <a:lnTo>
                  <a:pt x="697" y="162"/>
                </a:lnTo>
                <a:lnTo>
                  <a:pt x="697" y="163"/>
                </a:lnTo>
                <a:lnTo>
                  <a:pt x="701" y="167"/>
                </a:lnTo>
                <a:lnTo>
                  <a:pt x="705" y="168"/>
                </a:lnTo>
                <a:lnTo>
                  <a:pt x="709" y="172"/>
                </a:lnTo>
                <a:lnTo>
                  <a:pt x="714" y="172"/>
                </a:lnTo>
                <a:lnTo>
                  <a:pt x="714" y="170"/>
                </a:lnTo>
                <a:lnTo>
                  <a:pt x="716" y="169"/>
                </a:lnTo>
                <a:lnTo>
                  <a:pt x="716" y="168"/>
                </a:lnTo>
                <a:lnTo>
                  <a:pt x="718" y="167"/>
                </a:lnTo>
                <a:lnTo>
                  <a:pt x="718" y="168"/>
                </a:lnTo>
                <a:lnTo>
                  <a:pt x="721" y="174"/>
                </a:lnTo>
                <a:lnTo>
                  <a:pt x="722" y="176"/>
                </a:lnTo>
                <a:lnTo>
                  <a:pt x="723" y="176"/>
                </a:lnTo>
                <a:lnTo>
                  <a:pt x="726" y="178"/>
                </a:lnTo>
                <a:lnTo>
                  <a:pt x="727" y="176"/>
                </a:lnTo>
                <a:lnTo>
                  <a:pt x="728" y="176"/>
                </a:lnTo>
                <a:lnTo>
                  <a:pt x="730" y="175"/>
                </a:lnTo>
                <a:lnTo>
                  <a:pt x="732" y="176"/>
                </a:lnTo>
                <a:lnTo>
                  <a:pt x="733" y="176"/>
                </a:lnTo>
                <a:lnTo>
                  <a:pt x="735" y="178"/>
                </a:lnTo>
                <a:lnTo>
                  <a:pt x="736" y="179"/>
                </a:lnTo>
                <a:lnTo>
                  <a:pt x="736" y="182"/>
                </a:lnTo>
                <a:lnTo>
                  <a:pt x="738" y="185"/>
                </a:lnTo>
                <a:lnTo>
                  <a:pt x="739" y="185"/>
                </a:lnTo>
                <a:lnTo>
                  <a:pt x="740" y="186"/>
                </a:lnTo>
                <a:lnTo>
                  <a:pt x="742" y="186"/>
                </a:lnTo>
                <a:lnTo>
                  <a:pt x="745" y="188"/>
                </a:lnTo>
                <a:lnTo>
                  <a:pt x="745" y="190"/>
                </a:lnTo>
                <a:lnTo>
                  <a:pt x="746" y="190"/>
                </a:lnTo>
                <a:lnTo>
                  <a:pt x="747" y="188"/>
                </a:lnTo>
                <a:lnTo>
                  <a:pt x="749" y="188"/>
                </a:lnTo>
                <a:lnTo>
                  <a:pt x="749" y="187"/>
                </a:lnTo>
                <a:lnTo>
                  <a:pt x="753" y="185"/>
                </a:lnTo>
                <a:lnTo>
                  <a:pt x="754" y="185"/>
                </a:lnTo>
                <a:lnTo>
                  <a:pt x="759" y="186"/>
                </a:lnTo>
                <a:lnTo>
                  <a:pt x="759" y="188"/>
                </a:lnTo>
                <a:lnTo>
                  <a:pt x="758" y="188"/>
                </a:lnTo>
                <a:lnTo>
                  <a:pt x="755" y="191"/>
                </a:lnTo>
                <a:lnTo>
                  <a:pt x="755" y="194"/>
                </a:lnTo>
                <a:lnTo>
                  <a:pt x="758" y="199"/>
                </a:lnTo>
                <a:lnTo>
                  <a:pt x="760" y="201"/>
                </a:lnTo>
                <a:lnTo>
                  <a:pt x="760" y="204"/>
                </a:lnTo>
                <a:lnTo>
                  <a:pt x="759" y="206"/>
                </a:lnTo>
                <a:lnTo>
                  <a:pt x="759" y="209"/>
                </a:lnTo>
                <a:lnTo>
                  <a:pt x="755" y="212"/>
                </a:lnTo>
                <a:lnTo>
                  <a:pt x="755" y="213"/>
                </a:lnTo>
                <a:lnTo>
                  <a:pt x="753" y="215"/>
                </a:lnTo>
                <a:lnTo>
                  <a:pt x="751" y="217"/>
                </a:lnTo>
                <a:lnTo>
                  <a:pt x="751" y="221"/>
                </a:lnTo>
                <a:lnTo>
                  <a:pt x="749" y="222"/>
                </a:lnTo>
                <a:lnTo>
                  <a:pt x="748" y="221"/>
                </a:lnTo>
                <a:lnTo>
                  <a:pt x="746" y="221"/>
                </a:lnTo>
                <a:lnTo>
                  <a:pt x="744" y="223"/>
                </a:lnTo>
                <a:lnTo>
                  <a:pt x="741" y="222"/>
                </a:lnTo>
                <a:lnTo>
                  <a:pt x="740" y="223"/>
                </a:lnTo>
                <a:lnTo>
                  <a:pt x="740" y="227"/>
                </a:lnTo>
                <a:lnTo>
                  <a:pt x="741" y="228"/>
                </a:lnTo>
                <a:lnTo>
                  <a:pt x="742" y="228"/>
                </a:lnTo>
                <a:lnTo>
                  <a:pt x="742" y="230"/>
                </a:lnTo>
                <a:lnTo>
                  <a:pt x="744" y="231"/>
                </a:lnTo>
                <a:lnTo>
                  <a:pt x="745" y="231"/>
                </a:lnTo>
                <a:lnTo>
                  <a:pt x="748" y="233"/>
                </a:lnTo>
                <a:lnTo>
                  <a:pt x="749" y="231"/>
                </a:lnTo>
                <a:lnTo>
                  <a:pt x="751" y="233"/>
                </a:lnTo>
                <a:lnTo>
                  <a:pt x="751" y="234"/>
                </a:lnTo>
                <a:lnTo>
                  <a:pt x="752" y="234"/>
                </a:lnTo>
                <a:lnTo>
                  <a:pt x="752" y="233"/>
                </a:lnTo>
                <a:lnTo>
                  <a:pt x="753" y="233"/>
                </a:lnTo>
                <a:lnTo>
                  <a:pt x="754" y="231"/>
                </a:lnTo>
                <a:lnTo>
                  <a:pt x="755" y="231"/>
                </a:lnTo>
                <a:lnTo>
                  <a:pt x="755" y="235"/>
                </a:lnTo>
                <a:lnTo>
                  <a:pt x="753" y="237"/>
                </a:lnTo>
                <a:lnTo>
                  <a:pt x="751" y="237"/>
                </a:lnTo>
                <a:lnTo>
                  <a:pt x="746" y="236"/>
                </a:lnTo>
                <a:lnTo>
                  <a:pt x="745" y="236"/>
                </a:lnTo>
                <a:lnTo>
                  <a:pt x="744" y="237"/>
                </a:lnTo>
                <a:lnTo>
                  <a:pt x="744" y="239"/>
                </a:lnTo>
                <a:lnTo>
                  <a:pt x="742" y="239"/>
                </a:lnTo>
                <a:lnTo>
                  <a:pt x="742" y="240"/>
                </a:lnTo>
                <a:lnTo>
                  <a:pt x="741" y="240"/>
                </a:lnTo>
                <a:lnTo>
                  <a:pt x="741" y="241"/>
                </a:lnTo>
                <a:lnTo>
                  <a:pt x="739" y="249"/>
                </a:lnTo>
                <a:lnTo>
                  <a:pt x="738" y="250"/>
                </a:lnTo>
                <a:lnTo>
                  <a:pt x="746" y="250"/>
                </a:lnTo>
                <a:lnTo>
                  <a:pt x="747" y="252"/>
                </a:lnTo>
                <a:lnTo>
                  <a:pt x="747" y="253"/>
                </a:lnTo>
                <a:lnTo>
                  <a:pt x="748" y="254"/>
                </a:lnTo>
                <a:lnTo>
                  <a:pt x="748" y="256"/>
                </a:lnTo>
                <a:lnTo>
                  <a:pt x="747" y="256"/>
                </a:lnTo>
                <a:lnTo>
                  <a:pt x="747" y="258"/>
                </a:lnTo>
                <a:lnTo>
                  <a:pt x="748" y="258"/>
                </a:lnTo>
                <a:lnTo>
                  <a:pt x="749" y="261"/>
                </a:lnTo>
                <a:lnTo>
                  <a:pt x="749" y="264"/>
                </a:lnTo>
                <a:lnTo>
                  <a:pt x="751" y="264"/>
                </a:lnTo>
                <a:lnTo>
                  <a:pt x="746" y="268"/>
                </a:lnTo>
                <a:lnTo>
                  <a:pt x="748" y="270"/>
                </a:lnTo>
                <a:lnTo>
                  <a:pt x="753" y="270"/>
                </a:lnTo>
                <a:lnTo>
                  <a:pt x="753" y="273"/>
                </a:lnTo>
                <a:lnTo>
                  <a:pt x="752" y="273"/>
                </a:lnTo>
                <a:lnTo>
                  <a:pt x="749" y="276"/>
                </a:lnTo>
                <a:lnTo>
                  <a:pt x="749" y="277"/>
                </a:lnTo>
                <a:lnTo>
                  <a:pt x="747" y="280"/>
                </a:lnTo>
                <a:lnTo>
                  <a:pt x="746" y="282"/>
                </a:lnTo>
                <a:lnTo>
                  <a:pt x="746" y="283"/>
                </a:lnTo>
                <a:lnTo>
                  <a:pt x="747" y="285"/>
                </a:lnTo>
                <a:lnTo>
                  <a:pt x="745" y="286"/>
                </a:lnTo>
                <a:lnTo>
                  <a:pt x="744" y="286"/>
                </a:lnTo>
                <a:lnTo>
                  <a:pt x="744" y="287"/>
                </a:lnTo>
                <a:lnTo>
                  <a:pt x="745" y="289"/>
                </a:lnTo>
                <a:lnTo>
                  <a:pt x="745" y="295"/>
                </a:lnTo>
                <a:lnTo>
                  <a:pt x="744" y="297"/>
                </a:lnTo>
                <a:lnTo>
                  <a:pt x="744" y="298"/>
                </a:lnTo>
                <a:lnTo>
                  <a:pt x="742" y="299"/>
                </a:lnTo>
                <a:lnTo>
                  <a:pt x="741" y="299"/>
                </a:lnTo>
                <a:lnTo>
                  <a:pt x="736" y="298"/>
                </a:lnTo>
                <a:lnTo>
                  <a:pt x="735" y="298"/>
                </a:lnTo>
                <a:lnTo>
                  <a:pt x="733" y="299"/>
                </a:lnTo>
                <a:lnTo>
                  <a:pt x="732" y="298"/>
                </a:lnTo>
                <a:lnTo>
                  <a:pt x="729" y="298"/>
                </a:lnTo>
                <a:lnTo>
                  <a:pt x="728" y="299"/>
                </a:lnTo>
                <a:lnTo>
                  <a:pt x="726" y="297"/>
                </a:lnTo>
                <a:lnTo>
                  <a:pt x="724" y="297"/>
                </a:lnTo>
                <a:lnTo>
                  <a:pt x="718" y="298"/>
                </a:lnTo>
                <a:lnTo>
                  <a:pt x="715" y="298"/>
                </a:lnTo>
                <a:lnTo>
                  <a:pt x="713" y="297"/>
                </a:lnTo>
                <a:lnTo>
                  <a:pt x="707" y="296"/>
                </a:lnTo>
                <a:lnTo>
                  <a:pt x="704" y="297"/>
                </a:lnTo>
                <a:lnTo>
                  <a:pt x="701" y="304"/>
                </a:lnTo>
                <a:lnTo>
                  <a:pt x="701" y="308"/>
                </a:lnTo>
                <a:lnTo>
                  <a:pt x="696" y="308"/>
                </a:lnTo>
                <a:lnTo>
                  <a:pt x="695" y="310"/>
                </a:lnTo>
                <a:lnTo>
                  <a:pt x="693" y="310"/>
                </a:lnTo>
                <a:lnTo>
                  <a:pt x="693" y="311"/>
                </a:lnTo>
                <a:lnTo>
                  <a:pt x="684" y="313"/>
                </a:lnTo>
                <a:lnTo>
                  <a:pt x="682" y="315"/>
                </a:lnTo>
                <a:lnTo>
                  <a:pt x="680" y="317"/>
                </a:lnTo>
                <a:lnTo>
                  <a:pt x="680" y="326"/>
                </a:lnTo>
                <a:lnTo>
                  <a:pt x="679" y="328"/>
                </a:lnTo>
                <a:lnTo>
                  <a:pt x="677" y="330"/>
                </a:lnTo>
                <a:lnTo>
                  <a:pt x="677" y="332"/>
                </a:lnTo>
                <a:lnTo>
                  <a:pt x="680" y="332"/>
                </a:lnTo>
                <a:lnTo>
                  <a:pt x="682" y="333"/>
                </a:lnTo>
                <a:lnTo>
                  <a:pt x="682" y="335"/>
                </a:lnTo>
                <a:lnTo>
                  <a:pt x="680" y="335"/>
                </a:lnTo>
                <a:lnTo>
                  <a:pt x="678" y="338"/>
                </a:lnTo>
                <a:lnTo>
                  <a:pt x="678" y="345"/>
                </a:lnTo>
                <a:lnTo>
                  <a:pt x="676" y="347"/>
                </a:lnTo>
                <a:lnTo>
                  <a:pt x="673" y="348"/>
                </a:lnTo>
                <a:lnTo>
                  <a:pt x="674" y="346"/>
                </a:lnTo>
                <a:lnTo>
                  <a:pt x="672" y="344"/>
                </a:lnTo>
                <a:lnTo>
                  <a:pt x="672" y="345"/>
                </a:lnTo>
                <a:lnTo>
                  <a:pt x="668" y="345"/>
                </a:lnTo>
                <a:lnTo>
                  <a:pt x="667" y="344"/>
                </a:lnTo>
                <a:lnTo>
                  <a:pt x="667" y="345"/>
                </a:lnTo>
                <a:lnTo>
                  <a:pt x="664" y="344"/>
                </a:lnTo>
                <a:lnTo>
                  <a:pt x="659" y="346"/>
                </a:lnTo>
                <a:lnTo>
                  <a:pt x="657" y="346"/>
                </a:lnTo>
                <a:lnTo>
                  <a:pt x="652" y="345"/>
                </a:lnTo>
                <a:lnTo>
                  <a:pt x="651" y="345"/>
                </a:lnTo>
                <a:lnTo>
                  <a:pt x="647" y="348"/>
                </a:lnTo>
                <a:lnTo>
                  <a:pt x="643" y="354"/>
                </a:lnTo>
                <a:lnTo>
                  <a:pt x="642" y="357"/>
                </a:lnTo>
                <a:lnTo>
                  <a:pt x="641" y="357"/>
                </a:lnTo>
                <a:lnTo>
                  <a:pt x="640" y="358"/>
                </a:lnTo>
                <a:lnTo>
                  <a:pt x="640" y="356"/>
                </a:lnTo>
                <a:lnTo>
                  <a:pt x="637" y="354"/>
                </a:lnTo>
                <a:lnTo>
                  <a:pt x="636" y="354"/>
                </a:lnTo>
                <a:lnTo>
                  <a:pt x="629" y="358"/>
                </a:lnTo>
                <a:lnTo>
                  <a:pt x="628" y="358"/>
                </a:lnTo>
                <a:lnTo>
                  <a:pt x="627" y="359"/>
                </a:lnTo>
                <a:lnTo>
                  <a:pt x="626" y="359"/>
                </a:lnTo>
                <a:lnTo>
                  <a:pt x="622" y="363"/>
                </a:lnTo>
                <a:lnTo>
                  <a:pt x="621" y="363"/>
                </a:lnTo>
                <a:lnTo>
                  <a:pt x="621" y="365"/>
                </a:lnTo>
                <a:lnTo>
                  <a:pt x="620" y="366"/>
                </a:lnTo>
                <a:lnTo>
                  <a:pt x="620" y="370"/>
                </a:lnTo>
                <a:lnTo>
                  <a:pt x="617" y="372"/>
                </a:lnTo>
                <a:lnTo>
                  <a:pt x="618" y="370"/>
                </a:lnTo>
                <a:lnTo>
                  <a:pt x="618" y="366"/>
                </a:lnTo>
                <a:lnTo>
                  <a:pt x="617" y="365"/>
                </a:lnTo>
                <a:lnTo>
                  <a:pt x="616" y="365"/>
                </a:lnTo>
                <a:lnTo>
                  <a:pt x="615" y="364"/>
                </a:lnTo>
                <a:lnTo>
                  <a:pt x="610" y="364"/>
                </a:lnTo>
                <a:lnTo>
                  <a:pt x="610" y="365"/>
                </a:lnTo>
                <a:lnTo>
                  <a:pt x="606" y="365"/>
                </a:lnTo>
                <a:lnTo>
                  <a:pt x="605" y="366"/>
                </a:lnTo>
                <a:lnTo>
                  <a:pt x="603" y="366"/>
                </a:lnTo>
                <a:lnTo>
                  <a:pt x="602" y="367"/>
                </a:lnTo>
                <a:lnTo>
                  <a:pt x="601" y="367"/>
                </a:lnTo>
                <a:lnTo>
                  <a:pt x="598" y="371"/>
                </a:lnTo>
                <a:lnTo>
                  <a:pt x="597" y="372"/>
                </a:lnTo>
                <a:lnTo>
                  <a:pt x="597" y="375"/>
                </a:lnTo>
                <a:lnTo>
                  <a:pt x="596" y="375"/>
                </a:lnTo>
                <a:lnTo>
                  <a:pt x="596" y="373"/>
                </a:lnTo>
                <a:lnTo>
                  <a:pt x="595" y="373"/>
                </a:lnTo>
                <a:lnTo>
                  <a:pt x="595" y="371"/>
                </a:lnTo>
                <a:lnTo>
                  <a:pt x="593" y="371"/>
                </a:lnTo>
                <a:lnTo>
                  <a:pt x="593" y="370"/>
                </a:lnTo>
                <a:lnTo>
                  <a:pt x="592" y="371"/>
                </a:lnTo>
                <a:lnTo>
                  <a:pt x="591" y="371"/>
                </a:lnTo>
                <a:lnTo>
                  <a:pt x="587" y="370"/>
                </a:lnTo>
                <a:lnTo>
                  <a:pt x="581" y="371"/>
                </a:lnTo>
                <a:lnTo>
                  <a:pt x="580" y="371"/>
                </a:lnTo>
                <a:lnTo>
                  <a:pt x="578" y="373"/>
                </a:lnTo>
                <a:lnTo>
                  <a:pt x="575" y="375"/>
                </a:lnTo>
                <a:lnTo>
                  <a:pt x="570" y="381"/>
                </a:lnTo>
                <a:lnTo>
                  <a:pt x="565" y="383"/>
                </a:lnTo>
                <a:lnTo>
                  <a:pt x="564" y="384"/>
                </a:lnTo>
                <a:lnTo>
                  <a:pt x="562" y="384"/>
                </a:lnTo>
                <a:lnTo>
                  <a:pt x="561" y="387"/>
                </a:lnTo>
                <a:lnTo>
                  <a:pt x="561" y="388"/>
                </a:lnTo>
                <a:lnTo>
                  <a:pt x="559" y="388"/>
                </a:lnTo>
                <a:lnTo>
                  <a:pt x="559" y="389"/>
                </a:lnTo>
                <a:lnTo>
                  <a:pt x="558" y="391"/>
                </a:lnTo>
                <a:lnTo>
                  <a:pt x="558" y="389"/>
                </a:lnTo>
                <a:lnTo>
                  <a:pt x="556" y="390"/>
                </a:lnTo>
                <a:lnTo>
                  <a:pt x="555" y="390"/>
                </a:lnTo>
                <a:lnTo>
                  <a:pt x="555" y="391"/>
                </a:lnTo>
                <a:lnTo>
                  <a:pt x="554" y="390"/>
                </a:lnTo>
                <a:lnTo>
                  <a:pt x="554" y="387"/>
                </a:lnTo>
                <a:lnTo>
                  <a:pt x="555" y="384"/>
                </a:lnTo>
                <a:lnTo>
                  <a:pt x="553" y="384"/>
                </a:lnTo>
                <a:lnTo>
                  <a:pt x="553" y="383"/>
                </a:lnTo>
                <a:lnTo>
                  <a:pt x="552" y="383"/>
                </a:lnTo>
                <a:lnTo>
                  <a:pt x="552" y="382"/>
                </a:lnTo>
                <a:lnTo>
                  <a:pt x="550" y="381"/>
                </a:lnTo>
                <a:lnTo>
                  <a:pt x="549" y="382"/>
                </a:lnTo>
                <a:lnTo>
                  <a:pt x="552" y="384"/>
                </a:lnTo>
                <a:lnTo>
                  <a:pt x="552" y="388"/>
                </a:lnTo>
                <a:lnTo>
                  <a:pt x="549" y="389"/>
                </a:lnTo>
                <a:lnTo>
                  <a:pt x="547" y="394"/>
                </a:lnTo>
                <a:lnTo>
                  <a:pt x="544" y="396"/>
                </a:lnTo>
                <a:lnTo>
                  <a:pt x="540" y="397"/>
                </a:lnTo>
                <a:lnTo>
                  <a:pt x="539" y="397"/>
                </a:lnTo>
                <a:lnTo>
                  <a:pt x="539" y="396"/>
                </a:lnTo>
                <a:lnTo>
                  <a:pt x="537" y="396"/>
                </a:lnTo>
                <a:lnTo>
                  <a:pt x="537" y="397"/>
                </a:lnTo>
                <a:lnTo>
                  <a:pt x="535" y="400"/>
                </a:lnTo>
                <a:lnTo>
                  <a:pt x="535" y="407"/>
                </a:lnTo>
                <a:lnTo>
                  <a:pt x="536" y="408"/>
                </a:lnTo>
                <a:lnTo>
                  <a:pt x="537" y="415"/>
                </a:lnTo>
                <a:lnTo>
                  <a:pt x="537" y="416"/>
                </a:lnTo>
                <a:lnTo>
                  <a:pt x="539" y="418"/>
                </a:lnTo>
                <a:lnTo>
                  <a:pt x="541" y="424"/>
                </a:lnTo>
                <a:lnTo>
                  <a:pt x="544" y="431"/>
                </a:lnTo>
                <a:lnTo>
                  <a:pt x="556" y="449"/>
                </a:lnTo>
                <a:lnTo>
                  <a:pt x="562" y="453"/>
                </a:lnTo>
                <a:lnTo>
                  <a:pt x="565" y="453"/>
                </a:lnTo>
                <a:lnTo>
                  <a:pt x="572" y="451"/>
                </a:lnTo>
                <a:lnTo>
                  <a:pt x="573" y="451"/>
                </a:lnTo>
                <a:lnTo>
                  <a:pt x="574" y="450"/>
                </a:lnTo>
                <a:lnTo>
                  <a:pt x="574" y="449"/>
                </a:lnTo>
                <a:lnTo>
                  <a:pt x="575" y="449"/>
                </a:lnTo>
                <a:lnTo>
                  <a:pt x="575" y="446"/>
                </a:lnTo>
                <a:lnTo>
                  <a:pt x="577" y="445"/>
                </a:lnTo>
                <a:lnTo>
                  <a:pt x="577" y="444"/>
                </a:lnTo>
                <a:lnTo>
                  <a:pt x="578" y="443"/>
                </a:lnTo>
                <a:lnTo>
                  <a:pt x="579" y="444"/>
                </a:lnTo>
                <a:lnTo>
                  <a:pt x="579" y="445"/>
                </a:lnTo>
                <a:lnTo>
                  <a:pt x="578" y="446"/>
                </a:lnTo>
                <a:lnTo>
                  <a:pt x="579" y="446"/>
                </a:lnTo>
                <a:lnTo>
                  <a:pt x="579" y="448"/>
                </a:lnTo>
                <a:lnTo>
                  <a:pt x="583" y="449"/>
                </a:lnTo>
                <a:lnTo>
                  <a:pt x="584" y="450"/>
                </a:lnTo>
                <a:lnTo>
                  <a:pt x="586" y="450"/>
                </a:lnTo>
                <a:lnTo>
                  <a:pt x="587" y="448"/>
                </a:lnTo>
                <a:lnTo>
                  <a:pt x="587" y="445"/>
                </a:lnTo>
                <a:lnTo>
                  <a:pt x="589" y="445"/>
                </a:lnTo>
                <a:lnTo>
                  <a:pt x="590" y="444"/>
                </a:lnTo>
                <a:lnTo>
                  <a:pt x="596" y="444"/>
                </a:lnTo>
                <a:lnTo>
                  <a:pt x="597" y="443"/>
                </a:lnTo>
                <a:lnTo>
                  <a:pt x="598" y="444"/>
                </a:lnTo>
                <a:lnTo>
                  <a:pt x="597" y="445"/>
                </a:lnTo>
                <a:lnTo>
                  <a:pt x="598" y="445"/>
                </a:lnTo>
                <a:lnTo>
                  <a:pt x="599" y="444"/>
                </a:lnTo>
                <a:lnTo>
                  <a:pt x="601" y="444"/>
                </a:lnTo>
                <a:lnTo>
                  <a:pt x="602" y="445"/>
                </a:lnTo>
                <a:lnTo>
                  <a:pt x="605" y="445"/>
                </a:lnTo>
                <a:lnTo>
                  <a:pt x="608" y="448"/>
                </a:lnTo>
                <a:lnTo>
                  <a:pt x="608" y="446"/>
                </a:lnTo>
                <a:lnTo>
                  <a:pt x="610" y="446"/>
                </a:lnTo>
                <a:lnTo>
                  <a:pt x="611" y="448"/>
                </a:lnTo>
                <a:lnTo>
                  <a:pt x="611" y="451"/>
                </a:lnTo>
                <a:lnTo>
                  <a:pt x="605" y="451"/>
                </a:lnTo>
                <a:lnTo>
                  <a:pt x="605" y="455"/>
                </a:lnTo>
                <a:lnTo>
                  <a:pt x="603" y="455"/>
                </a:lnTo>
                <a:lnTo>
                  <a:pt x="603" y="458"/>
                </a:lnTo>
                <a:lnTo>
                  <a:pt x="602" y="461"/>
                </a:lnTo>
                <a:lnTo>
                  <a:pt x="602" y="463"/>
                </a:lnTo>
                <a:lnTo>
                  <a:pt x="603" y="464"/>
                </a:lnTo>
                <a:lnTo>
                  <a:pt x="603" y="465"/>
                </a:lnTo>
                <a:lnTo>
                  <a:pt x="604" y="465"/>
                </a:lnTo>
                <a:lnTo>
                  <a:pt x="604" y="467"/>
                </a:lnTo>
                <a:lnTo>
                  <a:pt x="603" y="468"/>
                </a:lnTo>
                <a:lnTo>
                  <a:pt x="601" y="469"/>
                </a:lnTo>
                <a:lnTo>
                  <a:pt x="596" y="469"/>
                </a:lnTo>
                <a:lnTo>
                  <a:pt x="596" y="470"/>
                </a:lnTo>
                <a:lnTo>
                  <a:pt x="595" y="470"/>
                </a:lnTo>
                <a:lnTo>
                  <a:pt x="595" y="471"/>
                </a:lnTo>
                <a:lnTo>
                  <a:pt x="591" y="470"/>
                </a:lnTo>
                <a:lnTo>
                  <a:pt x="589" y="469"/>
                </a:lnTo>
                <a:lnTo>
                  <a:pt x="586" y="469"/>
                </a:lnTo>
                <a:lnTo>
                  <a:pt x="585" y="471"/>
                </a:lnTo>
                <a:lnTo>
                  <a:pt x="578" y="471"/>
                </a:lnTo>
                <a:lnTo>
                  <a:pt x="577" y="470"/>
                </a:lnTo>
                <a:lnTo>
                  <a:pt x="577" y="469"/>
                </a:lnTo>
                <a:lnTo>
                  <a:pt x="575" y="468"/>
                </a:lnTo>
                <a:lnTo>
                  <a:pt x="572" y="465"/>
                </a:lnTo>
                <a:lnTo>
                  <a:pt x="570" y="464"/>
                </a:lnTo>
                <a:lnTo>
                  <a:pt x="564" y="464"/>
                </a:lnTo>
                <a:lnTo>
                  <a:pt x="562" y="465"/>
                </a:lnTo>
                <a:lnTo>
                  <a:pt x="560" y="467"/>
                </a:lnTo>
                <a:lnTo>
                  <a:pt x="560" y="470"/>
                </a:lnTo>
                <a:lnTo>
                  <a:pt x="561" y="470"/>
                </a:lnTo>
                <a:lnTo>
                  <a:pt x="561" y="471"/>
                </a:lnTo>
                <a:lnTo>
                  <a:pt x="559" y="471"/>
                </a:lnTo>
                <a:lnTo>
                  <a:pt x="558" y="473"/>
                </a:lnTo>
                <a:lnTo>
                  <a:pt x="558" y="475"/>
                </a:lnTo>
                <a:lnTo>
                  <a:pt x="556" y="474"/>
                </a:lnTo>
                <a:lnTo>
                  <a:pt x="553" y="474"/>
                </a:lnTo>
                <a:lnTo>
                  <a:pt x="553" y="476"/>
                </a:lnTo>
                <a:lnTo>
                  <a:pt x="552" y="476"/>
                </a:lnTo>
                <a:lnTo>
                  <a:pt x="550" y="477"/>
                </a:lnTo>
                <a:lnTo>
                  <a:pt x="549" y="477"/>
                </a:lnTo>
                <a:lnTo>
                  <a:pt x="547" y="482"/>
                </a:lnTo>
                <a:lnTo>
                  <a:pt x="546" y="483"/>
                </a:lnTo>
                <a:lnTo>
                  <a:pt x="543" y="483"/>
                </a:lnTo>
                <a:lnTo>
                  <a:pt x="543" y="481"/>
                </a:lnTo>
                <a:lnTo>
                  <a:pt x="540" y="481"/>
                </a:lnTo>
                <a:lnTo>
                  <a:pt x="539" y="482"/>
                </a:lnTo>
                <a:lnTo>
                  <a:pt x="531" y="482"/>
                </a:lnTo>
                <a:lnTo>
                  <a:pt x="528" y="485"/>
                </a:lnTo>
                <a:lnTo>
                  <a:pt x="527" y="486"/>
                </a:lnTo>
                <a:lnTo>
                  <a:pt x="523" y="486"/>
                </a:lnTo>
                <a:lnTo>
                  <a:pt x="521" y="488"/>
                </a:lnTo>
                <a:lnTo>
                  <a:pt x="521" y="487"/>
                </a:lnTo>
                <a:lnTo>
                  <a:pt x="518" y="489"/>
                </a:lnTo>
                <a:lnTo>
                  <a:pt x="518" y="491"/>
                </a:lnTo>
                <a:lnTo>
                  <a:pt x="516" y="493"/>
                </a:lnTo>
                <a:lnTo>
                  <a:pt x="515" y="498"/>
                </a:lnTo>
                <a:lnTo>
                  <a:pt x="515" y="499"/>
                </a:lnTo>
                <a:lnTo>
                  <a:pt x="511" y="499"/>
                </a:lnTo>
                <a:lnTo>
                  <a:pt x="511" y="500"/>
                </a:lnTo>
                <a:lnTo>
                  <a:pt x="510" y="501"/>
                </a:lnTo>
                <a:lnTo>
                  <a:pt x="508" y="501"/>
                </a:lnTo>
                <a:lnTo>
                  <a:pt x="508" y="504"/>
                </a:lnTo>
                <a:lnTo>
                  <a:pt x="506" y="504"/>
                </a:lnTo>
                <a:lnTo>
                  <a:pt x="506" y="505"/>
                </a:lnTo>
                <a:lnTo>
                  <a:pt x="505" y="506"/>
                </a:lnTo>
                <a:lnTo>
                  <a:pt x="503" y="506"/>
                </a:lnTo>
                <a:lnTo>
                  <a:pt x="499" y="508"/>
                </a:lnTo>
                <a:lnTo>
                  <a:pt x="497" y="508"/>
                </a:lnTo>
                <a:lnTo>
                  <a:pt x="494" y="507"/>
                </a:lnTo>
                <a:lnTo>
                  <a:pt x="488" y="507"/>
                </a:lnTo>
                <a:lnTo>
                  <a:pt x="485" y="506"/>
                </a:lnTo>
                <a:lnTo>
                  <a:pt x="485" y="504"/>
                </a:lnTo>
                <a:lnTo>
                  <a:pt x="484" y="501"/>
                </a:lnTo>
                <a:lnTo>
                  <a:pt x="479" y="501"/>
                </a:lnTo>
                <a:lnTo>
                  <a:pt x="479" y="500"/>
                </a:lnTo>
                <a:lnTo>
                  <a:pt x="474" y="498"/>
                </a:lnTo>
                <a:lnTo>
                  <a:pt x="474" y="496"/>
                </a:lnTo>
                <a:lnTo>
                  <a:pt x="475" y="495"/>
                </a:lnTo>
                <a:lnTo>
                  <a:pt x="479" y="495"/>
                </a:lnTo>
                <a:lnTo>
                  <a:pt x="479" y="494"/>
                </a:lnTo>
                <a:lnTo>
                  <a:pt x="481" y="494"/>
                </a:lnTo>
                <a:lnTo>
                  <a:pt x="480" y="493"/>
                </a:lnTo>
                <a:lnTo>
                  <a:pt x="480" y="492"/>
                </a:lnTo>
                <a:lnTo>
                  <a:pt x="481" y="491"/>
                </a:lnTo>
                <a:lnTo>
                  <a:pt x="481" y="487"/>
                </a:lnTo>
                <a:lnTo>
                  <a:pt x="480" y="486"/>
                </a:lnTo>
                <a:lnTo>
                  <a:pt x="480" y="483"/>
                </a:lnTo>
                <a:lnTo>
                  <a:pt x="481" y="482"/>
                </a:lnTo>
                <a:lnTo>
                  <a:pt x="481" y="481"/>
                </a:lnTo>
                <a:lnTo>
                  <a:pt x="484" y="480"/>
                </a:lnTo>
                <a:lnTo>
                  <a:pt x="484" y="479"/>
                </a:lnTo>
                <a:lnTo>
                  <a:pt x="485" y="477"/>
                </a:lnTo>
                <a:lnTo>
                  <a:pt x="485" y="475"/>
                </a:lnTo>
                <a:lnTo>
                  <a:pt x="484" y="473"/>
                </a:lnTo>
                <a:lnTo>
                  <a:pt x="484" y="471"/>
                </a:lnTo>
                <a:lnTo>
                  <a:pt x="483" y="470"/>
                </a:lnTo>
                <a:lnTo>
                  <a:pt x="483" y="465"/>
                </a:lnTo>
                <a:lnTo>
                  <a:pt x="481" y="464"/>
                </a:lnTo>
                <a:lnTo>
                  <a:pt x="478" y="463"/>
                </a:lnTo>
                <a:lnTo>
                  <a:pt x="475" y="461"/>
                </a:lnTo>
                <a:lnTo>
                  <a:pt x="472" y="461"/>
                </a:lnTo>
                <a:lnTo>
                  <a:pt x="471" y="462"/>
                </a:lnTo>
                <a:lnTo>
                  <a:pt x="468" y="462"/>
                </a:lnTo>
                <a:lnTo>
                  <a:pt x="468" y="461"/>
                </a:lnTo>
                <a:lnTo>
                  <a:pt x="467" y="461"/>
                </a:lnTo>
                <a:lnTo>
                  <a:pt x="466" y="459"/>
                </a:lnTo>
                <a:lnTo>
                  <a:pt x="465" y="459"/>
                </a:lnTo>
                <a:lnTo>
                  <a:pt x="463" y="457"/>
                </a:lnTo>
                <a:lnTo>
                  <a:pt x="462" y="457"/>
                </a:lnTo>
                <a:lnTo>
                  <a:pt x="462" y="456"/>
                </a:lnTo>
                <a:lnTo>
                  <a:pt x="461" y="455"/>
                </a:lnTo>
                <a:lnTo>
                  <a:pt x="460" y="455"/>
                </a:lnTo>
                <a:lnTo>
                  <a:pt x="456" y="451"/>
                </a:lnTo>
                <a:lnTo>
                  <a:pt x="454" y="450"/>
                </a:lnTo>
                <a:lnTo>
                  <a:pt x="446" y="450"/>
                </a:lnTo>
                <a:lnTo>
                  <a:pt x="444" y="452"/>
                </a:lnTo>
                <a:lnTo>
                  <a:pt x="440" y="452"/>
                </a:lnTo>
                <a:lnTo>
                  <a:pt x="438" y="451"/>
                </a:lnTo>
                <a:lnTo>
                  <a:pt x="437" y="451"/>
                </a:lnTo>
                <a:lnTo>
                  <a:pt x="436" y="448"/>
                </a:lnTo>
                <a:lnTo>
                  <a:pt x="437" y="445"/>
                </a:lnTo>
                <a:lnTo>
                  <a:pt x="438" y="444"/>
                </a:lnTo>
                <a:lnTo>
                  <a:pt x="443" y="440"/>
                </a:lnTo>
                <a:lnTo>
                  <a:pt x="446" y="440"/>
                </a:lnTo>
                <a:lnTo>
                  <a:pt x="446" y="439"/>
                </a:lnTo>
                <a:lnTo>
                  <a:pt x="447" y="439"/>
                </a:lnTo>
                <a:lnTo>
                  <a:pt x="448" y="438"/>
                </a:lnTo>
                <a:lnTo>
                  <a:pt x="452" y="438"/>
                </a:lnTo>
                <a:lnTo>
                  <a:pt x="452" y="437"/>
                </a:lnTo>
                <a:lnTo>
                  <a:pt x="450" y="437"/>
                </a:lnTo>
                <a:lnTo>
                  <a:pt x="452" y="436"/>
                </a:lnTo>
                <a:lnTo>
                  <a:pt x="453" y="433"/>
                </a:lnTo>
                <a:lnTo>
                  <a:pt x="465" y="427"/>
                </a:lnTo>
                <a:lnTo>
                  <a:pt x="466" y="427"/>
                </a:lnTo>
                <a:lnTo>
                  <a:pt x="466" y="426"/>
                </a:lnTo>
                <a:lnTo>
                  <a:pt x="465" y="425"/>
                </a:lnTo>
                <a:lnTo>
                  <a:pt x="466" y="425"/>
                </a:lnTo>
                <a:lnTo>
                  <a:pt x="467" y="426"/>
                </a:lnTo>
                <a:lnTo>
                  <a:pt x="469" y="426"/>
                </a:lnTo>
                <a:lnTo>
                  <a:pt x="473" y="425"/>
                </a:lnTo>
                <a:lnTo>
                  <a:pt x="474" y="424"/>
                </a:lnTo>
                <a:lnTo>
                  <a:pt x="475" y="421"/>
                </a:lnTo>
                <a:lnTo>
                  <a:pt x="477" y="421"/>
                </a:lnTo>
                <a:lnTo>
                  <a:pt x="478" y="420"/>
                </a:lnTo>
                <a:lnTo>
                  <a:pt x="479" y="420"/>
                </a:lnTo>
                <a:lnTo>
                  <a:pt x="480" y="421"/>
                </a:lnTo>
                <a:lnTo>
                  <a:pt x="483" y="419"/>
                </a:lnTo>
                <a:lnTo>
                  <a:pt x="486" y="419"/>
                </a:lnTo>
                <a:lnTo>
                  <a:pt x="486" y="420"/>
                </a:lnTo>
                <a:lnTo>
                  <a:pt x="487" y="420"/>
                </a:lnTo>
                <a:lnTo>
                  <a:pt x="487" y="416"/>
                </a:lnTo>
                <a:lnTo>
                  <a:pt x="491" y="416"/>
                </a:lnTo>
                <a:lnTo>
                  <a:pt x="491" y="415"/>
                </a:lnTo>
                <a:lnTo>
                  <a:pt x="490" y="415"/>
                </a:lnTo>
                <a:lnTo>
                  <a:pt x="490" y="414"/>
                </a:lnTo>
                <a:lnTo>
                  <a:pt x="485" y="414"/>
                </a:lnTo>
                <a:lnTo>
                  <a:pt x="485" y="413"/>
                </a:lnTo>
                <a:lnTo>
                  <a:pt x="486" y="413"/>
                </a:lnTo>
                <a:lnTo>
                  <a:pt x="485" y="412"/>
                </a:lnTo>
                <a:lnTo>
                  <a:pt x="485" y="407"/>
                </a:lnTo>
                <a:lnTo>
                  <a:pt x="486" y="406"/>
                </a:lnTo>
                <a:lnTo>
                  <a:pt x="485" y="405"/>
                </a:lnTo>
                <a:lnTo>
                  <a:pt x="484" y="402"/>
                </a:lnTo>
                <a:lnTo>
                  <a:pt x="483" y="402"/>
                </a:lnTo>
                <a:lnTo>
                  <a:pt x="480" y="405"/>
                </a:lnTo>
                <a:lnTo>
                  <a:pt x="481" y="406"/>
                </a:lnTo>
                <a:lnTo>
                  <a:pt x="480" y="406"/>
                </a:lnTo>
                <a:lnTo>
                  <a:pt x="480" y="407"/>
                </a:lnTo>
                <a:lnTo>
                  <a:pt x="479" y="407"/>
                </a:lnTo>
                <a:lnTo>
                  <a:pt x="480" y="408"/>
                </a:lnTo>
                <a:lnTo>
                  <a:pt x="475" y="408"/>
                </a:lnTo>
                <a:lnTo>
                  <a:pt x="474" y="406"/>
                </a:lnTo>
                <a:lnTo>
                  <a:pt x="473" y="405"/>
                </a:lnTo>
                <a:lnTo>
                  <a:pt x="472" y="405"/>
                </a:lnTo>
                <a:lnTo>
                  <a:pt x="472" y="403"/>
                </a:lnTo>
                <a:lnTo>
                  <a:pt x="467" y="403"/>
                </a:lnTo>
                <a:lnTo>
                  <a:pt x="467" y="402"/>
                </a:lnTo>
                <a:lnTo>
                  <a:pt x="468" y="402"/>
                </a:lnTo>
                <a:lnTo>
                  <a:pt x="468" y="397"/>
                </a:lnTo>
                <a:lnTo>
                  <a:pt x="467" y="399"/>
                </a:lnTo>
                <a:lnTo>
                  <a:pt x="467" y="401"/>
                </a:lnTo>
                <a:lnTo>
                  <a:pt x="466" y="402"/>
                </a:lnTo>
                <a:lnTo>
                  <a:pt x="465" y="402"/>
                </a:lnTo>
                <a:lnTo>
                  <a:pt x="463" y="403"/>
                </a:lnTo>
                <a:lnTo>
                  <a:pt x="462" y="403"/>
                </a:lnTo>
                <a:lnTo>
                  <a:pt x="462" y="402"/>
                </a:lnTo>
                <a:lnTo>
                  <a:pt x="459" y="401"/>
                </a:lnTo>
                <a:lnTo>
                  <a:pt x="460" y="403"/>
                </a:lnTo>
                <a:lnTo>
                  <a:pt x="459" y="403"/>
                </a:lnTo>
                <a:lnTo>
                  <a:pt x="455" y="405"/>
                </a:lnTo>
                <a:lnTo>
                  <a:pt x="452" y="405"/>
                </a:lnTo>
                <a:lnTo>
                  <a:pt x="449" y="403"/>
                </a:lnTo>
                <a:lnTo>
                  <a:pt x="448" y="403"/>
                </a:lnTo>
                <a:lnTo>
                  <a:pt x="447" y="405"/>
                </a:lnTo>
                <a:lnTo>
                  <a:pt x="441" y="405"/>
                </a:lnTo>
                <a:lnTo>
                  <a:pt x="441" y="406"/>
                </a:lnTo>
                <a:lnTo>
                  <a:pt x="440" y="406"/>
                </a:lnTo>
                <a:lnTo>
                  <a:pt x="438" y="407"/>
                </a:lnTo>
                <a:lnTo>
                  <a:pt x="437" y="407"/>
                </a:lnTo>
                <a:lnTo>
                  <a:pt x="429" y="405"/>
                </a:lnTo>
                <a:lnTo>
                  <a:pt x="428" y="403"/>
                </a:lnTo>
                <a:lnTo>
                  <a:pt x="426" y="403"/>
                </a:lnTo>
                <a:lnTo>
                  <a:pt x="426" y="400"/>
                </a:lnTo>
                <a:lnTo>
                  <a:pt x="428" y="400"/>
                </a:lnTo>
                <a:lnTo>
                  <a:pt x="428" y="399"/>
                </a:lnTo>
                <a:lnTo>
                  <a:pt x="426" y="400"/>
                </a:lnTo>
                <a:lnTo>
                  <a:pt x="424" y="400"/>
                </a:lnTo>
                <a:lnTo>
                  <a:pt x="422" y="399"/>
                </a:lnTo>
                <a:lnTo>
                  <a:pt x="421" y="399"/>
                </a:lnTo>
                <a:lnTo>
                  <a:pt x="419" y="396"/>
                </a:lnTo>
                <a:lnTo>
                  <a:pt x="418" y="395"/>
                </a:lnTo>
                <a:lnTo>
                  <a:pt x="417" y="396"/>
                </a:lnTo>
                <a:lnTo>
                  <a:pt x="415" y="395"/>
                </a:lnTo>
                <a:lnTo>
                  <a:pt x="411" y="391"/>
                </a:lnTo>
                <a:lnTo>
                  <a:pt x="411" y="394"/>
                </a:lnTo>
                <a:lnTo>
                  <a:pt x="407" y="394"/>
                </a:lnTo>
                <a:lnTo>
                  <a:pt x="406" y="393"/>
                </a:lnTo>
                <a:lnTo>
                  <a:pt x="406" y="391"/>
                </a:lnTo>
                <a:lnTo>
                  <a:pt x="407" y="390"/>
                </a:lnTo>
                <a:lnTo>
                  <a:pt x="415" y="390"/>
                </a:lnTo>
                <a:lnTo>
                  <a:pt x="417" y="388"/>
                </a:lnTo>
                <a:lnTo>
                  <a:pt x="418" y="388"/>
                </a:lnTo>
                <a:lnTo>
                  <a:pt x="418" y="387"/>
                </a:lnTo>
                <a:lnTo>
                  <a:pt x="417" y="384"/>
                </a:lnTo>
                <a:lnTo>
                  <a:pt x="415" y="384"/>
                </a:lnTo>
                <a:lnTo>
                  <a:pt x="412" y="383"/>
                </a:lnTo>
                <a:lnTo>
                  <a:pt x="406" y="381"/>
                </a:lnTo>
                <a:lnTo>
                  <a:pt x="404" y="381"/>
                </a:lnTo>
                <a:lnTo>
                  <a:pt x="403" y="382"/>
                </a:lnTo>
                <a:lnTo>
                  <a:pt x="403" y="385"/>
                </a:lnTo>
                <a:lnTo>
                  <a:pt x="401" y="383"/>
                </a:lnTo>
                <a:lnTo>
                  <a:pt x="401" y="382"/>
                </a:lnTo>
                <a:lnTo>
                  <a:pt x="396" y="377"/>
                </a:lnTo>
                <a:lnTo>
                  <a:pt x="396" y="376"/>
                </a:lnTo>
                <a:lnTo>
                  <a:pt x="398" y="378"/>
                </a:lnTo>
                <a:lnTo>
                  <a:pt x="406" y="377"/>
                </a:lnTo>
                <a:lnTo>
                  <a:pt x="407" y="378"/>
                </a:lnTo>
                <a:lnTo>
                  <a:pt x="410" y="379"/>
                </a:lnTo>
                <a:lnTo>
                  <a:pt x="413" y="379"/>
                </a:lnTo>
                <a:lnTo>
                  <a:pt x="417" y="381"/>
                </a:lnTo>
                <a:lnTo>
                  <a:pt x="425" y="381"/>
                </a:lnTo>
                <a:lnTo>
                  <a:pt x="428" y="383"/>
                </a:lnTo>
                <a:lnTo>
                  <a:pt x="431" y="383"/>
                </a:lnTo>
                <a:lnTo>
                  <a:pt x="434" y="381"/>
                </a:lnTo>
                <a:lnTo>
                  <a:pt x="434" y="379"/>
                </a:lnTo>
                <a:lnTo>
                  <a:pt x="438" y="375"/>
                </a:lnTo>
                <a:lnTo>
                  <a:pt x="441" y="375"/>
                </a:lnTo>
                <a:lnTo>
                  <a:pt x="443" y="372"/>
                </a:lnTo>
                <a:lnTo>
                  <a:pt x="443" y="371"/>
                </a:lnTo>
                <a:lnTo>
                  <a:pt x="441" y="373"/>
                </a:lnTo>
                <a:lnTo>
                  <a:pt x="438" y="373"/>
                </a:lnTo>
                <a:lnTo>
                  <a:pt x="434" y="377"/>
                </a:lnTo>
                <a:lnTo>
                  <a:pt x="430" y="377"/>
                </a:lnTo>
                <a:lnTo>
                  <a:pt x="428" y="376"/>
                </a:lnTo>
                <a:lnTo>
                  <a:pt x="426" y="375"/>
                </a:lnTo>
                <a:lnTo>
                  <a:pt x="425" y="376"/>
                </a:lnTo>
                <a:lnTo>
                  <a:pt x="423" y="376"/>
                </a:lnTo>
                <a:lnTo>
                  <a:pt x="422" y="377"/>
                </a:lnTo>
                <a:lnTo>
                  <a:pt x="421" y="375"/>
                </a:lnTo>
                <a:lnTo>
                  <a:pt x="421" y="373"/>
                </a:lnTo>
                <a:lnTo>
                  <a:pt x="417" y="373"/>
                </a:lnTo>
                <a:lnTo>
                  <a:pt x="417" y="372"/>
                </a:lnTo>
                <a:lnTo>
                  <a:pt x="416" y="371"/>
                </a:lnTo>
                <a:lnTo>
                  <a:pt x="416" y="370"/>
                </a:lnTo>
                <a:lnTo>
                  <a:pt x="415" y="369"/>
                </a:lnTo>
                <a:lnTo>
                  <a:pt x="415" y="366"/>
                </a:lnTo>
                <a:lnTo>
                  <a:pt x="413" y="366"/>
                </a:lnTo>
                <a:lnTo>
                  <a:pt x="413" y="363"/>
                </a:lnTo>
                <a:lnTo>
                  <a:pt x="415" y="360"/>
                </a:lnTo>
                <a:lnTo>
                  <a:pt x="416" y="359"/>
                </a:lnTo>
                <a:lnTo>
                  <a:pt x="416" y="357"/>
                </a:lnTo>
                <a:lnTo>
                  <a:pt x="417" y="356"/>
                </a:lnTo>
                <a:lnTo>
                  <a:pt x="416" y="354"/>
                </a:lnTo>
                <a:lnTo>
                  <a:pt x="413" y="353"/>
                </a:lnTo>
                <a:lnTo>
                  <a:pt x="413" y="352"/>
                </a:lnTo>
                <a:lnTo>
                  <a:pt x="415" y="350"/>
                </a:lnTo>
                <a:lnTo>
                  <a:pt x="413" y="348"/>
                </a:lnTo>
                <a:lnTo>
                  <a:pt x="412" y="350"/>
                </a:lnTo>
                <a:lnTo>
                  <a:pt x="413" y="350"/>
                </a:lnTo>
                <a:lnTo>
                  <a:pt x="412" y="352"/>
                </a:lnTo>
                <a:lnTo>
                  <a:pt x="412" y="354"/>
                </a:lnTo>
                <a:lnTo>
                  <a:pt x="415" y="354"/>
                </a:lnTo>
                <a:lnTo>
                  <a:pt x="415" y="357"/>
                </a:lnTo>
                <a:lnTo>
                  <a:pt x="413" y="359"/>
                </a:lnTo>
                <a:lnTo>
                  <a:pt x="412" y="360"/>
                </a:lnTo>
                <a:lnTo>
                  <a:pt x="411" y="360"/>
                </a:lnTo>
                <a:lnTo>
                  <a:pt x="410" y="362"/>
                </a:lnTo>
                <a:lnTo>
                  <a:pt x="410" y="364"/>
                </a:lnTo>
                <a:lnTo>
                  <a:pt x="412" y="366"/>
                </a:lnTo>
                <a:lnTo>
                  <a:pt x="412" y="371"/>
                </a:lnTo>
                <a:lnTo>
                  <a:pt x="410" y="373"/>
                </a:lnTo>
                <a:lnTo>
                  <a:pt x="406" y="373"/>
                </a:lnTo>
                <a:lnTo>
                  <a:pt x="403" y="371"/>
                </a:lnTo>
                <a:lnTo>
                  <a:pt x="400" y="371"/>
                </a:lnTo>
                <a:lnTo>
                  <a:pt x="399" y="372"/>
                </a:lnTo>
                <a:lnTo>
                  <a:pt x="399" y="373"/>
                </a:lnTo>
                <a:lnTo>
                  <a:pt x="394" y="373"/>
                </a:lnTo>
                <a:lnTo>
                  <a:pt x="394" y="371"/>
                </a:lnTo>
                <a:lnTo>
                  <a:pt x="397" y="366"/>
                </a:lnTo>
                <a:lnTo>
                  <a:pt x="398" y="365"/>
                </a:lnTo>
                <a:lnTo>
                  <a:pt x="398" y="364"/>
                </a:lnTo>
                <a:lnTo>
                  <a:pt x="400" y="362"/>
                </a:lnTo>
                <a:lnTo>
                  <a:pt x="399" y="360"/>
                </a:lnTo>
                <a:lnTo>
                  <a:pt x="399" y="363"/>
                </a:lnTo>
                <a:lnTo>
                  <a:pt x="398" y="363"/>
                </a:lnTo>
                <a:lnTo>
                  <a:pt x="398" y="364"/>
                </a:lnTo>
                <a:lnTo>
                  <a:pt x="397" y="364"/>
                </a:lnTo>
                <a:lnTo>
                  <a:pt x="396" y="365"/>
                </a:lnTo>
                <a:lnTo>
                  <a:pt x="396" y="366"/>
                </a:lnTo>
                <a:lnTo>
                  <a:pt x="393" y="364"/>
                </a:lnTo>
                <a:lnTo>
                  <a:pt x="393" y="363"/>
                </a:lnTo>
                <a:lnTo>
                  <a:pt x="392" y="363"/>
                </a:lnTo>
                <a:lnTo>
                  <a:pt x="393" y="364"/>
                </a:lnTo>
                <a:lnTo>
                  <a:pt x="393" y="365"/>
                </a:lnTo>
                <a:lnTo>
                  <a:pt x="394" y="366"/>
                </a:lnTo>
                <a:lnTo>
                  <a:pt x="396" y="366"/>
                </a:lnTo>
                <a:lnTo>
                  <a:pt x="396" y="367"/>
                </a:lnTo>
                <a:lnTo>
                  <a:pt x="394" y="369"/>
                </a:lnTo>
                <a:lnTo>
                  <a:pt x="394" y="370"/>
                </a:lnTo>
                <a:lnTo>
                  <a:pt x="393" y="370"/>
                </a:lnTo>
                <a:lnTo>
                  <a:pt x="392" y="372"/>
                </a:lnTo>
                <a:lnTo>
                  <a:pt x="392" y="373"/>
                </a:lnTo>
                <a:lnTo>
                  <a:pt x="391" y="373"/>
                </a:lnTo>
                <a:lnTo>
                  <a:pt x="388" y="375"/>
                </a:lnTo>
                <a:lnTo>
                  <a:pt x="386" y="375"/>
                </a:lnTo>
                <a:lnTo>
                  <a:pt x="385" y="373"/>
                </a:lnTo>
                <a:lnTo>
                  <a:pt x="376" y="373"/>
                </a:lnTo>
                <a:lnTo>
                  <a:pt x="374" y="375"/>
                </a:lnTo>
                <a:lnTo>
                  <a:pt x="373" y="375"/>
                </a:lnTo>
                <a:lnTo>
                  <a:pt x="372" y="376"/>
                </a:lnTo>
                <a:lnTo>
                  <a:pt x="370" y="376"/>
                </a:lnTo>
                <a:lnTo>
                  <a:pt x="368" y="377"/>
                </a:lnTo>
                <a:lnTo>
                  <a:pt x="365" y="377"/>
                </a:lnTo>
                <a:lnTo>
                  <a:pt x="363" y="379"/>
                </a:lnTo>
                <a:lnTo>
                  <a:pt x="363" y="381"/>
                </a:lnTo>
                <a:lnTo>
                  <a:pt x="365" y="382"/>
                </a:lnTo>
                <a:lnTo>
                  <a:pt x="365" y="383"/>
                </a:lnTo>
                <a:lnTo>
                  <a:pt x="366" y="384"/>
                </a:lnTo>
                <a:lnTo>
                  <a:pt x="365" y="384"/>
                </a:lnTo>
                <a:lnTo>
                  <a:pt x="365" y="387"/>
                </a:lnTo>
                <a:lnTo>
                  <a:pt x="362" y="389"/>
                </a:lnTo>
                <a:lnTo>
                  <a:pt x="362" y="390"/>
                </a:lnTo>
                <a:lnTo>
                  <a:pt x="360" y="390"/>
                </a:lnTo>
                <a:lnTo>
                  <a:pt x="360" y="391"/>
                </a:lnTo>
                <a:lnTo>
                  <a:pt x="361" y="391"/>
                </a:lnTo>
                <a:lnTo>
                  <a:pt x="361" y="393"/>
                </a:lnTo>
                <a:lnTo>
                  <a:pt x="360" y="395"/>
                </a:lnTo>
                <a:lnTo>
                  <a:pt x="356" y="400"/>
                </a:lnTo>
                <a:lnTo>
                  <a:pt x="355" y="401"/>
                </a:lnTo>
                <a:lnTo>
                  <a:pt x="355" y="402"/>
                </a:lnTo>
                <a:lnTo>
                  <a:pt x="354" y="402"/>
                </a:lnTo>
                <a:lnTo>
                  <a:pt x="354" y="403"/>
                </a:lnTo>
                <a:lnTo>
                  <a:pt x="353" y="406"/>
                </a:lnTo>
                <a:lnTo>
                  <a:pt x="353" y="407"/>
                </a:lnTo>
                <a:lnTo>
                  <a:pt x="348" y="412"/>
                </a:lnTo>
                <a:lnTo>
                  <a:pt x="343" y="418"/>
                </a:lnTo>
                <a:lnTo>
                  <a:pt x="341" y="420"/>
                </a:lnTo>
                <a:lnTo>
                  <a:pt x="337" y="422"/>
                </a:lnTo>
                <a:lnTo>
                  <a:pt x="337" y="419"/>
                </a:lnTo>
                <a:lnTo>
                  <a:pt x="336" y="419"/>
                </a:lnTo>
                <a:lnTo>
                  <a:pt x="336" y="422"/>
                </a:lnTo>
                <a:lnTo>
                  <a:pt x="335" y="422"/>
                </a:lnTo>
                <a:lnTo>
                  <a:pt x="332" y="421"/>
                </a:lnTo>
                <a:lnTo>
                  <a:pt x="331" y="420"/>
                </a:lnTo>
                <a:lnTo>
                  <a:pt x="330" y="421"/>
                </a:lnTo>
                <a:lnTo>
                  <a:pt x="330" y="425"/>
                </a:lnTo>
                <a:lnTo>
                  <a:pt x="329" y="425"/>
                </a:lnTo>
                <a:lnTo>
                  <a:pt x="329" y="427"/>
                </a:lnTo>
                <a:lnTo>
                  <a:pt x="328" y="426"/>
                </a:lnTo>
                <a:lnTo>
                  <a:pt x="324" y="426"/>
                </a:lnTo>
                <a:lnTo>
                  <a:pt x="323" y="427"/>
                </a:lnTo>
                <a:lnTo>
                  <a:pt x="323" y="430"/>
                </a:lnTo>
                <a:lnTo>
                  <a:pt x="325" y="430"/>
                </a:lnTo>
                <a:lnTo>
                  <a:pt x="325" y="432"/>
                </a:lnTo>
                <a:lnTo>
                  <a:pt x="323" y="432"/>
                </a:lnTo>
                <a:lnTo>
                  <a:pt x="323" y="433"/>
                </a:lnTo>
                <a:lnTo>
                  <a:pt x="322" y="433"/>
                </a:lnTo>
                <a:lnTo>
                  <a:pt x="320" y="434"/>
                </a:lnTo>
                <a:lnTo>
                  <a:pt x="320" y="432"/>
                </a:lnTo>
                <a:lnTo>
                  <a:pt x="319" y="430"/>
                </a:lnTo>
                <a:lnTo>
                  <a:pt x="318" y="430"/>
                </a:lnTo>
                <a:lnTo>
                  <a:pt x="318" y="425"/>
                </a:lnTo>
                <a:lnTo>
                  <a:pt x="319" y="425"/>
                </a:lnTo>
                <a:lnTo>
                  <a:pt x="317" y="422"/>
                </a:lnTo>
                <a:lnTo>
                  <a:pt x="317" y="421"/>
                </a:lnTo>
                <a:lnTo>
                  <a:pt x="316" y="422"/>
                </a:lnTo>
                <a:lnTo>
                  <a:pt x="317" y="422"/>
                </a:lnTo>
                <a:lnTo>
                  <a:pt x="317" y="425"/>
                </a:lnTo>
                <a:lnTo>
                  <a:pt x="316" y="426"/>
                </a:lnTo>
                <a:lnTo>
                  <a:pt x="316" y="428"/>
                </a:lnTo>
                <a:lnTo>
                  <a:pt x="317" y="428"/>
                </a:lnTo>
                <a:lnTo>
                  <a:pt x="314" y="430"/>
                </a:lnTo>
                <a:lnTo>
                  <a:pt x="314" y="438"/>
                </a:lnTo>
                <a:lnTo>
                  <a:pt x="316" y="438"/>
                </a:lnTo>
                <a:lnTo>
                  <a:pt x="316" y="439"/>
                </a:lnTo>
                <a:lnTo>
                  <a:pt x="318" y="439"/>
                </a:lnTo>
                <a:lnTo>
                  <a:pt x="318" y="438"/>
                </a:lnTo>
                <a:lnTo>
                  <a:pt x="319" y="437"/>
                </a:lnTo>
                <a:lnTo>
                  <a:pt x="319" y="438"/>
                </a:lnTo>
                <a:lnTo>
                  <a:pt x="314" y="443"/>
                </a:lnTo>
                <a:lnTo>
                  <a:pt x="316" y="444"/>
                </a:lnTo>
                <a:lnTo>
                  <a:pt x="316" y="445"/>
                </a:lnTo>
                <a:lnTo>
                  <a:pt x="317" y="445"/>
                </a:lnTo>
                <a:lnTo>
                  <a:pt x="317" y="443"/>
                </a:lnTo>
                <a:lnTo>
                  <a:pt x="318" y="443"/>
                </a:lnTo>
                <a:lnTo>
                  <a:pt x="318" y="444"/>
                </a:lnTo>
                <a:lnTo>
                  <a:pt x="319" y="444"/>
                </a:lnTo>
                <a:lnTo>
                  <a:pt x="319" y="445"/>
                </a:lnTo>
                <a:lnTo>
                  <a:pt x="320" y="444"/>
                </a:lnTo>
                <a:lnTo>
                  <a:pt x="322" y="445"/>
                </a:lnTo>
                <a:lnTo>
                  <a:pt x="322" y="446"/>
                </a:lnTo>
                <a:lnTo>
                  <a:pt x="320" y="446"/>
                </a:lnTo>
                <a:lnTo>
                  <a:pt x="320" y="448"/>
                </a:lnTo>
                <a:lnTo>
                  <a:pt x="322" y="449"/>
                </a:lnTo>
                <a:lnTo>
                  <a:pt x="322" y="453"/>
                </a:lnTo>
                <a:lnTo>
                  <a:pt x="320" y="453"/>
                </a:lnTo>
                <a:lnTo>
                  <a:pt x="320" y="457"/>
                </a:lnTo>
                <a:lnTo>
                  <a:pt x="319" y="458"/>
                </a:lnTo>
                <a:lnTo>
                  <a:pt x="318" y="458"/>
                </a:lnTo>
                <a:lnTo>
                  <a:pt x="318" y="457"/>
                </a:lnTo>
                <a:lnTo>
                  <a:pt x="317" y="457"/>
                </a:lnTo>
                <a:lnTo>
                  <a:pt x="318" y="455"/>
                </a:lnTo>
                <a:lnTo>
                  <a:pt x="318" y="452"/>
                </a:lnTo>
                <a:lnTo>
                  <a:pt x="313" y="448"/>
                </a:lnTo>
                <a:lnTo>
                  <a:pt x="307" y="445"/>
                </a:lnTo>
                <a:lnTo>
                  <a:pt x="303" y="445"/>
                </a:lnTo>
                <a:lnTo>
                  <a:pt x="303" y="446"/>
                </a:lnTo>
                <a:lnTo>
                  <a:pt x="298" y="446"/>
                </a:lnTo>
                <a:lnTo>
                  <a:pt x="298" y="448"/>
                </a:lnTo>
                <a:lnTo>
                  <a:pt x="297" y="448"/>
                </a:lnTo>
                <a:lnTo>
                  <a:pt x="297" y="449"/>
                </a:lnTo>
                <a:lnTo>
                  <a:pt x="295" y="449"/>
                </a:lnTo>
                <a:lnTo>
                  <a:pt x="294" y="450"/>
                </a:lnTo>
                <a:lnTo>
                  <a:pt x="292" y="450"/>
                </a:lnTo>
                <a:lnTo>
                  <a:pt x="289" y="452"/>
                </a:lnTo>
                <a:lnTo>
                  <a:pt x="288" y="452"/>
                </a:lnTo>
                <a:lnTo>
                  <a:pt x="288" y="453"/>
                </a:lnTo>
                <a:lnTo>
                  <a:pt x="287" y="455"/>
                </a:lnTo>
                <a:lnTo>
                  <a:pt x="286" y="455"/>
                </a:lnTo>
                <a:lnTo>
                  <a:pt x="285" y="453"/>
                </a:lnTo>
                <a:lnTo>
                  <a:pt x="283" y="453"/>
                </a:lnTo>
                <a:lnTo>
                  <a:pt x="282" y="452"/>
                </a:lnTo>
                <a:lnTo>
                  <a:pt x="281" y="452"/>
                </a:lnTo>
                <a:lnTo>
                  <a:pt x="281" y="453"/>
                </a:lnTo>
                <a:lnTo>
                  <a:pt x="280" y="455"/>
                </a:lnTo>
                <a:lnTo>
                  <a:pt x="280" y="456"/>
                </a:lnTo>
                <a:lnTo>
                  <a:pt x="281" y="457"/>
                </a:lnTo>
                <a:lnTo>
                  <a:pt x="280" y="457"/>
                </a:lnTo>
                <a:lnTo>
                  <a:pt x="279" y="458"/>
                </a:lnTo>
                <a:lnTo>
                  <a:pt x="278" y="458"/>
                </a:lnTo>
                <a:lnTo>
                  <a:pt x="272" y="457"/>
                </a:lnTo>
                <a:lnTo>
                  <a:pt x="268" y="455"/>
                </a:lnTo>
                <a:lnTo>
                  <a:pt x="264" y="453"/>
                </a:lnTo>
                <a:lnTo>
                  <a:pt x="263" y="453"/>
                </a:lnTo>
                <a:lnTo>
                  <a:pt x="262" y="452"/>
                </a:lnTo>
                <a:lnTo>
                  <a:pt x="261" y="452"/>
                </a:lnTo>
                <a:lnTo>
                  <a:pt x="261" y="451"/>
                </a:lnTo>
                <a:lnTo>
                  <a:pt x="260" y="448"/>
                </a:lnTo>
                <a:lnTo>
                  <a:pt x="260" y="446"/>
                </a:lnTo>
                <a:lnTo>
                  <a:pt x="257" y="444"/>
                </a:lnTo>
                <a:lnTo>
                  <a:pt x="256" y="444"/>
                </a:lnTo>
                <a:lnTo>
                  <a:pt x="256" y="442"/>
                </a:lnTo>
                <a:lnTo>
                  <a:pt x="258" y="440"/>
                </a:lnTo>
                <a:lnTo>
                  <a:pt x="262" y="440"/>
                </a:lnTo>
                <a:lnTo>
                  <a:pt x="264" y="442"/>
                </a:lnTo>
                <a:lnTo>
                  <a:pt x="268" y="442"/>
                </a:lnTo>
                <a:lnTo>
                  <a:pt x="269" y="440"/>
                </a:lnTo>
                <a:lnTo>
                  <a:pt x="268" y="438"/>
                </a:lnTo>
                <a:lnTo>
                  <a:pt x="269" y="438"/>
                </a:lnTo>
                <a:lnTo>
                  <a:pt x="269" y="437"/>
                </a:lnTo>
                <a:lnTo>
                  <a:pt x="270" y="437"/>
                </a:lnTo>
                <a:lnTo>
                  <a:pt x="269" y="436"/>
                </a:lnTo>
                <a:lnTo>
                  <a:pt x="269" y="433"/>
                </a:lnTo>
                <a:lnTo>
                  <a:pt x="268" y="433"/>
                </a:lnTo>
                <a:lnTo>
                  <a:pt x="268" y="432"/>
                </a:lnTo>
                <a:lnTo>
                  <a:pt x="267" y="432"/>
                </a:lnTo>
                <a:lnTo>
                  <a:pt x="268" y="431"/>
                </a:lnTo>
                <a:lnTo>
                  <a:pt x="268" y="430"/>
                </a:lnTo>
                <a:lnTo>
                  <a:pt x="269" y="430"/>
                </a:lnTo>
                <a:lnTo>
                  <a:pt x="269" y="428"/>
                </a:lnTo>
                <a:lnTo>
                  <a:pt x="272" y="428"/>
                </a:lnTo>
                <a:lnTo>
                  <a:pt x="272" y="427"/>
                </a:lnTo>
                <a:lnTo>
                  <a:pt x="270" y="427"/>
                </a:lnTo>
                <a:lnTo>
                  <a:pt x="272" y="426"/>
                </a:lnTo>
                <a:lnTo>
                  <a:pt x="274" y="426"/>
                </a:lnTo>
                <a:lnTo>
                  <a:pt x="275" y="425"/>
                </a:lnTo>
                <a:lnTo>
                  <a:pt x="275" y="422"/>
                </a:lnTo>
                <a:lnTo>
                  <a:pt x="278" y="422"/>
                </a:lnTo>
                <a:lnTo>
                  <a:pt x="278" y="421"/>
                </a:lnTo>
                <a:lnTo>
                  <a:pt x="279" y="421"/>
                </a:lnTo>
                <a:lnTo>
                  <a:pt x="279" y="418"/>
                </a:lnTo>
                <a:lnTo>
                  <a:pt x="278" y="416"/>
                </a:lnTo>
                <a:lnTo>
                  <a:pt x="278" y="415"/>
                </a:lnTo>
                <a:lnTo>
                  <a:pt x="279" y="414"/>
                </a:lnTo>
                <a:lnTo>
                  <a:pt x="287" y="412"/>
                </a:lnTo>
                <a:lnTo>
                  <a:pt x="288" y="412"/>
                </a:lnTo>
                <a:lnTo>
                  <a:pt x="288" y="410"/>
                </a:lnTo>
                <a:lnTo>
                  <a:pt x="287" y="407"/>
                </a:lnTo>
                <a:lnTo>
                  <a:pt x="287" y="405"/>
                </a:lnTo>
                <a:lnTo>
                  <a:pt x="289" y="402"/>
                </a:lnTo>
                <a:lnTo>
                  <a:pt x="291" y="400"/>
                </a:lnTo>
                <a:lnTo>
                  <a:pt x="287" y="396"/>
                </a:lnTo>
                <a:lnTo>
                  <a:pt x="287" y="391"/>
                </a:lnTo>
                <a:lnTo>
                  <a:pt x="286" y="389"/>
                </a:lnTo>
                <a:lnTo>
                  <a:pt x="286" y="385"/>
                </a:lnTo>
                <a:lnTo>
                  <a:pt x="287" y="383"/>
                </a:lnTo>
                <a:lnTo>
                  <a:pt x="291" y="382"/>
                </a:lnTo>
                <a:lnTo>
                  <a:pt x="292" y="381"/>
                </a:lnTo>
                <a:lnTo>
                  <a:pt x="293" y="381"/>
                </a:lnTo>
                <a:lnTo>
                  <a:pt x="297" y="378"/>
                </a:lnTo>
                <a:lnTo>
                  <a:pt x="298" y="378"/>
                </a:lnTo>
                <a:lnTo>
                  <a:pt x="298" y="389"/>
                </a:lnTo>
                <a:lnTo>
                  <a:pt x="299" y="389"/>
                </a:lnTo>
                <a:lnTo>
                  <a:pt x="301" y="387"/>
                </a:lnTo>
                <a:lnTo>
                  <a:pt x="301" y="384"/>
                </a:lnTo>
                <a:lnTo>
                  <a:pt x="303" y="383"/>
                </a:lnTo>
                <a:lnTo>
                  <a:pt x="304" y="385"/>
                </a:lnTo>
                <a:lnTo>
                  <a:pt x="305" y="385"/>
                </a:lnTo>
                <a:lnTo>
                  <a:pt x="308" y="382"/>
                </a:lnTo>
                <a:lnTo>
                  <a:pt x="310" y="382"/>
                </a:lnTo>
                <a:lnTo>
                  <a:pt x="310" y="385"/>
                </a:lnTo>
                <a:lnTo>
                  <a:pt x="312" y="385"/>
                </a:lnTo>
                <a:lnTo>
                  <a:pt x="312" y="387"/>
                </a:lnTo>
                <a:lnTo>
                  <a:pt x="313" y="387"/>
                </a:lnTo>
                <a:lnTo>
                  <a:pt x="313" y="388"/>
                </a:lnTo>
                <a:lnTo>
                  <a:pt x="314" y="389"/>
                </a:lnTo>
                <a:lnTo>
                  <a:pt x="317" y="389"/>
                </a:lnTo>
                <a:lnTo>
                  <a:pt x="317" y="385"/>
                </a:lnTo>
                <a:lnTo>
                  <a:pt x="319" y="385"/>
                </a:lnTo>
                <a:lnTo>
                  <a:pt x="319" y="383"/>
                </a:lnTo>
                <a:lnTo>
                  <a:pt x="320" y="383"/>
                </a:lnTo>
                <a:lnTo>
                  <a:pt x="323" y="385"/>
                </a:lnTo>
                <a:lnTo>
                  <a:pt x="323" y="387"/>
                </a:lnTo>
                <a:lnTo>
                  <a:pt x="324" y="388"/>
                </a:lnTo>
                <a:lnTo>
                  <a:pt x="324" y="390"/>
                </a:lnTo>
                <a:lnTo>
                  <a:pt x="325" y="390"/>
                </a:lnTo>
                <a:lnTo>
                  <a:pt x="326" y="389"/>
                </a:lnTo>
                <a:lnTo>
                  <a:pt x="335" y="389"/>
                </a:lnTo>
                <a:lnTo>
                  <a:pt x="336" y="388"/>
                </a:lnTo>
                <a:lnTo>
                  <a:pt x="337" y="385"/>
                </a:lnTo>
                <a:lnTo>
                  <a:pt x="335" y="385"/>
                </a:lnTo>
                <a:lnTo>
                  <a:pt x="335" y="384"/>
                </a:lnTo>
                <a:lnTo>
                  <a:pt x="332" y="383"/>
                </a:lnTo>
                <a:lnTo>
                  <a:pt x="332" y="381"/>
                </a:lnTo>
                <a:lnTo>
                  <a:pt x="331" y="381"/>
                </a:lnTo>
                <a:lnTo>
                  <a:pt x="331" y="382"/>
                </a:lnTo>
                <a:lnTo>
                  <a:pt x="330" y="382"/>
                </a:lnTo>
                <a:lnTo>
                  <a:pt x="330" y="381"/>
                </a:lnTo>
                <a:lnTo>
                  <a:pt x="328" y="379"/>
                </a:lnTo>
                <a:lnTo>
                  <a:pt x="328" y="377"/>
                </a:lnTo>
                <a:lnTo>
                  <a:pt x="329" y="377"/>
                </a:lnTo>
                <a:lnTo>
                  <a:pt x="330" y="376"/>
                </a:lnTo>
                <a:lnTo>
                  <a:pt x="329" y="375"/>
                </a:lnTo>
                <a:lnTo>
                  <a:pt x="329" y="371"/>
                </a:lnTo>
                <a:lnTo>
                  <a:pt x="330" y="367"/>
                </a:lnTo>
                <a:lnTo>
                  <a:pt x="330" y="365"/>
                </a:lnTo>
                <a:lnTo>
                  <a:pt x="329" y="365"/>
                </a:lnTo>
                <a:lnTo>
                  <a:pt x="329" y="362"/>
                </a:lnTo>
                <a:lnTo>
                  <a:pt x="326" y="362"/>
                </a:lnTo>
                <a:lnTo>
                  <a:pt x="326" y="360"/>
                </a:lnTo>
                <a:lnTo>
                  <a:pt x="325" y="359"/>
                </a:lnTo>
                <a:lnTo>
                  <a:pt x="322" y="359"/>
                </a:lnTo>
                <a:lnTo>
                  <a:pt x="319" y="357"/>
                </a:lnTo>
                <a:lnTo>
                  <a:pt x="319" y="356"/>
                </a:lnTo>
                <a:lnTo>
                  <a:pt x="316" y="356"/>
                </a:lnTo>
                <a:lnTo>
                  <a:pt x="316" y="354"/>
                </a:lnTo>
                <a:lnTo>
                  <a:pt x="313" y="354"/>
                </a:lnTo>
                <a:lnTo>
                  <a:pt x="313" y="350"/>
                </a:lnTo>
                <a:lnTo>
                  <a:pt x="314" y="348"/>
                </a:lnTo>
                <a:lnTo>
                  <a:pt x="314" y="345"/>
                </a:lnTo>
                <a:lnTo>
                  <a:pt x="312" y="345"/>
                </a:lnTo>
                <a:lnTo>
                  <a:pt x="312" y="346"/>
                </a:lnTo>
                <a:lnTo>
                  <a:pt x="311" y="346"/>
                </a:lnTo>
                <a:lnTo>
                  <a:pt x="310" y="344"/>
                </a:lnTo>
                <a:lnTo>
                  <a:pt x="310" y="342"/>
                </a:lnTo>
                <a:lnTo>
                  <a:pt x="312" y="342"/>
                </a:lnTo>
                <a:lnTo>
                  <a:pt x="312" y="341"/>
                </a:lnTo>
                <a:lnTo>
                  <a:pt x="313" y="340"/>
                </a:lnTo>
                <a:lnTo>
                  <a:pt x="312" y="336"/>
                </a:lnTo>
                <a:lnTo>
                  <a:pt x="312" y="335"/>
                </a:lnTo>
                <a:lnTo>
                  <a:pt x="313" y="335"/>
                </a:lnTo>
                <a:lnTo>
                  <a:pt x="314" y="334"/>
                </a:lnTo>
                <a:lnTo>
                  <a:pt x="314" y="333"/>
                </a:lnTo>
                <a:lnTo>
                  <a:pt x="313" y="332"/>
                </a:lnTo>
                <a:lnTo>
                  <a:pt x="313" y="330"/>
                </a:lnTo>
                <a:lnTo>
                  <a:pt x="312" y="329"/>
                </a:lnTo>
                <a:lnTo>
                  <a:pt x="310" y="329"/>
                </a:lnTo>
                <a:lnTo>
                  <a:pt x="310" y="330"/>
                </a:lnTo>
                <a:lnTo>
                  <a:pt x="308" y="332"/>
                </a:lnTo>
                <a:lnTo>
                  <a:pt x="308" y="333"/>
                </a:lnTo>
                <a:lnTo>
                  <a:pt x="306" y="333"/>
                </a:lnTo>
                <a:lnTo>
                  <a:pt x="306" y="332"/>
                </a:lnTo>
                <a:lnTo>
                  <a:pt x="305" y="332"/>
                </a:lnTo>
                <a:lnTo>
                  <a:pt x="305" y="328"/>
                </a:lnTo>
                <a:lnTo>
                  <a:pt x="304" y="327"/>
                </a:lnTo>
                <a:lnTo>
                  <a:pt x="303" y="327"/>
                </a:lnTo>
                <a:lnTo>
                  <a:pt x="301" y="326"/>
                </a:lnTo>
                <a:lnTo>
                  <a:pt x="301" y="325"/>
                </a:lnTo>
                <a:lnTo>
                  <a:pt x="299" y="322"/>
                </a:lnTo>
                <a:lnTo>
                  <a:pt x="298" y="322"/>
                </a:lnTo>
                <a:lnTo>
                  <a:pt x="298" y="323"/>
                </a:lnTo>
                <a:lnTo>
                  <a:pt x="297" y="323"/>
                </a:lnTo>
                <a:lnTo>
                  <a:pt x="297" y="322"/>
                </a:lnTo>
                <a:lnTo>
                  <a:pt x="294" y="317"/>
                </a:lnTo>
                <a:lnTo>
                  <a:pt x="295" y="315"/>
                </a:lnTo>
                <a:lnTo>
                  <a:pt x="297" y="314"/>
                </a:lnTo>
                <a:lnTo>
                  <a:pt x="297" y="313"/>
                </a:lnTo>
                <a:lnTo>
                  <a:pt x="298" y="310"/>
                </a:lnTo>
                <a:lnTo>
                  <a:pt x="298" y="305"/>
                </a:lnTo>
                <a:lnTo>
                  <a:pt x="299" y="304"/>
                </a:lnTo>
                <a:lnTo>
                  <a:pt x="299" y="302"/>
                </a:lnTo>
                <a:lnTo>
                  <a:pt x="298" y="302"/>
                </a:lnTo>
                <a:lnTo>
                  <a:pt x="297" y="301"/>
                </a:lnTo>
                <a:lnTo>
                  <a:pt x="298" y="299"/>
                </a:lnTo>
                <a:lnTo>
                  <a:pt x="298" y="298"/>
                </a:lnTo>
                <a:lnTo>
                  <a:pt x="299" y="297"/>
                </a:lnTo>
                <a:lnTo>
                  <a:pt x="299" y="296"/>
                </a:lnTo>
                <a:lnTo>
                  <a:pt x="298" y="295"/>
                </a:lnTo>
                <a:lnTo>
                  <a:pt x="297" y="295"/>
                </a:lnTo>
                <a:lnTo>
                  <a:pt x="297" y="291"/>
                </a:lnTo>
                <a:lnTo>
                  <a:pt x="295" y="291"/>
                </a:lnTo>
                <a:lnTo>
                  <a:pt x="295" y="290"/>
                </a:lnTo>
                <a:lnTo>
                  <a:pt x="294" y="289"/>
                </a:lnTo>
                <a:lnTo>
                  <a:pt x="293" y="289"/>
                </a:lnTo>
                <a:lnTo>
                  <a:pt x="292" y="290"/>
                </a:lnTo>
                <a:lnTo>
                  <a:pt x="291" y="292"/>
                </a:lnTo>
                <a:lnTo>
                  <a:pt x="287" y="292"/>
                </a:lnTo>
                <a:lnTo>
                  <a:pt x="287" y="291"/>
                </a:lnTo>
                <a:lnTo>
                  <a:pt x="286" y="291"/>
                </a:lnTo>
                <a:lnTo>
                  <a:pt x="285" y="289"/>
                </a:lnTo>
                <a:lnTo>
                  <a:pt x="282" y="286"/>
                </a:lnTo>
                <a:lnTo>
                  <a:pt x="282" y="284"/>
                </a:lnTo>
                <a:lnTo>
                  <a:pt x="281" y="283"/>
                </a:lnTo>
                <a:lnTo>
                  <a:pt x="281" y="280"/>
                </a:lnTo>
                <a:lnTo>
                  <a:pt x="280" y="280"/>
                </a:lnTo>
                <a:lnTo>
                  <a:pt x="279" y="279"/>
                </a:lnTo>
                <a:lnTo>
                  <a:pt x="275" y="279"/>
                </a:lnTo>
                <a:lnTo>
                  <a:pt x="272" y="278"/>
                </a:lnTo>
                <a:lnTo>
                  <a:pt x="269" y="278"/>
                </a:lnTo>
                <a:lnTo>
                  <a:pt x="268" y="280"/>
                </a:lnTo>
                <a:lnTo>
                  <a:pt x="268" y="284"/>
                </a:lnTo>
                <a:lnTo>
                  <a:pt x="267" y="283"/>
                </a:lnTo>
                <a:lnTo>
                  <a:pt x="266" y="283"/>
                </a:lnTo>
                <a:lnTo>
                  <a:pt x="264" y="280"/>
                </a:lnTo>
                <a:lnTo>
                  <a:pt x="266" y="279"/>
                </a:lnTo>
                <a:lnTo>
                  <a:pt x="266" y="278"/>
                </a:lnTo>
                <a:lnTo>
                  <a:pt x="264" y="277"/>
                </a:lnTo>
                <a:lnTo>
                  <a:pt x="263" y="277"/>
                </a:lnTo>
                <a:lnTo>
                  <a:pt x="263" y="279"/>
                </a:lnTo>
                <a:lnTo>
                  <a:pt x="261" y="279"/>
                </a:lnTo>
                <a:lnTo>
                  <a:pt x="261" y="278"/>
                </a:lnTo>
                <a:lnTo>
                  <a:pt x="263" y="276"/>
                </a:lnTo>
                <a:lnTo>
                  <a:pt x="263" y="273"/>
                </a:lnTo>
                <a:lnTo>
                  <a:pt x="262" y="273"/>
                </a:lnTo>
                <a:lnTo>
                  <a:pt x="262" y="272"/>
                </a:lnTo>
                <a:lnTo>
                  <a:pt x="260" y="273"/>
                </a:lnTo>
                <a:lnTo>
                  <a:pt x="258" y="273"/>
                </a:lnTo>
                <a:lnTo>
                  <a:pt x="258" y="274"/>
                </a:lnTo>
                <a:lnTo>
                  <a:pt x="256" y="274"/>
                </a:lnTo>
                <a:lnTo>
                  <a:pt x="255" y="273"/>
                </a:lnTo>
                <a:lnTo>
                  <a:pt x="255" y="271"/>
                </a:lnTo>
                <a:lnTo>
                  <a:pt x="252" y="273"/>
                </a:lnTo>
                <a:lnTo>
                  <a:pt x="251" y="273"/>
                </a:lnTo>
                <a:lnTo>
                  <a:pt x="250" y="272"/>
                </a:lnTo>
                <a:lnTo>
                  <a:pt x="251" y="270"/>
                </a:lnTo>
                <a:lnTo>
                  <a:pt x="251" y="268"/>
                </a:lnTo>
                <a:lnTo>
                  <a:pt x="250" y="268"/>
                </a:lnTo>
                <a:lnTo>
                  <a:pt x="250" y="267"/>
                </a:lnTo>
                <a:lnTo>
                  <a:pt x="245" y="267"/>
                </a:lnTo>
                <a:lnTo>
                  <a:pt x="243" y="265"/>
                </a:lnTo>
                <a:lnTo>
                  <a:pt x="243" y="264"/>
                </a:lnTo>
                <a:lnTo>
                  <a:pt x="241" y="261"/>
                </a:lnTo>
                <a:lnTo>
                  <a:pt x="238" y="260"/>
                </a:lnTo>
                <a:lnTo>
                  <a:pt x="237" y="259"/>
                </a:lnTo>
                <a:lnTo>
                  <a:pt x="231" y="259"/>
                </a:lnTo>
                <a:lnTo>
                  <a:pt x="231" y="258"/>
                </a:lnTo>
                <a:lnTo>
                  <a:pt x="230" y="256"/>
                </a:lnTo>
                <a:lnTo>
                  <a:pt x="229" y="258"/>
                </a:lnTo>
                <a:lnTo>
                  <a:pt x="226" y="258"/>
                </a:lnTo>
                <a:lnTo>
                  <a:pt x="223" y="261"/>
                </a:lnTo>
                <a:lnTo>
                  <a:pt x="221" y="261"/>
                </a:lnTo>
                <a:lnTo>
                  <a:pt x="220" y="260"/>
                </a:lnTo>
                <a:lnTo>
                  <a:pt x="219" y="260"/>
                </a:lnTo>
                <a:lnTo>
                  <a:pt x="214" y="265"/>
                </a:lnTo>
                <a:lnTo>
                  <a:pt x="212" y="265"/>
                </a:lnTo>
                <a:lnTo>
                  <a:pt x="208" y="264"/>
                </a:lnTo>
                <a:lnTo>
                  <a:pt x="207" y="262"/>
                </a:lnTo>
                <a:lnTo>
                  <a:pt x="206" y="262"/>
                </a:lnTo>
                <a:lnTo>
                  <a:pt x="206" y="265"/>
                </a:lnTo>
                <a:lnTo>
                  <a:pt x="205" y="265"/>
                </a:lnTo>
                <a:lnTo>
                  <a:pt x="202" y="266"/>
                </a:lnTo>
                <a:lnTo>
                  <a:pt x="199" y="262"/>
                </a:lnTo>
                <a:lnTo>
                  <a:pt x="198" y="262"/>
                </a:lnTo>
                <a:lnTo>
                  <a:pt x="198" y="265"/>
                </a:lnTo>
                <a:lnTo>
                  <a:pt x="196" y="264"/>
                </a:lnTo>
                <a:lnTo>
                  <a:pt x="195" y="265"/>
                </a:lnTo>
                <a:lnTo>
                  <a:pt x="196" y="266"/>
                </a:lnTo>
                <a:lnTo>
                  <a:pt x="196" y="270"/>
                </a:lnTo>
                <a:lnTo>
                  <a:pt x="194" y="270"/>
                </a:lnTo>
                <a:lnTo>
                  <a:pt x="193" y="268"/>
                </a:lnTo>
                <a:lnTo>
                  <a:pt x="193" y="267"/>
                </a:lnTo>
                <a:lnTo>
                  <a:pt x="192" y="267"/>
                </a:lnTo>
                <a:lnTo>
                  <a:pt x="192" y="268"/>
                </a:lnTo>
                <a:lnTo>
                  <a:pt x="189" y="270"/>
                </a:lnTo>
                <a:lnTo>
                  <a:pt x="189" y="271"/>
                </a:lnTo>
                <a:lnTo>
                  <a:pt x="188" y="272"/>
                </a:lnTo>
                <a:lnTo>
                  <a:pt x="182" y="273"/>
                </a:lnTo>
                <a:lnTo>
                  <a:pt x="179" y="273"/>
                </a:lnTo>
                <a:lnTo>
                  <a:pt x="177" y="274"/>
                </a:lnTo>
                <a:lnTo>
                  <a:pt x="176" y="274"/>
                </a:lnTo>
                <a:lnTo>
                  <a:pt x="175" y="277"/>
                </a:lnTo>
                <a:lnTo>
                  <a:pt x="175" y="280"/>
                </a:lnTo>
                <a:lnTo>
                  <a:pt x="174" y="282"/>
                </a:lnTo>
                <a:lnTo>
                  <a:pt x="174" y="283"/>
                </a:lnTo>
                <a:lnTo>
                  <a:pt x="173" y="284"/>
                </a:lnTo>
                <a:lnTo>
                  <a:pt x="173" y="285"/>
                </a:lnTo>
                <a:lnTo>
                  <a:pt x="171" y="285"/>
                </a:lnTo>
                <a:lnTo>
                  <a:pt x="170" y="287"/>
                </a:lnTo>
                <a:lnTo>
                  <a:pt x="170" y="289"/>
                </a:lnTo>
                <a:lnTo>
                  <a:pt x="164" y="289"/>
                </a:lnTo>
                <a:lnTo>
                  <a:pt x="162" y="290"/>
                </a:lnTo>
                <a:lnTo>
                  <a:pt x="157" y="290"/>
                </a:lnTo>
                <a:lnTo>
                  <a:pt x="152" y="292"/>
                </a:lnTo>
                <a:lnTo>
                  <a:pt x="132" y="295"/>
                </a:lnTo>
                <a:lnTo>
                  <a:pt x="130" y="296"/>
                </a:lnTo>
                <a:lnTo>
                  <a:pt x="126" y="302"/>
                </a:lnTo>
                <a:lnTo>
                  <a:pt x="124" y="304"/>
                </a:lnTo>
                <a:lnTo>
                  <a:pt x="121" y="305"/>
                </a:lnTo>
                <a:lnTo>
                  <a:pt x="115" y="305"/>
                </a:lnTo>
                <a:lnTo>
                  <a:pt x="114" y="304"/>
                </a:lnTo>
                <a:lnTo>
                  <a:pt x="113" y="302"/>
                </a:lnTo>
                <a:lnTo>
                  <a:pt x="113" y="301"/>
                </a:lnTo>
                <a:lnTo>
                  <a:pt x="112" y="299"/>
                </a:lnTo>
                <a:lnTo>
                  <a:pt x="108" y="298"/>
                </a:lnTo>
                <a:lnTo>
                  <a:pt x="107" y="298"/>
                </a:lnTo>
                <a:lnTo>
                  <a:pt x="106" y="297"/>
                </a:lnTo>
                <a:lnTo>
                  <a:pt x="106" y="295"/>
                </a:lnTo>
                <a:lnTo>
                  <a:pt x="105" y="293"/>
                </a:lnTo>
                <a:lnTo>
                  <a:pt x="105" y="292"/>
                </a:lnTo>
                <a:lnTo>
                  <a:pt x="102" y="291"/>
                </a:lnTo>
                <a:lnTo>
                  <a:pt x="95" y="291"/>
                </a:lnTo>
                <a:lnTo>
                  <a:pt x="93" y="292"/>
                </a:lnTo>
                <a:lnTo>
                  <a:pt x="92" y="292"/>
                </a:lnTo>
                <a:lnTo>
                  <a:pt x="88" y="295"/>
                </a:lnTo>
                <a:lnTo>
                  <a:pt x="87" y="295"/>
                </a:lnTo>
                <a:lnTo>
                  <a:pt x="84" y="293"/>
                </a:lnTo>
                <a:lnTo>
                  <a:pt x="82" y="291"/>
                </a:lnTo>
                <a:lnTo>
                  <a:pt x="80" y="291"/>
                </a:lnTo>
                <a:lnTo>
                  <a:pt x="78" y="290"/>
                </a:lnTo>
                <a:lnTo>
                  <a:pt x="77" y="290"/>
                </a:lnTo>
                <a:lnTo>
                  <a:pt x="74" y="292"/>
                </a:lnTo>
                <a:lnTo>
                  <a:pt x="73" y="292"/>
                </a:lnTo>
                <a:lnTo>
                  <a:pt x="73" y="291"/>
                </a:lnTo>
                <a:lnTo>
                  <a:pt x="70" y="289"/>
                </a:lnTo>
                <a:lnTo>
                  <a:pt x="65" y="289"/>
                </a:lnTo>
                <a:lnTo>
                  <a:pt x="64" y="287"/>
                </a:lnTo>
                <a:lnTo>
                  <a:pt x="58" y="287"/>
                </a:lnTo>
                <a:lnTo>
                  <a:pt x="57" y="289"/>
                </a:lnTo>
                <a:lnTo>
                  <a:pt x="57" y="290"/>
                </a:lnTo>
                <a:lnTo>
                  <a:pt x="56" y="290"/>
                </a:lnTo>
                <a:lnTo>
                  <a:pt x="53" y="289"/>
                </a:lnTo>
                <a:lnTo>
                  <a:pt x="51" y="289"/>
                </a:lnTo>
                <a:lnTo>
                  <a:pt x="51" y="287"/>
                </a:lnTo>
                <a:lnTo>
                  <a:pt x="46" y="283"/>
                </a:lnTo>
                <a:lnTo>
                  <a:pt x="43" y="282"/>
                </a:lnTo>
                <a:lnTo>
                  <a:pt x="42" y="282"/>
                </a:lnTo>
                <a:lnTo>
                  <a:pt x="40" y="283"/>
                </a:lnTo>
                <a:lnTo>
                  <a:pt x="39" y="286"/>
                </a:lnTo>
                <a:lnTo>
                  <a:pt x="39" y="287"/>
                </a:lnTo>
                <a:lnTo>
                  <a:pt x="37" y="289"/>
                </a:lnTo>
                <a:lnTo>
                  <a:pt x="36" y="289"/>
                </a:lnTo>
                <a:lnTo>
                  <a:pt x="34" y="287"/>
                </a:lnTo>
                <a:lnTo>
                  <a:pt x="33" y="287"/>
                </a:lnTo>
                <a:lnTo>
                  <a:pt x="33" y="290"/>
                </a:lnTo>
                <a:lnTo>
                  <a:pt x="32" y="291"/>
                </a:lnTo>
                <a:lnTo>
                  <a:pt x="31" y="291"/>
                </a:lnTo>
                <a:lnTo>
                  <a:pt x="30" y="290"/>
                </a:lnTo>
                <a:lnTo>
                  <a:pt x="30" y="287"/>
                </a:lnTo>
                <a:lnTo>
                  <a:pt x="31" y="286"/>
                </a:lnTo>
                <a:lnTo>
                  <a:pt x="31" y="285"/>
                </a:lnTo>
                <a:lnTo>
                  <a:pt x="30" y="284"/>
                </a:lnTo>
                <a:lnTo>
                  <a:pt x="30" y="283"/>
                </a:lnTo>
                <a:lnTo>
                  <a:pt x="28" y="282"/>
                </a:lnTo>
                <a:lnTo>
                  <a:pt x="26" y="282"/>
                </a:lnTo>
                <a:lnTo>
                  <a:pt x="26" y="280"/>
                </a:lnTo>
                <a:lnTo>
                  <a:pt x="25" y="280"/>
                </a:lnTo>
                <a:lnTo>
                  <a:pt x="24" y="282"/>
                </a:lnTo>
                <a:lnTo>
                  <a:pt x="19" y="282"/>
                </a:lnTo>
                <a:lnTo>
                  <a:pt x="19" y="280"/>
                </a:lnTo>
                <a:lnTo>
                  <a:pt x="18" y="278"/>
                </a:lnTo>
                <a:lnTo>
                  <a:pt x="18" y="277"/>
                </a:lnTo>
                <a:lnTo>
                  <a:pt x="14" y="272"/>
                </a:lnTo>
                <a:lnTo>
                  <a:pt x="13" y="273"/>
                </a:lnTo>
                <a:lnTo>
                  <a:pt x="12" y="273"/>
                </a:lnTo>
                <a:lnTo>
                  <a:pt x="11" y="272"/>
                </a:lnTo>
                <a:lnTo>
                  <a:pt x="11" y="273"/>
                </a:lnTo>
                <a:lnTo>
                  <a:pt x="9" y="273"/>
                </a:lnTo>
                <a:lnTo>
                  <a:pt x="9" y="272"/>
                </a:lnTo>
                <a:lnTo>
                  <a:pt x="7" y="270"/>
                </a:lnTo>
                <a:lnTo>
                  <a:pt x="7" y="265"/>
                </a:lnTo>
                <a:lnTo>
                  <a:pt x="5" y="265"/>
                </a:lnTo>
                <a:lnTo>
                  <a:pt x="5" y="264"/>
                </a:lnTo>
                <a:lnTo>
                  <a:pt x="6" y="262"/>
                </a:lnTo>
                <a:lnTo>
                  <a:pt x="5" y="261"/>
                </a:lnTo>
                <a:lnTo>
                  <a:pt x="1" y="261"/>
                </a:lnTo>
                <a:lnTo>
                  <a:pt x="1" y="262"/>
                </a:lnTo>
                <a:lnTo>
                  <a:pt x="0" y="262"/>
                </a:lnTo>
                <a:lnTo>
                  <a:pt x="0" y="252"/>
                </a:lnTo>
                <a:lnTo>
                  <a:pt x="5" y="247"/>
                </a:lnTo>
                <a:lnTo>
                  <a:pt x="5" y="246"/>
                </a:lnTo>
                <a:lnTo>
                  <a:pt x="7" y="246"/>
                </a:lnTo>
                <a:lnTo>
                  <a:pt x="7" y="244"/>
                </a:lnTo>
                <a:lnTo>
                  <a:pt x="8" y="243"/>
                </a:lnTo>
                <a:lnTo>
                  <a:pt x="8" y="240"/>
                </a:lnTo>
                <a:lnTo>
                  <a:pt x="9" y="239"/>
                </a:lnTo>
                <a:lnTo>
                  <a:pt x="9" y="234"/>
                </a:lnTo>
                <a:lnTo>
                  <a:pt x="11" y="233"/>
                </a:lnTo>
                <a:lnTo>
                  <a:pt x="11" y="231"/>
                </a:lnTo>
                <a:lnTo>
                  <a:pt x="12" y="231"/>
                </a:lnTo>
                <a:lnTo>
                  <a:pt x="12" y="229"/>
                </a:lnTo>
                <a:lnTo>
                  <a:pt x="13" y="225"/>
                </a:lnTo>
                <a:lnTo>
                  <a:pt x="15" y="225"/>
                </a:lnTo>
                <a:lnTo>
                  <a:pt x="16" y="224"/>
                </a:lnTo>
                <a:lnTo>
                  <a:pt x="16" y="219"/>
                </a:lnTo>
                <a:lnTo>
                  <a:pt x="18" y="218"/>
                </a:lnTo>
                <a:lnTo>
                  <a:pt x="21" y="222"/>
                </a:lnTo>
                <a:lnTo>
                  <a:pt x="25" y="222"/>
                </a:lnTo>
                <a:lnTo>
                  <a:pt x="26" y="221"/>
                </a:lnTo>
                <a:lnTo>
                  <a:pt x="26" y="222"/>
                </a:lnTo>
                <a:lnTo>
                  <a:pt x="27" y="223"/>
                </a:lnTo>
                <a:lnTo>
                  <a:pt x="28" y="223"/>
                </a:lnTo>
                <a:lnTo>
                  <a:pt x="30" y="224"/>
                </a:lnTo>
                <a:lnTo>
                  <a:pt x="31" y="224"/>
                </a:lnTo>
                <a:lnTo>
                  <a:pt x="31" y="223"/>
                </a:lnTo>
                <a:lnTo>
                  <a:pt x="30" y="222"/>
                </a:lnTo>
                <a:lnTo>
                  <a:pt x="30" y="218"/>
                </a:lnTo>
                <a:lnTo>
                  <a:pt x="27" y="217"/>
                </a:lnTo>
                <a:lnTo>
                  <a:pt x="27" y="216"/>
                </a:lnTo>
                <a:lnTo>
                  <a:pt x="25" y="213"/>
                </a:lnTo>
                <a:lnTo>
                  <a:pt x="24" y="213"/>
                </a:lnTo>
                <a:lnTo>
                  <a:pt x="24" y="211"/>
                </a:lnTo>
                <a:lnTo>
                  <a:pt x="25" y="209"/>
                </a:lnTo>
                <a:lnTo>
                  <a:pt x="25" y="199"/>
                </a:lnTo>
                <a:lnTo>
                  <a:pt x="22" y="197"/>
                </a:lnTo>
                <a:lnTo>
                  <a:pt x="22" y="192"/>
                </a:lnTo>
                <a:lnTo>
                  <a:pt x="21" y="190"/>
                </a:lnTo>
                <a:lnTo>
                  <a:pt x="22" y="187"/>
                </a:lnTo>
                <a:lnTo>
                  <a:pt x="26" y="184"/>
                </a:lnTo>
                <a:lnTo>
                  <a:pt x="26" y="180"/>
                </a:lnTo>
                <a:lnTo>
                  <a:pt x="28" y="180"/>
                </a:lnTo>
                <a:lnTo>
                  <a:pt x="30" y="179"/>
                </a:lnTo>
                <a:lnTo>
                  <a:pt x="32" y="174"/>
                </a:lnTo>
                <a:lnTo>
                  <a:pt x="34" y="172"/>
                </a:lnTo>
                <a:lnTo>
                  <a:pt x="34" y="170"/>
                </a:lnTo>
                <a:lnTo>
                  <a:pt x="36" y="169"/>
                </a:lnTo>
                <a:lnTo>
                  <a:pt x="40" y="162"/>
                </a:lnTo>
                <a:lnTo>
                  <a:pt x="45" y="157"/>
                </a:lnTo>
                <a:lnTo>
                  <a:pt x="55" y="147"/>
                </a:lnTo>
                <a:lnTo>
                  <a:pt x="57" y="145"/>
                </a:lnTo>
                <a:lnTo>
                  <a:pt x="61" y="142"/>
                </a:lnTo>
                <a:lnTo>
                  <a:pt x="63" y="138"/>
                </a:lnTo>
                <a:lnTo>
                  <a:pt x="64" y="138"/>
                </a:lnTo>
                <a:lnTo>
                  <a:pt x="64" y="136"/>
                </a:lnTo>
                <a:lnTo>
                  <a:pt x="67" y="133"/>
                </a:lnTo>
                <a:lnTo>
                  <a:pt x="76" y="133"/>
                </a:lnTo>
                <a:lnTo>
                  <a:pt x="77" y="132"/>
                </a:lnTo>
                <a:lnTo>
                  <a:pt x="78" y="130"/>
                </a:lnTo>
                <a:lnTo>
                  <a:pt x="78" y="126"/>
                </a:lnTo>
                <a:lnTo>
                  <a:pt x="82" y="125"/>
                </a:lnTo>
                <a:lnTo>
                  <a:pt x="82" y="124"/>
                </a:lnTo>
                <a:lnTo>
                  <a:pt x="83" y="124"/>
                </a:lnTo>
                <a:lnTo>
                  <a:pt x="82" y="123"/>
                </a:lnTo>
                <a:lnTo>
                  <a:pt x="82" y="119"/>
                </a:lnTo>
                <a:lnTo>
                  <a:pt x="83" y="118"/>
                </a:lnTo>
                <a:lnTo>
                  <a:pt x="82" y="115"/>
                </a:lnTo>
                <a:lnTo>
                  <a:pt x="82" y="112"/>
                </a:lnTo>
                <a:lnTo>
                  <a:pt x="81" y="112"/>
                </a:lnTo>
                <a:lnTo>
                  <a:pt x="78" y="110"/>
                </a:lnTo>
                <a:lnTo>
                  <a:pt x="80" y="108"/>
                </a:lnTo>
                <a:lnTo>
                  <a:pt x="77" y="108"/>
                </a:lnTo>
                <a:lnTo>
                  <a:pt x="77" y="105"/>
                </a:lnTo>
                <a:lnTo>
                  <a:pt x="78" y="104"/>
                </a:lnTo>
                <a:lnTo>
                  <a:pt x="80" y="104"/>
                </a:lnTo>
                <a:lnTo>
                  <a:pt x="81" y="105"/>
                </a:lnTo>
                <a:lnTo>
                  <a:pt x="81" y="104"/>
                </a:lnTo>
                <a:lnTo>
                  <a:pt x="84" y="104"/>
                </a:lnTo>
                <a:lnTo>
                  <a:pt x="84" y="101"/>
                </a:lnTo>
                <a:lnTo>
                  <a:pt x="81" y="100"/>
                </a:lnTo>
                <a:lnTo>
                  <a:pt x="77" y="98"/>
                </a:lnTo>
                <a:lnTo>
                  <a:pt x="77" y="94"/>
                </a:lnTo>
                <a:lnTo>
                  <a:pt x="76" y="94"/>
                </a:lnTo>
                <a:lnTo>
                  <a:pt x="76" y="93"/>
                </a:lnTo>
                <a:lnTo>
                  <a:pt x="75" y="93"/>
                </a:lnTo>
                <a:lnTo>
                  <a:pt x="75" y="89"/>
                </a:lnTo>
                <a:lnTo>
                  <a:pt x="74" y="88"/>
                </a:lnTo>
                <a:lnTo>
                  <a:pt x="73" y="86"/>
                </a:lnTo>
                <a:lnTo>
                  <a:pt x="73" y="84"/>
                </a:lnTo>
                <a:lnTo>
                  <a:pt x="74" y="83"/>
                </a:lnTo>
                <a:lnTo>
                  <a:pt x="73" y="83"/>
                </a:lnTo>
                <a:lnTo>
                  <a:pt x="71" y="81"/>
                </a:lnTo>
                <a:lnTo>
                  <a:pt x="69" y="80"/>
                </a:lnTo>
                <a:lnTo>
                  <a:pt x="68" y="78"/>
                </a:lnTo>
                <a:lnTo>
                  <a:pt x="65" y="74"/>
                </a:lnTo>
                <a:lnTo>
                  <a:pt x="64" y="72"/>
                </a:lnTo>
                <a:lnTo>
                  <a:pt x="63" y="72"/>
                </a:lnTo>
                <a:lnTo>
                  <a:pt x="63" y="70"/>
                </a:lnTo>
                <a:lnTo>
                  <a:pt x="64" y="69"/>
                </a:lnTo>
                <a:lnTo>
                  <a:pt x="64" y="68"/>
                </a:lnTo>
                <a:lnTo>
                  <a:pt x="65" y="68"/>
                </a:lnTo>
                <a:lnTo>
                  <a:pt x="65" y="65"/>
                </a:lnTo>
                <a:lnTo>
                  <a:pt x="64" y="62"/>
                </a:lnTo>
                <a:lnTo>
                  <a:pt x="64" y="61"/>
                </a:lnTo>
                <a:lnTo>
                  <a:pt x="63" y="59"/>
                </a:lnTo>
                <a:lnTo>
                  <a:pt x="62" y="59"/>
                </a:lnTo>
                <a:lnTo>
                  <a:pt x="62" y="58"/>
                </a:lnTo>
                <a:lnTo>
                  <a:pt x="63" y="58"/>
                </a:lnTo>
                <a:lnTo>
                  <a:pt x="63" y="57"/>
                </a:lnTo>
                <a:lnTo>
                  <a:pt x="62" y="53"/>
                </a:lnTo>
                <a:lnTo>
                  <a:pt x="62" y="51"/>
                </a:lnTo>
                <a:lnTo>
                  <a:pt x="63" y="51"/>
                </a:lnTo>
                <a:lnTo>
                  <a:pt x="67" y="50"/>
                </a:lnTo>
                <a:lnTo>
                  <a:pt x="73" y="50"/>
                </a:lnTo>
                <a:lnTo>
                  <a:pt x="76" y="53"/>
                </a:lnTo>
                <a:lnTo>
                  <a:pt x="77" y="53"/>
                </a:lnTo>
                <a:lnTo>
                  <a:pt x="84" y="47"/>
                </a:lnTo>
                <a:lnTo>
                  <a:pt x="89" y="44"/>
                </a:lnTo>
                <a:lnTo>
                  <a:pt x="90" y="43"/>
                </a:lnTo>
                <a:lnTo>
                  <a:pt x="92" y="38"/>
                </a:lnTo>
                <a:lnTo>
                  <a:pt x="92" y="37"/>
                </a:lnTo>
                <a:lnTo>
                  <a:pt x="93" y="34"/>
                </a:lnTo>
                <a:lnTo>
                  <a:pt x="94" y="33"/>
                </a:lnTo>
                <a:lnTo>
                  <a:pt x="109" y="33"/>
                </a:lnTo>
                <a:lnTo>
                  <a:pt x="121" y="31"/>
                </a:lnTo>
                <a:lnTo>
                  <a:pt x="125" y="29"/>
                </a:lnTo>
                <a:lnTo>
                  <a:pt x="126" y="28"/>
                </a:lnTo>
                <a:lnTo>
                  <a:pt x="129" y="28"/>
                </a:lnTo>
                <a:lnTo>
                  <a:pt x="136" y="31"/>
                </a:lnTo>
                <a:lnTo>
                  <a:pt x="150" y="31"/>
                </a:lnTo>
                <a:lnTo>
                  <a:pt x="154" y="29"/>
                </a:lnTo>
                <a:lnTo>
                  <a:pt x="162" y="32"/>
                </a:lnTo>
                <a:lnTo>
                  <a:pt x="167" y="32"/>
                </a:lnTo>
                <a:lnTo>
                  <a:pt x="170" y="35"/>
                </a:lnTo>
                <a:lnTo>
                  <a:pt x="181" y="35"/>
                </a:lnTo>
                <a:lnTo>
                  <a:pt x="181" y="38"/>
                </a:lnTo>
                <a:lnTo>
                  <a:pt x="182" y="38"/>
                </a:lnTo>
                <a:lnTo>
                  <a:pt x="190" y="39"/>
                </a:lnTo>
                <a:lnTo>
                  <a:pt x="199" y="43"/>
                </a:lnTo>
                <a:lnTo>
                  <a:pt x="201" y="43"/>
                </a:lnTo>
                <a:lnTo>
                  <a:pt x="206" y="41"/>
                </a:lnTo>
                <a:lnTo>
                  <a:pt x="212" y="41"/>
                </a:lnTo>
                <a:lnTo>
                  <a:pt x="213" y="43"/>
                </a:lnTo>
                <a:lnTo>
                  <a:pt x="213" y="49"/>
                </a:lnTo>
                <a:lnTo>
                  <a:pt x="217" y="49"/>
                </a:lnTo>
                <a:lnTo>
                  <a:pt x="217" y="50"/>
                </a:lnTo>
                <a:lnTo>
                  <a:pt x="216" y="51"/>
                </a:lnTo>
                <a:lnTo>
                  <a:pt x="216" y="52"/>
                </a:lnTo>
                <a:lnTo>
                  <a:pt x="217" y="53"/>
                </a:lnTo>
                <a:lnTo>
                  <a:pt x="219" y="52"/>
                </a:lnTo>
                <a:lnTo>
                  <a:pt x="221" y="53"/>
                </a:lnTo>
                <a:lnTo>
                  <a:pt x="223" y="53"/>
                </a:lnTo>
                <a:lnTo>
                  <a:pt x="223" y="52"/>
                </a:lnTo>
                <a:lnTo>
                  <a:pt x="224" y="51"/>
                </a:lnTo>
                <a:lnTo>
                  <a:pt x="226" y="51"/>
                </a:lnTo>
                <a:lnTo>
                  <a:pt x="231" y="52"/>
                </a:lnTo>
                <a:lnTo>
                  <a:pt x="233" y="52"/>
                </a:lnTo>
                <a:lnTo>
                  <a:pt x="235" y="53"/>
                </a:lnTo>
                <a:lnTo>
                  <a:pt x="235" y="56"/>
                </a:lnTo>
                <a:lnTo>
                  <a:pt x="233" y="59"/>
                </a:lnTo>
                <a:lnTo>
                  <a:pt x="233" y="61"/>
                </a:lnTo>
                <a:lnTo>
                  <a:pt x="235" y="62"/>
                </a:lnTo>
                <a:lnTo>
                  <a:pt x="236" y="62"/>
                </a:lnTo>
                <a:lnTo>
                  <a:pt x="236" y="61"/>
                </a:lnTo>
                <a:lnTo>
                  <a:pt x="238" y="58"/>
                </a:lnTo>
                <a:lnTo>
                  <a:pt x="238" y="55"/>
                </a:lnTo>
                <a:lnTo>
                  <a:pt x="239" y="53"/>
                </a:lnTo>
                <a:lnTo>
                  <a:pt x="239" y="52"/>
                </a:lnTo>
                <a:lnTo>
                  <a:pt x="241" y="51"/>
                </a:lnTo>
                <a:lnTo>
                  <a:pt x="244" y="55"/>
                </a:lnTo>
                <a:lnTo>
                  <a:pt x="245" y="55"/>
                </a:lnTo>
                <a:lnTo>
                  <a:pt x="247" y="56"/>
                </a:lnTo>
                <a:lnTo>
                  <a:pt x="250" y="56"/>
                </a:lnTo>
                <a:lnTo>
                  <a:pt x="251" y="55"/>
                </a:lnTo>
                <a:lnTo>
                  <a:pt x="252" y="55"/>
                </a:lnTo>
                <a:lnTo>
                  <a:pt x="254" y="51"/>
                </a:lnTo>
                <a:lnTo>
                  <a:pt x="256" y="49"/>
                </a:lnTo>
                <a:lnTo>
                  <a:pt x="257" y="49"/>
                </a:lnTo>
                <a:lnTo>
                  <a:pt x="257" y="51"/>
                </a:lnTo>
                <a:lnTo>
                  <a:pt x="258" y="52"/>
                </a:lnTo>
                <a:lnTo>
                  <a:pt x="258" y="53"/>
                </a:lnTo>
                <a:lnTo>
                  <a:pt x="260" y="53"/>
                </a:lnTo>
                <a:lnTo>
                  <a:pt x="261" y="55"/>
                </a:lnTo>
                <a:lnTo>
                  <a:pt x="261" y="57"/>
                </a:lnTo>
                <a:lnTo>
                  <a:pt x="262" y="57"/>
                </a:lnTo>
                <a:lnTo>
                  <a:pt x="263" y="56"/>
                </a:lnTo>
                <a:lnTo>
                  <a:pt x="266" y="55"/>
                </a:lnTo>
                <a:lnTo>
                  <a:pt x="272" y="55"/>
                </a:lnTo>
                <a:lnTo>
                  <a:pt x="273" y="56"/>
                </a:lnTo>
                <a:lnTo>
                  <a:pt x="273" y="58"/>
                </a:lnTo>
                <a:lnTo>
                  <a:pt x="274" y="62"/>
                </a:lnTo>
                <a:lnTo>
                  <a:pt x="274" y="63"/>
                </a:lnTo>
                <a:lnTo>
                  <a:pt x="275" y="63"/>
                </a:lnTo>
                <a:lnTo>
                  <a:pt x="275" y="64"/>
                </a:lnTo>
                <a:lnTo>
                  <a:pt x="276" y="63"/>
                </a:lnTo>
                <a:lnTo>
                  <a:pt x="278" y="63"/>
                </a:lnTo>
                <a:lnTo>
                  <a:pt x="278" y="65"/>
                </a:lnTo>
                <a:lnTo>
                  <a:pt x="279" y="65"/>
                </a:lnTo>
                <a:lnTo>
                  <a:pt x="279" y="61"/>
                </a:lnTo>
                <a:lnTo>
                  <a:pt x="280" y="58"/>
                </a:lnTo>
                <a:lnTo>
                  <a:pt x="282" y="56"/>
                </a:lnTo>
                <a:lnTo>
                  <a:pt x="283" y="56"/>
                </a:lnTo>
                <a:lnTo>
                  <a:pt x="285" y="55"/>
                </a:lnTo>
                <a:lnTo>
                  <a:pt x="288" y="55"/>
                </a:lnTo>
                <a:lnTo>
                  <a:pt x="289" y="53"/>
                </a:lnTo>
                <a:lnTo>
                  <a:pt x="291" y="51"/>
                </a:lnTo>
                <a:lnTo>
                  <a:pt x="292" y="51"/>
                </a:lnTo>
                <a:lnTo>
                  <a:pt x="292" y="50"/>
                </a:lnTo>
                <a:lnTo>
                  <a:pt x="293" y="50"/>
                </a:lnTo>
                <a:lnTo>
                  <a:pt x="294" y="51"/>
                </a:lnTo>
                <a:lnTo>
                  <a:pt x="295" y="51"/>
                </a:lnTo>
                <a:lnTo>
                  <a:pt x="297" y="52"/>
                </a:lnTo>
                <a:lnTo>
                  <a:pt x="297" y="55"/>
                </a:lnTo>
                <a:lnTo>
                  <a:pt x="299" y="57"/>
                </a:lnTo>
                <a:lnTo>
                  <a:pt x="299" y="62"/>
                </a:lnTo>
                <a:lnTo>
                  <a:pt x="300" y="63"/>
                </a:lnTo>
                <a:lnTo>
                  <a:pt x="300" y="64"/>
                </a:lnTo>
                <a:lnTo>
                  <a:pt x="301" y="65"/>
                </a:lnTo>
                <a:lnTo>
                  <a:pt x="301" y="67"/>
                </a:lnTo>
                <a:lnTo>
                  <a:pt x="303" y="68"/>
                </a:lnTo>
                <a:lnTo>
                  <a:pt x="305" y="68"/>
                </a:lnTo>
                <a:lnTo>
                  <a:pt x="305" y="67"/>
                </a:lnTo>
                <a:lnTo>
                  <a:pt x="310" y="67"/>
                </a:lnTo>
                <a:lnTo>
                  <a:pt x="310" y="65"/>
                </a:lnTo>
                <a:lnTo>
                  <a:pt x="311" y="64"/>
                </a:lnTo>
                <a:lnTo>
                  <a:pt x="311" y="63"/>
                </a:lnTo>
                <a:lnTo>
                  <a:pt x="313" y="63"/>
                </a:lnTo>
                <a:lnTo>
                  <a:pt x="314" y="62"/>
                </a:lnTo>
                <a:lnTo>
                  <a:pt x="314" y="61"/>
                </a:lnTo>
                <a:lnTo>
                  <a:pt x="316" y="61"/>
                </a:lnTo>
                <a:lnTo>
                  <a:pt x="317" y="59"/>
                </a:lnTo>
                <a:lnTo>
                  <a:pt x="318" y="59"/>
                </a:lnTo>
                <a:lnTo>
                  <a:pt x="319" y="61"/>
                </a:lnTo>
                <a:lnTo>
                  <a:pt x="319" y="62"/>
                </a:lnTo>
                <a:lnTo>
                  <a:pt x="320" y="63"/>
                </a:lnTo>
                <a:lnTo>
                  <a:pt x="324" y="64"/>
                </a:lnTo>
                <a:lnTo>
                  <a:pt x="325" y="64"/>
                </a:lnTo>
                <a:lnTo>
                  <a:pt x="325" y="63"/>
                </a:lnTo>
                <a:lnTo>
                  <a:pt x="326" y="62"/>
                </a:lnTo>
                <a:lnTo>
                  <a:pt x="329" y="62"/>
                </a:lnTo>
                <a:lnTo>
                  <a:pt x="331" y="61"/>
                </a:lnTo>
                <a:lnTo>
                  <a:pt x="339" y="61"/>
                </a:lnTo>
                <a:lnTo>
                  <a:pt x="341" y="62"/>
                </a:lnTo>
                <a:lnTo>
                  <a:pt x="342" y="64"/>
                </a:lnTo>
                <a:lnTo>
                  <a:pt x="343" y="64"/>
                </a:lnTo>
                <a:lnTo>
                  <a:pt x="344" y="65"/>
                </a:lnTo>
                <a:lnTo>
                  <a:pt x="345" y="65"/>
                </a:lnTo>
                <a:lnTo>
                  <a:pt x="345" y="70"/>
                </a:lnTo>
                <a:lnTo>
                  <a:pt x="347" y="72"/>
                </a:lnTo>
                <a:lnTo>
                  <a:pt x="348" y="74"/>
                </a:lnTo>
                <a:lnTo>
                  <a:pt x="350" y="74"/>
                </a:lnTo>
                <a:lnTo>
                  <a:pt x="351" y="75"/>
                </a:lnTo>
                <a:lnTo>
                  <a:pt x="353" y="75"/>
                </a:lnTo>
                <a:lnTo>
                  <a:pt x="353" y="76"/>
                </a:lnTo>
                <a:lnTo>
                  <a:pt x="354" y="76"/>
                </a:lnTo>
                <a:lnTo>
                  <a:pt x="355" y="77"/>
                </a:lnTo>
                <a:lnTo>
                  <a:pt x="355" y="75"/>
                </a:lnTo>
                <a:lnTo>
                  <a:pt x="356" y="74"/>
                </a:lnTo>
                <a:lnTo>
                  <a:pt x="356" y="72"/>
                </a:lnTo>
                <a:lnTo>
                  <a:pt x="359" y="70"/>
                </a:lnTo>
                <a:lnTo>
                  <a:pt x="359" y="67"/>
                </a:lnTo>
                <a:lnTo>
                  <a:pt x="357" y="65"/>
                </a:lnTo>
                <a:lnTo>
                  <a:pt x="357" y="64"/>
                </a:lnTo>
                <a:lnTo>
                  <a:pt x="356" y="64"/>
                </a:lnTo>
                <a:lnTo>
                  <a:pt x="356" y="62"/>
                </a:lnTo>
                <a:lnTo>
                  <a:pt x="357" y="62"/>
                </a:lnTo>
                <a:lnTo>
                  <a:pt x="357" y="61"/>
                </a:lnTo>
                <a:lnTo>
                  <a:pt x="356" y="61"/>
                </a:lnTo>
                <a:lnTo>
                  <a:pt x="356" y="58"/>
                </a:lnTo>
                <a:lnTo>
                  <a:pt x="355" y="58"/>
                </a:lnTo>
                <a:lnTo>
                  <a:pt x="356" y="57"/>
                </a:lnTo>
                <a:lnTo>
                  <a:pt x="356" y="56"/>
                </a:lnTo>
                <a:lnTo>
                  <a:pt x="354" y="56"/>
                </a:lnTo>
                <a:lnTo>
                  <a:pt x="354" y="55"/>
                </a:lnTo>
                <a:lnTo>
                  <a:pt x="355" y="55"/>
                </a:lnTo>
                <a:lnTo>
                  <a:pt x="355" y="53"/>
                </a:lnTo>
                <a:lnTo>
                  <a:pt x="354" y="53"/>
                </a:lnTo>
                <a:lnTo>
                  <a:pt x="354" y="52"/>
                </a:lnTo>
                <a:lnTo>
                  <a:pt x="355" y="51"/>
                </a:lnTo>
                <a:lnTo>
                  <a:pt x="355" y="49"/>
                </a:lnTo>
                <a:lnTo>
                  <a:pt x="356" y="49"/>
                </a:lnTo>
                <a:lnTo>
                  <a:pt x="355" y="47"/>
                </a:lnTo>
                <a:lnTo>
                  <a:pt x="356" y="46"/>
                </a:lnTo>
                <a:lnTo>
                  <a:pt x="356" y="45"/>
                </a:lnTo>
                <a:lnTo>
                  <a:pt x="359" y="45"/>
                </a:lnTo>
                <a:lnTo>
                  <a:pt x="359" y="41"/>
                </a:lnTo>
                <a:lnTo>
                  <a:pt x="357" y="41"/>
                </a:lnTo>
                <a:lnTo>
                  <a:pt x="359" y="40"/>
                </a:lnTo>
                <a:lnTo>
                  <a:pt x="360" y="40"/>
                </a:lnTo>
                <a:lnTo>
                  <a:pt x="360" y="37"/>
                </a:lnTo>
                <a:lnTo>
                  <a:pt x="361" y="35"/>
                </a:lnTo>
                <a:lnTo>
                  <a:pt x="361" y="34"/>
                </a:lnTo>
                <a:lnTo>
                  <a:pt x="362" y="34"/>
                </a:lnTo>
                <a:lnTo>
                  <a:pt x="363" y="33"/>
                </a:lnTo>
                <a:lnTo>
                  <a:pt x="363" y="32"/>
                </a:lnTo>
                <a:lnTo>
                  <a:pt x="366" y="32"/>
                </a:lnTo>
                <a:lnTo>
                  <a:pt x="366" y="29"/>
                </a:lnTo>
                <a:lnTo>
                  <a:pt x="367" y="28"/>
                </a:lnTo>
                <a:lnTo>
                  <a:pt x="368" y="28"/>
                </a:lnTo>
                <a:lnTo>
                  <a:pt x="368" y="27"/>
                </a:lnTo>
                <a:lnTo>
                  <a:pt x="369" y="27"/>
                </a:lnTo>
                <a:lnTo>
                  <a:pt x="369" y="25"/>
                </a:lnTo>
                <a:lnTo>
                  <a:pt x="370" y="25"/>
                </a:lnTo>
                <a:lnTo>
                  <a:pt x="370" y="26"/>
                </a:lnTo>
                <a:lnTo>
                  <a:pt x="372" y="26"/>
                </a:lnTo>
                <a:lnTo>
                  <a:pt x="372" y="24"/>
                </a:lnTo>
                <a:lnTo>
                  <a:pt x="370" y="24"/>
                </a:lnTo>
                <a:lnTo>
                  <a:pt x="370" y="21"/>
                </a:lnTo>
                <a:lnTo>
                  <a:pt x="372" y="20"/>
                </a:lnTo>
                <a:lnTo>
                  <a:pt x="380" y="20"/>
                </a:lnTo>
                <a:lnTo>
                  <a:pt x="382" y="22"/>
                </a:lnTo>
                <a:lnTo>
                  <a:pt x="385" y="22"/>
                </a:lnTo>
                <a:lnTo>
                  <a:pt x="385" y="21"/>
                </a:lnTo>
                <a:lnTo>
                  <a:pt x="387" y="19"/>
                </a:lnTo>
                <a:lnTo>
                  <a:pt x="390" y="18"/>
                </a:lnTo>
                <a:lnTo>
                  <a:pt x="394" y="18"/>
                </a:lnTo>
                <a:lnTo>
                  <a:pt x="401" y="19"/>
                </a:lnTo>
                <a:lnTo>
                  <a:pt x="406" y="19"/>
                </a:lnTo>
                <a:lnTo>
                  <a:pt x="409" y="18"/>
                </a:lnTo>
                <a:lnTo>
                  <a:pt x="410" y="19"/>
                </a:lnTo>
                <a:lnTo>
                  <a:pt x="411" y="19"/>
                </a:lnTo>
                <a:lnTo>
                  <a:pt x="411" y="22"/>
                </a:lnTo>
                <a:lnTo>
                  <a:pt x="412" y="24"/>
                </a:lnTo>
                <a:lnTo>
                  <a:pt x="413" y="24"/>
                </a:lnTo>
                <a:lnTo>
                  <a:pt x="416" y="22"/>
                </a:lnTo>
                <a:lnTo>
                  <a:pt x="417" y="21"/>
                </a:lnTo>
                <a:lnTo>
                  <a:pt x="419" y="22"/>
                </a:lnTo>
                <a:lnTo>
                  <a:pt x="421" y="22"/>
                </a:lnTo>
                <a:lnTo>
                  <a:pt x="425" y="20"/>
                </a:lnTo>
                <a:lnTo>
                  <a:pt x="428" y="18"/>
                </a:lnTo>
                <a:lnTo>
                  <a:pt x="429" y="15"/>
                </a:lnTo>
                <a:lnTo>
                  <a:pt x="430" y="12"/>
                </a:lnTo>
                <a:lnTo>
                  <a:pt x="430" y="9"/>
                </a:lnTo>
                <a:lnTo>
                  <a:pt x="431" y="9"/>
                </a:lnTo>
                <a:lnTo>
                  <a:pt x="431" y="8"/>
                </a:lnTo>
                <a:lnTo>
                  <a:pt x="430" y="6"/>
                </a:lnTo>
                <a:lnTo>
                  <a:pt x="431" y="3"/>
                </a:lnTo>
                <a:lnTo>
                  <a:pt x="432" y="3"/>
                </a:lnTo>
                <a:lnTo>
                  <a:pt x="436" y="4"/>
                </a:lnTo>
                <a:lnTo>
                  <a:pt x="438" y="3"/>
                </a:lnTo>
                <a:lnTo>
                  <a:pt x="447" y="8"/>
                </a:lnTo>
                <a:lnTo>
                  <a:pt x="448" y="8"/>
                </a:lnTo>
                <a:lnTo>
                  <a:pt x="450" y="7"/>
                </a:lnTo>
                <a:lnTo>
                  <a:pt x="452" y="7"/>
                </a:lnTo>
                <a:lnTo>
                  <a:pt x="453" y="8"/>
                </a:lnTo>
                <a:lnTo>
                  <a:pt x="455" y="8"/>
                </a:lnTo>
                <a:lnTo>
                  <a:pt x="460" y="4"/>
                </a:lnTo>
                <a:lnTo>
                  <a:pt x="461" y="4"/>
                </a:lnTo>
                <a:lnTo>
                  <a:pt x="462" y="3"/>
                </a:lnTo>
                <a:lnTo>
                  <a:pt x="462" y="2"/>
                </a:lnTo>
                <a:lnTo>
                  <a:pt x="465" y="2"/>
                </a:lnTo>
                <a:lnTo>
                  <a:pt x="466" y="1"/>
                </a:lnTo>
                <a:lnTo>
                  <a:pt x="466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" name="Freeform 7">
            <a:extLst>
              <a:ext uri="{FF2B5EF4-FFF2-40B4-BE49-F238E27FC236}">
                <a16:creationId xmlns:a16="http://schemas.microsoft.com/office/drawing/2014/main" id="{6AFD51CD-05E6-4ED9-AF33-2EEE3A679F7A}"/>
              </a:ext>
            </a:extLst>
          </p:cNvPr>
          <p:cNvSpPr>
            <a:spLocks noEditPoints="1"/>
          </p:cNvSpPr>
          <p:nvPr/>
        </p:nvSpPr>
        <p:spPr bwMode="auto">
          <a:xfrm>
            <a:off x="2800898" y="5413094"/>
            <a:ext cx="1170744" cy="492640"/>
          </a:xfrm>
          <a:custGeom>
            <a:avLst/>
            <a:gdLst/>
            <a:ahLst/>
            <a:cxnLst>
              <a:cxn ang="0">
                <a:pos x="72" y="295"/>
              </a:cxn>
              <a:cxn ang="0">
                <a:pos x="12" y="104"/>
              </a:cxn>
              <a:cxn ang="0">
                <a:pos x="82" y="86"/>
              </a:cxn>
              <a:cxn ang="0">
                <a:pos x="86" y="7"/>
              </a:cxn>
              <a:cxn ang="0">
                <a:pos x="105" y="30"/>
              </a:cxn>
              <a:cxn ang="0">
                <a:pos x="195" y="50"/>
              </a:cxn>
              <a:cxn ang="0">
                <a:pos x="275" y="26"/>
              </a:cxn>
              <a:cxn ang="0">
                <a:pos x="373" y="7"/>
              </a:cxn>
              <a:cxn ang="0">
                <a:pos x="415" y="26"/>
              </a:cxn>
              <a:cxn ang="0">
                <a:pos x="452" y="46"/>
              </a:cxn>
              <a:cxn ang="0">
                <a:pos x="508" y="55"/>
              </a:cxn>
              <a:cxn ang="0">
                <a:pos x="553" y="62"/>
              </a:cxn>
              <a:cxn ang="0">
                <a:pos x="615" y="66"/>
              </a:cxn>
              <a:cxn ang="0">
                <a:pos x="668" y="33"/>
              </a:cxn>
              <a:cxn ang="0">
                <a:pos x="722" y="33"/>
              </a:cxn>
              <a:cxn ang="0">
                <a:pos x="752" y="62"/>
              </a:cxn>
              <a:cxn ang="0">
                <a:pos x="770" y="116"/>
              </a:cxn>
              <a:cxn ang="0">
                <a:pos x="797" y="130"/>
              </a:cxn>
              <a:cxn ang="0">
                <a:pos x="780" y="177"/>
              </a:cxn>
              <a:cxn ang="0">
                <a:pos x="785" y="222"/>
              </a:cxn>
              <a:cxn ang="0">
                <a:pos x="798" y="253"/>
              </a:cxn>
              <a:cxn ang="0">
                <a:pos x="782" y="271"/>
              </a:cxn>
              <a:cxn ang="0">
                <a:pos x="744" y="261"/>
              </a:cxn>
              <a:cxn ang="0">
                <a:pos x="690" y="270"/>
              </a:cxn>
              <a:cxn ang="0">
                <a:pos x="528" y="284"/>
              </a:cxn>
              <a:cxn ang="0">
                <a:pos x="459" y="310"/>
              </a:cxn>
              <a:cxn ang="0">
                <a:pos x="440" y="339"/>
              </a:cxn>
              <a:cxn ang="0">
                <a:pos x="432" y="308"/>
              </a:cxn>
              <a:cxn ang="0">
                <a:pos x="419" y="300"/>
              </a:cxn>
              <a:cxn ang="0">
                <a:pos x="369" y="296"/>
              </a:cxn>
              <a:cxn ang="0">
                <a:pos x="337" y="322"/>
              </a:cxn>
              <a:cxn ang="0">
                <a:pos x="282" y="322"/>
              </a:cxn>
              <a:cxn ang="0">
                <a:pos x="223" y="286"/>
              </a:cxn>
              <a:cxn ang="0">
                <a:pos x="200" y="319"/>
              </a:cxn>
              <a:cxn ang="0">
                <a:pos x="168" y="321"/>
              </a:cxn>
              <a:cxn ang="0">
                <a:pos x="145" y="302"/>
              </a:cxn>
              <a:cxn ang="0">
                <a:pos x="121" y="288"/>
              </a:cxn>
              <a:cxn ang="0">
                <a:pos x="111" y="294"/>
              </a:cxn>
              <a:cxn ang="0">
                <a:pos x="96" y="292"/>
              </a:cxn>
              <a:cxn ang="0">
                <a:pos x="86" y="290"/>
              </a:cxn>
              <a:cxn ang="0">
                <a:pos x="108" y="278"/>
              </a:cxn>
              <a:cxn ang="0">
                <a:pos x="70" y="278"/>
              </a:cxn>
              <a:cxn ang="0">
                <a:pos x="80" y="265"/>
              </a:cxn>
              <a:cxn ang="0">
                <a:pos x="65" y="247"/>
              </a:cxn>
              <a:cxn ang="0">
                <a:pos x="50" y="223"/>
              </a:cxn>
              <a:cxn ang="0">
                <a:pos x="27" y="209"/>
              </a:cxn>
              <a:cxn ang="0">
                <a:pos x="38" y="194"/>
              </a:cxn>
              <a:cxn ang="0">
                <a:pos x="55" y="202"/>
              </a:cxn>
              <a:cxn ang="0">
                <a:pos x="53" y="181"/>
              </a:cxn>
              <a:cxn ang="0">
                <a:pos x="45" y="159"/>
              </a:cxn>
              <a:cxn ang="0">
                <a:pos x="16" y="146"/>
              </a:cxn>
              <a:cxn ang="0">
                <a:pos x="68" y="92"/>
              </a:cxn>
              <a:cxn ang="0">
                <a:pos x="100" y="92"/>
              </a:cxn>
              <a:cxn ang="0">
                <a:pos x="137" y="92"/>
              </a:cxn>
              <a:cxn ang="0">
                <a:pos x="158" y="75"/>
              </a:cxn>
              <a:cxn ang="0">
                <a:pos x="124" y="61"/>
              </a:cxn>
              <a:cxn ang="0">
                <a:pos x="68" y="79"/>
              </a:cxn>
              <a:cxn ang="0">
                <a:pos x="30" y="109"/>
              </a:cxn>
              <a:cxn ang="0">
                <a:pos x="36" y="85"/>
              </a:cxn>
              <a:cxn ang="0">
                <a:pos x="28" y="54"/>
              </a:cxn>
              <a:cxn ang="0">
                <a:pos x="34" y="17"/>
              </a:cxn>
            </a:cxnLst>
            <a:rect l="0" t="0" r="r" b="b"/>
            <a:pathLst>
              <a:path w="808" h="340">
                <a:moveTo>
                  <a:pt x="96" y="300"/>
                </a:moveTo>
                <a:lnTo>
                  <a:pt x="101" y="300"/>
                </a:lnTo>
                <a:lnTo>
                  <a:pt x="101" y="301"/>
                </a:lnTo>
                <a:lnTo>
                  <a:pt x="100" y="301"/>
                </a:lnTo>
                <a:lnTo>
                  <a:pt x="100" y="302"/>
                </a:lnTo>
                <a:lnTo>
                  <a:pt x="98" y="302"/>
                </a:lnTo>
                <a:lnTo>
                  <a:pt x="96" y="301"/>
                </a:lnTo>
                <a:lnTo>
                  <a:pt x="96" y="300"/>
                </a:lnTo>
                <a:close/>
                <a:moveTo>
                  <a:pt x="100" y="297"/>
                </a:moveTo>
                <a:lnTo>
                  <a:pt x="101" y="297"/>
                </a:lnTo>
                <a:lnTo>
                  <a:pt x="100" y="298"/>
                </a:lnTo>
                <a:lnTo>
                  <a:pt x="100" y="297"/>
                </a:lnTo>
                <a:close/>
                <a:moveTo>
                  <a:pt x="136" y="296"/>
                </a:moveTo>
                <a:lnTo>
                  <a:pt x="137" y="297"/>
                </a:lnTo>
                <a:lnTo>
                  <a:pt x="136" y="297"/>
                </a:lnTo>
                <a:lnTo>
                  <a:pt x="136" y="296"/>
                </a:lnTo>
                <a:close/>
                <a:moveTo>
                  <a:pt x="96" y="295"/>
                </a:moveTo>
                <a:lnTo>
                  <a:pt x="100" y="295"/>
                </a:lnTo>
                <a:lnTo>
                  <a:pt x="100" y="296"/>
                </a:lnTo>
                <a:lnTo>
                  <a:pt x="98" y="296"/>
                </a:lnTo>
                <a:lnTo>
                  <a:pt x="96" y="295"/>
                </a:lnTo>
                <a:close/>
                <a:moveTo>
                  <a:pt x="418" y="294"/>
                </a:moveTo>
                <a:lnTo>
                  <a:pt x="418" y="295"/>
                </a:lnTo>
                <a:lnTo>
                  <a:pt x="419" y="295"/>
                </a:lnTo>
                <a:lnTo>
                  <a:pt x="419" y="294"/>
                </a:lnTo>
                <a:lnTo>
                  <a:pt x="418" y="294"/>
                </a:lnTo>
                <a:close/>
                <a:moveTo>
                  <a:pt x="71" y="294"/>
                </a:moveTo>
                <a:lnTo>
                  <a:pt x="72" y="295"/>
                </a:lnTo>
                <a:lnTo>
                  <a:pt x="71" y="296"/>
                </a:lnTo>
                <a:lnTo>
                  <a:pt x="71" y="294"/>
                </a:lnTo>
                <a:close/>
                <a:moveTo>
                  <a:pt x="74" y="277"/>
                </a:moveTo>
                <a:lnTo>
                  <a:pt x="74" y="278"/>
                </a:lnTo>
                <a:lnTo>
                  <a:pt x="72" y="278"/>
                </a:lnTo>
                <a:lnTo>
                  <a:pt x="74" y="277"/>
                </a:lnTo>
                <a:close/>
                <a:moveTo>
                  <a:pt x="67" y="272"/>
                </a:moveTo>
                <a:lnTo>
                  <a:pt x="68" y="272"/>
                </a:lnTo>
                <a:lnTo>
                  <a:pt x="67" y="273"/>
                </a:lnTo>
                <a:lnTo>
                  <a:pt x="67" y="272"/>
                </a:lnTo>
                <a:close/>
                <a:moveTo>
                  <a:pt x="26" y="206"/>
                </a:moveTo>
                <a:lnTo>
                  <a:pt x="27" y="206"/>
                </a:lnTo>
                <a:lnTo>
                  <a:pt x="27" y="208"/>
                </a:lnTo>
                <a:lnTo>
                  <a:pt x="26" y="208"/>
                </a:lnTo>
                <a:lnTo>
                  <a:pt x="26" y="206"/>
                </a:lnTo>
                <a:close/>
                <a:moveTo>
                  <a:pt x="49" y="197"/>
                </a:moveTo>
                <a:lnTo>
                  <a:pt x="50" y="198"/>
                </a:lnTo>
                <a:lnTo>
                  <a:pt x="49" y="198"/>
                </a:lnTo>
                <a:lnTo>
                  <a:pt x="49" y="197"/>
                </a:lnTo>
                <a:close/>
                <a:moveTo>
                  <a:pt x="13" y="126"/>
                </a:moveTo>
                <a:lnTo>
                  <a:pt x="18" y="126"/>
                </a:lnTo>
                <a:lnTo>
                  <a:pt x="18" y="129"/>
                </a:lnTo>
                <a:lnTo>
                  <a:pt x="16" y="129"/>
                </a:lnTo>
                <a:lnTo>
                  <a:pt x="15" y="128"/>
                </a:lnTo>
                <a:lnTo>
                  <a:pt x="13" y="128"/>
                </a:lnTo>
                <a:lnTo>
                  <a:pt x="13" y="126"/>
                </a:lnTo>
                <a:close/>
                <a:moveTo>
                  <a:pt x="11" y="104"/>
                </a:moveTo>
                <a:lnTo>
                  <a:pt x="12" y="104"/>
                </a:lnTo>
                <a:lnTo>
                  <a:pt x="12" y="105"/>
                </a:lnTo>
                <a:lnTo>
                  <a:pt x="13" y="105"/>
                </a:lnTo>
                <a:lnTo>
                  <a:pt x="13" y="109"/>
                </a:lnTo>
                <a:lnTo>
                  <a:pt x="14" y="109"/>
                </a:lnTo>
                <a:lnTo>
                  <a:pt x="14" y="110"/>
                </a:lnTo>
                <a:lnTo>
                  <a:pt x="13" y="110"/>
                </a:lnTo>
                <a:lnTo>
                  <a:pt x="9" y="111"/>
                </a:lnTo>
                <a:lnTo>
                  <a:pt x="8" y="111"/>
                </a:lnTo>
                <a:lnTo>
                  <a:pt x="5" y="112"/>
                </a:lnTo>
                <a:lnTo>
                  <a:pt x="2" y="112"/>
                </a:lnTo>
                <a:lnTo>
                  <a:pt x="2" y="111"/>
                </a:lnTo>
                <a:lnTo>
                  <a:pt x="0" y="111"/>
                </a:lnTo>
                <a:lnTo>
                  <a:pt x="0" y="110"/>
                </a:lnTo>
                <a:lnTo>
                  <a:pt x="3" y="106"/>
                </a:lnTo>
                <a:lnTo>
                  <a:pt x="11" y="104"/>
                </a:lnTo>
                <a:close/>
                <a:moveTo>
                  <a:pt x="81" y="89"/>
                </a:moveTo>
                <a:lnTo>
                  <a:pt x="82" y="89"/>
                </a:lnTo>
                <a:lnTo>
                  <a:pt x="83" y="91"/>
                </a:lnTo>
                <a:lnTo>
                  <a:pt x="83" y="92"/>
                </a:lnTo>
                <a:lnTo>
                  <a:pt x="81" y="92"/>
                </a:lnTo>
                <a:lnTo>
                  <a:pt x="81" y="89"/>
                </a:lnTo>
                <a:close/>
                <a:moveTo>
                  <a:pt x="78" y="81"/>
                </a:moveTo>
                <a:lnTo>
                  <a:pt x="86" y="81"/>
                </a:lnTo>
                <a:lnTo>
                  <a:pt x="87" y="82"/>
                </a:lnTo>
                <a:lnTo>
                  <a:pt x="87" y="83"/>
                </a:lnTo>
                <a:lnTo>
                  <a:pt x="84" y="83"/>
                </a:lnTo>
                <a:lnTo>
                  <a:pt x="82" y="85"/>
                </a:lnTo>
                <a:lnTo>
                  <a:pt x="82" y="86"/>
                </a:lnTo>
                <a:lnTo>
                  <a:pt x="81" y="85"/>
                </a:lnTo>
                <a:lnTo>
                  <a:pt x="78" y="85"/>
                </a:lnTo>
                <a:lnTo>
                  <a:pt x="78" y="81"/>
                </a:lnTo>
                <a:close/>
                <a:moveTo>
                  <a:pt x="120" y="57"/>
                </a:moveTo>
                <a:lnTo>
                  <a:pt x="121" y="58"/>
                </a:lnTo>
                <a:lnTo>
                  <a:pt x="121" y="60"/>
                </a:lnTo>
                <a:lnTo>
                  <a:pt x="123" y="60"/>
                </a:lnTo>
                <a:lnTo>
                  <a:pt x="123" y="58"/>
                </a:lnTo>
                <a:lnTo>
                  <a:pt x="121" y="57"/>
                </a:lnTo>
                <a:lnTo>
                  <a:pt x="120" y="57"/>
                </a:lnTo>
                <a:close/>
                <a:moveTo>
                  <a:pt x="400" y="3"/>
                </a:moveTo>
                <a:lnTo>
                  <a:pt x="401" y="3"/>
                </a:lnTo>
                <a:lnTo>
                  <a:pt x="403" y="5"/>
                </a:lnTo>
                <a:lnTo>
                  <a:pt x="400" y="5"/>
                </a:lnTo>
                <a:lnTo>
                  <a:pt x="400" y="3"/>
                </a:lnTo>
                <a:close/>
                <a:moveTo>
                  <a:pt x="65" y="0"/>
                </a:moveTo>
                <a:lnTo>
                  <a:pt x="67" y="0"/>
                </a:lnTo>
                <a:lnTo>
                  <a:pt x="68" y="1"/>
                </a:lnTo>
                <a:lnTo>
                  <a:pt x="69" y="1"/>
                </a:lnTo>
                <a:lnTo>
                  <a:pt x="70" y="2"/>
                </a:lnTo>
                <a:lnTo>
                  <a:pt x="72" y="6"/>
                </a:lnTo>
                <a:lnTo>
                  <a:pt x="74" y="7"/>
                </a:lnTo>
                <a:lnTo>
                  <a:pt x="77" y="9"/>
                </a:lnTo>
                <a:lnTo>
                  <a:pt x="80" y="12"/>
                </a:lnTo>
                <a:lnTo>
                  <a:pt x="80" y="9"/>
                </a:lnTo>
                <a:lnTo>
                  <a:pt x="82" y="9"/>
                </a:lnTo>
                <a:lnTo>
                  <a:pt x="82" y="8"/>
                </a:lnTo>
                <a:lnTo>
                  <a:pt x="86" y="7"/>
                </a:lnTo>
                <a:lnTo>
                  <a:pt x="87" y="7"/>
                </a:lnTo>
                <a:lnTo>
                  <a:pt x="89" y="9"/>
                </a:lnTo>
                <a:lnTo>
                  <a:pt x="90" y="9"/>
                </a:lnTo>
                <a:lnTo>
                  <a:pt x="90" y="6"/>
                </a:lnTo>
                <a:lnTo>
                  <a:pt x="93" y="6"/>
                </a:lnTo>
                <a:lnTo>
                  <a:pt x="94" y="7"/>
                </a:lnTo>
                <a:lnTo>
                  <a:pt x="99" y="7"/>
                </a:lnTo>
                <a:lnTo>
                  <a:pt x="100" y="11"/>
                </a:lnTo>
                <a:lnTo>
                  <a:pt x="100" y="12"/>
                </a:lnTo>
                <a:lnTo>
                  <a:pt x="98" y="12"/>
                </a:lnTo>
                <a:lnTo>
                  <a:pt x="98" y="13"/>
                </a:lnTo>
                <a:lnTo>
                  <a:pt x="96" y="14"/>
                </a:lnTo>
                <a:lnTo>
                  <a:pt x="98" y="15"/>
                </a:lnTo>
                <a:lnTo>
                  <a:pt x="98" y="17"/>
                </a:lnTo>
                <a:lnTo>
                  <a:pt x="99" y="18"/>
                </a:lnTo>
                <a:lnTo>
                  <a:pt x="99" y="19"/>
                </a:lnTo>
                <a:lnTo>
                  <a:pt x="100" y="21"/>
                </a:lnTo>
                <a:lnTo>
                  <a:pt x="100" y="23"/>
                </a:lnTo>
                <a:lnTo>
                  <a:pt x="101" y="23"/>
                </a:lnTo>
                <a:lnTo>
                  <a:pt x="101" y="24"/>
                </a:lnTo>
                <a:lnTo>
                  <a:pt x="102" y="24"/>
                </a:lnTo>
                <a:lnTo>
                  <a:pt x="102" y="25"/>
                </a:lnTo>
                <a:lnTo>
                  <a:pt x="101" y="25"/>
                </a:lnTo>
                <a:lnTo>
                  <a:pt x="102" y="26"/>
                </a:lnTo>
                <a:lnTo>
                  <a:pt x="102" y="27"/>
                </a:lnTo>
                <a:lnTo>
                  <a:pt x="103" y="27"/>
                </a:lnTo>
                <a:lnTo>
                  <a:pt x="105" y="28"/>
                </a:lnTo>
                <a:lnTo>
                  <a:pt x="105" y="30"/>
                </a:lnTo>
                <a:lnTo>
                  <a:pt x="108" y="33"/>
                </a:lnTo>
                <a:lnTo>
                  <a:pt x="114" y="37"/>
                </a:lnTo>
                <a:lnTo>
                  <a:pt x="124" y="40"/>
                </a:lnTo>
                <a:lnTo>
                  <a:pt x="137" y="48"/>
                </a:lnTo>
                <a:lnTo>
                  <a:pt x="140" y="48"/>
                </a:lnTo>
                <a:lnTo>
                  <a:pt x="142" y="49"/>
                </a:lnTo>
                <a:lnTo>
                  <a:pt x="142" y="48"/>
                </a:lnTo>
                <a:lnTo>
                  <a:pt x="143" y="48"/>
                </a:lnTo>
                <a:lnTo>
                  <a:pt x="144" y="49"/>
                </a:lnTo>
                <a:lnTo>
                  <a:pt x="145" y="49"/>
                </a:lnTo>
                <a:lnTo>
                  <a:pt x="145" y="50"/>
                </a:lnTo>
                <a:lnTo>
                  <a:pt x="143" y="52"/>
                </a:lnTo>
                <a:lnTo>
                  <a:pt x="142" y="52"/>
                </a:lnTo>
                <a:lnTo>
                  <a:pt x="143" y="54"/>
                </a:lnTo>
                <a:lnTo>
                  <a:pt x="143" y="57"/>
                </a:lnTo>
                <a:lnTo>
                  <a:pt x="144" y="56"/>
                </a:lnTo>
                <a:lnTo>
                  <a:pt x="144" y="54"/>
                </a:lnTo>
                <a:lnTo>
                  <a:pt x="143" y="54"/>
                </a:lnTo>
                <a:lnTo>
                  <a:pt x="148" y="49"/>
                </a:lnTo>
                <a:lnTo>
                  <a:pt x="150" y="49"/>
                </a:lnTo>
                <a:lnTo>
                  <a:pt x="158" y="50"/>
                </a:lnTo>
                <a:lnTo>
                  <a:pt x="167" y="52"/>
                </a:lnTo>
                <a:lnTo>
                  <a:pt x="177" y="54"/>
                </a:lnTo>
                <a:lnTo>
                  <a:pt x="190" y="54"/>
                </a:lnTo>
                <a:lnTo>
                  <a:pt x="193" y="51"/>
                </a:lnTo>
                <a:lnTo>
                  <a:pt x="194" y="51"/>
                </a:lnTo>
                <a:lnTo>
                  <a:pt x="194" y="50"/>
                </a:lnTo>
                <a:lnTo>
                  <a:pt x="195" y="50"/>
                </a:lnTo>
                <a:lnTo>
                  <a:pt x="196" y="51"/>
                </a:lnTo>
                <a:lnTo>
                  <a:pt x="199" y="52"/>
                </a:lnTo>
                <a:lnTo>
                  <a:pt x="212" y="55"/>
                </a:lnTo>
                <a:lnTo>
                  <a:pt x="214" y="57"/>
                </a:lnTo>
                <a:lnTo>
                  <a:pt x="230" y="57"/>
                </a:lnTo>
                <a:lnTo>
                  <a:pt x="230" y="56"/>
                </a:lnTo>
                <a:lnTo>
                  <a:pt x="231" y="56"/>
                </a:lnTo>
                <a:lnTo>
                  <a:pt x="231" y="57"/>
                </a:lnTo>
                <a:lnTo>
                  <a:pt x="232" y="57"/>
                </a:lnTo>
                <a:lnTo>
                  <a:pt x="233" y="56"/>
                </a:lnTo>
                <a:lnTo>
                  <a:pt x="235" y="57"/>
                </a:lnTo>
                <a:lnTo>
                  <a:pt x="235" y="56"/>
                </a:lnTo>
                <a:lnTo>
                  <a:pt x="237" y="56"/>
                </a:lnTo>
                <a:lnTo>
                  <a:pt x="242" y="51"/>
                </a:lnTo>
                <a:lnTo>
                  <a:pt x="242" y="48"/>
                </a:lnTo>
                <a:lnTo>
                  <a:pt x="243" y="46"/>
                </a:lnTo>
                <a:lnTo>
                  <a:pt x="242" y="45"/>
                </a:lnTo>
                <a:lnTo>
                  <a:pt x="242" y="44"/>
                </a:lnTo>
                <a:lnTo>
                  <a:pt x="245" y="44"/>
                </a:lnTo>
                <a:lnTo>
                  <a:pt x="245" y="43"/>
                </a:lnTo>
                <a:lnTo>
                  <a:pt x="247" y="42"/>
                </a:lnTo>
                <a:lnTo>
                  <a:pt x="252" y="39"/>
                </a:lnTo>
                <a:lnTo>
                  <a:pt x="262" y="33"/>
                </a:lnTo>
                <a:lnTo>
                  <a:pt x="267" y="31"/>
                </a:lnTo>
                <a:lnTo>
                  <a:pt x="268" y="30"/>
                </a:lnTo>
                <a:lnTo>
                  <a:pt x="269" y="30"/>
                </a:lnTo>
                <a:lnTo>
                  <a:pt x="273" y="28"/>
                </a:lnTo>
                <a:lnTo>
                  <a:pt x="275" y="26"/>
                </a:lnTo>
                <a:lnTo>
                  <a:pt x="277" y="23"/>
                </a:lnTo>
                <a:lnTo>
                  <a:pt x="279" y="21"/>
                </a:lnTo>
                <a:lnTo>
                  <a:pt x="282" y="21"/>
                </a:lnTo>
                <a:lnTo>
                  <a:pt x="282" y="20"/>
                </a:lnTo>
                <a:lnTo>
                  <a:pt x="285" y="20"/>
                </a:lnTo>
                <a:lnTo>
                  <a:pt x="286" y="19"/>
                </a:lnTo>
                <a:lnTo>
                  <a:pt x="289" y="17"/>
                </a:lnTo>
                <a:lnTo>
                  <a:pt x="292" y="17"/>
                </a:lnTo>
                <a:lnTo>
                  <a:pt x="292" y="15"/>
                </a:lnTo>
                <a:lnTo>
                  <a:pt x="293" y="15"/>
                </a:lnTo>
                <a:lnTo>
                  <a:pt x="294" y="14"/>
                </a:lnTo>
                <a:lnTo>
                  <a:pt x="295" y="15"/>
                </a:lnTo>
                <a:lnTo>
                  <a:pt x="298" y="14"/>
                </a:lnTo>
                <a:lnTo>
                  <a:pt x="301" y="14"/>
                </a:lnTo>
                <a:lnTo>
                  <a:pt x="303" y="13"/>
                </a:lnTo>
                <a:lnTo>
                  <a:pt x="306" y="13"/>
                </a:lnTo>
                <a:lnTo>
                  <a:pt x="307" y="12"/>
                </a:lnTo>
                <a:lnTo>
                  <a:pt x="310" y="11"/>
                </a:lnTo>
                <a:lnTo>
                  <a:pt x="316" y="8"/>
                </a:lnTo>
                <a:lnTo>
                  <a:pt x="323" y="5"/>
                </a:lnTo>
                <a:lnTo>
                  <a:pt x="332" y="5"/>
                </a:lnTo>
                <a:lnTo>
                  <a:pt x="334" y="6"/>
                </a:lnTo>
                <a:lnTo>
                  <a:pt x="335" y="6"/>
                </a:lnTo>
                <a:lnTo>
                  <a:pt x="344" y="7"/>
                </a:lnTo>
                <a:lnTo>
                  <a:pt x="351" y="7"/>
                </a:lnTo>
                <a:lnTo>
                  <a:pt x="366" y="8"/>
                </a:lnTo>
                <a:lnTo>
                  <a:pt x="370" y="7"/>
                </a:lnTo>
                <a:lnTo>
                  <a:pt x="373" y="7"/>
                </a:lnTo>
                <a:lnTo>
                  <a:pt x="374" y="8"/>
                </a:lnTo>
                <a:lnTo>
                  <a:pt x="375" y="8"/>
                </a:lnTo>
                <a:lnTo>
                  <a:pt x="381" y="9"/>
                </a:lnTo>
                <a:lnTo>
                  <a:pt x="382" y="8"/>
                </a:lnTo>
                <a:lnTo>
                  <a:pt x="385" y="8"/>
                </a:lnTo>
                <a:lnTo>
                  <a:pt x="387" y="6"/>
                </a:lnTo>
                <a:lnTo>
                  <a:pt x="390" y="6"/>
                </a:lnTo>
                <a:lnTo>
                  <a:pt x="391" y="3"/>
                </a:lnTo>
                <a:lnTo>
                  <a:pt x="391" y="2"/>
                </a:lnTo>
                <a:lnTo>
                  <a:pt x="392" y="0"/>
                </a:lnTo>
                <a:lnTo>
                  <a:pt x="393" y="1"/>
                </a:lnTo>
                <a:lnTo>
                  <a:pt x="395" y="1"/>
                </a:lnTo>
                <a:lnTo>
                  <a:pt x="395" y="3"/>
                </a:lnTo>
                <a:lnTo>
                  <a:pt x="397" y="5"/>
                </a:lnTo>
                <a:lnTo>
                  <a:pt x="399" y="5"/>
                </a:lnTo>
                <a:lnTo>
                  <a:pt x="399" y="6"/>
                </a:lnTo>
                <a:lnTo>
                  <a:pt x="398" y="6"/>
                </a:lnTo>
                <a:lnTo>
                  <a:pt x="398" y="11"/>
                </a:lnTo>
                <a:lnTo>
                  <a:pt x="399" y="13"/>
                </a:lnTo>
                <a:lnTo>
                  <a:pt x="403" y="17"/>
                </a:lnTo>
                <a:lnTo>
                  <a:pt x="401" y="17"/>
                </a:lnTo>
                <a:lnTo>
                  <a:pt x="403" y="18"/>
                </a:lnTo>
                <a:lnTo>
                  <a:pt x="403" y="19"/>
                </a:lnTo>
                <a:lnTo>
                  <a:pt x="405" y="21"/>
                </a:lnTo>
                <a:lnTo>
                  <a:pt x="406" y="21"/>
                </a:lnTo>
                <a:lnTo>
                  <a:pt x="411" y="24"/>
                </a:lnTo>
                <a:lnTo>
                  <a:pt x="412" y="25"/>
                </a:lnTo>
                <a:lnTo>
                  <a:pt x="415" y="26"/>
                </a:lnTo>
                <a:lnTo>
                  <a:pt x="421" y="26"/>
                </a:lnTo>
                <a:lnTo>
                  <a:pt x="422" y="25"/>
                </a:lnTo>
                <a:lnTo>
                  <a:pt x="425" y="25"/>
                </a:lnTo>
                <a:lnTo>
                  <a:pt x="429" y="23"/>
                </a:lnTo>
                <a:lnTo>
                  <a:pt x="431" y="23"/>
                </a:lnTo>
                <a:lnTo>
                  <a:pt x="434" y="21"/>
                </a:lnTo>
                <a:lnTo>
                  <a:pt x="434" y="23"/>
                </a:lnTo>
                <a:lnTo>
                  <a:pt x="432" y="23"/>
                </a:lnTo>
                <a:lnTo>
                  <a:pt x="432" y="25"/>
                </a:lnTo>
                <a:lnTo>
                  <a:pt x="434" y="24"/>
                </a:lnTo>
                <a:lnTo>
                  <a:pt x="434" y="23"/>
                </a:lnTo>
                <a:lnTo>
                  <a:pt x="435" y="21"/>
                </a:lnTo>
                <a:lnTo>
                  <a:pt x="437" y="24"/>
                </a:lnTo>
                <a:lnTo>
                  <a:pt x="437" y="23"/>
                </a:lnTo>
                <a:lnTo>
                  <a:pt x="441" y="27"/>
                </a:lnTo>
                <a:lnTo>
                  <a:pt x="442" y="28"/>
                </a:lnTo>
                <a:lnTo>
                  <a:pt x="442" y="31"/>
                </a:lnTo>
                <a:lnTo>
                  <a:pt x="441" y="31"/>
                </a:lnTo>
                <a:lnTo>
                  <a:pt x="441" y="36"/>
                </a:lnTo>
                <a:lnTo>
                  <a:pt x="442" y="36"/>
                </a:lnTo>
                <a:lnTo>
                  <a:pt x="443" y="38"/>
                </a:lnTo>
                <a:lnTo>
                  <a:pt x="444" y="39"/>
                </a:lnTo>
                <a:lnTo>
                  <a:pt x="446" y="42"/>
                </a:lnTo>
                <a:lnTo>
                  <a:pt x="447" y="43"/>
                </a:lnTo>
                <a:lnTo>
                  <a:pt x="449" y="44"/>
                </a:lnTo>
                <a:lnTo>
                  <a:pt x="450" y="44"/>
                </a:lnTo>
                <a:lnTo>
                  <a:pt x="450" y="46"/>
                </a:lnTo>
                <a:lnTo>
                  <a:pt x="452" y="46"/>
                </a:lnTo>
                <a:lnTo>
                  <a:pt x="453" y="48"/>
                </a:lnTo>
                <a:lnTo>
                  <a:pt x="454" y="48"/>
                </a:lnTo>
                <a:lnTo>
                  <a:pt x="454" y="49"/>
                </a:lnTo>
                <a:lnTo>
                  <a:pt x="456" y="49"/>
                </a:lnTo>
                <a:lnTo>
                  <a:pt x="460" y="45"/>
                </a:lnTo>
                <a:lnTo>
                  <a:pt x="460" y="44"/>
                </a:lnTo>
                <a:lnTo>
                  <a:pt x="461" y="43"/>
                </a:lnTo>
                <a:lnTo>
                  <a:pt x="461" y="42"/>
                </a:lnTo>
                <a:lnTo>
                  <a:pt x="462" y="40"/>
                </a:lnTo>
                <a:lnTo>
                  <a:pt x="462" y="42"/>
                </a:lnTo>
                <a:lnTo>
                  <a:pt x="468" y="42"/>
                </a:lnTo>
                <a:lnTo>
                  <a:pt x="471" y="43"/>
                </a:lnTo>
                <a:lnTo>
                  <a:pt x="478" y="45"/>
                </a:lnTo>
                <a:lnTo>
                  <a:pt x="479" y="46"/>
                </a:lnTo>
                <a:lnTo>
                  <a:pt x="479" y="51"/>
                </a:lnTo>
                <a:lnTo>
                  <a:pt x="480" y="52"/>
                </a:lnTo>
                <a:lnTo>
                  <a:pt x="481" y="52"/>
                </a:lnTo>
                <a:lnTo>
                  <a:pt x="482" y="54"/>
                </a:lnTo>
                <a:lnTo>
                  <a:pt x="491" y="54"/>
                </a:lnTo>
                <a:lnTo>
                  <a:pt x="493" y="56"/>
                </a:lnTo>
                <a:lnTo>
                  <a:pt x="494" y="56"/>
                </a:lnTo>
                <a:lnTo>
                  <a:pt x="496" y="57"/>
                </a:lnTo>
                <a:lnTo>
                  <a:pt x="497" y="57"/>
                </a:lnTo>
                <a:lnTo>
                  <a:pt x="499" y="60"/>
                </a:lnTo>
                <a:lnTo>
                  <a:pt x="504" y="60"/>
                </a:lnTo>
                <a:lnTo>
                  <a:pt x="504" y="57"/>
                </a:lnTo>
                <a:lnTo>
                  <a:pt x="508" y="54"/>
                </a:lnTo>
                <a:lnTo>
                  <a:pt x="508" y="55"/>
                </a:lnTo>
                <a:lnTo>
                  <a:pt x="509" y="56"/>
                </a:lnTo>
                <a:lnTo>
                  <a:pt x="510" y="55"/>
                </a:lnTo>
                <a:lnTo>
                  <a:pt x="511" y="55"/>
                </a:lnTo>
                <a:lnTo>
                  <a:pt x="511" y="58"/>
                </a:lnTo>
                <a:lnTo>
                  <a:pt x="513" y="61"/>
                </a:lnTo>
                <a:lnTo>
                  <a:pt x="515" y="61"/>
                </a:lnTo>
                <a:lnTo>
                  <a:pt x="515" y="62"/>
                </a:lnTo>
                <a:lnTo>
                  <a:pt x="516" y="63"/>
                </a:lnTo>
                <a:lnTo>
                  <a:pt x="517" y="62"/>
                </a:lnTo>
                <a:lnTo>
                  <a:pt x="519" y="63"/>
                </a:lnTo>
                <a:lnTo>
                  <a:pt x="524" y="64"/>
                </a:lnTo>
                <a:lnTo>
                  <a:pt x="527" y="64"/>
                </a:lnTo>
                <a:lnTo>
                  <a:pt x="529" y="66"/>
                </a:lnTo>
                <a:lnTo>
                  <a:pt x="530" y="66"/>
                </a:lnTo>
                <a:lnTo>
                  <a:pt x="531" y="64"/>
                </a:lnTo>
                <a:lnTo>
                  <a:pt x="534" y="67"/>
                </a:lnTo>
                <a:lnTo>
                  <a:pt x="535" y="67"/>
                </a:lnTo>
                <a:lnTo>
                  <a:pt x="536" y="66"/>
                </a:lnTo>
                <a:lnTo>
                  <a:pt x="539" y="67"/>
                </a:lnTo>
                <a:lnTo>
                  <a:pt x="540" y="67"/>
                </a:lnTo>
                <a:lnTo>
                  <a:pt x="543" y="66"/>
                </a:lnTo>
                <a:lnTo>
                  <a:pt x="546" y="64"/>
                </a:lnTo>
                <a:lnTo>
                  <a:pt x="547" y="63"/>
                </a:lnTo>
                <a:lnTo>
                  <a:pt x="548" y="63"/>
                </a:lnTo>
                <a:lnTo>
                  <a:pt x="548" y="64"/>
                </a:lnTo>
                <a:lnTo>
                  <a:pt x="552" y="64"/>
                </a:lnTo>
                <a:lnTo>
                  <a:pt x="552" y="63"/>
                </a:lnTo>
                <a:lnTo>
                  <a:pt x="553" y="62"/>
                </a:lnTo>
                <a:lnTo>
                  <a:pt x="554" y="62"/>
                </a:lnTo>
                <a:lnTo>
                  <a:pt x="558" y="61"/>
                </a:lnTo>
                <a:lnTo>
                  <a:pt x="559" y="60"/>
                </a:lnTo>
                <a:lnTo>
                  <a:pt x="565" y="60"/>
                </a:lnTo>
                <a:lnTo>
                  <a:pt x="567" y="58"/>
                </a:lnTo>
                <a:lnTo>
                  <a:pt x="568" y="58"/>
                </a:lnTo>
                <a:lnTo>
                  <a:pt x="569" y="57"/>
                </a:lnTo>
                <a:lnTo>
                  <a:pt x="571" y="57"/>
                </a:lnTo>
                <a:lnTo>
                  <a:pt x="573" y="60"/>
                </a:lnTo>
                <a:lnTo>
                  <a:pt x="574" y="60"/>
                </a:lnTo>
                <a:lnTo>
                  <a:pt x="574" y="58"/>
                </a:lnTo>
                <a:lnTo>
                  <a:pt x="577" y="58"/>
                </a:lnTo>
                <a:lnTo>
                  <a:pt x="579" y="56"/>
                </a:lnTo>
                <a:lnTo>
                  <a:pt x="583" y="56"/>
                </a:lnTo>
                <a:lnTo>
                  <a:pt x="589" y="62"/>
                </a:lnTo>
                <a:lnTo>
                  <a:pt x="591" y="62"/>
                </a:lnTo>
                <a:lnTo>
                  <a:pt x="592" y="61"/>
                </a:lnTo>
                <a:lnTo>
                  <a:pt x="593" y="61"/>
                </a:lnTo>
                <a:lnTo>
                  <a:pt x="595" y="62"/>
                </a:lnTo>
                <a:lnTo>
                  <a:pt x="596" y="62"/>
                </a:lnTo>
                <a:lnTo>
                  <a:pt x="598" y="64"/>
                </a:lnTo>
                <a:lnTo>
                  <a:pt x="600" y="64"/>
                </a:lnTo>
                <a:lnTo>
                  <a:pt x="604" y="63"/>
                </a:lnTo>
                <a:lnTo>
                  <a:pt x="606" y="66"/>
                </a:lnTo>
                <a:lnTo>
                  <a:pt x="608" y="66"/>
                </a:lnTo>
                <a:lnTo>
                  <a:pt x="610" y="67"/>
                </a:lnTo>
                <a:lnTo>
                  <a:pt x="612" y="66"/>
                </a:lnTo>
                <a:lnTo>
                  <a:pt x="615" y="66"/>
                </a:lnTo>
                <a:lnTo>
                  <a:pt x="615" y="64"/>
                </a:lnTo>
                <a:lnTo>
                  <a:pt x="617" y="64"/>
                </a:lnTo>
                <a:lnTo>
                  <a:pt x="624" y="60"/>
                </a:lnTo>
                <a:lnTo>
                  <a:pt x="628" y="60"/>
                </a:lnTo>
                <a:lnTo>
                  <a:pt x="629" y="58"/>
                </a:lnTo>
                <a:lnTo>
                  <a:pt x="631" y="57"/>
                </a:lnTo>
                <a:lnTo>
                  <a:pt x="634" y="57"/>
                </a:lnTo>
                <a:lnTo>
                  <a:pt x="634" y="56"/>
                </a:lnTo>
                <a:lnTo>
                  <a:pt x="636" y="54"/>
                </a:lnTo>
                <a:lnTo>
                  <a:pt x="640" y="51"/>
                </a:lnTo>
                <a:lnTo>
                  <a:pt x="643" y="51"/>
                </a:lnTo>
                <a:lnTo>
                  <a:pt x="645" y="50"/>
                </a:lnTo>
                <a:lnTo>
                  <a:pt x="648" y="50"/>
                </a:lnTo>
                <a:lnTo>
                  <a:pt x="648" y="49"/>
                </a:lnTo>
                <a:lnTo>
                  <a:pt x="649" y="49"/>
                </a:lnTo>
                <a:lnTo>
                  <a:pt x="651" y="46"/>
                </a:lnTo>
                <a:lnTo>
                  <a:pt x="652" y="46"/>
                </a:lnTo>
                <a:lnTo>
                  <a:pt x="653" y="45"/>
                </a:lnTo>
                <a:lnTo>
                  <a:pt x="655" y="45"/>
                </a:lnTo>
                <a:lnTo>
                  <a:pt x="659" y="42"/>
                </a:lnTo>
                <a:lnTo>
                  <a:pt x="661" y="42"/>
                </a:lnTo>
                <a:lnTo>
                  <a:pt x="662" y="40"/>
                </a:lnTo>
                <a:lnTo>
                  <a:pt x="664" y="40"/>
                </a:lnTo>
                <a:lnTo>
                  <a:pt x="665" y="39"/>
                </a:lnTo>
                <a:lnTo>
                  <a:pt x="665" y="37"/>
                </a:lnTo>
                <a:lnTo>
                  <a:pt x="666" y="37"/>
                </a:lnTo>
                <a:lnTo>
                  <a:pt x="668" y="34"/>
                </a:lnTo>
                <a:lnTo>
                  <a:pt x="668" y="33"/>
                </a:lnTo>
                <a:lnTo>
                  <a:pt x="673" y="36"/>
                </a:lnTo>
                <a:lnTo>
                  <a:pt x="676" y="36"/>
                </a:lnTo>
                <a:lnTo>
                  <a:pt x="676" y="34"/>
                </a:lnTo>
                <a:lnTo>
                  <a:pt x="677" y="34"/>
                </a:lnTo>
                <a:lnTo>
                  <a:pt x="677" y="36"/>
                </a:lnTo>
                <a:lnTo>
                  <a:pt x="678" y="37"/>
                </a:lnTo>
                <a:lnTo>
                  <a:pt x="679" y="37"/>
                </a:lnTo>
                <a:lnTo>
                  <a:pt x="680" y="38"/>
                </a:lnTo>
                <a:lnTo>
                  <a:pt x="682" y="38"/>
                </a:lnTo>
                <a:lnTo>
                  <a:pt x="683" y="37"/>
                </a:lnTo>
                <a:lnTo>
                  <a:pt x="684" y="34"/>
                </a:lnTo>
                <a:lnTo>
                  <a:pt x="685" y="34"/>
                </a:lnTo>
                <a:lnTo>
                  <a:pt x="686" y="33"/>
                </a:lnTo>
                <a:lnTo>
                  <a:pt x="690" y="34"/>
                </a:lnTo>
                <a:lnTo>
                  <a:pt x="697" y="34"/>
                </a:lnTo>
                <a:lnTo>
                  <a:pt x="698" y="36"/>
                </a:lnTo>
                <a:lnTo>
                  <a:pt x="701" y="34"/>
                </a:lnTo>
                <a:lnTo>
                  <a:pt x="708" y="38"/>
                </a:lnTo>
                <a:lnTo>
                  <a:pt x="709" y="38"/>
                </a:lnTo>
                <a:lnTo>
                  <a:pt x="709" y="37"/>
                </a:lnTo>
                <a:lnTo>
                  <a:pt x="713" y="33"/>
                </a:lnTo>
                <a:lnTo>
                  <a:pt x="713" y="30"/>
                </a:lnTo>
                <a:lnTo>
                  <a:pt x="715" y="30"/>
                </a:lnTo>
                <a:lnTo>
                  <a:pt x="717" y="28"/>
                </a:lnTo>
                <a:lnTo>
                  <a:pt x="723" y="30"/>
                </a:lnTo>
                <a:lnTo>
                  <a:pt x="723" y="32"/>
                </a:lnTo>
                <a:lnTo>
                  <a:pt x="722" y="32"/>
                </a:lnTo>
                <a:lnTo>
                  <a:pt x="722" y="33"/>
                </a:lnTo>
                <a:lnTo>
                  <a:pt x="721" y="33"/>
                </a:lnTo>
                <a:lnTo>
                  <a:pt x="723" y="36"/>
                </a:lnTo>
                <a:lnTo>
                  <a:pt x="724" y="36"/>
                </a:lnTo>
                <a:lnTo>
                  <a:pt x="724" y="34"/>
                </a:lnTo>
                <a:lnTo>
                  <a:pt x="726" y="34"/>
                </a:lnTo>
                <a:lnTo>
                  <a:pt x="728" y="37"/>
                </a:lnTo>
                <a:lnTo>
                  <a:pt x="729" y="37"/>
                </a:lnTo>
                <a:lnTo>
                  <a:pt x="729" y="38"/>
                </a:lnTo>
                <a:lnTo>
                  <a:pt x="730" y="40"/>
                </a:lnTo>
                <a:lnTo>
                  <a:pt x="732" y="40"/>
                </a:lnTo>
                <a:lnTo>
                  <a:pt x="734" y="43"/>
                </a:lnTo>
                <a:lnTo>
                  <a:pt x="736" y="44"/>
                </a:lnTo>
                <a:lnTo>
                  <a:pt x="738" y="45"/>
                </a:lnTo>
                <a:lnTo>
                  <a:pt x="739" y="45"/>
                </a:lnTo>
                <a:lnTo>
                  <a:pt x="739" y="46"/>
                </a:lnTo>
                <a:lnTo>
                  <a:pt x="738" y="46"/>
                </a:lnTo>
                <a:lnTo>
                  <a:pt x="735" y="48"/>
                </a:lnTo>
                <a:lnTo>
                  <a:pt x="736" y="49"/>
                </a:lnTo>
                <a:lnTo>
                  <a:pt x="739" y="49"/>
                </a:lnTo>
                <a:lnTo>
                  <a:pt x="739" y="50"/>
                </a:lnTo>
                <a:lnTo>
                  <a:pt x="740" y="52"/>
                </a:lnTo>
                <a:lnTo>
                  <a:pt x="741" y="52"/>
                </a:lnTo>
                <a:lnTo>
                  <a:pt x="745" y="51"/>
                </a:lnTo>
                <a:lnTo>
                  <a:pt x="747" y="51"/>
                </a:lnTo>
                <a:lnTo>
                  <a:pt x="751" y="55"/>
                </a:lnTo>
                <a:lnTo>
                  <a:pt x="749" y="56"/>
                </a:lnTo>
                <a:lnTo>
                  <a:pt x="749" y="60"/>
                </a:lnTo>
                <a:lnTo>
                  <a:pt x="752" y="62"/>
                </a:lnTo>
                <a:lnTo>
                  <a:pt x="753" y="62"/>
                </a:lnTo>
                <a:lnTo>
                  <a:pt x="755" y="63"/>
                </a:lnTo>
                <a:lnTo>
                  <a:pt x="759" y="67"/>
                </a:lnTo>
                <a:lnTo>
                  <a:pt x="759" y="71"/>
                </a:lnTo>
                <a:lnTo>
                  <a:pt x="761" y="74"/>
                </a:lnTo>
                <a:lnTo>
                  <a:pt x="761" y="82"/>
                </a:lnTo>
                <a:lnTo>
                  <a:pt x="760" y="82"/>
                </a:lnTo>
                <a:lnTo>
                  <a:pt x="761" y="83"/>
                </a:lnTo>
                <a:lnTo>
                  <a:pt x="759" y="86"/>
                </a:lnTo>
                <a:lnTo>
                  <a:pt x="759" y="88"/>
                </a:lnTo>
                <a:lnTo>
                  <a:pt x="757" y="88"/>
                </a:lnTo>
                <a:lnTo>
                  <a:pt x="757" y="89"/>
                </a:lnTo>
                <a:lnTo>
                  <a:pt x="754" y="91"/>
                </a:lnTo>
                <a:lnTo>
                  <a:pt x="755" y="92"/>
                </a:lnTo>
                <a:lnTo>
                  <a:pt x="755" y="93"/>
                </a:lnTo>
                <a:lnTo>
                  <a:pt x="758" y="94"/>
                </a:lnTo>
                <a:lnTo>
                  <a:pt x="757" y="97"/>
                </a:lnTo>
                <a:lnTo>
                  <a:pt x="757" y="99"/>
                </a:lnTo>
                <a:lnTo>
                  <a:pt x="760" y="103"/>
                </a:lnTo>
                <a:lnTo>
                  <a:pt x="760" y="104"/>
                </a:lnTo>
                <a:lnTo>
                  <a:pt x="759" y="105"/>
                </a:lnTo>
                <a:lnTo>
                  <a:pt x="761" y="107"/>
                </a:lnTo>
                <a:lnTo>
                  <a:pt x="761" y="109"/>
                </a:lnTo>
                <a:lnTo>
                  <a:pt x="759" y="110"/>
                </a:lnTo>
                <a:lnTo>
                  <a:pt x="759" y="111"/>
                </a:lnTo>
                <a:lnTo>
                  <a:pt x="761" y="112"/>
                </a:lnTo>
                <a:lnTo>
                  <a:pt x="765" y="113"/>
                </a:lnTo>
                <a:lnTo>
                  <a:pt x="770" y="116"/>
                </a:lnTo>
                <a:lnTo>
                  <a:pt x="774" y="117"/>
                </a:lnTo>
                <a:lnTo>
                  <a:pt x="776" y="117"/>
                </a:lnTo>
                <a:lnTo>
                  <a:pt x="777" y="116"/>
                </a:lnTo>
                <a:lnTo>
                  <a:pt x="782" y="116"/>
                </a:lnTo>
                <a:lnTo>
                  <a:pt x="784" y="114"/>
                </a:lnTo>
                <a:lnTo>
                  <a:pt x="785" y="114"/>
                </a:lnTo>
                <a:lnTo>
                  <a:pt x="790" y="117"/>
                </a:lnTo>
                <a:lnTo>
                  <a:pt x="792" y="119"/>
                </a:lnTo>
                <a:lnTo>
                  <a:pt x="796" y="120"/>
                </a:lnTo>
                <a:lnTo>
                  <a:pt x="796" y="122"/>
                </a:lnTo>
                <a:lnTo>
                  <a:pt x="797" y="123"/>
                </a:lnTo>
                <a:lnTo>
                  <a:pt x="797" y="125"/>
                </a:lnTo>
                <a:lnTo>
                  <a:pt x="798" y="125"/>
                </a:lnTo>
                <a:lnTo>
                  <a:pt x="798" y="126"/>
                </a:lnTo>
                <a:lnTo>
                  <a:pt x="800" y="126"/>
                </a:lnTo>
                <a:lnTo>
                  <a:pt x="802" y="129"/>
                </a:lnTo>
                <a:lnTo>
                  <a:pt x="803" y="129"/>
                </a:lnTo>
                <a:lnTo>
                  <a:pt x="805" y="132"/>
                </a:lnTo>
                <a:lnTo>
                  <a:pt x="805" y="134"/>
                </a:lnTo>
                <a:lnTo>
                  <a:pt x="807" y="135"/>
                </a:lnTo>
                <a:lnTo>
                  <a:pt x="807" y="136"/>
                </a:lnTo>
                <a:lnTo>
                  <a:pt x="808" y="137"/>
                </a:lnTo>
                <a:lnTo>
                  <a:pt x="804" y="135"/>
                </a:lnTo>
                <a:lnTo>
                  <a:pt x="803" y="134"/>
                </a:lnTo>
                <a:lnTo>
                  <a:pt x="801" y="132"/>
                </a:lnTo>
                <a:lnTo>
                  <a:pt x="800" y="132"/>
                </a:lnTo>
                <a:lnTo>
                  <a:pt x="798" y="130"/>
                </a:lnTo>
                <a:lnTo>
                  <a:pt x="797" y="130"/>
                </a:lnTo>
                <a:lnTo>
                  <a:pt x="792" y="134"/>
                </a:lnTo>
                <a:lnTo>
                  <a:pt x="792" y="138"/>
                </a:lnTo>
                <a:lnTo>
                  <a:pt x="791" y="141"/>
                </a:lnTo>
                <a:lnTo>
                  <a:pt x="791" y="144"/>
                </a:lnTo>
                <a:lnTo>
                  <a:pt x="790" y="146"/>
                </a:lnTo>
                <a:lnTo>
                  <a:pt x="790" y="149"/>
                </a:lnTo>
                <a:lnTo>
                  <a:pt x="789" y="150"/>
                </a:lnTo>
                <a:lnTo>
                  <a:pt x="786" y="152"/>
                </a:lnTo>
                <a:lnTo>
                  <a:pt x="785" y="152"/>
                </a:lnTo>
                <a:lnTo>
                  <a:pt x="782" y="149"/>
                </a:lnTo>
                <a:lnTo>
                  <a:pt x="780" y="149"/>
                </a:lnTo>
                <a:lnTo>
                  <a:pt x="778" y="150"/>
                </a:lnTo>
                <a:lnTo>
                  <a:pt x="776" y="150"/>
                </a:lnTo>
                <a:lnTo>
                  <a:pt x="774" y="152"/>
                </a:lnTo>
                <a:lnTo>
                  <a:pt x="774" y="153"/>
                </a:lnTo>
                <a:lnTo>
                  <a:pt x="776" y="154"/>
                </a:lnTo>
                <a:lnTo>
                  <a:pt x="776" y="157"/>
                </a:lnTo>
                <a:lnTo>
                  <a:pt x="777" y="159"/>
                </a:lnTo>
                <a:lnTo>
                  <a:pt x="777" y="161"/>
                </a:lnTo>
                <a:lnTo>
                  <a:pt x="779" y="163"/>
                </a:lnTo>
                <a:lnTo>
                  <a:pt x="782" y="165"/>
                </a:lnTo>
                <a:lnTo>
                  <a:pt x="782" y="166"/>
                </a:lnTo>
                <a:lnTo>
                  <a:pt x="780" y="167"/>
                </a:lnTo>
                <a:lnTo>
                  <a:pt x="780" y="171"/>
                </a:lnTo>
                <a:lnTo>
                  <a:pt x="779" y="172"/>
                </a:lnTo>
                <a:lnTo>
                  <a:pt x="779" y="174"/>
                </a:lnTo>
                <a:lnTo>
                  <a:pt x="780" y="174"/>
                </a:lnTo>
                <a:lnTo>
                  <a:pt x="780" y="177"/>
                </a:lnTo>
                <a:lnTo>
                  <a:pt x="782" y="178"/>
                </a:lnTo>
                <a:lnTo>
                  <a:pt x="782" y="179"/>
                </a:lnTo>
                <a:lnTo>
                  <a:pt x="783" y="179"/>
                </a:lnTo>
                <a:lnTo>
                  <a:pt x="785" y="180"/>
                </a:lnTo>
                <a:lnTo>
                  <a:pt x="785" y="183"/>
                </a:lnTo>
                <a:lnTo>
                  <a:pt x="784" y="186"/>
                </a:lnTo>
                <a:lnTo>
                  <a:pt x="784" y="191"/>
                </a:lnTo>
                <a:lnTo>
                  <a:pt x="785" y="191"/>
                </a:lnTo>
                <a:lnTo>
                  <a:pt x="786" y="192"/>
                </a:lnTo>
                <a:lnTo>
                  <a:pt x="786" y="193"/>
                </a:lnTo>
                <a:lnTo>
                  <a:pt x="785" y="196"/>
                </a:lnTo>
                <a:lnTo>
                  <a:pt x="786" y="198"/>
                </a:lnTo>
                <a:lnTo>
                  <a:pt x="786" y="199"/>
                </a:lnTo>
                <a:lnTo>
                  <a:pt x="785" y="202"/>
                </a:lnTo>
                <a:lnTo>
                  <a:pt x="785" y="205"/>
                </a:lnTo>
                <a:lnTo>
                  <a:pt x="786" y="205"/>
                </a:lnTo>
                <a:lnTo>
                  <a:pt x="789" y="206"/>
                </a:lnTo>
                <a:lnTo>
                  <a:pt x="790" y="205"/>
                </a:lnTo>
                <a:lnTo>
                  <a:pt x="791" y="205"/>
                </a:lnTo>
                <a:lnTo>
                  <a:pt x="792" y="206"/>
                </a:lnTo>
                <a:lnTo>
                  <a:pt x="792" y="209"/>
                </a:lnTo>
                <a:lnTo>
                  <a:pt x="789" y="212"/>
                </a:lnTo>
                <a:lnTo>
                  <a:pt x="789" y="218"/>
                </a:lnTo>
                <a:lnTo>
                  <a:pt x="788" y="218"/>
                </a:lnTo>
                <a:lnTo>
                  <a:pt x="788" y="221"/>
                </a:lnTo>
                <a:lnTo>
                  <a:pt x="786" y="221"/>
                </a:lnTo>
                <a:lnTo>
                  <a:pt x="786" y="222"/>
                </a:lnTo>
                <a:lnTo>
                  <a:pt x="785" y="222"/>
                </a:lnTo>
                <a:lnTo>
                  <a:pt x="785" y="224"/>
                </a:lnTo>
                <a:lnTo>
                  <a:pt x="784" y="226"/>
                </a:lnTo>
                <a:lnTo>
                  <a:pt x="783" y="226"/>
                </a:lnTo>
                <a:lnTo>
                  <a:pt x="783" y="230"/>
                </a:lnTo>
                <a:lnTo>
                  <a:pt x="782" y="230"/>
                </a:lnTo>
                <a:lnTo>
                  <a:pt x="782" y="232"/>
                </a:lnTo>
                <a:lnTo>
                  <a:pt x="783" y="233"/>
                </a:lnTo>
                <a:lnTo>
                  <a:pt x="789" y="233"/>
                </a:lnTo>
                <a:lnTo>
                  <a:pt x="789" y="234"/>
                </a:lnTo>
                <a:lnTo>
                  <a:pt x="790" y="234"/>
                </a:lnTo>
                <a:lnTo>
                  <a:pt x="790" y="236"/>
                </a:lnTo>
                <a:lnTo>
                  <a:pt x="791" y="236"/>
                </a:lnTo>
                <a:lnTo>
                  <a:pt x="791" y="239"/>
                </a:lnTo>
                <a:lnTo>
                  <a:pt x="792" y="239"/>
                </a:lnTo>
                <a:lnTo>
                  <a:pt x="794" y="237"/>
                </a:lnTo>
                <a:lnTo>
                  <a:pt x="796" y="237"/>
                </a:lnTo>
                <a:lnTo>
                  <a:pt x="797" y="239"/>
                </a:lnTo>
                <a:lnTo>
                  <a:pt x="798" y="241"/>
                </a:lnTo>
                <a:lnTo>
                  <a:pt x="798" y="242"/>
                </a:lnTo>
                <a:lnTo>
                  <a:pt x="797" y="243"/>
                </a:lnTo>
                <a:lnTo>
                  <a:pt x="796" y="243"/>
                </a:lnTo>
                <a:lnTo>
                  <a:pt x="796" y="246"/>
                </a:lnTo>
                <a:lnTo>
                  <a:pt x="797" y="246"/>
                </a:lnTo>
                <a:lnTo>
                  <a:pt x="798" y="247"/>
                </a:lnTo>
                <a:lnTo>
                  <a:pt x="798" y="249"/>
                </a:lnTo>
                <a:lnTo>
                  <a:pt x="797" y="251"/>
                </a:lnTo>
                <a:lnTo>
                  <a:pt x="797" y="253"/>
                </a:lnTo>
                <a:lnTo>
                  <a:pt x="798" y="253"/>
                </a:lnTo>
                <a:lnTo>
                  <a:pt x="797" y="255"/>
                </a:lnTo>
                <a:lnTo>
                  <a:pt x="797" y="257"/>
                </a:lnTo>
                <a:lnTo>
                  <a:pt x="801" y="257"/>
                </a:lnTo>
                <a:lnTo>
                  <a:pt x="801" y="259"/>
                </a:lnTo>
                <a:lnTo>
                  <a:pt x="803" y="259"/>
                </a:lnTo>
                <a:lnTo>
                  <a:pt x="803" y="260"/>
                </a:lnTo>
                <a:lnTo>
                  <a:pt x="804" y="260"/>
                </a:lnTo>
                <a:lnTo>
                  <a:pt x="807" y="263"/>
                </a:lnTo>
                <a:lnTo>
                  <a:pt x="807" y="266"/>
                </a:lnTo>
                <a:lnTo>
                  <a:pt x="805" y="266"/>
                </a:lnTo>
                <a:lnTo>
                  <a:pt x="805" y="271"/>
                </a:lnTo>
                <a:lnTo>
                  <a:pt x="804" y="270"/>
                </a:lnTo>
                <a:lnTo>
                  <a:pt x="797" y="270"/>
                </a:lnTo>
                <a:lnTo>
                  <a:pt x="795" y="272"/>
                </a:lnTo>
                <a:lnTo>
                  <a:pt x="794" y="275"/>
                </a:lnTo>
                <a:lnTo>
                  <a:pt x="792" y="275"/>
                </a:lnTo>
                <a:lnTo>
                  <a:pt x="791" y="276"/>
                </a:lnTo>
                <a:lnTo>
                  <a:pt x="788" y="277"/>
                </a:lnTo>
                <a:lnTo>
                  <a:pt x="788" y="278"/>
                </a:lnTo>
                <a:lnTo>
                  <a:pt x="786" y="279"/>
                </a:lnTo>
                <a:lnTo>
                  <a:pt x="786" y="280"/>
                </a:lnTo>
                <a:lnTo>
                  <a:pt x="784" y="280"/>
                </a:lnTo>
                <a:lnTo>
                  <a:pt x="783" y="279"/>
                </a:lnTo>
                <a:lnTo>
                  <a:pt x="782" y="276"/>
                </a:lnTo>
                <a:lnTo>
                  <a:pt x="780" y="275"/>
                </a:lnTo>
                <a:lnTo>
                  <a:pt x="780" y="273"/>
                </a:lnTo>
                <a:lnTo>
                  <a:pt x="782" y="272"/>
                </a:lnTo>
                <a:lnTo>
                  <a:pt x="782" y="271"/>
                </a:lnTo>
                <a:lnTo>
                  <a:pt x="784" y="271"/>
                </a:lnTo>
                <a:lnTo>
                  <a:pt x="784" y="267"/>
                </a:lnTo>
                <a:lnTo>
                  <a:pt x="783" y="266"/>
                </a:lnTo>
                <a:lnTo>
                  <a:pt x="783" y="265"/>
                </a:lnTo>
                <a:lnTo>
                  <a:pt x="782" y="265"/>
                </a:lnTo>
                <a:lnTo>
                  <a:pt x="782" y="264"/>
                </a:lnTo>
                <a:lnTo>
                  <a:pt x="777" y="263"/>
                </a:lnTo>
                <a:lnTo>
                  <a:pt x="773" y="263"/>
                </a:lnTo>
                <a:lnTo>
                  <a:pt x="771" y="264"/>
                </a:lnTo>
                <a:lnTo>
                  <a:pt x="770" y="265"/>
                </a:lnTo>
                <a:lnTo>
                  <a:pt x="769" y="267"/>
                </a:lnTo>
                <a:lnTo>
                  <a:pt x="766" y="267"/>
                </a:lnTo>
                <a:lnTo>
                  <a:pt x="766" y="269"/>
                </a:lnTo>
                <a:lnTo>
                  <a:pt x="765" y="269"/>
                </a:lnTo>
                <a:lnTo>
                  <a:pt x="763" y="266"/>
                </a:lnTo>
                <a:lnTo>
                  <a:pt x="761" y="266"/>
                </a:lnTo>
                <a:lnTo>
                  <a:pt x="758" y="267"/>
                </a:lnTo>
                <a:lnTo>
                  <a:pt x="757" y="266"/>
                </a:lnTo>
                <a:lnTo>
                  <a:pt x="754" y="266"/>
                </a:lnTo>
                <a:lnTo>
                  <a:pt x="754" y="265"/>
                </a:lnTo>
                <a:lnTo>
                  <a:pt x="753" y="265"/>
                </a:lnTo>
                <a:lnTo>
                  <a:pt x="752" y="266"/>
                </a:lnTo>
                <a:lnTo>
                  <a:pt x="751" y="266"/>
                </a:lnTo>
                <a:lnTo>
                  <a:pt x="748" y="264"/>
                </a:lnTo>
                <a:lnTo>
                  <a:pt x="747" y="264"/>
                </a:lnTo>
                <a:lnTo>
                  <a:pt x="746" y="263"/>
                </a:lnTo>
                <a:lnTo>
                  <a:pt x="746" y="261"/>
                </a:lnTo>
                <a:lnTo>
                  <a:pt x="744" y="261"/>
                </a:lnTo>
                <a:lnTo>
                  <a:pt x="744" y="263"/>
                </a:lnTo>
                <a:lnTo>
                  <a:pt x="742" y="263"/>
                </a:lnTo>
                <a:lnTo>
                  <a:pt x="736" y="259"/>
                </a:lnTo>
                <a:lnTo>
                  <a:pt x="735" y="259"/>
                </a:lnTo>
                <a:lnTo>
                  <a:pt x="733" y="260"/>
                </a:lnTo>
                <a:lnTo>
                  <a:pt x="732" y="260"/>
                </a:lnTo>
                <a:lnTo>
                  <a:pt x="730" y="261"/>
                </a:lnTo>
                <a:lnTo>
                  <a:pt x="727" y="261"/>
                </a:lnTo>
                <a:lnTo>
                  <a:pt x="723" y="260"/>
                </a:lnTo>
                <a:lnTo>
                  <a:pt x="723" y="259"/>
                </a:lnTo>
                <a:lnTo>
                  <a:pt x="722" y="259"/>
                </a:lnTo>
                <a:lnTo>
                  <a:pt x="720" y="260"/>
                </a:lnTo>
                <a:lnTo>
                  <a:pt x="718" y="260"/>
                </a:lnTo>
                <a:lnTo>
                  <a:pt x="718" y="261"/>
                </a:lnTo>
                <a:lnTo>
                  <a:pt x="714" y="270"/>
                </a:lnTo>
                <a:lnTo>
                  <a:pt x="713" y="271"/>
                </a:lnTo>
                <a:lnTo>
                  <a:pt x="708" y="272"/>
                </a:lnTo>
                <a:lnTo>
                  <a:pt x="705" y="273"/>
                </a:lnTo>
                <a:lnTo>
                  <a:pt x="704" y="273"/>
                </a:lnTo>
                <a:lnTo>
                  <a:pt x="704" y="271"/>
                </a:lnTo>
                <a:lnTo>
                  <a:pt x="703" y="271"/>
                </a:lnTo>
                <a:lnTo>
                  <a:pt x="703" y="270"/>
                </a:lnTo>
                <a:lnTo>
                  <a:pt x="704" y="267"/>
                </a:lnTo>
                <a:lnTo>
                  <a:pt x="702" y="265"/>
                </a:lnTo>
                <a:lnTo>
                  <a:pt x="702" y="264"/>
                </a:lnTo>
                <a:lnTo>
                  <a:pt x="698" y="264"/>
                </a:lnTo>
                <a:lnTo>
                  <a:pt x="698" y="261"/>
                </a:lnTo>
                <a:lnTo>
                  <a:pt x="690" y="270"/>
                </a:lnTo>
                <a:lnTo>
                  <a:pt x="685" y="271"/>
                </a:lnTo>
                <a:lnTo>
                  <a:pt x="667" y="275"/>
                </a:lnTo>
                <a:lnTo>
                  <a:pt x="655" y="276"/>
                </a:lnTo>
                <a:lnTo>
                  <a:pt x="654" y="276"/>
                </a:lnTo>
                <a:lnTo>
                  <a:pt x="653" y="275"/>
                </a:lnTo>
                <a:lnTo>
                  <a:pt x="642" y="272"/>
                </a:lnTo>
                <a:lnTo>
                  <a:pt x="635" y="273"/>
                </a:lnTo>
                <a:lnTo>
                  <a:pt x="633" y="275"/>
                </a:lnTo>
                <a:lnTo>
                  <a:pt x="627" y="277"/>
                </a:lnTo>
                <a:lnTo>
                  <a:pt x="624" y="278"/>
                </a:lnTo>
                <a:lnTo>
                  <a:pt x="622" y="278"/>
                </a:lnTo>
                <a:lnTo>
                  <a:pt x="621" y="279"/>
                </a:lnTo>
                <a:lnTo>
                  <a:pt x="616" y="283"/>
                </a:lnTo>
                <a:lnTo>
                  <a:pt x="612" y="285"/>
                </a:lnTo>
                <a:lnTo>
                  <a:pt x="611" y="285"/>
                </a:lnTo>
                <a:lnTo>
                  <a:pt x="610" y="286"/>
                </a:lnTo>
                <a:lnTo>
                  <a:pt x="608" y="286"/>
                </a:lnTo>
                <a:lnTo>
                  <a:pt x="604" y="289"/>
                </a:lnTo>
                <a:lnTo>
                  <a:pt x="595" y="292"/>
                </a:lnTo>
                <a:lnTo>
                  <a:pt x="581" y="295"/>
                </a:lnTo>
                <a:lnTo>
                  <a:pt x="573" y="297"/>
                </a:lnTo>
                <a:lnTo>
                  <a:pt x="571" y="297"/>
                </a:lnTo>
                <a:lnTo>
                  <a:pt x="564" y="295"/>
                </a:lnTo>
                <a:lnTo>
                  <a:pt x="550" y="295"/>
                </a:lnTo>
                <a:lnTo>
                  <a:pt x="548" y="294"/>
                </a:lnTo>
                <a:lnTo>
                  <a:pt x="541" y="286"/>
                </a:lnTo>
                <a:lnTo>
                  <a:pt x="533" y="284"/>
                </a:lnTo>
                <a:lnTo>
                  <a:pt x="528" y="284"/>
                </a:lnTo>
                <a:lnTo>
                  <a:pt x="525" y="285"/>
                </a:lnTo>
                <a:lnTo>
                  <a:pt x="522" y="288"/>
                </a:lnTo>
                <a:lnTo>
                  <a:pt x="521" y="288"/>
                </a:lnTo>
                <a:lnTo>
                  <a:pt x="519" y="289"/>
                </a:lnTo>
                <a:lnTo>
                  <a:pt x="512" y="291"/>
                </a:lnTo>
                <a:lnTo>
                  <a:pt x="505" y="292"/>
                </a:lnTo>
                <a:lnTo>
                  <a:pt x="503" y="294"/>
                </a:lnTo>
                <a:lnTo>
                  <a:pt x="497" y="298"/>
                </a:lnTo>
                <a:lnTo>
                  <a:pt x="496" y="298"/>
                </a:lnTo>
                <a:lnTo>
                  <a:pt x="488" y="297"/>
                </a:lnTo>
                <a:lnTo>
                  <a:pt x="481" y="297"/>
                </a:lnTo>
                <a:lnTo>
                  <a:pt x="481" y="298"/>
                </a:lnTo>
                <a:lnTo>
                  <a:pt x="479" y="298"/>
                </a:lnTo>
                <a:lnTo>
                  <a:pt x="479" y="294"/>
                </a:lnTo>
                <a:lnTo>
                  <a:pt x="477" y="291"/>
                </a:lnTo>
                <a:lnTo>
                  <a:pt x="474" y="291"/>
                </a:lnTo>
                <a:lnTo>
                  <a:pt x="472" y="290"/>
                </a:lnTo>
                <a:lnTo>
                  <a:pt x="463" y="288"/>
                </a:lnTo>
                <a:lnTo>
                  <a:pt x="462" y="288"/>
                </a:lnTo>
                <a:lnTo>
                  <a:pt x="463" y="289"/>
                </a:lnTo>
                <a:lnTo>
                  <a:pt x="462" y="290"/>
                </a:lnTo>
                <a:lnTo>
                  <a:pt x="462" y="291"/>
                </a:lnTo>
                <a:lnTo>
                  <a:pt x="461" y="292"/>
                </a:lnTo>
                <a:lnTo>
                  <a:pt x="461" y="295"/>
                </a:lnTo>
                <a:lnTo>
                  <a:pt x="460" y="296"/>
                </a:lnTo>
                <a:lnTo>
                  <a:pt x="460" y="303"/>
                </a:lnTo>
                <a:lnTo>
                  <a:pt x="459" y="306"/>
                </a:lnTo>
                <a:lnTo>
                  <a:pt x="459" y="310"/>
                </a:lnTo>
                <a:lnTo>
                  <a:pt x="460" y="310"/>
                </a:lnTo>
                <a:lnTo>
                  <a:pt x="461" y="312"/>
                </a:lnTo>
                <a:lnTo>
                  <a:pt x="461" y="314"/>
                </a:lnTo>
                <a:lnTo>
                  <a:pt x="462" y="314"/>
                </a:lnTo>
                <a:lnTo>
                  <a:pt x="462" y="315"/>
                </a:lnTo>
                <a:lnTo>
                  <a:pt x="463" y="315"/>
                </a:lnTo>
                <a:lnTo>
                  <a:pt x="463" y="316"/>
                </a:lnTo>
                <a:lnTo>
                  <a:pt x="465" y="318"/>
                </a:lnTo>
                <a:lnTo>
                  <a:pt x="465" y="319"/>
                </a:lnTo>
                <a:lnTo>
                  <a:pt x="463" y="319"/>
                </a:lnTo>
                <a:lnTo>
                  <a:pt x="461" y="320"/>
                </a:lnTo>
                <a:lnTo>
                  <a:pt x="455" y="320"/>
                </a:lnTo>
                <a:lnTo>
                  <a:pt x="455" y="321"/>
                </a:lnTo>
                <a:lnTo>
                  <a:pt x="453" y="321"/>
                </a:lnTo>
                <a:lnTo>
                  <a:pt x="453" y="320"/>
                </a:lnTo>
                <a:lnTo>
                  <a:pt x="452" y="320"/>
                </a:lnTo>
                <a:lnTo>
                  <a:pt x="452" y="322"/>
                </a:lnTo>
                <a:lnTo>
                  <a:pt x="450" y="329"/>
                </a:lnTo>
                <a:lnTo>
                  <a:pt x="452" y="332"/>
                </a:lnTo>
                <a:lnTo>
                  <a:pt x="450" y="332"/>
                </a:lnTo>
                <a:lnTo>
                  <a:pt x="448" y="331"/>
                </a:lnTo>
                <a:lnTo>
                  <a:pt x="448" y="332"/>
                </a:lnTo>
                <a:lnTo>
                  <a:pt x="447" y="333"/>
                </a:lnTo>
                <a:lnTo>
                  <a:pt x="446" y="333"/>
                </a:lnTo>
                <a:lnTo>
                  <a:pt x="443" y="335"/>
                </a:lnTo>
                <a:lnTo>
                  <a:pt x="443" y="339"/>
                </a:lnTo>
                <a:lnTo>
                  <a:pt x="442" y="340"/>
                </a:lnTo>
                <a:lnTo>
                  <a:pt x="440" y="339"/>
                </a:lnTo>
                <a:lnTo>
                  <a:pt x="438" y="338"/>
                </a:lnTo>
                <a:lnTo>
                  <a:pt x="436" y="338"/>
                </a:lnTo>
                <a:lnTo>
                  <a:pt x="435" y="337"/>
                </a:lnTo>
                <a:lnTo>
                  <a:pt x="436" y="337"/>
                </a:lnTo>
                <a:lnTo>
                  <a:pt x="436" y="335"/>
                </a:lnTo>
                <a:lnTo>
                  <a:pt x="432" y="335"/>
                </a:lnTo>
                <a:lnTo>
                  <a:pt x="432" y="334"/>
                </a:lnTo>
                <a:lnTo>
                  <a:pt x="435" y="332"/>
                </a:lnTo>
                <a:lnTo>
                  <a:pt x="435" y="331"/>
                </a:lnTo>
                <a:lnTo>
                  <a:pt x="434" y="327"/>
                </a:lnTo>
                <a:lnTo>
                  <a:pt x="431" y="322"/>
                </a:lnTo>
                <a:lnTo>
                  <a:pt x="430" y="321"/>
                </a:lnTo>
                <a:lnTo>
                  <a:pt x="430" y="320"/>
                </a:lnTo>
                <a:lnTo>
                  <a:pt x="429" y="319"/>
                </a:lnTo>
                <a:lnTo>
                  <a:pt x="429" y="318"/>
                </a:lnTo>
                <a:lnTo>
                  <a:pt x="428" y="318"/>
                </a:lnTo>
                <a:lnTo>
                  <a:pt x="428" y="316"/>
                </a:lnTo>
                <a:lnTo>
                  <a:pt x="426" y="315"/>
                </a:lnTo>
                <a:lnTo>
                  <a:pt x="426" y="314"/>
                </a:lnTo>
                <a:lnTo>
                  <a:pt x="428" y="313"/>
                </a:lnTo>
                <a:lnTo>
                  <a:pt x="429" y="313"/>
                </a:lnTo>
                <a:lnTo>
                  <a:pt x="429" y="312"/>
                </a:lnTo>
                <a:lnTo>
                  <a:pt x="430" y="312"/>
                </a:lnTo>
                <a:lnTo>
                  <a:pt x="430" y="310"/>
                </a:lnTo>
                <a:lnTo>
                  <a:pt x="431" y="310"/>
                </a:lnTo>
                <a:lnTo>
                  <a:pt x="431" y="309"/>
                </a:lnTo>
                <a:lnTo>
                  <a:pt x="432" y="309"/>
                </a:lnTo>
                <a:lnTo>
                  <a:pt x="432" y="308"/>
                </a:lnTo>
                <a:lnTo>
                  <a:pt x="434" y="307"/>
                </a:lnTo>
                <a:lnTo>
                  <a:pt x="435" y="307"/>
                </a:lnTo>
                <a:lnTo>
                  <a:pt x="435" y="306"/>
                </a:lnTo>
                <a:lnTo>
                  <a:pt x="437" y="303"/>
                </a:lnTo>
                <a:lnTo>
                  <a:pt x="438" y="303"/>
                </a:lnTo>
                <a:lnTo>
                  <a:pt x="443" y="300"/>
                </a:lnTo>
                <a:lnTo>
                  <a:pt x="444" y="300"/>
                </a:lnTo>
                <a:lnTo>
                  <a:pt x="444" y="289"/>
                </a:lnTo>
                <a:lnTo>
                  <a:pt x="438" y="283"/>
                </a:lnTo>
                <a:lnTo>
                  <a:pt x="435" y="283"/>
                </a:lnTo>
                <a:lnTo>
                  <a:pt x="434" y="284"/>
                </a:lnTo>
                <a:lnTo>
                  <a:pt x="431" y="288"/>
                </a:lnTo>
                <a:lnTo>
                  <a:pt x="430" y="288"/>
                </a:lnTo>
                <a:lnTo>
                  <a:pt x="430" y="289"/>
                </a:lnTo>
                <a:lnTo>
                  <a:pt x="428" y="290"/>
                </a:lnTo>
                <a:lnTo>
                  <a:pt x="428" y="291"/>
                </a:lnTo>
                <a:lnTo>
                  <a:pt x="421" y="291"/>
                </a:lnTo>
                <a:lnTo>
                  <a:pt x="421" y="292"/>
                </a:lnTo>
                <a:lnTo>
                  <a:pt x="422" y="294"/>
                </a:lnTo>
                <a:lnTo>
                  <a:pt x="424" y="294"/>
                </a:lnTo>
                <a:lnTo>
                  <a:pt x="421" y="295"/>
                </a:lnTo>
                <a:lnTo>
                  <a:pt x="419" y="296"/>
                </a:lnTo>
                <a:lnTo>
                  <a:pt x="419" y="297"/>
                </a:lnTo>
                <a:lnTo>
                  <a:pt x="422" y="295"/>
                </a:lnTo>
                <a:lnTo>
                  <a:pt x="423" y="295"/>
                </a:lnTo>
                <a:lnTo>
                  <a:pt x="421" y="297"/>
                </a:lnTo>
                <a:lnTo>
                  <a:pt x="421" y="300"/>
                </a:lnTo>
                <a:lnTo>
                  <a:pt x="419" y="300"/>
                </a:lnTo>
                <a:lnTo>
                  <a:pt x="419" y="301"/>
                </a:lnTo>
                <a:lnTo>
                  <a:pt x="417" y="301"/>
                </a:lnTo>
                <a:lnTo>
                  <a:pt x="415" y="298"/>
                </a:lnTo>
                <a:lnTo>
                  <a:pt x="415" y="300"/>
                </a:lnTo>
                <a:lnTo>
                  <a:pt x="416" y="301"/>
                </a:lnTo>
                <a:lnTo>
                  <a:pt x="415" y="301"/>
                </a:lnTo>
                <a:lnTo>
                  <a:pt x="412" y="300"/>
                </a:lnTo>
                <a:lnTo>
                  <a:pt x="409" y="303"/>
                </a:lnTo>
                <a:lnTo>
                  <a:pt x="407" y="303"/>
                </a:lnTo>
                <a:lnTo>
                  <a:pt x="407" y="302"/>
                </a:lnTo>
                <a:lnTo>
                  <a:pt x="406" y="302"/>
                </a:lnTo>
                <a:lnTo>
                  <a:pt x="406" y="301"/>
                </a:lnTo>
                <a:lnTo>
                  <a:pt x="395" y="295"/>
                </a:lnTo>
                <a:lnTo>
                  <a:pt x="394" y="295"/>
                </a:lnTo>
                <a:lnTo>
                  <a:pt x="393" y="294"/>
                </a:lnTo>
                <a:lnTo>
                  <a:pt x="390" y="294"/>
                </a:lnTo>
                <a:lnTo>
                  <a:pt x="390" y="292"/>
                </a:lnTo>
                <a:lnTo>
                  <a:pt x="387" y="290"/>
                </a:lnTo>
                <a:lnTo>
                  <a:pt x="384" y="289"/>
                </a:lnTo>
                <a:lnTo>
                  <a:pt x="382" y="288"/>
                </a:lnTo>
                <a:lnTo>
                  <a:pt x="381" y="289"/>
                </a:lnTo>
                <a:lnTo>
                  <a:pt x="378" y="290"/>
                </a:lnTo>
                <a:lnTo>
                  <a:pt x="376" y="290"/>
                </a:lnTo>
                <a:lnTo>
                  <a:pt x="375" y="291"/>
                </a:lnTo>
                <a:lnTo>
                  <a:pt x="374" y="291"/>
                </a:lnTo>
                <a:lnTo>
                  <a:pt x="374" y="292"/>
                </a:lnTo>
                <a:lnTo>
                  <a:pt x="373" y="294"/>
                </a:lnTo>
                <a:lnTo>
                  <a:pt x="369" y="296"/>
                </a:lnTo>
                <a:lnTo>
                  <a:pt x="364" y="300"/>
                </a:lnTo>
                <a:lnTo>
                  <a:pt x="363" y="301"/>
                </a:lnTo>
                <a:lnTo>
                  <a:pt x="360" y="306"/>
                </a:lnTo>
                <a:lnTo>
                  <a:pt x="359" y="306"/>
                </a:lnTo>
                <a:lnTo>
                  <a:pt x="359" y="307"/>
                </a:lnTo>
                <a:lnTo>
                  <a:pt x="357" y="307"/>
                </a:lnTo>
                <a:lnTo>
                  <a:pt x="356" y="309"/>
                </a:lnTo>
                <a:lnTo>
                  <a:pt x="355" y="309"/>
                </a:lnTo>
                <a:lnTo>
                  <a:pt x="355" y="314"/>
                </a:lnTo>
                <a:lnTo>
                  <a:pt x="354" y="315"/>
                </a:lnTo>
                <a:lnTo>
                  <a:pt x="351" y="315"/>
                </a:lnTo>
                <a:lnTo>
                  <a:pt x="351" y="316"/>
                </a:lnTo>
                <a:lnTo>
                  <a:pt x="350" y="318"/>
                </a:lnTo>
                <a:lnTo>
                  <a:pt x="350" y="320"/>
                </a:lnTo>
                <a:lnTo>
                  <a:pt x="349" y="320"/>
                </a:lnTo>
                <a:lnTo>
                  <a:pt x="349" y="316"/>
                </a:lnTo>
                <a:lnTo>
                  <a:pt x="348" y="315"/>
                </a:lnTo>
                <a:lnTo>
                  <a:pt x="345" y="315"/>
                </a:lnTo>
                <a:lnTo>
                  <a:pt x="344" y="316"/>
                </a:lnTo>
                <a:lnTo>
                  <a:pt x="344" y="318"/>
                </a:lnTo>
                <a:lnTo>
                  <a:pt x="343" y="318"/>
                </a:lnTo>
                <a:lnTo>
                  <a:pt x="343" y="319"/>
                </a:lnTo>
                <a:lnTo>
                  <a:pt x="342" y="320"/>
                </a:lnTo>
                <a:lnTo>
                  <a:pt x="341" y="320"/>
                </a:lnTo>
                <a:lnTo>
                  <a:pt x="339" y="322"/>
                </a:lnTo>
                <a:lnTo>
                  <a:pt x="338" y="322"/>
                </a:lnTo>
                <a:lnTo>
                  <a:pt x="338" y="323"/>
                </a:lnTo>
                <a:lnTo>
                  <a:pt x="337" y="322"/>
                </a:lnTo>
                <a:lnTo>
                  <a:pt x="337" y="321"/>
                </a:lnTo>
                <a:lnTo>
                  <a:pt x="336" y="321"/>
                </a:lnTo>
                <a:lnTo>
                  <a:pt x="332" y="325"/>
                </a:lnTo>
                <a:lnTo>
                  <a:pt x="331" y="325"/>
                </a:lnTo>
                <a:lnTo>
                  <a:pt x="332" y="323"/>
                </a:lnTo>
                <a:lnTo>
                  <a:pt x="323" y="323"/>
                </a:lnTo>
                <a:lnTo>
                  <a:pt x="323" y="325"/>
                </a:lnTo>
                <a:lnTo>
                  <a:pt x="317" y="325"/>
                </a:lnTo>
                <a:lnTo>
                  <a:pt x="316" y="323"/>
                </a:lnTo>
                <a:lnTo>
                  <a:pt x="314" y="325"/>
                </a:lnTo>
                <a:lnTo>
                  <a:pt x="314" y="326"/>
                </a:lnTo>
                <a:lnTo>
                  <a:pt x="313" y="327"/>
                </a:lnTo>
                <a:lnTo>
                  <a:pt x="312" y="327"/>
                </a:lnTo>
                <a:lnTo>
                  <a:pt x="312" y="326"/>
                </a:lnTo>
                <a:lnTo>
                  <a:pt x="311" y="327"/>
                </a:lnTo>
                <a:lnTo>
                  <a:pt x="307" y="326"/>
                </a:lnTo>
                <a:lnTo>
                  <a:pt x="304" y="327"/>
                </a:lnTo>
                <a:lnTo>
                  <a:pt x="304" y="328"/>
                </a:lnTo>
                <a:lnTo>
                  <a:pt x="301" y="329"/>
                </a:lnTo>
                <a:lnTo>
                  <a:pt x="299" y="329"/>
                </a:lnTo>
                <a:lnTo>
                  <a:pt x="295" y="328"/>
                </a:lnTo>
                <a:lnTo>
                  <a:pt x="294" y="328"/>
                </a:lnTo>
                <a:lnTo>
                  <a:pt x="291" y="326"/>
                </a:lnTo>
                <a:lnTo>
                  <a:pt x="288" y="326"/>
                </a:lnTo>
                <a:lnTo>
                  <a:pt x="286" y="323"/>
                </a:lnTo>
                <a:lnTo>
                  <a:pt x="285" y="323"/>
                </a:lnTo>
                <a:lnTo>
                  <a:pt x="285" y="322"/>
                </a:lnTo>
                <a:lnTo>
                  <a:pt x="282" y="322"/>
                </a:lnTo>
                <a:lnTo>
                  <a:pt x="281" y="319"/>
                </a:lnTo>
                <a:lnTo>
                  <a:pt x="279" y="319"/>
                </a:lnTo>
                <a:lnTo>
                  <a:pt x="279" y="316"/>
                </a:lnTo>
                <a:lnTo>
                  <a:pt x="275" y="313"/>
                </a:lnTo>
                <a:lnTo>
                  <a:pt x="275" y="310"/>
                </a:lnTo>
                <a:lnTo>
                  <a:pt x="274" y="310"/>
                </a:lnTo>
                <a:lnTo>
                  <a:pt x="274" y="309"/>
                </a:lnTo>
                <a:lnTo>
                  <a:pt x="272" y="307"/>
                </a:lnTo>
                <a:lnTo>
                  <a:pt x="272" y="306"/>
                </a:lnTo>
                <a:lnTo>
                  <a:pt x="270" y="306"/>
                </a:lnTo>
                <a:lnTo>
                  <a:pt x="268" y="303"/>
                </a:lnTo>
                <a:lnTo>
                  <a:pt x="268" y="302"/>
                </a:lnTo>
                <a:lnTo>
                  <a:pt x="263" y="302"/>
                </a:lnTo>
                <a:lnTo>
                  <a:pt x="263" y="301"/>
                </a:lnTo>
                <a:lnTo>
                  <a:pt x="260" y="301"/>
                </a:lnTo>
                <a:lnTo>
                  <a:pt x="258" y="300"/>
                </a:lnTo>
                <a:lnTo>
                  <a:pt x="257" y="300"/>
                </a:lnTo>
                <a:lnTo>
                  <a:pt x="256" y="298"/>
                </a:lnTo>
                <a:lnTo>
                  <a:pt x="256" y="297"/>
                </a:lnTo>
                <a:lnTo>
                  <a:pt x="255" y="297"/>
                </a:lnTo>
                <a:lnTo>
                  <a:pt x="251" y="296"/>
                </a:lnTo>
                <a:lnTo>
                  <a:pt x="250" y="296"/>
                </a:lnTo>
                <a:lnTo>
                  <a:pt x="250" y="295"/>
                </a:lnTo>
                <a:lnTo>
                  <a:pt x="242" y="291"/>
                </a:lnTo>
                <a:lnTo>
                  <a:pt x="241" y="291"/>
                </a:lnTo>
                <a:lnTo>
                  <a:pt x="241" y="290"/>
                </a:lnTo>
                <a:lnTo>
                  <a:pt x="239" y="289"/>
                </a:lnTo>
                <a:lnTo>
                  <a:pt x="223" y="286"/>
                </a:lnTo>
                <a:lnTo>
                  <a:pt x="213" y="286"/>
                </a:lnTo>
                <a:lnTo>
                  <a:pt x="212" y="284"/>
                </a:lnTo>
                <a:lnTo>
                  <a:pt x="207" y="289"/>
                </a:lnTo>
                <a:lnTo>
                  <a:pt x="207" y="292"/>
                </a:lnTo>
                <a:lnTo>
                  <a:pt x="206" y="294"/>
                </a:lnTo>
                <a:lnTo>
                  <a:pt x="206" y="295"/>
                </a:lnTo>
                <a:lnTo>
                  <a:pt x="207" y="295"/>
                </a:lnTo>
                <a:lnTo>
                  <a:pt x="207" y="296"/>
                </a:lnTo>
                <a:lnTo>
                  <a:pt x="206" y="296"/>
                </a:lnTo>
                <a:lnTo>
                  <a:pt x="206" y="300"/>
                </a:lnTo>
                <a:lnTo>
                  <a:pt x="207" y="300"/>
                </a:lnTo>
                <a:lnTo>
                  <a:pt x="207" y="303"/>
                </a:lnTo>
                <a:lnTo>
                  <a:pt x="205" y="304"/>
                </a:lnTo>
                <a:lnTo>
                  <a:pt x="205" y="306"/>
                </a:lnTo>
                <a:lnTo>
                  <a:pt x="204" y="308"/>
                </a:lnTo>
                <a:lnTo>
                  <a:pt x="204" y="309"/>
                </a:lnTo>
                <a:lnTo>
                  <a:pt x="202" y="310"/>
                </a:lnTo>
                <a:lnTo>
                  <a:pt x="202" y="312"/>
                </a:lnTo>
                <a:lnTo>
                  <a:pt x="204" y="312"/>
                </a:lnTo>
                <a:lnTo>
                  <a:pt x="204" y="313"/>
                </a:lnTo>
                <a:lnTo>
                  <a:pt x="205" y="314"/>
                </a:lnTo>
                <a:lnTo>
                  <a:pt x="204" y="314"/>
                </a:lnTo>
                <a:lnTo>
                  <a:pt x="202" y="315"/>
                </a:lnTo>
                <a:lnTo>
                  <a:pt x="202" y="318"/>
                </a:lnTo>
                <a:lnTo>
                  <a:pt x="201" y="318"/>
                </a:lnTo>
                <a:lnTo>
                  <a:pt x="201" y="320"/>
                </a:lnTo>
                <a:lnTo>
                  <a:pt x="200" y="320"/>
                </a:lnTo>
                <a:lnTo>
                  <a:pt x="200" y="319"/>
                </a:lnTo>
                <a:lnTo>
                  <a:pt x="199" y="318"/>
                </a:lnTo>
                <a:lnTo>
                  <a:pt x="199" y="316"/>
                </a:lnTo>
                <a:lnTo>
                  <a:pt x="198" y="318"/>
                </a:lnTo>
                <a:lnTo>
                  <a:pt x="193" y="315"/>
                </a:lnTo>
                <a:lnTo>
                  <a:pt x="189" y="315"/>
                </a:lnTo>
                <a:lnTo>
                  <a:pt x="189" y="318"/>
                </a:lnTo>
                <a:lnTo>
                  <a:pt x="188" y="318"/>
                </a:lnTo>
                <a:lnTo>
                  <a:pt x="188" y="319"/>
                </a:lnTo>
                <a:lnTo>
                  <a:pt x="187" y="318"/>
                </a:lnTo>
                <a:lnTo>
                  <a:pt x="187" y="319"/>
                </a:lnTo>
                <a:lnTo>
                  <a:pt x="186" y="319"/>
                </a:lnTo>
                <a:lnTo>
                  <a:pt x="185" y="318"/>
                </a:lnTo>
                <a:lnTo>
                  <a:pt x="185" y="319"/>
                </a:lnTo>
                <a:lnTo>
                  <a:pt x="182" y="320"/>
                </a:lnTo>
                <a:lnTo>
                  <a:pt x="179" y="320"/>
                </a:lnTo>
                <a:lnTo>
                  <a:pt x="177" y="321"/>
                </a:lnTo>
                <a:lnTo>
                  <a:pt x="176" y="321"/>
                </a:lnTo>
                <a:lnTo>
                  <a:pt x="176" y="322"/>
                </a:lnTo>
                <a:lnTo>
                  <a:pt x="175" y="322"/>
                </a:lnTo>
                <a:lnTo>
                  <a:pt x="175" y="323"/>
                </a:lnTo>
                <a:lnTo>
                  <a:pt x="173" y="323"/>
                </a:lnTo>
                <a:lnTo>
                  <a:pt x="171" y="322"/>
                </a:lnTo>
                <a:lnTo>
                  <a:pt x="170" y="322"/>
                </a:lnTo>
                <a:lnTo>
                  <a:pt x="170" y="323"/>
                </a:lnTo>
                <a:lnTo>
                  <a:pt x="167" y="323"/>
                </a:lnTo>
                <a:lnTo>
                  <a:pt x="167" y="322"/>
                </a:lnTo>
                <a:lnTo>
                  <a:pt x="168" y="322"/>
                </a:lnTo>
                <a:lnTo>
                  <a:pt x="168" y="321"/>
                </a:lnTo>
                <a:lnTo>
                  <a:pt x="167" y="321"/>
                </a:lnTo>
                <a:lnTo>
                  <a:pt x="165" y="320"/>
                </a:lnTo>
                <a:lnTo>
                  <a:pt x="162" y="320"/>
                </a:lnTo>
                <a:lnTo>
                  <a:pt x="158" y="319"/>
                </a:lnTo>
                <a:lnTo>
                  <a:pt x="158" y="318"/>
                </a:lnTo>
                <a:lnTo>
                  <a:pt x="156" y="318"/>
                </a:lnTo>
                <a:lnTo>
                  <a:pt x="156" y="319"/>
                </a:lnTo>
                <a:lnTo>
                  <a:pt x="155" y="319"/>
                </a:lnTo>
                <a:lnTo>
                  <a:pt x="155" y="318"/>
                </a:lnTo>
                <a:lnTo>
                  <a:pt x="154" y="319"/>
                </a:lnTo>
                <a:lnTo>
                  <a:pt x="151" y="316"/>
                </a:lnTo>
                <a:lnTo>
                  <a:pt x="151" y="315"/>
                </a:lnTo>
                <a:lnTo>
                  <a:pt x="150" y="314"/>
                </a:lnTo>
                <a:lnTo>
                  <a:pt x="148" y="314"/>
                </a:lnTo>
                <a:lnTo>
                  <a:pt x="148" y="313"/>
                </a:lnTo>
                <a:lnTo>
                  <a:pt x="146" y="313"/>
                </a:lnTo>
                <a:lnTo>
                  <a:pt x="146" y="312"/>
                </a:lnTo>
                <a:lnTo>
                  <a:pt x="145" y="312"/>
                </a:lnTo>
                <a:lnTo>
                  <a:pt x="145" y="310"/>
                </a:lnTo>
                <a:lnTo>
                  <a:pt x="146" y="309"/>
                </a:lnTo>
                <a:lnTo>
                  <a:pt x="145" y="309"/>
                </a:lnTo>
                <a:lnTo>
                  <a:pt x="146" y="308"/>
                </a:lnTo>
                <a:lnTo>
                  <a:pt x="145" y="308"/>
                </a:lnTo>
                <a:lnTo>
                  <a:pt x="145" y="307"/>
                </a:lnTo>
                <a:lnTo>
                  <a:pt x="144" y="307"/>
                </a:lnTo>
                <a:lnTo>
                  <a:pt x="144" y="306"/>
                </a:lnTo>
                <a:lnTo>
                  <a:pt x="145" y="306"/>
                </a:lnTo>
                <a:lnTo>
                  <a:pt x="145" y="302"/>
                </a:lnTo>
                <a:lnTo>
                  <a:pt x="144" y="302"/>
                </a:lnTo>
                <a:lnTo>
                  <a:pt x="142" y="303"/>
                </a:lnTo>
                <a:lnTo>
                  <a:pt x="142" y="300"/>
                </a:lnTo>
                <a:lnTo>
                  <a:pt x="143" y="298"/>
                </a:lnTo>
                <a:lnTo>
                  <a:pt x="145" y="298"/>
                </a:lnTo>
                <a:lnTo>
                  <a:pt x="145" y="297"/>
                </a:lnTo>
                <a:lnTo>
                  <a:pt x="144" y="296"/>
                </a:lnTo>
                <a:lnTo>
                  <a:pt x="142" y="295"/>
                </a:lnTo>
                <a:lnTo>
                  <a:pt x="138" y="294"/>
                </a:lnTo>
                <a:lnTo>
                  <a:pt x="138" y="292"/>
                </a:lnTo>
                <a:lnTo>
                  <a:pt x="137" y="292"/>
                </a:lnTo>
                <a:lnTo>
                  <a:pt x="137" y="294"/>
                </a:lnTo>
                <a:lnTo>
                  <a:pt x="136" y="294"/>
                </a:lnTo>
                <a:lnTo>
                  <a:pt x="136" y="295"/>
                </a:lnTo>
                <a:lnTo>
                  <a:pt x="134" y="295"/>
                </a:lnTo>
                <a:lnTo>
                  <a:pt x="134" y="300"/>
                </a:lnTo>
                <a:lnTo>
                  <a:pt x="133" y="300"/>
                </a:lnTo>
                <a:lnTo>
                  <a:pt x="133" y="297"/>
                </a:lnTo>
                <a:lnTo>
                  <a:pt x="132" y="297"/>
                </a:lnTo>
                <a:lnTo>
                  <a:pt x="130" y="295"/>
                </a:lnTo>
                <a:lnTo>
                  <a:pt x="126" y="295"/>
                </a:lnTo>
                <a:lnTo>
                  <a:pt x="126" y="294"/>
                </a:lnTo>
                <a:lnTo>
                  <a:pt x="125" y="294"/>
                </a:lnTo>
                <a:lnTo>
                  <a:pt x="125" y="295"/>
                </a:lnTo>
                <a:lnTo>
                  <a:pt x="124" y="295"/>
                </a:lnTo>
                <a:lnTo>
                  <a:pt x="124" y="289"/>
                </a:lnTo>
                <a:lnTo>
                  <a:pt x="123" y="289"/>
                </a:lnTo>
                <a:lnTo>
                  <a:pt x="121" y="288"/>
                </a:lnTo>
                <a:lnTo>
                  <a:pt x="120" y="289"/>
                </a:lnTo>
                <a:lnTo>
                  <a:pt x="120" y="290"/>
                </a:lnTo>
                <a:lnTo>
                  <a:pt x="119" y="289"/>
                </a:lnTo>
                <a:lnTo>
                  <a:pt x="118" y="289"/>
                </a:lnTo>
                <a:lnTo>
                  <a:pt x="118" y="285"/>
                </a:lnTo>
                <a:lnTo>
                  <a:pt x="117" y="285"/>
                </a:lnTo>
                <a:lnTo>
                  <a:pt x="117" y="286"/>
                </a:lnTo>
                <a:lnTo>
                  <a:pt x="114" y="286"/>
                </a:lnTo>
                <a:lnTo>
                  <a:pt x="114" y="288"/>
                </a:lnTo>
                <a:lnTo>
                  <a:pt x="117" y="288"/>
                </a:lnTo>
                <a:lnTo>
                  <a:pt x="115" y="289"/>
                </a:lnTo>
                <a:lnTo>
                  <a:pt x="115" y="290"/>
                </a:lnTo>
                <a:lnTo>
                  <a:pt x="114" y="290"/>
                </a:lnTo>
                <a:lnTo>
                  <a:pt x="112" y="289"/>
                </a:lnTo>
                <a:lnTo>
                  <a:pt x="112" y="290"/>
                </a:lnTo>
                <a:lnTo>
                  <a:pt x="109" y="290"/>
                </a:lnTo>
                <a:lnTo>
                  <a:pt x="109" y="289"/>
                </a:lnTo>
                <a:lnTo>
                  <a:pt x="111" y="289"/>
                </a:lnTo>
                <a:lnTo>
                  <a:pt x="112" y="288"/>
                </a:lnTo>
                <a:lnTo>
                  <a:pt x="111" y="288"/>
                </a:lnTo>
                <a:lnTo>
                  <a:pt x="111" y="286"/>
                </a:lnTo>
                <a:lnTo>
                  <a:pt x="109" y="286"/>
                </a:lnTo>
                <a:lnTo>
                  <a:pt x="108" y="288"/>
                </a:lnTo>
                <a:lnTo>
                  <a:pt x="108" y="289"/>
                </a:lnTo>
                <a:lnTo>
                  <a:pt x="109" y="290"/>
                </a:lnTo>
                <a:lnTo>
                  <a:pt x="108" y="291"/>
                </a:lnTo>
                <a:lnTo>
                  <a:pt x="111" y="292"/>
                </a:lnTo>
                <a:lnTo>
                  <a:pt x="111" y="294"/>
                </a:lnTo>
                <a:lnTo>
                  <a:pt x="109" y="292"/>
                </a:lnTo>
                <a:lnTo>
                  <a:pt x="109" y="294"/>
                </a:lnTo>
                <a:lnTo>
                  <a:pt x="108" y="294"/>
                </a:lnTo>
                <a:lnTo>
                  <a:pt x="108" y="295"/>
                </a:lnTo>
                <a:lnTo>
                  <a:pt x="106" y="295"/>
                </a:lnTo>
                <a:lnTo>
                  <a:pt x="105" y="296"/>
                </a:lnTo>
                <a:lnTo>
                  <a:pt x="105" y="297"/>
                </a:lnTo>
                <a:lnTo>
                  <a:pt x="103" y="298"/>
                </a:lnTo>
                <a:lnTo>
                  <a:pt x="103" y="300"/>
                </a:lnTo>
                <a:lnTo>
                  <a:pt x="102" y="301"/>
                </a:lnTo>
                <a:lnTo>
                  <a:pt x="101" y="300"/>
                </a:lnTo>
                <a:lnTo>
                  <a:pt x="101" y="298"/>
                </a:lnTo>
                <a:lnTo>
                  <a:pt x="102" y="297"/>
                </a:lnTo>
                <a:lnTo>
                  <a:pt x="101" y="297"/>
                </a:lnTo>
                <a:lnTo>
                  <a:pt x="101" y="296"/>
                </a:lnTo>
                <a:lnTo>
                  <a:pt x="100" y="295"/>
                </a:lnTo>
                <a:lnTo>
                  <a:pt x="100" y="294"/>
                </a:lnTo>
                <a:lnTo>
                  <a:pt x="103" y="294"/>
                </a:lnTo>
                <a:lnTo>
                  <a:pt x="103" y="292"/>
                </a:lnTo>
                <a:lnTo>
                  <a:pt x="102" y="292"/>
                </a:lnTo>
                <a:lnTo>
                  <a:pt x="102" y="291"/>
                </a:lnTo>
                <a:lnTo>
                  <a:pt x="103" y="291"/>
                </a:lnTo>
                <a:lnTo>
                  <a:pt x="103" y="289"/>
                </a:lnTo>
                <a:lnTo>
                  <a:pt x="102" y="289"/>
                </a:lnTo>
                <a:lnTo>
                  <a:pt x="102" y="290"/>
                </a:lnTo>
                <a:lnTo>
                  <a:pt x="101" y="291"/>
                </a:lnTo>
                <a:lnTo>
                  <a:pt x="98" y="291"/>
                </a:lnTo>
                <a:lnTo>
                  <a:pt x="96" y="292"/>
                </a:lnTo>
                <a:lnTo>
                  <a:pt x="96" y="291"/>
                </a:lnTo>
                <a:lnTo>
                  <a:pt x="95" y="292"/>
                </a:lnTo>
                <a:lnTo>
                  <a:pt x="95" y="291"/>
                </a:lnTo>
                <a:lnTo>
                  <a:pt x="94" y="291"/>
                </a:lnTo>
                <a:lnTo>
                  <a:pt x="94" y="292"/>
                </a:lnTo>
                <a:lnTo>
                  <a:pt x="92" y="292"/>
                </a:lnTo>
                <a:lnTo>
                  <a:pt x="90" y="291"/>
                </a:lnTo>
                <a:lnTo>
                  <a:pt x="87" y="291"/>
                </a:lnTo>
                <a:lnTo>
                  <a:pt x="84" y="294"/>
                </a:lnTo>
                <a:lnTo>
                  <a:pt x="86" y="294"/>
                </a:lnTo>
                <a:lnTo>
                  <a:pt x="84" y="296"/>
                </a:lnTo>
                <a:lnTo>
                  <a:pt x="84" y="297"/>
                </a:lnTo>
                <a:lnTo>
                  <a:pt x="83" y="296"/>
                </a:lnTo>
                <a:lnTo>
                  <a:pt x="80" y="296"/>
                </a:lnTo>
                <a:lnTo>
                  <a:pt x="80" y="295"/>
                </a:lnTo>
                <a:lnTo>
                  <a:pt x="76" y="296"/>
                </a:lnTo>
                <a:lnTo>
                  <a:pt x="76" y="297"/>
                </a:lnTo>
                <a:lnTo>
                  <a:pt x="75" y="296"/>
                </a:lnTo>
                <a:lnTo>
                  <a:pt x="72" y="296"/>
                </a:lnTo>
                <a:lnTo>
                  <a:pt x="72" y="295"/>
                </a:lnTo>
                <a:lnTo>
                  <a:pt x="74" y="294"/>
                </a:lnTo>
                <a:lnTo>
                  <a:pt x="74" y="292"/>
                </a:lnTo>
                <a:lnTo>
                  <a:pt x="75" y="292"/>
                </a:lnTo>
                <a:lnTo>
                  <a:pt x="75" y="291"/>
                </a:lnTo>
                <a:lnTo>
                  <a:pt x="82" y="291"/>
                </a:lnTo>
                <a:lnTo>
                  <a:pt x="82" y="289"/>
                </a:lnTo>
                <a:lnTo>
                  <a:pt x="83" y="289"/>
                </a:lnTo>
                <a:lnTo>
                  <a:pt x="86" y="290"/>
                </a:lnTo>
                <a:lnTo>
                  <a:pt x="88" y="290"/>
                </a:lnTo>
                <a:lnTo>
                  <a:pt x="89" y="289"/>
                </a:lnTo>
                <a:lnTo>
                  <a:pt x="95" y="289"/>
                </a:lnTo>
                <a:lnTo>
                  <a:pt x="96" y="290"/>
                </a:lnTo>
                <a:lnTo>
                  <a:pt x="98" y="289"/>
                </a:lnTo>
                <a:lnTo>
                  <a:pt x="99" y="290"/>
                </a:lnTo>
                <a:lnTo>
                  <a:pt x="100" y="290"/>
                </a:lnTo>
                <a:lnTo>
                  <a:pt x="101" y="289"/>
                </a:lnTo>
                <a:lnTo>
                  <a:pt x="100" y="289"/>
                </a:lnTo>
                <a:lnTo>
                  <a:pt x="100" y="288"/>
                </a:lnTo>
                <a:lnTo>
                  <a:pt x="99" y="286"/>
                </a:lnTo>
                <a:lnTo>
                  <a:pt x="100" y="286"/>
                </a:lnTo>
                <a:lnTo>
                  <a:pt x="100" y="285"/>
                </a:lnTo>
                <a:lnTo>
                  <a:pt x="101" y="285"/>
                </a:lnTo>
                <a:lnTo>
                  <a:pt x="100" y="284"/>
                </a:lnTo>
                <a:lnTo>
                  <a:pt x="100" y="282"/>
                </a:lnTo>
                <a:lnTo>
                  <a:pt x="101" y="282"/>
                </a:lnTo>
                <a:lnTo>
                  <a:pt x="102" y="283"/>
                </a:lnTo>
                <a:lnTo>
                  <a:pt x="103" y="283"/>
                </a:lnTo>
                <a:lnTo>
                  <a:pt x="103" y="282"/>
                </a:lnTo>
                <a:lnTo>
                  <a:pt x="105" y="283"/>
                </a:lnTo>
                <a:lnTo>
                  <a:pt x="106" y="283"/>
                </a:lnTo>
                <a:lnTo>
                  <a:pt x="105" y="282"/>
                </a:lnTo>
                <a:lnTo>
                  <a:pt x="106" y="282"/>
                </a:lnTo>
                <a:lnTo>
                  <a:pt x="107" y="280"/>
                </a:lnTo>
                <a:lnTo>
                  <a:pt x="107" y="279"/>
                </a:lnTo>
                <a:lnTo>
                  <a:pt x="109" y="279"/>
                </a:lnTo>
                <a:lnTo>
                  <a:pt x="108" y="278"/>
                </a:lnTo>
                <a:lnTo>
                  <a:pt x="111" y="277"/>
                </a:lnTo>
                <a:lnTo>
                  <a:pt x="112" y="277"/>
                </a:lnTo>
                <a:lnTo>
                  <a:pt x="112" y="276"/>
                </a:lnTo>
                <a:lnTo>
                  <a:pt x="111" y="276"/>
                </a:lnTo>
                <a:lnTo>
                  <a:pt x="106" y="277"/>
                </a:lnTo>
                <a:lnTo>
                  <a:pt x="102" y="277"/>
                </a:lnTo>
                <a:lnTo>
                  <a:pt x="103" y="278"/>
                </a:lnTo>
                <a:lnTo>
                  <a:pt x="102" y="278"/>
                </a:lnTo>
                <a:lnTo>
                  <a:pt x="98" y="277"/>
                </a:lnTo>
                <a:lnTo>
                  <a:pt x="96" y="278"/>
                </a:lnTo>
                <a:lnTo>
                  <a:pt x="95" y="277"/>
                </a:lnTo>
                <a:lnTo>
                  <a:pt x="94" y="277"/>
                </a:lnTo>
                <a:lnTo>
                  <a:pt x="90" y="278"/>
                </a:lnTo>
                <a:lnTo>
                  <a:pt x="89" y="278"/>
                </a:lnTo>
                <a:lnTo>
                  <a:pt x="89" y="279"/>
                </a:lnTo>
                <a:lnTo>
                  <a:pt x="87" y="279"/>
                </a:lnTo>
                <a:lnTo>
                  <a:pt x="87" y="278"/>
                </a:lnTo>
                <a:lnTo>
                  <a:pt x="86" y="278"/>
                </a:lnTo>
                <a:lnTo>
                  <a:pt x="83" y="279"/>
                </a:lnTo>
                <a:lnTo>
                  <a:pt x="80" y="279"/>
                </a:lnTo>
                <a:lnTo>
                  <a:pt x="80" y="280"/>
                </a:lnTo>
                <a:lnTo>
                  <a:pt x="78" y="279"/>
                </a:lnTo>
                <a:lnTo>
                  <a:pt x="76" y="279"/>
                </a:lnTo>
                <a:lnTo>
                  <a:pt x="75" y="278"/>
                </a:lnTo>
                <a:lnTo>
                  <a:pt x="75" y="277"/>
                </a:lnTo>
                <a:lnTo>
                  <a:pt x="72" y="277"/>
                </a:lnTo>
                <a:lnTo>
                  <a:pt x="71" y="278"/>
                </a:lnTo>
                <a:lnTo>
                  <a:pt x="70" y="278"/>
                </a:lnTo>
                <a:lnTo>
                  <a:pt x="70" y="279"/>
                </a:lnTo>
                <a:lnTo>
                  <a:pt x="69" y="280"/>
                </a:lnTo>
                <a:lnTo>
                  <a:pt x="67" y="280"/>
                </a:lnTo>
                <a:lnTo>
                  <a:pt x="67" y="277"/>
                </a:lnTo>
                <a:lnTo>
                  <a:pt x="65" y="277"/>
                </a:lnTo>
                <a:lnTo>
                  <a:pt x="65" y="276"/>
                </a:lnTo>
                <a:lnTo>
                  <a:pt x="67" y="275"/>
                </a:lnTo>
                <a:lnTo>
                  <a:pt x="68" y="275"/>
                </a:lnTo>
                <a:lnTo>
                  <a:pt x="68" y="272"/>
                </a:lnTo>
                <a:lnTo>
                  <a:pt x="71" y="272"/>
                </a:lnTo>
                <a:lnTo>
                  <a:pt x="71" y="271"/>
                </a:lnTo>
                <a:lnTo>
                  <a:pt x="72" y="271"/>
                </a:lnTo>
                <a:lnTo>
                  <a:pt x="72" y="272"/>
                </a:lnTo>
                <a:lnTo>
                  <a:pt x="74" y="272"/>
                </a:lnTo>
                <a:lnTo>
                  <a:pt x="76" y="275"/>
                </a:lnTo>
                <a:lnTo>
                  <a:pt x="77" y="273"/>
                </a:lnTo>
                <a:lnTo>
                  <a:pt x="78" y="273"/>
                </a:lnTo>
                <a:lnTo>
                  <a:pt x="78" y="272"/>
                </a:lnTo>
                <a:lnTo>
                  <a:pt x="80" y="272"/>
                </a:lnTo>
                <a:lnTo>
                  <a:pt x="80" y="270"/>
                </a:lnTo>
                <a:lnTo>
                  <a:pt x="78" y="270"/>
                </a:lnTo>
                <a:lnTo>
                  <a:pt x="78" y="269"/>
                </a:lnTo>
                <a:lnTo>
                  <a:pt x="81" y="269"/>
                </a:lnTo>
                <a:lnTo>
                  <a:pt x="81" y="266"/>
                </a:lnTo>
                <a:lnTo>
                  <a:pt x="82" y="266"/>
                </a:lnTo>
                <a:lnTo>
                  <a:pt x="82" y="264"/>
                </a:lnTo>
                <a:lnTo>
                  <a:pt x="80" y="264"/>
                </a:lnTo>
                <a:lnTo>
                  <a:pt x="80" y="265"/>
                </a:lnTo>
                <a:lnTo>
                  <a:pt x="78" y="266"/>
                </a:lnTo>
                <a:lnTo>
                  <a:pt x="78" y="265"/>
                </a:lnTo>
                <a:lnTo>
                  <a:pt x="76" y="265"/>
                </a:lnTo>
                <a:lnTo>
                  <a:pt x="76" y="263"/>
                </a:lnTo>
                <a:lnTo>
                  <a:pt x="77" y="263"/>
                </a:lnTo>
                <a:lnTo>
                  <a:pt x="77" y="261"/>
                </a:lnTo>
                <a:lnTo>
                  <a:pt x="76" y="260"/>
                </a:lnTo>
                <a:lnTo>
                  <a:pt x="76" y="263"/>
                </a:lnTo>
                <a:lnTo>
                  <a:pt x="74" y="263"/>
                </a:lnTo>
                <a:lnTo>
                  <a:pt x="72" y="261"/>
                </a:lnTo>
                <a:lnTo>
                  <a:pt x="72" y="259"/>
                </a:lnTo>
                <a:lnTo>
                  <a:pt x="74" y="259"/>
                </a:lnTo>
                <a:lnTo>
                  <a:pt x="75" y="258"/>
                </a:lnTo>
                <a:lnTo>
                  <a:pt x="74" y="258"/>
                </a:lnTo>
                <a:lnTo>
                  <a:pt x="74" y="257"/>
                </a:lnTo>
                <a:lnTo>
                  <a:pt x="72" y="257"/>
                </a:lnTo>
                <a:lnTo>
                  <a:pt x="71" y="258"/>
                </a:lnTo>
                <a:lnTo>
                  <a:pt x="71" y="259"/>
                </a:lnTo>
                <a:lnTo>
                  <a:pt x="70" y="259"/>
                </a:lnTo>
                <a:lnTo>
                  <a:pt x="70" y="260"/>
                </a:lnTo>
                <a:lnTo>
                  <a:pt x="64" y="260"/>
                </a:lnTo>
                <a:lnTo>
                  <a:pt x="64" y="259"/>
                </a:lnTo>
                <a:lnTo>
                  <a:pt x="65" y="259"/>
                </a:lnTo>
                <a:lnTo>
                  <a:pt x="65" y="253"/>
                </a:lnTo>
                <a:lnTo>
                  <a:pt x="64" y="254"/>
                </a:lnTo>
                <a:lnTo>
                  <a:pt x="64" y="249"/>
                </a:lnTo>
                <a:lnTo>
                  <a:pt x="65" y="249"/>
                </a:lnTo>
                <a:lnTo>
                  <a:pt x="65" y="247"/>
                </a:lnTo>
                <a:lnTo>
                  <a:pt x="64" y="247"/>
                </a:lnTo>
                <a:lnTo>
                  <a:pt x="62" y="246"/>
                </a:lnTo>
                <a:lnTo>
                  <a:pt x="58" y="245"/>
                </a:lnTo>
                <a:lnTo>
                  <a:pt x="57" y="243"/>
                </a:lnTo>
                <a:lnTo>
                  <a:pt x="57" y="242"/>
                </a:lnTo>
                <a:lnTo>
                  <a:pt x="62" y="242"/>
                </a:lnTo>
                <a:lnTo>
                  <a:pt x="65" y="241"/>
                </a:lnTo>
                <a:lnTo>
                  <a:pt x="67" y="240"/>
                </a:lnTo>
                <a:lnTo>
                  <a:pt x="67" y="237"/>
                </a:lnTo>
                <a:lnTo>
                  <a:pt x="68" y="236"/>
                </a:lnTo>
                <a:lnTo>
                  <a:pt x="67" y="235"/>
                </a:lnTo>
                <a:lnTo>
                  <a:pt x="67" y="232"/>
                </a:lnTo>
                <a:lnTo>
                  <a:pt x="68" y="232"/>
                </a:lnTo>
                <a:lnTo>
                  <a:pt x="68" y="230"/>
                </a:lnTo>
                <a:lnTo>
                  <a:pt x="67" y="230"/>
                </a:lnTo>
                <a:lnTo>
                  <a:pt x="68" y="229"/>
                </a:lnTo>
                <a:lnTo>
                  <a:pt x="68" y="228"/>
                </a:lnTo>
                <a:lnTo>
                  <a:pt x="67" y="227"/>
                </a:lnTo>
                <a:lnTo>
                  <a:pt x="62" y="227"/>
                </a:lnTo>
                <a:lnTo>
                  <a:pt x="59" y="224"/>
                </a:lnTo>
                <a:lnTo>
                  <a:pt x="59" y="223"/>
                </a:lnTo>
                <a:lnTo>
                  <a:pt x="57" y="223"/>
                </a:lnTo>
                <a:lnTo>
                  <a:pt x="55" y="222"/>
                </a:lnTo>
                <a:lnTo>
                  <a:pt x="52" y="222"/>
                </a:lnTo>
                <a:lnTo>
                  <a:pt x="52" y="223"/>
                </a:lnTo>
                <a:lnTo>
                  <a:pt x="51" y="223"/>
                </a:lnTo>
                <a:lnTo>
                  <a:pt x="51" y="224"/>
                </a:lnTo>
                <a:lnTo>
                  <a:pt x="50" y="223"/>
                </a:lnTo>
                <a:lnTo>
                  <a:pt x="50" y="220"/>
                </a:lnTo>
                <a:lnTo>
                  <a:pt x="47" y="217"/>
                </a:lnTo>
                <a:lnTo>
                  <a:pt x="47" y="216"/>
                </a:lnTo>
                <a:lnTo>
                  <a:pt x="46" y="217"/>
                </a:lnTo>
                <a:lnTo>
                  <a:pt x="46" y="214"/>
                </a:lnTo>
                <a:lnTo>
                  <a:pt x="45" y="215"/>
                </a:lnTo>
                <a:lnTo>
                  <a:pt x="40" y="215"/>
                </a:lnTo>
                <a:lnTo>
                  <a:pt x="40" y="220"/>
                </a:lnTo>
                <a:lnTo>
                  <a:pt x="39" y="220"/>
                </a:lnTo>
                <a:lnTo>
                  <a:pt x="38" y="218"/>
                </a:lnTo>
                <a:lnTo>
                  <a:pt x="38" y="220"/>
                </a:lnTo>
                <a:lnTo>
                  <a:pt x="37" y="218"/>
                </a:lnTo>
                <a:lnTo>
                  <a:pt x="36" y="218"/>
                </a:lnTo>
                <a:lnTo>
                  <a:pt x="36" y="216"/>
                </a:lnTo>
                <a:lnTo>
                  <a:pt x="33" y="216"/>
                </a:lnTo>
                <a:lnTo>
                  <a:pt x="32" y="215"/>
                </a:lnTo>
                <a:lnTo>
                  <a:pt x="31" y="215"/>
                </a:lnTo>
                <a:lnTo>
                  <a:pt x="31" y="211"/>
                </a:lnTo>
                <a:lnTo>
                  <a:pt x="30" y="211"/>
                </a:lnTo>
                <a:lnTo>
                  <a:pt x="30" y="214"/>
                </a:lnTo>
                <a:lnTo>
                  <a:pt x="27" y="214"/>
                </a:lnTo>
                <a:lnTo>
                  <a:pt x="26" y="212"/>
                </a:lnTo>
                <a:lnTo>
                  <a:pt x="26" y="211"/>
                </a:lnTo>
                <a:lnTo>
                  <a:pt x="24" y="211"/>
                </a:lnTo>
                <a:lnTo>
                  <a:pt x="24" y="210"/>
                </a:lnTo>
                <a:lnTo>
                  <a:pt x="26" y="210"/>
                </a:lnTo>
                <a:lnTo>
                  <a:pt x="26" y="209"/>
                </a:lnTo>
                <a:lnTo>
                  <a:pt x="27" y="209"/>
                </a:lnTo>
                <a:lnTo>
                  <a:pt x="27" y="208"/>
                </a:lnTo>
                <a:lnTo>
                  <a:pt x="28" y="208"/>
                </a:lnTo>
                <a:lnTo>
                  <a:pt x="28" y="209"/>
                </a:lnTo>
                <a:lnTo>
                  <a:pt x="31" y="209"/>
                </a:lnTo>
                <a:lnTo>
                  <a:pt x="30" y="208"/>
                </a:lnTo>
                <a:lnTo>
                  <a:pt x="32" y="208"/>
                </a:lnTo>
                <a:lnTo>
                  <a:pt x="33" y="206"/>
                </a:lnTo>
                <a:lnTo>
                  <a:pt x="34" y="206"/>
                </a:lnTo>
                <a:lnTo>
                  <a:pt x="34" y="205"/>
                </a:lnTo>
                <a:lnTo>
                  <a:pt x="33" y="204"/>
                </a:lnTo>
                <a:lnTo>
                  <a:pt x="33" y="203"/>
                </a:lnTo>
                <a:lnTo>
                  <a:pt x="34" y="203"/>
                </a:lnTo>
                <a:lnTo>
                  <a:pt x="34" y="204"/>
                </a:lnTo>
                <a:lnTo>
                  <a:pt x="36" y="203"/>
                </a:lnTo>
                <a:lnTo>
                  <a:pt x="36" y="202"/>
                </a:lnTo>
                <a:lnTo>
                  <a:pt x="34" y="202"/>
                </a:lnTo>
                <a:lnTo>
                  <a:pt x="33" y="200"/>
                </a:lnTo>
                <a:lnTo>
                  <a:pt x="32" y="200"/>
                </a:lnTo>
                <a:lnTo>
                  <a:pt x="32" y="202"/>
                </a:lnTo>
                <a:lnTo>
                  <a:pt x="31" y="202"/>
                </a:lnTo>
                <a:lnTo>
                  <a:pt x="31" y="199"/>
                </a:lnTo>
                <a:lnTo>
                  <a:pt x="30" y="197"/>
                </a:lnTo>
                <a:lnTo>
                  <a:pt x="30" y="194"/>
                </a:lnTo>
                <a:lnTo>
                  <a:pt x="28" y="192"/>
                </a:lnTo>
                <a:lnTo>
                  <a:pt x="28" y="190"/>
                </a:lnTo>
                <a:lnTo>
                  <a:pt x="34" y="190"/>
                </a:lnTo>
                <a:lnTo>
                  <a:pt x="38" y="193"/>
                </a:lnTo>
                <a:lnTo>
                  <a:pt x="38" y="194"/>
                </a:lnTo>
                <a:lnTo>
                  <a:pt x="39" y="196"/>
                </a:lnTo>
                <a:lnTo>
                  <a:pt x="39" y="197"/>
                </a:lnTo>
                <a:lnTo>
                  <a:pt x="40" y="197"/>
                </a:lnTo>
                <a:lnTo>
                  <a:pt x="40" y="200"/>
                </a:lnTo>
                <a:lnTo>
                  <a:pt x="39" y="200"/>
                </a:lnTo>
                <a:lnTo>
                  <a:pt x="39" y="203"/>
                </a:lnTo>
                <a:lnTo>
                  <a:pt x="40" y="204"/>
                </a:lnTo>
                <a:lnTo>
                  <a:pt x="40" y="205"/>
                </a:lnTo>
                <a:lnTo>
                  <a:pt x="41" y="208"/>
                </a:lnTo>
                <a:lnTo>
                  <a:pt x="43" y="209"/>
                </a:lnTo>
                <a:lnTo>
                  <a:pt x="44" y="209"/>
                </a:lnTo>
                <a:lnTo>
                  <a:pt x="43" y="208"/>
                </a:lnTo>
                <a:lnTo>
                  <a:pt x="43" y="203"/>
                </a:lnTo>
                <a:lnTo>
                  <a:pt x="45" y="203"/>
                </a:lnTo>
                <a:lnTo>
                  <a:pt x="45" y="204"/>
                </a:lnTo>
                <a:lnTo>
                  <a:pt x="46" y="206"/>
                </a:lnTo>
                <a:lnTo>
                  <a:pt x="50" y="206"/>
                </a:lnTo>
                <a:lnTo>
                  <a:pt x="53" y="205"/>
                </a:lnTo>
                <a:lnTo>
                  <a:pt x="55" y="204"/>
                </a:lnTo>
                <a:lnTo>
                  <a:pt x="61" y="204"/>
                </a:lnTo>
                <a:lnTo>
                  <a:pt x="63" y="202"/>
                </a:lnTo>
                <a:lnTo>
                  <a:pt x="62" y="202"/>
                </a:lnTo>
                <a:lnTo>
                  <a:pt x="62" y="200"/>
                </a:lnTo>
                <a:lnTo>
                  <a:pt x="61" y="202"/>
                </a:lnTo>
                <a:lnTo>
                  <a:pt x="59" y="202"/>
                </a:lnTo>
                <a:lnTo>
                  <a:pt x="58" y="200"/>
                </a:lnTo>
                <a:lnTo>
                  <a:pt x="57" y="200"/>
                </a:lnTo>
                <a:lnTo>
                  <a:pt x="55" y="202"/>
                </a:lnTo>
                <a:lnTo>
                  <a:pt x="53" y="203"/>
                </a:lnTo>
                <a:lnTo>
                  <a:pt x="53" y="202"/>
                </a:lnTo>
                <a:lnTo>
                  <a:pt x="52" y="199"/>
                </a:lnTo>
                <a:lnTo>
                  <a:pt x="51" y="199"/>
                </a:lnTo>
                <a:lnTo>
                  <a:pt x="50" y="198"/>
                </a:lnTo>
                <a:lnTo>
                  <a:pt x="51" y="198"/>
                </a:lnTo>
                <a:lnTo>
                  <a:pt x="50" y="197"/>
                </a:lnTo>
                <a:lnTo>
                  <a:pt x="49" y="197"/>
                </a:lnTo>
                <a:lnTo>
                  <a:pt x="50" y="196"/>
                </a:lnTo>
                <a:lnTo>
                  <a:pt x="50" y="193"/>
                </a:lnTo>
                <a:lnTo>
                  <a:pt x="47" y="193"/>
                </a:lnTo>
                <a:lnTo>
                  <a:pt x="46" y="192"/>
                </a:lnTo>
                <a:lnTo>
                  <a:pt x="46" y="191"/>
                </a:lnTo>
                <a:lnTo>
                  <a:pt x="45" y="191"/>
                </a:lnTo>
                <a:lnTo>
                  <a:pt x="45" y="190"/>
                </a:lnTo>
                <a:lnTo>
                  <a:pt x="46" y="190"/>
                </a:lnTo>
                <a:lnTo>
                  <a:pt x="44" y="187"/>
                </a:lnTo>
                <a:lnTo>
                  <a:pt x="45" y="186"/>
                </a:lnTo>
                <a:lnTo>
                  <a:pt x="47" y="186"/>
                </a:lnTo>
                <a:lnTo>
                  <a:pt x="49" y="185"/>
                </a:lnTo>
                <a:lnTo>
                  <a:pt x="49" y="186"/>
                </a:lnTo>
                <a:lnTo>
                  <a:pt x="52" y="186"/>
                </a:lnTo>
                <a:lnTo>
                  <a:pt x="52" y="185"/>
                </a:lnTo>
                <a:lnTo>
                  <a:pt x="53" y="185"/>
                </a:lnTo>
                <a:lnTo>
                  <a:pt x="53" y="184"/>
                </a:lnTo>
                <a:lnTo>
                  <a:pt x="52" y="183"/>
                </a:lnTo>
                <a:lnTo>
                  <a:pt x="52" y="181"/>
                </a:lnTo>
                <a:lnTo>
                  <a:pt x="53" y="181"/>
                </a:lnTo>
                <a:lnTo>
                  <a:pt x="53" y="183"/>
                </a:lnTo>
                <a:lnTo>
                  <a:pt x="55" y="183"/>
                </a:lnTo>
                <a:lnTo>
                  <a:pt x="55" y="180"/>
                </a:lnTo>
                <a:lnTo>
                  <a:pt x="56" y="180"/>
                </a:lnTo>
                <a:lnTo>
                  <a:pt x="56" y="179"/>
                </a:lnTo>
                <a:lnTo>
                  <a:pt x="58" y="179"/>
                </a:lnTo>
                <a:lnTo>
                  <a:pt x="58" y="175"/>
                </a:lnTo>
                <a:lnTo>
                  <a:pt x="57" y="175"/>
                </a:lnTo>
                <a:lnTo>
                  <a:pt x="57" y="177"/>
                </a:lnTo>
                <a:lnTo>
                  <a:pt x="55" y="177"/>
                </a:lnTo>
                <a:lnTo>
                  <a:pt x="55" y="175"/>
                </a:lnTo>
                <a:lnTo>
                  <a:pt x="52" y="175"/>
                </a:lnTo>
                <a:lnTo>
                  <a:pt x="51" y="177"/>
                </a:lnTo>
                <a:lnTo>
                  <a:pt x="50" y="177"/>
                </a:lnTo>
                <a:lnTo>
                  <a:pt x="50" y="175"/>
                </a:lnTo>
                <a:lnTo>
                  <a:pt x="49" y="175"/>
                </a:lnTo>
                <a:lnTo>
                  <a:pt x="47" y="174"/>
                </a:lnTo>
                <a:lnTo>
                  <a:pt x="47" y="172"/>
                </a:lnTo>
                <a:lnTo>
                  <a:pt x="49" y="171"/>
                </a:lnTo>
                <a:lnTo>
                  <a:pt x="47" y="171"/>
                </a:lnTo>
                <a:lnTo>
                  <a:pt x="50" y="168"/>
                </a:lnTo>
                <a:lnTo>
                  <a:pt x="51" y="168"/>
                </a:lnTo>
                <a:lnTo>
                  <a:pt x="51" y="167"/>
                </a:lnTo>
                <a:lnTo>
                  <a:pt x="50" y="166"/>
                </a:lnTo>
                <a:lnTo>
                  <a:pt x="49" y="163"/>
                </a:lnTo>
                <a:lnTo>
                  <a:pt x="46" y="162"/>
                </a:lnTo>
                <a:lnTo>
                  <a:pt x="45" y="162"/>
                </a:lnTo>
                <a:lnTo>
                  <a:pt x="45" y="159"/>
                </a:lnTo>
                <a:lnTo>
                  <a:pt x="44" y="157"/>
                </a:lnTo>
                <a:lnTo>
                  <a:pt x="39" y="157"/>
                </a:lnTo>
                <a:lnTo>
                  <a:pt x="40" y="156"/>
                </a:lnTo>
                <a:lnTo>
                  <a:pt x="41" y="156"/>
                </a:lnTo>
                <a:lnTo>
                  <a:pt x="44" y="154"/>
                </a:lnTo>
                <a:lnTo>
                  <a:pt x="49" y="150"/>
                </a:lnTo>
                <a:lnTo>
                  <a:pt x="47" y="150"/>
                </a:lnTo>
                <a:lnTo>
                  <a:pt x="47" y="148"/>
                </a:lnTo>
                <a:lnTo>
                  <a:pt x="50" y="148"/>
                </a:lnTo>
                <a:lnTo>
                  <a:pt x="50" y="147"/>
                </a:lnTo>
                <a:lnTo>
                  <a:pt x="51" y="147"/>
                </a:lnTo>
                <a:lnTo>
                  <a:pt x="53" y="146"/>
                </a:lnTo>
                <a:lnTo>
                  <a:pt x="53" y="141"/>
                </a:lnTo>
                <a:lnTo>
                  <a:pt x="52" y="141"/>
                </a:lnTo>
                <a:lnTo>
                  <a:pt x="51" y="140"/>
                </a:lnTo>
                <a:lnTo>
                  <a:pt x="51" y="141"/>
                </a:lnTo>
                <a:lnTo>
                  <a:pt x="50" y="141"/>
                </a:lnTo>
                <a:lnTo>
                  <a:pt x="49" y="142"/>
                </a:lnTo>
                <a:lnTo>
                  <a:pt x="47" y="141"/>
                </a:lnTo>
                <a:lnTo>
                  <a:pt x="41" y="142"/>
                </a:lnTo>
                <a:lnTo>
                  <a:pt x="33" y="143"/>
                </a:lnTo>
                <a:lnTo>
                  <a:pt x="32" y="144"/>
                </a:lnTo>
                <a:lnTo>
                  <a:pt x="31" y="144"/>
                </a:lnTo>
                <a:lnTo>
                  <a:pt x="30" y="146"/>
                </a:lnTo>
                <a:lnTo>
                  <a:pt x="25" y="146"/>
                </a:lnTo>
                <a:lnTo>
                  <a:pt x="25" y="147"/>
                </a:lnTo>
                <a:lnTo>
                  <a:pt x="16" y="147"/>
                </a:lnTo>
                <a:lnTo>
                  <a:pt x="16" y="146"/>
                </a:lnTo>
                <a:lnTo>
                  <a:pt x="18" y="142"/>
                </a:lnTo>
                <a:lnTo>
                  <a:pt x="19" y="140"/>
                </a:lnTo>
                <a:lnTo>
                  <a:pt x="20" y="138"/>
                </a:lnTo>
                <a:lnTo>
                  <a:pt x="20" y="137"/>
                </a:lnTo>
                <a:lnTo>
                  <a:pt x="21" y="134"/>
                </a:lnTo>
                <a:lnTo>
                  <a:pt x="20" y="134"/>
                </a:lnTo>
                <a:lnTo>
                  <a:pt x="20" y="120"/>
                </a:lnTo>
                <a:lnTo>
                  <a:pt x="21" y="119"/>
                </a:lnTo>
                <a:lnTo>
                  <a:pt x="22" y="117"/>
                </a:lnTo>
                <a:lnTo>
                  <a:pt x="25" y="118"/>
                </a:lnTo>
                <a:lnTo>
                  <a:pt x="25" y="117"/>
                </a:lnTo>
                <a:lnTo>
                  <a:pt x="27" y="117"/>
                </a:lnTo>
                <a:lnTo>
                  <a:pt x="28" y="114"/>
                </a:lnTo>
                <a:lnTo>
                  <a:pt x="30" y="113"/>
                </a:lnTo>
                <a:lnTo>
                  <a:pt x="30" y="112"/>
                </a:lnTo>
                <a:lnTo>
                  <a:pt x="31" y="112"/>
                </a:lnTo>
                <a:lnTo>
                  <a:pt x="31" y="106"/>
                </a:lnTo>
                <a:lnTo>
                  <a:pt x="36" y="106"/>
                </a:lnTo>
                <a:lnTo>
                  <a:pt x="36" y="105"/>
                </a:lnTo>
                <a:lnTo>
                  <a:pt x="39" y="101"/>
                </a:lnTo>
                <a:lnTo>
                  <a:pt x="44" y="95"/>
                </a:lnTo>
                <a:lnTo>
                  <a:pt x="58" y="95"/>
                </a:lnTo>
                <a:lnTo>
                  <a:pt x="59" y="93"/>
                </a:lnTo>
                <a:lnTo>
                  <a:pt x="61" y="93"/>
                </a:lnTo>
                <a:lnTo>
                  <a:pt x="62" y="92"/>
                </a:lnTo>
                <a:lnTo>
                  <a:pt x="64" y="93"/>
                </a:lnTo>
                <a:lnTo>
                  <a:pt x="67" y="93"/>
                </a:lnTo>
                <a:lnTo>
                  <a:pt x="68" y="92"/>
                </a:lnTo>
                <a:lnTo>
                  <a:pt x="69" y="92"/>
                </a:lnTo>
                <a:lnTo>
                  <a:pt x="69" y="93"/>
                </a:lnTo>
                <a:lnTo>
                  <a:pt x="70" y="94"/>
                </a:lnTo>
                <a:lnTo>
                  <a:pt x="69" y="95"/>
                </a:lnTo>
                <a:lnTo>
                  <a:pt x="72" y="99"/>
                </a:lnTo>
                <a:lnTo>
                  <a:pt x="75" y="100"/>
                </a:lnTo>
                <a:lnTo>
                  <a:pt x="80" y="100"/>
                </a:lnTo>
                <a:lnTo>
                  <a:pt x="81" y="99"/>
                </a:lnTo>
                <a:lnTo>
                  <a:pt x="83" y="99"/>
                </a:lnTo>
                <a:lnTo>
                  <a:pt x="84" y="100"/>
                </a:lnTo>
                <a:lnTo>
                  <a:pt x="86" y="100"/>
                </a:lnTo>
                <a:lnTo>
                  <a:pt x="86" y="99"/>
                </a:lnTo>
                <a:lnTo>
                  <a:pt x="87" y="100"/>
                </a:lnTo>
                <a:lnTo>
                  <a:pt x="89" y="100"/>
                </a:lnTo>
                <a:lnTo>
                  <a:pt x="90" y="98"/>
                </a:lnTo>
                <a:lnTo>
                  <a:pt x="93" y="97"/>
                </a:lnTo>
                <a:lnTo>
                  <a:pt x="90" y="95"/>
                </a:lnTo>
                <a:lnTo>
                  <a:pt x="89" y="95"/>
                </a:lnTo>
                <a:lnTo>
                  <a:pt x="89" y="94"/>
                </a:lnTo>
                <a:lnTo>
                  <a:pt x="88" y="94"/>
                </a:lnTo>
                <a:lnTo>
                  <a:pt x="88" y="92"/>
                </a:lnTo>
                <a:lnTo>
                  <a:pt x="87" y="92"/>
                </a:lnTo>
                <a:lnTo>
                  <a:pt x="84" y="89"/>
                </a:lnTo>
                <a:lnTo>
                  <a:pt x="86" y="89"/>
                </a:lnTo>
                <a:lnTo>
                  <a:pt x="87" y="88"/>
                </a:lnTo>
                <a:lnTo>
                  <a:pt x="90" y="88"/>
                </a:lnTo>
                <a:lnTo>
                  <a:pt x="98" y="89"/>
                </a:lnTo>
                <a:lnTo>
                  <a:pt x="100" y="92"/>
                </a:lnTo>
                <a:lnTo>
                  <a:pt x="99" y="93"/>
                </a:lnTo>
                <a:lnTo>
                  <a:pt x="95" y="94"/>
                </a:lnTo>
                <a:lnTo>
                  <a:pt x="94" y="95"/>
                </a:lnTo>
                <a:lnTo>
                  <a:pt x="94" y="97"/>
                </a:lnTo>
                <a:lnTo>
                  <a:pt x="96" y="98"/>
                </a:lnTo>
                <a:lnTo>
                  <a:pt x="103" y="95"/>
                </a:lnTo>
                <a:lnTo>
                  <a:pt x="118" y="95"/>
                </a:lnTo>
                <a:lnTo>
                  <a:pt x="118" y="97"/>
                </a:lnTo>
                <a:lnTo>
                  <a:pt x="119" y="95"/>
                </a:lnTo>
                <a:lnTo>
                  <a:pt x="121" y="95"/>
                </a:lnTo>
                <a:lnTo>
                  <a:pt x="124" y="97"/>
                </a:lnTo>
                <a:lnTo>
                  <a:pt x="125" y="98"/>
                </a:lnTo>
                <a:lnTo>
                  <a:pt x="125" y="97"/>
                </a:lnTo>
                <a:lnTo>
                  <a:pt x="130" y="97"/>
                </a:lnTo>
                <a:lnTo>
                  <a:pt x="130" y="95"/>
                </a:lnTo>
                <a:lnTo>
                  <a:pt x="134" y="95"/>
                </a:lnTo>
                <a:lnTo>
                  <a:pt x="136" y="97"/>
                </a:lnTo>
                <a:lnTo>
                  <a:pt x="137" y="97"/>
                </a:lnTo>
                <a:lnTo>
                  <a:pt x="138" y="98"/>
                </a:lnTo>
                <a:lnTo>
                  <a:pt x="142" y="98"/>
                </a:lnTo>
                <a:lnTo>
                  <a:pt x="144" y="95"/>
                </a:lnTo>
                <a:lnTo>
                  <a:pt x="144" y="94"/>
                </a:lnTo>
                <a:lnTo>
                  <a:pt x="146" y="94"/>
                </a:lnTo>
                <a:lnTo>
                  <a:pt x="146" y="93"/>
                </a:lnTo>
                <a:lnTo>
                  <a:pt x="144" y="91"/>
                </a:lnTo>
                <a:lnTo>
                  <a:pt x="140" y="91"/>
                </a:lnTo>
                <a:lnTo>
                  <a:pt x="139" y="92"/>
                </a:lnTo>
                <a:lnTo>
                  <a:pt x="137" y="92"/>
                </a:lnTo>
                <a:lnTo>
                  <a:pt x="133" y="89"/>
                </a:lnTo>
                <a:lnTo>
                  <a:pt x="131" y="88"/>
                </a:lnTo>
                <a:lnTo>
                  <a:pt x="133" y="86"/>
                </a:lnTo>
                <a:lnTo>
                  <a:pt x="136" y="85"/>
                </a:lnTo>
                <a:lnTo>
                  <a:pt x="137" y="83"/>
                </a:lnTo>
                <a:lnTo>
                  <a:pt x="139" y="82"/>
                </a:lnTo>
                <a:lnTo>
                  <a:pt x="140" y="82"/>
                </a:lnTo>
                <a:lnTo>
                  <a:pt x="152" y="81"/>
                </a:lnTo>
                <a:lnTo>
                  <a:pt x="154" y="80"/>
                </a:lnTo>
                <a:lnTo>
                  <a:pt x="156" y="79"/>
                </a:lnTo>
                <a:lnTo>
                  <a:pt x="157" y="79"/>
                </a:lnTo>
                <a:lnTo>
                  <a:pt x="158" y="80"/>
                </a:lnTo>
                <a:lnTo>
                  <a:pt x="158" y="79"/>
                </a:lnTo>
                <a:lnTo>
                  <a:pt x="159" y="79"/>
                </a:lnTo>
                <a:lnTo>
                  <a:pt x="161" y="77"/>
                </a:lnTo>
                <a:lnTo>
                  <a:pt x="163" y="77"/>
                </a:lnTo>
                <a:lnTo>
                  <a:pt x="163" y="79"/>
                </a:lnTo>
                <a:lnTo>
                  <a:pt x="164" y="79"/>
                </a:lnTo>
                <a:lnTo>
                  <a:pt x="173" y="77"/>
                </a:lnTo>
                <a:lnTo>
                  <a:pt x="180" y="77"/>
                </a:lnTo>
                <a:lnTo>
                  <a:pt x="180" y="75"/>
                </a:lnTo>
                <a:lnTo>
                  <a:pt x="175" y="75"/>
                </a:lnTo>
                <a:lnTo>
                  <a:pt x="174" y="76"/>
                </a:lnTo>
                <a:lnTo>
                  <a:pt x="173" y="76"/>
                </a:lnTo>
                <a:lnTo>
                  <a:pt x="171" y="75"/>
                </a:lnTo>
                <a:lnTo>
                  <a:pt x="169" y="74"/>
                </a:lnTo>
                <a:lnTo>
                  <a:pt x="158" y="74"/>
                </a:lnTo>
                <a:lnTo>
                  <a:pt x="158" y="75"/>
                </a:lnTo>
                <a:lnTo>
                  <a:pt x="155" y="75"/>
                </a:lnTo>
                <a:lnTo>
                  <a:pt x="155" y="71"/>
                </a:lnTo>
                <a:lnTo>
                  <a:pt x="154" y="71"/>
                </a:lnTo>
                <a:lnTo>
                  <a:pt x="152" y="73"/>
                </a:lnTo>
                <a:lnTo>
                  <a:pt x="151" y="73"/>
                </a:lnTo>
                <a:lnTo>
                  <a:pt x="152" y="71"/>
                </a:lnTo>
                <a:lnTo>
                  <a:pt x="152" y="70"/>
                </a:lnTo>
                <a:lnTo>
                  <a:pt x="151" y="69"/>
                </a:lnTo>
                <a:lnTo>
                  <a:pt x="150" y="69"/>
                </a:lnTo>
                <a:lnTo>
                  <a:pt x="149" y="68"/>
                </a:lnTo>
                <a:lnTo>
                  <a:pt x="146" y="67"/>
                </a:lnTo>
                <a:lnTo>
                  <a:pt x="144" y="64"/>
                </a:lnTo>
                <a:lnTo>
                  <a:pt x="142" y="63"/>
                </a:lnTo>
                <a:lnTo>
                  <a:pt x="142" y="61"/>
                </a:lnTo>
                <a:lnTo>
                  <a:pt x="140" y="61"/>
                </a:lnTo>
                <a:lnTo>
                  <a:pt x="142" y="60"/>
                </a:lnTo>
                <a:lnTo>
                  <a:pt x="140" y="60"/>
                </a:lnTo>
                <a:lnTo>
                  <a:pt x="140" y="62"/>
                </a:lnTo>
                <a:lnTo>
                  <a:pt x="137" y="62"/>
                </a:lnTo>
                <a:lnTo>
                  <a:pt x="136" y="63"/>
                </a:lnTo>
                <a:lnTo>
                  <a:pt x="134" y="63"/>
                </a:lnTo>
                <a:lnTo>
                  <a:pt x="133" y="64"/>
                </a:lnTo>
                <a:lnTo>
                  <a:pt x="131" y="64"/>
                </a:lnTo>
                <a:lnTo>
                  <a:pt x="131" y="63"/>
                </a:lnTo>
                <a:lnTo>
                  <a:pt x="130" y="63"/>
                </a:lnTo>
                <a:lnTo>
                  <a:pt x="125" y="64"/>
                </a:lnTo>
                <a:lnTo>
                  <a:pt x="124" y="63"/>
                </a:lnTo>
                <a:lnTo>
                  <a:pt x="124" y="61"/>
                </a:lnTo>
                <a:lnTo>
                  <a:pt x="121" y="61"/>
                </a:lnTo>
                <a:lnTo>
                  <a:pt x="121" y="63"/>
                </a:lnTo>
                <a:lnTo>
                  <a:pt x="120" y="62"/>
                </a:lnTo>
                <a:lnTo>
                  <a:pt x="118" y="61"/>
                </a:lnTo>
                <a:lnTo>
                  <a:pt x="117" y="60"/>
                </a:lnTo>
                <a:lnTo>
                  <a:pt x="115" y="60"/>
                </a:lnTo>
                <a:lnTo>
                  <a:pt x="112" y="58"/>
                </a:lnTo>
                <a:lnTo>
                  <a:pt x="109" y="58"/>
                </a:lnTo>
                <a:lnTo>
                  <a:pt x="108" y="57"/>
                </a:lnTo>
                <a:lnTo>
                  <a:pt x="105" y="57"/>
                </a:lnTo>
                <a:lnTo>
                  <a:pt x="103" y="58"/>
                </a:lnTo>
                <a:lnTo>
                  <a:pt x="102" y="58"/>
                </a:lnTo>
                <a:lnTo>
                  <a:pt x="100" y="60"/>
                </a:lnTo>
                <a:lnTo>
                  <a:pt x="99" y="60"/>
                </a:lnTo>
                <a:lnTo>
                  <a:pt x="99" y="61"/>
                </a:lnTo>
                <a:lnTo>
                  <a:pt x="98" y="61"/>
                </a:lnTo>
                <a:lnTo>
                  <a:pt x="96" y="62"/>
                </a:lnTo>
                <a:lnTo>
                  <a:pt x="96" y="63"/>
                </a:lnTo>
                <a:lnTo>
                  <a:pt x="92" y="63"/>
                </a:lnTo>
                <a:lnTo>
                  <a:pt x="92" y="62"/>
                </a:lnTo>
                <a:lnTo>
                  <a:pt x="89" y="62"/>
                </a:lnTo>
                <a:lnTo>
                  <a:pt x="87" y="61"/>
                </a:lnTo>
                <a:lnTo>
                  <a:pt x="78" y="63"/>
                </a:lnTo>
                <a:lnTo>
                  <a:pt x="77" y="63"/>
                </a:lnTo>
                <a:lnTo>
                  <a:pt x="76" y="66"/>
                </a:lnTo>
                <a:lnTo>
                  <a:pt x="75" y="70"/>
                </a:lnTo>
                <a:lnTo>
                  <a:pt x="70" y="75"/>
                </a:lnTo>
                <a:lnTo>
                  <a:pt x="68" y="79"/>
                </a:lnTo>
                <a:lnTo>
                  <a:pt x="64" y="81"/>
                </a:lnTo>
                <a:lnTo>
                  <a:pt x="64" y="82"/>
                </a:lnTo>
                <a:lnTo>
                  <a:pt x="62" y="82"/>
                </a:lnTo>
                <a:lnTo>
                  <a:pt x="61" y="83"/>
                </a:lnTo>
                <a:lnTo>
                  <a:pt x="58" y="83"/>
                </a:lnTo>
                <a:lnTo>
                  <a:pt x="56" y="86"/>
                </a:lnTo>
                <a:lnTo>
                  <a:pt x="55" y="86"/>
                </a:lnTo>
                <a:lnTo>
                  <a:pt x="53" y="87"/>
                </a:lnTo>
                <a:lnTo>
                  <a:pt x="52" y="87"/>
                </a:lnTo>
                <a:lnTo>
                  <a:pt x="50" y="88"/>
                </a:lnTo>
                <a:lnTo>
                  <a:pt x="50" y="89"/>
                </a:lnTo>
                <a:lnTo>
                  <a:pt x="46" y="89"/>
                </a:lnTo>
                <a:lnTo>
                  <a:pt x="44" y="92"/>
                </a:lnTo>
                <a:lnTo>
                  <a:pt x="43" y="92"/>
                </a:lnTo>
                <a:lnTo>
                  <a:pt x="43" y="94"/>
                </a:lnTo>
                <a:lnTo>
                  <a:pt x="41" y="94"/>
                </a:lnTo>
                <a:lnTo>
                  <a:pt x="40" y="95"/>
                </a:lnTo>
                <a:lnTo>
                  <a:pt x="40" y="98"/>
                </a:lnTo>
                <a:lnTo>
                  <a:pt x="39" y="98"/>
                </a:lnTo>
                <a:lnTo>
                  <a:pt x="36" y="101"/>
                </a:lnTo>
                <a:lnTo>
                  <a:pt x="34" y="101"/>
                </a:lnTo>
                <a:lnTo>
                  <a:pt x="34" y="103"/>
                </a:lnTo>
                <a:lnTo>
                  <a:pt x="32" y="105"/>
                </a:lnTo>
                <a:lnTo>
                  <a:pt x="31" y="105"/>
                </a:lnTo>
                <a:lnTo>
                  <a:pt x="30" y="106"/>
                </a:lnTo>
                <a:lnTo>
                  <a:pt x="28" y="106"/>
                </a:lnTo>
                <a:lnTo>
                  <a:pt x="28" y="107"/>
                </a:lnTo>
                <a:lnTo>
                  <a:pt x="30" y="109"/>
                </a:lnTo>
                <a:lnTo>
                  <a:pt x="26" y="112"/>
                </a:lnTo>
                <a:lnTo>
                  <a:pt x="21" y="114"/>
                </a:lnTo>
                <a:lnTo>
                  <a:pt x="20" y="114"/>
                </a:lnTo>
                <a:lnTo>
                  <a:pt x="22" y="112"/>
                </a:lnTo>
                <a:lnTo>
                  <a:pt x="22" y="110"/>
                </a:lnTo>
                <a:lnTo>
                  <a:pt x="25" y="106"/>
                </a:lnTo>
                <a:lnTo>
                  <a:pt x="25" y="103"/>
                </a:lnTo>
                <a:lnTo>
                  <a:pt x="24" y="101"/>
                </a:lnTo>
                <a:lnTo>
                  <a:pt x="24" y="100"/>
                </a:lnTo>
                <a:lnTo>
                  <a:pt x="22" y="100"/>
                </a:lnTo>
                <a:lnTo>
                  <a:pt x="25" y="98"/>
                </a:lnTo>
                <a:lnTo>
                  <a:pt x="27" y="98"/>
                </a:lnTo>
                <a:lnTo>
                  <a:pt x="32" y="93"/>
                </a:lnTo>
                <a:lnTo>
                  <a:pt x="37" y="91"/>
                </a:lnTo>
                <a:lnTo>
                  <a:pt x="38" y="89"/>
                </a:lnTo>
                <a:lnTo>
                  <a:pt x="43" y="89"/>
                </a:lnTo>
                <a:lnTo>
                  <a:pt x="44" y="88"/>
                </a:lnTo>
                <a:lnTo>
                  <a:pt x="44" y="87"/>
                </a:lnTo>
                <a:lnTo>
                  <a:pt x="45" y="86"/>
                </a:lnTo>
                <a:lnTo>
                  <a:pt x="46" y="87"/>
                </a:lnTo>
                <a:lnTo>
                  <a:pt x="47" y="86"/>
                </a:lnTo>
                <a:lnTo>
                  <a:pt x="49" y="86"/>
                </a:lnTo>
                <a:lnTo>
                  <a:pt x="49" y="85"/>
                </a:lnTo>
                <a:lnTo>
                  <a:pt x="47" y="81"/>
                </a:lnTo>
                <a:lnTo>
                  <a:pt x="44" y="81"/>
                </a:lnTo>
                <a:lnTo>
                  <a:pt x="43" y="82"/>
                </a:lnTo>
                <a:lnTo>
                  <a:pt x="38" y="82"/>
                </a:lnTo>
                <a:lnTo>
                  <a:pt x="36" y="85"/>
                </a:lnTo>
                <a:lnTo>
                  <a:pt x="34" y="83"/>
                </a:lnTo>
                <a:lnTo>
                  <a:pt x="28" y="83"/>
                </a:lnTo>
                <a:lnTo>
                  <a:pt x="27" y="85"/>
                </a:lnTo>
                <a:lnTo>
                  <a:pt x="19" y="85"/>
                </a:lnTo>
                <a:lnTo>
                  <a:pt x="16" y="82"/>
                </a:lnTo>
                <a:lnTo>
                  <a:pt x="16" y="77"/>
                </a:lnTo>
                <a:lnTo>
                  <a:pt x="15" y="76"/>
                </a:lnTo>
                <a:lnTo>
                  <a:pt x="19" y="76"/>
                </a:lnTo>
                <a:lnTo>
                  <a:pt x="20" y="75"/>
                </a:lnTo>
                <a:lnTo>
                  <a:pt x="20" y="73"/>
                </a:lnTo>
                <a:lnTo>
                  <a:pt x="22" y="70"/>
                </a:lnTo>
                <a:lnTo>
                  <a:pt x="22" y="69"/>
                </a:lnTo>
                <a:lnTo>
                  <a:pt x="24" y="69"/>
                </a:lnTo>
                <a:lnTo>
                  <a:pt x="24" y="68"/>
                </a:lnTo>
                <a:lnTo>
                  <a:pt x="25" y="68"/>
                </a:lnTo>
                <a:lnTo>
                  <a:pt x="25" y="67"/>
                </a:lnTo>
                <a:lnTo>
                  <a:pt x="26" y="67"/>
                </a:lnTo>
                <a:lnTo>
                  <a:pt x="26" y="66"/>
                </a:lnTo>
                <a:lnTo>
                  <a:pt x="28" y="66"/>
                </a:lnTo>
                <a:lnTo>
                  <a:pt x="28" y="62"/>
                </a:lnTo>
                <a:lnTo>
                  <a:pt x="30" y="62"/>
                </a:lnTo>
                <a:lnTo>
                  <a:pt x="30" y="61"/>
                </a:lnTo>
                <a:lnTo>
                  <a:pt x="27" y="58"/>
                </a:lnTo>
                <a:lnTo>
                  <a:pt x="27" y="57"/>
                </a:lnTo>
                <a:lnTo>
                  <a:pt x="28" y="56"/>
                </a:lnTo>
                <a:lnTo>
                  <a:pt x="28" y="55"/>
                </a:lnTo>
                <a:lnTo>
                  <a:pt x="27" y="55"/>
                </a:lnTo>
                <a:lnTo>
                  <a:pt x="28" y="54"/>
                </a:lnTo>
                <a:lnTo>
                  <a:pt x="27" y="52"/>
                </a:lnTo>
                <a:lnTo>
                  <a:pt x="27" y="50"/>
                </a:lnTo>
                <a:lnTo>
                  <a:pt x="28" y="49"/>
                </a:lnTo>
                <a:lnTo>
                  <a:pt x="27" y="49"/>
                </a:lnTo>
                <a:lnTo>
                  <a:pt x="28" y="48"/>
                </a:lnTo>
                <a:lnTo>
                  <a:pt x="31" y="48"/>
                </a:lnTo>
                <a:lnTo>
                  <a:pt x="33" y="45"/>
                </a:lnTo>
                <a:lnTo>
                  <a:pt x="34" y="45"/>
                </a:lnTo>
                <a:lnTo>
                  <a:pt x="34" y="44"/>
                </a:lnTo>
                <a:lnTo>
                  <a:pt x="37" y="43"/>
                </a:lnTo>
                <a:lnTo>
                  <a:pt x="38" y="43"/>
                </a:lnTo>
                <a:lnTo>
                  <a:pt x="39" y="44"/>
                </a:lnTo>
                <a:lnTo>
                  <a:pt x="40" y="43"/>
                </a:lnTo>
                <a:lnTo>
                  <a:pt x="40" y="36"/>
                </a:lnTo>
                <a:lnTo>
                  <a:pt x="39" y="33"/>
                </a:lnTo>
                <a:lnTo>
                  <a:pt x="39" y="27"/>
                </a:lnTo>
                <a:lnTo>
                  <a:pt x="38" y="28"/>
                </a:lnTo>
                <a:lnTo>
                  <a:pt x="33" y="26"/>
                </a:lnTo>
                <a:lnTo>
                  <a:pt x="34" y="25"/>
                </a:lnTo>
                <a:lnTo>
                  <a:pt x="34" y="24"/>
                </a:lnTo>
                <a:lnTo>
                  <a:pt x="31" y="24"/>
                </a:lnTo>
                <a:lnTo>
                  <a:pt x="30" y="23"/>
                </a:lnTo>
                <a:lnTo>
                  <a:pt x="30" y="21"/>
                </a:lnTo>
                <a:lnTo>
                  <a:pt x="28" y="23"/>
                </a:lnTo>
                <a:lnTo>
                  <a:pt x="27" y="21"/>
                </a:lnTo>
                <a:lnTo>
                  <a:pt x="27" y="19"/>
                </a:lnTo>
                <a:lnTo>
                  <a:pt x="30" y="17"/>
                </a:lnTo>
                <a:lnTo>
                  <a:pt x="34" y="17"/>
                </a:lnTo>
                <a:lnTo>
                  <a:pt x="36" y="15"/>
                </a:lnTo>
                <a:lnTo>
                  <a:pt x="37" y="15"/>
                </a:lnTo>
                <a:lnTo>
                  <a:pt x="37" y="12"/>
                </a:lnTo>
                <a:lnTo>
                  <a:pt x="38" y="12"/>
                </a:lnTo>
                <a:lnTo>
                  <a:pt x="38" y="11"/>
                </a:lnTo>
                <a:lnTo>
                  <a:pt x="37" y="11"/>
                </a:lnTo>
                <a:lnTo>
                  <a:pt x="37" y="9"/>
                </a:lnTo>
                <a:lnTo>
                  <a:pt x="38" y="9"/>
                </a:lnTo>
                <a:lnTo>
                  <a:pt x="40" y="7"/>
                </a:lnTo>
                <a:lnTo>
                  <a:pt x="44" y="8"/>
                </a:lnTo>
                <a:lnTo>
                  <a:pt x="45" y="8"/>
                </a:lnTo>
                <a:lnTo>
                  <a:pt x="46" y="7"/>
                </a:lnTo>
                <a:lnTo>
                  <a:pt x="47" y="7"/>
                </a:lnTo>
                <a:lnTo>
                  <a:pt x="49" y="8"/>
                </a:lnTo>
                <a:lnTo>
                  <a:pt x="49" y="7"/>
                </a:lnTo>
                <a:lnTo>
                  <a:pt x="51" y="7"/>
                </a:lnTo>
                <a:lnTo>
                  <a:pt x="52" y="6"/>
                </a:lnTo>
                <a:lnTo>
                  <a:pt x="53" y="6"/>
                </a:lnTo>
                <a:lnTo>
                  <a:pt x="56" y="3"/>
                </a:lnTo>
                <a:lnTo>
                  <a:pt x="57" y="1"/>
                </a:lnTo>
                <a:lnTo>
                  <a:pt x="59" y="1"/>
                </a:lnTo>
                <a:lnTo>
                  <a:pt x="61" y="2"/>
                </a:lnTo>
                <a:lnTo>
                  <a:pt x="64" y="2"/>
                </a:lnTo>
                <a:lnTo>
                  <a:pt x="64" y="1"/>
                </a:lnTo>
                <a:lnTo>
                  <a:pt x="65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" name="Freeform 8">
            <a:extLst>
              <a:ext uri="{FF2B5EF4-FFF2-40B4-BE49-F238E27FC236}">
                <a16:creationId xmlns:a16="http://schemas.microsoft.com/office/drawing/2014/main" id="{B4CA0190-FD06-4978-A736-F9C3B35EE146}"/>
              </a:ext>
            </a:extLst>
          </p:cNvPr>
          <p:cNvSpPr>
            <a:spLocks noEditPoints="1"/>
          </p:cNvSpPr>
          <p:nvPr/>
        </p:nvSpPr>
        <p:spPr bwMode="auto">
          <a:xfrm>
            <a:off x="1515688" y="2247158"/>
            <a:ext cx="821549" cy="1514143"/>
          </a:xfrm>
          <a:custGeom>
            <a:avLst/>
            <a:gdLst/>
            <a:ahLst/>
            <a:cxnLst>
              <a:cxn ang="0">
                <a:pos x="35" y="1032"/>
              </a:cxn>
              <a:cxn ang="0">
                <a:pos x="23" y="1033"/>
              </a:cxn>
              <a:cxn ang="0">
                <a:pos x="25" y="986"/>
              </a:cxn>
              <a:cxn ang="0">
                <a:pos x="30" y="967"/>
              </a:cxn>
              <a:cxn ang="0">
                <a:pos x="35" y="967"/>
              </a:cxn>
              <a:cxn ang="0">
                <a:pos x="24" y="953"/>
              </a:cxn>
              <a:cxn ang="0">
                <a:pos x="16" y="919"/>
              </a:cxn>
              <a:cxn ang="0">
                <a:pos x="33" y="924"/>
              </a:cxn>
              <a:cxn ang="0">
                <a:pos x="4" y="878"/>
              </a:cxn>
              <a:cxn ang="0">
                <a:pos x="10" y="860"/>
              </a:cxn>
              <a:cxn ang="0">
                <a:pos x="45" y="764"/>
              </a:cxn>
              <a:cxn ang="0">
                <a:pos x="38" y="758"/>
              </a:cxn>
              <a:cxn ang="0">
                <a:pos x="66" y="749"/>
              </a:cxn>
              <a:cxn ang="0">
                <a:pos x="89" y="713"/>
              </a:cxn>
              <a:cxn ang="0">
                <a:pos x="116" y="699"/>
              </a:cxn>
              <a:cxn ang="0">
                <a:pos x="150" y="683"/>
              </a:cxn>
              <a:cxn ang="0">
                <a:pos x="147" y="658"/>
              </a:cxn>
              <a:cxn ang="0">
                <a:pos x="191" y="645"/>
              </a:cxn>
              <a:cxn ang="0">
                <a:pos x="188" y="636"/>
              </a:cxn>
              <a:cxn ang="0">
                <a:pos x="173" y="625"/>
              </a:cxn>
              <a:cxn ang="0">
                <a:pos x="286" y="551"/>
              </a:cxn>
              <a:cxn ang="0">
                <a:pos x="275" y="512"/>
              </a:cxn>
              <a:cxn ang="0">
                <a:pos x="259" y="513"/>
              </a:cxn>
              <a:cxn ang="0">
                <a:pos x="319" y="494"/>
              </a:cxn>
              <a:cxn ang="0">
                <a:pos x="327" y="454"/>
              </a:cxn>
              <a:cxn ang="0">
                <a:pos x="318" y="470"/>
              </a:cxn>
              <a:cxn ang="0">
                <a:pos x="304" y="443"/>
              </a:cxn>
              <a:cxn ang="0">
                <a:pos x="347" y="400"/>
              </a:cxn>
              <a:cxn ang="0">
                <a:pos x="330" y="392"/>
              </a:cxn>
              <a:cxn ang="0">
                <a:pos x="348" y="362"/>
              </a:cxn>
              <a:cxn ang="0">
                <a:pos x="397" y="285"/>
              </a:cxn>
              <a:cxn ang="0">
                <a:pos x="431" y="245"/>
              </a:cxn>
              <a:cxn ang="0">
                <a:pos x="435" y="193"/>
              </a:cxn>
              <a:cxn ang="0">
                <a:pos x="448" y="191"/>
              </a:cxn>
              <a:cxn ang="0">
                <a:pos x="353" y="200"/>
              </a:cxn>
              <a:cxn ang="0">
                <a:pos x="362" y="189"/>
              </a:cxn>
              <a:cxn ang="0">
                <a:pos x="397" y="153"/>
              </a:cxn>
              <a:cxn ang="0">
                <a:pos x="381" y="176"/>
              </a:cxn>
              <a:cxn ang="0">
                <a:pos x="381" y="154"/>
              </a:cxn>
              <a:cxn ang="0">
                <a:pos x="423" y="159"/>
              </a:cxn>
              <a:cxn ang="0">
                <a:pos x="415" y="150"/>
              </a:cxn>
              <a:cxn ang="0">
                <a:pos x="497" y="129"/>
              </a:cxn>
              <a:cxn ang="0">
                <a:pos x="424" y="132"/>
              </a:cxn>
              <a:cxn ang="0">
                <a:pos x="530" y="96"/>
              </a:cxn>
              <a:cxn ang="0">
                <a:pos x="474" y="99"/>
              </a:cxn>
              <a:cxn ang="0">
                <a:pos x="484" y="91"/>
              </a:cxn>
              <a:cxn ang="0">
                <a:pos x="501" y="122"/>
              </a:cxn>
              <a:cxn ang="0">
                <a:pos x="467" y="141"/>
              </a:cxn>
              <a:cxn ang="0">
                <a:pos x="445" y="147"/>
              </a:cxn>
              <a:cxn ang="0">
                <a:pos x="455" y="119"/>
              </a:cxn>
              <a:cxn ang="0">
                <a:pos x="462" y="92"/>
              </a:cxn>
              <a:cxn ang="0">
                <a:pos x="446" y="80"/>
              </a:cxn>
              <a:cxn ang="0">
                <a:pos x="429" y="117"/>
              </a:cxn>
              <a:cxn ang="0">
                <a:pos x="421" y="116"/>
              </a:cxn>
              <a:cxn ang="0">
                <a:pos x="423" y="93"/>
              </a:cxn>
              <a:cxn ang="0">
                <a:pos x="545" y="65"/>
              </a:cxn>
              <a:cxn ang="0">
                <a:pos x="460" y="73"/>
              </a:cxn>
              <a:cxn ang="0">
                <a:pos x="551" y="9"/>
              </a:cxn>
              <a:cxn ang="0">
                <a:pos x="564" y="23"/>
              </a:cxn>
              <a:cxn ang="0">
                <a:pos x="529" y="66"/>
              </a:cxn>
              <a:cxn ang="0">
                <a:pos x="517" y="46"/>
              </a:cxn>
              <a:cxn ang="0">
                <a:pos x="536" y="29"/>
              </a:cxn>
              <a:cxn ang="0">
                <a:pos x="546" y="13"/>
              </a:cxn>
            </a:cxnLst>
            <a:rect l="0" t="0" r="r" b="b"/>
            <a:pathLst>
              <a:path w="567" h="1045">
                <a:moveTo>
                  <a:pt x="268" y="1039"/>
                </a:moveTo>
                <a:lnTo>
                  <a:pt x="269" y="1039"/>
                </a:lnTo>
                <a:lnTo>
                  <a:pt x="269" y="1041"/>
                </a:lnTo>
                <a:lnTo>
                  <a:pt x="272" y="1041"/>
                </a:lnTo>
                <a:lnTo>
                  <a:pt x="272" y="1042"/>
                </a:lnTo>
                <a:lnTo>
                  <a:pt x="271" y="1043"/>
                </a:lnTo>
                <a:lnTo>
                  <a:pt x="271" y="1044"/>
                </a:lnTo>
                <a:lnTo>
                  <a:pt x="269" y="1045"/>
                </a:lnTo>
                <a:lnTo>
                  <a:pt x="268" y="1045"/>
                </a:lnTo>
                <a:lnTo>
                  <a:pt x="268" y="1039"/>
                </a:lnTo>
                <a:close/>
                <a:moveTo>
                  <a:pt x="262" y="1037"/>
                </a:moveTo>
                <a:lnTo>
                  <a:pt x="262" y="1038"/>
                </a:lnTo>
                <a:lnTo>
                  <a:pt x="263" y="1037"/>
                </a:lnTo>
                <a:lnTo>
                  <a:pt x="265" y="1037"/>
                </a:lnTo>
                <a:lnTo>
                  <a:pt x="265" y="1039"/>
                </a:lnTo>
                <a:lnTo>
                  <a:pt x="263" y="1041"/>
                </a:lnTo>
                <a:lnTo>
                  <a:pt x="261" y="1041"/>
                </a:lnTo>
                <a:lnTo>
                  <a:pt x="261" y="1038"/>
                </a:lnTo>
                <a:lnTo>
                  <a:pt x="262" y="1037"/>
                </a:lnTo>
                <a:close/>
                <a:moveTo>
                  <a:pt x="39" y="1036"/>
                </a:moveTo>
                <a:lnTo>
                  <a:pt x="42" y="1036"/>
                </a:lnTo>
                <a:lnTo>
                  <a:pt x="43" y="1037"/>
                </a:lnTo>
                <a:lnTo>
                  <a:pt x="48" y="1037"/>
                </a:lnTo>
                <a:lnTo>
                  <a:pt x="48" y="1041"/>
                </a:lnTo>
                <a:lnTo>
                  <a:pt x="47" y="1041"/>
                </a:lnTo>
                <a:lnTo>
                  <a:pt x="43" y="1038"/>
                </a:lnTo>
                <a:lnTo>
                  <a:pt x="41" y="1037"/>
                </a:lnTo>
                <a:lnTo>
                  <a:pt x="39" y="1037"/>
                </a:lnTo>
                <a:lnTo>
                  <a:pt x="39" y="1036"/>
                </a:lnTo>
                <a:close/>
                <a:moveTo>
                  <a:pt x="31" y="1027"/>
                </a:moveTo>
                <a:lnTo>
                  <a:pt x="33" y="1027"/>
                </a:lnTo>
                <a:lnTo>
                  <a:pt x="33" y="1029"/>
                </a:lnTo>
                <a:lnTo>
                  <a:pt x="35" y="1030"/>
                </a:lnTo>
                <a:lnTo>
                  <a:pt x="35" y="1032"/>
                </a:lnTo>
                <a:lnTo>
                  <a:pt x="33" y="1033"/>
                </a:lnTo>
                <a:lnTo>
                  <a:pt x="33" y="1032"/>
                </a:lnTo>
                <a:lnTo>
                  <a:pt x="32" y="1032"/>
                </a:lnTo>
                <a:lnTo>
                  <a:pt x="31" y="1031"/>
                </a:lnTo>
                <a:lnTo>
                  <a:pt x="31" y="1027"/>
                </a:lnTo>
                <a:close/>
                <a:moveTo>
                  <a:pt x="56" y="1023"/>
                </a:moveTo>
                <a:lnTo>
                  <a:pt x="57" y="1023"/>
                </a:lnTo>
                <a:lnTo>
                  <a:pt x="60" y="1024"/>
                </a:lnTo>
                <a:lnTo>
                  <a:pt x="61" y="1024"/>
                </a:lnTo>
                <a:lnTo>
                  <a:pt x="61" y="1025"/>
                </a:lnTo>
                <a:lnTo>
                  <a:pt x="60" y="1027"/>
                </a:lnTo>
                <a:lnTo>
                  <a:pt x="57" y="1027"/>
                </a:lnTo>
                <a:lnTo>
                  <a:pt x="55" y="1029"/>
                </a:lnTo>
                <a:lnTo>
                  <a:pt x="54" y="1027"/>
                </a:lnTo>
                <a:lnTo>
                  <a:pt x="54" y="1025"/>
                </a:lnTo>
                <a:lnTo>
                  <a:pt x="56" y="1023"/>
                </a:lnTo>
                <a:close/>
                <a:moveTo>
                  <a:pt x="23" y="1013"/>
                </a:moveTo>
                <a:lnTo>
                  <a:pt x="24" y="1013"/>
                </a:lnTo>
                <a:lnTo>
                  <a:pt x="25" y="1017"/>
                </a:lnTo>
                <a:lnTo>
                  <a:pt x="25" y="1018"/>
                </a:lnTo>
                <a:lnTo>
                  <a:pt x="26" y="1019"/>
                </a:lnTo>
                <a:lnTo>
                  <a:pt x="26" y="1020"/>
                </a:lnTo>
                <a:lnTo>
                  <a:pt x="27" y="1020"/>
                </a:lnTo>
                <a:lnTo>
                  <a:pt x="27" y="1021"/>
                </a:lnTo>
                <a:lnTo>
                  <a:pt x="26" y="1021"/>
                </a:lnTo>
                <a:lnTo>
                  <a:pt x="26" y="1023"/>
                </a:lnTo>
                <a:lnTo>
                  <a:pt x="29" y="1025"/>
                </a:lnTo>
                <a:lnTo>
                  <a:pt x="29" y="1029"/>
                </a:lnTo>
                <a:lnTo>
                  <a:pt x="27" y="1030"/>
                </a:lnTo>
                <a:lnTo>
                  <a:pt x="27" y="1033"/>
                </a:lnTo>
                <a:lnTo>
                  <a:pt x="25" y="1036"/>
                </a:lnTo>
                <a:lnTo>
                  <a:pt x="24" y="1036"/>
                </a:lnTo>
                <a:lnTo>
                  <a:pt x="23" y="1035"/>
                </a:lnTo>
                <a:lnTo>
                  <a:pt x="23" y="1033"/>
                </a:lnTo>
                <a:lnTo>
                  <a:pt x="21" y="1031"/>
                </a:lnTo>
                <a:lnTo>
                  <a:pt x="21" y="1029"/>
                </a:lnTo>
                <a:lnTo>
                  <a:pt x="23" y="1027"/>
                </a:lnTo>
                <a:lnTo>
                  <a:pt x="23" y="1025"/>
                </a:lnTo>
                <a:lnTo>
                  <a:pt x="21" y="1025"/>
                </a:lnTo>
                <a:lnTo>
                  <a:pt x="23" y="1023"/>
                </a:lnTo>
                <a:lnTo>
                  <a:pt x="25" y="1024"/>
                </a:lnTo>
                <a:lnTo>
                  <a:pt x="23" y="1020"/>
                </a:lnTo>
                <a:lnTo>
                  <a:pt x="23" y="1017"/>
                </a:lnTo>
                <a:lnTo>
                  <a:pt x="24" y="1016"/>
                </a:lnTo>
                <a:lnTo>
                  <a:pt x="23" y="1016"/>
                </a:lnTo>
                <a:lnTo>
                  <a:pt x="23" y="1013"/>
                </a:lnTo>
                <a:close/>
                <a:moveTo>
                  <a:pt x="27" y="984"/>
                </a:moveTo>
                <a:lnTo>
                  <a:pt x="29" y="984"/>
                </a:lnTo>
                <a:lnTo>
                  <a:pt x="29" y="987"/>
                </a:lnTo>
                <a:lnTo>
                  <a:pt x="30" y="988"/>
                </a:lnTo>
                <a:lnTo>
                  <a:pt x="27" y="990"/>
                </a:lnTo>
                <a:lnTo>
                  <a:pt x="26" y="990"/>
                </a:lnTo>
                <a:lnTo>
                  <a:pt x="26" y="989"/>
                </a:lnTo>
                <a:lnTo>
                  <a:pt x="27" y="989"/>
                </a:lnTo>
                <a:lnTo>
                  <a:pt x="27" y="984"/>
                </a:lnTo>
                <a:close/>
                <a:moveTo>
                  <a:pt x="19" y="975"/>
                </a:moveTo>
                <a:lnTo>
                  <a:pt x="21" y="975"/>
                </a:lnTo>
                <a:lnTo>
                  <a:pt x="21" y="976"/>
                </a:lnTo>
                <a:lnTo>
                  <a:pt x="24" y="978"/>
                </a:lnTo>
                <a:lnTo>
                  <a:pt x="24" y="980"/>
                </a:lnTo>
                <a:lnTo>
                  <a:pt x="25" y="980"/>
                </a:lnTo>
                <a:lnTo>
                  <a:pt x="26" y="981"/>
                </a:lnTo>
                <a:lnTo>
                  <a:pt x="26" y="982"/>
                </a:lnTo>
                <a:lnTo>
                  <a:pt x="27" y="983"/>
                </a:lnTo>
                <a:lnTo>
                  <a:pt x="27" y="984"/>
                </a:lnTo>
                <a:lnTo>
                  <a:pt x="26" y="984"/>
                </a:lnTo>
                <a:lnTo>
                  <a:pt x="26" y="986"/>
                </a:lnTo>
                <a:lnTo>
                  <a:pt x="25" y="986"/>
                </a:lnTo>
                <a:lnTo>
                  <a:pt x="24" y="984"/>
                </a:lnTo>
                <a:lnTo>
                  <a:pt x="23" y="986"/>
                </a:lnTo>
                <a:lnTo>
                  <a:pt x="23" y="989"/>
                </a:lnTo>
                <a:lnTo>
                  <a:pt x="21" y="990"/>
                </a:lnTo>
                <a:lnTo>
                  <a:pt x="21" y="993"/>
                </a:lnTo>
                <a:lnTo>
                  <a:pt x="23" y="993"/>
                </a:lnTo>
                <a:lnTo>
                  <a:pt x="23" y="994"/>
                </a:lnTo>
                <a:lnTo>
                  <a:pt x="24" y="995"/>
                </a:lnTo>
                <a:lnTo>
                  <a:pt x="23" y="995"/>
                </a:lnTo>
                <a:lnTo>
                  <a:pt x="24" y="996"/>
                </a:lnTo>
                <a:lnTo>
                  <a:pt x="23" y="996"/>
                </a:lnTo>
                <a:lnTo>
                  <a:pt x="23" y="998"/>
                </a:lnTo>
                <a:lnTo>
                  <a:pt x="21" y="998"/>
                </a:lnTo>
                <a:lnTo>
                  <a:pt x="20" y="996"/>
                </a:lnTo>
                <a:lnTo>
                  <a:pt x="20" y="994"/>
                </a:lnTo>
                <a:lnTo>
                  <a:pt x="19" y="993"/>
                </a:lnTo>
                <a:lnTo>
                  <a:pt x="20" y="990"/>
                </a:lnTo>
                <a:lnTo>
                  <a:pt x="20" y="988"/>
                </a:lnTo>
                <a:lnTo>
                  <a:pt x="21" y="986"/>
                </a:lnTo>
                <a:lnTo>
                  <a:pt x="23" y="984"/>
                </a:lnTo>
                <a:lnTo>
                  <a:pt x="20" y="984"/>
                </a:lnTo>
                <a:lnTo>
                  <a:pt x="20" y="982"/>
                </a:lnTo>
                <a:lnTo>
                  <a:pt x="19" y="983"/>
                </a:lnTo>
                <a:lnTo>
                  <a:pt x="18" y="983"/>
                </a:lnTo>
                <a:lnTo>
                  <a:pt x="18" y="981"/>
                </a:lnTo>
                <a:lnTo>
                  <a:pt x="19" y="981"/>
                </a:lnTo>
                <a:lnTo>
                  <a:pt x="19" y="978"/>
                </a:lnTo>
                <a:lnTo>
                  <a:pt x="21" y="978"/>
                </a:lnTo>
                <a:lnTo>
                  <a:pt x="20" y="977"/>
                </a:lnTo>
                <a:lnTo>
                  <a:pt x="19" y="975"/>
                </a:lnTo>
                <a:close/>
                <a:moveTo>
                  <a:pt x="27" y="965"/>
                </a:moveTo>
                <a:lnTo>
                  <a:pt x="29" y="965"/>
                </a:lnTo>
                <a:lnTo>
                  <a:pt x="29" y="967"/>
                </a:lnTo>
                <a:lnTo>
                  <a:pt x="30" y="967"/>
                </a:lnTo>
                <a:lnTo>
                  <a:pt x="32" y="969"/>
                </a:lnTo>
                <a:lnTo>
                  <a:pt x="36" y="976"/>
                </a:lnTo>
                <a:lnTo>
                  <a:pt x="36" y="982"/>
                </a:lnTo>
                <a:lnTo>
                  <a:pt x="32" y="984"/>
                </a:lnTo>
                <a:lnTo>
                  <a:pt x="31" y="984"/>
                </a:lnTo>
                <a:lnTo>
                  <a:pt x="30" y="983"/>
                </a:lnTo>
                <a:lnTo>
                  <a:pt x="32" y="983"/>
                </a:lnTo>
                <a:lnTo>
                  <a:pt x="32" y="982"/>
                </a:lnTo>
                <a:lnTo>
                  <a:pt x="31" y="981"/>
                </a:lnTo>
                <a:lnTo>
                  <a:pt x="31" y="982"/>
                </a:lnTo>
                <a:lnTo>
                  <a:pt x="29" y="982"/>
                </a:lnTo>
                <a:lnTo>
                  <a:pt x="27" y="981"/>
                </a:lnTo>
                <a:lnTo>
                  <a:pt x="27" y="976"/>
                </a:lnTo>
                <a:lnTo>
                  <a:pt x="26" y="975"/>
                </a:lnTo>
                <a:lnTo>
                  <a:pt x="26" y="973"/>
                </a:lnTo>
                <a:lnTo>
                  <a:pt x="25" y="971"/>
                </a:lnTo>
                <a:lnTo>
                  <a:pt x="27" y="969"/>
                </a:lnTo>
                <a:lnTo>
                  <a:pt x="27" y="968"/>
                </a:lnTo>
                <a:lnTo>
                  <a:pt x="26" y="968"/>
                </a:lnTo>
                <a:lnTo>
                  <a:pt x="26" y="967"/>
                </a:lnTo>
                <a:lnTo>
                  <a:pt x="27" y="967"/>
                </a:lnTo>
                <a:lnTo>
                  <a:pt x="27" y="965"/>
                </a:lnTo>
                <a:close/>
                <a:moveTo>
                  <a:pt x="41" y="957"/>
                </a:moveTo>
                <a:lnTo>
                  <a:pt x="43" y="957"/>
                </a:lnTo>
                <a:lnTo>
                  <a:pt x="43" y="964"/>
                </a:lnTo>
                <a:lnTo>
                  <a:pt x="41" y="967"/>
                </a:lnTo>
                <a:lnTo>
                  <a:pt x="41" y="969"/>
                </a:lnTo>
                <a:lnTo>
                  <a:pt x="42" y="971"/>
                </a:lnTo>
                <a:lnTo>
                  <a:pt x="41" y="971"/>
                </a:lnTo>
                <a:lnTo>
                  <a:pt x="39" y="970"/>
                </a:lnTo>
                <a:lnTo>
                  <a:pt x="37" y="973"/>
                </a:lnTo>
                <a:lnTo>
                  <a:pt x="36" y="973"/>
                </a:lnTo>
                <a:lnTo>
                  <a:pt x="36" y="968"/>
                </a:lnTo>
                <a:lnTo>
                  <a:pt x="35" y="967"/>
                </a:lnTo>
                <a:lnTo>
                  <a:pt x="35" y="968"/>
                </a:lnTo>
                <a:lnTo>
                  <a:pt x="32" y="968"/>
                </a:lnTo>
                <a:lnTo>
                  <a:pt x="31" y="967"/>
                </a:lnTo>
                <a:lnTo>
                  <a:pt x="31" y="965"/>
                </a:lnTo>
                <a:lnTo>
                  <a:pt x="30" y="964"/>
                </a:lnTo>
                <a:lnTo>
                  <a:pt x="31" y="964"/>
                </a:lnTo>
                <a:lnTo>
                  <a:pt x="33" y="963"/>
                </a:lnTo>
                <a:lnTo>
                  <a:pt x="35" y="963"/>
                </a:lnTo>
                <a:lnTo>
                  <a:pt x="33" y="962"/>
                </a:lnTo>
                <a:lnTo>
                  <a:pt x="33" y="959"/>
                </a:lnTo>
                <a:lnTo>
                  <a:pt x="36" y="959"/>
                </a:lnTo>
                <a:lnTo>
                  <a:pt x="37" y="958"/>
                </a:lnTo>
                <a:lnTo>
                  <a:pt x="41" y="958"/>
                </a:lnTo>
                <a:lnTo>
                  <a:pt x="41" y="957"/>
                </a:lnTo>
                <a:close/>
                <a:moveTo>
                  <a:pt x="24" y="957"/>
                </a:moveTo>
                <a:lnTo>
                  <a:pt x="24" y="961"/>
                </a:lnTo>
                <a:lnTo>
                  <a:pt x="25" y="961"/>
                </a:lnTo>
                <a:lnTo>
                  <a:pt x="25" y="958"/>
                </a:lnTo>
                <a:lnTo>
                  <a:pt x="24" y="957"/>
                </a:lnTo>
                <a:close/>
                <a:moveTo>
                  <a:pt x="24" y="953"/>
                </a:moveTo>
                <a:lnTo>
                  <a:pt x="25" y="955"/>
                </a:lnTo>
                <a:lnTo>
                  <a:pt x="25" y="957"/>
                </a:lnTo>
                <a:lnTo>
                  <a:pt x="27" y="957"/>
                </a:lnTo>
                <a:lnTo>
                  <a:pt x="27" y="962"/>
                </a:lnTo>
                <a:lnTo>
                  <a:pt x="26" y="963"/>
                </a:lnTo>
                <a:lnTo>
                  <a:pt x="26" y="964"/>
                </a:lnTo>
                <a:lnTo>
                  <a:pt x="25" y="964"/>
                </a:lnTo>
                <a:lnTo>
                  <a:pt x="25" y="963"/>
                </a:lnTo>
                <a:lnTo>
                  <a:pt x="24" y="963"/>
                </a:lnTo>
                <a:lnTo>
                  <a:pt x="24" y="962"/>
                </a:lnTo>
                <a:lnTo>
                  <a:pt x="23" y="961"/>
                </a:lnTo>
                <a:lnTo>
                  <a:pt x="23" y="957"/>
                </a:lnTo>
                <a:lnTo>
                  <a:pt x="24" y="956"/>
                </a:lnTo>
                <a:lnTo>
                  <a:pt x="24" y="953"/>
                </a:lnTo>
                <a:close/>
                <a:moveTo>
                  <a:pt x="39" y="941"/>
                </a:moveTo>
                <a:lnTo>
                  <a:pt x="41" y="941"/>
                </a:lnTo>
                <a:lnTo>
                  <a:pt x="39" y="943"/>
                </a:lnTo>
                <a:lnTo>
                  <a:pt x="39" y="941"/>
                </a:lnTo>
                <a:close/>
                <a:moveTo>
                  <a:pt x="13" y="926"/>
                </a:moveTo>
                <a:lnTo>
                  <a:pt x="14" y="926"/>
                </a:lnTo>
                <a:lnTo>
                  <a:pt x="14" y="927"/>
                </a:lnTo>
                <a:lnTo>
                  <a:pt x="19" y="937"/>
                </a:lnTo>
                <a:lnTo>
                  <a:pt x="19" y="939"/>
                </a:lnTo>
                <a:lnTo>
                  <a:pt x="17" y="939"/>
                </a:lnTo>
                <a:lnTo>
                  <a:pt x="19" y="941"/>
                </a:lnTo>
                <a:lnTo>
                  <a:pt x="19" y="947"/>
                </a:lnTo>
                <a:lnTo>
                  <a:pt x="17" y="947"/>
                </a:lnTo>
                <a:lnTo>
                  <a:pt x="17" y="944"/>
                </a:lnTo>
                <a:lnTo>
                  <a:pt x="16" y="943"/>
                </a:lnTo>
                <a:lnTo>
                  <a:pt x="16" y="945"/>
                </a:lnTo>
                <a:lnTo>
                  <a:pt x="14" y="945"/>
                </a:lnTo>
                <a:lnTo>
                  <a:pt x="13" y="943"/>
                </a:lnTo>
                <a:lnTo>
                  <a:pt x="13" y="941"/>
                </a:lnTo>
                <a:lnTo>
                  <a:pt x="12" y="940"/>
                </a:lnTo>
                <a:lnTo>
                  <a:pt x="12" y="939"/>
                </a:lnTo>
                <a:lnTo>
                  <a:pt x="16" y="939"/>
                </a:lnTo>
                <a:lnTo>
                  <a:pt x="17" y="937"/>
                </a:lnTo>
                <a:lnTo>
                  <a:pt x="16" y="938"/>
                </a:lnTo>
                <a:lnTo>
                  <a:pt x="16" y="937"/>
                </a:lnTo>
                <a:lnTo>
                  <a:pt x="14" y="937"/>
                </a:lnTo>
                <a:lnTo>
                  <a:pt x="14" y="936"/>
                </a:lnTo>
                <a:lnTo>
                  <a:pt x="13" y="936"/>
                </a:lnTo>
                <a:lnTo>
                  <a:pt x="13" y="930"/>
                </a:lnTo>
                <a:lnTo>
                  <a:pt x="12" y="927"/>
                </a:lnTo>
                <a:lnTo>
                  <a:pt x="13" y="926"/>
                </a:lnTo>
                <a:close/>
                <a:moveTo>
                  <a:pt x="13" y="916"/>
                </a:moveTo>
                <a:lnTo>
                  <a:pt x="14" y="916"/>
                </a:lnTo>
                <a:lnTo>
                  <a:pt x="16" y="919"/>
                </a:lnTo>
                <a:lnTo>
                  <a:pt x="21" y="921"/>
                </a:lnTo>
                <a:lnTo>
                  <a:pt x="24" y="926"/>
                </a:lnTo>
                <a:lnTo>
                  <a:pt x="24" y="927"/>
                </a:lnTo>
                <a:lnTo>
                  <a:pt x="23" y="928"/>
                </a:lnTo>
                <a:lnTo>
                  <a:pt x="20" y="930"/>
                </a:lnTo>
                <a:lnTo>
                  <a:pt x="20" y="926"/>
                </a:lnTo>
                <a:lnTo>
                  <a:pt x="18" y="925"/>
                </a:lnTo>
                <a:lnTo>
                  <a:pt x="18" y="922"/>
                </a:lnTo>
                <a:lnTo>
                  <a:pt x="17" y="921"/>
                </a:lnTo>
                <a:lnTo>
                  <a:pt x="14" y="921"/>
                </a:lnTo>
                <a:lnTo>
                  <a:pt x="14" y="919"/>
                </a:lnTo>
                <a:lnTo>
                  <a:pt x="13" y="916"/>
                </a:lnTo>
                <a:close/>
                <a:moveTo>
                  <a:pt x="6" y="907"/>
                </a:moveTo>
                <a:lnTo>
                  <a:pt x="7" y="908"/>
                </a:lnTo>
                <a:lnTo>
                  <a:pt x="7" y="910"/>
                </a:lnTo>
                <a:lnTo>
                  <a:pt x="8" y="910"/>
                </a:lnTo>
                <a:lnTo>
                  <a:pt x="8" y="914"/>
                </a:lnTo>
                <a:lnTo>
                  <a:pt x="6" y="914"/>
                </a:lnTo>
                <a:lnTo>
                  <a:pt x="6" y="907"/>
                </a:lnTo>
                <a:close/>
                <a:moveTo>
                  <a:pt x="42" y="904"/>
                </a:moveTo>
                <a:lnTo>
                  <a:pt x="43" y="906"/>
                </a:lnTo>
                <a:lnTo>
                  <a:pt x="44" y="906"/>
                </a:lnTo>
                <a:lnTo>
                  <a:pt x="44" y="913"/>
                </a:lnTo>
                <a:lnTo>
                  <a:pt x="43" y="918"/>
                </a:lnTo>
                <a:lnTo>
                  <a:pt x="43" y="919"/>
                </a:lnTo>
                <a:lnTo>
                  <a:pt x="44" y="922"/>
                </a:lnTo>
                <a:lnTo>
                  <a:pt x="43" y="924"/>
                </a:lnTo>
                <a:lnTo>
                  <a:pt x="42" y="924"/>
                </a:lnTo>
                <a:lnTo>
                  <a:pt x="41" y="925"/>
                </a:lnTo>
                <a:lnTo>
                  <a:pt x="41" y="926"/>
                </a:lnTo>
                <a:lnTo>
                  <a:pt x="37" y="927"/>
                </a:lnTo>
                <a:lnTo>
                  <a:pt x="36" y="927"/>
                </a:lnTo>
                <a:lnTo>
                  <a:pt x="36" y="926"/>
                </a:lnTo>
                <a:lnTo>
                  <a:pt x="33" y="924"/>
                </a:lnTo>
                <a:lnTo>
                  <a:pt x="31" y="920"/>
                </a:lnTo>
                <a:lnTo>
                  <a:pt x="29" y="918"/>
                </a:lnTo>
                <a:lnTo>
                  <a:pt x="29" y="916"/>
                </a:lnTo>
                <a:lnTo>
                  <a:pt x="32" y="916"/>
                </a:lnTo>
                <a:lnTo>
                  <a:pt x="32" y="915"/>
                </a:lnTo>
                <a:lnTo>
                  <a:pt x="33" y="915"/>
                </a:lnTo>
                <a:lnTo>
                  <a:pt x="35" y="913"/>
                </a:lnTo>
                <a:lnTo>
                  <a:pt x="37" y="912"/>
                </a:lnTo>
                <a:lnTo>
                  <a:pt x="38" y="912"/>
                </a:lnTo>
                <a:lnTo>
                  <a:pt x="39" y="910"/>
                </a:lnTo>
                <a:lnTo>
                  <a:pt x="39" y="906"/>
                </a:lnTo>
                <a:lnTo>
                  <a:pt x="41" y="906"/>
                </a:lnTo>
                <a:lnTo>
                  <a:pt x="42" y="904"/>
                </a:lnTo>
                <a:close/>
                <a:moveTo>
                  <a:pt x="6" y="883"/>
                </a:moveTo>
                <a:lnTo>
                  <a:pt x="8" y="883"/>
                </a:lnTo>
                <a:lnTo>
                  <a:pt x="8" y="884"/>
                </a:lnTo>
                <a:lnTo>
                  <a:pt x="10" y="884"/>
                </a:lnTo>
                <a:lnTo>
                  <a:pt x="10" y="885"/>
                </a:lnTo>
                <a:lnTo>
                  <a:pt x="11" y="887"/>
                </a:lnTo>
                <a:lnTo>
                  <a:pt x="12" y="889"/>
                </a:lnTo>
                <a:lnTo>
                  <a:pt x="12" y="890"/>
                </a:lnTo>
                <a:lnTo>
                  <a:pt x="10" y="890"/>
                </a:lnTo>
                <a:lnTo>
                  <a:pt x="10" y="888"/>
                </a:lnTo>
                <a:lnTo>
                  <a:pt x="8" y="888"/>
                </a:lnTo>
                <a:lnTo>
                  <a:pt x="7" y="887"/>
                </a:lnTo>
                <a:lnTo>
                  <a:pt x="8" y="887"/>
                </a:lnTo>
                <a:lnTo>
                  <a:pt x="7" y="885"/>
                </a:lnTo>
                <a:lnTo>
                  <a:pt x="6" y="885"/>
                </a:lnTo>
                <a:lnTo>
                  <a:pt x="6" y="883"/>
                </a:lnTo>
                <a:close/>
                <a:moveTo>
                  <a:pt x="1" y="871"/>
                </a:moveTo>
                <a:lnTo>
                  <a:pt x="2" y="871"/>
                </a:lnTo>
                <a:lnTo>
                  <a:pt x="2" y="873"/>
                </a:lnTo>
                <a:lnTo>
                  <a:pt x="4" y="875"/>
                </a:lnTo>
                <a:lnTo>
                  <a:pt x="4" y="878"/>
                </a:lnTo>
                <a:lnTo>
                  <a:pt x="2" y="879"/>
                </a:lnTo>
                <a:lnTo>
                  <a:pt x="2" y="878"/>
                </a:lnTo>
                <a:lnTo>
                  <a:pt x="1" y="878"/>
                </a:lnTo>
                <a:lnTo>
                  <a:pt x="1" y="877"/>
                </a:lnTo>
                <a:lnTo>
                  <a:pt x="0" y="877"/>
                </a:lnTo>
                <a:lnTo>
                  <a:pt x="0" y="872"/>
                </a:lnTo>
                <a:lnTo>
                  <a:pt x="1" y="872"/>
                </a:lnTo>
                <a:lnTo>
                  <a:pt x="1" y="871"/>
                </a:lnTo>
                <a:close/>
                <a:moveTo>
                  <a:pt x="10" y="860"/>
                </a:moveTo>
                <a:lnTo>
                  <a:pt x="10" y="864"/>
                </a:lnTo>
                <a:lnTo>
                  <a:pt x="11" y="865"/>
                </a:lnTo>
                <a:lnTo>
                  <a:pt x="11" y="864"/>
                </a:lnTo>
                <a:lnTo>
                  <a:pt x="12" y="863"/>
                </a:lnTo>
                <a:lnTo>
                  <a:pt x="12" y="861"/>
                </a:lnTo>
                <a:lnTo>
                  <a:pt x="13" y="861"/>
                </a:lnTo>
                <a:lnTo>
                  <a:pt x="13" y="863"/>
                </a:lnTo>
                <a:lnTo>
                  <a:pt x="14" y="867"/>
                </a:lnTo>
                <a:lnTo>
                  <a:pt x="14" y="869"/>
                </a:lnTo>
                <a:lnTo>
                  <a:pt x="11" y="872"/>
                </a:lnTo>
                <a:lnTo>
                  <a:pt x="11" y="873"/>
                </a:lnTo>
                <a:lnTo>
                  <a:pt x="10" y="872"/>
                </a:lnTo>
                <a:lnTo>
                  <a:pt x="10" y="870"/>
                </a:lnTo>
                <a:lnTo>
                  <a:pt x="8" y="870"/>
                </a:lnTo>
                <a:lnTo>
                  <a:pt x="7" y="871"/>
                </a:lnTo>
                <a:lnTo>
                  <a:pt x="7" y="873"/>
                </a:lnTo>
                <a:lnTo>
                  <a:pt x="6" y="875"/>
                </a:lnTo>
                <a:lnTo>
                  <a:pt x="6" y="865"/>
                </a:lnTo>
                <a:lnTo>
                  <a:pt x="7" y="865"/>
                </a:lnTo>
                <a:lnTo>
                  <a:pt x="7" y="864"/>
                </a:lnTo>
                <a:lnTo>
                  <a:pt x="8" y="867"/>
                </a:lnTo>
                <a:lnTo>
                  <a:pt x="10" y="867"/>
                </a:lnTo>
                <a:lnTo>
                  <a:pt x="10" y="865"/>
                </a:lnTo>
                <a:lnTo>
                  <a:pt x="8" y="861"/>
                </a:lnTo>
                <a:lnTo>
                  <a:pt x="10" y="860"/>
                </a:lnTo>
                <a:close/>
                <a:moveTo>
                  <a:pt x="8" y="816"/>
                </a:moveTo>
                <a:lnTo>
                  <a:pt x="10" y="816"/>
                </a:lnTo>
                <a:lnTo>
                  <a:pt x="10" y="817"/>
                </a:lnTo>
                <a:lnTo>
                  <a:pt x="11" y="817"/>
                </a:lnTo>
                <a:lnTo>
                  <a:pt x="11" y="820"/>
                </a:lnTo>
                <a:lnTo>
                  <a:pt x="8" y="820"/>
                </a:lnTo>
                <a:lnTo>
                  <a:pt x="8" y="818"/>
                </a:lnTo>
                <a:lnTo>
                  <a:pt x="7" y="817"/>
                </a:lnTo>
                <a:lnTo>
                  <a:pt x="8" y="817"/>
                </a:lnTo>
                <a:lnTo>
                  <a:pt x="8" y="816"/>
                </a:lnTo>
                <a:close/>
                <a:moveTo>
                  <a:pt x="10" y="799"/>
                </a:moveTo>
                <a:lnTo>
                  <a:pt x="13" y="799"/>
                </a:lnTo>
                <a:lnTo>
                  <a:pt x="24" y="803"/>
                </a:lnTo>
                <a:lnTo>
                  <a:pt x="24" y="804"/>
                </a:lnTo>
                <a:lnTo>
                  <a:pt x="23" y="805"/>
                </a:lnTo>
                <a:lnTo>
                  <a:pt x="20" y="805"/>
                </a:lnTo>
                <a:lnTo>
                  <a:pt x="20" y="803"/>
                </a:lnTo>
                <a:lnTo>
                  <a:pt x="19" y="805"/>
                </a:lnTo>
                <a:lnTo>
                  <a:pt x="17" y="807"/>
                </a:lnTo>
                <a:lnTo>
                  <a:pt x="16" y="808"/>
                </a:lnTo>
                <a:lnTo>
                  <a:pt x="11" y="809"/>
                </a:lnTo>
                <a:lnTo>
                  <a:pt x="10" y="808"/>
                </a:lnTo>
                <a:lnTo>
                  <a:pt x="10" y="807"/>
                </a:lnTo>
                <a:lnTo>
                  <a:pt x="11" y="807"/>
                </a:lnTo>
                <a:lnTo>
                  <a:pt x="12" y="805"/>
                </a:lnTo>
                <a:lnTo>
                  <a:pt x="11" y="805"/>
                </a:lnTo>
                <a:lnTo>
                  <a:pt x="7" y="804"/>
                </a:lnTo>
                <a:lnTo>
                  <a:pt x="6" y="804"/>
                </a:lnTo>
                <a:lnTo>
                  <a:pt x="10" y="801"/>
                </a:lnTo>
                <a:lnTo>
                  <a:pt x="10" y="799"/>
                </a:lnTo>
                <a:close/>
                <a:moveTo>
                  <a:pt x="41" y="762"/>
                </a:moveTo>
                <a:lnTo>
                  <a:pt x="43" y="764"/>
                </a:lnTo>
                <a:lnTo>
                  <a:pt x="44" y="762"/>
                </a:lnTo>
                <a:lnTo>
                  <a:pt x="45" y="764"/>
                </a:lnTo>
                <a:lnTo>
                  <a:pt x="45" y="765"/>
                </a:lnTo>
                <a:lnTo>
                  <a:pt x="49" y="765"/>
                </a:lnTo>
                <a:lnTo>
                  <a:pt x="49" y="766"/>
                </a:lnTo>
                <a:lnTo>
                  <a:pt x="48" y="766"/>
                </a:lnTo>
                <a:lnTo>
                  <a:pt x="48" y="768"/>
                </a:lnTo>
                <a:lnTo>
                  <a:pt x="49" y="768"/>
                </a:lnTo>
                <a:lnTo>
                  <a:pt x="48" y="769"/>
                </a:lnTo>
                <a:lnTo>
                  <a:pt x="48" y="771"/>
                </a:lnTo>
                <a:lnTo>
                  <a:pt x="44" y="772"/>
                </a:lnTo>
                <a:lnTo>
                  <a:pt x="37" y="772"/>
                </a:lnTo>
                <a:lnTo>
                  <a:pt x="37" y="769"/>
                </a:lnTo>
                <a:lnTo>
                  <a:pt x="41" y="769"/>
                </a:lnTo>
                <a:lnTo>
                  <a:pt x="39" y="768"/>
                </a:lnTo>
                <a:lnTo>
                  <a:pt x="37" y="768"/>
                </a:lnTo>
                <a:lnTo>
                  <a:pt x="37" y="767"/>
                </a:lnTo>
                <a:lnTo>
                  <a:pt x="38" y="766"/>
                </a:lnTo>
                <a:lnTo>
                  <a:pt x="38" y="764"/>
                </a:lnTo>
                <a:lnTo>
                  <a:pt x="41" y="762"/>
                </a:lnTo>
                <a:close/>
                <a:moveTo>
                  <a:pt x="44" y="756"/>
                </a:moveTo>
                <a:lnTo>
                  <a:pt x="45" y="756"/>
                </a:lnTo>
                <a:lnTo>
                  <a:pt x="47" y="758"/>
                </a:lnTo>
                <a:lnTo>
                  <a:pt x="45" y="759"/>
                </a:lnTo>
                <a:lnTo>
                  <a:pt x="45" y="760"/>
                </a:lnTo>
                <a:lnTo>
                  <a:pt x="44" y="761"/>
                </a:lnTo>
                <a:lnTo>
                  <a:pt x="43" y="760"/>
                </a:lnTo>
                <a:lnTo>
                  <a:pt x="42" y="761"/>
                </a:lnTo>
                <a:lnTo>
                  <a:pt x="41" y="760"/>
                </a:lnTo>
                <a:lnTo>
                  <a:pt x="42" y="759"/>
                </a:lnTo>
                <a:lnTo>
                  <a:pt x="44" y="759"/>
                </a:lnTo>
                <a:lnTo>
                  <a:pt x="43" y="758"/>
                </a:lnTo>
                <a:lnTo>
                  <a:pt x="44" y="756"/>
                </a:lnTo>
                <a:close/>
                <a:moveTo>
                  <a:pt x="37" y="756"/>
                </a:moveTo>
                <a:lnTo>
                  <a:pt x="38" y="756"/>
                </a:lnTo>
                <a:lnTo>
                  <a:pt x="38" y="758"/>
                </a:lnTo>
                <a:lnTo>
                  <a:pt x="41" y="758"/>
                </a:lnTo>
                <a:lnTo>
                  <a:pt x="41" y="759"/>
                </a:lnTo>
                <a:lnTo>
                  <a:pt x="39" y="759"/>
                </a:lnTo>
                <a:lnTo>
                  <a:pt x="38" y="760"/>
                </a:lnTo>
                <a:lnTo>
                  <a:pt x="37" y="760"/>
                </a:lnTo>
                <a:lnTo>
                  <a:pt x="37" y="756"/>
                </a:lnTo>
                <a:close/>
                <a:moveTo>
                  <a:pt x="54" y="750"/>
                </a:moveTo>
                <a:lnTo>
                  <a:pt x="55" y="750"/>
                </a:lnTo>
                <a:lnTo>
                  <a:pt x="56" y="752"/>
                </a:lnTo>
                <a:lnTo>
                  <a:pt x="56" y="754"/>
                </a:lnTo>
                <a:lnTo>
                  <a:pt x="57" y="755"/>
                </a:lnTo>
                <a:lnTo>
                  <a:pt x="57" y="756"/>
                </a:lnTo>
                <a:lnTo>
                  <a:pt x="60" y="759"/>
                </a:lnTo>
                <a:lnTo>
                  <a:pt x="51" y="767"/>
                </a:lnTo>
                <a:lnTo>
                  <a:pt x="49" y="767"/>
                </a:lnTo>
                <a:lnTo>
                  <a:pt x="49" y="766"/>
                </a:lnTo>
                <a:lnTo>
                  <a:pt x="50" y="765"/>
                </a:lnTo>
                <a:lnTo>
                  <a:pt x="50" y="760"/>
                </a:lnTo>
                <a:lnTo>
                  <a:pt x="49" y="759"/>
                </a:lnTo>
                <a:lnTo>
                  <a:pt x="49" y="755"/>
                </a:lnTo>
                <a:lnTo>
                  <a:pt x="50" y="753"/>
                </a:lnTo>
                <a:lnTo>
                  <a:pt x="51" y="752"/>
                </a:lnTo>
                <a:lnTo>
                  <a:pt x="52" y="752"/>
                </a:lnTo>
                <a:lnTo>
                  <a:pt x="54" y="750"/>
                </a:lnTo>
                <a:close/>
                <a:moveTo>
                  <a:pt x="66" y="749"/>
                </a:moveTo>
                <a:lnTo>
                  <a:pt x="67" y="749"/>
                </a:lnTo>
                <a:lnTo>
                  <a:pt x="68" y="752"/>
                </a:lnTo>
                <a:lnTo>
                  <a:pt x="70" y="752"/>
                </a:lnTo>
                <a:lnTo>
                  <a:pt x="72" y="753"/>
                </a:lnTo>
                <a:lnTo>
                  <a:pt x="70" y="753"/>
                </a:lnTo>
                <a:lnTo>
                  <a:pt x="64" y="754"/>
                </a:lnTo>
                <a:lnTo>
                  <a:pt x="61" y="753"/>
                </a:lnTo>
                <a:lnTo>
                  <a:pt x="58" y="750"/>
                </a:lnTo>
                <a:lnTo>
                  <a:pt x="66" y="749"/>
                </a:lnTo>
                <a:close/>
                <a:moveTo>
                  <a:pt x="93" y="722"/>
                </a:moveTo>
                <a:lnTo>
                  <a:pt x="94" y="722"/>
                </a:lnTo>
                <a:lnTo>
                  <a:pt x="95" y="723"/>
                </a:lnTo>
                <a:lnTo>
                  <a:pt x="95" y="726"/>
                </a:lnTo>
                <a:lnTo>
                  <a:pt x="88" y="728"/>
                </a:lnTo>
                <a:lnTo>
                  <a:pt x="86" y="730"/>
                </a:lnTo>
                <a:lnTo>
                  <a:pt x="85" y="730"/>
                </a:lnTo>
                <a:lnTo>
                  <a:pt x="85" y="726"/>
                </a:lnTo>
                <a:lnTo>
                  <a:pt x="86" y="726"/>
                </a:lnTo>
                <a:lnTo>
                  <a:pt x="86" y="723"/>
                </a:lnTo>
                <a:lnTo>
                  <a:pt x="87" y="723"/>
                </a:lnTo>
                <a:lnTo>
                  <a:pt x="87" y="724"/>
                </a:lnTo>
                <a:lnTo>
                  <a:pt x="88" y="724"/>
                </a:lnTo>
                <a:lnTo>
                  <a:pt x="93" y="722"/>
                </a:lnTo>
                <a:close/>
                <a:moveTo>
                  <a:pt x="91" y="711"/>
                </a:moveTo>
                <a:lnTo>
                  <a:pt x="91" y="712"/>
                </a:lnTo>
                <a:lnTo>
                  <a:pt x="92" y="713"/>
                </a:lnTo>
                <a:lnTo>
                  <a:pt x="93" y="712"/>
                </a:lnTo>
                <a:lnTo>
                  <a:pt x="94" y="712"/>
                </a:lnTo>
                <a:lnTo>
                  <a:pt x="97" y="711"/>
                </a:lnTo>
                <a:lnTo>
                  <a:pt x="97" y="715"/>
                </a:lnTo>
                <a:lnTo>
                  <a:pt x="95" y="715"/>
                </a:lnTo>
                <a:lnTo>
                  <a:pt x="94" y="716"/>
                </a:lnTo>
                <a:lnTo>
                  <a:pt x="95" y="717"/>
                </a:lnTo>
                <a:lnTo>
                  <a:pt x="95" y="718"/>
                </a:lnTo>
                <a:lnTo>
                  <a:pt x="94" y="719"/>
                </a:lnTo>
                <a:lnTo>
                  <a:pt x="94" y="718"/>
                </a:lnTo>
                <a:lnTo>
                  <a:pt x="93" y="717"/>
                </a:lnTo>
                <a:lnTo>
                  <a:pt x="91" y="716"/>
                </a:lnTo>
                <a:lnTo>
                  <a:pt x="89" y="716"/>
                </a:lnTo>
                <a:lnTo>
                  <a:pt x="89" y="715"/>
                </a:lnTo>
                <a:lnTo>
                  <a:pt x="91" y="715"/>
                </a:lnTo>
                <a:lnTo>
                  <a:pt x="91" y="713"/>
                </a:lnTo>
                <a:lnTo>
                  <a:pt x="89" y="713"/>
                </a:lnTo>
                <a:lnTo>
                  <a:pt x="89" y="712"/>
                </a:lnTo>
                <a:lnTo>
                  <a:pt x="91" y="711"/>
                </a:lnTo>
                <a:close/>
                <a:moveTo>
                  <a:pt x="129" y="689"/>
                </a:moveTo>
                <a:lnTo>
                  <a:pt x="130" y="689"/>
                </a:lnTo>
                <a:lnTo>
                  <a:pt x="132" y="691"/>
                </a:lnTo>
                <a:lnTo>
                  <a:pt x="135" y="689"/>
                </a:lnTo>
                <a:lnTo>
                  <a:pt x="137" y="689"/>
                </a:lnTo>
                <a:lnTo>
                  <a:pt x="138" y="691"/>
                </a:lnTo>
                <a:lnTo>
                  <a:pt x="137" y="692"/>
                </a:lnTo>
                <a:lnTo>
                  <a:pt x="136" y="694"/>
                </a:lnTo>
                <a:lnTo>
                  <a:pt x="135" y="695"/>
                </a:lnTo>
                <a:lnTo>
                  <a:pt x="134" y="695"/>
                </a:lnTo>
                <a:lnTo>
                  <a:pt x="132" y="697"/>
                </a:lnTo>
                <a:lnTo>
                  <a:pt x="131" y="695"/>
                </a:lnTo>
                <a:lnTo>
                  <a:pt x="130" y="695"/>
                </a:lnTo>
                <a:lnTo>
                  <a:pt x="128" y="693"/>
                </a:lnTo>
                <a:lnTo>
                  <a:pt x="129" y="692"/>
                </a:lnTo>
                <a:lnTo>
                  <a:pt x="129" y="689"/>
                </a:lnTo>
                <a:close/>
                <a:moveTo>
                  <a:pt x="124" y="687"/>
                </a:moveTo>
                <a:lnTo>
                  <a:pt x="126" y="687"/>
                </a:lnTo>
                <a:lnTo>
                  <a:pt x="126" y="693"/>
                </a:lnTo>
                <a:lnTo>
                  <a:pt x="128" y="694"/>
                </a:lnTo>
                <a:lnTo>
                  <a:pt x="128" y="697"/>
                </a:lnTo>
                <a:lnTo>
                  <a:pt x="129" y="698"/>
                </a:lnTo>
                <a:lnTo>
                  <a:pt x="128" y="699"/>
                </a:lnTo>
                <a:lnTo>
                  <a:pt x="125" y="699"/>
                </a:lnTo>
                <a:lnTo>
                  <a:pt x="125" y="700"/>
                </a:lnTo>
                <a:lnTo>
                  <a:pt x="124" y="700"/>
                </a:lnTo>
                <a:lnTo>
                  <a:pt x="122" y="704"/>
                </a:lnTo>
                <a:lnTo>
                  <a:pt x="120" y="704"/>
                </a:lnTo>
                <a:lnTo>
                  <a:pt x="120" y="703"/>
                </a:lnTo>
                <a:lnTo>
                  <a:pt x="119" y="701"/>
                </a:lnTo>
                <a:lnTo>
                  <a:pt x="116" y="700"/>
                </a:lnTo>
                <a:lnTo>
                  <a:pt x="116" y="699"/>
                </a:lnTo>
                <a:lnTo>
                  <a:pt x="114" y="699"/>
                </a:lnTo>
                <a:lnTo>
                  <a:pt x="116" y="698"/>
                </a:lnTo>
                <a:lnTo>
                  <a:pt x="116" y="697"/>
                </a:lnTo>
                <a:lnTo>
                  <a:pt x="118" y="697"/>
                </a:lnTo>
                <a:lnTo>
                  <a:pt x="117" y="695"/>
                </a:lnTo>
                <a:lnTo>
                  <a:pt x="117" y="694"/>
                </a:lnTo>
                <a:lnTo>
                  <a:pt x="118" y="694"/>
                </a:lnTo>
                <a:lnTo>
                  <a:pt x="117" y="693"/>
                </a:lnTo>
                <a:lnTo>
                  <a:pt x="120" y="692"/>
                </a:lnTo>
                <a:lnTo>
                  <a:pt x="119" y="693"/>
                </a:lnTo>
                <a:lnTo>
                  <a:pt x="120" y="693"/>
                </a:lnTo>
                <a:lnTo>
                  <a:pt x="122" y="694"/>
                </a:lnTo>
                <a:lnTo>
                  <a:pt x="123" y="697"/>
                </a:lnTo>
                <a:lnTo>
                  <a:pt x="123" y="695"/>
                </a:lnTo>
                <a:lnTo>
                  <a:pt x="124" y="694"/>
                </a:lnTo>
                <a:lnTo>
                  <a:pt x="123" y="693"/>
                </a:lnTo>
                <a:lnTo>
                  <a:pt x="124" y="693"/>
                </a:lnTo>
                <a:lnTo>
                  <a:pt x="124" y="692"/>
                </a:lnTo>
                <a:lnTo>
                  <a:pt x="125" y="691"/>
                </a:lnTo>
                <a:lnTo>
                  <a:pt x="125" y="689"/>
                </a:lnTo>
                <a:lnTo>
                  <a:pt x="124" y="687"/>
                </a:lnTo>
                <a:close/>
                <a:moveTo>
                  <a:pt x="144" y="675"/>
                </a:moveTo>
                <a:lnTo>
                  <a:pt x="147" y="676"/>
                </a:lnTo>
                <a:lnTo>
                  <a:pt x="148" y="679"/>
                </a:lnTo>
                <a:lnTo>
                  <a:pt x="149" y="680"/>
                </a:lnTo>
                <a:lnTo>
                  <a:pt x="149" y="678"/>
                </a:lnTo>
                <a:lnTo>
                  <a:pt x="151" y="678"/>
                </a:lnTo>
                <a:lnTo>
                  <a:pt x="153" y="680"/>
                </a:lnTo>
                <a:lnTo>
                  <a:pt x="154" y="680"/>
                </a:lnTo>
                <a:lnTo>
                  <a:pt x="154" y="681"/>
                </a:lnTo>
                <a:lnTo>
                  <a:pt x="155" y="681"/>
                </a:lnTo>
                <a:lnTo>
                  <a:pt x="155" y="682"/>
                </a:lnTo>
                <a:lnTo>
                  <a:pt x="151" y="683"/>
                </a:lnTo>
                <a:lnTo>
                  <a:pt x="150" y="683"/>
                </a:lnTo>
                <a:lnTo>
                  <a:pt x="150" y="682"/>
                </a:lnTo>
                <a:lnTo>
                  <a:pt x="149" y="682"/>
                </a:lnTo>
                <a:lnTo>
                  <a:pt x="149" y="683"/>
                </a:lnTo>
                <a:lnTo>
                  <a:pt x="142" y="686"/>
                </a:lnTo>
                <a:lnTo>
                  <a:pt x="141" y="685"/>
                </a:lnTo>
                <a:lnTo>
                  <a:pt x="138" y="681"/>
                </a:lnTo>
                <a:lnTo>
                  <a:pt x="141" y="680"/>
                </a:lnTo>
                <a:lnTo>
                  <a:pt x="143" y="676"/>
                </a:lnTo>
                <a:lnTo>
                  <a:pt x="144" y="675"/>
                </a:lnTo>
                <a:close/>
                <a:moveTo>
                  <a:pt x="159" y="672"/>
                </a:moveTo>
                <a:lnTo>
                  <a:pt x="160" y="672"/>
                </a:lnTo>
                <a:lnTo>
                  <a:pt x="161" y="673"/>
                </a:lnTo>
                <a:lnTo>
                  <a:pt x="162" y="675"/>
                </a:lnTo>
                <a:lnTo>
                  <a:pt x="165" y="678"/>
                </a:lnTo>
                <a:lnTo>
                  <a:pt x="166" y="680"/>
                </a:lnTo>
                <a:lnTo>
                  <a:pt x="166" y="681"/>
                </a:lnTo>
                <a:lnTo>
                  <a:pt x="160" y="683"/>
                </a:lnTo>
                <a:lnTo>
                  <a:pt x="157" y="682"/>
                </a:lnTo>
                <a:lnTo>
                  <a:pt x="156" y="682"/>
                </a:lnTo>
                <a:lnTo>
                  <a:pt x="154" y="678"/>
                </a:lnTo>
                <a:lnTo>
                  <a:pt x="153" y="676"/>
                </a:lnTo>
                <a:lnTo>
                  <a:pt x="153" y="673"/>
                </a:lnTo>
                <a:lnTo>
                  <a:pt x="155" y="673"/>
                </a:lnTo>
                <a:lnTo>
                  <a:pt x="155" y="674"/>
                </a:lnTo>
                <a:lnTo>
                  <a:pt x="156" y="674"/>
                </a:lnTo>
                <a:lnTo>
                  <a:pt x="156" y="673"/>
                </a:lnTo>
                <a:lnTo>
                  <a:pt x="157" y="674"/>
                </a:lnTo>
                <a:lnTo>
                  <a:pt x="157" y="676"/>
                </a:lnTo>
                <a:lnTo>
                  <a:pt x="159" y="678"/>
                </a:lnTo>
                <a:lnTo>
                  <a:pt x="159" y="672"/>
                </a:lnTo>
                <a:close/>
                <a:moveTo>
                  <a:pt x="142" y="654"/>
                </a:moveTo>
                <a:lnTo>
                  <a:pt x="144" y="654"/>
                </a:lnTo>
                <a:lnTo>
                  <a:pt x="145" y="655"/>
                </a:lnTo>
                <a:lnTo>
                  <a:pt x="147" y="658"/>
                </a:lnTo>
                <a:lnTo>
                  <a:pt x="149" y="660"/>
                </a:lnTo>
                <a:lnTo>
                  <a:pt x="149" y="662"/>
                </a:lnTo>
                <a:lnTo>
                  <a:pt x="148" y="664"/>
                </a:lnTo>
                <a:lnTo>
                  <a:pt x="148" y="666"/>
                </a:lnTo>
                <a:lnTo>
                  <a:pt x="145" y="666"/>
                </a:lnTo>
                <a:lnTo>
                  <a:pt x="145" y="668"/>
                </a:lnTo>
                <a:lnTo>
                  <a:pt x="142" y="668"/>
                </a:lnTo>
                <a:lnTo>
                  <a:pt x="141" y="669"/>
                </a:lnTo>
                <a:lnTo>
                  <a:pt x="141" y="668"/>
                </a:lnTo>
                <a:lnTo>
                  <a:pt x="138" y="667"/>
                </a:lnTo>
                <a:lnTo>
                  <a:pt x="138" y="666"/>
                </a:lnTo>
                <a:lnTo>
                  <a:pt x="139" y="666"/>
                </a:lnTo>
                <a:lnTo>
                  <a:pt x="134" y="663"/>
                </a:lnTo>
                <a:lnTo>
                  <a:pt x="132" y="662"/>
                </a:lnTo>
                <a:lnTo>
                  <a:pt x="132" y="660"/>
                </a:lnTo>
                <a:lnTo>
                  <a:pt x="134" y="658"/>
                </a:lnTo>
                <a:lnTo>
                  <a:pt x="135" y="658"/>
                </a:lnTo>
                <a:lnTo>
                  <a:pt x="137" y="657"/>
                </a:lnTo>
                <a:lnTo>
                  <a:pt x="138" y="657"/>
                </a:lnTo>
                <a:lnTo>
                  <a:pt x="142" y="654"/>
                </a:lnTo>
                <a:close/>
                <a:moveTo>
                  <a:pt x="254" y="645"/>
                </a:moveTo>
                <a:lnTo>
                  <a:pt x="255" y="645"/>
                </a:lnTo>
                <a:lnTo>
                  <a:pt x="255" y="646"/>
                </a:lnTo>
                <a:lnTo>
                  <a:pt x="254" y="646"/>
                </a:lnTo>
                <a:lnTo>
                  <a:pt x="254" y="645"/>
                </a:lnTo>
                <a:close/>
                <a:moveTo>
                  <a:pt x="178" y="637"/>
                </a:moveTo>
                <a:lnTo>
                  <a:pt x="182" y="637"/>
                </a:lnTo>
                <a:lnTo>
                  <a:pt x="182" y="639"/>
                </a:lnTo>
                <a:lnTo>
                  <a:pt x="184" y="643"/>
                </a:lnTo>
                <a:lnTo>
                  <a:pt x="186" y="640"/>
                </a:lnTo>
                <a:lnTo>
                  <a:pt x="187" y="642"/>
                </a:lnTo>
                <a:lnTo>
                  <a:pt x="188" y="644"/>
                </a:lnTo>
                <a:lnTo>
                  <a:pt x="190" y="645"/>
                </a:lnTo>
                <a:lnTo>
                  <a:pt x="191" y="645"/>
                </a:lnTo>
                <a:lnTo>
                  <a:pt x="188" y="648"/>
                </a:lnTo>
                <a:lnTo>
                  <a:pt x="178" y="652"/>
                </a:lnTo>
                <a:lnTo>
                  <a:pt x="172" y="652"/>
                </a:lnTo>
                <a:lnTo>
                  <a:pt x="169" y="655"/>
                </a:lnTo>
                <a:lnTo>
                  <a:pt x="166" y="655"/>
                </a:lnTo>
                <a:lnTo>
                  <a:pt x="162" y="657"/>
                </a:lnTo>
                <a:lnTo>
                  <a:pt x="157" y="657"/>
                </a:lnTo>
                <a:lnTo>
                  <a:pt x="156" y="656"/>
                </a:lnTo>
                <a:lnTo>
                  <a:pt x="156" y="655"/>
                </a:lnTo>
                <a:lnTo>
                  <a:pt x="155" y="655"/>
                </a:lnTo>
                <a:lnTo>
                  <a:pt x="155" y="656"/>
                </a:lnTo>
                <a:lnTo>
                  <a:pt x="154" y="656"/>
                </a:lnTo>
                <a:lnTo>
                  <a:pt x="154" y="655"/>
                </a:lnTo>
                <a:lnTo>
                  <a:pt x="153" y="655"/>
                </a:lnTo>
                <a:lnTo>
                  <a:pt x="154" y="652"/>
                </a:lnTo>
                <a:lnTo>
                  <a:pt x="154" y="651"/>
                </a:lnTo>
                <a:lnTo>
                  <a:pt x="155" y="650"/>
                </a:lnTo>
                <a:lnTo>
                  <a:pt x="159" y="645"/>
                </a:lnTo>
                <a:lnTo>
                  <a:pt x="160" y="645"/>
                </a:lnTo>
                <a:lnTo>
                  <a:pt x="168" y="644"/>
                </a:lnTo>
                <a:lnTo>
                  <a:pt x="170" y="645"/>
                </a:lnTo>
                <a:lnTo>
                  <a:pt x="172" y="645"/>
                </a:lnTo>
                <a:lnTo>
                  <a:pt x="170" y="644"/>
                </a:lnTo>
                <a:lnTo>
                  <a:pt x="166" y="643"/>
                </a:lnTo>
                <a:lnTo>
                  <a:pt x="165" y="642"/>
                </a:lnTo>
                <a:lnTo>
                  <a:pt x="166" y="640"/>
                </a:lnTo>
                <a:lnTo>
                  <a:pt x="168" y="640"/>
                </a:lnTo>
                <a:lnTo>
                  <a:pt x="175" y="638"/>
                </a:lnTo>
                <a:lnTo>
                  <a:pt x="176" y="638"/>
                </a:lnTo>
                <a:lnTo>
                  <a:pt x="176" y="640"/>
                </a:lnTo>
                <a:lnTo>
                  <a:pt x="178" y="640"/>
                </a:lnTo>
                <a:lnTo>
                  <a:pt x="178" y="637"/>
                </a:lnTo>
                <a:close/>
                <a:moveTo>
                  <a:pt x="186" y="636"/>
                </a:moveTo>
                <a:lnTo>
                  <a:pt x="188" y="636"/>
                </a:lnTo>
                <a:lnTo>
                  <a:pt x="188" y="637"/>
                </a:lnTo>
                <a:lnTo>
                  <a:pt x="191" y="637"/>
                </a:lnTo>
                <a:lnTo>
                  <a:pt x="191" y="638"/>
                </a:lnTo>
                <a:lnTo>
                  <a:pt x="190" y="639"/>
                </a:lnTo>
                <a:lnTo>
                  <a:pt x="188" y="639"/>
                </a:lnTo>
                <a:lnTo>
                  <a:pt x="187" y="640"/>
                </a:lnTo>
                <a:lnTo>
                  <a:pt x="185" y="640"/>
                </a:lnTo>
                <a:lnTo>
                  <a:pt x="185" y="637"/>
                </a:lnTo>
                <a:lnTo>
                  <a:pt x="186" y="637"/>
                </a:lnTo>
                <a:lnTo>
                  <a:pt x="186" y="636"/>
                </a:lnTo>
                <a:close/>
                <a:moveTo>
                  <a:pt x="173" y="621"/>
                </a:moveTo>
                <a:lnTo>
                  <a:pt x="173" y="623"/>
                </a:lnTo>
                <a:lnTo>
                  <a:pt x="174" y="623"/>
                </a:lnTo>
                <a:lnTo>
                  <a:pt x="175" y="621"/>
                </a:lnTo>
                <a:lnTo>
                  <a:pt x="175" y="626"/>
                </a:lnTo>
                <a:lnTo>
                  <a:pt x="176" y="627"/>
                </a:lnTo>
                <a:lnTo>
                  <a:pt x="176" y="631"/>
                </a:lnTo>
                <a:lnTo>
                  <a:pt x="175" y="632"/>
                </a:lnTo>
                <a:lnTo>
                  <a:pt x="173" y="633"/>
                </a:lnTo>
                <a:lnTo>
                  <a:pt x="165" y="635"/>
                </a:lnTo>
                <a:lnTo>
                  <a:pt x="162" y="636"/>
                </a:lnTo>
                <a:lnTo>
                  <a:pt x="161" y="635"/>
                </a:lnTo>
                <a:lnTo>
                  <a:pt x="163" y="633"/>
                </a:lnTo>
                <a:lnTo>
                  <a:pt x="161" y="633"/>
                </a:lnTo>
                <a:lnTo>
                  <a:pt x="161" y="635"/>
                </a:lnTo>
                <a:lnTo>
                  <a:pt x="160" y="633"/>
                </a:lnTo>
                <a:lnTo>
                  <a:pt x="159" y="635"/>
                </a:lnTo>
                <a:lnTo>
                  <a:pt x="156" y="635"/>
                </a:lnTo>
                <a:lnTo>
                  <a:pt x="156" y="636"/>
                </a:lnTo>
                <a:lnTo>
                  <a:pt x="155" y="636"/>
                </a:lnTo>
                <a:lnTo>
                  <a:pt x="153" y="633"/>
                </a:lnTo>
                <a:lnTo>
                  <a:pt x="155" y="632"/>
                </a:lnTo>
                <a:lnTo>
                  <a:pt x="163" y="631"/>
                </a:lnTo>
                <a:lnTo>
                  <a:pt x="173" y="625"/>
                </a:lnTo>
                <a:lnTo>
                  <a:pt x="170" y="625"/>
                </a:lnTo>
                <a:lnTo>
                  <a:pt x="173" y="621"/>
                </a:lnTo>
                <a:close/>
                <a:moveTo>
                  <a:pt x="222" y="599"/>
                </a:moveTo>
                <a:lnTo>
                  <a:pt x="223" y="600"/>
                </a:lnTo>
                <a:lnTo>
                  <a:pt x="223" y="603"/>
                </a:lnTo>
                <a:lnTo>
                  <a:pt x="221" y="603"/>
                </a:lnTo>
                <a:lnTo>
                  <a:pt x="219" y="602"/>
                </a:lnTo>
                <a:lnTo>
                  <a:pt x="221" y="602"/>
                </a:lnTo>
                <a:lnTo>
                  <a:pt x="221" y="601"/>
                </a:lnTo>
                <a:lnTo>
                  <a:pt x="219" y="601"/>
                </a:lnTo>
                <a:lnTo>
                  <a:pt x="219" y="600"/>
                </a:lnTo>
                <a:lnTo>
                  <a:pt x="221" y="600"/>
                </a:lnTo>
                <a:lnTo>
                  <a:pt x="222" y="599"/>
                </a:lnTo>
                <a:close/>
                <a:moveTo>
                  <a:pt x="284" y="541"/>
                </a:moveTo>
                <a:lnTo>
                  <a:pt x="285" y="544"/>
                </a:lnTo>
                <a:lnTo>
                  <a:pt x="285" y="543"/>
                </a:lnTo>
                <a:lnTo>
                  <a:pt x="287" y="546"/>
                </a:lnTo>
                <a:lnTo>
                  <a:pt x="288" y="549"/>
                </a:lnTo>
                <a:lnTo>
                  <a:pt x="288" y="550"/>
                </a:lnTo>
                <a:lnTo>
                  <a:pt x="286" y="550"/>
                </a:lnTo>
                <a:lnTo>
                  <a:pt x="286" y="551"/>
                </a:lnTo>
                <a:lnTo>
                  <a:pt x="285" y="550"/>
                </a:lnTo>
                <a:lnTo>
                  <a:pt x="283" y="549"/>
                </a:lnTo>
                <a:lnTo>
                  <a:pt x="283" y="546"/>
                </a:lnTo>
                <a:lnTo>
                  <a:pt x="284" y="546"/>
                </a:lnTo>
                <a:lnTo>
                  <a:pt x="284" y="541"/>
                </a:lnTo>
                <a:close/>
                <a:moveTo>
                  <a:pt x="271" y="540"/>
                </a:moveTo>
                <a:lnTo>
                  <a:pt x="273" y="540"/>
                </a:lnTo>
                <a:lnTo>
                  <a:pt x="274" y="543"/>
                </a:lnTo>
                <a:lnTo>
                  <a:pt x="278" y="544"/>
                </a:lnTo>
                <a:lnTo>
                  <a:pt x="279" y="546"/>
                </a:lnTo>
                <a:lnTo>
                  <a:pt x="280" y="550"/>
                </a:lnTo>
                <a:lnTo>
                  <a:pt x="281" y="551"/>
                </a:lnTo>
                <a:lnTo>
                  <a:pt x="286" y="551"/>
                </a:lnTo>
                <a:lnTo>
                  <a:pt x="287" y="553"/>
                </a:lnTo>
                <a:lnTo>
                  <a:pt x="286" y="554"/>
                </a:lnTo>
                <a:lnTo>
                  <a:pt x="286" y="558"/>
                </a:lnTo>
                <a:lnTo>
                  <a:pt x="285" y="557"/>
                </a:lnTo>
                <a:lnTo>
                  <a:pt x="281" y="556"/>
                </a:lnTo>
                <a:lnTo>
                  <a:pt x="280" y="556"/>
                </a:lnTo>
                <a:lnTo>
                  <a:pt x="280" y="553"/>
                </a:lnTo>
                <a:lnTo>
                  <a:pt x="279" y="553"/>
                </a:lnTo>
                <a:lnTo>
                  <a:pt x="275" y="554"/>
                </a:lnTo>
                <a:lnTo>
                  <a:pt x="273" y="550"/>
                </a:lnTo>
                <a:lnTo>
                  <a:pt x="275" y="547"/>
                </a:lnTo>
                <a:lnTo>
                  <a:pt x="278" y="549"/>
                </a:lnTo>
                <a:lnTo>
                  <a:pt x="277" y="546"/>
                </a:lnTo>
                <a:lnTo>
                  <a:pt x="272" y="546"/>
                </a:lnTo>
                <a:lnTo>
                  <a:pt x="269" y="545"/>
                </a:lnTo>
                <a:lnTo>
                  <a:pt x="269" y="543"/>
                </a:lnTo>
                <a:lnTo>
                  <a:pt x="271" y="541"/>
                </a:lnTo>
                <a:lnTo>
                  <a:pt x="271" y="540"/>
                </a:lnTo>
                <a:close/>
                <a:moveTo>
                  <a:pt x="281" y="537"/>
                </a:moveTo>
                <a:lnTo>
                  <a:pt x="283" y="538"/>
                </a:lnTo>
                <a:lnTo>
                  <a:pt x="283" y="544"/>
                </a:lnTo>
                <a:lnTo>
                  <a:pt x="281" y="544"/>
                </a:lnTo>
                <a:lnTo>
                  <a:pt x="281" y="545"/>
                </a:lnTo>
                <a:lnTo>
                  <a:pt x="280" y="545"/>
                </a:lnTo>
                <a:lnTo>
                  <a:pt x="280" y="544"/>
                </a:lnTo>
                <a:lnTo>
                  <a:pt x="279" y="543"/>
                </a:lnTo>
                <a:lnTo>
                  <a:pt x="279" y="541"/>
                </a:lnTo>
                <a:lnTo>
                  <a:pt x="275" y="541"/>
                </a:lnTo>
                <a:lnTo>
                  <a:pt x="275" y="538"/>
                </a:lnTo>
                <a:lnTo>
                  <a:pt x="281" y="537"/>
                </a:lnTo>
                <a:close/>
                <a:moveTo>
                  <a:pt x="272" y="510"/>
                </a:moveTo>
                <a:lnTo>
                  <a:pt x="273" y="510"/>
                </a:lnTo>
                <a:lnTo>
                  <a:pt x="274" y="512"/>
                </a:lnTo>
                <a:lnTo>
                  <a:pt x="275" y="512"/>
                </a:lnTo>
                <a:lnTo>
                  <a:pt x="275" y="513"/>
                </a:lnTo>
                <a:lnTo>
                  <a:pt x="277" y="513"/>
                </a:lnTo>
                <a:lnTo>
                  <a:pt x="277" y="515"/>
                </a:lnTo>
                <a:lnTo>
                  <a:pt x="279" y="515"/>
                </a:lnTo>
                <a:lnTo>
                  <a:pt x="279" y="516"/>
                </a:lnTo>
                <a:lnTo>
                  <a:pt x="278" y="519"/>
                </a:lnTo>
                <a:lnTo>
                  <a:pt x="275" y="521"/>
                </a:lnTo>
                <a:lnTo>
                  <a:pt x="274" y="521"/>
                </a:lnTo>
                <a:lnTo>
                  <a:pt x="272" y="522"/>
                </a:lnTo>
                <a:lnTo>
                  <a:pt x="272" y="520"/>
                </a:lnTo>
                <a:lnTo>
                  <a:pt x="269" y="520"/>
                </a:lnTo>
                <a:lnTo>
                  <a:pt x="272" y="517"/>
                </a:lnTo>
                <a:lnTo>
                  <a:pt x="272" y="515"/>
                </a:lnTo>
                <a:lnTo>
                  <a:pt x="268" y="515"/>
                </a:lnTo>
                <a:lnTo>
                  <a:pt x="266" y="517"/>
                </a:lnTo>
                <a:lnTo>
                  <a:pt x="265" y="520"/>
                </a:lnTo>
                <a:lnTo>
                  <a:pt x="263" y="520"/>
                </a:lnTo>
                <a:lnTo>
                  <a:pt x="262" y="521"/>
                </a:lnTo>
                <a:lnTo>
                  <a:pt x="261" y="520"/>
                </a:lnTo>
                <a:lnTo>
                  <a:pt x="272" y="510"/>
                </a:lnTo>
                <a:close/>
                <a:moveTo>
                  <a:pt x="269" y="507"/>
                </a:moveTo>
                <a:lnTo>
                  <a:pt x="272" y="507"/>
                </a:lnTo>
                <a:lnTo>
                  <a:pt x="273" y="508"/>
                </a:lnTo>
                <a:lnTo>
                  <a:pt x="273" y="509"/>
                </a:lnTo>
                <a:lnTo>
                  <a:pt x="267" y="514"/>
                </a:lnTo>
                <a:lnTo>
                  <a:pt x="263" y="515"/>
                </a:lnTo>
                <a:lnTo>
                  <a:pt x="260" y="519"/>
                </a:lnTo>
                <a:lnTo>
                  <a:pt x="257" y="520"/>
                </a:lnTo>
                <a:lnTo>
                  <a:pt x="257" y="519"/>
                </a:lnTo>
                <a:lnTo>
                  <a:pt x="256" y="519"/>
                </a:lnTo>
                <a:lnTo>
                  <a:pt x="257" y="516"/>
                </a:lnTo>
                <a:lnTo>
                  <a:pt x="257" y="515"/>
                </a:lnTo>
                <a:lnTo>
                  <a:pt x="259" y="514"/>
                </a:lnTo>
                <a:lnTo>
                  <a:pt x="259" y="513"/>
                </a:lnTo>
                <a:lnTo>
                  <a:pt x="262" y="513"/>
                </a:lnTo>
                <a:lnTo>
                  <a:pt x="265" y="512"/>
                </a:lnTo>
                <a:lnTo>
                  <a:pt x="267" y="509"/>
                </a:lnTo>
                <a:lnTo>
                  <a:pt x="269" y="508"/>
                </a:lnTo>
                <a:lnTo>
                  <a:pt x="269" y="507"/>
                </a:lnTo>
                <a:close/>
                <a:moveTo>
                  <a:pt x="296" y="494"/>
                </a:moveTo>
                <a:lnTo>
                  <a:pt x="298" y="494"/>
                </a:lnTo>
                <a:lnTo>
                  <a:pt x="298" y="495"/>
                </a:lnTo>
                <a:lnTo>
                  <a:pt x="299" y="495"/>
                </a:lnTo>
                <a:lnTo>
                  <a:pt x="299" y="494"/>
                </a:lnTo>
                <a:lnTo>
                  <a:pt x="300" y="494"/>
                </a:lnTo>
                <a:lnTo>
                  <a:pt x="300" y="495"/>
                </a:lnTo>
                <a:lnTo>
                  <a:pt x="298" y="497"/>
                </a:lnTo>
                <a:lnTo>
                  <a:pt x="297" y="497"/>
                </a:lnTo>
                <a:lnTo>
                  <a:pt x="297" y="498"/>
                </a:lnTo>
                <a:lnTo>
                  <a:pt x="298" y="500"/>
                </a:lnTo>
                <a:lnTo>
                  <a:pt x="297" y="501"/>
                </a:lnTo>
                <a:lnTo>
                  <a:pt x="296" y="501"/>
                </a:lnTo>
                <a:lnTo>
                  <a:pt x="296" y="498"/>
                </a:lnTo>
                <a:lnTo>
                  <a:pt x="293" y="501"/>
                </a:lnTo>
                <a:lnTo>
                  <a:pt x="292" y="501"/>
                </a:lnTo>
                <a:lnTo>
                  <a:pt x="290" y="500"/>
                </a:lnTo>
                <a:lnTo>
                  <a:pt x="291" y="500"/>
                </a:lnTo>
                <a:lnTo>
                  <a:pt x="290" y="498"/>
                </a:lnTo>
                <a:lnTo>
                  <a:pt x="291" y="498"/>
                </a:lnTo>
                <a:lnTo>
                  <a:pt x="291" y="496"/>
                </a:lnTo>
                <a:lnTo>
                  <a:pt x="292" y="495"/>
                </a:lnTo>
                <a:lnTo>
                  <a:pt x="296" y="494"/>
                </a:lnTo>
                <a:close/>
                <a:moveTo>
                  <a:pt x="317" y="484"/>
                </a:moveTo>
                <a:lnTo>
                  <a:pt x="318" y="484"/>
                </a:lnTo>
                <a:lnTo>
                  <a:pt x="319" y="485"/>
                </a:lnTo>
                <a:lnTo>
                  <a:pt x="321" y="488"/>
                </a:lnTo>
                <a:lnTo>
                  <a:pt x="322" y="489"/>
                </a:lnTo>
                <a:lnTo>
                  <a:pt x="319" y="494"/>
                </a:lnTo>
                <a:lnTo>
                  <a:pt x="322" y="494"/>
                </a:lnTo>
                <a:lnTo>
                  <a:pt x="323" y="495"/>
                </a:lnTo>
                <a:lnTo>
                  <a:pt x="323" y="496"/>
                </a:lnTo>
                <a:lnTo>
                  <a:pt x="322" y="497"/>
                </a:lnTo>
                <a:lnTo>
                  <a:pt x="317" y="500"/>
                </a:lnTo>
                <a:lnTo>
                  <a:pt x="316" y="500"/>
                </a:lnTo>
                <a:lnTo>
                  <a:pt x="313" y="498"/>
                </a:lnTo>
                <a:lnTo>
                  <a:pt x="310" y="498"/>
                </a:lnTo>
                <a:lnTo>
                  <a:pt x="310" y="497"/>
                </a:lnTo>
                <a:lnTo>
                  <a:pt x="312" y="497"/>
                </a:lnTo>
                <a:lnTo>
                  <a:pt x="312" y="494"/>
                </a:lnTo>
                <a:lnTo>
                  <a:pt x="315" y="494"/>
                </a:lnTo>
                <a:lnTo>
                  <a:pt x="316" y="492"/>
                </a:lnTo>
                <a:lnTo>
                  <a:pt x="315" y="492"/>
                </a:lnTo>
                <a:lnTo>
                  <a:pt x="313" y="491"/>
                </a:lnTo>
                <a:lnTo>
                  <a:pt x="313" y="490"/>
                </a:lnTo>
                <a:lnTo>
                  <a:pt x="315" y="489"/>
                </a:lnTo>
                <a:lnTo>
                  <a:pt x="315" y="486"/>
                </a:lnTo>
                <a:lnTo>
                  <a:pt x="317" y="484"/>
                </a:lnTo>
                <a:close/>
                <a:moveTo>
                  <a:pt x="336" y="470"/>
                </a:moveTo>
                <a:lnTo>
                  <a:pt x="336" y="471"/>
                </a:lnTo>
                <a:lnTo>
                  <a:pt x="337" y="472"/>
                </a:lnTo>
                <a:lnTo>
                  <a:pt x="337" y="473"/>
                </a:lnTo>
                <a:lnTo>
                  <a:pt x="339" y="473"/>
                </a:lnTo>
                <a:lnTo>
                  <a:pt x="340" y="472"/>
                </a:lnTo>
                <a:lnTo>
                  <a:pt x="339" y="470"/>
                </a:lnTo>
                <a:lnTo>
                  <a:pt x="336" y="470"/>
                </a:lnTo>
                <a:close/>
                <a:moveTo>
                  <a:pt x="321" y="447"/>
                </a:moveTo>
                <a:lnTo>
                  <a:pt x="322" y="447"/>
                </a:lnTo>
                <a:lnTo>
                  <a:pt x="323" y="448"/>
                </a:lnTo>
                <a:lnTo>
                  <a:pt x="323" y="451"/>
                </a:lnTo>
                <a:lnTo>
                  <a:pt x="324" y="452"/>
                </a:lnTo>
                <a:lnTo>
                  <a:pt x="327" y="453"/>
                </a:lnTo>
                <a:lnTo>
                  <a:pt x="327" y="454"/>
                </a:lnTo>
                <a:lnTo>
                  <a:pt x="329" y="459"/>
                </a:lnTo>
                <a:lnTo>
                  <a:pt x="329" y="463"/>
                </a:lnTo>
                <a:lnTo>
                  <a:pt x="330" y="464"/>
                </a:lnTo>
                <a:lnTo>
                  <a:pt x="330" y="465"/>
                </a:lnTo>
                <a:lnTo>
                  <a:pt x="331" y="465"/>
                </a:lnTo>
                <a:lnTo>
                  <a:pt x="331" y="466"/>
                </a:lnTo>
                <a:lnTo>
                  <a:pt x="329" y="467"/>
                </a:lnTo>
                <a:lnTo>
                  <a:pt x="329" y="469"/>
                </a:lnTo>
                <a:lnTo>
                  <a:pt x="327" y="470"/>
                </a:lnTo>
                <a:lnTo>
                  <a:pt x="325" y="471"/>
                </a:lnTo>
                <a:lnTo>
                  <a:pt x="325" y="472"/>
                </a:lnTo>
                <a:lnTo>
                  <a:pt x="324" y="472"/>
                </a:lnTo>
                <a:lnTo>
                  <a:pt x="321" y="473"/>
                </a:lnTo>
                <a:lnTo>
                  <a:pt x="318" y="473"/>
                </a:lnTo>
                <a:lnTo>
                  <a:pt x="319" y="474"/>
                </a:lnTo>
                <a:lnTo>
                  <a:pt x="319" y="476"/>
                </a:lnTo>
                <a:lnTo>
                  <a:pt x="321" y="476"/>
                </a:lnTo>
                <a:lnTo>
                  <a:pt x="321" y="478"/>
                </a:lnTo>
                <a:lnTo>
                  <a:pt x="319" y="478"/>
                </a:lnTo>
                <a:lnTo>
                  <a:pt x="318" y="480"/>
                </a:lnTo>
                <a:lnTo>
                  <a:pt x="313" y="484"/>
                </a:lnTo>
                <a:lnTo>
                  <a:pt x="312" y="483"/>
                </a:lnTo>
                <a:lnTo>
                  <a:pt x="313" y="482"/>
                </a:lnTo>
                <a:lnTo>
                  <a:pt x="315" y="479"/>
                </a:lnTo>
                <a:lnTo>
                  <a:pt x="316" y="474"/>
                </a:lnTo>
                <a:lnTo>
                  <a:pt x="315" y="476"/>
                </a:lnTo>
                <a:lnTo>
                  <a:pt x="313" y="474"/>
                </a:lnTo>
                <a:lnTo>
                  <a:pt x="315" y="473"/>
                </a:lnTo>
                <a:lnTo>
                  <a:pt x="315" y="471"/>
                </a:lnTo>
                <a:lnTo>
                  <a:pt x="316" y="470"/>
                </a:lnTo>
                <a:lnTo>
                  <a:pt x="316" y="469"/>
                </a:lnTo>
                <a:lnTo>
                  <a:pt x="317" y="469"/>
                </a:lnTo>
                <a:lnTo>
                  <a:pt x="317" y="470"/>
                </a:lnTo>
                <a:lnTo>
                  <a:pt x="318" y="470"/>
                </a:lnTo>
                <a:lnTo>
                  <a:pt x="318" y="469"/>
                </a:lnTo>
                <a:lnTo>
                  <a:pt x="319" y="467"/>
                </a:lnTo>
                <a:lnTo>
                  <a:pt x="319" y="466"/>
                </a:lnTo>
                <a:lnTo>
                  <a:pt x="318" y="467"/>
                </a:lnTo>
                <a:lnTo>
                  <a:pt x="318" y="466"/>
                </a:lnTo>
                <a:lnTo>
                  <a:pt x="317" y="466"/>
                </a:lnTo>
                <a:lnTo>
                  <a:pt x="317" y="465"/>
                </a:lnTo>
                <a:lnTo>
                  <a:pt x="322" y="460"/>
                </a:lnTo>
                <a:lnTo>
                  <a:pt x="324" y="459"/>
                </a:lnTo>
                <a:lnTo>
                  <a:pt x="324" y="458"/>
                </a:lnTo>
                <a:lnTo>
                  <a:pt x="323" y="457"/>
                </a:lnTo>
                <a:lnTo>
                  <a:pt x="323" y="455"/>
                </a:lnTo>
                <a:lnTo>
                  <a:pt x="321" y="458"/>
                </a:lnTo>
                <a:lnTo>
                  <a:pt x="318" y="458"/>
                </a:lnTo>
                <a:lnTo>
                  <a:pt x="319" y="457"/>
                </a:lnTo>
                <a:lnTo>
                  <a:pt x="318" y="457"/>
                </a:lnTo>
                <a:lnTo>
                  <a:pt x="321" y="452"/>
                </a:lnTo>
                <a:lnTo>
                  <a:pt x="321" y="451"/>
                </a:lnTo>
                <a:lnTo>
                  <a:pt x="319" y="451"/>
                </a:lnTo>
                <a:lnTo>
                  <a:pt x="321" y="449"/>
                </a:lnTo>
                <a:lnTo>
                  <a:pt x="321" y="447"/>
                </a:lnTo>
                <a:close/>
                <a:moveTo>
                  <a:pt x="305" y="434"/>
                </a:moveTo>
                <a:lnTo>
                  <a:pt x="308" y="434"/>
                </a:lnTo>
                <a:lnTo>
                  <a:pt x="309" y="435"/>
                </a:lnTo>
                <a:lnTo>
                  <a:pt x="310" y="435"/>
                </a:lnTo>
                <a:lnTo>
                  <a:pt x="310" y="437"/>
                </a:lnTo>
                <a:lnTo>
                  <a:pt x="309" y="439"/>
                </a:lnTo>
                <a:lnTo>
                  <a:pt x="309" y="442"/>
                </a:lnTo>
                <a:lnTo>
                  <a:pt x="308" y="445"/>
                </a:lnTo>
                <a:lnTo>
                  <a:pt x="306" y="446"/>
                </a:lnTo>
                <a:lnTo>
                  <a:pt x="306" y="445"/>
                </a:lnTo>
                <a:lnTo>
                  <a:pt x="304" y="445"/>
                </a:lnTo>
                <a:lnTo>
                  <a:pt x="305" y="443"/>
                </a:lnTo>
                <a:lnTo>
                  <a:pt x="304" y="443"/>
                </a:lnTo>
                <a:lnTo>
                  <a:pt x="300" y="445"/>
                </a:lnTo>
                <a:lnTo>
                  <a:pt x="300" y="441"/>
                </a:lnTo>
                <a:lnTo>
                  <a:pt x="302" y="439"/>
                </a:lnTo>
                <a:lnTo>
                  <a:pt x="302" y="436"/>
                </a:lnTo>
                <a:lnTo>
                  <a:pt x="303" y="435"/>
                </a:lnTo>
                <a:lnTo>
                  <a:pt x="305" y="434"/>
                </a:lnTo>
                <a:close/>
                <a:moveTo>
                  <a:pt x="347" y="400"/>
                </a:moveTo>
                <a:lnTo>
                  <a:pt x="348" y="402"/>
                </a:lnTo>
                <a:lnTo>
                  <a:pt x="348" y="404"/>
                </a:lnTo>
                <a:lnTo>
                  <a:pt x="347" y="404"/>
                </a:lnTo>
                <a:lnTo>
                  <a:pt x="341" y="406"/>
                </a:lnTo>
                <a:lnTo>
                  <a:pt x="339" y="409"/>
                </a:lnTo>
                <a:lnTo>
                  <a:pt x="336" y="410"/>
                </a:lnTo>
                <a:lnTo>
                  <a:pt x="331" y="416"/>
                </a:lnTo>
                <a:lnTo>
                  <a:pt x="330" y="417"/>
                </a:lnTo>
                <a:lnTo>
                  <a:pt x="329" y="417"/>
                </a:lnTo>
                <a:lnTo>
                  <a:pt x="329" y="416"/>
                </a:lnTo>
                <a:lnTo>
                  <a:pt x="330" y="415"/>
                </a:lnTo>
                <a:lnTo>
                  <a:pt x="330" y="414"/>
                </a:lnTo>
                <a:lnTo>
                  <a:pt x="325" y="415"/>
                </a:lnTo>
                <a:lnTo>
                  <a:pt x="329" y="411"/>
                </a:lnTo>
                <a:lnTo>
                  <a:pt x="329" y="410"/>
                </a:lnTo>
                <a:lnTo>
                  <a:pt x="330" y="406"/>
                </a:lnTo>
                <a:lnTo>
                  <a:pt x="330" y="405"/>
                </a:lnTo>
                <a:lnTo>
                  <a:pt x="331" y="404"/>
                </a:lnTo>
                <a:lnTo>
                  <a:pt x="336" y="402"/>
                </a:lnTo>
                <a:lnTo>
                  <a:pt x="337" y="402"/>
                </a:lnTo>
                <a:lnTo>
                  <a:pt x="336" y="404"/>
                </a:lnTo>
                <a:lnTo>
                  <a:pt x="336" y="406"/>
                </a:lnTo>
                <a:lnTo>
                  <a:pt x="337" y="406"/>
                </a:lnTo>
                <a:lnTo>
                  <a:pt x="340" y="404"/>
                </a:lnTo>
                <a:lnTo>
                  <a:pt x="341" y="402"/>
                </a:lnTo>
                <a:lnTo>
                  <a:pt x="344" y="402"/>
                </a:lnTo>
                <a:lnTo>
                  <a:pt x="347" y="400"/>
                </a:lnTo>
                <a:close/>
                <a:moveTo>
                  <a:pt x="341" y="399"/>
                </a:moveTo>
                <a:lnTo>
                  <a:pt x="340" y="399"/>
                </a:lnTo>
                <a:lnTo>
                  <a:pt x="341" y="399"/>
                </a:lnTo>
                <a:close/>
                <a:moveTo>
                  <a:pt x="334" y="380"/>
                </a:moveTo>
                <a:lnTo>
                  <a:pt x="335" y="381"/>
                </a:lnTo>
                <a:lnTo>
                  <a:pt x="335" y="383"/>
                </a:lnTo>
                <a:lnTo>
                  <a:pt x="336" y="384"/>
                </a:lnTo>
                <a:lnTo>
                  <a:pt x="336" y="387"/>
                </a:lnTo>
                <a:lnTo>
                  <a:pt x="334" y="390"/>
                </a:lnTo>
                <a:lnTo>
                  <a:pt x="336" y="390"/>
                </a:lnTo>
                <a:lnTo>
                  <a:pt x="336" y="391"/>
                </a:lnTo>
                <a:lnTo>
                  <a:pt x="335" y="391"/>
                </a:lnTo>
                <a:lnTo>
                  <a:pt x="335" y="392"/>
                </a:lnTo>
                <a:lnTo>
                  <a:pt x="337" y="392"/>
                </a:lnTo>
                <a:lnTo>
                  <a:pt x="339" y="393"/>
                </a:lnTo>
                <a:lnTo>
                  <a:pt x="337" y="393"/>
                </a:lnTo>
                <a:lnTo>
                  <a:pt x="337" y="394"/>
                </a:lnTo>
                <a:lnTo>
                  <a:pt x="335" y="394"/>
                </a:lnTo>
                <a:lnTo>
                  <a:pt x="335" y="396"/>
                </a:lnTo>
                <a:lnTo>
                  <a:pt x="323" y="402"/>
                </a:lnTo>
                <a:lnTo>
                  <a:pt x="324" y="399"/>
                </a:lnTo>
                <a:lnTo>
                  <a:pt x="325" y="398"/>
                </a:lnTo>
                <a:lnTo>
                  <a:pt x="327" y="398"/>
                </a:lnTo>
                <a:lnTo>
                  <a:pt x="327" y="397"/>
                </a:lnTo>
                <a:lnTo>
                  <a:pt x="328" y="396"/>
                </a:lnTo>
                <a:lnTo>
                  <a:pt x="328" y="394"/>
                </a:lnTo>
                <a:lnTo>
                  <a:pt x="327" y="394"/>
                </a:lnTo>
                <a:lnTo>
                  <a:pt x="325" y="396"/>
                </a:lnTo>
                <a:lnTo>
                  <a:pt x="324" y="396"/>
                </a:lnTo>
                <a:lnTo>
                  <a:pt x="324" y="394"/>
                </a:lnTo>
                <a:lnTo>
                  <a:pt x="325" y="394"/>
                </a:lnTo>
                <a:lnTo>
                  <a:pt x="327" y="393"/>
                </a:lnTo>
                <a:lnTo>
                  <a:pt x="329" y="392"/>
                </a:lnTo>
                <a:lnTo>
                  <a:pt x="330" y="392"/>
                </a:lnTo>
                <a:lnTo>
                  <a:pt x="330" y="391"/>
                </a:lnTo>
                <a:lnTo>
                  <a:pt x="333" y="388"/>
                </a:lnTo>
                <a:lnTo>
                  <a:pt x="335" y="387"/>
                </a:lnTo>
                <a:lnTo>
                  <a:pt x="333" y="386"/>
                </a:lnTo>
                <a:lnTo>
                  <a:pt x="331" y="385"/>
                </a:lnTo>
                <a:lnTo>
                  <a:pt x="330" y="385"/>
                </a:lnTo>
                <a:lnTo>
                  <a:pt x="329" y="386"/>
                </a:lnTo>
                <a:lnTo>
                  <a:pt x="333" y="383"/>
                </a:lnTo>
                <a:lnTo>
                  <a:pt x="334" y="380"/>
                </a:lnTo>
                <a:close/>
                <a:moveTo>
                  <a:pt x="343" y="371"/>
                </a:moveTo>
                <a:lnTo>
                  <a:pt x="344" y="371"/>
                </a:lnTo>
                <a:lnTo>
                  <a:pt x="344" y="373"/>
                </a:lnTo>
                <a:lnTo>
                  <a:pt x="347" y="373"/>
                </a:lnTo>
                <a:lnTo>
                  <a:pt x="347" y="374"/>
                </a:lnTo>
                <a:lnTo>
                  <a:pt x="348" y="377"/>
                </a:lnTo>
                <a:lnTo>
                  <a:pt x="347" y="378"/>
                </a:lnTo>
                <a:lnTo>
                  <a:pt x="347" y="379"/>
                </a:lnTo>
                <a:lnTo>
                  <a:pt x="344" y="381"/>
                </a:lnTo>
                <a:lnTo>
                  <a:pt x="344" y="380"/>
                </a:lnTo>
                <a:lnTo>
                  <a:pt x="343" y="381"/>
                </a:lnTo>
                <a:lnTo>
                  <a:pt x="342" y="380"/>
                </a:lnTo>
                <a:lnTo>
                  <a:pt x="342" y="379"/>
                </a:lnTo>
                <a:lnTo>
                  <a:pt x="341" y="379"/>
                </a:lnTo>
                <a:lnTo>
                  <a:pt x="341" y="378"/>
                </a:lnTo>
                <a:lnTo>
                  <a:pt x="340" y="379"/>
                </a:lnTo>
                <a:lnTo>
                  <a:pt x="340" y="378"/>
                </a:lnTo>
                <a:lnTo>
                  <a:pt x="341" y="377"/>
                </a:lnTo>
                <a:lnTo>
                  <a:pt x="341" y="375"/>
                </a:lnTo>
                <a:lnTo>
                  <a:pt x="343" y="373"/>
                </a:lnTo>
                <a:lnTo>
                  <a:pt x="343" y="371"/>
                </a:lnTo>
                <a:close/>
                <a:moveTo>
                  <a:pt x="350" y="355"/>
                </a:moveTo>
                <a:lnTo>
                  <a:pt x="350" y="361"/>
                </a:lnTo>
                <a:lnTo>
                  <a:pt x="349" y="362"/>
                </a:lnTo>
                <a:lnTo>
                  <a:pt x="348" y="362"/>
                </a:lnTo>
                <a:lnTo>
                  <a:pt x="348" y="361"/>
                </a:lnTo>
                <a:lnTo>
                  <a:pt x="347" y="362"/>
                </a:lnTo>
                <a:lnTo>
                  <a:pt x="348" y="365"/>
                </a:lnTo>
                <a:lnTo>
                  <a:pt x="348" y="367"/>
                </a:lnTo>
                <a:lnTo>
                  <a:pt x="344" y="363"/>
                </a:lnTo>
                <a:lnTo>
                  <a:pt x="346" y="362"/>
                </a:lnTo>
                <a:lnTo>
                  <a:pt x="346" y="357"/>
                </a:lnTo>
                <a:lnTo>
                  <a:pt x="344" y="357"/>
                </a:lnTo>
                <a:lnTo>
                  <a:pt x="346" y="356"/>
                </a:lnTo>
                <a:lnTo>
                  <a:pt x="348" y="356"/>
                </a:lnTo>
                <a:lnTo>
                  <a:pt x="348" y="357"/>
                </a:lnTo>
                <a:lnTo>
                  <a:pt x="349" y="359"/>
                </a:lnTo>
                <a:lnTo>
                  <a:pt x="349" y="356"/>
                </a:lnTo>
                <a:lnTo>
                  <a:pt x="350" y="355"/>
                </a:lnTo>
                <a:close/>
                <a:moveTo>
                  <a:pt x="405" y="279"/>
                </a:moveTo>
                <a:lnTo>
                  <a:pt x="406" y="280"/>
                </a:lnTo>
                <a:lnTo>
                  <a:pt x="405" y="282"/>
                </a:lnTo>
                <a:lnTo>
                  <a:pt x="405" y="285"/>
                </a:lnTo>
                <a:lnTo>
                  <a:pt x="404" y="287"/>
                </a:lnTo>
                <a:lnTo>
                  <a:pt x="403" y="288"/>
                </a:lnTo>
                <a:lnTo>
                  <a:pt x="404" y="293"/>
                </a:lnTo>
                <a:lnTo>
                  <a:pt x="404" y="294"/>
                </a:lnTo>
                <a:lnTo>
                  <a:pt x="403" y="295"/>
                </a:lnTo>
                <a:lnTo>
                  <a:pt x="403" y="298"/>
                </a:lnTo>
                <a:lnTo>
                  <a:pt x="402" y="298"/>
                </a:lnTo>
                <a:lnTo>
                  <a:pt x="401" y="297"/>
                </a:lnTo>
                <a:lnTo>
                  <a:pt x="401" y="294"/>
                </a:lnTo>
                <a:lnTo>
                  <a:pt x="399" y="291"/>
                </a:lnTo>
                <a:lnTo>
                  <a:pt x="397" y="291"/>
                </a:lnTo>
                <a:lnTo>
                  <a:pt x="395" y="289"/>
                </a:lnTo>
                <a:lnTo>
                  <a:pt x="395" y="288"/>
                </a:lnTo>
                <a:lnTo>
                  <a:pt x="396" y="288"/>
                </a:lnTo>
                <a:lnTo>
                  <a:pt x="396" y="287"/>
                </a:lnTo>
                <a:lnTo>
                  <a:pt x="397" y="285"/>
                </a:lnTo>
                <a:lnTo>
                  <a:pt x="397" y="283"/>
                </a:lnTo>
                <a:lnTo>
                  <a:pt x="401" y="286"/>
                </a:lnTo>
                <a:lnTo>
                  <a:pt x="402" y="286"/>
                </a:lnTo>
                <a:lnTo>
                  <a:pt x="405" y="279"/>
                </a:lnTo>
                <a:close/>
                <a:moveTo>
                  <a:pt x="410" y="250"/>
                </a:moveTo>
                <a:lnTo>
                  <a:pt x="411" y="250"/>
                </a:lnTo>
                <a:lnTo>
                  <a:pt x="411" y="251"/>
                </a:lnTo>
                <a:lnTo>
                  <a:pt x="412" y="251"/>
                </a:lnTo>
                <a:lnTo>
                  <a:pt x="412" y="252"/>
                </a:lnTo>
                <a:lnTo>
                  <a:pt x="411" y="255"/>
                </a:lnTo>
                <a:lnTo>
                  <a:pt x="410" y="255"/>
                </a:lnTo>
                <a:lnTo>
                  <a:pt x="406" y="256"/>
                </a:lnTo>
                <a:lnTo>
                  <a:pt x="406" y="257"/>
                </a:lnTo>
                <a:lnTo>
                  <a:pt x="404" y="257"/>
                </a:lnTo>
                <a:lnTo>
                  <a:pt x="404" y="256"/>
                </a:lnTo>
                <a:lnTo>
                  <a:pt x="406" y="254"/>
                </a:lnTo>
                <a:lnTo>
                  <a:pt x="408" y="251"/>
                </a:lnTo>
                <a:lnTo>
                  <a:pt x="410" y="250"/>
                </a:lnTo>
                <a:close/>
                <a:moveTo>
                  <a:pt x="440" y="234"/>
                </a:moveTo>
                <a:lnTo>
                  <a:pt x="442" y="236"/>
                </a:lnTo>
                <a:lnTo>
                  <a:pt x="443" y="238"/>
                </a:lnTo>
                <a:lnTo>
                  <a:pt x="443" y="239"/>
                </a:lnTo>
                <a:lnTo>
                  <a:pt x="442" y="239"/>
                </a:lnTo>
                <a:lnTo>
                  <a:pt x="441" y="240"/>
                </a:lnTo>
                <a:lnTo>
                  <a:pt x="441" y="239"/>
                </a:lnTo>
                <a:lnTo>
                  <a:pt x="440" y="238"/>
                </a:lnTo>
                <a:lnTo>
                  <a:pt x="439" y="238"/>
                </a:lnTo>
                <a:lnTo>
                  <a:pt x="439" y="237"/>
                </a:lnTo>
                <a:lnTo>
                  <a:pt x="437" y="236"/>
                </a:lnTo>
                <a:lnTo>
                  <a:pt x="436" y="238"/>
                </a:lnTo>
                <a:lnTo>
                  <a:pt x="437" y="238"/>
                </a:lnTo>
                <a:lnTo>
                  <a:pt x="439" y="242"/>
                </a:lnTo>
                <a:lnTo>
                  <a:pt x="437" y="244"/>
                </a:lnTo>
                <a:lnTo>
                  <a:pt x="431" y="245"/>
                </a:lnTo>
                <a:lnTo>
                  <a:pt x="429" y="246"/>
                </a:lnTo>
                <a:lnTo>
                  <a:pt x="428" y="248"/>
                </a:lnTo>
                <a:lnTo>
                  <a:pt x="427" y="246"/>
                </a:lnTo>
                <a:lnTo>
                  <a:pt x="428" y="246"/>
                </a:lnTo>
                <a:lnTo>
                  <a:pt x="426" y="244"/>
                </a:lnTo>
                <a:lnTo>
                  <a:pt x="426" y="243"/>
                </a:lnTo>
                <a:lnTo>
                  <a:pt x="428" y="240"/>
                </a:lnTo>
                <a:lnTo>
                  <a:pt x="436" y="236"/>
                </a:lnTo>
                <a:lnTo>
                  <a:pt x="440" y="234"/>
                </a:lnTo>
                <a:close/>
                <a:moveTo>
                  <a:pt x="430" y="213"/>
                </a:moveTo>
                <a:lnTo>
                  <a:pt x="430" y="214"/>
                </a:lnTo>
                <a:lnTo>
                  <a:pt x="429" y="214"/>
                </a:lnTo>
                <a:lnTo>
                  <a:pt x="430" y="213"/>
                </a:lnTo>
                <a:close/>
                <a:moveTo>
                  <a:pt x="458" y="201"/>
                </a:moveTo>
                <a:lnTo>
                  <a:pt x="458" y="202"/>
                </a:lnTo>
                <a:lnTo>
                  <a:pt x="459" y="203"/>
                </a:lnTo>
                <a:lnTo>
                  <a:pt x="460" y="203"/>
                </a:lnTo>
                <a:lnTo>
                  <a:pt x="459" y="202"/>
                </a:lnTo>
                <a:lnTo>
                  <a:pt x="459" y="201"/>
                </a:lnTo>
                <a:lnTo>
                  <a:pt x="458" y="201"/>
                </a:lnTo>
                <a:close/>
                <a:moveTo>
                  <a:pt x="441" y="188"/>
                </a:moveTo>
                <a:lnTo>
                  <a:pt x="441" y="190"/>
                </a:lnTo>
                <a:lnTo>
                  <a:pt x="443" y="193"/>
                </a:lnTo>
                <a:lnTo>
                  <a:pt x="447" y="193"/>
                </a:lnTo>
                <a:lnTo>
                  <a:pt x="447" y="194"/>
                </a:lnTo>
                <a:lnTo>
                  <a:pt x="449" y="194"/>
                </a:lnTo>
                <a:lnTo>
                  <a:pt x="449" y="196"/>
                </a:lnTo>
                <a:lnTo>
                  <a:pt x="447" y="196"/>
                </a:lnTo>
                <a:lnTo>
                  <a:pt x="443" y="197"/>
                </a:lnTo>
                <a:lnTo>
                  <a:pt x="442" y="196"/>
                </a:lnTo>
                <a:lnTo>
                  <a:pt x="437" y="196"/>
                </a:lnTo>
                <a:lnTo>
                  <a:pt x="436" y="197"/>
                </a:lnTo>
                <a:lnTo>
                  <a:pt x="435" y="196"/>
                </a:lnTo>
                <a:lnTo>
                  <a:pt x="435" y="193"/>
                </a:lnTo>
                <a:lnTo>
                  <a:pt x="436" y="191"/>
                </a:lnTo>
                <a:lnTo>
                  <a:pt x="435" y="190"/>
                </a:lnTo>
                <a:lnTo>
                  <a:pt x="437" y="190"/>
                </a:lnTo>
                <a:lnTo>
                  <a:pt x="439" y="191"/>
                </a:lnTo>
                <a:lnTo>
                  <a:pt x="440" y="190"/>
                </a:lnTo>
                <a:lnTo>
                  <a:pt x="440" y="189"/>
                </a:lnTo>
                <a:lnTo>
                  <a:pt x="441" y="188"/>
                </a:lnTo>
                <a:close/>
                <a:moveTo>
                  <a:pt x="461" y="184"/>
                </a:moveTo>
                <a:lnTo>
                  <a:pt x="473" y="184"/>
                </a:lnTo>
                <a:lnTo>
                  <a:pt x="474" y="185"/>
                </a:lnTo>
                <a:lnTo>
                  <a:pt x="476" y="185"/>
                </a:lnTo>
                <a:lnTo>
                  <a:pt x="476" y="187"/>
                </a:lnTo>
                <a:lnTo>
                  <a:pt x="477" y="188"/>
                </a:lnTo>
                <a:lnTo>
                  <a:pt x="476" y="188"/>
                </a:lnTo>
                <a:lnTo>
                  <a:pt x="474" y="189"/>
                </a:lnTo>
                <a:lnTo>
                  <a:pt x="472" y="189"/>
                </a:lnTo>
                <a:lnTo>
                  <a:pt x="470" y="188"/>
                </a:lnTo>
                <a:lnTo>
                  <a:pt x="467" y="185"/>
                </a:lnTo>
                <a:lnTo>
                  <a:pt x="466" y="185"/>
                </a:lnTo>
                <a:lnTo>
                  <a:pt x="466" y="188"/>
                </a:lnTo>
                <a:lnTo>
                  <a:pt x="465" y="189"/>
                </a:lnTo>
                <a:lnTo>
                  <a:pt x="462" y="189"/>
                </a:lnTo>
                <a:lnTo>
                  <a:pt x="459" y="188"/>
                </a:lnTo>
                <a:lnTo>
                  <a:pt x="458" y="188"/>
                </a:lnTo>
                <a:lnTo>
                  <a:pt x="458" y="187"/>
                </a:lnTo>
                <a:lnTo>
                  <a:pt x="459" y="185"/>
                </a:lnTo>
                <a:lnTo>
                  <a:pt x="461" y="184"/>
                </a:lnTo>
                <a:close/>
                <a:moveTo>
                  <a:pt x="446" y="183"/>
                </a:moveTo>
                <a:lnTo>
                  <a:pt x="447" y="183"/>
                </a:lnTo>
                <a:lnTo>
                  <a:pt x="447" y="184"/>
                </a:lnTo>
                <a:lnTo>
                  <a:pt x="448" y="187"/>
                </a:lnTo>
                <a:lnTo>
                  <a:pt x="448" y="188"/>
                </a:lnTo>
                <a:lnTo>
                  <a:pt x="449" y="190"/>
                </a:lnTo>
                <a:lnTo>
                  <a:pt x="448" y="191"/>
                </a:lnTo>
                <a:lnTo>
                  <a:pt x="445" y="191"/>
                </a:lnTo>
                <a:lnTo>
                  <a:pt x="445" y="190"/>
                </a:lnTo>
                <a:lnTo>
                  <a:pt x="443" y="189"/>
                </a:lnTo>
                <a:lnTo>
                  <a:pt x="443" y="187"/>
                </a:lnTo>
                <a:lnTo>
                  <a:pt x="445" y="187"/>
                </a:lnTo>
                <a:lnTo>
                  <a:pt x="445" y="185"/>
                </a:lnTo>
                <a:lnTo>
                  <a:pt x="446" y="184"/>
                </a:lnTo>
                <a:lnTo>
                  <a:pt x="446" y="183"/>
                </a:lnTo>
                <a:close/>
                <a:moveTo>
                  <a:pt x="355" y="176"/>
                </a:moveTo>
                <a:lnTo>
                  <a:pt x="359" y="177"/>
                </a:lnTo>
                <a:lnTo>
                  <a:pt x="359" y="178"/>
                </a:lnTo>
                <a:lnTo>
                  <a:pt x="358" y="179"/>
                </a:lnTo>
                <a:lnTo>
                  <a:pt x="358" y="181"/>
                </a:lnTo>
                <a:lnTo>
                  <a:pt x="356" y="181"/>
                </a:lnTo>
                <a:lnTo>
                  <a:pt x="356" y="182"/>
                </a:lnTo>
                <a:lnTo>
                  <a:pt x="358" y="182"/>
                </a:lnTo>
                <a:lnTo>
                  <a:pt x="358" y="183"/>
                </a:lnTo>
                <a:lnTo>
                  <a:pt x="355" y="183"/>
                </a:lnTo>
                <a:lnTo>
                  <a:pt x="354" y="184"/>
                </a:lnTo>
                <a:lnTo>
                  <a:pt x="354" y="185"/>
                </a:lnTo>
                <a:lnTo>
                  <a:pt x="355" y="185"/>
                </a:lnTo>
                <a:lnTo>
                  <a:pt x="355" y="187"/>
                </a:lnTo>
                <a:lnTo>
                  <a:pt x="356" y="185"/>
                </a:lnTo>
                <a:lnTo>
                  <a:pt x="356" y="184"/>
                </a:lnTo>
                <a:lnTo>
                  <a:pt x="358" y="184"/>
                </a:lnTo>
                <a:lnTo>
                  <a:pt x="358" y="194"/>
                </a:lnTo>
                <a:lnTo>
                  <a:pt x="354" y="194"/>
                </a:lnTo>
                <a:lnTo>
                  <a:pt x="352" y="191"/>
                </a:lnTo>
                <a:lnTo>
                  <a:pt x="352" y="193"/>
                </a:lnTo>
                <a:lnTo>
                  <a:pt x="350" y="194"/>
                </a:lnTo>
                <a:lnTo>
                  <a:pt x="352" y="195"/>
                </a:lnTo>
                <a:lnTo>
                  <a:pt x="354" y="195"/>
                </a:lnTo>
                <a:lnTo>
                  <a:pt x="354" y="199"/>
                </a:lnTo>
                <a:lnTo>
                  <a:pt x="353" y="200"/>
                </a:lnTo>
                <a:lnTo>
                  <a:pt x="353" y="201"/>
                </a:lnTo>
                <a:lnTo>
                  <a:pt x="352" y="202"/>
                </a:lnTo>
                <a:lnTo>
                  <a:pt x="348" y="203"/>
                </a:lnTo>
                <a:lnTo>
                  <a:pt x="348" y="205"/>
                </a:lnTo>
                <a:lnTo>
                  <a:pt x="347" y="207"/>
                </a:lnTo>
                <a:lnTo>
                  <a:pt x="346" y="208"/>
                </a:lnTo>
                <a:lnTo>
                  <a:pt x="343" y="208"/>
                </a:lnTo>
                <a:lnTo>
                  <a:pt x="343" y="207"/>
                </a:lnTo>
                <a:lnTo>
                  <a:pt x="346" y="205"/>
                </a:lnTo>
                <a:lnTo>
                  <a:pt x="346" y="200"/>
                </a:lnTo>
                <a:lnTo>
                  <a:pt x="347" y="199"/>
                </a:lnTo>
                <a:lnTo>
                  <a:pt x="347" y="196"/>
                </a:lnTo>
                <a:lnTo>
                  <a:pt x="348" y="195"/>
                </a:lnTo>
                <a:lnTo>
                  <a:pt x="348" y="191"/>
                </a:lnTo>
                <a:lnTo>
                  <a:pt x="349" y="191"/>
                </a:lnTo>
                <a:lnTo>
                  <a:pt x="349" y="189"/>
                </a:lnTo>
                <a:lnTo>
                  <a:pt x="352" y="183"/>
                </a:lnTo>
                <a:lnTo>
                  <a:pt x="352" y="182"/>
                </a:lnTo>
                <a:lnTo>
                  <a:pt x="354" y="179"/>
                </a:lnTo>
                <a:lnTo>
                  <a:pt x="355" y="179"/>
                </a:lnTo>
                <a:lnTo>
                  <a:pt x="355" y="176"/>
                </a:lnTo>
                <a:close/>
                <a:moveTo>
                  <a:pt x="365" y="170"/>
                </a:moveTo>
                <a:lnTo>
                  <a:pt x="366" y="170"/>
                </a:lnTo>
                <a:lnTo>
                  <a:pt x="370" y="171"/>
                </a:lnTo>
                <a:lnTo>
                  <a:pt x="371" y="172"/>
                </a:lnTo>
                <a:lnTo>
                  <a:pt x="371" y="173"/>
                </a:lnTo>
                <a:lnTo>
                  <a:pt x="370" y="178"/>
                </a:lnTo>
                <a:lnTo>
                  <a:pt x="370" y="181"/>
                </a:lnTo>
                <a:lnTo>
                  <a:pt x="368" y="182"/>
                </a:lnTo>
                <a:lnTo>
                  <a:pt x="368" y="185"/>
                </a:lnTo>
                <a:lnTo>
                  <a:pt x="367" y="187"/>
                </a:lnTo>
                <a:lnTo>
                  <a:pt x="366" y="184"/>
                </a:lnTo>
                <a:lnTo>
                  <a:pt x="364" y="188"/>
                </a:lnTo>
                <a:lnTo>
                  <a:pt x="362" y="189"/>
                </a:lnTo>
                <a:lnTo>
                  <a:pt x="362" y="185"/>
                </a:lnTo>
                <a:lnTo>
                  <a:pt x="361" y="184"/>
                </a:lnTo>
                <a:lnTo>
                  <a:pt x="360" y="185"/>
                </a:lnTo>
                <a:lnTo>
                  <a:pt x="359" y="184"/>
                </a:lnTo>
                <a:lnTo>
                  <a:pt x="359" y="183"/>
                </a:lnTo>
                <a:lnTo>
                  <a:pt x="360" y="182"/>
                </a:lnTo>
                <a:lnTo>
                  <a:pt x="360" y="181"/>
                </a:lnTo>
                <a:lnTo>
                  <a:pt x="362" y="177"/>
                </a:lnTo>
                <a:lnTo>
                  <a:pt x="364" y="176"/>
                </a:lnTo>
                <a:lnTo>
                  <a:pt x="364" y="177"/>
                </a:lnTo>
                <a:lnTo>
                  <a:pt x="365" y="179"/>
                </a:lnTo>
                <a:lnTo>
                  <a:pt x="366" y="181"/>
                </a:lnTo>
                <a:lnTo>
                  <a:pt x="367" y="177"/>
                </a:lnTo>
                <a:lnTo>
                  <a:pt x="366" y="176"/>
                </a:lnTo>
                <a:lnTo>
                  <a:pt x="365" y="173"/>
                </a:lnTo>
                <a:lnTo>
                  <a:pt x="365" y="170"/>
                </a:lnTo>
                <a:close/>
                <a:moveTo>
                  <a:pt x="431" y="153"/>
                </a:moveTo>
                <a:lnTo>
                  <a:pt x="434" y="153"/>
                </a:lnTo>
                <a:lnTo>
                  <a:pt x="435" y="156"/>
                </a:lnTo>
                <a:lnTo>
                  <a:pt x="433" y="159"/>
                </a:lnTo>
                <a:lnTo>
                  <a:pt x="431" y="162"/>
                </a:lnTo>
                <a:lnTo>
                  <a:pt x="429" y="162"/>
                </a:lnTo>
                <a:lnTo>
                  <a:pt x="428" y="159"/>
                </a:lnTo>
                <a:lnTo>
                  <a:pt x="429" y="157"/>
                </a:lnTo>
                <a:lnTo>
                  <a:pt x="431" y="153"/>
                </a:lnTo>
                <a:close/>
                <a:moveTo>
                  <a:pt x="399" y="148"/>
                </a:moveTo>
                <a:lnTo>
                  <a:pt x="403" y="152"/>
                </a:lnTo>
                <a:lnTo>
                  <a:pt x="405" y="152"/>
                </a:lnTo>
                <a:lnTo>
                  <a:pt x="406" y="156"/>
                </a:lnTo>
                <a:lnTo>
                  <a:pt x="405" y="158"/>
                </a:lnTo>
                <a:lnTo>
                  <a:pt x="403" y="159"/>
                </a:lnTo>
                <a:lnTo>
                  <a:pt x="401" y="157"/>
                </a:lnTo>
                <a:lnTo>
                  <a:pt x="401" y="153"/>
                </a:lnTo>
                <a:lnTo>
                  <a:pt x="397" y="153"/>
                </a:lnTo>
                <a:lnTo>
                  <a:pt x="396" y="152"/>
                </a:lnTo>
                <a:lnTo>
                  <a:pt x="398" y="152"/>
                </a:lnTo>
                <a:lnTo>
                  <a:pt x="397" y="150"/>
                </a:lnTo>
                <a:lnTo>
                  <a:pt x="399" y="148"/>
                </a:lnTo>
                <a:close/>
                <a:moveTo>
                  <a:pt x="391" y="148"/>
                </a:moveTo>
                <a:lnTo>
                  <a:pt x="393" y="148"/>
                </a:lnTo>
                <a:lnTo>
                  <a:pt x="395" y="154"/>
                </a:lnTo>
                <a:lnTo>
                  <a:pt x="393" y="157"/>
                </a:lnTo>
                <a:lnTo>
                  <a:pt x="395" y="158"/>
                </a:lnTo>
                <a:lnTo>
                  <a:pt x="396" y="158"/>
                </a:lnTo>
                <a:lnTo>
                  <a:pt x="398" y="156"/>
                </a:lnTo>
                <a:lnTo>
                  <a:pt x="399" y="156"/>
                </a:lnTo>
                <a:lnTo>
                  <a:pt x="402" y="158"/>
                </a:lnTo>
                <a:lnTo>
                  <a:pt x="399" y="164"/>
                </a:lnTo>
                <a:lnTo>
                  <a:pt x="397" y="164"/>
                </a:lnTo>
                <a:lnTo>
                  <a:pt x="397" y="166"/>
                </a:lnTo>
                <a:lnTo>
                  <a:pt x="396" y="166"/>
                </a:lnTo>
                <a:lnTo>
                  <a:pt x="392" y="168"/>
                </a:lnTo>
                <a:lnTo>
                  <a:pt x="390" y="168"/>
                </a:lnTo>
                <a:lnTo>
                  <a:pt x="390" y="166"/>
                </a:lnTo>
                <a:lnTo>
                  <a:pt x="389" y="168"/>
                </a:lnTo>
                <a:lnTo>
                  <a:pt x="389" y="169"/>
                </a:lnTo>
                <a:lnTo>
                  <a:pt x="385" y="169"/>
                </a:lnTo>
                <a:lnTo>
                  <a:pt x="385" y="171"/>
                </a:lnTo>
                <a:lnTo>
                  <a:pt x="387" y="171"/>
                </a:lnTo>
                <a:lnTo>
                  <a:pt x="387" y="172"/>
                </a:lnTo>
                <a:lnTo>
                  <a:pt x="389" y="173"/>
                </a:lnTo>
                <a:lnTo>
                  <a:pt x="387" y="175"/>
                </a:lnTo>
                <a:lnTo>
                  <a:pt x="385" y="176"/>
                </a:lnTo>
                <a:lnTo>
                  <a:pt x="384" y="175"/>
                </a:lnTo>
                <a:lnTo>
                  <a:pt x="384" y="173"/>
                </a:lnTo>
                <a:lnTo>
                  <a:pt x="383" y="173"/>
                </a:lnTo>
                <a:lnTo>
                  <a:pt x="383" y="175"/>
                </a:lnTo>
                <a:lnTo>
                  <a:pt x="381" y="176"/>
                </a:lnTo>
                <a:lnTo>
                  <a:pt x="383" y="177"/>
                </a:lnTo>
                <a:lnTo>
                  <a:pt x="383" y="178"/>
                </a:lnTo>
                <a:lnTo>
                  <a:pt x="381" y="179"/>
                </a:lnTo>
                <a:lnTo>
                  <a:pt x="379" y="179"/>
                </a:lnTo>
                <a:lnTo>
                  <a:pt x="380" y="178"/>
                </a:lnTo>
                <a:lnTo>
                  <a:pt x="379" y="178"/>
                </a:lnTo>
                <a:lnTo>
                  <a:pt x="379" y="175"/>
                </a:lnTo>
                <a:lnTo>
                  <a:pt x="378" y="173"/>
                </a:lnTo>
                <a:lnTo>
                  <a:pt x="375" y="173"/>
                </a:lnTo>
                <a:lnTo>
                  <a:pt x="375" y="177"/>
                </a:lnTo>
                <a:lnTo>
                  <a:pt x="377" y="178"/>
                </a:lnTo>
                <a:lnTo>
                  <a:pt x="375" y="178"/>
                </a:lnTo>
                <a:lnTo>
                  <a:pt x="375" y="181"/>
                </a:lnTo>
                <a:lnTo>
                  <a:pt x="374" y="182"/>
                </a:lnTo>
                <a:lnTo>
                  <a:pt x="374" y="183"/>
                </a:lnTo>
                <a:lnTo>
                  <a:pt x="372" y="179"/>
                </a:lnTo>
                <a:lnTo>
                  <a:pt x="373" y="175"/>
                </a:lnTo>
                <a:lnTo>
                  <a:pt x="378" y="169"/>
                </a:lnTo>
                <a:lnTo>
                  <a:pt x="377" y="169"/>
                </a:lnTo>
                <a:lnTo>
                  <a:pt x="374" y="172"/>
                </a:lnTo>
                <a:lnTo>
                  <a:pt x="373" y="172"/>
                </a:lnTo>
                <a:lnTo>
                  <a:pt x="373" y="171"/>
                </a:lnTo>
                <a:lnTo>
                  <a:pt x="374" y="170"/>
                </a:lnTo>
                <a:lnTo>
                  <a:pt x="374" y="169"/>
                </a:lnTo>
                <a:lnTo>
                  <a:pt x="373" y="169"/>
                </a:lnTo>
                <a:lnTo>
                  <a:pt x="374" y="168"/>
                </a:lnTo>
                <a:lnTo>
                  <a:pt x="373" y="166"/>
                </a:lnTo>
                <a:lnTo>
                  <a:pt x="374" y="164"/>
                </a:lnTo>
                <a:lnTo>
                  <a:pt x="377" y="163"/>
                </a:lnTo>
                <a:lnTo>
                  <a:pt x="378" y="162"/>
                </a:lnTo>
                <a:lnTo>
                  <a:pt x="377" y="160"/>
                </a:lnTo>
                <a:lnTo>
                  <a:pt x="373" y="160"/>
                </a:lnTo>
                <a:lnTo>
                  <a:pt x="379" y="154"/>
                </a:lnTo>
                <a:lnTo>
                  <a:pt x="381" y="154"/>
                </a:lnTo>
                <a:lnTo>
                  <a:pt x="381" y="156"/>
                </a:lnTo>
                <a:lnTo>
                  <a:pt x="385" y="156"/>
                </a:lnTo>
                <a:lnTo>
                  <a:pt x="386" y="157"/>
                </a:lnTo>
                <a:lnTo>
                  <a:pt x="387" y="154"/>
                </a:lnTo>
                <a:lnTo>
                  <a:pt x="389" y="153"/>
                </a:lnTo>
                <a:lnTo>
                  <a:pt x="391" y="148"/>
                </a:lnTo>
                <a:close/>
                <a:moveTo>
                  <a:pt x="470" y="140"/>
                </a:moveTo>
                <a:lnTo>
                  <a:pt x="471" y="141"/>
                </a:lnTo>
                <a:lnTo>
                  <a:pt x="471" y="142"/>
                </a:lnTo>
                <a:lnTo>
                  <a:pt x="470" y="141"/>
                </a:lnTo>
                <a:lnTo>
                  <a:pt x="470" y="140"/>
                </a:lnTo>
                <a:close/>
                <a:moveTo>
                  <a:pt x="441" y="135"/>
                </a:moveTo>
                <a:lnTo>
                  <a:pt x="445" y="135"/>
                </a:lnTo>
                <a:lnTo>
                  <a:pt x="443" y="138"/>
                </a:lnTo>
                <a:lnTo>
                  <a:pt x="439" y="146"/>
                </a:lnTo>
                <a:lnTo>
                  <a:pt x="436" y="146"/>
                </a:lnTo>
                <a:lnTo>
                  <a:pt x="435" y="147"/>
                </a:lnTo>
                <a:lnTo>
                  <a:pt x="435" y="148"/>
                </a:lnTo>
                <a:lnTo>
                  <a:pt x="436" y="148"/>
                </a:lnTo>
                <a:lnTo>
                  <a:pt x="434" y="150"/>
                </a:lnTo>
                <a:lnTo>
                  <a:pt x="427" y="158"/>
                </a:lnTo>
                <a:lnTo>
                  <a:pt x="426" y="158"/>
                </a:lnTo>
                <a:lnTo>
                  <a:pt x="426" y="153"/>
                </a:lnTo>
                <a:lnTo>
                  <a:pt x="427" y="151"/>
                </a:lnTo>
                <a:lnTo>
                  <a:pt x="426" y="150"/>
                </a:lnTo>
                <a:lnTo>
                  <a:pt x="426" y="148"/>
                </a:lnTo>
                <a:lnTo>
                  <a:pt x="424" y="148"/>
                </a:lnTo>
                <a:lnTo>
                  <a:pt x="424" y="154"/>
                </a:lnTo>
                <a:lnTo>
                  <a:pt x="423" y="156"/>
                </a:lnTo>
                <a:lnTo>
                  <a:pt x="422" y="156"/>
                </a:lnTo>
                <a:lnTo>
                  <a:pt x="422" y="157"/>
                </a:lnTo>
                <a:lnTo>
                  <a:pt x="421" y="157"/>
                </a:lnTo>
                <a:lnTo>
                  <a:pt x="421" y="158"/>
                </a:lnTo>
                <a:lnTo>
                  <a:pt x="423" y="159"/>
                </a:lnTo>
                <a:lnTo>
                  <a:pt x="421" y="162"/>
                </a:lnTo>
                <a:lnTo>
                  <a:pt x="418" y="163"/>
                </a:lnTo>
                <a:lnTo>
                  <a:pt x="416" y="165"/>
                </a:lnTo>
                <a:lnTo>
                  <a:pt x="411" y="165"/>
                </a:lnTo>
                <a:lnTo>
                  <a:pt x="411" y="166"/>
                </a:lnTo>
                <a:lnTo>
                  <a:pt x="408" y="166"/>
                </a:lnTo>
                <a:lnTo>
                  <a:pt x="409" y="168"/>
                </a:lnTo>
                <a:lnTo>
                  <a:pt x="408" y="169"/>
                </a:lnTo>
                <a:lnTo>
                  <a:pt x="406" y="169"/>
                </a:lnTo>
                <a:lnTo>
                  <a:pt x="405" y="170"/>
                </a:lnTo>
                <a:lnTo>
                  <a:pt x="403" y="170"/>
                </a:lnTo>
                <a:lnTo>
                  <a:pt x="403" y="169"/>
                </a:lnTo>
                <a:lnTo>
                  <a:pt x="404" y="168"/>
                </a:lnTo>
                <a:lnTo>
                  <a:pt x="404" y="166"/>
                </a:lnTo>
                <a:lnTo>
                  <a:pt x="403" y="166"/>
                </a:lnTo>
                <a:lnTo>
                  <a:pt x="403" y="164"/>
                </a:lnTo>
                <a:lnTo>
                  <a:pt x="404" y="163"/>
                </a:lnTo>
                <a:lnTo>
                  <a:pt x="408" y="160"/>
                </a:lnTo>
                <a:lnTo>
                  <a:pt x="406" y="160"/>
                </a:lnTo>
                <a:lnTo>
                  <a:pt x="405" y="159"/>
                </a:lnTo>
                <a:lnTo>
                  <a:pt x="406" y="158"/>
                </a:lnTo>
                <a:lnTo>
                  <a:pt x="409" y="158"/>
                </a:lnTo>
                <a:lnTo>
                  <a:pt x="408" y="156"/>
                </a:lnTo>
                <a:lnTo>
                  <a:pt x="408" y="152"/>
                </a:lnTo>
                <a:lnTo>
                  <a:pt x="409" y="151"/>
                </a:lnTo>
                <a:lnTo>
                  <a:pt x="410" y="151"/>
                </a:lnTo>
                <a:lnTo>
                  <a:pt x="411" y="154"/>
                </a:lnTo>
                <a:lnTo>
                  <a:pt x="412" y="156"/>
                </a:lnTo>
                <a:lnTo>
                  <a:pt x="412" y="153"/>
                </a:lnTo>
                <a:lnTo>
                  <a:pt x="414" y="152"/>
                </a:lnTo>
                <a:lnTo>
                  <a:pt x="415" y="153"/>
                </a:lnTo>
                <a:lnTo>
                  <a:pt x="416" y="152"/>
                </a:lnTo>
                <a:lnTo>
                  <a:pt x="416" y="151"/>
                </a:lnTo>
                <a:lnTo>
                  <a:pt x="415" y="150"/>
                </a:lnTo>
                <a:lnTo>
                  <a:pt x="415" y="148"/>
                </a:lnTo>
                <a:lnTo>
                  <a:pt x="412" y="148"/>
                </a:lnTo>
                <a:lnTo>
                  <a:pt x="414" y="146"/>
                </a:lnTo>
                <a:lnTo>
                  <a:pt x="411" y="146"/>
                </a:lnTo>
                <a:lnTo>
                  <a:pt x="411" y="145"/>
                </a:lnTo>
                <a:lnTo>
                  <a:pt x="416" y="144"/>
                </a:lnTo>
                <a:lnTo>
                  <a:pt x="418" y="145"/>
                </a:lnTo>
                <a:lnTo>
                  <a:pt x="420" y="146"/>
                </a:lnTo>
                <a:lnTo>
                  <a:pt x="420" y="144"/>
                </a:lnTo>
                <a:lnTo>
                  <a:pt x="417" y="141"/>
                </a:lnTo>
                <a:lnTo>
                  <a:pt x="422" y="139"/>
                </a:lnTo>
                <a:lnTo>
                  <a:pt x="423" y="140"/>
                </a:lnTo>
                <a:lnTo>
                  <a:pt x="423" y="142"/>
                </a:lnTo>
                <a:lnTo>
                  <a:pt x="424" y="144"/>
                </a:lnTo>
                <a:lnTo>
                  <a:pt x="424" y="139"/>
                </a:lnTo>
                <a:lnTo>
                  <a:pt x="426" y="139"/>
                </a:lnTo>
                <a:lnTo>
                  <a:pt x="426" y="138"/>
                </a:lnTo>
                <a:lnTo>
                  <a:pt x="427" y="138"/>
                </a:lnTo>
                <a:lnTo>
                  <a:pt x="429" y="140"/>
                </a:lnTo>
                <a:lnTo>
                  <a:pt x="429" y="142"/>
                </a:lnTo>
                <a:lnTo>
                  <a:pt x="427" y="146"/>
                </a:lnTo>
                <a:lnTo>
                  <a:pt x="427" y="147"/>
                </a:lnTo>
                <a:lnTo>
                  <a:pt x="428" y="147"/>
                </a:lnTo>
                <a:lnTo>
                  <a:pt x="431" y="144"/>
                </a:lnTo>
                <a:lnTo>
                  <a:pt x="431" y="140"/>
                </a:lnTo>
                <a:lnTo>
                  <a:pt x="433" y="138"/>
                </a:lnTo>
                <a:lnTo>
                  <a:pt x="434" y="138"/>
                </a:lnTo>
                <a:lnTo>
                  <a:pt x="437" y="139"/>
                </a:lnTo>
                <a:lnTo>
                  <a:pt x="441" y="135"/>
                </a:lnTo>
                <a:close/>
                <a:moveTo>
                  <a:pt x="493" y="126"/>
                </a:moveTo>
                <a:lnTo>
                  <a:pt x="495" y="126"/>
                </a:lnTo>
                <a:lnTo>
                  <a:pt x="496" y="127"/>
                </a:lnTo>
                <a:lnTo>
                  <a:pt x="496" y="128"/>
                </a:lnTo>
                <a:lnTo>
                  <a:pt x="497" y="129"/>
                </a:lnTo>
                <a:lnTo>
                  <a:pt x="497" y="132"/>
                </a:lnTo>
                <a:lnTo>
                  <a:pt x="498" y="133"/>
                </a:lnTo>
                <a:lnTo>
                  <a:pt x="498" y="134"/>
                </a:lnTo>
                <a:lnTo>
                  <a:pt x="496" y="135"/>
                </a:lnTo>
                <a:lnTo>
                  <a:pt x="495" y="136"/>
                </a:lnTo>
                <a:lnTo>
                  <a:pt x="496" y="136"/>
                </a:lnTo>
                <a:lnTo>
                  <a:pt x="496" y="139"/>
                </a:lnTo>
                <a:lnTo>
                  <a:pt x="497" y="140"/>
                </a:lnTo>
                <a:lnTo>
                  <a:pt x="496" y="140"/>
                </a:lnTo>
                <a:lnTo>
                  <a:pt x="489" y="141"/>
                </a:lnTo>
                <a:lnTo>
                  <a:pt x="486" y="141"/>
                </a:lnTo>
                <a:lnTo>
                  <a:pt x="485" y="144"/>
                </a:lnTo>
                <a:lnTo>
                  <a:pt x="484" y="144"/>
                </a:lnTo>
                <a:lnTo>
                  <a:pt x="483" y="142"/>
                </a:lnTo>
                <a:lnTo>
                  <a:pt x="484" y="140"/>
                </a:lnTo>
                <a:lnTo>
                  <a:pt x="486" y="139"/>
                </a:lnTo>
                <a:lnTo>
                  <a:pt x="485" y="139"/>
                </a:lnTo>
                <a:lnTo>
                  <a:pt x="484" y="138"/>
                </a:lnTo>
                <a:lnTo>
                  <a:pt x="486" y="130"/>
                </a:lnTo>
                <a:lnTo>
                  <a:pt x="488" y="128"/>
                </a:lnTo>
                <a:lnTo>
                  <a:pt x="489" y="128"/>
                </a:lnTo>
                <a:lnTo>
                  <a:pt x="493" y="126"/>
                </a:lnTo>
                <a:close/>
                <a:moveTo>
                  <a:pt x="423" y="120"/>
                </a:moveTo>
                <a:lnTo>
                  <a:pt x="424" y="121"/>
                </a:lnTo>
                <a:lnTo>
                  <a:pt x="428" y="122"/>
                </a:lnTo>
                <a:lnTo>
                  <a:pt x="431" y="122"/>
                </a:lnTo>
                <a:lnTo>
                  <a:pt x="436" y="125"/>
                </a:lnTo>
                <a:lnTo>
                  <a:pt x="436" y="127"/>
                </a:lnTo>
                <a:lnTo>
                  <a:pt x="435" y="128"/>
                </a:lnTo>
                <a:lnTo>
                  <a:pt x="435" y="129"/>
                </a:lnTo>
                <a:lnTo>
                  <a:pt x="434" y="129"/>
                </a:lnTo>
                <a:lnTo>
                  <a:pt x="433" y="130"/>
                </a:lnTo>
                <a:lnTo>
                  <a:pt x="427" y="130"/>
                </a:lnTo>
                <a:lnTo>
                  <a:pt x="424" y="132"/>
                </a:lnTo>
                <a:lnTo>
                  <a:pt x="424" y="129"/>
                </a:lnTo>
                <a:lnTo>
                  <a:pt x="421" y="126"/>
                </a:lnTo>
                <a:lnTo>
                  <a:pt x="420" y="123"/>
                </a:lnTo>
                <a:lnTo>
                  <a:pt x="423" y="120"/>
                </a:lnTo>
                <a:close/>
                <a:moveTo>
                  <a:pt x="521" y="89"/>
                </a:moveTo>
                <a:lnTo>
                  <a:pt x="522" y="89"/>
                </a:lnTo>
                <a:lnTo>
                  <a:pt x="522" y="90"/>
                </a:lnTo>
                <a:lnTo>
                  <a:pt x="523" y="93"/>
                </a:lnTo>
                <a:lnTo>
                  <a:pt x="524" y="93"/>
                </a:lnTo>
                <a:lnTo>
                  <a:pt x="527" y="97"/>
                </a:lnTo>
                <a:lnTo>
                  <a:pt x="527" y="99"/>
                </a:lnTo>
                <a:lnTo>
                  <a:pt x="526" y="101"/>
                </a:lnTo>
                <a:lnTo>
                  <a:pt x="515" y="104"/>
                </a:lnTo>
                <a:lnTo>
                  <a:pt x="514" y="103"/>
                </a:lnTo>
                <a:lnTo>
                  <a:pt x="514" y="99"/>
                </a:lnTo>
                <a:lnTo>
                  <a:pt x="517" y="96"/>
                </a:lnTo>
                <a:lnTo>
                  <a:pt x="520" y="90"/>
                </a:lnTo>
                <a:lnTo>
                  <a:pt x="521" y="89"/>
                </a:lnTo>
                <a:close/>
                <a:moveTo>
                  <a:pt x="526" y="80"/>
                </a:moveTo>
                <a:lnTo>
                  <a:pt x="527" y="82"/>
                </a:lnTo>
                <a:lnTo>
                  <a:pt x="528" y="85"/>
                </a:lnTo>
                <a:lnTo>
                  <a:pt x="529" y="87"/>
                </a:lnTo>
                <a:lnTo>
                  <a:pt x="530" y="89"/>
                </a:lnTo>
                <a:lnTo>
                  <a:pt x="533" y="89"/>
                </a:lnTo>
                <a:lnTo>
                  <a:pt x="533" y="87"/>
                </a:lnTo>
                <a:lnTo>
                  <a:pt x="530" y="86"/>
                </a:lnTo>
                <a:lnTo>
                  <a:pt x="530" y="82"/>
                </a:lnTo>
                <a:lnTo>
                  <a:pt x="535" y="82"/>
                </a:lnTo>
                <a:lnTo>
                  <a:pt x="539" y="85"/>
                </a:lnTo>
                <a:lnTo>
                  <a:pt x="540" y="87"/>
                </a:lnTo>
                <a:lnTo>
                  <a:pt x="536" y="91"/>
                </a:lnTo>
                <a:lnTo>
                  <a:pt x="534" y="95"/>
                </a:lnTo>
                <a:lnTo>
                  <a:pt x="533" y="96"/>
                </a:lnTo>
                <a:lnTo>
                  <a:pt x="530" y="96"/>
                </a:lnTo>
                <a:lnTo>
                  <a:pt x="529" y="95"/>
                </a:lnTo>
                <a:lnTo>
                  <a:pt x="529" y="93"/>
                </a:lnTo>
                <a:lnTo>
                  <a:pt x="528" y="90"/>
                </a:lnTo>
                <a:lnTo>
                  <a:pt x="528" y="87"/>
                </a:lnTo>
                <a:lnTo>
                  <a:pt x="524" y="84"/>
                </a:lnTo>
                <a:lnTo>
                  <a:pt x="524" y="83"/>
                </a:lnTo>
                <a:lnTo>
                  <a:pt x="526" y="80"/>
                </a:lnTo>
                <a:close/>
                <a:moveTo>
                  <a:pt x="431" y="80"/>
                </a:moveTo>
                <a:lnTo>
                  <a:pt x="435" y="80"/>
                </a:lnTo>
                <a:lnTo>
                  <a:pt x="436" y="82"/>
                </a:lnTo>
                <a:lnTo>
                  <a:pt x="436" y="85"/>
                </a:lnTo>
                <a:lnTo>
                  <a:pt x="435" y="86"/>
                </a:lnTo>
                <a:lnTo>
                  <a:pt x="433" y="87"/>
                </a:lnTo>
                <a:lnTo>
                  <a:pt x="433" y="86"/>
                </a:lnTo>
                <a:lnTo>
                  <a:pt x="430" y="86"/>
                </a:lnTo>
                <a:lnTo>
                  <a:pt x="430" y="82"/>
                </a:lnTo>
                <a:lnTo>
                  <a:pt x="431" y="80"/>
                </a:lnTo>
                <a:close/>
                <a:moveTo>
                  <a:pt x="473" y="76"/>
                </a:moveTo>
                <a:lnTo>
                  <a:pt x="474" y="76"/>
                </a:lnTo>
                <a:lnTo>
                  <a:pt x="476" y="77"/>
                </a:lnTo>
                <a:lnTo>
                  <a:pt x="476" y="78"/>
                </a:lnTo>
                <a:lnTo>
                  <a:pt x="474" y="79"/>
                </a:lnTo>
                <a:lnTo>
                  <a:pt x="474" y="83"/>
                </a:lnTo>
                <a:lnTo>
                  <a:pt x="476" y="84"/>
                </a:lnTo>
                <a:lnTo>
                  <a:pt x="476" y="87"/>
                </a:lnTo>
                <a:lnTo>
                  <a:pt x="474" y="93"/>
                </a:lnTo>
                <a:lnTo>
                  <a:pt x="473" y="95"/>
                </a:lnTo>
                <a:lnTo>
                  <a:pt x="473" y="97"/>
                </a:lnTo>
                <a:lnTo>
                  <a:pt x="472" y="98"/>
                </a:lnTo>
                <a:lnTo>
                  <a:pt x="472" y="101"/>
                </a:lnTo>
                <a:lnTo>
                  <a:pt x="468" y="103"/>
                </a:lnTo>
                <a:lnTo>
                  <a:pt x="471" y="103"/>
                </a:lnTo>
                <a:lnTo>
                  <a:pt x="473" y="102"/>
                </a:lnTo>
                <a:lnTo>
                  <a:pt x="474" y="99"/>
                </a:lnTo>
                <a:lnTo>
                  <a:pt x="477" y="97"/>
                </a:lnTo>
                <a:lnTo>
                  <a:pt x="477" y="96"/>
                </a:lnTo>
                <a:lnTo>
                  <a:pt x="478" y="98"/>
                </a:lnTo>
                <a:lnTo>
                  <a:pt x="478" y="103"/>
                </a:lnTo>
                <a:lnTo>
                  <a:pt x="477" y="107"/>
                </a:lnTo>
                <a:lnTo>
                  <a:pt x="477" y="108"/>
                </a:lnTo>
                <a:lnTo>
                  <a:pt x="474" y="110"/>
                </a:lnTo>
                <a:lnTo>
                  <a:pt x="474" y="113"/>
                </a:lnTo>
                <a:lnTo>
                  <a:pt x="472" y="113"/>
                </a:lnTo>
                <a:lnTo>
                  <a:pt x="470" y="115"/>
                </a:lnTo>
                <a:lnTo>
                  <a:pt x="470" y="125"/>
                </a:lnTo>
                <a:lnTo>
                  <a:pt x="468" y="125"/>
                </a:lnTo>
                <a:lnTo>
                  <a:pt x="468" y="127"/>
                </a:lnTo>
                <a:lnTo>
                  <a:pt x="471" y="125"/>
                </a:lnTo>
                <a:lnTo>
                  <a:pt x="471" y="117"/>
                </a:lnTo>
                <a:lnTo>
                  <a:pt x="478" y="110"/>
                </a:lnTo>
                <a:lnTo>
                  <a:pt x="480" y="110"/>
                </a:lnTo>
                <a:lnTo>
                  <a:pt x="480" y="114"/>
                </a:lnTo>
                <a:lnTo>
                  <a:pt x="482" y="115"/>
                </a:lnTo>
                <a:lnTo>
                  <a:pt x="483" y="114"/>
                </a:lnTo>
                <a:lnTo>
                  <a:pt x="483" y="110"/>
                </a:lnTo>
                <a:lnTo>
                  <a:pt x="482" y="108"/>
                </a:lnTo>
                <a:lnTo>
                  <a:pt x="480" y="107"/>
                </a:lnTo>
                <a:lnTo>
                  <a:pt x="480" y="105"/>
                </a:lnTo>
                <a:lnTo>
                  <a:pt x="482" y="103"/>
                </a:lnTo>
                <a:lnTo>
                  <a:pt x="483" y="103"/>
                </a:lnTo>
                <a:lnTo>
                  <a:pt x="484" y="102"/>
                </a:lnTo>
                <a:lnTo>
                  <a:pt x="488" y="103"/>
                </a:lnTo>
                <a:lnTo>
                  <a:pt x="488" y="101"/>
                </a:lnTo>
                <a:lnTo>
                  <a:pt x="486" y="98"/>
                </a:lnTo>
                <a:lnTo>
                  <a:pt x="484" y="97"/>
                </a:lnTo>
                <a:lnTo>
                  <a:pt x="483" y="96"/>
                </a:lnTo>
                <a:lnTo>
                  <a:pt x="483" y="92"/>
                </a:lnTo>
                <a:lnTo>
                  <a:pt x="484" y="91"/>
                </a:lnTo>
                <a:lnTo>
                  <a:pt x="488" y="89"/>
                </a:lnTo>
                <a:lnTo>
                  <a:pt x="489" y="89"/>
                </a:lnTo>
                <a:lnTo>
                  <a:pt x="490" y="90"/>
                </a:lnTo>
                <a:lnTo>
                  <a:pt x="490" y="91"/>
                </a:lnTo>
                <a:lnTo>
                  <a:pt x="491" y="91"/>
                </a:lnTo>
                <a:lnTo>
                  <a:pt x="491" y="89"/>
                </a:lnTo>
                <a:lnTo>
                  <a:pt x="490" y="87"/>
                </a:lnTo>
                <a:lnTo>
                  <a:pt x="490" y="84"/>
                </a:lnTo>
                <a:lnTo>
                  <a:pt x="492" y="87"/>
                </a:lnTo>
                <a:lnTo>
                  <a:pt x="496" y="89"/>
                </a:lnTo>
                <a:lnTo>
                  <a:pt x="497" y="90"/>
                </a:lnTo>
                <a:lnTo>
                  <a:pt x="497" y="92"/>
                </a:lnTo>
                <a:lnTo>
                  <a:pt x="498" y="93"/>
                </a:lnTo>
                <a:lnTo>
                  <a:pt x="502" y="92"/>
                </a:lnTo>
                <a:lnTo>
                  <a:pt x="503" y="92"/>
                </a:lnTo>
                <a:lnTo>
                  <a:pt x="501" y="95"/>
                </a:lnTo>
                <a:lnTo>
                  <a:pt x="499" y="97"/>
                </a:lnTo>
                <a:lnTo>
                  <a:pt x="502" y="97"/>
                </a:lnTo>
                <a:lnTo>
                  <a:pt x="503" y="99"/>
                </a:lnTo>
                <a:lnTo>
                  <a:pt x="501" y="99"/>
                </a:lnTo>
                <a:lnTo>
                  <a:pt x="501" y="101"/>
                </a:lnTo>
                <a:lnTo>
                  <a:pt x="502" y="102"/>
                </a:lnTo>
                <a:lnTo>
                  <a:pt x="502" y="104"/>
                </a:lnTo>
                <a:lnTo>
                  <a:pt x="503" y="107"/>
                </a:lnTo>
                <a:lnTo>
                  <a:pt x="503" y="108"/>
                </a:lnTo>
                <a:lnTo>
                  <a:pt x="502" y="109"/>
                </a:lnTo>
                <a:lnTo>
                  <a:pt x="503" y="110"/>
                </a:lnTo>
                <a:lnTo>
                  <a:pt x="503" y="113"/>
                </a:lnTo>
                <a:lnTo>
                  <a:pt x="502" y="115"/>
                </a:lnTo>
                <a:lnTo>
                  <a:pt x="501" y="116"/>
                </a:lnTo>
                <a:lnTo>
                  <a:pt x="501" y="117"/>
                </a:lnTo>
                <a:lnTo>
                  <a:pt x="499" y="119"/>
                </a:lnTo>
                <a:lnTo>
                  <a:pt x="499" y="121"/>
                </a:lnTo>
                <a:lnTo>
                  <a:pt x="501" y="122"/>
                </a:lnTo>
                <a:lnTo>
                  <a:pt x="499" y="125"/>
                </a:lnTo>
                <a:lnTo>
                  <a:pt x="498" y="125"/>
                </a:lnTo>
                <a:lnTo>
                  <a:pt x="497" y="123"/>
                </a:lnTo>
                <a:lnTo>
                  <a:pt x="493" y="123"/>
                </a:lnTo>
                <a:lnTo>
                  <a:pt x="489" y="125"/>
                </a:lnTo>
                <a:lnTo>
                  <a:pt x="485" y="127"/>
                </a:lnTo>
                <a:lnTo>
                  <a:pt x="485" y="128"/>
                </a:lnTo>
                <a:lnTo>
                  <a:pt x="484" y="127"/>
                </a:lnTo>
                <a:lnTo>
                  <a:pt x="484" y="126"/>
                </a:lnTo>
                <a:lnTo>
                  <a:pt x="483" y="127"/>
                </a:lnTo>
                <a:lnTo>
                  <a:pt x="483" y="128"/>
                </a:lnTo>
                <a:lnTo>
                  <a:pt x="482" y="132"/>
                </a:lnTo>
                <a:lnTo>
                  <a:pt x="482" y="134"/>
                </a:lnTo>
                <a:lnTo>
                  <a:pt x="479" y="136"/>
                </a:lnTo>
                <a:lnTo>
                  <a:pt x="479" y="139"/>
                </a:lnTo>
                <a:lnTo>
                  <a:pt x="478" y="142"/>
                </a:lnTo>
                <a:lnTo>
                  <a:pt x="477" y="144"/>
                </a:lnTo>
                <a:lnTo>
                  <a:pt x="474" y="145"/>
                </a:lnTo>
                <a:lnTo>
                  <a:pt x="473" y="145"/>
                </a:lnTo>
                <a:lnTo>
                  <a:pt x="474" y="144"/>
                </a:lnTo>
                <a:lnTo>
                  <a:pt x="473" y="141"/>
                </a:lnTo>
                <a:lnTo>
                  <a:pt x="473" y="140"/>
                </a:lnTo>
                <a:lnTo>
                  <a:pt x="474" y="139"/>
                </a:lnTo>
                <a:lnTo>
                  <a:pt x="474" y="135"/>
                </a:lnTo>
                <a:lnTo>
                  <a:pt x="473" y="134"/>
                </a:lnTo>
                <a:lnTo>
                  <a:pt x="473" y="138"/>
                </a:lnTo>
                <a:lnTo>
                  <a:pt x="472" y="139"/>
                </a:lnTo>
                <a:lnTo>
                  <a:pt x="471" y="139"/>
                </a:lnTo>
                <a:lnTo>
                  <a:pt x="471" y="138"/>
                </a:lnTo>
                <a:lnTo>
                  <a:pt x="470" y="138"/>
                </a:lnTo>
                <a:lnTo>
                  <a:pt x="470" y="140"/>
                </a:lnTo>
                <a:lnTo>
                  <a:pt x="468" y="139"/>
                </a:lnTo>
                <a:lnTo>
                  <a:pt x="468" y="140"/>
                </a:lnTo>
                <a:lnTo>
                  <a:pt x="467" y="141"/>
                </a:lnTo>
                <a:lnTo>
                  <a:pt x="467" y="145"/>
                </a:lnTo>
                <a:lnTo>
                  <a:pt x="465" y="145"/>
                </a:lnTo>
                <a:lnTo>
                  <a:pt x="465" y="146"/>
                </a:lnTo>
                <a:lnTo>
                  <a:pt x="466" y="146"/>
                </a:lnTo>
                <a:lnTo>
                  <a:pt x="466" y="148"/>
                </a:lnTo>
                <a:lnTo>
                  <a:pt x="464" y="151"/>
                </a:lnTo>
                <a:lnTo>
                  <a:pt x="464" y="153"/>
                </a:lnTo>
                <a:lnTo>
                  <a:pt x="461" y="153"/>
                </a:lnTo>
                <a:lnTo>
                  <a:pt x="461" y="152"/>
                </a:lnTo>
                <a:lnTo>
                  <a:pt x="462" y="152"/>
                </a:lnTo>
                <a:lnTo>
                  <a:pt x="462" y="151"/>
                </a:lnTo>
                <a:lnTo>
                  <a:pt x="461" y="151"/>
                </a:lnTo>
                <a:lnTo>
                  <a:pt x="459" y="148"/>
                </a:lnTo>
                <a:lnTo>
                  <a:pt x="453" y="150"/>
                </a:lnTo>
                <a:lnTo>
                  <a:pt x="449" y="150"/>
                </a:lnTo>
                <a:lnTo>
                  <a:pt x="449" y="147"/>
                </a:lnTo>
                <a:lnTo>
                  <a:pt x="452" y="147"/>
                </a:lnTo>
                <a:lnTo>
                  <a:pt x="453" y="144"/>
                </a:lnTo>
                <a:lnTo>
                  <a:pt x="454" y="142"/>
                </a:lnTo>
                <a:lnTo>
                  <a:pt x="457" y="141"/>
                </a:lnTo>
                <a:lnTo>
                  <a:pt x="458" y="139"/>
                </a:lnTo>
                <a:lnTo>
                  <a:pt x="461" y="134"/>
                </a:lnTo>
                <a:lnTo>
                  <a:pt x="462" y="133"/>
                </a:lnTo>
                <a:lnTo>
                  <a:pt x="461" y="132"/>
                </a:lnTo>
                <a:lnTo>
                  <a:pt x="461" y="130"/>
                </a:lnTo>
                <a:lnTo>
                  <a:pt x="460" y="129"/>
                </a:lnTo>
                <a:lnTo>
                  <a:pt x="460" y="134"/>
                </a:lnTo>
                <a:lnTo>
                  <a:pt x="455" y="140"/>
                </a:lnTo>
                <a:lnTo>
                  <a:pt x="453" y="140"/>
                </a:lnTo>
                <a:lnTo>
                  <a:pt x="452" y="141"/>
                </a:lnTo>
                <a:lnTo>
                  <a:pt x="449" y="142"/>
                </a:lnTo>
                <a:lnTo>
                  <a:pt x="448" y="145"/>
                </a:lnTo>
                <a:lnTo>
                  <a:pt x="446" y="146"/>
                </a:lnTo>
                <a:lnTo>
                  <a:pt x="445" y="147"/>
                </a:lnTo>
                <a:lnTo>
                  <a:pt x="446" y="147"/>
                </a:lnTo>
                <a:lnTo>
                  <a:pt x="447" y="148"/>
                </a:lnTo>
                <a:lnTo>
                  <a:pt x="443" y="152"/>
                </a:lnTo>
                <a:lnTo>
                  <a:pt x="442" y="152"/>
                </a:lnTo>
                <a:lnTo>
                  <a:pt x="440" y="157"/>
                </a:lnTo>
                <a:lnTo>
                  <a:pt x="439" y="158"/>
                </a:lnTo>
                <a:lnTo>
                  <a:pt x="436" y="158"/>
                </a:lnTo>
                <a:lnTo>
                  <a:pt x="436" y="157"/>
                </a:lnTo>
                <a:lnTo>
                  <a:pt x="437" y="156"/>
                </a:lnTo>
                <a:lnTo>
                  <a:pt x="436" y="153"/>
                </a:lnTo>
                <a:lnTo>
                  <a:pt x="439" y="151"/>
                </a:lnTo>
                <a:lnTo>
                  <a:pt x="439" y="150"/>
                </a:lnTo>
                <a:lnTo>
                  <a:pt x="440" y="148"/>
                </a:lnTo>
                <a:lnTo>
                  <a:pt x="441" y="145"/>
                </a:lnTo>
                <a:lnTo>
                  <a:pt x="445" y="138"/>
                </a:lnTo>
                <a:lnTo>
                  <a:pt x="447" y="135"/>
                </a:lnTo>
                <a:lnTo>
                  <a:pt x="452" y="135"/>
                </a:lnTo>
                <a:lnTo>
                  <a:pt x="449" y="134"/>
                </a:lnTo>
                <a:lnTo>
                  <a:pt x="448" y="134"/>
                </a:lnTo>
                <a:lnTo>
                  <a:pt x="447" y="133"/>
                </a:lnTo>
                <a:lnTo>
                  <a:pt x="447" y="132"/>
                </a:lnTo>
                <a:lnTo>
                  <a:pt x="449" y="132"/>
                </a:lnTo>
                <a:lnTo>
                  <a:pt x="448" y="130"/>
                </a:lnTo>
                <a:lnTo>
                  <a:pt x="448" y="128"/>
                </a:lnTo>
                <a:lnTo>
                  <a:pt x="445" y="128"/>
                </a:lnTo>
                <a:lnTo>
                  <a:pt x="445" y="126"/>
                </a:lnTo>
                <a:lnTo>
                  <a:pt x="446" y="123"/>
                </a:lnTo>
                <a:lnTo>
                  <a:pt x="449" y="123"/>
                </a:lnTo>
                <a:lnTo>
                  <a:pt x="449" y="121"/>
                </a:lnTo>
                <a:lnTo>
                  <a:pt x="454" y="121"/>
                </a:lnTo>
                <a:lnTo>
                  <a:pt x="455" y="123"/>
                </a:lnTo>
                <a:lnTo>
                  <a:pt x="455" y="122"/>
                </a:lnTo>
                <a:lnTo>
                  <a:pt x="453" y="119"/>
                </a:lnTo>
                <a:lnTo>
                  <a:pt x="455" y="119"/>
                </a:lnTo>
                <a:lnTo>
                  <a:pt x="455" y="116"/>
                </a:lnTo>
                <a:lnTo>
                  <a:pt x="460" y="116"/>
                </a:lnTo>
                <a:lnTo>
                  <a:pt x="461" y="117"/>
                </a:lnTo>
                <a:lnTo>
                  <a:pt x="461" y="119"/>
                </a:lnTo>
                <a:lnTo>
                  <a:pt x="462" y="119"/>
                </a:lnTo>
                <a:lnTo>
                  <a:pt x="464" y="117"/>
                </a:lnTo>
                <a:lnTo>
                  <a:pt x="462" y="117"/>
                </a:lnTo>
                <a:lnTo>
                  <a:pt x="462" y="116"/>
                </a:lnTo>
                <a:lnTo>
                  <a:pt x="461" y="116"/>
                </a:lnTo>
                <a:lnTo>
                  <a:pt x="461" y="115"/>
                </a:lnTo>
                <a:lnTo>
                  <a:pt x="459" y="115"/>
                </a:lnTo>
                <a:lnTo>
                  <a:pt x="457" y="113"/>
                </a:lnTo>
                <a:lnTo>
                  <a:pt x="457" y="111"/>
                </a:lnTo>
                <a:lnTo>
                  <a:pt x="455" y="109"/>
                </a:lnTo>
                <a:lnTo>
                  <a:pt x="455" y="104"/>
                </a:lnTo>
                <a:lnTo>
                  <a:pt x="461" y="104"/>
                </a:lnTo>
                <a:lnTo>
                  <a:pt x="461" y="103"/>
                </a:lnTo>
                <a:lnTo>
                  <a:pt x="462" y="103"/>
                </a:lnTo>
                <a:lnTo>
                  <a:pt x="465" y="105"/>
                </a:lnTo>
                <a:lnTo>
                  <a:pt x="467" y="107"/>
                </a:lnTo>
                <a:lnTo>
                  <a:pt x="466" y="105"/>
                </a:lnTo>
                <a:lnTo>
                  <a:pt x="465" y="105"/>
                </a:lnTo>
                <a:lnTo>
                  <a:pt x="465" y="103"/>
                </a:lnTo>
                <a:lnTo>
                  <a:pt x="464" y="102"/>
                </a:lnTo>
                <a:lnTo>
                  <a:pt x="457" y="102"/>
                </a:lnTo>
                <a:lnTo>
                  <a:pt x="457" y="96"/>
                </a:lnTo>
                <a:lnTo>
                  <a:pt x="455" y="95"/>
                </a:lnTo>
                <a:lnTo>
                  <a:pt x="458" y="95"/>
                </a:lnTo>
                <a:lnTo>
                  <a:pt x="459" y="93"/>
                </a:lnTo>
                <a:lnTo>
                  <a:pt x="459" y="92"/>
                </a:lnTo>
                <a:lnTo>
                  <a:pt x="460" y="92"/>
                </a:lnTo>
                <a:lnTo>
                  <a:pt x="462" y="93"/>
                </a:lnTo>
                <a:lnTo>
                  <a:pt x="464" y="92"/>
                </a:lnTo>
                <a:lnTo>
                  <a:pt x="462" y="92"/>
                </a:lnTo>
                <a:lnTo>
                  <a:pt x="461" y="91"/>
                </a:lnTo>
                <a:lnTo>
                  <a:pt x="460" y="91"/>
                </a:lnTo>
                <a:lnTo>
                  <a:pt x="460" y="87"/>
                </a:lnTo>
                <a:lnTo>
                  <a:pt x="461" y="86"/>
                </a:lnTo>
                <a:lnTo>
                  <a:pt x="464" y="85"/>
                </a:lnTo>
                <a:lnTo>
                  <a:pt x="462" y="84"/>
                </a:lnTo>
                <a:lnTo>
                  <a:pt x="462" y="82"/>
                </a:lnTo>
                <a:lnTo>
                  <a:pt x="464" y="78"/>
                </a:lnTo>
                <a:lnTo>
                  <a:pt x="464" y="77"/>
                </a:lnTo>
                <a:lnTo>
                  <a:pt x="470" y="77"/>
                </a:lnTo>
                <a:lnTo>
                  <a:pt x="473" y="76"/>
                </a:lnTo>
                <a:close/>
                <a:moveTo>
                  <a:pt x="492" y="72"/>
                </a:moveTo>
                <a:lnTo>
                  <a:pt x="495" y="73"/>
                </a:lnTo>
                <a:lnTo>
                  <a:pt x="498" y="77"/>
                </a:lnTo>
                <a:lnTo>
                  <a:pt x="501" y="77"/>
                </a:lnTo>
                <a:lnTo>
                  <a:pt x="503" y="76"/>
                </a:lnTo>
                <a:lnTo>
                  <a:pt x="504" y="77"/>
                </a:lnTo>
                <a:lnTo>
                  <a:pt x="504" y="80"/>
                </a:lnTo>
                <a:lnTo>
                  <a:pt x="503" y="82"/>
                </a:lnTo>
                <a:lnTo>
                  <a:pt x="504" y="84"/>
                </a:lnTo>
                <a:lnTo>
                  <a:pt x="503" y="85"/>
                </a:lnTo>
                <a:lnTo>
                  <a:pt x="497" y="85"/>
                </a:lnTo>
                <a:lnTo>
                  <a:pt x="496" y="84"/>
                </a:lnTo>
                <a:lnTo>
                  <a:pt x="493" y="80"/>
                </a:lnTo>
                <a:lnTo>
                  <a:pt x="491" y="78"/>
                </a:lnTo>
                <a:lnTo>
                  <a:pt x="490" y="76"/>
                </a:lnTo>
                <a:lnTo>
                  <a:pt x="492" y="72"/>
                </a:lnTo>
                <a:close/>
                <a:moveTo>
                  <a:pt x="440" y="71"/>
                </a:moveTo>
                <a:lnTo>
                  <a:pt x="442" y="71"/>
                </a:lnTo>
                <a:lnTo>
                  <a:pt x="443" y="72"/>
                </a:lnTo>
                <a:lnTo>
                  <a:pt x="443" y="77"/>
                </a:lnTo>
                <a:lnTo>
                  <a:pt x="445" y="79"/>
                </a:lnTo>
                <a:lnTo>
                  <a:pt x="445" y="80"/>
                </a:lnTo>
                <a:lnTo>
                  <a:pt x="446" y="80"/>
                </a:lnTo>
                <a:lnTo>
                  <a:pt x="447" y="83"/>
                </a:lnTo>
                <a:lnTo>
                  <a:pt x="446" y="84"/>
                </a:lnTo>
                <a:lnTo>
                  <a:pt x="445" y="84"/>
                </a:lnTo>
                <a:lnTo>
                  <a:pt x="445" y="85"/>
                </a:lnTo>
                <a:lnTo>
                  <a:pt x="446" y="86"/>
                </a:lnTo>
                <a:lnTo>
                  <a:pt x="448" y="82"/>
                </a:lnTo>
                <a:lnTo>
                  <a:pt x="449" y="83"/>
                </a:lnTo>
                <a:lnTo>
                  <a:pt x="448" y="87"/>
                </a:lnTo>
                <a:lnTo>
                  <a:pt x="448" y="89"/>
                </a:lnTo>
                <a:lnTo>
                  <a:pt x="447" y="92"/>
                </a:lnTo>
                <a:lnTo>
                  <a:pt x="449" y="90"/>
                </a:lnTo>
                <a:lnTo>
                  <a:pt x="449" y="89"/>
                </a:lnTo>
                <a:lnTo>
                  <a:pt x="452" y="90"/>
                </a:lnTo>
                <a:lnTo>
                  <a:pt x="453" y="90"/>
                </a:lnTo>
                <a:lnTo>
                  <a:pt x="453" y="91"/>
                </a:lnTo>
                <a:lnTo>
                  <a:pt x="452" y="93"/>
                </a:lnTo>
                <a:lnTo>
                  <a:pt x="452" y="95"/>
                </a:lnTo>
                <a:lnTo>
                  <a:pt x="449" y="96"/>
                </a:lnTo>
                <a:lnTo>
                  <a:pt x="449" y="95"/>
                </a:lnTo>
                <a:lnTo>
                  <a:pt x="448" y="96"/>
                </a:lnTo>
                <a:lnTo>
                  <a:pt x="449" y="98"/>
                </a:lnTo>
                <a:lnTo>
                  <a:pt x="448" y="99"/>
                </a:lnTo>
                <a:lnTo>
                  <a:pt x="449" y="101"/>
                </a:lnTo>
                <a:lnTo>
                  <a:pt x="452" y="102"/>
                </a:lnTo>
                <a:lnTo>
                  <a:pt x="453" y="103"/>
                </a:lnTo>
                <a:lnTo>
                  <a:pt x="454" y="108"/>
                </a:lnTo>
                <a:lnTo>
                  <a:pt x="453" y="110"/>
                </a:lnTo>
                <a:lnTo>
                  <a:pt x="449" y="113"/>
                </a:lnTo>
                <a:lnTo>
                  <a:pt x="440" y="121"/>
                </a:lnTo>
                <a:lnTo>
                  <a:pt x="431" y="121"/>
                </a:lnTo>
                <a:lnTo>
                  <a:pt x="430" y="120"/>
                </a:lnTo>
                <a:lnTo>
                  <a:pt x="430" y="119"/>
                </a:lnTo>
                <a:lnTo>
                  <a:pt x="431" y="119"/>
                </a:lnTo>
                <a:lnTo>
                  <a:pt x="429" y="117"/>
                </a:lnTo>
                <a:lnTo>
                  <a:pt x="429" y="114"/>
                </a:lnTo>
                <a:lnTo>
                  <a:pt x="431" y="114"/>
                </a:lnTo>
                <a:lnTo>
                  <a:pt x="435" y="111"/>
                </a:lnTo>
                <a:lnTo>
                  <a:pt x="439" y="111"/>
                </a:lnTo>
                <a:lnTo>
                  <a:pt x="439" y="109"/>
                </a:lnTo>
                <a:lnTo>
                  <a:pt x="440" y="109"/>
                </a:lnTo>
                <a:lnTo>
                  <a:pt x="441" y="108"/>
                </a:lnTo>
                <a:lnTo>
                  <a:pt x="442" y="108"/>
                </a:lnTo>
                <a:lnTo>
                  <a:pt x="443" y="107"/>
                </a:lnTo>
                <a:lnTo>
                  <a:pt x="443" y="101"/>
                </a:lnTo>
                <a:lnTo>
                  <a:pt x="437" y="98"/>
                </a:lnTo>
                <a:lnTo>
                  <a:pt x="436" y="99"/>
                </a:lnTo>
                <a:lnTo>
                  <a:pt x="437" y="99"/>
                </a:lnTo>
                <a:lnTo>
                  <a:pt x="440" y="102"/>
                </a:lnTo>
                <a:lnTo>
                  <a:pt x="439" y="104"/>
                </a:lnTo>
                <a:lnTo>
                  <a:pt x="436" y="107"/>
                </a:lnTo>
                <a:lnTo>
                  <a:pt x="435" y="107"/>
                </a:lnTo>
                <a:lnTo>
                  <a:pt x="435" y="105"/>
                </a:lnTo>
                <a:lnTo>
                  <a:pt x="434" y="108"/>
                </a:lnTo>
                <a:lnTo>
                  <a:pt x="433" y="109"/>
                </a:lnTo>
                <a:lnTo>
                  <a:pt x="431" y="109"/>
                </a:lnTo>
                <a:lnTo>
                  <a:pt x="431" y="108"/>
                </a:lnTo>
                <a:lnTo>
                  <a:pt x="429" y="110"/>
                </a:lnTo>
                <a:lnTo>
                  <a:pt x="429" y="105"/>
                </a:lnTo>
                <a:lnTo>
                  <a:pt x="428" y="107"/>
                </a:lnTo>
                <a:lnTo>
                  <a:pt x="428" y="109"/>
                </a:lnTo>
                <a:lnTo>
                  <a:pt x="427" y="110"/>
                </a:lnTo>
                <a:lnTo>
                  <a:pt x="427" y="111"/>
                </a:lnTo>
                <a:lnTo>
                  <a:pt x="424" y="109"/>
                </a:lnTo>
                <a:lnTo>
                  <a:pt x="423" y="107"/>
                </a:lnTo>
                <a:lnTo>
                  <a:pt x="423" y="109"/>
                </a:lnTo>
                <a:lnTo>
                  <a:pt x="422" y="110"/>
                </a:lnTo>
                <a:lnTo>
                  <a:pt x="421" y="113"/>
                </a:lnTo>
                <a:lnTo>
                  <a:pt x="421" y="116"/>
                </a:lnTo>
                <a:lnTo>
                  <a:pt x="417" y="116"/>
                </a:lnTo>
                <a:lnTo>
                  <a:pt x="415" y="119"/>
                </a:lnTo>
                <a:lnTo>
                  <a:pt x="412" y="117"/>
                </a:lnTo>
                <a:lnTo>
                  <a:pt x="412" y="110"/>
                </a:lnTo>
                <a:lnTo>
                  <a:pt x="411" y="111"/>
                </a:lnTo>
                <a:lnTo>
                  <a:pt x="411" y="110"/>
                </a:lnTo>
                <a:lnTo>
                  <a:pt x="410" y="109"/>
                </a:lnTo>
                <a:lnTo>
                  <a:pt x="411" y="108"/>
                </a:lnTo>
                <a:lnTo>
                  <a:pt x="411" y="107"/>
                </a:lnTo>
                <a:lnTo>
                  <a:pt x="412" y="107"/>
                </a:lnTo>
                <a:lnTo>
                  <a:pt x="412" y="105"/>
                </a:lnTo>
                <a:lnTo>
                  <a:pt x="414" y="104"/>
                </a:lnTo>
                <a:lnTo>
                  <a:pt x="417" y="103"/>
                </a:lnTo>
                <a:lnTo>
                  <a:pt x="417" y="102"/>
                </a:lnTo>
                <a:lnTo>
                  <a:pt x="416" y="102"/>
                </a:lnTo>
                <a:lnTo>
                  <a:pt x="414" y="101"/>
                </a:lnTo>
                <a:lnTo>
                  <a:pt x="414" y="98"/>
                </a:lnTo>
                <a:lnTo>
                  <a:pt x="415" y="96"/>
                </a:lnTo>
                <a:lnTo>
                  <a:pt x="417" y="95"/>
                </a:lnTo>
                <a:lnTo>
                  <a:pt x="418" y="96"/>
                </a:lnTo>
                <a:lnTo>
                  <a:pt x="418" y="102"/>
                </a:lnTo>
                <a:lnTo>
                  <a:pt x="420" y="103"/>
                </a:lnTo>
                <a:lnTo>
                  <a:pt x="421" y="103"/>
                </a:lnTo>
                <a:lnTo>
                  <a:pt x="421" y="102"/>
                </a:lnTo>
                <a:lnTo>
                  <a:pt x="420" y="102"/>
                </a:lnTo>
                <a:lnTo>
                  <a:pt x="420" y="99"/>
                </a:lnTo>
                <a:lnTo>
                  <a:pt x="421" y="98"/>
                </a:lnTo>
                <a:lnTo>
                  <a:pt x="421" y="97"/>
                </a:lnTo>
                <a:lnTo>
                  <a:pt x="422" y="97"/>
                </a:lnTo>
                <a:lnTo>
                  <a:pt x="421" y="96"/>
                </a:lnTo>
                <a:lnTo>
                  <a:pt x="421" y="92"/>
                </a:lnTo>
                <a:lnTo>
                  <a:pt x="422" y="91"/>
                </a:lnTo>
                <a:lnTo>
                  <a:pt x="423" y="92"/>
                </a:lnTo>
                <a:lnTo>
                  <a:pt x="423" y="93"/>
                </a:lnTo>
                <a:lnTo>
                  <a:pt x="424" y="95"/>
                </a:lnTo>
                <a:lnTo>
                  <a:pt x="423" y="99"/>
                </a:lnTo>
                <a:lnTo>
                  <a:pt x="423" y="101"/>
                </a:lnTo>
                <a:lnTo>
                  <a:pt x="426" y="99"/>
                </a:lnTo>
                <a:lnTo>
                  <a:pt x="428" y="97"/>
                </a:lnTo>
                <a:lnTo>
                  <a:pt x="430" y="96"/>
                </a:lnTo>
                <a:lnTo>
                  <a:pt x="431" y="97"/>
                </a:lnTo>
                <a:lnTo>
                  <a:pt x="431" y="101"/>
                </a:lnTo>
                <a:lnTo>
                  <a:pt x="433" y="101"/>
                </a:lnTo>
                <a:lnTo>
                  <a:pt x="434" y="98"/>
                </a:lnTo>
                <a:lnTo>
                  <a:pt x="435" y="97"/>
                </a:lnTo>
                <a:lnTo>
                  <a:pt x="434" y="96"/>
                </a:lnTo>
                <a:lnTo>
                  <a:pt x="435" y="95"/>
                </a:lnTo>
                <a:lnTo>
                  <a:pt x="435" y="93"/>
                </a:lnTo>
                <a:lnTo>
                  <a:pt x="433" y="90"/>
                </a:lnTo>
                <a:lnTo>
                  <a:pt x="435" y="87"/>
                </a:lnTo>
                <a:lnTo>
                  <a:pt x="436" y="90"/>
                </a:lnTo>
                <a:lnTo>
                  <a:pt x="436" y="96"/>
                </a:lnTo>
                <a:lnTo>
                  <a:pt x="437" y="96"/>
                </a:lnTo>
                <a:lnTo>
                  <a:pt x="437" y="92"/>
                </a:lnTo>
                <a:lnTo>
                  <a:pt x="439" y="90"/>
                </a:lnTo>
                <a:lnTo>
                  <a:pt x="440" y="90"/>
                </a:lnTo>
                <a:lnTo>
                  <a:pt x="443" y="93"/>
                </a:lnTo>
                <a:lnTo>
                  <a:pt x="443" y="91"/>
                </a:lnTo>
                <a:lnTo>
                  <a:pt x="442" y="89"/>
                </a:lnTo>
                <a:lnTo>
                  <a:pt x="440" y="86"/>
                </a:lnTo>
                <a:lnTo>
                  <a:pt x="440" y="83"/>
                </a:lnTo>
                <a:lnTo>
                  <a:pt x="437" y="80"/>
                </a:lnTo>
                <a:lnTo>
                  <a:pt x="437" y="74"/>
                </a:lnTo>
                <a:lnTo>
                  <a:pt x="440" y="71"/>
                </a:lnTo>
                <a:close/>
                <a:moveTo>
                  <a:pt x="545" y="61"/>
                </a:moveTo>
                <a:lnTo>
                  <a:pt x="546" y="61"/>
                </a:lnTo>
                <a:lnTo>
                  <a:pt x="545" y="62"/>
                </a:lnTo>
                <a:lnTo>
                  <a:pt x="545" y="65"/>
                </a:lnTo>
                <a:lnTo>
                  <a:pt x="541" y="68"/>
                </a:lnTo>
                <a:lnTo>
                  <a:pt x="540" y="68"/>
                </a:lnTo>
                <a:lnTo>
                  <a:pt x="540" y="70"/>
                </a:lnTo>
                <a:lnTo>
                  <a:pt x="539" y="72"/>
                </a:lnTo>
                <a:lnTo>
                  <a:pt x="538" y="73"/>
                </a:lnTo>
                <a:lnTo>
                  <a:pt x="536" y="72"/>
                </a:lnTo>
                <a:lnTo>
                  <a:pt x="535" y="72"/>
                </a:lnTo>
                <a:lnTo>
                  <a:pt x="536" y="71"/>
                </a:lnTo>
                <a:lnTo>
                  <a:pt x="536" y="66"/>
                </a:lnTo>
                <a:lnTo>
                  <a:pt x="538" y="65"/>
                </a:lnTo>
                <a:lnTo>
                  <a:pt x="539" y="62"/>
                </a:lnTo>
                <a:lnTo>
                  <a:pt x="540" y="62"/>
                </a:lnTo>
                <a:lnTo>
                  <a:pt x="545" y="61"/>
                </a:lnTo>
                <a:close/>
                <a:moveTo>
                  <a:pt x="483" y="35"/>
                </a:moveTo>
                <a:lnTo>
                  <a:pt x="485" y="35"/>
                </a:lnTo>
                <a:lnTo>
                  <a:pt x="485" y="42"/>
                </a:lnTo>
                <a:lnTo>
                  <a:pt x="483" y="47"/>
                </a:lnTo>
                <a:lnTo>
                  <a:pt x="483" y="54"/>
                </a:lnTo>
                <a:lnTo>
                  <a:pt x="482" y="55"/>
                </a:lnTo>
                <a:lnTo>
                  <a:pt x="479" y="56"/>
                </a:lnTo>
                <a:lnTo>
                  <a:pt x="478" y="59"/>
                </a:lnTo>
                <a:lnTo>
                  <a:pt x="477" y="60"/>
                </a:lnTo>
                <a:lnTo>
                  <a:pt x="477" y="61"/>
                </a:lnTo>
                <a:lnTo>
                  <a:pt x="476" y="64"/>
                </a:lnTo>
                <a:lnTo>
                  <a:pt x="474" y="65"/>
                </a:lnTo>
                <a:lnTo>
                  <a:pt x="473" y="65"/>
                </a:lnTo>
                <a:lnTo>
                  <a:pt x="473" y="68"/>
                </a:lnTo>
                <a:lnTo>
                  <a:pt x="472" y="68"/>
                </a:lnTo>
                <a:lnTo>
                  <a:pt x="471" y="70"/>
                </a:lnTo>
                <a:lnTo>
                  <a:pt x="464" y="73"/>
                </a:lnTo>
                <a:lnTo>
                  <a:pt x="460" y="70"/>
                </a:lnTo>
                <a:lnTo>
                  <a:pt x="459" y="71"/>
                </a:lnTo>
                <a:lnTo>
                  <a:pt x="460" y="72"/>
                </a:lnTo>
                <a:lnTo>
                  <a:pt x="460" y="73"/>
                </a:lnTo>
                <a:lnTo>
                  <a:pt x="461" y="74"/>
                </a:lnTo>
                <a:lnTo>
                  <a:pt x="461" y="77"/>
                </a:lnTo>
                <a:lnTo>
                  <a:pt x="460" y="78"/>
                </a:lnTo>
                <a:lnTo>
                  <a:pt x="459" y="83"/>
                </a:lnTo>
                <a:lnTo>
                  <a:pt x="458" y="84"/>
                </a:lnTo>
                <a:lnTo>
                  <a:pt x="457" y="86"/>
                </a:lnTo>
                <a:lnTo>
                  <a:pt x="455" y="85"/>
                </a:lnTo>
                <a:lnTo>
                  <a:pt x="454" y="83"/>
                </a:lnTo>
                <a:lnTo>
                  <a:pt x="455" y="80"/>
                </a:lnTo>
                <a:lnTo>
                  <a:pt x="455" y="78"/>
                </a:lnTo>
                <a:lnTo>
                  <a:pt x="454" y="77"/>
                </a:lnTo>
                <a:lnTo>
                  <a:pt x="457" y="72"/>
                </a:lnTo>
                <a:lnTo>
                  <a:pt x="457" y="71"/>
                </a:lnTo>
                <a:lnTo>
                  <a:pt x="459" y="66"/>
                </a:lnTo>
                <a:lnTo>
                  <a:pt x="460" y="62"/>
                </a:lnTo>
                <a:lnTo>
                  <a:pt x="462" y="58"/>
                </a:lnTo>
                <a:lnTo>
                  <a:pt x="465" y="55"/>
                </a:lnTo>
                <a:lnTo>
                  <a:pt x="468" y="54"/>
                </a:lnTo>
                <a:lnTo>
                  <a:pt x="470" y="53"/>
                </a:lnTo>
                <a:lnTo>
                  <a:pt x="472" y="46"/>
                </a:lnTo>
                <a:lnTo>
                  <a:pt x="473" y="45"/>
                </a:lnTo>
                <a:lnTo>
                  <a:pt x="473" y="42"/>
                </a:lnTo>
                <a:lnTo>
                  <a:pt x="474" y="42"/>
                </a:lnTo>
                <a:lnTo>
                  <a:pt x="476" y="41"/>
                </a:lnTo>
                <a:lnTo>
                  <a:pt x="478" y="37"/>
                </a:lnTo>
                <a:lnTo>
                  <a:pt x="483" y="35"/>
                </a:lnTo>
                <a:close/>
                <a:moveTo>
                  <a:pt x="541" y="0"/>
                </a:moveTo>
                <a:lnTo>
                  <a:pt x="544" y="0"/>
                </a:lnTo>
                <a:lnTo>
                  <a:pt x="545" y="4"/>
                </a:lnTo>
                <a:lnTo>
                  <a:pt x="547" y="10"/>
                </a:lnTo>
                <a:lnTo>
                  <a:pt x="548" y="11"/>
                </a:lnTo>
                <a:lnTo>
                  <a:pt x="549" y="11"/>
                </a:lnTo>
                <a:lnTo>
                  <a:pt x="551" y="10"/>
                </a:lnTo>
                <a:lnTo>
                  <a:pt x="551" y="9"/>
                </a:lnTo>
                <a:lnTo>
                  <a:pt x="549" y="9"/>
                </a:lnTo>
                <a:lnTo>
                  <a:pt x="549" y="3"/>
                </a:lnTo>
                <a:lnTo>
                  <a:pt x="548" y="2"/>
                </a:lnTo>
                <a:lnTo>
                  <a:pt x="549" y="0"/>
                </a:lnTo>
                <a:lnTo>
                  <a:pt x="551" y="0"/>
                </a:lnTo>
                <a:lnTo>
                  <a:pt x="551" y="2"/>
                </a:lnTo>
                <a:lnTo>
                  <a:pt x="552" y="6"/>
                </a:lnTo>
                <a:lnTo>
                  <a:pt x="553" y="7"/>
                </a:lnTo>
                <a:lnTo>
                  <a:pt x="554" y="6"/>
                </a:lnTo>
                <a:lnTo>
                  <a:pt x="555" y="4"/>
                </a:lnTo>
                <a:lnTo>
                  <a:pt x="555" y="2"/>
                </a:lnTo>
                <a:lnTo>
                  <a:pt x="558" y="2"/>
                </a:lnTo>
                <a:lnTo>
                  <a:pt x="558" y="4"/>
                </a:lnTo>
                <a:lnTo>
                  <a:pt x="559" y="7"/>
                </a:lnTo>
                <a:lnTo>
                  <a:pt x="559" y="9"/>
                </a:lnTo>
                <a:lnTo>
                  <a:pt x="557" y="11"/>
                </a:lnTo>
                <a:lnTo>
                  <a:pt x="557" y="15"/>
                </a:lnTo>
                <a:lnTo>
                  <a:pt x="555" y="17"/>
                </a:lnTo>
                <a:lnTo>
                  <a:pt x="557" y="18"/>
                </a:lnTo>
                <a:lnTo>
                  <a:pt x="557" y="19"/>
                </a:lnTo>
                <a:lnTo>
                  <a:pt x="558" y="18"/>
                </a:lnTo>
                <a:lnTo>
                  <a:pt x="558" y="16"/>
                </a:lnTo>
                <a:lnTo>
                  <a:pt x="559" y="13"/>
                </a:lnTo>
                <a:lnTo>
                  <a:pt x="559" y="12"/>
                </a:lnTo>
                <a:lnTo>
                  <a:pt x="560" y="12"/>
                </a:lnTo>
                <a:lnTo>
                  <a:pt x="560" y="10"/>
                </a:lnTo>
                <a:lnTo>
                  <a:pt x="563" y="10"/>
                </a:lnTo>
                <a:lnTo>
                  <a:pt x="565" y="13"/>
                </a:lnTo>
                <a:lnTo>
                  <a:pt x="565" y="15"/>
                </a:lnTo>
                <a:lnTo>
                  <a:pt x="563" y="15"/>
                </a:lnTo>
                <a:lnTo>
                  <a:pt x="563" y="18"/>
                </a:lnTo>
                <a:lnTo>
                  <a:pt x="561" y="21"/>
                </a:lnTo>
                <a:lnTo>
                  <a:pt x="563" y="23"/>
                </a:lnTo>
                <a:lnTo>
                  <a:pt x="564" y="23"/>
                </a:lnTo>
                <a:lnTo>
                  <a:pt x="564" y="21"/>
                </a:lnTo>
                <a:lnTo>
                  <a:pt x="565" y="19"/>
                </a:lnTo>
                <a:lnTo>
                  <a:pt x="566" y="19"/>
                </a:lnTo>
                <a:lnTo>
                  <a:pt x="566" y="22"/>
                </a:lnTo>
                <a:lnTo>
                  <a:pt x="567" y="25"/>
                </a:lnTo>
                <a:lnTo>
                  <a:pt x="567" y="30"/>
                </a:lnTo>
                <a:lnTo>
                  <a:pt x="564" y="30"/>
                </a:lnTo>
                <a:lnTo>
                  <a:pt x="561" y="31"/>
                </a:lnTo>
                <a:lnTo>
                  <a:pt x="559" y="34"/>
                </a:lnTo>
                <a:lnTo>
                  <a:pt x="560" y="35"/>
                </a:lnTo>
                <a:lnTo>
                  <a:pt x="560" y="39"/>
                </a:lnTo>
                <a:lnTo>
                  <a:pt x="561" y="40"/>
                </a:lnTo>
                <a:lnTo>
                  <a:pt x="561" y="42"/>
                </a:lnTo>
                <a:lnTo>
                  <a:pt x="558" y="42"/>
                </a:lnTo>
                <a:lnTo>
                  <a:pt x="558" y="43"/>
                </a:lnTo>
                <a:lnTo>
                  <a:pt x="560" y="45"/>
                </a:lnTo>
                <a:lnTo>
                  <a:pt x="561" y="46"/>
                </a:lnTo>
                <a:lnTo>
                  <a:pt x="561" y="48"/>
                </a:lnTo>
                <a:lnTo>
                  <a:pt x="564" y="48"/>
                </a:lnTo>
                <a:lnTo>
                  <a:pt x="561" y="50"/>
                </a:lnTo>
                <a:lnTo>
                  <a:pt x="555" y="52"/>
                </a:lnTo>
                <a:lnTo>
                  <a:pt x="551" y="52"/>
                </a:lnTo>
                <a:lnTo>
                  <a:pt x="547" y="54"/>
                </a:lnTo>
                <a:lnTo>
                  <a:pt x="544" y="53"/>
                </a:lnTo>
                <a:lnTo>
                  <a:pt x="542" y="54"/>
                </a:lnTo>
                <a:lnTo>
                  <a:pt x="542" y="50"/>
                </a:lnTo>
                <a:lnTo>
                  <a:pt x="544" y="48"/>
                </a:lnTo>
                <a:lnTo>
                  <a:pt x="541" y="48"/>
                </a:lnTo>
                <a:lnTo>
                  <a:pt x="539" y="50"/>
                </a:lnTo>
                <a:lnTo>
                  <a:pt x="538" y="54"/>
                </a:lnTo>
                <a:lnTo>
                  <a:pt x="529" y="62"/>
                </a:lnTo>
                <a:lnTo>
                  <a:pt x="528" y="66"/>
                </a:lnTo>
                <a:lnTo>
                  <a:pt x="528" y="67"/>
                </a:lnTo>
                <a:lnTo>
                  <a:pt x="529" y="66"/>
                </a:lnTo>
                <a:lnTo>
                  <a:pt x="530" y="67"/>
                </a:lnTo>
                <a:lnTo>
                  <a:pt x="529" y="70"/>
                </a:lnTo>
                <a:lnTo>
                  <a:pt x="527" y="71"/>
                </a:lnTo>
                <a:lnTo>
                  <a:pt x="524" y="71"/>
                </a:lnTo>
                <a:lnTo>
                  <a:pt x="523" y="70"/>
                </a:lnTo>
                <a:lnTo>
                  <a:pt x="523" y="67"/>
                </a:lnTo>
                <a:lnTo>
                  <a:pt x="526" y="67"/>
                </a:lnTo>
                <a:lnTo>
                  <a:pt x="524" y="66"/>
                </a:lnTo>
                <a:lnTo>
                  <a:pt x="524" y="65"/>
                </a:lnTo>
                <a:lnTo>
                  <a:pt x="526" y="64"/>
                </a:lnTo>
                <a:lnTo>
                  <a:pt x="527" y="64"/>
                </a:lnTo>
                <a:lnTo>
                  <a:pt x="526" y="62"/>
                </a:lnTo>
                <a:lnTo>
                  <a:pt x="514" y="66"/>
                </a:lnTo>
                <a:lnTo>
                  <a:pt x="514" y="65"/>
                </a:lnTo>
                <a:lnTo>
                  <a:pt x="511" y="64"/>
                </a:lnTo>
                <a:lnTo>
                  <a:pt x="511" y="61"/>
                </a:lnTo>
                <a:lnTo>
                  <a:pt x="513" y="59"/>
                </a:lnTo>
                <a:lnTo>
                  <a:pt x="514" y="58"/>
                </a:lnTo>
                <a:lnTo>
                  <a:pt x="516" y="60"/>
                </a:lnTo>
                <a:lnTo>
                  <a:pt x="517" y="60"/>
                </a:lnTo>
                <a:lnTo>
                  <a:pt x="516" y="56"/>
                </a:lnTo>
                <a:lnTo>
                  <a:pt x="521" y="55"/>
                </a:lnTo>
                <a:lnTo>
                  <a:pt x="522" y="56"/>
                </a:lnTo>
                <a:lnTo>
                  <a:pt x="523" y="56"/>
                </a:lnTo>
                <a:lnTo>
                  <a:pt x="524" y="54"/>
                </a:lnTo>
                <a:lnTo>
                  <a:pt x="523" y="54"/>
                </a:lnTo>
                <a:lnTo>
                  <a:pt x="523" y="53"/>
                </a:lnTo>
                <a:lnTo>
                  <a:pt x="527" y="50"/>
                </a:lnTo>
                <a:lnTo>
                  <a:pt x="528" y="48"/>
                </a:lnTo>
                <a:lnTo>
                  <a:pt x="524" y="50"/>
                </a:lnTo>
                <a:lnTo>
                  <a:pt x="523" y="50"/>
                </a:lnTo>
                <a:lnTo>
                  <a:pt x="520" y="49"/>
                </a:lnTo>
                <a:lnTo>
                  <a:pt x="517" y="49"/>
                </a:lnTo>
                <a:lnTo>
                  <a:pt x="517" y="46"/>
                </a:lnTo>
                <a:lnTo>
                  <a:pt x="516" y="46"/>
                </a:lnTo>
                <a:lnTo>
                  <a:pt x="518" y="45"/>
                </a:lnTo>
                <a:lnTo>
                  <a:pt x="524" y="45"/>
                </a:lnTo>
                <a:lnTo>
                  <a:pt x="527" y="42"/>
                </a:lnTo>
                <a:lnTo>
                  <a:pt x="526" y="42"/>
                </a:lnTo>
                <a:lnTo>
                  <a:pt x="526" y="39"/>
                </a:lnTo>
                <a:lnTo>
                  <a:pt x="524" y="37"/>
                </a:lnTo>
                <a:lnTo>
                  <a:pt x="524" y="40"/>
                </a:lnTo>
                <a:lnTo>
                  <a:pt x="521" y="40"/>
                </a:lnTo>
                <a:lnTo>
                  <a:pt x="521" y="37"/>
                </a:lnTo>
                <a:lnTo>
                  <a:pt x="522" y="36"/>
                </a:lnTo>
                <a:lnTo>
                  <a:pt x="518" y="37"/>
                </a:lnTo>
                <a:lnTo>
                  <a:pt x="517" y="36"/>
                </a:lnTo>
                <a:lnTo>
                  <a:pt x="517" y="34"/>
                </a:lnTo>
                <a:lnTo>
                  <a:pt x="527" y="35"/>
                </a:lnTo>
                <a:lnTo>
                  <a:pt x="526" y="34"/>
                </a:lnTo>
                <a:lnTo>
                  <a:pt x="526" y="33"/>
                </a:lnTo>
                <a:lnTo>
                  <a:pt x="523" y="33"/>
                </a:lnTo>
                <a:lnTo>
                  <a:pt x="523" y="30"/>
                </a:lnTo>
                <a:lnTo>
                  <a:pt x="526" y="30"/>
                </a:lnTo>
                <a:lnTo>
                  <a:pt x="524" y="29"/>
                </a:lnTo>
                <a:lnTo>
                  <a:pt x="523" y="29"/>
                </a:lnTo>
                <a:lnTo>
                  <a:pt x="520" y="30"/>
                </a:lnTo>
                <a:lnTo>
                  <a:pt x="516" y="29"/>
                </a:lnTo>
                <a:lnTo>
                  <a:pt x="518" y="27"/>
                </a:lnTo>
                <a:lnTo>
                  <a:pt x="518" y="24"/>
                </a:lnTo>
                <a:lnTo>
                  <a:pt x="521" y="25"/>
                </a:lnTo>
                <a:lnTo>
                  <a:pt x="522" y="24"/>
                </a:lnTo>
                <a:lnTo>
                  <a:pt x="523" y="24"/>
                </a:lnTo>
                <a:lnTo>
                  <a:pt x="523" y="25"/>
                </a:lnTo>
                <a:lnTo>
                  <a:pt x="524" y="27"/>
                </a:lnTo>
                <a:lnTo>
                  <a:pt x="527" y="24"/>
                </a:lnTo>
                <a:lnTo>
                  <a:pt x="533" y="25"/>
                </a:lnTo>
                <a:lnTo>
                  <a:pt x="536" y="29"/>
                </a:lnTo>
                <a:lnTo>
                  <a:pt x="538" y="29"/>
                </a:lnTo>
                <a:lnTo>
                  <a:pt x="538" y="27"/>
                </a:lnTo>
                <a:lnTo>
                  <a:pt x="536" y="25"/>
                </a:lnTo>
                <a:lnTo>
                  <a:pt x="535" y="25"/>
                </a:lnTo>
                <a:lnTo>
                  <a:pt x="534" y="23"/>
                </a:lnTo>
                <a:lnTo>
                  <a:pt x="540" y="23"/>
                </a:lnTo>
                <a:lnTo>
                  <a:pt x="542" y="21"/>
                </a:lnTo>
                <a:lnTo>
                  <a:pt x="535" y="19"/>
                </a:lnTo>
                <a:lnTo>
                  <a:pt x="532" y="18"/>
                </a:lnTo>
                <a:lnTo>
                  <a:pt x="529" y="12"/>
                </a:lnTo>
                <a:lnTo>
                  <a:pt x="530" y="12"/>
                </a:lnTo>
                <a:lnTo>
                  <a:pt x="533" y="15"/>
                </a:lnTo>
                <a:lnTo>
                  <a:pt x="533" y="16"/>
                </a:lnTo>
                <a:lnTo>
                  <a:pt x="534" y="17"/>
                </a:lnTo>
                <a:lnTo>
                  <a:pt x="534" y="15"/>
                </a:lnTo>
                <a:lnTo>
                  <a:pt x="538" y="15"/>
                </a:lnTo>
                <a:lnTo>
                  <a:pt x="536" y="13"/>
                </a:lnTo>
                <a:lnTo>
                  <a:pt x="535" y="10"/>
                </a:lnTo>
                <a:lnTo>
                  <a:pt x="534" y="10"/>
                </a:lnTo>
                <a:lnTo>
                  <a:pt x="534" y="9"/>
                </a:lnTo>
                <a:lnTo>
                  <a:pt x="535" y="7"/>
                </a:lnTo>
                <a:lnTo>
                  <a:pt x="536" y="9"/>
                </a:lnTo>
                <a:lnTo>
                  <a:pt x="539" y="10"/>
                </a:lnTo>
                <a:lnTo>
                  <a:pt x="540" y="10"/>
                </a:lnTo>
                <a:lnTo>
                  <a:pt x="541" y="11"/>
                </a:lnTo>
                <a:lnTo>
                  <a:pt x="541" y="12"/>
                </a:lnTo>
                <a:lnTo>
                  <a:pt x="542" y="13"/>
                </a:lnTo>
                <a:lnTo>
                  <a:pt x="544" y="13"/>
                </a:lnTo>
                <a:lnTo>
                  <a:pt x="547" y="17"/>
                </a:lnTo>
                <a:lnTo>
                  <a:pt x="548" y="17"/>
                </a:lnTo>
                <a:lnTo>
                  <a:pt x="548" y="16"/>
                </a:lnTo>
                <a:lnTo>
                  <a:pt x="547" y="16"/>
                </a:lnTo>
                <a:lnTo>
                  <a:pt x="547" y="15"/>
                </a:lnTo>
                <a:lnTo>
                  <a:pt x="546" y="13"/>
                </a:lnTo>
                <a:lnTo>
                  <a:pt x="546" y="12"/>
                </a:lnTo>
                <a:lnTo>
                  <a:pt x="545" y="10"/>
                </a:lnTo>
                <a:lnTo>
                  <a:pt x="541" y="6"/>
                </a:lnTo>
                <a:lnTo>
                  <a:pt x="541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" name="Freeform 9">
            <a:extLst>
              <a:ext uri="{FF2B5EF4-FFF2-40B4-BE49-F238E27FC236}">
                <a16:creationId xmlns:a16="http://schemas.microsoft.com/office/drawing/2014/main" id="{AD3CB88B-EB36-49C1-94AA-C2D7DE01534F}"/>
              </a:ext>
            </a:extLst>
          </p:cNvPr>
          <p:cNvSpPr>
            <a:spLocks noEditPoints="1"/>
          </p:cNvSpPr>
          <p:nvPr/>
        </p:nvSpPr>
        <p:spPr bwMode="auto">
          <a:xfrm>
            <a:off x="1533075" y="1968962"/>
            <a:ext cx="1599630" cy="1912601"/>
          </a:xfrm>
          <a:custGeom>
            <a:avLst/>
            <a:gdLst/>
            <a:ahLst/>
            <a:cxnLst>
              <a:cxn ang="0">
                <a:pos x="1057" y="156"/>
              </a:cxn>
              <a:cxn ang="0">
                <a:pos x="605" y="137"/>
              </a:cxn>
              <a:cxn ang="0">
                <a:pos x="675" y="131"/>
              </a:cxn>
              <a:cxn ang="0">
                <a:pos x="635" y="136"/>
              </a:cxn>
              <a:cxn ang="0">
                <a:pos x="775" y="102"/>
              </a:cxn>
              <a:cxn ang="0">
                <a:pos x="791" y="50"/>
              </a:cxn>
              <a:cxn ang="0">
                <a:pos x="734" y="67"/>
              </a:cxn>
              <a:cxn ang="0">
                <a:pos x="772" y="44"/>
              </a:cxn>
              <a:cxn ang="0">
                <a:pos x="983" y="20"/>
              </a:cxn>
              <a:cxn ang="0">
                <a:pos x="980" y="112"/>
              </a:cxn>
              <a:cxn ang="0">
                <a:pos x="1068" y="63"/>
              </a:cxn>
              <a:cxn ang="0">
                <a:pos x="1045" y="154"/>
              </a:cxn>
              <a:cxn ang="0">
                <a:pos x="1067" y="199"/>
              </a:cxn>
              <a:cxn ang="0">
                <a:pos x="880" y="228"/>
              </a:cxn>
              <a:cxn ang="0">
                <a:pos x="578" y="322"/>
              </a:cxn>
              <a:cxn ang="0">
                <a:pos x="312" y="1014"/>
              </a:cxn>
              <a:cxn ang="0">
                <a:pos x="251" y="1223"/>
              </a:cxn>
              <a:cxn ang="0">
                <a:pos x="230" y="1202"/>
              </a:cxn>
              <a:cxn ang="0">
                <a:pos x="186" y="1259"/>
              </a:cxn>
              <a:cxn ang="0">
                <a:pos x="89" y="1315"/>
              </a:cxn>
              <a:cxn ang="0">
                <a:pos x="23" y="1259"/>
              </a:cxn>
              <a:cxn ang="0">
                <a:pos x="48" y="1206"/>
              </a:cxn>
              <a:cxn ang="0">
                <a:pos x="12" y="1204"/>
              </a:cxn>
              <a:cxn ang="0">
                <a:pos x="56" y="1145"/>
              </a:cxn>
              <a:cxn ang="0">
                <a:pos x="38" y="1155"/>
              </a:cxn>
              <a:cxn ang="0">
                <a:pos x="31" y="1117"/>
              </a:cxn>
              <a:cxn ang="0">
                <a:pos x="6" y="1085"/>
              </a:cxn>
              <a:cxn ang="0">
                <a:pos x="94" y="1074"/>
              </a:cxn>
              <a:cxn ang="0">
                <a:pos x="63" y="1061"/>
              </a:cxn>
              <a:cxn ang="0">
                <a:pos x="25" y="1031"/>
              </a:cxn>
              <a:cxn ang="0">
                <a:pos x="44" y="997"/>
              </a:cxn>
              <a:cxn ang="0">
                <a:pos x="12" y="972"/>
              </a:cxn>
              <a:cxn ang="0">
                <a:pos x="63" y="946"/>
              </a:cxn>
              <a:cxn ang="0">
                <a:pos x="83" y="924"/>
              </a:cxn>
              <a:cxn ang="0">
                <a:pos x="99" y="889"/>
              </a:cxn>
              <a:cxn ang="0">
                <a:pos x="156" y="893"/>
              </a:cxn>
              <a:cxn ang="0">
                <a:pos x="182" y="843"/>
              </a:cxn>
              <a:cxn ang="0">
                <a:pos x="250" y="829"/>
              </a:cxn>
              <a:cxn ang="0">
                <a:pos x="205" y="828"/>
              </a:cxn>
              <a:cxn ang="0">
                <a:pos x="232" y="768"/>
              </a:cxn>
              <a:cxn ang="0">
                <a:pos x="274" y="752"/>
              </a:cxn>
              <a:cxn ang="0">
                <a:pos x="267" y="713"/>
              </a:cxn>
              <a:cxn ang="0">
                <a:pos x="311" y="670"/>
              </a:cxn>
              <a:cxn ang="0">
                <a:pos x="332" y="598"/>
              </a:cxn>
              <a:cxn ang="0">
                <a:pos x="365" y="565"/>
              </a:cxn>
              <a:cxn ang="0">
                <a:pos x="348" y="527"/>
              </a:cxn>
              <a:cxn ang="0">
                <a:pos x="406" y="487"/>
              </a:cxn>
              <a:cxn ang="0">
                <a:pos x="425" y="457"/>
              </a:cxn>
              <a:cxn ang="0">
                <a:pos x="436" y="432"/>
              </a:cxn>
              <a:cxn ang="0">
                <a:pos x="423" y="398"/>
              </a:cxn>
              <a:cxn ang="0">
                <a:pos x="460" y="368"/>
              </a:cxn>
              <a:cxn ang="0">
                <a:pos x="479" y="365"/>
              </a:cxn>
              <a:cxn ang="0">
                <a:pos x="524" y="332"/>
              </a:cxn>
              <a:cxn ang="0">
                <a:pos x="529" y="284"/>
              </a:cxn>
              <a:cxn ang="0">
                <a:pos x="576" y="213"/>
              </a:cxn>
              <a:cxn ang="0">
                <a:pos x="616" y="216"/>
              </a:cxn>
              <a:cxn ang="0">
                <a:pos x="659" y="191"/>
              </a:cxn>
              <a:cxn ang="0">
                <a:pos x="714" y="142"/>
              </a:cxn>
              <a:cxn ang="0">
                <a:pos x="744" y="113"/>
              </a:cxn>
              <a:cxn ang="0">
                <a:pos x="819" y="86"/>
              </a:cxn>
              <a:cxn ang="0">
                <a:pos x="858" y="39"/>
              </a:cxn>
              <a:cxn ang="0">
                <a:pos x="851" y="128"/>
              </a:cxn>
              <a:cxn ang="0">
                <a:pos x="930" y="76"/>
              </a:cxn>
            </a:cxnLst>
            <a:rect l="0" t="0" r="r" b="b"/>
            <a:pathLst>
              <a:path w="1104" h="1320">
                <a:moveTo>
                  <a:pt x="580" y="158"/>
                </a:moveTo>
                <a:lnTo>
                  <a:pt x="582" y="158"/>
                </a:lnTo>
                <a:lnTo>
                  <a:pt x="584" y="159"/>
                </a:lnTo>
                <a:lnTo>
                  <a:pt x="585" y="159"/>
                </a:lnTo>
                <a:lnTo>
                  <a:pt x="584" y="158"/>
                </a:lnTo>
                <a:lnTo>
                  <a:pt x="586" y="158"/>
                </a:lnTo>
                <a:lnTo>
                  <a:pt x="586" y="159"/>
                </a:lnTo>
                <a:lnTo>
                  <a:pt x="588" y="160"/>
                </a:lnTo>
                <a:lnTo>
                  <a:pt x="588" y="161"/>
                </a:lnTo>
                <a:lnTo>
                  <a:pt x="586" y="162"/>
                </a:lnTo>
                <a:lnTo>
                  <a:pt x="589" y="162"/>
                </a:lnTo>
                <a:lnTo>
                  <a:pt x="594" y="164"/>
                </a:lnTo>
                <a:lnTo>
                  <a:pt x="594" y="165"/>
                </a:lnTo>
                <a:lnTo>
                  <a:pt x="596" y="167"/>
                </a:lnTo>
                <a:lnTo>
                  <a:pt x="596" y="172"/>
                </a:lnTo>
                <a:lnTo>
                  <a:pt x="595" y="174"/>
                </a:lnTo>
                <a:lnTo>
                  <a:pt x="592" y="176"/>
                </a:lnTo>
                <a:lnTo>
                  <a:pt x="590" y="180"/>
                </a:lnTo>
                <a:lnTo>
                  <a:pt x="589" y="182"/>
                </a:lnTo>
                <a:lnTo>
                  <a:pt x="586" y="182"/>
                </a:lnTo>
                <a:lnTo>
                  <a:pt x="584" y="184"/>
                </a:lnTo>
                <a:lnTo>
                  <a:pt x="584" y="188"/>
                </a:lnTo>
                <a:lnTo>
                  <a:pt x="586" y="190"/>
                </a:lnTo>
                <a:lnTo>
                  <a:pt x="586" y="194"/>
                </a:lnTo>
                <a:lnTo>
                  <a:pt x="584" y="196"/>
                </a:lnTo>
                <a:lnTo>
                  <a:pt x="583" y="196"/>
                </a:lnTo>
                <a:lnTo>
                  <a:pt x="578" y="195"/>
                </a:lnTo>
                <a:lnTo>
                  <a:pt x="576" y="197"/>
                </a:lnTo>
                <a:lnTo>
                  <a:pt x="572" y="197"/>
                </a:lnTo>
                <a:lnTo>
                  <a:pt x="563" y="201"/>
                </a:lnTo>
                <a:lnTo>
                  <a:pt x="560" y="201"/>
                </a:lnTo>
                <a:lnTo>
                  <a:pt x="555" y="196"/>
                </a:lnTo>
                <a:lnTo>
                  <a:pt x="553" y="196"/>
                </a:lnTo>
                <a:lnTo>
                  <a:pt x="551" y="194"/>
                </a:lnTo>
                <a:lnTo>
                  <a:pt x="553" y="191"/>
                </a:lnTo>
                <a:lnTo>
                  <a:pt x="553" y="189"/>
                </a:lnTo>
                <a:lnTo>
                  <a:pt x="554" y="190"/>
                </a:lnTo>
                <a:lnTo>
                  <a:pt x="555" y="190"/>
                </a:lnTo>
                <a:lnTo>
                  <a:pt x="555" y="189"/>
                </a:lnTo>
                <a:lnTo>
                  <a:pt x="557" y="189"/>
                </a:lnTo>
                <a:lnTo>
                  <a:pt x="557" y="188"/>
                </a:lnTo>
                <a:lnTo>
                  <a:pt x="561" y="189"/>
                </a:lnTo>
                <a:lnTo>
                  <a:pt x="564" y="191"/>
                </a:lnTo>
                <a:lnTo>
                  <a:pt x="564" y="192"/>
                </a:lnTo>
                <a:lnTo>
                  <a:pt x="563" y="192"/>
                </a:lnTo>
                <a:lnTo>
                  <a:pt x="563" y="194"/>
                </a:lnTo>
                <a:lnTo>
                  <a:pt x="564" y="194"/>
                </a:lnTo>
                <a:lnTo>
                  <a:pt x="564" y="192"/>
                </a:lnTo>
                <a:lnTo>
                  <a:pt x="565" y="191"/>
                </a:lnTo>
                <a:lnTo>
                  <a:pt x="565" y="190"/>
                </a:lnTo>
                <a:lnTo>
                  <a:pt x="566" y="190"/>
                </a:lnTo>
                <a:lnTo>
                  <a:pt x="567" y="189"/>
                </a:lnTo>
                <a:lnTo>
                  <a:pt x="567" y="188"/>
                </a:lnTo>
                <a:lnTo>
                  <a:pt x="568" y="188"/>
                </a:lnTo>
                <a:lnTo>
                  <a:pt x="567" y="188"/>
                </a:lnTo>
                <a:lnTo>
                  <a:pt x="565" y="189"/>
                </a:lnTo>
                <a:lnTo>
                  <a:pt x="564" y="189"/>
                </a:lnTo>
                <a:lnTo>
                  <a:pt x="564" y="188"/>
                </a:lnTo>
                <a:lnTo>
                  <a:pt x="559" y="179"/>
                </a:lnTo>
                <a:lnTo>
                  <a:pt x="560" y="178"/>
                </a:lnTo>
                <a:lnTo>
                  <a:pt x="565" y="179"/>
                </a:lnTo>
                <a:lnTo>
                  <a:pt x="572" y="179"/>
                </a:lnTo>
                <a:lnTo>
                  <a:pt x="577" y="182"/>
                </a:lnTo>
                <a:lnTo>
                  <a:pt x="578" y="180"/>
                </a:lnTo>
                <a:lnTo>
                  <a:pt x="577" y="179"/>
                </a:lnTo>
                <a:lnTo>
                  <a:pt x="567" y="178"/>
                </a:lnTo>
                <a:lnTo>
                  <a:pt x="566" y="177"/>
                </a:lnTo>
                <a:lnTo>
                  <a:pt x="566" y="174"/>
                </a:lnTo>
                <a:lnTo>
                  <a:pt x="565" y="172"/>
                </a:lnTo>
                <a:lnTo>
                  <a:pt x="565" y="171"/>
                </a:lnTo>
                <a:lnTo>
                  <a:pt x="566" y="168"/>
                </a:lnTo>
                <a:lnTo>
                  <a:pt x="568" y="168"/>
                </a:lnTo>
                <a:lnTo>
                  <a:pt x="570" y="171"/>
                </a:lnTo>
                <a:lnTo>
                  <a:pt x="572" y="171"/>
                </a:lnTo>
                <a:lnTo>
                  <a:pt x="572" y="174"/>
                </a:lnTo>
                <a:lnTo>
                  <a:pt x="573" y="173"/>
                </a:lnTo>
                <a:lnTo>
                  <a:pt x="573" y="172"/>
                </a:lnTo>
                <a:lnTo>
                  <a:pt x="574" y="171"/>
                </a:lnTo>
                <a:lnTo>
                  <a:pt x="574" y="168"/>
                </a:lnTo>
                <a:lnTo>
                  <a:pt x="576" y="167"/>
                </a:lnTo>
                <a:lnTo>
                  <a:pt x="579" y="167"/>
                </a:lnTo>
                <a:lnTo>
                  <a:pt x="578" y="173"/>
                </a:lnTo>
                <a:lnTo>
                  <a:pt x="579" y="178"/>
                </a:lnTo>
                <a:lnTo>
                  <a:pt x="582" y="182"/>
                </a:lnTo>
                <a:lnTo>
                  <a:pt x="584" y="182"/>
                </a:lnTo>
                <a:lnTo>
                  <a:pt x="583" y="180"/>
                </a:lnTo>
                <a:lnTo>
                  <a:pt x="583" y="174"/>
                </a:lnTo>
                <a:lnTo>
                  <a:pt x="585" y="170"/>
                </a:lnTo>
                <a:lnTo>
                  <a:pt x="584" y="168"/>
                </a:lnTo>
                <a:lnTo>
                  <a:pt x="580" y="164"/>
                </a:lnTo>
                <a:lnTo>
                  <a:pt x="580" y="162"/>
                </a:lnTo>
                <a:lnTo>
                  <a:pt x="579" y="160"/>
                </a:lnTo>
                <a:lnTo>
                  <a:pt x="580" y="158"/>
                </a:lnTo>
                <a:close/>
                <a:moveTo>
                  <a:pt x="1051" y="154"/>
                </a:moveTo>
                <a:lnTo>
                  <a:pt x="1052" y="154"/>
                </a:lnTo>
                <a:lnTo>
                  <a:pt x="1056" y="155"/>
                </a:lnTo>
                <a:lnTo>
                  <a:pt x="1057" y="156"/>
                </a:lnTo>
                <a:lnTo>
                  <a:pt x="1057" y="160"/>
                </a:lnTo>
                <a:lnTo>
                  <a:pt x="1058" y="160"/>
                </a:lnTo>
                <a:lnTo>
                  <a:pt x="1058" y="164"/>
                </a:lnTo>
                <a:lnTo>
                  <a:pt x="1062" y="164"/>
                </a:lnTo>
                <a:lnTo>
                  <a:pt x="1062" y="166"/>
                </a:lnTo>
                <a:lnTo>
                  <a:pt x="1055" y="170"/>
                </a:lnTo>
                <a:lnTo>
                  <a:pt x="1054" y="171"/>
                </a:lnTo>
                <a:lnTo>
                  <a:pt x="1051" y="168"/>
                </a:lnTo>
                <a:lnTo>
                  <a:pt x="1050" y="170"/>
                </a:lnTo>
                <a:lnTo>
                  <a:pt x="1051" y="171"/>
                </a:lnTo>
                <a:lnTo>
                  <a:pt x="1051" y="172"/>
                </a:lnTo>
                <a:lnTo>
                  <a:pt x="1049" y="173"/>
                </a:lnTo>
                <a:lnTo>
                  <a:pt x="1045" y="172"/>
                </a:lnTo>
                <a:lnTo>
                  <a:pt x="1049" y="165"/>
                </a:lnTo>
                <a:lnTo>
                  <a:pt x="1050" y="164"/>
                </a:lnTo>
                <a:lnTo>
                  <a:pt x="1050" y="156"/>
                </a:lnTo>
                <a:lnTo>
                  <a:pt x="1051" y="154"/>
                </a:lnTo>
                <a:close/>
                <a:moveTo>
                  <a:pt x="666" y="154"/>
                </a:moveTo>
                <a:lnTo>
                  <a:pt x="666" y="156"/>
                </a:lnTo>
                <a:lnTo>
                  <a:pt x="665" y="156"/>
                </a:lnTo>
                <a:lnTo>
                  <a:pt x="665" y="160"/>
                </a:lnTo>
                <a:lnTo>
                  <a:pt x="666" y="164"/>
                </a:lnTo>
                <a:lnTo>
                  <a:pt x="665" y="166"/>
                </a:lnTo>
                <a:lnTo>
                  <a:pt x="664" y="167"/>
                </a:lnTo>
                <a:lnTo>
                  <a:pt x="661" y="168"/>
                </a:lnTo>
                <a:lnTo>
                  <a:pt x="659" y="168"/>
                </a:lnTo>
                <a:lnTo>
                  <a:pt x="658" y="166"/>
                </a:lnTo>
                <a:lnTo>
                  <a:pt x="658" y="161"/>
                </a:lnTo>
                <a:lnTo>
                  <a:pt x="659" y="159"/>
                </a:lnTo>
                <a:lnTo>
                  <a:pt x="659" y="156"/>
                </a:lnTo>
                <a:lnTo>
                  <a:pt x="660" y="155"/>
                </a:lnTo>
                <a:lnTo>
                  <a:pt x="661" y="155"/>
                </a:lnTo>
                <a:lnTo>
                  <a:pt x="666" y="154"/>
                </a:lnTo>
                <a:close/>
                <a:moveTo>
                  <a:pt x="706" y="149"/>
                </a:moveTo>
                <a:lnTo>
                  <a:pt x="709" y="149"/>
                </a:lnTo>
                <a:lnTo>
                  <a:pt x="709" y="151"/>
                </a:lnTo>
                <a:lnTo>
                  <a:pt x="708" y="152"/>
                </a:lnTo>
                <a:lnTo>
                  <a:pt x="707" y="152"/>
                </a:lnTo>
                <a:lnTo>
                  <a:pt x="707" y="151"/>
                </a:lnTo>
                <a:lnTo>
                  <a:pt x="706" y="149"/>
                </a:lnTo>
                <a:close/>
                <a:moveTo>
                  <a:pt x="626" y="143"/>
                </a:moveTo>
                <a:lnTo>
                  <a:pt x="628" y="143"/>
                </a:lnTo>
                <a:lnTo>
                  <a:pt x="629" y="145"/>
                </a:lnTo>
                <a:lnTo>
                  <a:pt x="629" y="149"/>
                </a:lnTo>
                <a:lnTo>
                  <a:pt x="627" y="153"/>
                </a:lnTo>
                <a:lnTo>
                  <a:pt x="624" y="160"/>
                </a:lnTo>
                <a:lnTo>
                  <a:pt x="622" y="161"/>
                </a:lnTo>
                <a:lnTo>
                  <a:pt x="614" y="164"/>
                </a:lnTo>
                <a:lnTo>
                  <a:pt x="611" y="162"/>
                </a:lnTo>
                <a:lnTo>
                  <a:pt x="613" y="161"/>
                </a:lnTo>
                <a:lnTo>
                  <a:pt x="615" y="156"/>
                </a:lnTo>
                <a:lnTo>
                  <a:pt x="616" y="153"/>
                </a:lnTo>
                <a:lnTo>
                  <a:pt x="619" y="152"/>
                </a:lnTo>
                <a:lnTo>
                  <a:pt x="623" y="148"/>
                </a:lnTo>
                <a:lnTo>
                  <a:pt x="624" y="146"/>
                </a:lnTo>
                <a:lnTo>
                  <a:pt x="626" y="145"/>
                </a:lnTo>
                <a:lnTo>
                  <a:pt x="626" y="143"/>
                </a:lnTo>
                <a:close/>
                <a:moveTo>
                  <a:pt x="634" y="140"/>
                </a:moveTo>
                <a:lnTo>
                  <a:pt x="635" y="140"/>
                </a:lnTo>
                <a:lnTo>
                  <a:pt x="635" y="141"/>
                </a:lnTo>
                <a:lnTo>
                  <a:pt x="634" y="142"/>
                </a:lnTo>
                <a:lnTo>
                  <a:pt x="632" y="142"/>
                </a:lnTo>
                <a:lnTo>
                  <a:pt x="632" y="141"/>
                </a:lnTo>
                <a:lnTo>
                  <a:pt x="633" y="141"/>
                </a:lnTo>
                <a:lnTo>
                  <a:pt x="634" y="140"/>
                </a:lnTo>
                <a:close/>
                <a:moveTo>
                  <a:pt x="672" y="137"/>
                </a:moveTo>
                <a:lnTo>
                  <a:pt x="673" y="139"/>
                </a:lnTo>
                <a:lnTo>
                  <a:pt x="676" y="142"/>
                </a:lnTo>
                <a:lnTo>
                  <a:pt x="676" y="143"/>
                </a:lnTo>
                <a:lnTo>
                  <a:pt x="682" y="142"/>
                </a:lnTo>
                <a:lnTo>
                  <a:pt x="677" y="146"/>
                </a:lnTo>
                <a:lnTo>
                  <a:pt x="677" y="148"/>
                </a:lnTo>
                <a:lnTo>
                  <a:pt x="676" y="149"/>
                </a:lnTo>
                <a:lnTo>
                  <a:pt x="673" y="151"/>
                </a:lnTo>
                <a:lnTo>
                  <a:pt x="671" y="151"/>
                </a:lnTo>
                <a:lnTo>
                  <a:pt x="670" y="149"/>
                </a:lnTo>
                <a:lnTo>
                  <a:pt x="667" y="145"/>
                </a:lnTo>
                <a:lnTo>
                  <a:pt x="667" y="143"/>
                </a:lnTo>
                <a:lnTo>
                  <a:pt x="670" y="139"/>
                </a:lnTo>
                <a:lnTo>
                  <a:pt x="671" y="139"/>
                </a:lnTo>
                <a:lnTo>
                  <a:pt x="672" y="137"/>
                </a:lnTo>
                <a:close/>
                <a:moveTo>
                  <a:pt x="679" y="135"/>
                </a:moveTo>
                <a:lnTo>
                  <a:pt x="679" y="136"/>
                </a:lnTo>
                <a:lnTo>
                  <a:pt x="681" y="139"/>
                </a:lnTo>
                <a:lnTo>
                  <a:pt x="679" y="140"/>
                </a:lnTo>
                <a:lnTo>
                  <a:pt x="676" y="141"/>
                </a:lnTo>
                <a:lnTo>
                  <a:pt x="677" y="139"/>
                </a:lnTo>
                <a:lnTo>
                  <a:pt x="678" y="137"/>
                </a:lnTo>
                <a:lnTo>
                  <a:pt x="679" y="135"/>
                </a:lnTo>
                <a:close/>
                <a:moveTo>
                  <a:pt x="602" y="131"/>
                </a:moveTo>
                <a:lnTo>
                  <a:pt x="603" y="131"/>
                </a:lnTo>
                <a:lnTo>
                  <a:pt x="603" y="135"/>
                </a:lnTo>
                <a:lnTo>
                  <a:pt x="604" y="135"/>
                </a:lnTo>
                <a:lnTo>
                  <a:pt x="607" y="133"/>
                </a:lnTo>
                <a:lnTo>
                  <a:pt x="608" y="134"/>
                </a:lnTo>
                <a:lnTo>
                  <a:pt x="607" y="135"/>
                </a:lnTo>
                <a:lnTo>
                  <a:pt x="605" y="137"/>
                </a:lnTo>
                <a:lnTo>
                  <a:pt x="605" y="140"/>
                </a:lnTo>
                <a:lnTo>
                  <a:pt x="608" y="141"/>
                </a:lnTo>
                <a:lnTo>
                  <a:pt x="610" y="145"/>
                </a:lnTo>
                <a:lnTo>
                  <a:pt x="611" y="145"/>
                </a:lnTo>
                <a:lnTo>
                  <a:pt x="611" y="142"/>
                </a:lnTo>
                <a:lnTo>
                  <a:pt x="614" y="137"/>
                </a:lnTo>
                <a:lnTo>
                  <a:pt x="616" y="136"/>
                </a:lnTo>
                <a:lnTo>
                  <a:pt x="617" y="136"/>
                </a:lnTo>
                <a:lnTo>
                  <a:pt x="617" y="137"/>
                </a:lnTo>
                <a:lnTo>
                  <a:pt x="619" y="140"/>
                </a:lnTo>
                <a:lnTo>
                  <a:pt x="619" y="141"/>
                </a:lnTo>
                <a:lnTo>
                  <a:pt x="617" y="142"/>
                </a:lnTo>
                <a:lnTo>
                  <a:pt x="617" y="143"/>
                </a:lnTo>
                <a:lnTo>
                  <a:pt x="619" y="145"/>
                </a:lnTo>
                <a:lnTo>
                  <a:pt x="619" y="143"/>
                </a:lnTo>
                <a:lnTo>
                  <a:pt x="620" y="142"/>
                </a:lnTo>
                <a:lnTo>
                  <a:pt x="620" y="141"/>
                </a:lnTo>
                <a:lnTo>
                  <a:pt x="622" y="141"/>
                </a:lnTo>
                <a:lnTo>
                  <a:pt x="622" y="145"/>
                </a:lnTo>
                <a:lnTo>
                  <a:pt x="621" y="147"/>
                </a:lnTo>
                <a:lnTo>
                  <a:pt x="616" y="149"/>
                </a:lnTo>
                <a:lnTo>
                  <a:pt x="616" y="152"/>
                </a:lnTo>
                <a:lnTo>
                  <a:pt x="615" y="153"/>
                </a:lnTo>
                <a:lnTo>
                  <a:pt x="615" y="155"/>
                </a:lnTo>
                <a:lnTo>
                  <a:pt x="614" y="155"/>
                </a:lnTo>
                <a:lnTo>
                  <a:pt x="614" y="158"/>
                </a:lnTo>
                <a:lnTo>
                  <a:pt x="611" y="159"/>
                </a:lnTo>
                <a:lnTo>
                  <a:pt x="611" y="162"/>
                </a:lnTo>
                <a:lnTo>
                  <a:pt x="608" y="166"/>
                </a:lnTo>
                <a:lnTo>
                  <a:pt x="598" y="170"/>
                </a:lnTo>
                <a:lnTo>
                  <a:pt x="597" y="167"/>
                </a:lnTo>
                <a:lnTo>
                  <a:pt x="596" y="164"/>
                </a:lnTo>
                <a:lnTo>
                  <a:pt x="586" y="155"/>
                </a:lnTo>
                <a:lnTo>
                  <a:pt x="584" y="154"/>
                </a:lnTo>
                <a:lnTo>
                  <a:pt x="582" y="149"/>
                </a:lnTo>
                <a:lnTo>
                  <a:pt x="584" y="149"/>
                </a:lnTo>
                <a:lnTo>
                  <a:pt x="588" y="151"/>
                </a:lnTo>
                <a:lnTo>
                  <a:pt x="589" y="151"/>
                </a:lnTo>
                <a:lnTo>
                  <a:pt x="590" y="148"/>
                </a:lnTo>
                <a:lnTo>
                  <a:pt x="591" y="147"/>
                </a:lnTo>
                <a:lnTo>
                  <a:pt x="589" y="147"/>
                </a:lnTo>
                <a:lnTo>
                  <a:pt x="588" y="146"/>
                </a:lnTo>
                <a:lnTo>
                  <a:pt x="586" y="143"/>
                </a:lnTo>
                <a:lnTo>
                  <a:pt x="588" y="141"/>
                </a:lnTo>
                <a:lnTo>
                  <a:pt x="589" y="141"/>
                </a:lnTo>
                <a:lnTo>
                  <a:pt x="591" y="140"/>
                </a:lnTo>
                <a:lnTo>
                  <a:pt x="594" y="141"/>
                </a:lnTo>
                <a:lnTo>
                  <a:pt x="594" y="140"/>
                </a:lnTo>
                <a:lnTo>
                  <a:pt x="595" y="139"/>
                </a:lnTo>
                <a:lnTo>
                  <a:pt x="596" y="139"/>
                </a:lnTo>
                <a:lnTo>
                  <a:pt x="596" y="141"/>
                </a:lnTo>
                <a:lnTo>
                  <a:pt x="597" y="141"/>
                </a:lnTo>
                <a:lnTo>
                  <a:pt x="598" y="140"/>
                </a:lnTo>
                <a:lnTo>
                  <a:pt x="598" y="139"/>
                </a:lnTo>
                <a:lnTo>
                  <a:pt x="596" y="136"/>
                </a:lnTo>
                <a:lnTo>
                  <a:pt x="596" y="134"/>
                </a:lnTo>
                <a:lnTo>
                  <a:pt x="597" y="135"/>
                </a:lnTo>
                <a:lnTo>
                  <a:pt x="598" y="135"/>
                </a:lnTo>
                <a:lnTo>
                  <a:pt x="598" y="134"/>
                </a:lnTo>
                <a:lnTo>
                  <a:pt x="602" y="131"/>
                </a:lnTo>
                <a:close/>
                <a:moveTo>
                  <a:pt x="582" y="129"/>
                </a:moveTo>
                <a:lnTo>
                  <a:pt x="583" y="129"/>
                </a:lnTo>
                <a:lnTo>
                  <a:pt x="584" y="130"/>
                </a:lnTo>
                <a:lnTo>
                  <a:pt x="585" y="133"/>
                </a:lnTo>
                <a:lnTo>
                  <a:pt x="585" y="136"/>
                </a:lnTo>
                <a:lnTo>
                  <a:pt x="586" y="135"/>
                </a:lnTo>
                <a:lnTo>
                  <a:pt x="586" y="134"/>
                </a:lnTo>
                <a:lnTo>
                  <a:pt x="589" y="130"/>
                </a:lnTo>
                <a:lnTo>
                  <a:pt x="590" y="130"/>
                </a:lnTo>
                <a:lnTo>
                  <a:pt x="590" y="131"/>
                </a:lnTo>
                <a:lnTo>
                  <a:pt x="592" y="133"/>
                </a:lnTo>
                <a:lnTo>
                  <a:pt x="592" y="135"/>
                </a:lnTo>
                <a:lnTo>
                  <a:pt x="590" y="137"/>
                </a:lnTo>
                <a:lnTo>
                  <a:pt x="586" y="139"/>
                </a:lnTo>
                <a:lnTo>
                  <a:pt x="584" y="141"/>
                </a:lnTo>
                <a:lnTo>
                  <a:pt x="583" y="143"/>
                </a:lnTo>
                <a:lnTo>
                  <a:pt x="580" y="146"/>
                </a:lnTo>
                <a:lnTo>
                  <a:pt x="580" y="145"/>
                </a:lnTo>
                <a:lnTo>
                  <a:pt x="579" y="143"/>
                </a:lnTo>
                <a:lnTo>
                  <a:pt x="579" y="142"/>
                </a:lnTo>
                <a:lnTo>
                  <a:pt x="580" y="141"/>
                </a:lnTo>
                <a:lnTo>
                  <a:pt x="580" y="140"/>
                </a:lnTo>
                <a:lnTo>
                  <a:pt x="579" y="140"/>
                </a:lnTo>
                <a:lnTo>
                  <a:pt x="579" y="137"/>
                </a:lnTo>
                <a:lnTo>
                  <a:pt x="580" y="135"/>
                </a:lnTo>
                <a:lnTo>
                  <a:pt x="580" y="134"/>
                </a:lnTo>
                <a:lnTo>
                  <a:pt x="582" y="133"/>
                </a:lnTo>
                <a:lnTo>
                  <a:pt x="582" y="129"/>
                </a:lnTo>
                <a:close/>
                <a:moveTo>
                  <a:pt x="851" y="127"/>
                </a:moveTo>
                <a:lnTo>
                  <a:pt x="852" y="127"/>
                </a:lnTo>
                <a:lnTo>
                  <a:pt x="852" y="128"/>
                </a:lnTo>
                <a:lnTo>
                  <a:pt x="851" y="128"/>
                </a:lnTo>
                <a:lnTo>
                  <a:pt x="851" y="127"/>
                </a:lnTo>
                <a:close/>
                <a:moveTo>
                  <a:pt x="671" y="124"/>
                </a:moveTo>
                <a:lnTo>
                  <a:pt x="672" y="125"/>
                </a:lnTo>
                <a:lnTo>
                  <a:pt x="675" y="130"/>
                </a:lnTo>
                <a:lnTo>
                  <a:pt x="675" y="131"/>
                </a:lnTo>
                <a:lnTo>
                  <a:pt x="673" y="134"/>
                </a:lnTo>
                <a:lnTo>
                  <a:pt x="672" y="135"/>
                </a:lnTo>
                <a:lnTo>
                  <a:pt x="671" y="134"/>
                </a:lnTo>
                <a:lnTo>
                  <a:pt x="670" y="134"/>
                </a:lnTo>
                <a:lnTo>
                  <a:pt x="670" y="125"/>
                </a:lnTo>
                <a:lnTo>
                  <a:pt x="671" y="124"/>
                </a:lnTo>
                <a:close/>
                <a:moveTo>
                  <a:pt x="610" y="123"/>
                </a:moveTo>
                <a:lnTo>
                  <a:pt x="613" y="124"/>
                </a:lnTo>
                <a:lnTo>
                  <a:pt x="617" y="128"/>
                </a:lnTo>
                <a:lnTo>
                  <a:pt x="617" y="131"/>
                </a:lnTo>
                <a:lnTo>
                  <a:pt x="614" y="131"/>
                </a:lnTo>
                <a:lnTo>
                  <a:pt x="609" y="129"/>
                </a:lnTo>
                <a:lnTo>
                  <a:pt x="608" y="129"/>
                </a:lnTo>
                <a:lnTo>
                  <a:pt x="608" y="125"/>
                </a:lnTo>
                <a:lnTo>
                  <a:pt x="610" y="123"/>
                </a:lnTo>
                <a:close/>
                <a:moveTo>
                  <a:pt x="660" y="113"/>
                </a:moveTo>
                <a:lnTo>
                  <a:pt x="666" y="113"/>
                </a:lnTo>
                <a:lnTo>
                  <a:pt x="669" y="115"/>
                </a:lnTo>
                <a:lnTo>
                  <a:pt x="671" y="117"/>
                </a:lnTo>
                <a:lnTo>
                  <a:pt x="671" y="119"/>
                </a:lnTo>
                <a:lnTo>
                  <a:pt x="669" y="124"/>
                </a:lnTo>
                <a:lnTo>
                  <a:pt x="669" y="131"/>
                </a:lnTo>
                <a:lnTo>
                  <a:pt x="670" y="134"/>
                </a:lnTo>
                <a:lnTo>
                  <a:pt x="670" y="135"/>
                </a:lnTo>
                <a:lnTo>
                  <a:pt x="669" y="136"/>
                </a:lnTo>
                <a:lnTo>
                  <a:pt x="666" y="136"/>
                </a:lnTo>
                <a:lnTo>
                  <a:pt x="665" y="135"/>
                </a:lnTo>
                <a:lnTo>
                  <a:pt x="664" y="135"/>
                </a:lnTo>
                <a:lnTo>
                  <a:pt x="664" y="136"/>
                </a:lnTo>
                <a:lnTo>
                  <a:pt x="663" y="137"/>
                </a:lnTo>
                <a:lnTo>
                  <a:pt x="660" y="137"/>
                </a:lnTo>
                <a:lnTo>
                  <a:pt x="661" y="136"/>
                </a:lnTo>
                <a:lnTo>
                  <a:pt x="661" y="131"/>
                </a:lnTo>
                <a:lnTo>
                  <a:pt x="660" y="130"/>
                </a:lnTo>
                <a:lnTo>
                  <a:pt x="659" y="130"/>
                </a:lnTo>
                <a:lnTo>
                  <a:pt x="659" y="134"/>
                </a:lnTo>
                <a:lnTo>
                  <a:pt x="658" y="134"/>
                </a:lnTo>
                <a:lnTo>
                  <a:pt x="658" y="136"/>
                </a:lnTo>
                <a:lnTo>
                  <a:pt x="657" y="136"/>
                </a:lnTo>
                <a:lnTo>
                  <a:pt x="655" y="135"/>
                </a:lnTo>
                <a:lnTo>
                  <a:pt x="654" y="135"/>
                </a:lnTo>
                <a:lnTo>
                  <a:pt x="653" y="134"/>
                </a:lnTo>
                <a:lnTo>
                  <a:pt x="653" y="133"/>
                </a:lnTo>
                <a:lnTo>
                  <a:pt x="652" y="131"/>
                </a:lnTo>
                <a:lnTo>
                  <a:pt x="652" y="128"/>
                </a:lnTo>
                <a:lnTo>
                  <a:pt x="653" y="124"/>
                </a:lnTo>
                <a:lnTo>
                  <a:pt x="653" y="122"/>
                </a:lnTo>
                <a:lnTo>
                  <a:pt x="655" y="119"/>
                </a:lnTo>
                <a:lnTo>
                  <a:pt x="658" y="118"/>
                </a:lnTo>
                <a:lnTo>
                  <a:pt x="659" y="117"/>
                </a:lnTo>
                <a:lnTo>
                  <a:pt x="659" y="115"/>
                </a:lnTo>
                <a:lnTo>
                  <a:pt x="660" y="113"/>
                </a:lnTo>
                <a:close/>
                <a:moveTo>
                  <a:pt x="601" y="111"/>
                </a:moveTo>
                <a:lnTo>
                  <a:pt x="602" y="112"/>
                </a:lnTo>
                <a:lnTo>
                  <a:pt x="603" y="112"/>
                </a:lnTo>
                <a:lnTo>
                  <a:pt x="603" y="117"/>
                </a:lnTo>
                <a:lnTo>
                  <a:pt x="604" y="118"/>
                </a:lnTo>
                <a:lnTo>
                  <a:pt x="604" y="122"/>
                </a:lnTo>
                <a:lnTo>
                  <a:pt x="603" y="123"/>
                </a:lnTo>
                <a:lnTo>
                  <a:pt x="603" y="127"/>
                </a:lnTo>
                <a:lnTo>
                  <a:pt x="599" y="130"/>
                </a:lnTo>
                <a:lnTo>
                  <a:pt x="595" y="125"/>
                </a:lnTo>
                <a:lnTo>
                  <a:pt x="594" y="125"/>
                </a:lnTo>
                <a:lnTo>
                  <a:pt x="594" y="124"/>
                </a:lnTo>
                <a:lnTo>
                  <a:pt x="596" y="122"/>
                </a:lnTo>
                <a:lnTo>
                  <a:pt x="597" y="123"/>
                </a:lnTo>
                <a:lnTo>
                  <a:pt x="597" y="124"/>
                </a:lnTo>
                <a:lnTo>
                  <a:pt x="598" y="124"/>
                </a:lnTo>
                <a:lnTo>
                  <a:pt x="598" y="119"/>
                </a:lnTo>
                <a:lnTo>
                  <a:pt x="599" y="119"/>
                </a:lnTo>
                <a:lnTo>
                  <a:pt x="599" y="118"/>
                </a:lnTo>
                <a:lnTo>
                  <a:pt x="598" y="117"/>
                </a:lnTo>
                <a:lnTo>
                  <a:pt x="598" y="116"/>
                </a:lnTo>
                <a:lnTo>
                  <a:pt x="597" y="115"/>
                </a:lnTo>
                <a:lnTo>
                  <a:pt x="597" y="113"/>
                </a:lnTo>
                <a:lnTo>
                  <a:pt x="601" y="113"/>
                </a:lnTo>
                <a:lnTo>
                  <a:pt x="601" y="111"/>
                </a:lnTo>
                <a:close/>
                <a:moveTo>
                  <a:pt x="622" y="108"/>
                </a:moveTo>
                <a:lnTo>
                  <a:pt x="623" y="110"/>
                </a:lnTo>
                <a:lnTo>
                  <a:pt x="623" y="113"/>
                </a:lnTo>
                <a:lnTo>
                  <a:pt x="627" y="117"/>
                </a:lnTo>
                <a:lnTo>
                  <a:pt x="627" y="121"/>
                </a:lnTo>
                <a:lnTo>
                  <a:pt x="628" y="122"/>
                </a:lnTo>
                <a:lnTo>
                  <a:pt x="629" y="122"/>
                </a:lnTo>
                <a:lnTo>
                  <a:pt x="629" y="121"/>
                </a:lnTo>
                <a:lnTo>
                  <a:pt x="630" y="117"/>
                </a:lnTo>
                <a:lnTo>
                  <a:pt x="632" y="117"/>
                </a:lnTo>
                <a:lnTo>
                  <a:pt x="633" y="119"/>
                </a:lnTo>
                <a:lnTo>
                  <a:pt x="633" y="123"/>
                </a:lnTo>
                <a:lnTo>
                  <a:pt x="635" y="125"/>
                </a:lnTo>
                <a:lnTo>
                  <a:pt x="640" y="129"/>
                </a:lnTo>
                <a:lnTo>
                  <a:pt x="642" y="129"/>
                </a:lnTo>
                <a:lnTo>
                  <a:pt x="638" y="130"/>
                </a:lnTo>
                <a:lnTo>
                  <a:pt x="636" y="131"/>
                </a:lnTo>
                <a:lnTo>
                  <a:pt x="638" y="133"/>
                </a:lnTo>
                <a:lnTo>
                  <a:pt x="638" y="134"/>
                </a:lnTo>
                <a:lnTo>
                  <a:pt x="635" y="136"/>
                </a:lnTo>
                <a:lnTo>
                  <a:pt x="628" y="136"/>
                </a:lnTo>
                <a:lnTo>
                  <a:pt x="627" y="135"/>
                </a:lnTo>
                <a:lnTo>
                  <a:pt x="626" y="133"/>
                </a:lnTo>
                <a:lnTo>
                  <a:pt x="626" y="127"/>
                </a:lnTo>
                <a:lnTo>
                  <a:pt x="624" y="125"/>
                </a:lnTo>
                <a:lnTo>
                  <a:pt x="624" y="124"/>
                </a:lnTo>
                <a:lnTo>
                  <a:pt x="623" y="121"/>
                </a:lnTo>
                <a:lnTo>
                  <a:pt x="623" y="119"/>
                </a:lnTo>
                <a:lnTo>
                  <a:pt x="620" y="116"/>
                </a:lnTo>
                <a:lnTo>
                  <a:pt x="617" y="115"/>
                </a:lnTo>
                <a:lnTo>
                  <a:pt x="616" y="112"/>
                </a:lnTo>
                <a:lnTo>
                  <a:pt x="616" y="111"/>
                </a:lnTo>
                <a:lnTo>
                  <a:pt x="617" y="111"/>
                </a:lnTo>
                <a:lnTo>
                  <a:pt x="619" y="112"/>
                </a:lnTo>
                <a:lnTo>
                  <a:pt x="619" y="110"/>
                </a:lnTo>
                <a:lnTo>
                  <a:pt x="620" y="109"/>
                </a:lnTo>
                <a:lnTo>
                  <a:pt x="622" y="108"/>
                </a:lnTo>
                <a:close/>
                <a:moveTo>
                  <a:pt x="708" y="94"/>
                </a:moveTo>
                <a:lnTo>
                  <a:pt x="709" y="96"/>
                </a:lnTo>
                <a:lnTo>
                  <a:pt x="709" y="97"/>
                </a:lnTo>
                <a:lnTo>
                  <a:pt x="711" y="99"/>
                </a:lnTo>
                <a:lnTo>
                  <a:pt x="711" y="103"/>
                </a:lnTo>
                <a:lnTo>
                  <a:pt x="710" y="108"/>
                </a:lnTo>
                <a:lnTo>
                  <a:pt x="709" y="109"/>
                </a:lnTo>
                <a:lnTo>
                  <a:pt x="709" y="110"/>
                </a:lnTo>
                <a:lnTo>
                  <a:pt x="708" y="111"/>
                </a:lnTo>
                <a:lnTo>
                  <a:pt x="707" y="110"/>
                </a:lnTo>
                <a:lnTo>
                  <a:pt x="707" y="97"/>
                </a:lnTo>
                <a:lnTo>
                  <a:pt x="708" y="97"/>
                </a:lnTo>
                <a:lnTo>
                  <a:pt x="708" y="94"/>
                </a:lnTo>
                <a:close/>
                <a:moveTo>
                  <a:pt x="748" y="93"/>
                </a:moveTo>
                <a:lnTo>
                  <a:pt x="750" y="94"/>
                </a:lnTo>
                <a:lnTo>
                  <a:pt x="750" y="99"/>
                </a:lnTo>
                <a:lnTo>
                  <a:pt x="751" y="102"/>
                </a:lnTo>
                <a:lnTo>
                  <a:pt x="751" y="96"/>
                </a:lnTo>
                <a:lnTo>
                  <a:pt x="752" y="94"/>
                </a:lnTo>
                <a:lnTo>
                  <a:pt x="753" y="96"/>
                </a:lnTo>
                <a:lnTo>
                  <a:pt x="754" y="98"/>
                </a:lnTo>
                <a:lnTo>
                  <a:pt x="754" y="100"/>
                </a:lnTo>
                <a:lnTo>
                  <a:pt x="756" y="102"/>
                </a:lnTo>
                <a:lnTo>
                  <a:pt x="760" y="103"/>
                </a:lnTo>
                <a:lnTo>
                  <a:pt x="759" y="104"/>
                </a:lnTo>
                <a:lnTo>
                  <a:pt x="759" y="105"/>
                </a:lnTo>
                <a:lnTo>
                  <a:pt x="760" y="106"/>
                </a:lnTo>
                <a:lnTo>
                  <a:pt x="762" y="106"/>
                </a:lnTo>
                <a:lnTo>
                  <a:pt x="763" y="109"/>
                </a:lnTo>
                <a:lnTo>
                  <a:pt x="763" y="112"/>
                </a:lnTo>
                <a:lnTo>
                  <a:pt x="751" y="111"/>
                </a:lnTo>
                <a:lnTo>
                  <a:pt x="739" y="108"/>
                </a:lnTo>
                <a:lnTo>
                  <a:pt x="737" y="103"/>
                </a:lnTo>
                <a:lnTo>
                  <a:pt x="735" y="102"/>
                </a:lnTo>
                <a:lnTo>
                  <a:pt x="737" y="100"/>
                </a:lnTo>
                <a:lnTo>
                  <a:pt x="737" y="99"/>
                </a:lnTo>
                <a:lnTo>
                  <a:pt x="738" y="98"/>
                </a:lnTo>
                <a:lnTo>
                  <a:pt x="739" y="99"/>
                </a:lnTo>
                <a:lnTo>
                  <a:pt x="739" y="100"/>
                </a:lnTo>
                <a:lnTo>
                  <a:pt x="741" y="103"/>
                </a:lnTo>
                <a:lnTo>
                  <a:pt x="740" y="100"/>
                </a:lnTo>
                <a:lnTo>
                  <a:pt x="740" y="96"/>
                </a:lnTo>
                <a:lnTo>
                  <a:pt x="742" y="98"/>
                </a:lnTo>
                <a:lnTo>
                  <a:pt x="745" y="96"/>
                </a:lnTo>
                <a:lnTo>
                  <a:pt x="745" y="98"/>
                </a:lnTo>
                <a:lnTo>
                  <a:pt x="746" y="96"/>
                </a:lnTo>
                <a:lnTo>
                  <a:pt x="747" y="96"/>
                </a:lnTo>
                <a:lnTo>
                  <a:pt x="748" y="94"/>
                </a:lnTo>
                <a:lnTo>
                  <a:pt x="748" y="93"/>
                </a:lnTo>
                <a:close/>
                <a:moveTo>
                  <a:pt x="978" y="85"/>
                </a:moveTo>
                <a:lnTo>
                  <a:pt x="978" y="86"/>
                </a:lnTo>
                <a:lnTo>
                  <a:pt x="977" y="87"/>
                </a:lnTo>
                <a:lnTo>
                  <a:pt x="978" y="85"/>
                </a:lnTo>
                <a:close/>
                <a:moveTo>
                  <a:pt x="970" y="82"/>
                </a:moveTo>
                <a:lnTo>
                  <a:pt x="971" y="82"/>
                </a:lnTo>
                <a:lnTo>
                  <a:pt x="970" y="85"/>
                </a:lnTo>
                <a:lnTo>
                  <a:pt x="970" y="82"/>
                </a:lnTo>
                <a:close/>
                <a:moveTo>
                  <a:pt x="782" y="65"/>
                </a:moveTo>
                <a:lnTo>
                  <a:pt x="783" y="65"/>
                </a:lnTo>
                <a:lnTo>
                  <a:pt x="783" y="66"/>
                </a:lnTo>
                <a:lnTo>
                  <a:pt x="784" y="67"/>
                </a:lnTo>
                <a:lnTo>
                  <a:pt x="785" y="66"/>
                </a:lnTo>
                <a:lnTo>
                  <a:pt x="787" y="67"/>
                </a:lnTo>
                <a:lnTo>
                  <a:pt x="785" y="67"/>
                </a:lnTo>
                <a:lnTo>
                  <a:pt x="787" y="68"/>
                </a:lnTo>
                <a:lnTo>
                  <a:pt x="788" y="70"/>
                </a:lnTo>
                <a:lnTo>
                  <a:pt x="788" y="73"/>
                </a:lnTo>
                <a:lnTo>
                  <a:pt x="787" y="74"/>
                </a:lnTo>
                <a:lnTo>
                  <a:pt x="787" y="76"/>
                </a:lnTo>
                <a:lnTo>
                  <a:pt x="788" y="79"/>
                </a:lnTo>
                <a:lnTo>
                  <a:pt x="789" y="80"/>
                </a:lnTo>
                <a:lnTo>
                  <a:pt x="790" y="80"/>
                </a:lnTo>
                <a:lnTo>
                  <a:pt x="790" y="81"/>
                </a:lnTo>
                <a:lnTo>
                  <a:pt x="789" y="81"/>
                </a:lnTo>
                <a:lnTo>
                  <a:pt x="789" y="82"/>
                </a:lnTo>
                <a:lnTo>
                  <a:pt x="790" y="85"/>
                </a:lnTo>
                <a:lnTo>
                  <a:pt x="788" y="92"/>
                </a:lnTo>
                <a:lnTo>
                  <a:pt x="779" y="99"/>
                </a:lnTo>
                <a:lnTo>
                  <a:pt x="776" y="100"/>
                </a:lnTo>
                <a:lnTo>
                  <a:pt x="775" y="102"/>
                </a:lnTo>
                <a:lnTo>
                  <a:pt x="776" y="102"/>
                </a:lnTo>
                <a:lnTo>
                  <a:pt x="778" y="104"/>
                </a:lnTo>
                <a:lnTo>
                  <a:pt x="771" y="109"/>
                </a:lnTo>
                <a:lnTo>
                  <a:pt x="766" y="109"/>
                </a:lnTo>
                <a:lnTo>
                  <a:pt x="766" y="103"/>
                </a:lnTo>
                <a:lnTo>
                  <a:pt x="768" y="99"/>
                </a:lnTo>
                <a:lnTo>
                  <a:pt x="768" y="96"/>
                </a:lnTo>
                <a:lnTo>
                  <a:pt x="769" y="93"/>
                </a:lnTo>
                <a:lnTo>
                  <a:pt x="768" y="92"/>
                </a:lnTo>
                <a:lnTo>
                  <a:pt x="765" y="98"/>
                </a:lnTo>
                <a:lnTo>
                  <a:pt x="764" y="100"/>
                </a:lnTo>
                <a:lnTo>
                  <a:pt x="763" y="100"/>
                </a:lnTo>
                <a:lnTo>
                  <a:pt x="762" y="99"/>
                </a:lnTo>
                <a:lnTo>
                  <a:pt x="760" y="99"/>
                </a:lnTo>
                <a:lnTo>
                  <a:pt x="759" y="98"/>
                </a:lnTo>
                <a:lnTo>
                  <a:pt x="757" y="93"/>
                </a:lnTo>
                <a:lnTo>
                  <a:pt x="756" y="92"/>
                </a:lnTo>
                <a:lnTo>
                  <a:pt x="760" y="92"/>
                </a:lnTo>
                <a:lnTo>
                  <a:pt x="760" y="91"/>
                </a:lnTo>
                <a:lnTo>
                  <a:pt x="759" y="90"/>
                </a:lnTo>
                <a:lnTo>
                  <a:pt x="758" y="90"/>
                </a:lnTo>
                <a:lnTo>
                  <a:pt x="758" y="87"/>
                </a:lnTo>
                <a:lnTo>
                  <a:pt x="759" y="86"/>
                </a:lnTo>
                <a:lnTo>
                  <a:pt x="760" y="86"/>
                </a:lnTo>
                <a:lnTo>
                  <a:pt x="760" y="84"/>
                </a:lnTo>
                <a:lnTo>
                  <a:pt x="763" y="84"/>
                </a:lnTo>
                <a:lnTo>
                  <a:pt x="763" y="81"/>
                </a:lnTo>
                <a:lnTo>
                  <a:pt x="768" y="78"/>
                </a:lnTo>
                <a:lnTo>
                  <a:pt x="769" y="79"/>
                </a:lnTo>
                <a:lnTo>
                  <a:pt x="769" y="81"/>
                </a:lnTo>
                <a:lnTo>
                  <a:pt x="771" y="79"/>
                </a:lnTo>
                <a:lnTo>
                  <a:pt x="772" y="79"/>
                </a:lnTo>
                <a:lnTo>
                  <a:pt x="772" y="78"/>
                </a:lnTo>
                <a:lnTo>
                  <a:pt x="771" y="78"/>
                </a:lnTo>
                <a:lnTo>
                  <a:pt x="770" y="76"/>
                </a:lnTo>
                <a:lnTo>
                  <a:pt x="770" y="75"/>
                </a:lnTo>
                <a:lnTo>
                  <a:pt x="771" y="74"/>
                </a:lnTo>
                <a:lnTo>
                  <a:pt x="773" y="76"/>
                </a:lnTo>
                <a:lnTo>
                  <a:pt x="773" y="84"/>
                </a:lnTo>
                <a:lnTo>
                  <a:pt x="775" y="84"/>
                </a:lnTo>
                <a:lnTo>
                  <a:pt x="775" y="82"/>
                </a:lnTo>
                <a:lnTo>
                  <a:pt x="776" y="79"/>
                </a:lnTo>
                <a:lnTo>
                  <a:pt x="776" y="76"/>
                </a:lnTo>
                <a:lnTo>
                  <a:pt x="775" y="76"/>
                </a:lnTo>
                <a:lnTo>
                  <a:pt x="775" y="75"/>
                </a:lnTo>
                <a:lnTo>
                  <a:pt x="776" y="74"/>
                </a:lnTo>
                <a:lnTo>
                  <a:pt x="778" y="76"/>
                </a:lnTo>
                <a:lnTo>
                  <a:pt x="779" y="76"/>
                </a:lnTo>
                <a:lnTo>
                  <a:pt x="779" y="75"/>
                </a:lnTo>
                <a:lnTo>
                  <a:pt x="778" y="75"/>
                </a:lnTo>
                <a:lnTo>
                  <a:pt x="779" y="73"/>
                </a:lnTo>
                <a:lnTo>
                  <a:pt x="783" y="75"/>
                </a:lnTo>
                <a:lnTo>
                  <a:pt x="785" y="75"/>
                </a:lnTo>
                <a:lnTo>
                  <a:pt x="784" y="73"/>
                </a:lnTo>
                <a:lnTo>
                  <a:pt x="783" y="72"/>
                </a:lnTo>
                <a:lnTo>
                  <a:pt x="781" y="70"/>
                </a:lnTo>
                <a:lnTo>
                  <a:pt x="781" y="69"/>
                </a:lnTo>
                <a:lnTo>
                  <a:pt x="782" y="68"/>
                </a:lnTo>
                <a:lnTo>
                  <a:pt x="782" y="67"/>
                </a:lnTo>
                <a:lnTo>
                  <a:pt x="779" y="67"/>
                </a:lnTo>
                <a:lnTo>
                  <a:pt x="778" y="66"/>
                </a:lnTo>
                <a:lnTo>
                  <a:pt x="782" y="65"/>
                </a:lnTo>
                <a:close/>
                <a:moveTo>
                  <a:pt x="793" y="49"/>
                </a:moveTo>
                <a:lnTo>
                  <a:pt x="797" y="49"/>
                </a:lnTo>
                <a:lnTo>
                  <a:pt x="797" y="53"/>
                </a:lnTo>
                <a:lnTo>
                  <a:pt x="799" y="53"/>
                </a:lnTo>
                <a:lnTo>
                  <a:pt x="797" y="54"/>
                </a:lnTo>
                <a:lnTo>
                  <a:pt x="797" y="55"/>
                </a:lnTo>
                <a:lnTo>
                  <a:pt x="799" y="55"/>
                </a:lnTo>
                <a:lnTo>
                  <a:pt x="799" y="54"/>
                </a:lnTo>
                <a:lnTo>
                  <a:pt x="803" y="54"/>
                </a:lnTo>
                <a:lnTo>
                  <a:pt x="803" y="55"/>
                </a:lnTo>
                <a:lnTo>
                  <a:pt x="806" y="57"/>
                </a:lnTo>
                <a:lnTo>
                  <a:pt x="807" y="57"/>
                </a:lnTo>
                <a:lnTo>
                  <a:pt x="807" y="62"/>
                </a:lnTo>
                <a:lnTo>
                  <a:pt x="810" y="66"/>
                </a:lnTo>
                <a:lnTo>
                  <a:pt x="809" y="69"/>
                </a:lnTo>
                <a:lnTo>
                  <a:pt x="804" y="72"/>
                </a:lnTo>
                <a:lnTo>
                  <a:pt x="802" y="78"/>
                </a:lnTo>
                <a:lnTo>
                  <a:pt x="799" y="79"/>
                </a:lnTo>
                <a:lnTo>
                  <a:pt x="796" y="79"/>
                </a:lnTo>
                <a:lnTo>
                  <a:pt x="794" y="78"/>
                </a:lnTo>
                <a:lnTo>
                  <a:pt x="794" y="76"/>
                </a:lnTo>
                <a:lnTo>
                  <a:pt x="793" y="73"/>
                </a:lnTo>
                <a:lnTo>
                  <a:pt x="791" y="72"/>
                </a:lnTo>
                <a:lnTo>
                  <a:pt x="791" y="68"/>
                </a:lnTo>
                <a:lnTo>
                  <a:pt x="789" y="68"/>
                </a:lnTo>
                <a:lnTo>
                  <a:pt x="790" y="67"/>
                </a:lnTo>
                <a:lnTo>
                  <a:pt x="791" y="65"/>
                </a:lnTo>
                <a:lnTo>
                  <a:pt x="791" y="63"/>
                </a:lnTo>
                <a:lnTo>
                  <a:pt x="790" y="62"/>
                </a:lnTo>
                <a:lnTo>
                  <a:pt x="791" y="61"/>
                </a:lnTo>
                <a:lnTo>
                  <a:pt x="791" y="60"/>
                </a:lnTo>
                <a:lnTo>
                  <a:pt x="789" y="57"/>
                </a:lnTo>
                <a:lnTo>
                  <a:pt x="789" y="55"/>
                </a:lnTo>
                <a:lnTo>
                  <a:pt x="791" y="53"/>
                </a:lnTo>
                <a:lnTo>
                  <a:pt x="791" y="50"/>
                </a:lnTo>
                <a:lnTo>
                  <a:pt x="793" y="49"/>
                </a:lnTo>
                <a:close/>
                <a:moveTo>
                  <a:pt x="769" y="39"/>
                </a:moveTo>
                <a:lnTo>
                  <a:pt x="770" y="41"/>
                </a:lnTo>
                <a:lnTo>
                  <a:pt x="769" y="41"/>
                </a:lnTo>
                <a:lnTo>
                  <a:pt x="769" y="39"/>
                </a:lnTo>
                <a:close/>
                <a:moveTo>
                  <a:pt x="776" y="33"/>
                </a:moveTo>
                <a:lnTo>
                  <a:pt x="777" y="35"/>
                </a:lnTo>
                <a:lnTo>
                  <a:pt x="778" y="35"/>
                </a:lnTo>
                <a:lnTo>
                  <a:pt x="778" y="36"/>
                </a:lnTo>
                <a:lnTo>
                  <a:pt x="779" y="37"/>
                </a:lnTo>
                <a:lnTo>
                  <a:pt x="781" y="39"/>
                </a:lnTo>
                <a:lnTo>
                  <a:pt x="781" y="41"/>
                </a:lnTo>
                <a:lnTo>
                  <a:pt x="782" y="42"/>
                </a:lnTo>
                <a:lnTo>
                  <a:pt x="782" y="43"/>
                </a:lnTo>
                <a:lnTo>
                  <a:pt x="783" y="43"/>
                </a:lnTo>
                <a:lnTo>
                  <a:pt x="782" y="44"/>
                </a:lnTo>
                <a:lnTo>
                  <a:pt x="778" y="44"/>
                </a:lnTo>
                <a:lnTo>
                  <a:pt x="779" y="45"/>
                </a:lnTo>
                <a:lnTo>
                  <a:pt x="781" y="45"/>
                </a:lnTo>
                <a:lnTo>
                  <a:pt x="782" y="47"/>
                </a:lnTo>
                <a:lnTo>
                  <a:pt x="781" y="47"/>
                </a:lnTo>
                <a:lnTo>
                  <a:pt x="779" y="48"/>
                </a:lnTo>
                <a:lnTo>
                  <a:pt x="779" y="50"/>
                </a:lnTo>
                <a:lnTo>
                  <a:pt x="778" y="50"/>
                </a:lnTo>
                <a:lnTo>
                  <a:pt x="777" y="49"/>
                </a:lnTo>
                <a:lnTo>
                  <a:pt x="776" y="49"/>
                </a:lnTo>
                <a:lnTo>
                  <a:pt x="776" y="54"/>
                </a:lnTo>
                <a:lnTo>
                  <a:pt x="775" y="54"/>
                </a:lnTo>
                <a:lnTo>
                  <a:pt x="775" y="55"/>
                </a:lnTo>
                <a:lnTo>
                  <a:pt x="773" y="56"/>
                </a:lnTo>
                <a:lnTo>
                  <a:pt x="773" y="57"/>
                </a:lnTo>
                <a:lnTo>
                  <a:pt x="770" y="57"/>
                </a:lnTo>
                <a:lnTo>
                  <a:pt x="770" y="56"/>
                </a:lnTo>
                <a:lnTo>
                  <a:pt x="769" y="56"/>
                </a:lnTo>
                <a:lnTo>
                  <a:pt x="769" y="60"/>
                </a:lnTo>
                <a:lnTo>
                  <a:pt x="768" y="60"/>
                </a:lnTo>
                <a:lnTo>
                  <a:pt x="769" y="61"/>
                </a:lnTo>
                <a:lnTo>
                  <a:pt x="770" y="61"/>
                </a:lnTo>
                <a:lnTo>
                  <a:pt x="770" y="62"/>
                </a:lnTo>
                <a:lnTo>
                  <a:pt x="769" y="65"/>
                </a:lnTo>
                <a:lnTo>
                  <a:pt x="765" y="65"/>
                </a:lnTo>
                <a:lnTo>
                  <a:pt x="768" y="67"/>
                </a:lnTo>
                <a:lnTo>
                  <a:pt x="766" y="70"/>
                </a:lnTo>
                <a:lnTo>
                  <a:pt x="765" y="69"/>
                </a:lnTo>
                <a:lnTo>
                  <a:pt x="763" y="68"/>
                </a:lnTo>
                <a:lnTo>
                  <a:pt x="763" y="72"/>
                </a:lnTo>
                <a:lnTo>
                  <a:pt x="762" y="73"/>
                </a:lnTo>
                <a:lnTo>
                  <a:pt x="760" y="73"/>
                </a:lnTo>
                <a:lnTo>
                  <a:pt x="758" y="70"/>
                </a:lnTo>
                <a:lnTo>
                  <a:pt x="757" y="70"/>
                </a:lnTo>
                <a:lnTo>
                  <a:pt x="757" y="72"/>
                </a:lnTo>
                <a:lnTo>
                  <a:pt x="759" y="73"/>
                </a:lnTo>
                <a:lnTo>
                  <a:pt x="759" y="75"/>
                </a:lnTo>
                <a:lnTo>
                  <a:pt x="758" y="75"/>
                </a:lnTo>
                <a:lnTo>
                  <a:pt x="758" y="76"/>
                </a:lnTo>
                <a:lnTo>
                  <a:pt x="756" y="74"/>
                </a:lnTo>
                <a:lnTo>
                  <a:pt x="754" y="75"/>
                </a:lnTo>
                <a:lnTo>
                  <a:pt x="754" y="78"/>
                </a:lnTo>
                <a:lnTo>
                  <a:pt x="753" y="78"/>
                </a:lnTo>
                <a:lnTo>
                  <a:pt x="752" y="76"/>
                </a:lnTo>
                <a:lnTo>
                  <a:pt x="752" y="75"/>
                </a:lnTo>
                <a:lnTo>
                  <a:pt x="753" y="74"/>
                </a:lnTo>
                <a:lnTo>
                  <a:pt x="750" y="73"/>
                </a:lnTo>
                <a:lnTo>
                  <a:pt x="747" y="73"/>
                </a:lnTo>
                <a:lnTo>
                  <a:pt x="747" y="74"/>
                </a:lnTo>
                <a:lnTo>
                  <a:pt x="746" y="75"/>
                </a:lnTo>
                <a:lnTo>
                  <a:pt x="747" y="76"/>
                </a:lnTo>
                <a:lnTo>
                  <a:pt x="747" y="78"/>
                </a:lnTo>
                <a:lnTo>
                  <a:pt x="745" y="78"/>
                </a:lnTo>
                <a:lnTo>
                  <a:pt x="745" y="80"/>
                </a:lnTo>
                <a:lnTo>
                  <a:pt x="744" y="80"/>
                </a:lnTo>
                <a:lnTo>
                  <a:pt x="742" y="78"/>
                </a:lnTo>
                <a:lnTo>
                  <a:pt x="741" y="76"/>
                </a:lnTo>
                <a:lnTo>
                  <a:pt x="740" y="80"/>
                </a:lnTo>
                <a:lnTo>
                  <a:pt x="740" y="81"/>
                </a:lnTo>
                <a:lnTo>
                  <a:pt x="739" y="81"/>
                </a:lnTo>
                <a:lnTo>
                  <a:pt x="738" y="80"/>
                </a:lnTo>
                <a:lnTo>
                  <a:pt x="738" y="79"/>
                </a:lnTo>
                <a:lnTo>
                  <a:pt x="737" y="79"/>
                </a:lnTo>
                <a:lnTo>
                  <a:pt x="734" y="81"/>
                </a:lnTo>
                <a:lnTo>
                  <a:pt x="733" y="80"/>
                </a:lnTo>
                <a:lnTo>
                  <a:pt x="733" y="76"/>
                </a:lnTo>
                <a:lnTo>
                  <a:pt x="732" y="75"/>
                </a:lnTo>
                <a:lnTo>
                  <a:pt x="732" y="78"/>
                </a:lnTo>
                <a:lnTo>
                  <a:pt x="731" y="82"/>
                </a:lnTo>
                <a:lnTo>
                  <a:pt x="728" y="85"/>
                </a:lnTo>
                <a:lnTo>
                  <a:pt x="727" y="85"/>
                </a:lnTo>
                <a:lnTo>
                  <a:pt x="726" y="82"/>
                </a:lnTo>
                <a:lnTo>
                  <a:pt x="727" y="81"/>
                </a:lnTo>
                <a:lnTo>
                  <a:pt x="727" y="79"/>
                </a:lnTo>
                <a:lnTo>
                  <a:pt x="728" y="76"/>
                </a:lnTo>
                <a:lnTo>
                  <a:pt x="728" y="75"/>
                </a:lnTo>
                <a:lnTo>
                  <a:pt x="731" y="74"/>
                </a:lnTo>
                <a:lnTo>
                  <a:pt x="732" y="72"/>
                </a:lnTo>
                <a:lnTo>
                  <a:pt x="731" y="72"/>
                </a:lnTo>
                <a:lnTo>
                  <a:pt x="731" y="70"/>
                </a:lnTo>
                <a:lnTo>
                  <a:pt x="734" y="67"/>
                </a:lnTo>
                <a:lnTo>
                  <a:pt x="725" y="67"/>
                </a:lnTo>
                <a:lnTo>
                  <a:pt x="723" y="68"/>
                </a:lnTo>
                <a:lnTo>
                  <a:pt x="723" y="69"/>
                </a:lnTo>
                <a:lnTo>
                  <a:pt x="722" y="69"/>
                </a:lnTo>
                <a:lnTo>
                  <a:pt x="721" y="68"/>
                </a:lnTo>
                <a:lnTo>
                  <a:pt x="721" y="67"/>
                </a:lnTo>
                <a:lnTo>
                  <a:pt x="722" y="65"/>
                </a:lnTo>
                <a:lnTo>
                  <a:pt x="723" y="63"/>
                </a:lnTo>
                <a:lnTo>
                  <a:pt x="719" y="63"/>
                </a:lnTo>
                <a:lnTo>
                  <a:pt x="717" y="62"/>
                </a:lnTo>
                <a:lnTo>
                  <a:pt x="720" y="60"/>
                </a:lnTo>
                <a:lnTo>
                  <a:pt x="722" y="61"/>
                </a:lnTo>
                <a:lnTo>
                  <a:pt x="728" y="65"/>
                </a:lnTo>
                <a:lnTo>
                  <a:pt x="729" y="65"/>
                </a:lnTo>
                <a:lnTo>
                  <a:pt x="731" y="63"/>
                </a:lnTo>
                <a:lnTo>
                  <a:pt x="731" y="60"/>
                </a:lnTo>
                <a:lnTo>
                  <a:pt x="729" y="59"/>
                </a:lnTo>
                <a:lnTo>
                  <a:pt x="732" y="59"/>
                </a:lnTo>
                <a:lnTo>
                  <a:pt x="738" y="65"/>
                </a:lnTo>
                <a:lnTo>
                  <a:pt x="738" y="63"/>
                </a:lnTo>
                <a:lnTo>
                  <a:pt x="737" y="62"/>
                </a:lnTo>
                <a:lnTo>
                  <a:pt x="737" y="59"/>
                </a:lnTo>
                <a:lnTo>
                  <a:pt x="735" y="56"/>
                </a:lnTo>
                <a:lnTo>
                  <a:pt x="737" y="54"/>
                </a:lnTo>
                <a:lnTo>
                  <a:pt x="738" y="54"/>
                </a:lnTo>
                <a:lnTo>
                  <a:pt x="738" y="55"/>
                </a:lnTo>
                <a:lnTo>
                  <a:pt x="739" y="56"/>
                </a:lnTo>
                <a:lnTo>
                  <a:pt x="739" y="57"/>
                </a:lnTo>
                <a:lnTo>
                  <a:pt x="740" y="59"/>
                </a:lnTo>
                <a:lnTo>
                  <a:pt x="741" y="59"/>
                </a:lnTo>
                <a:lnTo>
                  <a:pt x="741" y="55"/>
                </a:lnTo>
                <a:lnTo>
                  <a:pt x="742" y="54"/>
                </a:lnTo>
                <a:lnTo>
                  <a:pt x="742" y="53"/>
                </a:lnTo>
                <a:lnTo>
                  <a:pt x="747" y="57"/>
                </a:lnTo>
                <a:lnTo>
                  <a:pt x="747" y="59"/>
                </a:lnTo>
                <a:lnTo>
                  <a:pt x="746" y="61"/>
                </a:lnTo>
                <a:lnTo>
                  <a:pt x="745" y="61"/>
                </a:lnTo>
                <a:lnTo>
                  <a:pt x="746" y="63"/>
                </a:lnTo>
                <a:lnTo>
                  <a:pt x="747" y="63"/>
                </a:lnTo>
                <a:lnTo>
                  <a:pt x="747" y="62"/>
                </a:lnTo>
                <a:lnTo>
                  <a:pt x="748" y="61"/>
                </a:lnTo>
                <a:lnTo>
                  <a:pt x="750" y="61"/>
                </a:lnTo>
                <a:lnTo>
                  <a:pt x="750" y="67"/>
                </a:lnTo>
                <a:lnTo>
                  <a:pt x="751" y="68"/>
                </a:lnTo>
                <a:lnTo>
                  <a:pt x="751" y="63"/>
                </a:lnTo>
                <a:lnTo>
                  <a:pt x="752" y="62"/>
                </a:lnTo>
                <a:lnTo>
                  <a:pt x="754" y="62"/>
                </a:lnTo>
                <a:lnTo>
                  <a:pt x="754" y="60"/>
                </a:lnTo>
                <a:lnTo>
                  <a:pt x="753" y="59"/>
                </a:lnTo>
                <a:lnTo>
                  <a:pt x="753" y="55"/>
                </a:lnTo>
                <a:lnTo>
                  <a:pt x="752" y="54"/>
                </a:lnTo>
                <a:lnTo>
                  <a:pt x="751" y="51"/>
                </a:lnTo>
                <a:lnTo>
                  <a:pt x="751" y="49"/>
                </a:lnTo>
                <a:lnTo>
                  <a:pt x="752" y="49"/>
                </a:lnTo>
                <a:lnTo>
                  <a:pt x="754" y="48"/>
                </a:lnTo>
                <a:lnTo>
                  <a:pt x="753" y="49"/>
                </a:lnTo>
                <a:lnTo>
                  <a:pt x="754" y="50"/>
                </a:lnTo>
                <a:lnTo>
                  <a:pt x="756" y="50"/>
                </a:lnTo>
                <a:lnTo>
                  <a:pt x="757" y="51"/>
                </a:lnTo>
                <a:lnTo>
                  <a:pt x="756" y="51"/>
                </a:lnTo>
                <a:lnTo>
                  <a:pt x="756" y="53"/>
                </a:lnTo>
                <a:lnTo>
                  <a:pt x="757" y="53"/>
                </a:lnTo>
                <a:lnTo>
                  <a:pt x="758" y="51"/>
                </a:lnTo>
                <a:lnTo>
                  <a:pt x="759" y="53"/>
                </a:lnTo>
                <a:lnTo>
                  <a:pt x="759" y="55"/>
                </a:lnTo>
                <a:lnTo>
                  <a:pt x="758" y="56"/>
                </a:lnTo>
                <a:lnTo>
                  <a:pt x="759" y="57"/>
                </a:lnTo>
                <a:lnTo>
                  <a:pt x="760" y="60"/>
                </a:lnTo>
                <a:lnTo>
                  <a:pt x="762" y="61"/>
                </a:lnTo>
                <a:lnTo>
                  <a:pt x="762" y="57"/>
                </a:lnTo>
                <a:lnTo>
                  <a:pt x="763" y="57"/>
                </a:lnTo>
                <a:lnTo>
                  <a:pt x="763" y="56"/>
                </a:lnTo>
                <a:lnTo>
                  <a:pt x="764" y="55"/>
                </a:lnTo>
                <a:lnTo>
                  <a:pt x="764" y="53"/>
                </a:lnTo>
                <a:lnTo>
                  <a:pt x="766" y="54"/>
                </a:lnTo>
                <a:lnTo>
                  <a:pt x="768" y="54"/>
                </a:lnTo>
                <a:lnTo>
                  <a:pt x="766" y="53"/>
                </a:lnTo>
                <a:lnTo>
                  <a:pt x="766" y="51"/>
                </a:lnTo>
                <a:lnTo>
                  <a:pt x="770" y="51"/>
                </a:lnTo>
                <a:lnTo>
                  <a:pt x="770" y="50"/>
                </a:lnTo>
                <a:lnTo>
                  <a:pt x="769" y="50"/>
                </a:lnTo>
                <a:lnTo>
                  <a:pt x="768" y="49"/>
                </a:lnTo>
                <a:lnTo>
                  <a:pt x="768" y="48"/>
                </a:lnTo>
                <a:lnTo>
                  <a:pt x="765" y="47"/>
                </a:lnTo>
                <a:lnTo>
                  <a:pt x="765" y="45"/>
                </a:lnTo>
                <a:lnTo>
                  <a:pt x="764" y="44"/>
                </a:lnTo>
                <a:lnTo>
                  <a:pt x="764" y="43"/>
                </a:lnTo>
                <a:lnTo>
                  <a:pt x="766" y="43"/>
                </a:lnTo>
                <a:lnTo>
                  <a:pt x="766" y="42"/>
                </a:lnTo>
                <a:lnTo>
                  <a:pt x="765" y="42"/>
                </a:lnTo>
                <a:lnTo>
                  <a:pt x="765" y="41"/>
                </a:lnTo>
                <a:lnTo>
                  <a:pt x="766" y="41"/>
                </a:lnTo>
                <a:lnTo>
                  <a:pt x="769" y="43"/>
                </a:lnTo>
                <a:lnTo>
                  <a:pt x="769" y="44"/>
                </a:lnTo>
                <a:lnTo>
                  <a:pt x="770" y="43"/>
                </a:lnTo>
                <a:lnTo>
                  <a:pt x="770" y="41"/>
                </a:lnTo>
                <a:lnTo>
                  <a:pt x="772" y="44"/>
                </a:lnTo>
                <a:lnTo>
                  <a:pt x="773" y="45"/>
                </a:lnTo>
                <a:lnTo>
                  <a:pt x="776" y="45"/>
                </a:lnTo>
                <a:lnTo>
                  <a:pt x="777" y="44"/>
                </a:lnTo>
                <a:lnTo>
                  <a:pt x="777" y="43"/>
                </a:lnTo>
                <a:lnTo>
                  <a:pt x="776" y="41"/>
                </a:lnTo>
                <a:lnTo>
                  <a:pt x="776" y="33"/>
                </a:lnTo>
                <a:close/>
                <a:moveTo>
                  <a:pt x="803" y="13"/>
                </a:moveTo>
                <a:lnTo>
                  <a:pt x="808" y="13"/>
                </a:lnTo>
                <a:lnTo>
                  <a:pt x="808" y="16"/>
                </a:lnTo>
                <a:lnTo>
                  <a:pt x="809" y="17"/>
                </a:lnTo>
                <a:lnTo>
                  <a:pt x="813" y="16"/>
                </a:lnTo>
                <a:lnTo>
                  <a:pt x="814" y="17"/>
                </a:lnTo>
                <a:lnTo>
                  <a:pt x="813" y="18"/>
                </a:lnTo>
                <a:lnTo>
                  <a:pt x="809" y="18"/>
                </a:lnTo>
                <a:lnTo>
                  <a:pt x="808" y="19"/>
                </a:lnTo>
                <a:lnTo>
                  <a:pt x="808" y="22"/>
                </a:lnTo>
                <a:lnTo>
                  <a:pt x="813" y="22"/>
                </a:lnTo>
                <a:lnTo>
                  <a:pt x="815" y="23"/>
                </a:lnTo>
                <a:lnTo>
                  <a:pt x="814" y="23"/>
                </a:lnTo>
                <a:lnTo>
                  <a:pt x="814" y="24"/>
                </a:lnTo>
                <a:lnTo>
                  <a:pt x="812" y="24"/>
                </a:lnTo>
                <a:lnTo>
                  <a:pt x="812" y="26"/>
                </a:lnTo>
                <a:lnTo>
                  <a:pt x="810" y="26"/>
                </a:lnTo>
                <a:lnTo>
                  <a:pt x="810" y="25"/>
                </a:lnTo>
                <a:lnTo>
                  <a:pt x="809" y="25"/>
                </a:lnTo>
                <a:lnTo>
                  <a:pt x="808" y="26"/>
                </a:lnTo>
                <a:lnTo>
                  <a:pt x="808" y="27"/>
                </a:lnTo>
                <a:lnTo>
                  <a:pt x="806" y="27"/>
                </a:lnTo>
                <a:lnTo>
                  <a:pt x="804" y="26"/>
                </a:lnTo>
                <a:lnTo>
                  <a:pt x="804" y="24"/>
                </a:lnTo>
                <a:lnTo>
                  <a:pt x="801" y="23"/>
                </a:lnTo>
                <a:lnTo>
                  <a:pt x="802" y="22"/>
                </a:lnTo>
                <a:lnTo>
                  <a:pt x="804" y="22"/>
                </a:lnTo>
                <a:lnTo>
                  <a:pt x="806" y="20"/>
                </a:lnTo>
                <a:lnTo>
                  <a:pt x="804" y="19"/>
                </a:lnTo>
                <a:lnTo>
                  <a:pt x="801" y="19"/>
                </a:lnTo>
                <a:lnTo>
                  <a:pt x="800" y="17"/>
                </a:lnTo>
                <a:lnTo>
                  <a:pt x="802" y="17"/>
                </a:lnTo>
                <a:lnTo>
                  <a:pt x="802" y="14"/>
                </a:lnTo>
                <a:lnTo>
                  <a:pt x="801" y="14"/>
                </a:lnTo>
                <a:lnTo>
                  <a:pt x="803" y="13"/>
                </a:lnTo>
                <a:close/>
                <a:moveTo>
                  <a:pt x="834" y="2"/>
                </a:moveTo>
                <a:lnTo>
                  <a:pt x="835" y="2"/>
                </a:lnTo>
                <a:lnTo>
                  <a:pt x="837" y="4"/>
                </a:lnTo>
                <a:lnTo>
                  <a:pt x="837" y="5"/>
                </a:lnTo>
                <a:lnTo>
                  <a:pt x="838" y="5"/>
                </a:lnTo>
                <a:lnTo>
                  <a:pt x="839" y="4"/>
                </a:lnTo>
                <a:lnTo>
                  <a:pt x="840" y="4"/>
                </a:lnTo>
                <a:lnTo>
                  <a:pt x="840" y="5"/>
                </a:lnTo>
                <a:lnTo>
                  <a:pt x="839" y="6"/>
                </a:lnTo>
                <a:lnTo>
                  <a:pt x="839" y="7"/>
                </a:lnTo>
                <a:lnTo>
                  <a:pt x="838" y="8"/>
                </a:lnTo>
                <a:lnTo>
                  <a:pt x="838" y="11"/>
                </a:lnTo>
                <a:lnTo>
                  <a:pt x="837" y="13"/>
                </a:lnTo>
                <a:lnTo>
                  <a:pt x="834" y="13"/>
                </a:lnTo>
                <a:lnTo>
                  <a:pt x="833" y="12"/>
                </a:lnTo>
                <a:lnTo>
                  <a:pt x="833" y="11"/>
                </a:lnTo>
                <a:lnTo>
                  <a:pt x="831" y="11"/>
                </a:lnTo>
                <a:lnTo>
                  <a:pt x="831" y="7"/>
                </a:lnTo>
                <a:lnTo>
                  <a:pt x="833" y="5"/>
                </a:lnTo>
                <a:lnTo>
                  <a:pt x="834" y="6"/>
                </a:lnTo>
                <a:lnTo>
                  <a:pt x="834" y="8"/>
                </a:lnTo>
                <a:lnTo>
                  <a:pt x="835" y="8"/>
                </a:lnTo>
                <a:lnTo>
                  <a:pt x="835" y="6"/>
                </a:lnTo>
                <a:lnTo>
                  <a:pt x="834" y="4"/>
                </a:lnTo>
                <a:lnTo>
                  <a:pt x="834" y="2"/>
                </a:lnTo>
                <a:close/>
                <a:moveTo>
                  <a:pt x="958" y="0"/>
                </a:moveTo>
                <a:lnTo>
                  <a:pt x="962" y="4"/>
                </a:lnTo>
                <a:lnTo>
                  <a:pt x="962" y="5"/>
                </a:lnTo>
                <a:lnTo>
                  <a:pt x="961" y="8"/>
                </a:lnTo>
                <a:lnTo>
                  <a:pt x="962" y="10"/>
                </a:lnTo>
                <a:lnTo>
                  <a:pt x="965" y="10"/>
                </a:lnTo>
                <a:lnTo>
                  <a:pt x="968" y="12"/>
                </a:lnTo>
                <a:lnTo>
                  <a:pt x="971" y="11"/>
                </a:lnTo>
                <a:lnTo>
                  <a:pt x="974" y="8"/>
                </a:lnTo>
                <a:lnTo>
                  <a:pt x="974" y="7"/>
                </a:lnTo>
                <a:lnTo>
                  <a:pt x="975" y="7"/>
                </a:lnTo>
                <a:lnTo>
                  <a:pt x="976" y="8"/>
                </a:lnTo>
                <a:lnTo>
                  <a:pt x="976" y="11"/>
                </a:lnTo>
                <a:lnTo>
                  <a:pt x="977" y="12"/>
                </a:lnTo>
                <a:lnTo>
                  <a:pt x="977" y="11"/>
                </a:lnTo>
                <a:lnTo>
                  <a:pt x="980" y="7"/>
                </a:lnTo>
                <a:lnTo>
                  <a:pt x="981" y="6"/>
                </a:lnTo>
                <a:lnTo>
                  <a:pt x="982" y="6"/>
                </a:lnTo>
                <a:lnTo>
                  <a:pt x="984" y="8"/>
                </a:lnTo>
                <a:lnTo>
                  <a:pt x="984" y="12"/>
                </a:lnTo>
                <a:lnTo>
                  <a:pt x="983" y="12"/>
                </a:lnTo>
                <a:lnTo>
                  <a:pt x="982" y="13"/>
                </a:lnTo>
                <a:lnTo>
                  <a:pt x="982" y="16"/>
                </a:lnTo>
                <a:lnTo>
                  <a:pt x="981" y="16"/>
                </a:lnTo>
                <a:lnTo>
                  <a:pt x="981" y="17"/>
                </a:lnTo>
                <a:lnTo>
                  <a:pt x="982" y="17"/>
                </a:lnTo>
                <a:lnTo>
                  <a:pt x="983" y="16"/>
                </a:lnTo>
                <a:lnTo>
                  <a:pt x="983" y="18"/>
                </a:lnTo>
                <a:lnTo>
                  <a:pt x="982" y="18"/>
                </a:lnTo>
                <a:lnTo>
                  <a:pt x="982" y="19"/>
                </a:lnTo>
                <a:lnTo>
                  <a:pt x="983" y="20"/>
                </a:lnTo>
                <a:lnTo>
                  <a:pt x="988" y="17"/>
                </a:lnTo>
                <a:lnTo>
                  <a:pt x="994" y="17"/>
                </a:lnTo>
                <a:lnTo>
                  <a:pt x="995" y="19"/>
                </a:lnTo>
                <a:lnTo>
                  <a:pt x="996" y="19"/>
                </a:lnTo>
                <a:lnTo>
                  <a:pt x="996" y="23"/>
                </a:lnTo>
                <a:lnTo>
                  <a:pt x="995" y="25"/>
                </a:lnTo>
                <a:lnTo>
                  <a:pt x="995" y="27"/>
                </a:lnTo>
                <a:lnTo>
                  <a:pt x="994" y="29"/>
                </a:lnTo>
                <a:lnTo>
                  <a:pt x="994" y="31"/>
                </a:lnTo>
                <a:lnTo>
                  <a:pt x="992" y="32"/>
                </a:lnTo>
                <a:lnTo>
                  <a:pt x="989" y="31"/>
                </a:lnTo>
                <a:lnTo>
                  <a:pt x="989" y="33"/>
                </a:lnTo>
                <a:lnTo>
                  <a:pt x="992" y="33"/>
                </a:lnTo>
                <a:lnTo>
                  <a:pt x="992" y="36"/>
                </a:lnTo>
                <a:lnTo>
                  <a:pt x="990" y="37"/>
                </a:lnTo>
                <a:lnTo>
                  <a:pt x="988" y="37"/>
                </a:lnTo>
                <a:lnTo>
                  <a:pt x="988" y="39"/>
                </a:lnTo>
                <a:lnTo>
                  <a:pt x="983" y="38"/>
                </a:lnTo>
                <a:lnTo>
                  <a:pt x="983" y="39"/>
                </a:lnTo>
                <a:lnTo>
                  <a:pt x="984" y="41"/>
                </a:lnTo>
                <a:lnTo>
                  <a:pt x="986" y="41"/>
                </a:lnTo>
                <a:lnTo>
                  <a:pt x="984" y="43"/>
                </a:lnTo>
                <a:lnTo>
                  <a:pt x="983" y="44"/>
                </a:lnTo>
                <a:lnTo>
                  <a:pt x="978" y="44"/>
                </a:lnTo>
                <a:lnTo>
                  <a:pt x="977" y="43"/>
                </a:lnTo>
                <a:lnTo>
                  <a:pt x="974" y="43"/>
                </a:lnTo>
                <a:lnTo>
                  <a:pt x="974" y="41"/>
                </a:lnTo>
                <a:lnTo>
                  <a:pt x="973" y="41"/>
                </a:lnTo>
                <a:lnTo>
                  <a:pt x="973" y="42"/>
                </a:lnTo>
                <a:lnTo>
                  <a:pt x="971" y="42"/>
                </a:lnTo>
                <a:lnTo>
                  <a:pt x="971" y="43"/>
                </a:lnTo>
                <a:lnTo>
                  <a:pt x="965" y="44"/>
                </a:lnTo>
                <a:lnTo>
                  <a:pt x="965" y="43"/>
                </a:lnTo>
                <a:lnTo>
                  <a:pt x="964" y="44"/>
                </a:lnTo>
                <a:lnTo>
                  <a:pt x="963" y="44"/>
                </a:lnTo>
                <a:lnTo>
                  <a:pt x="964" y="45"/>
                </a:lnTo>
                <a:lnTo>
                  <a:pt x="965" y="45"/>
                </a:lnTo>
                <a:lnTo>
                  <a:pt x="967" y="47"/>
                </a:lnTo>
                <a:lnTo>
                  <a:pt x="965" y="47"/>
                </a:lnTo>
                <a:lnTo>
                  <a:pt x="964" y="48"/>
                </a:lnTo>
                <a:lnTo>
                  <a:pt x="964" y="50"/>
                </a:lnTo>
                <a:lnTo>
                  <a:pt x="968" y="48"/>
                </a:lnTo>
                <a:lnTo>
                  <a:pt x="969" y="47"/>
                </a:lnTo>
                <a:lnTo>
                  <a:pt x="973" y="48"/>
                </a:lnTo>
                <a:lnTo>
                  <a:pt x="973" y="49"/>
                </a:lnTo>
                <a:lnTo>
                  <a:pt x="974" y="49"/>
                </a:lnTo>
                <a:lnTo>
                  <a:pt x="974" y="50"/>
                </a:lnTo>
                <a:lnTo>
                  <a:pt x="977" y="49"/>
                </a:lnTo>
                <a:lnTo>
                  <a:pt x="977" y="50"/>
                </a:lnTo>
                <a:lnTo>
                  <a:pt x="978" y="51"/>
                </a:lnTo>
                <a:lnTo>
                  <a:pt x="976" y="55"/>
                </a:lnTo>
                <a:lnTo>
                  <a:pt x="970" y="57"/>
                </a:lnTo>
                <a:lnTo>
                  <a:pt x="968" y="60"/>
                </a:lnTo>
                <a:lnTo>
                  <a:pt x="968" y="61"/>
                </a:lnTo>
                <a:lnTo>
                  <a:pt x="964" y="63"/>
                </a:lnTo>
                <a:lnTo>
                  <a:pt x="962" y="66"/>
                </a:lnTo>
                <a:lnTo>
                  <a:pt x="959" y="66"/>
                </a:lnTo>
                <a:lnTo>
                  <a:pt x="958" y="67"/>
                </a:lnTo>
                <a:lnTo>
                  <a:pt x="964" y="67"/>
                </a:lnTo>
                <a:lnTo>
                  <a:pt x="980" y="59"/>
                </a:lnTo>
                <a:lnTo>
                  <a:pt x="986" y="53"/>
                </a:lnTo>
                <a:lnTo>
                  <a:pt x="986" y="61"/>
                </a:lnTo>
                <a:lnTo>
                  <a:pt x="983" y="66"/>
                </a:lnTo>
                <a:lnTo>
                  <a:pt x="981" y="69"/>
                </a:lnTo>
                <a:lnTo>
                  <a:pt x="973" y="78"/>
                </a:lnTo>
                <a:lnTo>
                  <a:pt x="970" y="79"/>
                </a:lnTo>
                <a:lnTo>
                  <a:pt x="967" y="82"/>
                </a:lnTo>
                <a:lnTo>
                  <a:pt x="968" y="85"/>
                </a:lnTo>
                <a:lnTo>
                  <a:pt x="968" y="86"/>
                </a:lnTo>
                <a:lnTo>
                  <a:pt x="969" y="90"/>
                </a:lnTo>
                <a:lnTo>
                  <a:pt x="969" y="88"/>
                </a:lnTo>
                <a:lnTo>
                  <a:pt x="970" y="85"/>
                </a:lnTo>
                <a:lnTo>
                  <a:pt x="976" y="81"/>
                </a:lnTo>
                <a:lnTo>
                  <a:pt x="981" y="80"/>
                </a:lnTo>
                <a:lnTo>
                  <a:pt x="976" y="84"/>
                </a:lnTo>
                <a:lnTo>
                  <a:pt x="975" y="86"/>
                </a:lnTo>
                <a:lnTo>
                  <a:pt x="975" y="88"/>
                </a:lnTo>
                <a:lnTo>
                  <a:pt x="977" y="87"/>
                </a:lnTo>
                <a:lnTo>
                  <a:pt x="978" y="88"/>
                </a:lnTo>
                <a:lnTo>
                  <a:pt x="978" y="87"/>
                </a:lnTo>
                <a:lnTo>
                  <a:pt x="981" y="84"/>
                </a:lnTo>
                <a:lnTo>
                  <a:pt x="982" y="81"/>
                </a:lnTo>
                <a:lnTo>
                  <a:pt x="984" y="80"/>
                </a:lnTo>
                <a:lnTo>
                  <a:pt x="986" y="79"/>
                </a:lnTo>
                <a:lnTo>
                  <a:pt x="988" y="79"/>
                </a:lnTo>
                <a:lnTo>
                  <a:pt x="987" y="81"/>
                </a:lnTo>
                <a:lnTo>
                  <a:pt x="986" y="82"/>
                </a:lnTo>
                <a:lnTo>
                  <a:pt x="986" y="84"/>
                </a:lnTo>
                <a:lnTo>
                  <a:pt x="984" y="85"/>
                </a:lnTo>
                <a:lnTo>
                  <a:pt x="983" y="87"/>
                </a:lnTo>
                <a:lnTo>
                  <a:pt x="981" y="94"/>
                </a:lnTo>
                <a:lnTo>
                  <a:pt x="980" y="96"/>
                </a:lnTo>
                <a:lnTo>
                  <a:pt x="980" y="98"/>
                </a:lnTo>
                <a:lnTo>
                  <a:pt x="981" y="100"/>
                </a:lnTo>
                <a:lnTo>
                  <a:pt x="981" y="104"/>
                </a:lnTo>
                <a:lnTo>
                  <a:pt x="980" y="108"/>
                </a:lnTo>
                <a:lnTo>
                  <a:pt x="980" y="112"/>
                </a:lnTo>
                <a:lnTo>
                  <a:pt x="981" y="121"/>
                </a:lnTo>
                <a:lnTo>
                  <a:pt x="981" y="127"/>
                </a:lnTo>
                <a:lnTo>
                  <a:pt x="978" y="129"/>
                </a:lnTo>
                <a:lnTo>
                  <a:pt x="977" y="133"/>
                </a:lnTo>
                <a:lnTo>
                  <a:pt x="975" y="135"/>
                </a:lnTo>
                <a:lnTo>
                  <a:pt x="976" y="135"/>
                </a:lnTo>
                <a:lnTo>
                  <a:pt x="978" y="134"/>
                </a:lnTo>
                <a:lnTo>
                  <a:pt x="981" y="129"/>
                </a:lnTo>
                <a:lnTo>
                  <a:pt x="982" y="124"/>
                </a:lnTo>
                <a:lnTo>
                  <a:pt x="983" y="122"/>
                </a:lnTo>
                <a:lnTo>
                  <a:pt x="982" y="121"/>
                </a:lnTo>
                <a:lnTo>
                  <a:pt x="982" y="111"/>
                </a:lnTo>
                <a:lnTo>
                  <a:pt x="981" y="108"/>
                </a:lnTo>
                <a:lnTo>
                  <a:pt x="982" y="106"/>
                </a:lnTo>
                <a:lnTo>
                  <a:pt x="982" y="103"/>
                </a:lnTo>
                <a:lnTo>
                  <a:pt x="983" y="100"/>
                </a:lnTo>
                <a:lnTo>
                  <a:pt x="983" y="92"/>
                </a:lnTo>
                <a:lnTo>
                  <a:pt x="987" y="88"/>
                </a:lnTo>
                <a:lnTo>
                  <a:pt x="987" y="85"/>
                </a:lnTo>
                <a:lnTo>
                  <a:pt x="988" y="82"/>
                </a:lnTo>
                <a:lnTo>
                  <a:pt x="989" y="81"/>
                </a:lnTo>
                <a:lnTo>
                  <a:pt x="992" y="81"/>
                </a:lnTo>
                <a:lnTo>
                  <a:pt x="993" y="82"/>
                </a:lnTo>
                <a:lnTo>
                  <a:pt x="993" y="86"/>
                </a:lnTo>
                <a:lnTo>
                  <a:pt x="994" y="87"/>
                </a:lnTo>
                <a:lnTo>
                  <a:pt x="995" y="87"/>
                </a:lnTo>
                <a:lnTo>
                  <a:pt x="995" y="85"/>
                </a:lnTo>
                <a:lnTo>
                  <a:pt x="994" y="84"/>
                </a:lnTo>
                <a:lnTo>
                  <a:pt x="994" y="82"/>
                </a:lnTo>
                <a:lnTo>
                  <a:pt x="995" y="82"/>
                </a:lnTo>
                <a:lnTo>
                  <a:pt x="995" y="81"/>
                </a:lnTo>
                <a:lnTo>
                  <a:pt x="996" y="80"/>
                </a:lnTo>
                <a:lnTo>
                  <a:pt x="994" y="79"/>
                </a:lnTo>
                <a:lnTo>
                  <a:pt x="993" y="79"/>
                </a:lnTo>
                <a:lnTo>
                  <a:pt x="990" y="75"/>
                </a:lnTo>
                <a:lnTo>
                  <a:pt x="990" y="73"/>
                </a:lnTo>
                <a:lnTo>
                  <a:pt x="994" y="65"/>
                </a:lnTo>
                <a:lnTo>
                  <a:pt x="994" y="60"/>
                </a:lnTo>
                <a:lnTo>
                  <a:pt x="996" y="57"/>
                </a:lnTo>
                <a:lnTo>
                  <a:pt x="998" y="59"/>
                </a:lnTo>
                <a:lnTo>
                  <a:pt x="1000" y="59"/>
                </a:lnTo>
                <a:lnTo>
                  <a:pt x="999" y="57"/>
                </a:lnTo>
                <a:lnTo>
                  <a:pt x="998" y="55"/>
                </a:lnTo>
                <a:lnTo>
                  <a:pt x="995" y="53"/>
                </a:lnTo>
                <a:lnTo>
                  <a:pt x="996" y="49"/>
                </a:lnTo>
                <a:lnTo>
                  <a:pt x="1000" y="44"/>
                </a:lnTo>
                <a:lnTo>
                  <a:pt x="1002" y="38"/>
                </a:lnTo>
                <a:lnTo>
                  <a:pt x="1004" y="36"/>
                </a:lnTo>
                <a:lnTo>
                  <a:pt x="1006" y="35"/>
                </a:lnTo>
                <a:lnTo>
                  <a:pt x="1007" y="33"/>
                </a:lnTo>
                <a:lnTo>
                  <a:pt x="1018" y="32"/>
                </a:lnTo>
                <a:lnTo>
                  <a:pt x="1019" y="32"/>
                </a:lnTo>
                <a:lnTo>
                  <a:pt x="1020" y="33"/>
                </a:lnTo>
                <a:lnTo>
                  <a:pt x="1018" y="33"/>
                </a:lnTo>
                <a:lnTo>
                  <a:pt x="1018" y="35"/>
                </a:lnTo>
                <a:lnTo>
                  <a:pt x="1025" y="36"/>
                </a:lnTo>
                <a:lnTo>
                  <a:pt x="1026" y="37"/>
                </a:lnTo>
                <a:lnTo>
                  <a:pt x="1026" y="41"/>
                </a:lnTo>
                <a:lnTo>
                  <a:pt x="1029" y="43"/>
                </a:lnTo>
                <a:lnTo>
                  <a:pt x="1032" y="43"/>
                </a:lnTo>
                <a:lnTo>
                  <a:pt x="1032" y="47"/>
                </a:lnTo>
                <a:lnTo>
                  <a:pt x="1027" y="50"/>
                </a:lnTo>
                <a:lnTo>
                  <a:pt x="1029" y="51"/>
                </a:lnTo>
                <a:lnTo>
                  <a:pt x="1032" y="51"/>
                </a:lnTo>
                <a:lnTo>
                  <a:pt x="1031" y="53"/>
                </a:lnTo>
                <a:lnTo>
                  <a:pt x="1029" y="53"/>
                </a:lnTo>
                <a:lnTo>
                  <a:pt x="1030" y="54"/>
                </a:lnTo>
                <a:lnTo>
                  <a:pt x="1030" y="55"/>
                </a:lnTo>
                <a:lnTo>
                  <a:pt x="1031" y="54"/>
                </a:lnTo>
                <a:lnTo>
                  <a:pt x="1030" y="56"/>
                </a:lnTo>
                <a:lnTo>
                  <a:pt x="1029" y="57"/>
                </a:lnTo>
                <a:lnTo>
                  <a:pt x="1027" y="57"/>
                </a:lnTo>
                <a:lnTo>
                  <a:pt x="1027" y="61"/>
                </a:lnTo>
                <a:lnTo>
                  <a:pt x="1030" y="61"/>
                </a:lnTo>
                <a:lnTo>
                  <a:pt x="1031" y="57"/>
                </a:lnTo>
                <a:lnTo>
                  <a:pt x="1032" y="56"/>
                </a:lnTo>
                <a:lnTo>
                  <a:pt x="1037" y="55"/>
                </a:lnTo>
                <a:lnTo>
                  <a:pt x="1045" y="50"/>
                </a:lnTo>
                <a:lnTo>
                  <a:pt x="1046" y="50"/>
                </a:lnTo>
                <a:lnTo>
                  <a:pt x="1049" y="53"/>
                </a:lnTo>
                <a:lnTo>
                  <a:pt x="1049" y="57"/>
                </a:lnTo>
                <a:lnTo>
                  <a:pt x="1048" y="60"/>
                </a:lnTo>
                <a:lnTo>
                  <a:pt x="1045" y="63"/>
                </a:lnTo>
                <a:lnTo>
                  <a:pt x="1044" y="66"/>
                </a:lnTo>
                <a:lnTo>
                  <a:pt x="1050" y="63"/>
                </a:lnTo>
                <a:lnTo>
                  <a:pt x="1051" y="63"/>
                </a:lnTo>
                <a:lnTo>
                  <a:pt x="1051" y="61"/>
                </a:lnTo>
                <a:lnTo>
                  <a:pt x="1052" y="60"/>
                </a:lnTo>
                <a:lnTo>
                  <a:pt x="1056" y="55"/>
                </a:lnTo>
                <a:lnTo>
                  <a:pt x="1057" y="54"/>
                </a:lnTo>
                <a:lnTo>
                  <a:pt x="1062" y="54"/>
                </a:lnTo>
                <a:lnTo>
                  <a:pt x="1067" y="57"/>
                </a:lnTo>
                <a:lnTo>
                  <a:pt x="1065" y="60"/>
                </a:lnTo>
                <a:lnTo>
                  <a:pt x="1064" y="61"/>
                </a:lnTo>
                <a:lnTo>
                  <a:pt x="1062" y="62"/>
                </a:lnTo>
                <a:lnTo>
                  <a:pt x="1063" y="63"/>
                </a:lnTo>
                <a:lnTo>
                  <a:pt x="1068" y="63"/>
                </a:lnTo>
                <a:lnTo>
                  <a:pt x="1073" y="68"/>
                </a:lnTo>
                <a:lnTo>
                  <a:pt x="1071" y="70"/>
                </a:lnTo>
                <a:lnTo>
                  <a:pt x="1069" y="72"/>
                </a:lnTo>
                <a:lnTo>
                  <a:pt x="1064" y="73"/>
                </a:lnTo>
                <a:lnTo>
                  <a:pt x="1063" y="74"/>
                </a:lnTo>
                <a:lnTo>
                  <a:pt x="1063" y="75"/>
                </a:lnTo>
                <a:lnTo>
                  <a:pt x="1064" y="75"/>
                </a:lnTo>
                <a:lnTo>
                  <a:pt x="1064" y="76"/>
                </a:lnTo>
                <a:lnTo>
                  <a:pt x="1063" y="76"/>
                </a:lnTo>
                <a:lnTo>
                  <a:pt x="1060" y="75"/>
                </a:lnTo>
                <a:lnTo>
                  <a:pt x="1057" y="75"/>
                </a:lnTo>
                <a:lnTo>
                  <a:pt x="1057" y="76"/>
                </a:lnTo>
                <a:lnTo>
                  <a:pt x="1064" y="78"/>
                </a:lnTo>
                <a:lnTo>
                  <a:pt x="1077" y="73"/>
                </a:lnTo>
                <a:lnTo>
                  <a:pt x="1079" y="73"/>
                </a:lnTo>
                <a:lnTo>
                  <a:pt x="1082" y="75"/>
                </a:lnTo>
                <a:lnTo>
                  <a:pt x="1083" y="78"/>
                </a:lnTo>
                <a:lnTo>
                  <a:pt x="1081" y="79"/>
                </a:lnTo>
                <a:lnTo>
                  <a:pt x="1088" y="85"/>
                </a:lnTo>
                <a:lnTo>
                  <a:pt x="1089" y="88"/>
                </a:lnTo>
                <a:lnTo>
                  <a:pt x="1091" y="91"/>
                </a:lnTo>
                <a:lnTo>
                  <a:pt x="1092" y="92"/>
                </a:lnTo>
                <a:lnTo>
                  <a:pt x="1093" y="91"/>
                </a:lnTo>
                <a:lnTo>
                  <a:pt x="1093" y="90"/>
                </a:lnTo>
                <a:lnTo>
                  <a:pt x="1096" y="86"/>
                </a:lnTo>
                <a:lnTo>
                  <a:pt x="1098" y="87"/>
                </a:lnTo>
                <a:lnTo>
                  <a:pt x="1099" y="91"/>
                </a:lnTo>
                <a:lnTo>
                  <a:pt x="1099" y="92"/>
                </a:lnTo>
                <a:lnTo>
                  <a:pt x="1100" y="92"/>
                </a:lnTo>
                <a:lnTo>
                  <a:pt x="1102" y="98"/>
                </a:lnTo>
                <a:lnTo>
                  <a:pt x="1102" y="99"/>
                </a:lnTo>
                <a:lnTo>
                  <a:pt x="1101" y="100"/>
                </a:lnTo>
                <a:lnTo>
                  <a:pt x="1101" y="104"/>
                </a:lnTo>
                <a:lnTo>
                  <a:pt x="1102" y="105"/>
                </a:lnTo>
                <a:lnTo>
                  <a:pt x="1102" y="106"/>
                </a:lnTo>
                <a:lnTo>
                  <a:pt x="1104" y="108"/>
                </a:lnTo>
                <a:lnTo>
                  <a:pt x="1101" y="108"/>
                </a:lnTo>
                <a:lnTo>
                  <a:pt x="1096" y="111"/>
                </a:lnTo>
                <a:lnTo>
                  <a:pt x="1081" y="112"/>
                </a:lnTo>
                <a:lnTo>
                  <a:pt x="1080" y="113"/>
                </a:lnTo>
                <a:lnTo>
                  <a:pt x="1080" y="117"/>
                </a:lnTo>
                <a:lnTo>
                  <a:pt x="1079" y="118"/>
                </a:lnTo>
                <a:lnTo>
                  <a:pt x="1075" y="119"/>
                </a:lnTo>
                <a:lnTo>
                  <a:pt x="1073" y="122"/>
                </a:lnTo>
                <a:lnTo>
                  <a:pt x="1073" y="123"/>
                </a:lnTo>
                <a:lnTo>
                  <a:pt x="1074" y="124"/>
                </a:lnTo>
                <a:lnTo>
                  <a:pt x="1073" y="128"/>
                </a:lnTo>
                <a:lnTo>
                  <a:pt x="1071" y="129"/>
                </a:lnTo>
                <a:lnTo>
                  <a:pt x="1064" y="131"/>
                </a:lnTo>
                <a:lnTo>
                  <a:pt x="1063" y="133"/>
                </a:lnTo>
                <a:lnTo>
                  <a:pt x="1063" y="134"/>
                </a:lnTo>
                <a:lnTo>
                  <a:pt x="1064" y="135"/>
                </a:lnTo>
                <a:lnTo>
                  <a:pt x="1044" y="131"/>
                </a:lnTo>
                <a:lnTo>
                  <a:pt x="1025" y="129"/>
                </a:lnTo>
                <a:lnTo>
                  <a:pt x="1013" y="124"/>
                </a:lnTo>
                <a:lnTo>
                  <a:pt x="1001" y="121"/>
                </a:lnTo>
                <a:lnTo>
                  <a:pt x="999" y="122"/>
                </a:lnTo>
                <a:lnTo>
                  <a:pt x="999" y="123"/>
                </a:lnTo>
                <a:lnTo>
                  <a:pt x="1005" y="123"/>
                </a:lnTo>
                <a:lnTo>
                  <a:pt x="1005" y="125"/>
                </a:lnTo>
                <a:lnTo>
                  <a:pt x="1000" y="128"/>
                </a:lnTo>
                <a:lnTo>
                  <a:pt x="999" y="129"/>
                </a:lnTo>
                <a:lnTo>
                  <a:pt x="1001" y="131"/>
                </a:lnTo>
                <a:lnTo>
                  <a:pt x="1005" y="131"/>
                </a:lnTo>
                <a:lnTo>
                  <a:pt x="1006" y="129"/>
                </a:lnTo>
                <a:lnTo>
                  <a:pt x="1008" y="131"/>
                </a:lnTo>
                <a:lnTo>
                  <a:pt x="1006" y="131"/>
                </a:lnTo>
                <a:lnTo>
                  <a:pt x="1005" y="133"/>
                </a:lnTo>
                <a:lnTo>
                  <a:pt x="1012" y="134"/>
                </a:lnTo>
                <a:lnTo>
                  <a:pt x="1015" y="136"/>
                </a:lnTo>
                <a:lnTo>
                  <a:pt x="1021" y="136"/>
                </a:lnTo>
                <a:lnTo>
                  <a:pt x="1021" y="137"/>
                </a:lnTo>
                <a:lnTo>
                  <a:pt x="1023" y="137"/>
                </a:lnTo>
                <a:lnTo>
                  <a:pt x="1024" y="139"/>
                </a:lnTo>
                <a:lnTo>
                  <a:pt x="1024" y="140"/>
                </a:lnTo>
                <a:lnTo>
                  <a:pt x="1021" y="141"/>
                </a:lnTo>
                <a:lnTo>
                  <a:pt x="1023" y="142"/>
                </a:lnTo>
                <a:lnTo>
                  <a:pt x="1030" y="141"/>
                </a:lnTo>
                <a:lnTo>
                  <a:pt x="1032" y="143"/>
                </a:lnTo>
                <a:lnTo>
                  <a:pt x="1044" y="147"/>
                </a:lnTo>
                <a:lnTo>
                  <a:pt x="1044" y="148"/>
                </a:lnTo>
                <a:lnTo>
                  <a:pt x="1039" y="152"/>
                </a:lnTo>
                <a:lnTo>
                  <a:pt x="1038" y="153"/>
                </a:lnTo>
                <a:lnTo>
                  <a:pt x="1036" y="154"/>
                </a:lnTo>
                <a:lnTo>
                  <a:pt x="1033" y="156"/>
                </a:lnTo>
                <a:lnTo>
                  <a:pt x="1033" y="158"/>
                </a:lnTo>
                <a:lnTo>
                  <a:pt x="1032" y="159"/>
                </a:lnTo>
                <a:lnTo>
                  <a:pt x="1032" y="160"/>
                </a:lnTo>
                <a:lnTo>
                  <a:pt x="1031" y="160"/>
                </a:lnTo>
                <a:lnTo>
                  <a:pt x="1033" y="161"/>
                </a:lnTo>
                <a:lnTo>
                  <a:pt x="1033" y="160"/>
                </a:lnTo>
                <a:lnTo>
                  <a:pt x="1036" y="158"/>
                </a:lnTo>
                <a:lnTo>
                  <a:pt x="1037" y="154"/>
                </a:lnTo>
                <a:lnTo>
                  <a:pt x="1039" y="154"/>
                </a:lnTo>
                <a:lnTo>
                  <a:pt x="1040" y="155"/>
                </a:lnTo>
                <a:lnTo>
                  <a:pt x="1044" y="155"/>
                </a:lnTo>
                <a:lnTo>
                  <a:pt x="1045" y="154"/>
                </a:lnTo>
                <a:lnTo>
                  <a:pt x="1046" y="155"/>
                </a:lnTo>
                <a:lnTo>
                  <a:pt x="1046" y="160"/>
                </a:lnTo>
                <a:lnTo>
                  <a:pt x="1048" y="164"/>
                </a:lnTo>
                <a:lnTo>
                  <a:pt x="1048" y="165"/>
                </a:lnTo>
                <a:lnTo>
                  <a:pt x="1046" y="167"/>
                </a:lnTo>
                <a:lnTo>
                  <a:pt x="1043" y="171"/>
                </a:lnTo>
                <a:lnTo>
                  <a:pt x="1043" y="173"/>
                </a:lnTo>
                <a:lnTo>
                  <a:pt x="1042" y="173"/>
                </a:lnTo>
                <a:lnTo>
                  <a:pt x="1042" y="174"/>
                </a:lnTo>
                <a:lnTo>
                  <a:pt x="1040" y="176"/>
                </a:lnTo>
                <a:lnTo>
                  <a:pt x="1040" y="178"/>
                </a:lnTo>
                <a:lnTo>
                  <a:pt x="1038" y="178"/>
                </a:lnTo>
                <a:lnTo>
                  <a:pt x="1037" y="179"/>
                </a:lnTo>
                <a:lnTo>
                  <a:pt x="1038" y="179"/>
                </a:lnTo>
                <a:lnTo>
                  <a:pt x="1038" y="180"/>
                </a:lnTo>
                <a:lnTo>
                  <a:pt x="1036" y="185"/>
                </a:lnTo>
                <a:lnTo>
                  <a:pt x="1038" y="183"/>
                </a:lnTo>
                <a:lnTo>
                  <a:pt x="1039" y="180"/>
                </a:lnTo>
                <a:lnTo>
                  <a:pt x="1044" y="176"/>
                </a:lnTo>
                <a:lnTo>
                  <a:pt x="1045" y="176"/>
                </a:lnTo>
                <a:lnTo>
                  <a:pt x="1050" y="174"/>
                </a:lnTo>
                <a:lnTo>
                  <a:pt x="1054" y="176"/>
                </a:lnTo>
                <a:lnTo>
                  <a:pt x="1057" y="172"/>
                </a:lnTo>
                <a:lnTo>
                  <a:pt x="1060" y="171"/>
                </a:lnTo>
                <a:lnTo>
                  <a:pt x="1061" y="172"/>
                </a:lnTo>
                <a:lnTo>
                  <a:pt x="1060" y="173"/>
                </a:lnTo>
                <a:lnTo>
                  <a:pt x="1058" y="176"/>
                </a:lnTo>
                <a:lnTo>
                  <a:pt x="1055" y="179"/>
                </a:lnTo>
                <a:lnTo>
                  <a:pt x="1055" y="182"/>
                </a:lnTo>
                <a:lnTo>
                  <a:pt x="1056" y="179"/>
                </a:lnTo>
                <a:lnTo>
                  <a:pt x="1057" y="178"/>
                </a:lnTo>
                <a:lnTo>
                  <a:pt x="1058" y="178"/>
                </a:lnTo>
                <a:lnTo>
                  <a:pt x="1061" y="176"/>
                </a:lnTo>
                <a:lnTo>
                  <a:pt x="1062" y="178"/>
                </a:lnTo>
                <a:lnTo>
                  <a:pt x="1062" y="179"/>
                </a:lnTo>
                <a:lnTo>
                  <a:pt x="1065" y="182"/>
                </a:lnTo>
                <a:lnTo>
                  <a:pt x="1065" y="180"/>
                </a:lnTo>
                <a:lnTo>
                  <a:pt x="1064" y="179"/>
                </a:lnTo>
                <a:lnTo>
                  <a:pt x="1063" y="174"/>
                </a:lnTo>
                <a:lnTo>
                  <a:pt x="1062" y="173"/>
                </a:lnTo>
                <a:lnTo>
                  <a:pt x="1063" y="173"/>
                </a:lnTo>
                <a:lnTo>
                  <a:pt x="1065" y="172"/>
                </a:lnTo>
                <a:lnTo>
                  <a:pt x="1067" y="172"/>
                </a:lnTo>
                <a:lnTo>
                  <a:pt x="1067" y="170"/>
                </a:lnTo>
                <a:lnTo>
                  <a:pt x="1065" y="168"/>
                </a:lnTo>
                <a:lnTo>
                  <a:pt x="1065" y="167"/>
                </a:lnTo>
                <a:lnTo>
                  <a:pt x="1064" y="166"/>
                </a:lnTo>
                <a:lnTo>
                  <a:pt x="1064" y="158"/>
                </a:lnTo>
                <a:lnTo>
                  <a:pt x="1070" y="158"/>
                </a:lnTo>
                <a:lnTo>
                  <a:pt x="1071" y="160"/>
                </a:lnTo>
                <a:lnTo>
                  <a:pt x="1071" y="161"/>
                </a:lnTo>
                <a:lnTo>
                  <a:pt x="1069" y="162"/>
                </a:lnTo>
                <a:lnTo>
                  <a:pt x="1070" y="164"/>
                </a:lnTo>
                <a:lnTo>
                  <a:pt x="1074" y="162"/>
                </a:lnTo>
                <a:lnTo>
                  <a:pt x="1075" y="164"/>
                </a:lnTo>
                <a:lnTo>
                  <a:pt x="1075" y="180"/>
                </a:lnTo>
                <a:lnTo>
                  <a:pt x="1074" y="183"/>
                </a:lnTo>
                <a:lnTo>
                  <a:pt x="1071" y="183"/>
                </a:lnTo>
                <a:lnTo>
                  <a:pt x="1073" y="184"/>
                </a:lnTo>
                <a:lnTo>
                  <a:pt x="1076" y="183"/>
                </a:lnTo>
                <a:lnTo>
                  <a:pt x="1076" y="176"/>
                </a:lnTo>
                <a:lnTo>
                  <a:pt x="1077" y="176"/>
                </a:lnTo>
                <a:lnTo>
                  <a:pt x="1077" y="171"/>
                </a:lnTo>
                <a:lnTo>
                  <a:pt x="1076" y="170"/>
                </a:lnTo>
                <a:lnTo>
                  <a:pt x="1077" y="170"/>
                </a:lnTo>
                <a:lnTo>
                  <a:pt x="1076" y="167"/>
                </a:lnTo>
                <a:lnTo>
                  <a:pt x="1079" y="166"/>
                </a:lnTo>
                <a:lnTo>
                  <a:pt x="1087" y="167"/>
                </a:lnTo>
                <a:lnTo>
                  <a:pt x="1088" y="168"/>
                </a:lnTo>
                <a:lnTo>
                  <a:pt x="1087" y="168"/>
                </a:lnTo>
                <a:lnTo>
                  <a:pt x="1087" y="171"/>
                </a:lnTo>
                <a:lnTo>
                  <a:pt x="1088" y="172"/>
                </a:lnTo>
                <a:lnTo>
                  <a:pt x="1088" y="171"/>
                </a:lnTo>
                <a:lnTo>
                  <a:pt x="1089" y="171"/>
                </a:lnTo>
                <a:lnTo>
                  <a:pt x="1093" y="167"/>
                </a:lnTo>
                <a:lnTo>
                  <a:pt x="1093" y="172"/>
                </a:lnTo>
                <a:lnTo>
                  <a:pt x="1094" y="174"/>
                </a:lnTo>
                <a:lnTo>
                  <a:pt x="1094" y="176"/>
                </a:lnTo>
                <a:lnTo>
                  <a:pt x="1095" y="178"/>
                </a:lnTo>
                <a:lnTo>
                  <a:pt x="1095" y="182"/>
                </a:lnTo>
                <a:lnTo>
                  <a:pt x="1096" y="184"/>
                </a:lnTo>
                <a:lnTo>
                  <a:pt x="1096" y="195"/>
                </a:lnTo>
                <a:lnTo>
                  <a:pt x="1095" y="199"/>
                </a:lnTo>
                <a:lnTo>
                  <a:pt x="1094" y="201"/>
                </a:lnTo>
                <a:lnTo>
                  <a:pt x="1089" y="202"/>
                </a:lnTo>
                <a:lnTo>
                  <a:pt x="1080" y="199"/>
                </a:lnTo>
                <a:lnTo>
                  <a:pt x="1077" y="199"/>
                </a:lnTo>
                <a:lnTo>
                  <a:pt x="1070" y="190"/>
                </a:lnTo>
                <a:lnTo>
                  <a:pt x="1068" y="188"/>
                </a:lnTo>
                <a:lnTo>
                  <a:pt x="1063" y="188"/>
                </a:lnTo>
                <a:lnTo>
                  <a:pt x="1063" y="189"/>
                </a:lnTo>
                <a:lnTo>
                  <a:pt x="1064" y="190"/>
                </a:lnTo>
                <a:lnTo>
                  <a:pt x="1067" y="191"/>
                </a:lnTo>
                <a:lnTo>
                  <a:pt x="1067" y="192"/>
                </a:lnTo>
                <a:lnTo>
                  <a:pt x="1068" y="195"/>
                </a:lnTo>
                <a:lnTo>
                  <a:pt x="1068" y="197"/>
                </a:lnTo>
                <a:lnTo>
                  <a:pt x="1067" y="199"/>
                </a:lnTo>
                <a:lnTo>
                  <a:pt x="1067" y="201"/>
                </a:lnTo>
                <a:lnTo>
                  <a:pt x="1064" y="203"/>
                </a:lnTo>
                <a:lnTo>
                  <a:pt x="1064" y="205"/>
                </a:lnTo>
                <a:lnTo>
                  <a:pt x="1063" y="207"/>
                </a:lnTo>
                <a:lnTo>
                  <a:pt x="1063" y="211"/>
                </a:lnTo>
                <a:lnTo>
                  <a:pt x="1057" y="217"/>
                </a:lnTo>
                <a:lnTo>
                  <a:pt x="1056" y="220"/>
                </a:lnTo>
                <a:lnTo>
                  <a:pt x="1056" y="221"/>
                </a:lnTo>
                <a:lnTo>
                  <a:pt x="1048" y="221"/>
                </a:lnTo>
                <a:lnTo>
                  <a:pt x="1043" y="226"/>
                </a:lnTo>
                <a:lnTo>
                  <a:pt x="1040" y="227"/>
                </a:lnTo>
                <a:lnTo>
                  <a:pt x="1033" y="227"/>
                </a:lnTo>
                <a:lnTo>
                  <a:pt x="1031" y="228"/>
                </a:lnTo>
                <a:lnTo>
                  <a:pt x="1030" y="231"/>
                </a:lnTo>
                <a:lnTo>
                  <a:pt x="1030" y="233"/>
                </a:lnTo>
                <a:lnTo>
                  <a:pt x="1029" y="237"/>
                </a:lnTo>
                <a:lnTo>
                  <a:pt x="1029" y="240"/>
                </a:lnTo>
                <a:lnTo>
                  <a:pt x="1027" y="241"/>
                </a:lnTo>
                <a:lnTo>
                  <a:pt x="1027" y="245"/>
                </a:lnTo>
                <a:lnTo>
                  <a:pt x="1026" y="248"/>
                </a:lnTo>
                <a:lnTo>
                  <a:pt x="1026" y="251"/>
                </a:lnTo>
                <a:lnTo>
                  <a:pt x="1025" y="252"/>
                </a:lnTo>
                <a:lnTo>
                  <a:pt x="1023" y="256"/>
                </a:lnTo>
                <a:lnTo>
                  <a:pt x="1018" y="260"/>
                </a:lnTo>
                <a:lnTo>
                  <a:pt x="1015" y="259"/>
                </a:lnTo>
                <a:lnTo>
                  <a:pt x="1014" y="260"/>
                </a:lnTo>
                <a:lnTo>
                  <a:pt x="1013" y="260"/>
                </a:lnTo>
                <a:lnTo>
                  <a:pt x="1008" y="254"/>
                </a:lnTo>
                <a:lnTo>
                  <a:pt x="1008" y="251"/>
                </a:lnTo>
                <a:lnTo>
                  <a:pt x="1009" y="242"/>
                </a:lnTo>
                <a:lnTo>
                  <a:pt x="1009" y="239"/>
                </a:lnTo>
                <a:lnTo>
                  <a:pt x="1025" y="220"/>
                </a:lnTo>
                <a:lnTo>
                  <a:pt x="1030" y="209"/>
                </a:lnTo>
                <a:lnTo>
                  <a:pt x="1024" y="194"/>
                </a:lnTo>
                <a:lnTo>
                  <a:pt x="1021" y="184"/>
                </a:lnTo>
                <a:lnTo>
                  <a:pt x="1021" y="183"/>
                </a:lnTo>
                <a:lnTo>
                  <a:pt x="1007" y="177"/>
                </a:lnTo>
                <a:lnTo>
                  <a:pt x="994" y="170"/>
                </a:lnTo>
                <a:lnTo>
                  <a:pt x="992" y="168"/>
                </a:lnTo>
                <a:lnTo>
                  <a:pt x="990" y="167"/>
                </a:lnTo>
                <a:lnTo>
                  <a:pt x="989" y="165"/>
                </a:lnTo>
                <a:lnTo>
                  <a:pt x="989" y="161"/>
                </a:lnTo>
                <a:lnTo>
                  <a:pt x="981" y="158"/>
                </a:lnTo>
                <a:lnTo>
                  <a:pt x="981" y="156"/>
                </a:lnTo>
                <a:lnTo>
                  <a:pt x="973" y="142"/>
                </a:lnTo>
                <a:lnTo>
                  <a:pt x="970" y="136"/>
                </a:lnTo>
                <a:lnTo>
                  <a:pt x="968" y="134"/>
                </a:lnTo>
                <a:lnTo>
                  <a:pt x="964" y="136"/>
                </a:lnTo>
                <a:lnTo>
                  <a:pt x="959" y="135"/>
                </a:lnTo>
                <a:lnTo>
                  <a:pt x="957" y="136"/>
                </a:lnTo>
                <a:lnTo>
                  <a:pt x="955" y="139"/>
                </a:lnTo>
                <a:lnTo>
                  <a:pt x="955" y="141"/>
                </a:lnTo>
                <a:lnTo>
                  <a:pt x="950" y="143"/>
                </a:lnTo>
                <a:lnTo>
                  <a:pt x="947" y="147"/>
                </a:lnTo>
                <a:lnTo>
                  <a:pt x="945" y="147"/>
                </a:lnTo>
                <a:lnTo>
                  <a:pt x="945" y="149"/>
                </a:lnTo>
                <a:lnTo>
                  <a:pt x="946" y="149"/>
                </a:lnTo>
                <a:lnTo>
                  <a:pt x="944" y="152"/>
                </a:lnTo>
                <a:lnTo>
                  <a:pt x="936" y="155"/>
                </a:lnTo>
                <a:lnTo>
                  <a:pt x="934" y="155"/>
                </a:lnTo>
                <a:lnTo>
                  <a:pt x="932" y="153"/>
                </a:lnTo>
                <a:lnTo>
                  <a:pt x="930" y="153"/>
                </a:lnTo>
                <a:lnTo>
                  <a:pt x="925" y="151"/>
                </a:lnTo>
                <a:lnTo>
                  <a:pt x="921" y="152"/>
                </a:lnTo>
                <a:lnTo>
                  <a:pt x="919" y="152"/>
                </a:lnTo>
                <a:lnTo>
                  <a:pt x="912" y="153"/>
                </a:lnTo>
                <a:lnTo>
                  <a:pt x="911" y="153"/>
                </a:lnTo>
                <a:lnTo>
                  <a:pt x="908" y="158"/>
                </a:lnTo>
                <a:lnTo>
                  <a:pt x="907" y="159"/>
                </a:lnTo>
                <a:lnTo>
                  <a:pt x="908" y="161"/>
                </a:lnTo>
                <a:lnTo>
                  <a:pt x="907" y="164"/>
                </a:lnTo>
                <a:lnTo>
                  <a:pt x="902" y="168"/>
                </a:lnTo>
                <a:lnTo>
                  <a:pt x="900" y="173"/>
                </a:lnTo>
                <a:lnTo>
                  <a:pt x="899" y="177"/>
                </a:lnTo>
                <a:lnTo>
                  <a:pt x="897" y="177"/>
                </a:lnTo>
                <a:lnTo>
                  <a:pt x="897" y="178"/>
                </a:lnTo>
                <a:lnTo>
                  <a:pt x="896" y="179"/>
                </a:lnTo>
                <a:lnTo>
                  <a:pt x="890" y="180"/>
                </a:lnTo>
                <a:lnTo>
                  <a:pt x="888" y="183"/>
                </a:lnTo>
                <a:lnTo>
                  <a:pt x="888" y="185"/>
                </a:lnTo>
                <a:lnTo>
                  <a:pt x="887" y="186"/>
                </a:lnTo>
                <a:lnTo>
                  <a:pt x="888" y="188"/>
                </a:lnTo>
                <a:lnTo>
                  <a:pt x="888" y="189"/>
                </a:lnTo>
                <a:lnTo>
                  <a:pt x="889" y="191"/>
                </a:lnTo>
                <a:lnTo>
                  <a:pt x="889" y="194"/>
                </a:lnTo>
                <a:lnTo>
                  <a:pt x="887" y="198"/>
                </a:lnTo>
                <a:lnTo>
                  <a:pt x="884" y="201"/>
                </a:lnTo>
                <a:lnTo>
                  <a:pt x="884" y="203"/>
                </a:lnTo>
                <a:lnTo>
                  <a:pt x="886" y="204"/>
                </a:lnTo>
                <a:lnTo>
                  <a:pt x="884" y="205"/>
                </a:lnTo>
                <a:lnTo>
                  <a:pt x="884" y="210"/>
                </a:lnTo>
                <a:lnTo>
                  <a:pt x="883" y="211"/>
                </a:lnTo>
                <a:lnTo>
                  <a:pt x="882" y="214"/>
                </a:lnTo>
                <a:lnTo>
                  <a:pt x="883" y="219"/>
                </a:lnTo>
                <a:lnTo>
                  <a:pt x="883" y="220"/>
                </a:lnTo>
                <a:lnTo>
                  <a:pt x="880" y="227"/>
                </a:lnTo>
                <a:lnTo>
                  <a:pt x="880" y="228"/>
                </a:lnTo>
                <a:lnTo>
                  <a:pt x="878" y="238"/>
                </a:lnTo>
                <a:lnTo>
                  <a:pt x="877" y="241"/>
                </a:lnTo>
                <a:lnTo>
                  <a:pt x="878" y="245"/>
                </a:lnTo>
                <a:lnTo>
                  <a:pt x="880" y="247"/>
                </a:lnTo>
                <a:lnTo>
                  <a:pt x="880" y="250"/>
                </a:lnTo>
                <a:lnTo>
                  <a:pt x="878" y="250"/>
                </a:lnTo>
                <a:lnTo>
                  <a:pt x="878" y="257"/>
                </a:lnTo>
                <a:lnTo>
                  <a:pt x="880" y="259"/>
                </a:lnTo>
                <a:lnTo>
                  <a:pt x="880" y="262"/>
                </a:lnTo>
                <a:lnTo>
                  <a:pt x="881" y="262"/>
                </a:lnTo>
                <a:lnTo>
                  <a:pt x="881" y="265"/>
                </a:lnTo>
                <a:lnTo>
                  <a:pt x="878" y="266"/>
                </a:lnTo>
                <a:lnTo>
                  <a:pt x="878" y="270"/>
                </a:lnTo>
                <a:lnTo>
                  <a:pt x="876" y="272"/>
                </a:lnTo>
                <a:lnTo>
                  <a:pt x="875" y="275"/>
                </a:lnTo>
                <a:lnTo>
                  <a:pt x="875" y="277"/>
                </a:lnTo>
                <a:lnTo>
                  <a:pt x="872" y="279"/>
                </a:lnTo>
                <a:lnTo>
                  <a:pt x="866" y="277"/>
                </a:lnTo>
                <a:lnTo>
                  <a:pt x="865" y="277"/>
                </a:lnTo>
                <a:lnTo>
                  <a:pt x="863" y="278"/>
                </a:lnTo>
                <a:lnTo>
                  <a:pt x="856" y="285"/>
                </a:lnTo>
                <a:lnTo>
                  <a:pt x="853" y="289"/>
                </a:lnTo>
                <a:lnTo>
                  <a:pt x="853" y="300"/>
                </a:lnTo>
                <a:lnTo>
                  <a:pt x="852" y="301"/>
                </a:lnTo>
                <a:lnTo>
                  <a:pt x="852" y="302"/>
                </a:lnTo>
                <a:lnTo>
                  <a:pt x="853" y="303"/>
                </a:lnTo>
                <a:lnTo>
                  <a:pt x="852" y="306"/>
                </a:lnTo>
                <a:lnTo>
                  <a:pt x="851" y="307"/>
                </a:lnTo>
                <a:lnTo>
                  <a:pt x="850" y="307"/>
                </a:lnTo>
                <a:lnTo>
                  <a:pt x="847" y="309"/>
                </a:lnTo>
                <a:lnTo>
                  <a:pt x="846" y="309"/>
                </a:lnTo>
                <a:lnTo>
                  <a:pt x="844" y="312"/>
                </a:lnTo>
                <a:lnTo>
                  <a:pt x="844" y="314"/>
                </a:lnTo>
                <a:lnTo>
                  <a:pt x="841" y="317"/>
                </a:lnTo>
                <a:lnTo>
                  <a:pt x="841" y="315"/>
                </a:lnTo>
                <a:lnTo>
                  <a:pt x="839" y="312"/>
                </a:lnTo>
                <a:lnTo>
                  <a:pt x="837" y="306"/>
                </a:lnTo>
                <a:lnTo>
                  <a:pt x="833" y="303"/>
                </a:lnTo>
                <a:lnTo>
                  <a:pt x="825" y="300"/>
                </a:lnTo>
                <a:lnTo>
                  <a:pt x="819" y="299"/>
                </a:lnTo>
                <a:lnTo>
                  <a:pt x="813" y="294"/>
                </a:lnTo>
                <a:lnTo>
                  <a:pt x="812" y="293"/>
                </a:lnTo>
                <a:lnTo>
                  <a:pt x="810" y="290"/>
                </a:lnTo>
                <a:lnTo>
                  <a:pt x="802" y="285"/>
                </a:lnTo>
                <a:lnTo>
                  <a:pt x="799" y="285"/>
                </a:lnTo>
                <a:lnTo>
                  <a:pt x="796" y="288"/>
                </a:lnTo>
                <a:lnTo>
                  <a:pt x="794" y="297"/>
                </a:lnTo>
                <a:lnTo>
                  <a:pt x="789" y="300"/>
                </a:lnTo>
                <a:lnTo>
                  <a:pt x="783" y="301"/>
                </a:lnTo>
                <a:lnTo>
                  <a:pt x="771" y="308"/>
                </a:lnTo>
                <a:lnTo>
                  <a:pt x="770" y="308"/>
                </a:lnTo>
                <a:lnTo>
                  <a:pt x="766" y="302"/>
                </a:lnTo>
                <a:lnTo>
                  <a:pt x="765" y="301"/>
                </a:lnTo>
                <a:lnTo>
                  <a:pt x="763" y="301"/>
                </a:lnTo>
                <a:lnTo>
                  <a:pt x="756" y="302"/>
                </a:lnTo>
                <a:lnTo>
                  <a:pt x="745" y="296"/>
                </a:lnTo>
                <a:lnTo>
                  <a:pt x="742" y="296"/>
                </a:lnTo>
                <a:lnTo>
                  <a:pt x="738" y="297"/>
                </a:lnTo>
                <a:lnTo>
                  <a:pt x="737" y="295"/>
                </a:lnTo>
                <a:lnTo>
                  <a:pt x="735" y="284"/>
                </a:lnTo>
                <a:lnTo>
                  <a:pt x="735" y="283"/>
                </a:lnTo>
                <a:lnTo>
                  <a:pt x="732" y="281"/>
                </a:lnTo>
                <a:lnTo>
                  <a:pt x="728" y="275"/>
                </a:lnTo>
                <a:lnTo>
                  <a:pt x="728" y="274"/>
                </a:lnTo>
                <a:lnTo>
                  <a:pt x="727" y="271"/>
                </a:lnTo>
                <a:lnTo>
                  <a:pt x="727" y="269"/>
                </a:lnTo>
                <a:lnTo>
                  <a:pt x="721" y="263"/>
                </a:lnTo>
                <a:lnTo>
                  <a:pt x="717" y="257"/>
                </a:lnTo>
                <a:lnTo>
                  <a:pt x="706" y="233"/>
                </a:lnTo>
                <a:lnTo>
                  <a:pt x="704" y="232"/>
                </a:lnTo>
                <a:lnTo>
                  <a:pt x="691" y="229"/>
                </a:lnTo>
                <a:lnTo>
                  <a:pt x="682" y="235"/>
                </a:lnTo>
                <a:lnTo>
                  <a:pt x="682" y="237"/>
                </a:lnTo>
                <a:lnTo>
                  <a:pt x="681" y="239"/>
                </a:lnTo>
                <a:lnTo>
                  <a:pt x="679" y="242"/>
                </a:lnTo>
                <a:lnTo>
                  <a:pt x="684" y="253"/>
                </a:lnTo>
                <a:lnTo>
                  <a:pt x="682" y="259"/>
                </a:lnTo>
                <a:lnTo>
                  <a:pt x="679" y="259"/>
                </a:lnTo>
                <a:lnTo>
                  <a:pt x="667" y="252"/>
                </a:lnTo>
                <a:lnTo>
                  <a:pt x="666" y="252"/>
                </a:lnTo>
                <a:lnTo>
                  <a:pt x="663" y="259"/>
                </a:lnTo>
                <a:lnTo>
                  <a:pt x="651" y="260"/>
                </a:lnTo>
                <a:lnTo>
                  <a:pt x="640" y="262"/>
                </a:lnTo>
                <a:lnTo>
                  <a:pt x="651" y="275"/>
                </a:lnTo>
                <a:lnTo>
                  <a:pt x="651" y="289"/>
                </a:lnTo>
                <a:lnTo>
                  <a:pt x="650" y="291"/>
                </a:lnTo>
                <a:lnTo>
                  <a:pt x="646" y="303"/>
                </a:lnTo>
                <a:lnTo>
                  <a:pt x="642" y="309"/>
                </a:lnTo>
                <a:lnTo>
                  <a:pt x="634" y="318"/>
                </a:lnTo>
                <a:lnTo>
                  <a:pt x="646" y="325"/>
                </a:lnTo>
                <a:lnTo>
                  <a:pt x="636" y="338"/>
                </a:lnTo>
                <a:lnTo>
                  <a:pt x="634" y="339"/>
                </a:lnTo>
                <a:lnTo>
                  <a:pt x="633" y="339"/>
                </a:lnTo>
                <a:lnTo>
                  <a:pt x="614" y="331"/>
                </a:lnTo>
                <a:lnTo>
                  <a:pt x="595" y="321"/>
                </a:lnTo>
                <a:lnTo>
                  <a:pt x="580" y="322"/>
                </a:lnTo>
                <a:lnTo>
                  <a:pt x="578" y="322"/>
                </a:lnTo>
                <a:lnTo>
                  <a:pt x="572" y="315"/>
                </a:lnTo>
                <a:lnTo>
                  <a:pt x="570" y="314"/>
                </a:lnTo>
                <a:lnTo>
                  <a:pt x="559" y="318"/>
                </a:lnTo>
                <a:lnTo>
                  <a:pt x="558" y="319"/>
                </a:lnTo>
                <a:lnTo>
                  <a:pt x="558" y="320"/>
                </a:lnTo>
                <a:lnTo>
                  <a:pt x="557" y="331"/>
                </a:lnTo>
                <a:lnTo>
                  <a:pt x="557" y="334"/>
                </a:lnTo>
                <a:lnTo>
                  <a:pt x="559" y="357"/>
                </a:lnTo>
                <a:lnTo>
                  <a:pt x="559" y="362"/>
                </a:lnTo>
                <a:lnTo>
                  <a:pt x="551" y="377"/>
                </a:lnTo>
                <a:lnTo>
                  <a:pt x="548" y="382"/>
                </a:lnTo>
                <a:lnTo>
                  <a:pt x="547" y="382"/>
                </a:lnTo>
                <a:lnTo>
                  <a:pt x="523" y="368"/>
                </a:lnTo>
                <a:lnTo>
                  <a:pt x="522" y="368"/>
                </a:lnTo>
                <a:lnTo>
                  <a:pt x="518" y="375"/>
                </a:lnTo>
                <a:lnTo>
                  <a:pt x="501" y="389"/>
                </a:lnTo>
                <a:lnTo>
                  <a:pt x="501" y="391"/>
                </a:lnTo>
                <a:lnTo>
                  <a:pt x="499" y="393"/>
                </a:lnTo>
                <a:lnTo>
                  <a:pt x="492" y="419"/>
                </a:lnTo>
                <a:lnTo>
                  <a:pt x="492" y="422"/>
                </a:lnTo>
                <a:lnTo>
                  <a:pt x="487" y="429"/>
                </a:lnTo>
                <a:lnTo>
                  <a:pt x="485" y="431"/>
                </a:lnTo>
                <a:lnTo>
                  <a:pt x="483" y="432"/>
                </a:lnTo>
                <a:lnTo>
                  <a:pt x="476" y="434"/>
                </a:lnTo>
                <a:lnTo>
                  <a:pt x="474" y="436"/>
                </a:lnTo>
                <a:lnTo>
                  <a:pt x="472" y="443"/>
                </a:lnTo>
                <a:lnTo>
                  <a:pt x="485" y="468"/>
                </a:lnTo>
                <a:lnTo>
                  <a:pt x="486" y="469"/>
                </a:lnTo>
                <a:lnTo>
                  <a:pt x="485" y="484"/>
                </a:lnTo>
                <a:lnTo>
                  <a:pt x="484" y="486"/>
                </a:lnTo>
                <a:lnTo>
                  <a:pt x="483" y="487"/>
                </a:lnTo>
                <a:lnTo>
                  <a:pt x="480" y="489"/>
                </a:lnTo>
                <a:lnTo>
                  <a:pt x="472" y="497"/>
                </a:lnTo>
                <a:lnTo>
                  <a:pt x="468" y="502"/>
                </a:lnTo>
                <a:lnTo>
                  <a:pt x="453" y="533"/>
                </a:lnTo>
                <a:lnTo>
                  <a:pt x="443" y="545"/>
                </a:lnTo>
                <a:lnTo>
                  <a:pt x="443" y="547"/>
                </a:lnTo>
                <a:lnTo>
                  <a:pt x="445" y="559"/>
                </a:lnTo>
                <a:lnTo>
                  <a:pt x="446" y="560"/>
                </a:lnTo>
                <a:lnTo>
                  <a:pt x="446" y="567"/>
                </a:lnTo>
                <a:lnTo>
                  <a:pt x="427" y="579"/>
                </a:lnTo>
                <a:lnTo>
                  <a:pt x="416" y="582"/>
                </a:lnTo>
                <a:lnTo>
                  <a:pt x="405" y="583"/>
                </a:lnTo>
                <a:lnTo>
                  <a:pt x="410" y="612"/>
                </a:lnTo>
                <a:lnTo>
                  <a:pt x="410" y="619"/>
                </a:lnTo>
                <a:lnTo>
                  <a:pt x="406" y="625"/>
                </a:lnTo>
                <a:lnTo>
                  <a:pt x="406" y="627"/>
                </a:lnTo>
                <a:lnTo>
                  <a:pt x="404" y="651"/>
                </a:lnTo>
                <a:lnTo>
                  <a:pt x="404" y="665"/>
                </a:lnTo>
                <a:lnTo>
                  <a:pt x="403" y="669"/>
                </a:lnTo>
                <a:lnTo>
                  <a:pt x="399" y="671"/>
                </a:lnTo>
                <a:lnTo>
                  <a:pt x="399" y="674"/>
                </a:lnTo>
                <a:lnTo>
                  <a:pt x="398" y="676"/>
                </a:lnTo>
                <a:lnTo>
                  <a:pt x="397" y="686"/>
                </a:lnTo>
                <a:lnTo>
                  <a:pt x="396" y="689"/>
                </a:lnTo>
                <a:lnTo>
                  <a:pt x="390" y="699"/>
                </a:lnTo>
                <a:lnTo>
                  <a:pt x="379" y="719"/>
                </a:lnTo>
                <a:lnTo>
                  <a:pt x="367" y="738"/>
                </a:lnTo>
                <a:lnTo>
                  <a:pt x="380" y="748"/>
                </a:lnTo>
                <a:lnTo>
                  <a:pt x="381" y="749"/>
                </a:lnTo>
                <a:lnTo>
                  <a:pt x="385" y="749"/>
                </a:lnTo>
                <a:lnTo>
                  <a:pt x="386" y="750"/>
                </a:lnTo>
                <a:lnTo>
                  <a:pt x="387" y="752"/>
                </a:lnTo>
                <a:lnTo>
                  <a:pt x="390" y="775"/>
                </a:lnTo>
                <a:lnTo>
                  <a:pt x="390" y="778"/>
                </a:lnTo>
                <a:lnTo>
                  <a:pt x="389" y="779"/>
                </a:lnTo>
                <a:lnTo>
                  <a:pt x="381" y="793"/>
                </a:lnTo>
                <a:lnTo>
                  <a:pt x="381" y="794"/>
                </a:lnTo>
                <a:lnTo>
                  <a:pt x="380" y="794"/>
                </a:lnTo>
                <a:lnTo>
                  <a:pt x="365" y="791"/>
                </a:lnTo>
                <a:lnTo>
                  <a:pt x="350" y="787"/>
                </a:lnTo>
                <a:lnTo>
                  <a:pt x="340" y="789"/>
                </a:lnTo>
                <a:lnTo>
                  <a:pt x="330" y="797"/>
                </a:lnTo>
                <a:lnTo>
                  <a:pt x="327" y="800"/>
                </a:lnTo>
                <a:lnTo>
                  <a:pt x="318" y="813"/>
                </a:lnTo>
                <a:lnTo>
                  <a:pt x="311" y="829"/>
                </a:lnTo>
                <a:lnTo>
                  <a:pt x="305" y="834"/>
                </a:lnTo>
                <a:lnTo>
                  <a:pt x="307" y="843"/>
                </a:lnTo>
                <a:lnTo>
                  <a:pt x="307" y="848"/>
                </a:lnTo>
                <a:lnTo>
                  <a:pt x="298" y="864"/>
                </a:lnTo>
                <a:lnTo>
                  <a:pt x="300" y="871"/>
                </a:lnTo>
                <a:lnTo>
                  <a:pt x="307" y="890"/>
                </a:lnTo>
                <a:lnTo>
                  <a:pt x="303" y="897"/>
                </a:lnTo>
                <a:lnTo>
                  <a:pt x="303" y="901"/>
                </a:lnTo>
                <a:lnTo>
                  <a:pt x="305" y="915"/>
                </a:lnTo>
                <a:lnTo>
                  <a:pt x="305" y="917"/>
                </a:lnTo>
                <a:lnTo>
                  <a:pt x="304" y="920"/>
                </a:lnTo>
                <a:lnTo>
                  <a:pt x="303" y="924"/>
                </a:lnTo>
                <a:lnTo>
                  <a:pt x="301" y="927"/>
                </a:lnTo>
                <a:lnTo>
                  <a:pt x="301" y="928"/>
                </a:lnTo>
                <a:lnTo>
                  <a:pt x="310" y="951"/>
                </a:lnTo>
                <a:lnTo>
                  <a:pt x="311" y="956"/>
                </a:lnTo>
                <a:lnTo>
                  <a:pt x="311" y="960"/>
                </a:lnTo>
                <a:lnTo>
                  <a:pt x="309" y="983"/>
                </a:lnTo>
                <a:lnTo>
                  <a:pt x="305" y="1006"/>
                </a:lnTo>
                <a:lnTo>
                  <a:pt x="305" y="1007"/>
                </a:lnTo>
                <a:lnTo>
                  <a:pt x="312" y="1014"/>
                </a:lnTo>
                <a:lnTo>
                  <a:pt x="316" y="1019"/>
                </a:lnTo>
                <a:lnTo>
                  <a:pt x="317" y="1020"/>
                </a:lnTo>
                <a:lnTo>
                  <a:pt x="322" y="1020"/>
                </a:lnTo>
                <a:lnTo>
                  <a:pt x="324" y="1022"/>
                </a:lnTo>
                <a:lnTo>
                  <a:pt x="335" y="1038"/>
                </a:lnTo>
                <a:lnTo>
                  <a:pt x="336" y="1038"/>
                </a:lnTo>
                <a:lnTo>
                  <a:pt x="336" y="1039"/>
                </a:lnTo>
                <a:lnTo>
                  <a:pt x="335" y="1047"/>
                </a:lnTo>
                <a:lnTo>
                  <a:pt x="330" y="1057"/>
                </a:lnTo>
                <a:lnTo>
                  <a:pt x="329" y="1058"/>
                </a:lnTo>
                <a:lnTo>
                  <a:pt x="329" y="1064"/>
                </a:lnTo>
                <a:lnTo>
                  <a:pt x="328" y="1065"/>
                </a:lnTo>
                <a:lnTo>
                  <a:pt x="328" y="1067"/>
                </a:lnTo>
                <a:lnTo>
                  <a:pt x="327" y="1067"/>
                </a:lnTo>
                <a:lnTo>
                  <a:pt x="322" y="1065"/>
                </a:lnTo>
                <a:lnTo>
                  <a:pt x="319" y="1065"/>
                </a:lnTo>
                <a:lnTo>
                  <a:pt x="310" y="1069"/>
                </a:lnTo>
                <a:lnTo>
                  <a:pt x="309" y="1070"/>
                </a:lnTo>
                <a:lnTo>
                  <a:pt x="309" y="1071"/>
                </a:lnTo>
                <a:lnTo>
                  <a:pt x="311" y="1076"/>
                </a:lnTo>
                <a:lnTo>
                  <a:pt x="311" y="1079"/>
                </a:lnTo>
                <a:lnTo>
                  <a:pt x="312" y="1085"/>
                </a:lnTo>
                <a:lnTo>
                  <a:pt x="315" y="1092"/>
                </a:lnTo>
                <a:lnTo>
                  <a:pt x="318" y="1100"/>
                </a:lnTo>
                <a:lnTo>
                  <a:pt x="323" y="1112"/>
                </a:lnTo>
                <a:lnTo>
                  <a:pt x="324" y="1114"/>
                </a:lnTo>
                <a:lnTo>
                  <a:pt x="324" y="1120"/>
                </a:lnTo>
                <a:lnTo>
                  <a:pt x="323" y="1123"/>
                </a:lnTo>
                <a:lnTo>
                  <a:pt x="323" y="1124"/>
                </a:lnTo>
                <a:lnTo>
                  <a:pt x="322" y="1125"/>
                </a:lnTo>
                <a:lnTo>
                  <a:pt x="319" y="1129"/>
                </a:lnTo>
                <a:lnTo>
                  <a:pt x="319" y="1133"/>
                </a:lnTo>
                <a:lnTo>
                  <a:pt x="321" y="1139"/>
                </a:lnTo>
                <a:lnTo>
                  <a:pt x="321" y="1142"/>
                </a:lnTo>
                <a:lnTo>
                  <a:pt x="318" y="1149"/>
                </a:lnTo>
                <a:lnTo>
                  <a:pt x="317" y="1151"/>
                </a:lnTo>
                <a:lnTo>
                  <a:pt x="311" y="1160"/>
                </a:lnTo>
                <a:lnTo>
                  <a:pt x="304" y="1165"/>
                </a:lnTo>
                <a:lnTo>
                  <a:pt x="293" y="1165"/>
                </a:lnTo>
                <a:lnTo>
                  <a:pt x="293" y="1166"/>
                </a:lnTo>
                <a:lnTo>
                  <a:pt x="292" y="1167"/>
                </a:lnTo>
                <a:lnTo>
                  <a:pt x="292" y="1170"/>
                </a:lnTo>
                <a:lnTo>
                  <a:pt x="293" y="1172"/>
                </a:lnTo>
                <a:lnTo>
                  <a:pt x="293" y="1173"/>
                </a:lnTo>
                <a:lnTo>
                  <a:pt x="294" y="1174"/>
                </a:lnTo>
                <a:lnTo>
                  <a:pt x="294" y="1180"/>
                </a:lnTo>
                <a:lnTo>
                  <a:pt x="293" y="1180"/>
                </a:lnTo>
                <a:lnTo>
                  <a:pt x="292" y="1184"/>
                </a:lnTo>
                <a:lnTo>
                  <a:pt x="291" y="1185"/>
                </a:lnTo>
                <a:lnTo>
                  <a:pt x="285" y="1187"/>
                </a:lnTo>
                <a:lnTo>
                  <a:pt x="285" y="1193"/>
                </a:lnTo>
                <a:lnTo>
                  <a:pt x="290" y="1209"/>
                </a:lnTo>
                <a:lnTo>
                  <a:pt x="290" y="1215"/>
                </a:lnTo>
                <a:lnTo>
                  <a:pt x="291" y="1217"/>
                </a:lnTo>
                <a:lnTo>
                  <a:pt x="291" y="1218"/>
                </a:lnTo>
                <a:lnTo>
                  <a:pt x="290" y="1219"/>
                </a:lnTo>
                <a:lnTo>
                  <a:pt x="290" y="1221"/>
                </a:lnTo>
                <a:lnTo>
                  <a:pt x="288" y="1222"/>
                </a:lnTo>
                <a:lnTo>
                  <a:pt x="287" y="1228"/>
                </a:lnTo>
                <a:lnTo>
                  <a:pt x="287" y="1234"/>
                </a:lnTo>
                <a:lnTo>
                  <a:pt x="286" y="1237"/>
                </a:lnTo>
                <a:lnTo>
                  <a:pt x="286" y="1239"/>
                </a:lnTo>
                <a:lnTo>
                  <a:pt x="285" y="1241"/>
                </a:lnTo>
                <a:lnTo>
                  <a:pt x="284" y="1246"/>
                </a:lnTo>
                <a:lnTo>
                  <a:pt x="282" y="1248"/>
                </a:lnTo>
                <a:lnTo>
                  <a:pt x="276" y="1248"/>
                </a:lnTo>
                <a:lnTo>
                  <a:pt x="275" y="1247"/>
                </a:lnTo>
                <a:lnTo>
                  <a:pt x="275" y="1242"/>
                </a:lnTo>
                <a:lnTo>
                  <a:pt x="274" y="1240"/>
                </a:lnTo>
                <a:lnTo>
                  <a:pt x="274" y="1239"/>
                </a:lnTo>
                <a:lnTo>
                  <a:pt x="273" y="1236"/>
                </a:lnTo>
                <a:lnTo>
                  <a:pt x="273" y="1233"/>
                </a:lnTo>
                <a:lnTo>
                  <a:pt x="272" y="1230"/>
                </a:lnTo>
                <a:lnTo>
                  <a:pt x="271" y="1230"/>
                </a:lnTo>
                <a:lnTo>
                  <a:pt x="269" y="1229"/>
                </a:lnTo>
                <a:lnTo>
                  <a:pt x="266" y="1230"/>
                </a:lnTo>
                <a:lnTo>
                  <a:pt x="263" y="1229"/>
                </a:lnTo>
                <a:lnTo>
                  <a:pt x="263" y="1228"/>
                </a:lnTo>
                <a:lnTo>
                  <a:pt x="265" y="1228"/>
                </a:lnTo>
                <a:lnTo>
                  <a:pt x="265" y="1227"/>
                </a:lnTo>
                <a:lnTo>
                  <a:pt x="263" y="1225"/>
                </a:lnTo>
                <a:lnTo>
                  <a:pt x="263" y="1223"/>
                </a:lnTo>
                <a:lnTo>
                  <a:pt x="262" y="1224"/>
                </a:lnTo>
                <a:lnTo>
                  <a:pt x="262" y="1228"/>
                </a:lnTo>
                <a:lnTo>
                  <a:pt x="261" y="1228"/>
                </a:lnTo>
                <a:lnTo>
                  <a:pt x="261" y="1227"/>
                </a:lnTo>
                <a:lnTo>
                  <a:pt x="260" y="1224"/>
                </a:lnTo>
                <a:lnTo>
                  <a:pt x="260" y="1229"/>
                </a:lnTo>
                <a:lnTo>
                  <a:pt x="257" y="1229"/>
                </a:lnTo>
                <a:lnTo>
                  <a:pt x="257" y="1227"/>
                </a:lnTo>
                <a:lnTo>
                  <a:pt x="255" y="1224"/>
                </a:lnTo>
                <a:lnTo>
                  <a:pt x="254" y="1224"/>
                </a:lnTo>
                <a:lnTo>
                  <a:pt x="254" y="1228"/>
                </a:lnTo>
                <a:lnTo>
                  <a:pt x="253" y="1228"/>
                </a:lnTo>
                <a:lnTo>
                  <a:pt x="253" y="1227"/>
                </a:lnTo>
                <a:lnTo>
                  <a:pt x="251" y="1225"/>
                </a:lnTo>
                <a:lnTo>
                  <a:pt x="251" y="1223"/>
                </a:lnTo>
                <a:lnTo>
                  <a:pt x="250" y="1224"/>
                </a:lnTo>
                <a:lnTo>
                  <a:pt x="249" y="1224"/>
                </a:lnTo>
                <a:lnTo>
                  <a:pt x="249" y="1225"/>
                </a:lnTo>
                <a:lnTo>
                  <a:pt x="248" y="1223"/>
                </a:lnTo>
                <a:lnTo>
                  <a:pt x="247" y="1223"/>
                </a:lnTo>
                <a:lnTo>
                  <a:pt x="247" y="1218"/>
                </a:lnTo>
                <a:lnTo>
                  <a:pt x="245" y="1218"/>
                </a:lnTo>
                <a:lnTo>
                  <a:pt x="245" y="1221"/>
                </a:lnTo>
                <a:lnTo>
                  <a:pt x="244" y="1219"/>
                </a:lnTo>
                <a:lnTo>
                  <a:pt x="245" y="1217"/>
                </a:lnTo>
                <a:lnTo>
                  <a:pt x="245" y="1215"/>
                </a:lnTo>
                <a:lnTo>
                  <a:pt x="247" y="1213"/>
                </a:lnTo>
                <a:lnTo>
                  <a:pt x="245" y="1213"/>
                </a:lnTo>
                <a:lnTo>
                  <a:pt x="245" y="1212"/>
                </a:lnTo>
                <a:lnTo>
                  <a:pt x="244" y="1211"/>
                </a:lnTo>
                <a:lnTo>
                  <a:pt x="244" y="1213"/>
                </a:lnTo>
                <a:lnTo>
                  <a:pt x="242" y="1213"/>
                </a:lnTo>
                <a:lnTo>
                  <a:pt x="242" y="1210"/>
                </a:lnTo>
                <a:lnTo>
                  <a:pt x="241" y="1208"/>
                </a:lnTo>
                <a:lnTo>
                  <a:pt x="242" y="1206"/>
                </a:lnTo>
                <a:lnTo>
                  <a:pt x="242" y="1205"/>
                </a:lnTo>
                <a:lnTo>
                  <a:pt x="241" y="1205"/>
                </a:lnTo>
                <a:lnTo>
                  <a:pt x="240" y="1204"/>
                </a:lnTo>
                <a:lnTo>
                  <a:pt x="238" y="1204"/>
                </a:lnTo>
                <a:lnTo>
                  <a:pt x="241" y="1199"/>
                </a:lnTo>
                <a:lnTo>
                  <a:pt x="241" y="1198"/>
                </a:lnTo>
                <a:lnTo>
                  <a:pt x="242" y="1198"/>
                </a:lnTo>
                <a:lnTo>
                  <a:pt x="242" y="1200"/>
                </a:lnTo>
                <a:lnTo>
                  <a:pt x="241" y="1203"/>
                </a:lnTo>
                <a:lnTo>
                  <a:pt x="242" y="1203"/>
                </a:lnTo>
                <a:lnTo>
                  <a:pt x="243" y="1202"/>
                </a:lnTo>
                <a:lnTo>
                  <a:pt x="243" y="1199"/>
                </a:lnTo>
                <a:lnTo>
                  <a:pt x="242" y="1198"/>
                </a:lnTo>
                <a:lnTo>
                  <a:pt x="242" y="1196"/>
                </a:lnTo>
                <a:lnTo>
                  <a:pt x="241" y="1193"/>
                </a:lnTo>
                <a:lnTo>
                  <a:pt x="241" y="1192"/>
                </a:lnTo>
                <a:lnTo>
                  <a:pt x="242" y="1190"/>
                </a:lnTo>
                <a:lnTo>
                  <a:pt x="241" y="1188"/>
                </a:lnTo>
                <a:lnTo>
                  <a:pt x="241" y="1186"/>
                </a:lnTo>
                <a:lnTo>
                  <a:pt x="240" y="1184"/>
                </a:lnTo>
                <a:lnTo>
                  <a:pt x="240" y="1182"/>
                </a:lnTo>
                <a:lnTo>
                  <a:pt x="238" y="1181"/>
                </a:lnTo>
                <a:lnTo>
                  <a:pt x="237" y="1179"/>
                </a:lnTo>
                <a:lnTo>
                  <a:pt x="237" y="1176"/>
                </a:lnTo>
                <a:lnTo>
                  <a:pt x="238" y="1175"/>
                </a:lnTo>
                <a:lnTo>
                  <a:pt x="240" y="1172"/>
                </a:lnTo>
                <a:lnTo>
                  <a:pt x="240" y="1169"/>
                </a:lnTo>
                <a:lnTo>
                  <a:pt x="242" y="1168"/>
                </a:lnTo>
                <a:lnTo>
                  <a:pt x="243" y="1170"/>
                </a:lnTo>
                <a:lnTo>
                  <a:pt x="243" y="1174"/>
                </a:lnTo>
                <a:lnTo>
                  <a:pt x="244" y="1178"/>
                </a:lnTo>
                <a:lnTo>
                  <a:pt x="244" y="1174"/>
                </a:lnTo>
                <a:lnTo>
                  <a:pt x="245" y="1172"/>
                </a:lnTo>
                <a:lnTo>
                  <a:pt x="245" y="1165"/>
                </a:lnTo>
                <a:lnTo>
                  <a:pt x="244" y="1165"/>
                </a:lnTo>
                <a:lnTo>
                  <a:pt x="243" y="1163"/>
                </a:lnTo>
                <a:lnTo>
                  <a:pt x="242" y="1165"/>
                </a:lnTo>
                <a:lnTo>
                  <a:pt x="242" y="1166"/>
                </a:lnTo>
                <a:lnTo>
                  <a:pt x="240" y="1165"/>
                </a:lnTo>
                <a:lnTo>
                  <a:pt x="240" y="1166"/>
                </a:lnTo>
                <a:lnTo>
                  <a:pt x="236" y="1166"/>
                </a:lnTo>
                <a:lnTo>
                  <a:pt x="234" y="1168"/>
                </a:lnTo>
                <a:lnTo>
                  <a:pt x="234" y="1169"/>
                </a:lnTo>
                <a:lnTo>
                  <a:pt x="235" y="1169"/>
                </a:lnTo>
                <a:lnTo>
                  <a:pt x="235" y="1180"/>
                </a:lnTo>
                <a:lnTo>
                  <a:pt x="236" y="1182"/>
                </a:lnTo>
                <a:lnTo>
                  <a:pt x="237" y="1184"/>
                </a:lnTo>
                <a:lnTo>
                  <a:pt x="238" y="1184"/>
                </a:lnTo>
                <a:lnTo>
                  <a:pt x="240" y="1186"/>
                </a:lnTo>
                <a:lnTo>
                  <a:pt x="240" y="1188"/>
                </a:lnTo>
                <a:lnTo>
                  <a:pt x="238" y="1192"/>
                </a:lnTo>
                <a:lnTo>
                  <a:pt x="237" y="1194"/>
                </a:lnTo>
                <a:lnTo>
                  <a:pt x="235" y="1197"/>
                </a:lnTo>
                <a:lnTo>
                  <a:pt x="232" y="1197"/>
                </a:lnTo>
                <a:lnTo>
                  <a:pt x="231" y="1194"/>
                </a:lnTo>
                <a:lnTo>
                  <a:pt x="231" y="1193"/>
                </a:lnTo>
                <a:lnTo>
                  <a:pt x="232" y="1190"/>
                </a:lnTo>
                <a:lnTo>
                  <a:pt x="232" y="1188"/>
                </a:lnTo>
                <a:lnTo>
                  <a:pt x="231" y="1186"/>
                </a:lnTo>
                <a:lnTo>
                  <a:pt x="231" y="1182"/>
                </a:lnTo>
                <a:lnTo>
                  <a:pt x="230" y="1181"/>
                </a:lnTo>
                <a:lnTo>
                  <a:pt x="230" y="1180"/>
                </a:lnTo>
                <a:lnTo>
                  <a:pt x="228" y="1180"/>
                </a:lnTo>
                <a:lnTo>
                  <a:pt x="225" y="1178"/>
                </a:lnTo>
                <a:lnTo>
                  <a:pt x="224" y="1178"/>
                </a:lnTo>
                <a:lnTo>
                  <a:pt x="223" y="1179"/>
                </a:lnTo>
                <a:lnTo>
                  <a:pt x="225" y="1181"/>
                </a:lnTo>
                <a:lnTo>
                  <a:pt x="226" y="1181"/>
                </a:lnTo>
                <a:lnTo>
                  <a:pt x="230" y="1185"/>
                </a:lnTo>
                <a:lnTo>
                  <a:pt x="230" y="1194"/>
                </a:lnTo>
                <a:lnTo>
                  <a:pt x="229" y="1196"/>
                </a:lnTo>
                <a:lnTo>
                  <a:pt x="228" y="1196"/>
                </a:lnTo>
                <a:lnTo>
                  <a:pt x="225" y="1193"/>
                </a:lnTo>
                <a:lnTo>
                  <a:pt x="224" y="1193"/>
                </a:lnTo>
                <a:lnTo>
                  <a:pt x="224" y="1194"/>
                </a:lnTo>
                <a:lnTo>
                  <a:pt x="228" y="1198"/>
                </a:lnTo>
                <a:lnTo>
                  <a:pt x="230" y="1202"/>
                </a:lnTo>
                <a:lnTo>
                  <a:pt x="234" y="1203"/>
                </a:lnTo>
                <a:lnTo>
                  <a:pt x="234" y="1206"/>
                </a:lnTo>
                <a:lnTo>
                  <a:pt x="232" y="1209"/>
                </a:lnTo>
                <a:lnTo>
                  <a:pt x="232" y="1210"/>
                </a:lnTo>
                <a:lnTo>
                  <a:pt x="236" y="1213"/>
                </a:lnTo>
                <a:lnTo>
                  <a:pt x="235" y="1215"/>
                </a:lnTo>
                <a:lnTo>
                  <a:pt x="235" y="1216"/>
                </a:lnTo>
                <a:lnTo>
                  <a:pt x="234" y="1217"/>
                </a:lnTo>
                <a:lnTo>
                  <a:pt x="234" y="1218"/>
                </a:lnTo>
                <a:lnTo>
                  <a:pt x="232" y="1218"/>
                </a:lnTo>
                <a:lnTo>
                  <a:pt x="231" y="1217"/>
                </a:lnTo>
                <a:lnTo>
                  <a:pt x="229" y="1217"/>
                </a:lnTo>
                <a:lnTo>
                  <a:pt x="229" y="1221"/>
                </a:lnTo>
                <a:lnTo>
                  <a:pt x="228" y="1222"/>
                </a:lnTo>
                <a:lnTo>
                  <a:pt x="228" y="1225"/>
                </a:lnTo>
                <a:lnTo>
                  <a:pt x="226" y="1228"/>
                </a:lnTo>
                <a:lnTo>
                  <a:pt x="226" y="1233"/>
                </a:lnTo>
                <a:lnTo>
                  <a:pt x="225" y="1231"/>
                </a:lnTo>
                <a:lnTo>
                  <a:pt x="225" y="1235"/>
                </a:lnTo>
                <a:lnTo>
                  <a:pt x="224" y="1230"/>
                </a:lnTo>
                <a:lnTo>
                  <a:pt x="223" y="1230"/>
                </a:lnTo>
                <a:lnTo>
                  <a:pt x="223" y="1235"/>
                </a:lnTo>
                <a:lnTo>
                  <a:pt x="224" y="1236"/>
                </a:lnTo>
                <a:lnTo>
                  <a:pt x="222" y="1239"/>
                </a:lnTo>
                <a:lnTo>
                  <a:pt x="219" y="1239"/>
                </a:lnTo>
                <a:lnTo>
                  <a:pt x="219" y="1237"/>
                </a:lnTo>
                <a:lnTo>
                  <a:pt x="220" y="1236"/>
                </a:lnTo>
                <a:lnTo>
                  <a:pt x="220" y="1235"/>
                </a:lnTo>
                <a:lnTo>
                  <a:pt x="219" y="1236"/>
                </a:lnTo>
                <a:lnTo>
                  <a:pt x="218" y="1236"/>
                </a:lnTo>
                <a:lnTo>
                  <a:pt x="217" y="1237"/>
                </a:lnTo>
                <a:lnTo>
                  <a:pt x="216" y="1237"/>
                </a:lnTo>
                <a:lnTo>
                  <a:pt x="216" y="1236"/>
                </a:lnTo>
                <a:lnTo>
                  <a:pt x="214" y="1236"/>
                </a:lnTo>
                <a:lnTo>
                  <a:pt x="216" y="1240"/>
                </a:lnTo>
                <a:lnTo>
                  <a:pt x="213" y="1242"/>
                </a:lnTo>
                <a:lnTo>
                  <a:pt x="206" y="1242"/>
                </a:lnTo>
                <a:lnTo>
                  <a:pt x="207" y="1241"/>
                </a:lnTo>
                <a:lnTo>
                  <a:pt x="207" y="1239"/>
                </a:lnTo>
                <a:lnTo>
                  <a:pt x="206" y="1237"/>
                </a:lnTo>
                <a:lnTo>
                  <a:pt x="205" y="1235"/>
                </a:lnTo>
                <a:lnTo>
                  <a:pt x="204" y="1235"/>
                </a:lnTo>
                <a:lnTo>
                  <a:pt x="204" y="1236"/>
                </a:lnTo>
                <a:lnTo>
                  <a:pt x="203" y="1234"/>
                </a:lnTo>
                <a:lnTo>
                  <a:pt x="201" y="1234"/>
                </a:lnTo>
                <a:lnTo>
                  <a:pt x="201" y="1231"/>
                </a:lnTo>
                <a:lnTo>
                  <a:pt x="200" y="1231"/>
                </a:lnTo>
                <a:lnTo>
                  <a:pt x="200" y="1235"/>
                </a:lnTo>
                <a:lnTo>
                  <a:pt x="199" y="1234"/>
                </a:lnTo>
                <a:lnTo>
                  <a:pt x="199" y="1230"/>
                </a:lnTo>
                <a:lnTo>
                  <a:pt x="198" y="1230"/>
                </a:lnTo>
                <a:lnTo>
                  <a:pt x="199" y="1229"/>
                </a:lnTo>
                <a:lnTo>
                  <a:pt x="198" y="1228"/>
                </a:lnTo>
                <a:lnTo>
                  <a:pt x="197" y="1229"/>
                </a:lnTo>
                <a:lnTo>
                  <a:pt x="194" y="1229"/>
                </a:lnTo>
                <a:lnTo>
                  <a:pt x="198" y="1233"/>
                </a:lnTo>
                <a:lnTo>
                  <a:pt x="199" y="1235"/>
                </a:lnTo>
                <a:lnTo>
                  <a:pt x="199" y="1236"/>
                </a:lnTo>
                <a:lnTo>
                  <a:pt x="201" y="1236"/>
                </a:lnTo>
                <a:lnTo>
                  <a:pt x="203" y="1237"/>
                </a:lnTo>
                <a:lnTo>
                  <a:pt x="203" y="1240"/>
                </a:lnTo>
                <a:lnTo>
                  <a:pt x="199" y="1240"/>
                </a:lnTo>
                <a:lnTo>
                  <a:pt x="199" y="1241"/>
                </a:lnTo>
                <a:lnTo>
                  <a:pt x="200" y="1241"/>
                </a:lnTo>
                <a:lnTo>
                  <a:pt x="200" y="1242"/>
                </a:lnTo>
                <a:lnTo>
                  <a:pt x="197" y="1243"/>
                </a:lnTo>
                <a:lnTo>
                  <a:pt x="197" y="1245"/>
                </a:lnTo>
                <a:lnTo>
                  <a:pt x="198" y="1245"/>
                </a:lnTo>
                <a:lnTo>
                  <a:pt x="195" y="1246"/>
                </a:lnTo>
                <a:lnTo>
                  <a:pt x="192" y="1245"/>
                </a:lnTo>
                <a:lnTo>
                  <a:pt x="194" y="1247"/>
                </a:lnTo>
                <a:lnTo>
                  <a:pt x="193" y="1248"/>
                </a:lnTo>
                <a:lnTo>
                  <a:pt x="192" y="1247"/>
                </a:lnTo>
                <a:lnTo>
                  <a:pt x="191" y="1247"/>
                </a:lnTo>
                <a:lnTo>
                  <a:pt x="191" y="1248"/>
                </a:lnTo>
                <a:lnTo>
                  <a:pt x="189" y="1248"/>
                </a:lnTo>
                <a:lnTo>
                  <a:pt x="188" y="1247"/>
                </a:lnTo>
                <a:lnTo>
                  <a:pt x="187" y="1248"/>
                </a:lnTo>
                <a:lnTo>
                  <a:pt x="188" y="1248"/>
                </a:lnTo>
                <a:lnTo>
                  <a:pt x="188" y="1249"/>
                </a:lnTo>
                <a:lnTo>
                  <a:pt x="186" y="1251"/>
                </a:lnTo>
                <a:lnTo>
                  <a:pt x="185" y="1251"/>
                </a:lnTo>
                <a:lnTo>
                  <a:pt x="185" y="1248"/>
                </a:lnTo>
                <a:lnTo>
                  <a:pt x="184" y="1249"/>
                </a:lnTo>
                <a:lnTo>
                  <a:pt x="184" y="1253"/>
                </a:lnTo>
                <a:lnTo>
                  <a:pt x="185" y="1253"/>
                </a:lnTo>
                <a:lnTo>
                  <a:pt x="187" y="1252"/>
                </a:lnTo>
                <a:lnTo>
                  <a:pt x="189" y="1252"/>
                </a:lnTo>
                <a:lnTo>
                  <a:pt x="191" y="1253"/>
                </a:lnTo>
                <a:lnTo>
                  <a:pt x="187" y="1256"/>
                </a:lnTo>
                <a:lnTo>
                  <a:pt x="188" y="1255"/>
                </a:lnTo>
                <a:lnTo>
                  <a:pt x="189" y="1255"/>
                </a:lnTo>
                <a:lnTo>
                  <a:pt x="189" y="1256"/>
                </a:lnTo>
                <a:lnTo>
                  <a:pt x="188" y="1256"/>
                </a:lnTo>
                <a:lnTo>
                  <a:pt x="187" y="1258"/>
                </a:lnTo>
                <a:lnTo>
                  <a:pt x="186" y="1258"/>
                </a:lnTo>
                <a:lnTo>
                  <a:pt x="186" y="1259"/>
                </a:lnTo>
                <a:lnTo>
                  <a:pt x="185" y="1260"/>
                </a:lnTo>
                <a:lnTo>
                  <a:pt x="182" y="1261"/>
                </a:lnTo>
                <a:lnTo>
                  <a:pt x="179" y="1260"/>
                </a:lnTo>
                <a:lnTo>
                  <a:pt x="175" y="1260"/>
                </a:lnTo>
                <a:lnTo>
                  <a:pt x="174" y="1261"/>
                </a:lnTo>
                <a:lnTo>
                  <a:pt x="178" y="1262"/>
                </a:lnTo>
                <a:lnTo>
                  <a:pt x="179" y="1262"/>
                </a:lnTo>
                <a:lnTo>
                  <a:pt x="176" y="1261"/>
                </a:lnTo>
                <a:lnTo>
                  <a:pt x="176" y="1260"/>
                </a:lnTo>
                <a:lnTo>
                  <a:pt x="179" y="1260"/>
                </a:lnTo>
                <a:lnTo>
                  <a:pt x="181" y="1261"/>
                </a:lnTo>
                <a:lnTo>
                  <a:pt x="181" y="1264"/>
                </a:lnTo>
                <a:lnTo>
                  <a:pt x="180" y="1264"/>
                </a:lnTo>
                <a:lnTo>
                  <a:pt x="175" y="1265"/>
                </a:lnTo>
                <a:lnTo>
                  <a:pt x="180" y="1265"/>
                </a:lnTo>
                <a:lnTo>
                  <a:pt x="180" y="1266"/>
                </a:lnTo>
                <a:lnTo>
                  <a:pt x="175" y="1271"/>
                </a:lnTo>
                <a:lnTo>
                  <a:pt x="173" y="1272"/>
                </a:lnTo>
                <a:lnTo>
                  <a:pt x="169" y="1272"/>
                </a:lnTo>
                <a:lnTo>
                  <a:pt x="168" y="1271"/>
                </a:lnTo>
                <a:lnTo>
                  <a:pt x="168" y="1272"/>
                </a:lnTo>
                <a:lnTo>
                  <a:pt x="169" y="1273"/>
                </a:lnTo>
                <a:lnTo>
                  <a:pt x="169" y="1279"/>
                </a:lnTo>
                <a:lnTo>
                  <a:pt x="168" y="1279"/>
                </a:lnTo>
                <a:lnTo>
                  <a:pt x="166" y="1283"/>
                </a:lnTo>
                <a:lnTo>
                  <a:pt x="164" y="1284"/>
                </a:lnTo>
                <a:lnTo>
                  <a:pt x="163" y="1284"/>
                </a:lnTo>
                <a:lnTo>
                  <a:pt x="162" y="1285"/>
                </a:lnTo>
                <a:lnTo>
                  <a:pt x="161" y="1285"/>
                </a:lnTo>
                <a:lnTo>
                  <a:pt x="161" y="1288"/>
                </a:lnTo>
                <a:lnTo>
                  <a:pt x="160" y="1289"/>
                </a:lnTo>
                <a:lnTo>
                  <a:pt x="160" y="1290"/>
                </a:lnTo>
                <a:lnTo>
                  <a:pt x="157" y="1290"/>
                </a:lnTo>
                <a:lnTo>
                  <a:pt x="156" y="1291"/>
                </a:lnTo>
                <a:lnTo>
                  <a:pt x="156" y="1292"/>
                </a:lnTo>
                <a:lnTo>
                  <a:pt x="155" y="1294"/>
                </a:lnTo>
                <a:lnTo>
                  <a:pt x="154" y="1294"/>
                </a:lnTo>
                <a:lnTo>
                  <a:pt x="154" y="1292"/>
                </a:lnTo>
                <a:lnTo>
                  <a:pt x="153" y="1295"/>
                </a:lnTo>
                <a:lnTo>
                  <a:pt x="151" y="1296"/>
                </a:lnTo>
                <a:lnTo>
                  <a:pt x="151" y="1298"/>
                </a:lnTo>
                <a:lnTo>
                  <a:pt x="150" y="1299"/>
                </a:lnTo>
                <a:lnTo>
                  <a:pt x="149" y="1298"/>
                </a:lnTo>
                <a:lnTo>
                  <a:pt x="148" y="1299"/>
                </a:lnTo>
                <a:lnTo>
                  <a:pt x="148" y="1298"/>
                </a:lnTo>
                <a:lnTo>
                  <a:pt x="147" y="1298"/>
                </a:lnTo>
                <a:lnTo>
                  <a:pt x="147" y="1301"/>
                </a:lnTo>
                <a:lnTo>
                  <a:pt x="144" y="1301"/>
                </a:lnTo>
                <a:lnTo>
                  <a:pt x="142" y="1303"/>
                </a:lnTo>
                <a:lnTo>
                  <a:pt x="141" y="1303"/>
                </a:lnTo>
                <a:lnTo>
                  <a:pt x="141" y="1305"/>
                </a:lnTo>
                <a:lnTo>
                  <a:pt x="139" y="1307"/>
                </a:lnTo>
                <a:lnTo>
                  <a:pt x="139" y="1309"/>
                </a:lnTo>
                <a:lnTo>
                  <a:pt x="138" y="1310"/>
                </a:lnTo>
                <a:lnTo>
                  <a:pt x="137" y="1309"/>
                </a:lnTo>
                <a:lnTo>
                  <a:pt x="137" y="1308"/>
                </a:lnTo>
                <a:lnTo>
                  <a:pt x="136" y="1308"/>
                </a:lnTo>
                <a:lnTo>
                  <a:pt x="135" y="1310"/>
                </a:lnTo>
                <a:lnTo>
                  <a:pt x="135" y="1311"/>
                </a:lnTo>
                <a:lnTo>
                  <a:pt x="132" y="1311"/>
                </a:lnTo>
                <a:lnTo>
                  <a:pt x="132" y="1310"/>
                </a:lnTo>
                <a:lnTo>
                  <a:pt x="131" y="1310"/>
                </a:lnTo>
                <a:lnTo>
                  <a:pt x="131" y="1309"/>
                </a:lnTo>
                <a:lnTo>
                  <a:pt x="132" y="1308"/>
                </a:lnTo>
                <a:lnTo>
                  <a:pt x="132" y="1305"/>
                </a:lnTo>
                <a:lnTo>
                  <a:pt x="131" y="1303"/>
                </a:lnTo>
                <a:lnTo>
                  <a:pt x="131" y="1302"/>
                </a:lnTo>
                <a:lnTo>
                  <a:pt x="130" y="1302"/>
                </a:lnTo>
                <a:lnTo>
                  <a:pt x="130" y="1303"/>
                </a:lnTo>
                <a:lnTo>
                  <a:pt x="131" y="1305"/>
                </a:lnTo>
                <a:lnTo>
                  <a:pt x="130" y="1307"/>
                </a:lnTo>
                <a:lnTo>
                  <a:pt x="130" y="1308"/>
                </a:lnTo>
                <a:lnTo>
                  <a:pt x="126" y="1311"/>
                </a:lnTo>
                <a:lnTo>
                  <a:pt x="127" y="1313"/>
                </a:lnTo>
                <a:lnTo>
                  <a:pt x="126" y="1314"/>
                </a:lnTo>
                <a:lnTo>
                  <a:pt x="119" y="1314"/>
                </a:lnTo>
                <a:lnTo>
                  <a:pt x="118" y="1315"/>
                </a:lnTo>
                <a:lnTo>
                  <a:pt x="114" y="1315"/>
                </a:lnTo>
                <a:lnTo>
                  <a:pt x="116" y="1316"/>
                </a:lnTo>
                <a:lnTo>
                  <a:pt x="114" y="1316"/>
                </a:lnTo>
                <a:lnTo>
                  <a:pt x="113" y="1315"/>
                </a:lnTo>
                <a:lnTo>
                  <a:pt x="114" y="1317"/>
                </a:lnTo>
                <a:lnTo>
                  <a:pt x="113" y="1319"/>
                </a:lnTo>
                <a:lnTo>
                  <a:pt x="112" y="1317"/>
                </a:lnTo>
                <a:lnTo>
                  <a:pt x="112" y="1319"/>
                </a:lnTo>
                <a:lnTo>
                  <a:pt x="104" y="1319"/>
                </a:lnTo>
                <a:lnTo>
                  <a:pt x="99" y="1317"/>
                </a:lnTo>
                <a:lnTo>
                  <a:pt x="98" y="1316"/>
                </a:lnTo>
                <a:lnTo>
                  <a:pt x="98" y="1315"/>
                </a:lnTo>
                <a:lnTo>
                  <a:pt x="95" y="1316"/>
                </a:lnTo>
                <a:lnTo>
                  <a:pt x="94" y="1317"/>
                </a:lnTo>
                <a:lnTo>
                  <a:pt x="94" y="1316"/>
                </a:lnTo>
                <a:lnTo>
                  <a:pt x="91" y="1317"/>
                </a:lnTo>
                <a:lnTo>
                  <a:pt x="91" y="1320"/>
                </a:lnTo>
                <a:lnTo>
                  <a:pt x="87" y="1320"/>
                </a:lnTo>
                <a:lnTo>
                  <a:pt x="87" y="1317"/>
                </a:lnTo>
                <a:lnTo>
                  <a:pt x="89" y="1315"/>
                </a:lnTo>
                <a:lnTo>
                  <a:pt x="91" y="1315"/>
                </a:lnTo>
                <a:lnTo>
                  <a:pt x="91" y="1314"/>
                </a:lnTo>
                <a:lnTo>
                  <a:pt x="92" y="1314"/>
                </a:lnTo>
                <a:lnTo>
                  <a:pt x="92" y="1315"/>
                </a:lnTo>
                <a:lnTo>
                  <a:pt x="93" y="1315"/>
                </a:lnTo>
                <a:lnTo>
                  <a:pt x="93" y="1311"/>
                </a:lnTo>
                <a:lnTo>
                  <a:pt x="91" y="1314"/>
                </a:lnTo>
                <a:lnTo>
                  <a:pt x="89" y="1314"/>
                </a:lnTo>
                <a:lnTo>
                  <a:pt x="88" y="1315"/>
                </a:lnTo>
                <a:lnTo>
                  <a:pt x="86" y="1316"/>
                </a:lnTo>
                <a:lnTo>
                  <a:pt x="85" y="1316"/>
                </a:lnTo>
                <a:lnTo>
                  <a:pt x="86" y="1315"/>
                </a:lnTo>
                <a:lnTo>
                  <a:pt x="87" y="1313"/>
                </a:lnTo>
                <a:lnTo>
                  <a:pt x="87" y="1311"/>
                </a:lnTo>
                <a:lnTo>
                  <a:pt x="85" y="1315"/>
                </a:lnTo>
                <a:lnTo>
                  <a:pt x="83" y="1315"/>
                </a:lnTo>
                <a:lnTo>
                  <a:pt x="83" y="1313"/>
                </a:lnTo>
                <a:lnTo>
                  <a:pt x="82" y="1313"/>
                </a:lnTo>
                <a:lnTo>
                  <a:pt x="82" y="1314"/>
                </a:lnTo>
                <a:lnTo>
                  <a:pt x="81" y="1314"/>
                </a:lnTo>
                <a:lnTo>
                  <a:pt x="79" y="1311"/>
                </a:lnTo>
                <a:lnTo>
                  <a:pt x="81" y="1310"/>
                </a:lnTo>
                <a:lnTo>
                  <a:pt x="86" y="1310"/>
                </a:lnTo>
                <a:lnTo>
                  <a:pt x="87" y="1309"/>
                </a:lnTo>
                <a:lnTo>
                  <a:pt x="82" y="1309"/>
                </a:lnTo>
                <a:lnTo>
                  <a:pt x="79" y="1305"/>
                </a:lnTo>
                <a:lnTo>
                  <a:pt x="77" y="1305"/>
                </a:lnTo>
                <a:lnTo>
                  <a:pt x="80" y="1309"/>
                </a:lnTo>
                <a:lnTo>
                  <a:pt x="79" y="1310"/>
                </a:lnTo>
                <a:lnTo>
                  <a:pt x="76" y="1310"/>
                </a:lnTo>
                <a:lnTo>
                  <a:pt x="75" y="1309"/>
                </a:lnTo>
                <a:lnTo>
                  <a:pt x="76" y="1308"/>
                </a:lnTo>
                <a:lnTo>
                  <a:pt x="76" y="1307"/>
                </a:lnTo>
                <a:lnTo>
                  <a:pt x="75" y="1305"/>
                </a:lnTo>
                <a:lnTo>
                  <a:pt x="75" y="1309"/>
                </a:lnTo>
                <a:lnTo>
                  <a:pt x="74" y="1310"/>
                </a:lnTo>
                <a:lnTo>
                  <a:pt x="75" y="1310"/>
                </a:lnTo>
                <a:lnTo>
                  <a:pt x="75" y="1311"/>
                </a:lnTo>
                <a:lnTo>
                  <a:pt x="76" y="1313"/>
                </a:lnTo>
                <a:lnTo>
                  <a:pt x="77" y="1313"/>
                </a:lnTo>
                <a:lnTo>
                  <a:pt x="77" y="1314"/>
                </a:lnTo>
                <a:lnTo>
                  <a:pt x="79" y="1314"/>
                </a:lnTo>
                <a:lnTo>
                  <a:pt x="79" y="1315"/>
                </a:lnTo>
                <a:lnTo>
                  <a:pt x="75" y="1315"/>
                </a:lnTo>
                <a:lnTo>
                  <a:pt x="71" y="1314"/>
                </a:lnTo>
                <a:lnTo>
                  <a:pt x="70" y="1314"/>
                </a:lnTo>
                <a:lnTo>
                  <a:pt x="68" y="1311"/>
                </a:lnTo>
                <a:lnTo>
                  <a:pt x="68" y="1310"/>
                </a:lnTo>
                <a:lnTo>
                  <a:pt x="69" y="1309"/>
                </a:lnTo>
                <a:lnTo>
                  <a:pt x="69" y="1308"/>
                </a:lnTo>
                <a:lnTo>
                  <a:pt x="70" y="1307"/>
                </a:lnTo>
                <a:lnTo>
                  <a:pt x="70" y="1305"/>
                </a:lnTo>
                <a:lnTo>
                  <a:pt x="74" y="1305"/>
                </a:lnTo>
                <a:lnTo>
                  <a:pt x="73" y="1304"/>
                </a:lnTo>
                <a:lnTo>
                  <a:pt x="74" y="1303"/>
                </a:lnTo>
                <a:lnTo>
                  <a:pt x="76" y="1302"/>
                </a:lnTo>
                <a:lnTo>
                  <a:pt x="77" y="1301"/>
                </a:lnTo>
                <a:lnTo>
                  <a:pt x="81" y="1298"/>
                </a:lnTo>
                <a:lnTo>
                  <a:pt x="79" y="1298"/>
                </a:lnTo>
                <a:lnTo>
                  <a:pt x="75" y="1302"/>
                </a:lnTo>
                <a:lnTo>
                  <a:pt x="74" y="1302"/>
                </a:lnTo>
                <a:lnTo>
                  <a:pt x="71" y="1298"/>
                </a:lnTo>
                <a:lnTo>
                  <a:pt x="73" y="1296"/>
                </a:lnTo>
                <a:lnTo>
                  <a:pt x="74" y="1296"/>
                </a:lnTo>
                <a:lnTo>
                  <a:pt x="75" y="1295"/>
                </a:lnTo>
                <a:lnTo>
                  <a:pt x="74" y="1294"/>
                </a:lnTo>
                <a:lnTo>
                  <a:pt x="73" y="1294"/>
                </a:lnTo>
                <a:lnTo>
                  <a:pt x="73" y="1295"/>
                </a:lnTo>
                <a:lnTo>
                  <a:pt x="71" y="1295"/>
                </a:lnTo>
                <a:lnTo>
                  <a:pt x="71" y="1301"/>
                </a:lnTo>
                <a:lnTo>
                  <a:pt x="69" y="1301"/>
                </a:lnTo>
                <a:lnTo>
                  <a:pt x="67" y="1298"/>
                </a:lnTo>
                <a:lnTo>
                  <a:pt x="62" y="1298"/>
                </a:lnTo>
                <a:lnTo>
                  <a:pt x="60" y="1297"/>
                </a:lnTo>
                <a:lnTo>
                  <a:pt x="57" y="1295"/>
                </a:lnTo>
                <a:lnTo>
                  <a:pt x="56" y="1295"/>
                </a:lnTo>
                <a:lnTo>
                  <a:pt x="55" y="1294"/>
                </a:lnTo>
                <a:lnTo>
                  <a:pt x="54" y="1294"/>
                </a:lnTo>
                <a:lnTo>
                  <a:pt x="49" y="1291"/>
                </a:lnTo>
                <a:lnTo>
                  <a:pt x="46" y="1289"/>
                </a:lnTo>
                <a:lnTo>
                  <a:pt x="45" y="1289"/>
                </a:lnTo>
                <a:lnTo>
                  <a:pt x="44" y="1288"/>
                </a:lnTo>
                <a:lnTo>
                  <a:pt x="44" y="1283"/>
                </a:lnTo>
                <a:lnTo>
                  <a:pt x="43" y="1282"/>
                </a:lnTo>
                <a:lnTo>
                  <a:pt x="38" y="1282"/>
                </a:lnTo>
                <a:lnTo>
                  <a:pt x="37" y="1280"/>
                </a:lnTo>
                <a:lnTo>
                  <a:pt x="36" y="1278"/>
                </a:lnTo>
                <a:lnTo>
                  <a:pt x="32" y="1278"/>
                </a:lnTo>
                <a:lnTo>
                  <a:pt x="30" y="1276"/>
                </a:lnTo>
                <a:lnTo>
                  <a:pt x="31" y="1274"/>
                </a:lnTo>
                <a:lnTo>
                  <a:pt x="29" y="1272"/>
                </a:lnTo>
                <a:lnTo>
                  <a:pt x="27" y="1270"/>
                </a:lnTo>
                <a:lnTo>
                  <a:pt x="26" y="1266"/>
                </a:lnTo>
                <a:lnTo>
                  <a:pt x="25" y="1264"/>
                </a:lnTo>
                <a:lnTo>
                  <a:pt x="25" y="1262"/>
                </a:lnTo>
                <a:lnTo>
                  <a:pt x="24" y="1261"/>
                </a:lnTo>
                <a:lnTo>
                  <a:pt x="23" y="1259"/>
                </a:lnTo>
                <a:lnTo>
                  <a:pt x="25" y="1256"/>
                </a:lnTo>
                <a:lnTo>
                  <a:pt x="25" y="1255"/>
                </a:lnTo>
                <a:lnTo>
                  <a:pt x="26" y="1254"/>
                </a:lnTo>
                <a:lnTo>
                  <a:pt x="26" y="1253"/>
                </a:lnTo>
                <a:lnTo>
                  <a:pt x="25" y="1251"/>
                </a:lnTo>
                <a:lnTo>
                  <a:pt x="25" y="1249"/>
                </a:lnTo>
                <a:lnTo>
                  <a:pt x="26" y="1249"/>
                </a:lnTo>
                <a:lnTo>
                  <a:pt x="26" y="1248"/>
                </a:lnTo>
                <a:lnTo>
                  <a:pt x="27" y="1248"/>
                </a:lnTo>
                <a:lnTo>
                  <a:pt x="27" y="1247"/>
                </a:lnTo>
                <a:lnTo>
                  <a:pt x="26" y="1247"/>
                </a:lnTo>
                <a:lnTo>
                  <a:pt x="26" y="1245"/>
                </a:lnTo>
                <a:lnTo>
                  <a:pt x="25" y="1243"/>
                </a:lnTo>
                <a:lnTo>
                  <a:pt x="25" y="1242"/>
                </a:lnTo>
                <a:lnTo>
                  <a:pt x="26" y="1242"/>
                </a:lnTo>
                <a:lnTo>
                  <a:pt x="26" y="1243"/>
                </a:lnTo>
                <a:lnTo>
                  <a:pt x="27" y="1243"/>
                </a:lnTo>
                <a:lnTo>
                  <a:pt x="29" y="1246"/>
                </a:lnTo>
                <a:lnTo>
                  <a:pt x="29" y="1247"/>
                </a:lnTo>
                <a:lnTo>
                  <a:pt x="30" y="1245"/>
                </a:lnTo>
                <a:lnTo>
                  <a:pt x="29" y="1245"/>
                </a:lnTo>
                <a:lnTo>
                  <a:pt x="27" y="1243"/>
                </a:lnTo>
                <a:lnTo>
                  <a:pt x="26" y="1241"/>
                </a:lnTo>
                <a:lnTo>
                  <a:pt x="27" y="1241"/>
                </a:lnTo>
                <a:lnTo>
                  <a:pt x="27" y="1240"/>
                </a:lnTo>
                <a:lnTo>
                  <a:pt x="25" y="1240"/>
                </a:lnTo>
                <a:lnTo>
                  <a:pt x="25" y="1239"/>
                </a:lnTo>
                <a:lnTo>
                  <a:pt x="26" y="1239"/>
                </a:lnTo>
                <a:lnTo>
                  <a:pt x="26" y="1236"/>
                </a:lnTo>
                <a:lnTo>
                  <a:pt x="33" y="1241"/>
                </a:lnTo>
                <a:lnTo>
                  <a:pt x="32" y="1243"/>
                </a:lnTo>
                <a:lnTo>
                  <a:pt x="32" y="1248"/>
                </a:lnTo>
                <a:lnTo>
                  <a:pt x="33" y="1249"/>
                </a:lnTo>
                <a:lnTo>
                  <a:pt x="33" y="1245"/>
                </a:lnTo>
                <a:lnTo>
                  <a:pt x="37" y="1245"/>
                </a:lnTo>
                <a:lnTo>
                  <a:pt x="37" y="1242"/>
                </a:lnTo>
                <a:lnTo>
                  <a:pt x="40" y="1242"/>
                </a:lnTo>
                <a:lnTo>
                  <a:pt x="43" y="1245"/>
                </a:lnTo>
                <a:lnTo>
                  <a:pt x="43" y="1246"/>
                </a:lnTo>
                <a:lnTo>
                  <a:pt x="49" y="1252"/>
                </a:lnTo>
                <a:lnTo>
                  <a:pt x="54" y="1252"/>
                </a:lnTo>
                <a:lnTo>
                  <a:pt x="50" y="1251"/>
                </a:lnTo>
                <a:lnTo>
                  <a:pt x="49" y="1251"/>
                </a:lnTo>
                <a:lnTo>
                  <a:pt x="49" y="1249"/>
                </a:lnTo>
                <a:lnTo>
                  <a:pt x="48" y="1248"/>
                </a:lnTo>
                <a:lnTo>
                  <a:pt x="48" y="1246"/>
                </a:lnTo>
                <a:lnTo>
                  <a:pt x="50" y="1243"/>
                </a:lnTo>
                <a:lnTo>
                  <a:pt x="50" y="1242"/>
                </a:lnTo>
                <a:lnTo>
                  <a:pt x="54" y="1240"/>
                </a:lnTo>
                <a:lnTo>
                  <a:pt x="71" y="1235"/>
                </a:lnTo>
                <a:lnTo>
                  <a:pt x="71" y="1234"/>
                </a:lnTo>
                <a:lnTo>
                  <a:pt x="60" y="1236"/>
                </a:lnTo>
                <a:lnTo>
                  <a:pt x="57" y="1237"/>
                </a:lnTo>
                <a:lnTo>
                  <a:pt x="52" y="1239"/>
                </a:lnTo>
                <a:lnTo>
                  <a:pt x="50" y="1240"/>
                </a:lnTo>
                <a:lnTo>
                  <a:pt x="46" y="1247"/>
                </a:lnTo>
                <a:lnTo>
                  <a:pt x="44" y="1243"/>
                </a:lnTo>
                <a:lnTo>
                  <a:pt x="44" y="1240"/>
                </a:lnTo>
                <a:lnTo>
                  <a:pt x="46" y="1240"/>
                </a:lnTo>
                <a:lnTo>
                  <a:pt x="48" y="1239"/>
                </a:lnTo>
                <a:lnTo>
                  <a:pt x="46" y="1239"/>
                </a:lnTo>
                <a:lnTo>
                  <a:pt x="46" y="1237"/>
                </a:lnTo>
                <a:lnTo>
                  <a:pt x="43" y="1237"/>
                </a:lnTo>
                <a:lnTo>
                  <a:pt x="39" y="1234"/>
                </a:lnTo>
                <a:lnTo>
                  <a:pt x="39" y="1231"/>
                </a:lnTo>
                <a:lnTo>
                  <a:pt x="40" y="1230"/>
                </a:lnTo>
                <a:lnTo>
                  <a:pt x="42" y="1230"/>
                </a:lnTo>
                <a:lnTo>
                  <a:pt x="46" y="1229"/>
                </a:lnTo>
                <a:lnTo>
                  <a:pt x="48" y="1228"/>
                </a:lnTo>
                <a:lnTo>
                  <a:pt x="50" y="1228"/>
                </a:lnTo>
                <a:lnTo>
                  <a:pt x="50" y="1227"/>
                </a:lnTo>
                <a:lnTo>
                  <a:pt x="45" y="1227"/>
                </a:lnTo>
                <a:lnTo>
                  <a:pt x="48" y="1222"/>
                </a:lnTo>
                <a:lnTo>
                  <a:pt x="52" y="1217"/>
                </a:lnTo>
                <a:lnTo>
                  <a:pt x="56" y="1216"/>
                </a:lnTo>
                <a:lnTo>
                  <a:pt x="58" y="1213"/>
                </a:lnTo>
                <a:lnTo>
                  <a:pt x="61" y="1212"/>
                </a:lnTo>
                <a:lnTo>
                  <a:pt x="58" y="1212"/>
                </a:lnTo>
                <a:lnTo>
                  <a:pt x="54" y="1216"/>
                </a:lnTo>
                <a:lnTo>
                  <a:pt x="51" y="1217"/>
                </a:lnTo>
                <a:lnTo>
                  <a:pt x="50" y="1216"/>
                </a:lnTo>
                <a:lnTo>
                  <a:pt x="49" y="1213"/>
                </a:lnTo>
                <a:lnTo>
                  <a:pt x="55" y="1213"/>
                </a:lnTo>
                <a:lnTo>
                  <a:pt x="55" y="1212"/>
                </a:lnTo>
                <a:lnTo>
                  <a:pt x="54" y="1211"/>
                </a:lnTo>
                <a:lnTo>
                  <a:pt x="54" y="1212"/>
                </a:lnTo>
                <a:lnTo>
                  <a:pt x="52" y="1212"/>
                </a:lnTo>
                <a:lnTo>
                  <a:pt x="51" y="1211"/>
                </a:lnTo>
                <a:lnTo>
                  <a:pt x="50" y="1212"/>
                </a:lnTo>
                <a:lnTo>
                  <a:pt x="49" y="1212"/>
                </a:lnTo>
                <a:lnTo>
                  <a:pt x="48" y="1211"/>
                </a:lnTo>
                <a:lnTo>
                  <a:pt x="46" y="1212"/>
                </a:lnTo>
                <a:lnTo>
                  <a:pt x="45" y="1212"/>
                </a:lnTo>
                <a:lnTo>
                  <a:pt x="45" y="1210"/>
                </a:lnTo>
                <a:lnTo>
                  <a:pt x="46" y="1209"/>
                </a:lnTo>
                <a:lnTo>
                  <a:pt x="46" y="1208"/>
                </a:lnTo>
                <a:lnTo>
                  <a:pt x="48" y="1206"/>
                </a:lnTo>
                <a:lnTo>
                  <a:pt x="49" y="1206"/>
                </a:lnTo>
                <a:lnTo>
                  <a:pt x="52" y="1203"/>
                </a:lnTo>
                <a:lnTo>
                  <a:pt x="54" y="1204"/>
                </a:lnTo>
                <a:lnTo>
                  <a:pt x="54" y="1202"/>
                </a:lnTo>
                <a:lnTo>
                  <a:pt x="55" y="1200"/>
                </a:lnTo>
                <a:lnTo>
                  <a:pt x="55" y="1197"/>
                </a:lnTo>
                <a:lnTo>
                  <a:pt x="63" y="1193"/>
                </a:lnTo>
                <a:lnTo>
                  <a:pt x="68" y="1193"/>
                </a:lnTo>
                <a:lnTo>
                  <a:pt x="67" y="1192"/>
                </a:lnTo>
                <a:lnTo>
                  <a:pt x="60" y="1193"/>
                </a:lnTo>
                <a:lnTo>
                  <a:pt x="56" y="1196"/>
                </a:lnTo>
                <a:lnTo>
                  <a:pt x="55" y="1196"/>
                </a:lnTo>
                <a:lnTo>
                  <a:pt x="56" y="1194"/>
                </a:lnTo>
                <a:lnTo>
                  <a:pt x="56" y="1193"/>
                </a:lnTo>
                <a:lnTo>
                  <a:pt x="57" y="1192"/>
                </a:lnTo>
                <a:lnTo>
                  <a:pt x="57" y="1186"/>
                </a:lnTo>
                <a:lnTo>
                  <a:pt x="58" y="1185"/>
                </a:lnTo>
                <a:lnTo>
                  <a:pt x="57" y="1185"/>
                </a:lnTo>
                <a:lnTo>
                  <a:pt x="56" y="1187"/>
                </a:lnTo>
                <a:lnTo>
                  <a:pt x="56" y="1192"/>
                </a:lnTo>
                <a:lnTo>
                  <a:pt x="55" y="1193"/>
                </a:lnTo>
                <a:lnTo>
                  <a:pt x="55" y="1196"/>
                </a:lnTo>
                <a:lnTo>
                  <a:pt x="54" y="1197"/>
                </a:lnTo>
                <a:lnTo>
                  <a:pt x="52" y="1200"/>
                </a:lnTo>
                <a:lnTo>
                  <a:pt x="51" y="1202"/>
                </a:lnTo>
                <a:lnTo>
                  <a:pt x="49" y="1203"/>
                </a:lnTo>
                <a:lnTo>
                  <a:pt x="49" y="1204"/>
                </a:lnTo>
                <a:lnTo>
                  <a:pt x="46" y="1205"/>
                </a:lnTo>
                <a:lnTo>
                  <a:pt x="46" y="1206"/>
                </a:lnTo>
                <a:lnTo>
                  <a:pt x="45" y="1205"/>
                </a:lnTo>
                <a:lnTo>
                  <a:pt x="45" y="1204"/>
                </a:lnTo>
                <a:lnTo>
                  <a:pt x="44" y="1204"/>
                </a:lnTo>
                <a:lnTo>
                  <a:pt x="44" y="1206"/>
                </a:lnTo>
                <a:lnTo>
                  <a:pt x="45" y="1206"/>
                </a:lnTo>
                <a:lnTo>
                  <a:pt x="45" y="1208"/>
                </a:lnTo>
                <a:lnTo>
                  <a:pt x="43" y="1210"/>
                </a:lnTo>
                <a:lnTo>
                  <a:pt x="42" y="1210"/>
                </a:lnTo>
                <a:lnTo>
                  <a:pt x="42" y="1208"/>
                </a:lnTo>
                <a:lnTo>
                  <a:pt x="40" y="1208"/>
                </a:lnTo>
                <a:lnTo>
                  <a:pt x="40" y="1202"/>
                </a:lnTo>
                <a:lnTo>
                  <a:pt x="42" y="1203"/>
                </a:lnTo>
                <a:lnTo>
                  <a:pt x="51" y="1199"/>
                </a:lnTo>
                <a:lnTo>
                  <a:pt x="51" y="1198"/>
                </a:lnTo>
                <a:lnTo>
                  <a:pt x="50" y="1198"/>
                </a:lnTo>
                <a:lnTo>
                  <a:pt x="48" y="1199"/>
                </a:lnTo>
                <a:lnTo>
                  <a:pt x="46" y="1200"/>
                </a:lnTo>
                <a:lnTo>
                  <a:pt x="40" y="1199"/>
                </a:lnTo>
                <a:lnTo>
                  <a:pt x="39" y="1199"/>
                </a:lnTo>
                <a:lnTo>
                  <a:pt x="39" y="1197"/>
                </a:lnTo>
                <a:lnTo>
                  <a:pt x="38" y="1197"/>
                </a:lnTo>
                <a:lnTo>
                  <a:pt x="38" y="1194"/>
                </a:lnTo>
                <a:lnTo>
                  <a:pt x="37" y="1194"/>
                </a:lnTo>
                <a:lnTo>
                  <a:pt x="36" y="1196"/>
                </a:lnTo>
                <a:lnTo>
                  <a:pt x="37" y="1198"/>
                </a:lnTo>
                <a:lnTo>
                  <a:pt x="37" y="1200"/>
                </a:lnTo>
                <a:lnTo>
                  <a:pt x="35" y="1203"/>
                </a:lnTo>
                <a:lnTo>
                  <a:pt x="33" y="1202"/>
                </a:lnTo>
                <a:lnTo>
                  <a:pt x="33" y="1203"/>
                </a:lnTo>
                <a:lnTo>
                  <a:pt x="32" y="1204"/>
                </a:lnTo>
                <a:lnTo>
                  <a:pt x="30" y="1205"/>
                </a:lnTo>
                <a:lnTo>
                  <a:pt x="31" y="1205"/>
                </a:lnTo>
                <a:lnTo>
                  <a:pt x="33" y="1204"/>
                </a:lnTo>
                <a:lnTo>
                  <a:pt x="37" y="1204"/>
                </a:lnTo>
                <a:lnTo>
                  <a:pt x="39" y="1208"/>
                </a:lnTo>
                <a:lnTo>
                  <a:pt x="39" y="1210"/>
                </a:lnTo>
                <a:lnTo>
                  <a:pt x="38" y="1210"/>
                </a:lnTo>
                <a:lnTo>
                  <a:pt x="36" y="1211"/>
                </a:lnTo>
                <a:lnTo>
                  <a:pt x="35" y="1210"/>
                </a:lnTo>
                <a:lnTo>
                  <a:pt x="35" y="1211"/>
                </a:lnTo>
                <a:lnTo>
                  <a:pt x="32" y="1211"/>
                </a:lnTo>
                <a:lnTo>
                  <a:pt x="32" y="1213"/>
                </a:lnTo>
                <a:lnTo>
                  <a:pt x="31" y="1213"/>
                </a:lnTo>
                <a:lnTo>
                  <a:pt x="30" y="1215"/>
                </a:lnTo>
                <a:lnTo>
                  <a:pt x="29" y="1215"/>
                </a:lnTo>
                <a:lnTo>
                  <a:pt x="29" y="1213"/>
                </a:lnTo>
                <a:lnTo>
                  <a:pt x="30" y="1212"/>
                </a:lnTo>
                <a:lnTo>
                  <a:pt x="30" y="1210"/>
                </a:lnTo>
                <a:lnTo>
                  <a:pt x="29" y="1206"/>
                </a:lnTo>
                <a:lnTo>
                  <a:pt x="27" y="1205"/>
                </a:lnTo>
                <a:lnTo>
                  <a:pt x="27" y="1213"/>
                </a:lnTo>
                <a:lnTo>
                  <a:pt x="25" y="1216"/>
                </a:lnTo>
                <a:lnTo>
                  <a:pt x="23" y="1216"/>
                </a:lnTo>
                <a:lnTo>
                  <a:pt x="23" y="1215"/>
                </a:lnTo>
                <a:lnTo>
                  <a:pt x="20" y="1212"/>
                </a:lnTo>
                <a:lnTo>
                  <a:pt x="21" y="1210"/>
                </a:lnTo>
                <a:lnTo>
                  <a:pt x="21" y="1205"/>
                </a:lnTo>
                <a:lnTo>
                  <a:pt x="20" y="1206"/>
                </a:lnTo>
                <a:lnTo>
                  <a:pt x="20" y="1215"/>
                </a:lnTo>
                <a:lnTo>
                  <a:pt x="19" y="1215"/>
                </a:lnTo>
                <a:lnTo>
                  <a:pt x="19" y="1212"/>
                </a:lnTo>
                <a:lnTo>
                  <a:pt x="18" y="1211"/>
                </a:lnTo>
                <a:lnTo>
                  <a:pt x="18" y="1205"/>
                </a:lnTo>
                <a:lnTo>
                  <a:pt x="17" y="1205"/>
                </a:lnTo>
                <a:lnTo>
                  <a:pt x="17" y="1210"/>
                </a:lnTo>
                <a:lnTo>
                  <a:pt x="15" y="1211"/>
                </a:lnTo>
                <a:lnTo>
                  <a:pt x="13" y="1204"/>
                </a:lnTo>
                <a:lnTo>
                  <a:pt x="12" y="1204"/>
                </a:lnTo>
                <a:lnTo>
                  <a:pt x="11" y="1203"/>
                </a:lnTo>
                <a:lnTo>
                  <a:pt x="11" y="1197"/>
                </a:lnTo>
                <a:lnTo>
                  <a:pt x="12" y="1196"/>
                </a:lnTo>
                <a:lnTo>
                  <a:pt x="13" y="1196"/>
                </a:lnTo>
                <a:lnTo>
                  <a:pt x="12" y="1194"/>
                </a:lnTo>
                <a:lnTo>
                  <a:pt x="12" y="1193"/>
                </a:lnTo>
                <a:lnTo>
                  <a:pt x="13" y="1193"/>
                </a:lnTo>
                <a:lnTo>
                  <a:pt x="15" y="1190"/>
                </a:lnTo>
                <a:lnTo>
                  <a:pt x="15" y="1187"/>
                </a:lnTo>
                <a:lnTo>
                  <a:pt x="17" y="1186"/>
                </a:lnTo>
                <a:lnTo>
                  <a:pt x="18" y="1186"/>
                </a:lnTo>
                <a:lnTo>
                  <a:pt x="18" y="1185"/>
                </a:lnTo>
                <a:lnTo>
                  <a:pt x="19" y="1185"/>
                </a:lnTo>
                <a:lnTo>
                  <a:pt x="19" y="1186"/>
                </a:lnTo>
                <a:lnTo>
                  <a:pt x="20" y="1188"/>
                </a:lnTo>
                <a:lnTo>
                  <a:pt x="21" y="1187"/>
                </a:lnTo>
                <a:lnTo>
                  <a:pt x="21" y="1186"/>
                </a:lnTo>
                <a:lnTo>
                  <a:pt x="20" y="1185"/>
                </a:lnTo>
                <a:lnTo>
                  <a:pt x="20" y="1182"/>
                </a:lnTo>
                <a:lnTo>
                  <a:pt x="21" y="1180"/>
                </a:lnTo>
                <a:lnTo>
                  <a:pt x="24" y="1178"/>
                </a:lnTo>
                <a:lnTo>
                  <a:pt x="24" y="1187"/>
                </a:lnTo>
                <a:lnTo>
                  <a:pt x="23" y="1187"/>
                </a:lnTo>
                <a:lnTo>
                  <a:pt x="24" y="1188"/>
                </a:lnTo>
                <a:lnTo>
                  <a:pt x="24" y="1192"/>
                </a:lnTo>
                <a:lnTo>
                  <a:pt x="21" y="1194"/>
                </a:lnTo>
                <a:lnTo>
                  <a:pt x="20" y="1194"/>
                </a:lnTo>
                <a:lnTo>
                  <a:pt x="20" y="1197"/>
                </a:lnTo>
                <a:lnTo>
                  <a:pt x="21" y="1197"/>
                </a:lnTo>
                <a:lnTo>
                  <a:pt x="24" y="1194"/>
                </a:lnTo>
                <a:lnTo>
                  <a:pt x="25" y="1194"/>
                </a:lnTo>
                <a:lnTo>
                  <a:pt x="25" y="1191"/>
                </a:lnTo>
                <a:lnTo>
                  <a:pt x="26" y="1190"/>
                </a:lnTo>
                <a:lnTo>
                  <a:pt x="25" y="1188"/>
                </a:lnTo>
                <a:lnTo>
                  <a:pt x="25" y="1186"/>
                </a:lnTo>
                <a:lnTo>
                  <a:pt x="26" y="1184"/>
                </a:lnTo>
                <a:lnTo>
                  <a:pt x="26" y="1182"/>
                </a:lnTo>
                <a:lnTo>
                  <a:pt x="27" y="1182"/>
                </a:lnTo>
                <a:lnTo>
                  <a:pt x="29" y="1184"/>
                </a:lnTo>
                <a:lnTo>
                  <a:pt x="33" y="1184"/>
                </a:lnTo>
                <a:lnTo>
                  <a:pt x="33" y="1188"/>
                </a:lnTo>
                <a:lnTo>
                  <a:pt x="35" y="1188"/>
                </a:lnTo>
                <a:lnTo>
                  <a:pt x="36" y="1187"/>
                </a:lnTo>
                <a:lnTo>
                  <a:pt x="36" y="1185"/>
                </a:lnTo>
                <a:lnTo>
                  <a:pt x="40" y="1185"/>
                </a:lnTo>
                <a:lnTo>
                  <a:pt x="40" y="1182"/>
                </a:lnTo>
                <a:lnTo>
                  <a:pt x="36" y="1185"/>
                </a:lnTo>
                <a:lnTo>
                  <a:pt x="35" y="1184"/>
                </a:lnTo>
                <a:lnTo>
                  <a:pt x="35" y="1182"/>
                </a:lnTo>
                <a:lnTo>
                  <a:pt x="37" y="1180"/>
                </a:lnTo>
                <a:lnTo>
                  <a:pt x="37" y="1179"/>
                </a:lnTo>
                <a:lnTo>
                  <a:pt x="39" y="1178"/>
                </a:lnTo>
                <a:lnTo>
                  <a:pt x="40" y="1178"/>
                </a:lnTo>
                <a:lnTo>
                  <a:pt x="40" y="1175"/>
                </a:lnTo>
                <a:lnTo>
                  <a:pt x="42" y="1175"/>
                </a:lnTo>
                <a:lnTo>
                  <a:pt x="42" y="1176"/>
                </a:lnTo>
                <a:lnTo>
                  <a:pt x="43" y="1178"/>
                </a:lnTo>
                <a:lnTo>
                  <a:pt x="46" y="1178"/>
                </a:lnTo>
                <a:lnTo>
                  <a:pt x="52" y="1173"/>
                </a:lnTo>
                <a:lnTo>
                  <a:pt x="52" y="1172"/>
                </a:lnTo>
                <a:lnTo>
                  <a:pt x="54" y="1172"/>
                </a:lnTo>
                <a:lnTo>
                  <a:pt x="54" y="1170"/>
                </a:lnTo>
                <a:lnTo>
                  <a:pt x="57" y="1169"/>
                </a:lnTo>
                <a:lnTo>
                  <a:pt x="58" y="1168"/>
                </a:lnTo>
                <a:lnTo>
                  <a:pt x="56" y="1169"/>
                </a:lnTo>
                <a:lnTo>
                  <a:pt x="50" y="1172"/>
                </a:lnTo>
                <a:lnTo>
                  <a:pt x="46" y="1175"/>
                </a:lnTo>
                <a:lnTo>
                  <a:pt x="46" y="1176"/>
                </a:lnTo>
                <a:lnTo>
                  <a:pt x="44" y="1176"/>
                </a:lnTo>
                <a:lnTo>
                  <a:pt x="43" y="1175"/>
                </a:lnTo>
                <a:lnTo>
                  <a:pt x="43" y="1169"/>
                </a:lnTo>
                <a:lnTo>
                  <a:pt x="42" y="1170"/>
                </a:lnTo>
                <a:lnTo>
                  <a:pt x="42" y="1173"/>
                </a:lnTo>
                <a:lnTo>
                  <a:pt x="39" y="1175"/>
                </a:lnTo>
                <a:lnTo>
                  <a:pt x="38" y="1175"/>
                </a:lnTo>
                <a:lnTo>
                  <a:pt x="37" y="1174"/>
                </a:lnTo>
                <a:lnTo>
                  <a:pt x="36" y="1174"/>
                </a:lnTo>
                <a:lnTo>
                  <a:pt x="35" y="1172"/>
                </a:lnTo>
                <a:lnTo>
                  <a:pt x="33" y="1170"/>
                </a:lnTo>
                <a:lnTo>
                  <a:pt x="33" y="1168"/>
                </a:lnTo>
                <a:lnTo>
                  <a:pt x="32" y="1168"/>
                </a:lnTo>
                <a:lnTo>
                  <a:pt x="32" y="1169"/>
                </a:lnTo>
                <a:lnTo>
                  <a:pt x="31" y="1169"/>
                </a:lnTo>
                <a:lnTo>
                  <a:pt x="30" y="1168"/>
                </a:lnTo>
                <a:lnTo>
                  <a:pt x="31" y="1168"/>
                </a:lnTo>
                <a:lnTo>
                  <a:pt x="32" y="1167"/>
                </a:lnTo>
                <a:lnTo>
                  <a:pt x="35" y="1166"/>
                </a:lnTo>
                <a:lnTo>
                  <a:pt x="35" y="1163"/>
                </a:lnTo>
                <a:lnTo>
                  <a:pt x="37" y="1161"/>
                </a:lnTo>
                <a:lnTo>
                  <a:pt x="39" y="1160"/>
                </a:lnTo>
                <a:lnTo>
                  <a:pt x="44" y="1160"/>
                </a:lnTo>
                <a:lnTo>
                  <a:pt x="44" y="1157"/>
                </a:lnTo>
                <a:lnTo>
                  <a:pt x="43" y="1156"/>
                </a:lnTo>
                <a:lnTo>
                  <a:pt x="45" y="1151"/>
                </a:lnTo>
                <a:lnTo>
                  <a:pt x="49" y="1148"/>
                </a:lnTo>
                <a:lnTo>
                  <a:pt x="57" y="1145"/>
                </a:lnTo>
                <a:lnTo>
                  <a:pt x="56" y="1145"/>
                </a:lnTo>
                <a:lnTo>
                  <a:pt x="56" y="1142"/>
                </a:lnTo>
                <a:lnTo>
                  <a:pt x="54" y="1144"/>
                </a:lnTo>
                <a:lnTo>
                  <a:pt x="54" y="1145"/>
                </a:lnTo>
                <a:lnTo>
                  <a:pt x="52" y="1147"/>
                </a:lnTo>
                <a:lnTo>
                  <a:pt x="50" y="1147"/>
                </a:lnTo>
                <a:lnTo>
                  <a:pt x="50" y="1144"/>
                </a:lnTo>
                <a:lnTo>
                  <a:pt x="49" y="1142"/>
                </a:lnTo>
                <a:lnTo>
                  <a:pt x="49" y="1139"/>
                </a:lnTo>
                <a:lnTo>
                  <a:pt x="52" y="1136"/>
                </a:lnTo>
                <a:lnTo>
                  <a:pt x="52" y="1133"/>
                </a:lnTo>
                <a:lnTo>
                  <a:pt x="54" y="1132"/>
                </a:lnTo>
                <a:lnTo>
                  <a:pt x="54" y="1130"/>
                </a:lnTo>
                <a:lnTo>
                  <a:pt x="56" y="1130"/>
                </a:lnTo>
                <a:lnTo>
                  <a:pt x="58" y="1128"/>
                </a:lnTo>
                <a:lnTo>
                  <a:pt x="58" y="1126"/>
                </a:lnTo>
                <a:lnTo>
                  <a:pt x="60" y="1126"/>
                </a:lnTo>
                <a:lnTo>
                  <a:pt x="60" y="1125"/>
                </a:lnTo>
                <a:lnTo>
                  <a:pt x="61" y="1124"/>
                </a:lnTo>
                <a:lnTo>
                  <a:pt x="63" y="1124"/>
                </a:lnTo>
                <a:lnTo>
                  <a:pt x="63" y="1123"/>
                </a:lnTo>
                <a:lnTo>
                  <a:pt x="67" y="1119"/>
                </a:lnTo>
                <a:lnTo>
                  <a:pt x="69" y="1119"/>
                </a:lnTo>
                <a:lnTo>
                  <a:pt x="73" y="1120"/>
                </a:lnTo>
                <a:lnTo>
                  <a:pt x="69" y="1128"/>
                </a:lnTo>
                <a:lnTo>
                  <a:pt x="69" y="1131"/>
                </a:lnTo>
                <a:lnTo>
                  <a:pt x="68" y="1132"/>
                </a:lnTo>
                <a:lnTo>
                  <a:pt x="68" y="1133"/>
                </a:lnTo>
                <a:lnTo>
                  <a:pt x="67" y="1141"/>
                </a:lnTo>
                <a:lnTo>
                  <a:pt x="67" y="1144"/>
                </a:lnTo>
                <a:lnTo>
                  <a:pt x="68" y="1142"/>
                </a:lnTo>
                <a:lnTo>
                  <a:pt x="68" y="1141"/>
                </a:lnTo>
                <a:lnTo>
                  <a:pt x="69" y="1137"/>
                </a:lnTo>
                <a:lnTo>
                  <a:pt x="69" y="1132"/>
                </a:lnTo>
                <a:lnTo>
                  <a:pt x="70" y="1131"/>
                </a:lnTo>
                <a:lnTo>
                  <a:pt x="71" y="1125"/>
                </a:lnTo>
                <a:lnTo>
                  <a:pt x="75" y="1122"/>
                </a:lnTo>
                <a:lnTo>
                  <a:pt x="76" y="1118"/>
                </a:lnTo>
                <a:lnTo>
                  <a:pt x="79" y="1116"/>
                </a:lnTo>
                <a:lnTo>
                  <a:pt x="85" y="1114"/>
                </a:lnTo>
                <a:lnTo>
                  <a:pt x="88" y="1116"/>
                </a:lnTo>
                <a:lnTo>
                  <a:pt x="91" y="1116"/>
                </a:lnTo>
                <a:lnTo>
                  <a:pt x="92" y="1113"/>
                </a:lnTo>
                <a:lnTo>
                  <a:pt x="83" y="1113"/>
                </a:lnTo>
                <a:lnTo>
                  <a:pt x="83" y="1112"/>
                </a:lnTo>
                <a:lnTo>
                  <a:pt x="85" y="1112"/>
                </a:lnTo>
                <a:lnTo>
                  <a:pt x="85" y="1110"/>
                </a:lnTo>
                <a:lnTo>
                  <a:pt x="86" y="1110"/>
                </a:lnTo>
                <a:lnTo>
                  <a:pt x="88" y="1106"/>
                </a:lnTo>
                <a:lnTo>
                  <a:pt x="87" y="1106"/>
                </a:lnTo>
                <a:lnTo>
                  <a:pt x="85" y="1107"/>
                </a:lnTo>
                <a:lnTo>
                  <a:pt x="83" y="1108"/>
                </a:lnTo>
                <a:lnTo>
                  <a:pt x="81" y="1113"/>
                </a:lnTo>
                <a:lnTo>
                  <a:pt x="77" y="1114"/>
                </a:lnTo>
                <a:lnTo>
                  <a:pt x="76" y="1116"/>
                </a:lnTo>
                <a:lnTo>
                  <a:pt x="74" y="1119"/>
                </a:lnTo>
                <a:lnTo>
                  <a:pt x="70" y="1119"/>
                </a:lnTo>
                <a:lnTo>
                  <a:pt x="70" y="1117"/>
                </a:lnTo>
                <a:lnTo>
                  <a:pt x="74" y="1113"/>
                </a:lnTo>
                <a:lnTo>
                  <a:pt x="74" y="1112"/>
                </a:lnTo>
                <a:lnTo>
                  <a:pt x="73" y="1112"/>
                </a:lnTo>
                <a:lnTo>
                  <a:pt x="69" y="1117"/>
                </a:lnTo>
                <a:lnTo>
                  <a:pt x="67" y="1118"/>
                </a:lnTo>
                <a:lnTo>
                  <a:pt x="66" y="1118"/>
                </a:lnTo>
                <a:lnTo>
                  <a:pt x="63" y="1119"/>
                </a:lnTo>
                <a:lnTo>
                  <a:pt x="62" y="1119"/>
                </a:lnTo>
                <a:lnTo>
                  <a:pt x="58" y="1123"/>
                </a:lnTo>
                <a:lnTo>
                  <a:pt x="56" y="1123"/>
                </a:lnTo>
                <a:lnTo>
                  <a:pt x="56" y="1122"/>
                </a:lnTo>
                <a:lnTo>
                  <a:pt x="54" y="1119"/>
                </a:lnTo>
                <a:lnTo>
                  <a:pt x="54" y="1116"/>
                </a:lnTo>
                <a:lnTo>
                  <a:pt x="52" y="1116"/>
                </a:lnTo>
                <a:lnTo>
                  <a:pt x="52" y="1118"/>
                </a:lnTo>
                <a:lnTo>
                  <a:pt x="54" y="1119"/>
                </a:lnTo>
                <a:lnTo>
                  <a:pt x="54" y="1122"/>
                </a:lnTo>
                <a:lnTo>
                  <a:pt x="55" y="1123"/>
                </a:lnTo>
                <a:lnTo>
                  <a:pt x="55" y="1124"/>
                </a:lnTo>
                <a:lnTo>
                  <a:pt x="54" y="1123"/>
                </a:lnTo>
                <a:lnTo>
                  <a:pt x="52" y="1124"/>
                </a:lnTo>
                <a:lnTo>
                  <a:pt x="51" y="1124"/>
                </a:lnTo>
                <a:lnTo>
                  <a:pt x="50" y="1125"/>
                </a:lnTo>
                <a:lnTo>
                  <a:pt x="54" y="1125"/>
                </a:lnTo>
                <a:lnTo>
                  <a:pt x="52" y="1128"/>
                </a:lnTo>
                <a:lnTo>
                  <a:pt x="51" y="1129"/>
                </a:lnTo>
                <a:lnTo>
                  <a:pt x="51" y="1131"/>
                </a:lnTo>
                <a:lnTo>
                  <a:pt x="52" y="1131"/>
                </a:lnTo>
                <a:lnTo>
                  <a:pt x="51" y="1133"/>
                </a:lnTo>
                <a:lnTo>
                  <a:pt x="51" y="1135"/>
                </a:lnTo>
                <a:lnTo>
                  <a:pt x="49" y="1135"/>
                </a:lnTo>
                <a:lnTo>
                  <a:pt x="46" y="1133"/>
                </a:lnTo>
                <a:lnTo>
                  <a:pt x="45" y="1132"/>
                </a:lnTo>
                <a:lnTo>
                  <a:pt x="45" y="1133"/>
                </a:lnTo>
                <a:lnTo>
                  <a:pt x="44" y="1135"/>
                </a:lnTo>
                <a:lnTo>
                  <a:pt x="44" y="1137"/>
                </a:lnTo>
                <a:lnTo>
                  <a:pt x="42" y="1142"/>
                </a:lnTo>
                <a:lnTo>
                  <a:pt x="39" y="1142"/>
                </a:lnTo>
                <a:lnTo>
                  <a:pt x="39" y="1154"/>
                </a:lnTo>
                <a:lnTo>
                  <a:pt x="38" y="1155"/>
                </a:lnTo>
                <a:lnTo>
                  <a:pt x="36" y="1155"/>
                </a:lnTo>
                <a:lnTo>
                  <a:pt x="36" y="1154"/>
                </a:lnTo>
                <a:lnTo>
                  <a:pt x="35" y="1156"/>
                </a:lnTo>
                <a:lnTo>
                  <a:pt x="32" y="1155"/>
                </a:lnTo>
                <a:lnTo>
                  <a:pt x="32" y="1150"/>
                </a:lnTo>
                <a:lnTo>
                  <a:pt x="36" y="1150"/>
                </a:lnTo>
                <a:lnTo>
                  <a:pt x="36" y="1149"/>
                </a:lnTo>
                <a:lnTo>
                  <a:pt x="37" y="1148"/>
                </a:lnTo>
                <a:lnTo>
                  <a:pt x="35" y="1148"/>
                </a:lnTo>
                <a:lnTo>
                  <a:pt x="35" y="1149"/>
                </a:lnTo>
                <a:lnTo>
                  <a:pt x="33" y="1149"/>
                </a:lnTo>
                <a:lnTo>
                  <a:pt x="33" y="1148"/>
                </a:lnTo>
                <a:lnTo>
                  <a:pt x="32" y="1147"/>
                </a:lnTo>
                <a:lnTo>
                  <a:pt x="33" y="1147"/>
                </a:lnTo>
                <a:lnTo>
                  <a:pt x="33" y="1144"/>
                </a:lnTo>
                <a:lnTo>
                  <a:pt x="32" y="1142"/>
                </a:lnTo>
                <a:lnTo>
                  <a:pt x="36" y="1138"/>
                </a:lnTo>
                <a:lnTo>
                  <a:pt x="33" y="1138"/>
                </a:lnTo>
                <a:lnTo>
                  <a:pt x="31" y="1141"/>
                </a:lnTo>
                <a:lnTo>
                  <a:pt x="31" y="1142"/>
                </a:lnTo>
                <a:lnTo>
                  <a:pt x="30" y="1143"/>
                </a:lnTo>
                <a:lnTo>
                  <a:pt x="29" y="1143"/>
                </a:lnTo>
                <a:lnTo>
                  <a:pt x="27" y="1144"/>
                </a:lnTo>
                <a:lnTo>
                  <a:pt x="26" y="1143"/>
                </a:lnTo>
                <a:lnTo>
                  <a:pt x="26" y="1142"/>
                </a:lnTo>
                <a:lnTo>
                  <a:pt x="27" y="1141"/>
                </a:lnTo>
                <a:lnTo>
                  <a:pt x="27" y="1139"/>
                </a:lnTo>
                <a:lnTo>
                  <a:pt x="26" y="1139"/>
                </a:lnTo>
                <a:lnTo>
                  <a:pt x="26" y="1138"/>
                </a:lnTo>
                <a:lnTo>
                  <a:pt x="29" y="1138"/>
                </a:lnTo>
                <a:lnTo>
                  <a:pt x="33" y="1136"/>
                </a:lnTo>
                <a:lnTo>
                  <a:pt x="29" y="1136"/>
                </a:lnTo>
                <a:lnTo>
                  <a:pt x="30" y="1135"/>
                </a:lnTo>
                <a:lnTo>
                  <a:pt x="30" y="1132"/>
                </a:lnTo>
                <a:lnTo>
                  <a:pt x="29" y="1132"/>
                </a:lnTo>
                <a:lnTo>
                  <a:pt x="30" y="1129"/>
                </a:lnTo>
                <a:lnTo>
                  <a:pt x="31" y="1128"/>
                </a:lnTo>
                <a:lnTo>
                  <a:pt x="31" y="1125"/>
                </a:lnTo>
                <a:lnTo>
                  <a:pt x="32" y="1125"/>
                </a:lnTo>
                <a:lnTo>
                  <a:pt x="35" y="1123"/>
                </a:lnTo>
                <a:lnTo>
                  <a:pt x="33" y="1123"/>
                </a:lnTo>
                <a:lnTo>
                  <a:pt x="32" y="1124"/>
                </a:lnTo>
                <a:lnTo>
                  <a:pt x="31" y="1124"/>
                </a:lnTo>
                <a:lnTo>
                  <a:pt x="31" y="1125"/>
                </a:lnTo>
                <a:lnTo>
                  <a:pt x="30" y="1125"/>
                </a:lnTo>
                <a:lnTo>
                  <a:pt x="29" y="1126"/>
                </a:lnTo>
                <a:lnTo>
                  <a:pt x="29" y="1128"/>
                </a:lnTo>
                <a:lnTo>
                  <a:pt x="27" y="1130"/>
                </a:lnTo>
                <a:lnTo>
                  <a:pt x="27" y="1132"/>
                </a:lnTo>
                <a:lnTo>
                  <a:pt x="25" y="1136"/>
                </a:lnTo>
                <a:lnTo>
                  <a:pt x="25" y="1138"/>
                </a:lnTo>
                <a:lnTo>
                  <a:pt x="23" y="1139"/>
                </a:lnTo>
                <a:lnTo>
                  <a:pt x="21" y="1142"/>
                </a:lnTo>
                <a:lnTo>
                  <a:pt x="20" y="1143"/>
                </a:lnTo>
                <a:lnTo>
                  <a:pt x="20" y="1144"/>
                </a:lnTo>
                <a:lnTo>
                  <a:pt x="19" y="1143"/>
                </a:lnTo>
                <a:lnTo>
                  <a:pt x="18" y="1143"/>
                </a:lnTo>
                <a:lnTo>
                  <a:pt x="18" y="1142"/>
                </a:lnTo>
                <a:lnTo>
                  <a:pt x="19" y="1142"/>
                </a:lnTo>
                <a:lnTo>
                  <a:pt x="17" y="1141"/>
                </a:lnTo>
                <a:lnTo>
                  <a:pt x="15" y="1139"/>
                </a:lnTo>
                <a:lnTo>
                  <a:pt x="17" y="1139"/>
                </a:lnTo>
                <a:lnTo>
                  <a:pt x="17" y="1138"/>
                </a:lnTo>
                <a:lnTo>
                  <a:pt x="18" y="1138"/>
                </a:lnTo>
                <a:lnTo>
                  <a:pt x="18" y="1137"/>
                </a:lnTo>
                <a:lnTo>
                  <a:pt x="17" y="1137"/>
                </a:lnTo>
                <a:lnTo>
                  <a:pt x="13" y="1138"/>
                </a:lnTo>
                <a:lnTo>
                  <a:pt x="12" y="1138"/>
                </a:lnTo>
                <a:lnTo>
                  <a:pt x="15" y="1135"/>
                </a:lnTo>
                <a:lnTo>
                  <a:pt x="15" y="1133"/>
                </a:lnTo>
                <a:lnTo>
                  <a:pt x="14" y="1133"/>
                </a:lnTo>
                <a:lnTo>
                  <a:pt x="9" y="1132"/>
                </a:lnTo>
                <a:lnTo>
                  <a:pt x="9" y="1129"/>
                </a:lnTo>
                <a:lnTo>
                  <a:pt x="13" y="1129"/>
                </a:lnTo>
                <a:lnTo>
                  <a:pt x="12" y="1128"/>
                </a:lnTo>
                <a:lnTo>
                  <a:pt x="11" y="1128"/>
                </a:lnTo>
                <a:lnTo>
                  <a:pt x="9" y="1126"/>
                </a:lnTo>
                <a:lnTo>
                  <a:pt x="8" y="1126"/>
                </a:lnTo>
                <a:lnTo>
                  <a:pt x="9" y="1125"/>
                </a:lnTo>
                <a:lnTo>
                  <a:pt x="11" y="1123"/>
                </a:lnTo>
                <a:lnTo>
                  <a:pt x="15" y="1123"/>
                </a:lnTo>
                <a:lnTo>
                  <a:pt x="14" y="1122"/>
                </a:lnTo>
                <a:lnTo>
                  <a:pt x="13" y="1119"/>
                </a:lnTo>
                <a:lnTo>
                  <a:pt x="14" y="1118"/>
                </a:lnTo>
                <a:lnTo>
                  <a:pt x="13" y="1116"/>
                </a:lnTo>
                <a:lnTo>
                  <a:pt x="13" y="1114"/>
                </a:lnTo>
                <a:lnTo>
                  <a:pt x="14" y="1112"/>
                </a:lnTo>
                <a:lnTo>
                  <a:pt x="15" y="1111"/>
                </a:lnTo>
                <a:lnTo>
                  <a:pt x="19" y="1114"/>
                </a:lnTo>
                <a:lnTo>
                  <a:pt x="20" y="1114"/>
                </a:lnTo>
                <a:lnTo>
                  <a:pt x="21" y="1118"/>
                </a:lnTo>
                <a:lnTo>
                  <a:pt x="23" y="1119"/>
                </a:lnTo>
                <a:lnTo>
                  <a:pt x="25" y="1120"/>
                </a:lnTo>
                <a:lnTo>
                  <a:pt x="29" y="1120"/>
                </a:lnTo>
                <a:lnTo>
                  <a:pt x="31" y="1119"/>
                </a:lnTo>
                <a:lnTo>
                  <a:pt x="30" y="1118"/>
                </a:lnTo>
                <a:lnTo>
                  <a:pt x="31" y="1117"/>
                </a:lnTo>
                <a:lnTo>
                  <a:pt x="32" y="1117"/>
                </a:lnTo>
                <a:lnTo>
                  <a:pt x="33" y="1116"/>
                </a:lnTo>
                <a:lnTo>
                  <a:pt x="33" y="1111"/>
                </a:lnTo>
                <a:lnTo>
                  <a:pt x="32" y="1108"/>
                </a:lnTo>
                <a:lnTo>
                  <a:pt x="33" y="1105"/>
                </a:lnTo>
                <a:lnTo>
                  <a:pt x="33" y="1101"/>
                </a:lnTo>
                <a:lnTo>
                  <a:pt x="35" y="1100"/>
                </a:lnTo>
                <a:lnTo>
                  <a:pt x="33" y="1099"/>
                </a:lnTo>
                <a:lnTo>
                  <a:pt x="33" y="1098"/>
                </a:lnTo>
                <a:lnTo>
                  <a:pt x="35" y="1095"/>
                </a:lnTo>
                <a:lnTo>
                  <a:pt x="35" y="1094"/>
                </a:lnTo>
                <a:lnTo>
                  <a:pt x="33" y="1095"/>
                </a:lnTo>
                <a:lnTo>
                  <a:pt x="33" y="1096"/>
                </a:lnTo>
                <a:lnTo>
                  <a:pt x="31" y="1095"/>
                </a:lnTo>
                <a:lnTo>
                  <a:pt x="31" y="1094"/>
                </a:lnTo>
                <a:lnTo>
                  <a:pt x="32" y="1093"/>
                </a:lnTo>
                <a:lnTo>
                  <a:pt x="32" y="1092"/>
                </a:lnTo>
                <a:lnTo>
                  <a:pt x="31" y="1092"/>
                </a:lnTo>
                <a:lnTo>
                  <a:pt x="30" y="1094"/>
                </a:lnTo>
                <a:lnTo>
                  <a:pt x="29" y="1095"/>
                </a:lnTo>
                <a:lnTo>
                  <a:pt x="29" y="1096"/>
                </a:lnTo>
                <a:lnTo>
                  <a:pt x="25" y="1096"/>
                </a:lnTo>
                <a:lnTo>
                  <a:pt x="25" y="1102"/>
                </a:lnTo>
                <a:lnTo>
                  <a:pt x="24" y="1102"/>
                </a:lnTo>
                <a:lnTo>
                  <a:pt x="21" y="1104"/>
                </a:lnTo>
                <a:lnTo>
                  <a:pt x="19" y="1106"/>
                </a:lnTo>
                <a:lnTo>
                  <a:pt x="15" y="1108"/>
                </a:lnTo>
                <a:lnTo>
                  <a:pt x="13" y="1108"/>
                </a:lnTo>
                <a:lnTo>
                  <a:pt x="12" y="1107"/>
                </a:lnTo>
                <a:lnTo>
                  <a:pt x="11" y="1105"/>
                </a:lnTo>
                <a:lnTo>
                  <a:pt x="9" y="1104"/>
                </a:lnTo>
                <a:lnTo>
                  <a:pt x="7" y="1100"/>
                </a:lnTo>
                <a:lnTo>
                  <a:pt x="6" y="1099"/>
                </a:lnTo>
                <a:lnTo>
                  <a:pt x="8" y="1100"/>
                </a:lnTo>
                <a:lnTo>
                  <a:pt x="9" y="1100"/>
                </a:lnTo>
                <a:lnTo>
                  <a:pt x="12" y="1104"/>
                </a:lnTo>
                <a:lnTo>
                  <a:pt x="13" y="1102"/>
                </a:lnTo>
                <a:lnTo>
                  <a:pt x="6" y="1095"/>
                </a:lnTo>
                <a:lnTo>
                  <a:pt x="9" y="1095"/>
                </a:lnTo>
                <a:lnTo>
                  <a:pt x="8" y="1094"/>
                </a:lnTo>
                <a:lnTo>
                  <a:pt x="7" y="1094"/>
                </a:lnTo>
                <a:lnTo>
                  <a:pt x="6" y="1093"/>
                </a:lnTo>
                <a:lnTo>
                  <a:pt x="5" y="1093"/>
                </a:lnTo>
                <a:lnTo>
                  <a:pt x="2" y="1089"/>
                </a:lnTo>
                <a:lnTo>
                  <a:pt x="0" y="1087"/>
                </a:lnTo>
                <a:lnTo>
                  <a:pt x="4" y="1087"/>
                </a:lnTo>
                <a:lnTo>
                  <a:pt x="5" y="1089"/>
                </a:lnTo>
                <a:lnTo>
                  <a:pt x="7" y="1089"/>
                </a:lnTo>
                <a:lnTo>
                  <a:pt x="11" y="1093"/>
                </a:lnTo>
                <a:lnTo>
                  <a:pt x="14" y="1094"/>
                </a:lnTo>
                <a:lnTo>
                  <a:pt x="15" y="1095"/>
                </a:lnTo>
                <a:lnTo>
                  <a:pt x="15" y="1098"/>
                </a:lnTo>
                <a:lnTo>
                  <a:pt x="17" y="1100"/>
                </a:lnTo>
                <a:lnTo>
                  <a:pt x="18" y="1101"/>
                </a:lnTo>
                <a:lnTo>
                  <a:pt x="18" y="1099"/>
                </a:lnTo>
                <a:lnTo>
                  <a:pt x="19" y="1100"/>
                </a:lnTo>
                <a:lnTo>
                  <a:pt x="20" y="1102"/>
                </a:lnTo>
                <a:lnTo>
                  <a:pt x="21" y="1102"/>
                </a:lnTo>
                <a:lnTo>
                  <a:pt x="19" y="1100"/>
                </a:lnTo>
                <a:lnTo>
                  <a:pt x="19" y="1098"/>
                </a:lnTo>
                <a:lnTo>
                  <a:pt x="21" y="1099"/>
                </a:lnTo>
                <a:lnTo>
                  <a:pt x="20" y="1098"/>
                </a:lnTo>
                <a:lnTo>
                  <a:pt x="20" y="1095"/>
                </a:lnTo>
                <a:lnTo>
                  <a:pt x="19" y="1095"/>
                </a:lnTo>
                <a:lnTo>
                  <a:pt x="19" y="1094"/>
                </a:lnTo>
                <a:lnTo>
                  <a:pt x="18" y="1094"/>
                </a:lnTo>
                <a:lnTo>
                  <a:pt x="18" y="1092"/>
                </a:lnTo>
                <a:lnTo>
                  <a:pt x="15" y="1092"/>
                </a:lnTo>
                <a:lnTo>
                  <a:pt x="14" y="1090"/>
                </a:lnTo>
                <a:lnTo>
                  <a:pt x="13" y="1090"/>
                </a:lnTo>
                <a:lnTo>
                  <a:pt x="13" y="1089"/>
                </a:lnTo>
                <a:lnTo>
                  <a:pt x="14" y="1088"/>
                </a:lnTo>
                <a:lnTo>
                  <a:pt x="15" y="1088"/>
                </a:lnTo>
                <a:lnTo>
                  <a:pt x="17" y="1087"/>
                </a:lnTo>
                <a:lnTo>
                  <a:pt x="18" y="1087"/>
                </a:lnTo>
                <a:lnTo>
                  <a:pt x="17" y="1085"/>
                </a:lnTo>
                <a:lnTo>
                  <a:pt x="18" y="1083"/>
                </a:lnTo>
                <a:lnTo>
                  <a:pt x="21" y="1081"/>
                </a:lnTo>
                <a:lnTo>
                  <a:pt x="21" y="1082"/>
                </a:lnTo>
                <a:lnTo>
                  <a:pt x="25" y="1082"/>
                </a:lnTo>
                <a:lnTo>
                  <a:pt x="25" y="1081"/>
                </a:lnTo>
                <a:lnTo>
                  <a:pt x="24" y="1081"/>
                </a:lnTo>
                <a:lnTo>
                  <a:pt x="23" y="1080"/>
                </a:lnTo>
                <a:lnTo>
                  <a:pt x="24" y="1079"/>
                </a:lnTo>
                <a:lnTo>
                  <a:pt x="23" y="1079"/>
                </a:lnTo>
                <a:lnTo>
                  <a:pt x="20" y="1081"/>
                </a:lnTo>
                <a:lnTo>
                  <a:pt x="18" y="1081"/>
                </a:lnTo>
                <a:lnTo>
                  <a:pt x="17" y="1082"/>
                </a:lnTo>
                <a:lnTo>
                  <a:pt x="17" y="1083"/>
                </a:lnTo>
                <a:lnTo>
                  <a:pt x="15" y="1086"/>
                </a:lnTo>
                <a:lnTo>
                  <a:pt x="13" y="1086"/>
                </a:lnTo>
                <a:lnTo>
                  <a:pt x="11" y="1085"/>
                </a:lnTo>
                <a:lnTo>
                  <a:pt x="9" y="1083"/>
                </a:lnTo>
                <a:lnTo>
                  <a:pt x="9" y="1086"/>
                </a:lnTo>
                <a:lnTo>
                  <a:pt x="8" y="1087"/>
                </a:lnTo>
                <a:lnTo>
                  <a:pt x="8" y="1085"/>
                </a:lnTo>
                <a:lnTo>
                  <a:pt x="6" y="1085"/>
                </a:lnTo>
                <a:lnTo>
                  <a:pt x="5" y="1083"/>
                </a:lnTo>
                <a:lnTo>
                  <a:pt x="5" y="1082"/>
                </a:lnTo>
                <a:lnTo>
                  <a:pt x="4" y="1080"/>
                </a:lnTo>
                <a:lnTo>
                  <a:pt x="4" y="1076"/>
                </a:lnTo>
                <a:lnTo>
                  <a:pt x="2" y="1075"/>
                </a:lnTo>
                <a:lnTo>
                  <a:pt x="2" y="1074"/>
                </a:lnTo>
                <a:lnTo>
                  <a:pt x="4" y="1073"/>
                </a:lnTo>
                <a:lnTo>
                  <a:pt x="6" y="1075"/>
                </a:lnTo>
                <a:lnTo>
                  <a:pt x="6" y="1080"/>
                </a:lnTo>
                <a:lnTo>
                  <a:pt x="7" y="1081"/>
                </a:lnTo>
                <a:lnTo>
                  <a:pt x="7" y="1074"/>
                </a:lnTo>
                <a:lnTo>
                  <a:pt x="8" y="1073"/>
                </a:lnTo>
                <a:lnTo>
                  <a:pt x="9" y="1073"/>
                </a:lnTo>
                <a:lnTo>
                  <a:pt x="8" y="1071"/>
                </a:lnTo>
                <a:lnTo>
                  <a:pt x="7" y="1073"/>
                </a:lnTo>
                <a:lnTo>
                  <a:pt x="4" y="1073"/>
                </a:lnTo>
                <a:lnTo>
                  <a:pt x="4" y="1067"/>
                </a:lnTo>
                <a:lnTo>
                  <a:pt x="6" y="1064"/>
                </a:lnTo>
                <a:lnTo>
                  <a:pt x="8" y="1063"/>
                </a:lnTo>
                <a:lnTo>
                  <a:pt x="12" y="1064"/>
                </a:lnTo>
                <a:lnTo>
                  <a:pt x="14" y="1067"/>
                </a:lnTo>
                <a:lnTo>
                  <a:pt x="17" y="1068"/>
                </a:lnTo>
                <a:lnTo>
                  <a:pt x="21" y="1068"/>
                </a:lnTo>
                <a:lnTo>
                  <a:pt x="21" y="1070"/>
                </a:lnTo>
                <a:lnTo>
                  <a:pt x="23" y="1070"/>
                </a:lnTo>
                <a:lnTo>
                  <a:pt x="23" y="1065"/>
                </a:lnTo>
                <a:lnTo>
                  <a:pt x="24" y="1065"/>
                </a:lnTo>
                <a:lnTo>
                  <a:pt x="25" y="1063"/>
                </a:lnTo>
                <a:lnTo>
                  <a:pt x="27" y="1064"/>
                </a:lnTo>
                <a:lnTo>
                  <a:pt x="29" y="1064"/>
                </a:lnTo>
                <a:lnTo>
                  <a:pt x="30" y="1065"/>
                </a:lnTo>
                <a:lnTo>
                  <a:pt x="30" y="1064"/>
                </a:lnTo>
                <a:lnTo>
                  <a:pt x="29" y="1063"/>
                </a:lnTo>
                <a:lnTo>
                  <a:pt x="30" y="1062"/>
                </a:lnTo>
                <a:lnTo>
                  <a:pt x="31" y="1062"/>
                </a:lnTo>
                <a:lnTo>
                  <a:pt x="31" y="1063"/>
                </a:lnTo>
                <a:lnTo>
                  <a:pt x="32" y="1062"/>
                </a:lnTo>
                <a:lnTo>
                  <a:pt x="35" y="1061"/>
                </a:lnTo>
                <a:lnTo>
                  <a:pt x="36" y="1061"/>
                </a:lnTo>
                <a:lnTo>
                  <a:pt x="36" y="1064"/>
                </a:lnTo>
                <a:lnTo>
                  <a:pt x="37" y="1064"/>
                </a:lnTo>
                <a:lnTo>
                  <a:pt x="37" y="1063"/>
                </a:lnTo>
                <a:lnTo>
                  <a:pt x="38" y="1062"/>
                </a:lnTo>
                <a:lnTo>
                  <a:pt x="38" y="1061"/>
                </a:lnTo>
                <a:lnTo>
                  <a:pt x="39" y="1059"/>
                </a:lnTo>
                <a:lnTo>
                  <a:pt x="44" y="1059"/>
                </a:lnTo>
                <a:lnTo>
                  <a:pt x="45" y="1061"/>
                </a:lnTo>
                <a:lnTo>
                  <a:pt x="46" y="1061"/>
                </a:lnTo>
                <a:lnTo>
                  <a:pt x="49" y="1059"/>
                </a:lnTo>
                <a:lnTo>
                  <a:pt x="51" y="1059"/>
                </a:lnTo>
                <a:lnTo>
                  <a:pt x="54" y="1061"/>
                </a:lnTo>
                <a:lnTo>
                  <a:pt x="55" y="1062"/>
                </a:lnTo>
                <a:lnTo>
                  <a:pt x="56" y="1062"/>
                </a:lnTo>
                <a:lnTo>
                  <a:pt x="56" y="1065"/>
                </a:lnTo>
                <a:lnTo>
                  <a:pt x="55" y="1067"/>
                </a:lnTo>
                <a:lnTo>
                  <a:pt x="57" y="1065"/>
                </a:lnTo>
                <a:lnTo>
                  <a:pt x="58" y="1064"/>
                </a:lnTo>
                <a:lnTo>
                  <a:pt x="61" y="1064"/>
                </a:lnTo>
                <a:lnTo>
                  <a:pt x="61" y="1067"/>
                </a:lnTo>
                <a:lnTo>
                  <a:pt x="60" y="1068"/>
                </a:lnTo>
                <a:lnTo>
                  <a:pt x="60" y="1069"/>
                </a:lnTo>
                <a:lnTo>
                  <a:pt x="61" y="1069"/>
                </a:lnTo>
                <a:lnTo>
                  <a:pt x="61" y="1067"/>
                </a:lnTo>
                <a:lnTo>
                  <a:pt x="62" y="1064"/>
                </a:lnTo>
                <a:lnTo>
                  <a:pt x="64" y="1062"/>
                </a:lnTo>
                <a:lnTo>
                  <a:pt x="67" y="1062"/>
                </a:lnTo>
                <a:lnTo>
                  <a:pt x="70" y="1058"/>
                </a:lnTo>
                <a:lnTo>
                  <a:pt x="70" y="1055"/>
                </a:lnTo>
                <a:lnTo>
                  <a:pt x="71" y="1055"/>
                </a:lnTo>
                <a:lnTo>
                  <a:pt x="71" y="1056"/>
                </a:lnTo>
                <a:lnTo>
                  <a:pt x="73" y="1056"/>
                </a:lnTo>
                <a:lnTo>
                  <a:pt x="79" y="1057"/>
                </a:lnTo>
                <a:lnTo>
                  <a:pt x="80" y="1058"/>
                </a:lnTo>
                <a:lnTo>
                  <a:pt x="81" y="1058"/>
                </a:lnTo>
                <a:lnTo>
                  <a:pt x="81" y="1062"/>
                </a:lnTo>
                <a:lnTo>
                  <a:pt x="82" y="1062"/>
                </a:lnTo>
                <a:lnTo>
                  <a:pt x="82" y="1063"/>
                </a:lnTo>
                <a:lnTo>
                  <a:pt x="85" y="1062"/>
                </a:lnTo>
                <a:lnTo>
                  <a:pt x="86" y="1063"/>
                </a:lnTo>
                <a:lnTo>
                  <a:pt x="87" y="1067"/>
                </a:lnTo>
                <a:lnTo>
                  <a:pt x="87" y="1069"/>
                </a:lnTo>
                <a:lnTo>
                  <a:pt x="88" y="1069"/>
                </a:lnTo>
                <a:lnTo>
                  <a:pt x="87" y="1070"/>
                </a:lnTo>
                <a:lnTo>
                  <a:pt x="87" y="1071"/>
                </a:lnTo>
                <a:lnTo>
                  <a:pt x="86" y="1071"/>
                </a:lnTo>
                <a:lnTo>
                  <a:pt x="85" y="1073"/>
                </a:lnTo>
                <a:lnTo>
                  <a:pt x="82" y="1076"/>
                </a:lnTo>
                <a:lnTo>
                  <a:pt x="86" y="1073"/>
                </a:lnTo>
                <a:lnTo>
                  <a:pt x="88" y="1073"/>
                </a:lnTo>
                <a:lnTo>
                  <a:pt x="89" y="1074"/>
                </a:lnTo>
                <a:lnTo>
                  <a:pt x="92" y="1075"/>
                </a:lnTo>
                <a:lnTo>
                  <a:pt x="93" y="1076"/>
                </a:lnTo>
                <a:lnTo>
                  <a:pt x="93" y="1077"/>
                </a:lnTo>
                <a:lnTo>
                  <a:pt x="92" y="1082"/>
                </a:lnTo>
                <a:lnTo>
                  <a:pt x="93" y="1081"/>
                </a:lnTo>
                <a:lnTo>
                  <a:pt x="94" y="1079"/>
                </a:lnTo>
                <a:lnTo>
                  <a:pt x="94" y="1074"/>
                </a:lnTo>
                <a:lnTo>
                  <a:pt x="92" y="1074"/>
                </a:lnTo>
                <a:lnTo>
                  <a:pt x="91" y="1073"/>
                </a:lnTo>
                <a:lnTo>
                  <a:pt x="89" y="1068"/>
                </a:lnTo>
                <a:lnTo>
                  <a:pt x="88" y="1067"/>
                </a:lnTo>
                <a:lnTo>
                  <a:pt x="88" y="1065"/>
                </a:lnTo>
                <a:lnTo>
                  <a:pt x="87" y="1063"/>
                </a:lnTo>
                <a:lnTo>
                  <a:pt x="87" y="1062"/>
                </a:lnTo>
                <a:lnTo>
                  <a:pt x="88" y="1062"/>
                </a:lnTo>
                <a:lnTo>
                  <a:pt x="89" y="1061"/>
                </a:lnTo>
                <a:lnTo>
                  <a:pt x="94" y="1061"/>
                </a:lnTo>
                <a:lnTo>
                  <a:pt x="96" y="1058"/>
                </a:lnTo>
                <a:lnTo>
                  <a:pt x="100" y="1058"/>
                </a:lnTo>
                <a:lnTo>
                  <a:pt x="100" y="1059"/>
                </a:lnTo>
                <a:lnTo>
                  <a:pt x="101" y="1061"/>
                </a:lnTo>
                <a:lnTo>
                  <a:pt x="102" y="1061"/>
                </a:lnTo>
                <a:lnTo>
                  <a:pt x="106" y="1062"/>
                </a:lnTo>
                <a:lnTo>
                  <a:pt x="106" y="1061"/>
                </a:lnTo>
                <a:lnTo>
                  <a:pt x="105" y="1061"/>
                </a:lnTo>
                <a:lnTo>
                  <a:pt x="102" y="1058"/>
                </a:lnTo>
                <a:lnTo>
                  <a:pt x="102" y="1057"/>
                </a:lnTo>
                <a:lnTo>
                  <a:pt x="105" y="1056"/>
                </a:lnTo>
                <a:lnTo>
                  <a:pt x="105" y="1053"/>
                </a:lnTo>
                <a:lnTo>
                  <a:pt x="106" y="1053"/>
                </a:lnTo>
                <a:lnTo>
                  <a:pt x="113" y="1052"/>
                </a:lnTo>
                <a:lnTo>
                  <a:pt x="114" y="1052"/>
                </a:lnTo>
                <a:lnTo>
                  <a:pt x="117" y="1050"/>
                </a:lnTo>
                <a:lnTo>
                  <a:pt x="116" y="1050"/>
                </a:lnTo>
                <a:lnTo>
                  <a:pt x="114" y="1051"/>
                </a:lnTo>
                <a:lnTo>
                  <a:pt x="113" y="1051"/>
                </a:lnTo>
                <a:lnTo>
                  <a:pt x="106" y="1053"/>
                </a:lnTo>
                <a:lnTo>
                  <a:pt x="104" y="1052"/>
                </a:lnTo>
                <a:lnTo>
                  <a:pt x="102" y="1052"/>
                </a:lnTo>
                <a:lnTo>
                  <a:pt x="102" y="1051"/>
                </a:lnTo>
                <a:lnTo>
                  <a:pt x="101" y="1050"/>
                </a:lnTo>
                <a:lnTo>
                  <a:pt x="101" y="1045"/>
                </a:lnTo>
                <a:lnTo>
                  <a:pt x="100" y="1045"/>
                </a:lnTo>
                <a:lnTo>
                  <a:pt x="100" y="1043"/>
                </a:lnTo>
                <a:lnTo>
                  <a:pt x="102" y="1042"/>
                </a:lnTo>
                <a:lnTo>
                  <a:pt x="102" y="1038"/>
                </a:lnTo>
                <a:lnTo>
                  <a:pt x="106" y="1034"/>
                </a:lnTo>
                <a:lnTo>
                  <a:pt x="106" y="1033"/>
                </a:lnTo>
                <a:lnTo>
                  <a:pt x="107" y="1032"/>
                </a:lnTo>
                <a:lnTo>
                  <a:pt x="107" y="1031"/>
                </a:lnTo>
                <a:lnTo>
                  <a:pt x="108" y="1031"/>
                </a:lnTo>
                <a:lnTo>
                  <a:pt x="112" y="1027"/>
                </a:lnTo>
                <a:lnTo>
                  <a:pt x="108" y="1030"/>
                </a:lnTo>
                <a:lnTo>
                  <a:pt x="101" y="1037"/>
                </a:lnTo>
                <a:lnTo>
                  <a:pt x="99" y="1036"/>
                </a:lnTo>
                <a:lnTo>
                  <a:pt x="99" y="1037"/>
                </a:lnTo>
                <a:lnTo>
                  <a:pt x="100" y="1038"/>
                </a:lnTo>
                <a:lnTo>
                  <a:pt x="100" y="1039"/>
                </a:lnTo>
                <a:lnTo>
                  <a:pt x="98" y="1043"/>
                </a:lnTo>
                <a:lnTo>
                  <a:pt x="98" y="1045"/>
                </a:lnTo>
                <a:lnTo>
                  <a:pt x="100" y="1047"/>
                </a:lnTo>
                <a:lnTo>
                  <a:pt x="100" y="1051"/>
                </a:lnTo>
                <a:lnTo>
                  <a:pt x="101" y="1052"/>
                </a:lnTo>
                <a:lnTo>
                  <a:pt x="101" y="1053"/>
                </a:lnTo>
                <a:lnTo>
                  <a:pt x="102" y="1053"/>
                </a:lnTo>
                <a:lnTo>
                  <a:pt x="101" y="1056"/>
                </a:lnTo>
                <a:lnTo>
                  <a:pt x="98" y="1056"/>
                </a:lnTo>
                <a:lnTo>
                  <a:pt x="98" y="1055"/>
                </a:lnTo>
                <a:lnTo>
                  <a:pt x="94" y="1055"/>
                </a:lnTo>
                <a:lnTo>
                  <a:pt x="94" y="1057"/>
                </a:lnTo>
                <a:lnTo>
                  <a:pt x="93" y="1057"/>
                </a:lnTo>
                <a:lnTo>
                  <a:pt x="88" y="1059"/>
                </a:lnTo>
                <a:lnTo>
                  <a:pt x="86" y="1059"/>
                </a:lnTo>
                <a:lnTo>
                  <a:pt x="86" y="1061"/>
                </a:lnTo>
                <a:lnTo>
                  <a:pt x="85" y="1061"/>
                </a:lnTo>
                <a:lnTo>
                  <a:pt x="83" y="1058"/>
                </a:lnTo>
                <a:lnTo>
                  <a:pt x="85" y="1057"/>
                </a:lnTo>
                <a:lnTo>
                  <a:pt x="87" y="1056"/>
                </a:lnTo>
                <a:lnTo>
                  <a:pt x="87" y="1055"/>
                </a:lnTo>
                <a:lnTo>
                  <a:pt x="86" y="1056"/>
                </a:lnTo>
                <a:lnTo>
                  <a:pt x="83" y="1056"/>
                </a:lnTo>
                <a:lnTo>
                  <a:pt x="80" y="1055"/>
                </a:lnTo>
                <a:lnTo>
                  <a:pt x="73" y="1053"/>
                </a:lnTo>
                <a:lnTo>
                  <a:pt x="69" y="1051"/>
                </a:lnTo>
                <a:lnTo>
                  <a:pt x="69" y="1049"/>
                </a:lnTo>
                <a:lnTo>
                  <a:pt x="71" y="1046"/>
                </a:lnTo>
                <a:lnTo>
                  <a:pt x="73" y="1042"/>
                </a:lnTo>
                <a:lnTo>
                  <a:pt x="74" y="1042"/>
                </a:lnTo>
                <a:lnTo>
                  <a:pt x="74" y="1040"/>
                </a:lnTo>
                <a:lnTo>
                  <a:pt x="75" y="1039"/>
                </a:lnTo>
                <a:lnTo>
                  <a:pt x="75" y="1036"/>
                </a:lnTo>
                <a:lnTo>
                  <a:pt x="71" y="1043"/>
                </a:lnTo>
                <a:lnTo>
                  <a:pt x="70" y="1046"/>
                </a:lnTo>
                <a:lnTo>
                  <a:pt x="69" y="1047"/>
                </a:lnTo>
                <a:lnTo>
                  <a:pt x="68" y="1046"/>
                </a:lnTo>
                <a:lnTo>
                  <a:pt x="68" y="1045"/>
                </a:lnTo>
                <a:lnTo>
                  <a:pt x="67" y="1045"/>
                </a:lnTo>
                <a:lnTo>
                  <a:pt x="67" y="1051"/>
                </a:lnTo>
                <a:lnTo>
                  <a:pt x="68" y="1052"/>
                </a:lnTo>
                <a:lnTo>
                  <a:pt x="66" y="1052"/>
                </a:lnTo>
                <a:lnTo>
                  <a:pt x="66" y="1053"/>
                </a:lnTo>
                <a:lnTo>
                  <a:pt x="67" y="1055"/>
                </a:lnTo>
                <a:lnTo>
                  <a:pt x="67" y="1057"/>
                </a:lnTo>
                <a:lnTo>
                  <a:pt x="63" y="1061"/>
                </a:lnTo>
                <a:lnTo>
                  <a:pt x="61" y="1061"/>
                </a:lnTo>
                <a:lnTo>
                  <a:pt x="57" y="1059"/>
                </a:lnTo>
                <a:lnTo>
                  <a:pt x="54" y="1057"/>
                </a:lnTo>
                <a:lnTo>
                  <a:pt x="52" y="1055"/>
                </a:lnTo>
                <a:lnTo>
                  <a:pt x="48" y="1057"/>
                </a:lnTo>
                <a:lnTo>
                  <a:pt x="45" y="1057"/>
                </a:lnTo>
                <a:lnTo>
                  <a:pt x="43" y="1056"/>
                </a:lnTo>
                <a:lnTo>
                  <a:pt x="45" y="1055"/>
                </a:lnTo>
                <a:lnTo>
                  <a:pt x="46" y="1053"/>
                </a:lnTo>
                <a:lnTo>
                  <a:pt x="46" y="1052"/>
                </a:lnTo>
                <a:lnTo>
                  <a:pt x="43" y="1056"/>
                </a:lnTo>
                <a:lnTo>
                  <a:pt x="39" y="1056"/>
                </a:lnTo>
                <a:lnTo>
                  <a:pt x="37" y="1057"/>
                </a:lnTo>
                <a:lnTo>
                  <a:pt x="36" y="1056"/>
                </a:lnTo>
                <a:lnTo>
                  <a:pt x="36" y="1053"/>
                </a:lnTo>
                <a:lnTo>
                  <a:pt x="35" y="1055"/>
                </a:lnTo>
                <a:lnTo>
                  <a:pt x="35" y="1057"/>
                </a:lnTo>
                <a:lnTo>
                  <a:pt x="32" y="1057"/>
                </a:lnTo>
                <a:lnTo>
                  <a:pt x="31" y="1058"/>
                </a:lnTo>
                <a:lnTo>
                  <a:pt x="25" y="1058"/>
                </a:lnTo>
                <a:lnTo>
                  <a:pt x="23" y="1062"/>
                </a:lnTo>
                <a:lnTo>
                  <a:pt x="20" y="1063"/>
                </a:lnTo>
                <a:lnTo>
                  <a:pt x="19" y="1063"/>
                </a:lnTo>
                <a:lnTo>
                  <a:pt x="17" y="1062"/>
                </a:lnTo>
                <a:lnTo>
                  <a:pt x="15" y="1059"/>
                </a:lnTo>
                <a:lnTo>
                  <a:pt x="14" y="1059"/>
                </a:lnTo>
                <a:lnTo>
                  <a:pt x="14" y="1061"/>
                </a:lnTo>
                <a:lnTo>
                  <a:pt x="11" y="1061"/>
                </a:lnTo>
                <a:lnTo>
                  <a:pt x="11" y="1059"/>
                </a:lnTo>
                <a:lnTo>
                  <a:pt x="9" y="1059"/>
                </a:lnTo>
                <a:lnTo>
                  <a:pt x="9" y="1058"/>
                </a:lnTo>
                <a:lnTo>
                  <a:pt x="13" y="1058"/>
                </a:lnTo>
                <a:lnTo>
                  <a:pt x="12" y="1057"/>
                </a:lnTo>
                <a:lnTo>
                  <a:pt x="8" y="1057"/>
                </a:lnTo>
                <a:lnTo>
                  <a:pt x="6" y="1056"/>
                </a:lnTo>
                <a:lnTo>
                  <a:pt x="5" y="1056"/>
                </a:lnTo>
                <a:lnTo>
                  <a:pt x="6" y="1053"/>
                </a:lnTo>
                <a:lnTo>
                  <a:pt x="8" y="1053"/>
                </a:lnTo>
                <a:lnTo>
                  <a:pt x="12" y="1056"/>
                </a:lnTo>
                <a:lnTo>
                  <a:pt x="12" y="1055"/>
                </a:lnTo>
                <a:lnTo>
                  <a:pt x="13" y="1055"/>
                </a:lnTo>
                <a:lnTo>
                  <a:pt x="9" y="1051"/>
                </a:lnTo>
                <a:lnTo>
                  <a:pt x="2" y="1051"/>
                </a:lnTo>
                <a:lnTo>
                  <a:pt x="4" y="1050"/>
                </a:lnTo>
                <a:lnTo>
                  <a:pt x="2" y="1049"/>
                </a:lnTo>
                <a:lnTo>
                  <a:pt x="2" y="1047"/>
                </a:lnTo>
                <a:lnTo>
                  <a:pt x="1" y="1047"/>
                </a:lnTo>
                <a:lnTo>
                  <a:pt x="4" y="1045"/>
                </a:lnTo>
                <a:lnTo>
                  <a:pt x="5" y="1045"/>
                </a:lnTo>
                <a:lnTo>
                  <a:pt x="6" y="1044"/>
                </a:lnTo>
                <a:lnTo>
                  <a:pt x="7" y="1044"/>
                </a:lnTo>
                <a:lnTo>
                  <a:pt x="7" y="1043"/>
                </a:lnTo>
                <a:lnTo>
                  <a:pt x="8" y="1044"/>
                </a:lnTo>
                <a:lnTo>
                  <a:pt x="9" y="1043"/>
                </a:lnTo>
                <a:lnTo>
                  <a:pt x="11" y="1040"/>
                </a:lnTo>
                <a:lnTo>
                  <a:pt x="13" y="1040"/>
                </a:lnTo>
                <a:lnTo>
                  <a:pt x="15" y="1043"/>
                </a:lnTo>
                <a:lnTo>
                  <a:pt x="15" y="1046"/>
                </a:lnTo>
                <a:lnTo>
                  <a:pt x="17" y="1047"/>
                </a:lnTo>
                <a:lnTo>
                  <a:pt x="17" y="1043"/>
                </a:lnTo>
                <a:lnTo>
                  <a:pt x="14" y="1040"/>
                </a:lnTo>
                <a:lnTo>
                  <a:pt x="14" y="1039"/>
                </a:lnTo>
                <a:lnTo>
                  <a:pt x="21" y="1038"/>
                </a:lnTo>
                <a:lnTo>
                  <a:pt x="30" y="1038"/>
                </a:lnTo>
                <a:lnTo>
                  <a:pt x="29" y="1037"/>
                </a:lnTo>
                <a:lnTo>
                  <a:pt x="26" y="1037"/>
                </a:lnTo>
                <a:lnTo>
                  <a:pt x="9" y="1039"/>
                </a:lnTo>
                <a:lnTo>
                  <a:pt x="7" y="1042"/>
                </a:lnTo>
                <a:lnTo>
                  <a:pt x="5" y="1042"/>
                </a:lnTo>
                <a:lnTo>
                  <a:pt x="4" y="1040"/>
                </a:lnTo>
                <a:lnTo>
                  <a:pt x="4" y="1039"/>
                </a:lnTo>
                <a:lnTo>
                  <a:pt x="2" y="1038"/>
                </a:lnTo>
                <a:lnTo>
                  <a:pt x="2" y="1037"/>
                </a:lnTo>
                <a:lnTo>
                  <a:pt x="4" y="1036"/>
                </a:lnTo>
                <a:lnTo>
                  <a:pt x="4" y="1034"/>
                </a:lnTo>
                <a:lnTo>
                  <a:pt x="5" y="1034"/>
                </a:lnTo>
                <a:lnTo>
                  <a:pt x="5" y="1036"/>
                </a:lnTo>
                <a:lnTo>
                  <a:pt x="6" y="1037"/>
                </a:lnTo>
                <a:lnTo>
                  <a:pt x="6" y="1034"/>
                </a:lnTo>
                <a:lnTo>
                  <a:pt x="8" y="1033"/>
                </a:lnTo>
                <a:lnTo>
                  <a:pt x="7" y="1032"/>
                </a:lnTo>
                <a:lnTo>
                  <a:pt x="7" y="1033"/>
                </a:lnTo>
                <a:lnTo>
                  <a:pt x="4" y="1033"/>
                </a:lnTo>
                <a:lnTo>
                  <a:pt x="2" y="1034"/>
                </a:lnTo>
                <a:lnTo>
                  <a:pt x="1" y="1034"/>
                </a:lnTo>
                <a:lnTo>
                  <a:pt x="1" y="1033"/>
                </a:lnTo>
                <a:lnTo>
                  <a:pt x="5" y="1031"/>
                </a:lnTo>
                <a:lnTo>
                  <a:pt x="9" y="1031"/>
                </a:lnTo>
                <a:lnTo>
                  <a:pt x="11" y="1030"/>
                </a:lnTo>
                <a:lnTo>
                  <a:pt x="11" y="1028"/>
                </a:lnTo>
                <a:lnTo>
                  <a:pt x="12" y="1030"/>
                </a:lnTo>
                <a:lnTo>
                  <a:pt x="14" y="1031"/>
                </a:lnTo>
                <a:lnTo>
                  <a:pt x="15" y="1031"/>
                </a:lnTo>
                <a:lnTo>
                  <a:pt x="17" y="1030"/>
                </a:lnTo>
                <a:lnTo>
                  <a:pt x="24" y="1032"/>
                </a:lnTo>
                <a:lnTo>
                  <a:pt x="26" y="1032"/>
                </a:lnTo>
                <a:lnTo>
                  <a:pt x="25" y="1031"/>
                </a:lnTo>
                <a:lnTo>
                  <a:pt x="29" y="1031"/>
                </a:lnTo>
                <a:lnTo>
                  <a:pt x="29" y="1030"/>
                </a:lnTo>
                <a:lnTo>
                  <a:pt x="30" y="1030"/>
                </a:lnTo>
                <a:lnTo>
                  <a:pt x="30" y="1028"/>
                </a:lnTo>
                <a:lnTo>
                  <a:pt x="31" y="1027"/>
                </a:lnTo>
                <a:lnTo>
                  <a:pt x="35" y="1027"/>
                </a:lnTo>
                <a:lnTo>
                  <a:pt x="35" y="1028"/>
                </a:lnTo>
                <a:lnTo>
                  <a:pt x="36" y="1031"/>
                </a:lnTo>
                <a:lnTo>
                  <a:pt x="37" y="1031"/>
                </a:lnTo>
                <a:lnTo>
                  <a:pt x="37" y="1030"/>
                </a:lnTo>
                <a:lnTo>
                  <a:pt x="36" y="1030"/>
                </a:lnTo>
                <a:lnTo>
                  <a:pt x="35" y="1027"/>
                </a:lnTo>
                <a:lnTo>
                  <a:pt x="33" y="1026"/>
                </a:lnTo>
                <a:lnTo>
                  <a:pt x="31" y="1026"/>
                </a:lnTo>
                <a:lnTo>
                  <a:pt x="30" y="1027"/>
                </a:lnTo>
                <a:lnTo>
                  <a:pt x="29" y="1027"/>
                </a:lnTo>
                <a:lnTo>
                  <a:pt x="27" y="1030"/>
                </a:lnTo>
                <a:lnTo>
                  <a:pt x="25" y="1030"/>
                </a:lnTo>
                <a:lnTo>
                  <a:pt x="24" y="1031"/>
                </a:lnTo>
                <a:lnTo>
                  <a:pt x="23" y="1031"/>
                </a:lnTo>
                <a:lnTo>
                  <a:pt x="21" y="1030"/>
                </a:lnTo>
                <a:lnTo>
                  <a:pt x="21" y="1028"/>
                </a:lnTo>
                <a:lnTo>
                  <a:pt x="20" y="1027"/>
                </a:lnTo>
                <a:lnTo>
                  <a:pt x="15" y="1028"/>
                </a:lnTo>
                <a:lnTo>
                  <a:pt x="13" y="1027"/>
                </a:lnTo>
                <a:lnTo>
                  <a:pt x="11" y="1025"/>
                </a:lnTo>
                <a:lnTo>
                  <a:pt x="8" y="1024"/>
                </a:lnTo>
                <a:lnTo>
                  <a:pt x="9" y="1022"/>
                </a:lnTo>
                <a:lnTo>
                  <a:pt x="8" y="1022"/>
                </a:lnTo>
                <a:lnTo>
                  <a:pt x="8" y="1021"/>
                </a:lnTo>
                <a:lnTo>
                  <a:pt x="9" y="1021"/>
                </a:lnTo>
                <a:lnTo>
                  <a:pt x="12" y="1022"/>
                </a:lnTo>
                <a:lnTo>
                  <a:pt x="13" y="1021"/>
                </a:lnTo>
                <a:lnTo>
                  <a:pt x="17" y="1021"/>
                </a:lnTo>
                <a:lnTo>
                  <a:pt x="11" y="1019"/>
                </a:lnTo>
                <a:lnTo>
                  <a:pt x="9" y="1018"/>
                </a:lnTo>
                <a:lnTo>
                  <a:pt x="17" y="1018"/>
                </a:lnTo>
                <a:lnTo>
                  <a:pt x="17" y="1019"/>
                </a:lnTo>
                <a:lnTo>
                  <a:pt x="21" y="1019"/>
                </a:lnTo>
                <a:lnTo>
                  <a:pt x="18" y="1016"/>
                </a:lnTo>
                <a:lnTo>
                  <a:pt x="14" y="1016"/>
                </a:lnTo>
                <a:lnTo>
                  <a:pt x="17" y="1015"/>
                </a:lnTo>
                <a:lnTo>
                  <a:pt x="18" y="1014"/>
                </a:lnTo>
                <a:lnTo>
                  <a:pt x="14" y="1014"/>
                </a:lnTo>
                <a:lnTo>
                  <a:pt x="13" y="1015"/>
                </a:lnTo>
                <a:lnTo>
                  <a:pt x="2" y="1015"/>
                </a:lnTo>
                <a:lnTo>
                  <a:pt x="1" y="1014"/>
                </a:lnTo>
                <a:lnTo>
                  <a:pt x="0" y="1012"/>
                </a:lnTo>
                <a:lnTo>
                  <a:pt x="0" y="1010"/>
                </a:lnTo>
                <a:lnTo>
                  <a:pt x="1" y="1009"/>
                </a:lnTo>
                <a:lnTo>
                  <a:pt x="1" y="1007"/>
                </a:lnTo>
                <a:lnTo>
                  <a:pt x="2" y="1006"/>
                </a:lnTo>
                <a:lnTo>
                  <a:pt x="2" y="1004"/>
                </a:lnTo>
                <a:lnTo>
                  <a:pt x="4" y="1004"/>
                </a:lnTo>
                <a:lnTo>
                  <a:pt x="5" y="1003"/>
                </a:lnTo>
                <a:lnTo>
                  <a:pt x="5" y="1004"/>
                </a:lnTo>
                <a:lnTo>
                  <a:pt x="6" y="1004"/>
                </a:lnTo>
                <a:lnTo>
                  <a:pt x="6" y="1006"/>
                </a:lnTo>
                <a:lnTo>
                  <a:pt x="7" y="1006"/>
                </a:lnTo>
                <a:lnTo>
                  <a:pt x="8" y="1007"/>
                </a:lnTo>
                <a:lnTo>
                  <a:pt x="9" y="1007"/>
                </a:lnTo>
                <a:lnTo>
                  <a:pt x="9" y="1006"/>
                </a:lnTo>
                <a:lnTo>
                  <a:pt x="8" y="1004"/>
                </a:lnTo>
                <a:lnTo>
                  <a:pt x="8" y="1003"/>
                </a:lnTo>
                <a:lnTo>
                  <a:pt x="9" y="1003"/>
                </a:lnTo>
                <a:lnTo>
                  <a:pt x="11" y="1002"/>
                </a:lnTo>
                <a:lnTo>
                  <a:pt x="6" y="1003"/>
                </a:lnTo>
                <a:lnTo>
                  <a:pt x="6" y="1002"/>
                </a:lnTo>
                <a:lnTo>
                  <a:pt x="8" y="1000"/>
                </a:lnTo>
                <a:lnTo>
                  <a:pt x="13" y="999"/>
                </a:lnTo>
                <a:lnTo>
                  <a:pt x="14" y="997"/>
                </a:lnTo>
                <a:lnTo>
                  <a:pt x="14" y="996"/>
                </a:lnTo>
                <a:lnTo>
                  <a:pt x="17" y="996"/>
                </a:lnTo>
                <a:lnTo>
                  <a:pt x="17" y="995"/>
                </a:lnTo>
                <a:lnTo>
                  <a:pt x="15" y="995"/>
                </a:lnTo>
                <a:lnTo>
                  <a:pt x="15" y="994"/>
                </a:lnTo>
                <a:lnTo>
                  <a:pt x="18" y="990"/>
                </a:lnTo>
                <a:lnTo>
                  <a:pt x="25" y="990"/>
                </a:lnTo>
                <a:lnTo>
                  <a:pt x="26" y="991"/>
                </a:lnTo>
                <a:lnTo>
                  <a:pt x="27" y="990"/>
                </a:lnTo>
                <a:lnTo>
                  <a:pt x="29" y="990"/>
                </a:lnTo>
                <a:lnTo>
                  <a:pt x="30" y="991"/>
                </a:lnTo>
                <a:lnTo>
                  <a:pt x="31" y="991"/>
                </a:lnTo>
                <a:lnTo>
                  <a:pt x="35" y="995"/>
                </a:lnTo>
                <a:lnTo>
                  <a:pt x="33" y="996"/>
                </a:lnTo>
                <a:lnTo>
                  <a:pt x="30" y="996"/>
                </a:lnTo>
                <a:lnTo>
                  <a:pt x="29" y="999"/>
                </a:lnTo>
                <a:lnTo>
                  <a:pt x="30" y="999"/>
                </a:lnTo>
                <a:lnTo>
                  <a:pt x="33" y="996"/>
                </a:lnTo>
                <a:lnTo>
                  <a:pt x="42" y="995"/>
                </a:lnTo>
                <a:lnTo>
                  <a:pt x="43" y="996"/>
                </a:lnTo>
                <a:lnTo>
                  <a:pt x="43" y="999"/>
                </a:lnTo>
                <a:lnTo>
                  <a:pt x="42" y="1001"/>
                </a:lnTo>
                <a:lnTo>
                  <a:pt x="40" y="1004"/>
                </a:lnTo>
                <a:lnTo>
                  <a:pt x="43" y="1002"/>
                </a:lnTo>
                <a:lnTo>
                  <a:pt x="43" y="1001"/>
                </a:lnTo>
                <a:lnTo>
                  <a:pt x="44" y="997"/>
                </a:lnTo>
                <a:lnTo>
                  <a:pt x="45" y="996"/>
                </a:lnTo>
                <a:lnTo>
                  <a:pt x="45" y="997"/>
                </a:lnTo>
                <a:lnTo>
                  <a:pt x="48" y="999"/>
                </a:lnTo>
                <a:lnTo>
                  <a:pt x="49" y="1001"/>
                </a:lnTo>
                <a:lnTo>
                  <a:pt x="50" y="1002"/>
                </a:lnTo>
                <a:lnTo>
                  <a:pt x="52" y="1002"/>
                </a:lnTo>
                <a:lnTo>
                  <a:pt x="52" y="1001"/>
                </a:lnTo>
                <a:lnTo>
                  <a:pt x="51" y="1001"/>
                </a:lnTo>
                <a:lnTo>
                  <a:pt x="50" y="1000"/>
                </a:lnTo>
                <a:lnTo>
                  <a:pt x="50" y="999"/>
                </a:lnTo>
                <a:lnTo>
                  <a:pt x="49" y="999"/>
                </a:lnTo>
                <a:lnTo>
                  <a:pt x="49" y="997"/>
                </a:lnTo>
                <a:lnTo>
                  <a:pt x="48" y="997"/>
                </a:lnTo>
                <a:lnTo>
                  <a:pt x="48" y="996"/>
                </a:lnTo>
                <a:lnTo>
                  <a:pt x="57" y="996"/>
                </a:lnTo>
                <a:lnTo>
                  <a:pt x="58" y="997"/>
                </a:lnTo>
                <a:lnTo>
                  <a:pt x="61" y="999"/>
                </a:lnTo>
                <a:lnTo>
                  <a:pt x="66" y="1000"/>
                </a:lnTo>
                <a:lnTo>
                  <a:pt x="68" y="997"/>
                </a:lnTo>
                <a:lnTo>
                  <a:pt x="68" y="995"/>
                </a:lnTo>
                <a:lnTo>
                  <a:pt x="69" y="994"/>
                </a:lnTo>
                <a:lnTo>
                  <a:pt x="70" y="994"/>
                </a:lnTo>
                <a:lnTo>
                  <a:pt x="71" y="993"/>
                </a:lnTo>
                <a:lnTo>
                  <a:pt x="73" y="993"/>
                </a:lnTo>
                <a:lnTo>
                  <a:pt x="75" y="994"/>
                </a:lnTo>
                <a:lnTo>
                  <a:pt x="76" y="995"/>
                </a:lnTo>
                <a:lnTo>
                  <a:pt x="77" y="995"/>
                </a:lnTo>
                <a:lnTo>
                  <a:pt x="77" y="996"/>
                </a:lnTo>
                <a:lnTo>
                  <a:pt x="79" y="996"/>
                </a:lnTo>
                <a:lnTo>
                  <a:pt x="79" y="994"/>
                </a:lnTo>
                <a:lnTo>
                  <a:pt x="80" y="994"/>
                </a:lnTo>
                <a:lnTo>
                  <a:pt x="80" y="993"/>
                </a:lnTo>
                <a:lnTo>
                  <a:pt x="79" y="993"/>
                </a:lnTo>
                <a:lnTo>
                  <a:pt x="77" y="994"/>
                </a:lnTo>
                <a:lnTo>
                  <a:pt x="77" y="993"/>
                </a:lnTo>
                <a:lnTo>
                  <a:pt x="74" y="993"/>
                </a:lnTo>
                <a:lnTo>
                  <a:pt x="74" y="991"/>
                </a:lnTo>
                <a:lnTo>
                  <a:pt x="73" y="991"/>
                </a:lnTo>
                <a:lnTo>
                  <a:pt x="69" y="993"/>
                </a:lnTo>
                <a:lnTo>
                  <a:pt x="67" y="995"/>
                </a:lnTo>
                <a:lnTo>
                  <a:pt x="67" y="996"/>
                </a:lnTo>
                <a:lnTo>
                  <a:pt x="66" y="997"/>
                </a:lnTo>
                <a:lnTo>
                  <a:pt x="56" y="995"/>
                </a:lnTo>
                <a:lnTo>
                  <a:pt x="49" y="995"/>
                </a:lnTo>
                <a:lnTo>
                  <a:pt x="46" y="994"/>
                </a:lnTo>
                <a:lnTo>
                  <a:pt x="43" y="994"/>
                </a:lnTo>
                <a:lnTo>
                  <a:pt x="42" y="993"/>
                </a:lnTo>
                <a:lnTo>
                  <a:pt x="39" y="993"/>
                </a:lnTo>
                <a:lnTo>
                  <a:pt x="37" y="995"/>
                </a:lnTo>
                <a:lnTo>
                  <a:pt x="33" y="991"/>
                </a:lnTo>
                <a:lnTo>
                  <a:pt x="42" y="990"/>
                </a:lnTo>
                <a:lnTo>
                  <a:pt x="43" y="990"/>
                </a:lnTo>
                <a:lnTo>
                  <a:pt x="43" y="989"/>
                </a:lnTo>
                <a:lnTo>
                  <a:pt x="30" y="989"/>
                </a:lnTo>
                <a:lnTo>
                  <a:pt x="25" y="988"/>
                </a:lnTo>
                <a:lnTo>
                  <a:pt x="18" y="988"/>
                </a:lnTo>
                <a:lnTo>
                  <a:pt x="15" y="989"/>
                </a:lnTo>
                <a:lnTo>
                  <a:pt x="14" y="990"/>
                </a:lnTo>
                <a:lnTo>
                  <a:pt x="12" y="989"/>
                </a:lnTo>
                <a:lnTo>
                  <a:pt x="11" y="989"/>
                </a:lnTo>
                <a:lnTo>
                  <a:pt x="9" y="990"/>
                </a:lnTo>
                <a:lnTo>
                  <a:pt x="9" y="991"/>
                </a:lnTo>
                <a:lnTo>
                  <a:pt x="7" y="989"/>
                </a:lnTo>
                <a:lnTo>
                  <a:pt x="7" y="988"/>
                </a:lnTo>
                <a:lnTo>
                  <a:pt x="5" y="988"/>
                </a:lnTo>
                <a:lnTo>
                  <a:pt x="4" y="987"/>
                </a:lnTo>
                <a:lnTo>
                  <a:pt x="4" y="985"/>
                </a:lnTo>
                <a:lnTo>
                  <a:pt x="5" y="985"/>
                </a:lnTo>
                <a:lnTo>
                  <a:pt x="5" y="984"/>
                </a:lnTo>
                <a:lnTo>
                  <a:pt x="2" y="982"/>
                </a:lnTo>
                <a:lnTo>
                  <a:pt x="2" y="978"/>
                </a:lnTo>
                <a:lnTo>
                  <a:pt x="4" y="979"/>
                </a:lnTo>
                <a:lnTo>
                  <a:pt x="6" y="981"/>
                </a:lnTo>
                <a:lnTo>
                  <a:pt x="7" y="981"/>
                </a:lnTo>
                <a:lnTo>
                  <a:pt x="7" y="979"/>
                </a:lnTo>
                <a:lnTo>
                  <a:pt x="8" y="979"/>
                </a:lnTo>
                <a:lnTo>
                  <a:pt x="9" y="982"/>
                </a:lnTo>
                <a:lnTo>
                  <a:pt x="9" y="983"/>
                </a:lnTo>
                <a:lnTo>
                  <a:pt x="8" y="983"/>
                </a:lnTo>
                <a:lnTo>
                  <a:pt x="8" y="984"/>
                </a:lnTo>
                <a:lnTo>
                  <a:pt x="9" y="984"/>
                </a:lnTo>
                <a:lnTo>
                  <a:pt x="9" y="985"/>
                </a:lnTo>
                <a:lnTo>
                  <a:pt x="11" y="985"/>
                </a:lnTo>
                <a:lnTo>
                  <a:pt x="11" y="984"/>
                </a:lnTo>
                <a:lnTo>
                  <a:pt x="12" y="984"/>
                </a:lnTo>
                <a:lnTo>
                  <a:pt x="12" y="985"/>
                </a:lnTo>
                <a:lnTo>
                  <a:pt x="13" y="985"/>
                </a:lnTo>
                <a:lnTo>
                  <a:pt x="13" y="983"/>
                </a:lnTo>
                <a:lnTo>
                  <a:pt x="15" y="982"/>
                </a:lnTo>
                <a:lnTo>
                  <a:pt x="15" y="979"/>
                </a:lnTo>
                <a:lnTo>
                  <a:pt x="17" y="979"/>
                </a:lnTo>
                <a:lnTo>
                  <a:pt x="19" y="981"/>
                </a:lnTo>
                <a:lnTo>
                  <a:pt x="20" y="979"/>
                </a:lnTo>
                <a:lnTo>
                  <a:pt x="19" y="978"/>
                </a:lnTo>
                <a:lnTo>
                  <a:pt x="17" y="978"/>
                </a:lnTo>
                <a:lnTo>
                  <a:pt x="17" y="977"/>
                </a:lnTo>
                <a:lnTo>
                  <a:pt x="12" y="972"/>
                </a:lnTo>
                <a:lnTo>
                  <a:pt x="7" y="972"/>
                </a:lnTo>
                <a:lnTo>
                  <a:pt x="7" y="970"/>
                </a:lnTo>
                <a:lnTo>
                  <a:pt x="8" y="970"/>
                </a:lnTo>
                <a:lnTo>
                  <a:pt x="6" y="967"/>
                </a:lnTo>
                <a:lnTo>
                  <a:pt x="6" y="966"/>
                </a:lnTo>
                <a:lnTo>
                  <a:pt x="7" y="966"/>
                </a:lnTo>
                <a:lnTo>
                  <a:pt x="6" y="965"/>
                </a:lnTo>
                <a:lnTo>
                  <a:pt x="6" y="964"/>
                </a:lnTo>
                <a:lnTo>
                  <a:pt x="9" y="964"/>
                </a:lnTo>
                <a:lnTo>
                  <a:pt x="9" y="963"/>
                </a:lnTo>
                <a:lnTo>
                  <a:pt x="11" y="963"/>
                </a:lnTo>
                <a:lnTo>
                  <a:pt x="13" y="965"/>
                </a:lnTo>
                <a:lnTo>
                  <a:pt x="13" y="966"/>
                </a:lnTo>
                <a:lnTo>
                  <a:pt x="14" y="966"/>
                </a:lnTo>
                <a:lnTo>
                  <a:pt x="14" y="970"/>
                </a:lnTo>
                <a:lnTo>
                  <a:pt x="17" y="972"/>
                </a:lnTo>
                <a:lnTo>
                  <a:pt x="19" y="973"/>
                </a:lnTo>
                <a:lnTo>
                  <a:pt x="21" y="976"/>
                </a:lnTo>
                <a:lnTo>
                  <a:pt x="23" y="981"/>
                </a:lnTo>
                <a:lnTo>
                  <a:pt x="24" y="979"/>
                </a:lnTo>
                <a:lnTo>
                  <a:pt x="25" y="976"/>
                </a:lnTo>
                <a:lnTo>
                  <a:pt x="25" y="975"/>
                </a:lnTo>
                <a:lnTo>
                  <a:pt x="26" y="975"/>
                </a:lnTo>
                <a:lnTo>
                  <a:pt x="27" y="976"/>
                </a:lnTo>
                <a:lnTo>
                  <a:pt x="26" y="973"/>
                </a:lnTo>
                <a:lnTo>
                  <a:pt x="20" y="972"/>
                </a:lnTo>
                <a:lnTo>
                  <a:pt x="20" y="971"/>
                </a:lnTo>
                <a:lnTo>
                  <a:pt x="19" y="971"/>
                </a:lnTo>
                <a:lnTo>
                  <a:pt x="19" y="970"/>
                </a:lnTo>
                <a:lnTo>
                  <a:pt x="20" y="967"/>
                </a:lnTo>
                <a:lnTo>
                  <a:pt x="20" y="966"/>
                </a:lnTo>
                <a:lnTo>
                  <a:pt x="23" y="964"/>
                </a:lnTo>
                <a:lnTo>
                  <a:pt x="23" y="965"/>
                </a:lnTo>
                <a:lnTo>
                  <a:pt x="25" y="966"/>
                </a:lnTo>
                <a:lnTo>
                  <a:pt x="29" y="966"/>
                </a:lnTo>
                <a:lnTo>
                  <a:pt x="30" y="967"/>
                </a:lnTo>
                <a:lnTo>
                  <a:pt x="30" y="969"/>
                </a:lnTo>
                <a:lnTo>
                  <a:pt x="31" y="970"/>
                </a:lnTo>
                <a:lnTo>
                  <a:pt x="31" y="971"/>
                </a:lnTo>
                <a:lnTo>
                  <a:pt x="32" y="971"/>
                </a:lnTo>
                <a:lnTo>
                  <a:pt x="31" y="969"/>
                </a:lnTo>
                <a:lnTo>
                  <a:pt x="31" y="966"/>
                </a:lnTo>
                <a:lnTo>
                  <a:pt x="32" y="965"/>
                </a:lnTo>
                <a:lnTo>
                  <a:pt x="36" y="965"/>
                </a:lnTo>
                <a:lnTo>
                  <a:pt x="38" y="964"/>
                </a:lnTo>
                <a:lnTo>
                  <a:pt x="39" y="963"/>
                </a:lnTo>
                <a:lnTo>
                  <a:pt x="40" y="964"/>
                </a:lnTo>
                <a:lnTo>
                  <a:pt x="42" y="964"/>
                </a:lnTo>
                <a:lnTo>
                  <a:pt x="42" y="973"/>
                </a:lnTo>
                <a:lnTo>
                  <a:pt x="39" y="977"/>
                </a:lnTo>
                <a:lnTo>
                  <a:pt x="38" y="979"/>
                </a:lnTo>
                <a:lnTo>
                  <a:pt x="42" y="976"/>
                </a:lnTo>
                <a:lnTo>
                  <a:pt x="43" y="973"/>
                </a:lnTo>
                <a:lnTo>
                  <a:pt x="43" y="969"/>
                </a:lnTo>
                <a:lnTo>
                  <a:pt x="44" y="969"/>
                </a:lnTo>
                <a:lnTo>
                  <a:pt x="46" y="972"/>
                </a:lnTo>
                <a:lnTo>
                  <a:pt x="48" y="973"/>
                </a:lnTo>
                <a:lnTo>
                  <a:pt x="48" y="976"/>
                </a:lnTo>
                <a:lnTo>
                  <a:pt x="49" y="975"/>
                </a:lnTo>
                <a:lnTo>
                  <a:pt x="54" y="975"/>
                </a:lnTo>
                <a:lnTo>
                  <a:pt x="61" y="976"/>
                </a:lnTo>
                <a:lnTo>
                  <a:pt x="49" y="972"/>
                </a:lnTo>
                <a:lnTo>
                  <a:pt x="49" y="971"/>
                </a:lnTo>
                <a:lnTo>
                  <a:pt x="48" y="969"/>
                </a:lnTo>
                <a:lnTo>
                  <a:pt x="46" y="969"/>
                </a:lnTo>
                <a:lnTo>
                  <a:pt x="44" y="965"/>
                </a:lnTo>
                <a:lnTo>
                  <a:pt x="42" y="964"/>
                </a:lnTo>
                <a:lnTo>
                  <a:pt x="42" y="961"/>
                </a:lnTo>
                <a:lnTo>
                  <a:pt x="43" y="961"/>
                </a:lnTo>
                <a:lnTo>
                  <a:pt x="45" y="963"/>
                </a:lnTo>
                <a:lnTo>
                  <a:pt x="46" y="963"/>
                </a:lnTo>
                <a:lnTo>
                  <a:pt x="45" y="961"/>
                </a:lnTo>
                <a:lnTo>
                  <a:pt x="44" y="961"/>
                </a:lnTo>
                <a:lnTo>
                  <a:pt x="44" y="959"/>
                </a:lnTo>
                <a:lnTo>
                  <a:pt x="43" y="959"/>
                </a:lnTo>
                <a:lnTo>
                  <a:pt x="44" y="957"/>
                </a:lnTo>
                <a:lnTo>
                  <a:pt x="49" y="952"/>
                </a:lnTo>
                <a:lnTo>
                  <a:pt x="51" y="952"/>
                </a:lnTo>
                <a:lnTo>
                  <a:pt x="58" y="948"/>
                </a:lnTo>
                <a:lnTo>
                  <a:pt x="60" y="950"/>
                </a:lnTo>
                <a:lnTo>
                  <a:pt x="60" y="951"/>
                </a:lnTo>
                <a:lnTo>
                  <a:pt x="61" y="953"/>
                </a:lnTo>
                <a:lnTo>
                  <a:pt x="62" y="957"/>
                </a:lnTo>
                <a:lnTo>
                  <a:pt x="62" y="958"/>
                </a:lnTo>
                <a:lnTo>
                  <a:pt x="64" y="959"/>
                </a:lnTo>
                <a:lnTo>
                  <a:pt x="66" y="960"/>
                </a:lnTo>
                <a:lnTo>
                  <a:pt x="68" y="966"/>
                </a:lnTo>
                <a:lnTo>
                  <a:pt x="69" y="967"/>
                </a:lnTo>
                <a:lnTo>
                  <a:pt x="69" y="969"/>
                </a:lnTo>
                <a:lnTo>
                  <a:pt x="68" y="972"/>
                </a:lnTo>
                <a:lnTo>
                  <a:pt x="70" y="970"/>
                </a:lnTo>
                <a:lnTo>
                  <a:pt x="69" y="967"/>
                </a:lnTo>
                <a:lnTo>
                  <a:pt x="66" y="959"/>
                </a:lnTo>
                <a:lnTo>
                  <a:pt x="63" y="953"/>
                </a:lnTo>
                <a:lnTo>
                  <a:pt x="62" y="951"/>
                </a:lnTo>
                <a:lnTo>
                  <a:pt x="62" y="947"/>
                </a:lnTo>
                <a:lnTo>
                  <a:pt x="63" y="946"/>
                </a:lnTo>
                <a:lnTo>
                  <a:pt x="67" y="946"/>
                </a:lnTo>
                <a:lnTo>
                  <a:pt x="68" y="947"/>
                </a:lnTo>
                <a:lnTo>
                  <a:pt x="69" y="950"/>
                </a:lnTo>
                <a:lnTo>
                  <a:pt x="69" y="946"/>
                </a:lnTo>
                <a:lnTo>
                  <a:pt x="68" y="945"/>
                </a:lnTo>
                <a:lnTo>
                  <a:pt x="69" y="944"/>
                </a:lnTo>
                <a:lnTo>
                  <a:pt x="73" y="942"/>
                </a:lnTo>
                <a:lnTo>
                  <a:pt x="74" y="941"/>
                </a:lnTo>
                <a:lnTo>
                  <a:pt x="75" y="941"/>
                </a:lnTo>
                <a:lnTo>
                  <a:pt x="76" y="942"/>
                </a:lnTo>
                <a:lnTo>
                  <a:pt x="82" y="944"/>
                </a:lnTo>
                <a:lnTo>
                  <a:pt x="82" y="951"/>
                </a:lnTo>
                <a:lnTo>
                  <a:pt x="87" y="956"/>
                </a:lnTo>
                <a:lnTo>
                  <a:pt x="87" y="959"/>
                </a:lnTo>
                <a:lnTo>
                  <a:pt x="88" y="963"/>
                </a:lnTo>
                <a:lnTo>
                  <a:pt x="87" y="964"/>
                </a:lnTo>
                <a:lnTo>
                  <a:pt x="87" y="965"/>
                </a:lnTo>
                <a:lnTo>
                  <a:pt x="85" y="970"/>
                </a:lnTo>
                <a:lnTo>
                  <a:pt x="85" y="971"/>
                </a:lnTo>
                <a:lnTo>
                  <a:pt x="87" y="973"/>
                </a:lnTo>
                <a:lnTo>
                  <a:pt x="88" y="973"/>
                </a:lnTo>
                <a:lnTo>
                  <a:pt x="92" y="972"/>
                </a:lnTo>
                <a:lnTo>
                  <a:pt x="93" y="971"/>
                </a:lnTo>
                <a:lnTo>
                  <a:pt x="94" y="971"/>
                </a:lnTo>
                <a:lnTo>
                  <a:pt x="95" y="972"/>
                </a:lnTo>
                <a:lnTo>
                  <a:pt x="94" y="970"/>
                </a:lnTo>
                <a:lnTo>
                  <a:pt x="88" y="972"/>
                </a:lnTo>
                <a:lnTo>
                  <a:pt x="86" y="970"/>
                </a:lnTo>
                <a:lnTo>
                  <a:pt x="87" y="969"/>
                </a:lnTo>
                <a:lnTo>
                  <a:pt x="88" y="966"/>
                </a:lnTo>
                <a:lnTo>
                  <a:pt x="89" y="965"/>
                </a:lnTo>
                <a:lnTo>
                  <a:pt x="89" y="964"/>
                </a:lnTo>
                <a:lnTo>
                  <a:pt x="88" y="958"/>
                </a:lnTo>
                <a:lnTo>
                  <a:pt x="89" y="957"/>
                </a:lnTo>
                <a:lnTo>
                  <a:pt x="92" y="957"/>
                </a:lnTo>
                <a:lnTo>
                  <a:pt x="96" y="959"/>
                </a:lnTo>
                <a:lnTo>
                  <a:pt x="98" y="958"/>
                </a:lnTo>
                <a:lnTo>
                  <a:pt x="98" y="957"/>
                </a:lnTo>
                <a:lnTo>
                  <a:pt x="101" y="957"/>
                </a:lnTo>
                <a:lnTo>
                  <a:pt x="102" y="958"/>
                </a:lnTo>
                <a:lnTo>
                  <a:pt x="102" y="959"/>
                </a:lnTo>
                <a:lnTo>
                  <a:pt x="104" y="960"/>
                </a:lnTo>
                <a:lnTo>
                  <a:pt x="105" y="960"/>
                </a:lnTo>
                <a:lnTo>
                  <a:pt x="102" y="957"/>
                </a:lnTo>
                <a:lnTo>
                  <a:pt x="100" y="954"/>
                </a:lnTo>
                <a:lnTo>
                  <a:pt x="94" y="956"/>
                </a:lnTo>
                <a:lnTo>
                  <a:pt x="88" y="954"/>
                </a:lnTo>
                <a:lnTo>
                  <a:pt x="86" y="952"/>
                </a:lnTo>
                <a:lnTo>
                  <a:pt x="83" y="948"/>
                </a:lnTo>
                <a:lnTo>
                  <a:pt x="86" y="948"/>
                </a:lnTo>
                <a:lnTo>
                  <a:pt x="86" y="947"/>
                </a:lnTo>
                <a:lnTo>
                  <a:pt x="81" y="940"/>
                </a:lnTo>
                <a:lnTo>
                  <a:pt x="77" y="940"/>
                </a:lnTo>
                <a:lnTo>
                  <a:pt x="77" y="939"/>
                </a:lnTo>
                <a:lnTo>
                  <a:pt x="74" y="939"/>
                </a:lnTo>
                <a:lnTo>
                  <a:pt x="66" y="942"/>
                </a:lnTo>
                <a:lnTo>
                  <a:pt x="62" y="944"/>
                </a:lnTo>
                <a:lnTo>
                  <a:pt x="61" y="942"/>
                </a:lnTo>
                <a:lnTo>
                  <a:pt x="60" y="942"/>
                </a:lnTo>
                <a:lnTo>
                  <a:pt x="58" y="940"/>
                </a:lnTo>
                <a:lnTo>
                  <a:pt x="57" y="940"/>
                </a:lnTo>
                <a:lnTo>
                  <a:pt x="56" y="941"/>
                </a:lnTo>
                <a:lnTo>
                  <a:pt x="55" y="941"/>
                </a:lnTo>
                <a:lnTo>
                  <a:pt x="55" y="940"/>
                </a:lnTo>
                <a:lnTo>
                  <a:pt x="56" y="939"/>
                </a:lnTo>
                <a:lnTo>
                  <a:pt x="60" y="939"/>
                </a:lnTo>
                <a:lnTo>
                  <a:pt x="63" y="938"/>
                </a:lnTo>
                <a:lnTo>
                  <a:pt x="63" y="936"/>
                </a:lnTo>
                <a:lnTo>
                  <a:pt x="73" y="936"/>
                </a:lnTo>
                <a:lnTo>
                  <a:pt x="71" y="934"/>
                </a:lnTo>
                <a:lnTo>
                  <a:pt x="69" y="935"/>
                </a:lnTo>
                <a:lnTo>
                  <a:pt x="66" y="935"/>
                </a:lnTo>
                <a:lnTo>
                  <a:pt x="66" y="934"/>
                </a:lnTo>
                <a:lnTo>
                  <a:pt x="69" y="934"/>
                </a:lnTo>
                <a:lnTo>
                  <a:pt x="68" y="933"/>
                </a:lnTo>
                <a:lnTo>
                  <a:pt x="56" y="934"/>
                </a:lnTo>
                <a:lnTo>
                  <a:pt x="56" y="928"/>
                </a:lnTo>
                <a:lnTo>
                  <a:pt x="57" y="927"/>
                </a:lnTo>
                <a:lnTo>
                  <a:pt x="58" y="927"/>
                </a:lnTo>
                <a:lnTo>
                  <a:pt x="68" y="926"/>
                </a:lnTo>
                <a:lnTo>
                  <a:pt x="69" y="926"/>
                </a:lnTo>
                <a:lnTo>
                  <a:pt x="70" y="927"/>
                </a:lnTo>
                <a:lnTo>
                  <a:pt x="70" y="930"/>
                </a:lnTo>
                <a:lnTo>
                  <a:pt x="71" y="930"/>
                </a:lnTo>
                <a:lnTo>
                  <a:pt x="71" y="924"/>
                </a:lnTo>
                <a:lnTo>
                  <a:pt x="73" y="926"/>
                </a:lnTo>
                <a:lnTo>
                  <a:pt x="73" y="927"/>
                </a:lnTo>
                <a:lnTo>
                  <a:pt x="74" y="924"/>
                </a:lnTo>
                <a:lnTo>
                  <a:pt x="76" y="922"/>
                </a:lnTo>
                <a:lnTo>
                  <a:pt x="77" y="922"/>
                </a:lnTo>
                <a:lnTo>
                  <a:pt x="83" y="928"/>
                </a:lnTo>
                <a:lnTo>
                  <a:pt x="83" y="929"/>
                </a:lnTo>
                <a:lnTo>
                  <a:pt x="85" y="929"/>
                </a:lnTo>
                <a:lnTo>
                  <a:pt x="83" y="928"/>
                </a:lnTo>
                <a:lnTo>
                  <a:pt x="83" y="927"/>
                </a:lnTo>
                <a:lnTo>
                  <a:pt x="85" y="924"/>
                </a:lnTo>
                <a:lnTo>
                  <a:pt x="83" y="924"/>
                </a:lnTo>
                <a:lnTo>
                  <a:pt x="82" y="923"/>
                </a:lnTo>
                <a:lnTo>
                  <a:pt x="85" y="922"/>
                </a:lnTo>
                <a:lnTo>
                  <a:pt x="92" y="922"/>
                </a:lnTo>
                <a:lnTo>
                  <a:pt x="91" y="923"/>
                </a:lnTo>
                <a:lnTo>
                  <a:pt x="91" y="924"/>
                </a:lnTo>
                <a:lnTo>
                  <a:pt x="89" y="924"/>
                </a:lnTo>
                <a:lnTo>
                  <a:pt x="89" y="927"/>
                </a:lnTo>
                <a:lnTo>
                  <a:pt x="92" y="926"/>
                </a:lnTo>
                <a:lnTo>
                  <a:pt x="92" y="929"/>
                </a:lnTo>
                <a:lnTo>
                  <a:pt x="93" y="932"/>
                </a:lnTo>
                <a:lnTo>
                  <a:pt x="93" y="933"/>
                </a:lnTo>
                <a:lnTo>
                  <a:pt x="94" y="930"/>
                </a:lnTo>
                <a:lnTo>
                  <a:pt x="94" y="929"/>
                </a:lnTo>
                <a:lnTo>
                  <a:pt x="93" y="928"/>
                </a:lnTo>
                <a:lnTo>
                  <a:pt x="93" y="927"/>
                </a:lnTo>
                <a:lnTo>
                  <a:pt x="94" y="924"/>
                </a:lnTo>
                <a:lnTo>
                  <a:pt x="96" y="926"/>
                </a:lnTo>
                <a:lnTo>
                  <a:pt x="100" y="927"/>
                </a:lnTo>
                <a:lnTo>
                  <a:pt x="102" y="928"/>
                </a:lnTo>
                <a:lnTo>
                  <a:pt x="105" y="932"/>
                </a:lnTo>
                <a:lnTo>
                  <a:pt x="108" y="932"/>
                </a:lnTo>
                <a:lnTo>
                  <a:pt x="110" y="933"/>
                </a:lnTo>
                <a:lnTo>
                  <a:pt x="110" y="936"/>
                </a:lnTo>
                <a:lnTo>
                  <a:pt x="111" y="935"/>
                </a:lnTo>
                <a:lnTo>
                  <a:pt x="111" y="933"/>
                </a:lnTo>
                <a:lnTo>
                  <a:pt x="112" y="932"/>
                </a:lnTo>
                <a:lnTo>
                  <a:pt x="120" y="929"/>
                </a:lnTo>
                <a:lnTo>
                  <a:pt x="119" y="928"/>
                </a:lnTo>
                <a:lnTo>
                  <a:pt x="108" y="930"/>
                </a:lnTo>
                <a:lnTo>
                  <a:pt x="105" y="927"/>
                </a:lnTo>
                <a:lnTo>
                  <a:pt x="105" y="924"/>
                </a:lnTo>
                <a:lnTo>
                  <a:pt x="106" y="923"/>
                </a:lnTo>
                <a:lnTo>
                  <a:pt x="107" y="923"/>
                </a:lnTo>
                <a:lnTo>
                  <a:pt x="108" y="926"/>
                </a:lnTo>
                <a:lnTo>
                  <a:pt x="108" y="928"/>
                </a:lnTo>
                <a:lnTo>
                  <a:pt x="110" y="928"/>
                </a:lnTo>
                <a:lnTo>
                  <a:pt x="110" y="926"/>
                </a:lnTo>
                <a:lnTo>
                  <a:pt x="108" y="922"/>
                </a:lnTo>
                <a:lnTo>
                  <a:pt x="108" y="921"/>
                </a:lnTo>
                <a:lnTo>
                  <a:pt x="110" y="921"/>
                </a:lnTo>
                <a:lnTo>
                  <a:pt x="111" y="920"/>
                </a:lnTo>
                <a:lnTo>
                  <a:pt x="113" y="918"/>
                </a:lnTo>
                <a:lnTo>
                  <a:pt x="123" y="915"/>
                </a:lnTo>
                <a:lnTo>
                  <a:pt x="131" y="915"/>
                </a:lnTo>
                <a:lnTo>
                  <a:pt x="135" y="918"/>
                </a:lnTo>
                <a:lnTo>
                  <a:pt x="136" y="918"/>
                </a:lnTo>
                <a:lnTo>
                  <a:pt x="135" y="916"/>
                </a:lnTo>
                <a:lnTo>
                  <a:pt x="132" y="915"/>
                </a:lnTo>
                <a:lnTo>
                  <a:pt x="131" y="913"/>
                </a:lnTo>
                <a:lnTo>
                  <a:pt x="132" y="913"/>
                </a:lnTo>
                <a:lnTo>
                  <a:pt x="132" y="910"/>
                </a:lnTo>
                <a:lnTo>
                  <a:pt x="131" y="910"/>
                </a:lnTo>
                <a:lnTo>
                  <a:pt x="130" y="911"/>
                </a:lnTo>
                <a:lnTo>
                  <a:pt x="125" y="913"/>
                </a:lnTo>
                <a:lnTo>
                  <a:pt x="124" y="914"/>
                </a:lnTo>
                <a:lnTo>
                  <a:pt x="114" y="915"/>
                </a:lnTo>
                <a:lnTo>
                  <a:pt x="110" y="918"/>
                </a:lnTo>
                <a:lnTo>
                  <a:pt x="108" y="920"/>
                </a:lnTo>
                <a:lnTo>
                  <a:pt x="104" y="920"/>
                </a:lnTo>
                <a:lnTo>
                  <a:pt x="102" y="918"/>
                </a:lnTo>
                <a:lnTo>
                  <a:pt x="104" y="917"/>
                </a:lnTo>
                <a:lnTo>
                  <a:pt x="105" y="917"/>
                </a:lnTo>
                <a:lnTo>
                  <a:pt x="102" y="915"/>
                </a:lnTo>
                <a:lnTo>
                  <a:pt x="105" y="915"/>
                </a:lnTo>
                <a:lnTo>
                  <a:pt x="107" y="911"/>
                </a:lnTo>
                <a:lnTo>
                  <a:pt x="116" y="909"/>
                </a:lnTo>
                <a:lnTo>
                  <a:pt x="113" y="909"/>
                </a:lnTo>
                <a:lnTo>
                  <a:pt x="106" y="911"/>
                </a:lnTo>
                <a:lnTo>
                  <a:pt x="105" y="913"/>
                </a:lnTo>
                <a:lnTo>
                  <a:pt x="102" y="913"/>
                </a:lnTo>
                <a:lnTo>
                  <a:pt x="100" y="914"/>
                </a:lnTo>
                <a:lnTo>
                  <a:pt x="86" y="916"/>
                </a:lnTo>
                <a:lnTo>
                  <a:pt x="85" y="915"/>
                </a:lnTo>
                <a:lnTo>
                  <a:pt x="86" y="915"/>
                </a:lnTo>
                <a:lnTo>
                  <a:pt x="87" y="914"/>
                </a:lnTo>
                <a:lnTo>
                  <a:pt x="87" y="913"/>
                </a:lnTo>
                <a:lnTo>
                  <a:pt x="86" y="913"/>
                </a:lnTo>
                <a:lnTo>
                  <a:pt x="86" y="909"/>
                </a:lnTo>
                <a:lnTo>
                  <a:pt x="88" y="908"/>
                </a:lnTo>
                <a:lnTo>
                  <a:pt x="89" y="907"/>
                </a:lnTo>
                <a:lnTo>
                  <a:pt x="96" y="908"/>
                </a:lnTo>
                <a:lnTo>
                  <a:pt x="95" y="907"/>
                </a:lnTo>
                <a:lnTo>
                  <a:pt x="94" y="904"/>
                </a:lnTo>
                <a:lnTo>
                  <a:pt x="93" y="904"/>
                </a:lnTo>
                <a:lnTo>
                  <a:pt x="88" y="905"/>
                </a:lnTo>
                <a:lnTo>
                  <a:pt x="87" y="904"/>
                </a:lnTo>
                <a:lnTo>
                  <a:pt x="86" y="901"/>
                </a:lnTo>
                <a:lnTo>
                  <a:pt x="85" y="899"/>
                </a:lnTo>
                <a:lnTo>
                  <a:pt x="85" y="898"/>
                </a:lnTo>
                <a:lnTo>
                  <a:pt x="82" y="898"/>
                </a:lnTo>
                <a:lnTo>
                  <a:pt x="82" y="897"/>
                </a:lnTo>
                <a:lnTo>
                  <a:pt x="83" y="897"/>
                </a:lnTo>
                <a:lnTo>
                  <a:pt x="91" y="892"/>
                </a:lnTo>
                <a:lnTo>
                  <a:pt x="92" y="891"/>
                </a:lnTo>
                <a:lnTo>
                  <a:pt x="94" y="890"/>
                </a:lnTo>
                <a:lnTo>
                  <a:pt x="98" y="889"/>
                </a:lnTo>
                <a:lnTo>
                  <a:pt x="99" y="889"/>
                </a:lnTo>
                <a:lnTo>
                  <a:pt x="100" y="890"/>
                </a:lnTo>
                <a:lnTo>
                  <a:pt x="101" y="892"/>
                </a:lnTo>
                <a:lnTo>
                  <a:pt x="102" y="892"/>
                </a:lnTo>
                <a:lnTo>
                  <a:pt x="105" y="895"/>
                </a:lnTo>
                <a:lnTo>
                  <a:pt x="105" y="896"/>
                </a:lnTo>
                <a:lnTo>
                  <a:pt x="106" y="898"/>
                </a:lnTo>
                <a:lnTo>
                  <a:pt x="108" y="898"/>
                </a:lnTo>
                <a:lnTo>
                  <a:pt x="111" y="897"/>
                </a:lnTo>
                <a:lnTo>
                  <a:pt x="113" y="893"/>
                </a:lnTo>
                <a:lnTo>
                  <a:pt x="116" y="892"/>
                </a:lnTo>
                <a:lnTo>
                  <a:pt x="120" y="892"/>
                </a:lnTo>
                <a:lnTo>
                  <a:pt x="120" y="893"/>
                </a:lnTo>
                <a:lnTo>
                  <a:pt x="119" y="895"/>
                </a:lnTo>
                <a:lnTo>
                  <a:pt x="119" y="896"/>
                </a:lnTo>
                <a:lnTo>
                  <a:pt x="116" y="898"/>
                </a:lnTo>
                <a:lnTo>
                  <a:pt x="117" y="898"/>
                </a:lnTo>
                <a:lnTo>
                  <a:pt x="123" y="895"/>
                </a:lnTo>
                <a:lnTo>
                  <a:pt x="125" y="895"/>
                </a:lnTo>
                <a:lnTo>
                  <a:pt x="127" y="892"/>
                </a:lnTo>
                <a:lnTo>
                  <a:pt x="129" y="892"/>
                </a:lnTo>
                <a:lnTo>
                  <a:pt x="132" y="895"/>
                </a:lnTo>
                <a:lnTo>
                  <a:pt x="133" y="896"/>
                </a:lnTo>
                <a:lnTo>
                  <a:pt x="133" y="897"/>
                </a:lnTo>
                <a:lnTo>
                  <a:pt x="135" y="898"/>
                </a:lnTo>
                <a:lnTo>
                  <a:pt x="135" y="903"/>
                </a:lnTo>
                <a:lnTo>
                  <a:pt x="136" y="905"/>
                </a:lnTo>
                <a:lnTo>
                  <a:pt x="136" y="908"/>
                </a:lnTo>
                <a:lnTo>
                  <a:pt x="137" y="909"/>
                </a:lnTo>
                <a:lnTo>
                  <a:pt x="142" y="910"/>
                </a:lnTo>
                <a:lnTo>
                  <a:pt x="143" y="911"/>
                </a:lnTo>
                <a:lnTo>
                  <a:pt x="147" y="916"/>
                </a:lnTo>
                <a:lnTo>
                  <a:pt x="150" y="916"/>
                </a:lnTo>
                <a:lnTo>
                  <a:pt x="153" y="918"/>
                </a:lnTo>
                <a:lnTo>
                  <a:pt x="153" y="922"/>
                </a:lnTo>
                <a:lnTo>
                  <a:pt x="154" y="920"/>
                </a:lnTo>
                <a:lnTo>
                  <a:pt x="154" y="917"/>
                </a:lnTo>
                <a:lnTo>
                  <a:pt x="149" y="913"/>
                </a:lnTo>
                <a:lnTo>
                  <a:pt x="145" y="911"/>
                </a:lnTo>
                <a:lnTo>
                  <a:pt x="143" y="909"/>
                </a:lnTo>
                <a:lnTo>
                  <a:pt x="139" y="908"/>
                </a:lnTo>
                <a:lnTo>
                  <a:pt x="137" y="904"/>
                </a:lnTo>
                <a:lnTo>
                  <a:pt x="137" y="897"/>
                </a:lnTo>
                <a:lnTo>
                  <a:pt x="136" y="897"/>
                </a:lnTo>
                <a:lnTo>
                  <a:pt x="136" y="895"/>
                </a:lnTo>
                <a:lnTo>
                  <a:pt x="135" y="893"/>
                </a:lnTo>
                <a:lnTo>
                  <a:pt x="133" y="893"/>
                </a:lnTo>
                <a:lnTo>
                  <a:pt x="129" y="889"/>
                </a:lnTo>
                <a:lnTo>
                  <a:pt x="129" y="887"/>
                </a:lnTo>
                <a:lnTo>
                  <a:pt x="127" y="887"/>
                </a:lnTo>
                <a:lnTo>
                  <a:pt x="127" y="889"/>
                </a:lnTo>
                <a:lnTo>
                  <a:pt x="129" y="890"/>
                </a:lnTo>
                <a:lnTo>
                  <a:pt x="124" y="890"/>
                </a:lnTo>
                <a:lnTo>
                  <a:pt x="125" y="889"/>
                </a:lnTo>
                <a:lnTo>
                  <a:pt x="126" y="886"/>
                </a:lnTo>
                <a:lnTo>
                  <a:pt x="127" y="886"/>
                </a:lnTo>
                <a:lnTo>
                  <a:pt x="129" y="883"/>
                </a:lnTo>
                <a:lnTo>
                  <a:pt x="130" y="881"/>
                </a:lnTo>
                <a:lnTo>
                  <a:pt x="130" y="880"/>
                </a:lnTo>
                <a:lnTo>
                  <a:pt x="133" y="880"/>
                </a:lnTo>
                <a:lnTo>
                  <a:pt x="135" y="881"/>
                </a:lnTo>
                <a:lnTo>
                  <a:pt x="135" y="885"/>
                </a:lnTo>
                <a:lnTo>
                  <a:pt x="136" y="886"/>
                </a:lnTo>
                <a:lnTo>
                  <a:pt x="136" y="887"/>
                </a:lnTo>
                <a:lnTo>
                  <a:pt x="137" y="889"/>
                </a:lnTo>
                <a:lnTo>
                  <a:pt x="139" y="890"/>
                </a:lnTo>
                <a:lnTo>
                  <a:pt x="142" y="892"/>
                </a:lnTo>
                <a:lnTo>
                  <a:pt x="143" y="892"/>
                </a:lnTo>
                <a:lnTo>
                  <a:pt x="144" y="893"/>
                </a:lnTo>
                <a:lnTo>
                  <a:pt x="144" y="895"/>
                </a:lnTo>
                <a:lnTo>
                  <a:pt x="143" y="896"/>
                </a:lnTo>
                <a:lnTo>
                  <a:pt x="143" y="897"/>
                </a:lnTo>
                <a:lnTo>
                  <a:pt x="144" y="898"/>
                </a:lnTo>
                <a:lnTo>
                  <a:pt x="143" y="901"/>
                </a:lnTo>
                <a:lnTo>
                  <a:pt x="143" y="902"/>
                </a:lnTo>
                <a:lnTo>
                  <a:pt x="144" y="901"/>
                </a:lnTo>
                <a:lnTo>
                  <a:pt x="147" y="901"/>
                </a:lnTo>
                <a:lnTo>
                  <a:pt x="150" y="904"/>
                </a:lnTo>
                <a:lnTo>
                  <a:pt x="153" y="904"/>
                </a:lnTo>
                <a:lnTo>
                  <a:pt x="151" y="902"/>
                </a:lnTo>
                <a:lnTo>
                  <a:pt x="149" y="901"/>
                </a:lnTo>
                <a:lnTo>
                  <a:pt x="148" y="899"/>
                </a:lnTo>
                <a:lnTo>
                  <a:pt x="149" y="899"/>
                </a:lnTo>
                <a:lnTo>
                  <a:pt x="154" y="902"/>
                </a:lnTo>
                <a:lnTo>
                  <a:pt x="155" y="902"/>
                </a:lnTo>
                <a:lnTo>
                  <a:pt x="155" y="903"/>
                </a:lnTo>
                <a:lnTo>
                  <a:pt x="156" y="904"/>
                </a:lnTo>
                <a:lnTo>
                  <a:pt x="156" y="905"/>
                </a:lnTo>
                <a:lnTo>
                  <a:pt x="157" y="905"/>
                </a:lnTo>
                <a:lnTo>
                  <a:pt x="158" y="907"/>
                </a:lnTo>
                <a:lnTo>
                  <a:pt x="160" y="907"/>
                </a:lnTo>
                <a:lnTo>
                  <a:pt x="156" y="902"/>
                </a:lnTo>
                <a:lnTo>
                  <a:pt x="155" y="901"/>
                </a:lnTo>
                <a:lnTo>
                  <a:pt x="151" y="901"/>
                </a:lnTo>
                <a:lnTo>
                  <a:pt x="150" y="899"/>
                </a:lnTo>
                <a:lnTo>
                  <a:pt x="148" y="895"/>
                </a:lnTo>
                <a:lnTo>
                  <a:pt x="147" y="895"/>
                </a:lnTo>
                <a:lnTo>
                  <a:pt x="156" y="893"/>
                </a:lnTo>
                <a:lnTo>
                  <a:pt x="157" y="892"/>
                </a:lnTo>
                <a:lnTo>
                  <a:pt x="156" y="891"/>
                </a:lnTo>
                <a:lnTo>
                  <a:pt x="154" y="892"/>
                </a:lnTo>
                <a:lnTo>
                  <a:pt x="153" y="892"/>
                </a:lnTo>
                <a:lnTo>
                  <a:pt x="151" y="891"/>
                </a:lnTo>
                <a:lnTo>
                  <a:pt x="154" y="889"/>
                </a:lnTo>
                <a:lnTo>
                  <a:pt x="153" y="889"/>
                </a:lnTo>
                <a:lnTo>
                  <a:pt x="150" y="891"/>
                </a:lnTo>
                <a:lnTo>
                  <a:pt x="147" y="892"/>
                </a:lnTo>
                <a:lnTo>
                  <a:pt x="145" y="892"/>
                </a:lnTo>
                <a:lnTo>
                  <a:pt x="143" y="890"/>
                </a:lnTo>
                <a:lnTo>
                  <a:pt x="148" y="890"/>
                </a:lnTo>
                <a:lnTo>
                  <a:pt x="149" y="889"/>
                </a:lnTo>
                <a:lnTo>
                  <a:pt x="148" y="887"/>
                </a:lnTo>
                <a:lnTo>
                  <a:pt x="142" y="889"/>
                </a:lnTo>
                <a:lnTo>
                  <a:pt x="141" y="889"/>
                </a:lnTo>
                <a:lnTo>
                  <a:pt x="139" y="887"/>
                </a:lnTo>
                <a:lnTo>
                  <a:pt x="139" y="884"/>
                </a:lnTo>
                <a:lnTo>
                  <a:pt x="138" y="884"/>
                </a:lnTo>
                <a:lnTo>
                  <a:pt x="138" y="881"/>
                </a:lnTo>
                <a:lnTo>
                  <a:pt x="137" y="880"/>
                </a:lnTo>
                <a:lnTo>
                  <a:pt x="137" y="878"/>
                </a:lnTo>
                <a:lnTo>
                  <a:pt x="138" y="878"/>
                </a:lnTo>
                <a:lnTo>
                  <a:pt x="142" y="881"/>
                </a:lnTo>
                <a:lnTo>
                  <a:pt x="142" y="883"/>
                </a:lnTo>
                <a:lnTo>
                  <a:pt x="143" y="883"/>
                </a:lnTo>
                <a:lnTo>
                  <a:pt x="143" y="880"/>
                </a:lnTo>
                <a:lnTo>
                  <a:pt x="142" y="879"/>
                </a:lnTo>
                <a:lnTo>
                  <a:pt x="142" y="878"/>
                </a:lnTo>
                <a:lnTo>
                  <a:pt x="139" y="877"/>
                </a:lnTo>
                <a:lnTo>
                  <a:pt x="153" y="878"/>
                </a:lnTo>
                <a:lnTo>
                  <a:pt x="156" y="880"/>
                </a:lnTo>
                <a:lnTo>
                  <a:pt x="156" y="878"/>
                </a:lnTo>
                <a:lnTo>
                  <a:pt x="154" y="877"/>
                </a:lnTo>
                <a:lnTo>
                  <a:pt x="154" y="874"/>
                </a:lnTo>
                <a:lnTo>
                  <a:pt x="155" y="873"/>
                </a:lnTo>
                <a:lnTo>
                  <a:pt x="166" y="871"/>
                </a:lnTo>
                <a:lnTo>
                  <a:pt x="157" y="871"/>
                </a:lnTo>
                <a:lnTo>
                  <a:pt x="156" y="872"/>
                </a:lnTo>
                <a:lnTo>
                  <a:pt x="155" y="871"/>
                </a:lnTo>
                <a:lnTo>
                  <a:pt x="155" y="868"/>
                </a:lnTo>
                <a:lnTo>
                  <a:pt x="154" y="867"/>
                </a:lnTo>
                <a:lnTo>
                  <a:pt x="151" y="864"/>
                </a:lnTo>
                <a:lnTo>
                  <a:pt x="150" y="864"/>
                </a:lnTo>
                <a:lnTo>
                  <a:pt x="150" y="862"/>
                </a:lnTo>
                <a:lnTo>
                  <a:pt x="151" y="861"/>
                </a:lnTo>
                <a:lnTo>
                  <a:pt x="160" y="860"/>
                </a:lnTo>
                <a:lnTo>
                  <a:pt x="162" y="858"/>
                </a:lnTo>
                <a:lnTo>
                  <a:pt x="160" y="858"/>
                </a:lnTo>
                <a:lnTo>
                  <a:pt x="158" y="856"/>
                </a:lnTo>
                <a:lnTo>
                  <a:pt x="158" y="855"/>
                </a:lnTo>
                <a:lnTo>
                  <a:pt x="156" y="854"/>
                </a:lnTo>
                <a:lnTo>
                  <a:pt x="157" y="852"/>
                </a:lnTo>
                <a:lnTo>
                  <a:pt x="157" y="850"/>
                </a:lnTo>
                <a:lnTo>
                  <a:pt x="160" y="852"/>
                </a:lnTo>
                <a:lnTo>
                  <a:pt x="161" y="852"/>
                </a:lnTo>
                <a:lnTo>
                  <a:pt x="163" y="849"/>
                </a:lnTo>
                <a:lnTo>
                  <a:pt x="167" y="853"/>
                </a:lnTo>
                <a:lnTo>
                  <a:pt x="167" y="850"/>
                </a:lnTo>
                <a:lnTo>
                  <a:pt x="170" y="850"/>
                </a:lnTo>
                <a:lnTo>
                  <a:pt x="172" y="852"/>
                </a:lnTo>
                <a:lnTo>
                  <a:pt x="172" y="850"/>
                </a:lnTo>
                <a:lnTo>
                  <a:pt x="170" y="850"/>
                </a:lnTo>
                <a:lnTo>
                  <a:pt x="170" y="848"/>
                </a:lnTo>
                <a:lnTo>
                  <a:pt x="172" y="847"/>
                </a:lnTo>
                <a:lnTo>
                  <a:pt x="173" y="847"/>
                </a:lnTo>
                <a:lnTo>
                  <a:pt x="174" y="848"/>
                </a:lnTo>
                <a:lnTo>
                  <a:pt x="176" y="852"/>
                </a:lnTo>
                <a:lnTo>
                  <a:pt x="178" y="853"/>
                </a:lnTo>
                <a:lnTo>
                  <a:pt x="178" y="856"/>
                </a:lnTo>
                <a:lnTo>
                  <a:pt x="176" y="858"/>
                </a:lnTo>
                <a:lnTo>
                  <a:pt x="175" y="860"/>
                </a:lnTo>
                <a:lnTo>
                  <a:pt x="175" y="862"/>
                </a:lnTo>
                <a:lnTo>
                  <a:pt x="176" y="860"/>
                </a:lnTo>
                <a:lnTo>
                  <a:pt x="178" y="859"/>
                </a:lnTo>
                <a:lnTo>
                  <a:pt x="180" y="859"/>
                </a:lnTo>
                <a:lnTo>
                  <a:pt x="182" y="856"/>
                </a:lnTo>
                <a:lnTo>
                  <a:pt x="189" y="854"/>
                </a:lnTo>
                <a:lnTo>
                  <a:pt x="192" y="853"/>
                </a:lnTo>
                <a:lnTo>
                  <a:pt x="191" y="853"/>
                </a:lnTo>
                <a:lnTo>
                  <a:pt x="188" y="854"/>
                </a:lnTo>
                <a:lnTo>
                  <a:pt x="182" y="854"/>
                </a:lnTo>
                <a:lnTo>
                  <a:pt x="181" y="855"/>
                </a:lnTo>
                <a:lnTo>
                  <a:pt x="180" y="855"/>
                </a:lnTo>
                <a:lnTo>
                  <a:pt x="180" y="854"/>
                </a:lnTo>
                <a:lnTo>
                  <a:pt x="179" y="853"/>
                </a:lnTo>
                <a:lnTo>
                  <a:pt x="179" y="850"/>
                </a:lnTo>
                <a:lnTo>
                  <a:pt x="180" y="849"/>
                </a:lnTo>
                <a:lnTo>
                  <a:pt x="192" y="846"/>
                </a:lnTo>
                <a:lnTo>
                  <a:pt x="192" y="844"/>
                </a:lnTo>
                <a:lnTo>
                  <a:pt x="191" y="846"/>
                </a:lnTo>
                <a:lnTo>
                  <a:pt x="187" y="847"/>
                </a:lnTo>
                <a:lnTo>
                  <a:pt x="186" y="847"/>
                </a:lnTo>
                <a:lnTo>
                  <a:pt x="185" y="846"/>
                </a:lnTo>
                <a:lnTo>
                  <a:pt x="184" y="846"/>
                </a:lnTo>
                <a:lnTo>
                  <a:pt x="184" y="843"/>
                </a:lnTo>
                <a:lnTo>
                  <a:pt x="182" y="843"/>
                </a:lnTo>
                <a:lnTo>
                  <a:pt x="182" y="844"/>
                </a:lnTo>
                <a:lnTo>
                  <a:pt x="184" y="846"/>
                </a:lnTo>
                <a:lnTo>
                  <a:pt x="184" y="847"/>
                </a:lnTo>
                <a:lnTo>
                  <a:pt x="179" y="847"/>
                </a:lnTo>
                <a:lnTo>
                  <a:pt x="178" y="844"/>
                </a:lnTo>
                <a:lnTo>
                  <a:pt x="179" y="842"/>
                </a:lnTo>
                <a:lnTo>
                  <a:pt x="182" y="842"/>
                </a:lnTo>
                <a:lnTo>
                  <a:pt x="181" y="840"/>
                </a:lnTo>
                <a:lnTo>
                  <a:pt x="182" y="840"/>
                </a:lnTo>
                <a:lnTo>
                  <a:pt x="184" y="841"/>
                </a:lnTo>
                <a:lnTo>
                  <a:pt x="185" y="841"/>
                </a:lnTo>
                <a:lnTo>
                  <a:pt x="185" y="840"/>
                </a:lnTo>
                <a:lnTo>
                  <a:pt x="187" y="837"/>
                </a:lnTo>
                <a:lnTo>
                  <a:pt x="188" y="837"/>
                </a:lnTo>
                <a:lnTo>
                  <a:pt x="187" y="838"/>
                </a:lnTo>
                <a:lnTo>
                  <a:pt x="187" y="841"/>
                </a:lnTo>
                <a:lnTo>
                  <a:pt x="188" y="841"/>
                </a:lnTo>
                <a:lnTo>
                  <a:pt x="188" y="842"/>
                </a:lnTo>
                <a:lnTo>
                  <a:pt x="189" y="841"/>
                </a:lnTo>
                <a:lnTo>
                  <a:pt x="191" y="837"/>
                </a:lnTo>
                <a:lnTo>
                  <a:pt x="192" y="836"/>
                </a:lnTo>
                <a:lnTo>
                  <a:pt x="193" y="836"/>
                </a:lnTo>
                <a:lnTo>
                  <a:pt x="195" y="838"/>
                </a:lnTo>
                <a:lnTo>
                  <a:pt x="195" y="837"/>
                </a:lnTo>
                <a:lnTo>
                  <a:pt x="194" y="836"/>
                </a:lnTo>
                <a:lnTo>
                  <a:pt x="194" y="835"/>
                </a:lnTo>
                <a:lnTo>
                  <a:pt x="192" y="835"/>
                </a:lnTo>
                <a:lnTo>
                  <a:pt x="194" y="832"/>
                </a:lnTo>
                <a:lnTo>
                  <a:pt x="198" y="832"/>
                </a:lnTo>
                <a:lnTo>
                  <a:pt x="200" y="830"/>
                </a:lnTo>
                <a:lnTo>
                  <a:pt x="203" y="830"/>
                </a:lnTo>
                <a:lnTo>
                  <a:pt x="203" y="834"/>
                </a:lnTo>
                <a:lnTo>
                  <a:pt x="205" y="836"/>
                </a:lnTo>
                <a:lnTo>
                  <a:pt x="205" y="837"/>
                </a:lnTo>
                <a:lnTo>
                  <a:pt x="206" y="838"/>
                </a:lnTo>
                <a:lnTo>
                  <a:pt x="206" y="842"/>
                </a:lnTo>
                <a:lnTo>
                  <a:pt x="212" y="848"/>
                </a:lnTo>
                <a:lnTo>
                  <a:pt x="212" y="850"/>
                </a:lnTo>
                <a:lnTo>
                  <a:pt x="211" y="853"/>
                </a:lnTo>
                <a:lnTo>
                  <a:pt x="211" y="855"/>
                </a:lnTo>
                <a:lnTo>
                  <a:pt x="207" y="860"/>
                </a:lnTo>
                <a:lnTo>
                  <a:pt x="210" y="859"/>
                </a:lnTo>
                <a:lnTo>
                  <a:pt x="211" y="859"/>
                </a:lnTo>
                <a:lnTo>
                  <a:pt x="213" y="856"/>
                </a:lnTo>
                <a:lnTo>
                  <a:pt x="214" y="856"/>
                </a:lnTo>
                <a:lnTo>
                  <a:pt x="218" y="860"/>
                </a:lnTo>
                <a:lnTo>
                  <a:pt x="224" y="860"/>
                </a:lnTo>
                <a:lnTo>
                  <a:pt x="224" y="861"/>
                </a:lnTo>
                <a:lnTo>
                  <a:pt x="225" y="865"/>
                </a:lnTo>
                <a:lnTo>
                  <a:pt x="225" y="859"/>
                </a:lnTo>
                <a:lnTo>
                  <a:pt x="224" y="858"/>
                </a:lnTo>
                <a:lnTo>
                  <a:pt x="217" y="856"/>
                </a:lnTo>
                <a:lnTo>
                  <a:pt x="216" y="855"/>
                </a:lnTo>
                <a:lnTo>
                  <a:pt x="216" y="852"/>
                </a:lnTo>
                <a:lnTo>
                  <a:pt x="217" y="852"/>
                </a:lnTo>
                <a:lnTo>
                  <a:pt x="217" y="849"/>
                </a:lnTo>
                <a:lnTo>
                  <a:pt x="218" y="849"/>
                </a:lnTo>
                <a:lnTo>
                  <a:pt x="220" y="848"/>
                </a:lnTo>
                <a:lnTo>
                  <a:pt x="226" y="847"/>
                </a:lnTo>
                <a:lnTo>
                  <a:pt x="228" y="847"/>
                </a:lnTo>
                <a:lnTo>
                  <a:pt x="230" y="849"/>
                </a:lnTo>
                <a:lnTo>
                  <a:pt x="232" y="847"/>
                </a:lnTo>
                <a:lnTo>
                  <a:pt x="235" y="848"/>
                </a:lnTo>
                <a:lnTo>
                  <a:pt x="236" y="848"/>
                </a:lnTo>
                <a:lnTo>
                  <a:pt x="238" y="850"/>
                </a:lnTo>
                <a:lnTo>
                  <a:pt x="243" y="848"/>
                </a:lnTo>
                <a:lnTo>
                  <a:pt x="245" y="849"/>
                </a:lnTo>
                <a:lnTo>
                  <a:pt x="248" y="852"/>
                </a:lnTo>
                <a:lnTo>
                  <a:pt x="248" y="850"/>
                </a:lnTo>
                <a:lnTo>
                  <a:pt x="249" y="849"/>
                </a:lnTo>
                <a:lnTo>
                  <a:pt x="249" y="848"/>
                </a:lnTo>
                <a:lnTo>
                  <a:pt x="253" y="848"/>
                </a:lnTo>
                <a:lnTo>
                  <a:pt x="253" y="847"/>
                </a:lnTo>
                <a:lnTo>
                  <a:pt x="249" y="846"/>
                </a:lnTo>
                <a:lnTo>
                  <a:pt x="247" y="844"/>
                </a:lnTo>
                <a:lnTo>
                  <a:pt x="245" y="842"/>
                </a:lnTo>
                <a:lnTo>
                  <a:pt x="247" y="840"/>
                </a:lnTo>
                <a:lnTo>
                  <a:pt x="249" y="838"/>
                </a:lnTo>
                <a:lnTo>
                  <a:pt x="253" y="838"/>
                </a:lnTo>
                <a:lnTo>
                  <a:pt x="253" y="837"/>
                </a:lnTo>
                <a:lnTo>
                  <a:pt x="250" y="837"/>
                </a:lnTo>
                <a:lnTo>
                  <a:pt x="250" y="836"/>
                </a:lnTo>
                <a:lnTo>
                  <a:pt x="251" y="835"/>
                </a:lnTo>
                <a:lnTo>
                  <a:pt x="253" y="835"/>
                </a:lnTo>
                <a:lnTo>
                  <a:pt x="253" y="834"/>
                </a:lnTo>
                <a:lnTo>
                  <a:pt x="250" y="834"/>
                </a:lnTo>
                <a:lnTo>
                  <a:pt x="248" y="835"/>
                </a:lnTo>
                <a:lnTo>
                  <a:pt x="247" y="836"/>
                </a:lnTo>
                <a:lnTo>
                  <a:pt x="244" y="836"/>
                </a:lnTo>
                <a:lnTo>
                  <a:pt x="244" y="837"/>
                </a:lnTo>
                <a:lnTo>
                  <a:pt x="243" y="837"/>
                </a:lnTo>
                <a:lnTo>
                  <a:pt x="243" y="835"/>
                </a:lnTo>
                <a:lnTo>
                  <a:pt x="244" y="835"/>
                </a:lnTo>
                <a:lnTo>
                  <a:pt x="244" y="832"/>
                </a:lnTo>
                <a:lnTo>
                  <a:pt x="247" y="830"/>
                </a:lnTo>
                <a:lnTo>
                  <a:pt x="249" y="830"/>
                </a:lnTo>
                <a:lnTo>
                  <a:pt x="250" y="829"/>
                </a:lnTo>
                <a:lnTo>
                  <a:pt x="253" y="825"/>
                </a:lnTo>
                <a:lnTo>
                  <a:pt x="257" y="823"/>
                </a:lnTo>
                <a:lnTo>
                  <a:pt x="259" y="823"/>
                </a:lnTo>
                <a:lnTo>
                  <a:pt x="260" y="824"/>
                </a:lnTo>
                <a:lnTo>
                  <a:pt x="261" y="824"/>
                </a:lnTo>
                <a:lnTo>
                  <a:pt x="262" y="823"/>
                </a:lnTo>
                <a:lnTo>
                  <a:pt x="263" y="823"/>
                </a:lnTo>
                <a:lnTo>
                  <a:pt x="266" y="818"/>
                </a:lnTo>
                <a:lnTo>
                  <a:pt x="267" y="817"/>
                </a:lnTo>
                <a:lnTo>
                  <a:pt x="271" y="816"/>
                </a:lnTo>
                <a:lnTo>
                  <a:pt x="275" y="816"/>
                </a:lnTo>
                <a:lnTo>
                  <a:pt x="275" y="813"/>
                </a:lnTo>
                <a:lnTo>
                  <a:pt x="274" y="812"/>
                </a:lnTo>
                <a:lnTo>
                  <a:pt x="274" y="810"/>
                </a:lnTo>
                <a:lnTo>
                  <a:pt x="269" y="810"/>
                </a:lnTo>
                <a:lnTo>
                  <a:pt x="269" y="809"/>
                </a:lnTo>
                <a:lnTo>
                  <a:pt x="267" y="809"/>
                </a:lnTo>
                <a:lnTo>
                  <a:pt x="261" y="810"/>
                </a:lnTo>
                <a:lnTo>
                  <a:pt x="260" y="810"/>
                </a:lnTo>
                <a:lnTo>
                  <a:pt x="260" y="806"/>
                </a:lnTo>
                <a:lnTo>
                  <a:pt x="261" y="806"/>
                </a:lnTo>
                <a:lnTo>
                  <a:pt x="263" y="804"/>
                </a:lnTo>
                <a:lnTo>
                  <a:pt x="265" y="804"/>
                </a:lnTo>
                <a:lnTo>
                  <a:pt x="265" y="801"/>
                </a:lnTo>
                <a:lnTo>
                  <a:pt x="266" y="800"/>
                </a:lnTo>
                <a:lnTo>
                  <a:pt x="268" y="799"/>
                </a:lnTo>
                <a:lnTo>
                  <a:pt x="274" y="797"/>
                </a:lnTo>
                <a:lnTo>
                  <a:pt x="275" y="797"/>
                </a:lnTo>
                <a:lnTo>
                  <a:pt x="276" y="795"/>
                </a:lnTo>
                <a:lnTo>
                  <a:pt x="276" y="793"/>
                </a:lnTo>
                <a:lnTo>
                  <a:pt x="275" y="794"/>
                </a:lnTo>
                <a:lnTo>
                  <a:pt x="274" y="793"/>
                </a:lnTo>
                <a:lnTo>
                  <a:pt x="272" y="793"/>
                </a:lnTo>
                <a:lnTo>
                  <a:pt x="267" y="792"/>
                </a:lnTo>
                <a:lnTo>
                  <a:pt x="266" y="791"/>
                </a:lnTo>
                <a:lnTo>
                  <a:pt x="266" y="789"/>
                </a:lnTo>
                <a:lnTo>
                  <a:pt x="267" y="789"/>
                </a:lnTo>
                <a:lnTo>
                  <a:pt x="272" y="785"/>
                </a:lnTo>
                <a:lnTo>
                  <a:pt x="268" y="785"/>
                </a:lnTo>
                <a:lnTo>
                  <a:pt x="266" y="788"/>
                </a:lnTo>
                <a:lnTo>
                  <a:pt x="265" y="793"/>
                </a:lnTo>
                <a:lnTo>
                  <a:pt x="263" y="795"/>
                </a:lnTo>
                <a:lnTo>
                  <a:pt x="255" y="800"/>
                </a:lnTo>
                <a:lnTo>
                  <a:pt x="253" y="803"/>
                </a:lnTo>
                <a:lnTo>
                  <a:pt x="251" y="805"/>
                </a:lnTo>
                <a:lnTo>
                  <a:pt x="250" y="805"/>
                </a:lnTo>
                <a:lnTo>
                  <a:pt x="249" y="806"/>
                </a:lnTo>
                <a:lnTo>
                  <a:pt x="244" y="809"/>
                </a:lnTo>
                <a:lnTo>
                  <a:pt x="243" y="809"/>
                </a:lnTo>
                <a:lnTo>
                  <a:pt x="241" y="811"/>
                </a:lnTo>
                <a:lnTo>
                  <a:pt x="240" y="813"/>
                </a:lnTo>
                <a:lnTo>
                  <a:pt x="241" y="813"/>
                </a:lnTo>
                <a:lnTo>
                  <a:pt x="243" y="811"/>
                </a:lnTo>
                <a:lnTo>
                  <a:pt x="247" y="810"/>
                </a:lnTo>
                <a:lnTo>
                  <a:pt x="251" y="806"/>
                </a:lnTo>
                <a:lnTo>
                  <a:pt x="254" y="805"/>
                </a:lnTo>
                <a:lnTo>
                  <a:pt x="256" y="807"/>
                </a:lnTo>
                <a:lnTo>
                  <a:pt x="257" y="807"/>
                </a:lnTo>
                <a:lnTo>
                  <a:pt x="259" y="809"/>
                </a:lnTo>
                <a:lnTo>
                  <a:pt x="259" y="812"/>
                </a:lnTo>
                <a:lnTo>
                  <a:pt x="257" y="812"/>
                </a:lnTo>
                <a:lnTo>
                  <a:pt x="256" y="813"/>
                </a:lnTo>
                <a:lnTo>
                  <a:pt x="256" y="815"/>
                </a:lnTo>
                <a:lnTo>
                  <a:pt x="255" y="816"/>
                </a:lnTo>
                <a:lnTo>
                  <a:pt x="255" y="818"/>
                </a:lnTo>
                <a:lnTo>
                  <a:pt x="254" y="819"/>
                </a:lnTo>
                <a:lnTo>
                  <a:pt x="253" y="822"/>
                </a:lnTo>
                <a:lnTo>
                  <a:pt x="248" y="823"/>
                </a:lnTo>
                <a:lnTo>
                  <a:pt x="245" y="825"/>
                </a:lnTo>
                <a:lnTo>
                  <a:pt x="242" y="825"/>
                </a:lnTo>
                <a:lnTo>
                  <a:pt x="241" y="827"/>
                </a:lnTo>
                <a:lnTo>
                  <a:pt x="241" y="828"/>
                </a:lnTo>
                <a:lnTo>
                  <a:pt x="240" y="830"/>
                </a:lnTo>
                <a:lnTo>
                  <a:pt x="238" y="831"/>
                </a:lnTo>
                <a:lnTo>
                  <a:pt x="236" y="832"/>
                </a:lnTo>
                <a:lnTo>
                  <a:pt x="231" y="836"/>
                </a:lnTo>
                <a:lnTo>
                  <a:pt x="229" y="836"/>
                </a:lnTo>
                <a:lnTo>
                  <a:pt x="228" y="837"/>
                </a:lnTo>
                <a:lnTo>
                  <a:pt x="224" y="837"/>
                </a:lnTo>
                <a:lnTo>
                  <a:pt x="223" y="840"/>
                </a:lnTo>
                <a:lnTo>
                  <a:pt x="220" y="840"/>
                </a:lnTo>
                <a:lnTo>
                  <a:pt x="217" y="842"/>
                </a:lnTo>
                <a:lnTo>
                  <a:pt x="216" y="843"/>
                </a:lnTo>
                <a:lnTo>
                  <a:pt x="212" y="843"/>
                </a:lnTo>
                <a:lnTo>
                  <a:pt x="211" y="842"/>
                </a:lnTo>
                <a:lnTo>
                  <a:pt x="210" y="840"/>
                </a:lnTo>
                <a:lnTo>
                  <a:pt x="210" y="838"/>
                </a:lnTo>
                <a:lnTo>
                  <a:pt x="209" y="836"/>
                </a:lnTo>
                <a:lnTo>
                  <a:pt x="210" y="835"/>
                </a:lnTo>
                <a:lnTo>
                  <a:pt x="209" y="834"/>
                </a:lnTo>
                <a:lnTo>
                  <a:pt x="207" y="834"/>
                </a:lnTo>
                <a:lnTo>
                  <a:pt x="206" y="832"/>
                </a:lnTo>
                <a:lnTo>
                  <a:pt x="206" y="830"/>
                </a:lnTo>
                <a:lnTo>
                  <a:pt x="207" y="830"/>
                </a:lnTo>
                <a:lnTo>
                  <a:pt x="206" y="829"/>
                </a:lnTo>
                <a:lnTo>
                  <a:pt x="206" y="828"/>
                </a:lnTo>
                <a:lnTo>
                  <a:pt x="205" y="828"/>
                </a:lnTo>
                <a:lnTo>
                  <a:pt x="205" y="825"/>
                </a:lnTo>
                <a:lnTo>
                  <a:pt x="207" y="824"/>
                </a:lnTo>
                <a:lnTo>
                  <a:pt x="211" y="823"/>
                </a:lnTo>
                <a:lnTo>
                  <a:pt x="216" y="821"/>
                </a:lnTo>
                <a:lnTo>
                  <a:pt x="218" y="818"/>
                </a:lnTo>
                <a:lnTo>
                  <a:pt x="217" y="818"/>
                </a:lnTo>
                <a:lnTo>
                  <a:pt x="216" y="819"/>
                </a:lnTo>
                <a:lnTo>
                  <a:pt x="214" y="819"/>
                </a:lnTo>
                <a:lnTo>
                  <a:pt x="214" y="817"/>
                </a:lnTo>
                <a:lnTo>
                  <a:pt x="216" y="817"/>
                </a:lnTo>
                <a:lnTo>
                  <a:pt x="214" y="816"/>
                </a:lnTo>
                <a:lnTo>
                  <a:pt x="214" y="817"/>
                </a:lnTo>
                <a:lnTo>
                  <a:pt x="213" y="817"/>
                </a:lnTo>
                <a:lnTo>
                  <a:pt x="213" y="818"/>
                </a:lnTo>
                <a:lnTo>
                  <a:pt x="212" y="818"/>
                </a:lnTo>
                <a:lnTo>
                  <a:pt x="210" y="819"/>
                </a:lnTo>
                <a:lnTo>
                  <a:pt x="207" y="822"/>
                </a:lnTo>
                <a:lnTo>
                  <a:pt x="205" y="822"/>
                </a:lnTo>
                <a:lnTo>
                  <a:pt x="203" y="824"/>
                </a:lnTo>
                <a:lnTo>
                  <a:pt x="199" y="824"/>
                </a:lnTo>
                <a:lnTo>
                  <a:pt x="199" y="825"/>
                </a:lnTo>
                <a:lnTo>
                  <a:pt x="198" y="825"/>
                </a:lnTo>
                <a:lnTo>
                  <a:pt x="197" y="827"/>
                </a:lnTo>
                <a:lnTo>
                  <a:pt x="194" y="828"/>
                </a:lnTo>
                <a:lnTo>
                  <a:pt x="195" y="825"/>
                </a:lnTo>
                <a:lnTo>
                  <a:pt x="195" y="822"/>
                </a:lnTo>
                <a:lnTo>
                  <a:pt x="203" y="818"/>
                </a:lnTo>
                <a:lnTo>
                  <a:pt x="205" y="818"/>
                </a:lnTo>
                <a:lnTo>
                  <a:pt x="205" y="817"/>
                </a:lnTo>
                <a:lnTo>
                  <a:pt x="197" y="818"/>
                </a:lnTo>
                <a:lnTo>
                  <a:pt x="194" y="817"/>
                </a:lnTo>
                <a:lnTo>
                  <a:pt x="200" y="813"/>
                </a:lnTo>
                <a:lnTo>
                  <a:pt x="206" y="809"/>
                </a:lnTo>
                <a:lnTo>
                  <a:pt x="209" y="809"/>
                </a:lnTo>
                <a:lnTo>
                  <a:pt x="206" y="807"/>
                </a:lnTo>
                <a:lnTo>
                  <a:pt x="205" y="806"/>
                </a:lnTo>
                <a:lnTo>
                  <a:pt x="210" y="805"/>
                </a:lnTo>
                <a:lnTo>
                  <a:pt x="210" y="806"/>
                </a:lnTo>
                <a:lnTo>
                  <a:pt x="211" y="806"/>
                </a:lnTo>
                <a:lnTo>
                  <a:pt x="212" y="805"/>
                </a:lnTo>
                <a:lnTo>
                  <a:pt x="217" y="804"/>
                </a:lnTo>
                <a:lnTo>
                  <a:pt x="219" y="801"/>
                </a:lnTo>
                <a:lnTo>
                  <a:pt x="222" y="801"/>
                </a:lnTo>
                <a:lnTo>
                  <a:pt x="222" y="800"/>
                </a:lnTo>
                <a:lnTo>
                  <a:pt x="220" y="799"/>
                </a:lnTo>
                <a:lnTo>
                  <a:pt x="219" y="799"/>
                </a:lnTo>
                <a:lnTo>
                  <a:pt x="217" y="801"/>
                </a:lnTo>
                <a:lnTo>
                  <a:pt x="216" y="801"/>
                </a:lnTo>
                <a:lnTo>
                  <a:pt x="213" y="803"/>
                </a:lnTo>
                <a:lnTo>
                  <a:pt x="212" y="804"/>
                </a:lnTo>
                <a:lnTo>
                  <a:pt x="211" y="804"/>
                </a:lnTo>
                <a:lnTo>
                  <a:pt x="212" y="801"/>
                </a:lnTo>
                <a:lnTo>
                  <a:pt x="218" y="799"/>
                </a:lnTo>
                <a:lnTo>
                  <a:pt x="219" y="797"/>
                </a:lnTo>
                <a:lnTo>
                  <a:pt x="218" y="797"/>
                </a:lnTo>
                <a:lnTo>
                  <a:pt x="218" y="798"/>
                </a:lnTo>
                <a:lnTo>
                  <a:pt x="217" y="798"/>
                </a:lnTo>
                <a:lnTo>
                  <a:pt x="217" y="797"/>
                </a:lnTo>
                <a:lnTo>
                  <a:pt x="213" y="799"/>
                </a:lnTo>
                <a:lnTo>
                  <a:pt x="211" y="799"/>
                </a:lnTo>
                <a:lnTo>
                  <a:pt x="211" y="798"/>
                </a:lnTo>
                <a:lnTo>
                  <a:pt x="212" y="797"/>
                </a:lnTo>
                <a:lnTo>
                  <a:pt x="213" y="797"/>
                </a:lnTo>
                <a:lnTo>
                  <a:pt x="213" y="792"/>
                </a:lnTo>
                <a:lnTo>
                  <a:pt x="214" y="792"/>
                </a:lnTo>
                <a:lnTo>
                  <a:pt x="214" y="787"/>
                </a:lnTo>
                <a:lnTo>
                  <a:pt x="213" y="786"/>
                </a:lnTo>
                <a:lnTo>
                  <a:pt x="213" y="785"/>
                </a:lnTo>
                <a:lnTo>
                  <a:pt x="214" y="784"/>
                </a:lnTo>
                <a:lnTo>
                  <a:pt x="218" y="787"/>
                </a:lnTo>
                <a:lnTo>
                  <a:pt x="222" y="786"/>
                </a:lnTo>
                <a:lnTo>
                  <a:pt x="223" y="785"/>
                </a:lnTo>
                <a:lnTo>
                  <a:pt x="223" y="784"/>
                </a:lnTo>
                <a:lnTo>
                  <a:pt x="222" y="785"/>
                </a:lnTo>
                <a:lnTo>
                  <a:pt x="218" y="785"/>
                </a:lnTo>
                <a:lnTo>
                  <a:pt x="219" y="784"/>
                </a:lnTo>
                <a:lnTo>
                  <a:pt x="219" y="782"/>
                </a:lnTo>
                <a:lnTo>
                  <a:pt x="220" y="782"/>
                </a:lnTo>
                <a:lnTo>
                  <a:pt x="220" y="780"/>
                </a:lnTo>
                <a:lnTo>
                  <a:pt x="222" y="780"/>
                </a:lnTo>
                <a:lnTo>
                  <a:pt x="222" y="776"/>
                </a:lnTo>
                <a:lnTo>
                  <a:pt x="224" y="776"/>
                </a:lnTo>
                <a:lnTo>
                  <a:pt x="224" y="775"/>
                </a:lnTo>
                <a:lnTo>
                  <a:pt x="228" y="775"/>
                </a:lnTo>
                <a:lnTo>
                  <a:pt x="229" y="778"/>
                </a:lnTo>
                <a:lnTo>
                  <a:pt x="230" y="778"/>
                </a:lnTo>
                <a:lnTo>
                  <a:pt x="229" y="775"/>
                </a:lnTo>
                <a:lnTo>
                  <a:pt x="228" y="774"/>
                </a:lnTo>
                <a:lnTo>
                  <a:pt x="224" y="773"/>
                </a:lnTo>
                <a:lnTo>
                  <a:pt x="225" y="772"/>
                </a:lnTo>
                <a:lnTo>
                  <a:pt x="228" y="770"/>
                </a:lnTo>
                <a:lnTo>
                  <a:pt x="228" y="769"/>
                </a:lnTo>
                <a:lnTo>
                  <a:pt x="229" y="769"/>
                </a:lnTo>
                <a:lnTo>
                  <a:pt x="231" y="770"/>
                </a:lnTo>
                <a:lnTo>
                  <a:pt x="230" y="769"/>
                </a:lnTo>
                <a:lnTo>
                  <a:pt x="230" y="768"/>
                </a:lnTo>
                <a:lnTo>
                  <a:pt x="232" y="768"/>
                </a:lnTo>
                <a:lnTo>
                  <a:pt x="234" y="767"/>
                </a:lnTo>
                <a:lnTo>
                  <a:pt x="232" y="766"/>
                </a:lnTo>
                <a:lnTo>
                  <a:pt x="232" y="762"/>
                </a:lnTo>
                <a:lnTo>
                  <a:pt x="234" y="762"/>
                </a:lnTo>
                <a:lnTo>
                  <a:pt x="234" y="761"/>
                </a:lnTo>
                <a:lnTo>
                  <a:pt x="235" y="761"/>
                </a:lnTo>
                <a:lnTo>
                  <a:pt x="237" y="763"/>
                </a:lnTo>
                <a:lnTo>
                  <a:pt x="237" y="761"/>
                </a:lnTo>
                <a:lnTo>
                  <a:pt x="235" y="761"/>
                </a:lnTo>
                <a:lnTo>
                  <a:pt x="235" y="760"/>
                </a:lnTo>
                <a:lnTo>
                  <a:pt x="237" y="760"/>
                </a:lnTo>
                <a:lnTo>
                  <a:pt x="240" y="762"/>
                </a:lnTo>
                <a:lnTo>
                  <a:pt x="241" y="761"/>
                </a:lnTo>
                <a:lnTo>
                  <a:pt x="240" y="761"/>
                </a:lnTo>
                <a:lnTo>
                  <a:pt x="240" y="758"/>
                </a:lnTo>
                <a:lnTo>
                  <a:pt x="238" y="758"/>
                </a:lnTo>
                <a:lnTo>
                  <a:pt x="238" y="757"/>
                </a:lnTo>
                <a:lnTo>
                  <a:pt x="237" y="757"/>
                </a:lnTo>
                <a:lnTo>
                  <a:pt x="237" y="756"/>
                </a:lnTo>
                <a:lnTo>
                  <a:pt x="234" y="756"/>
                </a:lnTo>
                <a:lnTo>
                  <a:pt x="234" y="755"/>
                </a:lnTo>
                <a:lnTo>
                  <a:pt x="235" y="755"/>
                </a:lnTo>
                <a:lnTo>
                  <a:pt x="235" y="754"/>
                </a:lnTo>
                <a:lnTo>
                  <a:pt x="237" y="754"/>
                </a:lnTo>
                <a:lnTo>
                  <a:pt x="241" y="757"/>
                </a:lnTo>
                <a:lnTo>
                  <a:pt x="241" y="756"/>
                </a:lnTo>
                <a:lnTo>
                  <a:pt x="240" y="755"/>
                </a:lnTo>
                <a:lnTo>
                  <a:pt x="240" y="754"/>
                </a:lnTo>
                <a:lnTo>
                  <a:pt x="238" y="755"/>
                </a:lnTo>
                <a:lnTo>
                  <a:pt x="238" y="752"/>
                </a:lnTo>
                <a:lnTo>
                  <a:pt x="240" y="752"/>
                </a:lnTo>
                <a:lnTo>
                  <a:pt x="240" y="751"/>
                </a:lnTo>
                <a:lnTo>
                  <a:pt x="241" y="752"/>
                </a:lnTo>
                <a:lnTo>
                  <a:pt x="241" y="754"/>
                </a:lnTo>
                <a:lnTo>
                  <a:pt x="242" y="755"/>
                </a:lnTo>
                <a:lnTo>
                  <a:pt x="244" y="755"/>
                </a:lnTo>
                <a:lnTo>
                  <a:pt x="245" y="756"/>
                </a:lnTo>
                <a:lnTo>
                  <a:pt x="245" y="757"/>
                </a:lnTo>
                <a:lnTo>
                  <a:pt x="248" y="760"/>
                </a:lnTo>
                <a:lnTo>
                  <a:pt x="249" y="760"/>
                </a:lnTo>
                <a:lnTo>
                  <a:pt x="250" y="758"/>
                </a:lnTo>
                <a:lnTo>
                  <a:pt x="248" y="757"/>
                </a:lnTo>
                <a:lnTo>
                  <a:pt x="247" y="756"/>
                </a:lnTo>
                <a:lnTo>
                  <a:pt x="248" y="755"/>
                </a:lnTo>
                <a:lnTo>
                  <a:pt x="248" y="754"/>
                </a:lnTo>
                <a:lnTo>
                  <a:pt x="247" y="752"/>
                </a:lnTo>
                <a:lnTo>
                  <a:pt x="242" y="752"/>
                </a:lnTo>
                <a:lnTo>
                  <a:pt x="242" y="751"/>
                </a:lnTo>
                <a:lnTo>
                  <a:pt x="243" y="750"/>
                </a:lnTo>
                <a:lnTo>
                  <a:pt x="245" y="750"/>
                </a:lnTo>
                <a:lnTo>
                  <a:pt x="245" y="749"/>
                </a:lnTo>
                <a:lnTo>
                  <a:pt x="248" y="749"/>
                </a:lnTo>
                <a:lnTo>
                  <a:pt x="249" y="750"/>
                </a:lnTo>
                <a:lnTo>
                  <a:pt x="249" y="748"/>
                </a:lnTo>
                <a:lnTo>
                  <a:pt x="248" y="748"/>
                </a:lnTo>
                <a:lnTo>
                  <a:pt x="248" y="746"/>
                </a:lnTo>
                <a:lnTo>
                  <a:pt x="249" y="745"/>
                </a:lnTo>
                <a:lnTo>
                  <a:pt x="249" y="746"/>
                </a:lnTo>
                <a:lnTo>
                  <a:pt x="251" y="749"/>
                </a:lnTo>
                <a:lnTo>
                  <a:pt x="253" y="748"/>
                </a:lnTo>
                <a:lnTo>
                  <a:pt x="254" y="748"/>
                </a:lnTo>
                <a:lnTo>
                  <a:pt x="253" y="746"/>
                </a:lnTo>
                <a:lnTo>
                  <a:pt x="253" y="745"/>
                </a:lnTo>
                <a:lnTo>
                  <a:pt x="254" y="745"/>
                </a:lnTo>
                <a:lnTo>
                  <a:pt x="255" y="746"/>
                </a:lnTo>
                <a:lnTo>
                  <a:pt x="255" y="745"/>
                </a:lnTo>
                <a:lnTo>
                  <a:pt x="254" y="745"/>
                </a:lnTo>
                <a:lnTo>
                  <a:pt x="254" y="741"/>
                </a:lnTo>
                <a:lnTo>
                  <a:pt x="253" y="739"/>
                </a:lnTo>
                <a:lnTo>
                  <a:pt x="254" y="739"/>
                </a:lnTo>
                <a:lnTo>
                  <a:pt x="254" y="737"/>
                </a:lnTo>
                <a:lnTo>
                  <a:pt x="255" y="737"/>
                </a:lnTo>
                <a:lnTo>
                  <a:pt x="256" y="738"/>
                </a:lnTo>
                <a:lnTo>
                  <a:pt x="259" y="739"/>
                </a:lnTo>
                <a:lnTo>
                  <a:pt x="259" y="743"/>
                </a:lnTo>
                <a:lnTo>
                  <a:pt x="260" y="744"/>
                </a:lnTo>
                <a:lnTo>
                  <a:pt x="260" y="745"/>
                </a:lnTo>
                <a:lnTo>
                  <a:pt x="263" y="748"/>
                </a:lnTo>
                <a:lnTo>
                  <a:pt x="263" y="752"/>
                </a:lnTo>
                <a:lnTo>
                  <a:pt x="267" y="751"/>
                </a:lnTo>
                <a:lnTo>
                  <a:pt x="268" y="752"/>
                </a:lnTo>
                <a:lnTo>
                  <a:pt x="269" y="752"/>
                </a:lnTo>
                <a:lnTo>
                  <a:pt x="271" y="754"/>
                </a:lnTo>
                <a:lnTo>
                  <a:pt x="271" y="756"/>
                </a:lnTo>
                <a:lnTo>
                  <a:pt x="267" y="760"/>
                </a:lnTo>
                <a:lnTo>
                  <a:pt x="266" y="764"/>
                </a:lnTo>
                <a:lnTo>
                  <a:pt x="267" y="764"/>
                </a:lnTo>
                <a:lnTo>
                  <a:pt x="267" y="763"/>
                </a:lnTo>
                <a:lnTo>
                  <a:pt x="268" y="760"/>
                </a:lnTo>
                <a:lnTo>
                  <a:pt x="272" y="757"/>
                </a:lnTo>
                <a:lnTo>
                  <a:pt x="273" y="756"/>
                </a:lnTo>
                <a:lnTo>
                  <a:pt x="272" y="756"/>
                </a:lnTo>
                <a:lnTo>
                  <a:pt x="272" y="755"/>
                </a:lnTo>
                <a:lnTo>
                  <a:pt x="273" y="752"/>
                </a:lnTo>
                <a:lnTo>
                  <a:pt x="273" y="751"/>
                </a:lnTo>
                <a:lnTo>
                  <a:pt x="274" y="751"/>
                </a:lnTo>
                <a:lnTo>
                  <a:pt x="274" y="752"/>
                </a:lnTo>
                <a:lnTo>
                  <a:pt x="275" y="752"/>
                </a:lnTo>
                <a:lnTo>
                  <a:pt x="278" y="750"/>
                </a:lnTo>
                <a:lnTo>
                  <a:pt x="282" y="750"/>
                </a:lnTo>
                <a:lnTo>
                  <a:pt x="284" y="749"/>
                </a:lnTo>
                <a:lnTo>
                  <a:pt x="274" y="750"/>
                </a:lnTo>
                <a:lnTo>
                  <a:pt x="275" y="749"/>
                </a:lnTo>
                <a:lnTo>
                  <a:pt x="275" y="745"/>
                </a:lnTo>
                <a:lnTo>
                  <a:pt x="279" y="745"/>
                </a:lnTo>
                <a:lnTo>
                  <a:pt x="279" y="744"/>
                </a:lnTo>
                <a:lnTo>
                  <a:pt x="278" y="744"/>
                </a:lnTo>
                <a:lnTo>
                  <a:pt x="278" y="742"/>
                </a:lnTo>
                <a:lnTo>
                  <a:pt x="280" y="742"/>
                </a:lnTo>
                <a:lnTo>
                  <a:pt x="279" y="743"/>
                </a:lnTo>
                <a:lnTo>
                  <a:pt x="280" y="743"/>
                </a:lnTo>
                <a:lnTo>
                  <a:pt x="287" y="738"/>
                </a:lnTo>
                <a:lnTo>
                  <a:pt x="288" y="737"/>
                </a:lnTo>
                <a:lnTo>
                  <a:pt x="284" y="738"/>
                </a:lnTo>
                <a:lnTo>
                  <a:pt x="282" y="739"/>
                </a:lnTo>
                <a:lnTo>
                  <a:pt x="282" y="735"/>
                </a:lnTo>
                <a:lnTo>
                  <a:pt x="281" y="735"/>
                </a:lnTo>
                <a:lnTo>
                  <a:pt x="279" y="737"/>
                </a:lnTo>
                <a:lnTo>
                  <a:pt x="281" y="737"/>
                </a:lnTo>
                <a:lnTo>
                  <a:pt x="280" y="739"/>
                </a:lnTo>
                <a:lnTo>
                  <a:pt x="279" y="741"/>
                </a:lnTo>
                <a:lnTo>
                  <a:pt x="276" y="738"/>
                </a:lnTo>
                <a:lnTo>
                  <a:pt x="275" y="736"/>
                </a:lnTo>
                <a:lnTo>
                  <a:pt x="275" y="735"/>
                </a:lnTo>
                <a:lnTo>
                  <a:pt x="274" y="735"/>
                </a:lnTo>
                <a:lnTo>
                  <a:pt x="274" y="732"/>
                </a:lnTo>
                <a:lnTo>
                  <a:pt x="273" y="732"/>
                </a:lnTo>
                <a:lnTo>
                  <a:pt x="273" y="729"/>
                </a:lnTo>
                <a:lnTo>
                  <a:pt x="274" y="729"/>
                </a:lnTo>
                <a:lnTo>
                  <a:pt x="274" y="727"/>
                </a:lnTo>
                <a:lnTo>
                  <a:pt x="273" y="727"/>
                </a:lnTo>
                <a:lnTo>
                  <a:pt x="273" y="726"/>
                </a:lnTo>
                <a:lnTo>
                  <a:pt x="274" y="726"/>
                </a:lnTo>
                <a:lnTo>
                  <a:pt x="276" y="725"/>
                </a:lnTo>
                <a:lnTo>
                  <a:pt x="279" y="723"/>
                </a:lnTo>
                <a:lnTo>
                  <a:pt x="280" y="723"/>
                </a:lnTo>
                <a:lnTo>
                  <a:pt x="281" y="724"/>
                </a:lnTo>
                <a:lnTo>
                  <a:pt x="282" y="724"/>
                </a:lnTo>
                <a:lnTo>
                  <a:pt x="281" y="723"/>
                </a:lnTo>
                <a:lnTo>
                  <a:pt x="281" y="721"/>
                </a:lnTo>
                <a:lnTo>
                  <a:pt x="280" y="721"/>
                </a:lnTo>
                <a:lnTo>
                  <a:pt x="279" y="720"/>
                </a:lnTo>
                <a:lnTo>
                  <a:pt x="290" y="719"/>
                </a:lnTo>
                <a:lnTo>
                  <a:pt x="291" y="718"/>
                </a:lnTo>
                <a:lnTo>
                  <a:pt x="292" y="718"/>
                </a:lnTo>
                <a:lnTo>
                  <a:pt x="292" y="717"/>
                </a:lnTo>
                <a:lnTo>
                  <a:pt x="286" y="717"/>
                </a:lnTo>
                <a:lnTo>
                  <a:pt x="285" y="715"/>
                </a:lnTo>
                <a:lnTo>
                  <a:pt x="284" y="715"/>
                </a:lnTo>
                <a:lnTo>
                  <a:pt x="285" y="714"/>
                </a:lnTo>
                <a:lnTo>
                  <a:pt x="290" y="714"/>
                </a:lnTo>
                <a:lnTo>
                  <a:pt x="290" y="713"/>
                </a:lnTo>
                <a:lnTo>
                  <a:pt x="288" y="712"/>
                </a:lnTo>
                <a:lnTo>
                  <a:pt x="290" y="712"/>
                </a:lnTo>
                <a:lnTo>
                  <a:pt x="288" y="712"/>
                </a:lnTo>
                <a:lnTo>
                  <a:pt x="286" y="713"/>
                </a:lnTo>
                <a:lnTo>
                  <a:pt x="285" y="714"/>
                </a:lnTo>
                <a:lnTo>
                  <a:pt x="284" y="713"/>
                </a:lnTo>
                <a:lnTo>
                  <a:pt x="286" y="712"/>
                </a:lnTo>
                <a:lnTo>
                  <a:pt x="287" y="709"/>
                </a:lnTo>
                <a:lnTo>
                  <a:pt x="288" y="708"/>
                </a:lnTo>
                <a:lnTo>
                  <a:pt x="291" y="708"/>
                </a:lnTo>
                <a:lnTo>
                  <a:pt x="294" y="705"/>
                </a:lnTo>
                <a:lnTo>
                  <a:pt x="298" y="705"/>
                </a:lnTo>
                <a:lnTo>
                  <a:pt x="301" y="701"/>
                </a:lnTo>
                <a:lnTo>
                  <a:pt x="307" y="704"/>
                </a:lnTo>
                <a:lnTo>
                  <a:pt x="306" y="701"/>
                </a:lnTo>
                <a:lnTo>
                  <a:pt x="304" y="700"/>
                </a:lnTo>
                <a:lnTo>
                  <a:pt x="299" y="700"/>
                </a:lnTo>
                <a:lnTo>
                  <a:pt x="298" y="702"/>
                </a:lnTo>
                <a:lnTo>
                  <a:pt x="294" y="702"/>
                </a:lnTo>
                <a:lnTo>
                  <a:pt x="287" y="708"/>
                </a:lnTo>
                <a:lnTo>
                  <a:pt x="282" y="711"/>
                </a:lnTo>
                <a:lnTo>
                  <a:pt x="281" y="711"/>
                </a:lnTo>
                <a:lnTo>
                  <a:pt x="282" y="712"/>
                </a:lnTo>
                <a:lnTo>
                  <a:pt x="282" y="713"/>
                </a:lnTo>
                <a:lnTo>
                  <a:pt x="279" y="715"/>
                </a:lnTo>
                <a:lnTo>
                  <a:pt x="276" y="715"/>
                </a:lnTo>
                <a:lnTo>
                  <a:pt x="276" y="717"/>
                </a:lnTo>
                <a:lnTo>
                  <a:pt x="275" y="718"/>
                </a:lnTo>
                <a:lnTo>
                  <a:pt x="275" y="719"/>
                </a:lnTo>
                <a:lnTo>
                  <a:pt x="272" y="723"/>
                </a:lnTo>
                <a:lnTo>
                  <a:pt x="267" y="724"/>
                </a:lnTo>
                <a:lnTo>
                  <a:pt x="266" y="724"/>
                </a:lnTo>
                <a:lnTo>
                  <a:pt x="267" y="723"/>
                </a:lnTo>
                <a:lnTo>
                  <a:pt x="269" y="721"/>
                </a:lnTo>
                <a:lnTo>
                  <a:pt x="271" y="720"/>
                </a:lnTo>
                <a:lnTo>
                  <a:pt x="272" y="720"/>
                </a:lnTo>
                <a:lnTo>
                  <a:pt x="274" y="717"/>
                </a:lnTo>
                <a:lnTo>
                  <a:pt x="274" y="715"/>
                </a:lnTo>
                <a:lnTo>
                  <a:pt x="271" y="717"/>
                </a:lnTo>
                <a:lnTo>
                  <a:pt x="269" y="715"/>
                </a:lnTo>
                <a:lnTo>
                  <a:pt x="266" y="715"/>
                </a:lnTo>
                <a:lnTo>
                  <a:pt x="267" y="713"/>
                </a:lnTo>
                <a:lnTo>
                  <a:pt x="268" y="713"/>
                </a:lnTo>
                <a:lnTo>
                  <a:pt x="278" y="711"/>
                </a:lnTo>
                <a:lnTo>
                  <a:pt x="284" y="708"/>
                </a:lnTo>
                <a:lnTo>
                  <a:pt x="286" y="706"/>
                </a:lnTo>
                <a:lnTo>
                  <a:pt x="285" y="706"/>
                </a:lnTo>
                <a:lnTo>
                  <a:pt x="281" y="708"/>
                </a:lnTo>
                <a:lnTo>
                  <a:pt x="267" y="712"/>
                </a:lnTo>
                <a:lnTo>
                  <a:pt x="267" y="711"/>
                </a:lnTo>
                <a:lnTo>
                  <a:pt x="273" y="705"/>
                </a:lnTo>
                <a:lnTo>
                  <a:pt x="275" y="705"/>
                </a:lnTo>
                <a:lnTo>
                  <a:pt x="279" y="708"/>
                </a:lnTo>
                <a:lnTo>
                  <a:pt x="279" y="707"/>
                </a:lnTo>
                <a:lnTo>
                  <a:pt x="280" y="707"/>
                </a:lnTo>
                <a:lnTo>
                  <a:pt x="281" y="706"/>
                </a:lnTo>
                <a:lnTo>
                  <a:pt x="281" y="705"/>
                </a:lnTo>
                <a:lnTo>
                  <a:pt x="280" y="705"/>
                </a:lnTo>
                <a:lnTo>
                  <a:pt x="279" y="707"/>
                </a:lnTo>
                <a:lnTo>
                  <a:pt x="278" y="707"/>
                </a:lnTo>
                <a:lnTo>
                  <a:pt x="276" y="705"/>
                </a:lnTo>
                <a:lnTo>
                  <a:pt x="276" y="704"/>
                </a:lnTo>
                <a:lnTo>
                  <a:pt x="280" y="702"/>
                </a:lnTo>
                <a:lnTo>
                  <a:pt x="282" y="704"/>
                </a:lnTo>
                <a:lnTo>
                  <a:pt x="282" y="701"/>
                </a:lnTo>
                <a:lnTo>
                  <a:pt x="284" y="701"/>
                </a:lnTo>
                <a:lnTo>
                  <a:pt x="284" y="702"/>
                </a:lnTo>
                <a:lnTo>
                  <a:pt x="286" y="702"/>
                </a:lnTo>
                <a:lnTo>
                  <a:pt x="288" y="700"/>
                </a:lnTo>
                <a:lnTo>
                  <a:pt x="291" y="700"/>
                </a:lnTo>
                <a:lnTo>
                  <a:pt x="291" y="699"/>
                </a:lnTo>
                <a:lnTo>
                  <a:pt x="290" y="698"/>
                </a:lnTo>
                <a:lnTo>
                  <a:pt x="290" y="696"/>
                </a:lnTo>
                <a:lnTo>
                  <a:pt x="293" y="693"/>
                </a:lnTo>
                <a:lnTo>
                  <a:pt x="294" y="693"/>
                </a:lnTo>
                <a:lnTo>
                  <a:pt x="297" y="690"/>
                </a:lnTo>
                <a:lnTo>
                  <a:pt x="299" y="692"/>
                </a:lnTo>
                <a:lnTo>
                  <a:pt x="299" y="694"/>
                </a:lnTo>
                <a:lnTo>
                  <a:pt x="300" y="693"/>
                </a:lnTo>
                <a:lnTo>
                  <a:pt x="304" y="693"/>
                </a:lnTo>
                <a:lnTo>
                  <a:pt x="305" y="694"/>
                </a:lnTo>
                <a:lnTo>
                  <a:pt x="305" y="695"/>
                </a:lnTo>
                <a:lnTo>
                  <a:pt x="306" y="696"/>
                </a:lnTo>
                <a:lnTo>
                  <a:pt x="305" y="696"/>
                </a:lnTo>
                <a:lnTo>
                  <a:pt x="305" y="698"/>
                </a:lnTo>
                <a:lnTo>
                  <a:pt x="306" y="698"/>
                </a:lnTo>
                <a:lnTo>
                  <a:pt x="307" y="696"/>
                </a:lnTo>
                <a:lnTo>
                  <a:pt x="306" y="695"/>
                </a:lnTo>
                <a:lnTo>
                  <a:pt x="306" y="693"/>
                </a:lnTo>
                <a:lnTo>
                  <a:pt x="310" y="692"/>
                </a:lnTo>
                <a:lnTo>
                  <a:pt x="313" y="688"/>
                </a:lnTo>
                <a:lnTo>
                  <a:pt x="317" y="689"/>
                </a:lnTo>
                <a:lnTo>
                  <a:pt x="318" y="688"/>
                </a:lnTo>
                <a:lnTo>
                  <a:pt x="318" y="686"/>
                </a:lnTo>
                <a:lnTo>
                  <a:pt x="319" y="686"/>
                </a:lnTo>
                <a:lnTo>
                  <a:pt x="324" y="684"/>
                </a:lnTo>
                <a:lnTo>
                  <a:pt x="325" y="684"/>
                </a:lnTo>
                <a:lnTo>
                  <a:pt x="324" y="683"/>
                </a:lnTo>
                <a:lnTo>
                  <a:pt x="324" y="682"/>
                </a:lnTo>
                <a:lnTo>
                  <a:pt x="327" y="682"/>
                </a:lnTo>
                <a:lnTo>
                  <a:pt x="329" y="678"/>
                </a:lnTo>
                <a:lnTo>
                  <a:pt x="332" y="675"/>
                </a:lnTo>
                <a:lnTo>
                  <a:pt x="332" y="672"/>
                </a:lnTo>
                <a:lnTo>
                  <a:pt x="334" y="672"/>
                </a:lnTo>
                <a:lnTo>
                  <a:pt x="337" y="666"/>
                </a:lnTo>
                <a:lnTo>
                  <a:pt x="338" y="664"/>
                </a:lnTo>
                <a:lnTo>
                  <a:pt x="337" y="664"/>
                </a:lnTo>
                <a:lnTo>
                  <a:pt x="336" y="666"/>
                </a:lnTo>
                <a:lnTo>
                  <a:pt x="332" y="670"/>
                </a:lnTo>
                <a:lnTo>
                  <a:pt x="327" y="677"/>
                </a:lnTo>
                <a:lnTo>
                  <a:pt x="322" y="681"/>
                </a:lnTo>
                <a:lnTo>
                  <a:pt x="321" y="681"/>
                </a:lnTo>
                <a:lnTo>
                  <a:pt x="319" y="683"/>
                </a:lnTo>
                <a:lnTo>
                  <a:pt x="315" y="683"/>
                </a:lnTo>
                <a:lnTo>
                  <a:pt x="313" y="682"/>
                </a:lnTo>
                <a:lnTo>
                  <a:pt x="315" y="680"/>
                </a:lnTo>
                <a:lnTo>
                  <a:pt x="318" y="680"/>
                </a:lnTo>
                <a:lnTo>
                  <a:pt x="319" y="677"/>
                </a:lnTo>
                <a:lnTo>
                  <a:pt x="317" y="677"/>
                </a:lnTo>
                <a:lnTo>
                  <a:pt x="317" y="675"/>
                </a:lnTo>
                <a:lnTo>
                  <a:pt x="313" y="675"/>
                </a:lnTo>
                <a:lnTo>
                  <a:pt x="316" y="672"/>
                </a:lnTo>
                <a:lnTo>
                  <a:pt x="317" y="672"/>
                </a:lnTo>
                <a:lnTo>
                  <a:pt x="318" y="674"/>
                </a:lnTo>
                <a:lnTo>
                  <a:pt x="319" y="674"/>
                </a:lnTo>
                <a:lnTo>
                  <a:pt x="321" y="672"/>
                </a:lnTo>
                <a:lnTo>
                  <a:pt x="328" y="672"/>
                </a:lnTo>
                <a:lnTo>
                  <a:pt x="327" y="671"/>
                </a:lnTo>
                <a:lnTo>
                  <a:pt x="323" y="671"/>
                </a:lnTo>
                <a:lnTo>
                  <a:pt x="321" y="670"/>
                </a:lnTo>
                <a:lnTo>
                  <a:pt x="319" y="671"/>
                </a:lnTo>
                <a:lnTo>
                  <a:pt x="318" y="671"/>
                </a:lnTo>
                <a:lnTo>
                  <a:pt x="318" y="670"/>
                </a:lnTo>
                <a:lnTo>
                  <a:pt x="312" y="670"/>
                </a:lnTo>
                <a:lnTo>
                  <a:pt x="312" y="671"/>
                </a:lnTo>
                <a:lnTo>
                  <a:pt x="310" y="674"/>
                </a:lnTo>
                <a:lnTo>
                  <a:pt x="309" y="674"/>
                </a:lnTo>
                <a:lnTo>
                  <a:pt x="309" y="672"/>
                </a:lnTo>
                <a:lnTo>
                  <a:pt x="311" y="670"/>
                </a:lnTo>
                <a:lnTo>
                  <a:pt x="312" y="668"/>
                </a:lnTo>
                <a:lnTo>
                  <a:pt x="312" y="666"/>
                </a:lnTo>
                <a:lnTo>
                  <a:pt x="317" y="666"/>
                </a:lnTo>
                <a:lnTo>
                  <a:pt x="318" y="664"/>
                </a:lnTo>
                <a:lnTo>
                  <a:pt x="316" y="665"/>
                </a:lnTo>
                <a:lnTo>
                  <a:pt x="316" y="664"/>
                </a:lnTo>
                <a:lnTo>
                  <a:pt x="319" y="661"/>
                </a:lnTo>
                <a:lnTo>
                  <a:pt x="319" y="662"/>
                </a:lnTo>
                <a:lnTo>
                  <a:pt x="323" y="662"/>
                </a:lnTo>
                <a:lnTo>
                  <a:pt x="322" y="661"/>
                </a:lnTo>
                <a:lnTo>
                  <a:pt x="321" y="661"/>
                </a:lnTo>
                <a:lnTo>
                  <a:pt x="321" y="657"/>
                </a:lnTo>
                <a:lnTo>
                  <a:pt x="319" y="656"/>
                </a:lnTo>
                <a:lnTo>
                  <a:pt x="319" y="653"/>
                </a:lnTo>
                <a:lnTo>
                  <a:pt x="318" y="652"/>
                </a:lnTo>
                <a:lnTo>
                  <a:pt x="322" y="652"/>
                </a:lnTo>
                <a:lnTo>
                  <a:pt x="322" y="655"/>
                </a:lnTo>
                <a:lnTo>
                  <a:pt x="323" y="656"/>
                </a:lnTo>
                <a:lnTo>
                  <a:pt x="323" y="655"/>
                </a:lnTo>
                <a:lnTo>
                  <a:pt x="324" y="653"/>
                </a:lnTo>
                <a:lnTo>
                  <a:pt x="325" y="655"/>
                </a:lnTo>
                <a:lnTo>
                  <a:pt x="325" y="656"/>
                </a:lnTo>
                <a:lnTo>
                  <a:pt x="327" y="657"/>
                </a:lnTo>
                <a:lnTo>
                  <a:pt x="327" y="659"/>
                </a:lnTo>
                <a:lnTo>
                  <a:pt x="328" y="661"/>
                </a:lnTo>
                <a:lnTo>
                  <a:pt x="327" y="657"/>
                </a:lnTo>
                <a:lnTo>
                  <a:pt x="325" y="655"/>
                </a:lnTo>
                <a:lnTo>
                  <a:pt x="325" y="652"/>
                </a:lnTo>
                <a:lnTo>
                  <a:pt x="331" y="651"/>
                </a:lnTo>
                <a:lnTo>
                  <a:pt x="329" y="650"/>
                </a:lnTo>
                <a:lnTo>
                  <a:pt x="324" y="651"/>
                </a:lnTo>
                <a:lnTo>
                  <a:pt x="324" y="650"/>
                </a:lnTo>
                <a:lnTo>
                  <a:pt x="325" y="650"/>
                </a:lnTo>
                <a:lnTo>
                  <a:pt x="327" y="649"/>
                </a:lnTo>
                <a:lnTo>
                  <a:pt x="323" y="649"/>
                </a:lnTo>
                <a:lnTo>
                  <a:pt x="323" y="647"/>
                </a:lnTo>
                <a:lnTo>
                  <a:pt x="322" y="646"/>
                </a:lnTo>
                <a:lnTo>
                  <a:pt x="324" y="644"/>
                </a:lnTo>
                <a:lnTo>
                  <a:pt x="323" y="644"/>
                </a:lnTo>
                <a:lnTo>
                  <a:pt x="323" y="638"/>
                </a:lnTo>
                <a:lnTo>
                  <a:pt x="322" y="640"/>
                </a:lnTo>
                <a:lnTo>
                  <a:pt x="321" y="644"/>
                </a:lnTo>
                <a:lnTo>
                  <a:pt x="319" y="646"/>
                </a:lnTo>
                <a:lnTo>
                  <a:pt x="318" y="645"/>
                </a:lnTo>
                <a:lnTo>
                  <a:pt x="318" y="643"/>
                </a:lnTo>
                <a:lnTo>
                  <a:pt x="319" y="643"/>
                </a:lnTo>
                <a:lnTo>
                  <a:pt x="321" y="640"/>
                </a:lnTo>
                <a:lnTo>
                  <a:pt x="321" y="639"/>
                </a:lnTo>
                <a:lnTo>
                  <a:pt x="319" y="639"/>
                </a:lnTo>
                <a:lnTo>
                  <a:pt x="318" y="643"/>
                </a:lnTo>
                <a:lnTo>
                  <a:pt x="318" y="644"/>
                </a:lnTo>
                <a:lnTo>
                  <a:pt x="316" y="644"/>
                </a:lnTo>
                <a:lnTo>
                  <a:pt x="315" y="641"/>
                </a:lnTo>
                <a:lnTo>
                  <a:pt x="316" y="639"/>
                </a:lnTo>
                <a:lnTo>
                  <a:pt x="316" y="637"/>
                </a:lnTo>
                <a:lnTo>
                  <a:pt x="315" y="637"/>
                </a:lnTo>
                <a:lnTo>
                  <a:pt x="315" y="638"/>
                </a:lnTo>
                <a:lnTo>
                  <a:pt x="313" y="638"/>
                </a:lnTo>
                <a:lnTo>
                  <a:pt x="313" y="632"/>
                </a:lnTo>
                <a:lnTo>
                  <a:pt x="315" y="629"/>
                </a:lnTo>
                <a:lnTo>
                  <a:pt x="316" y="628"/>
                </a:lnTo>
                <a:lnTo>
                  <a:pt x="316" y="627"/>
                </a:lnTo>
                <a:lnTo>
                  <a:pt x="319" y="623"/>
                </a:lnTo>
                <a:lnTo>
                  <a:pt x="322" y="623"/>
                </a:lnTo>
                <a:lnTo>
                  <a:pt x="323" y="625"/>
                </a:lnTo>
                <a:lnTo>
                  <a:pt x="323" y="628"/>
                </a:lnTo>
                <a:lnTo>
                  <a:pt x="324" y="628"/>
                </a:lnTo>
                <a:lnTo>
                  <a:pt x="324" y="632"/>
                </a:lnTo>
                <a:lnTo>
                  <a:pt x="327" y="633"/>
                </a:lnTo>
                <a:lnTo>
                  <a:pt x="328" y="632"/>
                </a:lnTo>
                <a:lnTo>
                  <a:pt x="329" y="634"/>
                </a:lnTo>
                <a:lnTo>
                  <a:pt x="330" y="634"/>
                </a:lnTo>
                <a:lnTo>
                  <a:pt x="331" y="633"/>
                </a:lnTo>
                <a:lnTo>
                  <a:pt x="331" y="632"/>
                </a:lnTo>
                <a:lnTo>
                  <a:pt x="330" y="631"/>
                </a:lnTo>
                <a:lnTo>
                  <a:pt x="327" y="631"/>
                </a:lnTo>
                <a:lnTo>
                  <a:pt x="327" y="627"/>
                </a:lnTo>
                <a:lnTo>
                  <a:pt x="323" y="623"/>
                </a:lnTo>
                <a:lnTo>
                  <a:pt x="322" y="621"/>
                </a:lnTo>
                <a:lnTo>
                  <a:pt x="322" y="620"/>
                </a:lnTo>
                <a:lnTo>
                  <a:pt x="325" y="616"/>
                </a:lnTo>
                <a:lnTo>
                  <a:pt x="325" y="615"/>
                </a:lnTo>
                <a:lnTo>
                  <a:pt x="327" y="615"/>
                </a:lnTo>
                <a:lnTo>
                  <a:pt x="328" y="616"/>
                </a:lnTo>
                <a:lnTo>
                  <a:pt x="328" y="618"/>
                </a:lnTo>
                <a:lnTo>
                  <a:pt x="329" y="618"/>
                </a:lnTo>
                <a:lnTo>
                  <a:pt x="328" y="616"/>
                </a:lnTo>
                <a:lnTo>
                  <a:pt x="328" y="613"/>
                </a:lnTo>
                <a:lnTo>
                  <a:pt x="327" y="613"/>
                </a:lnTo>
                <a:lnTo>
                  <a:pt x="324" y="614"/>
                </a:lnTo>
                <a:lnTo>
                  <a:pt x="324" y="610"/>
                </a:lnTo>
                <a:lnTo>
                  <a:pt x="325" y="610"/>
                </a:lnTo>
                <a:lnTo>
                  <a:pt x="325" y="607"/>
                </a:lnTo>
                <a:lnTo>
                  <a:pt x="327" y="604"/>
                </a:lnTo>
                <a:lnTo>
                  <a:pt x="327" y="603"/>
                </a:lnTo>
                <a:lnTo>
                  <a:pt x="331" y="600"/>
                </a:lnTo>
                <a:lnTo>
                  <a:pt x="332" y="598"/>
                </a:lnTo>
                <a:lnTo>
                  <a:pt x="334" y="600"/>
                </a:lnTo>
                <a:lnTo>
                  <a:pt x="337" y="601"/>
                </a:lnTo>
                <a:lnTo>
                  <a:pt x="338" y="603"/>
                </a:lnTo>
                <a:lnTo>
                  <a:pt x="342" y="603"/>
                </a:lnTo>
                <a:lnTo>
                  <a:pt x="342" y="604"/>
                </a:lnTo>
                <a:lnTo>
                  <a:pt x="343" y="606"/>
                </a:lnTo>
                <a:lnTo>
                  <a:pt x="343" y="607"/>
                </a:lnTo>
                <a:lnTo>
                  <a:pt x="346" y="607"/>
                </a:lnTo>
                <a:lnTo>
                  <a:pt x="346" y="608"/>
                </a:lnTo>
                <a:lnTo>
                  <a:pt x="347" y="612"/>
                </a:lnTo>
                <a:lnTo>
                  <a:pt x="348" y="610"/>
                </a:lnTo>
                <a:lnTo>
                  <a:pt x="348" y="609"/>
                </a:lnTo>
                <a:lnTo>
                  <a:pt x="347" y="607"/>
                </a:lnTo>
                <a:lnTo>
                  <a:pt x="347" y="604"/>
                </a:lnTo>
                <a:lnTo>
                  <a:pt x="346" y="603"/>
                </a:lnTo>
                <a:lnTo>
                  <a:pt x="346" y="601"/>
                </a:lnTo>
                <a:lnTo>
                  <a:pt x="342" y="601"/>
                </a:lnTo>
                <a:lnTo>
                  <a:pt x="340" y="600"/>
                </a:lnTo>
                <a:lnTo>
                  <a:pt x="338" y="598"/>
                </a:lnTo>
                <a:lnTo>
                  <a:pt x="337" y="596"/>
                </a:lnTo>
                <a:lnTo>
                  <a:pt x="338" y="596"/>
                </a:lnTo>
                <a:lnTo>
                  <a:pt x="338" y="595"/>
                </a:lnTo>
                <a:lnTo>
                  <a:pt x="340" y="594"/>
                </a:lnTo>
                <a:lnTo>
                  <a:pt x="338" y="592"/>
                </a:lnTo>
                <a:lnTo>
                  <a:pt x="340" y="590"/>
                </a:lnTo>
                <a:lnTo>
                  <a:pt x="341" y="589"/>
                </a:lnTo>
                <a:lnTo>
                  <a:pt x="342" y="586"/>
                </a:lnTo>
                <a:lnTo>
                  <a:pt x="341" y="586"/>
                </a:lnTo>
                <a:lnTo>
                  <a:pt x="337" y="589"/>
                </a:lnTo>
                <a:lnTo>
                  <a:pt x="329" y="591"/>
                </a:lnTo>
                <a:lnTo>
                  <a:pt x="329" y="590"/>
                </a:lnTo>
                <a:lnTo>
                  <a:pt x="328" y="589"/>
                </a:lnTo>
                <a:lnTo>
                  <a:pt x="327" y="589"/>
                </a:lnTo>
                <a:lnTo>
                  <a:pt x="331" y="584"/>
                </a:lnTo>
                <a:lnTo>
                  <a:pt x="332" y="584"/>
                </a:lnTo>
                <a:lnTo>
                  <a:pt x="335" y="582"/>
                </a:lnTo>
                <a:lnTo>
                  <a:pt x="342" y="579"/>
                </a:lnTo>
                <a:lnTo>
                  <a:pt x="343" y="580"/>
                </a:lnTo>
                <a:lnTo>
                  <a:pt x="344" y="580"/>
                </a:lnTo>
                <a:lnTo>
                  <a:pt x="344" y="579"/>
                </a:lnTo>
                <a:lnTo>
                  <a:pt x="347" y="578"/>
                </a:lnTo>
                <a:lnTo>
                  <a:pt x="348" y="577"/>
                </a:lnTo>
                <a:lnTo>
                  <a:pt x="350" y="576"/>
                </a:lnTo>
                <a:lnTo>
                  <a:pt x="353" y="573"/>
                </a:lnTo>
                <a:lnTo>
                  <a:pt x="362" y="571"/>
                </a:lnTo>
                <a:lnTo>
                  <a:pt x="365" y="571"/>
                </a:lnTo>
                <a:lnTo>
                  <a:pt x="365" y="573"/>
                </a:lnTo>
                <a:lnTo>
                  <a:pt x="362" y="576"/>
                </a:lnTo>
                <a:lnTo>
                  <a:pt x="365" y="576"/>
                </a:lnTo>
                <a:lnTo>
                  <a:pt x="365" y="578"/>
                </a:lnTo>
                <a:lnTo>
                  <a:pt x="363" y="579"/>
                </a:lnTo>
                <a:lnTo>
                  <a:pt x="363" y="582"/>
                </a:lnTo>
                <a:lnTo>
                  <a:pt x="362" y="583"/>
                </a:lnTo>
                <a:lnTo>
                  <a:pt x="363" y="584"/>
                </a:lnTo>
                <a:lnTo>
                  <a:pt x="365" y="584"/>
                </a:lnTo>
                <a:lnTo>
                  <a:pt x="365" y="583"/>
                </a:lnTo>
                <a:lnTo>
                  <a:pt x="366" y="580"/>
                </a:lnTo>
                <a:lnTo>
                  <a:pt x="366" y="579"/>
                </a:lnTo>
                <a:lnTo>
                  <a:pt x="371" y="579"/>
                </a:lnTo>
                <a:lnTo>
                  <a:pt x="372" y="578"/>
                </a:lnTo>
                <a:lnTo>
                  <a:pt x="373" y="578"/>
                </a:lnTo>
                <a:lnTo>
                  <a:pt x="375" y="580"/>
                </a:lnTo>
                <a:lnTo>
                  <a:pt x="375" y="578"/>
                </a:lnTo>
                <a:lnTo>
                  <a:pt x="373" y="577"/>
                </a:lnTo>
                <a:lnTo>
                  <a:pt x="371" y="578"/>
                </a:lnTo>
                <a:lnTo>
                  <a:pt x="366" y="576"/>
                </a:lnTo>
                <a:lnTo>
                  <a:pt x="367" y="572"/>
                </a:lnTo>
                <a:lnTo>
                  <a:pt x="372" y="570"/>
                </a:lnTo>
                <a:lnTo>
                  <a:pt x="374" y="571"/>
                </a:lnTo>
                <a:lnTo>
                  <a:pt x="374" y="572"/>
                </a:lnTo>
                <a:lnTo>
                  <a:pt x="373" y="573"/>
                </a:lnTo>
                <a:lnTo>
                  <a:pt x="373" y="575"/>
                </a:lnTo>
                <a:lnTo>
                  <a:pt x="374" y="575"/>
                </a:lnTo>
                <a:lnTo>
                  <a:pt x="375" y="572"/>
                </a:lnTo>
                <a:lnTo>
                  <a:pt x="381" y="571"/>
                </a:lnTo>
                <a:lnTo>
                  <a:pt x="383" y="571"/>
                </a:lnTo>
                <a:lnTo>
                  <a:pt x="383" y="567"/>
                </a:lnTo>
                <a:lnTo>
                  <a:pt x="384" y="566"/>
                </a:lnTo>
                <a:lnTo>
                  <a:pt x="385" y="566"/>
                </a:lnTo>
                <a:lnTo>
                  <a:pt x="389" y="563"/>
                </a:lnTo>
                <a:lnTo>
                  <a:pt x="389" y="560"/>
                </a:lnTo>
                <a:lnTo>
                  <a:pt x="387" y="560"/>
                </a:lnTo>
                <a:lnTo>
                  <a:pt x="385" y="563"/>
                </a:lnTo>
                <a:lnTo>
                  <a:pt x="381" y="564"/>
                </a:lnTo>
                <a:lnTo>
                  <a:pt x="380" y="565"/>
                </a:lnTo>
                <a:lnTo>
                  <a:pt x="379" y="567"/>
                </a:lnTo>
                <a:lnTo>
                  <a:pt x="374" y="566"/>
                </a:lnTo>
                <a:lnTo>
                  <a:pt x="373" y="566"/>
                </a:lnTo>
                <a:lnTo>
                  <a:pt x="373" y="565"/>
                </a:lnTo>
                <a:lnTo>
                  <a:pt x="372" y="565"/>
                </a:lnTo>
                <a:lnTo>
                  <a:pt x="372" y="566"/>
                </a:lnTo>
                <a:lnTo>
                  <a:pt x="371" y="569"/>
                </a:lnTo>
                <a:lnTo>
                  <a:pt x="369" y="570"/>
                </a:lnTo>
                <a:lnTo>
                  <a:pt x="367" y="571"/>
                </a:lnTo>
                <a:lnTo>
                  <a:pt x="365" y="569"/>
                </a:lnTo>
                <a:lnTo>
                  <a:pt x="367" y="567"/>
                </a:lnTo>
                <a:lnTo>
                  <a:pt x="365" y="565"/>
                </a:lnTo>
                <a:lnTo>
                  <a:pt x="365" y="566"/>
                </a:lnTo>
                <a:lnTo>
                  <a:pt x="361" y="569"/>
                </a:lnTo>
                <a:lnTo>
                  <a:pt x="360" y="569"/>
                </a:lnTo>
                <a:lnTo>
                  <a:pt x="358" y="570"/>
                </a:lnTo>
                <a:lnTo>
                  <a:pt x="354" y="570"/>
                </a:lnTo>
                <a:lnTo>
                  <a:pt x="349" y="575"/>
                </a:lnTo>
                <a:lnTo>
                  <a:pt x="343" y="577"/>
                </a:lnTo>
                <a:lnTo>
                  <a:pt x="342" y="577"/>
                </a:lnTo>
                <a:lnTo>
                  <a:pt x="342" y="575"/>
                </a:lnTo>
                <a:lnTo>
                  <a:pt x="344" y="572"/>
                </a:lnTo>
                <a:lnTo>
                  <a:pt x="346" y="572"/>
                </a:lnTo>
                <a:lnTo>
                  <a:pt x="346" y="570"/>
                </a:lnTo>
                <a:lnTo>
                  <a:pt x="347" y="569"/>
                </a:lnTo>
                <a:lnTo>
                  <a:pt x="354" y="564"/>
                </a:lnTo>
                <a:lnTo>
                  <a:pt x="363" y="564"/>
                </a:lnTo>
                <a:lnTo>
                  <a:pt x="362" y="563"/>
                </a:lnTo>
                <a:lnTo>
                  <a:pt x="358" y="563"/>
                </a:lnTo>
                <a:lnTo>
                  <a:pt x="358" y="561"/>
                </a:lnTo>
                <a:lnTo>
                  <a:pt x="359" y="561"/>
                </a:lnTo>
                <a:lnTo>
                  <a:pt x="360" y="560"/>
                </a:lnTo>
                <a:lnTo>
                  <a:pt x="355" y="560"/>
                </a:lnTo>
                <a:lnTo>
                  <a:pt x="355" y="558"/>
                </a:lnTo>
                <a:lnTo>
                  <a:pt x="354" y="557"/>
                </a:lnTo>
                <a:lnTo>
                  <a:pt x="354" y="560"/>
                </a:lnTo>
                <a:lnTo>
                  <a:pt x="355" y="561"/>
                </a:lnTo>
                <a:lnTo>
                  <a:pt x="354" y="561"/>
                </a:lnTo>
                <a:lnTo>
                  <a:pt x="354" y="563"/>
                </a:lnTo>
                <a:lnTo>
                  <a:pt x="350" y="565"/>
                </a:lnTo>
                <a:lnTo>
                  <a:pt x="349" y="565"/>
                </a:lnTo>
                <a:lnTo>
                  <a:pt x="347" y="564"/>
                </a:lnTo>
                <a:lnTo>
                  <a:pt x="347" y="561"/>
                </a:lnTo>
                <a:lnTo>
                  <a:pt x="346" y="561"/>
                </a:lnTo>
                <a:lnTo>
                  <a:pt x="344" y="563"/>
                </a:lnTo>
                <a:lnTo>
                  <a:pt x="342" y="563"/>
                </a:lnTo>
                <a:lnTo>
                  <a:pt x="341" y="560"/>
                </a:lnTo>
                <a:lnTo>
                  <a:pt x="341" y="558"/>
                </a:lnTo>
                <a:lnTo>
                  <a:pt x="347" y="555"/>
                </a:lnTo>
                <a:lnTo>
                  <a:pt x="348" y="553"/>
                </a:lnTo>
                <a:lnTo>
                  <a:pt x="348" y="552"/>
                </a:lnTo>
                <a:lnTo>
                  <a:pt x="347" y="552"/>
                </a:lnTo>
                <a:lnTo>
                  <a:pt x="347" y="549"/>
                </a:lnTo>
                <a:lnTo>
                  <a:pt x="344" y="548"/>
                </a:lnTo>
                <a:lnTo>
                  <a:pt x="346" y="547"/>
                </a:lnTo>
                <a:lnTo>
                  <a:pt x="347" y="547"/>
                </a:lnTo>
                <a:lnTo>
                  <a:pt x="347" y="546"/>
                </a:lnTo>
                <a:lnTo>
                  <a:pt x="344" y="546"/>
                </a:lnTo>
                <a:lnTo>
                  <a:pt x="344" y="543"/>
                </a:lnTo>
                <a:lnTo>
                  <a:pt x="342" y="543"/>
                </a:lnTo>
                <a:lnTo>
                  <a:pt x="341" y="542"/>
                </a:lnTo>
                <a:lnTo>
                  <a:pt x="340" y="542"/>
                </a:lnTo>
                <a:lnTo>
                  <a:pt x="340" y="541"/>
                </a:lnTo>
                <a:lnTo>
                  <a:pt x="344" y="539"/>
                </a:lnTo>
                <a:lnTo>
                  <a:pt x="346" y="539"/>
                </a:lnTo>
                <a:lnTo>
                  <a:pt x="346" y="540"/>
                </a:lnTo>
                <a:lnTo>
                  <a:pt x="348" y="541"/>
                </a:lnTo>
                <a:lnTo>
                  <a:pt x="349" y="542"/>
                </a:lnTo>
                <a:lnTo>
                  <a:pt x="350" y="545"/>
                </a:lnTo>
                <a:lnTo>
                  <a:pt x="350" y="548"/>
                </a:lnTo>
                <a:lnTo>
                  <a:pt x="355" y="548"/>
                </a:lnTo>
                <a:lnTo>
                  <a:pt x="358" y="547"/>
                </a:lnTo>
                <a:lnTo>
                  <a:pt x="352" y="547"/>
                </a:lnTo>
                <a:lnTo>
                  <a:pt x="352" y="545"/>
                </a:lnTo>
                <a:lnTo>
                  <a:pt x="353" y="543"/>
                </a:lnTo>
                <a:lnTo>
                  <a:pt x="353" y="542"/>
                </a:lnTo>
                <a:lnTo>
                  <a:pt x="352" y="541"/>
                </a:lnTo>
                <a:lnTo>
                  <a:pt x="353" y="541"/>
                </a:lnTo>
                <a:lnTo>
                  <a:pt x="354" y="539"/>
                </a:lnTo>
                <a:lnTo>
                  <a:pt x="360" y="539"/>
                </a:lnTo>
                <a:lnTo>
                  <a:pt x="361" y="537"/>
                </a:lnTo>
                <a:lnTo>
                  <a:pt x="362" y="539"/>
                </a:lnTo>
                <a:lnTo>
                  <a:pt x="367" y="541"/>
                </a:lnTo>
                <a:lnTo>
                  <a:pt x="368" y="541"/>
                </a:lnTo>
                <a:lnTo>
                  <a:pt x="368" y="540"/>
                </a:lnTo>
                <a:lnTo>
                  <a:pt x="367" y="539"/>
                </a:lnTo>
                <a:lnTo>
                  <a:pt x="361" y="537"/>
                </a:lnTo>
                <a:lnTo>
                  <a:pt x="360" y="536"/>
                </a:lnTo>
                <a:lnTo>
                  <a:pt x="362" y="534"/>
                </a:lnTo>
                <a:lnTo>
                  <a:pt x="366" y="532"/>
                </a:lnTo>
                <a:lnTo>
                  <a:pt x="371" y="532"/>
                </a:lnTo>
                <a:lnTo>
                  <a:pt x="369" y="530"/>
                </a:lnTo>
                <a:lnTo>
                  <a:pt x="361" y="532"/>
                </a:lnTo>
                <a:lnTo>
                  <a:pt x="360" y="533"/>
                </a:lnTo>
                <a:lnTo>
                  <a:pt x="359" y="536"/>
                </a:lnTo>
                <a:lnTo>
                  <a:pt x="358" y="537"/>
                </a:lnTo>
                <a:lnTo>
                  <a:pt x="355" y="537"/>
                </a:lnTo>
                <a:lnTo>
                  <a:pt x="352" y="539"/>
                </a:lnTo>
                <a:lnTo>
                  <a:pt x="350" y="537"/>
                </a:lnTo>
                <a:lnTo>
                  <a:pt x="349" y="537"/>
                </a:lnTo>
                <a:lnTo>
                  <a:pt x="349" y="534"/>
                </a:lnTo>
                <a:lnTo>
                  <a:pt x="350" y="533"/>
                </a:lnTo>
                <a:lnTo>
                  <a:pt x="350" y="532"/>
                </a:lnTo>
                <a:lnTo>
                  <a:pt x="352" y="532"/>
                </a:lnTo>
                <a:lnTo>
                  <a:pt x="353" y="530"/>
                </a:lnTo>
                <a:lnTo>
                  <a:pt x="358" y="530"/>
                </a:lnTo>
                <a:lnTo>
                  <a:pt x="356" y="529"/>
                </a:lnTo>
                <a:lnTo>
                  <a:pt x="352" y="529"/>
                </a:lnTo>
                <a:lnTo>
                  <a:pt x="348" y="527"/>
                </a:lnTo>
                <a:lnTo>
                  <a:pt x="348" y="526"/>
                </a:lnTo>
                <a:lnTo>
                  <a:pt x="349" y="526"/>
                </a:lnTo>
                <a:lnTo>
                  <a:pt x="350" y="527"/>
                </a:lnTo>
                <a:lnTo>
                  <a:pt x="352" y="527"/>
                </a:lnTo>
                <a:lnTo>
                  <a:pt x="353" y="526"/>
                </a:lnTo>
                <a:lnTo>
                  <a:pt x="355" y="528"/>
                </a:lnTo>
                <a:lnTo>
                  <a:pt x="356" y="528"/>
                </a:lnTo>
                <a:lnTo>
                  <a:pt x="359" y="527"/>
                </a:lnTo>
                <a:lnTo>
                  <a:pt x="360" y="527"/>
                </a:lnTo>
                <a:lnTo>
                  <a:pt x="362" y="528"/>
                </a:lnTo>
                <a:lnTo>
                  <a:pt x="363" y="528"/>
                </a:lnTo>
                <a:lnTo>
                  <a:pt x="362" y="526"/>
                </a:lnTo>
                <a:lnTo>
                  <a:pt x="361" y="524"/>
                </a:lnTo>
                <a:lnTo>
                  <a:pt x="352" y="522"/>
                </a:lnTo>
                <a:lnTo>
                  <a:pt x="350" y="521"/>
                </a:lnTo>
                <a:lnTo>
                  <a:pt x="352" y="520"/>
                </a:lnTo>
                <a:lnTo>
                  <a:pt x="361" y="521"/>
                </a:lnTo>
                <a:lnTo>
                  <a:pt x="362" y="522"/>
                </a:lnTo>
                <a:lnTo>
                  <a:pt x="362" y="523"/>
                </a:lnTo>
                <a:lnTo>
                  <a:pt x="369" y="523"/>
                </a:lnTo>
                <a:lnTo>
                  <a:pt x="371" y="522"/>
                </a:lnTo>
                <a:lnTo>
                  <a:pt x="369" y="521"/>
                </a:lnTo>
                <a:lnTo>
                  <a:pt x="374" y="521"/>
                </a:lnTo>
                <a:lnTo>
                  <a:pt x="377" y="520"/>
                </a:lnTo>
                <a:lnTo>
                  <a:pt x="378" y="518"/>
                </a:lnTo>
                <a:lnTo>
                  <a:pt x="369" y="518"/>
                </a:lnTo>
                <a:lnTo>
                  <a:pt x="366" y="521"/>
                </a:lnTo>
                <a:lnTo>
                  <a:pt x="365" y="521"/>
                </a:lnTo>
                <a:lnTo>
                  <a:pt x="363" y="520"/>
                </a:lnTo>
                <a:lnTo>
                  <a:pt x="363" y="516"/>
                </a:lnTo>
                <a:lnTo>
                  <a:pt x="366" y="515"/>
                </a:lnTo>
                <a:lnTo>
                  <a:pt x="371" y="516"/>
                </a:lnTo>
                <a:lnTo>
                  <a:pt x="372" y="515"/>
                </a:lnTo>
                <a:lnTo>
                  <a:pt x="371" y="515"/>
                </a:lnTo>
                <a:lnTo>
                  <a:pt x="365" y="514"/>
                </a:lnTo>
                <a:lnTo>
                  <a:pt x="363" y="514"/>
                </a:lnTo>
                <a:lnTo>
                  <a:pt x="363" y="515"/>
                </a:lnTo>
                <a:lnTo>
                  <a:pt x="362" y="514"/>
                </a:lnTo>
                <a:lnTo>
                  <a:pt x="363" y="511"/>
                </a:lnTo>
                <a:lnTo>
                  <a:pt x="366" y="510"/>
                </a:lnTo>
                <a:lnTo>
                  <a:pt x="369" y="510"/>
                </a:lnTo>
                <a:lnTo>
                  <a:pt x="373" y="512"/>
                </a:lnTo>
                <a:lnTo>
                  <a:pt x="383" y="512"/>
                </a:lnTo>
                <a:lnTo>
                  <a:pt x="380" y="511"/>
                </a:lnTo>
                <a:lnTo>
                  <a:pt x="374" y="510"/>
                </a:lnTo>
                <a:lnTo>
                  <a:pt x="373" y="510"/>
                </a:lnTo>
                <a:lnTo>
                  <a:pt x="373" y="508"/>
                </a:lnTo>
                <a:lnTo>
                  <a:pt x="369" y="508"/>
                </a:lnTo>
                <a:lnTo>
                  <a:pt x="369" y="504"/>
                </a:lnTo>
                <a:lnTo>
                  <a:pt x="367" y="504"/>
                </a:lnTo>
                <a:lnTo>
                  <a:pt x="367" y="500"/>
                </a:lnTo>
                <a:lnTo>
                  <a:pt x="366" y="499"/>
                </a:lnTo>
                <a:lnTo>
                  <a:pt x="363" y="500"/>
                </a:lnTo>
                <a:lnTo>
                  <a:pt x="362" y="499"/>
                </a:lnTo>
                <a:lnTo>
                  <a:pt x="365" y="497"/>
                </a:lnTo>
                <a:lnTo>
                  <a:pt x="372" y="497"/>
                </a:lnTo>
                <a:lnTo>
                  <a:pt x="373" y="496"/>
                </a:lnTo>
                <a:lnTo>
                  <a:pt x="373" y="493"/>
                </a:lnTo>
                <a:lnTo>
                  <a:pt x="377" y="493"/>
                </a:lnTo>
                <a:lnTo>
                  <a:pt x="378" y="491"/>
                </a:lnTo>
                <a:lnTo>
                  <a:pt x="379" y="491"/>
                </a:lnTo>
                <a:lnTo>
                  <a:pt x="380" y="490"/>
                </a:lnTo>
                <a:lnTo>
                  <a:pt x="381" y="490"/>
                </a:lnTo>
                <a:lnTo>
                  <a:pt x="381" y="492"/>
                </a:lnTo>
                <a:lnTo>
                  <a:pt x="380" y="493"/>
                </a:lnTo>
                <a:lnTo>
                  <a:pt x="379" y="493"/>
                </a:lnTo>
                <a:lnTo>
                  <a:pt x="378" y="494"/>
                </a:lnTo>
                <a:lnTo>
                  <a:pt x="379" y="497"/>
                </a:lnTo>
                <a:lnTo>
                  <a:pt x="380" y="498"/>
                </a:lnTo>
                <a:lnTo>
                  <a:pt x="381" y="498"/>
                </a:lnTo>
                <a:lnTo>
                  <a:pt x="380" y="497"/>
                </a:lnTo>
                <a:lnTo>
                  <a:pt x="381" y="494"/>
                </a:lnTo>
                <a:lnTo>
                  <a:pt x="381" y="493"/>
                </a:lnTo>
                <a:lnTo>
                  <a:pt x="384" y="493"/>
                </a:lnTo>
                <a:lnTo>
                  <a:pt x="385" y="492"/>
                </a:lnTo>
                <a:lnTo>
                  <a:pt x="385" y="490"/>
                </a:lnTo>
                <a:lnTo>
                  <a:pt x="384" y="489"/>
                </a:lnTo>
                <a:lnTo>
                  <a:pt x="384" y="484"/>
                </a:lnTo>
                <a:lnTo>
                  <a:pt x="385" y="483"/>
                </a:lnTo>
                <a:lnTo>
                  <a:pt x="386" y="484"/>
                </a:lnTo>
                <a:lnTo>
                  <a:pt x="386" y="486"/>
                </a:lnTo>
                <a:lnTo>
                  <a:pt x="387" y="490"/>
                </a:lnTo>
                <a:lnTo>
                  <a:pt x="387" y="491"/>
                </a:lnTo>
                <a:lnTo>
                  <a:pt x="389" y="493"/>
                </a:lnTo>
                <a:lnTo>
                  <a:pt x="390" y="492"/>
                </a:lnTo>
                <a:lnTo>
                  <a:pt x="392" y="492"/>
                </a:lnTo>
                <a:lnTo>
                  <a:pt x="392" y="490"/>
                </a:lnTo>
                <a:lnTo>
                  <a:pt x="393" y="490"/>
                </a:lnTo>
                <a:lnTo>
                  <a:pt x="394" y="487"/>
                </a:lnTo>
                <a:lnTo>
                  <a:pt x="394" y="485"/>
                </a:lnTo>
                <a:lnTo>
                  <a:pt x="393" y="484"/>
                </a:lnTo>
                <a:lnTo>
                  <a:pt x="394" y="484"/>
                </a:lnTo>
                <a:lnTo>
                  <a:pt x="400" y="483"/>
                </a:lnTo>
                <a:lnTo>
                  <a:pt x="403" y="485"/>
                </a:lnTo>
                <a:lnTo>
                  <a:pt x="405" y="485"/>
                </a:lnTo>
                <a:lnTo>
                  <a:pt x="406" y="486"/>
                </a:lnTo>
                <a:lnTo>
                  <a:pt x="406" y="487"/>
                </a:lnTo>
                <a:lnTo>
                  <a:pt x="408" y="487"/>
                </a:lnTo>
                <a:lnTo>
                  <a:pt x="408" y="484"/>
                </a:lnTo>
                <a:lnTo>
                  <a:pt x="406" y="483"/>
                </a:lnTo>
                <a:lnTo>
                  <a:pt x="404" y="483"/>
                </a:lnTo>
                <a:lnTo>
                  <a:pt x="398" y="481"/>
                </a:lnTo>
                <a:lnTo>
                  <a:pt x="394" y="481"/>
                </a:lnTo>
                <a:lnTo>
                  <a:pt x="394" y="480"/>
                </a:lnTo>
                <a:lnTo>
                  <a:pt x="396" y="479"/>
                </a:lnTo>
                <a:lnTo>
                  <a:pt x="396" y="478"/>
                </a:lnTo>
                <a:lnTo>
                  <a:pt x="397" y="477"/>
                </a:lnTo>
                <a:lnTo>
                  <a:pt x="396" y="475"/>
                </a:lnTo>
                <a:lnTo>
                  <a:pt x="397" y="474"/>
                </a:lnTo>
                <a:lnTo>
                  <a:pt x="397" y="473"/>
                </a:lnTo>
                <a:lnTo>
                  <a:pt x="398" y="472"/>
                </a:lnTo>
                <a:lnTo>
                  <a:pt x="402" y="472"/>
                </a:lnTo>
                <a:lnTo>
                  <a:pt x="402" y="473"/>
                </a:lnTo>
                <a:lnTo>
                  <a:pt x="400" y="474"/>
                </a:lnTo>
                <a:lnTo>
                  <a:pt x="400" y="478"/>
                </a:lnTo>
                <a:lnTo>
                  <a:pt x="402" y="478"/>
                </a:lnTo>
                <a:lnTo>
                  <a:pt x="402" y="475"/>
                </a:lnTo>
                <a:lnTo>
                  <a:pt x="403" y="474"/>
                </a:lnTo>
                <a:lnTo>
                  <a:pt x="402" y="474"/>
                </a:lnTo>
                <a:lnTo>
                  <a:pt x="402" y="473"/>
                </a:lnTo>
                <a:lnTo>
                  <a:pt x="411" y="472"/>
                </a:lnTo>
                <a:lnTo>
                  <a:pt x="412" y="473"/>
                </a:lnTo>
                <a:lnTo>
                  <a:pt x="414" y="477"/>
                </a:lnTo>
                <a:lnTo>
                  <a:pt x="415" y="477"/>
                </a:lnTo>
                <a:lnTo>
                  <a:pt x="415" y="474"/>
                </a:lnTo>
                <a:lnTo>
                  <a:pt x="414" y="473"/>
                </a:lnTo>
                <a:lnTo>
                  <a:pt x="414" y="472"/>
                </a:lnTo>
                <a:lnTo>
                  <a:pt x="410" y="471"/>
                </a:lnTo>
                <a:lnTo>
                  <a:pt x="404" y="471"/>
                </a:lnTo>
                <a:lnTo>
                  <a:pt x="408" y="467"/>
                </a:lnTo>
                <a:lnTo>
                  <a:pt x="410" y="469"/>
                </a:lnTo>
                <a:lnTo>
                  <a:pt x="411" y="469"/>
                </a:lnTo>
                <a:lnTo>
                  <a:pt x="412" y="468"/>
                </a:lnTo>
                <a:lnTo>
                  <a:pt x="414" y="468"/>
                </a:lnTo>
                <a:lnTo>
                  <a:pt x="416" y="466"/>
                </a:lnTo>
                <a:lnTo>
                  <a:pt x="419" y="467"/>
                </a:lnTo>
                <a:lnTo>
                  <a:pt x="424" y="466"/>
                </a:lnTo>
                <a:lnTo>
                  <a:pt x="424" y="467"/>
                </a:lnTo>
                <a:lnTo>
                  <a:pt x="422" y="467"/>
                </a:lnTo>
                <a:lnTo>
                  <a:pt x="422" y="471"/>
                </a:lnTo>
                <a:lnTo>
                  <a:pt x="421" y="472"/>
                </a:lnTo>
                <a:lnTo>
                  <a:pt x="421" y="474"/>
                </a:lnTo>
                <a:lnTo>
                  <a:pt x="423" y="479"/>
                </a:lnTo>
                <a:lnTo>
                  <a:pt x="425" y="479"/>
                </a:lnTo>
                <a:lnTo>
                  <a:pt x="425" y="478"/>
                </a:lnTo>
                <a:lnTo>
                  <a:pt x="424" y="475"/>
                </a:lnTo>
                <a:lnTo>
                  <a:pt x="422" y="473"/>
                </a:lnTo>
                <a:lnTo>
                  <a:pt x="425" y="468"/>
                </a:lnTo>
                <a:lnTo>
                  <a:pt x="425" y="467"/>
                </a:lnTo>
                <a:lnTo>
                  <a:pt x="429" y="467"/>
                </a:lnTo>
                <a:lnTo>
                  <a:pt x="430" y="468"/>
                </a:lnTo>
                <a:lnTo>
                  <a:pt x="434" y="468"/>
                </a:lnTo>
                <a:lnTo>
                  <a:pt x="437" y="472"/>
                </a:lnTo>
                <a:lnTo>
                  <a:pt x="440" y="472"/>
                </a:lnTo>
                <a:lnTo>
                  <a:pt x="441" y="473"/>
                </a:lnTo>
                <a:lnTo>
                  <a:pt x="441" y="479"/>
                </a:lnTo>
                <a:lnTo>
                  <a:pt x="445" y="483"/>
                </a:lnTo>
                <a:lnTo>
                  <a:pt x="446" y="483"/>
                </a:lnTo>
                <a:lnTo>
                  <a:pt x="446" y="481"/>
                </a:lnTo>
                <a:lnTo>
                  <a:pt x="443" y="479"/>
                </a:lnTo>
                <a:lnTo>
                  <a:pt x="443" y="477"/>
                </a:lnTo>
                <a:lnTo>
                  <a:pt x="445" y="474"/>
                </a:lnTo>
                <a:lnTo>
                  <a:pt x="445" y="471"/>
                </a:lnTo>
                <a:lnTo>
                  <a:pt x="442" y="469"/>
                </a:lnTo>
                <a:lnTo>
                  <a:pt x="441" y="468"/>
                </a:lnTo>
                <a:lnTo>
                  <a:pt x="442" y="467"/>
                </a:lnTo>
                <a:lnTo>
                  <a:pt x="445" y="467"/>
                </a:lnTo>
                <a:lnTo>
                  <a:pt x="455" y="471"/>
                </a:lnTo>
                <a:lnTo>
                  <a:pt x="456" y="471"/>
                </a:lnTo>
                <a:lnTo>
                  <a:pt x="455" y="469"/>
                </a:lnTo>
                <a:lnTo>
                  <a:pt x="455" y="468"/>
                </a:lnTo>
                <a:lnTo>
                  <a:pt x="454" y="468"/>
                </a:lnTo>
                <a:lnTo>
                  <a:pt x="454" y="466"/>
                </a:lnTo>
                <a:lnTo>
                  <a:pt x="450" y="468"/>
                </a:lnTo>
                <a:lnTo>
                  <a:pt x="448" y="466"/>
                </a:lnTo>
                <a:lnTo>
                  <a:pt x="442" y="465"/>
                </a:lnTo>
                <a:lnTo>
                  <a:pt x="440" y="465"/>
                </a:lnTo>
                <a:lnTo>
                  <a:pt x="437" y="467"/>
                </a:lnTo>
                <a:lnTo>
                  <a:pt x="436" y="466"/>
                </a:lnTo>
                <a:lnTo>
                  <a:pt x="437" y="466"/>
                </a:lnTo>
                <a:lnTo>
                  <a:pt x="440" y="463"/>
                </a:lnTo>
                <a:lnTo>
                  <a:pt x="436" y="462"/>
                </a:lnTo>
                <a:lnTo>
                  <a:pt x="436" y="463"/>
                </a:lnTo>
                <a:lnTo>
                  <a:pt x="435" y="463"/>
                </a:lnTo>
                <a:lnTo>
                  <a:pt x="434" y="465"/>
                </a:lnTo>
                <a:lnTo>
                  <a:pt x="428" y="462"/>
                </a:lnTo>
                <a:lnTo>
                  <a:pt x="428" y="461"/>
                </a:lnTo>
                <a:lnTo>
                  <a:pt x="430" y="461"/>
                </a:lnTo>
                <a:lnTo>
                  <a:pt x="430" y="460"/>
                </a:lnTo>
                <a:lnTo>
                  <a:pt x="431" y="460"/>
                </a:lnTo>
                <a:lnTo>
                  <a:pt x="431" y="456"/>
                </a:lnTo>
                <a:lnTo>
                  <a:pt x="430" y="456"/>
                </a:lnTo>
                <a:lnTo>
                  <a:pt x="427" y="457"/>
                </a:lnTo>
                <a:lnTo>
                  <a:pt x="425" y="457"/>
                </a:lnTo>
                <a:lnTo>
                  <a:pt x="425" y="460"/>
                </a:lnTo>
                <a:lnTo>
                  <a:pt x="415" y="460"/>
                </a:lnTo>
                <a:lnTo>
                  <a:pt x="416" y="461"/>
                </a:lnTo>
                <a:lnTo>
                  <a:pt x="417" y="461"/>
                </a:lnTo>
                <a:lnTo>
                  <a:pt x="418" y="462"/>
                </a:lnTo>
                <a:lnTo>
                  <a:pt x="417" y="463"/>
                </a:lnTo>
                <a:lnTo>
                  <a:pt x="411" y="466"/>
                </a:lnTo>
                <a:lnTo>
                  <a:pt x="409" y="466"/>
                </a:lnTo>
                <a:lnTo>
                  <a:pt x="411" y="465"/>
                </a:lnTo>
                <a:lnTo>
                  <a:pt x="412" y="462"/>
                </a:lnTo>
                <a:lnTo>
                  <a:pt x="412" y="460"/>
                </a:lnTo>
                <a:lnTo>
                  <a:pt x="411" y="460"/>
                </a:lnTo>
                <a:lnTo>
                  <a:pt x="406" y="462"/>
                </a:lnTo>
                <a:lnTo>
                  <a:pt x="400" y="462"/>
                </a:lnTo>
                <a:lnTo>
                  <a:pt x="399" y="463"/>
                </a:lnTo>
                <a:lnTo>
                  <a:pt x="398" y="463"/>
                </a:lnTo>
                <a:lnTo>
                  <a:pt x="397" y="465"/>
                </a:lnTo>
                <a:lnTo>
                  <a:pt x="397" y="463"/>
                </a:lnTo>
                <a:lnTo>
                  <a:pt x="400" y="460"/>
                </a:lnTo>
                <a:lnTo>
                  <a:pt x="399" y="460"/>
                </a:lnTo>
                <a:lnTo>
                  <a:pt x="402" y="457"/>
                </a:lnTo>
                <a:lnTo>
                  <a:pt x="403" y="455"/>
                </a:lnTo>
                <a:lnTo>
                  <a:pt x="408" y="449"/>
                </a:lnTo>
                <a:lnTo>
                  <a:pt x="409" y="448"/>
                </a:lnTo>
                <a:lnTo>
                  <a:pt x="408" y="447"/>
                </a:lnTo>
                <a:lnTo>
                  <a:pt x="408" y="446"/>
                </a:lnTo>
                <a:lnTo>
                  <a:pt x="409" y="446"/>
                </a:lnTo>
                <a:lnTo>
                  <a:pt x="409" y="444"/>
                </a:lnTo>
                <a:lnTo>
                  <a:pt x="410" y="443"/>
                </a:lnTo>
                <a:lnTo>
                  <a:pt x="414" y="444"/>
                </a:lnTo>
                <a:lnTo>
                  <a:pt x="415" y="443"/>
                </a:lnTo>
                <a:lnTo>
                  <a:pt x="416" y="443"/>
                </a:lnTo>
                <a:lnTo>
                  <a:pt x="417" y="446"/>
                </a:lnTo>
                <a:lnTo>
                  <a:pt x="417" y="447"/>
                </a:lnTo>
                <a:lnTo>
                  <a:pt x="416" y="448"/>
                </a:lnTo>
                <a:lnTo>
                  <a:pt x="417" y="448"/>
                </a:lnTo>
                <a:lnTo>
                  <a:pt x="421" y="444"/>
                </a:lnTo>
                <a:lnTo>
                  <a:pt x="422" y="444"/>
                </a:lnTo>
                <a:lnTo>
                  <a:pt x="424" y="443"/>
                </a:lnTo>
                <a:lnTo>
                  <a:pt x="427" y="441"/>
                </a:lnTo>
                <a:lnTo>
                  <a:pt x="422" y="442"/>
                </a:lnTo>
                <a:lnTo>
                  <a:pt x="417" y="441"/>
                </a:lnTo>
                <a:lnTo>
                  <a:pt x="418" y="440"/>
                </a:lnTo>
                <a:lnTo>
                  <a:pt x="417" y="438"/>
                </a:lnTo>
                <a:lnTo>
                  <a:pt x="425" y="438"/>
                </a:lnTo>
                <a:lnTo>
                  <a:pt x="427" y="437"/>
                </a:lnTo>
                <a:lnTo>
                  <a:pt x="427" y="436"/>
                </a:lnTo>
                <a:lnTo>
                  <a:pt x="428" y="436"/>
                </a:lnTo>
                <a:lnTo>
                  <a:pt x="429" y="435"/>
                </a:lnTo>
                <a:lnTo>
                  <a:pt x="430" y="435"/>
                </a:lnTo>
                <a:lnTo>
                  <a:pt x="433" y="432"/>
                </a:lnTo>
                <a:lnTo>
                  <a:pt x="433" y="435"/>
                </a:lnTo>
                <a:lnTo>
                  <a:pt x="434" y="436"/>
                </a:lnTo>
                <a:lnTo>
                  <a:pt x="433" y="437"/>
                </a:lnTo>
                <a:lnTo>
                  <a:pt x="431" y="437"/>
                </a:lnTo>
                <a:lnTo>
                  <a:pt x="431" y="438"/>
                </a:lnTo>
                <a:lnTo>
                  <a:pt x="433" y="438"/>
                </a:lnTo>
                <a:lnTo>
                  <a:pt x="431" y="440"/>
                </a:lnTo>
                <a:lnTo>
                  <a:pt x="431" y="442"/>
                </a:lnTo>
                <a:lnTo>
                  <a:pt x="430" y="444"/>
                </a:lnTo>
                <a:lnTo>
                  <a:pt x="434" y="441"/>
                </a:lnTo>
                <a:lnTo>
                  <a:pt x="434" y="438"/>
                </a:lnTo>
                <a:lnTo>
                  <a:pt x="435" y="437"/>
                </a:lnTo>
                <a:lnTo>
                  <a:pt x="441" y="436"/>
                </a:lnTo>
                <a:lnTo>
                  <a:pt x="443" y="437"/>
                </a:lnTo>
                <a:lnTo>
                  <a:pt x="445" y="440"/>
                </a:lnTo>
                <a:lnTo>
                  <a:pt x="445" y="441"/>
                </a:lnTo>
                <a:lnTo>
                  <a:pt x="448" y="448"/>
                </a:lnTo>
                <a:lnTo>
                  <a:pt x="448" y="451"/>
                </a:lnTo>
                <a:lnTo>
                  <a:pt x="449" y="454"/>
                </a:lnTo>
                <a:lnTo>
                  <a:pt x="452" y="456"/>
                </a:lnTo>
                <a:lnTo>
                  <a:pt x="452" y="457"/>
                </a:lnTo>
                <a:lnTo>
                  <a:pt x="450" y="457"/>
                </a:lnTo>
                <a:lnTo>
                  <a:pt x="450" y="459"/>
                </a:lnTo>
                <a:lnTo>
                  <a:pt x="452" y="460"/>
                </a:lnTo>
                <a:lnTo>
                  <a:pt x="453" y="460"/>
                </a:lnTo>
                <a:lnTo>
                  <a:pt x="454" y="456"/>
                </a:lnTo>
                <a:lnTo>
                  <a:pt x="454" y="455"/>
                </a:lnTo>
                <a:lnTo>
                  <a:pt x="452" y="454"/>
                </a:lnTo>
                <a:lnTo>
                  <a:pt x="450" y="454"/>
                </a:lnTo>
                <a:lnTo>
                  <a:pt x="450" y="448"/>
                </a:lnTo>
                <a:lnTo>
                  <a:pt x="448" y="446"/>
                </a:lnTo>
                <a:lnTo>
                  <a:pt x="447" y="443"/>
                </a:lnTo>
                <a:lnTo>
                  <a:pt x="447" y="442"/>
                </a:lnTo>
                <a:lnTo>
                  <a:pt x="449" y="441"/>
                </a:lnTo>
                <a:lnTo>
                  <a:pt x="449" y="440"/>
                </a:lnTo>
                <a:lnTo>
                  <a:pt x="448" y="440"/>
                </a:lnTo>
                <a:lnTo>
                  <a:pt x="447" y="438"/>
                </a:lnTo>
                <a:lnTo>
                  <a:pt x="448" y="436"/>
                </a:lnTo>
                <a:lnTo>
                  <a:pt x="450" y="434"/>
                </a:lnTo>
                <a:lnTo>
                  <a:pt x="458" y="430"/>
                </a:lnTo>
                <a:lnTo>
                  <a:pt x="462" y="429"/>
                </a:lnTo>
                <a:lnTo>
                  <a:pt x="461" y="426"/>
                </a:lnTo>
                <a:lnTo>
                  <a:pt x="453" y="429"/>
                </a:lnTo>
                <a:lnTo>
                  <a:pt x="448" y="434"/>
                </a:lnTo>
                <a:lnTo>
                  <a:pt x="446" y="434"/>
                </a:lnTo>
                <a:lnTo>
                  <a:pt x="436" y="432"/>
                </a:lnTo>
                <a:lnTo>
                  <a:pt x="435" y="432"/>
                </a:lnTo>
                <a:lnTo>
                  <a:pt x="434" y="431"/>
                </a:lnTo>
                <a:lnTo>
                  <a:pt x="435" y="429"/>
                </a:lnTo>
                <a:lnTo>
                  <a:pt x="435" y="428"/>
                </a:lnTo>
                <a:lnTo>
                  <a:pt x="436" y="426"/>
                </a:lnTo>
                <a:lnTo>
                  <a:pt x="435" y="425"/>
                </a:lnTo>
                <a:lnTo>
                  <a:pt x="441" y="425"/>
                </a:lnTo>
                <a:lnTo>
                  <a:pt x="442" y="426"/>
                </a:lnTo>
                <a:lnTo>
                  <a:pt x="443" y="426"/>
                </a:lnTo>
                <a:lnTo>
                  <a:pt x="443" y="429"/>
                </a:lnTo>
                <a:lnTo>
                  <a:pt x="445" y="428"/>
                </a:lnTo>
                <a:lnTo>
                  <a:pt x="445" y="426"/>
                </a:lnTo>
                <a:lnTo>
                  <a:pt x="442" y="424"/>
                </a:lnTo>
                <a:lnTo>
                  <a:pt x="442" y="423"/>
                </a:lnTo>
                <a:lnTo>
                  <a:pt x="443" y="423"/>
                </a:lnTo>
                <a:lnTo>
                  <a:pt x="442" y="422"/>
                </a:lnTo>
                <a:lnTo>
                  <a:pt x="442" y="420"/>
                </a:lnTo>
                <a:lnTo>
                  <a:pt x="441" y="420"/>
                </a:lnTo>
                <a:lnTo>
                  <a:pt x="441" y="423"/>
                </a:lnTo>
                <a:lnTo>
                  <a:pt x="437" y="423"/>
                </a:lnTo>
                <a:lnTo>
                  <a:pt x="437" y="422"/>
                </a:lnTo>
                <a:lnTo>
                  <a:pt x="436" y="422"/>
                </a:lnTo>
                <a:lnTo>
                  <a:pt x="434" y="423"/>
                </a:lnTo>
                <a:lnTo>
                  <a:pt x="433" y="423"/>
                </a:lnTo>
                <a:lnTo>
                  <a:pt x="433" y="419"/>
                </a:lnTo>
                <a:lnTo>
                  <a:pt x="437" y="414"/>
                </a:lnTo>
                <a:lnTo>
                  <a:pt x="436" y="413"/>
                </a:lnTo>
                <a:lnTo>
                  <a:pt x="437" y="411"/>
                </a:lnTo>
                <a:lnTo>
                  <a:pt x="441" y="412"/>
                </a:lnTo>
                <a:lnTo>
                  <a:pt x="442" y="414"/>
                </a:lnTo>
                <a:lnTo>
                  <a:pt x="448" y="416"/>
                </a:lnTo>
                <a:lnTo>
                  <a:pt x="447" y="414"/>
                </a:lnTo>
                <a:lnTo>
                  <a:pt x="447" y="413"/>
                </a:lnTo>
                <a:lnTo>
                  <a:pt x="453" y="416"/>
                </a:lnTo>
                <a:lnTo>
                  <a:pt x="449" y="412"/>
                </a:lnTo>
                <a:lnTo>
                  <a:pt x="448" y="412"/>
                </a:lnTo>
                <a:lnTo>
                  <a:pt x="446" y="413"/>
                </a:lnTo>
                <a:lnTo>
                  <a:pt x="445" y="412"/>
                </a:lnTo>
                <a:lnTo>
                  <a:pt x="442" y="408"/>
                </a:lnTo>
                <a:lnTo>
                  <a:pt x="450" y="407"/>
                </a:lnTo>
                <a:lnTo>
                  <a:pt x="453" y="408"/>
                </a:lnTo>
                <a:lnTo>
                  <a:pt x="459" y="416"/>
                </a:lnTo>
                <a:lnTo>
                  <a:pt x="460" y="416"/>
                </a:lnTo>
                <a:lnTo>
                  <a:pt x="460" y="413"/>
                </a:lnTo>
                <a:lnTo>
                  <a:pt x="459" y="413"/>
                </a:lnTo>
                <a:lnTo>
                  <a:pt x="458" y="412"/>
                </a:lnTo>
                <a:lnTo>
                  <a:pt x="458" y="410"/>
                </a:lnTo>
                <a:lnTo>
                  <a:pt x="453" y="406"/>
                </a:lnTo>
                <a:lnTo>
                  <a:pt x="452" y="406"/>
                </a:lnTo>
                <a:lnTo>
                  <a:pt x="452" y="405"/>
                </a:lnTo>
                <a:lnTo>
                  <a:pt x="453" y="404"/>
                </a:lnTo>
                <a:lnTo>
                  <a:pt x="453" y="403"/>
                </a:lnTo>
                <a:lnTo>
                  <a:pt x="450" y="405"/>
                </a:lnTo>
                <a:lnTo>
                  <a:pt x="442" y="403"/>
                </a:lnTo>
                <a:lnTo>
                  <a:pt x="442" y="400"/>
                </a:lnTo>
                <a:lnTo>
                  <a:pt x="443" y="398"/>
                </a:lnTo>
                <a:lnTo>
                  <a:pt x="443" y="395"/>
                </a:lnTo>
                <a:lnTo>
                  <a:pt x="442" y="395"/>
                </a:lnTo>
                <a:lnTo>
                  <a:pt x="442" y="399"/>
                </a:lnTo>
                <a:lnTo>
                  <a:pt x="441" y="395"/>
                </a:lnTo>
                <a:lnTo>
                  <a:pt x="441" y="394"/>
                </a:lnTo>
                <a:lnTo>
                  <a:pt x="440" y="397"/>
                </a:lnTo>
                <a:lnTo>
                  <a:pt x="441" y="400"/>
                </a:lnTo>
                <a:lnTo>
                  <a:pt x="441" y="401"/>
                </a:lnTo>
                <a:lnTo>
                  <a:pt x="437" y="405"/>
                </a:lnTo>
                <a:lnTo>
                  <a:pt x="436" y="407"/>
                </a:lnTo>
                <a:lnTo>
                  <a:pt x="434" y="408"/>
                </a:lnTo>
                <a:lnTo>
                  <a:pt x="433" y="411"/>
                </a:lnTo>
                <a:lnTo>
                  <a:pt x="431" y="412"/>
                </a:lnTo>
                <a:lnTo>
                  <a:pt x="427" y="416"/>
                </a:lnTo>
                <a:lnTo>
                  <a:pt x="423" y="417"/>
                </a:lnTo>
                <a:lnTo>
                  <a:pt x="422" y="418"/>
                </a:lnTo>
                <a:lnTo>
                  <a:pt x="418" y="419"/>
                </a:lnTo>
                <a:lnTo>
                  <a:pt x="417" y="418"/>
                </a:lnTo>
                <a:lnTo>
                  <a:pt x="415" y="419"/>
                </a:lnTo>
                <a:lnTo>
                  <a:pt x="414" y="417"/>
                </a:lnTo>
                <a:lnTo>
                  <a:pt x="419" y="413"/>
                </a:lnTo>
                <a:lnTo>
                  <a:pt x="419" y="412"/>
                </a:lnTo>
                <a:lnTo>
                  <a:pt x="416" y="411"/>
                </a:lnTo>
                <a:lnTo>
                  <a:pt x="416" y="410"/>
                </a:lnTo>
                <a:lnTo>
                  <a:pt x="419" y="410"/>
                </a:lnTo>
                <a:lnTo>
                  <a:pt x="430" y="408"/>
                </a:lnTo>
                <a:lnTo>
                  <a:pt x="429" y="407"/>
                </a:lnTo>
                <a:lnTo>
                  <a:pt x="425" y="407"/>
                </a:lnTo>
                <a:lnTo>
                  <a:pt x="424" y="405"/>
                </a:lnTo>
                <a:lnTo>
                  <a:pt x="425" y="405"/>
                </a:lnTo>
                <a:lnTo>
                  <a:pt x="427" y="404"/>
                </a:lnTo>
                <a:lnTo>
                  <a:pt x="419" y="405"/>
                </a:lnTo>
                <a:lnTo>
                  <a:pt x="417" y="405"/>
                </a:lnTo>
                <a:lnTo>
                  <a:pt x="417" y="403"/>
                </a:lnTo>
                <a:lnTo>
                  <a:pt x="416" y="403"/>
                </a:lnTo>
                <a:lnTo>
                  <a:pt x="416" y="404"/>
                </a:lnTo>
                <a:lnTo>
                  <a:pt x="415" y="403"/>
                </a:lnTo>
                <a:lnTo>
                  <a:pt x="415" y="400"/>
                </a:lnTo>
                <a:lnTo>
                  <a:pt x="416" y="399"/>
                </a:lnTo>
                <a:lnTo>
                  <a:pt x="419" y="399"/>
                </a:lnTo>
                <a:lnTo>
                  <a:pt x="423" y="398"/>
                </a:lnTo>
                <a:lnTo>
                  <a:pt x="428" y="398"/>
                </a:lnTo>
                <a:lnTo>
                  <a:pt x="429" y="397"/>
                </a:lnTo>
                <a:lnTo>
                  <a:pt x="428" y="395"/>
                </a:lnTo>
                <a:lnTo>
                  <a:pt x="418" y="397"/>
                </a:lnTo>
                <a:lnTo>
                  <a:pt x="424" y="391"/>
                </a:lnTo>
                <a:lnTo>
                  <a:pt x="427" y="391"/>
                </a:lnTo>
                <a:lnTo>
                  <a:pt x="428" y="392"/>
                </a:lnTo>
                <a:lnTo>
                  <a:pt x="433" y="392"/>
                </a:lnTo>
                <a:lnTo>
                  <a:pt x="435" y="394"/>
                </a:lnTo>
                <a:lnTo>
                  <a:pt x="434" y="394"/>
                </a:lnTo>
                <a:lnTo>
                  <a:pt x="434" y="395"/>
                </a:lnTo>
                <a:lnTo>
                  <a:pt x="433" y="397"/>
                </a:lnTo>
                <a:lnTo>
                  <a:pt x="433" y="398"/>
                </a:lnTo>
                <a:lnTo>
                  <a:pt x="437" y="392"/>
                </a:lnTo>
                <a:lnTo>
                  <a:pt x="437" y="391"/>
                </a:lnTo>
                <a:lnTo>
                  <a:pt x="437" y="392"/>
                </a:lnTo>
                <a:lnTo>
                  <a:pt x="440" y="392"/>
                </a:lnTo>
                <a:lnTo>
                  <a:pt x="446" y="388"/>
                </a:lnTo>
                <a:lnTo>
                  <a:pt x="448" y="388"/>
                </a:lnTo>
                <a:lnTo>
                  <a:pt x="447" y="392"/>
                </a:lnTo>
                <a:lnTo>
                  <a:pt x="448" y="391"/>
                </a:lnTo>
                <a:lnTo>
                  <a:pt x="448" y="389"/>
                </a:lnTo>
                <a:lnTo>
                  <a:pt x="449" y="389"/>
                </a:lnTo>
                <a:lnTo>
                  <a:pt x="450" y="388"/>
                </a:lnTo>
                <a:lnTo>
                  <a:pt x="450" y="387"/>
                </a:lnTo>
                <a:lnTo>
                  <a:pt x="456" y="385"/>
                </a:lnTo>
                <a:lnTo>
                  <a:pt x="458" y="385"/>
                </a:lnTo>
                <a:lnTo>
                  <a:pt x="460" y="386"/>
                </a:lnTo>
                <a:lnTo>
                  <a:pt x="460" y="391"/>
                </a:lnTo>
                <a:lnTo>
                  <a:pt x="461" y="391"/>
                </a:lnTo>
                <a:lnTo>
                  <a:pt x="461" y="387"/>
                </a:lnTo>
                <a:lnTo>
                  <a:pt x="465" y="383"/>
                </a:lnTo>
                <a:lnTo>
                  <a:pt x="465" y="382"/>
                </a:lnTo>
                <a:lnTo>
                  <a:pt x="466" y="380"/>
                </a:lnTo>
                <a:lnTo>
                  <a:pt x="465" y="380"/>
                </a:lnTo>
                <a:lnTo>
                  <a:pt x="467" y="377"/>
                </a:lnTo>
                <a:lnTo>
                  <a:pt x="470" y="379"/>
                </a:lnTo>
                <a:lnTo>
                  <a:pt x="470" y="377"/>
                </a:lnTo>
                <a:lnTo>
                  <a:pt x="462" y="376"/>
                </a:lnTo>
                <a:lnTo>
                  <a:pt x="461" y="375"/>
                </a:lnTo>
                <a:lnTo>
                  <a:pt x="461" y="374"/>
                </a:lnTo>
                <a:lnTo>
                  <a:pt x="462" y="373"/>
                </a:lnTo>
                <a:lnTo>
                  <a:pt x="462" y="371"/>
                </a:lnTo>
                <a:lnTo>
                  <a:pt x="461" y="371"/>
                </a:lnTo>
                <a:lnTo>
                  <a:pt x="460" y="374"/>
                </a:lnTo>
                <a:lnTo>
                  <a:pt x="459" y="374"/>
                </a:lnTo>
                <a:lnTo>
                  <a:pt x="458" y="375"/>
                </a:lnTo>
                <a:lnTo>
                  <a:pt x="450" y="375"/>
                </a:lnTo>
                <a:lnTo>
                  <a:pt x="449" y="374"/>
                </a:lnTo>
                <a:lnTo>
                  <a:pt x="449" y="373"/>
                </a:lnTo>
                <a:lnTo>
                  <a:pt x="448" y="371"/>
                </a:lnTo>
                <a:lnTo>
                  <a:pt x="448" y="370"/>
                </a:lnTo>
                <a:lnTo>
                  <a:pt x="447" y="371"/>
                </a:lnTo>
                <a:lnTo>
                  <a:pt x="447" y="373"/>
                </a:lnTo>
                <a:lnTo>
                  <a:pt x="441" y="376"/>
                </a:lnTo>
                <a:lnTo>
                  <a:pt x="441" y="377"/>
                </a:lnTo>
                <a:lnTo>
                  <a:pt x="442" y="379"/>
                </a:lnTo>
                <a:lnTo>
                  <a:pt x="442" y="377"/>
                </a:lnTo>
                <a:lnTo>
                  <a:pt x="443" y="379"/>
                </a:lnTo>
                <a:lnTo>
                  <a:pt x="442" y="380"/>
                </a:lnTo>
                <a:lnTo>
                  <a:pt x="440" y="380"/>
                </a:lnTo>
                <a:lnTo>
                  <a:pt x="437" y="379"/>
                </a:lnTo>
                <a:lnTo>
                  <a:pt x="436" y="375"/>
                </a:lnTo>
                <a:lnTo>
                  <a:pt x="437" y="374"/>
                </a:lnTo>
                <a:lnTo>
                  <a:pt x="437" y="373"/>
                </a:lnTo>
                <a:lnTo>
                  <a:pt x="440" y="373"/>
                </a:lnTo>
                <a:lnTo>
                  <a:pt x="440" y="370"/>
                </a:lnTo>
                <a:lnTo>
                  <a:pt x="446" y="364"/>
                </a:lnTo>
                <a:lnTo>
                  <a:pt x="446" y="368"/>
                </a:lnTo>
                <a:lnTo>
                  <a:pt x="447" y="368"/>
                </a:lnTo>
                <a:lnTo>
                  <a:pt x="447" y="367"/>
                </a:lnTo>
                <a:lnTo>
                  <a:pt x="449" y="367"/>
                </a:lnTo>
                <a:lnTo>
                  <a:pt x="452" y="364"/>
                </a:lnTo>
                <a:lnTo>
                  <a:pt x="452" y="361"/>
                </a:lnTo>
                <a:lnTo>
                  <a:pt x="453" y="361"/>
                </a:lnTo>
                <a:lnTo>
                  <a:pt x="453" y="362"/>
                </a:lnTo>
                <a:lnTo>
                  <a:pt x="455" y="363"/>
                </a:lnTo>
                <a:lnTo>
                  <a:pt x="455" y="364"/>
                </a:lnTo>
                <a:lnTo>
                  <a:pt x="454" y="365"/>
                </a:lnTo>
                <a:lnTo>
                  <a:pt x="455" y="365"/>
                </a:lnTo>
                <a:lnTo>
                  <a:pt x="455" y="367"/>
                </a:lnTo>
                <a:lnTo>
                  <a:pt x="456" y="368"/>
                </a:lnTo>
                <a:lnTo>
                  <a:pt x="455" y="369"/>
                </a:lnTo>
                <a:lnTo>
                  <a:pt x="455" y="370"/>
                </a:lnTo>
                <a:lnTo>
                  <a:pt x="452" y="368"/>
                </a:lnTo>
                <a:lnTo>
                  <a:pt x="450" y="369"/>
                </a:lnTo>
                <a:lnTo>
                  <a:pt x="452" y="370"/>
                </a:lnTo>
                <a:lnTo>
                  <a:pt x="452" y="371"/>
                </a:lnTo>
                <a:lnTo>
                  <a:pt x="450" y="373"/>
                </a:lnTo>
                <a:lnTo>
                  <a:pt x="452" y="374"/>
                </a:lnTo>
                <a:lnTo>
                  <a:pt x="453" y="374"/>
                </a:lnTo>
                <a:lnTo>
                  <a:pt x="453" y="371"/>
                </a:lnTo>
                <a:lnTo>
                  <a:pt x="455" y="371"/>
                </a:lnTo>
                <a:lnTo>
                  <a:pt x="456" y="370"/>
                </a:lnTo>
                <a:lnTo>
                  <a:pt x="456" y="369"/>
                </a:lnTo>
                <a:lnTo>
                  <a:pt x="460" y="369"/>
                </a:lnTo>
                <a:lnTo>
                  <a:pt x="460" y="368"/>
                </a:lnTo>
                <a:lnTo>
                  <a:pt x="461" y="368"/>
                </a:lnTo>
                <a:lnTo>
                  <a:pt x="462" y="365"/>
                </a:lnTo>
                <a:lnTo>
                  <a:pt x="464" y="364"/>
                </a:lnTo>
                <a:lnTo>
                  <a:pt x="461" y="360"/>
                </a:lnTo>
                <a:lnTo>
                  <a:pt x="461" y="358"/>
                </a:lnTo>
                <a:lnTo>
                  <a:pt x="462" y="357"/>
                </a:lnTo>
                <a:lnTo>
                  <a:pt x="464" y="358"/>
                </a:lnTo>
                <a:lnTo>
                  <a:pt x="465" y="358"/>
                </a:lnTo>
                <a:lnTo>
                  <a:pt x="465" y="352"/>
                </a:lnTo>
                <a:lnTo>
                  <a:pt x="466" y="351"/>
                </a:lnTo>
                <a:lnTo>
                  <a:pt x="468" y="351"/>
                </a:lnTo>
                <a:lnTo>
                  <a:pt x="468" y="354"/>
                </a:lnTo>
                <a:lnTo>
                  <a:pt x="470" y="355"/>
                </a:lnTo>
                <a:lnTo>
                  <a:pt x="470" y="358"/>
                </a:lnTo>
                <a:lnTo>
                  <a:pt x="468" y="358"/>
                </a:lnTo>
                <a:lnTo>
                  <a:pt x="468" y="361"/>
                </a:lnTo>
                <a:lnTo>
                  <a:pt x="470" y="361"/>
                </a:lnTo>
                <a:lnTo>
                  <a:pt x="471" y="360"/>
                </a:lnTo>
                <a:lnTo>
                  <a:pt x="472" y="361"/>
                </a:lnTo>
                <a:lnTo>
                  <a:pt x="471" y="363"/>
                </a:lnTo>
                <a:lnTo>
                  <a:pt x="471" y="365"/>
                </a:lnTo>
                <a:lnTo>
                  <a:pt x="470" y="367"/>
                </a:lnTo>
                <a:lnTo>
                  <a:pt x="470" y="368"/>
                </a:lnTo>
                <a:lnTo>
                  <a:pt x="471" y="371"/>
                </a:lnTo>
                <a:lnTo>
                  <a:pt x="471" y="373"/>
                </a:lnTo>
                <a:lnTo>
                  <a:pt x="470" y="374"/>
                </a:lnTo>
                <a:lnTo>
                  <a:pt x="470" y="375"/>
                </a:lnTo>
                <a:lnTo>
                  <a:pt x="468" y="376"/>
                </a:lnTo>
                <a:lnTo>
                  <a:pt x="473" y="380"/>
                </a:lnTo>
                <a:lnTo>
                  <a:pt x="476" y="381"/>
                </a:lnTo>
                <a:lnTo>
                  <a:pt x="476" y="389"/>
                </a:lnTo>
                <a:lnTo>
                  <a:pt x="477" y="392"/>
                </a:lnTo>
                <a:lnTo>
                  <a:pt x="477" y="393"/>
                </a:lnTo>
                <a:lnTo>
                  <a:pt x="479" y="393"/>
                </a:lnTo>
                <a:lnTo>
                  <a:pt x="479" y="394"/>
                </a:lnTo>
                <a:lnTo>
                  <a:pt x="480" y="395"/>
                </a:lnTo>
                <a:lnTo>
                  <a:pt x="485" y="401"/>
                </a:lnTo>
                <a:lnTo>
                  <a:pt x="487" y="403"/>
                </a:lnTo>
                <a:lnTo>
                  <a:pt x="489" y="401"/>
                </a:lnTo>
                <a:lnTo>
                  <a:pt x="487" y="401"/>
                </a:lnTo>
                <a:lnTo>
                  <a:pt x="486" y="400"/>
                </a:lnTo>
                <a:lnTo>
                  <a:pt x="486" y="397"/>
                </a:lnTo>
                <a:lnTo>
                  <a:pt x="480" y="393"/>
                </a:lnTo>
                <a:lnTo>
                  <a:pt x="478" y="392"/>
                </a:lnTo>
                <a:lnTo>
                  <a:pt x="478" y="388"/>
                </a:lnTo>
                <a:lnTo>
                  <a:pt x="479" y="387"/>
                </a:lnTo>
                <a:lnTo>
                  <a:pt x="479" y="386"/>
                </a:lnTo>
                <a:lnTo>
                  <a:pt x="478" y="383"/>
                </a:lnTo>
                <a:lnTo>
                  <a:pt x="479" y="382"/>
                </a:lnTo>
                <a:lnTo>
                  <a:pt x="476" y="379"/>
                </a:lnTo>
                <a:lnTo>
                  <a:pt x="479" y="379"/>
                </a:lnTo>
                <a:lnTo>
                  <a:pt x="480" y="380"/>
                </a:lnTo>
                <a:lnTo>
                  <a:pt x="484" y="388"/>
                </a:lnTo>
                <a:lnTo>
                  <a:pt x="484" y="389"/>
                </a:lnTo>
                <a:lnTo>
                  <a:pt x="486" y="391"/>
                </a:lnTo>
                <a:lnTo>
                  <a:pt x="486" y="386"/>
                </a:lnTo>
                <a:lnTo>
                  <a:pt x="484" y="385"/>
                </a:lnTo>
                <a:lnTo>
                  <a:pt x="484" y="383"/>
                </a:lnTo>
                <a:lnTo>
                  <a:pt x="483" y="382"/>
                </a:lnTo>
                <a:lnTo>
                  <a:pt x="481" y="380"/>
                </a:lnTo>
                <a:lnTo>
                  <a:pt x="481" y="379"/>
                </a:lnTo>
                <a:lnTo>
                  <a:pt x="484" y="379"/>
                </a:lnTo>
                <a:lnTo>
                  <a:pt x="485" y="382"/>
                </a:lnTo>
                <a:lnTo>
                  <a:pt x="487" y="385"/>
                </a:lnTo>
                <a:lnTo>
                  <a:pt x="489" y="385"/>
                </a:lnTo>
                <a:lnTo>
                  <a:pt x="490" y="383"/>
                </a:lnTo>
                <a:lnTo>
                  <a:pt x="489" y="383"/>
                </a:lnTo>
                <a:lnTo>
                  <a:pt x="487" y="382"/>
                </a:lnTo>
                <a:lnTo>
                  <a:pt x="486" y="382"/>
                </a:lnTo>
                <a:lnTo>
                  <a:pt x="486" y="381"/>
                </a:lnTo>
                <a:lnTo>
                  <a:pt x="487" y="380"/>
                </a:lnTo>
                <a:lnTo>
                  <a:pt x="489" y="377"/>
                </a:lnTo>
                <a:lnTo>
                  <a:pt x="483" y="376"/>
                </a:lnTo>
                <a:lnTo>
                  <a:pt x="483" y="374"/>
                </a:lnTo>
                <a:lnTo>
                  <a:pt x="484" y="373"/>
                </a:lnTo>
                <a:lnTo>
                  <a:pt x="484" y="371"/>
                </a:lnTo>
                <a:lnTo>
                  <a:pt x="485" y="371"/>
                </a:lnTo>
                <a:lnTo>
                  <a:pt x="486" y="370"/>
                </a:lnTo>
                <a:lnTo>
                  <a:pt x="486" y="369"/>
                </a:lnTo>
                <a:lnTo>
                  <a:pt x="487" y="369"/>
                </a:lnTo>
                <a:lnTo>
                  <a:pt x="490" y="371"/>
                </a:lnTo>
                <a:lnTo>
                  <a:pt x="495" y="374"/>
                </a:lnTo>
                <a:lnTo>
                  <a:pt x="496" y="373"/>
                </a:lnTo>
                <a:lnTo>
                  <a:pt x="495" y="373"/>
                </a:lnTo>
                <a:lnTo>
                  <a:pt x="496" y="371"/>
                </a:lnTo>
                <a:lnTo>
                  <a:pt x="491" y="369"/>
                </a:lnTo>
                <a:lnTo>
                  <a:pt x="490" y="369"/>
                </a:lnTo>
                <a:lnTo>
                  <a:pt x="489" y="367"/>
                </a:lnTo>
                <a:lnTo>
                  <a:pt x="489" y="365"/>
                </a:lnTo>
                <a:lnTo>
                  <a:pt x="486" y="367"/>
                </a:lnTo>
                <a:lnTo>
                  <a:pt x="481" y="370"/>
                </a:lnTo>
                <a:lnTo>
                  <a:pt x="479" y="369"/>
                </a:lnTo>
                <a:lnTo>
                  <a:pt x="479" y="368"/>
                </a:lnTo>
                <a:lnTo>
                  <a:pt x="480" y="367"/>
                </a:lnTo>
                <a:lnTo>
                  <a:pt x="478" y="365"/>
                </a:lnTo>
                <a:lnTo>
                  <a:pt x="477" y="364"/>
                </a:lnTo>
                <a:lnTo>
                  <a:pt x="479" y="365"/>
                </a:lnTo>
                <a:lnTo>
                  <a:pt x="480" y="365"/>
                </a:lnTo>
                <a:lnTo>
                  <a:pt x="483" y="363"/>
                </a:lnTo>
                <a:lnTo>
                  <a:pt x="484" y="364"/>
                </a:lnTo>
                <a:lnTo>
                  <a:pt x="484" y="362"/>
                </a:lnTo>
                <a:lnTo>
                  <a:pt x="487" y="362"/>
                </a:lnTo>
                <a:lnTo>
                  <a:pt x="486" y="361"/>
                </a:lnTo>
                <a:lnTo>
                  <a:pt x="486" y="360"/>
                </a:lnTo>
                <a:lnTo>
                  <a:pt x="484" y="358"/>
                </a:lnTo>
                <a:lnTo>
                  <a:pt x="490" y="361"/>
                </a:lnTo>
                <a:lnTo>
                  <a:pt x="492" y="361"/>
                </a:lnTo>
                <a:lnTo>
                  <a:pt x="491" y="360"/>
                </a:lnTo>
                <a:lnTo>
                  <a:pt x="490" y="360"/>
                </a:lnTo>
                <a:lnTo>
                  <a:pt x="486" y="356"/>
                </a:lnTo>
                <a:lnTo>
                  <a:pt x="486" y="354"/>
                </a:lnTo>
                <a:lnTo>
                  <a:pt x="485" y="354"/>
                </a:lnTo>
                <a:lnTo>
                  <a:pt x="485" y="356"/>
                </a:lnTo>
                <a:lnTo>
                  <a:pt x="474" y="356"/>
                </a:lnTo>
                <a:lnTo>
                  <a:pt x="474" y="355"/>
                </a:lnTo>
                <a:lnTo>
                  <a:pt x="476" y="354"/>
                </a:lnTo>
                <a:lnTo>
                  <a:pt x="481" y="354"/>
                </a:lnTo>
                <a:lnTo>
                  <a:pt x="481" y="351"/>
                </a:lnTo>
                <a:lnTo>
                  <a:pt x="476" y="350"/>
                </a:lnTo>
                <a:lnTo>
                  <a:pt x="472" y="349"/>
                </a:lnTo>
                <a:lnTo>
                  <a:pt x="472" y="346"/>
                </a:lnTo>
                <a:lnTo>
                  <a:pt x="473" y="344"/>
                </a:lnTo>
                <a:lnTo>
                  <a:pt x="474" y="343"/>
                </a:lnTo>
                <a:lnTo>
                  <a:pt x="476" y="344"/>
                </a:lnTo>
                <a:lnTo>
                  <a:pt x="477" y="344"/>
                </a:lnTo>
                <a:lnTo>
                  <a:pt x="478" y="345"/>
                </a:lnTo>
                <a:lnTo>
                  <a:pt x="478" y="344"/>
                </a:lnTo>
                <a:lnTo>
                  <a:pt x="479" y="344"/>
                </a:lnTo>
                <a:lnTo>
                  <a:pt x="479" y="345"/>
                </a:lnTo>
                <a:lnTo>
                  <a:pt x="480" y="345"/>
                </a:lnTo>
                <a:lnTo>
                  <a:pt x="480" y="348"/>
                </a:lnTo>
                <a:lnTo>
                  <a:pt x="484" y="348"/>
                </a:lnTo>
                <a:lnTo>
                  <a:pt x="489" y="350"/>
                </a:lnTo>
                <a:lnTo>
                  <a:pt x="491" y="352"/>
                </a:lnTo>
                <a:lnTo>
                  <a:pt x="491" y="357"/>
                </a:lnTo>
                <a:lnTo>
                  <a:pt x="498" y="363"/>
                </a:lnTo>
                <a:lnTo>
                  <a:pt x="499" y="364"/>
                </a:lnTo>
                <a:lnTo>
                  <a:pt x="501" y="364"/>
                </a:lnTo>
                <a:lnTo>
                  <a:pt x="498" y="362"/>
                </a:lnTo>
                <a:lnTo>
                  <a:pt x="498" y="360"/>
                </a:lnTo>
                <a:lnTo>
                  <a:pt x="493" y="355"/>
                </a:lnTo>
                <a:lnTo>
                  <a:pt x="492" y="352"/>
                </a:lnTo>
                <a:lnTo>
                  <a:pt x="492" y="350"/>
                </a:lnTo>
                <a:lnTo>
                  <a:pt x="491" y="348"/>
                </a:lnTo>
                <a:lnTo>
                  <a:pt x="489" y="346"/>
                </a:lnTo>
                <a:lnTo>
                  <a:pt x="484" y="345"/>
                </a:lnTo>
                <a:lnTo>
                  <a:pt x="480" y="342"/>
                </a:lnTo>
                <a:lnTo>
                  <a:pt x="478" y="343"/>
                </a:lnTo>
                <a:lnTo>
                  <a:pt x="477" y="342"/>
                </a:lnTo>
                <a:lnTo>
                  <a:pt x="479" y="340"/>
                </a:lnTo>
                <a:lnTo>
                  <a:pt x="477" y="340"/>
                </a:lnTo>
                <a:lnTo>
                  <a:pt x="477" y="339"/>
                </a:lnTo>
                <a:lnTo>
                  <a:pt x="478" y="338"/>
                </a:lnTo>
                <a:lnTo>
                  <a:pt x="481" y="337"/>
                </a:lnTo>
                <a:lnTo>
                  <a:pt x="485" y="334"/>
                </a:lnTo>
                <a:lnTo>
                  <a:pt x="496" y="333"/>
                </a:lnTo>
                <a:lnTo>
                  <a:pt x="497" y="333"/>
                </a:lnTo>
                <a:lnTo>
                  <a:pt x="501" y="336"/>
                </a:lnTo>
                <a:lnTo>
                  <a:pt x="503" y="337"/>
                </a:lnTo>
                <a:lnTo>
                  <a:pt x="504" y="337"/>
                </a:lnTo>
                <a:lnTo>
                  <a:pt x="504" y="339"/>
                </a:lnTo>
                <a:lnTo>
                  <a:pt x="502" y="342"/>
                </a:lnTo>
                <a:lnTo>
                  <a:pt x="502" y="343"/>
                </a:lnTo>
                <a:lnTo>
                  <a:pt x="503" y="343"/>
                </a:lnTo>
                <a:lnTo>
                  <a:pt x="509" y="340"/>
                </a:lnTo>
                <a:lnTo>
                  <a:pt x="510" y="338"/>
                </a:lnTo>
                <a:lnTo>
                  <a:pt x="511" y="338"/>
                </a:lnTo>
                <a:lnTo>
                  <a:pt x="515" y="337"/>
                </a:lnTo>
                <a:lnTo>
                  <a:pt x="516" y="340"/>
                </a:lnTo>
                <a:lnTo>
                  <a:pt x="517" y="340"/>
                </a:lnTo>
                <a:lnTo>
                  <a:pt x="517" y="345"/>
                </a:lnTo>
                <a:lnTo>
                  <a:pt x="518" y="348"/>
                </a:lnTo>
                <a:lnTo>
                  <a:pt x="523" y="350"/>
                </a:lnTo>
                <a:lnTo>
                  <a:pt x="522" y="352"/>
                </a:lnTo>
                <a:lnTo>
                  <a:pt x="522" y="354"/>
                </a:lnTo>
                <a:lnTo>
                  <a:pt x="523" y="355"/>
                </a:lnTo>
                <a:lnTo>
                  <a:pt x="523" y="361"/>
                </a:lnTo>
                <a:lnTo>
                  <a:pt x="524" y="360"/>
                </a:lnTo>
                <a:lnTo>
                  <a:pt x="524" y="352"/>
                </a:lnTo>
                <a:lnTo>
                  <a:pt x="527" y="352"/>
                </a:lnTo>
                <a:lnTo>
                  <a:pt x="526" y="349"/>
                </a:lnTo>
                <a:lnTo>
                  <a:pt x="524" y="346"/>
                </a:lnTo>
                <a:lnTo>
                  <a:pt x="521" y="344"/>
                </a:lnTo>
                <a:lnTo>
                  <a:pt x="520" y="343"/>
                </a:lnTo>
                <a:lnTo>
                  <a:pt x="520" y="342"/>
                </a:lnTo>
                <a:lnTo>
                  <a:pt x="518" y="340"/>
                </a:lnTo>
                <a:lnTo>
                  <a:pt x="518" y="337"/>
                </a:lnTo>
                <a:lnTo>
                  <a:pt x="520" y="336"/>
                </a:lnTo>
                <a:lnTo>
                  <a:pt x="520" y="333"/>
                </a:lnTo>
                <a:lnTo>
                  <a:pt x="523" y="333"/>
                </a:lnTo>
                <a:lnTo>
                  <a:pt x="530" y="338"/>
                </a:lnTo>
                <a:lnTo>
                  <a:pt x="534" y="338"/>
                </a:lnTo>
                <a:lnTo>
                  <a:pt x="533" y="337"/>
                </a:lnTo>
                <a:lnTo>
                  <a:pt x="524" y="332"/>
                </a:lnTo>
                <a:lnTo>
                  <a:pt x="526" y="331"/>
                </a:lnTo>
                <a:lnTo>
                  <a:pt x="532" y="331"/>
                </a:lnTo>
                <a:lnTo>
                  <a:pt x="539" y="332"/>
                </a:lnTo>
                <a:lnTo>
                  <a:pt x="543" y="336"/>
                </a:lnTo>
                <a:lnTo>
                  <a:pt x="546" y="334"/>
                </a:lnTo>
                <a:lnTo>
                  <a:pt x="543" y="334"/>
                </a:lnTo>
                <a:lnTo>
                  <a:pt x="535" y="328"/>
                </a:lnTo>
                <a:lnTo>
                  <a:pt x="529" y="328"/>
                </a:lnTo>
                <a:lnTo>
                  <a:pt x="533" y="320"/>
                </a:lnTo>
                <a:lnTo>
                  <a:pt x="533" y="319"/>
                </a:lnTo>
                <a:lnTo>
                  <a:pt x="532" y="319"/>
                </a:lnTo>
                <a:lnTo>
                  <a:pt x="529" y="320"/>
                </a:lnTo>
                <a:lnTo>
                  <a:pt x="528" y="321"/>
                </a:lnTo>
                <a:lnTo>
                  <a:pt x="524" y="322"/>
                </a:lnTo>
                <a:lnTo>
                  <a:pt x="520" y="327"/>
                </a:lnTo>
                <a:lnTo>
                  <a:pt x="511" y="330"/>
                </a:lnTo>
                <a:lnTo>
                  <a:pt x="509" y="328"/>
                </a:lnTo>
                <a:lnTo>
                  <a:pt x="510" y="327"/>
                </a:lnTo>
                <a:lnTo>
                  <a:pt x="512" y="327"/>
                </a:lnTo>
                <a:lnTo>
                  <a:pt x="514" y="326"/>
                </a:lnTo>
                <a:lnTo>
                  <a:pt x="514" y="325"/>
                </a:lnTo>
                <a:lnTo>
                  <a:pt x="511" y="322"/>
                </a:lnTo>
                <a:lnTo>
                  <a:pt x="510" y="322"/>
                </a:lnTo>
                <a:lnTo>
                  <a:pt x="509" y="321"/>
                </a:lnTo>
                <a:lnTo>
                  <a:pt x="508" y="321"/>
                </a:lnTo>
                <a:lnTo>
                  <a:pt x="505" y="325"/>
                </a:lnTo>
                <a:lnTo>
                  <a:pt x="504" y="326"/>
                </a:lnTo>
                <a:lnTo>
                  <a:pt x="503" y="328"/>
                </a:lnTo>
                <a:lnTo>
                  <a:pt x="498" y="327"/>
                </a:lnTo>
                <a:lnTo>
                  <a:pt x="496" y="330"/>
                </a:lnTo>
                <a:lnTo>
                  <a:pt x="490" y="330"/>
                </a:lnTo>
                <a:lnTo>
                  <a:pt x="489" y="328"/>
                </a:lnTo>
                <a:lnTo>
                  <a:pt x="489" y="326"/>
                </a:lnTo>
                <a:lnTo>
                  <a:pt x="487" y="325"/>
                </a:lnTo>
                <a:lnTo>
                  <a:pt x="487" y="322"/>
                </a:lnTo>
                <a:lnTo>
                  <a:pt x="486" y="321"/>
                </a:lnTo>
                <a:lnTo>
                  <a:pt x="487" y="320"/>
                </a:lnTo>
                <a:lnTo>
                  <a:pt x="487" y="319"/>
                </a:lnTo>
                <a:lnTo>
                  <a:pt x="490" y="318"/>
                </a:lnTo>
                <a:lnTo>
                  <a:pt x="491" y="318"/>
                </a:lnTo>
                <a:lnTo>
                  <a:pt x="492" y="319"/>
                </a:lnTo>
                <a:lnTo>
                  <a:pt x="493" y="319"/>
                </a:lnTo>
                <a:lnTo>
                  <a:pt x="493" y="317"/>
                </a:lnTo>
                <a:lnTo>
                  <a:pt x="492" y="315"/>
                </a:lnTo>
                <a:lnTo>
                  <a:pt x="491" y="315"/>
                </a:lnTo>
                <a:lnTo>
                  <a:pt x="491" y="309"/>
                </a:lnTo>
                <a:lnTo>
                  <a:pt x="492" y="307"/>
                </a:lnTo>
                <a:lnTo>
                  <a:pt x="493" y="306"/>
                </a:lnTo>
                <a:lnTo>
                  <a:pt x="497" y="305"/>
                </a:lnTo>
                <a:lnTo>
                  <a:pt x="502" y="301"/>
                </a:lnTo>
                <a:lnTo>
                  <a:pt x="506" y="300"/>
                </a:lnTo>
                <a:lnTo>
                  <a:pt x="508" y="299"/>
                </a:lnTo>
                <a:lnTo>
                  <a:pt x="509" y="299"/>
                </a:lnTo>
                <a:lnTo>
                  <a:pt x="510" y="300"/>
                </a:lnTo>
                <a:lnTo>
                  <a:pt x="511" y="302"/>
                </a:lnTo>
                <a:lnTo>
                  <a:pt x="512" y="303"/>
                </a:lnTo>
                <a:lnTo>
                  <a:pt x="512" y="306"/>
                </a:lnTo>
                <a:lnTo>
                  <a:pt x="515" y="307"/>
                </a:lnTo>
                <a:lnTo>
                  <a:pt x="516" y="307"/>
                </a:lnTo>
                <a:lnTo>
                  <a:pt x="517" y="306"/>
                </a:lnTo>
                <a:lnTo>
                  <a:pt x="516" y="305"/>
                </a:lnTo>
                <a:lnTo>
                  <a:pt x="515" y="305"/>
                </a:lnTo>
                <a:lnTo>
                  <a:pt x="514" y="303"/>
                </a:lnTo>
                <a:lnTo>
                  <a:pt x="514" y="300"/>
                </a:lnTo>
                <a:lnTo>
                  <a:pt x="518" y="297"/>
                </a:lnTo>
                <a:lnTo>
                  <a:pt x="520" y="296"/>
                </a:lnTo>
                <a:lnTo>
                  <a:pt x="521" y="296"/>
                </a:lnTo>
                <a:lnTo>
                  <a:pt x="522" y="299"/>
                </a:lnTo>
                <a:lnTo>
                  <a:pt x="523" y="299"/>
                </a:lnTo>
                <a:lnTo>
                  <a:pt x="524" y="297"/>
                </a:lnTo>
                <a:lnTo>
                  <a:pt x="527" y="301"/>
                </a:lnTo>
                <a:lnTo>
                  <a:pt x="527" y="302"/>
                </a:lnTo>
                <a:lnTo>
                  <a:pt x="528" y="302"/>
                </a:lnTo>
                <a:lnTo>
                  <a:pt x="529" y="303"/>
                </a:lnTo>
                <a:lnTo>
                  <a:pt x="530" y="303"/>
                </a:lnTo>
                <a:lnTo>
                  <a:pt x="534" y="302"/>
                </a:lnTo>
                <a:lnTo>
                  <a:pt x="536" y="305"/>
                </a:lnTo>
                <a:lnTo>
                  <a:pt x="537" y="303"/>
                </a:lnTo>
                <a:lnTo>
                  <a:pt x="535" y="301"/>
                </a:lnTo>
                <a:lnTo>
                  <a:pt x="530" y="300"/>
                </a:lnTo>
                <a:lnTo>
                  <a:pt x="527" y="296"/>
                </a:lnTo>
                <a:lnTo>
                  <a:pt x="527" y="294"/>
                </a:lnTo>
                <a:lnTo>
                  <a:pt x="524" y="294"/>
                </a:lnTo>
                <a:lnTo>
                  <a:pt x="524" y="295"/>
                </a:lnTo>
                <a:lnTo>
                  <a:pt x="522" y="295"/>
                </a:lnTo>
                <a:lnTo>
                  <a:pt x="520" y="293"/>
                </a:lnTo>
                <a:lnTo>
                  <a:pt x="523" y="289"/>
                </a:lnTo>
                <a:lnTo>
                  <a:pt x="526" y="288"/>
                </a:lnTo>
                <a:lnTo>
                  <a:pt x="527" y="287"/>
                </a:lnTo>
                <a:lnTo>
                  <a:pt x="529" y="285"/>
                </a:lnTo>
                <a:lnTo>
                  <a:pt x="533" y="289"/>
                </a:lnTo>
                <a:lnTo>
                  <a:pt x="540" y="290"/>
                </a:lnTo>
                <a:lnTo>
                  <a:pt x="542" y="294"/>
                </a:lnTo>
                <a:lnTo>
                  <a:pt x="542" y="290"/>
                </a:lnTo>
                <a:lnTo>
                  <a:pt x="540" y="289"/>
                </a:lnTo>
                <a:lnTo>
                  <a:pt x="536" y="288"/>
                </a:lnTo>
                <a:lnTo>
                  <a:pt x="529" y="284"/>
                </a:lnTo>
                <a:lnTo>
                  <a:pt x="533" y="282"/>
                </a:lnTo>
                <a:lnTo>
                  <a:pt x="536" y="278"/>
                </a:lnTo>
                <a:lnTo>
                  <a:pt x="537" y="278"/>
                </a:lnTo>
                <a:lnTo>
                  <a:pt x="539" y="277"/>
                </a:lnTo>
                <a:lnTo>
                  <a:pt x="540" y="277"/>
                </a:lnTo>
                <a:lnTo>
                  <a:pt x="540" y="278"/>
                </a:lnTo>
                <a:lnTo>
                  <a:pt x="541" y="279"/>
                </a:lnTo>
                <a:lnTo>
                  <a:pt x="545" y="279"/>
                </a:lnTo>
                <a:lnTo>
                  <a:pt x="543" y="276"/>
                </a:lnTo>
                <a:lnTo>
                  <a:pt x="539" y="275"/>
                </a:lnTo>
                <a:lnTo>
                  <a:pt x="539" y="274"/>
                </a:lnTo>
                <a:lnTo>
                  <a:pt x="540" y="272"/>
                </a:lnTo>
                <a:lnTo>
                  <a:pt x="532" y="274"/>
                </a:lnTo>
                <a:lnTo>
                  <a:pt x="528" y="276"/>
                </a:lnTo>
                <a:lnTo>
                  <a:pt x="527" y="276"/>
                </a:lnTo>
                <a:lnTo>
                  <a:pt x="528" y="275"/>
                </a:lnTo>
                <a:lnTo>
                  <a:pt x="529" y="270"/>
                </a:lnTo>
                <a:lnTo>
                  <a:pt x="530" y="269"/>
                </a:lnTo>
                <a:lnTo>
                  <a:pt x="532" y="269"/>
                </a:lnTo>
                <a:lnTo>
                  <a:pt x="532" y="265"/>
                </a:lnTo>
                <a:lnTo>
                  <a:pt x="530" y="265"/>
                </a:lnTo>
                <a:lnTo>
                  <a:pt x="530" y="264"/>
                </a:lnTo>
                <a:lnTo>
                  <a:pt x="535" y="257"/>
                </a:lnTo>
                <a:lnTo>
                  <a:pt x="537" y="254"/>
                </a:lnTo>
                <a:lnTo>
                  <a:pt x="537" y="253"/>
                </a:lnTo>
                <a:lnTo>
                  <a:pt x="536" y="252"/>
                </a:lnTo>
                <a:lnTo>
                  <a:pt x="537" y="250"/>
                </a:lnTo>
                <a:lnTo>
                  <a:pt x="546" y="250"/>
                </a:lnTo>
                <a:lnTo>
                  <a:pt x="549" y="246"/>
                </a:lnTo>
                <a:lnTo>
                  <a:pt x="558" y="246"/>
                </a:lnTo>
                <a:lnTo>
                  <a:pt x="554" y="242"/>
                </a:lnTo>
                <a:lnTo>
                  <a:pt x="554" y="239"/>
                </a:lnTo>
                <a:lnTo>
                  <a:pt x="555" y="239"/>
                </a:lnTo>
                <a:lnTo>
                  <a:pt x="555" y="237"/>
                </a:lnTo>
                <a:lnTo>
                  <a:pt x="554" y="235"/>
                </a:lnTo>
                <a:lnTo>
                  <a:pt x="552" y="237"/>
                </a:lnTo>
                <a:lnTo>
                  <a:pt x="551" y="237"/>
                </a:lnTo>
                <a:lnTo>
                  <a:pt x="552" y="234"/>
                </a:lnTo>
                <a:lnTo>
                  <a:pt x="552" y="228"/>
                </a:lnTo>
                <a:lnTo>
                  <a:pt x="553" y="226"/>
                </a:lnTo>
                <a:lnTo>
                  <a:pt x="557" y="225"/>
                </a:lnTo>
                <a:lnTo>
                  <a:pt x="558" y="222"/>
                </a:lnTo>
                <a:lnTo>
                  <a:pt x="557" y="220"/>
                </a:lnTo>
                <a:lnTo>
                  <a:pt x="559" y="217"/>
                </a:lnTo>
                <a:lnTo>
                  <a:pt x="559" y="213"/>
                </a:lnTo>
                <a:lnTo>
                  <a:pt x="558" y="211"/>
                </a:lnTo>
                <a:lnTo>
                  <a:pt x="558" y="209"/>
                </a:lnTo>
                <a:lnTo>
                  <a:pt x="559" y="209"/>
                </a:lnTo>
                <a:lnTo>
                  <a:pt x="559" y="208"/>
                </a:lnTo>
                <a:lnTo>
                  <a:pt x="561" y="208"/>
                </a:lnTo>
                <a:lnTo>
                  <a:pt x="561" y="207"/>
                </a:lnTo>
                <a:lnTo>
                  <a:pt x="563" y="207"/>
                </a:lnTo>
                <a:lnTo>
                  <a:pt x="563" y="205"/>
                </a:lnTo>
                <a:lnTo>
                  <a:pt x="564" y="205"/>
                </a:lnTo>
                <a:lnTo>
                  <a:pt x="566" y="208"/>
                </a:lnTo>
                <a:lnTo>
                  <a:pt x="567" y="213"/>
                </a:lnTo>
                <a:lnTo>
                  <a:pt x="567" y="217"/>
                </a:lnTo>
                <a:lnTo>
                  <a:pt x="571" y="217"/>
                </a:lnTo>
                <a:lnTo>
                  <a:pt x="572" y="219"/>
                </a:lnTo>
                <a:lnTo>
                  <a:pt x="572" y="220"/>
                </a:lnTo>
                <a:lnTo>
                  <a:pt x="573" y="222"/>
                </a:lnTo>
                <a:lnTo>
                  <a:pt x="573" y="223"/>
                </a:lnTo>
                <a:lnTo>
                  <a:pt x="572" y="228"/>
                </a:lnTo>
                <a:lnTo>
                  <a:pt x="572" y="229"/>
                </a:lnTo>
                <a:lnTo>
                  <a:pt x="573" y="231"/>
                </a:lnTo>
                <a:lnTo>
                  <a:pt x="573" y="233"/>
                </a:lnTo>
                <a:lnTo>
                  <a:pt x="572" y="233"/>
                </a:lnTo>
                <a:lnTo>
                  <a:pt x="572" y="237"/>
                </a:lnTo>
                <a:lnTo>
                  <a:pt x="573" y="233"/>
                </a:lnTo>
                <a:lnTo>
                  <a:pt x="574" y="231"/>
                </a:lnTo>
                <a:lnTo>
                  <a:pt x="574" y="221"/>
                </a:lnTo>
                <a:lnTo>
                  <a:pt x="576" y="221"/>
                </a:lnTo>
                <a:lnTo>
                  <a:pt x="576" y="225"/>
                </a:lnTo>
                <a:lnTo>
                  <a:pt x="577" y="227"/>
                </a:lnTo>
                <a:lnTo>
                  <a:pt x="577" y="228"/>
                </a:lnTo>
                <a:lnTo>
                  <a:pt x="578" y="229"/>
                </a:lnTo>
                <a:lnTo>
                  <a:pt x="579" y="229"/>
                </a:lnTo>
                <a:lnTo>
                  <a:pt x="579" y="231"/>
                </a:lnTo>
                <a:lnTo>
                  <a:pt x="580" y="232"/>
                </a:lnTo>
                <a:lnTo>
                  <a:pt x="580" y="233"/>
                </a:lnTo>
                <a:lnTo>
                  <a:pt x="582" y="233"/>
                </a:lnTo>
                <a:lnTo>
                  <a:pt x="582" y="229"/>
                </a:lnTo>
                <a:lnTo>
                  <a:pt x="580" y="229"/>
                </a:lnTo>
                <a:lnTo>
                  <a:pt x="579" y="228"/>
                </a:lnTo>
                <a:lnTo>
                  <a:pt x="580" y="226"/>
                </a:lnTo>
                <a:lnTo>
                  <a:pt x="588" y="226"/>
                </a:lnTo>
                <a:lnTo>
                  <a:pt x="591" y="229"/>
                </a:lnTo>
                <a:lnTo>
                  <a:pt x="594" y="231"/>
                </a:lnTo>
                <a:lnTo>
                  <a:pt x="595" y="231"/>
                </a:lnTo>
                <a:lnTo>
                  <a:pt x="595" y="228"/>
                </a:lnTo>
                <a:lnTo>
                  <a:pt x="594" y="228"/>
                </a:lnTo>
                <a:lnTo>
                  <a:pt x="591" y="225"/>
                </a:lnTo>
                <a:lnTo>
                  <a:pt x="579" y="220"/>
                </a:lnTo>
                <a:lnTo>
                  <a:pt x="578" y="219"/>
                </a:lnTo>
                <a:lnTo>
                  <a:pt x="577" y="219"/>
                </a:lnTo>
                <a:lnTo>
                  <a:pt x="577" y="214"/>
                </a:lnTo>
                <a:lnTo>
                  <a:pt x="576" y="213"/>
                </a:lnTo>
                <a:lnTo>
                  <a:pt x="576" y="211"/>
                </a:lnTo>
                <a:lnTo>
                  <a:pt x="571" y="211"/>
                </a:lnTo>
                <a:lnTo>
                  <a:pt x="571" y="208"/>
                </a:lnTo>
                <a:lnTo>
                  <a:pt x="572" y="207"/>
                </a:lnTo>
                <a:lnTo>
                  <a:pt x="571" y="204"/>
                </a:lnTo>
                <a:lnTo>
                  <a:pt x="571" y="202"/>
                </a:lnTo>
                <a:lnTo>
                  <a:pt x="572" y="202"/>
                </a:lnTo>
                <a:lnTo>
                  <a:pt x="576" y="201"/>
                </a:lnTo>
                <a:lnTo>
                  <a:pt x="578" y="199"/>
                </a:lnTo>
                <a:lnTo>
                  <a:pt x="588" y="198"/>
                </a:lnTo>
                <a:lnTo>
                  <a:pt x="588" y="204"/>
                </a:lnTo>
                <a:lnTo>
                  <a:pt x="589" y="204"/>
                </a:lnTo>
                <a:lnTo>
                  <a:pt x="590" y="205"/>
                </a:lnTo>
                <a:lnTo>
                  <a:pt x="590" y="209"/>
                </a:lnTo>
                <a:lnTo>
                  <a:pt x="591" y="211"/>
                </a:lnTo>
                <a:lnTo>
                  <a:pt x="594" y="213"/>
                </a:lnTo>
                <a:lnTo>
                  <a:pt x="594" y="215"/>
                </a:lnTo>
                <a:lnTo>
                  <a:pt x="595" y="216"/>
                </a:lnTo>
                <a:lnTo>
                  <a:pt x="596" y="219"/>
                </a:lnTo>
                <a:lnTo>
                  <a:pt x="599" y="222"/>
                </a:lnTo>
                <a:lnTo>
                  <a:pt x="608" y="223"/>
                </a:lnTo>
                <a:lnTo>
                  <a:pt x="609" y="226"/>
                </a:lnTo>
                <a:lnTo>
                  <a:pt x="609" y="228"/>
                </a:lnTo>
                <a:lnTo>
                  <a:pt x="605" y="232"/>
                </a:lnTo>
                <a:lnTo>
                  <a:pt x="603" y="231"/>
                </a:lnTo>
                <a:lnTo>
                  <a:pt x="601" y="233"/>
                </a:lnTo>
                <a:lnTo>
                  <a:pt x="601" y="234"/>
                </a:lnTo>
                <a:lnTo>
                  <a:pt x="602" y="234"/>
                </a:lnTo>
                <a:lnTo>
                  <a:pt x="604" y="232"/>
                </a:lnTo>
                <a:lnTo>
                  <a:pt x="605" y="233"/>
                </a:lnTo>
                <a:lnTo>
                  <a:pt x="605" y="234"/>
                </a:lnTo>
                <a:lnTo>
                  <a:pt x="604" y="235"/>
                </a:lnTo>
                <a:lnTo>
                  <a:pt x="604" y="237"/>
                </a:lnTo>
                <a:lnTo>
                  <a:pt x="607" y="238"/>
                </a:lnTo>
                <a:lnTo>
                  <a:pt x="608" y="238"/>
                </a:lnTo>
                <a:lnTo>
                  <a:pt x="609" y="235"/>
                </a:lnTo>
                <a:lnTo>
                  <a:pt x="611" y="235"/>
                </a:lnTo>
                <a:lnTo>
                  <a:pt x="614" y="238"/>
                </a:lnTo>
                <a:lnTo>
                  <a:pt x="615" y="237"/>
                </a:lnTo>
                <a:lnTo>
                  <a:pt x="614" y="235"/>
                </a:lnTo>
                <a:lnTo>
                  <a:pt x="614" y="234"/>
                </a:lnTo>
                <a:lnTo>
                  <a:pt x="613" y="233"/>
                </a:lnTo>
                <a:lnTo>
                  <a:pt x="613" y="226"/>
                </a:lnTo>
                <a:lnTo>
                  <a:pt x="611" y="223"/>
                </a:lnTo>
                <a:lnTo>
                  <a:pt x="608" y="219"/>
                </a:lnTo>
                <a:lnTo>
                  <a:pt x="598" y="219"/>
                </a:lnTo>
                <a:lnTo>
                  <a:pt x="598" y="217"/>
                </a:lnTo>
                <a:lnTo>
                  <a:pt x="597" y="215"/>
                </a:lnTo>
                <a:lnTo>
                  <a:pt x="597" y="211"/>
                </a:lnTo>
                <a:lnTo>
                  <a:pt x="596" y="211"/>
                </a:lnTo>
                <a:lnTo>
                  <a:pt x="594" y="209"/>
                </a:lnTo>
                <a:lnTo>
                  <a:pt x="594" y="203"/>
                </a:lnTo>
                <a:lnTo>
                  <a:pt x="596" y="201"/>
                </a:lnTo>
                <a:lnTo>
                  <a:pt x="601" y="198"/>
                </a:lnTo>
                <a:lnTo>
                  <a:pt x="602" y="198"/>
                </a:lnTo>
                <a:lnTo>
                  <a:pt x="603" y="201"/>
                </a:lnTo>
                <a:lnTo>
                  <a:pt x="604" y="202"/>
                </a:lnTo>
                <a:lnTo>
                  <a:pt x="604" y="199"/>
                </a:lnTo>
                <a:lnTo>
                  <a:pt x="603" y="198"/>
                </a:lnTo>
                <a:lnTo>
                  <a:pt x="603" y="196"/>
                </a:lnTo>
                <a:lnTo>
                  <a:pt x="599" y="197"/>
                </a:lnTo>
                <a:lnTo>
                  <a:pt x="598" y="197"/>
                </a:lnTo>
                <a:lnTo>
                  <a:pt x="596" y="198"/>
                </a:lnTo>
                <a:lnTo>
                  <a:pt x="595" y="199"/>
                </a:lnTo>
                <a:lnTo>
                  <a:pt x="595" y="201"/>
                </a:lnTo>
                <a:lnTo>
                  <a:pt x="592" y="198"/>
                </a:lnTo>
                <a:lnTo>
                  <a:pt x="592" y="197"/>
                </a:lnTo>
                <a:lnTo>
                  <a:pt x="591" y="190"/>
                </a:lnTo>
                <a:lnTo>
                  <a:pt x="597" y="180"/>
                </a:lnTo>
                <a:lnTo>
                  <a:pt x="598" y="176"/>
                </a:lnTo>
                <a:lnTo>
                  <a:pt x="598" y="174"/>
                </a:lnTo>
                <a:lnTo>
                  <a:pt x="602" y="174"/>
                </a:lnTo>
                <a:lnTo>
                  <a:pt x="602" y="173"/>
                </a:lnTo>
                <a:lnTo>
                  <a:pt x="604" y="171"/>
                </a:lnTo>
                <a:lnTo>
                  <a:pt x="607" y="170"/>
                </a:lnTo>
                <a:lnTo>
                  <a:pt x="613" y="171"/>
                </a:lnTo>
                <a:lnTo>
                  <a:pt x="614" y="170"/>
                </a:lnTo>
                <a:lnTo>
                  <a:pt x="624" y="166"/>
                </a:lnTo>
                <a:lnTo>
                  <a:pt x="627" y="167"/>
                </a:lnTo>
                <a:lnTo>
                  <a:pt x="627" y="168"/>
                </a:lnTo>
                <a:lnTo>
                  <a:pt x="626" y="170"/>
                </a:lnTo>
                <a:lnTo>
                  <a:pt x="624" y="173"/>
                </a:lnTo>
                <a:lnTo>
                  <a:pt x="624" y="177"/>
                </a:lnTo>
                <a:lnTo>
                  <a:pt x="622" y="182"/>
                </a:lnTo>
                <a:lnTo>
                  <a:pt x="622" y="183"/>
                </a:lnTo>
                <a:lnTo>
                  <a:pt x="624" y="188"/>
                </a:lnTo>
                <a:lnTo>
                  <a:pt x="623" y="191"/>
                </a:lnTo>
                <a:lnTo>
                  <a:pt x="623" y="194"/>
                </a:lnTo>
                <a:lnTo>
                  <a:pt x="621" y="199"/>
                </a:lnTo>
                <a:lnTo>
                  <a:pt x="621" y="201"/>
                </a:lnTo>
                <a:lnTo>
                  <a:pt x="620" y="202"/>
                </a:lnTo>
                <a:lnTo>
                  <a:pt x="620" y="207"/>
                </a:lnTo>
                <a:lnTo>
                  <a:pt x="621" y="208"/>
                </a:lnTo>
                <a:lnTo>
                  <a:pt x="621" y="210"/>
                </a:lnTo>
                <a:lnTo>
                  <a:pt x="620" y="210"/>
                </a:lnTo>
                <a:lnTo>
                  <a:pt x="619" y="211"/>
                </a:lnTo>
                <a:lnTo>
                  <a:pt x="616" y="216"/>
                </a:lnTo>
                <a:lnTo>
                  <a:pt x="622" y="211"/>
                </a:lnTo>
                <a:lnTo>
                  <a:pt x="623" y="209"/>
                </a:lnTo>
                <a:lnTo>
                  <a:pt x="623" y="205"/>
                </a:lnTo>
                <a:lnTo>
                  <a:pt x="624" y="202"/>
                </a:lnTo>
                <a:lnTo>
                  <a:pt x="623" y="201"/>
                </a:lnTo>
                <a:lnTo>
                  <a:pt x="626" y="192"/>
                </a:lnTo>
                <a:lnTo>
                  <a:pt x="626" y="191"/>
                </a:lnTo>
                <a:lnTo>
                  <a:pt x="633" y="191"/>
                </a:lnTo>
                <a:lnTo>
                  <a:pt x="635" y="194"/>
                </a:lnTo>
                <a:lnTo>
                  <a:pt x="639" y="195"/>
                </a:lnTo>
                <a:lnTo>
                  <a:pt x="638" y="194"/>
                </a:lnTo>
                <a:lnTo>
                  <a:pt x="635" y="192"/>
                </a:lnTo>
                <a:lnTo>
                  <a:pt x="633" y="190"/>
                </a:lnTo>
                <a:lnTo>
                  <a:pt x="632" y="190"/>
                </a:lnTo>
                <a:lnTo>
                  <a:pt x="629" y="189"/>
                </a:lnTo>
                <a:lnTo>
                  <a:pt x="629" y="185"/>
                </a:lnTo>
                <a:lnTo>
                  <a:pt x="628" y="184"/>
                </a:lnTo>
                <a:lnTo>
                  <a:pt x="628" y="179"/>
                </a:lnTo>
                <a:lnTo>
                  <a:pt x="629" y="177"/>
                </a:lnTo>
                <a:lnTo>
                  <a:pt x="629" y="176"/>
                </a:lnTo>
                <a:lnTo>
                  <a:pt x="630" y="174"/>
                </a:lnTo>
                <a:lnTo>
                  <a:pt x="630" y="172"/>
                </a:lnTo>
                <a:lnTo>
                  <a:pt x="633" y="170"/>
                </a:lnTo>
                <a:lnTo>
                  <a:pt x="633" y="168"/>
                </a:lnTo>
                <a:lnTo>
                  <a:pt x="635" y="164"/>
                </a:lnTo>
                <a:lnTo>
                  <a:pt x="636" y="162"/>
                </a:lnTo>
                <a:lnTo>
                  <a:pt x="636" y="165"/>
                </a:lnTo>
                <a:lnTo>
                  <a:pt x="634" y="172"/>
                </a:lnTo>
                <a:lnTo>
                  <a:pt x="636" y="172"/>
                </a:lnTo>
                <a:lnTo>
                  <a:pt x="638" y="170"/>
                </a:lnTo>
                <a:lnTo>
                  <a:pt x="639" y="162"/>
                </a:lnTo>
                <a:lnTo>
                  <a:pt x="641" y="159"/>
                </a:lnTo>
                <a:lnTo>
                  <a:pt x="642" y="153"/>
                </a:lnTo>
                <a:lnTo>
                  <a:pt x="642" y="158"/>
                </a:lnTo>
                <a:lnTo>
                  <a:pt x="644" y="159"/>
                </a:lnTo>
                <a:lnTo>
                  <a:pt x="644" y="160"/>
                </a:lnTo>
                <a:lnTo>
                  <a:pt x="645" y="161"/>
                </a:lnTo>
                <a:lnTo>
                  <a:pt x="645" y="152"/>
                </a:lnTo>
                <a:lnTo>
                  <a:pt x="646" y="151"/>
                </a:lnTo>
                <a:lnTo>
                  <a:pt x="647" y="147"/>
                </a:lnTo>
                <a:lnTo>
                  <a:pt x="648" y="147"/>
                </a:lnTo>
                <a:lnTo>
                  <a:pt x="650" y="148"/>
                </a:lnTo>
                <a:lnTo>
                  <a:pt x="653" y="156"/>
                </a:lnTo>
                <a:lnTo>
                  <a:pt x="654" y="159"/>
                </a:lnTo>
                <a:lnTo>
                  <a:pt x="653" y="160"/>
                </a:lnTo>
                <a:lnTo>
                  <a:pt x="653" y="162"/>
                </a:lnTo>
                <a:lnTo>
                  <a:pt x="652" y="164"/>
                </a:lnTo>
                <a:lnTo>
                  <a:pt x="652" y="170"/>
                </a:lnTo>
                <a:lnTo>
                  <a:pt x="651" y="171"/>
                </a:lnTo>
                <a:lnTo>
                  <a:pt x="651" y="176"/>
                </a:lnTo>
                <a:lnTo>
                  <a:pt x="650" y="177"/>
                </a:lnTo>
                <a:lnTo>
                  <a:pt x="650" y="185"/>
                </a:lnTo>
                <a:lnTo>
                  <a:pt x="652" y="188"/>
                </a:lnTo>
                <a:lnTo>
                  <a:pt x="652" y="194"/>
                </a:lnTo>
                <a:lnTo>
                  <a:pt x="651" y="194"/>
                </a:lnTo>
                <a:lnTo>
                  <a:pt x="647" y="197"/>
                </a:lnTo>
                <a:lnTo>
                  <a:pt x="648" y="199"/>
                </a:lnTo>
                <a:lnTo>
                  <a:pt x="647" y="201"/>
                </a:lnTo>
                <a:lnTo>
                  <a:pt x="647" y="208"/>
                </a:lnTo>
                <a:lnTo>
                  <a:pt x="646" y="209"/>
                </a:lnTo>
                <a:lnTo>
                  <a:pt x="645" y="208"/>
                </a:lnTo>
                <a:lnTo>
                  <a:pt x="645" y="211"/>
                </a:lnTo>
                <a:lnTo>
                  <a:pt x="644" y="215"/>
                </a:lnTo>
                <a:lnTo>
                  <a:pt x="642" y="217"/>
                </a:lnTo>
                <a:lnTo>
                  <a:pt x="641" y="219"/>
                </a:lnTo>
                <a:lnTo>
                  <a:pt x="638" y="221"/>
                </a:lnTo>
                <a:lnTo>
                  <a:pt x="635" y="222"/>
                </a:lnTo>
                <a:lnTo>
                  <a:pt x="635" y="225"/>
                </a:lnTo>
                <a:lnTo>
                  <a:pt x="636" y="226"/>
                </a:lnTo>
                <a:lnTo>
                  <a:pt x="633" y="229"/>
                </a:lnTo>
                <a:lnTo>
                  <a:pt x="633" y="232"/>
                </a:lnTo>
                <a:lnTo>
                  <a:pt x="634" y="233"/>
                </a:lnTo>
                <a:lnTo>
                  <a:pt x="634" y="232"/>
                </a:lnTo>
                <a:lnTo>
                  <a:pt x="635" y="231"/>
                </a:lnTo>
                <a:lnTo>
                  <a:pt x="638" y="226"/>
                </a:lnTo>
                <a:lnTo>
                  <a:pt x="645" y="219"/>
                </a:lnTo>
                <a:lnTo>
                  <a:pt x="647" y="217"/>
                </a:lnTo>
                <a:lnTo>
                  <a:pt x="651" y="208"/>
                </a:lnTo>
                <a:lnTo>
                  <a:pt x="652" y="207"/>
                </a:lnTo>
                <a:lnTo>
                  <a:pt x="653" y="203"/>
                </a:lnTo>
                <a:lnTo>
                  <a:pt x="654" y="202"/>
                </a:lnTo>
                <a:lnTo>
                  <a:pt x="654" y="197"/>
                </a:lnTo>
                <a:lnTo>
                  <a:pt x="655" y="197"/>
                </a:lnTo>
                <a:lnTo>
                  <a:pt x="655" y="196"/>
                </a:lnTo>
                <a:lnTo>
                  <a:pt x="657" y="195"/>
                </a:lnTo>
                <a:lnTo>
                  <a:pt x="658" y="196"/>
                </a:lnTo>
                <a:lnTo>
                  <a:pt x="658" y="197"/>
                </a:lnTo>
                <a:lnTo>
                  <a:pt x="663" y="202"/>
                </a:lnTo>
                <a:lnTo>
                  <a:pt x="669" y="203"/>
                </a:lnTo>
                <a:lnTo>
                  <a:pt x="671" y="205"/>
                </a:lnTo>
                <a:lnTo>
                  <a:pt x="672" y="205"/>
                </a:lnTo>
                <a:lnTo>
                  <a:pt x="670" y="203"/>
                </a:lnTo>
                <a:lnTo>
                  <a:pt x="666" y="201"/>
                </a:lnTo>
                <a:lnTo>
                  <a:pt x="665" y="198"/>
                </a:lnTo>
                <a:lnTo>
                  <a:pt x="664" y="195"/>
                </a:lnTo>
                <a:lnTo>
                  <a:pt x="663" y="194"/>
                </a:lnTo>
                <a:lnTo>
                  <a:pt x="659" y="191"/>
                </a:lnTo>
                <a:lnTo>
                  <a:pt x="657" y="189"/>
                </a:lnTo>
                <a:lnTo>
                  <a:pt x="657" y="186"/>
                </a:lnTo>
                <a:lnTo>
                  <a:pt x="659" y="179"/>
                </a:lnTo>
                <a:lnTo>
                  <a:pt x="658" y="177"/>
                </a:lnTo>
                <a:lnTo>
                  <a:pt x="658" y="174"/>
                </a:lnTo>
                <a:lnTo>
                  <a:pt x="657" y="173"/>
                </a:lnTo>
                <a:lnTo>
                  <a:pt x="657" y="172"/>
                </a:lnTo>
                <a:lnTo>
                  <a:pt x="658" y="172"/>
                </a:lnTo>
                <a:lnTo>
                  <a:pt x="663" y="171"/>
                </a:lnTo>
                <a:lnTo>
                  <a:pt x="669" y="167"/>
                </a:lnTo>
                <a:lnTo>
                  <a:pt x="671" y="165"/>
                </a:lnTo>
                <a:lnTo>
                  <a:pt x="671" y="162"/>
                </a:lnTo>
                <a:lnTo>
                  <a:pt x="670" y="161"/>
                </a:lnTo>
                <a:lnTo>
                  <a:pt x="670" y="160"/>
                </a:lnTo>
                <a:lnTo>
                  <a:pt x="669" y="158"/>
                </a:lnTo>
                <a:lnTo>
                  <a:pt x="671" y="158"/>
                </a:lnTo>
                <a:lnTo>
                  <a:pt x="681" y="151"/>
                </a:lnTo>
                <a:lnTo>
                  <a:pt x="682" y="149"/>
                </a:lnTo>
                <a:lnTo>
                  <a:pt x="682" y="151"/>
                </a:lnTo>
                <a:lnTo>
                  <a:pt x="677" y="155"/>
                </a:lnTo>
                <a:lnTo>
                  <a:pt x="675" y="160"/>
                </a:lnTo>
                <a:lnTo>
                  <a:pt x="673" y="160"/>
                </a:lnTo>
                <a:lnTo>
                  <a:pt x="673" y="161"/>
                </a:lnTo>
                <a:lnTo>
                  <a:pt x="675" y="162"/>
                </a:lnTo>
                <a:lnTo>
                  <a:pt x="676" y="162"/>
                </a:lnTo>
                <a:lnTo>
                  <a:pt x="677" y="164"/>
                </a:lnTo>
                <a:lnTo>
                  <a:pt x="676" y="164"/>
                </a:lnTo>
                <a:lnTo>
                  <a:pt x="676" y="166"/>
                </a:lnTo>
                <a:lnTo>
                  <a:pt x="679" y="170"/>
                </a:lnTo>
                <a:lnTo>
                  <a:pt x="681" y="168"/>
                </a:lnTo>
                <a:lnTo>
                  <a:pt x="678" y="166"/>
                </a:lnTo>
                <a:lnTo>
                  <a:pt x="678" y="165"/>
                </a:lnTo>
                <a:lnTo>
                  <a:pt x="681" y="164"/>
                </a:lnTo>
                <a:lnTo>
                  <a:pt x="681" y="160"/>
                </a:lnTo>
                <a:lnTo>
                  <a:pt x="682" y="160"/>
                </a:lnTo>
                <a:lnTo>
                  <a:pt x="685" y="159"/>
                </a:lnTo>
                <a:lnTo>
                  <a:pt x="686" y="159"/>
                </a:lnTo>
                <a:lnTo>
                  <a:pt x="685" y="161"/>
                </a:lnTo>
                <a:lnTo>
                  <a:pt x="684" y="165"/>
                </a:lnTo>
                <a:lnTo>
                  <a:pt x="683" y="166"/>
                </a:lnTo>
                <a:lnTo>
                  <a:pt x="685" y="166"/>
                </a:lnTo>
                <a:lnTo>
                  <a:pt x="686" y="164"/>
                </a:lnTo>
                <a:lnTo>
                  <a:pt x="688" y="162"/>
                </a:lnTo>
                <a:lnTo>
                  <a:pt x="688" y="161"/>
                </a:lnTo>
                <a:lnTo>
                  <a:pt x="686" y="155"/>
                </a:lnTo>
                <a:lnTo>
                  <a:pt x="691" y="155"/>
                </a:lnTo>
                <a:lnTo>
                  <a:pt x="691" y="153"/>
                </a:lnTo>
                <a:lnTo>
                  <a:pt x="689" y="152"/>
                </a:lnTo>
                <a:lnTo>
                  <a:pt x="686" y="152"/>
                </a:lnTo>
                <a:lnTo>
                  <a:pt x="688" y="147"/>
                </a:lnTo>
                <a:lnTo>
                  <a:pt x="689" y="143"/>
                </a:lnTo>
                <a:lnTo>
                  <a:pt x="690" y="141"/>
                </a:lnTo>
                <a:lnTo>
                  <a:pt x="692" y="140"/>
                </a:lnTo>
                <a:lnTo>
                  <a:pt x="695" y="140"/>
                </a:lnTo>
                <a:lnTo>
                  <a:pt x="702" y="145"/>
                </a:lnTo>
                <a:lnTo>
                  <a:pt x="702" y="148"/>
                </a:lnTo>
                <a:lnTo>
                  <a:pt x="703" y="149"/>
                </a:lnTo>
                <a:lnTo>
                  <a:pt x="702" y="152"/>
                </a:lnTo>
                <a:lnTo>
                  <a:pt x="703" y="154"/>
                </a:lnTo>
                <a:lnTo>
                  <a:pt x="706" y="155"/>
                </a:lnTo>
                <a:lnTo>
                  <a:pt x="707" y="156"/>
                </a:lnTo>
                <a:lnTo>
                  <a:pt x="710" y="158"/>
                </a:lnTo>
                <a:lnTo>
                  <a:pt x="716" y="165"/>
                </a:lnTo>
                <a:lnTo>
                  <a:pt x="717" y="167"/>
                </a:lnTo>
                <a:lnTo>
                  <a:pt x="717" y="170"/>
                </a:lnTo>
                <a:lnTo>
                  <a:pt x="722" y="174"/>
                </a:lnTo>
                <a:lnTo>
                  <a:pt x="719" y="174"/>
                </a:lnTo>
                <a:lnTo>
                  <a:pt x="720" y="176"/>
                </a:lnTo>
                <a:lnTo>
                  <a:pt x="723" y="176"/>
                </a:lnTo>
                <a:lnTo>
                  <a:pt x="725" y="174"/>
                </a:lnTo>
                <a:lnTo>
                  <a:pt x="725" y="173"/>
                </a:lnTo>
                <a:lnTo>
                  <a:pt x="722" y="172"/>
                </a:lnTo>
                <a:lnTo>
                  <a:pt x="722" y="168"/>
                </a:lnTo>
                <a:lnTo>
                  <a:pt x="721" y="166"/>
                </a:lnTo>
                <a:lnTo>
                  <a:pt x="716" y="164"/>
                </a:lnTo>
                <a:lnTo>
                  <a:pt x="717" y="162"/>
                </a:lnTo>
                <a:lnTo>
                  <a:pt x="720" y="164"/>
                </a:lnTo>
                <a:lnTo>
                  <a:pt x="721" y="162"/>
                </a:lnTo>
                <a:lnTo>
                  <a:pt x="721" y="160"/>
                </a:lnTo>
                <a:lnTo>
                  <a:pt x="720" y="160"/>
                </a:lnTo>
                <a:lnTo>
                  <a:pt x="717" y="159"/>
                </a:lnTo>
                <a:lnTo>
                  <a:pt x="717" y="153"/>
                </a:lnTo>
                <a:lnTo>
                  <a:pt x="716" y="151"/>
                </a:lnTo>
                <a:lnTo>
                  <a:pt x="717" y="148"/>
                </a:lnTo>
                <a:lnTo>
                  <a:pt x="717" y="147"/>
                </a:lnTo>
                <a:lnTo>
                  <a:pt x="716" y="146"/>
                </a:lnTo>
                <a:lnTo>
                  <a:pt x="717" y="146"/>
                </a:lnTo>
                <a:lnTo>
                  <a:pt x="717" y="145"/>
                </a:lnTo>
                <a:lnTo>
                  <a:pt x="720" y="146"/>
                </a:lnTo>
                <a:lnTo>
                  <a:pt x="721" y="145"/>
                </a:lnTo>
                <a:lnTo>
                  <a:pt x="721" y="149"/>
                </a:lnTo>
                <a:lnTo>
                  <a:pt x="722" y="151"/>
                </a:lnTo>
                <a:lnTo>
                  <a:pt x="722" y="141"/>
                </a:lnTo>
                <a:lnTo>
                  <a:pt x="723" y="141"/>
                </a:lnTo>
                <a:lnTo>
                  <a:pt x="725" y="140"/>
                </a:lnTo>
                <a:lnTo>
                  <a:pt x="719" y="142"/>
                </a:lnTo>
                <a:lnTo>
                  <a:pt x="714" y="142"/>
                </a:lnTo>
                <a:lnTo>
                  <a:pt x="711" y="139"/>
                </a:lnTo>
                <a:lnTo>
                  <a:pt x="714" y="136"/>
                </a:lnTo>
                <a:lnTo>
                  <a:pt x="720" y="136"/>
                </a:lnTo>
                <a:lnTo>
                  <a:pt x="721" y="135"/>
                </a:lnTo>
                <a:lnTo>
                  <a:pt x="722" y="133"/>
                </a:lnTo>
                <a:lnTo>
                  <a:pt x="725" y="130"/>
                </a:lnTo>
                <a:lnTo>
                  <a:pt x="725" y="129"/>
                </a:lnTo>
                <a:lnTo>
                  <a:pt x="721" y="130"/>
                </a:lnTo>
                <a:lnTo>
                  <a:pt x="720" y="133"/>
                </a:lnTo>
                <a:lnTo>
                  <a:pt x="719" y="133"/>
                </a:lnTo>
                <a:lnTo>
                  <a:pt x="714" y="131"/>
                </a:lnTo>
                <a:lnTo>
                  <a:pt x="713" y="133"/>
                </a:lnTo>
                <a:lnTo>
                  <a:pt x="713" y="134"/>
                </a:lnTo>
                <a:lnTo>
                  <a:pt x="711" y="135"/>
                </a:lnTo>
                <a:lnTo>
                  <a:pt x="708" y="136"/>
                </a:lnTo>
                <a:lnTo>
                  <a:pt x="707" y="135"/>
                </a:lnTo>
                <a:lnTo>
                  <a:pt x="704" y="131"/>
                </a:lnTo>
                <a:lnTo>
                  <a:pt x="700" y="133"/>
                </a:lnTo>
                <a:lnTo>
                  <a:pt x="697" y="130"/>
                </a:lnTo>
                <a:lnTo>
                  <a:pt x="696" y="127"/>
                </a:lnTo>
                <a:lnTo>
                  <a:pt x="696" y="124"/>
                </a:lnTo>
                <a:lnTo>
                  <a:pt x="697" y="124"/>
                </a:lnTo>
                <a:lnTo>
                  <a:pt x="698" y="123"/>
                </a:lnTo>
                <a:lnTo>
                  <a:pt x="698" y="122"/>
                </a:lnTo>
                <a:lnTo>
                  <a:pt x="694" y="123"/>
                </a:lnTo>
                <a:lnTo>
                  <a:pt x="691" y="123"/>
                </a:lnTo>
                <a:lnTo>
                  <a:pt x="689" y="121"/>
                </a:lnTo>
                <a:lnTo>
                  <a:pt x="689" y="118"/>
                </a:lnTo>
                <a:lnTo>
                  <a:pt x="686" y="118"/>
                </a:lnTo>
                <a:lnTo>
                  <a:pt x="686" y="117"/>
                </a:lnTo>
                <a:lnTo>
                  <a:pt x="688" y="116"/>
                </a:lnTo>
                <a:lnTo>
                  <a:pt x="689" y="113"/>
                </a:lnTo>
                <a:lnTo>
                  <a:pt x="691" y="112"/>
                </a:lnTo>
                <a:lnTo>
                  <a:pt x="692" y="112"/>
                </a:lnTo>
                <a:lnTo>
                  <a:pt x="695" y="110"/>
                </a:lnTo>
                <a:lnTo>
                  <a:pt x="696" y="110"/>
                </a:lnTo>
                <a:lnTo>
                  <a:pt x="696" y="112"/>
                </a:lnTo>
                <a:lnTo>
                  <a:pt x="697" y="113"/>
                </a:lnTo>
                <a:lnTo>
                  <a:pt x="698" y="117"/>
                </a:lnTo>
                <a:lnTo>
                  <a:pt x="698" y="113"/>
                </a:lnTo>
                <a:lnTo>
                  <a:pt x="700" y="112"/>
                </a:lnTo>
                <a:lnTo>
                  <a:pt x="700" y="105"/>
                </a:lnTo>
                <a:lnTo>
                  <a:pt x="701" y="104"/>
                </a:lnTo>
                <a:lnTo>
                  <a:pt x="703" y="104"/>
                </a:lnTo>
                <a:lnTo>
                  <a:pt x="703" y="108"/>
                </a:lnTo>
                <a:lnTo>
                  <a:pt x="704" y="110"/>
                </a:lnTo>
                <a:lnTo>
                  <a:pt x="704" y="111"/>
                </a:lnTo>
                <a:lnTo>
                  <a:pt x="707" y="111"/>
                </a:lnTo>
                <a:lnTo>
                  <a:pt x="708" y="112"/>
                </a:lnTo>
                <a:lnTo>
                  <a:pt x="711" y="118"/>
                </a:lnTo>
                <a:lnTo>
                  <a:pt x="711" y="119"/>
                </a:lnTo>
                <a:lnTo>
                  <a:pt x="713" y="122"/>
                </a:lnTo>
                <a:lnTo>
                  <a:pt x="713" y="123"/>
                </a:lnTo>
                <a:lnTo>
                  <a:pt x="715" y="125"/>
                </a:lnTo>
                <a:lnTo>
                  <a:pt x="715" y="119"/>
                </a:lnTo>
                <a:lnTo>
                  <a:pt x="714" y="119"/>
                </a:lnTo>
                <a:lnTo>
                  <a:pt x="714" y="118"/>
                </a:lnTo>
                <a:lnTo>
                  <a:pt x="715" y="117"/>
                </a:lnTo>
                <a:lnTo>
                  <a:pt x="711" y="113"/>
                </a:lnTo>
                <a:lnTo>
                  <a:pt x="711" y="111"/>
                </a:lnTo>
                <a:lnTo>
                  <a:pt x="720" y="103"/>
                </a:lnTo>
                <a:lnTo>
                  <a:pt x="721" y="103"/>
                </a:lnTo>
                <a:lnTo>
                  <a:pt x="721" y="105"/>
                </a:lnTo>
                <a:lnTo>
                  <a:pt x="720" y="106"/>
                </a:lnTo>
                <a:lnTo>
                  <a:pt x="720" y="108"/>
                </a:lnTo>
                <a:lnTo>
                  <a:pt x="721" y="108"/>
                </a:lnTo>
                <a:lnTo>
                  <a:pt x="723" y="105"/>
                </a:lnTo>
                <a:lnTo>
                  <a:pt x="725" y="105"/>
                </a:lnTo>
                <a:lnTo>
                  <a:pt x="725" y="115"/>
                </a:lnTo>
                <a:lnTo>
                  <a:pt x="727" y="112"/>
                </a:lnTo>
                <a:lnTo>
                  <a:pt x="727" y="111"/>
                </a:lnTo>
                <a:lnTo>
                  <a:pt x="726" y="108"/>
                </a:lnTo>
                <a:lnTo>
                  <a:pt x="732" y="106"/>
                </a:lnTo>
                <a:lnTo>
                  <a:pt x="733" y="108"/>
                </a:lnTo>
                <a:lnTo>
                  <a:pt x="733" y="111"/>
                </a:lnTo>
                <a:lnTo>
                  <a:pt x="732" y="113"/>
                </a:lnTo>
                <a:lnTo>
                  <a:pt x="731" y="115"/>
                </a:lnTo>
                <a:lnTo>
                  <a:pt x="732" y="116"/>
                </a:lnTo>
                <a:lnTo>
                  <a:pt x="732" y="121"/>
                </a:lnTo>
                <a:lnTo>
                  <a:pt x="733" y="123"/>
                </a:lnTo>
                <a:lnTo>
                  <a:pt x="732" y="124"/>
                </a:lnTo>
                <a:lnTo>
                  <a:pt x="731" y="124"/>
                </a:lnTo>
                <a:lnTo>
                  <a:pt x="731" y="125"/>
                </a:lnTo>
                <a:lnTo>
                  <a:pt x="732" y="127"/>
                </a:lnTo>
                <a:lnTo>
                  <a:pt x="738" y="125"/>
                </a:lnTo>
                <a:lnTo>
                  <a:pt x="742" y="128"/>
                </a:lnTo>
                <a:lnTo>
                  <a:pt x="744" y="128"/>
                </a:lnTo>
                <a:lnTo>
                  <a:pt x="741" y="125"/>
                </a:lnTo>
                <a:lnTo>
                  <a:pt x="734" y="123"/>
                </a:lnTo>
                <a:lnTo>
                  <a:pt x="734" y="121"/>
                </a:lnTo>
                <a:lnTo>
                  <a:pt x="735" y="117"/>
                </a:lnTo>
                <a:lnTo>
                  <a:pt x="737" y="112"/>
                </a:lnTo>
                <a:lnTo>
                  <a:pt x="735" y="112"/>
                </a:lnTo>
                <a:lnTo>
                  <a:pt x="737" y="111"/>
                </a:lnTo>
                <a:lnTo>
                  <a:pt x="740" y="111"/>
                </a:lnTo>
                <a:lnTo>
                  <a:pt x="741" y="112"/>
                </a:lnTo>
                <a:lnTo>
                  <a:pt x="744" y="113"/>
                </a:lnTo>
                <a:lnTo>
                  <a:pt x="745" y="113"/>
                </a:lnTo>
                <a:lnTo>
                  <a:pt x="745" y="116"/>
                </a:lnTo>
                <a:lnTo>
                  <a:pt x="748" y="116"/>
                </a:lnTo>
                <a:lnTo>
                  <a:pt x="760" y="117"/>
                </a:lnTo>
                <a:lnTo>
                  <a:pt x="762" y="118"/>
                </a:lnTo>
                <a:lnTo>
                  <a:pt x="762" y="119"/>
                </a:lnTo>
                <a:lnTo>
                  <a:pt x="757" y="128"/>
                </a:lnTo>
                <a:lnTo>
                  <a:pt x="756" y="129"/>
                </a:lnTo>
                <a:lnTo>
                  <a:pt x="754" y="129"/>
                </a:lnTo>
                <a:lnTo>
                  <a:pt x="744" y="133"/>
                </a:lnTo>
                <a:lnTo>
                  <a:pt x="739" y="133"/>
                </a:lnTo>
                <a:lnTo>
                  <a:pt x="737" y="135"/>
                </a:lnTo>
                <a:lnTo>
                  <a:pt x="732" y="137"/>
                </a:lnTo>
                <a:lnTo>
                  <a:pt x="733" y="139"/>
                </a:lnTo>
                <a:lnTo>
                  <a:pt x="734" y="139"/>
                </a:lnTo>
                <a:lnTo>
                  <a:pt x="737" y="136"/>
                </a:lnTo>
                <a:lnTo>
                  <a:pt x="747" y="134"/>
                </a:lnTo>
                <a:lnTo>
                  <a:pt x="751" y="131"/>
                </a:lnTo>
                <a:lnTo>
                  <a:pt x="757" y="130"/>
                </a:lnTo>
                <a:lnTo>
                  <a:pt x="762" y="125"/>
                </a:lnTo>
                <a:lnTo>
                  <a:pt x="763" y="125"/>
                </a:lnTo>
                <a:lnTo>
                  <a:pt x="763" y="139"/>
                </a:lnTo>
                <a:lnTo>
                  <a:pt x="764" y="140"/>
                </a:lnTo>
                <a:lnTo>
                  <a:pt x="765" y="140"/>
                </a:lnTo>
                <a:lnTo>
                  <a:pt x="766" y="139"/>
                </a:lnTo>
                <a:lnTo>
                  <a:pt x="768" y="139"/>
                </a:lnTo>
                <a:lnTo>
                  <a:pt x="768" y="145"/>
                </a:lnTo>
                <a:lnTo>
                  <a:pt x="769" y="147"/>
                </a:lnTo>
                <a:lnTo>
                  <a:pt x="768" y="147"/>
                </a:lnTo>
                <a:lnTo>
                  <a:pt x="768" y="148"/>
                </a:lnTo>
                <a:lnTo>
                  <a:pt x="766" y="149"/>
                </a:lnTo>
                <a:lnTo>
                  <a:pt x="768" y="151"/>
                </a:lnTo>
                <a:lnTo>
                  <a:pt x="769" y="149"/>
                </a:lnTo>
                <a:lnTo>
                  <a:pt x="775" y="145"/>
                </a:lnTo>
                <a:lnTo>
                  <a:pt x="775" y="143"/>
                </a:lnTo>
                <a:lnTo>
                  <a:pt x="776" y="143"/>
                </a:lnTo>
                <a:lnTo>
                  <a:pt x="776" y="146"/>
                </a:lnTo>
                <a:lnTo>
                  <a:pt x="777" y="146"/>
                </a:lnTo>
                <a:lnTo>
                  <a:pt x="777" y="147"/>
                </a:lnTo>
                <a:lnTo>
                  <a:pt x="776" y="149"/>
                </a:lnTo>
                <a:lnTo>
                  <a:pt x="781" y="146"/>
                </a:lnTo>
                <a:lnTo>
                  <a:pt x="782" y="145"/>
                </a:lnTo>
                <a:lnTo>
                  <a:pt x="783" y="145"/>
                </a:lnTo>
                <a:lnTo>
                  <a:pt x="783" y="142"/>
                </a:lnTo>
                <a:lnTo>
                  <a:pt x="784" y="141"/>
                </a:lnTo>
                <a:lnTo>
                  <a:pt x="785" y="141"/>
                </a:lnTo>
                <a:lnTo>
                  <a:pt x="783" y="139"/>
                </a:lnTo>
                <a:lnTo>
                  <a:pt x="775" y="139"/>
                </a:lnTo>
                <a:lnTo>
                  <a:pt x="773" y="137"/>
                </a:lnTo>
                <a:lnTo>
                  <a:pt x="770" y="131"/>
                </a:lnTo>
                <a:lnTo>
                  <a:pt x="772" y="131"/>
                </a:lnTo>
                <a:lnTo>
                  <a:pt x="772" y="130"/>
                </a:lnTo>
                <a:lnTo>
                  <a:pt x="773" y="130"/>
                </a:lnTo>
                <a:lnTo>
                  <a:pt x="773" y="129"/>
                </a:lnTo>
                <a:lnTo>
                  <a:pt x="777" y="129"/>
                </a:lnTo>
                <a:lnTo>
                  <a:pt x="778" y="128"/>
                </a:lnTo>
                <a:lnTo>
                  <a:pt x="779" y="125"/>
                </a:lnTo>
                <a:lnTo>
                  <a:pt x="778" y="124"/>
                </a:lnTo>
                <a:lnTo>
                  <a:pt x="776" y="123"/>
                </a:lnTo>
                <a:lnTo>
                  <a:pt x="775" y="123"/>
                </a:lnTo>
                <a:lnTo>
                  <a:pt x="776" y="122"/>
                </a:lnTo>
                <a:lnTo>
                  <a:pt x="779" y="121"/>
                </a:lnTo>
                <a:lnTo>
                  <a:pt x="781" y="119"/>
                </a:lnTo>
                <a:lnTo>
                  <a:pt x="776" y="119"/>
                </a:lnTo>
                <a:lnTo>
                  <a:pt x="775" y="118"/>
                </a:lnTo>
                <a:lnTo>
                  <a:pt x="772" y="117"/>
                </a:lnTo>
                <a:lnTo>
                  <a:pt x="773" y="116"/>
                </a:lnTo>
                <a:lnTo>
                  <a:pt x="778" y="115"/>
                </a:lnTo>
                <a:lnTo>
                  <a:pt x="783" y="115"/>
                </a:lnTo>
                <a:lnTo>
                  <a:pt x="783" y="113"/>
                </a:lnTo>
                <a:lnTo>
                  <a:pt x="784" y="113"/>
                </a:lnTo>
                <a:lnTo>
                  <a:pt x="782" y="111"/>
                </a:lnTo>
                <a:lnTo>
                  <a:pt x="775" y="113"/>
                </a:lnTo>
                <a:lnTo>
                  <a:pt x="776" y="111"/>
                </a:lnTo>
                <a:lnTo>
                  <a:pt x="779" y="109"/>
                </a:lnTo>
                <a:lnTo>
                  <a:pt x="787" y="108"/>
                </a:lnTo>
                <a:lnTo>
                  <a:pt x="788" y="105"/>
                </a:lnTo>
                <a:lnTo>
                  <a:pt x="784" y="106"/>
                </a:lnTo>
                <a:lnTo>
                  <a:pt x="784" y="105"/>
                </a:lnTo>
                <a:lnTo>
                  <a:pt x="785" y="103"/>
                </a:lnTo>
                <a:lnTo>
                  <a:pt x="784" y="103"/>
                </a:lnTo>
                <a:lnTo>
                  <a:pt x="783" y="104"/>
                </a:lnTo>
                <a:lnTo>
                  <a:pt x="782" y="104"/>
                </a:lnTo>
                <a:lnTo>
                  <a:pt x="783" y="103"/>
                </a:lnTo>
                <a:lnTo>
                  <a:pt x="784" y="98"/>
                </a:lnTo>
                <a:lnTo>
                  <a:pt x="785" y="97"/>
                </a:lnTo>
                <a:lnTo>
                  <a:pt x="787" y="97"/>
                </a:lnTo>
                <a:lnTo>
                  <a:pt x="788" y="96"/>
                </a:lnTo>
                <a:lnTo>
                  <a:pt x="789" y="92"/>
                </a:lnTo>
                <a:lnTo>
                  <a:pt x="794" y="87"/>
                </a:lnTo>
                <a:lnTo>
                  <a:pt x="797" y="82"/>
                </a:lnTo>
                <a:lnTo>
                  <a:pt x="797" y="81"/>
                </a:lnTo>
                <a:lnTo>
                  <a:pt x="801" y="80"/>
                </a:lnTo>
                <a:lnTo>
                  <a:pt x="813" y="81"/>
                </a:lnTo>
                <a:lnTo>
                  <a:pt x="818" y="84"/>
                </a:lnTo>
                <a:lnTo>
                  <a:pt x="818" y="85"/>
                </a:lnTo>
                <a:lnTo>
                  <a:pt x="819" y="86"/>
                </a:lnTo>
                <a:lnTo>
                  <a:pt x="820" y="86"/>
                </a:lnTo>
                <a:lnTo>
                  <a:pt x="820" y="85"/>
                </a:lnTo>
                <a:lnTo>
                  <a:pt x="818" y="82"/>
                </a:lnTo>
                <a:lnTo>
                  <a:pt x="815" y="79"/>
                </a:lnTo>
                <a:lnTo>
                  <a:pt x="814" y="78"/>
                </a:lnTo>
                <a:lnTo>
                  <a:pt x="809" y="76"/>
                </a:lnTo>
                <a:lnTo>
                  <a:pt x="809" y="74"/>
                </a:lnTo>
                <a:lnTo>
                  <a:pt x="814" y="70"/>
                </a:lnTo>
                <a:lnTo>
                  <a:pt x="814" y="68"/>
                </a:lnTo>
                <a:lnTo>
                  <a:pt x="815" y="68"/>
                </a:lnTo>
                <a:lnTo>
                  <a:pt x="815" y="67"/>
                </a:lnTo>
                <a:lnTo>
                  <a:pt x="816" y="67"/>
                </a:lnTo>
                <a:lnTo>
                  <a:pt x="816" y="60"/>
                </a:lnTo>
                <a:lnTo>
                  <a:pt x="820" y="56"/>
                </a:lnTo>
                <a:lnTo>
                  <a:pt x="822" y="57"/>
                </a:lnTo>
                <a:lnTo>
                  <a:pt x="825" y="57"/>
                </a:lnTo>
                <a:lnTo>
                  <a:pt x="826" y="59"/>
                </a:lnTo>
                <a:lnTo>
                  <a:pt x="831" y="65"/>
                </a:lnTo>
                <a:lnTo>
                  <a:pt x="833" y="67"/>
                </a:lnTo>
                <a:lnTo>
                  <a:pt x="835" y="66"/>
                </a:lnTo>
                <a:lnTo>
                  <a:pt x="835" y="60"/>
                </a:lnTo>
                <a:lnTo>
                  <a:pt x="832" y="57"/>
                </a:lnTo>
                <a:lnTo>
                  <a:pt x="832" y="54"/>
                </a:lnTo>
                <a:lnTo>
                  <a:pt x="829" y="53"/>
                </a:lnTo>
                <a:lnTo>
                  <a:pt x="828" y="51"/>
                </a:lnTo>
                <a:lnTo>
                  <a:pt x="827" y="49"/>
                </a:lnTo>
                <a:lnTo>
                  <a:pt x="824" y="49"/>
                </a:lnTo>
                <a:lnTo>
                  <a:pt x="819" y="48"/>
                </a:lnTo>
                <a:lnTo>
                  <a:pt x="816" y="47"/>
                </a:lnTo>
                <a:lnTo>
                  <a:pt x="815" y="47"/>
                </a:lnTo>
                <a:lnTo>
                  <a:pt x="815" y="44"/>
                </a:lnTo>
                <a:lnTo>
                  <a:pt x="816" y="43"/>
                </a:lnTo>
                <a:lnTo>
                  <a:pt x="816" y="37"/>
                </a:lnTo>
                <a:lnTo>
                  <a:pt x="820" y="35"/>
                </a:lnTo>
                <a:lnTo>
                  <a:pt x="821" y="33"/>
                </a:lnTo>
                <a:lnTo>
                  <a:pt x="822" y="36"/>
                </a:lnTo>
                <a:lnTo>
                  <a:pt x="822" y="37"/>
                </a:lnTo>
                <a:lnTo>
                  <a:pt x="824" y="37"/>
                </a:lnTo>
                <a:lnTo>
                  <a:pt x="825" y="38"/>
                </a:lnTo>
                <a:lnTo>
                  <a:pt x="824" y="41"/>
                </a:lnTo>
                <a:lnTo>
                  <a:pt x="826" y="41"/>
                </a:lnTo>
                <a:lnTo>
                  <a:pt x="831" y="45"/>
                </a:lnTo>
                <a:lnTo>
                  <a:pt x="832" y="45"/>
                </a:lnTo>
                <a:lnTo>
                  <a:pt x="832" y="42"/>
                </a:lnTo>
                <a:lnTo>
                  <a:pt x="829" y="39"/>
                </a:lnTo>
                <a:lnTo>
                  <a:pt x="831" y="37"/>
                </a:lnTo>
                <a:lnTo>
                  <a:pt x="831" y="33"/>
                </a:lnTo>
                <a:lnTo>
                  <a:pt x="832" y="35"/>
                </a:lnTo>
                <a:lnTo>
                  <a:pt x="834" y="35"/>
                </a:lnTo>
                <a:lnTo>
                  <a:pt x="835" y="33"/>
                </a:lnTo>
                <a:lnTo>
                  <a:pt x="832" y="31"/>
                </a:lnTo>
                <a:lnTo>
                  <a:pt x="831" y="30"/>
                </a:lnTo>
                <a:lnTo>
                  <a:pt x="831" y="29"/>
                </a:lnTo>
                <a:lnTo>
                  <a:pt x="829" y="27"/>
                </a:lnTo>
                <a:lnTo>
                  <a:pt x="829" y="26"/>
                </a:lnTo>
                <a:lnTo>
                  <a:pt x="828" y="25"/>
                </a:lnTo>
                <a:lnTo>
                  <a:pt x="829" y="24"/>
                </a:lnTo>
                <a:lnTo>
                  <a:pt x="831" y="24"/>
                </a:lnTo>
                <a:lnTo>
                  <a:pt x="832" y="23"/>
                </a:lnTo>
                <a:lnTo>
                  <a:pt x="829" y="23"/>
                </a:lnTo>
                <a:lnTo>
                  <a:pt x="829" y="22"/>
                </a:lnTo>
                <a:lnTo>
                  <a:pt x="831" y="20"/>
                </a:lnTo>
                <a:lnTo>
                  <a:pt x="832" y="20"/>
                </a:lnTo>
                <a:lnTo>
                  <a:pt x="833" y="19"/>
                </a:lnTo>
                <a:lnTo>
                  <a:pt x="837" y="20"/>
                </a:lnTo>
                <a:lnTo>
                  <a:pt x="838" y="22"/>
                </a:lnTo>
                <a:lnTo>
                  <a:pt x="838" y="23"/>
                </a:lnTo>
                <a:lnTo>
                  <a:pt x="839" y="24"/>
                </a:lnTo>
                <a:lnTo>
                  <a:pt x="840" y="24"/>
                </a:lnTo>
                <a:lnTo>
                  <a:pt x="840" y="27"/>
                </a:lnTo>
                <a:lnTo>
                  <a:pt x="839" y="29"/>
                </a:lnTo>
                <a:lnTo>
                  <a:pt x="846" y="27"/>
                </a:lnTo>
                <a:lnTo>
                  <a:pt x="845" y="26"/>
                </a:lnTo>
                <a:lnTo>
                  <a:pt x="846" y="24"/>
                </a:lnTo>
                <a:lnTo>
                  <a:pt x="846" y="23"/>
                </a:lnTo>
                <a:lnTo>
                  <a:pt x="845" y="22"/>
                </a:lnTo>
                <a:lnTo>
                  <a:pt x="846" y="20"/>
                </a:lnTo>
                <a:lnTo>
                  <a:pt x="849" y="20"/>
                </a:lnTo>
                <a:lnTo>
                  <a:pt x="850" y="23"/>
                </a:lnTo>
                <a:lnTo>
                  <a:pt x="849" y="26"/>
                </a:lnTo>
                <a:lnTo>
                  <a:pt x="846" y="31"/>
                </a:lnTo>
                <a:lnTo>
                  <a:pt x="845" y="32"/>
                </a:lnTo>
                <a:lnTo>
                  <a:pt x="843" y="33"/>
                </a:lnTo>
                <a:lnTo>
                  <a:pt x="844" y="33"/>
                </a:lnTo>
                <a:lnTo>
                  <a:pt x="845" y="32"/>
                </a:lnTo>
                <a:lnTo>
                  <a:pt x="847" y="35"/>
                </a:lnTo>
                <a:lnTo>
                  <a:pt x="849" y="35"/>
                </a:lnTo>
                <a:lnTo>
                  <a:pt x="850" y="36"/>
                </a:lnTo>
                <a:lnTo>
                  <a:pt x="850" y="32"/>
                </a:lnTo>
                <a:lnTo>
                  <a:pt x="851" y="29"/>
                </a:lnTo>
                <a:lnTo>
                  <a:pt x="852" y="27"/>
                </a:lnTo>
                <a:lnTo>
                  <a:pt x="853" y="27"/>
                </a:lnTo>
                <a:lnTo>
                  <a:pt x="853" y="29"/>
                </a:lnTo>
                <a:lnTo>
                  <a:pt x="855" y="29"/>
                </a:lnTo>
                <a:lnTo>
                  <a:pt x="857" y="33"/>
                </a:lnTo>
                <a:lnTo>
                  <a:pt x="857" y="35"/>
                </a:lnTo>
                <a:lnTo>
                  <a:pt x="858" y="39"/>
                </a:lnTo>
                <a:lnTo>
                  <a:pt x="857" y="44"/>
                </a:lnTo>
                <a:lnTo>
                  <a:pt x="858" y="44"/>
                </a:lnTo>
                <a:lnTo>
                  <a:pt x="858" y="42"/>
                </a:lnTo>
                <a:lnTo>
                  <a:pt x="859" y="41"/>
                </a:lnTo>
                <a:lnTo>
                  <a:pt x="862" y="41"/>
                </a:lnTo>
                <a:lnTo>
                  <a:pt x="863" y="32"/>
                </a:lnTo>
                <a:lnTo>
                  <a:pt x="863" y="27"/>
                </a:lnTo>
                <a:lnTo>
                  <a:pt x="862" y="26"/>
                </a:lnTo>
                <a:lnTo>
                  <a:pt x="862" y="20"/>
                </a:lnTo>
                <a:lnTo>
                  <a:pt x="864" y="22"/>
                </a:lnTo>
                <a:lnTo>
                  <a:pt x="869" y="26"/>
                </a:lnTo>
                <a:lnTo>
                  <a:pt x="869" y="31"/>
                </a:lnTo>
                <a:lnTo>
                  <a:pt x="865" y="35"/>
                </a:lnTo>
                <a:lnTo>
                  <a:pt x="864" y="35"/>
                </a:lnTo>
                <a:lnTo>
                  <a:pt x="865" y="37"/>
                </a:lnTo>
                <a:lnTo>
                  <a:pt x="866" y="37"/>
                </a:lnTo>
                <a:lnTo>
                  <a:pt x="869" y="33"/>
                </a:lnTo>
                <a:lnTo>
                  <a:pt x="870" y="36"/>
                </a:lnTo>
                <a:lnTo>
                  <a:pt x="870" y="35"/>
                </a:lnTo>
                <a:lnTo>
                  <a:pt x="871" y="32"/>
                </a:lnTo>
                <a:lnTo>
                  <a:pt x="872" y="31"/>
                </a:lnTo>
                <a:lnTo>
                  <a:pt x="875" y="30"/>
                </a:lnTo>
                <a:lnTo>
                  <a:pt x="876" y="30"/>
                </a:lnTo>
                <a:lnTo>
                  <a:pt x="877" y="32"/>
                </a:lnTo>
                <a:lnTo>
                  <a:pt x="878" y="33"/>
                </a:lnTo>
                <a:lnTo>
                  <a:pt x="878" y="35"/>
                </a:lnTo>
                <a:lnTo>
                  <a:pt x="880" y="35"/>
                </a:lnTo>
                <a:lnTo>
                  <a:pt x="880" y="32"/>
                </a:lnTo>
                <a:lnTo>
                  <a:pt x="882" y="31"/>
                </a:lnTo>
                <a:lnTo>
                  <a:pt x="883" y="31"/>
                </a:lnTo>
                <a:lnTo>
                  <a:pt x="884" y="30"/>
                </a:lnTo>
                <a:lnTo>
                  <a:pt x="886" y="32"/>
                </a:lnTo>
                <a:lnTo>
                  <a:pt x="886" y="36"/>
                </a:lnTo>
                <a:lnTo>
                  <a:pt x="884" y="36"/>
                </a:lnTo>
                <a:lnTo>
                  <a:pt x="883" y="38"/>
                </a:lnTo>
                <a:lnTo>
                  <a:pt x="881" y="41"/>
                </a:lnTo>
                <a:lnTo>
                  <a:pt x="878" y="44"/>
                </a:lnTo>
                <a:lnTo>
                  <a:pt x="877" y="45"/>
                </a:lnTo>
                <a:lnTo>
                  <a:pt x="874" y="48"/>
                </a:lnTo>
                <a:lnTo>
                  <a:pt x="874" y="49"/>
                </a:lnTo>
                <a:lnTo>
                  <a:pt x="875" y="51"/>
                </a:lnTo>
                <a:lnTo>
                  <a:pt x="872" y="54"/>
                </a:lnTo>
                <a:lnTo>
                  <a:pt x="872" y="55"/>
                </a:lnTo>
                <a:lnTo>
                  <a:pt x="870" y="55"/>
                </a:lnTo>
                <a:lnTo>
                  <a:pt x="869" y="59"/>
                </a:lnTo>
                <a:lnTo>
                  <a:pt x="865" y="60"/>
                </a:lnTo>
                <a:lnTo>
                  <a:pt x="865" y="63"/>
                </a:lnTo>
                <a:lnTo>
                  <a:pt x="862" y="67"/>
                </a:lnTo>
                <a:lnTo>
                  <a:pt x="859" y="68"/>
                </a:lnTo>
                <a:lnTo>
                  <a:pt x="859" y="69"/>
                </a:lnTo>
                <a:lnTo>
                  <a:pt x="857" y="72"/>
                </a:lnTo>
                <a:lnTo>
                  <a:pt x="857" y="73"/>
                </a:lnTo>
                <a:lnTo>
                  <a:pt x="851" y="78"/>
                </a:lnTo>
                <a:lnTo>
                  <a:pt x="850" y="80"/>
                </a:lnTo>
                <a:lnTo>
                  <a:pt x="857" y="78"/>
                </a:lnTo>
                <a:lnTo>
                  <a:pt x="859" y="80"/>
                </a:lnTo>
                <a:lnTo>
                  <a:pt x="857" y="82"/>
                </a:lnTo>
                <a:lnTo>
                  <a:pt x="850" y="82"/>
                </a:lnTo>
                <a:lnTo>
                  <a:pt x="851" y="85"/>
                </a:lnTo>
                <a:lnTo>
                  <a:pt x="857" y="84"/>
                </a:lnTo>
                <a:lnTo>
                  <a:pt x="859" y="86"/>
                </a:lnTo>
                <a:lnTo>
                  <a:pt x="858" y="86"/>
                </a:lnTo>
                <a:lnTo>
                  <a:pt x="857" y="87"/>
                </a:lnTo>
                <a:lnTo>
                  <a:pt x="857" y="90"/>
                </a:lnTo>
                <a:lnTo>
                  <a:pt x="858" y="93"/>
                </a:lnTo>
                <a:lnTo>
                  <a:pt x="858" y="96"/>
                </a:lnTo>
                <a:lnTo>
                  <a:pt x="855" y="93"/>
                </a:lnTo>
                <a:lnTo>
                  <a:pt x="853" y="94"/>
                </a:lnTo>
                <a:lnTo>
                  <a:pt x="850" y="99"/>
                </a:lnTo>
                <a:lnTo>
                  <a:pt x="852" y="99"/>
                </a:lnTo>
                <a:lnTo>
                  <a:pt x="852" y="100"/>
                </a:lnTo>
                <a:lnTo>
                  <a:pt x="851" y="102"/>
                </a:lnTo>
                <a:lnTo>
                  <a:pt x="851" y="103"/>
                </a:lnTo>
                <a:lnTo>
                  <a:pt x="852" y="104"/>
                </a:lnTo>
                <a:lnTo>
                  <a:pt x="852" y="103"/>
                </a:lnTo>
                <a:lnTo>
                  <a:pt x="853" y="102"/>
                </a:lnTo>
                <a:lnTo>
                  <a:pt x="856" y="102"/>
                </a:lnTo>
                <a:lnTo>
                  <a:pt x="856" y="105"/>
                </a:lnTo>
                <a:lnTo>
                  <a:pt x="849" y="112"/>
                </a:lnTo>
                <a:lnTo>
                  <a:pt x="847" y="112"/>
                </a:lnTo>
                <a:lnTo>
                  <a:pt x="847" y="113"/>
                </a:lnTo>
                <a:lnTo>
                  <a:pt x="846" y="115"/>
                </a:lnTo>
                <a:lnTo>
                  <a:pt x="846" y="117"/>
                </a:lnTo>
                <a:lnTo>
                  <a:pt x="845" y="118"/>
                </a:lnTo>
                <a:lnTo>
                  <a:pt x="845" y="124"/>
                </a:lnTo>
                <a:lnTo>
                  <a:pt x="844" y="125"/>
                </a:lnTo>
                <a:lnTo>
                  <a:pt x="844" y="130"/>
                </a:lnTo>
                <a:lnTo>
                  <a:pt x="845" y="134"/>
                </a:lnTo>
                <a:lnTo>
                  <a:pt x="847" y="135"/>
                </a:lnTo>
                <a:lnTo>
                  <a:pt x="849" y="135"/>
                </a:lnTo>
                <a:lnTo>
                  <a:pt x="849" y="131"/>
                </a:lnTo>
                <a:lnTo>
                  <a:pt x="847" y="131"/>
                </a:lnTo>
                <a:lnTo>
                  <a:pt x="847" y="125"/>
                </a:lnTo>
                <a:lnTo>
                  <a:pt x="851" y="124"/>
                </a:lnTo>
                <a:lnTo>
                  <a:pt x="851" y="125"/>
                </a:lnTo>
                <a:lnTo>
                  <a:pt x="850" y="128"/>
                </a:lnTo>
                <a:lnTo>
                  <a:pt x="851" y="128"/>
                </a:lnTo>
                <a:lnTo>
                  <a:pt x="851" y="129"/>
                </a:lnTo>
                <a:lnTo>
                  <a:pt x="850" y="130"/>
                </a:lnTo>
                <a:lnTo>
                  <a:pt x="851" y="131"/>
                </a:lnTo>
                <a:lnTo>
                  <a:pt x="851" y="133"/>
                </a:lnTo>
                <a:lnTo>
                  <a:pt x="852" y="134"/>
                </a:lnTo>
                <a:lnTo>
                  <a:pt x="853" y="134"/>
                </a:lnTo>
                <a:lnTo>
                  <a:pt x="856" y="133"/>
                </a:lnTo>
                <a:lnTo>
                  <a:pt x="857" y="131"/>
                </a:lnTo>
                <a:lnTo>
                  <a:pt x="858" y="128"/>
                </a:lnTo>
                <a:lnTo>
                  <a:pt x="859" y="122"/>
                </a:lnTo>
                <a:lnTo>
                  <a:pt x="862" y="119"/>
                </a:lnTo>
                <a:lnTo>
                  <a:pt x="863" y="119"/>
                </a:lnTo>
                <a:lnTo>
                  <a:pt x="863" y="118"/>
                </a:lnTo>
                <a:lnTo>
                  <a:pt x="865" y="116"/>
                </a:lnTo>
                <a:lnTo>
                  <a:pt x="865" y="112"/>
                </a:lnTo>
                <a:lnTo>
                  <a:pt x="869" y="109"/>
                </a:lnTo>
                <a:lnTo>
                  <a:pt x="870" y="106"/>
                </a:lnTo>
                <a:lnTo>
                  <a:pt x="869" y="105"/>
                </a:lnTo>
                <a:lnTo>
                  <a:pt x="864" y="103"/>
                </a:lnTo>
                <a:lnTo>
                  <a:pt x="865" y="100"/>
                </a:lnTo>
                <a:lnTo>
                  <a:pt x="875" y="88"/>
                </a:lnTo>
                <a:lnTo>
                  <a:pt x="883" y="73"/>
                </a:lnTo>
                <a:lnTo>
                  <a:pt x="884" y="72"/>
                </a:lnTo>
                <a:lnTo>
                  <a:pt x="886" y="72"/>
                </a:lnTo>
                <a:lnTo>
                  <a:pt x="887" y="69"/>
                </a:lnTo>
                <a:lnTo>
                  <a:pt x="889" y="67"/>
                </a:lnTo>
                <a:lnTo>
                  <a:pt x="889" y="65"/>
                </a:lnTo>
                <a:lnTo>
                  <a:pt x="891" y="56"/>
                </a:lnTo>
                <a:lnTo>
                  <a:pt x="891" y="54"/>
                </a:lnTo>
                <a:lnTo>
                  <a:pt x="894" y="54"/>
                </a:lnTo>
                <a:lnTo>
                  <a:pt x="895" y="53"/>
                </a:lnTo>
                <a:lnTo>
                  <a:pt x="895" y="49"/>
                </a:lnTo>
                <a:lnTo>
                  <a:pt x="896" y="48"/>
                </a:lnTo>
                <a:lnTo>
                  <a:pt x="897" y="45"/>
                </a:lnTo>
                <a:lnTo>
                  <a:pt x="900" y="43"/>
                </a:lnTo>
                <a:lnTo>
                  <a:pt x="905" y="33"/>
                </a:lnTo>
                <a:lnTo>
                  <a:pt x="915" y="24"/>
                </a:lnTo>
                <a:lnTo>
                  <a:pt x="918" y="23"/>
                </a:lnTo>
                <a:lnTo>
                  <a:pt x="918" y="24"/>
                </a:lnTo>
                <a:lnTo>
                  <a:pt x="920" y="26"/>
                </a:lnTo>
                <a:lnTo>
                  <a:pt x="919" y="27"/>
                </a:lnTo>
                <a:lnTo>
                  <a:pt x="919" y="29"/>
                </a:lnTo>
                <a:lnTo>
                  <a:pt x="920" y="29"/>
                </a:lnTo>
                <a:lnTo>
                  <a:pt x="920" y="31"/>
                </a:lnTo>
                <a:lnTo>
                  <a:pt x="919" y="32"/>
                </a:lnTo>
                <a:lnTo>
                  <a:pt x="919" y="33"/>
                </a:lnTo>
                <a:lnTo>
                  <a:pt x="916" y="36"/>
                </a:lnTo>
                <a:lnTo>
                  <a:pt x="916" y="38"/>
                </a:lnTo>
                <a:lnTo>
                  <a:pt x="918" y="38"/>
                </a:lnTo>
                <a:lnTo>
                  <a:pt x="918" y="39"/>
                </a:lnTo>
                <a:lnTo>
                  <a:pt x="919" y="39"/>
                </a:lnTo>
                <a:lnTo>
                  <a:pt x="919" y="38"/>
                </a:lnTo>
                <a:lnTo>
                  <a:pt x="920" y="37"/>
                </a:lnTo>
                <a:lnTo>
                  <a:pt x="920" y="41"/>
                </a:lnTo>
                <a:lnTo>
                  <a:pt x="919" y="42"/>
                </a:lnTo>
                <a:lnTo>
                  <a:pt x="919" y="44"/>
                </a:lnTo>
                <a:lnTo>
                  <a:pt x="918" y="47"/>
                </a:lnTo>
                <a:lnTo>
                  <a:pt x="918" y="51"/>
                </a:lnTo>
                <a:lnTo>
                  <a:pt x="916" y="55"/>
                </a:lnTo>
                <a:lnTo>
                  <a:pt x="903" y="62"/>
                </a:lnTo>
                <a:lnTo>
                  <a:pt x="905" y="63"/>
                </a:lnTo>
                <a:lnTo>
                  <a:pt x="911" y="61"/>
                </a:lnTo>
                <a:lnTo>
                  <a:pt x="912" y="60"/>
                </a:lnTo>
                <a:lnTo>
                  <a:pt x="915" y="62"/>
                </a:lnTo>
                <a:lnTo>
                  <a:pt x="916" y="63"/>
                </a:lnTo>
                <a:lnTo>
                  <a:pt x="914" y="73"/>
                </a:lnTo>
                <a:lnTo>
                  <a:pt x="914" y="76"/>
                </a:lnTo>
                <a:lnTo>
                  <a:pt x="913" y="78"/>
                </a:lnTo>
                <a:lnTo>
                  <a:pt x="913" y="84"/>
                </a:lnTo>
                <a:lnTo>
                  <a:pt x="912" y="86"/>
                </a:lnTo>
                <a:lnTo>
                  <a:pt x="911" y="87"/>
                </a:lnTo>
                <a:lnTo>
                  <a:pt x="911" y="99"/>
                </a:lnTo>
                <a:lnTo>
                  <a:pt x="913" y="99"/>
                </a:lnTo>
                <a:lnTo>
                  <a:pt x="913" y="97"/>
                </a:lnTo>
                <a:lnTo>
                  <a:pt x="914" y="96"/>
                </a:lnTo>
                <a:lnTo>
                  <a:pt x="915" y="97"/>
                </a:lnTo>
                <a:lnTo>
                  <a:pt x="916" y="96"/>
                </a:lnTo>
                <a:lnTo>
                  <a:pt x="915" y="93"/>
                </a:lnTo>
                <a:lnTo>
                  <a:pt x="915" y="92"/>
                </a:lnTo>
                <a:lnTo>
                  <a:pt x="916" y="91"/>
                </a:lnTo>
                <a:lnTo>
                  <a:pt x="916" y="90"/>
                </a:lnTo>
                <a:lnTo>
                  <a:pt x="918" y="91"/>
                </a:lnTo>
                <a:lnTo>
                  <a:pt x="919" y="91"/>
                </a:lnTo>
                <a:lnTo>
                  <a:pt x="921" y="90"/>
                </a:lnTo>
                <a:lnTo>
                  <a:pt x="921" y="88"/>
                </a:lnTo>
                <a:lnTo>
                  <a:pt x="922" y="86"/>
                </a:lnTo>
                <a:lnTo>
                  <a:pt x="922" y="85"/>
                </a:lnTo>
                <a:lnTo>
                  <a:pt x="924" y="84"/>
                </a:lnTo>
                <a:lnTo>
                  <a:pt x="928" y="82"/>
                </a:lnTo>
                <a:lnTo>
                  <a:pt x="928" y="86"/>
                </a:lnTo>
                <a:lnTo>
                  <a:pt x="933" y="84"/>
                </a:lnTo>
                <a:lnTo>
                  <a:pt x="934" y="84"/>
                </a:lnTo>
                <a:lnTo>
                  <a:pt x="936" y="85"/>
                </a:lnTo>
                <a:lnTo>
                  <a:pt x="933" y="82"/>
                </a:lnTo>
                <a:lnTo>
                  <a:pt x="932" y="80"/>
                </a:lnTo>
                <a:lnTo>
                  <a:pt x="930" y="78"/>
                </a:lnTo>
                <a:lnTo>
                  <a:pt x="930" y="76"/>
                </a:lnTo>
                <a:lnTo>
                  <a:pt x="931" y="75"/>
                </a:lnTo>
                <a:lnTo>
                  <a:pt x="931" y="73"/>
                </a:lnTo>
                <a:lnTo>
                  <a:pt x="930" y="73"/>
                </a:lnTo>
                <a:lnTo>
                  <a:pt x="932" y="68"/>
                </a:lnTo>
                <a:lnTo>
                  <a:pt x="933" y="67"/>
                </a:lnTo>
                <a:lnTo>
                  <a:pt x="934" y="67"/>
                </a:lnTo>
                <a:lnTo>
                  <a:pt x="936" y="68"/>
                </a:lnTo>
                <a:lnTo>
                  <a:pt x="938" y="68"/>
                </a:lnTo>
                <a:lnTo>
                  <a:pt x="942" y="70"/>
                </a:lnTo>
                <a:lnTo>
                  <a:pt x="943" y="70"/>
                </a:lnTo>
                <a:lnTo>
                  <a:pt x="942" y="68"/>
                </a:lnTo>
                <a:lnTo>
                  <a:pt x="937" y="65"/>
                </a:lnTo>
                <a:lnTo>
                  <a:pt x="936" y="63"/>
                </a:lnTo>
                <a:lnTo>
                  <a:pt x="936" y="61"/>
                </a:lnTo>
                <a:lnTo>
                  <a:pt x="938" y="57"/>
                </a:lnTo>
                <a:lnTo>
                  <a:pt x="937" y="57"/>
                </a:lnTo>
                <a:lnTo>
                  <a:pt x="934" y="55"/>
                </a:lnTo>
                <a:lnTo>
                  <a:pt x="936" y="51"/>
                </a:lnTo>
                <a:lnTo>
                  <a:pt x="937" y="50"/>
                </a:lnTo>
                <a:lnTo>
                  <a:pt x="945" y="50"/>
                </a:lnTo>
                <a:lnTo>
                  <a:pt x="945" y="48"/>
                </a:lnTo>
                <a:lnTo>
                  <a:pt x="944" y="48"/>
                </a:lnTo>
                <a:lnTo>
                  <a:pt x="943" y="45"/>
                </a:lnTo>
                <a:lnTo>
                  <a:pt x="944" y="43"/>
                </a:lnTo>
                <a:lnTo>
                  <a:pt x="944" y="41"/>
                </a:lnTo>
                <a:lnTo>
                  <a:pt x="945" y="39"/>
                </a:lnTo>
                <a:lnTo>
                  <a:pt x="946" y="39"/>
                </a:lnTo>
                <a:lnTo>
                  <a:pt x="958" y="42"/>
                </a:lnTo>
                <a:lnTo>
                  <a:pt x="951" y="39"/>
                </a:lnTo>
                <a:lnTo>
                  <a:pt x="951" y="38"/>
                </a:lnTo>
                <a:lnTo>
                  <a:pt x="952" y="38"/>
                </a:lnTo>
                <a:lnTo>
                  <a:pt x="953" y="37"/>
                </a:lnTo>
                <a:lnTo>
                  <a:pt x="953" y="36"/>
                </a:lnTo>
                <a:lnTo>
                  <a:pt x="952" y="35"/>
                </a:lnTo>
                <a:lnTo>
                  <a:pt x="952" y="33"/>
                </a:lnTo>
                <a:lnTo>
                  <a:pt x="951" y="35"/>
                </a:lnTo>
                <a:lnTo>
                  <a:pt x="951" y="33"/>
                </a:lnTo>
                <a:lnTo>
                  <a:pt x="950" y="33"/>
                </a:lnTo>
                <a:lnTo>
                  <a:pt x="950" y="32"/>
                </a:lnTo>
                <a:lnTo>
                  <a:pt x="947" y="32"/>
                </a:lnTo>
                <a:lnTo>
                  <a:pt x="947" y="31"/>
                </a:lnTo>
                <a:lnTo>
                  <a:pt x="949" y="29"/>
                </a:lnTo>
                <a:lnTo>
                  <a:pt x="949" y="27"/>
                </a:lnTo>
                <a:lnTo>
                  <a:pt x="947" y="29"/>
                </a:lnTo>
                <a:lnTo>
                  <a:pt x="946" y="31"/>
                </a:lnTo>
                <a:lnTo>
                  <a:pt x="945" y="32"/>
                </a:lnTo>
                <a:lnTo>
                  <a:pt x="939" y="30"/>
                </a:lnTo>
                <a:lnTo>
                  <a:pt x="937" y="27"/>
                </a:lnTo>
                <a:lnTo>
                  <a:pt x="937" y="23"/>
                </a:lnTo>
                <a:lnTo>
                  <a:pt x="938" y="22"/>
                </a:lnTo>
                <a:lnTo>
                  <a:pt x="946" y="24"/>
                </a:lnTo>
                <a:lnTo>
                  <a:pt x="945" y="23"/>
                </a:lnTo>
                <a:lnTo>
                  <a:pt x="945" y="22"/>
                </a:lnTo>
                <a:lnTo>
                  <a:pt x="940" y="17"/>
                </a:lnTo>
                <a:lnTo>
                  <a:pt x="940" y="14"/>
                </a:lnTo>
                <a:lnTo>
                  <a:pt x="942" y="13"/>
                </a:lnTo>
                <a:lnTo>
                  <a:pt x="951" y="16"/>
                </a:lnTo>
                <a:lnTo>
                  <a:pt x="952" y="18"/>
                </a:lnTo>
                <a:lnTo>
                  <a:pt x="952" y="20"/>
                </a:lnTo>
                <a:lnTo>
                  <a:pt x="953" y="23"/>
                </a:lnTo>
                <a:lnTo>
                  <a:pt x="955" y="23"/>
                </a:lnTo>
                <a:lnTo>
                  <a:pt x="956" y="20"/>
                </a:lnTo>
                <a:lnTo>
                  <a:pt x="955" y="19"/>
                </a:lnTo>
                <a:lnTo>
                  <a:pt x="955" y="16"/>
                </a:lnTo>
                <a:lnTo>
                  <a:pt x="956" y="14"/>
                </a:lnTo>
                <a:lnTo>
                  <a:pt x="955" y="14"/>
                </a:lnTo>
                <a:lnTo>
                  <a:pt x="953" y="13"/>
                </a:lnTo>
                <a:lnTo>
                  <a:pt x="953" y="6"/>
                </a:lnTo>
                <a:lnTo>
                  <a:pt x="955" y="4"/>
                </a:lnTo>
                <a:lnTo>
                  <a:pt x="957" y="5"/>
                </a:lnTo>
                <a:lnTo>
                  <a:pt x="958" y="5"/>
                </a:lnTo>
                <a:lnTo>
                  <a:pt x="958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0" name="Freeform 11">
            <a:extLst>
              <a:ext uri="{FF2B5EF4-FFF2-40B4-BE49-F238E27FC236}">
                <a16:creationId xmlns:a16="http://schemas.microsoft.com/office/drawing/2014/main" id="{AEA3FBBB-7231-4592-B3D9-54CC72FDB40A}"/>
              </a:ext>
            </a:extLst>
          </p:cNvPr>
          <p:cNvSpPr>
            <a:spLocks/>
          </p:cNvSpPr>
          <p:nvPr/>
        </p:nvSpPr>
        <p:spPr bwMode="auto">
          <a:xfrm>
            <a:off x="1595380" y="4921902"/>
            <a:ext cx="276748" cy="175322"/>
          </a:xfrm>
          <a:custGeom>
            <a:avLst/>
            <a:gdLst/>
            <a:ahLst/>
            <a:cxnLst>
              <a:cxn ang="0">
                <a:pos x="114" y="0"/>
              </a:cxn>
              <a:cxn ang="0">
                <a:pos x="115" y="4"/>
              </a:cxn>
              <a:cxn ang="0">
                <a:pos x="121" y="6"/>
              </a:cxn>
              <a:cxn ang="0">
                <a:pos x="129" y="7"/>
              </a:cxn>
              <a:cxn ang="0">
                <a:pos x="156" y="21"/>
              </a:cxn>
              <a:cxn ang="0">
                <a:pos x="149" y="37"/>
              </a:cxn>
              <a:cxn ang="0">
                <a:pos x="150" y="45"/>
              </a:cxn>
              <a:cxn ang="0">
                <a:pos x="164" y="49"/>
              </a:cxn>
              <a:cxn ang="0">
                <a:pos x="177" y="58"/>
              </a:cxn>
              <a:cxn ang="0">
                <a:pos x="185" y="51"/>
              </a:cxn>
              <a:cxn ang="0">
                <a:pos x="191" y="57"/>
              </a:cxn>
              <a:cxn ang="0">
                <a:pos x="189" y="64"/>
              </a:cxn>
              <a:cxn ang="0">
                <a:pos x="189" y="77"/>
              </a:cxn>
              <a:cxn ang="0">
                <a:pos x="179" y="72"/>
              </a:cxn>
              <a:cxn ang="0">
                <a:pos x="171" y="81"/>
              </a:cxn>
              <a:cxn ang="0">
                <a:pos x="176" y="88"/>
              </a:cxn>
              <a:cxn ang="0">
                <a:pos x="173" y="96"/>
              </a:cxn>
              <a:cxn ang="0">
                <a:pos x="164" y="88"/>
              </a:cxn>
              <a:cxn ang="0">
                <a:pos x="150" y="92"/>
              </a:cxn>
              <a:cxn ang="0">
                <a:pos x="146" y="80"/>
              </a:cxn>
              <a:cxn ang="0">
                <a:pos x="143" y="80"/>
              </a:cxn>
              <a:cxn ang="0">
                <a:pos x="139" y="87"/>
              </a:cxn>
              <a:cxn ang="0">
                <a:pos x="136" y="100"/>
              </a:cxn>
              <a:cxn ang="0">
                <a:pos x="131" y="107"/>
              </a:cxn>
              <a:cxn ang="0">
                <a:pos x="129" y="113"/>
              </a:cxn>
              <a:cxn ang="0">
                <a:pos x="129" y="121"/>
              </a:cxn>
              <a:cxn ang="0">
                <a:pos x="124" y="114"/>
              </a:cxn>
              <a:cxn ang="0">
                <a:pos x="121" y="106"/>
              </a:cxn>
              <a:cxn ang="0">
                <a:pos x="115" y="105"/>
              </a:cxn>
              <a:cxn ang="0">
                <a:pos x="107" y="98"/>
              </a:cxn>
              <a:cxn ang="0">
                <a:pos x="99" y="84"/>
              </a:cxn>
              <a:cxn ang="0">
                <a:pos x="90" y="94"/>
              </a:cxn>
              <a:cxn ang="0">
                <a:pos x="89" y="105"/>
              </a:cxn>
              <a:cxn ang="0">
                <a:pos x="81" y="112"/>
              </a:cxn>
              <a:cxn ang="0">
                <a:pos x="71" y="112"/>
              </a:cxn>
              <a:cxn ang="0">
                <a:pos x="61" y="115"/>
              </a:cxn>
              <a:cxn ang="0">
                <a:pos x="44" y="113"/>
              </a:cxn>
              <a:cxn ang="0">
                <a:pos x="38" y="102"/>
              </a:cxn>
              <a:cxn ang="0">
                <a:pos x="33" y="89"/>
              </a:cxn>
              <a:cxn ang="0">
                <a:pos x="23" y="83"/>
              </a:cxn>
              <a:cxn ang="0">
                <a:pos x="12" y="90"/>
              </a:cxn>
              <a:cxn ang="0">
                <a:pos x="7" y="102"/>
              </a:cxn>
              <a:cxn ang="0">
                <a:pos x="1" y="99"/>
              </a:cxn>
              <a:cxn ang="0">
                <a:pos x="6" y="92"/>
              </a:cxn>
              <a:cxn ang="0">
                <a:pos x="5" y="84"/>
              </a:cxn>
              <a:cxn ang="0">
                <a:pos x="7" y="75"/>
              </a:cxn>
              <a:cxn ang="0">
                <a:pos x="20" y="64"/>
              </a:cxn>
              <a:cxn ang="0">
                <a:pos x="21" y="52"/>
              </a:cxn>
              <a:cxn ang="0">
                <a:pos x="33" y="43"/>
              </a:cxn>
              <a:cxn ang="0">
                <a:pos x="43" y="34"/>
              </a:cxn>
              <a:cxn ang="0">
                <a:pos x="44" y="26"/>
              </a:cxn>
              <a:cxn ang="0">
                <a:pos x="43" y="22"/>
              </a:cxn>
              <a:cxn ang="0">
                <a:pos x="45" y="18"/>
              </a:cxn>
              <a:cxn ang="0">
                <a:pos x="53" y="24"/>
              </a:cxn>
              <a:cxn ang="0">
                <a:pos x="64" y="18"/>
              </a:cxn>
              <a:cxn ang="0">
                <a:pos x="69" y="13"/>
              </a:cxn>
              <a:cxn ang="0">
                <a:pos x="76" y="15"/>
              </a:cxn>
              <a:cxn ang="0">
                <a:pos x="90" y="14"/>
              </a:cxn>
              <a:cxn ang="0">
                <a:pos x="99" y="10"/>
              </a:cxn>
              <a:cxn ang="0">
                <a:pos x="111" y="13"/>
              </a:cxn>
              <a:cxn ang="0">
                <a:pos x="105" y="9"/>
              </a:cxn>
              <a:cxn ang="0">
                <a:pos x="105" y="3"/>
              </a:cxn>
            </a:cxnLst>
            <a:rect l="0" t="0" r="r" b="b"/>
            <a:pathLst>
              <a:path w="191" h="121">
                <a:moveTo>
                  <a:pt x="110" y="0"/>
                </a:moveTo>
                <a:lnTo>
                  <a:pt x="112" y="0"/>
                </a:lnTo>
                <a:lnTo>
                  <a:pt x="112" y="2"/>
                </a:lnTo>
                <a:lnTo>
                  <a:pt x="113" y="2"/>
                </a:lnTo>
                <a:lnTo>
                  <a:pt x="113" y="0"/>
                </a:lnTo>
                <a:lnTo>
                  <a:pt x="114" y="0"/>
                </a:lnTo>
                <a:lnTo>
                  <a:pt x="114" y="1"/>
                </a:lnTo>
                <a:lnTo>
                  <a:pt x="115" y="1"/>
                </a:lnTo>
                <a:lnTo>
                  <a:pt x="115" y="2"/>
                </a:lnTo>
                <a:lnTo>
                  <a:pt x="117" y="2"/>
                </a:lnTo>
                <a:lnTo>
                  <a:pt x="117" y="3"/>
                </a:lnTo>
                <a:lnTo>
                  <a:pt x="115" y="4"/>
                </a:lnTo>
                <a:lnTo>
                  <a:pt x="117" y="4"/>
                </a:lnTo>
                <a:lnTo>
                  <a:pt x="117" y="6"/>
                </a:lnTo>
                <a:lnTo>
                  <a:pt x="119" y="6"/>
                </a:lnTo>
                <a:lnTo>
                  <a:pt x="119" y="4"/>
                </a:lnTo>
                <a:lnTo>
                  <a:pt x="120" y="4"/>
                </a:lnTo>
                <a:lnTo>
                  <a:pt x="121" y="6"/>
                </a:lnTo>
                <a:lnTo>
                  <a:pt x="123" y="6"/>
                </a:lnTo>
                <a:lnTo>
                  <a:pt x="121" y="7"/>
                </a:lnTo>
                <a:lnTo>
                  <a:pt x="123" y="7"/>
                </a:lnTo>
                <a:lnTo>
                  <a:pt x="124" y="8"/>
                </a:lnTo>
                <a:lnTo>
                  <a:pt x="127" y="8"/>
                </a:lnTo>
                <a:lnTo>
                  <a:pt x="129" y="7"/>
                </a:lnTo>
                <a:lnTo>
                  <a:pt x="130" y="7"/>
                </a:lnTo>
                <a:lnTo>
                  <a:pt x="135" y="8"/>
                </a:lnTo>
                <a:lnTo>
                  <a:pt x="138" y="8"/>
                </a:lnTo>
                <a:lnTo>
                  <a:pt x="141" y="9"/>
                </a:lnTo>
                <a:lnTo>
                  <a:pt x="151" y="16"/>
                </a:lnTo>
                <a:lnTo>
                  <a:pt x="156" y="21"/>
                </a:lnTo>
                <a:lnTo>
                  <a:pt x="156" y="25"/>
                </a:lnTo>
                <a:lnTo>
                  <a:pt x="154" y="27"/>
                </a:lnTo>
                <a:lnTo>
                  <a:pt x="154" y="28"/>
                </a:lnTo>
                <a:lnTo>
                  <a:pt x="151" y="33"/>
                </a:lnTo>
                <a:lnTo>
                  <a:pt x="150" y="34"/>
                </a:lnTo>
                <a:lnTo>
                  <a:pt x="149" y="37"/>
                </a:lnTo>
                <a:lnTo>
                  <a:pt x="149" y="39"/>
                </a:lnTo>
                <a:lnTo>
                  <a:pt x="150" y="40"/>
                </a:lnTo>
                <a:lnTo>
                  <a:pt x="150" y="44"/>
                </a:lnTo>
                <a:lnTo>
                  <a:pt x="149" y="44"/>
                </a:lnTo>
                <a:lnTo>
                  <a:pt x="149" y="45"/>
                </a:lnTo>
                <a:lnTo>
                  <a:pt x="150" y="45"/>
                </a:lnTo>
                <a:lnTo>
                  <a:pt x="152" y="46"/>
                </a:lnTo>
                <a:lnTo>
                  <a:pt x="154" y="45"/>
                </a:lnTo>
                <a:lnTo>
                  <a:pt x="154" y="46"/>
                </a:lnTo>
                <a:lnTo>
                  <a:pt x="156" y="45"/>
                </a:lnTo>
                <a:lnTo>
                  <a:pt x="157" y="46"/>
                </a:lnTo>
                <a:lnTo>
                  <a:pt x="164" y="49"/>
                </a:lnTo>
                <a:lnTo>
                  <a:pt x="166" y="49"/>
                </a:lnTo>
                <a:lnTo>
                  <a:pt x="166" y="53"/>
                </a:lnTo>
                <a:lnTo>
                  <a:pt x="167" y="55"/>
                </a:lnTo>
                <a:lnTo>
                  <a:pt x="171" y="56"/>
                </a:lnTo>
                <a:lnTo>
                  <a:pt x="174" y="58"/>
                </a:lnTo>
                <a:lnTo>
                  <a:pt x="177" y="58"/>
                </a:lnTo>
                <a:lnTo>
                  <a:pt x="180" y="57"/>
                </a:lnTo>
                <a:lnTo>
                  <a:pt x="180" y="55"/>
                </a:lnTo>
                <a:lnTo>
                  <a:pt x="181" y="53"/>
                </a:lnTo>
                <a:lnTo>
                  <a:pt x="183" y="53"/>
                </a:lnTo>
                <a:lnTo>
                  <a:pt x="183" y="52"/>
                </a:lnTo>
                <a:lnTo>
                  <a:pt x="185" y="51"/>
                </a:lnTo>
                <a:lnTo>
                  <a:pt x="185" y="50"/>
                </a:lnTo>
                <a:lnTo>
                  <a:pt x="187" y="50"/>
                </a:lnTo>
                <a:lnTo>
                  <a:pt x="191" y="53"/>
                </a:lnTo>
                <a:lnTo>
                  <a:pt x="191" y="55"/>
                </a:lnTo>
                <a:lnTo>
                  <a:pt x="189" y="56"/>
                </a:lnTo>
                <a:lnTo>
                  <a:pt x="191" y="57"/>
                </a:lnTo>
                <a:lnTo>
                  <a:pt x="189" y="59"/>
                </a:lnTo>
                <a:lnTo>
                  <a:pt x="189" y="61"/>
                </a:lnTo>
                <a:lnTo>
                  <a:pt x="188" y="62"/>
                </a:lnTo>
                <a:lnTo>
                  <a:pt x="188" y="63"/>
                </a:lnTo>
                <a:lnTo>
                  <a:pt x="189" y="63"/>
                </a:lnTo>
                <a:lnTo>
                  <a:pt x="189" y="64"/>
                </a:lnTo>
                <a:lnTo>
                  <a:pt x="187" y="66"/>
                </a:lnTo>
                <a:lnTo>
                  <a:pt x="187" y="71"/>
                </a:lnTo>
                <a:lnTo>
                  <a:pt x="189" y="71"/>
                </a:lnTo>
                <a:lnTo>
                  <a:pt x="191" y="72"/>
                </a:lnTo>
                <a:lnTo>
                  <a:pt x="191" y="76"/>
                </a:lnTo>
                <a:lnTo>
                  <a:pt x="189" y="77"/>
                </a:lnTo>
                <a:lnTo>
                  <a:pt x="183" y="77"/>
                </a:lnTo>
                <a:lnTo>
                  <a:pt x="183" y="76"/>
                </a:lnTo>
                <a:lnTo>
                  <a:pt x="182" y="76"/>
                </a:lnTo>
                <a:lnTo>
                  <a:pt x="181" y="75"/>
                </a:lnTo>
                <a:lnTo>
                  <a:pt x="181" y="72"/>
                </a:lnTo>
                <a:lnTo>
                  <a:pt x="179" y="72"/>
                </a:lnTo>
                <a:lnTo>
                  <a:pt x="175" y="74"/>
                </a:lnTo>
                <a:lnTo>
                  <a:pt x="174" y="74"/>
                </a:lnTo>
                <a:lnTo>
                  <a:pt x="174" y="76"/>
                </a:lnTo>
                <a:lnTo>
                  <a:pt x="173" y="77"/>
                </a:lnTo>
                <a:lnTo>
                  <a:pt x="173" y="80"/>
                </a:lnTo>
                <a:lnTo>
                  <a:pt x="171" y="81"/>
                </a:lnTo>
                <a:lnTo>
                  <a:pt x="173" y="81"/>
                </a:lnTo>
                <a:lnTo>
                  <a:pt x="173" y="82"/>
                </a:lnTo>
                <a:lnTo>
                  <a:pt x="171" y="83"/>
                </a:lnTo>
                <a:lnTo>
                  <a:pt x="173" y="84"/>
                </a:lnTo>
                <a:lnTo>
                  <a:pt x="176" y="84"/>
                </a:lnTo>
                <a:lnTo>
                  <a:pt x="176" y="88"/>
                </a:lnTo>
                <a:lnTo>
                  <a:pt x="175" y="88"/>
                </a:lnTo>
                <a:lnTo>
                  <a:pt x="175" y="92"/>
                </a:lnTo>
                <a:lnTo>
                  <a:pt x="177" y="93"/>
                </a:lnTo>
                <a:lnTo>
                  <a:pt x="177" y="95"/>
                </a:lnTo>
                <a:lnTo>
                  <a:pt x="176" y="96"/>
                </a:lnTo>
                <a:lnTo>
                  <a:pt x="173" y="96"/>
                </a:lnTo>
                <a:lnTo>
                  <a:pt x="173" y="94"/>
                </a:lnTo>
                <a:lnTo>
                  <a:pt x="170" y="93"/>
                </a:lnTo>
                <a:lnTo>
                  <a:pt x="169" y="90"/>
                </a:lnTo>
                <a:lnTo>
                  <a:pt x="169" y="89"/>
                </a:lnTo>
                <a:lnTo>
                  <a:pt x="168" y="88"/>
                </a:lnTo>
                <a:lnTo>
                  <a:pt x="164" y="88"/>
                </a:lnTo>
                <a:lnTo>
                  <a:pt x="162" y="89"/>
                </a:lnTo>
                <a:lnTo>
                  <a:pt x="158" y="89"/>
                </a:lnTo>
                <a:lnTo>
                  <a:pt x="158" y="93"/>
                </a:lnTo>
                <a:lnTo>
                  <a:pt x="152" y="93"/>
                </a:lnTo>
                <a:lnTo>
                  <a:pt x="151" y="92"/>
                </a:lnTo>
                <a:lnTo>
                  <a:pt x="150" y="92"/>
                </a:lnTo>
                <a:lnTo>
                  <a:pt x="150" y="90"/>
                </a:lnTo>
                <a:lnTo>
                  <a:pt x="149" y="89"/>
                </a:lnTo>
                <a:lnTo>
                  <a:pt x="149" y="88"/>
                </a:lnTo>
                <a:lnTo>
                  <a:pt x="148" y="88"/>
                </a:lnTo>
                <a:lnTo>
                  <a:pt x="148" y="81"/>
                </a:lnTo>
                <a:lnTo>
                  <a:pt x="146" y="80"/>
                </a:lnTo>
                <a:lnTo>
                  <a:pt x="146" y="81"/>
                </a:lnTo>
                <a:lnTo>
                  <a:pt x="145" y="81"/>
                </a:lnTo>
                <a:lnTo>
                  <a:pt x="145" y="82"/>
                </a:lnTo>
                <a:lnTo>
                  <a:pt x="144" y="82"/>
                </a:lnTo>
                <a:lnTo>
                  <a:pt x="143" y="81"/>
                </a:lnTo>
                <a:lnTo>
                  <a:pt x="143" y="80"/>
                </a:lnTo>
                <a:lnTo>
                  <a:pt x="141" y="80"/>
                </a:lnTo>
                <a:lnTo>
                  <a:pt x="139" y="81"/>
                </a:lnTo>
                <a:lnTo>
                  <a:pt x="139" y="82"/>
                </a:lnTo>
                <a:lnTo>
                  <a:pt x="138" y="83"/>
                </a:lnTo>
                <a:lnTo>
                  <a:pt x="139" y="84"/>
                </a:lnTo>
                <a:lnTo>
                  <a:pt x="139" y="87"/>
                </a:lnTo>
                <a:lnTo>
                  <a:pt x="141" y="89"/>
                </a:lnTo>
                <a:lnTo>
                  <a:pt x="141" y="92"/>
                </a:lnTo>
                <a:lnTo>
                  <a:pt x="138" y="96"/>
                </a:lnTo>
                <a:lnTo>
                  <a:pt x="137" y="98"/>
                </a:lnTo>
                <a:lnTo>
                  <a:pt x="136" y="98"/>
                </a:lnTo>
                <a:lnTo>
                  <a:pt x="136" y="100"/>
                </a:lnTo>
                <a:lnTo>
                  <a:pt x="132" y="102"/>
                </a:lnTo>
                <a:lnTo>
                  <a:pt x="132" y="104"/>
                </a:lnTo>
                <a:lnTo>
                  <a:pt x="131" y="104"/>
                </a:lnTo>
                <a:lnTo>
                  <a:pt x="132" y="105"/>
                </a:lnTo>
                <a:lnTo>
                  <a:pt x="131" y="106"/>
                </a:lnTo>
                <a:lnTo>
                  <a:pt x="131" y="107"/>
                </a:lnTo>
                <a:lnTo>
                  <a:pt x="130" y="107"/>
                </a:lnTo>
                <a:lnTo>
                  <a:pt x="129" y="108"/>
                </a:lnTo>
                <a:lnTo>
                  <a:pt x="130" y="111"/>
                </a:lnTo>
                <a:lnTo>
                  <a:pt x="127" y="112"/>
                </a:lnTo>
                <a:lnTo>
                  <a:pt x="127" y="113"/>
                </a:lnTo>
                <a:lnTo>
                  <a:pt x="129" y="113"/>
                </a:lnTo>
                <a:lnTo>
                  <a:pt x="129" y="114"/>
                </a:lnTo>
                <a:lnTo>
                  <a:pt x="130" y="115"/>
                </a:lnTo>
                <a:lnTo>
                  <a:pt x="131" y="115"/>
                </a:lnTo>
                <a:lnTo>
                  <a:pt x="131" y="118"/>
                </a:lnTo>
                <a:lnTo>
                  <a:pt x="130" y="119"/>
                </a:lnTo>
                <a:lnTo>
                  <a:pt x="129" y="121"/>
                </a:lnTo>
                <a:lnTo>
                  <a:pt x="127" y="121"/>
                </a:lnTo>
                <a:lnTo>
                  <a:pt x="126" y="120"/>
                </a:lnTo>
                <a:lnTo>
                  <a:pt x="125" y="120"/>
                </a:lnTo>
                <a:lnTo>
                  <a:pt x="125" y="117"/>
                </a:lnTo>
                <a:lnTo>
                  <a:pt x="124" y="115"/>
                </a:lnTo>
                <a:lnTo>
                  <a:pt x="124" y="114"/>
                </a:lnTo>
                <a:lnTo>
                  <a:pt x="123" y="113"/>
                </a:lnTo>
                <a:lnTo>
                  <a:pt x="120" y="112"/>
                </a:lnTo>
                <a:lnTo>
                  <a:pt x="119" y="112"/>
                </a:lnTo>
                <a:lnTo>
                  <a:pt x="119" y="111"/>
                </a:lnTo>
                <a:lnTo>
                  <a:pt x="121" y="108"/>
                </a:lnTo>
                <a:lnTo>
                  <a:pt x="121" y="106"/>
                </a:lnTo>
                <a:lnTo>
                  <a:pt x="120" y="105"/>
                </a:lnTo>
                <a:lnTo>
                  <a:pt x="118" y="105"/>
                </a:lnTo>
                <a:lnTo>
                  <a:pt x="118" y="104"/>
                </a:lnTo>
                <a:lnTo>
                  <a:pt x="117" y="104"/>
                </a:lnTo>
                <a:lnTo>
                  <a:pt x="117" y="105"/>
                </a:lnTo>
                <a:lnTo>
                  <a:pt x="115" y="105"/>
                </a:lnTo>
                <a:lnTo>
                  <a:pt x="113" y="104"/>
                </a:lnTo>
                <a:lnTo>
                  <a:pt x="112" y="104"/>
                </a:lnTo>
                <a:lnTo>
                  <a:pt x="112" y="102"/>
                </a:lnTo>
                <a:lnTo>
                  <a:pt x="110" y="99"/>
                </a:lnTo>
                <a:lnTo>
                  <a:pt x="108" y="98"/>
                </a:lnTo>
                <a:lnTo>
                  <a:pt x="107" y="98"/>
                </a:lnTo>
                <a:lnTo>
                  <a:pt x="106" y="96"/>
                </a:lnTo>
                <a:lnTo>
                  <a:pt x="105" y="96"/>
                </a:lnTo>
                <a:lnTo>
                  <a:pt x="105" y="83"/>
                </a:lnTo>
                <a:lnTo>
                  <a:pt x="101" y="83"/>
                </a:lnTo>
                <a:lnTo>
                  <a:pt x="100" y="84"/>
                </a:lnTo>
                <a:lnTo>
                  <a:pt x="99" y="84"/>
                </a:lnTo>
                <a:lnTo>
                  <a:pt x="99" y="88"/>
                </a:lnTo>
                <a:lnTo>
                  <a:pt x="98" y="88"/>
                </a:lnTo>
                <a:lnTo>
                  <a:pt x="94" y="92"/>
                </a:lnTo>
                <a:lnTo>
                  <a:pt x="92" y="93"/>
                </a:lnTo>
                <a:lnTo>
                  <a:pt x="90" y="93"/>
                </a:lnTo>
                <a:lnTo>
                  <a:pt x="90" y="94"/>
                </a:lnTo>
                <a:lnTo>
                  <a:pt x="89" y="94"/>
                </a:lnTo>
                <a:lnTo>
                  <a:pt x="89" y="95"/>
                </a:lnTo>
                <a:lnTo>
                  <a:pt x="90" y="96"/>
                </a:lnTo>
                <a:lnTo>
                  <a:pt x="92" y="99"/>
                </a:lnTo>
                <a:lnTo>
                  <a:pt x="92" y="102"/>
                </a:lnTo>
                <a:lnTo>
                  <a:pt x="89" y="105"/>
                </a:lnTo>
                <a:lnTo>
                  <a:pt x="88" y="105"/>
                </a:lnTo>
                <a:lnTo>
                  <a:pt x="87" y="106"/>
                </a:lnTo>
                <a:lnTo>
                  <a:pt x="87" y="109"/>
                </a:lnTo>
                <a:lnTo>
                  <a:pt x="86" y="111"/>
                </a:lnTo>
                <a:lnTo>
                  <a:pt x="82" y="112"/>
                </a:lnTo>
                <a:lnTo>
                  <a:pt x="81" y="112"/>
                </a:lnTo>
                <a:lnTo>
                  <a:pt x="80" y="114"/>
                </a:lnTo>
                <a:lnTo>
                  <a:pt x="80" y="115"/>
                </a:lnTo>
                <a:lnTo>
                  <a:pt x="77" y="115"/>
                </a:lnTo>
                <a:lnTo>
                  <a:pt x="75" y="114"/>
                </a:lnTo>
                <a:lnTo>
                  <a:pt x="74" y="114"/>
                </a:lnTo>
                <a:lnTo>
                  <a:pt x="71" y="112"/>
                </a:lnTo>
                <a:lnTo>
                  <a:pt x="67" y="111"/>
                </a:lnTo>
                <a:lnTo>
                  <a:pt x="67" y="112"/>
                </a:lnTo>
                <a:lnTo>
                  <a:pt x="65" y="112"/>
                </a:lnTo>
                <a:lnTo>
                  <a:pt x="65" y="113"/>
                </a:lnTo>
                <a:lnTo>
                  <a:pt x="63" y="113"/>
                </a:lnTo>
                <a:lnTo>
                  <a:pt x="61" y="115"/>
                </a:lnTo>
                <a:lnTo>
                  <a:pt x="56" y="115"/>
                </a:lnTo>
                <a:lnTo>
                  <a:pt x="55" y="117"/>
                </a:lnTo>
                <a:lnTo>
                  <a:pt x="52" y="118"/>
                </a:lnTo>
                <a:lnTo>
                  <a:pt x="48" y="118"/>
                </a:lnTo>
                <a:lnTo>
                  <a:pt x="48" y="117"/>
                </a:lnTo>
                <a:lnTo>
                  <a:pt x="44" y="113"/>
                </a:lnTo>
                <a:lnTo>
                  <a:pt x="44" y="111"/>
                </a:lnTo>
                <a:lnTo>
                  <a:pt x="40" y="107"/>
                </a:lnTo>
                <a:lnTo>
                  <a:pt x="38" y="107"/>
                </a:lnTo>
                <a:lnTo>
                  <a:pt x="38" y="105"/>
                </a:lnTo>
                <a:lnTo>
                  <a:pt x="39" y="104"/>
                </a:lnTo>
                <a:lnTo>
                  <a:pt x="38" y="102"/>
                </a:lnTo>
                <a:lnTo>
                  <a:pt x="34" y="102"/>
                </a:lnTo>
                <a:lnTo>
                  <a:pt x="34" y="99"/>
                </a:lnTo>
                <a:lnTo>
                  <a:pt x="37" y="94"/>
                </a:lnTo>
                <a:lnTo>
                  <a:pt x="36" y="93"/>
                </a:lnTo>
                <a:lnTo>
                  <a:pt x="34" y="90"/>
                </a:lnTo>
                <a:lnTo>
                  <a:pt x="33" y="89"/>
                </a:lnTo>
                <a:lnTo>
                  <a:pt x="36" y="87"/>
                </a:lnTo>
                <a:lnTo>
                  <a:pt x="36" y="86"/>
                </a:lnTo>
                <a:lnTo>
                  <a:pt x="34" y="84"/>
                </a:lnTo>
                <a:lnTo>
                  <a:pt x="28" y="82"/>
                </a:lnTo>
                <a:lnTo>
                  <a:pt x="25" y="82"/>
                </a:lnTo>
                <a:lnTo>
                  <a:pt x="23" y="83"/>
                </a:lnTo>
                <a:lnTo>
                  <a:pt x="19" y="86"/>
                </a:lnTo>
                <a:lnTo>
                  <a:pt x="17" y="86"/>
                </a:lnTo>
                <a:lnTo>
                  <a:pt x="15" y="87"/>
                </a:lnTo>
                <a:lnTo>
                  <a:pt x="13" y="88"/>
                </a:lnTo>
                <a:lnTo>
                  <a:pt x="12" y="89"/>
                </a:lnTo>
                <a:lnTo>
                  <a:pt x="12" y="90"/>
                </a:lnTo>
                <a:lnTo>
                  <a:pt x="11" y="92"/>
                </a:lnTo>
                <a:lnTo>
                  <a:pt x="12" y="92"/>
                </a:lnTo>
                <a:lnTo>
                  <a:pt x="12" y="94"/>
                </a:lnTo>
                <a:lnTo>
                  <a:pt x="14" y="94"/>
                </a:lnTo>
                <a:lnTo>
                  <a:pt x="14" y="95"/>
                </a:lnTo>
                <a:lnTo>
                  <a:pt x="7" y="102"/>
                </a:lnTo>
                <a:lnTo>
                  <a:pt x="5" y="101"/>
                </a:lnTo>
                <a:lnTo>
                  <a:pt x="3" y="101"/>
                </a:lnTo>
                <a:lnTo>
                  <a:pt x="1" y="102"/>
                </a:lnTo>
                <a:lnTo>
                  <a:pt x="0" y="102"/>
                </a:lnTo>
                <a:lnTo>
                  <a:pt x="1" y="101"/>
                </a:lnTo>
                <a:lnTo>
                  <a:pt x="1" y="99"/>
                </a:lnTo>
                <a:lnTo>
                  <a:pt x="0" y="99"/>
                </a:lnTo>
                <a:lnTo>
                  <a:pt x="0" y="98"/>
                </a:lnTo>
                <a:lnTo>
                  <a:pt x="1" y="96"/>
                </a:lnTo>
                <a:lnTo>
                  <a:pt x="3" y="95"/>
                </a:lnTo>
                <a:lnTo>
                  <a:pt x="6" y="95"/>
                </a:lnTo>
                <a:lnTo>
                  <a:pt x="6" y="92"/>
                </a:lnTo>
                <a:lnTo>
                  <a:pt x="7" y="92"/>
                </a:lnTo>
                <a:lnTo>
                  <a:pt x="7" y="90"/>
                </a:lnTo>
                <a:lnTo>
                  <a:pt x="8" y="88"/>
                </a:lnTo>
                <a:lnTo>
                  <a:pt x="7" y="87"/>
                </a:lnTo>
                <a:lnTo>
                  <a:pt x="7" y="86"/>
                </a:lnTo>
                <a:lnTo>
                  <a:pt x="5" y="84"/>
                </a:lnTo>
                <a:lnTo>
                  <a:pt x="5" y="82"/>
                </a:lnTo>
                <a:lnTo>
                  <a:pt x="6" y="81"/>
                </a:lnTo>
                <a:lnTo>
                  <a:pt x="7" y="78"/>
                </a:lnTo>
                <a:lnTo>
                  <a:pt x="8" y="77"/>
                </a:lnTo>
                <a:lnTo>
                  <a:pt x="7" y="76"/>
                </a:lnTo>
                <a:lnTo>
                  <a:pt x="7" y="75"/>
                </a:lnTo>
                <a:lnTo>
                  <a:pt x="13" y="69"/>
                </a:lnTo>
                <a:lnTo>
                  <a:pt x="17" y="68"/>
                </a:lnTo>
                <a:lnTo>
                  <a:pt x="17" y="66"/>
                </a:lnTo>
                <a:lnTo>
                  <a:pt x="18" y="65"/>
                </a:lnTo>
                <a:lnTo>
                  <a:pt x="19" y="65"/>
                </a:lnTo>
                <a:lnTo>
                  <a:pt x="20" y="64"/>
                </a:lnTo>
                <a:lnTo>
                  <a:pt x="20" y="58"/>
                </a:lnTo>
                <a:lnTo>
                  <a:pt x="21" y="58"/>
                </a:lnTo>
                <a:lnTo>
                  <a:pt x="21" y="56"/>
                </a:lnTo>
                <a:lnTo>
                  <a:pt x="20" y="56"/>
                </a:lnTo>
                <a:lnTo>
                  <a:pt x="20" y="55"/>
                </a:lnTo>
                <a:lnTo>
                  <a:pt x="21" y="52"/>
                </a:lnTo>
                <a:lnTo>
                  <a:pt x="23" y="51"/>
                </a:lnTo>
                <a:lnTo>
                  <a:pt x="27" y="50"/>
                </a:lnTo>
                <a:lnTo>
                  <a:pt x="31" y="46"/>
                </a:lnTo>
                <a:lnTo>
                  <a:pt x="31" y="44"/>
                </a:lnTo>
                <a:lnTo>
                  <a:pt x="32" y="44"/>
                </a:lnTo>
                <a:lnTo>
                  <a:pt x="33" y="43"/>
                </a:lnTo>
                <a:lnTo>
                  <a:pt x="33" y="41"/>
                </a:lnTo>
                <a:lnTo>
                  <a:pt x="34" y="41"/>
                </a:lnTo>
                <a:lnTo>
                  <a:pt x="38" y="39"/>
                </a:lnTo>
                <a:lnTo>
                  <a:pt x="38" y="38"/>
                </a:lnTo>
                <a:lnTo>
                  <a:pt x="39" y="35"/>
                </a:lnTo>
                <a:lnTo>
                  <a:pt x="43" y="34"/>
                </a:lnTo>
                <a:lnTo>
                  <a:pt x="43" y="31"/>
                </a:lnTo>
                <a:lnTo>
                  <a:pt x="44" y="31"/>
                </a:lnTo>
                <a:lnTo>
                  <a:pt x="44" y="29"/>
                </a:lnTo>
                <a:lnTo>
                  <a:pt x="45" y="29"/>
                </a:lnTo>
                <a:lnTo>
                  <a:pt x="46" y="28"/>
                </a:lnTo>
                <a:lnTo>
                  <a:pt x="44" y="26"/>
                </a:lnTo>
                <a:lnTo>
                  <a:pt x="44" y="27"/>
                </a:lnTo>
                <a:lnTo>
                  <a:pt x="39" y="27"/>
                </a:lnTo>
                <a:lnTo>
                  <a:pt x="39" y="26"/>
                </a:lnTo>
                <a:lnTo>
                  <a:pt x="42" y="24"/>
                </a:lnTo>
                <a:lnTo>
                  <a:pt x="42" y="22"/>
                </a:lnTo>
                <a:lnTo>
                  <a:pt x="43" y="22"/>
                </a:lnTo>
                <a:lnTo>
                  <a:pt x="44" y="21"/>
                </a:lnTo>
                <a:lnTo>
                  <a:pt x="44" y="20"/>
                </a:lnTo>
                <a:lnTo>
                  <a:pt x="43" y="20"/>
                </a:lnTo>
                <a:lnTo>
                  <a:pt x="43" y="19"/>
                </a:lnTo>
                <a:lnTo>
                  <a:pt x="44" y="19"/>
                </a:lnTo>
                <a:lnTo>
                  <a:pt x="45" y="18"/>
                </a:lnTo>
                <a:lnTo>
                  <a:pt x="45" y="19"/>
                </a:lnTo>
                <a:lnTo>
                  <a:pt x="52" y="19"/>
                </a:lnTo>
                <a:lnTo>
                  <a:pt x="51" y="21"/>
                </a:lnTo>
                <a:lnTo>
                  <a:pt x="52" y="22"/>
                </a:lnTo>
                <a:lnTo>
                  <a:pt x="53" y="22"/>
                </a:lnTo>
                <a:lnTo>
                  <a:pt x="53" y="24"/>
                </a:lnTo>
                <a:lnTo>
                  <a:pt x="55" y="24"/>
                </a:lnTo>
                <a:lnTo>
                  <a:pt x="56" y="22"/>
                </a:lnTo>
                <a:lnTo>
                  <a:pt x="62" y="22"/>
                </a:lnTo>
                <a:lnTo>
                  <a:pt x="62" y="19"/>
                </a:lnTo>
                <a:lnTo>
                  <a:pt x="64" y="19"/>
                </a:lnTo>
                <a:lnTo>
                  <a:pt x="64" y="18"/>
                </a:lnTo>
                <a:lnTo>
                  <a:pt x="65" y="18"/>
                </a:lnTo>
                <a:lnTo>
                  <a:pt x="65" y="16"/>
                </a:lnTo>
                <a:lnTo>
                  <a:pt x="64" y="15"/>
                </a:lnTo>
                <a:lnTo>
                  <a:pt x="67" y="14"/>
                </a:lnTo>
                <a:lnTo>
                  <a:pt x="68" y="13"/>
                </a:lnTo>
                <a:lnTo>
                  <a:pt x="69" y="13"/>
                </a:lnTo>
                <a:lnTo>
                  <a:pt x="71" y="12"/>
                </a:lnTo>
                <a:lnTo>
                  <a:pt x="73" y="12"/>
                </a:lnTo>
                <a:lnTo>
                  <a:pt x="71" y="14"/>
                </a:lnTo>
                <a:lnTo>
                  <a:pt x="70" y="14"/>
                </a:lnTo>
                <a:lnTo>
                  <a:pt x="71" y="15"/>
                </a:lnTo>
                <a:lnTo>
                  <a:pt x="76" y="15"/>
                </a:lnTo>
                <a:lnTo>
                  <a:pt x="79" y="13"/>
                </a:lnTo>
                <a:lnTo>
                  <a:pt x="79" y="12"/>
                </a:lnTo>
                <a:lnTo>
                  <a:pt x="80" y="13"/>
                </a:lnTo>
                <a:lnTo>
                  <a:pt x="82" y="13"/>
                </a:lnTo>
                <a:lnTo>
                  <a:pt x="82" y="14"/>
                </a:lnTo>
                <a:lnTo>
                  <a:pt x="90" y="14"/>
                </a:lnTo>
                <a:lnTo>
                  <a:pt x="90" y="13"/>
                </a:lnTo>
                <a:lnTo>
                  <a:pt x="92" y="13"/>
                </a:lnTo>
                <a:lnTo>
                  <a:pt x="93" y="12"/>
                </a:lnTo>
                <a:lnTo>
                  <a:pt x="94" y="12"/>
                </a:lnTo>
                <a:lnTo>
                  <a:pt x="94" y="10"/>
                </a:lnTo>
                <a:lnTo>
                  <a:pt x="99" y="10"/>
                </a:lnTo>
                <a:lnTo>
                  <a:pt x="99" y="13"/>
                </a:lnTo>
                <a:lnTo>
                  <a:pt x="106" y="13"/>
                </a:lnTo>
                <a:lnTo>
                  <a:pt x="106" y="12"/>
                </a:lnTo>
                <a:lnTo>
                  <a:pt x="107" y="10"/>
                </a:lnTo>
                <a:lnTo>
                  <a:pt x="108" y="10"/>
                </a:lnTo>
                <a:lnTo>
                  <a:pt x="111" y="13"/>
                </a:lnTo>
                <a:lnTo>
                  <a:pt x="111" y="9"/>
                </a:lnTo>
                <a:lnTo>
                  <a:pt x="112" y="9"/>
                </a:lnTo>
                <a:lnTo>
                  <a:pt x="112" y="8"/>
                </a:lnTo>
                <a:lnTo>
                  <a:pt x="108" y="8"/>
                </a:lnTo>
                <a:lnTo>
                  <a:pt x="107" y="9"/>
                </a:lnTo>
                <a:lnTo>
                  <a:pt x="105" y="9"/>
                </a:lnTo>
                <a:lnTo>
                  <a:pt x="104" y="8"/>
                </a:lnTo>
                <a:lnTo>
                  <a:pt x="104" y="7"/>
                </a:lnTo>
                <a:lnTo>
                  <a:pt x="102" y="6"/>
                </a:lnTo>
                <a:lnTo>
                  <a:pt x="104" y="6"/>
                </a:lnTo>
                <a:lnTo>
                  <a:pt x="105" y="4"/>
                </a:lnTo>
                <a:lnTo>
                  <a:pt x="105" y="3"/>
                </a:lnTo>
                <a:lnTo>
                  <a:pt x="106" y="2"/>
                </a:lnTo>
                <a:lnTo>
                  <a:pt x="106" y="1"/>
                </a:lnTo>
                <a:lnTo>
                  <a:pt x="110" y="1"/>
                </a:lnTo>
                <a:lnTo>
                  <a:pt x="11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" name="Freeform 12">
            <a:extLst>
              <a:ext uri="{FF2B5EF4-FFF2-40B4-BE49-F238E27FC236}">
                <a16:creationId xmlns:a16="http://schemas.microsoft.com/office/drawing/2014/main" id="{28E2B1C0-350F-4F85-86DD-E74643DA66F3}"/>
              </a:ext>
            </a:extLst>
          </p:cNvPr>
          <p:cNvSpPr>
            <a:spLocks noEditPoints="1"/>
          </p:cNvSpPr>
          <p:nvPr/>
        </p:nvSpPr>
        <p:spPr bwMode="auto">
          <a:xfrm>
            <a:off x="1911249" y="2344238"/>
            <a:ext cx="798366" cy="1832910"/>
          </a:xfrm>
          <a:custGeom>
            <a:avLst/>
            <a:gdLst/>
            <a:ahLst/>
            <a:cxnLst>
              <a:cxn ang="0">
                <a:pos x="240" y="1154"/>
              </a:cxn>
              <a:cxn ang="0">
                <a:pos x="319" y="1067"/>
              </a:cxn>
              <a:cxn ang="0">
                <a:pos x="329" y="1106"/>
              </a:cxn>
              <a:cxn ang="0">
                <a:pos x="298" y="1128"/>
              </a:cxn>
              <a:cxn ang="0">
                <a:pos x="336" y="1063"/>
              </a:cxn>
              <a:cxn ang="0">
                <a:pos x="346" y="1031"/>
              </a:cxn>
              <a:cxn ang="0">
                <a:pos x="299" y="980"/>
              </a:cxn>
              <a:cxn ang="0">
                <a:pos x="323" y="958"/>
              </a:cxn>
              <a:cxn ang="0">
                <a:pos x="330" y="947"/>
              </a:cxn>
              <a:cxn ang="0">
                <a:pos x="329" y="932"/>
              </a:cxn>
              <a:cxn ang="0">
                <a:pos x="256" y="772"/>
              </a:cxn>
              <a:cxn ang="0">
                <a:pos x="412" y="559"/>
              </a:cxn>
              <a:cxn ang="0">
                <a:pos x="474" y="387"/>
              </a:cxn>
              <a:cxn ang="0">
                <a:pos x="534" y="367"/>
              </a:cxn>
              <a:cxn ang="0">
                <a:pos x="458" y="59"/>
              </a:cxn>
              <a:cxn ang="0">
                <a:pos x="523" y="133"/>
              </a:cxn>
              <a:cxn ang="0">
                <a:pos x="541" y="253"/>
              </a:cxn>
              <a:cxn ang="0">
                <a:pos x="546" y="357"/>
              </a:cxn>
              <a:cxn ang="0">
                <a:pos x="503" y="361"/>
              </a:cxn>
              <a:cxn ang="0">
                <a:pos x="468" y="363"/>
              </a:cxn>
              <a:cxn ang="0">
                <a:pos x="456" y="372"/>
              </a:cxn>
              <a:cxn ang="0">
                <a:pos x="437" y="400"/>
              </a:cxn>
              <a:cxn ang="0">
                <a:pos x="439" y="436"/>
              </a:cxn>
              <a:cxn ang="0">
                <a:pos x="424" y="467"/>
              </a:cxn>
              <a:cxn ang="0">
                <a:pos x="442" y="490"/>
              </a:cxn>
              <a:cxn ang="0">
                <a:pos x="402" y="554"/>
              </a:cxn>
              <a:cxn ang="0">
                <a:pos x="358" y="584"/>
              </a:cxn>
              <a:cxn ang="0">
                <a:pos x="337" y="611"/>
              </a:cxn>
              <a:cxn ang="0">
                <a:pos x="317" y="620"/>
              </a:cxn>
              <a:cxn ang="0">
                <a:pos x="299" y="643"/>
              </a:cxn>
              <a:cxn ang="0">
                <a:pos x="288" y="650"/>
              </a:cxn>
              <a:cxn ang="0">
                <a:pos x="262" y="680"/>
              </a:cxn>
              <a:cxn ang="0">
                <a:pos x="262" y="736"/>
              </a:cxn>
              <a:cxn ang="0">
                <a:pos x="257" y="757"/>
              </a:cxn>
              <a:cxn ang="0">
                <a:pos x="256" y="791"/>
              </a:cxn>
              <a:cxn ang="0">
                <a:pos x="263" y="841"/>
              </a:cxn>
              <a:cxn ang="0">
                <a:pos x="307" y="874"/>
              </a:cxn>
              <a:cxn ang="0">
                <a:pos x="329" y="903"/>
              </a:cxn>
              <a:cxn ang="0">
                <a:pos x="302" y="941"/>
              </a:cxn>
              <a:cxn ang="0">
                <a:pos x="316" y="950"/>
              </a:cxn>
              <a:cxn ang="0">
                <a:pos x="302" y="970"/>
              </a:cxn>
              <a:cxn ang="0">
                <a:pos x="274" y="977"/>
              </a:cxn>
              <a:cxn ang="0">
                <a:pos x="251" y="1001"/>
              </a:cxn>
              <a:cxn ang="0">
                <a:pos x="241" y="1017"/>
              </a:cxn>
              <a:cxn ang="0">
                <a:pos x="241" y="1043"/>
              </a:cxn>
              <a:cxn ang="0">
                <a:pos x="236" y="1069"/>
              </a:cxn>
              <a:cxn ang="0">
                <a:pos x="230" y="1093"/>
              </a:cxn>
              <a:cxn ang="0">
                <a:pos x="226" y="1136"/>
              </a:cxn>
              <a:cxn ang="0">
                <a:pos x="198" y="1203"/>
              </a:cxn>
              <a:cxn ang="0">
                <a:pos x="154" y="1203"/>
              </a:cxn>
              <a:cxn ang="0">
                <a:pos x="123" y="1261"/>
              </a:cxn>
              <a:cxn ang="0">
                <a:pos x="75" y="1227"/>
              </a:cxn>
              <a:cxn ang="0">
                <a:pos x="66" y="1164"/>
              </a:cxn>
              <a:cxn ang="0">
                <a:pos x="40" y="1113"/>
              </a:cxn>
              <a:cxn ang="0">
                <a:pos x="24" y="1073"/>
              </a:cxn>
              <a:cxn ang="0">
                <a:pos x="29" y="1037"/>
              </a:cxn>
              <a:cxn ang="0">
                <a:pos x="12" y="1030"/>
              </a:cxn>
              <a:cxn ang="0">
                <a:pos x="0" y="984"/>
              </a:cxn>
              <a:cxn ang="0">
                <a:pos x="43" y="906"/>
              </a:cxn>
              <a:cxn ang="0">
                <a:pos x="50" y="697"/>
              </a:cxn>
              <a:cxn ang="0">
                <a:pos x="143" y="406"/>
              </a:cxn>
              <a:cxn ang="0">
                <a:pos x="296" y="72"/>
              </a:cxn>
            </a:cxnLst>
            <a:rect l="0" t="0" r="r" b="b"/>
            <a:pathLst>
              <a:path w="551" h="1265">
                <a:moveTo>
                  <a:pt x="192" y="1207"/>
                </a:moveTo>
                <a:lnTo>
                  <a:pt x="194" y="1207"/>
                </a:lnTo>
                <a:lnTo>
                  <a:pt x="194" y="1208"/>
                </a:lnTo>
                <a:lnTo>
                  <a:pt x="193" y="1208"/>
                </a:lnTo>
                <a:lnTo>
                  <a:pt x="193" y="1210"/>
                </a:lnTo>
                <a:lnTo>
                  <a:pt x="191" y="1209"/>
                </a:lnTo>
                <a:lnTo>
                  <a:pt x="191" y="1208"/>
                </a:lnTo>
                <a:lnTo>
                  <a:pt x="192" y="1207"/>
                </a:lnTo>
                <a:close/>
                <a:moveTo>
                  <a:pt x="225" y="1155"/>
                </a:moveTo>
                <a:lnTo>
                  <a:pt x="226" y="1155"/>
                </a:lnTo>
                <a:lnTo>
                  <a:pt x="226" y="1156"/>
                </a:lnTo>
                <a:lnTo>
                  <a:pt x="225" y="1158"/>
                </a:lnTo>
                <a:lnTo>
                  <a:pt x="224" y="1156"/>
                </a:lnTo>
                <a:lnTo>
                  <a:pt x="225" y="1155"/>
                </a:lnTo>
                <a:close/>
                <a:moveTo>
                  <a:pt x="250" y="1111"/>
                </a:moveTo>
                <a:lnTo>
                  <a:pt x="251" y="1111"/>
                </a:lnTo>
                <a:lnTo>
                  <a:pt x="251" y="1112"/>
                </a:lnTo>
                <a:lnTo>
                  <a:pt x="253" y="1112"/>
                </a:lnTo>
                <a:lnTo>
                  <a:pt x="253" y="1113"/>
                </a:lnTo>
                <a:lnTo>
                  <a:pt x="254" y="1115"/>
                </a:lnTo>
                <a:lnTo>
                  <a:pt x="253" y="1115"/>
                </a:lnTo>
                <a:lnTo>
                  <a:pt x="251" y="1116"/>
                </a:lnTo>
                <a:lnTo>
                  <a:pt x="250" y="1118"/>
                </a:lnTo>
                <a:lnTo>
                  <a:pt x="251" y="1121"/>
                </a:lnTo>
                <a:lnTo>
                  <a:pt x="251" y="1122"/>
                </a:lnTo>
                <a:lnTo>
                  <a:pt x="250" y="1124"/>
                </a:lnTo>
                <a:lnTo>
                  <a:pt x="250" y="1125"/>
                </a:lnTo>
                <a:lnTo>
                  <a:pt x="249" y="1125"/>
                </a:lnTo>
                <a:lnTo>
                  <a:pt x="249" y="1128"/>
                </a:lnTo>
                <a:lnTo>
                  <a:pt x="247" y="1131"/>
                </a:lnTo>
                <a:lnTo>
                  <a:pt x="247" y="1135"/>
                </a:lnTo>
                <a:lnTo>
                  <a:pt x="245" y="1135"/>
                </a:lnTo>
                <a:lnTo>
                  <a:pt x="244" y="1136"/>
                </a:lnTo>
                <a:lnTo>
                  <a:pt x="244" y="1137"/>
                </a:lnTo>
                <a:lnTo>
                  <a:pt x="245" y="1137"/>
                </a:lnTo>
                <a:lnTo>
                  <a:pt x="245" y="1138"/>
                </a:lnTo>
                <a:lnTo>
                  <a:pt x="244" y="1138"/>
                </a:lnTo>
                <a:lnTo>
                  <a:pt x="244" y="1140"/>
                </a:lnTo>
                <a:lnTo>
                  <a:pt x="243" y="1142"/>
                </a:lnTo>
                <a:lnTo>
                  <a:pt x="243" y="1147"/>
                </a:lnTo>
                <a:lnTo>
                  <a:pt x="242" y="1147"/>
                </a:lnTo>
                <a:lnTo>
                  <a:pt x="242" y="1152"/>
                </a:lnTo>
                <a:lnTo>
                  <a:pt x="240" y="1154"/>
                </a:lnTo>
                <a:lnTo>
                  <a:pt x="238" y="1154"/>
                </a:lnTo>
                <a:lnTo>
                  <a:pt x="238" y="1159"/>
                </a:lnTo>
                <a:lnTo>
                  <a:pt x="236" y="1167"/>
                </a:lnTo>
                <a:lnTo>
                  <a:pt x="235" y="1168"/>
                </a:lnTo>
                <a:lnTo>
                  <a:pt x="235" y="1172"/>
                </a:lnTo>
                <a:lnTo>
                  <a:pt x="234" y="1172"/>
                </a:lnTo>
                <a:lnTo>
                  <a:pt x="234" y="1173"/>
                </a:lnTo>
                <a:lnTo>
                  <a:pt x="232" y="1173"/>
                </a:lnTo>
                <a:lnTo>
                  <a:pt x="232" y="1180"/>
                </a:lnTo>
                <a:lnTo>
                  <a:pt x="231" y="1181"/>
                </a:lnTo>
                <a:lnTo>
                  <a:pt x="231" y="1184"/>
                </a:lnTo>
                <a:lnTo>
                  <a:pt x="230" y="1185"/>
                </a:lnTo>
                <a:lnTo>
                  <a:pt x="230" y="1190"/>
                </a:lnTo>
                <a:lnTo>
                  <a:pt x="229" y="1191"/>
                </a:lnTo>
                <a:lnTo>
                  <a:pt x="229" y="1192"/>
                </a:lnTo>
                <a:lnTo>
                  <a:pt x="226" y="1198"/>
                </a:lnTo>
                <a:lnTo>
                  <a:pt x="225" y="1199"/>
                </a:lnTo>
                <a:lnTo>
                  <a:pt x="224" y="1199"/>
                </a:lnTo>
                <a:lnTo>
                  <a:pt x="223" y="1198"/>
                </a:lnTo>
                <a:lnTo>
                  <a:pt x="223" y="1186"/>
                </a:lnTo>
                <a:lnTo>
                  <a:pt x="224" y="1185"/>
                </a:lnTo>
                <a:lnTo>
                  <a:pt x="223" y="1184"/>
                </a:lnTo>
                <a:lnTo>
                  <a:pt x="223" y="1173"/>
                </a:lnTo>
                <a:lnTo>
                  <a:pt x="224" y="1171"/>
                </a:lnTo>
                <a:lnTo>
                  <a:pt x="225" y="1169"/>
                </a:lnTo>
                <a:lnTo>
                  <a:pt x="225" y="1167"/>
                </a:lnTo>
                <a:lnTo>
                  <a:pt x="232" y="1149"/>
                </a:lnTo>
                <a:lnTo>
                  <a:pt x="232" y="1148"/>
                </a:lnTo>
                <a:lnTo>
                  <a:pt x="236" y="1148"/>
                </a:lnTo>
                <a:lnTo>
                  <a:pt x="237" y="1147"/>
                </a:lnTo>
                <a:lnTo>
                  <a:pt x="237" y="1144"/>
                </a:lnTo>
                <a:lnTo>
                  <a:pt x="242" y="1135"/>
                </a:lnTo>
                <a:lnTo>
                  <a:pt x="243" y="1130"/>
                </a:lnTo>
                <a:lnTo>
                  <a:pt x="244" y="1124"/>
                </a:lnTo>
                <a:lnTo>
                  <a:pt x="244" y="1123"/>
                </a:lnTo>
                <a:lnTo>
                  <a:pt x="245" y="1123"/>
                </a:lnTo>
                <a:lnTo>
                  <a:pt x="247" y="1122"/>
                </a:lnTo>
                <a:lnTo>
                  <a:pt x="247" y="1116"/>
                </a:lnTo>
                <a:lnTo>
                  <a:pt x="248" y="1115"/>
                </a:lnTo>
                <a:lnTo>
                  <a:pt x="249" y="1112"/>
                </a:lnTo>
                <a:lnTo>
                  <a:pt x="250" y="1112"/>
                </a:lnTo>
                <a:lnTo>
                  <a:pt x="250" y="1111"/>
                </a:lnTo>
                <a:close/>
                <a:moveTo>
                  <a:pt x="319" y="1067"/>
                </a:moveTo>
                <a:lnTo>
                  <a:pt x="322" y="1067"/>
                </a:lnTo>
                <a:lnTo>
                  <a:pt x="322" y="1068"/>
                </a:lnTo>
                <a:lnTo>
                  <a:pt x="323" y="1069"/>
                </a:lnTo>
                <a:lnTo>
                  <a:pt x="323" y="1074"/>
                </a:lnTo>
                <a:lnTo>
                  <a:pt x="324" y="1075"/>
                </a:lnTo>
                <a:lnTo>
                  <a:pt x="324" y="1073"/>
                </a:lnTo>
                <a:lnTo>
                  <a:pt x="327" y="1070"/>
                </a:lnTo>
                <a:lnTo>
                  <a:pt x="327" y="1069"/>
                </a:lnTo>
                <a:lnTo>
                  <a:pt x="325" y="1068"/>
                </a:lnTo>
                <a:lnTo>
                  <a:pt x="327" y="1068"/>
                </a:lnTo>
                <a:lnTo>
                  <a:pt x="329" y="1067"/>
                </a:lnTo>
                <a:lnTo>
                  <a:pt x="329" y="1068"/>
                </a:lnTo>
                <a:lnTo>
                  <a:pt x="328" y="1069"/>
                </a:lnTo>
                <a:lnTo>
                  <a:pt x="330" y="1069"/>
                </a:lnTo>
                <a:lnTo>
                  <a:pt x="331" y="1068"/>
                </a:lnTo>
                <a:lnTo>
                  <a:pt x="333" y="1068"/>
                </a:lnTo>
                <a:lnTo>
                  <a:pt x="333" y="1069"/>
                </a:lnTo>
                <a:lnTo>
                  <a:pt x="334" y="1070"/>
                </a:lnTo>
                <a:lnTo>
                  <a:pt x="334" y="1072"/>
                </a:lnTo>
                <a:lnTo>
                  <a:pt x="335" y="1072"/>
                </a:lnTo>
                <a:lnTo>
                  <a:pt x="336" y="1074"/>
                </a:lnTo>
                <a:lnTo>
                  <a:pt x="336" y="1075"/>
                </a:lnTo>
                <a:lnTo>
                  <a:pt x="334" y="1075"/>
                </a:lnTo>
                <a:lnTo>
                  <a:pt x="333" y="1076"/>
                </a:lnTo>
                <a:lnTo>
                  <a:pt x="331" y="1079"/>
                </a:lnTo>
                <a:lnTo>
                  <a:pt x="331" y="1078"/>
                </a:lnTo>
                <a:lnTo>
                  <a:pt x="330" y="1078"/>
                </a:lnTo>
                <a:lnTo>
                  <a:pt x="330" y="1082"/>
                </a:lnTo>
                <a:lnTo>
                  <a:pt x="325" y="1082"/>
                </a:lnTo>
                <a:lnTo>
                  <a:pt x="325" y="1081"/>
                </a:lnTo>
                <a:lnTo>
                  <a:pt x="324" y="1082"/>
                </a:lnTo>
                <a:lnTo>
                  <a:pt x="324" y="1087"/>
                </a:lnTo>
                <a:lnTo>
                  <a:pt x="323" y="1088"/>
                </a:lnTo>
                <a:lnTo>
                  <a:pt x="323" y="1092"/>
                </a:lnTo>
                <a:lnTo>
                  <a:pt x="324" y="1092"/>
                </a:lnTo>
                <a:lnTo>
                  <a:pt x="324" y="1097"/>
                </a:lnTo>
                <a:lnTo>
                  <a:pt x="323" y="1098"/>
                </a:lnTo>
                <a:lnTo>
                  <a:pt x="323" y="1103"/>
                </a:lnTo>
                <a:lnTo>
                  <a:pt x="324" y="1103"/>
                </a:lnTo>
                <a:lnTo>
                  <a:pt x="324" y="1104"/>
                </a:lnTo>
                <a:lnTo>
                  <a:pt x="325" y="1105"/>
                </a:lnTo>
                <a:lnTo>
                  <a:pt x="329" y="1105"/>
                </a:lnTo>
                <a:lnTo>
                  <a:pt x="329" y="1106"/>
                </a:lnTo>
                <a:lnTo>
                  <a:pt x="330" y="1107"/>
                </a:lnTo>
                <a:lnTo>
                  <a:pt x="329" y="1109"/>
                </a:lnTo>
                <a:lnTo>
                  <a:pt x="327" y="1109"/>
                </a:lnTo>
                <a:lnTo>
                  <a:pt x="325" y="1110"/>
                </a:lnTo>
                <a:lnTo>
                  <a:pt x="324" y="1110"/>
                </a:lnTo>
                <a:lnTo>
                  <a:pt x="321" y="1113"/>
                </a:lnTo>
                <a:lnTo>
                  <a:pt x="319" y="1116"/>
                </a:lnTo>
                <a:lnTo>
                  <a:pt x="318" y="1116"/>
                </a:lnTo>
                <a:lnTo>
                  <a:pt x="318" y="1118"/>
                </a:lnTo>
                <a:lnTo>
                  <a:pt x="321" y="1118"/>
                </a:lnTo>
                <a:lnTo>
                  <a:pt x="321" y="1121"/>
                </a:lnTo>
                <a:lnTo>
                  <a:pt x="319" y="1122"/>
                </a:lnTo>
                <a:lnTo>
                  <a:pt x="316" y="1123"/>
                </a:lnTo>
                <a:lnTo>
                  <a:pt x="315" y="1123"/>
                </a:lnTo>
                <a:lnTo>
                  <a:pt x="315" y="1124"/>
                </a:lnTo>
                <a:lnTo>
                  <a:pt x="313" y="1124"/>
                </a:lnTo>
                <a:lnTo>
                  <a:pt x="309" y="1128"/>
                </a:lnTo>
                <a:lnTo>
                  <a:pt x="307" y="1128"/>
                </a:lnTo>
                <a:lnTo>
                  <a:pt x="306" y="1129"/>
                </a:lnTo>
                <a:lnTo>
                  <a:pt x="310" y="1129"/>
                </a:lnTo>
                <a:lnTo>
                  <a:pt x="309" y="1130"/>
                </a:lnTo>
                <a:lnTo>
                  <a:pt x="305" y="1132"/>
                </a:lnTo>
                <a:lnTo>
                  <a:pt x="305" y="1140"/>
                </a:lnTo>
                <a:lnTo>
                  <a:pt x="304" y="1141"/>
                </a:lnTo>
                <a:lnTo>
                  <a:pt x="304" y="1143"/>
                </a:lnTo>
                <a:lnTo>
                  <a:pt x="303" y="1144"/>
                </a:lnTo>
                <a:lnTo>
                  <a:pt x="299" y="1146"/>
                </a:lnTo>
                <a:lnTo>
                  <a:pt x="297" y="1146"/>
                </a:lnTo>
                <a:lnTo>
                  <a:pt x="299" y="1141"/>
                </a:lnTo>
                <a:lnTo>
                  <a:pt x="299" y="1137"/>
                </a:lnTo>
                <a:lnTo>
                  <a:pt x="302" y="1137"/>
                </a:lnTo>
                <a:lnTo>
                  <a:pt x="302" y="1135"/>
                </a:lnTo>
                <a:lnTo>
                  <a:pt x="303" y="1132"/>
                </a:lnTo>
                <a:lnTo>
                  <a:pt x="302" y="1132"/>
                </a:lnTo>
                <a:lnTo>
                  <a:pt x="300" y="1134"/>
                </a:lnTo>
                <a:lnTo>
                  <a:pt x="300" y="1135"/>
                </a:lnTo>
                <a:lnTo>
                  <a:pt x="299" y="1135"/>
                </a:lnTo>
                <a:lnTo>
                  <a:pt x="299" y="1132"/>
                </a:lnTo>
                <a:lnTo>
                  <a:pt x="300" y="1132"/>
                </a:lnTo>
                <a:lnTo>
                  <a:pt x="300" y="1131"/>
                </a:lnTo>
                <a:lnTo>
                  <a:pt x="299" y="1130"/>
                </a:lnTo>
                <a:lnTo>
                  <a:pt x="300" y="1129"/>
                </a:lnTo>
                <a:lnTo>
                  <a:pt x="298" y="1128"/>
                </a:lnTo>
                <a:lnTo>
                  <a:pt x="297" y="1122"/>
                </a:lnTo>
                <a:lnTo>
                  <a:pt x="294" y="1119"/>
                </a:lnTo>
                <a:lnTo>
                  <a:pt x="294" y="1118"/>
                </a:lnTo>
                <a:lnTo>
                  <a:pt x="296" y="1116"/>
                </a:lnTo>
                <a:lnTo>
                  <a:pt x="298" y="1113"/>
                </a:lnTo>
                <a:lnTo>
                  <a:pt x="298" y="1109"/>
                </a:lnTo>
                <a:lnTo>
                  <a:pt x="297" y="1109"/>
                </a:lnTo>
                <a:lnTo>
                  <a:pt x="297" y="1106"/>
                </a:lnTo>
                <a:lnTo>
                  <a:pt x="296" y="1105"/>
                </a:lnTo>
                <a:lnTo>
                  <a:pt x="296" y="1097"/>
                </a:lnTo>
                <a:lnTo>
                  <a:pt x="297" y="1094"/>
                </a:lnTo>
                <a:lnTo>
                  <a:pt x="304" y="1087"/>
                </a:lnTo>
                <a:lnTo>
                  <a:pt x="310" y="1076"/>
                </a:lnTo>
                <a:lnTo>
                  <a:pt x="311" y="1075"/>
                </a:lnTo>
                <a:lnTo>
                  <a:pt x="313" y="1074"/>
                </a:lnTo>
                <a:lnTo>
                  <a:pt x="316" y="1074"/>
                </a:lnTo>
                <a:lnTo>
                  <a:pt x="316" y="1073"/>
                </a:lnTo>
                <a:lnTo>
                  <a:pt x="317" y="1072"/>
                </a:lnTo>
                <a:lnTo>
                  <a:pt x="317" y="1070"/>
                </a:lnTo>
                <a:lnTo>
                  <a:pt x="319" y="1068"/>
                </a:lnTo>
                <a:lnTo>
                  <a:pt x="319" y="1067"/>
                </a:lnTo>
                <a:close/>
                <a:moveTo>
                  <a:pt x="337" y="1062"/>
                </a:moveTo>
                <a:lnTo>
                  <a:pt x="342" y="1062"/>
                </a:lnTo>
                <a:lnTo>
                  <a:pt x="342" y="1063"/>
                </a:lnTo>
                <a:lnTo>
                  <a:pt x="347" y="1063"/>
                </a:lnTo>
                <a:lnTo>
                  <a:pt x="347" y="1064"/>
                </a:lnTo>
                <a:lnTo>
                  <a:pt x="346" y="1064"/>
                </a:lnTo>
                <a:lnTo>
                  <a:pt x="346" y="1066"/>
                </a:lnTo>
                <a:lnTo>
                  <a:pt x="343" y="1064"/>
                </a:lnTo>
                <a:lnTo>
                  <a:pt x="342" y="1066"/>
                </a:lnTo>
                <a:lnTo>
                  <a:pt x="341" y="1066"/>
                </a:lnTo>
                <a:lnTo>
                  <a:pt x="338" y="1068"/>
                </a:lnTo>
                <a:lnTo>
                  <a:pt x="338" y="1069"/>
                </a:lnTo>
                <a:lnTo>
                  <a:pt x="340" y="1069"/>
                </a:lnTo>
                <a:lnTo>
                  <a:pt x="340" y="1070"/>
                </a:lnTo>
                <a:lnTo>
                  <a:pt x="338" y="1073"/>
                </a:lnTo>
                <a:lnTo>
                  <a:pt x="337" y="1073"/>
                </a:lnTo>
                <a:lnTo>
                  <a:pt x="336" y="1072"/>
                </a:lnTo>
                <a:lnTo>
                  <a:pt x="334" y="1068"/>
                </a:lnTo>
                <a:lnTo>
                  <a:pt x="335" y="1067"/>
                </a:lnTo>
                <a:lnTo>
                  <a:pt x="335" y="1066"/>
                </a:lnTo>
                <a:lnTo>
                  <a:pt x="336" y="1064"/>
                </a:lnTo>
                <a:lnTo>
                  <a:pt x="336" y="1063"/>
                </a:lnTo>
                <a:lnTo>
                  <a:pt x="337" y="1063"/>
                </a:lnTo>
                <a:lnTo>
                  <a:pt x="337" y="1062"/>
                </a:lnTo>
                <a:close/>
                <a:moveTo>
                  <a:pt x="25" y="1056"/>
                </a:moveTo>
                <a:lnTo>
                  <a:pt x="26" y="1056"/>
                </a:lnTo>
                <a:lnTo>
                  <a:pt x="26" y="1061"/>
                </a:lnTo>
                <a:lnTo>
                  <a:pt x="25" y="1062"/>
                </a:lnTo>
                <a:lnTo>
                  <a:pt x="25" y="1060"/>
                </a:lnTo>
                <a:lnTo>
                  <a:pt x="24" y="1060"/>
                </a:lnTo>
                <a:lnTo>
                  <a:pt x="24" y="1061"/>
                </a:lnTo>
                <a:lnTo>
                  <a:pt x="23" y="1062"/>
                </a:lnTo>
                <a:lnTo>
                  <a:pt x="23" y="1064"/>
                </a:lnTo>
                <a:lnTo>
                  <a:pt x="20" y="1064"/>
                </a:lnTo>
                <a:lnTo>
                  <a:pt x="20" y="1066"/>
                </a:lnTo>
                <a:lnTo>
                  <a:pt x="19" y="1066"/>
                </a:lnTo>
                <a:lnTo>
                  <a:pt x="19" y="1064"/>
                </a:lnTo>
                <a:lnTo>
                  <a:pt x="18" y="1064"/>
                </a:lnTo>
                <a:lnTo>
                  <a:pt x="17" y="1063"/>
                </a:lnTo>
                <a:lnTo>
                  <a:pt x="17" y="1061"/>
                </a:lnTo>
                <a:lnTo>
                  <a:pt x="19" y="1061"/>
                </a:lnTo>
                <a:lnTo>
                  <a:pt x="18" y="1060"/>
                </a:lnTo>
                <a:lnTo>
                  <a:pt x="17" y="1060"/>
                </a:lnTo>
                <a:lnTo>
                  <a:pt x="15" y="1058"/>
                </a:lnTo>
                <a:lnTo>
                  <a:pt x="17" y="1057"/>
                </a:lnTo>
                <a:lnTo>
                  <a:pt x="24" y="1057"/>
                </a:lnTo>
                <a:lnTo>
                  <a:pt x="25" y="1056"/>
                </a:lnTo>
                <a:close/>
                <a:moveTo>
                  <a:pt x="12" y="1038"/>
                </a:moveTo>
                <a:lnTo>
                  <a:pt x="13" y="1038"/>
                </a:lnTo>
                <a:lnTo>
                  <a:pt x="12" y="1039"/>
                </a:lnTo>
                <a:lnTo>
                  <a:pt x="12" y="1038"/>
                </a:lnTo>
                <a:close/>
                <a:moveTo>
                  <a:pt x="13" y="1037"/>
                </a:moveTo>
                <a:lnTo>
                  <a:pt x="14" y="1037"/>
                </a:lnTo>
                <a:lnTo>
                  <a:pt x="13" y="1038"/>
                </a:lnTo>
                <a:lnTo>
                  <a:pt x="13" y="1037"/>
                </a:lnTo>
                <a:close/>
                <a:moveTo>
                  <a:pt x="242" y="1036"/>
                </a:moveTo>
                <a:lnTo>
                  <a:pt x="243" y="1037"/>
                </a:lnTo>
                <a:lnTo>
                  <a:pt x="243" y="1039"/>
                </a:lnTo>
                <a:lnTo>
                  <a:pt x="242" y="1039"/>
                </a:lnTo>
                <a:lnTo>
                  <a:pt x="241" y="1038"/>
                </a:lnTo>
                <a:lnTo>
                  <a:pt x="241" y="1037"/>
                </a:lnTo>
                <a:lnTo>
                  <a:pt x="242" y="1036"/>
                </a:lnTo>
                <a:close/>
                <a:moveTo>
                  <a:pt x="341" y="1030"/>
                </a:moveTo>
                <a:lnTo>
                  <a:pt x="343" y="1030"/>
                </a:lnTo>
                <a:lnTo>
                  <a:pt x="346" y="1031"/>
                </a:lnTo>
                <a:lnTo>
                  <a:pt x="347" y="1031"/>
                </a:lnTo>
                <a:lnTo>
                  <a:pt x="344" y="1033"/>
                </a:lnTo>
                <a:lnTo>
                  <a:pt x="343" y="1033"/>
                </a:lnTo>
                <a:lnTo>
                  <a:pt x="342" y="1032"/>
                </a:lnTo>
                <a:lnTo>
                  <a:pt x="341" y="1030"/>
                </a:lnTo>
                <a:close/>
                <a:moveTo>
                  <a:pt x="241" y="1029"/>
                </a:moveTo>
                <a:lnTo>
                  <a:pt x="242" y="1029"/>
                </a:lnTo>
                <a:lnTo>
                  <a:pt x="242" y="1030"/>
                </a:lnTo>
                <a:lnTo>
                  <a:pt x="241" y="1030"/>
                </a:lnTo>
                <a:lnTo>
                  <a:pt x="242" y="1031"/>
                </a:lnTo>
                <a:lnTo>
                  <a:pt x="241" y="1031"/>
                </a:lnTo>
                <a:lnTo>
                  <a:pt x="241" y="1032"/>
                </a:lnTo>
                <a:lnTo>
                  <a:pt x="243" y="1035"/>
                </a:lnTo>
                <a:lnTo>
                  <a:pt x="244" y="1033"/>
                </a:lnTo>
                <a:lnTo>
                  <a:pt x="244" y="1036"/>
                </a:lnTo>
                <a:lnTo>
                  <a:pt x="242" y="1036"/>
                </a:lnTo>
                <a:lnTo>
                  <a:pt x="241" y="1035"/>
                </a:lnTo>
                <a:lnTo>
                  <a:pt x="241" y="1033"/>
                </a:lnTo>
                <a:lnTo>
                  <a:pt x="240" y="1033"/>
                </a:lnTo>
                <a:lnTo>
                  <a:pt x="240" y="1030"/>
                </a:lnTo>
                <a:lnTo>
                  <a:pt x="241" y="1029"/>
                </a:lnTo>
                <a:close/>
                <a:moveTo>
                  <a:pt x="276" y="987"/>
                </a:moveTo>
                <a:lnTo>
                  <a:pt x="278" y="988"/>
                </a:lnTo>
                <a:lnTo>
                  <a:pt x="276" y="988"/>
                </a:lnTo>
                <a:lnTo>
                  <a:pt x="276" y="987"/>
                </a:lnTo>
                <a:close/>
                <a:moveTo>
                  <a:pt x="304" y="982"/>
                </a:moveTo>
                <a:lnTo>
                  <a:pt x="305" y="982"/>
                </a:lnTo>
                <a:lnTo>
                  <a:pt x="305" y="983"/>
                </a:lnTo>
                <a:lnTo>
                  <a:pt x="304" y="984"/>
                </a:lnTo>
                <a:lnTo>
                  <a:pt x="303" y="984"/>
                </a:lnTo>
                <a:lnTo>
                  <a:pt x="303" y="986"/>
                </a:lnTo>
                <a:lnTo>
                  <a:pt x="304" y="986"/>
                </a:lnTo>
                <a:lnTo>
                  <a:pt x="303" y="987"/>
                </a:lnTo>
                <a:lnTo>
                  <a:pt x="300" y="987"/>
                </a:lnTo>
                <a:lnTo>
                  <a:pt x="299" y="988"/>
                </a:lnTo>
                <a:lnTo>
                  <a:pt x="299" y="986"/>
                </a:lnTo>
                <a:lnTo>
                  <a:pt x="302" y="983"/>
                </a:lnTo>
                <a:lnTo>
                  <a:pt x="303" y="983"/>
                </a:lnTo>
                <a:lnTo>
                  <a:pt x="304" y="982"/>
                </a:lnTo>
                <a:close/>
                <a:moveTo>
                  <a:pt x="298" y="977"/>
                </a:moveTo>
                <a:lnTo>
                  <a:pt x="299" y="978"/>
                </a:lnTo>
                <a:lnTo>
                  <a:pt x="298" y="980"/>
                </a:lnTo>
                <a:lnTo>
                  <a:pt x="299" y="980"/>
                </a:lnTo>
                <a:lnTo>
                  <a:pt x="299" y="981"/>
                </a:lnTo>
                <a:lnTo>
                  <a:pt x="297" y="981"/>
                </a:lnTo>
                <a:lnTo>
                  <a:pt x="297" y="982"/>
                </a:lnTo>
                <a:lnTo>
                  <a:pt x="296" y="983"/>
                </a:lnTo>
                <a:lnTo>
                  <a:pt x="294" y="982"/>
                </a:lnTo>
                <a:lnTo>
                  <a:pt x="293" y="983"/>
                </a:lnTo>
                <a:lnTo>
                  <a:pt x="292" y="983"/>
                </a:lnTo>
                <a:lnTo>
                  <a:pt x="293" y="982"/>
                </a:lnTo>
                <a:lnTo>
                  <a:pt x="293" y="981"/>
                </a:lnTo>
                <a:lnTo>
                  <a:pt x="294" y="981"/>
                </a:lnTo>
                <a:lnTo>
                  <a:pt x="293" y="980"/>
                </a:lnTo>
                <a:lnTo>
                  <a:pt x="294" y="980"/>
                </a:lnTo>
                <a:lnTo>
                  <a:pt x="294" y="978"/>
                </a:lnTo>
                <a:lnTo>
                  <a:pt x="297" y="978"/>
                </a:lnTo>
                <a:lnTo>
                  <a:pt x="298" y="977"/>
                </a:lnTo>
                <a:close/>
                <a:moveTo>
                  <a:pt x="310" y="970"/>
                </a:moveTo>
                <a:lnTo>
                  <a:pt x="311" y="970"/>
                </a:lnTo>
                <a:lnTo>
                  <a:pt x="311" y="974"/>
                </a:lnTo>
                <a:lnTo>
                  <a:pt x="309" y="976"/>
                </a:lnTo>
                <a:lnTo>
                  <a:pt x="309" y="978"/>
                </a:lnTo>
                <a:lnTo>
                  <a:pt x="307" y="980"/>
                </a:lnTo>
                <a:lnTo>
                  <a:pt x="306" y="980"/>
                </a:lnTo>
                <a:lnTo>
                  <a:pt x="305" y="978"/>
                </a:lnTo>
                <a:lnTo>
                  <a:pt x="305" y="976"/>
                </a:lnTo>
                <a:lnTo>
                  <a:pt x="306" y="975"/>
                </a:lnTo>
                <a:lnTo>
                  <a:pt x="306" y="974"/>
                </a:lnTo>
                <a:lnTo>
                  <a:pt x="309" y="971"/>
                </a:lnTo>
                <a:lnTo>
                  <a:pt x="310" y="971"/>
                </a:lnTo>
                <a:lnTo>
                  <a:pt x="310" y="970"/>
                </a:lnTo>
                <a:close/>
                <a:moveTo>
                  <a:pt x="319" y="963"/>
                </a:moveTo>
                <a:lnTo>
                  <a:pt x="322" y="963"/>
                </a:lnTo>
                <a:lnTo>
                  <a:pt x="322" y="964"/>
                </a:lnTo>
                <a:lnTo>
                  <a:pt x="318" y="965"/>
                </a:lnTo>
                <a:lnTo>
                  <a:pt x="318" y="964"/>
                </a:lnTo>
                <a:lnTo>
                  <a:pt x="319" y="964"/>
                </a:lnTo>
                <a:lnTo>
                  <a:pt x="319" y="963"/>
                </a:lnTo>
                <a:close/>
                <a:moveTo>
                  <a:pt x="305" y="960"/>
                </a:moveTo>
                <a:lnTo>
                  <a:pt x="309" y="964"/>
                </a:lnTo>
                <a:lnTo>
                  <a:pt x="305" y="960"/>
                </a:lnTo>
                <a:close/>
                <a:moveTo>
                  <a:pt x="322" y="956"/>
                </a:moveTo>
                <a:lnTo>
                  <a:pt x="324" y="956"/>
                </a:lnTo>
                <a:lnTo>
                  <a:pt x="324" y="958"/>
                </a:lnTo>
                <a:lnTo>
                  <a:pt x="323" y="958"/>
                </a:lnTo>
                <a:lnTo>
                  <a:pt x="323" y="959"/>
                </a:lnTo>
                <a:lnTo>
                  <a:pt x="322" y="959"/>
                </a:lnTo>
                <a:lnTo>
                  <a:pt x="321" y="958"/>
                </a:lnTo>
                <a:lnTo>
                  <a:pt x="322" y="957"/>
                </a:lnTo>
                <a:lnTo>
                  <a:pt x="322" y="956"/>
                </a:lnTo>
                <a:close/>
                <a:moveTo>
                  <a:pt x="305" y="956"/>
                </a:moveTo>
                <a:lnTo>
                  <a:pt x="312" y="956"/>
                </a:lnTo>
                <a:lnTo>
                  <a:pt x="316" y="959"/>
                </a:lnTo>
                <a:lnTo>
                  <a:pt x="313" y="959"/>
                </a:lnTo>
                <a:lnTo>
                  <a:pt x="313" y="958"/>
                </a:lnTo>
                <a:lnTo>
                  <a:pt x="312" y="958"/>
                </a:lnTo>
                <a:lnTo>
                  <a:pt x="312" y="960"/>
                </a:lnTo>
                <a:lnTo>
                  <a:pt x="315" y="960"/>
                </a:lnTo>
                <a:lnTo>
                  <a:pt x="313" y="962"/>
                </a:lnTo>
                <a:lnTo>
                  <a:pt x="312" y="962"/>
                </a:lnTo>
                <a:lnTo>
                  <a:pt x="310" y="959"/>
                </a:lnTo>
                <a:lnTo>
                  <a:pt x="309" y="959"/>
                </a:lnTo>
                <a:lnTo>
                  <a:pt x="309" y="958"/>
                </a:lnTo>
                <a:lnTo>
                  <a:pt x="307" y="958"/>
                </a:lnTo>
                <a:lnTo>
                  <a:pt x="307" y="957"/>
                </a:lnTo>
                <a:lnTo>
                  <a:pt x="305" y="956"/>
                </a:lnTo>
                <a:close/>
                <a:moveTo>
                  <a:pt x="317" y="950"/>
                </a:moveTo>
                <a:lnTo>
                  <a:pt x="321" y="950"/>
                </a:lnTo>
                <a:lnTo>
                  <a:pt x="322" y="951"/>
                </a:lnTo>
                <a:lnTo>
                  <a:pt x="322" y="953"/>
                </a:lnTo>
                <a:lnTo>
                  <a:pt x="319" y="956"/>
                </a:lnTo>
                <a:lnTo>
                  <a:pt x="318" y="954"/>
                </a:lnTo>
                <a:lnTo>
                  <a:pt x="319" y="954"/>
                </a:lnTo>
                <a:lnTo>
                  <a:pt x="319" y="952"/>
                </a:lnTo>
                <a:lnTo>
                  <a:pt x="317" y="950"/>
                </a:lnTo>
                <a:close/>
                <a:moveTo>
                  <a:pt x="294" y="949"/>
                </a:moveTo>
                <a:lnTo>
                  <a:pt x="296" y="949"/>
                </a:lnTo>
                <a:lnTo>
                  <a:pt x="300" y="950"/>
                </a:lnTo>
                <a:lnTo>
                  <a:pt x="299" y="950"/>
                </a:lnTo>
                <a:lnTo>
                  <a:pt x="300" y="951"/>
                </a:lnTo>
                <a:lnTo>
                  <a:pt x="299" y="952"/>
                </a:lnTo>
                <a:lnTo>
                  <a:pt x="298" y="952"/>
                </a:lnTo>
                <a:lnTo>
                  <a:pt x="297" y="951"/>
                </a:lnTo>
                <a:lnTo>
                  <a:pt x="296" y="951"/>
                </a:lnTo>
                <a:lnTo>
                  <a:pt x="296" y="950"/>
                </a:lnTo>
                <a:lnTo>
                  <a:pt x="294" y="949"/>
                </a:lnTo>
                <a:close/>
                <a:moveTo>
                  <a:pt x="329" y="946"/>
                </a:moveTo>
                <a:lnTo>
                  <a:pt x="330" y="947"/>
                </a:lnTo>
                <a:lnTo>
                  <a:pt x="330" y="950"/>
                </a:lnTo>
                <a:lnTo>
                  <a:pt x="329" y="949"/>
                </a:lnTo>
                <a:lnTo>
                  <a:pt x="329" y="947"/>
                </a:lnTo>
                <a:lnTo>
                  <a:pt x="328" y="947"/>
                </a:lnTo>
                <a:lnTo>
                  <a:pt x="329" y="946"/>
                </a:lnTo>
                <a:close/>
                <a:moveTo>
                  <a:pt x="329" y="943"/>
                </a:moveTo>
                <a:lnTo>
                  <a:pt x="329" y="946"/>
                </a:lnTo>
                <a:lnTo>
                  <a:pt x="328" y="946"/>
                </a:lnTo>
                <a:lnTo>
                  <a:pt x="327" y="945"/>
                </a:lnTo>
                <a:lnTo>
                  <a:pt x="329" y="943"/>
                </a:lnTo>
                <a:close/>
                <a:moveTo>
                  <a:pt x="317" y="934"/>
                </a:moveTo>
                <a:lnTo>
                  <a:pt x="318" y="934"/>
                </a:lnTo>
                <a:lnTo>
                  <a:pt x="319" y="935"/>
                </a:lnTo>
                <a:lnTo>
                  <a:pt x="322" y="935"/>
                </a:lnTo>
                <a:lnTo>
                  <a:pt x="319" y="937"/>
                </a:lnTo>
                <a:lnTo>
                  <a:pt x="317" y="939"/>
                </a:lnTo>
                <a:lnTo>
                  <a:pt x="317" y="940"/>
                </a:lnTo>
                <a:lnTo>
                  <a:pt x="316" y="939"/>
                </a:lnTo>
                <a:lnTo>
                  <a:pt x="316" y="943"/>
                </a:lnTo>
                <a:lnTo>
                  <a:pt x="315" y="943"/>
                </a:lnTo>
                <a:lnTo>
                  <a:pt x="315" y="945"/>
                </a:lnTo>
                <a:lnTo>
                  <a:pt x="313" y="945"/>
                </a:lnTo>
                <a:lnTo>
                  <a:pt x="313" y="944"/>
                </a:lnTo>
                <a:lnTo>
                  <a:pt x="312" y="943"/>
                </a:lnTo>
                <a:lnTo>
                  <a:pt x="312" y="939"/>
                </a:lnTo>
                <a:lnTo>
                  <a:pt x="313" y="939"/>
                </a:lnTo>
                <a:lnTo>
                  <a:pt x="313" y="938"/>
                </a:lnTo>
                <a:lnTo>
                  <a:pt x="317" y="934"/>
                </a:lnTo>
                <a:close/>
                <a:moveTo>
                  <a:pt x="323" y="932"/>
                </a:moveTo>
                <a:lnTo>
                  <a:pt x="324" y="932"/>
                </a:lnTo>
                <a:lnTo>
                  <a:pt x="323" y="933"/>
                </a:lnTo>
                <a:lnTo>
                  <a:pt x="322" y="933"/>
                </a:lnTo>
                <a:lnTo>
                  <a:pt x="323" y="932"/>
                </a:lnTo>
                <a:close/>
                <a:moveTo>
                  <a:pt x="325" y="931"/>
                </a:moveTo>
                <a:lnTo>
                  <a:pt x="325" y="932"/>
                </a:lnTo>
                <a:lnTo>
                  <a:pt x="324" y="932"/>
                </a:lnTo>
                <a:lnTo>
                  <a:pt x="325" y="931"/>
                </a:lnTo>
                <a:close/>
                <a:moveTo>
                  <a:pt x="330" y="926"/>
                </a:moveTo>
                <a:lnTo>
                  <a:pt x="331" y="927"/>
                </a:lnTo>
                <a:lnTo>
                  <a:pt x="331" y="928"/>
                </a:lnTo>
                <a:lnTo>
                  <a:pt x="330" y="929"/>
                </a:lnTo>
                <a:lnTo>
                  <a:pt x="329" y="928"/>
                </a:lnTo>
                <a:lnTo>
                  <a:pt x="329" y="932"/>
                </a:lnTo>
                <a:lnTo>
                  <a:pt x="327" y="932"/>
                </a:lnTo>
                <a:lnTo>
                  <a:pt x="327" y="931"/>
                </a:lnTo>
                <a:lnTo>
                  <a:pt x="329" y="927"/>
                </a:lnTo>
                <a:lnTo>
                  <a:pt x="330" y="926"/>
                </a:lnTo>
                <a:close/>
                <a:moveTo>
                  <a:pt x="329" y="926"/>
                </a:moveTo>
                <a:lnTo>
                  <a:pt x="329" y="927"/>
                </a:lnTo>
                <a:lnTo>
                  <a:pt x="327" y="929"/>
                </a:lnTo>
                <a:lnTo>
                  <a:pt x="327" y="931"/>
                </a:lnTo>
                <a:lnTo>
                  <a:pt x="325" y="931"/>
                </a:lnTo>
                <a:lnTo>
                  <a:pt x="325" y="929"/>
                </a:lnTo>
                <a:lnTo>
                  <a:pt x="329" y="926"/>
                </a:lnTo>
                <a:close/>
                <a:moveTo>
                  <a:pt x="334" y="906"/>
                </a:moveTo>
                <a:lnTo>
                  <a:pt x="336" y="906"/>
                </a:lnTo>
                <a:lnTo>
                  <a:pt x="335" y="907"/>
                </a:lnTo>
                <a:lnTo>
                  <a:pt x="334" y="906"/>
                </a:lnTo>
                <a:close/>
                <a:moveTo>
                  <a:pt x="321" y="878"/>
                </a:moveTo>
                <a:lnTo>
                  <a:pt x="322" y="879"/>
                </a:lnTo>
                <a:lnTo>
                  <a:pt x="323" y="879"/>
                </a:lnTo>
                <a:lnTo>
                  <a:pt x="323" y="880"/>
                </a:lnTo>
                <a:lnTo>
                  <a:pt x="324" y="882"/>
                </a:lnTo>
                <a:lnTo>
                  <a:pt x="324" y="883"/>
                </a:lnTo>
                <a:lnTo>
                  <a:pt x="323" y="884"/>
                </a:lnTo>
                <a:lnTo>
                  <a:pt x="321" y="884"/>
                </a:lnTo>
                <a:lnTo>
                  <a:pt x="321" y="878"/>
                </a:lnTo>
                <a:close/>
                <a:moveTo>
                  <a:pt x="306" y="853"/>
                </a:moveTo>
                <a:lnTo>
                  <a:pt x="309" y="855"/>
                </a:lnTo>
                <a:lnTo>
                  <a:pt x="309" y="858"/>
                </a:lnTo>
                <a:lnTo>
                  <a:pt x="310" y="859"/>
                </a:lnTo>
                <a:lnTo>
                  <a:pt x="310" y="860"/>
                </a:lnTo>
                <a:lnTo>
                  <a:pt x="309" y="859"/>
                </a:lnTo>
                <a:lnTo>
                  <a:pt x="309" y="860"/>
                </a:lnTo>
                <a:lnTo>
                  <a:pt x="310" y="865"/>
                </a:lnTo>
                <a:lnTo>
                  <a:pt x="311" y="866"/>
                </a:lnTo>
                <a:lnTo>
                  <a:pt x="312" y="866"/>
                </a:lnTo>
                <a:lnTo>
                  <a:pt x="312" y="867"/>
                </a:lnTo>
                <a:lnTo>
                  <a:pt x="313" y="867"/>
                </a:lnTo>
                <a:lnTo>
                  <a:pt x="313" y="870"/>
                </a:lnTo>
                <a:lnTo>
                  <a:pt x="315" y="870"/>
                </a:lnTo>
                <a:lnTo>
                  <a:pt x="315" y="871"/>
                </a:lnTo>
                <a:lnTo>
                  <a:pt x="313" y="871"/>
                </a:lnTo>
                <a:lnTo>
                  <a:pt x="306" y="864"/>
                </a:lnTo>
                <a:lnTo>
                  <a:pt x="306" y="853"/>
                </a:lnTo>
                <a:close/>
                <a:moveTo>
                  <a:pt x="256" y="772"/>
                </a:moveTo>
                <a:lnTo>
                  <a:pt x="257" y="772"/>
                </a:lnTo>
                <a:lnTo>
                  <a:pt x="257" y="773"/>
                </a:lnTo>
                <a:lnTo>
                  <a:pt x="256" y="773"/>
                </a:lnTo>
                <a:lnTo>
                  <a:pt x="256" y="772"/>
                </a:lnTo>
                <a:close/>
                <a:moveTo>
                  <a:pt x="292" y="654"/>
                </a:moveTo>
                <a:lnTo>
                  <a:pt x="294" y="654"/>
                </a:lnTo>
                <a:lnTo>
                  <a:pt x="294" y="655"/>
                </a:lnTo>
                <a:lnTo>
                  <a:pt x="297" y="655"/>
                </a:lnTo>
                <a:lnTo>
                  <a:pt x="297" y="658"/>
                </a:lnTo>
                <a:lnTo>
                  <a:pt x="296" y="658"/>
                </a:lnTo>
                <a:lnTo>
                  <a:pt x="296" y="659"/>
                </a:lnTo>
                <a:lnTo>
                  <a:pt x="293" y="661"/>
                </a:lnTo>
                <a:lnTo>
                  <a:pt x="292" y="661"/>
                </a:lnTo>
                <a:lnTo>
                  <a:pt x="291" y="658"/>
                </a:lnTo>
                <a:lnTo>
                  <a:pt x="291" y="657"/>
                </a:lnTo>
                <a:lnTo>
                  <a:pt x="292" y="656"/>
                </a:lnTo>
                <a:lnTo>
                  <a:pt x="292" y="654"/>
                </a:lnTo>
                <a:close/>
                <a:moveTo>
                  <a:pt x="411" y="568"/>
                </a:moveTo>
                <a:lnTo>
                  <a:pt x="411" y="570"/>
                </a:lnTo>
                <a:lnTo>
                  <a:pt x="410" y="571"/>
                </a:lnTo>
                <a:lnTo>
                  <a:pt x="410" y="570"/>
                </a:lnTo>
                <a:lnTo>
                  <a:pt x="411" y="568"/>
                </a:lnTo>
                <a:close/>
                <a:moveTo>
                  <a:pt x="415" y="558"/>
                </a:moveTo>
                <a:lnTo>
                  <a:pt x="415" y="560"/>
                </a:lnTo>
                <a:lnTo>
                  <a:pt x="414" y="562"/>
                </a:lnTo>
                <a:lnTo>
                  <a:pt x="415" y="562"/>
                </a:lnTo>
                <a:lnTo>
                  <a:pt x="415" y="563"/>
                </a:lnTo>
                <a:lnTo>
                  <a:pt x="414" y="564"/>
                </a:lnTo>
                <a:lnTo>
                  <a:pt x="414" y="566"/>
                </a:lnTo>
                <a:lnTo>
                  <a:pt x="411" y="566"/>
                </a:lnTo>
                <a:lnTo>
                  <a:pt x="412" y="562"/>
                </a:lnTo>
                <a:lnTo>
                  <a:pt x="412" y="560"/>
                </a:lnTo>
                <a:lnTo>
                  <a:pt x="414" y="560"/>
                </a:lnTo>
                <a:lnTo>
                  <a:pt x="414" y="559"/>
                </a:lnTo>
                <a:lnTo>
                  <a:pt x="415" y="558"/>
                </a:lnTo>
                <a:close/>
                <a:moveTo>
                  <a:pt x="398" y="557"/>
                </a:moveTo>
                <a:lnTo>
                  <a:pt x="398" y="558"/>
                </a:lnTo>
                <a:lnTo>
                  <a:pt x="397" y="558"/>
                </a:lnTo>
                <a:lnTo>
                  <a:pt x="398" y="557"/>
                </a:lnTo>
                <a:close/>
                <a:moveTo>
                  <a:pt x="411" y="556"/>
                </a:moveTo>
                <a:lnTo>
                  <a:pt x="414" y="558"/>
                </a:lnTo>
                <a:lnTo>
                  <a:pt x="411" y="560"/>
                </a:lnTo>
                <a:lnTo>
                  <a:pt x="412" y="559"/>
                </a:lnTo>
                <a:lnTo>
                  <a:pt x="411" y="558"/>
                </a:lnTo>
                <a:lnTo>
                  <a:pt x="410" y="559"/>
                </a:lnTo>
                <a:lnTo>
                  <a:pt x="411" y="556"/>
                </a:lnTo>
                <a:close/>
                <a:moveTo>
                  <a:pt x="429" y="471"/>
                </a:moveTo>
                <a:lnTo>
                  <a:pt x="430" y="471"/>
                </a:lnTo>
                <a:lnTo>
                  <a:pt x="430" y="472"/>
                </a:lnTo>
                <a:lnTo>
                  <a:pt x="429" y="471"/>
                </a:lnTo>
                <a:close/>
                <a:moveTo>
                  <a:pt x="440" y="398"/>
                </a:moveTo>
                <a:lnTo>
                  <a:pt x="442" y="398"/>
                </a:lnTo>
                <a:lnTo>
                  <a:pt x="442" y="399"/>
                </a:lnTo>
                <a:lnTo>
                  <a:pt x="440" y="398"/>
                </a:lnTo>
                <a:close/>
                <a:moveTo>
                  <a:pt x="474" y="392"/>
                </a:moveTo>
                <a:lnTo>
                  <a:pt x="476" y="392"/>
                </a:lnTo>
                <a:lnTo>
                  <a:pt x="477" y="393"/>
                </a:lnTo>
                <a:lnTo>
                  <a:pt x="477" y="394"/>
                </a:lnTo>
                <a:lnTo>
                  <a:pt x="476" y="394"/>
                </a:lnTo>
                <a:lnTo>
                  <a:pt x="476" y="396"/>
                </a:lnTo>
                <a:lnTo>
                  <a:pt x="471" y="396"/>
                </a:lnTo>
                <a:lnTo>
                  <a:pt x="471" y="394"/>
                </a:lnTo>
                <a:lnTo>
                  <a:pt x="472" y="393"/>
                </a:lnTo>
                <a:lnTo>
                  <a:pt x="473" y="393"/>
                </a:lnTo>
                <a:lnTo>
                  <a:pt x="473" y="394"/>
                </a:lnTo>
                <a:lnTo>
                  <a:pt x="474" y="393"/>
                </a:lnTo>
                <a:lnTo>
                  <a:pt x="474" y="392"/>
                </a:lnTo>
                <a:close/>
                <a:moveTo>
                  <a:pt x="465" y="391"/>
                </a:moveTo>
                <a:lnTo>
                  <a:pt x="466" y="391"/>
                </a:lnTo>
                <a:lnTo>
                  <a:pt x="468" y="392"/>
                </a:lnTo>
                <a:lnTo>
                  <a:pt x="468" y="396"/>
                </a:lnTo>
                <a:lnTo>
                  <a:pt x="466" y="396"/>
                </a:lnTo>
                <a:lnTo>
                  <a:pt x="465" y="394"/>
                </a:lnTo>
                <a:lnTo>
                  <a:pt x="465" y="391"/>
                </a:lnTo>
                <a:close/>
                <a:moveTo>
                  <a:pt x="483" y="384"/>
                </a:moveTo>
                <a:lnTo>
                  <a:pt x="485" y="386"/>
                </a:lnTo>
                <a:lnTo>
                  <a:pt x="485" y="387"/>
                </a:lnTo>
                <a:lnTo>
                  <a:pt x="484" y="387"/>
                </a:lnTo>
                <a:lnTo>
                  <a:pt x="483" y="386"/>
                </a:lnTo>
                <a:lnTo>
                  <a:pt x="483" y="384"/>
                </a:lnTo>
                <a:close/>
                <a:moveTo>
                  <a:pt x="467" y="384"/>
                </a:moveTo>
                <a:lnTo>
                  <a:pt x="468" y="384"/>
                </a:lnTo>
                <a:lnTo>
                  <a:pt x="472" y="386"/>
                </a:lnTo>
                <a:lnTo>
                  <a:pt x="473" y="386"/>
                </a:lnTo>
                <a:lnTo>
                  <a:pt x="473" y="387"/>
                </a:lnTo>
                <a:lnTo>
                  <a:pt x="474" y="387"/>
                </a:lnTo>
                <a:lnTo>
                  <a:pt x="474" y="388"/>
                </a:lnTo>
                <a:lnTo>
                  <a:pt x="473" y="390"/>
                </a:lnTo>
                <a:lnTo>
                  <a:pt x="473" y="388"/>
                </a:lnTo>
                <a:lnTo>
                  <a:pt x="472" y="387"/>
                </a:lnTo>
                <a:lnTo>
                  <a:pt x="471" y="387"/>
                </a:lnTo>
                <a:lnTo>
                  <a:pt x="471" y="390"/>
                </a:lnTo>
                <a:lnTo>
                  <a:pt x="467" y="386"/>
                </a:lnTo>
                <a:lnTo>
                  <a:pt x="467" y="384"/>
                </a:lnTo>
                <a:close/>
                <a:moveTo>
                  <a:pt x="485" y="379"/>
                </a:moveTo>
                <a:lnTo>
                  <a:pt x="486" y="379"/>
                </a:lnTo>
                <a:lnTo>
                  <a:pt x="486" y="380"/>
                </a:lnTo>
                <a:lnTo>
                  <a:pt x="485" y="380"/>
                </a:lnTo>
                <a:lnTo>
                  <a:pt x="485" y="382"/>
                </a:lnTo>
                <a:lnTo>
                  <a:pt x="483" y="382"/>
                </a:lnTo>
                <a:lnTo>
                  <a:pt x="481" y="381"/>
                </a:lnTo>
                <a:lnTo>
                  <a:pt x="481" y="380"/>
                </a:lnTo>
                <a:lnTo>
                  <a:pt x="484" y="380"/>
                </a:lnTo>
                <a:lnTo>
                  <a:pt x="485" y="379"/>
                </a:lnTo>
                <a:close/>
                <a:moveTo>
                  <a:pt x="483" y="376"/>
                </a:moveTo>
                <a:lnTo>
                  <a:pt x="484" y="376"/>
                </a:lnTo>
                <a:lnTo>
                  <a:pt x="485" y="378"/>
                </a:lnTo>
                <a:lnTo>
                  <a:pt x="484" y="379"/>
                </a:lnTo>
                <a:lnTo>
                  <a:pt x="483" y="379"/>
                </a:lnTo>
                <a:lnTo>
                  <a:pt x="483" y="376"/>
                </a:lnTo>
                <a:close/>
                <a:moveTo>
                  <a:pt x="497" y="363"/>
                </a:moveTo>
                <a:lnTo>
                  <a:pt x="498" y="363"/>
                </a:lnTo>
                <a:lnTo>
                  <a:pt x="499" y="364"/>
                </a:lnTo>
                <a:lnTo>
                  <a:pt x="499" y="366"/>
                </a:lnTo>
                <a:lnTo>
                  <a:pt x="501" y="367"/>
                </a:lnTo>
                <a:lnTo>
                  <a:pt x="501" y="368"/>
                </a:lnTo>
                <a:lnTo>
                  <a:pt x="499" y="368"/>
                </a:lnTo>
                <a:lnTo>
                  <a:pt x="499" y="369"/>
                </a:lnTo>
                <a:lnTo>
                  <a:pt x="501" y="370"/>
                </a:lnTo>
                <a:lnTo>
                  <a:pt x="499" y="370"/>
                </a:lnTo>
                <a:lnTo>
                  <a:pt x="498" y="369"/>
                </a:lnTo>
                <a:lnTo>
                  <a:pt x="497" y="367"/>
                </a:lnTo>
                <a:lnTo>
                  <a:pt x="496" y="366"/>
                </a:lnTo>
                <a:lnTo>
                  <a:pt x="497" y="363"/>
                </a:lnTo>
                <a:close/>
                <a:moveTo>
                  <a:pt x="534" y="362"/>
                </a:moveTo>
                <a:lnTo>
                  <a:pt x="535" y="363"/>
                </a:lnTo>
                <a:lnTo>
                  <a:pt x="535" y="364"/>
                </a:lnTo>
                <a:lnTo>
                  <a:pt x="534" y="364"/>
                </a:lnTo>
                <a:lnTo>
                  <a:pt x="534" y="367"/>
                </a:lnTo>
                <a:lnTo>
                  <a:pt x="533" y="368"/>
                </a:lnTo>
                <a:lnTo>
                  <a:pt x="530" y="367"/>
                </a:lnTo>
                <a:lnTo>
                  <a:pt x="530" y="363"/>
                </a:lnTo>
                <a:lnTo>
                  <a:pt x="534" y="363"/>
                </a:lnTo>
                <a:lnTo>
                  <a:pt x="534" y="362"/>
                </a:lnTo>
                <a:close/>
                <a:moveTo>
                  <a:pt x="490" y="361"/>
                </a:moveTo>
                <a:lnTo>
                  <a:pt x="491" y="361"/>
                </a:lnTo>
                <a:lnTo>
                  <a:pt x="492" y="362"/>
                </a:lnTo>
                <a:lnTo>
                  <a:pt x="493" y="364"/>
                </a:lnTo>
                <a:lnTo>
                  <a:pt x="493" y="367"/>
                </a:lnTo>
                <a:lnTo>
                  <a:pt x="491" y="367"/>
                </a:lnTo>
                <a:lnTo>
                  <a:pt x="490" y="366"/>
                </a:lnTo>
                <a:lnTo>
                  <a:pt x="490" y="361"/>
                </a:lnTo>
                <a:close/>
                <a:moveTo>
                  <a:pt x="402" y="0"/>
                </a:moveTo>
                <a:lnTo>
                  <a:pt x="403" y="3"/>
                </a:lnTo>
                <a:lnTo>
                  <a:pt x="409" y="4"/>
                </a:lnTo>
                <a:lnTo>
                  <a:pt x="411" y="6"/>
                </a:lnTo>
                <a:lnTo>
                  <a:pt x="414" y="7"/>
                </a:lnTo>
                <a:lnTo>
                  <a:pt x="415" y="9"/>
                </a:lnTo>
                <a:lnTo>
                  <a:pt x="415" y="11"/>
                </a:lnTo>
                <a:lnTo>
                  <a:pt x="414" y="13"/>
                </a:lnTo>
                <a:lnTo>
                  <a:pt x="412" y="13"/>
                </a:lnTo>
                <a:lnTo>
                  <a:pt x="412" y="16"/>
                </a:lnTo>
                <a:lnTo>
                  <a:pt x="414" y="17"/>
                </a:lnTo>
                <a:lnTo>
                  <a:pt x="420" y="20"/>
                </a:lnTo>
                <a:lnTo>
                  <a:pt x="423" y="24"/>
                </a:lnTo>
                <a:lnTo>
                  <a:pt x="427" y="26"/>
                </a:lnTo>
                <a:lnTo>
                  <a:pt x="429" y="31"/>
                </a:lnTo>
                <a:lnTo>
                  <a:pt x="429" y="34"/>
                </a:lnTo>
                <a:lnTo>
                  <a:pt x="434" y="34"/>
                </a:lnTo>
                <a:lnTo>
                  <a:pt x="434" y="35"/>
                </a:lnTo>
                <a:lnTo>
                  <a:pt x="435" y="36"/>
                </a:lnTo>
                <a:lnTo>
                  <a:pt x="435" y="37"/>
                </a:lnTo>
                <a:lnTo>
                  <a:pt x="436" y="41"/>
                </a:lnTo>
                <a:lnTo>
                  <a:pt x="436" y="42"/>
                </a:lnTo>
                <a:lnTo>
                  <a:pt x="437" y="43"/>
                </a:lnTo>
                <a:lnTo>
                  <a:pt x="441" y="44"/>
                </a:lnTo>
                <a:lnTo>
                  <a:pt x="445" y="48"/>
                </a:lnTo>
                <a:lnTo>
                  <a:pt x="447" y="49"/>
                </a:lnTo>
                <a:lnTo>
                  <a:pt x="448" y="53"/>
                </a:lnTo>
                <a:lnTo>
                  <a:pt x="455" y="55"/>
                </a:lnTo>
                <a:lnTo>
                  <a:pt x="458" y="58"/>
                </a:lnTo>
                <a:lnTo>
                  <a:pt x="458" y="59"/>
                </a:lnTo>
                <a:lnTo>
                  <a:pt x="460" y="61"/>
                </a:lnTo>
                <a:lnTo>
                  <a:pt x="460" y="62"/>
                </a:lnTo>
                <a:lnTo>
                  <a:pt x="461" y="62"/>
                </a:lnTo>
                <a:lnTo>
                  <a:pt x="461" y="65"/>
                </a:lnTo>
                <a:lnTo>
                  <a:pt x="462" y="66"/>
                </a:lnTo>
                <a:lnTo>
                  <a:pt x="472" y="66"/>
                </a:lnTo>
                <a:lnTo>
                  <a:pt x="474" y="67"/>
                </a:lnTo>
                <a:lnTo>
                  <a:pt x="476" y="67"/>
                </a:lnTo>
                <a:lnTo>
                  <a:pt x="474" y="68"/>
                </a:lnTo>
                <a:lnTo>
                  <a:pt x="478" y="68"/>
                </a:lnTo>
                <a:lnTo>
                  <a:pt x="481" y="71"/>
                </a:lnTo>
                <a:lnTo>
                  <a:pt x="483" y="71"/>
                </a:lnTo>
                <a:lnTo>
                  <a:pt x="485" y="72"/>
                </a:lnTo>
                <a:lnTo>
                  <a:pt x="487" y="72"/>
                </a:lnTo>
                <a:lnTo>
                  <a:pt x="489" y="73"/>
                </a:lnTo>
                <a:lnTo>
                  <a:pt x="490" y="75"/>
                </a:lnTo>
                <a:lnTo>
                  <a:pt x="491" y="77"/>
                </a:lnTo>
                <a:lnTo>
                  <a:pt x="493" y="75"/>
                </a:lnTo>
                <a:lnTo>
                  <a:pt x="495" y="77"/>
                </a:lnTo>
                <a:lnTo>
                  <a:pt x="496" y="80"/>
                </a:lnTo>
                <a:lnTo>
                  <a:pt x="497" y="83"/>
                </a:lnTo>
                <a:lnTo>
                  <a:pt x="503" y="86"/>
                </a:lnTo>
                <a:lnTo>
                  <a:pt x="504" y="87"/>
                </a:lnTo>
                <a:lnTo>
                  <a:pt x="504" y="90"/>
                </a:lnTo>
                <a:lnTo>
                  <a:pt x="505" y="90"/>
                </a:lnTo>
                <a:lnTo>
                  <a:pt x="505" y="91"/>
                </a:lnTo>
                <a:lnTo>
                  <a:pt x="508" y="93"/>
                </a:lnTo>
                <a:lnTo>
                  <a:pt x="508" y="105"/>
                </a:lnTo>
                <a:lnTo>
                  <a:pt x="509" y="106"/>
                </a:lnTo>
                <a:lnTo>
                  <a:pt x="512" y="104"/>
                </a:lnTo>
                <a:lnTo>
                  <a:pt x="515" y="104"/>
                </a:lnTo>
                <a:lnTo>
                  <a:pt x="515" y="105"/>
                </a:lnTo>
                <a:lnTo>
                  <a:pt x="517" y="112"/>
                </a:lnTo>
                <a:lnTo>
                  <a:pt x="517" y="115"/>
                </a:lnTo>
                <a:lnTo>
                  <a:pt x="521" y="117"/>
                </a:lnTo>
                <a:lnTo>
                  <a:pt x="522" y="118"/>
                </a:lnTo>
                <a:lnTo>
                  <a:pt x="526" y="123"/>
                </a:lnTo>
                <a:lnTo>
                  <a:pt x="528" y="124"/>
                </a:lnTo>
                <a:lnTo>
                  <a:pt x="529" y="126"/>
                </a:lnTo>
                <a:lnTo>
                  <a:pt x="529" y="128"/>
                </a:lnTo>
                <a:lnTo>
                  <a:pt x="528" y="130"/>
                </a:lnTo>
                <a:lnTo>
                  <a:pt x="527" y="132"/>
                </a:lnTo>
                <a:lnTo>
                  <a:pt x="523" y="133"/>
                </a:lnTo>
                <a:lnTo>
                  <a:pt x="522" y="134"/>
                </a:lnTo>
                <a:lnTo>
                  <a:pt x="522" y="153"/>
                </a:lnTo>
                <a:lnTo>
                  <a:pt x="523" y="158"/>
                </a:lnTo>
                <a:lnTo>
                  <a:pt x="523" y="159"/>
                </a:lnTo>
                <a:lnTo>
                  <a:pt x="524" y="163"/>
                </a:lnTo>
                <a:lnTo>
                  <a:pt x="524" y="167"/>
                </a:lnTo>
                <a:lnTo>
                  <a:pt x="522" y="169"/>
                </a:lnTo>
                <a:lnTo>
                  <a:pt x="521" y="170"/>
                </a:lnTo>
                <a:lnTo>
                  <a:pt x="522" y="171"/>
                </a:lnTo>
                <a:lnTo>
                  <a:pt x="520" y="176"/>
                </a:lnTo>
                <a:lnTo>
                  <a:pt x="520" y="181"/>
                </a:lnTo>
                <a:lnTo>
                  <a:pt x="522" y="182"/>
                </a:lnTo>
                <a:lnTo>
                  <a:pt x="527" y="182"/>
                </a:lnTo>
                <a:lnTo>
                  <a:pt x="529" y="183"/>
                </a:lnTo>
                <a:lnTo>
                  <a:pt x="533" y="184"/>
                </a:lnTo>
                <a:lnTo>
                  <a:pt x="534" y="185"/>
                </a:lnTo>
                <a:lnTo>
                  <a:pt x="534" y="188"/>
                </a:lnTo>
                <a:lnTo>
                  <a:pt x="533" y="190"/>
                </a:lnTo>
                <a:lnTo>
                  <a:pt x="533" y="192"/>
                </a:lnTo>
                <a:lnTo>
                  <a:pt x="534" y="194"/>
                </a:lnTo>
                <a:lnTo>
                  <a:pt x="534" y="197"/>
                </a:lnTo>
                <a:lnTo>
                  <a:pt x="533" y="200"/>
                </a:lnTo>
                <a:lnTo>
                  <a:pt x="528" y="201"/>
                </a:lnTo>
                <a:lnTo>
                  <a:pt x="527" y="202"/>
                </a:lnTo>
                <a:lnTo>
                  <a:pt x="527" y="210"/>
                </a:lnTo>
                <a:lnTo>
                  <a:pt x="526" y="212"/>
                </a:lnTo>
                <a:lnTo>
                  <a:pt x="526" y="214"/>
                </a:lnTo>
                <a:lnTo>
                  <a:pt x="528" y="216"/>
                </a:lnTo>
                <a:lnTo>
                  <a:pt x="529" y="219"/>
                </a:lnTo>
                <a:lnTo>
                  <a:pt x="529" y="224"/>
                </a:lnTo>
                <a:lnTo>
                  <a:pt x="530" y="225"/>
                </a:lnTo>
                <a:lnTo>
                  <a:pt x="532" y="228"/>
                </a:lnTo>
                <a:lnTo>
                  <a:pt x="533" y="231"/>
                </a:lnTo>
                <a:lnTo>
                  <a:pt x="534" y="231"/>
                </a:lnTo>
                <a:lnTo>
                  <a:pt x="536" y="233"/>
                </a:lnTo>
                <a:lnTo>
                  <a:pt x="539" y="239"/>
                </a:lnTo>
                <a:lnTo>
                  <a:pt x="540" y="241"/>
                </a:lnTo>
                <a:lnTo>
                  <a:pt x="541" y="243"/>
                </a:lnTo>
                <a:lnTo>
                  <a:pt x="542" y="245"/>
                </a:lnTo>
                <a:lnTo>
                  <a:pt x="543" y="251"/>
                </a:lnTo>
                <a:lnTo>
                  <a:pt x="543" y="252"/>
                </a:lnTo>
                <a:lnTo>
                  <a:pt x="542" y="253"/>
                </a:lnTo>
                <a:lnTo>
                  <a:pt x="541" y="253"/>
                </a:lnTo>
                <a:lnTo>
                  <a:pt x="540" y="255"/>
                </a:lnTo>
                <a:lnTo>
                  <a:pt x="539" y="257"/>
                </a:lnTo>
                <a:lnTo>
                  <a:pt x="539" y="258"/>
                </a:lnTo>
                <a:lnTo>
                  <a:pt x="540" y="262"/>
                </a:lnTo>
                <a:lnTo>
                  <a:pt x="540" y="264"/>
                </a:lnTo>
                <a:lnTo>
                  <a:pt x="539" y="267"/>
                </a:lnTo>
                <a:lnTo>
                  <a:pt x="539" y="277"/>
                </a:lnTo>
                <a:lnTo>
                  <a:pt x="538" y="278"/>
                </a:lnTo>
                <a:lnTo>
                  <a:pt x="535" y="280"/>
                </a:lnTo>
                <a:lnTo>
                  <a:pt x="535" y="281"/>
                </a:lnTo>
                <a:lnTo>
                  <a:pt x="533" y="283"/>
                </a:lnTo>
                <a:lnTo>
                  <a:pt x="533" y="286"/>
                </a:lnTo>
                <a:lnTo>
                  <a:pt x="532" y="286"/>
                </a:lnTo>
                <a:lnTo>
                  <a:pt x="529" y="288"/>
                </a:lnTo>
                <a:lnTo>
                  <a:pt x="528" y="290"/>
                </a:lnTo>
                <a:lnTo>
                  <a:pt x="529" y="292"/>
                </a:lnTo>
                <a:lnTo>
                  <a:pt x="529" y="296"/>
                </a:lnTo>
                <a:lnTo>
                  <a:pt x="530" y="299"/>
                </a:lnTo>
                <a:lnTo>
                  <a:pt x="530" y="300"/>
                </a:lnTo>
                <a:lnTo>
                  <a:pt x="529" y="301"/>
                </a:lnTo>
                <a:lnTo>
                  <a:pt x="529" y="305"/>
                </a:lnTo>
                <a:lnTo>
                  <a:pt x="530" y="307"/>
                </a:lnTo>
                <a:lnTo>
                  <a:pt x="530" y="310"/>
                </a:lnTo>
                <a:lnTo>
                  <a:pt x="532" y="316"/>
                </a:lnTo>
                <a:lnTo>
                  <a:pt x="534" y="318"/>
                </a:lnTo>
                <a:lnTo>
                  <a:pt x="539" y="320"/>
                </a:lnTo>
                <a:lnTo>
                  <a:pt x="540" y="321"/>
                </a:lnTo>
                <a:lnTo>
                  <a:pt x="542" y="329"/>
                </a:lnTo>
                <a:lnTo>
                  <a:pt x="543" y="330"/>
                </a:lnTo>
                <a:lnTo>
                  <a:pt x="543" y="331"/>
                </a:lnTo>
                <a:lnTo>
                  <a:pt x="545" y="331"/>
                </a:lnTo>
                <a:lnTo>
                  <a:pt x="545" y="333"/>
                </a:lnTo>
                <a:lnTo>
                  <a:pt x="546" y="338"/>
                </a:lnTo>
                <a:lnTo>
                  <a:pt x="546" y="342"/>
                </a:lnTo>
                <a:lnTo>
                  <a:pt x="548" y="347"/>
                </a:lnTo>
                <a:lnTo>
                  <a:pt x="548" y="350"/>
                </a:lnTo>
                <a:lnTo>
                  <a:pt x="551" y="353"/>
                </a:lnTo>
                <a:lnTo>
                  <a:pt x="551" y="355"/>
                </a:lnTo>
                <a:lnTo>
                  <a:pt x="549" y="357"/>
                </a:lnTo>
                <a:lnTo>
                  <a:pt x="548" y="357"/>
                </a:lnTo>
                <a:lnTo>
                  <a:pt x="545" y="356"/>
                </a:lnTo>
                <a:lnTo>
                  <a:pt x="545" y="357"/>
                </a:lnTo>
                <a:lnTo>
                  <a:pt x="546" y="357"/>
                </a:lnTo>
                <a:lnTo>
                  <a:pt x="545" y="359"/>
                </a:lnTo>
                <a:lnTo>
                  <a:pt x="542" y="357"/>
                </a:lnTo>
                <a:lnTo>
                  <a:pt x="542" y="359"/>
                </a:lnTo>
                <a:lnTo>
                  <a:pt x="541" y="359"/>
                </a:lnTo>
                <a:lnTo>
                  <a:pt x="541" y="361"/>
                </a:lnTo>
                <a:lnTo>
                  <a:pt x="539" y="361"/>
                </a:lnTo>
                <a:lnTo>
                  <a:pt x="539" y="357"/>
                </a:lnTo>
                <a:lnTo>
                  <a:pt x="538" y="357"/>
                </a:lnTo>
                <a:lnTo>
                  <a:pt x="538" y="359"/>
                </a:lnTo>
                <a:lnTo>
                  <a:pt x="534" y="359"/>
                </a:lnTo>
                <a:lnTo>
                  <a:pt x="534" y="355"/>
                </a:lnTo>
                <a:lnTo>
                  <a:pt x="533" y="354"/>
                </a:lnTo>
                <a:lnTo>
                  <a:pt x="530" y="354"/>
                </a:lnTo>
                <a:lnTo>
                  <a:pt x="530" y="355"/>
                </a:lnTo>
                <a:lnTo>
                  <a:pt x="529" y="357"/>
                </a:lnTo>
                <a:lnTo>
                  <a:pt x="527" y="357"/>
                </a:lnTo>
                <a:lnTo>
                  <a:pt x="527" y="356"/>
                </a:lnTo>
                <a:lnTo>
                  <a:pt x="522" y="356"/>
                </a:lnTo>
                <a:lnTo>
                  <a:pt x="522" y="354"/>
                </a:lnTo>
                <a:lnTo>
                  <a:pt x="521" y="354"/>
                </a:lnTo>
                <a:lnTo>
                  <a:pt x="521" y="356"/>
                </a:lnTo>
                <a:lnTo>
                  <a:pt x="520" y="356"/>
                </a:lnTo>
                <a:lnTo>
                  <a:pt x="520" y="361"/>
                </a:lnTo>
                <a:lnTo>
                  <a:pt x="518" y="361"/>
                </a:lnTo>
                <a:lnTo>
                  <a:pt x="517" y="360"/>
                </a:lnTo>
                <a:lnTo>
                  <a:pt x="517" y="355"/>
                </a:lnTo>
                <a:lnTo>
                  <a:pt x="516" y="355"/>
                </a:lnTo>
                <a:lnTo>
                  <a:pt x="516" y="356"/>
                </a:lnTo>
                <a:lnTo>
                  <a:pt x="515" y="357"/>
                </a:lnTo>
                <a:lnTo>
                  <a:pt x="512" y="357"/>
                </a:lnTo>
                <a:lnTo>
                  <a:pt x="511" y="355"/>
                </a:lnTo>
                <a:lnTo>
                  <a:pt x="509" y="355"/>
                </a:lnTo>
                <a:lnTo>
                  <a:pt x="509" y="359"/>
                </a:lnTo>
                <a:lnTo>
                  <a:pt x="511" y="361"/>
                </a:lnTo>
                <a:lnTo>
                  <a:pt x="508" y="362"/>
                </a:lnTo>
                <a:lnTo>
                  <a:pt x="508" y="363"/>
                </a:lnTo>
                <a:lnTo>
                  <a:pt x="507" y="364"/>
                </a:lnTo>
                <a:lnTo>
                  <a:pt x="507" y="366"/>
                </a:lnTo>
                <a:lnTo>
                  <a:pt x="505" y="367"/>
                </a:lnTo>
                <a:lnTo>
                  <a:pt x="504" y="367"/>
                </a:lnTo>
                <a:lnTo>
                  <a:pt x="505" y="364"/>
                </a:lnTo>
                <a:lnTo>
                  <a:pt x="504" y="362"/>
                </a:lnTo>
                <a:lnTo>
                  <a:pt x="503" y="361"/>
                </a:lnTo>
                <a:lnTo>
                  <a:pt x="501" y="361"/>
                </a:lnTo>
                <a:lnTo>
                  <a:pt x="499" y="360"/>
                </a:lnTo>
                <a:lnTo>
                  <a:pt x="498" y="360"/>
                </a:lnTo>
                <a:lnTo>
                  <a:pt x="498" y="357"/>
                </a:lnTo>
                <a:lnTo>
                  <a:pt x="496" y="357"/>
                </a:lnTo>
                <a:lnTo>
                  <a:pt x="495" y="356"/>
                </a:lnTo>
                <a:lnTo>
                  <a:pt x="493" y="353"/>
                </a:lnTo>
                <a:lnTo>
                  <a:pt x="492" y="350"/>
                </a:lnTo>
                <a:lnTo>
                  <a:pt x="487" y="347"/>
                </a:lnTo>
                <a:lnTo>
                  <a:pt x="486" y="347"/>
                </a:lnTo>
                <a:lnTo>
                  <a:pt x="486" y="348"/>
                </a:lnTo>
                <a:lnTo>
                  <a:pt x="487" y="349"/>
                </a:lnTo>
                <a:lnTo>
                  <a:pt x="487" y="350"/>
                </a:lnTo>
                <a:lnTo>
                  <a:pt x="489" y="351"/>
                </a:lnTo>
                <a:lnTo>
                  <a:pt x="489" y="360"/>
                </a:lnTo>
                <a:lnTo>
                  <a:pt x="487" y="361"/>
                </a:lnTo>
                <a:lnTo>
                  <a:pt x="487" y="362"/>
                </a:lnTo>
                <a:lnTo>
                  <a:pt x="486" y="362"/>
                </a:lnTo>
                <a:lnTo>
                  <a:pt x="486" y="360"/>
                </a:lnTo>
                <a:lnTo>
                  <a:pt x="485" y="359"/>
                </a:lnTo>
                <a:lnTo>
                  <a:pt x="483" y="357"/>
                </a:lnTo>
                <a:lnTo>
                  <a:pt x="483" y="359"/>
                </a:lnTo>
                <a:lnTo>
                  <a:pt x="481" y="360"/>
                </a:lnTo>
                <a:lnTo>
                  <a:pt x="480" y="360"/>
                </a:lnTo>
                <a:lnTo>
                  <a:pt x="480" y="357"/>
                </a:lnTo>
                <a:lnTo>
                  <a:pt x="481" y="357"/>
                </a:lnTo>
                <a:lnTo>
                  <a:pt x="481" y="355"/>
                </a:lnTo>
                <a:lnTo>
                  <a:pt x="479" y="353"/>
                </a:lnTo>
                <a:lnTo>
                  <a:pt x="479" y="351"/>
                </a:lnTo>
                <a:lnTo>
                  <a:pt x="477" y="350"/>
                </a:lnTo>
                <a:lnTo>
                  <a:pt x="474" y="351"/>
                </a:lnTo>
                <a:lnTo>
                  <a:pt x="474" y="353"/>
                </a:lnTo>
                <a:lnTo>
                  <a:pt x="473" y="354"/>
                </a:lnTo>
                <a:lnTo>
                  <a:pt x="474" y="356"/>
                </a:lnTo>
                <a:lnTo>
                  <a:pt x="474" y="357"/>
                </a:lnTo>
                <a:lnTo>
                  <a:pt x="473" y="357"/>
                </a:lnTo>
                <a:lnTo>
                  <a:pt x="473" y="360"/>
                </a:lnTo>
                <a:lnTo>
                  <a:pt x="474" y="361"/>
                </a:lnTo>
                <a:lnTo>
                  <a:pt x="473" y="364"/>
                </a:lnTo>
                <a:lnTo>
                  <a:pt x="471" y="363"/>
                </a:lnTo>
                <a:lnTo>
                  <a:pt x="470" y="361"/>
                </a:lnTo>
                <a:lnTo>
                  <a:pt x="468" y="361"/>
                </a:lnTo>
                <a:lnTo>
                  <a:pt x="468" y="363"/>
                </a:lnTo>
                <a:lnTo>
                  <a:pt x="470" y="364"/>
                </a:lnTo>
                <a:lnTo>
                  <a:pt x="471" y="364"/>
                </a:lnTo>
                <a:lnTo>
                  <a:pt x="473" y="366"/>
                </a:lnTo>
                <a:lnTo>
                  <a:pt x="474" y="366"/>
                </a:lnTo>
                <a:lnTo>
                  <a:pt x="476" y="368"/>
                </a:lnTo>
                <a:lnTo>
                  <a:pt x="476" y="370"/>
                </a:lnTo>
                <a:lnTo>
                  <a:pt x="474" y="370"/>
                </a:lnTo>
                <a:lnTo>
                  <a:pt x="473" y="372"/>
                </a:lnTo>
                <a:lnTo>
                  <a:pt x="473" y="369"/>
                </a:lnTo>
                <a:lnTo>
                  <a:pt x="471" y="367"/>
                </a:lnTo>
                <a:lnTo>
                  <a:pt x="470" y="368"/>
                </a:lnTo>
                <a:lnTo>
                  <a:pt x="471" y="369"/>
                </a:lnTo>
                <a:lnTo>
                  <a:pt x="471" y="370"/>
                </a:lnTo>
                <a:lnTo>
                  <a:pt x="470" y="372"/>
                </a:lnTo>
                <a:lnTo>
                  <a:pt x="471" y="372"/>
                </a:lnTo>
                <a:lnTo>
                  <a:pt x="471" y="375"/>
                </a:lnTo>
                <a:lnTo>
                  <a:pt x="467" y="375"/>
                </a:lnTo>
                <a:lnTo>
                  <a:pt x="471" y="376"/>
                </a:lnTo>
                <a:lnTo>
                  <a:pt x="472" y="376"/>
                </a:lnTo>
                <a:lnTo>
                  <a:pt x="473" y="374"/>
                </a:lnTo>
                <a:lnTo>
                  <a:pt x="472" y="374"/>
                </a:lnTo>
                <a:lnTo>
                  <a:pt x="471" y="372"/>
                </a:lnTo>
                <a:lnTo>
                  <a:pt x="472" y="370"/>
                </a:lnTo>
                <a:lnTo>
                  <a:pt x="473" y="372"/>
                </a:lnTo>
                <a:lnTo>
                  <a:pt x="473" y="373"/>
                </a:lnTo>
                <a:lnTo>
                  <a:pt x="476" y="374"/>
                </a:lnTo>
                <a:lnTo>
                  <a:pt x="476" y="375"/>
                </a:lnTo>
                <a:lnTo>
                  <a:pt x="473" y="376"/>
                </a:lnTo>
                <a:lnTo>
                  <a:pt x="473" y="379"/>
                </a:lnTo>
                <a:lnTo>
                  <a:pt x="474" y="379"/>
                </a:lnTo>
                <a:lnTo>
                  <a:pt x="477" y="380"/>
                </a:lnTo>
                <a:lnTo>
                  <a:pt x="477" y="384"/>
                </a:lnTo>
                <a:lnTo>
                  <a:pt x="474" y="381"/>
                </a:lnTo>
                <a:lnTo>
                  <a:pt x="473" y="381"/>
                </a:lnTo>
                <a:lnTo>
                  <a:pt x="471" y="379"/>
                </a:lnTo>
                <a:lnTo>
                  <a:pt x="470" y="380"/>
                </a:lnTo>
                <a:lnTo>
                  <a:pt x="470" y="381"/>
                </a:lnTo>
                <a:lnTo>
                  <a:pt x="468" y="381"/>
                </a:lnTo>
                <a:lnTo>
                  <a:pt x="465" y="378"/>
                </a:lnTo>
                <a:lnTo>
                  <a:pt x="461" y="376"/>
                </a:lnTo>
                <a:lnTo>
                  <a:pt x="460" y="374"/>
                </a:lnTo>
                <a:lnTo>
                  <a:pt x="459" y="374"/>
                </a:lnTo>
                <a:lnTo>
                  <a:pt x="456" y="372"/>
                </a:lnTo>
                <a:lnTo>
                  <a:pt x="454" y="370"/>
                </a:lnTo>
                <a:lnTo>
                  <a:pt x="453" y="369"/>
                </a:lnTo>
                <a:lnTo>
                  <a:pt x="452" y="367"/>
                </a:lnTo>
                <a:lnTo>
                  <a:pt x="449" y="366"/>
                </a:lnTo>
                <a:lnTo>
                  <a:pt x="449" y="364"/>
                </a:lnTo>
                <a:lnTo>
                  <a:pt x="449" y="366"/>
                </a:lnTo>
                <a:lnTo>
                  <a:pt x="450" y="369"/>
                </a:lnTo>
                <a:lnTo>
                  <a:pt x="453" y="372"/>
                </a:lnTo>
                <a:lnTo>
                  <a:pt x="458" y="374"/>
                </a:lnTo>
                <a:lnTo>
                  <a:pt x="464" y="380"/>
                </a:lnTo>
                <a:lnTo>
                  <a:pt x="465" y="380"/>
                </a:lnTo>
                <a:lnTo>
                  <a:pt x="465" y="381"/>
                </a:lnTo>
                <a:lnTo>
                  <a:pt x="467" y="384"/>
                </a:lnTo>
                <a:lnTo>
                  <a:pt x="465" y="384"/>
                </a:lnTo>
                <a:lnTo>
                  <a:pt x="464" y="385"/>
                </a:lnTo>
                <a:lnTo>
                  <a:pt x="462" y="385"/>
                </a:lnTo>
                <a:lnTo>
                  <a:pt x="462" y="386"/>
                </a:lnTo>
                <a:lnTo>
                  <a:pt x="460" y="386"/>
                </a:lnTo>
                <a:lnTo>
                  <a:pt x="454" y="385"/>
                </a:lnTo>
                <a:lnTo>
                  <a:pt x="453" y="385"/>
                </a:lnTo>
                <a:lnTo>
                  <a:pt x="455" y="388"/>
                </a:lnTo>
                <a:lnTo>
                  <a:pt x="456" y="390"/>
                </a:lnTo>
                <a:lnTo>
                  <a:pt x="456" y="387"/>
                </a:lnTo>
                <a:lnTo>
                  <a:pt x="459" y="391"/>
                </a:lnTo>
                <a:lnTo>
                  <a:pt x="460" y="392"/>
                </a:lnTo>
                <a:lnTo>
                  <a:pt x="460" y="394"/>
                </a:lnTo>
                <a:lnTo>
                  <a:pt x="459" y="396"/>
                </a:lnTo>
                <a:lnTo>
                  <a:pt x="456" y="393"/>
                </a:lnTo>
                <a:lnTo>
                  <a:pt x="456" y="398"/>
                </a:lnTo>
                <a:lnTo>
                  <a:pt x="454" y="398"/>
                </a:lnTo>
                <a:lnTo>
                  <a:pt x="454" y="397"/>
                </a:lnTo>
                <a:lnTo>
                  <a:pt x="453" y="398"/>
                </a:lnTo>
                <a:lnTo>
                  <a:pt x="450" y="398"/>
                </a:lnTo>
                <a:lnTo>
                  <a:pt x="447" y="397"/>
                </a:lnTo>
                <a:lnTo>
                  <a:pt x="446" y="397"/>
                </a:lnTo>
                <a:lnTo>
                  <a:pt x="447" y="398"/>
                </a:lnTo>
                <a:lnTo>
                  <a:pt x="443" y="398"/>
                </a:lnTo>
                <a:lnTo>
                  <a:pt x="442" y="397"/>
                </a:lnTo>
                <a:lnTo>
                  <a:pt x="440" y="397"/>
                </a:lnTo>
                <a:lnTo>
                  <a:pt x="440" y="398"/>
                </a:lnTo>
                <a:lnTo>
                  <a:pt x="437" y="399"/>
                </a:lnTo>
                <a:lnTo>
                  <a:pt x="436" y="400"/>
                </a:lnTo>
                <a:lnTo>
                  <a:pt x="437" y="400"/>
                </a:lnTo>
                <a:lnTo>
                  <a:pt x="437" y="402"/>
                </a:lnTo>
                <a:lnTo>
                  <a:pt x="436" y="403"/>
                </a:lnTo>
                <a:lnTo>
                  <a:pt x="437" y="404"/>
                </a:lnTo>
                <a:lnTo>
                  <a:pt x="439" y="404"/>
                </a:lnTo>
                <a:lnTo>
                  <a:pt x="440" y="405"/>
                </a:lnTo>
                <a:lnTo>
                  <a:pt x="440" y="406"/>
                </a:lnTo>
                <a:lnTo>
                  <a:pt x="442" y="406"/>
                </a:lnTo>
                <a:lnTo>
                  <a:pt x="442" y="405"/>
                </a:lnTo>
                <a:lnTo>
                  <a:pt x="443" y="405"/>
                </a:lnTo>
                <a:lnTo>
                  <a:pt x="445" y="407"/>
                </a:lnTo>
                <a:lnTo>
                  <a:pt x="447" y="410"/>
                </a:lnTo>
                <a:lnTo>
                  <a:pt x="447" y="411"/>
                </a:lnTo>
                <a:lnTo>
                  <a:pt x="443" y="415"/>
                </a:lnTo>
                <a:lnTo>
                  <a:pt x="441" y="415"/>
                </a:lnTo>
                <a:lnTo>
                  <a:pt x="440" y="413"/>
                </a:lnTo>
                <a:lnTo>
                  <a:pt x="440" y="412"/>
                </a:lnTo>
                <a:lnTo>
                  <a:pt x="439" y="410"/>
                </a:lnTo>
                <a:lnTo>
                  <a:pt x="439" y="409"/>
                </a:lnTo>
                <a:lnTo>
                  <a:pt x="436" y="406"/>
                </a:lnTo>
                <a:lnTo>
                  <a:pt x="435" y="406"/>
                </a:lnTo>
                <a:lnTo>
                  <a:pt x="434" y="405"/>
                </a:lnTo>
                <a:lnTo>
                  <a:pt x="433" y="403"/>
                </a:lnTo>
                <a:lnTo>
                  <a:pt x="431" y="402"/>
                </a:lnTo>
                <a:lnTo>
                  <a:pt x="430" y="403"/>
                </a:lnTo>
                <a:lnTo>
                  <a:pt x="429" y="403"/>
                </a:lnTo>
                <a:lnTo>
                  <a:pt x="428" y="405"/>
                </a:lnTo>
                <a:lnTo>
                  <a:pt x="434" y="406"/>
                </a:lnTo>
                <a:lnTo>
                  <a:pt x="435" y="407"/>
                </a:lnTo>
                <a:lnTo>
                  <a:pt x="437" y="412"/>
                </a:lnTo>
                <a:lnTo>
                  <a:pt x="440" y="416"/>
                </a:lnTo>
                <a:lnTo>
                  <a:pt x="442" y="422"/>
                </a:lnTo>
                <a:lnTo>
                  <a:pt x="443" y="424"/>
                </a:lnTo>
                <a:lnTo>
                  <a:pt x="440" y="424"/>
                </a:lnTo>
                <a:lnTo>
                  <a:pt x="441" y="425"/>
                </a:lnTo>
                <a:lnTo>
                  <a:pt x="441" y="428"/>
                </a:lnTo>
                <a:lnTo>
                  <a:pt x="440" y="430"/>
                </a:lnTo>
                <a:lnTo>
                  <a:pt x="441" y="431"/>
                </a:lnTo>
                <a:lnTo>
                  <a:pt x="442" y="431"/>
                </a:lnTo>
                <a:lnTo>
                  <a:pt x="441" y="433"/>
                </a:lnTo>
                <a:lnTo>
                  <a:pt x="436" y="433"/>
                </a:lnTo>
                <a:lnTo>
                  <a:pt x="437" y="435"/>
                </a:lnTo>
                <a:lnTo>
                  <a:pt x="437" y="436"/>
                </a:lnTo>
                <a:lnTo>
                  <a:pt x="439" y="436"/>
                </a:lnTo>
                <a:lnTo>
                  <a:pt x="437" y="437"/>
                </a:lnTo>
                <a:lnTo>
                  <a:pt x="435" y="437"/>
                </a:lnTo>
                <a:lnTo>
                  <a:pt x="435" y="439"/>
                </a:lnTo>
                <a:lnTo>
                  <a:pt x="434" y="439"/>
                </a:lnTo>
                <a:lnTo>
                  <a:pt x="433" y="440"/>
                </a:lnTo>
                <a:lnTo>
                  <a:pt x="433" y="441"/>
                </a:lnTo>
                <a:lnTo>
                  <a:pt x="434" y="442"/>
                </a:lnTo>
                <a:lnTo>
                  <a:pt x="433" y="442"/>
                </a:lnTo>
                <a:lnTo>
                  <a:pt x="428" y="443"/>
                </a:lnTo>
                <a:lnTo>
                  <a:pt x="427" y="443"/>
                </a:lnTo>
                <a:lnTo>
                  <a:pt x="427" y="445"/>
                </a:lnTo>
                <a:lnTo>
                  <a:pt x="428" y="445"/>
                </a:lnTo>
                <a:lnTo>
                  <a:pt x="428" y="446"/>
                </a:lnTo>
                <a:lnTo>
                  <a:pt x="427" y="447"/>
                </a:lnTo>
                <a:lnTo>
                  <a:pt x="427" y="448"/>
                </a:lnTo>
                <a:lnTo>
                  <a:pt x="425" y="448"/>
                </a:lnTo>
                <a:lnTo>
                  <a:pt x="425" y="453"/>
                </a:lnTo>
                <a:lnTo>
                  <a:pt x="424" y="453"/>
                </a:lnTo>
                <a:lnTo>
                  <a:pt x="424" y="455"/>
                </a:lnTo>
                <a:lnTo>
                  <a:pt x="422" y="456"/>
                </a:lnTo>
                <a:lnTo>
                  <a:pt x="421" y="455"/>
                </a:lnTo>
                <a:lnTo>
                  <a:pt x="421" y="453"/>
                </a:lnTo>
                <a:lnTo>
                  <a:pt x="420" y="453"/>
                </a:lnTo>
                <a:lnTo>
                  <a:pt x="418" y="454"/>
                </a:lnTo>
                <a:lnTo>
                  <a:pt x="418" y="456"/>
                </a:lnTo>
                <a:lnTo>
                  <a:pt x="420" y="456"/>
                </a:lnTo>
                <a:lnTo>
                  <a:pt x="421" y="458"/>
                </a:lnTo>
                <a:lnTo>
                  <a:pt x="421" y="460"/>
                </a:lnTo>
                <a:lnTo>
                  <a:pt x="427" y="460"/>
                </a:lnTo>
                <a:lnTo>
                  <a:pt x="429" y="461"/>
                </a:lnTo>
                <a:lnTo>
                  <a:pt x="430" y="461"/>
                </a:lnTo>
                <a:lnTo>
                  <a:pt x="430" y="462"/>
                </a:lnTo>
                <a:lnTo>
                  <a:pt x="429" y="464"/>
                </a:lnTo>
                <a:lnTo>
                  <a:pt x="427" y="464"/>
                </a:lnTo>
                <a:lnTo>
                  <a:pt x="428" y="465"/>
                </a:lnTo>
                <a:lnTo>
                  <a:pt x="428" y="466"/>
                </a:lnTo>
                <a:lnTo>
                  <a:pt x="430" y="468"/>
                </a:lnTo>
                <a:lnTo>
                  <a:pt x="430" y="470"/>
                </a:lnTo>
                <a:lnTo>
                  <a:pt x="429" y="470"/>
                </a:lnTo>
                <a:lnTo>
                  <a:pt x="429" y="471"/>
                </a:lnTo>
                <a:lnTo>
                  <a:pt x="427" y="468"/>
                </a:lnTo>
                <a:lnTo>
                  <a:pt x="425" y="468"/>
                </a:lnTo>
                <a:lnTo>
                  <a:pt x="424" y="467"/>
                </a:lnTo>
                <a:lnTo>
                  <a:pt x="424" y="466"/>
                </a:lnTo>
                <a:lnTo>
                  <a:pt x="423" y="465"/>
                </a:lnTo>
                <a:lnTo>
                  <a:pt x="422" y="465"/>
                </a:lnTo>
                <a:lnTo>
                  <a:pt x="422" y="470"/>
                </a:lnTo>
                <a:lnTo>
                  <a:pt x="424" y="472"/>
                </a:lnTo>
                <a:lnTo>
                  <a:pt x="427" y="472"/>
                </a:lnTo>
                <a:lnTo>
                  <a:pt x="428" y="474"/>
                </a:lnTo>
                <a:lnTo>
                  <a:pt x="427" y="474"/>
                </a:lnTo>
                <a:lnTo>
                  <a:pt x="428" y="476"/>
                </a:lnTo>
                <a:lnTo>
                  <a:pt x="428" y="477"/>
                </a:lnTo>
                <a:lnTo>
                  <a:pt x="430" y="477"/>
                </a:lnTo>
                <a:lnTo>
                  <a:pt x="430" y="479"/>
                </a:lnTo>
                <a:lnTo>
                  <a:pt x="431" y="479"/>
                </a:lnTo>
                <a:lnTo>
                  <a:pt x="431" y="482"/>
                </a:lnTo>
                <a:lnTo>
                  <a:pt x="433" y="480"/>
                </a:lnTo>
                <a:lnTo>
                  <a:pt x="433" y="477"/>
                </a:lnTo>
                <a:lnTo>
                  <a:pt x="435" y="479"/>
                </a:lnTo>
                <a:lnTo>
                  <a:pt x="435" y="482"/>
                </a:lnTo>
                <a:lnTo>
                  <a:pt x="436" y="482"/>
                </a:lnTo>
                <a:lnTo>
                  <a:pt x="436" y="479"/>
                </a:lnTo>
                <a:lnTo>
                  <a:pt x="437" y="479"/>
                </a:lnTo>
                <a:lnTo>
                  <a:pt x="437" y="483"/>
                </a:lnTo>
                <a:lnTo>
                  <a:pt x="440" y="485"/>
                </a:lnTo>
                <a:lnTo>
                  <a:pt x="439" y="486"/>
                </a:lnTo>
                <a:lnTo>
                  <a:pt x="437" y="485"/>
                </a:lnTo>
                <a:lnTo>
                  <a:pt x="437" y="484"/>
                </a:lnTo>
                <a:lnTo>
                  <a:pt x="436" y="483"/>
                </a:lnTo>
                <a:lnTo>
                  <a:pt x="435" y="485"/>
                </a:lnTo>
                <a:lnTo>
                  <a:pt x="434" y="486"/>
                </a:lnTo>
                <a:lnTo>
                  <a:pt x="433" y="485"/>
                </a:lnTo>
                <a:lnTo>
                  <a:pt x="433" y="484"/>
                </a:lnTo>
                <a:lnTo>
                  <a:pt x="431" y="484"/>
                </a:lnTo>
                <a:lnTo>
                  <a:pt x="431" y="485"/>
                </a:lnTo>
                <a:lnTo>
                  <a:pt x="433" y="485"/>
                </a:lnTo>
                <a:lnTo>
                  <a:pt x="434" y="487"/>
                </a:lnTo>
                <a:lnTo>
                  <a:pt x="434" y="486"/>
                </a:lnTo>
                <a:lnTo>
                  <a:pt x="437" y="486"/>
                </a:lnTo>
                <a:lnTo>
                  <a:pt x="437" y="492"/>
                </a:lnTo>
                <a:lnTo>
                  <a:pt x="439" y="492"/>
                </a:lnTo>
                <a:lnTo>
                  <a:pt x="440" y="491"/>
                </a:lnTo>
                <a:lnTo>
                  <a:pt x="441" y="491"/>
                </a:lnTo>
                <a:lnTo>
                  <a:pt x="441" y="490"/>
                </a:lnTo>
                <a:lnTo>
                  <a:pt x="442" y="490"/>
                </a:lnTo>
                <a:lnTo>
                  <a:pt x="442" y="493"/>
                </a:lnTo>
                <a:lnTo>
                  <a:pt x="441" y="493"/>
                </a:lnTo>
                <a:lnTo>
                  <a:pt x="441" y="495"/>
                </a:lnTo>
                <a:lnTo>
                  <a:pt x="440" y="495"/>
                </a:lnTo>
                <a:lnTo>
                  <a:pt x="439" y="496"/>
                </a:lnTo>
                <a:lnTo>
                  <a:pt x="436" y="501"/>
                </a:lnTo>
                <a:lnTo>
                  <a:pt x="433" y="504"/>
                </a:lnTo>
                <a:lnTo>
                  <a:pt x="431" y="503"/>
                </a:lnTo>
                <a:lnTo>
                  <a:pt x="431" y="502"/>
                </a:lnTo>
                <a:lnTo>
                  <a:pt x="430" y="502"/>
                </a:lnTo>
                <a:lnTo>
                  <a:pt x="430" y="505"/>
                </a:lnTo>
                <a:lnTo>
                  <a:pt x="431" y="505"/>
                </a:lnTo>
                <a:lnTo>
                  <a:pt x="431" y="507"/>
                </a:lnTo>
                <a:lnTo>
                  <a:pt x="430" y="507"/>
                </a:lnTo>
                <a:lnTo>
                  <a:pt x="429" y="508"/>
                </a:lnTo>
                <a:lnTo>
                  <a:pt x="428" y="508"/>
                </a:lnTo>
                <a:lnTo>
                  <a:pt x="428" y="507"/>
                </a:lnTo>
                <a:lnTo>
                  <a:pt x="427" y="507"/>
                </a:lnTo>
                <a:lnTo>
                  <a:pt x="422" y="515"/>
                </a:lnTo>
                <a:lnTo>
                  <a:pt x="420" y="515"/>
                </a:lnTo>
                <a:lnTo>
                  <a:pt x="418" y="519"/>
                </a:lnTo>
                <a:lnTo>
                  <a:pt x="416" y="522"/>
                </a:lnTo>
                <a:lnTo>
                  <a:pt x="415" y="525"/>
                </a:lnTo>
                <a:lnTo>
                  <a:pt x="415" y="527"/>
                </a:lnTo>
                <a:lnTo>
                  <a:pt x="414" y="530"/>
                </a:lnTo>
                <a:lnTo>
                  <a:pt x="414" y="534"/>
                </a:lnTo>
                <a:lnTo>
                  <a:pt x="412" y="535"/>
                </a:lnTo>
                <a:lnTo>
                  <a:pt x="412" y="539"/>
                </a:lnTo>
                <a:lnTo>
                  <a:pt x="411" y="539"/>
                </a:lnTo>
                <a:lnTo>
                  <a:pt x="411" y="540"/>
                </a:lnTo>
                <a:lnTo>
                  <a:pt x="410" y="540"/>
                </a:lnTo>
                <a:lnTo>
                  <a:pt x="410" y="542"/>
                </a:lnTo>
                <a:lnTo>
                  <a:pt x="409" y="545"/>
                </a:lnTo>
                <a:lnTo>
                  <a:pt x="408" y="548"/>
                </a:lnTo>
                <a:lnTo>
                  <a:pt x="408" y="550"/>
                </a:lnTo>
                <a:lnTo>
                  <a:pt x="405" y="551"/>
                </a:lnTo>
                <a:lnTo>
                  <a:pt x="404" y="551"/>
                </a:lnTo>
                <a:lnTo>
                  <a:pt x="403" y="552"/>
                </a:lnTo>
                <a:lnTo>
                  <a:pt x="403" y="553"/>
                </a:lnTo>
                <a:lnTo>
                  <a:pt x="405" y="553"/>
                </a:lnTo>
                <a:lnTo>
                  <a:pt x="404" y="556"/>
                </a:lnTo>
                <a:lnTo>
                  <a:pt x="403" y="557"/>
                </a:lnTo>
                <a:lnTo>
                  <a:pt x="402" y="554"/>
                </a:lnTo>
                <a:lnTo>
                  <a:pt x="402" y="553"/>
                </a:lnTo>
                <a:lnTo>
                  <a:pt x="400" y="553"/>
                </a:lnTo>
                <a:lnTo>
                  <a:pt x="398" y="556"/>
                </a:lnTo>
                <a:lnTo>
                  <a:pt x="396" y="553"/>
                </a:lnTo>
                <a:lnTo>
                  <a:pt x="394" y="558"/>
                </a:lnTo>
                <a:lnTo>
                  <a:pt x="393" y="559"/>
                </a:lnTo>
                <a:lnTo>
                  <a:pt x="392" y="559"/>
                </a:lnTo>
                <a:lnTo>
                  <a:pt x="392" y="566"/>
                </a:lnTo>
                <a:lnTo>
                  <a:pt x="391" y="568"/>
                </a:lnTo>
                <a:lnTo>
                  <a:pt x="390" y="568"/>
                </a:lnTo>
                <a:lnTo>
                  <a:pt x="390" y="562"/>
                </a:lnTo>
                <a:lnTo>
                  <a:pt x="389" y="560"/>
                </a:lnTo>
                <a:lnTo>
                  <a:pt x="389" y="568"/>
                </a:lnTo>
                <a:lnTo>
                  <a:pt x="387" y="570"/>
                </a:lnTo>
                <a:lnTo>
                  <a:pt x="386" y="569"/>
                </a:lnTo>
                <a:lnTo>
                  <a:pt x="386" y="565"/>
                </a:lnTo>
                <a:lnTo>
                  <a:pt x="387" y="563"/>
                </a:lnTo>
                <a:lnTo>
                  <a:pt x="385" y="565"/>
                </a:lnTo>
                <a:lnTo>
                  <a:pt x="385" y="570"/>
                </a:lnTo>
                <a:lnTo>
                  <a:pt x="381" y="570"/>
                </a:lnTo>
                <a:lnTo>
                  <a:pt x="380" y="571"/>
                </a:lnTo>
                <a:lnTo>
                  <a:pt x="379" y="570"/>
                </a:lnTo>
                <a:lnTo>
                  <a:pt x="379" y="569"/>
                </a:lnTo>
                <a:lnTo>
                  <a:pt x="377" y="569"/>
                </a:lnTo>
                <a:lnTo>
                  <a:pt x="377" y="570"/>
                </a:lnTo>
                <a:lnTo>
                  <a:pt x="375" y="570"/>
                </a:lnTo>
                <a:lnTo>
                  <a:pt x="375" y="572"/>
                </a:lnTo>
                <a:lnTo>
                  <a:pt x="377" y="575"/>
                </a:lnTo>
                <a:lnTo>
                  <a:pt x="373" y="573"/>
                </a:lnTo>
                <a:lnTo>
                  <a:pt x="372" y="573"/>
                </a:lnTo>
                <a:lnTo>
                  <a:pt x="369" y="575"/>
                </a:lnTo>
                <a:lnTo>
                  <a:pt x="369" y="577"/>
                </a:lnTo>
                <a:lnTo>
                  <a:pt x="365" y="582"/>
                </a:lnTo>
                <a:lnTo>
                  <a:pt x="365" y="588"/>
                </a:lnTo>
                <a:lnTo>
                  <a:pt x="363" y="588"/>
                </a:lnTo>
                <a:lnTo>
                  <a:pt x="363" y="589"/>
                </a:lnTo>
                <a:lnTo>
                  <a:pt x="362" y="590"/>
                </a:lnTo>
                <a:lnTo>
                  <a:pt x="361" y="590"/>
                </a:lnTo>
                <a:lnTo>
                  <a:pt x="360" y="589"/>
                </a:lnTo>
                <a:lnTo>
                  <a:pt x="360" y="587"/>
                </a:lnTo>
                <a:lnTo>
                  <a:pt x="359" y="585"/>
                </a:lnTo>
                <a:lnTo>
                  <a:pt x="359" y="584"/>
                </a:lnTo>
                <a:lnTo>
                  <a:pt x="358" y="584"/>
                </a:lnTo>
                <a:lnTo>
                  <a:pt x="358" y="582"/>
                </a:lnTo>
                <a:lnTo>
                  <a:pt x="355" y="582"/>
                </a:lnTo>
                <a:lnTo>
                  <a:pt x="353" y="579"/>
                </a:lnTo>
                <a:lnTo>
                  <a:pt x="353" y="578"/>
                </a:lnTo>
                <a:lnTo>
                  <a:pt x="352" y="578"/>
                </a:lnTo>
                <a:lnTo>
                  <a:pt x="350" y="579"/>
                </a:lnTo>
                <a:lnTo>
                  <a:pt x="350" y="581"/>
                </a:lnTo>
                <a:lnTo>
                  <a:pt x="353" y="581"/>
                </a:lnTo>
                <a:lnTo>
                  <a:pt x="352" y="583"/>
                </a:lnTo>
                <a:lnTo>
                  <a:pt x="353" y="584"/>
                </a:lnTo>
                <a:lnTo>
                  <a:pt x="354" y="584"/>
                </a:lnTo>
                <a:lnTo>
                  <a:pt x="355" y="585"/>
                </a:lnTo>
                <a:lnTo>
                  <a:pt x="354" y="587"/>
                </a:lnTo>
                <a:lnTo>
                  <a:pt x="352" y="587"/>
                </a:lnTo>
                <a:lnTo>
                  <a:pt x="353" y="588"/>
                </a:lnTo>
                <a:lnTo>
                  <a:pt x="354" y="590"/>
                </a:lnTo>
                <a:lnTo>
                  <a:pt x="354" y="593"/>
                </a:lnTo>
                <a:lnTo>
                  <a:pt x="353" y="593"/>
                </a:lnTo>
                <a:lnTo>
                  <a:pt x="352" y="590"/>
                </a:lnTo>
                <a:lnTo>
                  <a:pt x="347" y="585"/>
                </a:lnTo>
                <a:lnTo>
                  <a:pt x="347" y="587"/>
                </a:lnTo>
                <a:lnTo>
                  <a:pt x="348" y="589"/>
                </a:lnTo>
                <a:lnTo>
                  <a:pt x="347" y="590"/>
                </a:lnTo>
                <a:lnTo>
                  <a:pt x="347" y="589"/>
                </a:lnTo>
                <a:lnTo>
                  <a:pt x="346" y="588"/>
                </a:lnTo>
                <a:lnTo>
                  <a:pt x="344" y="588"/>
                </a:lnTo>
                <a:lnTo>
                  <a:pt x="344" y="599"/>
                </a:lnTo>
                <a:lnTo>
                  <a:pt x="343" y="601"/>
                </a:lnTo>
                <a:lnTo>
                  <a:pt x="342" y="601"/>
                </a:lnTo>
                <a:lnTo>
                  <a:pt x="342" y="599"/>
                </a:lnTo>
                <a:lnTo>
                  <a:pt x="341" y="601"/>
                </a:lnTo>
                <a:lnTo>
                  <a:pt x="340" y="601"/>
                </a:lnTo>
                <a:lnTo>
                  <a:pt x="338" y="602"/>
                </a:lnTo>
                <a:lnTo>
                  <a:pt x="338" y="605"/>
                </a:lnTo>
                <a:lnTo>
                  <a:pt x="337" y="607"/>
                </a:lnTo>
                <a:lnTo>
                  <a:pt x="337" y="608"/>
                </a:lnTo>
                <a:lnTo>
                  <a:pt x="338" y="608"/>
                </a:lnTo>
                <a:lnTo>
                  <a:pt x="337" y="609"/>
                </a:lnTo>
                <a:lnTo>
                  <a:pt x="336" y="609"/>
                </a:lnTo>
                <a:lnTo>
                  <a:pt x="335" y="607"/>
                </a:lnTo>
                <a:lnTo>
                  <a:pt x="334" y="609"/>
                </a:lnTo>
                <a:lnTo>
                  <a:pt x="335" y="611"/>
                </a:lnTo>
                <a:lnTo>
                  <a:pt x="337" y="611"/>
                </a:lnTo>
                <a:lnTo>
                  <a:pt x="337" y="612"/>
                </a:lnTo>
                <a:lnTo>
                  <a:pt x="336" y="612"/>
                </a:lnTo>
                <a:lnTo>
                  <a:pt x="335" y="613"/>
                </a:lnTo>
                <a:lnTo>
                  <a:pt x="335" y="614"/>
                </a:lnTo>
                <a:lnTo>
                  <a:pt x="334" y="614"/>
                </a:lnTo>
                <a:lnTo>
                  <a:pt x="333" y="613"/>
                </a:lnTo>
                <a:lnTo>
                  <a:pt x="333" y="612"/>
                </a:lnTo>
                <a:lnTo>
                  <a:pt x="331" y="611"/>
                </a:lnTo>
                <a:lnTo>
                  <a:pt x="331" y="609"/>
                </a:lnTo>
                <a:lnTo>
                  <a:pt x="329" y="607"/>
                </a:lnTo>
                <a:lnTo>
                  <a:pt x="329" y="606"/>
                </a:lnTo>
                <a:lnTo>
                  <a:pt x="328" y="606"/>
                </a:lnTo>
                <a:lnTo>
                  <a:pt x="328" y="608"/>
                </a:lnTo>
                <a:lnTo>
                  <a:pt x="327" y="608"/>
                </a:lnTo>
                <a:lnTo>
                  <a:pt x="324" y="607"/>
                </a:lnTo>
                <a:lnTo>
                  <a:pt x="322" y="607"/>
                </a:lnTo>
                <a:lnTo>
                  <a:pt x="322" y="608"/>
                </a:lnTo>
                <a:lnTo>
                  <a:pt x="329" y="612"/>
                </a:lnTo>
                <a:lnTo>
                  <a:pt x="328" y="613"/>
                </a:lnTo>
                <a:lnTo>
                  <a:pt x="324" y="613"/>
                </a:lnTo>
                <a:lnTo>
                  <a:pt x="324" y="615"/>
                </a:lnTo>
                <a:lnTo>
                  <a:pt x="323" y="615"/>
                </a:lnTo>
                <a:lnTo>
                  <a:pt x="323" y="614"/>
                </a:lnTo>
                <a:lnTo>
                  <a:pt x="322" y="613"/>
                </a:lnTo>
                <a:lnTo>
                  <a:pt x="322" y="612"/>
                </a:lnTo>
                <a:lnTo>
                  <a:pt x="325" y="612"/>
                </a:lnTo>
                <a:lnTo>
                  <a:pt x="325" y="611"/>
                </a:lnTo>
                <a:lnTo>
                  <a:pt x="321" y="609"/>
                </a:lnTo>
                <a:lnTo>
                  <a:pt x="319" y="611"/>
                </a:lnTo>
                <a:lnTo>
                  <a:pt x="321" y="611"/>
                </a:lnTo>
                <a:lnTo>
                  <a:pt x="321" y="613"/>
                </a:lnTo>
                <a:lnTo>
                  <a:pt x="322" y="615"/>
                </a:lnTo>
                <a:lnTo>
                  <a:pt x="322" y="616"/>
                </a:lnTo>
                <a:lnTo>
                  <a:pt x="316" y="614"/>
                </a:lnTo>
                <a:lnTo>
                  <a:pt x="315" y="614"/>
                </a:lnTo>
                <a:lnTo>
                  <a:pt x="315" y="615"/>
                </a:lnTo>
                <a:lnTo>
                  <a:pt x="316" y="615"/>
                </a:lnTo>
                <a:lnTo>
                  <a:pt x="317" y="616"/>
                </a:lnTo>
                <a:lnTo>
                  <a:pt x="317" y="618"/>
                </a:lnTo>
                <a:lnTo>
                  <a:pt x="318" y="619"/>
                </a:lnTo>
                <a:lnTo>
                  <a:pt x="318" y="620"/>
                </a:lnTo>
                <a:lnTo>
                  <a:pt x="317" y="621"/>
                </a:lnTo>
                <a:lnTo>
                  <a:pt x="317" y="620"/>
                </a:lnTo>
                <a:lnTo>
                  <a:pt x="313" y="620"/>
                </a:lnTo>
                <a:lnTo>
                  <a:pt x="313" y="624"/>
                </a:lnTo>
                <a:lnTo>
                  <a:pt x="312" y="626"/>
                </a:lnTo>
                <a:lnTo>
                  <a:pt x="311" y="626"/>
                </a:lnTo>
                <a:lnTo>
                  <a:pt x="311" y="630"/>
                </a:lnTo>
                <a:lnTo>
                  <a:pt x="307" y="626"/>
                </a:lnTo>
                <a:lnTo>
                  <a:pt x="306" y="626"/>
                </a:lnTo>
                <a:lnTo>
                  <a:pt x="306" y="627"/>
                </a:lnTo>
                <a:lnTo>
                  <a:pt x="307" y="628"/>
                </a:lnTo>
                <a:lnTo>
                  <a:pt x="309" y="628"/>
                </a:lnTo>
                <a:lnTo>
                  <a:pt x="309" y="630"/>
                </a:lnTo>
                <a:lnTo>
                  <a:pt x="306" y="630"/>
                </a:lnTo>
                <a:lnTo>
                  <a:pt x="305" y="628"/>
                </a:lnTo>
                <a:lnTo>
                  <a:pt x="303" y="631"/>
                </a:lnTo>
                <a:lnTo>
                  <a:pt x="300" y="631"/>
                </a:lnTo>
                <a:lnTo>
                  <a:pt x="302" y="632"/>
                </a:lnTo>
                <a:lnTo>
                  <a:pt x="313" y="632"/>
                </a:lnTo>
                <a:lnTo>
                  <a:pt x="315" y="633"/>
                </a:lnTo>
                <a:lnTo>
                  <a:pt x="315" y="636"/>
                </a:lnTo>
                <a:lnTo>
                  <a:pt x="313" y="636"/>
                </a:lnTo>
                <a:lnTo>
                  <a:pt x="313" y="633"/>
                </a:lnTo>
                <a:lnTo>
                  <a:pt x="312" y="636"/>
                </a:lnTo>
                <a:lnTo>
                  <a:pt x="311" y="636"/>
                </a:lnTo>
                <a:lnTo>
                  <a:pt x="307" y="634"/>
                </a:lnTo>
                <a:lnTo>
                  <a:pt x="307" y="637"/>
                </a:lnTo>
                <a:lnTo>
                  <a:pt x="309" y="638"/>
                </a:lnTo>
                <a:lnTo>
                  <a:pt x="312" y="638"/>
                </a:lnTo>
                <a:lnTo>
                  <a:pt x="312" y="640"/>
                </a:lnTo>
                <a:lnTo>
                  <a:pt x="310" y="640"/>
                </a:lnTo>
                <a:lnTo>
                  <a:pt x="307" y="639"/>
                </a:lnTo>
                <a:lnTo>
                  <a:pt x="307" y="640"/>
                </a:lnTo>
                <a:lnTo>
                  <a:pt x="310" y="642"/>
                </a:lnTo>
                <a:lnTo>
                  <a:pt x="310" y="644"/>
                </a:lnTo>
                <a:lnTo>
                  <a:pt x="309" y="645"/>
                </a:lnTo>
                <a:lnTo>
                  <a:pt x="307" y="645"/>
                </a:lnTo>
                <a:lnTo>
                  <a:pt x="307" y="646"/>
                </a:lnTo>
                <a:lnTo>
                  <a:pt x="304" y="646"/>
                </a:lnTo>
                <a:lnTo>
                  <a:pt x="304" y="645"/>
                </a:lnTo>
                <a:lnTo>
                  <a:pt x="303" y="643"/>
                </a:lnTo>
                <a:lnTo>
                  <a:pt x="302" y="642"/>
                </a:lnTo>
                <a:lnTo>
                  <a:pt x="300" y="642"/>
                </a:lnTo>
                <a:lnTo>
                  <a:pt x="302" y="643"/>
                </a:lnTo>
                <a:lnTo>
                  <a:pt x="299" y="643"/>
                </a:lnTo>
                <a:lnTo>
                  <a:pt x="299" y="646"/>
                </a:lnTo>
                <a:lnTo>
                  <a:pt x="300" y="648"/>
                </a:lnTo>
                <a:lnTo>
                  <a:pt x="302" y="645"/>
                </a:lnTo>
                <a:lnTo>
                  <a:pt x="303" y="646"/>
                </a:lnTo>
                <a:lnTo>
                  <a:pt x="302" y="649"/>
                </a:lnTo>
                <a:lnTo>
                  <a:pt x="299" y="651"/>
                </a:lnTo>
                <a:lnTo>
                  <a:pt x="299" y="652"/>
                </a:lnTo>
                <a:lnTo>
                  <a:pt x="298" y="651"/>
                </a:lnTo>
                <a:lnTo>
                  <a:pt x="298" y="650"/>
                </a:lnTo>
                <a:lnTo>
                  <a:pt x="299" y="649"/>
                </a:lnTo>
                <a:lnTo>
                  <a:pt x="298" y="649"/>
                </a:lnTo>
                <a:lnTo>
                  <a:pt x="298" y="650"/>
                </a:lnTo>
                <a:lnTo>
                  <a:pt x="297" y="651"/>
                </a:lnTo>
                <a:lnTo>
                  <a:pt x="297" y="652"/>
                </a:lnTo>
                <a:lnTo>
                  <a:pt x="293" y="652"/>
                </a:lnTo>
                <a:lnTo>
                  <a:pt x="294" y="651"/>
                </a:lnTo>
                <a:lnTo>
                  <a:pt x="293" y="650"/>
                </a:lnTo>
                <a:lnTo>
                  <a:pt x="291" y="650"/>
                </a:lnTo>
                <a:lnTo>
                  <a:pt x="292" y="649"/>
                </a:lnTo>
                <a:lnTo>
                  <a:pt x="296" y="649"/>
                </a:lnTo>
                <a:lnTo>
                  <a:pt x="297" y="648"/>
                </a:lnTo>
                <a:lnTo>
                  <a:pt x="294" y="646"/>
                </a:lnTo>
                <a:lnTo>
                  <a:pt x="293" y="645"/>
                </a:lnTo>
                <a:lnTo>
                  <a:pt x="291" y="646"/>
                </a:lnTo>
                <a:lnTo>
                  <a:pt x="290" y="648"/>
                </a:lnTo>
                <a:lnTo>
                  <a:pt x="290" y="649"/>
                </a:lnTo>
                <a:lnTo>
                  <a:pt x="287" y="649"/>
                </a:lnTo>
                <a:lnTo>
                  <a:pt x="287" y="639"/>
                </a:lnTo>
                <a:lnTo>
                  <a:pt x="285" y="639"/>
                </a:lnTo>
                <a:lnTo>
                  <a:pt x="284" y="636"/>
                </a:lnTo>
                <a:lnTo>
                  <a:pt x="284" y="634"/>
                </a:lnTo>
                <a:lnTo>
                  <a:pt x="282" y="633"/>
                </a:lnTo>
                <a:lnTo>
                  <a:pt x="284" y="631"/>
                </a:lnTo>
                <a:lnTo>
                  <a:pt x="282" y="631"/>
                </a:lnTo>
                <a:lnTo>
                  <a:pt x="281" y="633"/>
                </a:lnTo>
                <a:lnTo>
                  <a:pt x="280" y="633"/>
                </a:lnTo>
                <a:lnTo>
                  <a:pt x="278" y="631"/>
                </a:lnTo>
                <a:lnTo>
                  <a:pt x="278" y="632"/>
                </a:lnTo>
                <a:lnTo>
                  <a:pt x="284" y="638"/>
                </a:lnTo>
                <a:lnTo>
                  <a:pt x="286" y="643"/>
                </a:lnTo>
                <a:lnTo>
                  <a:pt x="286" y="649"/>
                </a:lnTo>
                <a:lnTo>
                  <a:pt x="287" y="650"/>
                </a:lnTo>
                <a:lnTo>
                  <a:pt x="288" y="650"/>
                </a:lnTo>
                <a:lnTo>
                  <a:pt x="288" y="655"/>
                </a:lnTo>
                <a:lnTo>
                  <a:pt x="290" y="656"/>
                </a:lnTo>
                <a:lnTo>
                  <a:pt x="291" y="658"/>
                </a:lnTo>
                <a:lnTo>
                  <a:pt x="291" y="659"/>
                </a:lnTo>
                <a:lnTo>
                  <a:pt x="290" y="661"/>
                </a:lnTo>
                <a:lnTo>
                  <a:pt x="290" y="662"/>
                </a:lnTo>
                <a:lnTo>
                  <a:pt x="291" y="662"/>
                </a:lnTo>
                <a:lnTo>
                  <a:pt x="290" y="663"/>
                </a:lnTo>
                <a:lnTo>
                  <a:pt x="288" y="662"/>
                </a:lnTo>
                <a:lnTo>
                  <a:pt x="285" y="662"/>
                </a:lnTo>
                <a:lnTo>
                  <a:pt x="286" y="663"/>
                </a:lnTo>
                <a:lnTo>
                  <a:pt x="292" y="665"/>
                </a:lnTo>
                <a:lnTo>
                  <a:pt x="292" y="668"/>
                </a:lnTo>
                <a:lnTo>
                  <a:pt x="293" y="668"/>
                </a:lnTo>
                <a:lnTo>
                  <a:pt x="293" y="669"/>
                </a:lnTo>
                <a:lnTo>
                  <a:pt x="292" y="669"/>
                </a:lnTo>
                <a:lnTo>
                  <a:pt x="290" y="671"/>
                </a:lnTo>
                <a:lnTo>
                  <a:pt x="288" y="671"/>
                </a:lnTo>
                <a:lnTo>
                  <a:pt x="288" y="667"/>
                </a:lnTo>
                <a:lnTo>
                  <a:pt x="287" y="667"/>
                </a:lnTo>
                <a:lnTo>
                  <a:pt x="287" y="673"/>
                </a:lnTo>
                <a:lnTo>
                  <a:pt x="286" y="673"/>
                </a:lnTo>
                <a:lnTo>
                  <a:pt x="285" y="674"/>
                </a:lnTo>
                <a:lnTo>
                  <a:pt x="286" y="675"/>
                </a:lnTo>
                <a:lnTo>
                  <a:pt x="285" y="677"/>
                </a:lnTo>
                <a:lnTo>
                  <a:pt x="284" y="679"/>
                </a:lnTo>
                <a:lnTo>
                  <a:pt x="282" y="679"/>
                </a:lnTo>
                <a:lnTo>
                  <a:pt x="281" y="677"/>
                </a:lnTo>
                <a:lnTo>
                  <a:pt x="281" y="676"/>
                </a:lnTo>
                <a:lnTo>
                  <a:pt x="279" y="676"/>
                </a:lnTo>
                <a:lnTo>
                  <a:pt x="276" y="679"/>
                </a:lnTo>
                <a:lnTo>
                  <a:pt x="276" y="681"/>
                </a:lnTo>
                <a:lnTo>
                  <a:pt x="278" y="682"/>
                </a:lnTo>
                <a:lnTo>
                  <a:pt x="278" y="683"/>
                </a:lnTo>
                <a:lnTo>
                  <a:pt x="273" y="682"/>
                </a:lnTo>
                <a:lnTo>
                  <a:pt x="272" y="682"/>
                </a:lnTo>
                <a:lnTo>
                  <a:pt x="271" y="681"/>
                </a:lnTo>
                <a:lnTo>
                  <a:pt x="267" y="674"/>
                </a:lnTo>
                <a:lnTo>
                  <a:pt x="266" y="674"/>
                </a:lnTo>
                <a:lnTo>
                  <a:pt x="265" y="676"/>
                </a:lnTo>
                <a:lnTo>
                  <a:pt x="263" y="677"/>
                </a:lnTo>
                <a:lnTo>
                  <a:pt x="262" y="677"/>
                </a:lnTo>
                <a:lnTo>
                  <a:pt x="262" y="680"/>
                </a:lnTo>
                <a:lnTo>
                  <a:pt x="265" y="683"/>
                </a:lnTo>
                <a:lnTo>
                  <a:pt x="265" y="686"/>
                </a:lnTo>
                <a:lnTo>
                  <a:pt x="262" y="686"/>
                </a:lnTo>
                <a:lnTo>
                  <a:pt x="263" y="687"/>
                </a:lnTo>
                <a:lnTo>
                  <a:pt x="263" y="692"/>
                </a:lnTo>
                <a:lnTo>
                  <a:pt x="265" y="693"/>
                </a:lnTo>
                <a:lnTo>
                  <a:pt x="267" y="693"/>
                </a:lnTo>
                <a:lnTo>
                  <a:pt x="267" y="694"/>
                </a:lnTo>
                <a:lnTo>
                  <a:pt x="268" y="694"/>
                </a:lnTo>
                <a:lnTo>
                  <a:pt x="268" y="697"/>
                </a:lnTo>
                <a:lnTo>
                  <a:pt x="269" y="697"/>
                </a:lnTo>
                <a:lnTo>
                  <a:pt x="269" y="698"/>
                </a:lnTo>
                <a:lnTo>
                  <a:pt x="268" y="698"/>
                </a:lnTo>
                <a:lnTo>
                  <a:pt x="272" y="700"/>
                </a:lnTo>
                <a:lnTo>
                  <a:pt x="273" y="700"/>
                </a:lnTo>
                <a:lnTo>
                  <a:pt x="275" y="701"/>
                </a:lnTo>
                <a:lnTo>
                  <a:pt x="272" y="704"/>
                </a:lnTo>
                <a:lnTo>
                  <a:pt x="272" y="705"/>
                </a:lnTo>
                <a:lnTo>
                  <a:pt x="271" y="704"/>
                </a:lnTo>
                <a:lnTo>
                  <a:pt x="272" y="701"/>
                </a:lnTo>
                <a:lnTo>
                  <a:pt x="271" y="701"/>
                </a:lnTo>
                <a:lnTo>
                  <a:pt x="271" y="702"/>
                </a:lnTo>
                <a:lnTo>
                  <a:pt x="269" y="702"/>
                </a:lnTo>
                <a:lnTo>
                  <a:pt x="269" y="710"/>
                </a:lnTo>
                <a:lnTo>
                  <a:pt x="268" y="711"/>
                </a:lnTo>
                <a:lnTo>
                  <a:pt x="268" y="716"/>
                </a:lnTo>
                <a:lnTo>
                  <a:pt x="267" y="717"/>
                </a:lnTo>
                <a:lnTo>
                  <a:pt x="268" y="717"/>
                </a:lnTo>
                <a:lnTo>
                  <a:pt x="268" y="718"/>
                </a:lnTo>
                <a:lnTo>
                  <a:pt x="266" y="720"/>
                </a:lnTo>
                <a:lnTo>
                  <a:pt x="267" y="720"/>
                </a:lnTo>
                <a:lnTo>
                  <a:pt x="267" y="722"/>
                </a:lnTo>
                <a:lnTo>
                  <a:pt x="268" y="723"/>
                </a:lnTo>
                <a:lnTo>
                  <a:pt x="265" y="723"/>
                </a:lnTo>
                <a:lnTo>
                  <a:pt x="265" y="726"/>
                </a:lnTo>
                <a:lnTo>
                  <a:pt x="263" y="726"/>
                </a:lnTo>
                <a:lnTo>
                  <a:pt x="263" y="728"/>
                </a:lnTo>
                <a:lnTo>
                  <a:pt x="262" y="729"/>
                </a:lnTo>
                <a:lnTo>
                  <a:pt x="262" y="730"/>
                </a:lnTo>
                <a:lnTo>
                  <a:pt x="263" y="731"/>
                </a:lnTo>
                <a:lnTo>
                  <a:pt x="263" y="734"/>
                </a:lnTo>
                <a:lnTo>
                  <a:pt x="262" y="735"/>
                </a:lnTo>
                <a:lnTo>
                  <a:pt x="262" y="736"/>
                </a:lnTo>
                <a:lnTo>
                  <a:pt x="263" y="736"/>
                </a:lnTo>
                <a:lnTo>
                  <a:pt x="263" y="737"/>
                </a:lnTo>
                <a:lnTo>
                  <a:pt x="262" y="737"/>
                </a:lnTo>
                <a:lnTo>
                  <a:pt x="262" y="740"/>
                </a:lnTo>
                <a:lnTo>
                  <a:pt x="263" y="740"/>
                </a:lnTo>
                <a:lnTo>
                  <a:pt x="266" y="738"/>
                </a:lnTo>
                <a:lnTo>
                  <a:pt x="265" y="740"/>
                </a:lnTo>
                <a:lnTo>
                  <a:pt x="265" y="741"/>
                </a:lnTo>
                <a:lnTo>
                  <a:pt x="263" y="741"/>
                </a:lnTo>
                <a:lnTo>
                  <a:pt x="265" y="742"/>
                </a:lnTo>
                <a:lnTo>
                  <a:pt x="265" y="748"/>
                </a:lnTo>
                <a:lnTo>
                  <a:pt x="267" y="747"/>
                </a:lnTo>
                <a:lnTo>
                  <a:pt x="269" y="747"/>
                </a:lnTo>
                <a:lnTo>
                  <a:pt x="269" y="748"/>
                </a:lnTo>
                <a:lnTo>
                  <a:pt x="271" y="749"/>
                </a:lnTo>
                <a:lnTo>
                  <a:pt x="271" y="750"/>
                </a:lnTo>
                <a:lnTo>
                  <a:pt x="269" y="751"/>
                </a:lnTo>
                <a:lnTo>
                  <a:pt x="269" y="755"/>
                </a:lnTo>
                <a:lnTo>
                  <a:pt x="268" y="756"/>
                </a:lnTo>
                <a:lnTo>
                  <a:pt x="266" y="754"/>
                </a:lnTo>
                <a:lnTo>
                  <a:pt x="265" y="750"/>
                </a:lnTo>
                <a:lnTo>
                  <a:pt x="262" y="748"/>
                </a:lnTo>
                <a:lnTo>
                  <a:pt x="262" y="750"/>
                </a:lnTo>
                <a:lnTo>
                  <a:pt x="263" y="751"/>
                </a:lnTo>
                <a:lnTo>
                  <a:pt x="261" y="751"/>
                </a:lnTo>
                <a:lnTo>
                  <a:pt x="261" y="749"/>
                </a:lnTo>
                <a:lnTo>
                  <a:pt x="260" y="748"/>
                </a:lnTo>
                <a:lnTo>
                  <a:pt x="257" y="747"/>
                </a:lnTo>
                <a:lnTo>
                  <a:pt x="254" y="747"/>
                </a:lnTo>
                <a:lnTo>
                  <a:pt x="255" y="748"/>
                </a:lnTo>
                <a:lnTo>
                  <a:pt x="255" y="749"/>
                </a:lnTo>
                <a:lnTo>
                  <a:pt x="256" y="749"/>
                </a:lnTo>
                <a:lnTo>
                  <a:pt x="260" y="750"/>
                </a:lnTo>
                <a:lnTo>
                  <a:pt x="256" y="754"/>
                </a:lnTo>
                <a:lnTo>
                  <a:pt x="255" y="754"/>
                </a:lnTo>
                <a:lnTo>
                  <a:pt x="256" y="755"/>
                </a:lnTo>
                <a:lnTo>
                  <a:pt x="255" y="755"/>
                </a:lnTo>
                <a:lnTo>
                  <a:pt x="253" y="754"/>
                </a:lnTo>
                <a:lnTo>
                  <a:pt x="253" y="755"/>
                </a:lnTo>
                <a:lnTo>
                  <a:pt x="257" y="756"/>
                </a:lnTo>
                <a:lnTo>
                  <a:pt x="259" y="757"/>
                </a:lnTo>
                <a:lnTo>
                  <a:pt x="257" y="759"/>
                </a:lnTo>
                <a:lnTo>
                  <a:pt x="257" y="757"/>
                </a:lnTo>
                <a:lnTo>
                  <a:pt x="255" y="757"/>
                </a:lnTo>
                <a:lnTo>
                  <a:pt x="255" y="756"/>
                </a:lnTo>
                <a:lnTo>
                  <a:pt x="251" y="757"/>
                </a:lnTo>
                <a:lnTo>
                  <a:pt x="254" y="757"/>
                </a:lnTo>
                <a:lnTo>
                  <a:pt x="254" y="759"/>
                </a:lnTo>
                <a:lnTo>
                  <a:pt x="253" y="760"/>
                </a:lnTo>
                <a:lnTo>
                  <a:pt x="250" y="760"/>
                </a:lnTo>
                <a:lnTo>
                  <a:pt x="251" y="761"/>
                </a:lnTo>
                <a:lnTo>
                  <a:pt x="256" y="762"/>
                </a:lnTo>
                <a:lnTo>
                  <a:pt x="251" y="762"/>
                </a:lnTo>
                <a:lnTo>
                  <a:pt x="251" y="763"/>
                </a:lnTo>
                <a:lnTo>
                  <a:pt x="253" y="763"/>
                </a:lnTo>
                <a:lnTo>
                  <a:pt x="254" y="765"/>
                </a:lnTo>
                <a:lnTo>
                  <a:pt x="255" y="765"/>
                </a:lnTo>
                <a:lnTo>
                  <a:pt x="255" y="766"/>
                </a:lnTo>
                <a:lnTo>
                  <a:pt x="254" y="766"/>
                </a:lnTo>
                <a:lnTo>
                  <a:pt x="256" y="768"/>
                </a:lnTo>
                <a:lnTo>
                  <a:pt x="255" y="769"/>
                </a:lnTo>
                <a:lnTo>
                  <a:pt x="255" y="773"/>
                </a:lnTo>
                <a:lnTo>
                  <a:pt x="256" y="773"/>
                </a:lnTo>
                <a:lnTo>
                  <a:pt x="256" y="774"/>
                </a:lnTo>
                <a:lnTo>
                  <a:pt x="255" y="774"/>
                </a:lnTo>
                <a:lnTo>
                  <a:pt x="254" y="773"/>
                </a:lnTo>
                <a:lnTo>
                  <a:pt x="254" y="774"/>
                </a:lnTo>
                <a:lnTo>
                  <a:pt x="253" y="775"/>
                </a:lnTo>
                <a:lnTo>
                  <a:pt x="253" y="777"/>
                </a:lnTo>
                <a:lnTo>
                  <a:pt x="254" y="779"/>
                </a:lnTo>
                <a:lnTo>
                  <a:pt x="255" y="780"/>
                </a:lnTo>
                <a:lnTo>
                  <a:pt x="256" y="780"/>
                </a:lnTo>
                <a:lnTo>
                  <a:pt x="256" y="781"/>
                </a:lnTo>
                <a:lnTo>
                  <a:pt x="260" y="784"/>
                </a:lnTo>
                <a:lnTo>
                  <a:pt x="257" y="784"/>
                </a:lnTo>
                <a:lnTo>
                  <a:pt x="255" y="783"/>
                </a:lnTo>
                <a:lnTo>
                  <a:pt x="255" y="784"/>
                </a:lnTo>
                <a:lnTo>
                  <a:pt x="256" y="785"/>
                </a:lnTo>
                <a:lnTo>
                  <a:pt x="257" y="785"/>
                </a:lnTo>
                <a:lnTo>
                  <a:pt x="259" y="786"/>
                </a:lnTo>
                <a:lnTo>
                  <a:pt x="256" y="786"/>
                </a:lnTo>
                <a:lnTo>
                  <a:pt x="255" y="785"/>
                </a:lnTo>
                <a:lnTo>
                  <a:pt x="256" y="787"/>
                </a:lnTo>
                <a:lnTo>
                  <a:pt x="256" y="788"/>
                </a:lnTo>
                <a:lnTo>
                  <a:pt x="257" y="791"/>
                </a:lnTo>
                <a:lnTo>
                  <a:pt x="256" y="791"/>
                </a:lnTo>
                <a:lnTo>
                  <a:pt x="255" y="792"/>
                </a:lnTo>
                <a:lnTo>
                  <a:pt x="255" y="793"/>
                </a:lnTo>
                <a:lnTo>
                  <a:pt x="256" y="794"/>
                </a:lnTo>
                <a:lnTo>
                  <a:pt x="256" y="797"/>
                </a:lnTo>
                <a:lnTo>
                  <a:pt x="255" y="797"/>
                </a:lnTo>
                <a:lnTo>
                  <a:pt x="255" y="798"/>
                </a:lnTo>
                <a:lnTo>
                  <a:pt x="256" y="799"/>
                </a:lnTo>
                <a:lnTo>
                  <a:pt x="256" y="800"/>
                </a:lnTo>
                <a:lnTo>
                  <a:pt x="255" y="802"/>
                </a:lnTo>
                <a:lnTo>
                  <a:pt x="256" y="802"/>
                </a:lnTo>
                <a:lnTo>
                  <a:pt x="256" y="804"/>
                </a:lnTo>
                <a:lnTo>
                  <a:pt x="255" y="805"/>
                </a:lnTo>
                <a:lnTo>
                  <a:pt x="255" y="808"/>
                </a:lnTo>
                <a:lnTo>
                  <a:pt x="256" y="808"/>
                </a:lnTo>
                <a:lnTo>
                  <a:pt x="256" y="809"/>
                </a:lnTo>
                <a:lnTo>
                  <a:pt x="255" y="809"/>
                </a:lnTo>
                <a:lnTo>
                  <a:pt x="255" y="810"/>
                </a:lnTo>
                <a:lnTo>
                  <a:pt x="257" y="809"/>
                </a:lnTo>
                <a:lnTo>
                  <a:pt x="259" y="809"/>
                </a:lnTo>
                <a:lnTo>
                  <a:pt x="259" y="810"/>
                </a:lnTo>
                <a:lnTo>
                  <a:pt x="256" y="811"/>
                </a:lnTo>
                <a:lnTo>
                  <a:pt x="255" y="812"/>
                </a:lnTo>
                <a:lnTo>
                  <a:pt x="255" y="816"/>
                </a:lnTo>
                <a:lnTo>
                  <a:pt x="256" y="817"/>
                </a:lnTo>
                <a:lnTo>
                  <a:pt x="257" y="817"/>
                </a:lnTo>
                <a:lnTo>
                  <a:pt x="256" y="818"/>
                </a:lnTo>
                <a:lnTo>
                  <a:pt x="257" y="818"/>
                </a:lnTo>
                <a:lnTo>
                  <a:pt x="257" y="820"/>
                </a:lnTo>
                <a:lnTo>
                  <a:pt x="259" y="820"/>
                </a:lnTo>
                <a:lnTo>
                  <a:pt x="260" y="826"/>
                </a:lnTo>
                <a:lnTo>
                  <a:pt x="259" y="826"/>
                </a:lnTo>
                <a:lnTo>
                  <a:pt x="259" y="827"/>
                </a:lnTo>
                <a:lnTo>
                  <a:pt x="260" y="827"/>
                </a:lnTo>
                <a:lnTo>
                  <a:pt x="260" y="830"/>
                </a:lnTo>
                <a:lnTo>
                  <a:pt x="261" y="830"/>
                </a:lnTo>
                <a:lnTo>
                  <a:pt x="261" y="831"/>
                </a:lnTo>
                <a:lnTo>
                  <a:pt x="262" y="831"/>
                </a:lnTo>
                <a:lnTo>
                  <a:pt x="262" y="833"/>
                </a:lnTo>
                <a:lnTo>
                  <a:pt x="261" y="833"/>
                </a:lnTo>
                <a:lnTo>
                  <a:pt x="256" y="837"/>
                </a:lnTo>
                <a:lnTo>
                  <a:pt x="259" y="837"/>
                </a:lnTo>
                <a:lnTo>
                  <a:pt x="261" y="840"/>
                </a:lnTo>
                <a:lnTo>
                  <a:pt x="263" y="841"/>
                </a:lnTo>
                <a:lnTo>
                  <a:pt x="262" y="842"/>
                </a:lnTo>
                <a:lnTo>
                  <a:pt x="262" y="843"/>
                </a:lnTo>
                <a:lnTo>
                  <a:pt x="265" y="843"/>
                </a:lnTo>
                <a:lnTo>
                  <a:pt x="266" y="842"/>
                </a:lnTo>
                <a:lnTo>
                  <a:pt x="272" y="841"/>
                </a:lnTo>
                <a:lnTo>
                  <a:pt x="273" y="841"/>
                </a:lnTo>
                <a:lnTo>
                  <a:pt x="273" y="842"/>
                </a:lnTo>
                <a:lnTo>
                  <a:pt x="275" y="845"/>
                </a:lnTo>
                <a:lnTo>
                  <a:pt x="276" y="845"/>
                </a:lnTo>
                <a:lnTo>
                  <a:pt x="274" y="847"/>
                </a:lnTo>
                <a:lnTo>
                  <a:pt x="274" y="852"/>
                </a:lnTo>
                <a:lnTo>
                  <a:pt x="276" y="854"/>
                </a:lnTo>
                <a:lnTo>
                  <a:pt x="279" y="854"/>
                </a:lnTo>
                <a:lnTo>
                  <a:pt x="279" y="852"/>
                </a:lnTo>
                <a:lnTo>
                  <a:pt x="280" y="849"/>
                </a:lnTo>
                <a:lnTo>
                  <a:pt x="282" y="847"/>
                </a:lnTo>
                <a:lnTo>
                  <a:pt x="287" y="846"/>
                </a:lnTo>
                <a:lnTo>
                  <a:pt x="288" y="846"/>
                </a:lnTo>
                <a:lnTo>
                  <a:pt x="290" y="847"/>
                </a:lnTo>
                <a:lnTo>
                  <a:pt x="290" y="852"/>
                </a:lnTo>
                <a:lnTo>
                  <a:pt x="288" y="853"/>
                </a:lnTo>
                <a:lnTo>
                  <a:pt x="290" y="853"/>
                </a:lnTo>
                <a:lnTo>
                  <a:pt x="294" y="858"/>
                </a:lnTo>
                <a:lnTo>
                  <a:pt x="294" y="859"/>
                </a:lnTo>
                <a:lnTo>
                  <a:pt x="298" y="863"/>
                </a:lnTo>
                <a:lnTo>
                  <a:pt x="302" y="865"/>
                </a:lnTo>
                <a:lnTo>
                  <a:pt x="300" y="865"/>
                </a:lnTo>
                <a:lnTo>
                  <a:pt x="299" y="866"/>
                </a:lnTo>
                <a:lnTo>
                  <a:pt x="299" y="869"/>
                </a:lnTo>
                <a:lnTo>
                  <a:pt x="302" y="869"/>
                </a:lnTo>
                <a:lnTo>
                  <a:pt x="302" y="867"/>
                </a:lnTo>
                <a:lnTo>
                  <a:pt x="303" y="866"/>
                </a:lnTo>
                <a:lnTo>
                  <a:pt x="304" y="866"/>
                </a:lnTo>
                <a:lnTo>
                  <a:pt x="305" y="867"/>
                </a:lnTo>
                <a:lnTo>
                  <a:pt x="309" y="867"/>
                </a:lnTo>
                <a:lnTo>
                  <a:pt x="309" y="870"/>
                </a:lnTo>
                <a:lnTo>
                  <a:pt x="310" y="871"/>
                </a:lnTo>
                <a:lnTo>
                  <a:pt x="310" y="872"/>
                </a:lnTo>
                <a:lnTo>
                  <a:pt x="309" y="872"/>
                </a:lnTo>
                <a:lnTo>
                  <a:pt x="315" y="874"/>
                </a:lnTo>
                <a:lnTo>
                  <a:pt x="316" y="877"/>
                </a:lnTo>
                <a:lnTo>
                  <a:pt x="315" y="878"/>
                </a:lnTo>
                <a:lnTo>
                  <a:pt x="307" y="874"/>
                </a:lnTo>
                <a:lnTo>
                  <a:pt x="306" y="873"/>
                </a:lnTo>
                <a:lnTo>
                  <a:pt x="304" y="870"/>
                </a:lnTo>
                <a:lnTo>
                  <a:pt x="304" y="872"/>
                </a:lnTo>
                <a:lnTo>
                  <a:pt x="306" y="874"/>
                </a:lnTo>
                <a:lnTo>
                  <a:pt x="309" y="879"/>
                </a:lnTo>
                <a:lnTo>
                  <a:pt x="307" y="878"/>
                </a:lnTo>
                <a:lnTo>
                  <a:pt x="307" y="879"/>
                </a:lnTo>
                <a:lnTo>
                  <a:pt x="312" y="884"/>
                </a:lnTo>
                <a:lnTo>
                  <a:pt x="313" y="883"/>
                </a:lnTo>
                <a:lnTo>
                  <a:pt x="313" y="886"/>
                </a:lnTo>
                <a:lnTo>
                  <a:pt x="315" y="889"/>
                </a:lnTo>
                <a:lnTo>
                  <a:pt x="315" y="890"/>
                </a:lnTo>
                <a:lnTo>
                  <a:pt x="316" y="889"/>
                </a:lnTo>
                <a:lnTo>
                  <a:pt x="316" y="888"/>
                </a:lnTo>
                <a:lnTo>
                  <a:pt x="315" y="886"/>
                </a:lnTo>
                <a:lnTo>
                  <a:pt x="315" y="885"/>
                </a:lnTo>
                <a:lnTo>
                  <a:pt x="316" y="884"/>
                </a:lnTo>
                <a:lnTo>
                  <a:pt x="318" y="884"/>
                </a:lnTo>
                <a:lnTo>
                  <a:pt x="322" y="888"/>
                </a:lnTo>
                <a:lnTo>
                  <a:pt x="322" y="892"/>
                </a:lnTo>
                <a:lnTo>
                  <a:pt x="323" y="894"/>
                </a:lnTo>
                <a:lnTo>
                  <a:pt x="323" y="895"/>
                </a:lnTo>
                <a:lnTo>
                  <a:pt x="324" y="896"/>
                </a:lnTo>
                <a:lnTo>
                  <a:pt x="324" y="895"/>
                </a:lnTo>
                <a:lnTo>
                  <a:pt x="323" y="894"/>
                </a:lnTo>
                <a:lnTo>
                  <a:pt x="323" y="892"/>
                </a:lnTo>
                <a:lnTo>
                  <a:pt x="322" y="890"/>
                </a:lnTo>
                <a:lnTo>
                  <a:pt x="323" y="888"/>
                </a:lnTo>
                <a:lnTo>
                  <a:pt x="324" y="886"/>
                </a:lnTo>
                <a:lnTo>
                  <a:pt x="325" y="886"/>
                </a:lnTo>
                <a:lnTo>
                  <a:pt x="325" y="891"/>
                </a:lnTo>
                <a:lnTo>
                  <a:pt x="327" y="897"/>
                </a:lnTo>
                <a:lnTo>
                  <a:pt x="329" y="901"/>
                </a:lnTo>
                <a:lnTo>
                  <a:pt x="329" y="902"/>
                </a:lnTo>
                <a:lnTo>
                  <a:pt x="331" y="903"/>
                </a:lnTo>
                <a:lnTo>
                  <a:pt x="333" y="903"/>
                </a:lnTo>
                <a:lnTo>
                  <a:pt x="333" y="906"/>
                </a:lnTo>
                <a:lnTo>
                  <a:pt x="334" y="907"/>
                </a:lnTo>
                <a:lnTo>
                  <a:pt x="335" y="907"/>
                </a:lnTo>
                <a:lnTo>
                  <a:pt x="335" y="910"/>
                </a:lnTo>
                <a:lnTo>
                  <a:pt x="334" y="910"/>
                </a:lnTo>
                <a:lnTo>
                  <a:pt x="330" y="906"/>
                </a:lnTo>
                <a:lnTo>
                  <a:pt x="329" y="903"/>
                </a:lnTo>
                <a:lnTo>
                  <a:pt x="328" y="903"/>
                </a:lnTo>
                <a:lnTo>
                  <a:pt x="328" y="904"/>
                </a:lnTo>
                <a:lnTo>
                  <a:pt x="330" y="907"/>
                </a:lnTo>
                <a:lnTo>
                  <a:pt x="330" y="908"/>
                </a:lnTo>
                <a:lnTo>
                  <a:pt x="329" y="909"/>
                </a:lnTo>
                <a:lnTo>
                  <a:pt x="327" y="914"/>
                </a:lnTo>
                <a:lnTo>
                  <a:pt x="322" y="914"/>
                </a:lnTo>
                <a:lnTo>
                  <a:pt x="322" y="916"/>
                </a:lnTo>
                <a:lnTo>
                  <a:pt x="324" y="915"/>
                </a:lnTo>
                <a:lnTo>
                  <a:pt x="328" y="915"/>
                </a:lnTo>
                <a:lnTo>
                  <a:pt x="328" y="913"/>
                </a:lnTo>
                <a:lnTo>
                  <a:pt x="330" y="909"/>
                </a:lnTo>
                <a:lnTo>
                  <a:pt x="331" y="908"/>
                </a:lnTo>
                <a:lnTo>
                  <a:pt x="331" y="909"/>
                </a:lnTo>
                <a:lnTo>
                  <a:pt x="333" y="909"/>
                </a:lnTo>
                <a:lnTo>
                  <a:pt x="333" y="915"/>
                </a:lnTo>
                <a:lnTo>
                  <a:pt x="335" y="915"/>
                </a:lnTo>
                <a:lnTo>
                  <a:pt x="336" y="916"/>
                </a:lnTo>
                <a:lnTo>
                  <a:pt x="336" y="917"/>
                </a:lnTo>
                <a:lnTo>
                  <a:pt x="334" y="920"/>
                </a:lnTo>
                <a:lnTo>
                  <a:pt x="331" y="921"/>
                </a:lnTo>
                <a:lnTo>
                  <a:pt x="331" y="920"/>
                </a:lnTo>
                <a:lnTo>
                  <a:pt x="330" y="920"/>
                </a:lnTo>
                <a:lnTo>
                  <a:pt x="329" y="919"/>
                </a:lnTo>
                <a:lnTo>
                  <a:pt x="327" y="921"/>
                </a:lnTo>
                <a:lnTo>
                  <a:pt x="323" y="922"/>
                </a:lnTo>
                <a:lnTo>
                  <a:pt x="322" y="922"/>
                </a:lnTo>
                <a:lnTo>
                  <a:pt x="322" y="923"/>
                </a:lnTo>
                <a:lnTo>
                  <a:pt x="321" y="925"/>
                </a:lnTo>
                <a:lnTo>
                  <a:pt x="321" y="926"/>
                </a:lnTo>
                <a:lnTo>
                  <a:pt x="322" y="926"/>
                </a:lnTo>
                <a:lnTo>
                  <a:pt x="322" y="927"/>
                </a:lnTo>
                <a:lnTo>
                  <a:pt x="321" y="928"/>
                </a:lnTo>
                <a:lnTo>
                  <a:pt x="319" y="928"/>
                </a:lnTo>
                <a:lnTo>
                  <a:pt x="318" y="927"/>
                </a:lnTo>
                <a:lnTo>
                  <a:pt x="319" y="929"/>
                </a:lnTo>
                <a:lnTo>
                  <a:pt x="319" y="931"/>
                </a:lnTo>
                <a:lnTo>
                  <a:pt x="318" y="931"/>
                </a:lnTo>
                <a:lnTo>
                  <a:pt x="313" y="935"/>
                </a:lnTo>
                <a:lnTo>
                  <a:pt x="311" y="935"/>
                </a:lnTo>
                <a:lnTo>
                  <a:pt x="305" y="941"/>
                </a:lnTo>
                <a:lnTo>
                  <a:pt x="302" y="940"/>
                </a:lnTo>
                <a:lnTo>
                  <a:pt x="302" y="941"/>
                </a:lnTo>
                <a:lnTo>
                  <a:pt x="303" y="943"/>
                </a:lnTo>
                <a:lnTo>
                  <a:pt x="300" y="943"/>
                </a:lnTo>
                <a:lnTo>
                  <a:pt x="302" y="944"/>
                </a:lnTo>
                <a:lnTo>
                  <a:pt x="303" y="944"/>
                </a:lnTo>
                <a:lnTo>
                  <a:pt x="302" y="945"/>
                </a:lnTo>
                <a:lnTo>
                  <a:pt x="303" y="946"/>
                </a:lnTo>
                <a:lnTo>
                  <a:pt x="305" y="946"/>
                </a:lnTo>
                <a:lnTo>
                  <a:pt x="304" y="947"/>
                </a:lnTo>
                <a:lnTo>
                  <a:pt x="300" y="947"/>
                </a:lnTo>
                <a:lnTo>
                  <a:pt x="298" y="946"/>
                </a:lnTo>
                <a:lnTo>
                  <a:pt x="297" y="945"/>
                </a:lnTo>
                <a:lnTo>
                  <a:pt x="299" y="945"/>
                </a:lnTo>
                <a:lnTo>
                  <a:pt x="299" y="943"/>
                </a:lnTo>
                <a:lnTo>
                  <a:pt x="297" y="943"/>
                </a:lnTo>
                <a:lnTo>
                  <a:pt x="297" y="944"/>
                </a:lnTo>
                <a:lnTo>
                  <a:pt x="296" y="943"/>
                </a:lnTo>
                <a:lnTo>
                  <a:pt x="294" y="944"/>
                </a:lnTo>
                <a:lnTo>
                  <a:pt x="294" y="946"/>
                </a:lnTo>
                <a:lnTo>
                  <a:pt x="293" y="947"/>
                </a:lnTo>
                <a:lnTo>
                  <a:pt x="292" y="947"/>
                </a:lnTo>
                <a:lnTo>
                  <a:pt x="291" y="946"/>
                </a:lnTo>
                <a:lnTo>
                  <a:pt x="297" y="952"/>
                </a:lnTo>
                <a:lnTo>
                  <a:pt x="294" y="952"/>
                </a:lnTo>
                <a:lnTo>
                  <a:pt x="294" y="953"/>
                </a:lnTo>
                <a:lnTo>
                  <a:pt x="298" y="953"/>
                </a:lnTo>
                <a:lnTo>
                  <a:pt x="299" y="952"/>
                </a:lnTo>
                <a:lnTo>
                  <a:pt x="299" y="953"/>
                </a:lnTo>
                <a:lnTo>
                  <a:pt x="302" y="950"/>
                </a:lnTo>
                <a:lnTo>
                  <a:pt x="304" y="949"/>
                </a:lnTo>
                <a:lnTo>
                  <a:pt x="309" y="951"/>
                </a:lnTo>
                <a:lnTo>
                  <a:pt x="309" y="952"/>
                </a:lnTo>
                <a:lnTo>
                  <a:pt x="310" y="952"/>
                </a:lnTo>
                <a:lnTo>
                  <a:pt x="311" y="951"/>
                </a:lnTo>
                <a:lnTo>
                  <a:pt x="310" y="949"/>
                </a:lnTo>
                <a:lnTo>
                  <a:pt x="309" y="947"/>
                </a:lnTo>
                <a:lnTo>
                  <a:pt x="311" y="947"/>
                </a:lnTo>
                <a:lnTo>
                  <a:pt x="309" y="945"/>
                </a:lnTo>
                <a:lnTo>
                  <a:pt x="309" y="944"/>
                </a:lnTo>
                <a:lnTo>
                  <a:pt x="311" y="944"/>
                </a:lnTo>
                <a:lnTo>
                  <a:pt x="313" y="946"/>
                </a:lnTo>
                <a:lnTo>
                  <a:pt x="313" y="947"/>
                </a:lnTo>
                <a:lnTo>
                  <a:pt x="316" y="949"/>
                </a:lnTo>
                <a:lnTo>
                  <a:pt x="316" y="950"/>
                </a:lnTo>
                <a:lnTo>
                  <a:pt x="315" y="950"/>
                </a:lnTo>
                <a:lnTo>
                  <a:pt x="316" y="951"/>
                </a:lnTo>
                <a:lnTo>
                  <a:pt x="317" y="951"/>
                </a:lnTo>
                <a:lnTo>
                  <a:pt x="318" y="953"/>
                </a:lnTo>
                <a:lnTo>
                  <a:pt x="317" y="954"/>
                </a:lnTo>
                <a:lnTo>
                  <a:pt x="313" y="954"/>
                </a:lnTo>
                <a:lnTo>
                  <a:pt x="313" y="956"/>
                </a:lnTo>
                <a:lnTo>
                  <a:pt x="312" y="956"/>
                </a:lnTo>
                <a:lnTo>
                  <a:pt x="311" y="954"/>
                </a:lnTo>
                <a:lnTo>
                  <a:pt x="305" y="954"/>
                </a:lnTo>
                <a:lnTo>
                  <a:pt x="305" y="952"/>
                </a:lnTo>
                <a:lnTo>
                  <a:pt x="304" y="952"/>
                </a:lnTo>
                <a:lnTo>
                  <a:pt x="304" y="953"/>
                </a:lnTo>
                <a:lnTo>
                  <a:pt x="303" y="953"/>
                </a:lnTo>
                <a:lnTo>
                  <a:pt x="302" y="954"/>
                </a:lnTo>
                <a:lnTo>
                  <a:pt x="303" y="954"/>
                </a:lnTo>
                <a:lnTo>
                  <a:pt x="303" y="956"/>
                </a:lnTo>
                <a:lnTo>
                  <a:pt x="304" y="956"/>
                </a:lnTo>
                <a:lnTo>
                  <a:pt x="304" y="957"/>
                </a:lnTo>
                <a:lnTo>
                  <a:pt x="302" y="957"/>
                </a:lnTo>
                <a:lnTo>
                  <a:pt x="305" y="960"/>
                </a:lnTo>
                <a:lnTo>
                  <a:pt x="304" y="960"/>
                </a:lnTo>
                <a:lnTo>
                  <a:pt x="304" y="963"/>
                </a:lnTo>
                <a:lnTo>
                  <a:pt x="306" y="963"/>
                </a:lnTo>
                <a:lnTo>
                  <a:pt x="306" y="965"/>
                </a:lnTo>
                <a:lnTo>
                  <a:pt x="307" y="964"/>
                </a:lnTo>
                <a:lnTo>
                  <a:pt x="307" y="965"/>
                </a:lnTo>
                <a:lnTo>
                  <a:pt x="309" y="965"/>
                </a:lnTo>
                <a:lnTo>
                  <a:pt x="309" y="968"/>
                </a:lnTo>
                <a:lnTo>
                  <a:pt x="307" y="969"/>
                </a:lnTo>
                <a:lnTo>
                  <a:pt x="307" y="968"/>
                </a:lnTo>
                <a:lnTo>
                  <a:pt x="306" y="968"/>
                </a:lnTo>
                <a:lnTo>
                  <a:pt x="305" y="969"/>
                </a:lnTo>
                <a:lnTo>
                  <a:pt x="304" y="969"/>
                </a:lnTo>
                <a:lnTo>
                  <a:pt x="303" y="970"/>
                </a:lnTo>
                <a:lnTo>
                  <a:pt x="304" y="970"/>
                </a:lnTo>
                <a:lnTo>
                  <a:pt x="304" y="971"/>
                </a:lnTo>
                <a:lnTo>
                  <a:pt x="300" y="974"/>
                </a:lnTo>
                <a:lnTo>
                  <a:pt x="299" y="974"/>
                </a:lnTo>
                <a:lnTo>
                  <a:pt x="299" y="972"/>
                </a:lnTo>
                <a:lnTo>
                  <a:pt x="300" y="972"/>
                </a:lnTo>
                <a:lnTo>
                  <a:pt x="302" y="971"/>
                </a:lnTo>
                <a:lnTo>
                  <a:pt x="302" y="970"/>
                </a:lnTo>
                <a:lnTo>
                  <a:pt x="300" y="970"/>
                </a:lnTo>
                <a:lnTo>
                  <a:pt x="298" y="972"/>
                </a:lnTo>
                <a:lnTo>
                  <a:pt x="296" y="972"/>
                </a:lnTo>
                <a:lnTo>
                  <a:pt x="294" y="975"/>
                </a:lnTo>
                <a:lnTo>
                  <a:pt x="292" y="975"/>
                </a:lnTo>
                <a:lnTo>
                  <a:pt x="292" y="976"/>
                </a:lnTo>
                <a:lnTo>
                  <a:pt x="291" y="976"/>
                </a:lnTo>
                <a:lnTo>
                  <a:pt x="291" y="980"/>
                </a:lnTo>
                <a:lnTo>
                  <a:pt x="290" y="981"/>
                </a:lnTo>
                <a:lnTo>
                  <a:pt x="288" y="983"/>
                </a:lnTo>
                <a:lnTo>
                  <a:pt x="288" y="984"/>
                </a:lnTo>
                <a:lnTo>
                  <a:pt x="290" y="984"/>
                </a:lnTo>
                <a:lnTo>
                  <a:pt x="290" y="986"/>
                </a:lnTo>
                <a:lnTo>
                  <a:pt x="287" y="988"/>
                </a:lnTo>
                <a:lnTo>
                  <a:pt x="286" y="987"/>
                </a:lnTo>
                <a:lnTo>
                  <a:pt x="286" y="992"/>
                </a:lnTo>
                <a:lnTo>
                  <a:pt x="285" y="990"/>
                </a:lnTo>
                <a:lnTo>
                  <a:pt x="285" y="987"/>
                </a:lnTo>
                <a:lnTo>
                  <a:pt x="284" y="987"/>
                </a:lnTo>
                <a:lnTo>
                  <a:pt x="281" y="984"/>
                </a:lnTo>
                <a:lnTo>
                  <a:pt x="281" y="986"/>
                </a:lnTo>
                <a:lnTo>
                  <a:pt x="282" y="988"/>
                </a:lnTo>
                <a:lnTo>
                  <a:pt x="281" y="989"/>
                </a:lnTo>
                <a:lnTo>
                  <a:pt x="281" y="987"/>
                </a:lnTo>
                <a:lnTo>
                  <a:pt x="280" y="987"/>
                </a:lnTo>
                <a:lnTo>
                  <a:pt x="280" y="983"/>
                </a:lnTo>
                <a:lnTo>
                  <a:pt x="279" y="981"/>
                </a:lnTo>
                <a:lnTo>
                  <a:pt x="280" y="980"/>
                </a:lnTo>
                <a:lnTo>
                  <a:pt x="280" y="970"/>
                </a:lnTo>
                <a:lnTo>
                  <a:pt x="279" y="970"/>
                </a:lnTo>
                <a:lnTo>
                  <a:pt x="279" y="975"/>
                </a:lnTo>
                <a:lnTo>
                  <a:pt x="278" y="976"/>
                </a:lnTo>
                <a:lnTo>
                  <a:pt x="278" y="975"/>
                </a:lnTo>
                <a:lnTo>
                  <a:pt x="276" y="974"/>
                </a:lnTo>
                <a:lnTo>
                  <a:pt x="276" y="972"/>
                </a:lnTo>
                <a:lnTo>
                  <a:pt x="278" y="970"/>
                </a:lnTo>
                <a:lnTo>
                  <a:pt x="278" y="969"/>
                </a:lnTo>
                <a:lnTo>
                  <a:pt x="276" y="968"/>
                </a:lnTo>
                <a:lnTo>
                  <a:pt x="276" y="970"/>
                </a:lnTo>
                <a:lnTo>
                  <a:pt x="275" y="971"/>
                </a:lnTo>
                <a:lnTo>
                  <a:pt x="275" y="972"/>
                </a:lnTo>
                <a:lnTo>
                  <a:pt x="274" y="972"/>
                </a:lnTo>
                <a:lnTo>
                  <a:pt x="274" y="977"/>
                </a:lnTo>
                <a:lnTo>
                  <a:pt x="275" y="978"/>
                </a:lnTo>
                <a:lnTo>
                  <a:pt x="274" y="980"/>
                </a:lnTo>
                <a:lnTo>
                  <a:pt x="274" y="982"/>
                </a:lnTo>
                <a:lnTo>
                  <a:pt x="275" y="981"/>
                </a:lnTo>
                <a:lnTo>
                  <a:pt x="275" y="974"/>
                </a:lnTo>
                <a:lnTo>
                  <a:pt x="276" y="974"/>
                </a:lnTo>
                <a:lnTo>
                  <a:pt x="276" y="975"/>
                </a:lnTo>
                <a:lnTo>
                  <a:pt x="278" y="976"/>
                </a:lnTo>
                <a:lnTo>
                  <a:pt x="278" y="987"/>
                </a:lnTo>
                <a:lnTo>
                  <a:pt x="275" y="987"/>
                </a:lnTo>
                <a:lnTo>
                  <a:pt x="275" y="983"/>
                </a:lnTo>
                <a:lnTo>
                  <a:pt x="274" y="983"/>
                </a:lnTo>
                <a:lnTo>
                  <a:pt x="273" y="982"/>
                </a:lnTo>
                <a:lnTo>
                  <a:pt x="273" y="984"/>
                </a:lnTo>
                <a:lnTo>
                  <a:pt x="274" y="984"/>
                </a:lnTo>
                <a:lnTo>
                  <a:pt x="274" y="988"/>
                </a:lnTo>
                <a:lnTo>
                  <a:pt x="273" y="989"/>
                </a:lnTo>
                <a:lnTo>
                  <a:pt x="272" y="988"/>
                </a:lnTo>
                <a:lnTo>
                  <a:pt x="271" y="988"/>
                </a:lnTo>
                <a:lnTo>
                  <a:pt x="272" y="989"/>
                </a:lnTo>
                <a:lnTo>
                  <a:pt x="272" y="990"/>
                </a:lnTo>
                <a:lnTo>
                  <a:pt x="273" y="990"/>
                </a:lnTo>
                <a:lnTo>
                  <a:pt x="273" y="992"/>
                </a:lnTo>
                <a:lnTo>
                  <a:pt x="272" y="992"/>
                </a:lnTo>
                <a:lnTo>
                  <a:pt x="268" y="989"/>
                </a:lnTo>
                <a:lnTo>
                  <a:pt x="268" y="993"/>
                </a:lnTo>
                <a:lnTo>
                  <a:pt x="267" y="994"/>
                </a:lnTo>
                <a:lnTo>
                  <a:pt x="267" y="995"/>
                </a:lnTo>
                <a:lnTo>
                  <a:pt x="268" y="995"/>
                </a:lnTo>
                <a:lnTo>
                  <a:pt x="269" y="996"/>
                </a:lnTo>
                <a:lnTo>
                  <a:pt x="268" y="997"/>
                </a:lnTo>
                <a:lnTo>
                  <a:pt x="262" y="996"/>
                </a:lnTo>
                <a:lnTo>
                  <a:pt x="265" y="999"/>
                </a:lnTo>
                <a:lnTo>
                  <a:pt x="263" y="1000"/>
                </a:lnTo>
                <a:lnTo>
                  <a:pt x="261" y="1000"/>
                </a:lnTo>
                <a:lnTo>
                  <a:pt x="260" y="1001"/>
                </a:lnTo>
                <a:lnTo>
                  <a:pt x="260" y="1002"/>
                </a:lnTo>
                <a:lnTo>
                  <a:pt x="255" y="1002"/>
                </a:lnTo>
                <a:lnTo>
                  <a:pt x="251" y="999"/>
                </a:lnTo>
                <a:lnTo>
                  <a:pt x="251" y="1000"/>
                </a:lnTo>
                <a:lnTo>
                  <a:pt x="249" y="1000"/>
                </a:lnTo>
                <a:lnTo>
                  <a:pt x="250" y="1001"/>
                </a:lnTo>
                <a:lnTo>
                  <a:pt x="251" y="1001"/>
                </a:lnTo>
                <a:lnTo>
                  <a:pt x="251" y="1003"/>
                </a:lnTo>
                <a:lnTo>
                  <a:pt x="250" y="1003"/>
                </a:lnTo>
                <a:lnTo>
                  <a:pt x="251" y="1005"/>
                </a:lnTo>
                <a:lnTo>
                  <a:pt x="254" y="1003"/>
                </a:lnTo>
                <a:lnTo>
                  <a:pt x="254" y="1006"/>
                </a:lnTo>
                <a:lnTo>
                  <a:pt x="253" y="1007"/>
                </a:lnTo>
                <a:lnTo>
                  <a:pt x="253" y="1008"/>
                </a:lnTo>
                <a:lnTo>
                  <a:pt x="251" y="1007"/>
                </a:lnTo>
                <a:lnTo>
                  <a:pt x="249" y="1006"/>
                </a:lnTo>
                <a:lnTo>
                  <a:pt x="247" y="1006"/>
                </a:lnTo>
                <a:lnTo>
                  <a:pt x="247" y="1007"/>
                </a:lnTo>
                <a:lnTo>
                  <a:pt x="248" y="1007"/>
                </a:lnTo>
                <a:lnTo>
                  <a:pt x="250" y="1009"/>
                </a:lnTo>
                <a:lnTo>
                  <a:pt x="249" y="1009"/>
                </a:lnTo>
                <a:lnTo>
                  <a:pt x="245" y="1011"/>
                </a:lnTo>
                <a:lnTo>
                  <a:pt x="230" y="1008"/>
                </a:lnTo>
                <a:lnTo>
                  <a:pt x="216" y="1007"/>
                </a:lnTo>
                <a:lnTo>
                  <a:pt x="217" y="1008"/>
                </a:lnTo>
                <a:lnTo>
                  <a:pt x="217" y="1009"/>
                </a:lnTo>
                <a:lnTo>
                  <a:pt x="213" y="1009"/>
                </a:lnTo>
                <a:lnTo>
                  <a:pt x="213" y="1011"/>
                </a:lnTo>
                <a:lnTo>
                  <a:pt x="215" y="1009"/>
                </a:lnTo>
                <a:lnTo>
                  <a:pt x="215" y="1011"/>
                </a:lnTo>
                <a:lnTo>
                  <a:pt x="216" y="1011"/>
                </a:lnTo>
                <a:lnTo>
                  <a:pt x="218" y="1012"/>
                </a:lnTo>
                <a:lnTo>
                  <a:pt x="219" y="1011"/>
                </a:lnTo>
                <a:lnTo>
                  <a:pt x="219" y="1009"/>
                </a:lnTo>
                <a:lnTo>
                  <a:pt x="220" y="1009"/>
                </a:lnTo>
                <a:lnTo>
                  <a:pt x="222" y="1011"/>
                </a:lnTo>
                <a:lnTo>
                  <a:pt x="222" y="1013"/>
                </a:lnTo>
                <a:lnTo>
                  <a:pt x="223" y="1013"/>
                </a:lnTo>
                <a:lnTo>
                  <a:pt x="224" y="1012"/>
                </a:lnTo>
                <a:lnTo>
                  <a:pt x="224" y="1008"/>
                </a:lnTo>
                <a:lnTo>
                  <a:pt x="225" y="1009"/>
                </a:lnTo>
                <a:lnTo>
                  <a:pt x="228" y="1011"/>
                </a:lnTo>
                <a:lnTo>
                  <a:pt x="234" y="1011"/>
                </a:lnTo>
                <a:lnTo>
                  <a:pt x="235" y="1012"/>
                </a:lnTo>
                <a:lnTo>
                  <a:pt x="240" y="1012"/>
                </a:lnTo>
                <a:lnTo>
                  <a:pt x="238" y="1013"/>
                </a:lnTo>
                <a:lnTo>
                  <a:pt x="240" y="1014"/>
                </a:lnTo>
                <a:lnTo>
                  <a:pt x="240" y="1015"/>
                </a:lnTo>
                <a:lnTo>
                  <a:pt x="241" y="1015"/>
                </a:lnTo>
                <a:lnTo>
                  <a:pt x="241" y="1017"/>
                </a:lnTo>
                <a:lnTo>
                  <a:pt x="242" y="1017"/>
                </a:lnTo>
                <a:lnTo>
                  <a:pt x="242" y="1018"/>
                </a:lnTo>
                <a:lnTo>
                  <a:pt x="241" y="1018"/>
                </a:lnTo>
                <a:lnTo>
                  <a:pt x="242" y="1019"/>
                </a:lnTo>
                <a:lnTo>
                  <a:pt x="243" y="1019"/>
                </a:lnTo>
                <a:lnTo>
                  <a:pt x="245" y="1021"/>
                </a:lnTo>
                <a:lnTo>
                  <a:pt x="244" y="1023"/>
                </a:lnTo>
                <a:lnTo>
                  <a:pt x="242" y="1023"/>
                </a:lnTo>
                <a:lnTo>
                  <a:pt x="242" y="1024"/>
                </a:lnTo>
                <a:lnTo>
                  <a:pt x="241" y="1025"/>
                </a:lnTo>
                <a:lnTo>
                  <a:pt x="238" y="1025"/>
                </a:lnTo>
                <a:lnTo>
                  <a:pt x="238" y="1026"/>
                </a:lnTo>
                <a:lnTo>
                  <a:pt x="236" y="1026"/>
                </a:lnTo>
                <a:lnTo>
                  <a:pt x="231" y="1025"/>
                </a:lnTo>
                <a:lnTo>
                  <a:pt x="224" y="1021"/>
                </a:lnTo>
                <a:lnTo>
                  <a:pt x="223" y="1023"/>
                </a:lnTo>
                <a:lnTo>
                  <a:pt x="225" y="1023"/>
                </a:lnTo>
                <a:lnTo>
                  <a:pt x="234" y="1027"/>
                </a:lnTo>
                <a:lnTo>
                  <a:pt x="235" y="1027"/>
                </a:lnTo>
                <a:lnTo>
                  <a:pt x="236" y="1029"/>
                </a:lnTo>
                <a:lnTo>
                  <a:pt x="236" y="1032"/>
                </a:lnTo>
                <a:lnTo>
                  <a:pt x="237" y="1032"/>
                </a:lnTo>
                <a:lnTo>
                  <a:pt x="237" y="1031"/>
                </a:lnTo>
                <a:lnTo>
                  <a:pt x="238" y="1031"/>
                </a:lnTo>
                <a:lnTo>
                  <a:pt x="238" y="1033"/>
                </a:lnTo>
                <a:lnTo>
                  <a:pt x="232" y="1032"/>
                </a:lnTo>
                <a:lnTo>
                  <a:pt x="236" y="1036"/>
                </a:lnTo>
                <a:lnTo>
                  <a:pt x="235" y="1036"/>
                </a:lnTo>
                <a:lnTo>
                  <a:pt x="236" y="1037"/>
                </a:lnTo>
                <a:lnTo>
                  <a:pt x="237" y="1037"/>
                </a:lnTo>
                <a:lnTo>
                  <a:pt x="237" y="1036"/>
                </a:lnTo>
                <a:lnTo>
                  <a:pt x="236" y="1036"/>
                </a:lnTo>
                <a:lnTo>
                  <a:pt x="238" y="1035"/>
                </a:lnTo>
                <a:lnTo>
                  <a:pt x="240" y="1035"/>
                </a:lnTo>
                <a:lnTo>
                  <a:pt x="240" y="1037"/>
                </a:lnTo>
                <a:lnTo>
                  <a:pt x="238" y="1037"/>
                </a:lnTo>
                <a:lnTo>
                  <a:pt x="238" y="1038"/>
                </a:lnTo>
                <a:lnTo>
                  <a:pt x="236" y="1038"/>
                </a:lnTo>
                <a:lnTo>
                  <a:pt x="236" y="1039"/>
                </a:lnTo>
                <a:lnTo>
                  <a:pt x="237" y="1039"/>
                </a:lnTo>
                <a:lnTo>
                  <a:pt x="240" y="1042"/>
                </a:lnTo>
                <a:lnTo>
                  <a:pt x="240" y="1043"/>
                </a:lnTo>
                <a:lnTo>
                  <a:pt x="241" y="1043"/>
                </a:lnTo>
                <a:lnTo>
                  <a:pt x="241" y="1046"/>
                </a:lnTo>
                <a:lnTo>
                  <a:pt x="240" y="1046"/>
                </a:lnTo>
                <a:lnTo>
                  <a:pt x="240" y="1048"/>
                </a:lnTo>
                <a:lnTo>
                  <a:pt x="241" y="1048"/>
                </a:lnTo>
                <a:lnTo>
                  <a:pt x="238" y="1050"/>
                </a:lnTo>
                <a:lnTo>
                  <a:pt x="236" y="1049"/>
                </a:lnTo>
                <a:lnTo>
                  <a:pt x="234" y="1046"/>
                </a:lnTo>
                <a:lnTo>
                  <a:pt x="232" y="1044"/>
                </a:lnTo>
                <a:lnTo>
                  <a:pt x="232" y="1046"/>
                </a:lnTo>
                <a:lnTo>
                  <a:pt x="235" y="1048"/>
                </a:lnTo>
                <a:lnTo>
                  <a:pt x="235" y="1049"/>
                </a:lnTo>
                <a:lnTo>
                  <a:pt x="234" y="1049"/>
                </a:lnTo>
                <a:lnTo>
                  <a:pt x="235" y="1050"/>
                </a:lnTo>
                <a:lnTo>
                  <a:pt x="236" y="1052"/>
                </a:lnTo>
                <a:lnTo>
                  <a:pt x="237" y="1054"/>
                </a:lnTo>
                <a:lnTo>
                  <a:pt x="236" y="1055"/>
                </a:lnTo>
                <a:lnTo>
                  <a:pt x="236" y="1056"/>
                </a:lnTo>
                <a:lnTo>
                  <a:pt x="235" y="1056"/>
                </a:lnTo>
                <a:lnTo>
                  <a:pt x="236" y="1057"/>
                </a:lnTo>
                <a:lnTo>
                  <a:pt x="237" y="1057"/>
                </a:lnTo>
                <a:lnTo>
                  <a:pt x="238" y="1058"/>
                </a:lnTo>
                <a:lnTo>
                  <a:pt x="237" y="1060"/>
                </a:lnTo>
                <a:lnTo>
                  <a:pt x="236" y="1058"/>
                </a:lnTo>
                <a:lnTo>
                  <a:pt x="235" y="1060"/>
                </a:lnTo>
                <a:lnTo>
                  <a:pt x="236" y="1061"/>
                </a:lnTo>
                <a:lnTo>
                  <a:pt x="235" y="1061"/>
                </a:lnTo>
                <a:lnTo>
                  <a:pt x="234" y="1058"/>
                </a:lnTo>
                <a:lnTo>
                  <a:pt x="234" y="1057"/>
                </a:lnTo>
                <a:lnTo>
                  <a:pt x="232" y="1058"/>
                </a:lnTo>
                <a:lnTo>
                  <a:pt x="232" y="1060"/>
                </a:lnTo>
                <a:lnTo>
                  <a:pt x="234" y="1062"/>
                </a:lnTo>
                <a:lnTo>
                  <a:pt x="235" y="1062"/>
                </a:lnTo>
                <a:lnTo>
                  <a:pt x="236" y="1063"/>
                </a:lnTo>
                <a:lnTo>
                  <a:pt x="237" y="1063"/>
                </a:lnTo>
                <a:lnTo>
                  <a:pt x="237" y="1066"/>
                </a:lnTo>
                <a:lnTo>
                  <a:pt x="240" y="1068"/>
                </a:lnTo>
                <a:lnTo>
                  <a:pt x="238" y="1068"/>
                </a:lnTo>
                <a:lnTo>
                  <a:pt x="237" y="1067"/>
                </a:lnTo>
                <a:lnTo>
                  <a:pt x="237" y="1068"/>
                </a:lnTo>
                <a:lnTo>
                  <a:pt x="238" y="1069"/>
                </a:lnTo>
                <a:lnTo>
                  <a:pt x="238" y="1070"/>
                </a:lnTo>
                <a:lnTo>
                  <a:pt x="236" y="1070"/>
                </a:lnTo>
                <a:lnTo>
                  <a:pt x="236" y="1069"/>
                </a:lnTo>
                <a:lnTo>
                  <a:pt x="235" y="1068"/>
                </a:lnTo>
                <a:lnTo>
                  <a:pt x="235" y="1069"/>
                </a:lnTo>
                <a:lnTo>
                  <a:pt x="231" y="1069"/>
                </a:lnTo>
                <a:lnTo>
                  <a:pt x="232" y="1068"/>
                </a:lnTo>
                <a:lnTo>
                  <a:pt x="231" y="1067"/>
                </a:lnTo>
                <a:lnTo>
                  <a:pt x="234" y="1067"/>
                </a:lnTo>
                <a:lnTo>
                  <a:pt x="228" y="1061"/>
                </a:lnTo>
                <a:lnTo>
                  <a:pt x="226" y="1061"/>
                </a:lnTo>
                <a:lnTo>
                  <a:pt x="226" y="1063"/>
                </a:lnTo>
                <a:lnTo>
                  <a:pt x="228" y="1063"/>
                </a:lnTo>
                <a:lnTo>
                  <a:pt x="229" y="1064"/>
                </a:lnTo>
                <a:lnTo>
                  <a:pt x="231" y="1066"/>
                </a:lnTo>
                <a:lnTo>
                  <a:pt x="230" y="1067"/>
                </a:lnTo>
                <a:lnTo>
                  <a:pt x="230" y="1069"/>
                </a:lnTo>
                <a:lnTo>
                  <a:pt x="229" y="1069"/>
                </a:lnTo>
                <a:lnTo>
                  <a:pt x="228" y="1068"/>
                </a:lnTo>
                <a:lnTo>
                  <a:pt x="226" y="1068"/>
                </a:lnTo>
                <a:lnTo>
                  <a:pt x="226" y="1069"/>
                </a:lnTo>
                <a:lnTo>
                  <a:pt x="225" y="1069"/>
                </a:lnTo>
                <a:lnTo>
                  <a:pt x="235" y="1080"/>
                </a:lnTo>
                <a:lnTo>
                  <a:pt x="236" y="1081"/>
                </a:lnTo>
                <a:lnTo>
                  <a:pt x="235" y="1081"/>
                </a:lnTo>
                <a:lnTo>
                  <a:pt x="232" y="1080"/>
                </a:lnTo>
                <a:lnTo>
                  <a:pt x="232" y="1079"/>
                </a:lnTo>
                <a:lnTo>
                  <a:pt x="229" y="1074"/>
                </a:lnTo>
                <a:lnTo>
                  <a:pt x="224" y="1069"/>
                </a:lnTo>
                <a:lnTo>
                  <a:pt x="224" y="1072"/>
                </a:lnTo>
                <a:lnTo>
                  <a:pt x="226" y="1073"/>
                </a:lnTo>
                <a:lnTo>
                  <a:pt x="229" y="1075"/>
                </a:lnTo>
                <a:lnTo>
                  <a:pt x="230" y="1078"/>
                </a:lnTo>
                <a:lnTo>
                  <a:pt x="234" y="1081"/>
                </a:lnTo>
                <a:lnTo>
                  <a:pt x="234" y="1082"/>
                </a:lnTo>
                <a:lnTo>
                  <a:pt x="235" y="1082"/>
                </a:lnTo>
                <a:lnTo>
                  <a:pt x="236" y="1083"/>
                </a:lnTo>
                <a:lnTo>
                  <a:pt x="236" y="1086"/>
                </a:lnTo>
                <a:lnTo>
                  <a:pt x="232" y="1085"/>
                </a:lnTo>
                <a:lnTo>
                  <a:pt x="231" y="1085"/>
                </a:lnTo>
                <a:lnTo>
                  <a:pt x="231" y="1086"/>
                </a:lnTo>
                <a:lnTo>
                  <a:pt x="232" y="1087"/>
                </a:lnTo>
                <a:lnTo>
                  <a:pt x="232" y="1091"/>
                </a:lnTo>
                <a:lnTo>
                  <a:pt x="231" y="1091"/>
                </a:lnTo>
                <a:lnTo>
                  <a:pt x="231" y="1092"/>
                </a:lnTo>
                <a:lnTo>
                  <a:pt x="230" y="1093"/>
                </a:lnTo>
                <a:lnTo>
                  <a:pt x="229" y="1092"/>
                </a:lnTo>
                <a:lnTo>
                  <a:pt x="229" y="1093"/>
                </a:lnTo>
                <a:lnTo>
                  <a:pt x="228" y="1093"/>
                </a:lnTo>
                <a:lnTo>
                  <a:pt x="229" y="1094"/>
                </a:lnTo>
                <a:lnTo>
                  <a:pt x="228" y="1094"/>
                </a:lnTo>
                <a:lnTo>
                  <a:pt x="228" y="1095"/>
                </a:lnTo>
                <a:lnTo>
                  <a:pt x="232" y="1095"/>
                </a:lnTo>
                <a:lnTo>
                  <a:pt x="234" y="1099"/>
                </a:lnTo>
                <a:lnTo>
                  <a:pt x="235" y="1101"/>
                </a:lnTo>
                <a:lnTo>
                  <a:pt x="235" y="1103"/>
                </a:lnTo>
                <a:lnTo>
                  <a:pt x="234" y="1103"/>
                </a:lnTo>
                <a:lnTo>
                  <a:pt x="235" y="1104"/>
                </a:lnTo>
                <a:lnTo>
                  <a:pt x="232" y="1104"/>
                </a:lnTo>
                <a:lnTo>
                  <a:pt x="232" y="1106"/>
                </a:lnTo>
                <a:lnTo>
                  <a:pt x="234" y="1106"/>
                </a:lnTo>
                <a:lnTo>
                  <a:pt x="235" y="1107"/>
                </a:lnTo>
                <a:lnTo>
                  <a:pt x="232" y="1107"/>
                </a:lnTo>
                <a:lnTo>
                  <a:pt x="232" y="1110"/>
                </a:lnTo>
                <a:lnTo>
                  <a:pt x="230" y="1109"/>
                </a:lnTo>
                <a:lnTo>
                  <a:pt x="229" y="1110"/>
                </a:lnTo>
                <a:lnTo>
                  <a:pt x="229" y="1111"/>
                </a:lnTo>
                <a:lnTo>
                  <a:pt x="230" y="1112"/>
                </a:lnTo>
                <a:lnTo>
                  <a:pt x="230" y="1113"/>
                </a:lnTo>
                <a:lnTo>
                  <a:pt x="229" y="1113"/>
                </a:lnTo>
                <a:lnTo>
                  <a:pt x="230" y="1115"/>
                </a:lnTo>
                <a:lnTo>
                  <a:pt x="226" y="1117"/>
                </a:lnTo>
                <a:lnTo>
                  <a:pt x="225" y="1118"/>
                </a:lnTo>
                <a:lnTo>
                  <a:pt x="226" y="1121"/>
                </a:lnTo>
                <a:lnTo>
                  <a:pt x="225" y="1122"/>
                </a:lnTo>
                <a:lnTo>
                  <a:pt x="225" y="1125"/>
                </a:lnTo>
                <a:lnTo>
                  <a:pt x="226" y="1128"/>
                </a:lnTo>
                <a:lnTo>
                  <a:pt x="228" y="1129"/>
                </a:lnTo>
                <a:lnTo>
                  <a:pt x="228" y="1130"/>
                </a:lnTo>
                <a:lnTo>
                  <a:pt x="229" y="1130"/>
                </a:lnTo>
                <a:lnTo>
                  <a:pt x="229" y="1131"/>
                </a:lnTo>
                <a:lnTo>
                  <a:pt x="230" y="1132"/>
                </a:lnTo>
                <a:lnTo>
                  <a:pt x="229" y="1134"/>
                </a:lnTo>
                <a:lnTo>
                  <a:pt x="230" y="1134"/>
                </a:lnTo>
                <a:lnTo>
                  <a:pt x="230" y="1136"/>
                </a:lnTo>
                <a:lnTo>
                  <a:pt x="229" y="1135"/>
                </a:lnTo>
                <a:lnTo>
                  <a:pt x="228" y="1135"/>
                </a:lnTo>
                <a:lnTo>
                  <a:pt x="228" y="1136"/>
                </a:lnTo>
                <a:lnTo>
                  <a:pt x="226" y="1136"/>
                </a:lnTo>
                <a:lnTo>
                  <a:pt x="225" y="1135"/>
                </a:lnTo>
                <a:lnTo>
                  <a:pt x="224" y="1135"/>
                </a:lnTo>
                <a:lnTo>
                  <a:pt x="225" y="1136"/>
                </a:lnTo>
                <a:lnTo>
                  <a:pt x="225" y="1137"/>
                </a:lnTo>
                <a:lnTo>
                  <a:pt x="224" y="1138"/>
                </a:lnTo>
                <a:lnTo>
                  <a:pt x="224" y="1141"/>
                </a:lnTo>
                <a:lnTo>
                  <a:pt x="225" y="1142"/>
                </a:lnTo>
                <a:lnTo>
                  <a:pt x="225" y="1144"/>
                </a:lnTo>
                <a:lnTo>
                  <a:pt x="224" y="1147"/>
                </a:lnTo>
                <a:lnTo>
                  <a:pt x="224" y="1150"/>
                </a:lnTo>
                <a:lnTo>
                  <a:pt x="223" y="1154"/>
                </a:lnTo>
                <a:lnTo>
                  <a:pt x="223" y="1155"/>
                </a:lnTo>
                <a:lnTo>
                  <a:pt x="224" y="1155"/>
                </a:lnTo>
                <a:lnTo>
                  <a:pt x="224" y="1156"/>
                </a:lnTo>
                <a:lnTo>
                  <a:pt x="223" y="1156"/>
                </a:lnTo>
                <a:lnTo>
                  <a:pt x="222" y="1158"/>
                </a:lnTo>
                <a:lnTo>
                  <a:pt x="220" y="1158"/>
                </a:lnTo>
                <a:lnTo>
                  <a:pt x="222" y="1159"/>
                </a:lnTo>
                <a:lnTo>
                  <a:pt x="222" y="1166"/>
                </a:lnTo>
                <a:lnTo>
                  <a:pt x="219" y="1166"/>
                </a:lnTo>
                <a:lnTo>
                  <a:pt x="219" y="1165"/>
                </a:lnTo>
                <a:lnTo>
                  <a:pt x="218" y="1166"/>
                </a:lnTo>
                <a:lnTo>
                  <a:pt x="217" y="1166"/>
                </a:lnTo>
                <a:lnTo>
                  <a:pt x="217" y="1167"/>
                </a:lnTo>
                <a:lnTo>
                  <a:pt x="216" y="1169"/>
                </a:lnTo>
                <a:lnTo>
                  <a:pt x="216" y="1171"/>
                </a:lnTo>
                <a:lnTo>
                  <a:pt x="215" y="1172"/>
                </a:lnTo>
                <a:lnTo>
                  <a:pt x="215" y="1175"/>
                </a:lnTo>
                <a:lnTo>
                  <a:pt x="213" y="1175"/>
                </a:lnTo>
                <a:lnTo>
                  <a:pt x="213" y="1177"/>
                </a:lnTo>
                <a:lnTo>
                  <a:pt x="210" y="1184"/>
                </a:lnTo>
                <a:lnTo>
                  <a:pt x="209" y="1190"/>
                </a:lnTo>
                <a:lnTo>
                  <a:pt x="207" y="1197"/>
                </a:lnTo>
                <a:lnTo>
                  <a:pt x="206" y="1198"/>
                </a:lnTo>
                <a:lnTo>
                  <a:pt x="206" y="1199"/>
                </a:lnTo>
                <a:lnTo>
                  <a:pt x="203" y="1203"/>
                </a:lnTo>
                <a:lnTo>
                  <a:pt x="200" y="1208"/>
                </a:lnTo>
                <a:lnTo>
                  <a:pt x="200" y="1209"/>
                </a:lnTo>
                <a:lnTo>
                  <a:pt x="198" y="1209"/>
                </a:lnTo>
                <a:lnTo>
                  <a:pt x="197" y="1208"/>
                </a:lnTo>
                <a:lnTo>
                  <a:pt x="198" y="1205"/>
                </a:lnTo>
                <a:lnTo>
                  <a:pt x="199" y="1204"/>
                </a:lnTo>
                <a:lnTo>
                  <a:pt x="198" y="1203"/>
                </a:lnTo>
                <a:lnTo>
                  <a:pt x="195" y="1204"/>
                </a:lnTo>
                <a:lnTo>
                  <a:pt x="194" y="1204"/>
                </a:lnTo>
                <a:lnTo>
                  <a:pt x="194" y="1203"/>
                </a:lnTo>
                <a:lnTo>
                  <a:pt x="193" y="1203"/>
                </a:lnTo>
                <a:lnTo>
                  <a:pt x="193" y="1202"/>
                </a:lnTo>
                <a:lnTo>
                  <a:pt x="192" y="1202"/>
                </a:lnTo>
                <a:lnTo>
                  <a:pt x="191" y="1201"/>
                </a:lnTo>
                <a:lnTo>
                  <a:pt x="191" y="1202"/>
                </a:lnTo>
                <a:lnTo>
                  <a:pt x="188" y="1204"/>
                </a:lnTo>
                <a:lnTo>
                  <a:pt x="188" y="1202"/>
                </a:lnTo>
                <a:lnTo>
                  <a:pt x="189" y="1201"/>
                </a:lnTo>
                <a:lnTo>
                  <a:pt x="188" y="1201"/>
                </a:lnTo>
                <a:lnTo>
                  <a:pt x="186" y="1202"/>
                </a:lnTo>
                <a:lnTo>
                  <a:pt x="185" y="1203"/>
                </a:lnTo>
                <a:lnTo>
                  <a:pt x="185" y="1204"/>
                </a:lnTo>
                <a:lnTo>
                  <a:pt x="184" y="1204"/>
                </a:lnTo>
                <a:lnTo>
                  <a:pt x="182" y="1203"/>
                </a:lnTo>
                <a:lnTo>
                  <a:pt x="182" y="1202"/>
                </a:lnTo>
                <a:lnTo>
                  <a:pt x="181" y="1202"/>
                </a:lnTo>
                <a:lnTo>
                  <a:pt x="180" y="1203"/>
                </a:lnTo>
                <a:lnTo>
                  <a:pt x="180" y="1205"/>
                </a:lnTo>
                <a:lnTo>
                  <a:pt x="176" y="1205"/>
                </a:lnTo>
                <a:lnTo>
                  <a:pt x="176" y="1202"/>
                </a:lnTo>
                <a:lnTo>
                  <a:pt x="174" y="1204"/>
                </a:lnTo>
                <a:lnTo>
                  <a:pt x="172" y="1204"/>
                </a:lnTo>
                <a:lnTo>
                  <a:pt x="170" y="1203"/>
                </a:lnTo>
                <a:lnTo>
                  <a:pt x="169" y="1203"/>
                </a:lnTo>
                <a:lnTo>
                  <a:pt x="169" y="1204"/>
                </a:lnTo>
                <a:lnTo>
                  <a:pt x="168" y="1204"/>
                </a:lnTo>
                <a:lnTo>
                  <a:pt x="167" y="1203"/>
                </a:lnTo>
                <a:lnTo>
                  <a:pt x="167" y="1202"/>
                </a:lnTo>
                <a:lnTo>
                  <a:pt x="166" y="1202"/>
                </a:lnTo>
                <a:lnTo>
                  <a:pt x="166" y="1204"/>
                </a:lnTo>
                <a:lnTo>
                  <a:pt x="163" y="1203"/>
                </a:lnTo>
                <a:lnTo>
                  <a:pt x="161" y="1203"/>
                </a:lnTo>
                <a:lnTo>
                  <a:pt x="160" y="1204"/>
                </a:lnTo>
                <a:lnTo>
                  <a:pt x="158" y="1203"/>
                </a:lnTo>
                <a:lnTo>
                  <a:pt x="157" y="1203"/>
                </a:lnTo>
                <a:lnTo>
                  <a:pt x="157" y="1204"/>
                </a:lnTo>
                <a:lnTo>
                  <a:pt x="156" y="1205"/>
                </a:lnTo>
                <a:lnTo>
                  <a:pt x="156" y="1204"/>
                </a:lnTo>
                <a:lnTo>
                  <a:pt x="155" y="1204"/>
                </a:lnTo>
                <a:lnTo>
                  <a:pt x="154" y="1203"/>
                </a:lnTo>
                <a:lnTo>
                  <a:pt x="153" y="1203"/>
                </a:lnTo>
                <a:lnTo>
                  <a:pt x="151" y="1204"/>
                </a:lnTo>
                <a:lnTo>
                  <a:pt x="150" y="1204"/>
                </a:lnTo>
                <a:lnTo>
                  <a:pt x="150" y="1208"/>
                </a:lnTo>
                <a:lnTo>
                  <a:pt x="151" y="1208"/>
                </a:lnTo>
                <a:lnTo>
                  <a:pt x="151" y="1209"/>
                </a:lnTo>
                <a:lnTo>
                  <a:pt x="153" y="1209"/>
                </a:lnTo>
                <a:lnTo>
                  <a:pt x="154" y="1211"/>
                </a:lnTo>
                <a:lnTo>
                  <a:pt x="154" y="1214"/>
                </a:lnTo>
                <a:lnTo>
                  <a:pt x="153" y="1214"/>
                </a:lnTo>
                <a:lnTo>
                  <a:pt x="153" y="1215"/>
                </a:lnTo>
                <a:lnTo>
                  <a:pt x="151" y="1216"/>
                </a:lnTo>
                <a:lnTo>
                  <a:pt x="151" y="1215"/>
                </a:lnTo>
                <a:lnTo>
                  <a:pt x="148" y="1215"/>
                </a:lnTo>
                <a:lnTo>
                  <a:pt x="148" y="1212"/>
                </a:lnTo>
                <a:lnTo>
                  <a:pt x="145" y="1212"/>
                </a:lnTo>
                <a:lnTo>
                  <a:pt x="145" y="1211"/>
                </a:lnTo>
                <a:lnTo>
                  <a:pt x="144" y="1212"/>
                </a:lnTo>
                <a:lnTo>
                  <a:pt x="143" y="1212"/>
                </a:lnTo>
                <a:lnTo>
                  <a:pt x="142" y="1214"/>
                </a:lnTo>
                <a:lnTo>
                  <a:pt x="141" y="1216"/>
                </a:lnTo>
                <a:lnTo>
                  <a:pt x="138" y="1217"/>
                </a:lnTo>
                <a:lnTo>
                  <a:pt x="138" y="1218"/>
                </a:lnTo>
                <a:lnTo>
                  <a:pt x="137" y="1218"/>
                </a:lnTo>
                <a:lnTo>
                  <a:pt x="136" y="1220"/>
                </a:lnTo>
                <a:lnTo>
                  <a:pt x="136" y="1221"/>
                </a:lnTo>
                <a:lnTo>
                  <a:pt x="135" y="1222"/>
                </a:lnTo>
                <a:lnTo>
                  <a:pt x="135" y="1223"/>
                </a:lnTo>
                <a:lnTo>
                  <a:pt x="133" y="1223"/>
                </a:lnTo>
                <a:lnTo>
                  <a:pt x="131" y="1226"/>
                </a:lnTo>
                <a:lnTo>
                  <a:pt x="130" y="1229"/>
                </a:lnTo>
                <a:lnTo>
                  <a:pt x="130" y="1238"/>
                </a:lnTo>
                <a:lnTo>
                  <a:pt x="133" y="1241"/>
                </a:lnTo>
                <a:lnTo>
                  <a:pt x="133" y="1245"/>
                </a:lnTo>
                <a:lnTo>
                  <a:pt x="137" y="1248"/>
                </a:lnTo>
                <a:lnTo>
                  <a:pt x="137" y="1252"/>
                </a:lnTo>
                <a:lnTo>
                  <a:pt x="136" y="1252"/>
                </a:lnTo>
                <a:lnTo>
                  <a:pt x="133" y="1255"/>
                </a:lnTo>
                <a:lnTo>
                  <a:pt x="132" y="1257"/>
                </a:lnTo>
                <a:lnTo>
                  <a:pt x="131" y="1260"/>
                </a:lnTo>
                <a:lnTo>
                  <a:pt x="130" y="1260"/>
                </a:lnTo>
                <a:lnTo>
                  <a:pt x="129" y="1261"/>
                </a:lnTo>
                <a:lnTo>
                  <a:pt x="123" y="1261"/>
                </a:lnTo>
                <a:lnTo>
                  <a:pt x="120" y="1258"/>
                </a:lnTo>
                <a:lnTo>
                  <a:pt x="116" y="1258"/>
                </a:lnTo>
                <a:lnTo>
                  <a:pt x="114" y="1259"/>
                </a:lnTo>
                <a:lnTo>
                  <a:pt x="112" y="1258"/>
                </a:lnTo>
                <a:lnTo>
                  <a:pt x="107" y="1259"/>
                </a:lnTo>
                <a:lnTo>
                  <a:pt x="106" y="1259"/>
                </a:lnTo>
                <a:lnTo>
                  <a:pt x="106" y="1260"/>
                </a:lnTo>
                <a:lnTo>
                  <a:pt x="105" y="1260"/>
                </a:lnTo>
                <a:lnTo>
                  <a:pt x="105" y="1261"/>
                </a:lnTo>
                <a:lnTo>
                  <a:pt x="100" y="1261"/>
                </a:lnTo>
                <a:lnTo>
                  <a:pt x="97" y="1264"/>
                </a:lnTo>
                <a:lnTo>
                  <a:pt x="95" y="1265"/>
                </a:lnTo>
                <a:lnTo>
                  <a:pt x="92" y="1265"/>
                </a:lnTo>
                <a:lnTo>
                  <a:pt x="85" y="1263"/>
                </a:lnTo>
                <a:lnTo>
                  <a:pt x="82" y="1263"/>
                </a:lnTo>
                <a:lnTo>
                  <a:pt x="81" y="1261"/>
                </a:lnTo>
                <a:lnTo>
                  <a:pt x="80" y="1261"/>
                </a:lnTo>
                <a:lnTo>
                  <a:pt x="80" y="1260"/>
                </a:lnTo>
                <a:lnTo>
                  <a:pt x="77" y="1260"/>
                </a:lnTo>
                <a:lnTo>
                  <a:pt x="77" y="1261"/>
                </a:lnTo>
                <a:lnTo>
                  <a:pt x="73" y="1261"/>
                </a:lnTo>
                <a:lnTo>
                  <a:pt x="73" y="1260"/>
                </a:lnTo>
                <a:lnTo>
                  <a:pt x="74" y="1258"/>
                </a:lnTo>
                <a:lnTo>
                  <a:pt x="75" y="1258"/>
                </a:lnTo>
                <a:lnTo>
                  <a:pt x="75" y="1259"/>
                </a:lnTo>
                <a:lnTo>
                  <a:pt x="76" y="1259"/>
                </a:lnTo>
                <a:lnTo>
                  <a:pt x="77" y="1258"/>
                </a:lnTo>
                <a:lnTo>
                  <a:pt x="77" y="1257"/>
                </a:lnTo>
                <a:lnTo>
                  <a:pt x="79" y="1257"/>
                </a:lnTo>
                <a:lnTo>
                  <a:pt x="79" y="1255"/>
                </a:lnTo>
                <a:lnTo>
                  <a:pt x="76" y="1252"/>
                </a:lnTo>
                <a:lnTo>
                  <a:pt x="76" y="1247"/>
                </a:lnTo>
                <a:lnTo>
                  <a:pt x="77" y="1246"/>
                </a:lnTo>
                <a:lnTo>
                  <a:pt x="81" y="1244"/>
                </a:lnTo>
                <a:lnTo>
                  <a:pt x="81" y="1242"/>
                </a:lnTo>
                <a:lnTo>
                  <a:pt x="82" y="1241"/>
                </a:lnTo>
                <a:lnTo>
                  <a:pt x="82" y="1239"/>
                </a:lnTo>
                <a:lnTo>
                  <a:pt x="80" y="1236"/>
                </a:lnTo>
                <a:lnTo>
                  <a:pt x="79" y="1236"/>
                </a:lnTo>
                <a:lnTo>
                  <a:pt x="77" y="1235"/>
                </a:lnTo>
                <a:lnTo>
                  <a:pt x="76" y="1235"/>
                </a:lnTo>
                <a:lnTo>
                  <a:pt x="76" y="1228"/>
                </a:lnTo>
                <a:lnTo>
                  <a:pt x="75" y="1227"/>
                </a:lnTo>
                <a:lnTo>
                  <a:pt x="73" y="1226"/>
                </a:lnTo>
                <a:lnTo>
                  <a:pt x="71" y="1224"/>
                </a:lnTo>
                <a:lnTo>
                  <a:pt x="71" y="1221"/>
                </a:lnTo>
                <a:lnTo>
                  <a:pt x="70" y="1221"/>
                </a:lnTo>
                <a:lnTo>
                  <a:pt x="70" y="1220"/>
                </a:lnTo>
                <a:lnTo>
                  <a:pt x="69" y="1218"/>
                </a:lnTo>
                <a:lnTo>
                  <a:pt x="69" y="1216"/>
                </a:lnTo>
                <a:lnTo>
                  <a:pt x="67" y="1214"/>
                </a:lnTo>
                <a:lnTo>
                  <a:pt x="67" y="1212"/>
                </a:lnTo>
                <a:lnTo>
                  <a:pt x="63" y="1207"/>
                </a:lnTo>
                <a:lnTo>
                  <a:pt x="61" y="1203"/>
                </a:lnTo>
                <a:lnTo>
                  <a:pt x="61" y="1199"/>
                </a:lnTo>
                <a:lnTo>
                  <a:pt x="60" y="1199"/>
                </a:lnTo>
                <a:lnTo>
                  <a:pt x="60" y="1197"/>
                </a:lnTo>
                <a:lnTo>
                  <a:pt x="58" y="1195"/>
                </a:lnTo>
                <a:lnTo>
                  <a:pt x="56" y="1192"/>
                </a:lnTo>
                <a:lnTo>
                  <a:pt x="64" y="1196"/>
                </a:lnTo>
                <a:lnTo>
                  <a:pt x="64" y="1197"/>
                </a:lnTo>
                <a:lnTo>
                  <a:pt x="67" y="1199"/>
                </a:lnTo>
                <a:lnTo>
                  <a:pt x="68" y="1199"/>
                </a:lnTo>
                <a:lnTo>
                  <a:pt x="68" y="1198"/>
                </a:lnTo>
                <a:lnTo>
                  <a:pt x="71" y="1198"/>
                </a:lnTo>
                <a:lnTo>
                  <a:pt x="73" y="1197"/>
                </a:lnTo>
                <a:lnTo>
                  <a:pt x="73" y="1195"/>
                </a:lnTo>
                <a:lnTo>
                  <a:pt x="70" y="1193"/>
                </a:lnTo>
                <a:lnTo>
                  <a:pt x="69" y="1192"/>
                </a:lnTo>
                <a:lnTo>
                  <a:pt x="68" y="1189"/>
                </a:lnTo>
                <a:lnTo>
                  <a:pt x="64" y="1186"/>
                </a:lnTo>
                <a:lnTo>
                  <a:pt x="63" y="1184"/>
                </a:lnTo>
                <a:lnTo>
                  <a:pt x="66" y="1181"/>
                </a:lnTo>
                <a:lnTo>
                  <a:pt x="68" y="1180"/>
                </a:lnTo>
                <a:lnTo>
                  <a:pt x="73" y="1183"/>
                </a:lnTo>
                <a:lnTo>
                  <a:pt x="75" y="1181"/>
                </a:lnTo>
                <a:lnTo>
                  <a:pt x="75" y="1180"/>
                </a:lnTo>
                <a:lnTo>
                  <a:pt x="76" y="1179"/>
                </a:lnTo>
                <a:lnTo>
                  <a:pt x="76" y="1174"/>
                </a:lnTo>
                <a:lnTo>
                  <a:pt x="75" y="1171"/>
                </a:lnTo>
                <a:lnTo>
                  <a:pt x="75" y="1167"/>
                </a:lnTo>
                <a:lnTo>
                  <a:pt x="74" y="1166"/>
                </a:lnTo>
                <a:lnTo>
                  <a:pt x="71" y="1166"/>
                </a:lnTo>
                <a:lnTo>
                  <a:pt x="70" y="1167"/>
                </a:lnTo>
                <a:lnTo>
                  <a:pt x="68" y="1167"/>
                </a:lnTo>
                <a:lnTo>
                  <a:pt x="66" y="1164"/>
                </a:lnTo>
                <a:lnTo>
                  <a:pt x="66" y="1161"/>
                </a:lnTo>
                <a:lnTo>
                  <a:pt x="64" y="1161"/>
                </a:lnTo>
                <a:lnTo>
                  <a:pt x="64" y="1160"/>
                </a:lnTo>
                <a:lnTo>
                  <a:pt x="63" y="1159"/>
                </a:lnTo>
                <a:lnTo>
                  <a:pt x="62" y="1155"/>
                </a:lnTo>
                <a:lnTo>
                  <a:pt x="63" y="1154"/>
                </a:lnTo>
                <a:lnTo>
                  <a:pt x="62" y="1153"/>
                </a:lnTo>
                <a:lnTo>
                  <a:pt x="60" y="1152"/>
                </a:lnTo>
                <a:lnTo>
                  <a:pt x="60" y="1150"/>
                </a:lnTo>
                <a:lnTo>
                  <a:pt x="58" y="1150"/>
                </a:lnTo>
                <a:lnTo>
                  <a:pt x="58" y="1149"/>
                </a:lnTo>
                <a:lnTo>
                  <a:pt x="56" y="1147"/>
                </a:lnTo>
                <a:lnTo>
                  <a:pt x="55" y="1147"/>
                </a:lnTo>
                <a:lnTo>
                  <a:pt x="54" y="1146"/>
                </a:lnTo>
                <a:lnTo>
                  <a:pt x="52" y="1146"/>
                </a:lnTo>
                <a:lnTo>
                  <a:pt x="51" y="1144"/>
                </a:lnTo>
                <a:lnTo>
                  <a:pt x="51" y="1142"/>
                </a:lnTo>
                <a:lnTo>
                  <a:pt x="52" y="1141"/>
                </a:lnTo>
                <a:lnTo>
                  <a:pt x="52" y="1138"/>
                </a:lnTo>
                <a:lnTo>
                  <a:pt x="51" y="1138"/>
                </a:lnTo>
                <a:lnTo>
                  <a:pt x="51" y="1137"/>
                </a:lnTo>
                <a:lnTo>
                  <a:pt x="50" y="1137"/>
                </a:lnTo>
                <a:lnTo>
                  <a:pt x="48" y="1135"/>
                </a:lnTo>
                <a:lnTo>
                  <a:pt x="48" y="1132"/>
                </a:lnTo>
                <a:lnTo>
                  <a:pt x="46" y="1132"/>
                </a:lnTo>
                <a:lnTo>
                  <a:pt x="48" y="1131"/>
                </a:lnTo>
                <a:lnTo>
                  <a:pt x="48" y="1130"/>
                </a:lnTo>
                <a:lnTo>
                  <a:pt x="45" y="1128"/>
                </a:lnTo>
                <a:lnTo>
                  <a:pt x="45" y="1125"/>
                </a:lnTo>
                <a:lnTo>
                  <a:pt x="44" y="1125"/>
                </a:lnTo>
                <a:lnTo>
                  <a:pt x="45" y="1123"/>
                </a:lnTo>
                <a:lnTo>
                  <a:pt x="44" y="1123"/>
                </a:lnTo>
                <a:lnTo>
                  <a:pt x="42" y="1121"/>
                </a:lnTo>
                <a:lnTo>
                  <a:pt x="43" y="1121"/>
                </a:lnTo>
                <a:lnTo>
                  <a:pt x="43" y="1119"/>
                </a:lnTo>
                <a:lnTo>
                  <a:pt x="42" y="1119"/>
                </a:lnTo>
                <a:lnTo>
                  <a:pt x="42" y="1118"/>
                </a:lnTo>
                <a:lnTo>
                  <a:pt x="43" y="1118"/>
                </a:lnTo>
                <a:lnTo>
                  <a:pt x="43" y="1113"/>
                </a:lnTo>
                <a:lnTo>
                  <a:pt x="42" y="1113"/>
                </a:lnTo>
                <a:lnTo>
                  <a:pt x="42" y="1112"/>
                </a:lnTo>
                <a:lnTo>
                  <a:pt x="40" y="1112"/>
                </a:lnTo>
                <a:lnTo>
                  <a:pt x="40" y="1113"/>
                </a:lnTo>
                <a:lnTo>
                  <a:pt x="39" y="1112"/>
                </a:lnTo>
                <a:lnTo>
                  <a:pt x="40" y="1111"/>
                </a:lnTo>
                <a:lnTo>
                  <a:pt x="40" y="1110"/>
                </a:lnTo>
                <a:lnTo>
                  <a:pt x="42" y="1109"/>
                </a:lnTo>
                <a:lnTo>
                  <a:pt x="40" y="1109"/>
                </a:lnTo>
                <a:lnTo>
                  <a:pt x="42" y="1107"/>
                </a:lnTo>
                <a:lnTo>
                  <a:pt x="40" y="1106"/>
                </a:lnTo>
                <a:lnTo>
                  <a:pt x="39" y="1104"/>
                </a:lnTo>
                <a:lnTo>
                  <a:pt x="38" y="1104"/>
                </a:lnTo>
                <a:lnTo>
                  <a:pt x="37" y="1105"/>
                </a:lnTo>
                <a:lnTo>
                  <a:pt x="37" y="1112"/>
                </a:lnTo>
                <a:lnTo>
                  <a:pt x="36" y="1111"/>
                </a:lnTo>
                <a:lnTo>
                  <a:pt x="35" y="1111"/>
                </a:lnTo>
                <a:lnTo>
                  <a:pt x="35" y="1109"/>
                </a:lnTo>
                <a:lnTo>
                  <a:pt x="33" y="1109"/>
                </a:lnTo>
                <a:lnTo>
                  <a:pt x="33" y="1103"/>
                </a:lnTo>
                <a:lnTo>
                  <a:pt x="35" y="1101"/>
                </a:lnTo>
                <a:lnTo>
                  <a:pt x="35" y="1100"/>
                </a:lnTo>
                <a:lnTo>
                  <a:pt x="33" y="1100"/>
                </a:lnTo>
                <a:lnTo>
                  <a:pt x="35" y="1099"/>
                </a:lnTo>
                <a:lnTo>
                  <a:pt x="33" y="1099"/>
                </a:lnTo>
                <a:lnTo>
                  <a:pt x="33" y="1091"/>
                </a:lnTo>
                <a:lnTo>
                  <a:pt x="32" y="1092"/>
                </a:lnTo>
                <a:lnTo>
                  <a:pt x="31" y="1091"/>
                </a:lnTo>
                <a:lnTo>
                  <a:pt x="31" y="1088"/>
                </a:lnTo>
                <a:lnTo>
                  <a:pt x="30" y="1087"/>
                </a:lnTo>
                <a:lnTo>
                  <a:pt x="31" y="1086"/>
                </a:lnTo>
                <a:lnTo>
                  <a:pt x="33" y="1086"/>
                </a:lnTo>
                <a:lnTo>
                  <a:pt x="35" y="1085"/>
                </a:lnTo>
                <a:lnTo>
                  <a:pt x="30" y="1085"/>
                </a:lnTo>
                <a:lnTo>
                  <a:pt x="27" y="1083"/>
                </a:lnTo>
                <a:lnTo>
                  <a:pt x="26" y="1083"/>
                </a:lnTo>
                <a:lnTo>
                  <a:pt x="26" y="1085"/>
                </a:lnTo>
                <a:lnTo>
                  <a:pt x="25" y="1085"/>
                </a:lnTo>
                <a:lnTo>
                  <a:pt x="25" y="1082"/>
                </a:lnTo>
                <a:lnTo>
                  <a:pt x="29" y="1079"/>
                </a:lnTo>
                <a:lnTo>
                  <a:pt x="30" y="1079"/>
                </a:lnTo>
                <a:lnTo>
                  <a:pt x="29" y="1078"/>
                </a:lnTo>
                <a:lnTo>
                  <a:pt x="26" y="1078"/>
                </a:lnTo>
                <a:lnTo>
                  <a:pt x="26" y="1076"/>
                </a:lnTo>
                <a:lnTo>
                  <a:pt x="24" y="1074"/>
                </a:lnTo>
                <a:lnTo>
                  <a:pt x="23" y="1074"/>
                </a:lnTo>
                <a:lnTo>
                  <a:pt x="24" y="1073"/>
                </a:lnTo>
                <a:lnTo>
                  <a:pt x="24" y="1072"/>
                </a:lnTo>
                <a:lnTo>
                  <a:pt x="25" y="1072"/>
                </a:lnTo>
                <a:lnTo>
                  <a:pt x="24" y="1070"/>
                </a:lnTo>
                <a:lnTo>
                  <a:pt x="25" y="1069"/>
                </a:lnTo>
                <a:lnTo>
                  <a:pt x="27" y="1069"/>
                </a:lnTo>
                <a:lnTo>
                  <a:pt x="27" y="1067"/>
                </a:lnTo>
                <a:lnTo>
                  <a:pt x="26" y="1066"/>
                </a:lnTo>
                <a:lnTo>
                  <a:pt x="26" y="1064"/>
                </a:lnTo>
                <a:lnTo>
                  <a:pt x="29" y="1061"/>
                </a:lnTo>
                <a:lnTo>
                  <a:pt x="29" y="1052"/>
                </a:lnTo>
                <a:lnTo>
                  <a:pt x="30" y="1052"/>
                </a:lnTo>
                <a:lnTo>
                  <a:pt x="30" y="1049"/>
                </a:lnTo>
                <a:lnTo>
                  <a:pt x="29" y="1051"/>
                </a:lnTo>
                <a:lnTo>
                  <a:pt x="27" y="1051"/>
                </a:lnTo>
                <a:lnTo>
                  <a:pt x="25" y="1052"/>
                </a:lnTo>
                <a:lnTo>
                  <a:pt x="21" y="1052"/>
                </a:lnTo>
                <a:lnTo>
                  <a:pt x="21" y="1051"/>
                </a:lnTo>
                <a:lnTo>
                  <a:pt x="19" y="1051"/>
                </a:lnTo>
                <a:lnTo>
                  <a:pt x="17" y="1054"/>
                </a:lnTo>
                <a:lnTo>
                  <a:pt x="15" y="1054"/>
                </a:lnTo>
                <a:lnTo>
                  <a:pt x="12" y="1050"/>
                </a:lnTo>
                <a:lnTo>
                  <a:pt x="12" y="1049"/>
                </a:lnTo>
                <a:lnTo>
                  <a:pt x="13" y="1048"/>
                </a:lnTo>
                <a:lnTo>
                  <a:pt x="18" y="1044"/>
                </a:lnTo>
                <a:lnTo>
                  <a:pt x="20" y="1042"/>
                </a:lnTo>
                <a:lnTo>
                  <a:pt x="23" y="1042"/>
                </a:lnTo>
                <a:lnTo>
                  <a:pt x="23" y="1039"/>
                </a:lnTo>
                <a:lnTo>
                  <a:pt x="24" y="1039"/>
                </a:lnTo>
                <a:lnTo>
                  <a:pt x="24" y="1038"/>
                </a:lnTo>
                <a:lnTo>
                  <a:pt x="25" y="1037"/>
                </a:lnTo>
                <a:lnTo>
                  <a:pt x="26" y="1038"/>
                </a:lnTo>
                <a:lnTo>
                  <a:pt x="26" y="1039"/>
                </a:lnTo>
                <a:lnTo>
                  <a:pt x="29" y="1042"/>
                </a:lnTo>
                <a:lnTo>
                  <a:pt x="29" y="1043"/>
                </a:lnTo>
                <a:lnTo>
                  <a:pt x="30" y="1044"/>
                </a:lnTo>
                <a:lnTo>
                  <a:pt x="30" y="1045"/>
                </a:lnTo>
                <a:lnTo>
                  <a:pt x="32" y="1045"/>
                </a:lnTo>
                <a:lnTo>
                  <a:pt x="32" y="1044"/>
                </a:lnTo>
                <a:lnTo>
                  <a:pt x="31" y="1043"/>
                </a:lnTo>
                <a:lnTo>
                  <a:pt x="31" y="1040"/>
                </a:lnTo>
                <a:lnTo>
                  <a:pt x="30" y="1039"/>
                </a:lnTo>
                <a:lnTo>
                  <a:pt x="30" y="1038"/>
                </a:lnTo>
                <a:lnTo>
                  <a:pt x="29" y="1037"/>
                </a:lnTo>
                <a:lnTo>
                  <a:pt x="30" y="1036"/>
                </a:lnTo>
                <a:lnTo>
                  <a:pt x="32" y="1035"/>
                </a:lnTo>
                <a:lnTo>
                  <a:pt x="32" y="1033"/>
                </a:lnTo>
                <a:lnTo>
                  <a:pt x="31" y="1033"/>
                </a:lnTo>
                <a:lnTo>
                  <a:pt x="29" y="1035"/>
                </a:lnTo>
                <a:lnTo>
                  <a:pt x="26" y="1035"/>
                </a:lnTo>
                <a:lnTo>
                  <a:pt x="26" y="1036"/>
                </a:lnTo>
                <a:lnTo>
                  <a:pt x="24" y="1036"/>
                </a:lnTo>
                <a:lnTo>
                  <a:pt x="21" y="1038"/>
                </a:lnTo>
                <a:lnTo>
                  <a:pt x="21" y="1039"/>
                </a:lnTo>
                <a:lnTo>
                  <a:pt x="20" y="1040"/>
                </a:lnTo>
                <a:lnTo>
                  <a:pt x="18" y="1040"/>
                </a:lnTo>
                <a:lnTo>
                  <a:pt x="18" y="1042"/>
                </a:lnTo>
                <a:lnTo>
                  <a:pt x="17" y="1042"/>
                </a:lnTo>
                <a:lnTo>
                  <a:pt x="15" y="1040"/>
                </a:lnTo>
                <a:lnTo>
                  <a:pt x="17" y="1038"/>
                </a:lnTo>
                <a:lnTo>
                  <a:pt x="17" y="1037"/>
                </a:lnTo>
                <a:lnTo>
                  <a:pt x="19" y="1032"/>
                </a:lnTo>
                <a:lnTo>
                  <a:pt x="21" y="1030"/>
                </a:lnTo>
                <a:lnTo>
                  <a:pt x="20" y="1030"/>
                </a:lnTo>
                <a:lnTo>
                  <a:pt x="21" y="1029"/>
                </a:lnTo>
                <a:lnTo>
                  <a:pt x="21" y="1027"/>
                </a:lnTo>
                <a:lnTo>
                  <a:pt x="24" y="1027"/>
                </a:lnTo>
                <a:lnTo>
                  <a:pt x="23" y="1026"/>
                </a:lnTo>
                <a:lnTo>
                  <a:pt x="21" y="1026"/>
                </a:lnTo>
                <a:lnTo>
                  <a:pt x="20" y="1027"/>
                </a:lnTo>
                <a:lnTo>
                  <a:pt x="20" y="1029"/>
                </a:lnTo>
                <a:lnTo>
                  <a:pt x="19" y="1027"/>
                </a:lnTo>
                <a:lnTo>
                  <a:pt x="19" y="1025"/>
                </a:lnTo>
                <a:lnTo>
                  <a:pt x="18" y="1024"/>
                </a:lnTo>
                <a:lnTo>
                  <a:pt x="18" y="1032"/>
                </a:lnTo>
                <a:lnTo>
                  <a:pt x="17" y="1033"/>
                </a:lnTo>
                <a:lnTo>
                  <a:pt x="15" y="1036"/>
                </a:lnTo>
                <a:lnTo>
                  <a:pt x="14" y="1037"/>
                </a:lnTo>
                <a:lnTo>
                  <a:pt x="14" y="1036"/>
                </a:lnTo>
                <a:lnTo>
                  <a:pt x="13" y="1036"/>
                </a:lnTo>
                <a:lnTo>
                  <a:pt x="12" y="1037"/>
                </a:lnTo>
                <a:lnTo>
                  <a:pt x="11" y="1036"/>
                </a:lnTo>
                <a:lnTo>
                  <a:pt x="12" y="1035"/>
                </a:lnTo>
                <a:lnTo>
                  <a:pt x="12" y="1033"/>
                </a:lnTo>
                <a:lnTo>
                  <a:pt x="13" y="1033"/>
                </a:lnTo>
                <a:lnTo>
                  <a:pt x="13" y="1030"/>
                </a:lnTo>
                <a:lnTo>
                  <a:pt x="12" y="1030"/>
                </a:lnTo>
                <a:lnTo>
                  <a:pt x="12" y="1031"/>
                </a:lnTo>
                <a:lnTo>
                  <a:pt x="11" y="1032"/>
                </a:lnTo>
                <a:lnTo>
                  <a:pt x="11" y="1033"/>
                </a:lnTo>
                <a:lnTo>
                  <a:pt x="10" y="1033"/>
                </a:lnTo>
                <a:lnTo>
                  <a:pt x="10" y="1032"/>
                </a:lnTo>
                <a:lnTo>
                  <a:pt x="12" y="1029"/>
                </a:lnTo>
                <a:lnTo>
                  <a:pt x="12" y="1027"/>
                </a:lnTo>
                <a:lnTo>
                  <a:pt x="10" y="1030"/>
                </a:lnTo>
                <a:lnTo>
                  <a:pt x="10" y="1031"/>
                </a:lnTo>
                <a:lnTo>
                  <a:pt x="8" y="1032"/>
                </a:lnTo>
                <a:lnTo>
                  <a:pt x="7" y="1031"/>
                </a:lnTo>
                <a:lnTo>
                  <a:pt x="6" y="1031"/>
                </a:lnTo>
                <a:lnTo>
                  <a:pt x="5" y="1033"/>
                </a:lnTo>
                <a:lnTo>
                  <a:pt x="5" y="1031"/>
                </a:lnTo>
                <a:lnTo>
                  <a:pt x="4" y="1029"/>
                </a:lnTo>
                <a:lnTo>
                  <a:pt x="4" y="1027"/>
                </a:lnTo>
                <a:lnTo>
                  <a:pt x="5" y="1026"/>
                </a:lnTo>
                <a:lnTo>
                  <a:pt x="6" y="1027"/>
                </a:lnTo>
                <a:lnTo>
                  <a:pt x="6" y="1025"/>
                </a:lnTo>
                <a:lnTo>
                  <a:pt x="7" y="1024"/>
                </a:lnTo>
                <a:lnTo>
                  <a:pt x="7" y="1023"/>
                </a:lnTo>
                <a:lnTo>
                  <a:pt x="6" y="1023"/>
                </a:lnTo>
                <a:lnTo>
                  <a:pt x="6" y="1021"/>
                </a:lnTo>
                <a:lnTo>
                  <a:pt x="5" y="1020"/>
                </a:lnTo>
                <a:lnTo>
                  <a:pt x="6" y="1019"/>
                </a:lnTo>
                <a:lnTo>
                  <a:pt x="6" y="1015"/>
                </a:lnTo>
                <a:lnTo>
                  <a:pt x="7" y="1015"/>
                </a:lnTo>
                <a:lnTo>
                  <a:pt x="7" y="1014"/>
                </a:lnTo>
                <a:lnTo>
                  <a:pt x="6" y="1014"/>
                </a:lnTo>
                <a:lnTo>
                  <a:pt x="6" y="1008"/>
                </a:lnTo>
                <a:lnTo>
                  <a:pt x="4" y="1006"/>
                </a:lnTo>
                <a:lnTo>
                  <a:pt x="4" y="1005"/>
                </a:lnTo>
                <a:lnTo>
                  <a:pt x="5" y="1003"/>
                </a:lnTo>
                <a:lnTo>
                  <a:pt x="2" y="1003"/>
                </a:lnTo>
                <a:lnTo>
                  <a:pt x="2" y="1001"/>
                </a:lnTo>
                <a:lnTo>
                  <a:pt x="4" y="1000"/>
                </a:lnTo>
                <a:lnTo>
                  <a:pt x="4" y="997"/>
                </a:lnTo>
                <a:lnTo>
                  <a:pt x="5" y="997"/>
                </a:lnTo>
                <a:lnTo>
                  <a:pt x="5" y="993"/>
                </a:lnTo>
                <a:lnTo>
                  <a:pt x="4" y="993"/>
                </a:lnTo>
                <a:lnTo>
                  <a:pt x="4" y="987"/>
                </a:lnTo>
                <a:lnTo>
                  <a:pt x="1" y="986"/>
                </a:lnTo>
                <a:lnTo>
                  <a:pt x="0" y="984"/>
                </a:lnTo>
                <a:lnTo>
                  <a:pt x="0" y="982"/>
                </a:lnTo>
                <a:lnTo>
                  <a:pt x="1" y="982"/>
                </a:lnTo>
                <a:lnTo>
                  <a:pt x="2" y="981"/>
                </a:lnTo>
                <a:lnTo>
                  <a:pt x="0" y="981"/>
                </a:lnTo>
                <a:lnTo>
                  <a:pt x="0" y="977"/>
                </a:lnTo>
                <a:lnTo>
                  <a:pt x="5" y="972"/>
                </a:lnTo>
                <a:lnTo>
                  <a:pt x="10" y="972"/>
                </a:lnTo>
                <a:lnTo>
                  <a:pt x="11" y="975"/>
                </a:lnTo>
                <a:lnTo>
                  <a:pt x="11" y="976"/>
                </a:lnTo>
                <a:lnTo>
                  <a:pt x="12" y="978"/>
                </a:lnTo>
                <a:lnTo>
                  <a:pt x="13" y="980"/>
                </a:lnTo>
                <a:lnTo>
                  <a:pt x="13" y="981"/>
                </a:lnTo>
                <a:lnTo>
                  <a:pt x="14" y="983"/>
                </a:lnTo>
                <a:lnTo>
                  <a:pt x="14" y="988"/>
                </a:lnTo>
                <a:lnTo>
                  <a:pt x="15" y="989"/>
                </a:lnTo>
                <a:lnTo>
                  <a:pt x="21" y="989"/>
                </a:lnTo>
                <a:lnTo>
                  <a:pt x="23" y="987"/>
                </a:lnTo>
                <a:lnTo>
                  <a:pt x="24" y="982"/>
                </a:lnTo>
                <a:lnTo>
                  <a:pt x="25" y="980"/>
                </a:lnTo>
                <a:lnTo>
                  <a:pt x="25" y="978"/>
                </a:lnTo>
                <a:lnTo>
                  <a:pt x="26" y="975"/>
                </a:lnTo>
                <a:lnTo>
                  <a:pt x="26" y="969"/>
                </a:lnTo>
                <a:lnTo>
                  <a:pt x="27" y="963"/>
                </a:lnTo>
                <a:lnTo>
                  <a:pt x="29" y="962"/>
                </a:lnTo>
                <a:lnTo>
                  <a:pt x="29" y="960"/>
                </a:lnTo>
                <a:lnTo>
                  <a:pt x="30" y="959"/>
                </a:lnTo>
                <a:lnTo>
                  <a:pt x="30" y="958"/>
                </a:lnTo>
                <a:lnTo>
                  <a:pt x="29" y="956"/>
                </a:lnTo>
                <a:lnTo>
                  <a:pt x="29" y="950"/>
                </a:lnTo>
                <a:lnTo>
                  <a:pt x="24" y="934"/>
                </a:lnTo>
                <a:lnTo>
                  <a:pt x="24" y="928"/>
                </a:lnTo>
                <a:lnTo>
                  <a:pt x="30" y="926"/>
                </a:lnTo>
                <a:lnTo>
                  <a:pt x="31" y="925"/>
                </a:lnTo>
                <a:lnTo>
                  <a:pt x="32" y="921"/>
                </a:lnTo>
                <a:lnTo>
                  <a:pt x="33" y="921"/>
                </a:lnTo>
                <a:lnTo>
                  <a:pt x="33" y="915"/>
                </a:lnTo>
                <a:lnTo>
                  <a:pt x="32" y="914"/>
                </a:lnTo>
                <a:lnTo>
                  <a:pt x="32" y="913"/>
                </a:lnTo>
                <a:lnTo>
                  <a:pt x="31" y="911"/>
                </a:lnTo>
                <a:lnTo>
                  <a:pt x="31" y="908"/>
                </a:lnTo>
                <a:lnTo>
                  <a:pt x="32" y="907"/>
                </a:lnTo>
                <a:lnTo>
                  <a:pt x="32" y="906"/>
                </a:lnTo>
                <a:lnTo>
                  <a:pt x="43" y="906"/>
                </a:lnTo>
                <a:lnTo>
                  <a:pt x="50" y="901"/>
                </a:lnTo>
                <a:lnTo>
                  <a:pt x="56" y="892"/>
                </a:lnTo>
                <a:lnTo>
                  <a:pt x="57" y="890"/>
                </a:lnTo>
                <a:lnTo>
                  <a:pt x="60" y="883"/>
                </a:lnTo>
                <a:lnTo>
                  <a:pt x="60" y="880"/>
                </a:lnTo>
                <a:lnTo>
                  <a:pt x="58" y="874"/>
                </a:lnTo>
                <a:lnTo>
                  <a:pt x="58" y="870"/>
                </a:lnTo>
                <a:lnTo>
                  <a:pt x="61" y="866"/>
                </a:lnTo>
                <a:lnTo>
                  <a:pt x="62" y="865"/>
                </a:lnTo>
                <a:lnTo>
                  <a:pt x="62" y="864"/>
                </a:lnTo>
                <a:lnTo>
                  <a:pt x="63" y="861"/>
                </a:lnTo>
                <a:lnTo>
                  <a:pt x="63" y="855"/>
                </a:lnTo>
                <a:lnTo>
                  <a:pt x="62" y="853"/>
                </a:lnTo>
                <a:lnTo>
                  <a:pt x="57" y="841"/>
                </a:lnTo>
                <a:lnTo>
                  <a:pt x="54" y="833"/>
                </a:lnTo>
                <a:lnTo>
                  <a:pt x="51" y="826"/>
                </a:lnTo>
                <a:lnTo>
                  <a:pt x="50" y="820"/>
                </a:lnTo>
                <a:lnTo>
                  <a:pt x="50" y="817"/>
                </a:lnTo>
                <a:lnTo>
                  <a:pt x="48" y="812"/>
                </a:lnTo>
                <a:lnTo>
                  <a:pt x="48" y="811"/>
                </a:lnTo>
                <a:lnTo>
                  <a:pt x="49" y="810"/>
                </a:lnTo>
                <a:lnTo>
                  <a:pt x="58" y="806"/>
                </a:lnTo>
                <a:lnTo>
                  <a:pt x="61" y="806"/>
                </a:lnTo>
                <a:lnTo>
                  <a:pt x="66" y="808"/>
                </a:lnTo>
                <a:lnTo>
                  <a:pt x="67" y="808"/>
                </a:lnTo>
                <a:lnTo>
                  <a:pt x="67" y="806"/>
                </a:lnTo>
                <a:lnTo>
                  <a:pt x="68" y="805"/>
                </a:lnTo>
                <a:lnTo>
                  <a:pt x="68" y="799"/>
                </a:lnTo>
                <a:lnTo>
                  <a:pt x="69" y="798"/>
                </a:lnTo>
                <a:lnTo>
                  <a:pt x="74" y="788"/>
                </a:lnTo>
                <a:lnTo>
                  <a:pt x="75" y="780"/>
                </a:lnTo>
                <a:lnTo>
                  <a:pt x="75" y="779"/>
                </a:lnTo>
                <a:lnTo>
                  <a:pt x="74" y="779"/>
                </a:lnTo>
                <a:lnTo>
                  <a:pt x="63" y="763"/>
                </a:lnTo>
                <a:lnTo>
                  <a:pt x="61" y="761"/>
                </a:lnTo>
                <a:lnTo>
                  <a:pt x="56" y="761"/>
                </a:lnTo>
                <a:lnTo>
                  <a:pt x="55" y="760"/>
                </a:lnTo>
                <a:lnTo>
                  <a:pt x="51" y="755"/>
                </a:lnTo>
                <a:lnTo>
                  <a:pt x="44" y="748"/>
                </a:lnTo>
                <a:lnTo>
                  <a:pt x="44" y="747"/>
                </a:lnTo>
                <a:lnTo>
                  <a:pt x="48" y="724"/>
                </a:lnTo>
                <a:lnTo>
                  <a:pt x="50" y="701"/>
                </a:lnTo>
                <a:lnTo>
                  <a:pt x="50" y="697"/>
                </a:lnTo>
                <a:lnTo>
                  <a:pt x="49" y="692"/>
                </a:lnTo>
                <a:lnTo>
                  <a:pt x="40" y="669"/>
                </a:lnTo>
                <a:lnTo>
                  <a:pt x="40" y="668"/>
                </a:lnTo>
                <a:lnTo>
                  <a:pt x="42" y="665"/>
                </a:lnTo>
                <a:lnTo>
                  <a:pt x="43" y="661"/>
                </a:lnTo>
                <a:lnTo>
                  <a:pt x="44" y="658"/>
                </a:lnTo>
                <a:lnTo>
                  <a:pt x="44" y="656"/>
                </a:lnTo>
                <a:lnTo>
                  <a:pt x="42" y="642"/>
                </a:lnTo>
                <a:lnTo>
                  <a:pt x="42" y="638"/>
                </a:lnTo>
                <a:lnTo>
                  <a:pt x="46" y="631"/>
                </a:lnTo>
                <a:lnTo>
                  <a:pt x="39" y="612"/>
                </a:lnTo>
                <a:lnTo>
                  <a:pt x="37" y="605"/>
                </a:lnTo>
                <a:lnTo>
                  <a:pt x="46" y="589"/>
                </a:lnTo>
                <a:lnTo>
                  <a:pt x="46" y="584"/>
                </a:lnTo>
                <a:lnTo>
                  <a:pt x="44" y="575"/>
                </a:lnTo>
                <a:lnTo>
                  <a:pt x="50" y="570"/>
                </a:lnTo>
                <a:lnTo>
                  <a:pt x="57" y="554"/>
                </a:lnTo>
                <a:lnTo>
                  <a:pt x="66" y="541"/>
                </a:lnTo>
                <a:lnTo>
                  <a:pt x="69" y="538"/>
                </a:lnTo>
                <a:lnTo>
                  <a:pt x="79" y="530"/>
                </a:lnTo>
                <a:lnTo>
                  <a:pt x="89" y="528"/>
                </a:lnTo>
                <a:lnTo>
                  <a:pt x="104" y="532"/>
                </a:lnTo>
                <a:lnTo>
                  <a:pt x="119" y="535"/>
                </a:lnTo>
                <a:lnTo>
                  <a:pt x="120" y="535"/>
                </a:lnTo>
                <a:lnTo>
                  <a:pt x="120" y="534"/>
                </a:lnTo>
                <a:lnTo>
                  <a:pt x="128" y="520"/>
                </a:lnTo>
                <a:lnTo>
                  <a:pt x="129" y="519"/>
                </a:lnTo>
                <a:lnTo>
                  <a:pt x="129" y="516"/>
                </a:lnTo>
                <a:lnTo>
                  <a:pt x="126" y="493"/>
                </a:lnTo>
                <a:lnTo>
                  <a:pt x="125" y="491"/>
                </a:lnTo>
                <a:lnTo>
                  <a:pt x="124" y="490"/>
                </a:lnTo>
                <a:lnTo>
                  <a:pt x="120" y="490"/>
                </a:lnTo>
                <a:lnTo>
                  <a:pt x="119" y="489"/>
                </a:lnTo>
                <a:lnTo>
                  <a:pt x="106" y="479"/>
                </a:lnTo>
                <a:lnTo>
                  <a:pt x="118" y="460"/>
                </a:lnTo>
                <a:lnTo>
                  <a:pt x="129" y="440"/>
                </a:lnTo>
                <a:lnTo>
                  <a:pt x="135" y="430"/>
                </a:lnTo>
                <a:lnTo>
                  <a:pt x="136" y="427"/>
                </a:lnTo>
                <a:lnTo>
                  <a:pt x="137" y="417"/>
                </a:lnTo>
                <a:lnTo>
                  <a:pt x="138" y="415"/>
                </a:lnTo>
                <a:lnTo>
                  <a:pt x="138" y="412"/>
                </a:lnTo>
                <a:lnTo>
                  <a:pt x="142" y="410"/>
                </a:lnTo>
                <a:lnTo>
                  <a:pt x="143" y="406"/>
                </a:lnTo>
                <a:lnTo>
                  <a:pt x="143" y="392"/>
                </a:lnTo>
                <a:lnTo>
                  <a:pt x="145" y="368"/>
                </a:lnTo>
                <a:lnTo>
                  <a:pt x="145" y="366"/>
                </a:lnTo>
                <a:lnTo>
                  <a:pt x="149" y="360"/>
                </a:lnTo>
                <a:lnTo>
                  <a:pt x="149" y="353"/>
                </a:lnTo>
                <a:lnTo>
                  <a:pt x="144" y="324"/>
                </a:lnTo>
                <a:lnTo>
                  <a:pt x="155" y="323"/>
                </a:lnTo>
                <a:lnTo>
                  <a:pt x="166" y="320"/>
                </a:lnTo>
                <a:lnTo>
                  <a:pt x="185" y="308"/>
                </a:lnTo>
                <a:lnTo>
                  <a:pt x="185" y="301"/>
                </a:lnTo>
                <a:lnTo>
                  <a:pt x="184" y="300"/>
                </a:lnTo>
                <a:lnTo>
                  <a:pt x="182" y="288"/>
                </a:lnTo>
                <a:lnTo>
                  <a:pt x="182" y="286"/>
                </a:lnTo>
                <a:lnTo>
                  <a:pt x="192" y="274"/>
                </a:lnTo>
                <a:lnTo>
                  <a:pt x="207" y="243"/>
                </a:lnTo>
                <a:lnTo>
                  <a:pt x="211" y="238"/>
                </a:lnTo>
                <a:lnTo>
                  <a:pt x="219" y="230"/>
                </a:lnTo>
                <a:lnTo>
                  <a:pt x="222" y="228"/>
                </a:lnTo>
                <a:lnTo>
                  <a:pt x="223" y="227"/>
                </a:lnTo>
                <a:lnTo>
                  <a:pt x="224" y="225"/>
                </a:lnTo>
                <a:lnTo>
                  <a:pt x="225" y="210"/>
                </a:lnTo>
                <a:lnTo>
                  <a:pt x="224" y="209"/>
                </a:lnTo>
                <a:lnTo>
                  <a:pt x="211" y="184"/>
                </a:lnTo>
                <a:lnTo>
                  <a:pt x="213" y="177"/>
                </a:lnTo>
                <a:lnTo>
                  <a:pt x="215" y="175"/>
                </a:lnTo>
                <a:lnTo>
                  <a:pt x="222" y="173"/>
                </a:lnTo>
                <a:lnTo>
                  <a:pt x="224" y="172"/>
                </a:lnTo>
                <a:lnTo>
                  <a:pt x="226" y="170"/>
                </a:lnTo>
                <a:lnTo>
                  <a:pt x="231" y="163"/>
                </a:lnTo>
                <a:lnTo>
                  <a:pt x="231" y="160"/>
                </a:lnTo>
                <a:lnTo>
                  <a:pt x="238" y="134"/>
                </a:lnTo>
                <a:lnTo>
                  <a:pt x="240" y="132"/>
                </a:lnTo>
                <a:lnTo>
                  <a:pt x="240" y="130"/>
                </a:lnTo>
                <a:lnTo>
                  <a:pt x="257" y="116"/>
                </a:lnTo>
                <a:lnTo>
                  <a:pt x="261" y="109"/>
                </a:lnTo>
                <a:lnTo>
                  <a:pt x="262" y="109"/>
                </a:lnTo>
                <a:lnTo>
                  <a:pt x="286" y="123"/>
                </a:lnTo>
                <a:lnTo>
                  <a:pt x="287" y="123"/>
                </a:lnTo>
                <a:lnTo>
                  <a:pt x="290" y="118"/>
                </a:lnTo>
                <a:lnTo>
                  <a:pt x="298" y="103"/>
                </a:lnTo>
                <a:lnTo>
                  <a:pt x="298" y="98"/>
                </a:lnTo>
                <a:lnTo>
                  <a:pt x="296" y="75"/>
                </a:lnTo>
                <a:lnTo>
                  <a:pt x="296" y="72"/>
                </a:lnTo>
                <a:lnTo>
                  <a:pt x="297" y="61"/>
                </a:lnTo>
                <a:lnTo>
                  <a:pt x="297" y="60"/>
                </a:lnTo>
                <a:lnTo>
                  <a:pt x="298" y="59"/>
                </a:lnTo>
                <a:lnTo>
                  <a:pt x="309" y="55"/>
                </a:lnTo>
                <a:lnTo>
                  <a:pt x="311" y="56"/>
                </a:lnTo>
                <a:lnTo>
                  <a:pt x="317" y="63"/>
                </a:lnTo>
                <a:lnTo>
                  <a:pt x="319" y="63"/>
                </a:lnTo>
                <a:lnTo>
                  <a:pt x="334" y="62"/>
                </a:lnTo>
                <a:lnTo>
                  <a:pt x="353" y="72"/>
                </a:lnTo>
                <a:lnTo>
                  <a:pt x="372" y="80"/>
                </a:lnTo>
                <a:lnTo>
                  <a:pt x="373" y="80"/>
                </a:lnTo>
                <a:lnTo>
                  <a:pt x="375" y="79"/>
                </a:lnTo>
                <a:lnTo>
                  <a:pt x="385" y="66"/>
                </a:lnTo>
                <a:lnTo>
                  <a:pt x="373" y="59"/>
                </a:lnTo>
                <a:lnTo>
                  <a:pt x="381" y="50"/>
                </a:lnTo>
                <a:lnTo>
                  <a:pt x="385" y="44"/>
                </a:lnTo>
                <a:lnTo>
                  <a:pt x="389" y="32"/>
                </a:lnTo>
                <a:lnTo>
                  <a:pt x="390" y="30"/>
                </a:lnTo>
                <a:lnTo>
                  <a:pt x="390" y="16"/>
                </a:lnTo>
                <a:lnTo>
                  <a:pt x="379" y="3"/>
                </a:lnTo>
                <a:lnTo>
                  <a:pt x="390" y="1"/>
                </a:lnTo>
                <a:lnTo>
                  <a:pt x="402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" name="Freeform 14">
            <a:extLst>
              <a:ext uri="{FF2B5EF4-FFF2-40B4-BE49-F238E27FC236}">
                <a16:creationId xmlns:a16="http://schemas.microsoft.com/office/drawing/2014/main" id="{F2B68306-8A12-48DD-B900-B1A5D90FB129}"/>
              </a:ext>
            </a:extLst>
          </p:cNvPr>
          <p:cNvSpPr>
            <a:spLocks/>
          </p:cNvSpPr>
          <p:nvPr/>
        </p:nvSpPr>
        <p:spPr bwMode="auto">
          <a:xfrm>
            <a:off x="1989492" y="5255159"/>
            <a:ext cx="5796" cy="8694"/>
          </a:xfrm>
          <a:custGeom>
            <a:avLst/>
            <a:gdLst/>
            <a:ahLst/>
            <a:cxnLst>
              <a:cxn ang="0">
                <a:pos x="3" y="0"/>
              </a:cxn>
              <a:cxn ang="0">
                <a:pos x="4" y="1"/>
              </a:cxn>
              <a:cxn ang="0">
                <a:pos x="4" y="3"/>
              </a:cxn>
              <a:cxn ang="0">
                <a:pos x="3" y="4"/>
              </a:cxn>
              <a:cxn ang="0">
                <a:pos x="3" y="6"/>
              </a:cxn>
              <a:cxn ang="0">
                <a:pos x="1" y="6"/>
              </a:cxn>
              <a:cxn ang="0">
                <a:pos x="0" y="5"/>
              </a:cxn>
              <a:cxn ang="0">
                <a:pos x="0" y="3"/>
              </a:cxn>
              <a:cxn ang="0">
                <a:pos x="1" y="1"/>
              </a:cxn>
              <a:cxn ang="0">
                <a:pos x="2" y="1"/>
              </a:cxn>
              <a:cxn ang="0">
                <a:pos x="3" y="0"/>
              </a:cxn>
            </a:cxnLst>
            <a:rect l="0" t="0" r="r" b="b"/>
            <a:pathLst>
              <a:path w="4" h="6">
                <a:moveTo>
                  <a:pt x="3" y="0"/>
                </a:moveTo>
                <a:lnTo>
                  <a:pt x="4" y="1"/>
                </a:lnTo>
                <a:lnTo>
                  <a:pt x="4" y="3"/>
                </a:lnTo>
                <a:lnTo>
                  <a:pt x="3" y="4"/>
                </a:lnTo>
                <a:lnTo>
                  <a:pt x="3" y="6"/>
                </a:lnTo>
                <a:lnTo>
                  <a:pt x="1" y="6"/>
                </a:lnTo>
                <a:lnTo>
                  <a:pt x="0" y="5"/>
                </a:lnTo>
                <a:lnTo>
                  <a:pt x="0" y="3"/>
                </a:lnTo>
                <a:lnTo>
                  <a:pt x="1" y="1"/>
                </a:lnTo>
                <a:lnTo>
                  <a:pt x="2" y="1"/>
                </a:lnTo>
                <a:lnTo>
                  <a:pt x="3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" name="Freeform 15">
            <a:extLst>
              <a:ext uri="{FF2B5EF4-FFF2-40B4-BE49-F238E27FC236}">
                <a16:creationId xmlns:a16="http://schemas.microsoft.com/office/drawing/2014/main" id="{029C626A-3085-4844-ABD4-E5E52377AE17}"/>
              </a:ext>
            </a:extLst>
          </p:cNvPr>
          <p:cNvSpPr>
            <a:spLocks/>
          </p:cNvSpPr>
          <p:nvPr/>
        </p:nvSpPr>
        <p:spPr bwMode="auto">
          <a:xfrm>
            <a:off x="2048898" y="5004492"/>
            <a:ext cx="192709" cy="127507"/>
          </a:xfrm>
          <a:custGeom>
            <a:avLst/>
            <a:gdLst/>
            <a:ahLst/>
            <a:cxnLst>
              <a:cxn ang="0">
                <a:pos x="123" y="6"/>
              </a:cxn>
              <a:cxn ang="0">
                <a:pos x="128" y="13"/>
              </a:cxn>
              <a:cxn ang="0">
                <a:pos x="129" y="17"/>
              </a:cxn>
              <a:cxn ang="0">
                <a:pos x="131" y="21"/>
              </a:cxn>
              <a:cxn ang="0">
                <a:pos x="124" y="21"/>
              </a:cxn>
              <a:cxn ang="0">
                <a:pos x="122" y="26"/>
              </a:cxn>
              <a:cxn ang="0">
                <a:pos x="118" y="31"/>
              </a:cxn>
              <a:cxn ang="0">
                <a:pos x="115" y="31"/>
              </a:cxn>
              <a:cxn ang="0">
                <a:pos x="111" y="36"/>
              </a:cxn>
              <a:cxn ang="0">
                <a:pos x="104" y="38"/>
              </a:cxn>
              <a:cxn ang="0">
                <a:pos x="96" y="42"/>
              </a:cxn>
              <a:cxn ang="0">
                <a:pos x="97" y="50"/>
              </a:cxn>
              <a:cxn ang="0">
                <a:pos x="97" y="63"/>
              </a:cxn>
              <a:cxn ang="0">
                <a:pos x="91" y="64"/>
              </a:cxn>
              <a:cxn ang="0">
                <a:pos x="81" y="69"/>
              </a:cxn>
              <a:cxn ang="0">
                <a:pos x="80" y="73"/>
              </a:cxn>
              <a:cxn ang="0">
                <a:pos x="81" y="75"/>
              </a:cxn>
              <a:cxn ang="0">
                <a:pos x="81" y="84"/>
              </a:cxn>
              <a:cxn ang="0">
                <a:pos x="78" y="87"/>
              </a:cxn>
              <a:cxn ang="0">
                <a:pos x="68" y="85"/>
              </a:cxn>
              <a:cxn ang="0">
                <a:pos x="65" y="82"/>
              </a:cxn>
              <a:cxn ang="0">
                <a:pos x="60" y="84"/>
              </a:cxn>
              <a:cxn ang="0">
                <a:pos x="53" y="78"/>
              </a:cxn>
              <a:cxn ang="0">
                <a:pos x="49" y="75"/>
              </a:cxn>
              <a:cxn ang="0">
                <a:pos x="42" y="85"/>
              </a:cxn>
              <a:cxn ang="0">
                <a:pos x="33" y="85"/>
              </a:cxn>
              <a:cxn ang="0">
                <a:pos x="27" y="82"/>
              </a:cxn>
              <a:cxn ang="0">
                <a:pos x="22" y="88"/>
              </a:cxn>
              <a:cxn ang="0">
                <a:pos x="17" y="86"/>
              </a:cxn>
              <a:cxn ang="0">
                <a:pos x="9" y="82"/>
              </a:cxn>
              <a:cxn ang="0">
                <a:pos x="16" y="79"/>
              </a:cxn>
              <a:cxn ang="0">
                <a:pos x="18" y="79"/>
              </a:cxn>
              <a:cxn ang="0">
                <a:pos x="22" y="75"/>
              </a:cxn>
              <a:cxn ang="0">
                <a:pos x="15" y="68"/>
              </a:cxn>
              <a:cxn ang="0">
                <a:pos x="9" y="62"/>
              </a:cxn>
              <a:cxn ang="0">
                <a:pos x="10" y="54"/>
              </a:cxn>
              <a:cxn ang="0">
                <a:pos x="4" y="54"/>
              </a:cxn>
              <a:cxn ang="0">
                <a:pos x="10" y="45"/>
              </a:cxn>
              <a:cxn ang="0">
                <a:pos x="6" y="41"/>
              </a:cxn>
              <a:cxn ang="0">
                <a:pos x="3" y="41"/>
              </a:cxn>
              <a:cxn ang="0">
                <a:pos x="0" y="36"/>
              </a:cxn>
              <a:cxn ang="0">
                <a:pos x="5" y="31"/>
              </a:cxn>
              <a:cxn ang="0">
                <a:pos x="15" y="21"/>
              </a:cxn>
              <a:cxn ang="0">
                <a:pos x="22" y="23"/>
              </a:cxn>
              <a:cxn ang="0">
                <a:pos x="43" y="26"/>
              </a:cxn>
              <a:cxn ang="0">
                <a:pos x="47" y="29"/>
              </a:cxn>
              <a:cxn ang="0">
                <a:pos x="50" y="30"/>
              </a:cxn>
              <a:cxn ang="0">
                <a:pos x="54" y="26"/>
              </a:cxn>
              <a:cxn ang="0">
                <a:pos x="58" y="24"/>
              </a:cxn>
              <a:cxn ang="0">
                <a:pos x="61" y="20"/>
              </a:cxn>
              <a:cxn ang="0">
                <a:pos x="65" y="17"/>
              </a:cxn>
              <a:cxn ang="0">
                <a:pos x="69" y="14"/>
              </a:cxn>
              <a:cxn ang="0">
                <a:pos x="87" y="15"/>
              </a:cxn>
              <a:cxn ang="0">
                <a:pos x="96" y="12"/>
              </a:cxn>
              <a:cxn ang="0">
                <a:pos x="100" y="11"/>
              </a:cxn>
              <a:cxn ang="0">
                <a:pos x="110" y="11"/>
              </a:cxn>
              <a:cxn ang="0">
                <a:pos x="110" y="2"/>
              </a:cxn>
              <a:cxn ang="0">
                <a:pos x="122" y="0"/>
              </a:cxn>
            </a:cxnLst>
            <a:rect l="0" t="0" r="r" b="b"/>
            <a:pathLst>
              <a:path w="133" h="88">
                <a:moveTo>
                  <a:pt x="122" y="0"/>
                </a:moveTo>
                <a:lnTo>
                  <a:pt x="124" y="2"/>
                </a:lnTo>
                <a:lnTo>
                  <a:pt x="124" y="5"/>
                </a:lnTo>
                <a:lnTo>
                  <a:pt x="123" y="6"/>
                </a:lnTo>
                <a:lnTo>
                  <a:pt x="124" y="8"/>
                </a:lnTo>
                <a:lnTo>
                  <a:pt x="127" y="11"/>
                </a:lnTo>
                <a:lnTo>
                  <a:pt x="128" y="11"/>
                </a:lnTo>
                <a:lnTo>
                  <a:pt x="128" y="13"/>
                </a:lnTo>
                <a:lnTo>
                  <a:pt x="127" y="13"/>
                </a:lnTo>
                <a:lnTo>
                  <a:pt x="127" y="15"/>
                </a:lnTo>
                <a:lnTo>
                  <a:pt x="128" y="15"/>
                </a:lnTo>
                <a:lnTo>
                  <a:pt x="129" y="17"/>
                </a:lnTo>
                <a:lnTo>
                  <a:pt x="130" y="19"/>
                </a:lnTo>
                <a:lnTo>
                  <a:pt x="133" y="20"/>
                </a:lnTo>
                <a:lnTo>
                  <a:pt x="133" y="23"/>
                </a:lnTo>
                <a:lnTo>
                  <a:pt x="131" y="21"/>
                </a:lnTo>
                <a:lnTo>
                  <a:pt x="129" y="21"/>
                </a:lnTo>
                <a:lnTo>
                  <a:pt x="129" y="20"/>
                </a:lnTo>
                <a:lnTo>
                  <a:pt x="125" y="20"/>
                </a:lnTo>
                <a:lnTo>
                  <a:pt x="124" y="21"/>
                </a:lnTo>
                <a:lnTo>
                  <a:pt x="122" y="21"/>
                </a:lnTo>
                <a:lnTo>
                  <a:pt x="121" y="24"/>
                </a:lnTo>
                <a:lnTo>
                  <a:pt x="121" y="25"/>
                </a:lnTo>
                <a:lnTo>
                  <a:pt x="122" y="26"/>
                </a:lnTo>
                <a:lnTo>
                  <a:pt x="122" y="29"/>
                </a:lnTo>
                <a:lnTo>
                  <a:pt x="123" y="30"/>
                </a:lnTo>
                <a:lnTo>
                  <a:pt x="123" y="31"/>
                </a:lnTo>
                <a:lnTo>
                  <a:pt x="118" y="31"/>
                </a:lnTo>
                <a:lnTo>
                  <a:pt x="117" y="30"/>
                </a:lnTo>
                <a:lnTo>
                  <a:pt x="116" y="30"/>
                </a:lnTo>
                <a:lnTo>
                  <a:pt x="116" y="31"/>
                </a:lnTo>
                <a:lnTo>
                  <a:pt x="115" y="31"/>
                </a:lnTo>
                <a:lnTo>
                  <a:pt x="114" y="30"/>
                </a:lnTo>
                <a:lnTo>
                  <a:pt x="114" y="35"/>
                </a:lnTo>
                <a:lnTo>
                  <a:pt x="112" y="35"/>
                </a:lnTo>
                <a:lnTo>
                  <a:pt x="111" y="36"/>
                </a:lnTo>
                <a:lnTo>
                  <a:pt x="109" y="36"/>
                </a:lnTo>
                <a:lnTo>
                  <a:pt x="108" y="37"/>
                </a:lnTo>
                <a:lnTo>
                  <a:pt x="106" y="37"/>
                </a:lnTo>
                <a:lnTo>
                  <a:pt x="104" y="38"/>
                </a:lnTo>
                <a:lnTo>
                  <a:pt x="102" y="38"/>
                </a:lnTo>
                <a:lnTo>
                  <a:pt x="102" y="41"/>
                </a:lnTo>
                <a:lnTo>
                  <a:pt x="96" y="41"/>
                </a:lnTo>
                <a:lnTo>
                  <a:pt x="96" y="42"/>
                </a:lnTo>
                <a:lnTo>
                  <a:pt x="94" y="43"/>
                </a:lnTo>
                <a:lnTo>
                  <a:pt x="93" y="45"/>
                </a:lnTo>
                <a:lnTo>
                  <a:pt x="93" y="47"/>
                </a:lnTo>
                <a:lnTo>
                  <a:pt x="97" y="50"/>
                </a:lnTo>
                <a:lnTo>
                  <a:pt x="98" y="50"/>
                </a:lnTo>
                <a:lnTo>
                  <a:pt x="98" y="52"/>
                </a:lnTo>
                <a:lnTo>
                  <a:pt x="97" y="54"/>
                </a:lnTo>
                <a:lnTo>
                  <a:pt x="97" y="63"/>
                </a:lnTo>
                <a:lnTo>
                  <a:pt x="96" y="64"/>
                </a:lnTo>
                <a:lnTo>
                  <a:pt x="92" y="64"/>
                </a:lnTo>
                <a:lnTo>
                  <a:pt x="91" y="63"/>
                </a:lnTo>
                <a:lnTo>
                  <a:pt x="91" y="64"/>
                </a:lnTo>
                <a:lnTo>
                  <a:pt x="87" y="64"/>
                </a:lnTo>
                <a:lnTo>
                  <a:pt x="87" y="67"/>
                </a:lnTo>
                <a:lnTo>
                  <a:pt x="81" y="68"/>
                </a:lnTo>
                <a:lnTo>
                  <a:pt x="81" y="69"/>
                </a:lnTo>
                <a:lnTo>
                  <a:pt x="80" y="69"/>
                </a:lnTo>
                <a:lnTo>
                  <a:pt x="79" y="70"/>
                </a:lnTo>
                <a:lnTo>
                  <a:pt x="80" y="72"/>
                </a:lnTo>
                <a:lnTo>
                  <a:pt x="80" y="73"/>
                </a:lnTo>
                <a:lnTo>
                  <a:pt x="84" y="73"/>
                </a:lnTo>
                <a:lnTo>
                  <a:pt x="84" y="74"/>
                </a:lnTo>
                <a:lnTo>
                  <a:pt x="85" y="75"/>
                </a:lnTo>
                <a:lnTo>
                  <a:pt x="81" y="75"/>
                </a:lnTo>
                <a:lnTo>
                  <a:pt x="80" y="78"/>
                </a:lnTo>
                <a:lnTo>
                  <a:pt x="80" y="79"/>
                </a:lnTo>
                <a:lnTo>
                  <a:pt x="81" y="81"/>
                </a:lnTo>
                <a:lnTo>
                  <a:pt x="81" y="84"/>
                </a:lnTo>
                <a:lnTo>
                  <a:pt x="84" y="85"/>
                </a:lnTo>
                <a:lnTo>
                  <a:pt x="81" y="86"/>
                </a:lnTo>
                <a:lnTo>
                  <a:pt x="80" y="86"/>
                </a:lnTo>
                <a:lnTo>
                  <a:pt x="78" y="87"/>
                </a:lnTo>
                <a:lnTo>
                  <a:pt x="77" y="88"/>
                </a:lnTo>
                <a:lnTo>
                  <a:pt x="74" y="87"/>
                </a:lnTo>
                <a:lnTo>
                  <a:pt x="72" y="85"/>
                </a:lnTo>
                <a:lnTo>
                  <a:pt x="68" y="85"/>
                </a:lnTo>
                <a:lnTo>
                  <a:pt x="68" y="84"/>
                </a:lnTo>
                <a:lnTo>
                  <a:pt x="67" y="84"/>
                </a:lnTo>
                <a:lnTo>
                  <a:pt x="66" y="82"/>
                </a:lnTo>
                <a:lnTo>
                  <a:pt x="65" y="82"/>
                </a:lnTo>
                <a:lnTo>
                  <a:pt x="65" y="84"/>
                </a:lnTo>
                <a:lnTo>
                  <a:pt x="62" y="86"/>
                </a:lnTo>
                <a:lnTo>
                  <a:pt x="60" y="86"/>
                </a:lnTo>
                <a:lnTo>
                  <a:pt x="60" y="84"/>
                </a:lnTo>
                <a:lnTo>
                  <a:pt x="55" y="82"/>
                </a:lnTo>
                <a:lnTo>
                  <a:pt x="55" y="79"/>
                </a:lnTo>
                <a:lnTo>
                  <a:pt x="54" y="79"/>
                </a:lnTo>
                <a:lnTo>
                  <a:pt x="53" y="78"/>
                </a:lnTo>
                <a:lnTo>
                  <a:pt x="52" y="78"/>
                </a:lnTo>
                <a:lnTo>
                  <a:pt x="52" y="74"/>
                </a:lnTo>
                <a:lnTo>
                  <a:pt x="50" y="74"/>
                </a:lnTo>
                <a:lnTo>
                  <a:pt x="49" y="75"/>
                </a:lnTo>
                <a:lnTo>
                  <a:pt x="49" y="76"/>
                </a:lnTo>
                <a:lnTo>
                  <a:pt x="47" y="79"/>
                </a:lnTo>
                <a:lnTo>
                  <a:pt x="47" y="82"/>
                </a:lnTo>
                <a:lnTo>
                  <a:pt x="42" y="85"/>
                </a:lnTo>
                <a:lnTo>
                  <a:pt x="38" y="85"/>
                </a:lnTo>
                <a:lnTo>
                  <a:pt x="37" y="84"/>
                </a:lnTo>
                <a:lnTo>
                  <a:pt x="35" y="84"/>
                </a:lnTo>
                <a:lnTo>
                  <a:pt x="33" y="85"/>
                </a:lnTo>
                <a:lnTo>
                  <a:pt x="29" y="85"/>
                </a:lnTo>
                <a:lnTo>
                  <a:pt x="29" y="84"/>
                </a:lnTo>
                <a:lnTo>
                  <a:pt x="28" y="84"/>
                </a:lnTo>
                <a:lnTo>
                  <a:pt x="27" y="82"/>
                </a:lnTo>
                <a:lnTo>
                  <a:pt x="25" y="82"/>
                </a:lnTo>
                <a:lnTo>
                  <a:pt x="25" y="86"/>
                </a:lnTo>
                <a:lnTo>
                  <a:pt x="23" y="87"/>
                </a:lnTo>
                <a:lnTo>
                  <a:pt x="22" y="88"/>
                </a:lnTo>
                <a:lnTo>
                  <a:pt x="19" y="88"/>
                </a:lnTo>
                <a:lnTo>
                  <a:pt x="19" y="87"/>
                </a:lnTo>
                <a:lnTo>
                  <a:pt x="18" y="87"/>
                </a:lnTo>
                <a:lnTo>
                  <a:pt x="17" y="86"/>
                </a:lnTo>
                <a:lnTo>
                  <a:pt x="11" y="86"/>
                </a:lnTo>
                <a:lnTo>
                  <a:pt x="10" y="85"/>
                </a:lnTo>
                <a:lnTo>
                  <a:pt x="10" y="82"/>
                </a:lnTo>
                <a:lnTo>
                  <a:pt x="9" y="82"/>
                </a:lnTo>
                <a:lnTo>
                  <a:pt x="9" y="81"/>
                </a:lnTo>
                <a:lnTo>
                  <a:pt x="13" y="81"/>
                </a:lnTo>
                <a:lnTo>
                  <a:pt x="16" y="80"/>
                </a:lnTo>
                <a:lnTo>
                  <a:pt x="16" y="79"/>
                </a:lnTo>
                <a:lnTo>
                  <a:pt x="15" y="79"/>
                </a:lnTo>
                <a:lnTo>
                  <a:pt x="15" y="78"/>
                </a:lnTo>
                <a:lnTo>
                  <a:pt x="17" y="78"/>
                </a:lnTo>
                <a:lnTo>
                  <a:pt x="18" y="79"/>
                </a:lnTo>
                <a:lnTo>
                  <a:pt x="21" y="79"/>
                </a:lnTo>
                <a:lnTo>
                  <a:pt x="21" y="78"/>
                </a:lnTo>
                <a:lnTo>
                  <a:pt x="22" y="76"/>
                </a:lnTo>
                <a:lnTo>
                  <a:pt x="22" y="75"/>
                </a:lnTo>
                <a:lnTo>
                  <a:pt x="21" y="75"/>
                </a:lnTo>
                <a:lnTo>
                  <a:pt x="21" y="74"/>
                </a:lnTo>
                <a:lnTo>
                  <a:pt x="17" y="69"/>
                </a:lnTo>
                <a:lnTo>
                  <a:pt x="15" y="68"/>
                </a:lnTo>
                <a:lnTo>
                  <a:pt x="12" y="66"/>
                </a:lnTo>
                <a:lnTo>
                  <a:pt x="10" y="66"/>
                </a:lnTo>
                <a:lnTo>
                  <a:pt x="9" y="64"/>
                </a:lnTo>
                <a:lnTo>
                  <a:pt x="9" y="62"/>
                </a:lnTo>
                <a:lnTo>
                  <a:pt x="10" y="58"/>
                </a:lnTo>
                <a:lnTo>
                  <a:pt x="10" y="56"/>
                </a:lnTo>
                <a:lnTo>
                  <a:pt x="11" y="55"/>
                </a:lnTo>
                <a:lnTo>
                  <a:pt x="10" y="54"/>
                </a:lnTo>
                <a:lnTo>
                  <a:pt x="9" y="55"/>
                </a:lnTo>
                <a:lnTo>
                  <a:pt x="6" y="55"/>
                </a:lnTo>
                <a:lnTo>
                  <a:pt x="5" y="54"/>
                </a:lnTo>
                <a:lnTo>
                  <a:pt x="4" y="54"/>
                </a:lnTo>
                <a:lnTo>
                  <a:pt x="4" y="52"/>
                </a:lnTo>
                <a:lnTo>
                  <a:pt x="5" y="52"/>
                </a:lnTo>
                <a:lnTo>
                  <a:pt x="5" y="50"/>
                </a:lnTo>
                <a:lnTo>
                  <a:pt x="10" y="45"/>
                </a:lnTo>
                <a:lnTo>
                  <a:pt x="11" y="43"/>
                </a:lnTo>
                <a:lnTo>
                  <a:pt x="11" y="42"/>
                </a:lnTo>
                <a:lnTo>
                  <a:pt x="7" y="42"/>
                </a:lnTo>
                <a:lnTo>
                  <a:pt x="6" y="41"/>
                </a:lnTo>
                <a:lnTo>
                  <a:pt x="5" y="41"/>
                </a:lnTo>
                <a:lnTo>
                  <a:pt x="4" y="39"/>
                </a:lnTo>
                <a:lnTo>
                  <a:pt x="3" y="39"/>
                </a:lnTo>
                <a:lnTo>
                  <a:pt x="3" y="41"/>
                </a:lnTo>
                <a:lnTo>
                  <a:pt x="2" y="41"/>
                </a:lnTo>
                <a:lnTo>
                  <a:pt x="2" y="39"/>
                </a:lnTo>
                <a:lnTo>
                  <a:pt x="0" y="38"/>
                </a:lnTo>
                <a:lnTo>
                  <a:pt x="0" y="36"/>
                </a:lnTo>
                <a:lnTo>
                  <a:pt x="2" y="35"/>
                </a:lnTo>
                <a:lnTo>
                  <a:pt x="2" y="33"/>
                </a:lnTo>
                <a:lnTo>
                  <a:pt x="4" y="31"/>
                </a:lnTo>
                <a:lnTo>
                  <a:pt x="5" y="31"/>
                </a:lnTo>
                <a:lnTo>
                  <a:pt x="10" y="26"/>
                </a:lnTo>
                <a:lnTo>
                  <a:pt x="13" y="26"/>
                </a:lnTo>
                <a:lnTo>
                  <a:pt x="13" y="21"/>
                </a:lnTo>
                <a:lnTo>
                  <a:pt x="15" y="21"/>
                </a:lnTo>
                <a:lnTo>
                  <a:pt x="17" y="23"/>
                </a:lnTo>
                <a:lnTo>
                  <a:pt x="18" y="23"/>
                </a:lnTo>
                <a:lnTo>
                  <a:pt x="21" y="21"/>
                </a:lnTo>
                <a:lnTo>
                  <a:pt x="22" y="23"/>
                </a:lnTo>
                <a:lnTo>
                  <a:pt x="25" y="24"/>
                </a:lnTo>
                <a:lnTo>
                  <a:pt x="30" y="24"/>
                </a:lnTo>
                <a:lnTo>
                  <a:pt x="33" y="26"/>
                </a:lnTo>
                <a:lnTo>
                  <a:pt x="43" y="26"/>
                </a:lnTo>
                <a:lnTo>
                  <a:pt x="44" y="27"/>
                </a:lnTo>
                <a:lnTo>
                  <a:pt x="46" y="27"/>
                </a:lnTo>
                <a:lnTo>
                  <a:pt x="46" y="29"/>
                </a:lnTo>
                <a:lnTo>
                  <a:pt x="47" y="29"/>
                </a:lnTo>
                <a:lnTo>
                  <a:pt x="48" y="27"/>
                </a:lnTo>
                <a:lnTo>
                  <a:pt x="48" y="29"/>
                </a:lnTo>
                <a:lnTo>
                  <a:pt x="49" y="30"/>
                </a:lnTo>
                <a:lnTo>
                  <a:pt x="50" y="30"/>
                </a:lnTo>
                <a:lnTo>
                  <a:pt x="50" y="27"/>
                </a:lnTo>
                <a:lnTo>
                  <a:pt x="52" y="27"/>
                </a:lnTo>
                <a:lnTo>
                  <a:pt x="52" y="26"/>
                </a:lnTo>
                <a:lnTo>
                  <a:pt x="54" y="26"/>
                </a:lnTo>
                <a:lnTo>
                  <a:pt x="54" y="25"/>
                </a:lnTo>
                <a:lnTo>
                  <a:pt x="55" y="25"/>
                </a:lnTo>
                <a:lnTo>
                  <a:pt x="58" y="23"/>
                </a:lnTo>
                <a:lnTo>
                  <a:pt x="58" y="24"/>
                </a:lnTo>
                <a:lnTo>
                  <a:pt x="59" y="23"/>
                </a:lnTo>
                <a:lnTo>
                  <a:pt x="60" y="23"/>
                </a:lnTo>
                <a:lnTo>
                  <a:pt x="60" y="21"/>
                </a:lnTo>
                <a:lnTo>
                  <a:pt x="61" y="20"/>
                </a:lnTo>
                <a:lnTo>
                  <a:pt x="61" y="19"/>
                </a:lnTo>
                <a:lnTo>
                  <a:pt x="62" y="18"/>
                </a:lnTo>
                <a:lnTo>
                  <a:pt x="62" y="17"/>
                </a:lnTo>
                <a:lnTo>
                  <a:pt x="65" y="17"/>
                </a:lnTo>
                <a:lnTo>
                  <a:pt x="66" y="15"/>
                </a:lnTo>
                <a:lnTo>
                  <a:pt x="67" y="15"/>
                </a:lnTo>
                <a:lnTo>
                  <a:pt x="67" y="17"/>
                </a:lnTo>
                <a:lnTo>
                  <a:pt x="69" y="14"/>
                </a:lnTo>
                <a:lnTo>
                  <a:pt x="72" y="13"/>
                </a:lnTo>
                <a:lnTo>
                  <a:pt x="72" y="14"/>
                </a:lnTo>
                <a:lnTo>
                  <a:pt x="86" y="14"/>
                </a:lnTo>
                <a:lnTo>
                  <a:pt x="87" y="15"/>
                </a:lnTo>
                <a:lnTo>
                  <a:pt x="91" y="15"/>
                </a:lnTo>
                <a:lnTo>
                  <a:pt x="91" y="13"/>
                </a:lnTo>
                <a:lnTo>
                  <a:pt x="92" y="12"/>
                </a:lnTo>
                <a:lnTo>
                  <a:pt x="96" y="12"/>
                </a:lnTo>
                <a:lnTo>
                  <a:pt x="96" y="9"/>
                </a:lnTo>
                <a:lnTo>
                  <a:pt x="97" y="9"/>
                </a:lnTo>
                <a:lnTo>
                  <a:pt x="99" y="11"/>
                </a:lnTo>
                <a:lnTo>
                  <a:pt x="100" y="11"/>
                </a:lnTo>
                <a:lnTo>
                  <a:pt x="102" y="9"/>
                </a:lnTo>
                <a:lnTo>
                  <a:pt x="106" y="9"/>
                </a:lnTo>
                <a:lnTo>
                  <a:pt x="109" y="11"/>
                </a:lnTo>
                <a:lnTo>
                  <a:pt x="110" y="11"/>
                </a:lnTo>
                <a:lnTo>
                  <a:pt x="111" y="12"/>
                </a:lnTo>
                <a:lnTo>
                  <a:pt x="111" y="9"/>
                </a:lnTo>
                <a:lnTo>
                  <a:pt x="110" y="9"/>
                </a:lnTo>
                <a:lnTo>
                  <a:pt x="110" y="2"/>
                </a:lnTo>
                <a:lnTo>
                  <a:pt x="112" y="2"/>
                </a:lnTo>
                <a:lnTo>
                  <a:pt x="114" y="1"/>
                </a:lnTo>
                <a:lnTo>
                  <a:pt x="118" y="1"/>
                </a:lnTo>
                <a:lnTo>
                  <a:pt x="122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" name="Freeform 16">
            <a:extLst>
              <a:ext uri="{FF2B5EF4-FFF2-40B4-BE49-F238E27FC236}">
                <a16:creationId xmlns:a16="http://schemas.microsoft.com/office/drawing/2014/main" id="{058CA603-99B4-42D7-AA39-F6D4BD93ED50}"/>
              </a:ext>
            </a:extLst>
          </p:cNvPr>
          <p:cNvSpPr>
            <a:spLocks/>
          </p:cNvSpPr>
          <p:nvPr/>
        </p:nvSpPr>
        <p:spPr bwMode="auto">
          <a:xfrm>
            <a:off x="2261892" y="4753825"/>
            <a:ext cx="346297" cy="170975"/>
          </a:xfrm>
          <a:custGeom>
            <a:avLst/>
            <a:gdLst/>
            <a:ahLst/>
            <a:cxnLst>
              <a:cxn ang="0">
                <a:pos x="112" y="5"/>
              </a:cxn>
              <a:cxn ang="0">
                <a:pos x="119" y="14"/>
              </a:cxn>
              <a:cxn ang="0">
                <a:pos x="124" y="21"/>
              </a:cxn>
              <a:cxn ang="0">
                <a:pos x="123" y="26"/>
              </a:cxn>
              <a:cxn ang="0">
                <a:pos x="131" y="25"/>
              </a:cxn>
              <a:cxn ang="0">
                <a:pos x="137" y="21"/>
              </a:cxn>
              <a:cxn ang="0">
                <a:pos x="145" y="18"/>
              </a:cxn>
              <a:cxn ang="0">
                <a:pos x="155" y="15"/>
              </a:cxn>
              <a:cxn ang="0">
                <a:pos x="162" y="13"/>
              </a:cxn>
              <a:cxn ang="0">
                <a:pos x="170" y="20"/>
              </a:cxn>
              <a:cxn ang="0">
                <a:pos x="179" y="15"/>
              </a:cxn>
              <a:cxn ang="0">
                <a:pos x="178" y="12"/>
              </a:cxn>
              <a:cxn ang="0">
                <a:pos x="187" y="11"/>
              </a:cxn>
              <a:cxn ang="0">
                <a:pos x="195" y="13"/>
              </a:cxn>
              <a:cxn ang="0">
                <a:pos x="205" y="14"/>
              </a:cxn>
              <a:cxn ang="0">
                <a:pos x="212" y="16"/>
              </a:cxn>
              <a:cxn ang="0">
                <a:pos x="218" y="26"/>
              </a:cxn>
              <a:cxn ang="0">
                <a:pos x="226" y="28"/>
              </a:cxn>
              <a:cxn ang="0">
                <a:pos x="238" y="33"/>
              </a:cxn>
              <a:cxn ang="0">
                <a:pos x="235" y="44"/>
              </a:cxn>
              <a:cxn ang="0">
                <a:pos x="232" y="54"/>
              </a:cxn>
              <a:cxn ang="0">
                <a:pos x="228" y="61"/>
              </a:cxn>
              <a:cxn ang="0">
                <a:pos x="214" y="79"/>
              </a:cxn>
              <a:cxn ang="0">
                <a:pos x="204" y="79"/>
              </a:cxn>
              <a:cxn ang="0">
                <a:pos x="197" y="69"/>
              </a:cxn>
              <a:cxn ang="0">
                <a:pos x="191" y="68"/>
              </a:cxn>
              <a:cxn ang="0">
                <a:pos x="186" y="71"/>
              </a:cxn>
              <a:cxn ang="0">
                <a:pos x="178" y="70"/>
              </a:cxn>
              <a:cxn ang="0">
                <a:pos x="166" y="67"/>
              </a:cxn>
              <a:cxn ang="0">
                <a:pos x="154" y="73"/>
              </a:cxn>
              <a:cxn ang="0">
                <a:pos x="148" y="83"/>
              </a:cxn>
              <a:cxn ang="0">
                <a:pos x="138" y="87"/>
              </a:cxn>
              <a:cxn ang="0">
                <a:pos x="135" y="92"/>
              </a:cxn>
              <a:cxn ang="0">
                <a:pos x="126" y="93"/>
              </a:cxn>
              <a:cxn ang="0">
                <a:pos x="118" y="89"/>
              </a:cxn>
              <a:cxn ang="0">
                <a:pos x="112" y="93"/>
              </a:cxn>
              <a:cxn ang="0">
                <a:pos x="100" y="99"/>
              </a:cxn>
              <a:cxn ang="0">
                <a:pos x="83" y="101"/>
              </a:cxn>
              <a:cxn ang="0">
                <a:pos x="83" y="113"/>
              </a:cxn>
              <a:cxn ang="0">
                <a:pos x="75" y="117"/>
              </a:cxn>
              <a:cxn ang="0">
                <a:pos x="38" y="118"/>
              </a:cxn>
              <a:cxn ang="0">
                <a:pos x="32" y="113"/>
              </a:cxn>
              <a:cxn ang="0">
                <a:pos x="21" y="104"/>
              </a:cxn>
              <a:cxn ang="0">
                <a:pos x="12" y="102"/>
              </a:cxn>
              <a:cxn ang="0">
                <a:pos x="8" y="99"/>
              </a:cxn>
              <a:cxn ang="0">
                <a:pos x="7" y="94"/>
              </a:cxn>
              <a:cxn ang="0">
                <a:pos x="2" y="85"/>
              </a:cxn>
              <a:cxn ang="0">
                <a:pos x="0" y="74"/>
              </a:cxn>
              <a:cxn ang="0">
                <a:pos x="5" y="68"/>
              </a:cxn>
              <a:cxn ang="0">
                <a:pos x="8" y="54"/>
              </a:cxn>
              <a:cxn ang="0">
                <a:pos x="17" y="49"/>
              </a:cxn>
              <a:cxn ang="0">
                <a:pos x="27" y="51"/>
              </a:cxn>
              <a:cxn ang="0">
                <a:pos x="39" y="44"/>
              </a:cxn>
              <a:cxn ang="0">
                <a:pos x="45" y="38"/>
              </a:cxn>
              <a:cxn ang="0">
                <a:pos x="54" y="24"/>
              </a:cxn>
              <a:cxn ang="0">
                <a:pos x="67" y="14"/>
              </a:cxn>
              <a:cxn ang="0">
                <a:pos x="74" y="8"/>
              </a:cxn>
              <a:cxn ang="0">
                <a:pos x="83" y="6"/>
              </a:cxn>
              <a:cxn ang="0">
                <a:pos x="89" y="11"/>
              </a:cxn>
              <a:cxn ang="0">
                <a:pos x="94" y="14"/>
              </a:cxn>
              <a:cxn ang="0">
                <a:pos x="99" y="9"/>
              </a:cxn>
              <a:cxn ang="0">
                <a:pos x="110" y="0"/>
              </a:cxn>
            </a:cxnLst>
            <a:rect l="0" t="0" r="r" b="b"/>
            <a:pathLst>
              <a:path w="239" h="118">
                <a:moveTo>
                  <a:pt x="110" y="0"/>
                </a:moveTo>
                <a:lnTo>
                  <a:pt x="110" y="1"/>
                </a:lnTo>
                <a:lnTo>
                  <a:pt x="111" y="2"/>
                </a:lnTo>
                <a:lnTo>
                  <a:pt x="112" y="2"/>
                </a:lnTo>
                <a:lnTo>
                  <a:pt x="112" y="5"/>
                </a:lnTo>
                <a:lnTo>
                  <a:pt x="114" y="9"/>
                </a:lnTo>
                <a:lnTo>
                  <a:pt x="114" y="11"/>
                </a:lnTo>
                <a:lnTo>
                  <a:pt x="117" y="11"/>
                </a:lnTo>
                <a:lnTo>
                  <a:pt x="117" y="13"/>
                </a:lnTo>
                <a:lnTo>
                  <a:pt x="119" y="14"/>
                </a:lnTo>
                <a:lnTo>
                  <a:pt x="121" y="14"/>
                </a:lnTo>
                <a:lnTo>
                  <a:pt x="123" y="13"/>
                </a:lnTo>
                <a:lnTo>
                  <a:pt x="123" y="14"/>
                </a:lnTo>
                <a:lnTo>
                  <a:pt x="124" y="15"/>
                </a:lnTo>
                <a:lnTo>
                  <a:pt x="124" y="21"/>
                </a:lnTo>
                <a:lnTo>
                  <a:pt x="125" y="21"/>
                </a:lnTo>
                <a:lnTo>
                  <a:pt x="125" y="22"/>
                </a:lnTo>
                <a:lnTo>
                  <a:pt x="124" y="22"/>
                </a:lnTo>
                <a:lnTo>
                  <a:pt x="123" y="25"/>
                </a:lnTo>
                <a:lnTo>
                  <a:pt x="123" y="26"/>
                </a:lnTo>
                <a:lnTo>
                  <a:pt x="124" y="27"/>
                </a:lnTo>
                <a:lnTo>
                  <a:pt x="126" y="27"/>
                </a:lnTo>
                <a:lnTo>
                  <a:pt x="127" y="26"/>
                </a:lnTo>
                <a:lnTo>
                  <a:pt x="127" y="25"/>
                </a:lnTo>
                <a:lnTo>
                  <a:pt x="131" y="25"/>
                </a:lnTo>
                <a:lnTo>
                  <a:pt x="135" y="28"/>
                </a:lnTo>
                <a:lnTo>
                  <a:pt x="136" y="27"/>
                </a:lnTo>
                <a:lnTo>
                  <a:pt x="136" y="24"/>
                </a:lnTo>
                <a:lnTo>
                  <a:pt x="137" y="22"/>
                </a:lnTo>
                <a:lnTo>
                  <a:pt x="137" y="21"/>
                </a:lnTo>
                <a:lnTo>
                  <a:pt x="138" y="20"/>
                </a:lnTo>
                <a:lnTo>
                  <a:pt x="138" y="19"/>
                </a:lnTo>
                <a:lnTo>
                  <a:pt x="139" y="19"/>
                </a:lnTo>
                <a:lnTo>
                  <a:pt x="141" y="18"/>
                </a:lnTo>
                <a:lnTo>
                  <a:pt x="145" y="18"/>
                </a:lnTo>
                <a:lnTo>
                  <a:pt x="145" y="14"/>
                </a:lnTo>
                <a:lnTo>
                  <a:pt x="150" y="14"/>
                </a:lnTo>
                <a:lnTo>
                  <a:pt x="150" y="13"/>
                </a:lnTo>
                <a:lnTo>
                  <a:pt x="151" y="13"/>
                </a:lnTo>
                <a:lnTo>
                  <a:pt x="155" y="15"/>
                </a:lnTo>
                <a:lnTo>
                  <a:pt x="157" y="15"/>
                </a:lnTo>
                <a:lnTo>
                  <a:pt x="157" y="14"/>
                </a:lnTo>
                <a:lnTo>
                  <a:pt x="158" y="14"/>
                </a:lnTo>
                <a:lnTo>
                  <a:pt x="158" y="13"/>
                </a:lnTo>
                <a:lnTo>
                  <a:pt x="162" y="13"/>
                </a:lnTo>
                <a:lnTo>
                  <a:pt x="166" y="18"/>
                </a:lnTo>
                <a:lnTo>
                  <a:pt x="167" y="18"/>
                </a:lnTo>
                <a:lnTo>
                  <a:pt x="167" y="19"/>
                </a:lnTo>
                <a:lnTo>
                  <a:pt x="169" y="19"/>
                </a:lnTo>
                <a:lnTo>
                  <a:pt x="170" y="20"/>
                </a:lnTo>
                <a:lnTo>
                  <a:pt x="173" y="20"/>
                </a:lnTo>
                <a:lnTo>
                  <a:pt x="175" y="18"/>
                </a:lnTo>
                <a:lnTo>
                  <a:pt x="175" y="16"/>
                </a:lnTo>
                <a:lnTo>
                  <a:pt x="178" y="16"/>
                </a:lnTo>
                <a:lnTo>
                  <a:pt x="179" y="15"/>
                </a:lnTo>
                <a:lnTo>
                  <a:pt x="178" y="14"/>
                </a:lnTo>
                <a:lnTo>
                  <a:pt x="176" y="14"/>
                </a:lnTo>
                <a:lnTo>
                  <a:pt x="176" y="13"/>
                </a:lnTo>
                <a:lnTo>
                  <a:pt x="178" y="13"/>
                </a:lnTo>
                <a:lnTo>
                  <a:pt x="178" y="12"/>
                </a:lnTo>
                <a:lnTo>
                  <a:pt x="181" y="12"/>
                </a:lnTo>
                <a:lnTo>
                  <a:pt x="181" y="13"/>
                </a:lnTo>
                <a:lnTo>
                  <a:pt x="183" y="13"/>
                </a:lnTo>
                <a:lnTo>
                  <a:pt x="185" y="11"/>
                </a:lnTo>
                <a:lnTo>
                  <a:pt x="187" y="11"/>
                </a:lnTo>
                <a:lnTo>
                  <a:pt x="189" y="12"/>
                </a:lnTo>
                <a:lnTo>
                  <a:pt x="193" y="13"/>
                </a:lnTo>
                <a:lnTo>
                  <a:pt x="194" y="13"/>
                </a:lnTo>
                <a:lnTo>
                  <a:pt x="195" y="12"/>
                </a:lnTo>
                <a:lnTo>
                  <a:pt x="195" y="13"/>
                </a:lnTo>
                <a:lnTo>
                  <a:pt x="197" y="12"/>
                </a:lnTo>
                <a:lnTo>
                  <a:pt x="201" y="12"/>
                </a:lnTo>
                <a:lnTo>
                  <a:pt x="203" y="13"/>
                </a:lnTo>
                <a:lnTo>
                  <a:pt x="204" y="13"/>
                </a:lnTo>
                <a:lnTo>
                  <a:pt x="205" y="14"/>
                </a:lnTo>
                <a:lnTo>
                  <a:pt x="206" y="16"/>
                </a:lnTo>
                <a:lnTo>
                  <a:pt x="207" y="16"/>
                </a:lnTo>
                <a:lnTo>
                  <a:pt x="208" y="15"/>
                </a:lnTo>
                <a:lnTo>
                  <a:pt x="211" y="15"/>
                </a:lnTo>
                <a:lnTo>
                  <a:pt x="212" y="16"/>
                </a:lnTo>
                <a:lnTo>
                  <a:pt x="214" y="18"/>
                </a:lnTo>
                <a:lnTo>
                  <a:pt x="216" y="19"/>
                </a:lnTo>
                <a:lnTo>
                  <a:pt x="217" y="21"/>
                </a:lnTo>
                <a:lnTo>
                  <a:pt x="217" y="24"/>
                </a:lnTo>
                <a:lnTo>
                  <a:pt x="218" y="26"/>
                </a:lnTo>
                <a:lnTo>
                  <a:pt x="219" y="26"/>
                </a:lnTo>
                <a:lnTo>
                  <a:pt x="222" y="27"/>
                </a:lnTo>
                <a:lnTo>
                  <a:pt x="223" y="27"/>
                </a:lnTo>
                <a:lnTo>
                  <a:pt x="224" y="28"/>
                </a:lnTo>
                <a:lnTo>
                  <a:pt x="226" y="28"/>
                </a:lnTo>
                <a:lnTo>
                  <a:pt x="226" y="30"/>
                </a:lnTo>
                <a:lnTo>
                  <a:pt x="229" y="31"/>
                </a:lnTo>
                <a:lnTo>
                  <a:pt x="231" y="31"/>
                </a:lnTo>
                <a:lnTo>
                  <a:pt x="234" y="33"/>
                </a:lnTo>
                <a:lnTo>
                  <a:pt x="238" y="33"/>
                </a:lnTo>
                <a:lnTo>
                  <a:pt x="239" y="34"/>
                </a:lnTo>
                <a:lnTo>
                  <a:pt x="239" y="39"/>
                </a:lnTo>
                <a:lnTo>
                  <a:pt x="238" y="40"/>
                </a:lnTo>
                <a:lnTo>
                  <a:pt x="236" y="40"/>
                </a:lnTo>
                <a:lnTo>
                  <a:pt x="235" y="44"/>
                </a:lnTo>
                <a:lnTo>
                  <a:pt x="235" y="46"/>
                </a:lnTo>
                <a:lnTo>
                  <a:pt x="234" y="46"/>
                </a:lnTo>
                <a:lnTo>
                  <a:pt x="234" y="48"/>
                </a:lnTo>
                <a:lnTo>
                  <a:pt x="232" y="49"/>
                </a:lnTo>
                <a:lnTo>
                  <a:pt x="232" y="54"/>
                </a:lnTo>
                <a:lnTo>
                  <a:pt x="231" y="55"/>
                </a:lnTo>
                <a:lnTo>
                  <a:pt x="231" y="58"/>
                </a:lnTo>
                <a:lnTo>
                  <a:pt x="230" y="59"/>
                </a:lnTo>
                <a:lnTo>
                  <a:pt x="230" y="61"/>
                </a:lnTo>
                <a:lnTo>
                  <a:pt x="228" y="61"/>
                </a:lnTo>
                <a:lnTo>
                  <a:pt x="228" y="62"/>
                </a:lnTo>
                <a:lnTo>
                  <a:pt x="223" y="67"/>
                </a:lnTo>
                <a:lnTo>
                  <a:pt x="223" y="77"/>
                </a:lnTo>
                <a:lnTo>
                  <a:pt x="222" y="79"/>
                </a:lnTo>
                <a:lnTo>
                  <a:pt x="214" y="79"/>
                </a:lnTo>
                <a:lnTo>
                  <a:pt x="213" y="80"/>
                </a:lnTo>
                <a:lnTo>
                  <a:pt x="211" y="80"/>
                </a:lnTo>
                <a:lnTo>
                  <a:pt x="208" y="81"/>
                </a:lnTo>
                <a:lnTo>
                  <a:pt x="207" y="82"/>
                </a:lnTo>
                <a:lnTo>
                  <a:pt x="204" y="79"/>
                </a:lnTo>
                <a:lnTo>
                  <a:pt x="201" y="75"/>
                </a:lnTo>
                <a:lnTo>
                  <a:pt x="200" y="73"/>
                </a:lnTo>
                <a:lnTo>
                  <a:pt x="200" y="71"/>
                </a:lnTo>
                <a:lnTo>
                  <a:pt x="197" y="71"/>
                </a:lnTo>
                <a:lnTo>
                  <a:pt x="197" y="69"/>
                </a:lnTo>
                <a:lnTo>
                  <a:pt x="195" y="69"/>
                </a:lnTo>
                <a:lnTo>
                  <a:pt x="195" y="68"/>
                </a:lnTo>
                <a:lnTo>
                  <a:pt x="193" y="68"/>
                </a:lnTo>
                <a:lnTo>
                  <a:pt x="193" y="67"/>
                </a:lnTo>
                <a:lnTo>
                  <a:pt x="191" y="68"/>
                </a:lnTo>
                <a:lnTo>
                  <a:pt x="188" y="68"/>
                </a:lnTo>
                <a:lnTo>
                  <a:pt x="188" y="69"/>
                </a:lnTo>
                <a:lnTo>
                  <a:pt x="187" y="69"/>
                </a:lnTo>
                <a:lnTo>
                  <a:pt x="187" y="70"/>
                </a:lnTo>
                <a:lnTo>
                  <a:pt x="186" y="71"/>
                </a:lnTo>
                <a:lnTo>
                  <a:pt x="186" y="70"/>
                </a:lnTo>
                <a:lnTo>
                  <a:pt x="182" y="70"/>
                </a:lnTo>
                <a:lnTo>
                  <a:pt x="180" y="71"/>
                </a:lnTo>
                <a:lnTo>
                  <a:pt x="179" y="71"/>
                </a:lnTo>
                <a:lnTo>
                  <a:pt x="178" y="70"/>
                </a:lnTo>
                <a:lnTo>
                  <a:pt x="173" y="70"/>
                </a:lnTo>
                <a:lnTo>
                  <a:pt x="170" y="68"/>
                </a:lnTo>
                <a:lnTo>
                  <a:pt x="168" y="68"/>
                </a:lnTo>
                <a:lnTo>
                  <a:pt x="167" y="67"/>
                </a:lnTo>
                <a:lnTo>
                  <a:pt x="166" y="67"/>
                </a:lnTo>
                <a:lnTo>
                  <a:pt x="157" y="69"/>
                </a:lnTo>
                <a:lnTo>
                  <a:pt x="154" y="69"/>
                </a:lnTo>
                <a:lnTo>
                  <a:pt x="152" y="70"/>
                </a:lnTo>
                <a:lnTo>
                  <a:pt x="154" y="71"/>
                </a:lnTo>
                <a:lnTo>
                  <a:pt x="154" y="73"/>
                </a:lnTo>
                <a:lnTo>
                  <a:pt x="151" y="75"/>
                </a:lnTo>
                <a:lnTo>
                  <a:pt x="150" y="75"/>
                </a:lnTo>
                <a:lnTo>
                  <a:pt x="150" y="76"/>
                </a:lnTo>
                <a:lnTo>
                  <a:pt x="149" y="81"/>
                </a:lnTo>
                <a:lnTo>
                  <a:pt x="148" y="83"/>
                </a:lnTo>
                <a:lnTo>
                  <a:pt x="144" y="87"/>
                </a:lnTo>
                <a:lnTo>
                  <a:pt x="143" y="86"/>
                </a:lnTo>
                <a:lnTo>
                  <a:pt x="142" y="86"/>
                </a:lnTo>
                <a:lnTo>
                  <a:pt x="141" y="87"/>
                </a:lnTo>
                <a:lnTo>
                  <a:pt x="138" y="87"/>
                </a:lnTo>
                <a:lnTo>
                  <a:pt x="138" y="88"/>
                </a:lnTo>
                <a:lnTo>
                  <a:pt x="137" y="89"/>
                </a:lnTo>
                <a:lnTo>
                  <a:pt x="137" y="91"/>
                </a:lnTo>
                <a:lnTo>
                  <a:pt x="136" y="91"/>
                </a:lnTo>
                <a:lnTo>
                  <a:pt x="135" y="92"/>
                </a:lnTo>
                <a:lnTo>
                  <a:pt x="132" y="92"/>
                </a:lnTo>
                <a:lnTo>
                  <a:pt x="132" y="93"/>
                </a:lnTo>
                <a:lnTo>
                  <a:pt x="130" y="94"/>
                </a:lnTo>
                <a:lnTo>
                  <a:pt x="129" y="95"/>
                </a:lnTo>
                <a:lnTo>
                  <a:pt x="126" y="93"/>
                </a:lnTo>
                <a:lnTo>
                  <a:pt x="123" y="93"/>
                </a:lnTo>
                <a:lnTo>
                  <a:pt x="123" y="91"/>
                </a:lnTo>
                <a:lnTo>
                  <a:pt x="121" y="89"/>
                </a:lnTo>
                <a:lnTo>
                  <a:pt x="119" y="91"/>
                </a:lnTo>
                <a:lnTo>
                  <a:pt x="118" y="89"/>
                </a:lnTo>
                <a:lnTo>
                  <a:pt x="118" y="88"/>
                </a:lnTo>
                <a:lnTo>
                  <a:pt x="117" y="88"/>
                </a:lnTo>
                <a:lnTo>
                  <a:pt x="113" y="89"/>
                </a:lnTo>
                <a:lnTo>
                  <a:pt x="112" y="89"/>
                </a:lnTo>
                <a:lnTo>
                  <a:pt x="112" y="93"/>
                </a:lnTo>
                <a:lnTo>
                  <a:pt x="111" y="94"/>
                </a:lnTo>
                <a:lnTo>
                  <a:pt x="111" y="95"/>
                </a:lnTo>
                <a:lnTo>
                  <a:pt x="108" y="98"/>
                </a:lnTo>
                <a:lnTo>
                  <a:pt x="102" y="98"/>
                </a:lnTo>
                <a:lnTo>
                  <a:pt x="100" y="99"/>
                </a:lnTo>
                <a:lnTo>
                  <a:pt x="95" y="98"/>
                </a:lnTo>
                <a:lnTo>
                  <a:pt x="92" y="99"/>
                </a:lnTo>
                <a:lnTo>
                  <a:pt x="88" y="99"/>
                </a:lnTo>
                <a:lnTo>
                  <a:pt x="83" y="100"/>
                </a:lnTo>
                <a:lnTo>
                  <a:pt x="83" y="101"/>
                </a:lnTo>
                <a:lnTo>
                  <a:pt x="82" y="104"/>
                </a:lnTo>
                <a:lnTo>
                  <a:pt x="80" y="104"/>
                </a:lnTo>
                <a:lnTo>
                  <a:pt x="80" y="111"/>
                </a:lnTo>
                <a:lnTo>
                  <a:pt x="81" y="112"/>
                </a:lnTo>
                <a:lnTo>
                  <a:pt x="83" y="113"/>
                </a:lnTo>
                <a:lnTo>
                  <a:pt x="82" y="113"/>
                </a:lnTo>
                <a:lnTo>
                  <a:pt x="81" y="114"/>
                </a:lnTo>
                <a:lnTo>
                  <a:pt x="80" y="114"/>
                </a:lnTo>
                <a:lnTo>
                  <a:pt x="77" y="117"/>
                </a:lnTo>
                <a:lnTo>
                  <a:pt x="75" y="117"/>
                </a:lnTo>
                <a:lnTo>
                  <a:pt x="74" y="116"/>
                </a:lnTo>
                <a:lnTo>
                  <a:pt x="71" y="116"/>
                </a:lnTo>
                <a:lnTo>
                  <a:pt x="63" y="117"/>
                </a:lnTo>
                <a:lnTo>
                  <a:pt x="60" y="118"/>
                </a:lnTo>
                <a:lnTo>
                  <a:pt x="38" y="118"/>
                </a:lnTo>
                <a:lnTo>
                  <a:pt x="37" y="117"/>
                </a:lnTo>
                <a:lnTo>
                  <a:pt x="34" y="116"/>
                </a:lnTo>
                <a:lnTo>
                  <a:pt x="34" y="114"/>
                </a:lnTo>
                <a:lnTo>
                  <a:pt x="33" y="114"/>
                </a:lnTo>
                <a:lnTo>
                  <a:pt x="32" y="113"/>
                </a:lnTo>
                <a:lnTo>
                  <a:pt x="30" y="113"/>
                </a:lnTo>
                <a:lnTo>
                  <a:pt x="29" y="111"/>
                </a:lnTo>
                <a:lnTo>
                  <a:pt x="27" y="111"/>
                </a:lnTo>
                <a:lnTo>
                  <a:pt x="26" y="110"/>
                </a:lnTo>
                <a:lnTo>
                  <a:pt x="21" y="104"/>
                </a:lnTo>
                <a:lnTo>
                  <a:pt x="20" y="102"/>
                </a:lnTo>
                <a:lnTo>
                  <a:pt x="18" y="102"/>
                </a:lnTo>
                <a:lnTo>
                  <a:pt x="15" y="101"/>
                </a:lnTo>
                <a:lnTo>
                  <a:pt x="14" y="101"/>
                </a:lnTo>
                <a:lnTo>
                  <a:pt x="12" y="102"/>
                </a:lnTo>
                <a:lnTo>
                  <a:pt x="12" y="101"/>
                </a:lnTo>
                <a:lnTo>
                  <a:pt x="11" y="101"/>
                </a:lnTo>
                <a:lnTo>
                  <a:pt x="9" y="100"/>
                </a:lnTo>
                <a:lnTo>
                  <a:pt x="9" y="99"/>
                </a:lnTo>
                <a:lnTo>
                  <a:pt x="8" y="99"/>
                </a:lnTo>
                <a:lnTo>
                  <a:pt x="9" y="98"/>
                </a:lnTo>
                <a:lnTo>
                  <a:pt x="9" y="97"/>
                </a:lnTo>
                <a:lnTo>
                  <a:pt x="8" y="95"/>
                </a:lnTo>
                <a:lnTo>
                  <a:pt x="8" y="94"/>
                </a:lnTo>
                <a:lnTo>
                  <a:pt x="7" y="94"/>
                </a:lnTo>
                <a:lnTo>
                  <a:pt x="5" y="92"/>
                </a:lnTo>
                <a:lnTo>
                  <a:pt x="5" y="86"/>
                </a:lnTo>
                <a:lnTo>
                  <a:pt x="3" y="86"/>
                </a:lnTo>
                <a:lnTo>
                  <a:pt x="3" y="85"/>
                </a:lnTo>
                <a:lnTo>
                  <a:pt x="2" y="85"/>
                </a:lnTo>
                <a:lnTo>
                  <a:pt x="2" y="81"/>
                </a:lnTo>
                <a:lnTo>
                  <a:pt x="1" y="81"/>
                </a:lnTo>
                <a:lnTo>
                  <a:pt x="1" y="80"/>
                </a:lnTo>
                <a:lnTo>
                  <a:pt x="0" y="80"/>
                </a:lnTo>
                <a:lnTo>
                  <a:pt x="0" y="74"/>
                </a:lnTo>
                <a:lnTo>
                  <a:pt x="2" y="71"/>
                </a:lnTo>
                <a:lnTo>
                  <a:pt x="2" y="70"/>
                </a:lnTo>
                <a:lnTo>
                  <a:pt x="3" y="69"/>
                </a:lnTo>
                <a:lnTo>
                  <a:pt x="3" y="68"/>
                </a:lnTo>
                <a:lnTo>
                  <a:pt x="5" y="68"/>
                </a:lnTo>
                <a:lnTo>
                  <a:pt x="3" y="64"/>
                </a:lnTo>
                <a:lnTo>
                  <a:pt x="3" y="63"/>
                </a:lnTo>
                <a:lnTo>
                  <a:pt x="5" y="62"/>
                </a:lnTo>
                <a:lnTo>
                  <a:pt x="7" y="56"/>
                </a:lnTo>
                <a:lnTo>
                  <a:pt x="8" y="54"/>
                </a:lnTo>
                <a:lnTo>
                  <a:pt x="11" y="51"/>
                </a:lnTo>
                <a:lnTo>
                  <a:pt x="11" y="50"/>
                </a:lnTo>
                <a:lnTo>
                  <a:pt x="13" y="48"/>
                </a:lnTo>
                <a:lnTo>
                  <a:pt x="15" y="48"/>
                </a:lnTo>
                <a:lnTo>
                  <a:pt x="17" y="49"/>
                </a:lnTo>
                <a:lnTo>
                  <a:pt x="21" y="51"/>
                </a:lnTo>
                <a:lnTo>
                  <a:pt x="23" y="50"/>
                </a:lnTo>
                <a:lnTo>
                  <a:pt x="24" y="50"/>
                </a:lnTo>
                <a:lnTo>
                  <a:pt x="25" y="49"/>
                </a:lnTo>
                <a:lnTo>
                  <a:pt x="27" y="51"/>
                </a:lnTo>
                <a:lnTo>
                  <a:pt x="29" y="51"/>
                </a:lnTo>
                <a:lnTo>
                  <a:pt x="37" y="48"/>
                </a:lnTo>
                <a:lnTo>
                  <a:pt x="38" y="48"/>
                </a:lnTo>
                <a:lnTo>
                  <a:pt x="39" y="45"/>
                </a:lnTo>
                <a:lnTo>
                  <a:pt x="39" y="44"/>
                </a:lnTo>
                <a:lnTo>
                  <a:pt x="43" y="44"/>
                </a:lnTo>
                <a:lnTo>
                  <a:pt x="43" y="43"/>
                </a:lnTo>
                <a:lnTo>
                  <a:pt x="44" y="43"/>
                </a:lnTo>
                <a:lnTo>
                  <a:pt x="44" y="39"/>
                </a:lnTo>
                <a:lnTo>
                  <a:pt x="45" y="38"/>
                </a:lnTo>
                <a:lnTo>
                  <a:pt x="49" y="38"/>
                </a:lnTo>
                <a:lnTo>
                  <a:pt x="52" y="34"/>
                </a:lnTo>
                <a:lnTo>
                  <a:pt x="52" y="28"/>
                </a:lnTo>
                <a:lnTo>
                  <a:pt x="54" y="26"/>
                </a:lnTo>
                <a:lnTo>
                  <a:pt x="54" y="24"/>
                </a:lnTo>
                <a:lnTo>
                  <a:pt x="56" y="21"/>
                </a:lnTo>
                <a:lnTo>
                  <a:pt x="62" y="19"/>
                </a:lnTo>
                <a:lnTo>
                  <a:pt x="64" y="16"/>
                </a:lnTo>
                <a:lnTo>
                  <a:pt x="64" y="14"/>
                </a:lnTo>
                <a:lnTo>
                  <a:pt x="67" y="14"/>
                </a:lnTo>
                <a:lnTo>
                  <a:pt x="70" y="11"/>
                </a:lnTo>
                <a:lnTo>
                  <a:pt x="70" y="8"/>
                </a:lnTo>
                <a:lnTo>
                  <a:pt x="71" y="8"/>
                </a:lnTo>
                <a:lnTo>
                  <a:pt x="71" y="7"/>
                </a:lnTo>
                <a:lnTo>
                  <a:pt x="74" y="8"/>
                </a:lnTo>
                <a:lnTo>
                  <a:pt x="75" y="7"/>
                </a:lnTo>
                <a:lnTo>
                  <a:pt x="77" y="8"/>
                </a:lnTo>
                <a:lnTo>
                  <a:pt x="80" y="8"/>
                </a:lnTo>
                <a:lnTo>
                  <a:pt x="82" y="6"/>
                </a:lnTo>
                <a:lnTo>
                  <a:pt x="83" y="6"/>
                </a:lnTo>
                <a:lnTo>
                  <a:pt x="88" y="7"/>
                </a:lnTo>
                <a:lnTo>
                  <a:pt x="89" y="7"/>
                </a:lnTo>
                <a:lnTo>
                  <a:pt x="88" y="8"/>
                </a:lnTo>
                <a:lnTo>
                  <a:pt x="88" y="9"/>
                </a:lnTo>
                <a:lnTo>
                  <a:pt x="89" y="11"/>
                </a:lnTo>
                <a:lnTo>
                  <a:pt x="89" y="14"/>
                </a:lnTo>
                <a:lnTo>
                  <a:pt x="91" y="14"/>
                </a:lnTo>
                <a:lnTo>
                  <a:pt x="93" y="13"/>
                </a:lnTo>
                <a:lnTo>
                  <a:pt x="94" y="13"/>
                </a:lnTo>
                <a:lnTo>
                  <a:pt x="94" y="14"/>
                </a:lnTo>
                <a:lnTo>
                  <a:pt x="96" y="14"/>
                </a:lnTo>
                <a:lnTo>
                  <a:pt x="99" y="12"/>
                </a:lnTo>
                <a:lnTo>
                  <a:pt x="99" y="11"/>
                </a:lnTo>
                <a:lnTo>
                  <a:pt x="100" y="11"/>
                </a:lnTo>
                <a:lnTo>
                  <a:pt x="99" y="9"/>
                </a:lnTo>
                <a:lnTo>
                  <a:pt x="100" y="7"/>
                </a:lnTo>
                <a:lnTo>
                  <a:pt x="100" y="6"/>
                </a:lnTo>
                <a:lnTo>
                  <a:pt x="105" y="6"/>
                </a:lnTo>
                <a:lnTo>
                  <a:pt x="105" y="5"/>
                </a:lnTo>
                <a:lnTo>
                  <a:pt x="11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8" name="Freeform 17">
            <a:extLst>
              <a:ext uri="{FF2B5EF4-FFF2-40B4-BE49-F238E27FC236}">
                <a16:creationId xmlns:a16="http://schemas.microsoft.com/office/drawing/2014/main" id="{BCDCC053-0959-49E5-BB8F-6B1FAC6FAB20}"/>
              </a:ext>
            </a:extLst>
          </p:cNvPr>
          <p:cNvSpPr>
            <a:spLocks/>
          </p:cNvSpPr>
          <p:nvPr/>
        </p:nvSpPr>
        <p:spPr bwMode="auto">
          <a:xfrm>
            <a:off x="2385052" y="5066796"/>
            <a:ext cx="252116" cy="366582"/>
          </a:xfrm>
          <a:custGeom>
            <a:avLst/>
            <a:gdLst/>
            <a:ahLst/>
            <a:cxnLst>
              <a:cxn ang="0">
                <a:pos x="45" y="0"/>
              </a:cxn>
              <a:cxn ang="0">
                <a:pos x="60" y="7"/>
              </a:cxn>
              <a:cxn ang="0">
                <a:pos x="72" y="17"/>
              </a:cxn>
              <a:cxn ang="0">
                <a:pos x="79" y="26"/>
              </a:cxn>
              <a:cxn ang="0">
                <a:pos x="82" y="39"/>
              </a:cxn>
              <a:cxn ang="0">
                <a:pos x="94" y="52"/>
              </a:cxn>
              <a:cxn ang="0">
                <a:pos x="102" y="57"/>
              </a:cxn>
              <a:cxn ang="0">
                <a:pos x="108" y="67"/>
              </a:cxn>
              <a:cxn ang="0">
                <a:pos x="109" y="73"/>
              </a:cxn>
              <a:cxn ang="0">
                <a:pos x="106" y="79"/>
              </a:cxn>
              <a:cxn ang="0">
                <a:pos x="116" y="87"/>
              </a:cxn>
              <a:cxn ang="0">
                <a:pos x="134" y="94"/>
              </a:cxn>
              <a:cxn ang="0">
                <a:pos x="145" y="91"/>
              </a:cxn>
              <a:cxn ang="0">
                <a:pos x="152" y="87"/>
              </a:cxn>
              <a:cxn ang="0">
                <a:pos x="160" y="98"/>
              </a:cxn>
              <a:cxn ang="0">
                <a:pos x="152" y="100"/>
              </a:cxn>
              <a:cxn ang="0">
                <a:pos x="159" y="117"/>
              </a:cxn>
              <a:cxn ang="0">
                <a:pos x="153" y="128"/>
              </a:cxn>
              <a:cxn ang="0">
                <a:pos x="149" y="147"/>
              </a:cxn>
              <a:cxn ang="0">
                <a:pos x="154" y="160"/>
              </a:cxn>
              <a:cxn ang="0">
                <a:pos x="166" y="168"/>
              </a:cxn>
              <a:cxn ang="0">
                <a:pos x="170" y="183"/>
              </a:cxn>
              <a:cxn ang="0">
                <a:pos x="153" y="195"/>
              </a:cxn>
              <a:cxn ang="0">
                <a:pos x="152" y="204"/>
              </a:cxn>
              <a:cxn ang="0">
                <a:pos x="153" y="222"/>
              </a:cxn>
              <a:cxn ang="0">
                <a:pos x="144" y="226"/>
              </a:cxn>
              <a:cxn ang="0">
                <a:pos x="129" y="226"/>
              </a:cxn>
              <a:cxn ang="0">
                <a:pos x="116" y="230"/>
              </a:cxn>
              <a:cxn ang="0">
                <a:pos x="108" y="233"/>
              </a:cxn>
              <a:cxn ang="0">
                <a:pos x="101" y="239"/>
              </a:cxn>
              <a:cxn ang="0">
                <a:pos x="91" y="236"/>
              </a:cxn>
              <a:cxn ang="0">
                <a:pos x="79" y="251"/>
              </a:cxn>
              <a:cxn ang="0">
                <a:pos x="72" y="252"/>
              </a:cxn>
              <a:cxn ang="0">
                <a:pos x="71" y="236"/>
              </a:cxn>
              <a:cxn ang="0">
                <a:pos x="57" y="226"/>
              </a:cxn>
              <a:cxn ang="0">
                <a:pos x="51" y="215"/>
              </a:cxn>
              <a:cxn ang="0">
                <a:pos x="52" y="201"/>
              </a:cxn>
              <a:cxn ang="0">
                <a:pos x="62" y="193"/>
              </a:cxn>
              <a:cxn ang="0">
                <a:pos x="45" y="181"/>
              </a:cxn>
              <a:cxn ang="0">
                <a:pos x="36" y="180"/>
              </a:cxn>
              <a:cxn ang="0">
                <a:pos x="27" y="173"/>
              </a:cxn>
              <a:cxn ang="0">
                <a:pos x="14" y="156"/>
              </a:cxn>
              <a:cxn ang="0">
                <a:pos x="21" y="153"/>
              </a:cxn>
              <a:cxn ang="0">
                <a:pos x="27" y="150"/>
              </a:cxn>
              <a:cxn ang="0">
                <a:pos x="15" y="130"/>
              </a:cxn>
              <a:cxn ang="0">
                <a:pos x="31" y="129"/>
              </a:cxn>
              <a:cxn ang="0">
                <a:pos x="27" y="124"/>
              </a:cxn>
              <a:cxn ang="0">
                <a:pos x="15" y="113"/>
              </a:cxn>
              <a:cxn ang="0">
                <a:pos x="14" y="98"/>
              </a:cxn>
              <a:cxn ang="0">
                <a:pos x="21" y="79"/>
              </a:cxn>
              <a:cxn ang="0">
                <a:pos x="14" y="76"/>
              </a:cxn>
              <a:cxn ang="0">
                <a:pos x="7" y="75"/>
              </a:cxn>
              <a:cxn ang="0">
                <a:pos x="8" y="62"/>
              </a:cxn>
              <a:cxn ang="0">
                <a:pos x="17" y="60"/>
              </a:cxn>
              <a:cxn ang="0">
                <a:pos x="10" y="51"/>
              </a:cxn>
              <a:cxn ang="0">
                <a:pos x="6" y="44"/>
              </a:cxn>
              <a:cxn ang="0">
                <a:pos x="4" y="37"/>
              </a:cxn>
              <a:cxn ang="0">
                <a:pos x="2" y="29"/>
              </a:cxn>
              <a:cxn ang="0">
                <a:pos x="2" y="15"/>
              </a:cxn>
              <a:cxn ang="0">
                <a:pos x="8" y="13"/>
              </a:cxn>
              <a:cxn ang="0">
                <a:pos x="17" y="9"/>
              </a:cxn>
              <a:cxn ang="0">
                <a:pos x="26" y="5"/>
              </a:cxn>
            </a:cxnLst>
            <a:rect l="0" t="0" r="r" b="b"/>
            <a:pathLst>
              <a:path w="174" h="253">
                <a:moveTo>
                  <a:pt x="29" y="0"/>
                </a:moveTo>
                <a:lnTo>
                  <a:pt x="34" y="0"/>
                </a:lnTo>
                <a:lnTo>
                  <a:pt x="35" y="1"/>
                </a:lnTo>
                <a:lnTo>
                  <a:pt x="38" y="2"/>
                </a:lnTo>
                <a:lnTo>
                  <a:pt x="39" y="2"/>
                </a:lnTo>
                <a:lnTo>
                  <a:pt x="42" y="1"/>
                </a:lnTo>
                <a:lnTo>
                  <a:pt x="44" y="1"/>
                </a:lnTo>
                <a:lnTo>
                  <a:pt x="45" y="0"/>
                </a:lnTo>
                <a:lnTo>
                  <a:pt x="47" y="1"/>
                </a:lnTo>
                <a:lnTo>
                  <a:pt x="53" y="1"/>
                </a:lnTo>
                <a:lnTo>
                  <a:pt x="53" y="2"/>
                </a:lnTo>
                <a:lnTo>
                  <a:pt x="54" y="2"/>
                </a:lnTo>
                <a:lnTo>
                  <a:pt x="54" y="1"/>
                </a:lnTo>
                <a:lnTo>
                  <a:pt x="56" y="2"/>
                </a:lnTo>
                <a:lnTo>
                  <a:pt x="58" y="4"/>
                </a:lnTo>
                <a:lnTo>
                  <a:pt x="60" y="7"/>
                </a:lnTo>
                <a:lnTo>
                  <a:pt x="62" y="8"/>
                </a:lnTo>
                <a:lnTo>
                  <a:pt x="62" y="11"/>
                </a:lnTo>
                <a:lnTo>
                  <a:pt x="63" y="12"/>
                </a:lnTo>
                <a:lnTo>
                  <a:pt x="64" y="12"/>
                </a:lnTo>
                <a:lnTo>
                  <a:pt x="65" y="13"/>
                </a:lnTo>
                <a:lnTo>
                  <a:pt x="66" y="13"/>
                </a:lnTo>
                <a:lnTo>
                  <a:pt x="70" y="17"/>
                </a:lnTo>
                <a:lnTo>
                  <a:pt x="72" y="17"/>
                </a:lnTo>
                <a:lnTo>
                  <a:pt x="73" y="19"/>
                </a:lnTo>
                <a:lnTo>
                  <a:pt x="73" y="20"/>
                </a:lnTo>
                <a:lnTo>
                  <a:pt x="75" y="20"/>
                </a:lnTo>
                <a:lnTo>
                  <a:pt x="75" y="23"/>
                </a:lnTo>
                <a:lnTo>
                  <a:pt x="76" y="24"/>
                </a:lnTo>
                <a:lnTo>
                  <a:pt x="76" y="25"/>
                </a:lnTo>
                <a:lnTo>
                  <a:pt x="77" y="26"/>
                </a:lnTo>
                <a:lnTo>
                  <a:pt x="79" y="26"/>
                </a:lnTo>
                <a:lnTo>
                  <a:pt x="79" y="25"/>
                </a:lnTo>
                <a:lnTo>
                  <a:pt x="81" y="25"/>
                </a:lnTo>
                <a:lnTo>
                  <a:pt x="81" y="31"/>
                </a:lnTo>
                <a:lnTo>
                  <a:pt x="79" y="32"/>
                </a:lnTo>
                <a:lnTo>
                  <a:pt x="79" y="35"/>
                </a:lnTo>
                <a:lnTo>
                  <a:pt x="81" y="37"/>
                </a:lnTo>
                <a:lnTo>
                  <a:pt x="82" y="38"/>
                </a:lnTo>
                <a:lnTo>
                  <a:pt x="82" y="39"/>
                </a:lnTo>
                <a:lnTo>
                  <a:pt x="81" y="41"/>
                </a:lnTo>
                <a:lnTo>
                  <a:pt x="79" y="41"/>
                </a:lnTo>
                <a:lnTo>
                  <a:pt x="82" y="43"/>
                </a:lnTo>
                <a:lnTo>
                  <a:pt x="83" y="43"/>
                </a:lnTo>
                <a:lnTo>
                  <a:pt x="84" y="45"/>
                </a:lnTo>
                <a:lnTo>
                  <a:pt x="90" y="51"/>
                </a:lnTo>
                <a:lnTo>
                  <a:pt x="93" y="52"/>
                </a:lnTo>
                <a:lnTo>
                  <a:pt x="94" y="52"/>
                </a:lnTo>
                <a:lnTo>
                  <a:pt x="94" y="54"/>
                </a:lnTo>
                <a:lnTo>
                  <a:pt x="95" y="54"/>
                </a:lnTo>
                <a:lnTo>
                  <a:pt x="95" y="52"/>
                </a:lnTo>
                <a:lnTo>
                  <a:pt x="96" y="52"/>
                </a:lnTo>
                <a:lnTo>
                  <a:pt x="98" y="55"/>
                </a:lnTo>
                <a:lnTo>
                  <a:pt x="98" y="56"/>
                </a:lnTo>
                <a:lnTo>
                  <a:pt x="100" y="57"/>
                </a:lnTo>
                <a:lnTo>
                  <a:pt x="102" y="57"/>
                </a:lnTo>
                <a:lnTo>
                  <a:pt x="107" y="58"/>
                </a:lnTo>
                <a:lnTo>
                  <a:pt x="108" y="60"/>
                </a:lnTo>
                <a:lnTo>
                  <a:pt x="109" y="60"/>
                </a:lnTo>
                <a:lnTo>
                  <a:pt x="110" y="61"/>
                </a:lnTo>
                <a:lnTo>
                  <a:pt x="110" y="63"/>
                </a:lnTo>
                <a:lnTo>
                  <a:pt x="109" y="63"/>
                </a:lnTo>
                <a:lnTo>
                  <a:pt x="109" y="66"/>
                </a:lnTo>
                <a:lnTo>
                  <a:pt x="108" y="67"/>
                </a:lnTo>
                <a:lnTo>
                  <a:pt x="108" y="68"/>
                </a:lnTo>
                <a:lnTo>
                  <a:pt x="107" y="69"/>
                </a:lnTo>
                <a:lnTo>
                  <a:pt x="106" y="69"/>
                </a:lnTo>
                <a:lnTo>
                  <a:pt x="104" y="70"/>
                </a:lnTo>
                <a:lnTo>
                  <a:pt x="104" y="72"/>
                </a:lnTo>
                <a:lnTo>
                  <a:pt x="106" y="72"/>
                </a:lnTo>
                <a:lnTo>
                  <a:pt x="106" y="73"/>
                </a:lnTo>
                <a:lnTo>
                  <a:pt x="109" y="73"/>
                </a:lnTo>
                <a:lnTo>
                  <a:pt x="110" y="74"/>
                </a:lnTo>
                <a:lnTo>
                  <a:pt x="112" y="74"/>
                </a:lnTo>
                <a:lnTo>
                  <a:pt x="113" y="75"/>
                </a:lnTo>
                <a:lnTo>
                  <a:pt x="113" y="78"/>
                </a:lnTo>
                <a:lnTo>
                  <a:pt x="110" y="78"/>
                </a:lnTo>
                <a:lnTo>
                  <a:pt x="109" y="79"/>
                </a:lnTo>
                <a:lnTo>
                  <a:pt x="107" y="78"/>
                </a:lnTo>
                <a:lnTo>
                  <a:pt x="106" y="79"/>
                </a:lnTo>
                <a:lnTo>
                  <a:pt x="104" y="79"/>
                </a:lnTo>
                <a:lnTo>
                  <a:pt x="104" y="80"/>
                </a:lnTo>
                <a:lnTo>
                  <a:pt x="107" y="82"/>
                </a:lnTo>
                <a:lnTo>
                  <a:pt x="107" y="84"/>
                </a:lnTo>
                <a:lnTo>
                  <a:pt x="114" y="84"/>
                </a:lnTo>
                <a:lnTo>
                  <a:pt x="115" y="85"/>
                </a:lnTo>
                <a:lnTo>
                  <a:pt x="115" y="86"/>
                </a:lnTo>
                <a:lnTo>
                  <a:pt x="116" y="87"/>
                </a:lnTo>
                <a:lnTo>
                  <a:pt x="118" y="90"/>
                </a:lnTo>
                <a:lnTo>
                  <a:pt x="123" y="90"/>
                </a:lnTo>
                <a:lnTo>
                  <a:pt x="126" y="88"/>
                </a:lnTo>
                <a:lnTo>
                  <a:pt x="127" y="88"/>
                </a:lnTo>
                <a:lnTo>
                  <a:pt x="131" y="91"/>
                </a:lnTo>
                <a:lnTo>
                  <a:pt x="132" y="91"/>
                </a:lnTo>
                <a:lnTo>
                  <a:pt x="133" y="94"/>
                </a:lnTo>
                <a:lnTo>
                  <a:pt x="134" y="94"/>
                </a:lnTo>
                <a:lnTo>
                  <a:pt x="134" y="97"/>
                </a:lnTo>
                <a:lnTo>
                  <a:pt x="135" y="97"/>
                </a:lnTo>
                <a:lnTo>
                  <a:pt x="135" y="99"/>
                </a:lnTo>
                <a:lnTo>
                  <a:pt x="137" y="99"/>
                </a:lnTo>
                <a:lnTo>
                  <a:pt x="138" y="100"/>
                </a:lnTo>
                <a:lnTo>
                  <a:pt x="139" y="100"/>
                </a:lnTo>
                <a:lnTo>
                  <a:pt x="140" y="99"/>
                </a:lnTo>
                <a:lnTo>
                  <a:pt x="145" y="91"/>
                </a:lnTo>
                <a:lnTo>
                  <a:pt x="145" y="90"/>
                </a:lnTo>
                <a:lnTo>
                  <a:pt x="146" y="90"/>
                </a:lnTo>
                <a:lnTo>
                  <a:pt x="147" y="88"/>
                </a:lnTo>
                <a:lnTo>
                  <a:pt x="149" y="88"/>
                </a:lnTo>
                <a:lnTo>
                  <a:pt x="150" y="87"/>
                </a:lnTo>
                <a:lnTo>
                  <a:pt x="150" y="86"/>
                </a:lnTo>
                <a:lnTo>
                  <a:pt x="152" y="86"/>
                </a:lnTo>
                <a:lnTo>
                  <a:pt x="152" y="87"/>
                </a:lnTo>
                <a:lnTo>
                  <a:pt x="156" y="90"/>
                </a:lnTo>
                <a:lnTo>
                  <a:pt x="158" y="92"/>
                </a:lnTo>
                <a:lnTo>
                  <a:pt x="162" y="92"/>
                </a:lnTo>
                <a:lnTo>
                  <a:pt x="163" y="93"/>
                </a:lnTo>
                <a:lnTo>
                  <a:pt x="164" y="95"/>
                </a:lnTo>
                <a:lnTo>
                  <a:pt x="164" y="97"/>
                </a:lnTo>
                <a:lnTo>
                  <a:pt x="163" y="98"/>
                </a:lnTo>
                <a:lnTo>
                  <a:pt x="160" y="98"/>
                </a:lnTo>
                <a:lnTo>
                  <a:pt x="158" y="95"/>
                </a:lnTo>
                <a:lnTo>
                  <a:pt x="157" y="95"/>
                </a:lnTo>
                <a:lnTo>
                  <a:pt x="157" y="97"/>
                </a:lnTo>
                <a:lnTo>
                  <a:pt x="156" y="97"/>
                </a:lnTo>
                <a:lnTo>
                  <a:pt x="156" y="99"/>
                </a:lnTo>
                <a:lnTo>
                  <a:pt x="154" y="99"/>
                </a:lnTo>
                <a:lnTo>
                  <a:pt x="153" y="100"/>
                </a:lnTo>
                <a:lnTo>
                  <a:pt x="152" y="100"/>
                </a:lnTo>
                <a:lnTo>
                  <a:pt x="152" y="103"/>
                </a:lnTo>
                <a:lnTo>
                  <a:pt x="153" y="104"/>
                </a:lnTo>
                <a:lnTo>
                  <a:pt x="153" y="106"/>
                </a:lnTo>
                <a:lnTo>
                  <a:pt x="158" y="111"/>
                </a:lnTo>
                <a:lnTo>
                  <a:pt x="160" y="111"/>
                </a:lnTo>
                <a:lnTo>
                  <a:pt x="162" y="112"/>
                </a:lnTo>
                <a:lnTo>
                  <a:pt x="162" y="116"/>
                </a:lnTo>
                <a:lnTo>
                  <a:pt x="159" y="117"/>
                </a:lnTo>
                <a:lnTo>
                  <a:pt x="158" y="118"/>
                </a:lnTo>
                <a:lnTo>
                  <a:pt x="158" y="121"/>
                </a:lnTo>
                <a:lnTo>
                  <a:pt x="157" y="122"/>
                </a:lnTo>
                <a:lnTo>
                  <a:pt x="157" y="123"/>
                </a:lnTo>
                <a:lnTo>
                  <a:pt x="158" y="124"/>
                </a:lnTo>
                <a:lnTo>
                  <a:pt x="158" y="125"/>
                </a:lnTo>
                <a:lnTo>
                  <a:pt x="156" y="125"/>
                </a:lnTo>
                <a:lnTo>
                  <a:pt x="153" y="128"/>
                </a:lnTo>
                <a:lnTo>
                  <a:pt x="153" y="129"/>
                </a:lnTo>
                <a:lnTo>
                  <a:pt x="150" y="129"/>
                </a:lnTo>
                <a:lnTo>
                  <a:pt x="149" y="130"/>
                </a:lnTo>
                <a:lnTo>
                  <a:pt x="149" y="136"/>
                </a:lnTo>
                <a:lnTo>
                  <a:pt x="147" y="138"/>
                </a:lnTo>
                <a:lnTo>
                  <a:pt x="147" y="142"/>
                </a:lnTo>
                <a:lnTo>
                  <a:pt x="149" y="143"/>
                </a:lnTo>
                <a:lnTo>
                  <a:pt x="149" y="147"/>
                </a:lnTo>
                <a:lnTo>
                  <a:pt x="150" y="148"/>
                </a:lnTo>
                <a:lnTo>
                  <a:pt x="150" y="149"/>
                </a:lnTo>
                <a:lnTo>
                  <a:pt x="151" y="149"/>
                </a:lnTo>
                <a:lnTo>
                  <a:pt x="152" y="150"/>
                </a:lnTo>
                <a:lnTo>
                  <a:pt x="152" y="155"/>
                </a:lnTo>
                <a:lnTo>
                  <a:pt x="153" y="156"/>
                </a:lnTo>
                <a:lnTo>
                  <a:pt x="153" y="159"/>
                </a:lnTo>
                <a:lnTo>
                  <a:pt x="154" y="160"/>
                </a:lnTo>
                <a:lnTo>
                  <a:pt x="154" y="161"/>
                </a:lnTo>
                <a:lnTo>
                  <a:pt x="157" y="161"/>
                </a:lnTo>
                <a:lnTo>
                  <a:pt x="157" y="162"/>
                </a:lnTo>
                <a:lnTo>
                  <a:pt x="159" y="162"/>
                </a:lnTo>
                <a:lnTo>
                  <a:pt x="159" y="165"/>
                </a:lnTo>
                <a:lnTo>
                  <a:pt x="163" y="165"/>
                </a:lnTo>
                <a:lnTo>
                  <a:pt x="163" y="166"/>
                </a:lnTo>
                <a:lnTo>
                  <a:pt x="166" y="168"/>
                </a:lnTo>
                <a:lnTo>
                  <a:pt x="166" y="171"/>
                </a:lnTo>
                <a:lnTo>
                  <a:pt x="171" y="176"/>
                </a:lnTo>
                <a:lnTo>
                  <a:pt x="172" y="176"/>
                </a:lnTo>
                <a:lnTo>
                  <a:pt x="174" y="177"/>
                </a:lnTo>
                <a:lnTo>
                  <a:pt x="174" y="179"/>
                </a:lnTo>
                <a:lnTo>
                  <a:pt x="172" y="181"/>
                </a:lnTo>
                <a:lnTo>
                  <a:pt x="171" y="183"/>
                </a:lnTo>
                <a:lnTo>
                  <a:pt x="170" y="183"/>
                </a:lnTo>
                <a:lnTo>
                  <a:pt x="170" y="185"/>
                </a:lnTo>
                <a:lnTo>
                  <a:pt x="166" y="189"/>
                </a:lnTo>
                <a:lnTo>
                  <a:pt x="165" y="189"/>
                </a:lnTo>
                <a:lnTo>
                  <a:pt x="164" y="190"/>
                </a:lnTo>
                <a:lnTo>
                  <a:pt x="164" y="192"/>
                </a:lnTo>
                <a:lnTo>
                  <a:pt x="163" y="193"/>
                </a:lnTo>
                <a:lnTo>
                  <a:pt x="163" y="195"/>
                </a:lnTo>
                <a:lnTo>
                  <a:pt x="153" y="195"/>
                </a:lnTo>
                <a:lnTo>
                  <a:pt x="153" y="196"/>
                </a:lnTo>
                <a:lnTo>
                  <a:pt x="152" y="197"/>
                </a:lnTo>
                <a:lnTo>
                  <a:pt x="151" y="197"/>
                </a:lnTo>
                <a:lnTo>
                  <a:pt x="151" y="198"/>
                </a:lnTo>
                <a:lnTo>
                  <a:pt x="150" y="198"/>
                </a:lnTo>
                <a:lnTo>
                  <a:pt x="151" y="201"/>
                </a:lnTo>
                <a:lnTo>
                  <a:pt x="152" y="202"/>
                </a:lnTo>
                <a:lnTo>
                  <a:pt x="152" y="204"/>
                </a:lnTo>
                <a:lnTo>
                  <a:pt x="151" y="205"/>
                </a:lnTo>
                <a:lnTo>
                  <a:pt x="151" y="209"/>
                </a:lnTo>
                <a:lnTo>
                  <a:pt x="150" y="211"/>
                </a:lnTo>
                <a:lnTo>
                  <a:pt x="150" y="213"/>
                </a:lnTo>
                <a:lnTo>
                  <a:pt x="152" y="214"/>
                </a:lnTo>
                <a:lnTo>
                  <a:pt x="154" y="216"/>
                </a:lnTo>
                <a:lnTo>
                  <a:pt x="154" y="221"/>
                </a:lnTo>
                <a:lnTo>
                  <a:pt x="153" y="222"/>
                </a:lnTo>
                <a:lnTo>
                  <a:pt x="152" y="222"/>
                </a:lnTo>
                <a:lnTo>
                  <a:pt x="151" y="223"/>
                </a:lnTo>
                <a:lnTo>
                  <a:pt x="151" y="226"/>
                </a:lnTo>
                <a:lnTo>
                  <a:pt x="150" y="226"/>
                </a:lnTo>
                <a:lnTo>
                  <a:pt x="150" y="227"/>
                </a:lnTo>
                <a:lnTo>
                  <a:pt x="145" y="227"/>
                </a:lnTo>
                <a:lnTo>
                  <a:pt x="145" y="226"/>
                </a:lnTo>
                <a:lnTo>
                  <a:pt x="144" y="226"/>
                </a:lnTo>
                <a:lnTo>
                  <a:pt x="144" y="223"/>
                </a:lnTo>
                <a:lnTo>
                  <a:pt x="143" y="223"/>
                </a:lnTo>
                <a:lnTo>
                  <a:pt x="143" y="224"/>
                </a:lnTo>
                <a:lnTo>
                  <a:pt x="137" y="227"/>
                </a:lnTo>
                <a:lnTo>
                  <a:pt x="134" y="228"/>
                </a:lnTo>
                <a:lnTo>
                  <a:pt x="133" y="228"/>
                </a:lnTo>
                <a:lnTo>
                  <a:pt x="132" y="227"/>
                </a:lnTo>
                <a:lnTo>
                  <a:pt x="129" y="226"/>
                </a:lnTo>
                <a:lnTo>
                  <a:pt x="128" y="226"/>
                </a:lnTo>
                <a:lnTo>
                  <a:pt x="127" y="227"/>
                </a:lnTo>
                <a:lnTo>
                  <a:pt x="125" y="227"/>
                </a:lnTo>
                <a:lnTo>
                  <a:pt x="120" y="230"/>
                </a:lnTo>
                <a:lnTo>
                  <a:pt x="119" y="230"/>
                </a:lnTo>
                <a:lnTo>
                  <a:pt x="119" y="232"/>
                </a:lnTo>
                <a:lnTo>
                  <a:pt x="118" y="232"/>
                </a:lnTo>
                <a:lnTo>
                  <a:pt x="116" y="230"/>
                </a:lnTo>
                <a:lnTo>
                  <a:pt x="114" y="230"/>
                </a:lnTo>
                <a:lnTo>
                  <a:pt x="112" y="232"/>
                </a:lnTo>
                <a:lnTo>
                  <a:pt x="110" y="230"/>
                </a:lnTo>
                <a:lnTo>
                  <a:pt x="110" y="232"/>
                </a:lnTo>
                <a:lnTo>
                  <a:pt x="109" y="232"/>
                </a:lnTo>
                <a:lnTo>
                  <a:pt x="109" y="230"/>
                </a:lnTo>
                <a:lnTo>
                  <a:pt x="108" y="230"/>
                </a:lnTo>
                <a:lnTo>
                  <a:pt x="108" y="233"/>
                </a:lnTo>
                <a:lnTo>
                  <a:pt x="106" y="232"/>
                </a:lnTo>
                <a:lnTo>
                  <a:pt x="104" y="233"/>
                </a:lnTo>
                <a:lnTo>
                  <a:pt x="102" y="236"/>
                </a:lnTo>
                <a:lnTo>
                  <a:pt x="102" y="238"/>
                </a:lnTo>
                <a:lnTo>
                  <a:pt x="103" y="239"/>
                </a:lnTo>
                <a:lnTo>
                  <a:pt x="102" y="239"/>
                </a:lnTo>
                <a:lnTo>
                  <a:pt x="102" y="240"/>
                </a:lnTo>
                <a:lnTo>
                  <a:pt x="101" y="239"/>
                </a:lnTo>
                <a:lnTo>
                  <a:pt x="100" y="239"/>
                </a:lnTo>
                <a:lnTo>
                  <a:pt x="98" y="238"/>
                </a:lnTo>
                <a:lnTo>
                  <a:pt x="98" y="236"/>
                </a:lnTo>
                <a:lnTo>
                  <a:pt x="97" y="235"/>
                </a:lnTo>
                <a:lnTo>
                  <a:pt x="95" y="234"/>
                </a:lnTo>
                <a:lnTo>
                  <a:pt x="93" y="234"/>
                </a:lnTo>
                <a:lnTo>
                  <a:pt x="91" y="235"/>
                </a:lnTo>
                <a:lnTo>
                  <a:pt x="91" y="236"/>
                </a:lnTo>
                <a:lnTo>
                  <a:pt x="90" y="236"/>
                </a:lnTo>
                <a:lnTo>
                  <a:pt x="89" y="238"/>
                </a:lnTo>
                <a:lnTo>
                  <a:pt x="85" y="238"/>
                </a:lnTo>
                <a:lnTo>
                  <a:pt x="82" y="240"/>
                </a:lnTo>
                <a:lnTo>
                  <a:pt x="81" y="240"/>
                </a:lnTo>
                <a:lnTo>
                  <a:pt x="81" y="241"/>
                </a:lnTo>
                <a:lnTo>
                  <a:pt x="79" y="242"/>
                </a:lnTo>
                <a:lnTo>
                  <a:pt x="79" y="251"/>
                </a:lnTo>
                <a:lnTo>
                  <a:pt x="78" y="252"/>
                </a:lnTo>
                <a:lnTo>
                  <a:pt x="78" y="253"/>
                </a:lnTo>
                <a:lnTo>
                  <a:pt x="76" y="253"/>
                </a:lnTo>
                <a:lnTo>
                  <a:pt x="76" y="252"/>
                </a:lnTo>
                <a:lnTo>
                  <a:pt x="75" y="252"/>
                </a:lnTo>
                <a:lnTo>
                  <a:pt x="75" y="253"/>
                </a:lnTo>
                <a:lnTo>
                  <a:pt x="72" y="253"/>
                </a:lnTo>
                <a:lnTo>
                  <a:pt x="72" y="252"/>
                </a:lnTo>
                <a:lnTo>
                  <a:pt x="71" y="251"/>
                </a:lnTo>
                <a:lnTo>
                  <a:pt x="72" y="250"/>
                </a:lnTo>
                <a:lnTo>
                  <a:pt x="72" y="248"/>
                </a:lnTo>
                <a:lnTo>
                  <a:pt x="73" y="247"/>
                </a:lnTo>
                <a:lnTo>
                  <a:pt x="72" y="246"/>
                </a:lnTo>
                <a:lnTo>
                  <a:pt x="72" y="245"/>
                </a:lnTo>
                <a:lnTo>
                  <a:pt x="71" y="241"/>
                </a:lnTo>
                <a:lnTo>
                  <a:pt x="71" y="236"/>
                </a:lnTo>
                <a:lnTo>
                  <a:pt x="69" y="233"/>
                </a:lnTo>
                <a:lnTo>
                  <a:pt x="69" y="232"/>
                </a:lnTo>
                <a:lnTo>
                  <a:pt x="67" y="232"/>
                </a:lnTo>
                <a:lnTo>
                  <a:pt x="67" y="230"/>
                </a:lnTo>
                <a:lnTo>
                  <a:pt x="62" y="227"/>
                </a:lnTo>
                <a:lnTo>
                  <a:pt x="58" y="227"/>
                </a:lnTo>
                <a:lnTo>
                  <a:pt x="58" y="226"/>
                </a:lnTo>
                <a:lnTo>
                  <a:pt x="57" y="226"/>
                </a:lnTo>
                <a:lnTo>
                  <a:pt x="57" y="223"/>
                </a:lnTo>
                <a:lnTo>
                  <a:pt x="56" y="223"/>
                </a:lnTo>
                <a:lnTo>
                  <a:pt x="56" y="222"/>
                </a:lnTo>
                <a:lnTo>
                  <a:pt x="57" y="221"/>
                </a:lnTo>
                <a:lnTo>
                  <a:pt x="56" y="220"/>
                </a:lnTo>
                <a:lnTo>
                  <a:pt x="54" y="216"/>
                </a:lnTo>
                <a:lnTo>
                  <a:pt x="53" y="216"/>
                </a:lnTo>
                <a:lnTo>
                  <a:pt x="51" y="215"/>
                </a:lnTo>
                <a:lnTo>
                  <a:pt x="51" y="210"/>
                </a:lnTo>
                <a:lnTo>
                  <a:pt x="52" y="209"/>
                </a:lnTo>
                <a:lnTo>
                  <a:pt x="52" y="207"/>
                </a:lnTo>
                <a:lnTo>
                  <a:pt x="48" y="203"/>
                </a:lnTo>
                <a:lnTo>
                  <a:pt x="48" y="202"/>
                </a:lnTo>
                <a:lnTo>
                  <a:pt x="50" y="202"/>
                </a:lnTo>
                <a:lnTo>
                  <a:pt x="50" y="201"/>
                </a:lnTo>
                <a:lnTo>
                  <a:pt x="52" y="201"/>
                </a:lnTo>
                <a:lnTo>
                  <a:pt x="54" y="202"/>
                </a:lnTo>
                <a:lnTo>
                  <a:pt x="56" y="203"/>
                </a:lnTo>
                <a:lnTo>
                  <a:pt x="57" y="202"/>
                </a:lnTo>
                <a:lnTo>
                  <a:pt x="57" y="198"/>
                </a:lnTo>
                <a:lnTo>
                  <a:pt x="59" y="198"/>
                </a:lnTo>
                <a:lnTo>
                  <a:pt x="63" y="197"/>
                </a:lnTo>
                <a:lnTo>
                  <a:pt x="63" y="193"/>
                </a:lnTo>
                <a:lnTo>
                  <a:pt x="62" y="193"/>
                </a:lnTo>
                <a:lnTo>
                  <a:pt x="59" y="192"/>
                </a:lnTo>
                <a:lnTo>
                  <a:pt x="57" y="190"/>
                </a:lnTo>
                <a:lnTo>
                  <a:pt x="53" y="190"/>
                </a:lnTo>
                <a:lnTo>
                  <a:pt x="53" y="189"/>
                </a:lnTo>
                <a:lnTo>
                  <a:pt x="50" y="186"/>
                </a:lnTo>
                <a:lnTo>
                  <a:pt x="46" y="183"/>
                </a:lnTo>
                <a:lnTo>
                  <a:pt x="45" y="183"/>
                </a:lnTo>
                <a:lnTo>
                  <a:pt x="45" y="181"/>
                </a:lnTo>
                <a:lnTo>
                  <a:pt x="44" y="180"/>
                </a:lnTo>
                <a:lnTo>
                  <a:pt x="44" y="181"/>
                </a:lnTo>
                <a:lnTo>
                  <a:pt x="42" y="181"/>
                </a:lnTo>
                <a:lnTo>
                  <a:pt x="42" y="183"/>
                </a:lnTo>
                <a:lnTo>
                  <a:pt x="40" y="183"/>
                </a:lnTo>
                <a:lnTo>
                  <a:pt x="39" y="181"/>
                </a:lnTo>
                <a:lnTo>
                  <a:pt x="38" y="181"/>
                </a:lnTo>
                <a:lnTo>
                  <a:pt x="36" y="180"/>
                </a:lnTo>
                <a:lnTo>
                  <a:pt x="35" y="178"/>
                </a:lnTo>
                <a:lnTo>
                  <a:pt x="34" y="179"/>
                </a:lnTo>
                <a:lnTo>
                  <a:pt x="34" y="178"/>
                </a:lnTo>
                <a:lnTo>
                  <a:pt x="31" y="178"/>
                </a:lnTo>
                <a:lnTo>
                  <a:pt x="31" y="177"/>
                </a:lnTo>
                <a:lnTo>
                  <a:pt x="29" y="176"/>
                </a:lnTo>
                <a:lnTo>
                  <a:pt x="28" y="176"/>
                </a:lnTo>
                <a:lnTo>
                  <a:pt x="27" y="173"/>
                </a:lnTo>
                <a:lnTo>
                  <a:pt x="26" y="172"/>
                </a:lnTo>
                <a:lnTo>
                  <a:pt x="26" y="171"/>
                </a:lnTo>
                <a:lnTo>
                  <a:pt x="21" y="166"/>
                </a:lnTo>
                <a:lnTo>
                  <a:pt x="21" y="165"/>
                </a:lnTo>
                <a:lnTo>
                  <a:pt x="15" y="162"/>
                </a:lnTo>
                <a:lnTo>
                  <a:pt x="13" y="160"/>
                </a:lnTo>
                <a:lnTo>
                  <a:pt x="13" y="158"/>
                </a:lnTo>
                <a:lnTo>
                  <a:pt x="14" y="156"/>
                </a:lnTo>
                <a:lnTo>
                  <a:pt x="15" y="156"/>
                </a:lnTo>
                <a:lnTo>
                  <a:pt x="15" y="155"/>
                </a:lnTo>
                <a:lnTo>
                  <a:pt x="16" y="154"/>
                </a:lnTo>
                <a:lnTo>
                  <a:pt x="16" y="153"/>
                </a:lnTo>
                <a:lnTo>
                  <a:pt x="17" y="154"/>
                </a:lnTo>
                <a:lnTo>
                  <a:pt x="19" y="154"/>
                </a:lnTo>
                <a:lnTo>
                  <a:pt x="19" y="153"/>
                </a:lnTo>
                <a:lnTo>
                  <a:pt x="21" y="153"/>
                </a:lnTo>
                <a:lnTo>
                  <a:pt x="22" y="154"/>
                </a:lnTo>
                <a:lnTo>
                  <a:pt x="22" y="155"/>
                </a:lnTo>
                <a:lnTo>
                  <a:pt x="23" y="156"/>
                </a:lnTo>
                <a:lnTo>
                  <a:pt x="23" y="154"/>
                </a:lnTo>
                <a:lnTo>
                  <a:pt x="25" y="154"/>
                </a:lnTo>
                <a:lnTo>
                  <a:pt x="26" y="155"/>
                </a:lnTo>
                <a:lnTo>
                  <a:pt x="26" y="152"/>
                </a:lnTo>
                <a:lnTo>
                  <a:pt x="27" y="150"/>
                </a:lnTo>
                <a:lnTo>
                  <a:pt x="27" y="148"/>
                </a:lnTo>
                <a:lnTo>
                  <a:pt x="25" y="143"/>
                </a:lnTo>
                <a:lnTo>
                  <a:pt x="21" y="138"/>
                </a:lnTo>
                <a:lnTo>
                  <a:pt x="19" y="135"/>
                </a:lnTo>
                <a:lnTo>
                  <a:pt x="16" y="133"/>
                </a:lnTo>
                <a:lnTo>
                  <a:pt x="15" y="133"/>
                </a:lnTo>
                <a:lnTo>
                  <a:pt x="16" y="131"/>
                </a:lnTo>
                <a:lnTo>
                  <a:pt x="15" y="130"/>
                </a:lnTo>
                <a:lnTo>
                  <a:pt x="16" y="129"/>
                </a:lnTo>
                <a:lnTo>
                  <a:pt x="19" y="129"/>
                </a:lnTo>
                <a:lnTo>
                  <a:pt x="21" y="131"/>
                </a:lnTo>
                <a:lnTo>
                  <a:pt x="22" y="131"/>
                </a:lnTo>
                <a:lnTo>
                  <a:pt x="25" y="130"/>
                </a:lnTo>
                <a:lnTo>
                  <a:pt x="27" y="131"/>
                </a:lnTo>
                <a:lnTo>
                  <a:pt x="28" y="131"/>
                </a:lnTo>
                <a:lnTo>
                  <a:pt x="31" y="129"/>
                </a:lnTo>
                <a:lnTo>
                  <a:pt x="32" y="129"/>
                </a:lnTo>
                <a:lnTo>
                  <a:pt x="32" y="127"/>
                </a:lnTo>
                <a:lnTo>
                  <a:pt x="31" y="125"/>
                </a:lnTo>
                <a:lnTo>
                  <a:pt x="31" y="127"/>
                </a:lnTo>
                <a:lnTo>
                  <a:pt x="29" y="127"/>
                </a:lnTo>
                <a:lnTo>
                  <a:pt x="29" y="125"/>
                </a:lnTo>
                <a:lnTo>
                  <a:pt x="28" y="124"/>
                </a:lnTo>
                <a:lnTo>
                  <a:pt x="27" y="124"/>
                </a:lnTo>
                <a:lnTo>
                  <a:pt x="27" y="123"/>
                </a:lnTo>
                <a:lnTo>
                  <a:pt x="26" y="123"/>
                </a:lnTo>
                <a:lnTo>
                  <a:pt x="26" y="121"/>
                </a:lnTo>
                <a:lnTo>
                  <a:pt x="23" y="121"/>
                </a:lnTo>
                <a:lnTo>
                  <a:pt x="21" y="118"/>
                </a:lnTo>
                <a:lnTo>
                  <a:pt x="21" y="116"/>
                </a:lnTo>
                <a:lnTo>
                  <a:pt x="19" y="113"/>
                </a:lnTo>
                <a:lnTo>
                  <a:pt x="15" y="113"/>
                </a:lnTo>
                <a:lnTo>
                  <a:pt x="13" y="112"/>
                </a:lnTo>
                <a:lnTo>
                  <a:pt x="10" y="110"/>
                </a:lnTo>
                <a:lnTo>
                  <a:pt x="10" y="106"/>
                </a:lnTo>
                <a:lnTo>
                  <a:pt x="11" y="105"/>
                </a:lnTo>
                <a:lnTo>
                  <a:pt x="11" y="99"/>
                </a:lnTo>
                <a:lnTo>
                  <a:pt x="13" y="99"/>
                </a:lnTo>
                <a:lnTo>
                  <a:pt x="13" y="98"/>
                </a:lnTo>
                <a:lnTo>
                  <a:pt x="14" y="98"/>
                </a:lnTo>
                <a:lnTo>
                  <a:pt x="14" y="94"/>
                </a:lnTo>
                <a:lnTo>
                  <a:pt x="16" y="92"/>
                </a:lnTo>
                <a:lnTo>
                  <a:pt x="17" y="90"/>
                </a:lnTo>
                <a:lnTo>
                  <a:pt x="17" y="88"/>
                </a:lnTo>
                <a:lnTo>
                  <a:pt x="19" y="88"/>
                </a:lnTo>
                <a:lnTo>
                  <a:pt x="19" y="87"/>
                </a:lnTo>
                <a:lnTo>
                  <a:pt x="20" y="86"/>
                </a:lnTo>
                <a:lnTo>
                  <a:pt x="21" y="79"/>
                </a:lnTo>
                <a:lnTo>
                  <a:pt x="21" y="76"/>
                </a:lnTo>
                <a:lnTo>
                  <a:pt x="20" y="76"/>
                </a:lnTo>
                <a:lnTo>
                  <a:pt x="19" y="75"/>
                </a:lnTo>
                <a:lnTo>
                  <a:pt x="17" y="76"/>
                </a:lnTo>
                <a:lnTo>
                  <a:pt x="16" y="75"/>
                </a:lnTo>
                <a:lnTo>
                  <a:pt x="15" y="75"/>
                </a:lnTo>
                <a:lnTo>
                  <a:pt x="15" y="76"/>
                </a:lnTo>
                <a:lnTo>
                  <a:pt x="14" y="76"/>
                </a:lnTo>
                <a:lnTo>
                  <a:pt x="14" y="75"/>
                </a:lnTo>
                <a:lnTo>
                  <a:pt x="13" y="75"/>
                </a:lnTo>
                <a:lnTo>
                  <a:pt x="9" y="78"/>
                </a:lnTo>
                <a:lnTo>
                  <a:pt x="8" y="78"/>
                </a:lnTo>
                <a:lnTo>
                  <a:pt x="7" y="79"/>
                </a:lnTo>
                <a:lnTo>
                  <a:pt x="6" y="76"/>
                </a:lnTo>
                <a:lnTo>
                  <a:pt x="6" y="75"/>
                </a:lnTo>
                <a:lnTo>
                  <a:pt x="7" y="75"/>
                </a:lnTo>
                <a:lnTo>
                  <a:pt x="8" y="76"/>
                </a:lnTo>
                <a:lnTo>
                  <a:pt x="11" y="73"/>
                </a:lnTo>
                <a:lnTo>
                  <a:pt x="10" y="72"/>
                </a:lnTo>
                <a:lnTo>
                  <a:pt x="10" y="73"/>
                </a:lnTo>
                <a:lnTo>
                  <a:pt x="9" y="72"/>
                </a:lnTo>
                <a:lnTo>
                  <a:pt x="9" y="64"/>
                </a:lnTo>
                <a:lnTo>
                  <a:pt x="8" y="63"/>
                </a:lnTo>
                <a:lnTo>
                  <a:pt x="8" y="62"/>
                </a:lnTo>
                <a:lnTo>
                  <a:pt x="11" y="62"/>
                </a:lnTo>
                <a:lnTo>
                  <a:pt x="11" y="60"/>
                </a:lnTo>
                <a:lnTo>
                  <a:pt x="10" y="58"/>
                </a:lnTo>
                <a:lnTo>
                  <a:pt x="13" y="58"/>
                </a:lnTo>
                <a:lnTo>
                  <a:pt x="13" y="60"/>
                </a:lnTo>
                <a:lnTo>
                  <a:pt x="14" y="61"/>
                </a:lnTo>
                <a:lnTo>
                  <a:pt x="17" y="61"/>
                </a:lnTo>
                <a:lnTo>
                  <a:pt x="17" y="60"/>
                </a:lnTo>
                <a:lnTo>
                  <a:pt x="19" y="61"/>
                </a:lnTo>
                <a:lnTo>
                  <a:pt x="22" y="61"/>
                </a:lnTo>
                <a:lnTo>
                  <a:pt x="22" y="57"/>
                </a:lnTo>
                <a:lnTo>
                  <a:pt x="21" y="57"/>
                </a:lnTo>
                <a:lnTo>
                  <a:pt x="21" y="56"/>
                </a:lnTo>
                <a:lnTo>
                  <a:pt x="13" y="54"/>
                </a:lnTo>
                <a:lnTo>
                  <a:pt x="10" y="52"/>
                </a:lnTo>
                <a:lnTo>
                  <a:pt x="10" y="51"/>
                </a:lnTo>
                <a:lnTo>
                  <a:pt x="9" y="51"/>
                </a:lnTo>
                <a:lnTo>
                  <a:pt x="9" y="49"/>
                </a:lnTo>
                <a:lnTo>
                  <a:pt x="6" y="49"/>
                </a:lnTo>
                <a:lnTo>
                  <a:pt x="6" y="48"/>
                </a:lnTo>
                <a:lnTo>
                  <a:pt x="4" y="47"/>
                </a:lnTo>
                <a:lnTo>
                  <a:pt x="7" y="45"/>
                </a:lnTo>
                <a:lnTo>
                  <a:pt x="7" y="44"/>
                </a:lnTo>
                <a:lnTo>
                  <a:pt x="6" y="44"/>
                </a:lnTo>
                <a:lnTo>
                  <a:pt x="6" y="41"/>
                </a:lnTo>
                <a:lnTo>
                  <a:pt x="9" y="41"/>
                </a:lnTo>
                <a:lnTo>
                  <a:pt x="10" y="39"/>
                </a:lnTo>
                <a:lnTo>
                  <a:pt x="9" y="39"/>
                </a:lnTo>
                <a:lnTo>
                  <a:pt x="9" y="38"/>
                </a:lnTo>
                <a:lnTo>
                  <a:pt x="7" y="38"/>
                </a:lnTo>
                <a:lnTo>
                  <a:pt x="7" y="37"/>
                </a:lnTo>
                <a:lnTo>
                  <a:pt x="4" y="37"/>
                </a:lnTo>
                <a:lnTo>
                  <a:pt x="4" y="38"/>
                </a:lnTo>
                <a:lnTo>
                  <a:pt x="3" y="38"/>
                </a:lnTo>
                <a:lnTo>
                  <a:pt x="2" y="37"/>
                </a:lnTo>
                <a:lnTo>
                  <a:pt x="2" y="33"/>
                </a:lnTo>
                <a:lnTo>
                  <a:pt x="4" y="31"/>
                </a:lnTo>
                <a:lnTo>
                  <a:pt x="4" y="30"/>
                </a:lnTo>
                <a:lnTo>
                  <a:pt x="3" y="29"/>
                </a:lnTo>
                <a:lnTo>
                  <a:pt x="2" y="29"/>
                </a:lnTo>
                <a:lnTo>
                  <a:pt x="2" y="25"/>
                </a:lnTo>
                <a:lnTo>
                  <a:pt x="0" y="23"/>
                </a:lnTo>
                <a:lnTo>
                  <a:pt x="0" y="19"/>
                </a:lnTo>
                <a:lnTo>
                  <a:pt x="1" y="19"/>
                </a:lnTo>
                <a:lnTo>
                  <a:pt x="2" y="18"/>
                </a:lnTo>
                <a:lnTo>
                  <a:pt x="1" y="18"/>
                </a:lnTo>
                <a:lnTo>
                  <a:pt x="1" y="15"/>
                </a:lnTo>
                <a:lnTo>
                  <a:pt x="2" y="15"/>
                </a:lnTo>
                <a:lnTo>
                  <a:pt x="2" y="14"/>
                </a:lnTo>
                <a:lnTo>
                  <a:pt x="4" y="14"/>
                </a:lnTo>
                <a:lnTo>
                  <a:pt x="4" y="15"/>
                </a:lnTo>
                <a:lnTo>
                  <a:pt x="6" y="15"/>
                </a:lnTo>
                <a:lnTo>
                  <a:pt x="6" y="14"/>
                </a:lnTo>
                <a:lnTo>
                  <a:pt x="4" y="14"/>
                </a:lnTo>
                <a:lnTo>
                  <a:pt x="4" y="13"/>
                </a:lnTo>
                <a:lnTo>
                  <a:pt x="8" y="13"/>
                </a:lnTo>
                <a:lnTo>
                  <a:pt x="8" y="9"/>
                </a:lnTo>
                <a:lnTo>
                  <a:pt x="10" y="9"/>
                </a:lnTo>
                <a:lnTo>
                  <a:pt x="10" y="11"/>
                </a:lnTo>
                <a:lnTo>
                  <a:pt x="11" y="11"/>
                </a:lnTo>
                <a:lnTo>
                  <a:pt x="15" y="12"/>
                </a:lnTo>
                <a:lnTo>
                  <a:pt x="16" y="12"/>
                </a:lnTo>
                <a:lnTo>
                  <a:pt x="17" y="11"/>
                </a:lnTo>
                <a:lnTo>
                  <a:pt x="17" y="9"/>
                </a:lnTo>
                <a:lnTo>
                  <a:pt x="19" y="9"/>
                </a:lnTo>
                <a:lnTo>
                  <a:pt x="19" y="8"/>
                </a:lnTo>
                <a:lnTo>
                  <a:pt x="22" y="8"/>
                </a:lnTo>
                <a:lnTo>
                  <a:pt x="22" y="7"/>
                </a:lnTo>
                <a:lnTo>
                  <a:pt x="23" y="6"/>
                </a:lnTo>
                <a:lnTo>
                  <a:pt x="25" y="6"/>
                </a:lnTo>
                <a:lnTo>
                  <a:pt x="25" y="5"/>
                </a:lnTo>
                <a:lnTo>
                  <a:pt x="26" y="5"/>
                </a:lnTo>
                <a:lnTo>
                  <a:pt x="27" y="4"/>
                </a:lnTo>
                <a:lnTo>
                  <a:pt x="26" y="2"/>
                </a:lnTo>
                <a:lnTo>
                  <a:pt x="27" y="1"/>
                </a:lnTo>
                <a:lnTo>
                  <a:pt x="28" y="1"/>
                </a:lnTo>
                <a:lnTo>
                  <a:pt x="29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9" name="Freeform 18">
            <a:extLst>
              <a:ext uri="{FF2B5EF4-FFF2-40B4-BE49-F238E27FC236}">
                <a16:creationId xmlns:a16="http://schemas.microsoft.com/office/drawing/2014/main" id="{4EBFC7D7-15F6-4B81-8A38-ABD51E77DF2F}"/>
              </a:ext>
            </a:extLst>
          </p:cNvPr>
          <p:cNvSpPr>
            <a:spLocks noEditPoints="1"/>
          </p:cNvSpPr>
          <p:nvPr/>
        </p:nvSpPr>
        <p:spPr bwMode="auto">
          <a:xfrm>
            <a:off x="2431418" y="2181957"/>
            <a:ext cx="2584909" cy="3305033"/>
          </a:xfrm>
          <a:custGeom>
            <a:avLst/>
            <a:gdLst/>
            <a:ahLst/>
            <a:cxnLst>
              <a:cxn ang="0">
                <a:pos x="130" y="1431"/>
              </a:cxn>
              <a:cxn ang="0">
                <a:pos x="423" y="1007"/>
              </a:cxn>
              <a:cxn ang="0">
                <a:pos x="861" y="574"/>
              </a:cxn>
              <a:cxn ang="0">
                <a:pos x="1465" y="195"/>
              </a:cxn>
              <a:cxn ang="0">
                <a:pos x="1501" y="128"/>
              </a:cxn>
              <a:cxn ang="0">
                <a:pos x="1264" y="132"/>
              </a:cxn>
              <a:cxn ang="0">
                <a:pos x="566" y="43"/>
              </a:cxn>
              <a:cxn ang="0">
                <a:pos x="578" y="63"/>
              </a:cxn>
              <a:cxn ang="0">
                <a:pos x="655" y="92"/>
              </a:cxn>
              <a:cxn ang="0">
                <a:pos x="797" y="190"/>
              </a:cxn>
              <a:cxn ang="0">
                <a:pos x="914" y="318"/>
              </a:cxn>
              <a:cxn ang="0">
                <a:pos x="643" y="386"/>
              </a:cxn>
              <a:cxn ang="0">
                <a:pos x="555" y="333"/>
              </a:cxn>
              <a:cxn ang="0">
                <a:pos x="584" y="388"/>
              </a:cxn>
              <a:cxn ang="0">
                <a:pos x="635" y="455"/>
              </a:cxn>
              <a:cxn ang="0">
                <a:pos x="637" y="543"/>
              </a:cxn>
              <a:cxn ang="0">
                <a:pos x="690" y="628"/>
              </a:cxn>
              <a:cxn ang="0">
                <a:pos x="722" y="582"/>
              </a:cxn>
              <a:cxn ang="0">
                <a:pos x="796" y="573"/>
              </a:cxn>
              <a:cxn ang="0">
                <a:pos x="877" y="574"/>
              </a:cxn>
              <a:cxn ang="0">
                <a:pos x="1002" y="437"/>
              </a:cxn>
              <a:cxn ang="0">
                <a:pos x="1044" y="331"/>
              </a:cxn>
              <a:cxn ang="0">
                <a:pos x="1038" y="171"/>
              </a:cxn>
              <a:cxn ang="0">
                <a:pos x="1125" y="359"/>
              </a:cxn>
              <a:cxn ang="0">
                <a:pos x="1238" y="266"/>
              </a:cxn>
              <a:cxn ang="0">
                <a:pos x="1373" y="190"/>
              </a:cxn>
              <a:cxn ang="0">
                <a:pos x="1447" y="174"/>
              </a:cxn>
              <a:cxn ang="0">
                <a:pos x="1532" y="158"/>
              </a:cxn>
              <a:cxn ang="0">
                <a:pos x="1666" y="173"/>
              </a:cxn>
              <a:cxn ang="0">
                <a:pos x="1747" y="15"/>
              </a:cxn>
              <a:cxn ang="0">
                <a:pos x="1758" y="1511"/>
              </a:cxn>
              <a:cxn ang="0">
                <a:pos x="1718" y="1637"/>
              </a:cxn>
              <a:cxn ang="0">
                <a:pos x="1652" y="1700"/>
              </a:cxn>
              <a:cxn ang="0">
                <a:pos x="1549" y="1690"/>
              </a:cxn>
              <a:cxn ang="0">
                <a:pos x="1450" y="1672"/>
              </a:cxn>
              <a:cxn ang="0">
                <a:pos x="1333" y="1646"/>
              </a:cxn>
              <a:cxn ang="0">
                <a:pos x="1234" y="1745"/>
              </a:cxn>
              <a:cxn ang="0">
                <a:pos x="1157" y="1877"/>
              </a:cxn>
              <a:cxn ang="0">
                <a:pos x="1233" y="1996"/>
              </a:cxn>
              <a:cxn ang="0">
                <a:pos x="1180" y="2015"/>
              </a:cxn>
              <a:cxn ang="0">
                <a:pos x="1150" y="2077"/>
              </a:cxn>
              <a:cxn ang="0">
                <a:pos x="1178" y="2164"/>
              </a:cxn>
              <a:cxn ang="0">
                <a:pos x="1153" y="2256"/>
              </a:cxn>
              <a:cxn ang="0">
                <a:pos x="1026" y="2205"/>
              </a:cxn>
              <a:cxn ang="0">
                <a:pos x="844" y="2141"/>
              </a:cxn>
              <a:cxn ang="0">
                <a:pos x="724" y="2039"/>
              </a:cxn>
              <a:cxn ang="0">
                <a:pos x="765" y="2018"/>
              </a:cxn>
              <a:cxn ang="0">
                <a:pos x="799" y="1961"/>
              </a:cxn>
              <a:cxn ang="0">
                <a:pos x="784" y="1928"/>
              </a:cxn>
              <a:cxn ang="0">
                <a:pos x="858" y="1823"/>
              </a:cxn>
              <a:cxn ang="0">
                <a:pos x="780" y="1754"/>
              </a:cxn>
              <a:cxn ang="0">
                <a:pos x="664" y="1680"/>
              </a:cxn>
              <a:cxn ang="0">
                <a:pos x="583" y="1592"/>
              </a:cxn>
              <a:cxn ang="0">
                <a:pos x="498" y="1532"/>
              </a:cxn>
              <a:cxn ang="0">
                <a:pos x="493" y="1458"/>
              </a:cxn>
              <a:cxn ang="0">
                <a:pos x="432" y="1340"/>
              </a:cxn>
              <a:cxn ang="0">
                <a:pos x="343" y="1246"/>
              </a:cxn>
              <a:cxn ang="0">
                <a:pos x="358" y="1026"/>
              </a:cxn>
              <a:cxn ang="0">
                <a:pos x="373" y="960"/>
              </a:cxn>
              <a:cxn ang="0">
                <a:pos x="417" y="883"/>
              </a:cxn>
              <a:cxn ang="0">
                <a:pos x="442" y="614"/>
              </a:cxn>
              <a:cxn ang="0">
                <a:pos x="399" y="361"/>
              </a:cxn>
              <a:cxn ang="0">
                <a:pos x="460" y="52"/>
              </a:cxn>
            </a:cxnLst>
            <a:rect l="0" t="0" r="r" b="b"/>
            <a:pathLst>
              <a:path w="1784" h="2281">
                <a:moveTo>
                  <a:pt x="1190" y="2120"/>
                </a:moveTo>
                <a:lnTo>
                  <a:pt x="1190" y="2121"/>
                </a:lnTo>
                <a:lnTo>
                  <a:pt x="1192" y="2121"/>
                </a:lnTo>
                <a:lnTo>
                  <a:pt x="1187" y="2125"/>
                </a:lnTo>
                <a:lnTo>
                  <a:pt x="1184" y="2125"/>
                </a:lnTo>
                <a:lnTo>
                  <a:pt x="1183" y="2124"/>
                </a:lnTo>
                <a:lnTo>
                  <a:pt x="1182" y="2124"/>
                </a:lnTo>
                <a:lnTo>
                  <a:pt x="1181" y="2122"/>
                </a:lnTo>
                <a:lnTo>
                  <a:pt x="1182" y="2121"/>
                </a:lnTo>
                <a:lnTo>
                  <a:pt x="1189" y="2121"/>
                </a:lnTo>
                <a:lnTo>
                  <a:pt x="1190" y="2120"/>
                </a:lnTo>
                <a:close/>
                <a:moveTo>
                  <a:pt x="757" y="2043"/>
                </a:moveTo>
                <a:lnTo>
                  <a:pt x="758" y="2045"/>
                </a:lnTo>
                <a:lnTo>
                  <a:pt x="759" y="2043"/>
                </a:lnTo>
                <a:lnTo>
                  <a:pt x="757" y="2043"/>
                </a:lnTo>
                <a:close/>
                <a:moveTo>
                  <a:pt x="1194" y="2023"/>
                </a:moveTo>
                <a:lnTo>
                  <a:pt x="1195" y="2023"/>
                </a:lnTo>
                <a:lnTo>
                  <a:pt x="1195" y="2026"/>
                </a:lnTo>
                <a:lnTo>
                  <a:pt x="1196" y="2027"/>
                </a:lnTo>
                <a:lnTo>
                  <a:pt x="1196" y="2029"/>
                </a:lnTo>
                <a:lnTo>
                  <a:pt x="1198" y="2030"/>
                </a:lnTo>
                <a:lnTo>
                  <a:pt x="1198" y="2035"/>
                </a:lnTo>
                <a:lnTo>
                  <a:pt x="1196" y="2035"/>
                </a:lnTo>
                <a:lnTo>
                  <a:pt x="1196" y="2034"/>
                </a:lnTo>
                <a:lnTo>
                  <a:pt x="1195" y="2033"/>
                </a:lnTo>
                <a:lnTo>
                  <a:pt x="1195" y="2032"/>
                </a:lnTo>
                <a:lnTo>
                  <a:pt x="1194" y="2029"/>
                </a:lnTo>
                <a:lnTo>
                  <a:pt x="1194" y="2023"/>
                </a:lnTo>
                <a:close/>
                <a:moveTo>
                  <a:pt x="1231" y="1993"/>
                </a:moveTo>
                <a:lnTo>
                  <a:pt x="1232" y="1995"/>
                </a:lnTo>
                <a:lnTo>
                  <a:pt x="1232" y="1993"/>
                </a:lnTo>
                <a:lnTo>
                  <a:pt x="1231" y="1993"/>
                </a:lnTo>
                <a:close/>
                <a:moveTo>
                  <a:pt x="72" y="1381"/>
                </a:moveTo>
                <a:lnTo>
                  <a:pt x="74" y="1381"/>
                </a:lnTo>
                <a:lnTo>
                  <a:pt x="75" y="1382"/>
                </a:lnTo>
                <a:lnTo>
                  <a:pt x="77" y="1387"/>
                </a:lnTo>
                <a:lnTo>
                  <a:pt x="80" y="1388"/>
                </a:lnTo>
                <a:lnTo>
                  <a:pt x="83" y="1388"/>
                </a:lnTo>
                <a:lnTo>
                  <a:pt x="86" y="1389"/>
                </a:lnTo>
                <a:lnTo>
                  <a:pt x="89" y="1393"/>
                </a:lnTo>
                <a:lnTo>
                  <a:pt x="93" y="1394"/>
                </a:lnTo>
                <a:lnTo>
                  <a:pt x="94" y="1395"/>
                </a:lnTo>
                <a:lnTo>
                  <a:pt x="95" y="1395"/>
                </a:lnTo>
                <a:lnTo>
                  <a:pt x="96" y="1396"/>
                </a:lnTo>
                <a:lnTo>
                  <a:pt x="99" y="1396"/>
                </a:lnTo>
                <a:lnTo>
                  <a:pt x="99" y="1395"/>
                </a:lnTo>
                <a:lnTo>
                  <a:pt x="100" y="1395"/>
                </a:lnTo>
                <a:lnTo>
                  <a:pt x="101" y="1396"/>
                </a:lnTo>
                <a:lnTo>
                  <a:pt x="101" y="1399"/>
                </a:lnTo>
                <a:lnTo>
                  <a:pt x="102" y="1400"/>
                </a:lnTo>
                <a:lnTo>
                  <a:pt x="105" y="1400"/>
                </a:lnTo>
                <a:lnTo>
                  <a:pt x="106" y="1399"/>
                </a:lnTo>
                <a:lnTo>
                  <a:pt x="111" y="1397"/>
                </a:lnTo>
                <a:lnTo>
                  <a:pt x="112" y="1397"/>
                </a:lnTo>
                <a:lnTo>
                  <a:pt x="119" y="1399"/>
                </a:lnTo>
                <a:lnTo>
                  <a:pt x="122" y="1396"/>
                </a:lnTo>
                <a:lnTo>
                  <a:pt x="125" y="1399"/>
                </a:lnTo>
                <a:lnTo>
                  <a:pt x="125" y="1400"/>
                </a:lnTo>
                <a:lnTo>
                  <a:pt x="126" y="1403"/>
                </a:lnTo>
                <a:lnTo>
                  <a:pt x="126" y="1405"/>
                </a:lnTo>
                <a:lnTo>
                  <a:pt x="127" y="1406"/>
                </a:lnTo>
                <a:lnTo>
                  <a:pt x="131" y="1406"/>
                </a:lnTo>
                <a:lnTo>
                  <a:pt x="131" y="1407"/>
                </a:lnTo>
                <a:lnTo>
                  <a:pt x="132" y="1407"/>
                </a:lnTo>
                <a:lnTo>
                  <a:pt x="131" y="1408"/>
                </a:lnTo>
                <a:lnTo>
                  <a:pt x="132" y="1409"/>
                </a:lnTo>
                <a:lnTo>
                  <a:pt x="134" y="1410"/>
                </a:lnTo>
                <a:lnTo>
                  <a:pt x="136" y="1412"/>
                </a:lnTo>
                <a:lnTo>
                  <a:pt x="136" y="1419"/>
                </a:lnTo>
                <a:lnTo>
                  <a:pt x="134" y="1419"/>
                </a:lnTo>
                <a:lnTo>
                  <a:pt x="133" y="1420"/>
                </a:lnTo>
                <a:lnTo>
                  <a:pt x="133" y="1421"/>
                </a:lnTo>
                <a:lnTo>
                  <a:pt x="132" y="1421"/>
                </a:lnTo>
                <a:lnTo>
                  <a:pt x="132" y="1422"/>
                </a:lnTo>
                <a:lnTo>
                  <a:pt x="131" y="1422"/>
                </a:lnTo>
                <a:lnTo>
                  <a:pt x="131" y="1424"/>
                </a:lnTo>
                <a:lnTo>
                  <a:pt x="130" y="1425"/>
                </a:lnTo>
                <a:lnTo>
                  <a:pt x="130" y="1431"/>
                </a:lnTo>
                <a:lnTo>
                  <a:pt x="128" y="1433"/>
                </a:lnTo>
                <a:lnTo>
                  <a:pt x="128" y="1443"/>
                </a:lnTo>
                <a:lnTo>
                  <a:pt x="130" y="1445"/>
                </a:lnTo>
                <a:lnTo>
                  <a:pt x="132" y="1449"/>
                </a:lnTo>
                <a:lnTo>
                  <a:pt x="130" y="1450"/>
                </a:lnTo>
                <a:lnTo>
                  <a:pt x="121" y="1450"/>
                </a:lnTo>
                <a:lnTo>
                  <a:pt x="112" y="1449"/>
                </a:lnTo>
                <a:lnTo>
                  <a:pt x="88" y="1448"/>
                </a:lnTo>
                <a:lnTo>
                  <a:pt x="70" y="1448"/>
                </a:lnTo>
                <a:lnTo>
                  <a:pt x="55" y="1446"/>
                </a:lnTo>
                <a:lnTo>
                  <a:pt x="31" y="1445"/>
                </a:lnTo>
                <a:lnTo>
                  <a:pt x="14" y="1444"/>
                </a:lnTo>
                <a:lnTo>
                  <a:pt x="2" y="1444"/>
                </a:lnTo>
                <a:lnTo>
                  <a:pt x="0" y="1443"/>
                </a:lnTo>
                <a:lnTo>
                  <a:pt x="0" y="1442"/>
                </a:lnTo>
                <a:lnTo>
                  <a:pt x="4" y="1437"/>
                </a:lnTo>
                <a:lnTo>
                  <a:pt x="8" y="1432"/>
                </a:lnTo>
                <a:lnTo>
                  <a:pt x="10" y="1427"/>
                </a:lnTo>
                <a:lnTo>
                  <a:pt x="12" y="1427"/>
                </a:lnTo>
                <a:lnTo>
                  <a:pt x="12" y="1424"/>
                </a:lnTo>
                <a:lnTo>
                  <a:pt x="13" y="1422"/>
                </a:lnTo>
                <a:lnTo>
                  <a:pt x="14" y="1420"/>
                </a:lnTo>
                <a:lnTo>
                  <a:pt x="14" y="1415"/>
                </a:lnTo>
                <a:lnTo>
                  <a:pt x="13" y="1412"/>
                </a:lnTo>
                <a:lnTo>
                  <a:pt x="13" y="1407"/>
                </a:lnTo>
                <a:lnTo>
                  <a:pt x="15" y="1405"/>
                </a:lnTo>
                <a:lnTo>
                  <a:pt x="16" y="1406"/>
                </a:lnTo>
                <a:lnTo>
                  <a:pt x="33" y="1406"/>
                </a:lnTo>
                <a:lnTo>
                  <a:pt x="37" y="1405"/>
                </a:lnTo>
                <a:lnTo>
                  <a:pt x="43" y="1399"/>
                </a:lnTo>
                <a:lnTo>
                  <a:pt x="50" y="1389"/>
                </a:lnTo>
                <a:lnTo>
                  <a:pt x="51" y="1389"/>
                </a:lnTo>
                <a:lnTo>
                  <a:pt x="55" y="1382"/>
                </a:lnTo>
                <a:lnTo>
                  <a:pt x="57" y="1382"/>
                </a:lnTo>
                <a:lnTo>
                  <a:pt x="56" y="1383"/>
                </a:lnTo>
                <a:lnTo>
                  <a:pt x="56" y="1384"/>
                </a:lnTo>
                <a:lnTo>
                  <a:pt x="55" y="1385"/>
                </a:lnTo>
                <a:lnTo>
                  <a:pt x="53" y="1385"/>
                </a:lnTo>
                <a:lnTo>
                  <a:pt x="53" y="1388"/>
                </a:lnTo>
                <a:lnTo>
                  <a:pt x="52" y="1388"/>
                </a:lnTo>
                <a:lnTo>
                  <a:pt x="52" y="1389"/>
                </a:lnTo>
                <a:lnTo>
                  <a:pt x="51" y="1391"/>
                </a:lnTo>
                <a:lnTo>
                  <a:pt x="49" y="1394"/>
                </a:lnTo>
                <a:lnTo>
                  <a:pt x="45" y="1399"/>
                </a:lnTo>
                <a:lnTo>
                  <a:pt x="39" y="1403"/>
                </a:lnTo>
                <a:lnTo>
                  <a:pt x="39" y="1405"/>
                </a:lnTo>
                <a:lnTo>
                  <a:pt x="38" y="1405"/>
                </a:lnTo>
                <a:lnTo>
                  <a:pt x="38" y="1406"/>
                </a:lnTo>
                <a:lnTo>
                  <a:pt x="39" y="1406"/>
                </a:lnTo>
                <a:lnTo>
                  <a:pt x="39" y="1407"/>
                </a:lnTo>
                <a:lnTo>
                  <a:pt x="40" y="1407"/>
                </a:lnTo>
                <a:lnTo>
                  <a:pt x="47" y="1406"/>
                </a:lnTo>
                <a:lnTo>
                  <a:pt x="50" y="1407"/>
                </a:lnTo>
                <a:lnTo>
                  <a:pt x="52" y="1409"/>
                </a:lnTo>
                <a:lnTo>
                  <a:pt x="62" y="1409"/>
                </a:lnTo>
                <a:lnTo>
                  <a:pt x="63" y="1408"/>
                </a:lnTo>
                <a:lnTo>
                  <a:pt x="66" y="1408"/>
                </a:lnTo>
                <a:lnTo>
                  <a:pt x="68" y="1407"/>
                </a:lnTo>
                <a:lnTo>
                  <a:pt x="68" y="1401"/>
                </a:lnTo>
                <a:lnTo>
                  <a:pt x="66" y="1393"/>
                </a:lnTo>
                <a:lnTo>
                  <a:pt x="66" y="1391"/>
                </a:lnTo>
                <a:lnTo>
                  <a:pt x="65" y="1390"/>
                </a:lnTo>
                <a:lnTo>
                  <a:pt x="65" y="1388"/>
                </a:lnTo>
                <a:lnTo>
                  <a:pt x="66" y="1387"/>
                </a:lnTo>
                <a:lnTo>
                  <a:pt x="68" y="1387"/>
                </a:lnTo>
                <a:lnTo>
                  <a:pt x="68" y="1388"/>
                </a:lnTo>
                <a:lnTo>
                  <a:pt x="69" y="1388"/>
                </a:lnTo>
                <a:lnTo>
                  <a:pt x="69" y="1387"/>
                </a:lnTo>
                <a:lnTo>
                  <a:pt x="70" y="1385"/>
                </a:lnTo>
                <a:lnTo>
                  <a:pt x="69" y="1384"/>
                </a:lnTo>
                <a:lnTo>
                  <a:pt x="72" y="1381"/>
                </a:lnTo>
                <a:close/>
                <a:moveTo>
                  <a:pt x="423" y="1007"/>
                </a:moveTo>
                <a:lnTo>
                  <a:pt x="425" y="1007"/>
                </a:lnTo>
                <a:lnTo>
                  <a:pt x="429" y="1009"/>
                </a:lnTo>
                <a:lnTo>
                  <a:pt x="429" y="1010"/>
                </a:lnTo>
                <a:lnTo>
                  <a:pt x="426" y="1009"/>
                </a:lnTo>
                <a:lnTo>
                  <a:pt x="425" y="1008"/>
                </a:lnTo>
                <a:lnTo>
                  <a:pt x="423" y="1007"/>
                </a:lnTo>
                <a:close/>
                <a:moveTo>
                  <a:pt x="345" y="1007"/>
                </a:moveTo>
                <a:lnTo>
                  <a:pt x="347" y="1007"/>
                </a:lnTo>
                <a:lnTo>
                  <a:pt x="348" y="1008"/>
                </a:lnTo>
                <a:lnTo>
                  <a:pt x="349" y="1008"/>
                </a:lnTo>
                <a:lnTo>
                  <a:pt x="349" y="1009"/>
                </a:lnTo>
                <a:lnTo>
                  <a:pt x="348" y="1009"/>
                </a:lnTo>
                <a:lnTo>
                  <a:pt x="345" y="1010"/>
                </a:lnTo>
                <a:lnTo>
                  <a:pt x="345" y="1007"/>
                </a:lnTo>
                <a:close/>
                <a:moveTo>
                  <a:pt x="308" y="1001"/>
                </a:moveTo>
                <a:lnTo>
                  <a:pt x="310" y="1001"/>
                </a:lnTo>
                <a:lnTo>
                  <a:pt x="311" y="1002"/>
                </a:lnTo>
                <a:lnTo>
                  <a:pt x="311" y="1003"/>
                </a:lnTo>
                <a:lnTo>
                  <a:pt x="312" y="1004"/>
                </a:lnTo>
                <a:lnTo>
                  <a:pt x="312" y="1008"/>
                </a:lnTo>
                <a:lnTo>
                  <a:pt x="311" y="1008"/>
                </a:lnTo>
                <a:lnTo>
                  <a:pt x="311" y="1007"/>
                </a:lnTo>
                <a:lnTo>
                  <a:pt x="310" y="1007"/>
                </a:lnTo>
                <a:lnTo>
                  <a:pt x="310" y="1004"/>
                </a:lnTo>
                <a:lnTo>
                  <a:pt x="308" y="1001"/>
                </a:lnTo>
                <a:close/>
                <a:moveTo>
                  <a:pt x="376" y="979"/>
                </a:moveTo>
                <a:lnTo>
                  <a:pt x="378" y="979"/>
                </a:lnTo>
                <a:lnTo>
                  <a:pt x="378" y="981"/>
                </a:lnTo>
                <a:lnTo>
                  <a:pt x="380" y="981"/>
                </a:lnTo>
                <a:lnTo>
                  <a:pt x="384" y="984"/>
                </a:lnTo>
                <a:lnTo>
                  <a:pt x="384" y="985"/>
                </a:lnTo>
                <a:lnTo>
                  <a:pt x="382" y="985"/>
                </a:lnTo>
                <a:lnTo>
                  <a:pt x="382" y="986"/>
                </a:lnTo>
                <a:lnTo>
                  <a:pt x="380" y="986"/>
                </a:lnTo>
                <a:lnTo>
                  <a:pt x="376" y="983"/>
                </a:lnTo>
                <a:lnTo>
                  <a:pt x="376" y="979"/>
                </a:lnTo>
                <a:close/>
                <a:moveTo>
                  <a:pt x="372" y="978"/>
                </a:moveTo>
                <a:lnTo>
                  <a:pt x="374" y="978"/>
                </a:lnTo>
                <a:lnTo>
                  <a:pt x="374" y="979"/>
                </a:lnTo>
                <a:lnTo>
                  <a:pt x="375" y="979"/>
                </a:lnTo>
                <a:lnTo>
                  <a:pt x="375" y="983"/>
                </a:lnTo>
                <a:lnTo>
                  <a:pt x="374" y="983"/>
                </a:lnTo>
                <a:lnTo>
                  <a:pt x="374" y="982"/>
                </a:lnTo>
                <a:lnTo>
                  <a:pt x="372" y="979"/>
                </a:lnTo>
                <a:lnTo>
                  <a:pt x="372" y="978"/>
                </a:lnTo>
                <a:close/>
                <a:moveTo>
                  <a:pt x="378" y="954"/>
                </a:moveTo>
                <a:lnTo>
                  <a:pt x="380" y="954"/>
                </a:lnTo>
                <a:lnTo>
                  <a:pt x="380" y="958"/>
                </a:lnTo>
                <a:lnTo>
                  <a:pt x="379" y="960"/>
                </a:lnTo>
                <a:lnTo>
                  <a:pt x="378" y="959"/>
                </a:lnTo>
                <a:lnTo>
                  <a:pt x="378" y="958"/>
                </a:lnTo>
                <a:lnTo>
                  <a:pt x="376" y="957"/>
                </a:lnTo>
                <a:lnTo>
                  <a:pt x="378" y="955"/>
                </a:lnTo>
                <a:lnTo>
                  <a:pt x="378" y="954"/>
                </a:lnTo>
                <a:close/>
                <a:moveTo>
                  <a:pt x="687" y="608"/>
                </a:moveTo>
                <a:lnTo>
                  <a:pt x="692" y="613"/>
                </a:lnTo>
                <a:lnTo>
                  <a:pt x="692" y="615"/>
                </a:lnTo>
                <a:lnTo>
                  <a:pt x="691" y="616"/>
                </a:lnTo>
                <a:lnTo>
                  <a:pt x="690" y="616"/>
                </a:lnTo>
                <a:lnTo>
                  <a:pt x="685" y="611"/>
                </a:lnTo>
                <a:lnTo>
                  <a:pt x="685" y="609"/>
                </a:lnTo>
                <a:lnTo>
                  <a:pt x="686" y="609"/>
                </a:lnTo>
                <a:lnTo>
                  <a:pt x="687" y="608"/>
                </a:lnTo>
                <a:close/>
                <a:moveTo>
                  <a:pt x="858" y="576"/>
                </a:moveTo>
                <a:lnTo>
                  <a:pt x="859" y="576"/>
                </a:lnTo>
                <a:lnTo>
                  <a:pt x="859" y="577"/>
                </a:lnTo>
                <a:lnTo>
                  <a:pt x="857" y="578"/>
                </a:lnTo>
                <a:lnTo>
                  <a:pt x="858" y="576"/>
                </a:lnTo>
                <a:close/>
                <a:moveTo>
                  <a:pt x="864" y="572"/>
                </a:moveTo>
                <a:lnTo>
                  <a:pt x="869" y="572"/>
                </a:lnTo>
                <a:lnTo>
                  <a:pt x="873" y="573"/>
                </a:lnTo>
                <a:lnTo>
                  <a:pt x="875" y="574"/>
                </a:lnTo>
                <a:lnTo>
                  <a:pt x="877" y="579"/>
                </a:lnTo>
                <a:lnTo>
                  <a:pt x="877" y="586"/>
                </a:lnTo>
                <a:lnTo>
                  <a:pt x="876" y="588"/>
                </a:lnTo>
                <a:lnTo>
                  <a:pt x="873" y="586"/>
                </a:lnTo>
                <a:lnTo>
                  <a:pt x="872" y="585"/>
                </a:lnTo>
                <a:lnTo>
                  <a:pt x="872" y="583"/>
                </a:lnTo>
                <a:lnTo>
                  <a:pt x="870" y="580"/>
                </a:lnTo>
                <a:lnTo>
                  <a:pt x="869" y="578"/>
                </a:lnTo>
                <a:lnTo>
                  <a:pt x="867" y="578"/>
                </a:lnTo>
                <a:lnTo>
                  <a:pt x="866" y="577"/>
                </a:lnTo>
                <a:lnTo>
                  <a:pt x="863" y="574"/>
                </a:lnTo>
                <a:lnTo>
                  <a:pt x="861" y="574"/>
                </a:lnTo>
                <a:lnTo>
                  <a:pt x="861" y="573"/>
                </a:lnTo>
                <a:lnTo>
                  <a:pt x="864" y="572"/>
                </a:lnTo>
                <a:close/>
                <a:moveTo>
                  <a:pt x="687" y="545"/>
                </a:moveTo>
                <a:lnTo>
                  <a:pt x="691" y="545"/>
                </a:lnTo>
                <a:lnTo>
                  <a:pt x="691" y="546"/>
                </a:lnTo>
                <a:lnTo>
                  <a:pt x="692" y="546"/>
                </a:lnTo>
                <a:lnTo>
                  <a:pt x="692" y="547"/>
                </a:lnTo>
                <a:lnTo>
                  <a:pt x="691" y="548"/>
                </a:lnTo>
                <a:lnTo>
                  <a:pt x="686" y="548"/>
                </a:lnTo>
                <a:lnTo>
                  <a:pt x="686" y="546"/>
                </a:lnTo>
                <a:lnTo>
                  <a:pt x="687" y="545"/>
                </a:lnTo>
                <a:close/>
                <a:moveTo>
                  <a:pt x="679" y="533"/>
                </a:moveTo>
                <a:lnTo>
                  <a:pt x="681" y="534"/>
                </a:lnTo>
                <a:lnTo>
                  <a:pt x="683" y="535"/>
                </a:lnTo>
                <a:lnTo>
                  <a:pt x="685" y="542"/>
                </a:lnTo>
                <a:lnTo>
                  <a:pt x="685" y="545"/>
                </a:lnTo>
                <a:lnTo>
                  <a:pt x="684" y="543"/>
                </a:lnTo>
                <a:lnTo>
                  <a:pt x="683" y="541"/>
                </a:lnTo>
                <a:lnTo>
                  <a:pt x="683" y="539"/>
                </a:lnTo>
                <a:lnTo>
                  <a:pt x="681" y="541"/>
                </a:lnTo>
                <a:lnTo>
                  <a:pt x="681" y="543"/>
                </a:lnTo>
                <a:lnTo>
                  <a:pt x="684" y="546"/>
                </a:lnTo>
                <a:lnTo>
                  <a:pt x="685" y="546"/>
                </a:lnTo>
                <a:lnTo>
                  <a:pt x="685" y="551"/>
                </a:lnTo>
                <a:lnTo>
                  <a:pt x="684" y="551"/>
                </a:lnTo>
                <a:lnTo>
                  <a:pt x="684" y="552"/>
                </a:lnTo>
                <a:lnTo>
                  <a:pt x="683" y="553"/>
                </a:lnTo>
                <a:lnTo>
                  <a:pt x="680" y="554"/>
                </a:lnTo>
                <a:lnTo>
                  <a:pt x="679" y="553"/>
                </a:lnTo>
                <a:lnTo>
                  <a:pt x="679" y="548"/>
                </a:lnTo>
                <a:lnTo>
                  <a:pt x="678" y="547"/>
                </a:lnTo>
                <a:lnTo>
                  <a:pt x="674" y="547"/>
                </a:lnTo>
                <a:lnTo>
                  <a:pt x="672" y="546"/>
                </a:lnTo>
                <a:lnTo>
                  <a:pt x="670" y="541"/>
                </a:lnTo>
                <a:lnTo>
                  <a:pt x="670" y="539"/>
                </a:lnTo>
                <a:lnTo>
                  <a:pt x="671" y="536"/>
                </a:lnTo>
                <a:lnTo>
                  <a:pt x="672" y="535"/>
                </a:lnTo>
                <a:lnTo>
                  <a:pt x="676" y="535"/>
                </a:lnTo>
                <a:lnTo>
                  <a:pt x="677" y="534"/>
                </a:lnTo>
                <a:lnTo>
                  <a:pt x="678" y="534"/>
                </a:lnTo>
                <a:lnTo>
                  <a:pt x="679" y="533"/>
                </a:lnTo>
                <a:close/>
                <a:moveTo>
                  <a:pt x="690" y="531"/>
                </a:moveTo>
                <a:lnTo>
                  <a:pt x="691" y="531"/>
                </a:lnTo>
                <a:lnTo>
                  <a:pt x="691" y="533"/>
                </a:lnTo>
                <a:lnTo>
                  <a:pt x="692" y="533"/>
                </a:lnTo>
                <a:lnTo>
                  <a:pt x="692" y="534"/>
                </a:lnTo>
                <a:lnTo>
                  <a:pt x="693" y="534"/>
                </a:lnTo>
                <a:lnTo>
                  <a:pt x="693" y="535"/>
                </a:lnTo>
                <a:lnTo>
                  <a:pt x="702" y="535"/>
                </a:lnTo>
                <a:lnTo>
                  <a:pt x="701" y="536"/>
                </a:lnTo>
                <a:lnTo>
                  <a:pt x="697" y="536"/>
                </a:lnTo>
                <a:lnTo>
                  <a:pt x="695" y="537"/>
                </a:lnTo>
                <a:lnTo>
                  <a:pt x="692" y="537"/>
                </a:lnTo>
                <a:lnTo>
                  <a:pt x="689" y="536"/>
                </a:lnTo>
                <a:lnTo>
                  <a:pt x="689" y="533"/>
                </a:lnTo>
                <a:lnTo>
                  <a:pt x="690" y="531"/>
                </a:lnTo>
                <a:close/>
                <a:moveTo>
                  <a:pt x="963" y="367"/>
                </a:moveTo>
                <a:lnTo>
                  <a:pt x="966" y="367"/>
                </a:lnTo>
                <a:lnTo>
                  <a:pt x="971" y="369"/>
                </a:lnTo>
                <a:lnTo>
                  <a:pt x="971" y="370"/>
                </a:lnTo>
                <a:lnTo>
                  <a:pt x="972" y="373"/>
                </a:lnTo>
                <a:lnTo>
                  <a:pt x="972" y="379"/>
                </a:lnTo>
                <a:lnTo>
                  <a:pt x="971" y="379"/>
                </a:lnTo>
                <a:lnTo>
                  <a:pt x="969" y="377"/>
                </a:lnTo>
                <a:lnTo>
                  <a:pt x="964" y="374"/>
                </a:lnTo>
                <a:lnTo>
                  <a:pt x="962" y="369"/>
                </a:lnTo>
                <a:lnTo>
                  <a:pt x="963" y="367"/>
                </a:lnTo>
                <a:close/>
                <a:moveTo>
                  <a:pt x="537" y="327"/>
                </a:moveTo>
                <a:lnTo>
                  <a:pt x="537" y="328"/>
                </a:lnTo>
                <a:lnTo>
                  <a:pt x="538" y="328"/>
                </a:lnTo>
                <a:lnTo>
                  <a:pt x="540" y="330"/>
                </a:lnTo>
                <a:lnTo>
                  <a:pt x="540" y="331"/>
                </a:lnTo>
                <a:lnTo>
                  <a:pt x="538" y="332"/>
                </a:lnTo>
                <a:lnTo>
                  <a:pt x="536" y="330"/>
                </a:lnTo>
                <a:lnTo>
                  <a:pt x="536" y="328"/>
                </a:lnTo>
                <a:lnTo>
                  <a:pt x="537" y="327"/>
                </a:lnTo>
                <a:close/>
                <a:moveTo>
                  <a:pt x="1463" y="195"/>
                </a:moveTo>
                <a:lnTo>
                  <a:pt x="1465" y="195"/>
                </a:lnTo>
                <a:lnTo>
                  <a:pt x="1465" y="196"/>
                </a:lnTo>
                <a:lnTo>
                  <a:pt x="1463" y="196"/>
                </a:lnTo>
                <a:lnTo>
                  <a:pt x="1463" y="197"/>
                </a:lnTo>
                <a:lnTo>
                  <a:pt x="1465" y="197"/>
                </a:lnTo>
                <a:lnTo>
                  <a:pt x="1465" y="203"/>
                </a:lnTo>
                <a:lnTo>
                  <a:pt x="1463" y="203"/>
                </a:lnTo>
                <a:lnTo>
                  <a:pt x="1460" y="204"/>
                </a:lnTo>
                <a:lnTo>
                  <a:pt x="1459" y="204"/>
                </a:lnTo>
                <a:lnTo>
                  <a:pt x="1459" y="201"/>
                </a:lnTo>
                <a:lnTo>
                  <a:pt x="1460" y="199"/>
                </a:lnTo>
                <a:lnTo>
                  <a:pt x="1460" y="198"/>
                </a:lnTo>
                <a:lnTo>
                  <a:pt x="1463" y="195"/>
                </a:lnTo>
                <a:close/>
                <a:moveTo>
                  <a:pt x="1447" y="191"/>
                </a:moveTo>
                <a:lnTo>
                  <a:pt x="1449" y="191"/>
                </a:lnTo>
                <a:lnTo>
                  <a:pt x="1450" y="193"/>
                </a:lnTo>
                <a:lnTo>
                  <a:pt x="1449" y="196"/>
                </a:lnTo>
                <a:lnTo>
                  <a:pt x="1449" y="199"/>
                </a:lnTo>
                <a:lnTo>
                  <a:pt x="1447" y="199"/>
                </a:lnTo>
                <a:lnTo>
                  <a:pt x="1444" y="197"/>
                </a:lnTo>
                <a:lnTo>
                  <a:pt x="1444" y="193"/>
                </a:lnTo>
                <a:lnTo>
                  <a:pt x="1447" y="191"/>
                </a:lnTo>
                <a:close/>
                <a:moveTo>
                  <a:pt x="1331" y="175"/>
                </a:moveTo>
                <a:lnTo>
                  <a:pt x="1336" y="175"/>
                </a:lnTo>
                <a:lnTo>
                  <a:pt x="1344" y="177"/>
                </a:lnTo>
                <a:lnTo>
                  <a:pt x="1343" y="178"/>
                </a:lnTo>
                <a:lnTo>
                  <a:pt x="1331" y="180"/>
                </a:lnTo>
                <a:lnTo>
                  <a:pt x="1327" y="184"/>
                </a:lnTo>
                <a:lnTo>
                  <a:pt x="1324" y="184"/>
                </a:lnTo>
                <a:lnTo>
                  <a:pt x="1322" y="187"/>
                </a:lnTo>
                <a:lnTo>
                  <a:pt x="1318" y="187"/>
                </a:lnTo>
                <a:lnTo>
                  <a:pt x="1318" y="189"/>
                </a:lnTo>
                <a:lnTo>
                  <a:pt x="1314" y="189"/>
                </a:lnTo>
                <a:lnTo>
                  <a:pt x="1317" y="186"/>
                </a:lnTo>
                <a:lnTo>
                  <a:pt x="1318" y="184"/>
                </a:lnTo>
                <a:lnTo>
                  <a:pt x="1331" y="175"/>
                </a:lnTo>
                <a:close/>
                <a:moveTo>
                  <a:pt x="1230" y="153"/>
                </a:moveTo>
                <a:lnTo>
                  <a:pt x="1231" y="153"/>
                </a:lnTo>
                <a:lnTo>
                  <a:pt x="1242" y="155"/>
                </a:lnTo>
                <a:lnTo>
                  <a:pt x="1243" y="155"/>
                </a:lnTo>
                <a:lnTo>
                  <a:pt x="1244" y="156"/>
                </a:lnTo>
                <a:lnTo>
                  <a:pt x="1230" y="153"/>
                </a:lnTo>
                <a:close/>
                <a:moveTo>
                  <a:pt x="1459" y="138"/>
                </a:moveTo>
                <a:lnTo>
                  <a:pt x="1461" y="138"/>
                </a:lnTo>
                <a:lnTo>
                  <a:pt x="1466" y="142"/>
                </a:lnTo>
                <a:lnTo>
                  <a:pt x="1467" y="142"/>
                </a:lnTo>
                <a:lnTo>
                  <a:pt x="1467" y="143"/>
                </a:lnTo>
                <a:lnTo>
                  <a:pt x="1460" y="141"/>
                </a:lnTo>
                <a:lnTo>
                  <a:pt x="1459" y="141"/>
                </a:lnTo>
                <a:lnTo>
                  <a:pt x="1459" y="138"/>
                </a:lnTo>
                <a:close/>
                <a:moveTo>
                  <a:pt x="1263" y="138"/>
                </a:moveTo>
                <a:lnTo>
                  <a:pt x="1264" y="138"/>
                </a:lnTo>
                <a:lnTo>
                  <a:pt x="1264" y="140"/>
                </a:lnTo>
                <a:lnTo>
                  <a:pt x="1263" y="141"/>
                </a:lnTo>
                <a:lnTo>
                  <a:pt x="1261" y="142"/>
                </a:lnTo>
                <a:lnTo>
                  <a:pt x="1260" y="141"/>
                </a:lnTo>
                <a:lnTo>
                  <a:pt x="1263" y="140"/>
                </a:lnTo>
                <a:lnTo>
                  <a:pt x="1263" y="138"/>
                </a:lnTo>
                <a:close/>
                <a:moveTo>
                  <a:pt x="1275" y="128"/>
                </a:moveTo>
                <a:lnTo>
                  <a:pt x="1275" y="129"/>
                </a:lnTo>
                <a:lnTo>
                  <a:pt x="1273" y="131"/>
                </a:lnTo>
                <a:lnTo>
                  <a:pt x="1271" y="131"/>
                </a:lnTo>
                <a:lnTo>
                  <a:pt x="1275" y="128"/>
                </a:lnTo>
                <a:close/>
                <a:moveTo>
                  <a:pt x="1488" y="124"/>
                </a:moveTo>
                <a:lnTo>
                  <a:pt x="1493" y="124"/>
                </a:lnTo>
                <a:lnTo>
                  <a:pt x="1493" y="127"/>
                </a:lnTo>
                <a:lnTo>
                  <a:pt x="1492" y="128"/>
                </a:lnTo>
                <a:lnTo>
                  <a:pt x="1491" y="127"/>
                </a:lnTo>
                <a:lnTo>
                  <a:pt x="1490" y="127"/>
                </a:lnTo>
                <a:lnTo>
                  <a:pt x="1488" y="125"/>
                </a:lnTo>
                <a:lnTo>
                  <a:pt x="1488" y="124"/>
                </a:lnTo>
                <a:close/>
                <a:moveTo>
                  <a:pt x="1506" y="123"/>
                </a:moveTo>
                <a:lnTo>
                  <a:pt x="1507" y="123"/>
                </a:lnTo>
                <a:lnTo>
                  <a:pt x="1511" y="124"/>
                </a:lnTo>
                <a:lnTo>
                  <a:pt x="1512" y="125"/>
                </a:lnTo>
                <a:lnTo>
                  <a:pt x="1513" y="128"/>
                </a:lnTo>
                <a:lnTo>
                  <a:pt x="1507" y="125"/>
                </a:lnTo>
                <a:lnTo>
                  <a:pt x="1504" y="128"/>
                </a:lnTo>
                <a:lnTo>
                  <a:pt x="1501" y="128"/>
                </a:lnTo>
                <a:lnTo>
                  <a:pt x="1503" y="125"/>
                </a:lnTo>
                <a:lnTo>
                  <a:pt x="1506" y="123"/>
                </a:lnTo>
                <a:close/>
                <a:moveTo>
                  <a:pt x="1285" y="122"/>
                </a:moveTo>
                <a:lnTo>
                  <a:pt x="1286" y="122"/>
                </a:lnTo>
                <a:lnTo>
                  <a:pt x="1286" y="123"/>
                </a:lnTo>
                <a:lnTo>
                  <a:pt x="1285" y="124"/>
                </a:lnTo>
                <a:lnTo>
                  <a:pt x="1282" y="125"/>
                </a:lnTo>
                <a:lnTo>
                  <a:pt x="1281" y="125"/>
                </a:lnTo>
                <a:lnTo>
                  <a:pt x="1285" y="122"/>
                </a:lnTo>
                <a:close/>
                <a:moveTo>
                  <a:pt x="1476" y="116"/>
                </a:moveTo>
                <a:lnTo>
                  <a:pt x="1479" y="116"/>
                </a:lnTo>
                <a:lnTo>
                  <a:pt x="1480" y="117"/>
                </a:lnTo>
                <a:lnTo>
                  <a:pt x="1480" y="119"/>
                </a:lnTo>
                <a:lnTo>
                  <a:pt x="1479" y="121"/>
                </a:lnTo>
                <a:lnTo>
                  <a:pt x="1479" y="122"/>
                </a:lnTo>
                <a:lnTo>
                  <a:pt x="1478" y="122"/>
                </a:lnTo>
                <a:lnTo>
                  <a:pt x="1475" y="123"/>
                </a:lnTo>
                <a:lnTo>
                  <a:pt x="1475" y="122"/>
                </a:lnTo>
                <a:lnTo>
                  <a:pt x="1474" y="122"/>
                </a:lnTo>
                <a:lnTo>
                  <a:pt x="1476" y="117"/>
                </a:lnTo>
                <a:lnTo>
                  <a:pt x="1476" y="116"/>
                </a:lnTo>
                <a:close/>
                <a:moveTo>
                  <a:pt x="1652" y="76"/>
                </a:moveTo>
                <a:lnTo>
                  <a:pt x="1653" y="76"/>
                </a:lnTo>
                <a:lnTo>
                  <a:pt x="1667" y="87"/>
                </a:lnTo>
                <a:lnTo>
                  <a:pt x="1670" y="90"/>
                </a:lnTo>
                <a:lnTo>
                  <a:pt x="1670" y="91"/>
                </a:lnTo>
                <a:lnTo>
                  <a:pt x="1668" y="92"/>
                </a:lnTo>
                <a:lnTo>
                  <a:pt x="1672" y="95"/>
                </a:lnTo>
                <a:lnTo>
                  <a:pt x="1672" y="100"/>
                </a:lnTo>
                <a:lnTo>
                  <a:pt x="1671" y="99"/>
                </a:lnTo>
                <a:lnTo>
                  <a:pt x="1671" y="98"/>
                </a:lnTo>
                <a:lnTo>
                  <a:pt x="1670" y="98"/>
                </a:lnTo>
                <a:lnTo>
                  <a:pt x="1668" y="97"/>
                </a:lnTo>
                <a:lnTo>
                  <a:pt x="1667" y="94"/>
                </a:lnTo>
                <a:lnTo>
                  <a:pt x="1666" y="94"/>
                </a:lnTo>
                <a:lnTo>
                  <a:pt x="1665" y="90"/>
                </a:lnTo>
                <a:lnTo>
                  <a:pt x="1664" y="88"/>
                </a:lnTo>
                <a:lnTo>
                  <a:pt x="1652" y="79"/>
                </a:lnTo>
                <a:lnTo>
                  <a:pt x="1652" y="76"/>
                </a:lnTo>
                <a:close/>
                <a:moveTo>
                  <a:pt x="616" y="68"/>
                </a:moveTo>
                <a:lnTo>
                  <a:pt x="623" y="75"/>
                </a:lnTo>
                <a:lnTo>
                  <a:pt x="623" y="76"/>
                </a:lnTo>
                <a:lnTo>
                  <a:pt x="608" y="75"/>
                </a:lnTo>
                <a:lnTo>
                  <a:pt x="605" y="74"/>
                </a:lnTo>
                <a:lnTo>
                  <a:pt x="605" y="72"/>
                </a:lnTo>
                <a:lnTo>
                  <a:pt x="606" y="70"/>
                </a:lnTo>
                <a:lnTo>
                  <a:pt x="608" y="70"/>
                </a:lnTo>
                <a:lnTo>
                  <a:pt x="611" y="69"/>
                </a:lnTo>
                <a:lnTo>
                  <a:pt x="616" y="68"/>
                </a:lnTo>
                <a:close/>
                <a:moveTo>
                  <a:pt x="1243" y="55"/>
                </a:moveTo>
                <a:lnTo>
                  <a:pt x="1251" y="56"/>
                </a:lnTo>
                <a:lnTo>
                  <a:pt x="1269" y="69"/>
                </a:lnTo>
                <a:lnTo>
                  <a:pt x="1282" y="81"/>
                </a:lnTo>
                <a:lnTo>
                  <a:pt x="1288" y="86"/>
                </a:lnTo>
                <a:lnTo>
                  <a:pt x="1291" y="90"/>
                </a:lnTo>
                <a:lnTo>
                  <a:pt x="1295" y="99"/>
                </a:lnTo>
                <a:lnTo>
                  <a:pt x="1294" y="104"/>
                </a:lnTo>
                <a:lnTo>
                  <a:pt x="1292" y="110"/>
                </a:lnTo>
                <a:lnTo>
                  <a:pt x="1288" y="116"/>
                </a:lnTo>
                <a:lnTo>
                  <a:pt x="1286" y="117"/>
                </a:lnTo>
                <a:lnTo>
                  <a:pt x="1287" y="116"/>
                </a:lnTo>
                <a:lnTo>
                  <a:pt x="1287" y="110"/>
                </a:lnTo>
                <a:lnTo>
                  <a:pt x="1289" y="105"/>
                </a:lnTo>
                <a:lnTo>
                  <a:pt x="1291" y="100"/>
                </a:lnTo>
                <a:lnTo>
                  <a:pt x="1291" y="98"/>
                </a:lnTo>
                <a:lnTo>
                  <a:pt x="1289" y="99"/>
                </a:lnTo>
                <a:lnTo>
                  <a:pt x="1287" y="100"/>
                </a:lnTo>
                <a:lnTo>
                  <a:pt x="1282" y="106"/>
                </a:lnTo>
                <a:lnTo>
                  <a:pt x="1280" y="109"/>
                </a:lnTo>
                <a:lnTo>
                  <a:pt x="1276" y="115"/>
                </a:lnTo>
                <a:lnTo>
                  <a:pt x="1275" y="116"/>
                </a:lnTo>
                <a:lnTo>
                  <a:pt x="1277" y="116"/>
                </a:lnTo>
                <a:lnTo>
                  <a:pt x="1277" y="119"/>
                </a:lnTo>
                <a:lnTo>
                  <a:pt x="1274" y="121"/>
                </a:lnTo>
                <a:lnTo>
                  <a:pt x="1270" y="130"/>
                </a:lnTo>
                <a:lnTo>
                  <a:pt x="1268" y="131"/>
                </a:lnTo>
                <a:lnTo>
                  <a:pt x="1267" y="131"/>
                </a:lnTo>
                <a:lnTo>
                  <a:pt x="1264" y="132"/>
                </a:lnTo>
                <a:lnTo>
                  <a:pt x="1262" y="136"/>
                </a:lnTo>
                <a:lnTo>
                  <a:pt x="1257" y="140"/>
                </a:lnTo>
                <a:lnTo>
                  <a:pt x="1254" y="138"/>
                </a:lnTo>
                <a:lnTo>
                  <a:pt x="1252" y="140"/>
                </a:lnTo>
                <a:lnTo>
                  <a:pt x="1250" y="143"/>
                </a:lnTo>
                <a:lnTo>
                  <a:pt x="1231" y="149"/>
                </a:lnTo>
                <a:lnTo>
                  <a:pt x="1230" y="148"/>
                </a:lnTo>
                <a:lnTo>
                  <a:pt x="1230" y="147"/>
                </a:lnTo>
                <a:lnTo>
                  <a:pt x="1229" y="147"/>
                </a:lnTo>
                <a:lnTo>
                  <a:pt x="1229" y="146"/>
                </a:lnTo>
                <a:lnTo>
                  <a:pt x="1227" y="146"/>
                </a:lnTo>
                <a:lnTo>
                  <a:pt x="1226" y="147"/>
                </a:lnTo>
                <a:lnTo>
                  <a:pt x="1226" y="148"/>
                </a:lnTo>
                <a:lnTo>
                  <a:pt x="1223" y="148"/>
                </a:lnTo>
                <a:lnTo>
                  <a:pt x="1221" y="147"/>
                </a:lnTo>
                <a:lnTo>
                  <a:pt x="1219" y="143"/>
                </a:lnTo>
                <a:lnTo>
                  <a:pt x="1214" y="138"/>
                </a:lnTo>
                <a:lnTo>
                  <a:pt x="1213" y="138"/>
                </a:lnTo>
                <a:lnTo>
                  <a:pt x="1212" y="136"/>
                </a:lnTo>
                <a:lnTo>
                  <a:pt x="1212" y="135"/>
                </a:lnTo>
                <a:lnTo>
                  <a:pt x="1211" y="135"/>
                </a:lnTo>
                <a:lnTo>
                  <a:pt x="1209" y="132"/>
                </a:lnTo>
                <a:lnTo>
                  <a:pt x="1211" y="131"/>
                </a:lnTo>
                <a:lnTo>
                  <a:pt x="1211" y="130"/>
                </a:lnTo>
                <a:lnTo>
                  <a:pt x="1209" y="129"/>
                </a:lnTo>
                <a:lnTo>
                  <a:pt x="1208" y="129"/>
                </a:lnTo>
                <a:lnTo>
                  <a:pt x="1207" y="131"/>
                </a:lnTo>
                <a:lnTo>
                  <a:pt x="1206" y="129"/>
                </a:lnTo>
                <a:lnTo>
                  <a:pt x="1206" y="128"/>
                </a:lnTo>
                <a:lnTo>
                  <a:pt x="1207" y="125"/>
                </a:lnTo>
                <a:lnTo>
                  <a:pt x="1207" y="122"/>
                </a:lnTo>
                <a:lnTo>
                  <a:pt x="1208" y="121"/>
                </a:lnTo>
                <a:lnTo>
                  <a:pt x="1208" y="119"/>
                </a:lnTo>
                <a:lnTo>
                  <a:pt x="1207" y="117"/>
                </a:lnTo>
                <a:lnTo>
                  <a:pt x="1207" y="118"/>
                </a:lnTo>
                <a:lnTo>
                  <a:pt x="1206" y="117"/>
                </a:lnTo>
                <a:lnTo>
                  <a:pt x="1206" y="115"/>
                </a:lnTo>
                <a:lnTo>
                  <a:pt x="1208" y="112"/>
                </a:lnTo>
                <a:lnTo>
                  <a:pt x="1206" y="111"/>
                </a:lnTo>
                <a:lnTo>
                  <a:pt x="1206" y="109"/>
                </a:lnTo>
                <a:lnTo>
                  <a:pt x="1207" y="105"/>
                </a:lnTo>
                <a:lnTo>
                  <a:pt x="1208" y="103"/>
                </a:lnTo>
                <a:lnTo>
                  <a:pt x="1208" y="91"/>
                </a:lnTo>
                <a:lnTo>
                  <a:pt x="1209" y="87"/>
                </a:lnTo>
                <a:lnTo>
                  <a:pt x="1209" y="85"/>
                </a:lnTo>
                <a:lnTo>
                  <a:pt x="1211" y="81"/>
                </a:lnTo>
                <a:lnTo>
                  <a:pt x="1214" y="76"/>
                </a:lnTo>
                <a:lnTo>
                  <a:pt x="1215" y="74"/>
                </a:lnTo>
                <a:lnTo>
                  <a:pt x="1215" y="73"/>
                </a:lnTo>
                <a:lnTo>
                  <a:pt x="1219" y="70"/>
                </a:lnTo>
                <a:lnTo>
                  <a:pt x="1221" y="67"/>
                </a:lnTo>
                <a:lnTo>
                  <a:pt x="1231" y="58"/>
                </a:lnTo>
                <a:lnTo>
                  <a:pt x="1236" y="56"/>
                </a:lnTo>
                <a:lnTo>
                  <a:pt x="1243" y="55"/>
                </a:lnTo>
                <a:close/>
                <a:moveTo>
                  <a:pt x="521" y="0"/>
                </a:moveTo>
                <a:lnTo>
                  <a:pt x="522" y="0"/>
                </a:lnTo>
                <a:lnTo>
                  <a:pt x="524" y="1"/>
                </a:lnTo>
                <a:lnTo>
                  <a:pt x="532" y="11"/>
                </a:lnTo>
                <a:lnTo>
                  <a:pt x="534" y="12"/>
                </a:lnTo>
                <a:lnTo>
                  <a:pt x="537" y="11"/>
                </a:lnTo>
                <a:lnTo>
                  <a:pt x="538" y="12"/>
                </a:lnTo>
                <a:lnTo>
                  <a:pt x="543" y="14"/>
                </a:lnTo>
                <a:lnTo>
                  <a:pt x="544" y="17"/>
                </a:lnTo>
                <a:lnTo>
                  <a:pt x="543" y="18"/>
                </a:lnTo>
                <a:lnTo>
                  <a:pt x="543" y="19"/>
                </a:lnTo>
                <a:lnTo>
                  <a:pt x="544" y="20"/>
                </a:lnTo>
                <a:lnTo>
                  <a:pt x="548" y="23"/>
                </a:lnTo>
                <a:lnTo>
                  <a:pt x="553" y="21"/>
                </a:lnTo>
                <a:lnTo>
                  <a:pt x="561" y="24"/>
                </a:lnTo>
                <a:lnTo>
                  <a:pt x="565" y="26"/>
                </a:lnTo>
                <a:lnTo>
                  <a:pt x="566" y="29"/>
                </a:lnTo>
                <a:lnTo>
                  <a:pt x="567" y="29"/>
                </a:lnTo>
                <a:lnTo>
                  <a:pt x="568" y="27"/>
                </a:lnTo>
                <a:lnTo>
                  <a:pt x="569" y="27"/>
                </a:lnTo>
                <a:lnTo>
                  <a:pt x="569" y="38"/>
                </a:lnTo>
                <a:lnTo>
                  <a:pt x="568" y="39"/>
                </a:lnTo>
                <a:lnTo>
                  <a:pt x="567" y="42"/>
                </a:lnTo>
                <a:lnTo>
                  <a:pt x="566" y="43"/>
                </a:lnTo>
                <a:lnTo>
                  <a:pt x="559" y="48"/>
                </a:lnTo>
                <a:lnTo>
                  <a:pt x="543" y="42"/>
                </a:lnTo>
                <a:lnTo>
                  <a:pt x="541" y="39"/>
                </a:lnTo>
                <a:lnTo>
                  <a:pt x="540" y="39"/>
                </a:lnTo>
                <a:lnTo>
                  <a:pt x="537" y="41"/>
                </a:lnTo>
                <a:lnTo>
                  <a:pt x="531" y="38"/>
                </a:lnTo>
                <a:lnTo>
                  <a:pt x="530" y="39"/>
                </a:lnTo>
                <a:lnTo>
                  <a:pt x="529" y="38"/>
                </a:lnTo>
                <a:lnTo>
                  <a:pt x="529" y="33"/>
                </a:lnTo>
                <a:lnTo>
                  <a:pt x="530" y="32"/>
                </a:lnTo>
                <a:lnTo>
                  <a:pt x="530" y="31"/>
                </a:lnTo>
                <a:lnTo>
                  <a:pt x="529" y="30"/>
                </a:lnTo>
                <a:lnTo>
                  <a:pt x="529" y="29"/>
                </a:lnTo>
                <a:lnTo>
                  <a:pt x="528" y="27"/>
                </a:lnTo>
                <a:lnTo>
                  <a:pt x="528" y="26"/>
                </a:lnTo>
                <a:lnTo>
                  <a:pt x="527" y="26"/>
                </a:lnTo>
                <a:lnTo>
                  <a:pt x="527" y="36"/>
                </a:lnTo>
                <a:lnTo>
                  <a:pt x="524" y="38"/>
                </a:lnTo>
                <a:lnTo>
                  <a:pt x="521" y="38"/>
                </a:lnTo>
                <a:lnTo>
                  <a:pt x="523" y="41"/>
                </a:lnTo>
                <a:lnTo>
                  <a:pt x="524" y="41"/>
                </a:lnTo>
                <a:lnTo>
                  <a:pt x="524" y="45"/>
                </a:lnTo>
                <a:lnTo>
                  <a:pt x="523" y="47"/>
                </a:lnTo>
                <a:lnTo>
                  <a:pt x="523" y="50"/>
                </a:lnTo>
                <a:lnTo>
                  <a:pt x="525" y="47"/>
                </a:lnTo>
                <a:lnTo>
                  <a:pt x="528" y="45"/>
                </a:lnTo>
                <a:lnTo>
                  <a:pt x="532" y="48"/>
                </a:lnTo>
                <a:lnTo>
                  <a:pt x="534" y="49"/>
                </a:lnTo>
                <a:lnTo>
                  <a:pt x="538" y="47"/>
                </a:lnTo>
                <a:lnTo>
                  <a:pt x="538" y="48"/>
                </a:lnTo>
                <a:lnTo>
                  <a:pt x="540" y="48"/>
                </a:lnTo>
                <a:lnTo>
                  <a:pt x="540" y="49"/>
                </a:lnTo>
                <a:lnTo>
                  <a:pt x="541" y="50"/>
                </a:lnTo>
                <a:lnTo>
                  <a:pt x="540" y="50"/>
                </a:lnTo>
                <a:lnTo>
                  <a:pt x="538" y="52"/>
                </a:lnTo>
                <a:lnTo>
                  <a:pt x="540" y="52"/>
                </a:lnTo>
                <a:lnTo>
                  <a:pt x="543" y="55"/>
                </a:lnTo>
                <a:lnTo>
                  <a:pt x="542" y="57"/>
                </a:lnTo>
                <a:lnTo>
                  <a:pt x="540" y="57"/>
                </a:lnTo>
                <a:lnTo>
                  <a:pt x="540" y="58"/>
                </a:lnTo>
                <a:lnTo>
                  <a:pt x="538" y="61"/>
                </a:lnTo>
                <a:lnTo>
                  <a:pt x="537" y="61"/>
                </a:lnTo>
                <a:lnTo>
                  <a:pt x="536" y="62"/>
                </a:lnTo>
                <a:lnTo>
                  <a:pt x="532" y="64"/>
                </a:lnTo>
                <a:lnTo>
                  <a:pt x="530" y="66"/>
                </a:lnTo>
                <a:lnTo>
                  <a:pt x="532" y="67"/>
                </a:lnTo>
                <a:lnTo>
                  <a:pt x="534" y="66"/>
                </a:lnTo>
                <a:lnTo>
                  <a:pt x="538" y="62"/>
                </a:lnTo>
                <a:lnTo>
                  <a:pt x="540" y="62"/>
                </a:lnTo>
                <a:lnTo>
                  <a:pt x="540" y="61"/>
                </a:lnTo>
                <a:lnTo>
                  <a:pt x="541" y="58"/>
                </a:lnTo>
                <a:lnTo>
                  <a:pt x="544" y="58"/>
                </a:lnTo>
                <a:lnTo>
                  <a:pt x="544" y="56"/>
                </a:lnTo>
                <a:lnTo>
                  <a:pt x="546" y="56"/>
                </a:lnTo>
                <a:lnTo>
                  <a:pt x="547" y="60"/>
                </a:lnTo>
                <a:lnTo>
                  <a:pt x="548" y="60"/>
                </a:lnTo>
                <a:lnTo>
                  <a:pt x="549" y="57"/>
                </a:lnTo>
                <a:lnTo>
                  <a:pt x="552" y="57"/>
                </a:lnTo>
                <a:lnTo>
                  <a:pt x="555" y="58"/>
                </a:lnTo>
                <a:lnTo>
                  <a:pt x="559" y="58"/>
                </a:lnTo>
                <a:lnTo>
                  <a:pt x="560" y="60"/>
                </a:lnTo>
                <a:lnTo>
                  <a:pt x="555" y="64"/>
                </a:lnTo>
                <a:lnTo>
                  <a:pt x="554" y="68"/>
                </a:lnTo>
                <a:lnTo>
                  <a:pt x="560" y="62"/>
                </a:lnTo>
                <a:lnTo>
                  <a:pt x="563" y="61"/>
                </a:lnTo>
                <a:lnTo>
                  <a:pt x="568" y="61"/>
                </a:lnTo>
                <a:lnTo>
                  <a:pt x="559" y="74"/>
                </a:lnTo>
                <a:lnTo>
                  <a:pt x="558" y="78"/>
                </a:lnTo>
                <a:lnTo>
                  <a:pt x="556" y="79"/>
                </a:lnTo>
                <a:lnTo>
                  <a:pt x="556" y="81"/>
                </a:lnTo>
                <a:lnTo>
                  <a:pt x="558" y="81"/>
                </a:lnTo>
                <a:lnTo>
                  <a:pt x="558" y="80"/>
                </a:lnTo>
                <a:lnTo>
                  <a:pt x="560" y="80"/>
                </a:lnTo>
                <a:lnTo>
                  <a:pt x="560" y="79"/>
                </a:lnTo>
                <a:lnTo>
                  <a:pt x="562" y="72"/>
                </a:lnTo>
                <a:lnTo>
                  <a:pt x="563" y="70"/>
                </a:lnTo>
                <a:lnTo>
                  <a:pt x="577" y="64"/>
                </a:lnTo>
                <a:lnTo>
                  <a:pt x="578" y="63"/>
                </a:lnTo>
                <a:lnTo>
                  <a:pt x="579" y="64"/>
                </a:lnTo>
                <a:lnTo>
                  <a:pt x="579" y="66"/>
                </a:lnTo>
                <a:lnTo>
                  <a:pt x="580" y="66"/>
                </a:lnTo>
                <a:lnTo>
                  <a:pt x="583" y="63"/>
                </a:lnTo>
                <a:lnTo>
                  <a:pt x="585" y="66"/>
                </a:lnTo>
                <a:lnTo>
                  <a:pt x="586" y="66"/>
                </a:lnTo>
                <a:lnTo>
                  <a:pt x="586" y="69"/>
                </a:lnTo>
                <a:lnTo>
                  <a:pt x="584" y="70"/>
                </a:lnTo>
                <a:lnTo>
                  <a:pt x="583" y="70"/>
                </a:lnTo>
                <a:lnTo>
                  <a:pt x="581" y="73"/>
                </a:lnTo>
                <a:lnTo>
                  <a:pt x="583" y="73"/>
                </a:lnTo>
                <a:lnTo>
                  <a:pt x="585" y="72"/>
                </a:lnTo>
                <a:lnTo>
                  <a:pt x="584" y="74"/>
                </a:lnTo>
                <a:lnTo>
                  <a:pt x="581" y="78"/>
                </a:lnTo>
                <a:lnTo>
                  <a:pt x="579" y="82"/>
                </a:lnTo>
                <a:lnTo>
                  <a:pt x="575" y="82"/>
                </a:lnTo>
                <a:lnTo>
                  <a:pt x="574" y="85"/>
                </a:lnTo>
                <a:lnTo>
                  <a:pt x="577" y="85"/>
                </a:lnTo>
                <a:lnTo>
                  <a:pt x="577" y="84"/>
                </a:lnTo>
                <a:lnTo>
                  <a:pt x="581" y="82"/>
                </a:lnTo>
                <a:lnTo>
                  <a:pt x="583" y="82"/>
                </a:lnTo>
                <a:lnTo>
                  <a:pt x="584" y="85"/>
                </a:lnTo>
                <a:lnTo>
                  <a:pt x="580" y="87"/>
                </a:lnTo>
                <a:lnTo>
                  <a:pt x="579" y="88"/>
                </a:lnTo>
                <a:lnTo>
                  <a:pt x="578" y="88"/>
                </a:lnTo>
                <a:lnTo>
                  <a:pt x="577" y="90"/>
                </a:lnTo>
                <a:lnTo>
                  <a:pt x="581" y="90"/>
                </a:lnTo>
                <a:lnTo>
                  <a:pt x="581" y="92"/>
                </a:lnTo>
                <a:lnTo>
                  <a:pt x="583" y="92"/>
                </a:lnTo>
                <a:lnTo>
                  <a:pt x="584" y="91"/>
                </a:lnTo>
                <a:lnTo>
                  <a:pt x="586" y="91"/>
                </a:lnTo>
                <a:lnTo>
                  <a:pt x="587" y="92"/>
                </a:lnTo>
                <a:lnTo>
                  <a:pt x="586" y="95"/>
                </a:lnTo>
                <a:lnTo>
                  <a:pt x="581" y="99"/>
                </a:lnTo>
                <a:lnTo>
                  <a:pt x="577" y="104"/>
                </a:lnTo>
                <a:lnTo>
                  <a:pt x="574" y="104"/>
                </a:lnTo>
                <a:lnTo>
                  <a:pt x="571" y="106"/>
                </a:lnTo>
                <a:lnTo>
                  <a:pt x="568" y="106"/>
                </a:lnTo>
                <a:lnTo>
                  <a:pt x="565" y="110"/>
                </a:lnTo>
                <a:lnTo>
                  <a:pt x="565" y="122"/>
                </a:lnTo>
                <a:lnTo>
                  <a:pt x="566" y="119"/>
                </a:lnTo>
                <a:lnTo>
                  <a:pt x="566" y="113"/>
                </a:lnTo>
                <a:lnTo>
                  <a:pt x="567" y="110"/>
                </a:lnTo>
                <a:lnTo>
                  <a:pt x="569" y="109"/>
                </a:lnTo>
                <a:lnTo>
                  <a:pt x="574" y="109"/>
                </a:lnTo>
                <a:lnTo>
                  <a:pt x="578" y="105"/>
                </a:lnTo>
                <a:lnTo>
                  <a:pt x="583" y="105"/>
                </a:lnTo>
                <a:lnTo>
                  <a:pt x="583" y="101"/>
                </a:lnTo>
                <a:lnTo>
                  <a:pt x="584" y="100"/>
                </a:lnTo>
                <a:lnTo>
                  <a:pt x="584" y="99"/>
                </a:lnTo>
                <a:lnTo>
                  <a:pt x="589" y="95"/>
                </a:lnTo>
                <a:lnTo>
                  <a:pt x="589" y="81"/>
                </a:lnTo>
                <a:lnTo>
                  <a:pt x="590" y="79"/>
                </a:lnTo>
                <a:lnTo>
                  <a:pt x="591" y="78"/>
                </a:lnTo>
                <a:lnTo>
                  <a:pt x="596" y="78"/>
                </a:lnTo>
                <a:lnTo>
                  <a:pt x="596" y="80"/>
                </a:lnTo>
                <a:lnTo>
                  <a:pt x="594" y="81"/>
                </a:lnTo>
                <a:lnTo>
                  <a:pt x="596" y="81"/>
                </a:lnTo>
                <a:lnTo>
                  <a:pt x="597" y="79"/>
                </a:lnTo>
                <a:lnTo>
                  <a:pt x="598" y="80"/>
                </a:lnTo>
                <a:lnTo>
                  <a:pt x="602" y="80"/>
                </a:lnTo>
                <a:lnTo>
                  <a:pt x="600" y="79"/>
                </a:lnTo>
                <a:lnTo>
                  <a:pt x="600" y="76"/>
                </a:lnTo>
                <a:lnTo>
                  <a:pt x="612" y="79"/>
                </a:lnTo>
                <a:lnTo>
                  <a:pt x="624" y="80"/>
                </a:lnTo>
                <a:lnTo>
                  <a:pt x="624" y="82"/>
                </a:lnTo>
                <a:lnTo>
                  <a:pt x="625" y="84"/>
                </a:lnTo>
                <a:lnTo>
                  <a:pt x="629" y="85"/>
                </a:lnTo>
                <a:lnTo>
                  <a:pt x="631" y="85"/>
                </a:lnTo>
                <a:lnTo>
                  <a:pt x="634" y="87"/>
                </a:lnTo>
                <a:lnTo>
                  <a:pt x="648" y="90"/>
                </a:lnTo>
                <a:lnTo>
                  <a:pt x="648" y="91"/>
                </a:lnTo>
                <a:lnTo>
                  <a:pt x="647" y="93"/>
                </a:lnTo>
                <a:lnTo>
                  <a:pt x="647" y="94"/>
                </a:lnTo>
                <a:lnTo>
                  <a:pt x="650" y="91"/>
                </a:lnTo>
                <a:lnTo>
                  <a:pt x="654" y="91"/>
                </a:lnTo>
                <a:lnTo>
                  <a:pt x="654" y="92"/>
                </a:lnTo>
                <a:lnTo>
                  <a:pt x="655" y="92"/>
                </a:lnTo>
                <a:lnTo>
                  <a:pt x="655" y="93"/>
                </a:lnTo>
                <a:lnTo>
                  <a:pt x="654" y="94"/>
                </a:lnTo>
                <a:lnTo>
                  <a:pt x="655" y="94"/>
                </a:lnTo>
                <a:lnTo>
                  <a:pt x="655" y="95"/>
                </a:lnTo>
                <a:lnTo>
                  <a:pt x="656" y="95"/>
                </a:lnTo>
                <a:lnTo>
                  <a:pt x="656" y="94"/>
                </a:lnTo>
                <a:lnTo>
                  <a:pt x="658" y="94"/>
                </a:lnTo>
                <a:lnTo>
                  <a:pt x="658" y="93"/>
                </a:lnTo>
                <a:lnTo>
                  <a:pt x="659" y="92"/>
                </a:lnTo>
                <a:lnTo>
                  <a:pt x="660" y="92"/>
                </a:lnTo>
                <a:lnTo>
                  <a:pt x="659" y="90"/>
                </a:lnTo>
                <a:lnTo>
                  <a:pt x="656" y="86"/>
                </a:lnTo>
                <a:lnTo>
                  <a:pt x="655" y="85"/>
                </a:lnTo>
                <a:lnTo>
                  <a:pt x="656" y="84"/>
                </a:lnTo>
                <a:lnTo>
                  <a:pt x="660" y="85"/>
                </a:lnTo>
                <a:lnTo>
                  <a:pt x="662" y="85"/>
                </a:lnTo>
                <a:lnTo>
                  <a:pt x="683" y="94"/>
                </a:lnTo>
                <a:lnTo>
                  <a:pt x="685" y="94"/>
                </a:lnTo>
                <a:lnTo>
                  <a:pt x="690" y="97"/>
                </a:lnTo>
                <a:lnTo>
                  <a:pt x="692" y="99"/>
                </a:lnTo>
                <a:lnTo>
                  <a:pt x="692" y="101"/>
                </a:lnTo>
                <a:lnTo>
                  <a:pt x="695" y="101"/>
                </a:lnTo>
                <a:lnTo>
                  <a:pt x="702" y="104"/>
                </a:lnTo>
                <a:lnTo>
                  <a:pt x="703" y="105"/>
                </a:lnTo>
                <a:lnTo>
                  <a:pt x="702" y="107"/>
                </a:lnTo>
                <a:lnTo>
                  <a:pt x="704" y="110"/>
                </a:lnTo>
                <a:lnTo>
                  <a:pt x="712" y="113"/>
                </a:lnTo>
                <a:lnTo>
                  <a:pt x="720" y="119"/>
                </a:lnTo>
                <a:lnTo>
                  <a:pt x="722" y="119"/>
                </a:lnTo>
                <a:lnTo>
                  <a:pt x="722" y="122"/>
                </a:lnTo>
                <a:lnTo>
                  <a:pt x="723" y="122"/>
                </a:lnTo>
                <a:lnTo>
                  <a:pt x="724" y="123"/>
                </a:lnTo>
                <a:lnTo>
                  <a:pt x="727" y="123"/>
                </a:lnTo>
                <a:lnTo>
                  <a:pt x="734" y="129"/>
                </a:lnTo>
                <a:lnTo>
                  <a:pt x="734" y="131"/>
                </a:lnTo>
                <a:lnTo>
                  <a:pt x="735" y="131"/>
                </a:lnTo>
                <a:lnTo>
                  <a:pt x="737" y="134"/>
                </a:lnTo>
                <a:lnTo>
                  <a:pt x="741" y="135"/>
                </a:lnTo>
                <a:lnTo>
                  <a:pt x="742" y="135"/>
                </a:lnTo>
                <a:lnTo>
                  <a:pt x="742" y="138"/>
                </a:lnTo>
                <a:lnTo>
                  <a:pt x="743" y="140"/>
                </a:lnTo>
                <a:lnTo>
                  <a:pt x="748" y="142"/>
                </a:lnTo>
                <a:lnTo>
                  <a:pt x="751" y="146"/>
                </a:lnTo>
                <a:lnTo>
                  <a:pt x="752" y="146"/>
                </a:lnTo>
                <a:lnTo>
                  <a:pt x="752" y="147"/>
                </a:lnTo>
                <a:lnTo>
                  <a:pt x="754" y="147"/>
                </a:lnTo>
                <a:lnTo>
                  <a:pt x="755" y="148"/>
                </a:lnTo>
                <a:lnTo>
                  <a:pt x="758" y="148"/>
                </a:lnTo>
                <a:lnTo>
                  <a:pt x="758" y="149"/>
                </a:lnTo>
                <a:lnTo>
                  <a:pt x="761" y="150"/>
                </a:lnTo>
                <a:lnTo>
                  <a:pt x="763" y="152"/>
                </a:lnTo>
                <a:lnTo>
                  <a:pt x="764" y="154"/>
                </a:lnTo>
                <a:lnTo>
                  <a:pt x="767" y="156"/>
                </a:lnTo>
                <a:lnTo>
                  <a:pt x="773" y="164"/>
                </a:lnTo>
                <a:lnTo>
                  <a:pt x="774" y="167"/>
                </a:lnTo>
                <a:lnTo>
                  <a:pt x="776" y="170"/>
                </a:lnTo>
                <a:lnTo>
                  <a:pt x="777" y="171"/>
                </a:lnTo>
                <a:lnTo>
                  <a:pt x="778" y="173"/>
                </a:lnTo>
                <a:lnTo>
                  <a:pt x="778" y="174"/>
                </a:lnTo>
                <a:lnTo>
                  <a:pt x="779" y="175"/>
                </a:lnTo>
                <a:lnTo>
                  <a:pt x="783" y="175"/>
                </a:lnTo>
                <a:lnTo>
                  <a:pt x="784" y="177"/>
                </a:lnTo>
                <a:lnTo>
                  <a:pt x="784" y="180"/>
                </a:lnTo>
                <a:lnTo>
                  <a:pt x="789" y="181"/>
                </a:lnTo>
                <a:lnTo>
                  <a:pt x="790" y="185"/>
                </a:lnTo>
                <a:lnTo>
                  <a:pt x="791" y="186"/>
                </a:lnTo>
                <a:lnTo>
                  <a:pt x="791" y="193"/>
                </a:lnTo>
                <a:lnTo>
                  <a:pt x="794" y="193"/>
                </a:lnTo>
                <a:lnTo>
                  <a:pt x="794" y="191"/>
                </a:lnTo>
                <a:lnTo>
                  <a:pt x="795" y="192"/>
                </a:lnTo>
                <a:lnTo>
                  <a:pt x="795" y="193"/>
                </a:lnTo>
                <a:lnTo>
                  <a:pt x="796" y="193"/>
                </a:lnTo>
                <a:lnTo>
                  <a:pt x="805" y="199"/>
                </a:lnTo>
                <a:lnTo>
                  <a:pt x="808" y="199"/>
                </a:lnTo>
                <a:lnTo>
                  <a:pt x="805" y="197"/>
                </a:lnTo>
                <a:lnTo>
                  <a:pt x="801" y="195"/>
                </a:lnTo>
                <a:lnTo>
                  <a:pt x="797" y="192"/>
                </a:lnTo>
                <a:lnTo>
                  <a:pt x="797" y="190"/>
                </a:lnTo>
                <a:lnTo>
                  <a:pt x="798" y="190"/>
                </a:lnTo>
                <a:lnTo>
                  <a:pt x="799" y="191"/>
                </a:lnTo>
                <a:lnTo>
                  <a:pt x="801" y="191"/>
                </a:lnTo>
                <a:lnTo>
                  <a:pt x="801" y="189"/>
                </a:lnTo>
                <a:lnTo>
                  <a:pt x="803" y="189"/>
                </a:lnTo>
                <a:lnTo>
                  <a:pt x="809" y="195"/>
                </a:lnTo>
                <a:lnTo>
                  <a:pt x="814" y="196"/>
                </a:lnTo>
                <a:lnTo>
                  <a:pt x="814" y="197"/>
                </a:lnTo>
                <a:lnTo>
                  <a:pt x="815" y="198"/>
                </a:lnTo>
                <a:lnTo>
                  <a:pt x="815" y="202"/>
                </a:lnTo>
                <a:lnTo>
                  <a:pt x="819" y="204"/>
                </a:lnTo>
                <a:lnTo>
                  <a:pt x="828" y="213"/>
                </a:lnTo>
                <a:lnTo>
                  <a:pt x="833" y="215"/>
                </a:lnTo>
                <a:lnTo>
                  <a:pt x="839" y="223"/>
                </a:lnTo>
                <a:lnTo>
                  <a:pt x="844" y="226"/>
                </a:lnTo>
                <a:lnTo>
                  <a:pt x="846" y="226"/>
                </a:lnTo>
                <a:lnTo>
                  <a:pt x="848" y="227"/>
                </a:lnTo>
                <a:lnTo>
                  <a:pt x="853" y="227"/>
                </a:lnTo>
                <a:lnTo>
                  <a:pt x="854" y="226"/>
                </a:lnTo>
                <a:lnTo>
                  <a:pt x="853" y="226"/>
                </a:lnTo>
                <a:lnTo>
                  <a:pt x="853" y="224"/>
                </a:lnTo>
                <a:lnTo>
                  <a:pt x="851" y="218"/>
                </a:lnTo>
                <a:lnTo>
                  <a:pt x="851" y="217"/>
                </a:lnTo>
                <a:lnTo>
                  <a:pt x="847" y="214"/>
                </a:lnTo>
                <a:lnTo>
                  <a:pt x="848" y="213"/>
                </a:lnTo>
                <a:lnTo>
                  <a:pt x="850" y="213"/>
                </a:lnTo>
                <a:lnTo>
                  <a:pt x="857" y="220"/>
                </a:lnTo>
                <a:lnTo>
                  <a:pt x="857" y="224"/>
                </a:lnTo>
                <a:lnTo>
                  <a:pt x="859" y="229"/>
                </a:lnTo>
                <a:lnTo>
                  <a:pt x="860" y="230"/>
                </a:lnTo>
                <a:lnTo>
                  <a:pt x="861" y="230"/>
                </a:lnTo>
                <a:lnTo>
                  <a:pt x="861" y="232"/>
                </a:lnTo>
                <a:lnTo>
                  <a:pt x="863" y="232"/>
                </a:lnTo>
                <a:lnTo>
                  <a:pt x="865" y="235"/>
                </a:lnTo>
                <a:lnTo>
                  <a:pt x="866" y="238"/>
                </a:lnTo>
                <a:lnTo>
                  <a:pt x="872" y="242"/>
                </a:lnTo>
                <a:lnTo>
                  <a:pt x="872" y="244"/>
                </a:lnTo>
                <a:lnTo>
                  <a:pt x="873" y="242"/>
                </a:lnTo>
                <a:lnTo>
                  <a:pt x="875" y="242"/>
                </a:lnTo>
                <a:lnTo>
                  <a:pt x="875" y="244"/>
                </a:lnTo>
                <a:lnTo>
                  <a:pt x="877" y="246"/>
                </a:lnTo>
                <a:lnTo>
                  <a:pt x="877" y="248"/>
                </a:lnTo>
                <a:lnTo>
                  <a:pt x="876" y="250"/>
                </a:lnTo>
                <a:lnTo>
                  <a:pt x="873" y="250"/>
                </a:lnTo>
                <a:lnTo>
                  <a:pt x="876" y="254"/>
                </a:lnTo>
                <a:lnTo>
                  <a:pt x="879" y="259"/>
                </a:lnTo>
                <a:lnTo>
                  <a:pt x="881" y="260"/>
                </a:lnTo>
                <a:lnTo>
                  <a:pt x="882" y="260"/>
                </a:lnTo>
                <a:lnTo>
                  <a:pt x="884" y="257"/>
                </a:lnTo>
                <a:lnTo>
                  <a:pt x="884" y="256"/>
                </a:lnTo>
                <a:lnTo>
                  <a:pt x="883" y="256"/>
                </a:lnTo>
                <a:lnTo>
                  <a:pt x="883" y="254"/>
                </a:lnTo>
                <a:lnTo>
                  <a:pt x="884" y="253"/>
                </a:lnTo>
                <a:lnTo>
                  <a:pt x="888" y="253"/>
                </a:lnTo>
                <a:lnTo>
                  <a:pt x="888" y="256"/>
                </a:lnTo>
                <a:lnTo>
                  <a:pt x="889" y="257"/>
                </a:lnTo>
                <a:lnTo>
                  <a:pt x="889" y="258"/>
                </a:lnTo>
                <a:lnTo>
                  <a:pt x="894" y="263"/>
                </a:lnTo>
                <a:lnTo>
                  <a:pt x="895" y="263"/>
                </a:lnTo>
                <a:lnTo>
                  <a:pt x="898" y="261"/>
                </a:lnTo>
                <a:lnTo>
                  <a:pt x="901" y="263"/>
                </a:lnTo>
                <a:lnTo>
                  <a:pt x="902" y="266"/>
                </a:lnTo>
                <a:lnTo>
                  <a:pt x="904" y="271"/>
                </a:lnTo>
                <a:lnTo>
                  <a:pt x="904" y="275"/>
                </a:lnTo>
                <a:lnTo>
                  <a:pt x="902" y="279"/>
                </a:lnTo>
                <a:lnTo>
                  <a:pt x="901" y="281"/>
                </a:lnTo>
                <a:lnTo>
                  <a:pt x="901" y="282"/>
                </a:lnTo>
                <a:lnTo>
                  <a:pt x="902" y="283"/>
                </a:lnTo>
                <a:lnTo>
                  <a:pt x="902" y="291"/>
                </a:lnTo>
                <a:lnTo>
                  <a:pt x="904" y="291"/>
                </a:lnTo>
                <a:lnTo>
                  <a:pt x="907" y="294"/>
                </a:lnTo>
                <a:lnTo>
                  <a:pt x="908" y="296"/>
                </a:lnTo>
                <a:lnTo>
                  <a:pt x="908" y="309"/>
                </a:lnTo>
                <a:lnTo>
                  <a:pt x="907" y="312"/>
                </a:lnTo>
                <a:lnTo>
                  <a:pt x="907" y="315"/>
                </a:lnTo>
                <a:lnTo>
                  <a:pt x="908" y="318"/>
                </a:lnTo>
                <a:lnTo>
                  <a:pt x="912" y="320"/>
                </a:lnTo>
                <a:lnTo>
                  <a:pt x="914" y="318"/>
                </a:lnTo>
                <a:lnTo>
                  <a:pt x="915" y="318"/>
                </a:lnTo>
                <a:lnTo>
                  <a:pt x="916" y="319"/>
                </a:lnTo>
                <a:lnTo>
                  <a:pt x="916" y="320"/>
                </a:lnTo>
                <a:lnTo>
                  <a:pt x="917" y="320"/>
                </a:lnTo>
                <a:lnTo>
                  <a:pt x="917" y="322"/>
                </a:lnTo>
                <a:lnTo>
                  <a:pt x="916" y="324"/>
                </a:lnTo>
                <a:lnTo>
                  <a:pt x="916" y="326"/>
                </a:lnTo>
                <a:lnTo>
                  <a:pt x="917" y="327"/>
                </a:lnTo>
                <a:lnTo>
                  <a:pt x="919" y="330"/>
                </a:lnTo>
                <a:lnTo>
                  <a:pt x="917" y="331"/>
                </a:lnTo>
                <a:lnTo>
                  <a:pt x="917" y="332"/>
                </a:lnTo>
                <a:lnTo>
                  <a:pt x="916" y="332"/>
                </a:lnTo>
                <a:lnTo>
                  <a:pt x="916" y="340"/>
                </a:lnTo>
                <a:lnTo>
                  <a:pt x="917" y="342"/>
                </a:lnTo>
                <a:lnTo>
                  <a:pt x="916" y="343"/>
                </a:lnTo>
                <a:lnTo>
                  <a:pt x="914" y="343"/>
                </a:lnTo>
                <a:lnTo>
                  <a:pt x="913" y="344"/>
                </a:lnTo>
                <a:lnTo>
                  <a:pt x="915" y="346"/>
                </a:lnTo>
                <a:lnTo>
                  <a:pt x="915" y="347"/>
                </a:lnTo>
                <a:lnTo>
                  <a:pt x="913" y="353"/>
                </a:lnTo>
                <a:lnTo>
                  <a:pt x="909" y="363"/>
                </a:lnTo>
                <a:lnTo>
                  <a:pt x="908" y="365"/>
                </a:lnTo>
                <a:lnTo>
                  <a:pt x="903" y="370"/>
                </a:lnTo>
                <a:lnTo>
                  <a:pt x="898" y="377"/>
                </a:lnTo>
                <a:lnTo>
                  <a:pt x="896" y="380"/>
                </a:lnTo>
                <a:lnTo>
                  <a:pt x="895" y="382"/>
                </a:lnTo>
                <a:lnTo>
                  <a:pt x="894" y="383"/>
                </a:lnTo>
                <a:lnTo>
                  <a:pt x="894" y="385"/>
                </a:lnTo>
                <a:lnTo>
                  <a:pt x="891" y="385"/>
                </a:lnTo>
                <a:lnTo>
                  <a:pt x="891" y="386"/>
                </a:lnTo>
                <a:lnTo>
                  <a:pt x="890" y="387"/>
                </a:lnTo>
                <a:lnTo>
                  <a:pt x="890" y="392"/>
                </a:lnTo>
                <a:lnTo>
                  <a:pt x="889" y="393"/>
                </a:lnTo>
                <a:lnTo>
                  <a:pt x="888" y="395"/>
                </a:lnTo>
                <a:lnTo>
                  <a:pt x="886" y="395"/>
                </a:lnTo>
                <a:lnTo>
                  <a:pt x="885" y="396"/>
                </a:lnTo>
                <a:lnTo>
                  <a:pt x="884" y="400"/>
                </a:lnTo>
                <a:lnTo>
                  <a:pt x="883" y="401"/>
                </a:lnTo>
                <a:lnTo>
                  <a:pt x="881" y="402"/>
                </a:lnTo>
                <a:lnTo>
                  <a:pt x="878" y="406"/>
                </a:lnTo>
                <a:lnTo>
                  <a:pt x="877" y="407"/>
                </a:lnTo>
                <a:lnTo>
                  <a:pt x="872" y="408"/>
                </a:lnTo>
                <a:lnTo>
                  <a:pt x="863" y="418"/>
                </a:lnTo>
                <a:lnTo>
                  <a:pt x="853" y="423"/>
                </a:lnTo>
                <a:lnTo>
                  <a:pt x="852" y="425"/>
                </a:lnTo>
                <a:lnTo>
                  <a:pt x="850" y="425"/>
                </a:lnTo>
                <a:lnTo>
                  <a:pt x="847" y="428"/>
                </a:lnTo>
                <a:lnTo>
                  <a:pt x="836" y="430"/>
                </a:lnTo>
                <a:lnTo>
                  <a:pt x="834" y="433"/>
                </a:lnTo>
                <a:lnTo>
                  <a:pt x="832" y="435"/>
                </a:lnTo>
                <a:lnTo>
                  <a:pt x="820" y="438"/>
                </a:lnTo>
                <a:lnTo>
                  <a:pt x="816" y="437"/>
                </a:lnTo>
                <a:lnTo>
                  <a:pt x="815" y="437"/>
                </a:lnTo>
                <a:lnTo>
                  <a:pt x="815" y="438"/>
                </a:lnTo>
                <a:lnTo>
                  <a:pt x="798" y="443"/>
                </a:lnTo>
                <a:lnTo>
                  <a:pt x="785" y="441"/>
                </a:lnTo>
                <a:lnTo>
                  <a:pt x="772" y="439"/>
                </a:lnTo>
                <a:lnTo>
                  <a:pt x="767" y="437"/>
                </a:lnTo>
                <a:lnTo>
                  <a:pt x="760" y="436"/>
                </a:lnTo>
                <a:lnTo>
                  <a:pt x="757" y="433"/>
                </a:lnTo>
                <a:lnTo>
                  <a:pt x="752" y="429"/>
                </a:lnTo>
                <a:lnTo>
                  <a:pt x="748" y="428"/>
                </a:lnTo>
                <a:lnTo>
                  <a:pt x="745" y="425"/>
                </a:lnTo>
                <a:lnTo>
                  <a:pt x="728" y="419"/>
                </a:lnTo>
                <a:lnTo>
                  <a:pt x="726" y="419"/>
                </a:lnTo>
                <a:lnTo>
                  <a:pt x="722" y="418"/>
                </a:lnTo>
                <a:lnTo>
                  <a:pt x="717" y="419"/>
                </a:lnTo>
                <a:lnTo>
                  <a:pt x="712" y="417"/>
                </a:lnTo>
                <a:lnTo>
                  <a:pt x="708" y="418"/>
                </a:lnTo>
                <a:lnTo>
                  <a:pt x="703" y="416"/>
                </a:lnTo>
                <a:lnTo>
                  <a:pt x="681" y="411"/>
                </a:lnTo>
                <a:lnTo>
                  <a:pt x="677" y="408"/>
                </a:lnTo>
                <a:lnTo>
                  <a:pt x="672" y="408"/>
                </a:lnTo>
                <a:lnTo>
                  <a:pt x="665" y="405"/>
                </a:lnTo>
                <a:lnTo>
                  <a:pt x="662" y="401"/>
                </a:lnTo>
                <a:lnTo>
                  <a:pt x="658" y="400"/>
                </a:lnTo>
                <a:lnTo>
                  <a:pt x="656" y="398"/>
                </a:lnTo>
                <a:lnTo>
                  <a:pt x="643" y="386"/>
                </a:lnTo>
                <a:lnTo>
                  <a:pt x="640" y="385"/>
                </a:lnTo>
                <a:lnTo>
                  <a:pt x="637" y="386"/>
                </a:lnTo>
                <a:lnTo>
                  <a:pt x="634" y="389"/>
                </a:lnTo>
                <a:lnTo>
                  <a:pt x="630" y="392"/>
                </a:lnTo>
                <a:lnTo>
                  <a:pt x="624" y="392"/>
                </a:lnTo>
                <a:lnTo>
                  <a:pt x="623" y="387"/>
                </a:lnTo>
                <a:lnTo>
                  <a:pt x="622" y="385"/>
                </a:lnTo>
                <a:lnTo>
                  <a:pt x="622" y="382"/>
                </a:lnTo>
                <a:lnTo>
                  <a:pt x="623" y="381"/>
                </a:lnTo>
                <a:lnTo>
                  <a:pt x="624" y="381"/>
                </a:lnTo>
                <a:lnTo>
                  <a:pt x="627" y="382"/>
                </a:lnTo>
                <a:lnTo>
                  <a:pt x="628" y="381"/>
                </a:lnTo>
                <a:lnTo>
                  <a:pt x="629" y="381"/>
                </a:lnTo>
                <a:lnTo>
                  <a:pt x="629" y="380"/>
                </a:lnTo>
                <a:lnTo>
                  <a:pt x="628" y="379"/>
                </a:lnTo>
                <a:lnTo>
                  <a:pt x="627" y="380"/>
                </a:lnTo>
                <a:lnTo>
                  <a:pt x="628" y="380"/>
                </a:lnTo>
                <a:lnTo>
                  <a:pt x="627" y="381"/>
                </a:lnTo>
                <a:lnTo>
                  <a:pt x="618" y="377"/>
                </a:lnTo>
                <a:lnTo>
                  <a:pt x="615" y="377"/>
                </a:lnTo>
                <a:lnTo>
                  <a:pt x="615" y="376"/>
                </a:lnTo>
                <a:lnTo>
                  <a:pt x="614" y="376"/>
                </a:lnTo>
                <a:lnTo>
                  <a:pt x="612" y="379"/>
                </a:lnTo>
                <a:lnTo>
                  <a:pt x="611" y="379"/>
                </a:lnTo>
                <a:lnTo>
                  <a:pt x="610" y="377"/>
                </a:lnTo>
                <a:lnTo>
                  <a:pt x="612" y="375"/>
                </a:lnTo>
                <a:lnTo>
                  <a:pt x="612" y="374"/>
                </a:lnTo>
                <a:lnTo>
                  <a:pt x="614" y="371"/>
                </a:lnTo>
                <a:lnTo>
                  <a:pt x="614" y="368"/>
                </a:lnTo>
                <a:lnTo>
                  <a:pt x="612" y="368"/>
                </a:lnTo>
                <a:lnTo>
                  <a:pt x="612" y="370"/>
                </a:lnTo>
                <a:lnTo>
                  <a:pt x="611" y="371"/>
                </a:lnTo>
                <a:lnTo>
                  <a:pt x="610" y="374"/>
                </a:lnTo>
                <a:lnTo>
                  <a:pt x="609" y="375"/>
                </a:lnTo>
                <a:lnTo>
                  <a:pt x="609" y="376"/>
                </a:lnTo>
                <a:lnTo>
                  <a:pt x="604" y="376"/>
                </a:lnTo>
                <a:lnTo>
                  <a:pt x="602" y="374"/>
                </a:lnTo>
                <a:lnTo>
                  <a:pt x="600" y="374"/>
                </a:lnTo>
                <a:lnTo>
                  <a:pt x="600" y="376"/>
                </a:lnTo>
                <a:lnTo>
                  <a:pt x="598" y="374"/>
                </a:lnTo>
                <a:lnTo>
                  <a:pt x="597" y="369"/>
                </a:lnTo>
                <a:lnTo>
                  <a:pt x="597" y="368"/>
                </a:lnTo>
                <a:lnTo>
                  <a:pt x="593" y="364"/>
                </a:lnTo>
                <a:lnTo>
                  <a:pt x="591" y="364"/>
                </a:lnTo>
                <a:lnTo>
                  <a:pt x="591" y="363"/>
                </a:lnTo>
                <a:lnTo>
                  <a:pt x="590" y="361"/>
                </a:lnTo>
                <a:lnTo>
                  <a:pt x="589" y="362"/>
                </a:lnTo>
                <a:lnTo>
                  <a:pt x="590" y="363"/>
                </a:lnTo>
                <a:lnTo>
                  <a:pt x="590" y="365"/>
                </a:lnTo>
                <a:lnTo>
                  <a:pt x="587" y="363"/>
                </a:lnTo>
                <a:lnTo>
                  <a:pt x="586" y="361"/>
                </a:lnTo>
                <a:lnTo>
                  <a:pt x="586" y="364"/>
                </a:lnTo>
                <a:lnTo>
                  <a:pt x="587" y="367"/>
                </a:lnTo>
                <a:lnTo>
                  <a:pt x="586" y="367"/>
                </a:lnTo>
                <a:lnTo>
                  <a:pt x="587" y="368"/>
                </a:lnTo>
                <a:lnTo>
                  <a:pt x="587" y="369"/>
                </a:lnTo>
                <a:lnTo>
                  <a:pt x="589" y="370"/>
                </a:lnTo>
                <a:lnTo>
                  <a:pt x="587" y="370"/>
                </a:lnTo>
                <a:lnTo>
                  <a:pt x="586" y="368"/>
                </a:lnTo>
                <a:lnTo>
                  <a:pt x="585" y="368"/>
                </a:lnTo>
                <a:lnTo>
                  <a:pt x="585" y="369"/>
                </a:lnTo>
                <a:lnTo>
                  <a:pt x="587" y="370"/>
                </a:lnTo>
                <a:lnTo>
                  <a:pt x="587" y="371"/>
                </a:lnTo>
                <a:lnTo>
                  <a:pt x="586" y="373"/>
                </a:lnTo>
                <a:lnTo>
                  <a:pt x="585" y="371"/>
                </a:lnTo>
                <a:lnTo>
                  <a:pt x="568" y="358"/>
                </a:lnTo>
                <a:lnTo>
                  <a:pt x="558" y="345"/>
                </a:lnTo>
                <a:lnTo>
                  <a:pt x="556" y="344"/>
                </a:lnTo>
                <a:lnTo>
                  <a:pt x="556" y="342"/>
                </a:lnTo>
                <a:lnTo>
                  <a:pt x="555" y="339"/>
                </a:lnTo>
                <a:lnTo>
                  <a:pt x="556" y="338"/>
                </a:lnTo>
                <a:lnTo>
                  <a:pt x="556" y="336"/>
                </a:lnTo>
                <a:lnTo>
                  <a:pt x="558" y="334"/>
                </a:lnTo>
                <a:lnTo>
                  <a:pt x="561" y="334"/>
                </a:lnTo>
                <a:lnTo>
                  <a:pt x="563" y="333"/>
                </a:lnTo>
                <a:lnTo>
                  <a:pt x="561" y="332"/>
                </a:lnTo>
                <a:lnTo>
                  <a:pt x="556" y="333"/>
                </a:lnTo>
                <a:lnTo>
                  <a:pt x="555" y="333"/>
                </a:lnTo>
                <a:lnTo>
                  <a:pt x="553" y="332"/>
                </a:lnTo>
                <a:lnTo>
                  <a:pt x="549" y="328"/>
                </a:lnTo>
                <a:lnTo>
                  <a:pt x="541" y="328"/>
                </a:lnTo>
                <a:lnTo>
                  <a:pt x="541" y="327"/>
                </a:lnTo>
                <a:lnTo>
                  <a:pt x="538" y="326"/>
                </a:lnTo>
                <a:lnTo>
                  <a:pt x="538" y="325"/>
                </a:lnTo>
                <a:lnTo>
                  <a:pt x="536" y="326"/>
                </a:lnTo>
                <a:lnTo>
                  <a:pt x="535" y="326"/>
                </a:lnTo>
                <a:lnTo>
                  <a:pt x="534" y="327"/>
                </a:lnTo>
                <a:lnTo>
                  <a:pt x="532" y="327"/>
                </a:lnTo>
                <a:lnTo>
                  <a:pt x="530" y="326"/>
                </a:lnTo>
                <a:lnTo>
                  <a:pt x="525" y="327"/>
                </a:lnTo>
                <a:lnTo>
                  <a:pt x="524" y="327"/>
                </a:lnTo>
                <a:lnTo>
                  <a:pt x="519" y="325"/>
                </a:lnTo>
                <a:lnTo>
                  <a:pt x="517" y="325"/>
                </a:lnTo>
                <a:lnTo>
                  <a:pt x="516" y="326"/>
                </a:lnTo>
                <a:lnTo>
                  <a:pt x="519" y="326"/>
                </a:lnTo>
                <a:lnTo>
                  <a:pt x="518" y="327"/>
                </a:lnTo>
                <a:lnTo>
                  <a:pt x="518" y="330"/>
                </a:lnTo>
                <a:lnTo>
                  <a:pt x="527" y="330"/>
                </a:lnTo>
                <a:lnTo>
                  <a:pt x="530" y="328"/>
                </a:lnTo>
                <a:lnTo>
                  <a:pt x="532" y="328"/>
                </a:lnTo>
                <a:lnTo>
                  <a:pt x="534" y="330"/>
                </a:lnTo>
                <a:lnTo>
                  <a:pt x="535" y="332"/>
                </a:lnTo>
                <a:lnTo>
                  <a:pt x="536" y="333"/>
                </a:lnTo>
                <a:lnTo>
                  <a:pt x="537" y="336"/>
                </a:lnTo>
                <a:lnTo>
                  <a:pt x="536" y="334"/>
                </a:lnTo>
                <a:lnTo>
                  <a:pt x="534" y="334"/>
                </a:lnTo>
                <a:lnTo>
                  <a:pt x="535" y="337"/>
                </a:lnTo>
                <a:lnTo>
                  <a:pt x="540" y="337"/>
                </a:lnTo>
                <a:lnTo>
                  <a:pt x="543" y="339"/>
                </a:lnTo>
                <a:lnTo>
                  <a:pt x="544" y="342"/>
                </a:lnTo>
                <a:lnTo>
                  <a:pt x="546" y="343"/>
                </a:lnTo>
                <a:lnTo>
                  <a:pt x="546" y="345"/>
                </a:lnTo>
                <a:lnTo>
                  <a:pt x="544" y="347"/>
                </a:lnTo>
                <a:lnTo>
                  <a:pt x="543" y="349"/>
                </a:lnTo>
                <a:lnTo>
                  <a:pt x="540" y="347"/>
                </a:lnTo>
                <a:lnTo>
                  <a:pt x="538" y="347"/>
                </a:lnTo>
                <a:lnTo>
                  <a:pt x="540" y="349"/>
                </a:lnTo>
                <a:lnTo>
                  <a:pt x="542" y="349"/>
                </a:lnTo>
                <a:lnTo>
                  <a:pt x="543" y="350"/>
                </a:lnTo>
                <a:lnTo>
                  <a:pt x="542" y="350"/>
                </a:lnTo>
                <a:lnTo>
                  <a:pt x="542" y="353"/>
                </a:lnTo>
                <a:lnTo>
                  <a:pt x="540" y="355"/>
                </a:lnTo>
                <a:lnTo>
                  <a:pt x="544" y="355"/>
                </a:lnTo>
                <a:lnTo>
                  <a:pt x="546" y="356"/>
                </a:lnTo>
                <a:lnTo>
                  <a:pt x="547" y="358"/>
                </a:lnTo>
                <a:lnTo>
                  <a:pt x="549" y="359"/>
                </a:lnTo>
                <a:lnTo>
                  <a:pt x="550" y="361"/>
                </a:lnTo>
                <a:lnTo>
                  <a:pt x="550" y="363"/>
                </a:lnTo>
                <a:lnTo>
                  <a:pt x="552" y="364"/>
                </a:lnTo>
                <a:lnTo>
                  <a:pt x="560" y="367"/>
                </a:lnTo>
                <a:lnTo>
                  <a:pt x="561" y="368"/>
                </a:lnTo>
                <a:lnTo>
                  <a:pt x="561" y="371"/>
                </a:lnTo>
                <a:lnTo>
                  <a:pt x="556" y="371"/>
                </a:lnTo>
                <a:lnTo>
                  <a:pt x="554" y="370"/>
                </a:lnTo>
                <a:lnTo>
                  <a:pt x="563" y="376"/>
                </a:lnTo>
                <a:lnTo>
                  <a:pt x="572" y="376"/>
                </a:lnTo>
                <a:lnTo>
                  <a:pt x="578" y="380"/>
                </a:lnTo>
                <a:lnTo>
                  <a:pt x="578" y="382"/>
                </a:lnTo>
                <a:lnTo>
                  <a:pt x="577" y="382"/>
                </a:lnTo>
                <a:lnTo>
                  <a:pt x="574" y="381"/>
                </a:lnTo>
                <a:lnTo>
                  <a:pt x="571" y="380"/>
                </a:lnTo>
                <a:lnTo>
                  <a:pt x="569" y="380"/>
                </a:lnTo>
                <a:lnTo>
                  <a:pt x="568" y="382"/>
                </a:lnTo>
                <a:lnTo>
                  <a:pt x="568" y="385"/>
                </a:lnTo>
                <a:lnTo>
                  <a:pt x="566" y="387"/>
                </a:lnTo>
                <a:lnTo>
                  <a:pt x="565" y="387"/>
                </a:lnTo>
                <a:lnTo>
                  <a:pt x="563" y="386"/>
                </a:lnTo>
                <a:lnTo>
                  <a:pt x="559" y="386"/>
                </a:lnTo>
                <a:lnTo>
                  <a:pt x="560" y="388"/>
                </a:lnTo>
                <a:lnTo>
                  <a:pt x="568" y="388"/>
                </a:lnTo>
                <a:lnTo>
                  <a:pt x="568" y="386"/>
                </a:lnTo>
                <a:lnTo>
                  <a:pt x="573" y="386"/>
                </a:lnTo>
                <a:lnTo>
                  <a:pt x="573" y="383"/>
                </a:lnTo>
                <a:lnTo>
                  <a:pt x="575" y="383"/>
                </a:lnTo>
                <a:lnTo>
                  <a:pt x="583" y="387"/>
                </a:lnTo>
                <a:lnTo>
                  <a:pt x="584" y="388"/>
                </a:lnTo>
                <a:lnTo>
                  <a:pt x="584" y="390"/>
                </a:lnTo>
                <a:lnTo>
                  <a:pt x="585" y="390"/>
                </a:lnTo>
                <a:lnTo>
                  <a:pt x="587" y="393"/>
                </a:lnTo>
                <a:lnTo>
                  <a:pt x="585" y="394"/>
                </a:lnTo>
                <a:lnTo>
                  <a:pt x="572" y="388"/>
                </a:lnTo>
                <a:lnTo>
                  <a:pt x="571" y="389"/>
                </a:lnTo>
                <a:lnTo>
                  <a:pt x="572" y="389"/>
                </a:lnTo>
                <a:lnTo>
                  <a:pt x="572" y="390"/>
                </a:lnTo>
                <a:lnTo>
                  <a:pt x="567" y="390"/>
                </a:lnTo>
                <a:lnTo>
                  <a:pt x="566" y="392"/>
                </a:lnTo>
                <a:lnTo>
                  <a:pt x="563" y="392"/>
                </a:lnTo>
                <a:lnTo>
                  <a:pt x="562" y="393"/>
                </a:lnTo>
                <a:lnTo>
                  <a:pt x="563" y="395"/>
                </a:lnTo>
                <a:lnTo>
                  <a:pt x="568" y="395"/>
                </a:lnTo>
                <a:lnTo>
                  <a:pt x="572" y="393"/>
                </a:lnTo>
                <a:lnTo>
                  <a:pt x="574" y="393"/>
                </a:lnTo>
                <a:lnTo>
                  <a:pt x="577" y="394"/>
                </a:lnTo>
                <a:lnTo>
                  <a:pt x="577" y="395"/>
                </a:lnTo>
                <a:lnTo>
                  <a:pt x="578" y="396"/>
                </a:lnTo>
                <a:lnTo>
                  <a:pt x="578" y="398"/>
                </a:lnTo>
                <a:lnTo>
                  <a:pt x="579" y="399"/>
                </a:lnTo>
                <a:lnTo>
                  <a:pt x="586" y="400"/>
                </a:lnTo>
                <a:lnTo>
                  <a:pt x="587" y="399"/>
                </a:lnTo>
                <a:lnTo>
                  <a:pt x="589" y="396"/>
                </a:lnTo>
                <a:lnTo>
                  <a:pt x="590" y="396"/>
                </a:lnTo>
                <a:lnTo>
                  <a:pt x="591" y="398"/>
                </a:lnTo>
                <a:lnTo>
                  <a:pt x="591" y="400"/>
                </a:lnTo>
                <a:lnTo>
                  <a:pt x="589" y="400"/>
                </a:lnTo>
                <a:lnTo>
                  <a:pt x="591" y="401"/>
                </a:lnTo>
                <a:lnTo>
                  <a:pt x="594" y="402"/>
                </a:lnTo>
                <a:lnTo>
                  <a:pt x="596" y="404"/>
                </a:lnTo>
                <a:lnTo>
                  <a:pt x="593" y="405"/>
                </a:lnTo>
                <a:lnTo>
                  <a:pt x="589" y="405"/>
                </a:lnTo>
                <a:lnTo>
                  <a:pt x="586" y="406"/>
                </a:lnTo>
                <a:lnTo>
                  <a:pt x="587" y="407"/>
                </a:lnTo>
                <a:lnTo>
                  <a:pt x="591" y="410"/>
                </a:lnTo>
                <a:lnTo>
                  <a:pt x="593" y="411"/>
                </a:lnTo>
                <a:lnTo>
                  <a:pt x="591" y="413"/>
                </a:lnTo>
                <a:lnTo>
                  <a:pt x="584" y="412"/>
                </a:lnTo>
                <a:lnTo>
                  <a:pt x="580" y="413"/>
                </a:lnTo>
                <a:lnTo>
                  <a:pt x="579" y="413"/>
                </a:lnTo>
                <a:lnTo>
                  <a:pt x="578" y="416"/>
                </a:lnTo>
                <a:lnTo>
                  <a:pt x="585" y="416"/>
                </a:lnTo>
                <a:lnTo>
                  <a:pt x="590" y="414"/>
                </a:lnTo>
                <a:lnTo>
                  <a:pt x="591" y="416"/>
                </a:lnTo>
                <a:lnTo>
                  <a:pt x="591" y="417"/>
                </a:lnTo>
                <a:lnTo>
                  <a:pt x="600" y="420"/>
                </a:lnTo>
                <a:lnTo>
                  <a:pt x="602" y="422"/>
                </a:lnTo>
                <a:lnTo>
                  <a:pt x="602" y="425"/>
                </a:lnTo>
                <a:lnTo>
                  <a:pt x="603" y="424"/>
                </a:lnTo>
                <a:lnTo>
                  <a:pt x="604" y="424"/>
                </a:lnTo>
                <a:lnTo>
                  <a:pt x="604" y="423"/>
                </a:lnTo>
                <a:lnTo>
                  <a:pt x="611" y="423"/>
                </a:lnTo>
                <a:lnTo>
                  <a:pt x="611" y="424"/>
                </a:lnTo>
                <a:lnTo>
                  <a:pt x="612" y="425"/>
                </a:lnTo>
                <a:lnTo>
                  <a:pt x="614" y="425"/>
                </a:lnTo>
                <a:lnTo>
                  <a:pt x="614" y="426"/>
                </a:lnTo>
                <a:lnTo>
                  <a:pt x="612" y="428"/>
                </a:lnTo>
                <a:lnTo>
                  <a:pt x="612" y="429"/>
                </a:lnTo>
                <a:lnTo>
                  <a:pt x="614" y="429"/>
                </a:lnTo>
                <a:lnTo>
                  <a:pt x="616" y="430"/>
                </a:lnTo>
                <a:lnTo>
                  <a:pt x="617" y="431"/>
                </a:lnTo>
                <a:lnTo>
                  <a:pt x="621" y="431"/>
                </a:lnTo>
                <a:lnTo>
                  <a:pt x="628" y="437"/>
                </a:lnTo>
                <a:lnTo>
                  <a:pt x="629" y="439"/>
                </a:lnTo>
                <a:lnTo>
                  <a:pt x="629" y="438"/>
                </a:lnTo>
                <a:lnTo>
                  <a:pt x="630" y="439"/>
                </a:lnTo>
                <a:lnTo>
                  <a:pt x="630" y="442"/>
                </a:lnTo>
                <a:lnTo>
                  <a:pt x="633" y="443"/>
                </a:lnTo>
                <a:lnTo>
                  <a:pt x="634" y="445"/>
                </a:lnTo>
                <a:lnTo>
                  <a:pt x="635" y="447"/>
                </a:lnTo>
                <a:lnTo>
                  <a:pt x="636" y="449"/>
                </a:lnTo>
                <a:lnTo>
                  <a:pt x="637" y="450"/>
                </a:lnTo>
                <a:lnTo>
                  <a:pt x="636" y="451"/>
                </a:lnTo>
                <a:lnTo>
                  <a:pt x="636" y="453"/>
                </a:lnTo>
                <a:lnTo>
                  <a:pt x="634" y="454"/>
                </a:lnTo>
                <a:lnTo>
                  <a:pt x="635" y="454"/>
                </a:lnTo>
                <a:lnTo>
                  <a:pt x="635" y="455"/>
                </a:lnTo>
                <a:lnTo>
                  <a:pt x="636" y="456"/>
                </a:lnTo>
                <a:lnTo>
                  <a:pt x="636" y="459"/>
                </a:lnTo>
                <a:lnTo>
                  <a:pt x="637" y="459"/>
                </a:lnTo>
                <a:lnTo>
                  <a:pt x="639" y="457"/>
                </a:lnTo>
                <a:lnTo>
                  <a:pt x="640" y="457"/>
                </a:lnTo>
                <a:lnTo>
                  <a:pt x="640" y="459"/>
                </a:lnTo>
                <a:lnTo>
                  <a:pt x="642" y="459"/>
                </a:lnTo>
                <a:lnTo>
                  <a:pt x="642" y="460"/>
                </a:lnTo>
                <a:lnTo>
                  <a:pt x="643" y="461"/>
                </a:lnTo>
                <a:lnTo>
                  <a:pt x="642" y="462"/>
                </a:lnTo>
                <a:lnTo>
                  <a:pt x="641" y="465"/>
                </a:lnTo>
                <a:lnTo>
                  <a:pt x="642" y="467"/>
                </a:lnTo>
                <a:lnTo>
                  <a:pt x="645" y="466"/>
                </a:lnTo>
                <a:lnTo>
                  <a:pt x="645" y="469"/>
                </a:lnTo>
                <a:lnTo>
                  <a:pt x="643" y="471"/>
                </a:lnTo>
                <a:lnTo>
                  <a:pt x="643" y="473"/>
                </a:lnTo>
                <a:lnTo>
                  <a:pt x="647" y="476"/>
                </a:lnTo>
                <a:lnTo>
                  <a:pt x="647" y="478"/>
                </a:lnTo>
                <a:lnTo>
                  <a:pt x="646" y="479"/>
                </a:lnTo>
                <a:lnTo>
                  <a:pt x="645" y="479"/>
                </a:lnTo>
                <a:lnTo>
                  <a:pt x="639" y="472"/>
                </a:lnTo>
                <a:lnTo>
                  <a:pt x="635" y="468"/>
                </a:lnTo>
                <a:lnTo>
                  <a:pt x="635" y="473"/>
                </a:lnTo>
                <a:lnTo>
                  <a:pt x="636" y="476"/>
                </a:lnTo>
                <a:lnTo>
                  <a:pt x="635" y="476"/>
                </a:lnTo>
                <a:lnTo>
                  <a:pt x="636" y="478"/>
                </a:lnTo>
                <a:lnTo>
                  <a:pt x="639" y="478"/>
                </a:lnTo>
                <a:lnTo>
                  <a:pt x="639" y="479"/>
                </a:lnTo>
                <a:lnTo>
                  <a:pt x="636" y="481"/>
                </a:lnTo>
                <a:lnTo>
                  <a:pt x="636" y="482"/>
                </a:lnTo>
                <a:lnTo>
                  <a:pt x="637" y="482"/>
                </a:lnTo>
                <a:lnTo>
                  <a:pt x="637" y="484"/>
                </a:lnTo>
                <a:lnTo>
                  <a:pt x="639" y="486"/>
                </a:lnTo>
                <a:lnTo>
                  <a:pt x="639" y="488"/>
                </a:lnTo>
                <a:lnTo>
                  <a:pt x="640" y="490"/>
                </a:lnTo>
                <a:lnTo>
                  <a:pt x="637" y="492"/>
                </a:lnTo>
                <a:lnTo>
                  <a:pt x="637" y="496"/>
                </a:lnTo>
                <a:lnTo>
                  <a:pt x="636" y="498"/>
                </a:lnTo>
                <a:lnTo>
                  <a:pt x="634" y="499"/>
                </a:lnTo>
                <a:lnTo>
                  <a:pt x="633" y="502"/>
                </a:lnTo>
                <a:lnTo>
                  <a:pt x="635" y="502"/>
                </a:lnTo>
                <a:lnTo>
                  <a:pt x="635" y="505"/>
                </a:lnTo>
                <a:lnTo>
                  <a:pt x="634" y="505"/>
                </a:lnTo>
                <a:lnTo>
                  <a:pt x="629" y="504"/>
                </a:lnTo>
                <a:lnTo>
                  <a:pt x="627" y="506"/>
                </a:lnTo>
                <a:lnTo>
                  <a:pt x="628" y="509"/>
                </a:lnTo>
                <a:lnTo>
                  <a:pt x="627" y="510"/>
                </a:lnTo>
                <a:lnTo>
                  <a:pt x="627" y="509"/>
                </a:lnTo>
                <a:lnTo>
                  <a:pt x="625" y="509"/>
                </a:lnTo>
                <a:lnTo>
                  <a:pt x="624" y="508"/>
                </a:lnTo>
                <a:lnTo>
                  <a:pt x="623" y="509"/>
                </a:lnTo>
                <a:lnTo>
                  <a:pt x="622" y="509"/>
                </a:lnTo>
                <a:lnTo>
                  <a:pt x="622" y="510"/>
                </a:lnTo>
                <a:lnTo>
                  <a:pt x="623" y="510"/>
                </a:lnTo>
                <a:lnTo>
                  <a:pt x="622" y="511"/>
                </a:lnTo>
                <a:lnTo>
                  <a:pt x="619" y="510"/>
                </a:lnTo>
                <a:lnTo>
                  <a:pt x="619" y="511"/>
                </a:lnTo>
                <a:lnTo>
                  <a:pt x="625" y="514"/>
                </a:lnTo>
                <a:lnTo>
                  <a:pt x="627" y="516"/>
                </a:lnTo>
                <a:lnTo>
                  <a:pt x="627" y="517"/>
                </a:lnTo>
                <a:lnTo>
                  <a:pt x="625" y="518"/>
                </a:lnTo>
                <a:lnTo>
                  <a:pt x="627" y="522"/>
                </a:lnTo>
                <a:lnTo>
                  <a:pt x="628" y="523"/>
                </a:lnTo>
                <a:lnTo>
                  <a:pt x="629" y="523"/>
                </a:lnTo>
                <a:lnTo>
                  <a:pt x="629" y="524"/>
                </a:lnTo>
                <a:lnTo>
                  <a:pt x="630" y="525"/>
                </a:lnTo>
                <a:lnTo>
                  <a:pt x="633" y="525"/>
                </a:lnTo>
                <a:lnTo>
                  <a:pt x="634" y="527"/>
                </a:lnTo>
                <a:lnTo>
                  <a:pt x="631" y="528"/>
                </a:lnTo>
                <a:lnTo>
                  <a:pt x="634" y="528"/>
                </a:lnTo>
                <a:lnTo>
                  <a:pt x="635" y="530"/>
                </a:lnTo>
                <a:lnTo>
                  <a:pt x="635" y="533"/>
                </a:lnTo>
                <a:lnTo>
                  <a:pt x="633" y="533"/>
                </a:lnTo>
                <a:lnTo>
                  <a:pt x="635" y="535"/>
                </a:lnTo>
                <a:lnTo>
                  <a:pt x="635" y="539"/>
                </a:lnTo>
                <a:lnTo>
                  <a:pt x="639" y="540"/>
                </a:lnTo>
                <a:lnTo>
                  <a:pt x="639" y="542"/>
                </a:lnTo>
                <a:lnTo>
                  <a:pt x="637" y="543"/>
                </a:lnTo>
                <a:lnTo>
                  <a:pt x="640" y="546"/>
                </a:lnTo>
                <a:lnTo>
                  <a:pt x="641" y="546"/>
                </a:lnTo>
                <a:lnTo>
                  <a:pt x="640" y="548"/>
                </a:lnTo>
                <a:lnTo>
                  <a:pt x="639" y="549"/>
                </a:lnTo>
                <a:lnTo>
                  <a:pt x="637" y="549"/>
                </a:lnTo>
                <a:lnTo>
                  <a:pt x="636" y="551"/>
                </a:lnTo>
                <a:lnTo>
                  <a:pt x="636" y="553"/>
                </a:lnTo>
                <a:lnTo>
                  <a:pt x="637" y="553"/>
                </a:lnTo>
                <a:lnTo>
                  <a:pt x="640" y="554"/>
                </a:lnTo>
                <a:lnTo>
                  <a:pt x="641" y="555"/>
                </a:lnTo>
                <a:lnTo>
                  <a:pt x="642" y="558"/>
                </a:lnTo>
                <a:lnTo>
                  <a:pt x="642" y="559"/>
                </a:lnTo>
                <a:lnTo>
                  <a:pt x="643" y="559"/>
                </a:lnTo>
                <a:lnTo>
                  <a:pt x="643" y="562"/>
                </a:lnTo>
                <a:lnTo>
                  <a:pt x="645" y="562"/>
                </a:lnTo>
                <a:lnTo>
                  <a:pt x="645" y="564"/>
                </a:lnTo>
                <a:lnTo>
                  <a:pt x="646" y="565"/>
                </a:lnTo>
                <a:lnTo>
                  <a:pt x="646" y="566"/>
                </a:lnTo>
                <a:lnTo>
                  <a:pt x="645" y="567"/>
                </a:lnTo>
                <a:lnTo>
                  <a:pt x="643" y="570"/>
                </a:lnTo>
                <a:lnTo>
                  <a:pt x="642" y="571"/>
                </a:lnTo>
                <a:lnTo>
                  <a:pt x="640" y="572"/>
                </a:lnTo>
                <a:lnTo>
                  <a:pt x="639" y="573"/>
                </a:lnTo>
                <a:lnTo>
                  <a:pt x="640" y="574"/>
                </a:lnTo>
                <a:lnTo>
                  <a:pt x="643" y="574"/>
                </a:lnTo>
                <a:lnTo>
                  <a:pt x="646" y="573"/>
                </a:lnTo>
                <a:lnTo>
                  <a:pt x="648" y="573"/>
                </a:lnTo>
                <a:lnTo>
                  <a:pt x="649" y="576"/>
                </a:lnTo>
                <a:lnTo>
                  <a:pt x="647" y="578"/>
                </a:lnTo>
                <a:lnTo>
                  <a:pt x="643" y="578"/>
                </a:lnTo>
                <a:lnTo>
                  <a:pt x="642" y="579"/>
                </a:lnTo>
                <a:lnTo>
                  <a:pt x="642" y="580"/>
                </a:lnTo>
                <a:lnTo>
                  <a:pt x="641" y="580"/>
                </a:lnTo>
                <a:lnTo>
                  <a:pt x="645" y="584"/>
                </a:lnTo>
                <a:lnTo>
                  <a:pt x="646" y="586"/>
                </a:lnTo>
                <a:lnTo>
                  <a:pt x="648" y="589"/>
                </a:lnTo>
                <a:lnTo>
                  <a:pt x="646" y="591"/>
                </a:lnTo>
                <a:lnTo>
                  <a:pt x="643" y="592"/>
                </a:lnTo>
                <a:lnTo>
                  <a:pt x="641" y="595"/>
                </a:lnTo>
                <a:lnTo>
                  <a:pt x="639" y="594"/>
                </a:lnTo>
                <a:lnTo>
                  <a:pt x="637" y="595"/>
                </a:lnTo>
                <a:lnTo>
                  <a:pt x="640" y="595"/>
                </a:lnTo>
                <a:lnTo>
                  <a:pt x="640" y="596"/>
                </a:lnTo>
                <a:lnTo>
                  <a:pt x="642" y="597"/>
                </a:lnTo>
                <a:lnTo>
                  <a:pt x="646" y="597"/>
                </a:lnTo>
                <a:lnTo>
                  <a:pt x="647" y="599"/>
                </a:lnTo>
                <a:lnTo>
                  <a:pt x="649" y="601"/>
                </a:lnTo>
                <a:lnTo>
                  <a:pt x="648" y="603"/>
                </a:lnTo>
                <a:lnTo>
                  <a:pt x="647" y="604"/>
                </a:lnTo>
                <a:lnTo>
                  <a:pt x="649" y="608"/>
                </a:lnTo>
                <a:lnTo>
                  <a:pt x="650" y="608"/>
                </a:lnTo>
                <a:lnTo>
                  <a:pt x="654" y="609"/>
                </a:lnTo>
                <a:lnTo>
                  <a:pt x="654" y="610"/>
                </a:lnTo>
                <a:lnTo>
                  <a:pt x="655" y="611"/>
                </a:lnTo>
                <a:lnTo>
                  <a:pt x="660" y="611"/>
                </a:lnTo>
                <a:lnTo>
                  <a:pt x="662" y="614"/>
                </a:lnTo>
                <a:lnTo>
                  <a:pt x="661" y="615"/>
                </a:lnTo>
                <a:lnTo>
                  <a:pt x="662" y="616"/>
                </a:lnTo>
                <a:lnTo>
                  <a:pt x="662" y="619"/>
                </a:lnTo>
                <a:lnTo>
                  <a:pt x="664" y="620"/>
                </a:lnTo>
                <a:lnTo>
                  <a:pt x="666" y="621"/>
                </a:lnTo>
                <a:lnTo>
                  <a:pt x="668" y="619"/>
                </a:lnTo>
                <a:lnTo>
                  <a:pt x="671" y="617"/>
                </a:lnTo>
                <a:lnTo>
                  <a:pt x="673" y="617"/>
                </a:lnTo>
                <a:lnTo>
                  <a:pt x="674" y="615"/>
                </a:lnTo>
                <a:lnTo>
                  <a:pt x="674" y="613"/>
                </a:lnTo>
                <a:lnTo>
                  <a:pt x="673" y="611"/>
                </a:lnTo>
                <a:lnTo>
                  <a:pt x="673" y="610"/>
                </a:lnTo>
                <a:lnTo>
                  <a:pt x="672" y="609"/>
                </a:lnTo>
                <a:lnTo>
                  <a:pt x="673" y="609"/>
                </a:lnTo>
                <a:lnTo>
                  <a:pt x="676" y="611"/>
                </a:lnTo>
                <a:lnTo>
                  <a:pt x="679" y="614"/>
                </a:lnTo>
                <a:lnTo>
                  <a:pt x="683" y="615"/>
                </a:lnTo>
                <a:lnTo>
                  <a:pt x="685" y="617"/>
                </a:lnTo>
                <a:lnTo>
                  <a:pt x="686" y="620"/>
                </a:lnTo>
                <a:lnTo>
                  <a:pt x="686" y="623"/>
                </a:lnTo>
                <a:lnTo>
                  <a:pt x="689" y="626"/>
                </a:lnTo>
                <a:lnTo>
                  <a:pt x="690" y="628"/>
                </a:lnTo>
                <a:lnTo>
                  <a:pt x="690" y="629"/>
                </a:lnTo>
                <a:lnTo>
                  <a:pt x="691" y="629"/>
                </a:lnTo>
                <a:lnTo>
                  <a:pt x="693" y="627"/>
                </a:lnTo>
                <a:lnTo>
                  <a:pt x="698" y="632"/>
                </a:lnTo>
                <a:lnTo>
                  <a:pt x="698" y="634"/>
                </a:lnTo>
                <a:lnTo>
                  <a:pt x="701" y="635"/>
                </a:lnTo>
                <a:lnTo>
                  <a:pt x="701" y="638"/>
                </a:lnTo>
                <a:lnTo>
                  <a:pt x="699" y="639"/>
                </a:lnTo>
                <a:lnTo>
                  <a:pt x="701" y="641"/>
                </a:lnTo>
                <a:lnTo>
                  <a:pt x="703" y="644"/>
                </a:lnTo>
                <a:lnTo>
                  <a:pt x="702" y="645"/>
                </a:lnTo>
                <a:lnTo>
                  <a:pt x="702" y="646"/>
                </a:lnTo>
                <a:lnTo>
                  <a:pt x="703" y="647"/>
                </a:lnTo>
                <a:lnTo>
                  <a:pt x="707" y="648"/>
                </a:lnTo>
                <a:lnTo>
                  <a:pt x="709" y="648"/>
                </a:lnTo>
                <a:lnTo>
                  <a:pt x="711" y="651"/>
                </a:lnTo>
                <a:lnTo>
                  <a:pt x="715" y="651"/>
                </a:lnTo>
                <a:lnTo>
                  <a:pt x="715" y="652"/>
                </a:lnTo>
                <a:lnTo>
                  <a:pt x="717" y="653"/>
                </a:lnTo>
                <a:lnTo>
                  <a:pt x="718" y="653"/>
                </a:lnTo>
                <a:lnTo>
                  <a:pt x="720" y="656"/>
                </a:lnTo>
                <a:lnTo>
                  <a:pt x="721" y="656"/>
                </a:lnTo>
                <a:lnTo>
                  <a:pt x="723" y="654"/>
                </a:lnTo>
                <a:lnTo>
                  <a:pt x="724" y="654"/>
                </a:lnTo>
                <a:lnTo>
                  <a:pt x="724" y="656"/>
                </a:lnTo>
                <a:lnTo>
                  <a:pt x="726" y="657"/>
                </a:lnTo>
                <a:lnTo>
                  <a:pt x="728" y="657"/>
                </a:lnTo>
                <a:lnTo>
                  <a:pt x="729" y="656"/>
                </a:lnTo>
                <a:lnTo>
                  <a:pt x="732" y="656"/>
                </a:lnTo>
                <a:lnTo>
                  <a:pt x="733" y="658"/>
                </a:lnTo>
                <a:lnTo>
                  <a:pt x="734" y="658"/>
                </a:lnTo>
                <a:lnTo>
                  <a:pt x="740" y="659"/>
                </a:lnTo>
                <a:lnTo>
                  <a:pt x="741" y="659"/>
                </a:lnTo>
                <a:lnTo>
                  <a:pt x="742" y="660"/>
                </a:lnTo>
                <a:lnTo>
                  <a:pt x="743" y="663"/>
                </a:lnTo>
                <a:lnTo>
                  <a:pt x="743" y="664"/>
                </a:lnTo>
                <a:lnTo>
                  <a:pt x="746" y="666"/>
                </a:lnTo>
                <a:lnTo>
                  <a:pt x="752" y="669"/>
                </a:lnTo>
                <a:lnTo>
                  <a:pt x="759" y="666"/>
                </a:lnTo>
                <a:lnTo>
                  <a:pt x="759" y="660"/>
                </a:lnTo>
                <a:lnTo>
                  <a:pt x="761" y="658"/>
                </a:lnTo>
                <a:lnTo>
                  <a:pt x="768" y="658"/>
                </a:lnTo>
                <a:lnTo>
                  <a:pt x="770" y="657"/>
                </a:lnTo>
                <a:lnTo>
                  <a:pt x="773" y="654"/>
                </a:lnTo>
                <a:lnTo>
                  <a:pt x="774" y="653"/>
                </a:lnTo>
                <a:lnTo>
                  <a:pt x="776" y="653"/>
                </a:lnTo>
                <a:lnTo>
                  <a:pt x="778" y="647"/>
                </a:lnTo>
                <a:lnTo>
                  <a:pt x="779" y="645"/>
                </a:lnTo>
                <a:lnTo>
                  <a:pt x="779" y="642"/>
                </a:lnTo>
                <a:lnTo>
                  <a:pt x="777" y="634"/>
                </a:lnTo>
                <a:lnTo>
                  <a:pt x="777" y="633"/>
                </a:lnTo>
                <a:lnTo>
                  <a:pt x="773" y="629"/>
                </a:lnTo>
                <a:lnTo>
                  <a:pt x="772" y="627"/>
                </a:lnTo>
                <a:lnTo>
                  <a:pt x="771" y="626"/>
                </a:lnTo>
                <a:lnTo>
                  <a:pt x="772" y="623"/>
                </a:lnTo>
                <a:lnTo>
                  <a:pt x="776" y="622"/>
                </a:lnTo>
                <a:lnTo>
                  <a:pt x="777" y="620"/>
                </a:lnTo>
                <a:lnTo>
                  <a:pt x="776" y="619"/>
                </a:lnTo>
                <a:lnTo>
                  <a:pt x="776" y="617"/>
                </a:lnTo>
                <a:lnTo>
                  <a:pt x="773" y="617"/>
                </a:lnTo>
                <a:lnTo>
                  <a:pt x="771" y="615"/>
                </a:lnTo>
                <a:lnTo>
                  <a:pt x="772" y="614"/>
                </a:lnTo>
                <a:lnTo>
                  <a:pt x="768" y="614"/>
                </a:lnTo>
                <a:lnTo>
                  <a:pt x="766" y="611"/>
                </a:lnTo>
                <a:lnTo>
                  <a:pt x="767" y="608"/>
                </a:lnTo>
                <a:lnTo>
                  <a:pt x="765" y="605"/>
                </a:lnTo>
                <a:lnTo>
                  <a:pt x="763" y="607"/>
                </a:lnTo>
                <a:lnTo>
                  <a:pt x="760" y="609"/>
                </a:lnTo>
                <a:lnTo>
                  <a:pt x="760" y="611"/>
                </a:lnTo>
                <a:lnTo>
                  <a:pt x="753" y="611"/>
                </a:lnTo>
                <a:lnTo>
                  <a:pt x="749" y="614"/>
                </a:lnTo>
                <a:lnTo>
                  <a:pt x="747" y="615"/>
                </a:lnTo>
                <a:lnTo>
                  <a:pt x="745" y="614"/>
                </a:lnTo>
                <a:lnTo>
                  <a:pt x="739" y="610"/>
                </a:lnTo>
                <a:lnTo>
                  <a:pt x="735" y="605"/>
                </a:lnTo>
                <a:lnTo>
                  <a:pt x="726" y="591"/>
                </a:lnTo>
                <a:lnTo>
                  <a:pt x="724" y="586"/>
                </a:lnTo>
                <a:lnTo>
                  <a:pt x="722" y="582"/>
                </a:lnTo>
                <a:lnTo>
                  <a:pt x="718" y="578"/>
                </a:lnTo>
                <a:lnTo>
                  <a:pt x="715" y="578"/>
                </a:lnTo>
                <a:lnTo>
                  <a:pt x="712" y="573"/>
                </a:lnTo>
                <a:lnTo>
                  <a:pt x="714" y="571"/>
                </a:lnTo>
                <a:lnTo>
                  <a:pt x="712" y="570"/>
                </a:lnTo>
                <a:lnTo>
                  <a:pt x="712" y="567"/>
                </a:lnTo>
                <a:lnTo>
                  <a:pt x="714" y="568"/>
                </a:lnTo>
                <a:lnTo>
                  <a:pt x="715" y="567"/>
                </a:lnTo>
                <a:lnTo>
                  <a:pt x="711" y="565"/>
                </a:lnTo>
                <a:lnTo>
                  <a:pt x="711" y="564"/>
                </a:lnTo>
                <a:lnTo>
                  <a:pt x="709" y="559"/>
                </a:lnTo>
                <a:lnTo>
                  <a:pt x="710" y="557"/>
                </a:lnTo>
                <a:lnTo>
                  <a:pt x="714" y="558"/>
                </a:lnTo>
                <a:lnTo>
                  <a:pt x="715" y="560"/>
                </a:lnTo>
                <a:lnTo>
                  <a:pt x="717" y="560"/>
                </a:lnTo>
                <a:lnTo>
                  <a:pt x="718" y="558"/>
                </a:lnTo>
                <a:lnTo>
                  <a:pt x="720" y="557"/>
                </a:lnTo>
                <a:lnTo>
                  <a:pt x="723" y="555"/>
                </a:lnTo>
                <a:lnTo>
                  <a:pt x="726" y="553"/>
                </a:lnTo>
                <a:lnTo>
                  <a:pt x="724" y="551"/>
                </a:lnTo>
                <a:lnTo>
                  <a:pt x="726" y="548"/>
                </a:lnTo>
                <a:lnTo>
                  <a:pt x="726" y="547"/>
                </a:lnTo>
                <a:lnTo>
                  <a:pt x="727" y="545"/>
                </a:lnTo>
                <a:lnTo>
                  <a:pt x="728" y="543"/>
                </a:lnTo>
                <a:lnTo>
                  <a:pt x="727" y="539"/>
                </a:lnTo>
                <a:lnTo>
                  <a:pt x="726" y="537"/>
                </a:lnTo>
                <a:lnTo>
                  <a:pt x="726" y="536"/>
                </a:lnTo>
                <a:lnTo>
                  <a:pt x="729" y="535"/>
                </a:lnTo>
                <a:lnTo>
                  <a:pt x="730" y="535"/>
                </a:lnTo>
                <a:lnTo>
                  <a:pt x="732" y="534"/>
                </a:lnTo>
                <a:lnTo>
                  <a:pt x="734" y="533"/>
                </a:lnTo>
                <a:lnTo>
                  <a:pt x="735" y="534"/>
                </a:lnTo>
                <a:lnTo>
                  <a:pt x="742" y="536"/>
                </a:lnTo>
                <a:lnTo>
                  <a:pt x="749" y="540"/>
                </a:lnTo>
                <a:lnTo>
                  <a:pt x="754" y="543"/>
                </a:lnTo>
                <a:lnTo>
                  <a:pt x="757" y="546"/>
                </a:lnTo>
                <a:lnTo>
                  <a:pt x="759" y="546"/>
                </a:lnTo>
                <a:lnTo>
                  <a:pt x="761" y="547"/>
                </a:lnTo>
                <a:lnTo>
                  <a:pt x="763" y="548"/>
                </a:lnTo>
                <a:lnTo>
                  <a:pt x="764" y="551"/>
                </a:lnTo>
                <a:lnTo>
                  <a:pt x="763" y="553"/>
                </a:lnTo>
                <a:lnTo>
                  <a:pt x="764" y="554"/>
                </a:lnTo>
                <a:lnTo>
                  <a:pt x="766" y="559"/>
                </a:lnTo>
                <a:lnTo>
                  <a:pt x="777" y="565"/>
                </a:lnTo>
                <a:lnTo>
                  <a:pt x="782" y="566"/>
                </a:lnTo>
                <a:lnTo>
                  <a:pt x="786" y="566"/>
                </a:lnTo>
                <a:lnTo>
                  <a:pt x="790" y="565"/>
                </a:lnTo>
                <a:lnTo>
                  <a:pt x="791" y="566"/>
                </a:lnTo>
                <a:lnTo>
                  <a:pt x="791" y="571"/>
                </a:lnTo>
                <a:lnTo>
                  <a:pt x="792" y="572"/>
                </a:lnTo>
                <a:lnTo>
                  <a:pt x="792" y="573"/>
                </a:lnTo>
                <a:lnTo>
                  <a:pt x="791" y="572"/>
                </a:lnTo>
                <a:lnTo>
                  <a:pt x="789" y="571"/>
                </a:lnTo>
                <a:lnTo>
                  <a:pt x="788" y="570"/>
                </a:lnTo>
                <a:lnTo>
                  <a:pt x="786" y="572"/>
                </a:lnTo>
                <a:lnTo>
                  <a:pt x="778" y="572"/>
                </a:lnTo>
                <a:lnTo>
                  <a:pt x="777" y="574"/>
                </a:lnTo>
                <a:lnTo>
                  <a:pt x="777" y="576"/>
                </a:lnTo>
                <a:lnTo>
                  <a:pt x="780" y="580"/>
                </a:lnTo>
                <a:lnTo>
                  <a:pt x="780" y="582"/>
                </a:lnTo>
                <a:lnTo>
                  <a:pt x="779" y="583"/>
                </a:lnTo>
                <a:lnTo>
                  <a:pt x="777" y="584"/>
                </a:lnTo>
                <a:lnTo>
                  <a:pt x="777" y="585"/>
                </a:lnTo>
                <a:lnTo>
                  <a:pt x="778" y="586"/>
                </a:lnTo>
                <a:lnTo>
                  <a:pt x="778" y="585"/>
                </a:lnTo>
                <a:lnTo>
                  <a:pt x="779" y="585"/>
                </a:lnTo>
                <a:lnTo>
                  <a:pt x="780" y="584"/>
                </a:lnTo>
                <a:lnTo>
                  <a:pt x="782" y="584"/>
                </a:lnTo>
                <a:lnTo>
                  <a:pt x="782" y="583"/>
                </a:lnTo>
                <a:lnTo>
                  <a:pt x="783" y="582"/>
                </a:lnTo>
                <a:lnTo>
                  <a:pt x="783" y="578"/>
                </a:lnTo>
                <a:lnTo>
                  <a:pt x="785" y="578"/>
                </a:lnTo>
                <a:lnTo>
                  <a:pt x="786" y="577"/>
                </a:lnTo>
                <a:lnTo>
                  <a:pt x="790" y="574"/>
                </a:lnTo>
                <a:lnTo>
                  <a:pt x="791" y="574"/>
                </a:lnTo>
                <a:lnTo>
                  <a:pt x="794" y="576"/>
                </a:lnTo>
                <a:lnTo>
                  <a:pt x="795" y="576"/>
                </a:lnTo>
                <a:lnTo>
                  <a:pt x="796" y="573"/>
                </a:lnTo>
                <a:lnTo>
                  <a:pt x="792" y="570"/>
                </a:lnTo>
                <a:lnTo>
                  <a:pt x="792" y="568"/>
                </a:lnTo>
                <a:lnTo>
                  <a:pt x="794" y="568"/>
                </a:lnTo>
                <a:lnTo>
                  <a:pt x="797" y="572"/>
                </a:lnTo>
                <a:lnTo>
                  <a:pt x="802" y="573"/>
                </a:lnTo>
                <a:lnTo>
                  <a:pt x="807" y="576"/>
                </a:lnTo>
                <a:lnTo>
                  <a:pt x="813" y="576"/>
                </a:lnTo>
                <a:lnTo>
                  <a:pt x="814" y="577"/>
                </a:lnTo>
                <a:lnTo>
                  <a:pt x="820" y="580"/>
                </a:lnTo>
                <a:lnTo>
                  <a:pt x="823" y="584"/>
                </a:lnTo>
                <a:lnTo>
                  <a:pt x="828" y="585"/>
                </a:lnTo>
                <a:lnTo>
                  <a:pt x="830" y="585"/>
                </a:lnTo>
                <a:lnTo>
                  <a:pt x="832" y="586"/>
                </a:lnTo>
                <a:lnTo>
                  <a:pt x="832" y="588"/>
                </a:lnTo>
                <a:lnTo>
                  <a:pt x="836" y="592"/>
                </a:lnTo>
                <a:lnTo>
                  <a:pt x="841" y="596"/>
                </a:lnTo>
                <a:lnTo>
                  <a:pt x="848" y="595"/>
                </a:lnTo>
                <a:lnTo>
                  <a:pt x="850" y="594"/>
                </a:lnTo>
                <a:lnTo>
                  <a:pt x="848" y="592"/>
                </a:lnTo>
                <a:lnTo>
                  <a:pt x="850" y="592"/>
                </a:lnTo>
                <a:lnTo>
                  <a:pt x="852" y="591"/>
                </a:lnTo>
                <a:lnTo>
                  <a:pt x="853" y="591"/>
                </a:lnTo>
                <a:lnTo>
                  <a:pt x="855" y="590"/>
                </a:lnTo>
                <a:lnTo>
                  <a:pt x="857" y="590"/>
                </a:lnTo>
                <a:lnTo>
                  <a:pt x="855" y="588"/>
                </a:lnTo>
                <a:lnTo>
                  <a:pt x="854" y="589"/>
                </a:lnTo>
                <a:lnTo>
                  <a:pt x="852" y="590"/>
                </a:lnTo>
                <a:lnTo>
                  <a:pt x="851" y="590"/>
                </a:lnTo>
                <a:lnTo>
                  <a:pt x="851" y="589"/>
                </a:lnTo>
                <a:lnTo>
                  <a:pt x="852" y="584"/>
                </a:lnTo>
                <a:lnTo>
                  <a:pt x="852" y="583"/>
                </a:lnTo>
                <a:lnTo>
                  <a:pt x="855" y="583"/>
                </a:lnTo>
                <a:lnTo>
                  <a:pt x="854" y="582"/>
                </a:lnTo>
                <a:lnTo>
                  <a:pt x="853" y="582"/>
                </a:lnTo>
                <a:lnTo>
                  <a:pt x="853" y="580"/>
                </a:lnTo>
                <a:lnTo>
                  <a:pt x="855" y="579"/>
                </a:lnTo>
                <a:lnTo>
                  <a:pt x="859" y="578"/>
                </a:lnTo>
                <a:lnTo>
                  <a:pt x="861" y="580"/>
                </a:lnTo>
                <a:lnTo>
                  <a:pt x="863" y="580"/>
                </a:lnTo>
                <a:lnTo>
                  <a:pt x="866" y="579"/>
                </a:lnTo>
                <a:lnTo>
                  <a:pt x="867" y="579"/>
                </a:lnTo>
                <a:lnTo>
                  <a:pt x="870" y="580"/>
                </a:lnTo>
                <a:lnTo>
                  <a:pt x="870" y="582"/>
                </a:lnTo>
                <a:lnTo>
                  <a:pt x="871" y="583"/>
                </a:lnTo>
                <a:lnTo>
                  <a:pt x="871" y="585"/>
                </a:lnTo>
                <a:lnTo>
                  <a:pt x="872" y="586"/>
                </a:lnTo>
                <a:lnTo>
                  <a:pt x="875" y="588"/>
                </a:lnTo>
                <a:lnTo>
                  <a:pt x="876" y="589"/>
                </a:lnTo>
                <a:lnTo>
                  <a:pt x="878" y="589"/>
                </a:lnTo>
                <a:lnTo>
                  <a:pt x="878" y="591"/>
                </a:lnTo>
                <a:lnTo>
                  <a:pt x="879" y="592"/>
                </a:lnTo>
                <a:lnTo>
                  <a:pt x="879" y="594"/>
                </a:lnTo>
                <a:lnTo>
                  <a:pt x="878" y="594"/>
                </a:lnTo>
                <a:lnTo>
                  <a:pt x="873" y="592"/>
                </a:lnTo>
                <a:lnTo>
                  <a:pt x="867" y="592"/>
                </a:lnTo>
                <a:lnTo>
                  <a:pt x="866" y="591"/>
                </a:lnTo>
                <a:lnTo>
                  <a:pt x="865" y="589"/>
                </a:lnTo>
                <a:lnTo>
                  <a:pt x="864" y="588"/>
                </a:lnTo>
                <a:lnTo>
                  <a:pt x="863" y="585"/>
                </a:lnTo>
                <a:lnTo>
                  <a:pt x="861" y="585"/>
                </a:lnTo>
                <a:lnTo>
                  <a:pt x="860" y="584"/>
                </a:lnTo>
                <a:lnTo>
                  <a:pt x="858" y="584"/>
                </a:lnTo>
                <a:lnTo>
                  <a:pt x="863" y="588"/>
                </a:lnTo>
                <a:lnTo>
                  <a:pt x="864" y="590"/>
                </a:lnTo>
                <a:lnTo>
                  <a:pt x="866" y="592"/>
                </a:lnTo>
                <a:lnTo>
                  <a:pt x="867" y="595"/>
                </a:lnTo>
                <a:lnTo>
                  <a:pt x="869" y="595"/>
                </a:lnTo>
                <a:lnTo>
                  <a:pt x="875" y="594"/>
                </a:lnTo>
                <a:lnTo>
                  <a:pt x="876" y="594"/>
                </a:lnTo>
                <a:lnTo>
                  <a:pt x="877" y="595"/>
                </a:lnTo>
                <a:lnTo>
                  <a:pt x="879" y="596"/>
                </a:lnTo>
                <a:lnTo>
                  <a:pt x="882" y="596"/>
                </a:lnTo>
                <a:lnTo>
                  <a:pt x="882" y="591"/>
                </a:lnTo>
                <a:lnTo>
                  <a:pt x="879" y="586"/>
                </a:lnTo>
                <a:lnTo>
                  <a:pt x="878" y="580"/>
                </a:lnTo>
                <a:lnTo>
                  <a:pt x="878" y="579"/>
                </a:lnTo>
                <a:lnTo>
                  <a:pt x="877" y="579"/>
                </a:lnTo>
                <a:lnTo>
                  <a:pt x="877" y="574"/>
                </a:lnTo>
                <a:lnTo>
                  <a:pt x="878" y="573"/>
                </a:lnTo>
                <a:lnTo>
                  <a:pt x="879" y="573"/>
                </a:lnTo>
                <a:lnTo>
                  <a:pt x="881" y="574"/>
                </a:lnTo>
                <a:lnTo>
                  <a:pt x="882" y="574"/>
                </a:lnTo>
                <a:lnTo>
                  <a:pt x="882" y="573"/>
                </a:lnTo>
                <a:lnTo>
                  <a:pt x="878" y="570"/>
                </a:lnTo>
                <a:lnTo>
                  <a:pt x="877" y="567"/>
                </a:lnTo>
                <a:lnTo>
                  <a:pt x="876" y="558"/>
                </a:lnTo>
                <a:lnTo>
                  <a:pt x="875" y="557"/>
                </a:lnTo>
                <a:lnTo>
                  <a:pt x="875" y="555"/>
                </a:lnTo>
                <a:lnTo>
                  <a:pt x="872" y="553"/>
                </a:lnTo>
                <a:lnTo>
                  <a:pt x="872" y="552"/>
                </a:lnTo>
                <a:lnTo>
                  <a:pt x="871" y="549"/>
                </a:lnTo>
                <a:lnTo>
                  <a:pt x="871" y="548"/>
                </a:lnTo>
                <a:lnTo>
                  <a:pt x="870" y="547"/>
                </a:lnTo>
                <a:lnTo>
                  <a:pt x="865" y="545"/>
                </a:lnTo>
                <a:lnTo>
                  <a:pt x="864" y="543"/>
                </a:lnTo>
                <a:lnTo>
                  <a:pt x="854" y="523"/>
                </a:lnTo>
                <a:lnTo>
                  <a:pt x="851" y="518"/>
                </a:lnTo>
                <a:lnTo>
                  <a:pt x="848" y="515"/>
                </a:lnTo>
                <a:lnTo>
                  <a:pt x="848" y="512"/>
                </a:lnTo>
                <a:lnTo>
                  <a:pt x="847" y="510"/>
                </a:lnTo>
                <a:lnTo>
                  <a:pt x="847" y="500"/>
                </a:lnTo>
                <a:lnTo>
                  <a:pt x="848" y="498"/>
                </a:lnTo>
                <a:lnTo>
                  <a:pt x="848" y="496"/>
                </a:lnTo>
                <a:lnTo>
                  <a:pt x="850" y="494"/>
                </a:lnTo>
                <a:lnTo>
                  <a:pt x="852" y="490"/>
                </a:lnTo>
                <a:lnTo>
                  <a:pt x="859" y="484"/>
                </a:lnTo>
                <a:lnTo>
                  <a:pt x="863" y="482"/>
                </a:lnTo>
                <a:lnTo>
                  <a:pt x="871" y="476"/>
                </a:lnTo>
                <a:lnTo>
                  <a:pt x="879" y="468"/>
                </a:lnTo>
                <a:lnTo>
                  <a:pt x="886" y="456"/>
                </a:lnTo>
                <a:lnTo>
                  <a:pt x="890" y="451"/>
                </a:lnTo>
                <a:lnTo>
                  <a:pt x="894" y="449"/>
                </a:lnTo>
                <a:lnTo>
                  <a:pt x="902" y="448"/>
                </a:lnTo>
                <a:lnTo>
                  <a:pt x="907" y="445"/>
                </a:lnTo>
                <a:lnTo>
                  <a:pt x="916" y="442"/>
                </a:lnTo>
                <a:lnTo>
                  <a:pt x="919" y="439"/>
                </a:lnTo>
                <a:lnTo>
                  <a:pt x="920" y="439"/>
                </a:lnTo>
                <a:lnTo>
                  <a:pt x="920" y="438"/>
                </a:lnTo>
                <a:lnTo>
                  <a:pt x="921" y="436"/>
                </a:lnTo>
                <a:lnTo>
                  <a:pt x="922" y="436"/>
                </a:lnTo>
                <a:lnTo>
                  <a:pt x="925" y="432"/>
                </a:lnTo>
                <a:lnTo>
                  <a:pt x="928" y="431"/>
                </a:lnTo>
                <a:lnTo>
                  <a:pt x="929" y="431"/>
                </a:lnTo>
                <a:lnTo>
                  <a:pt x="928" y="430"/>
                </a:lnTo>
                <a:lnTo>
                  <a:pt x="929" y="429"/>
                </a:lnTo>
                <a:lnTo>
                  <a:pt x="938" y="418"/>
                </a:lnTo>
                <a:lnTo>
                  <a:pt x="945" y="406"/>
                </a:lnTo>
                <a:lnTo>
                  <a:pt x="948" y="395"/>
                </a:lnTo>
                <a:lnTo>
                  <a:pt x="951" y="393"/>
                </a:lnTo>
                <a:lnTo>
                  <a:pt x="952" y="393"/>
                </a:lnTo>
                <a:lnTo>
                  <a:pt x="959" y="395"/>
                </a:lnTo>
                <a:lnTo>
                  <a:pt x="971" y="401"/>
                </a:lnTo>
                <a:lnTo>
                  <a:pt x="972" y="402"/>
                </a:lnTo>
                <a:lnTo>
                  <a:pt x="972" y="404"/>
                </a:lnTo>
                <a:lnTo>
                  <a:pt x="969" y="406"/>
                </a:lnTo>
                <a:lnTo>
                  <a:pt x="968" y="408"/>
                </a:lnTo>
                <a:lnTo>
                  <a:pt x="976" y="407"/>
                </a:lnTo>
                <a:lnTo>
                  <a:pt x="984" y="405"/>
                </a:lnTo>
                <a:lnTo>
                  <a:pt x="991" y="405"/>
                </a:lnTo>
                <a:lnTo>
                  <a:pt x="997" y="402"/>
                </a:lnTo>
                <a:lnTo>
                  <a:pt x="999" y="404"/>
                </a:lnTo>
                <a:lnTo>
                  <a:pt x="1000" y="406"/>
                </a:lnTo>
                <a:lnTo>
                  <a:pt x="1001" y="411"/>
                </a:lnTo>
                <a:lnTo>
                  <a:pt x="1002" y="412"/>
                </a:lnTo>
                <a:lnTo>
                  <a:pt x="1003" y="414"/>
                </a:lnTo>
                <a:lnTo>
                  <a:pt x="1009" y="414"/>
                </a:lnTo>
                <a:lnTo>
                  <a:pt x="1015" y="420"/>
                </a:lnTo>
                <a:lnTo>
                  <a:pt x="1015" y="424"/>
                </a:lnTo>
                <a:lnTo>
                  <a:pt x="1014" y="426"/>
                </a:lnTo>
                <a:lnTo>
                  <a:pt x="1008" y="430"/>
                </a:lnTo>
                <a:lnTo>
                  <a:pt x="1006" y="431"/>
                </a:lnTo>
                <a:lnTo>
                  <a:pt x="1004" y="433"/>
                </a:lnTo>
                <a:lnTo>
                  <a:pt x="1004" y="435"/>
                </a:lnTo>
                <a:lnTo>
                  <a:pt x="1003" y="436"/>
                </a:lnTo>
                <a:lnTo>
                  <a:pt x="1002" y="436"/>
                </a:lnTo>
                <a:lnTo>
                  <a:pt x="1002" y="437"/>
                </a:lnTo>
                <a:lnTo>
                  <a:pt x="1000" y="437"/>
                </a:lnTo>
                <a:lnTo>
                  <a:pt x="999" y="438"/>
                </a:lnTo>
                <a:lnTo>
                  <a:pt x="999" y="439"/>
                </a:lnTo>
                <a:lnTo>
                  <a:pt x="1001" y="442"/>
                </a:lnTo>
                <a:lnTo>
                  <a:pt x="1001" y="444"/>
                </a:lnTo>
                <a:lnTo>
                  <a:pt x="1006" y="444"/>
                </a:lnTo>
                <a:lnTo>
                  <a:pt x="1006" y="447"/>
                </a:lnTo>
                <a:lnTo>
                  <a:pt x="1008" y="451"/>
                </a:lnTo>
                <a:lnTo>
                  <a:pt x="1008" y="445"/>
                </a:lnTo>
                <a:lnTo>
                  <a:pt x="1007" y="443"/>
                </a:lnTo>
                <a:lnTo>
                  <a:pt x="1003" y="442"/>
                </a:lnTo>
                <a:lnTo>
                  <a:pt x="1002" y="441"/>
                </a:lnTo>
                <a:lnTo>
                  <a:pt x="1003" y="438"/>
                </a:lnTo>
                <a:lnTo>
                  <a:pt x="1007" y="435"/>
                </a:lnTo>
                <a:lnTo>
                  <a:pt x="1008" y="435"/>
                </a:lnTo>
                <a:lnTo>
                  <a:pt x="1009" y="433"/>
                </a:lnTo>
                <a:lnTo>
                  <a:pt x="1010" y="433"/>
                </a:lnTo>
                <a:lnTo>
                  <a:pt x="1013" y="432"/>
                </a:lnTo>
                <a:lnTo>
                  <a:pt x="1014" y="432"/>
                </a:lnTo>
                <a:lnTo>
                  <a:pt x="1014" y="430"/>
                </a:lnTo>
                <a:lnTo>
                  <a:pt x="1015" y="430"/>
                </a:lnTo>
                <a:lnTo>
                  <a:pt x="1016" y="429"/>
                </a:lnTo>
                <a:lnTo>
                  <a:pt x="1019" y="430"/>
                </a:lnTo>
                <a:lnTo>
                  <a:pt x="1021" y="429"/>
                </a:lnTo>
                <a:lnTo>
                  <a:pt x="1022" y="430"/>
                </a:lnTo>
                <a:lnTo>
                  <a:pt x="1024" y="432"/>
                </a:lnTo>
                <a:lnTo>
                  <a:pt x="1026" y="433"/>
                </a:lnTo>
                <a:lnTo>
                  <a:pt x="1031" y="441"/>
                </a:lnTo>
                <a:lnTo>
                  <a:pt x="1031" y="443"/>
                </a:lnTo>
                <a:lnTo>
                  <a:pt x="1029" y="444"/>
                </a:lnTo>
                <a:lnTo>
                  <a:pt x="1029" y="449"/>
                </a:lnTo>
                <a:lnTo>
                  <a:pt x="1032" y="453"/>
                </a:lnTo>
                <a:lnTo>
                  <a:pt x="1035" y="461"/>
                </a:lnTo>
                <a:lnTo>
                  <a:pt x="1035" y="462"/>
                </a:lnTo>
                <a:lnTo>
                  <a:pt x="1037" y="459"/>
                </a:lnTo>
                <a:lnTo>
                  <a:pt x="1035" y="455"/>
                </a:lnTo>
                <a:lnTo>
                  <a:pt x="1033" y="450"/>
                </a:lnTo>
                <a:lnTo>
                  <a:pt x="1033" y="448"/>
                </a:lnTo>
                <a:lnTo>
                  <a:pt x="1034" y="443"/>
                </a:lnTo>
                <a:lnTo>
                  <a:pt x="1035" y="439"/>
                </a:lnTo>
                <a:lnTo>
                  <a:pt x="1034" y="438"/>
                </a:lnTo>
                <a:lnTo>
                  <a:pt x="1033" y="433"/>
                </a:lnTo>
                <a:lnTo>
                  <a:pt x="1032" y="432"/>
                </a:lnTo>
                <a:lnTo>
                  <a:pt x="1032" y="422"/>
                </a:lnTo>
                <a:lnTo>
                  <a:pt x="1033" y="416"/>
                </a:lnTo>
                <a:lnTo>
                  <a:pt x="1034" y="411"/>
                </a:lnTo>
                <a:lnTo>
                  <a:pt x="1035" y="410"/>
                </a:lnTo>
                <a:lnTo>
                  <a:pt x="1037" y="406"/>
                </a:lnTo>
                <a:lnTo>
                  <a:pt x="1038" y="405"/>
                </a:lnTo>
                <a:lnTo>
                  <a:pt x="1038" y="401"/>
                </a:lnTo>
                <a:lnTo>
                  <a:pt x="1039" y="401"/>
                </a:lnTo>
                <a:lnTo>
                  <a:pt x="1043" y="396"/>
                </a:lnTo>
                <a:lnTo>
                  <a:pt x="1044" y="395"/>
                </a:lnTo>
                <a:lnTo>
                  <a:pt x="1044" y="392"/>
                </a:lnTo>
                <a:lnTo>
                  <a:pt x="1045" y="386"/>
                </a:lnTo>
                <a:lnTo>
                  <a:pt x="1045" y="383"/>
                </a:lnTo>
                <a:lnTo>
                  <a:pt x="1046" y="381"/>
                </a:lnTo>
                <a:lnTo>
                  <a:pt x="1049" y="380"/>
                </a:lnTo>
                <a:lnTo>
                  <a:pt x="1052" y="379"/>
                </a:lnTo>
                <a:lnTo>
                  <a:pt x="1052" y="377"/>
                </a:lnTo>
                <a:lnTo>
                  <a:pt x="1049" y="377"/>
                </a:lnTo>
                <a:lnTo>
                  <a:pt x="1047" y="376"/>
                </a:lnTo>
                <a:lnTo>
                  <a:pt x="1047" y="375"/>
                </a:lnTo>
                <a:lnTo>
                  <a:pt x="1045" y="368"/>
                </a:lnTo>
                <a:lnTo>
                  <a:pt x="1044" y="367"/>
                </a:lnTo>
                <a:lnTo>
                  <a:pt x="1044" y="364"/>
                </a:lnTo>
                <a:lnTo>
                  <a:pt x="1049" y="362"/>
                </a:lnTo>
                <a:lnTo>
                  <a:pt x="1049" y="353"/>
                </a:lnTo>
                <a:lnTo>
                  <a:pt x="1050" y="351"/>
                </a:lnTo>
                <a:lnTo>
                  <a:pt x="1049" y="350"/>
                </a:lnTo>
                <a:lnTo>
                  <a:pt x="1049" y="347"/>
                </a:lnTo>
                <a:lnTo>
                  <a:pt x="1046" y="345"/>
                </a:lnTo>
                <a:lnTo>
                  <a:pt x="1046" y="342"/>
                </a:lnTo>
                <a:lnTo>
                  <a:pt x="1041" y="337"/>
                </a:lnTo>
                <a:lnTo>
                  <a:pt x="1041" y="334"/>
                </a:lnTo>
                <a:lnTo>
                  <a:pt x="1043" y="333"/>
                </a:lnTo>
                <a:lnTo>
                  <a:pt x="1044" y="333"/>
                </a:lnTo>
                <a:lnTo>
                  <a:pt x="1044" y="331"/>
                </a:lnTo>
                <a:lnTo>
                  <a:pt x="1040" y="333"/>
                </a:lnTo>
                <a:lnTo>
                  <a:pt x="1039" y="332"/>
                </a:lnTo>
                <a:lnTo>
                  <a:pt x="1039" y="331"/>
                </a:lnTo>
                <a:lnTo>
                  <a:pt x="1037" y="330"/>
                </a:lnTo>
                <a:lnTo>
                  <a:pt x="1034" y="327"/>
                </a:lnTo>
                <a:lnTo>
                  <a:pt x="1029" y="325"/>
                </a:lnTo>
                <a:lnTo>
                  <a:pt x="1025" y="325"/>
                </a:lnTo>
                <a:lnTo>
                  <a:pt x="1022" y="324"/>
                </a:lnTo>
                <a:lnTo>
                  <a:pt x="1020" y="324"/>
                </a:lnTo>
                <a:lnTo>
                  <a:pt x="1019" y="320"/>
                </a:lnTo>
                <a:lnTo>
                  <a:pt x="1019" y="313"/>
                </a:lnTo>
                <a:lnTo>
                  <a:pt x="1020" y="306"/>
                </a:lnTo>
                <a:lnTo>
                  <a:pt x="1022" y="296"/>
                </a:lnTo>
                <a:lnTo>
                  <a:pt x="1028" y="279"/>
                </a:lnTo>
                <a:lnTo>
                  <a:pt x="1029" y="275"/>
                </a:lnTo>
                <a:lnTo>
                  <a:pt x="1029" y="269"/>
                </a:lnTo>
                <a:lnTo>
                  <a:pt x="1031" y="269"/>
                </a:lnTo>
                <a:lnTo>
                  <a:pt x="1031" y="267"/>
                </a:lnTo>
                <a:lnTo>
                  <a:pt x="1032" y="267"/>
                </a:lnTo>
                <a:lnTo>
                  <a:pt x="1032" y="270"/>
                </a:lnTo>
                <a:lnTo>
                  <a:pt x="1033" y="270"/>
                </a:lnTo>
                <a:lnTo>
                  <a:pt x="1034" y="269"/>
                </a:lnTo>
                <a:lnTo>
                  <a:pt x="1034" y="265"/>
                </a:lnTo>
                <a:lnTo>
                  <a:pt x="1032" y="265"/>
                </a:lnTo>
                <a:lnTo>
                  <a:pt x="1031" y="264"/>
                </a:lnTo>
                <a:lnTo>
                  <a:pt x="1032" y="263"/>
                </a:lnTo>
                <a:lnTo>
                  <a:pt x="1033" y="260"/>
                </a:lnTo>
                <a:lnTo>
                  <a:pt x="1033" y="257"/>
                </a:lnTo>
                <a:lnTo>
                  <a:pt x="1034" y="256"/>
                </a:lnTo>
                <a:lnTo>
                  <a:pt x="1034" y="254"/>
                </a:lnTo>
                <a:lnTo>
                  <a:pt x="1033" y="253"/>
                </a:lnTo>
                <a:lnTo>
                  <a:pt x="1033" y="251"/>
                </a:lnTo>
                <a:lnTo>
                  <a:pt x="1032" y="250"/>
                </a:lnTo>
                <a:lnTo>
                  <a:pt x="1032" y="245"/>
                </a:lnTo>
                <a:lnTo>
                  <a:pt x="1037" y="245"/>
                </a:lnTo>
                <a:lnTo>
                  <a:pt x="1038" y="244"/>
                </a:lnTo>
                <a:lnTo>
                  <a:pt x="1039" y="241"/>
                </a:lnTo>
                <a:lnTo>
                  <a:pt x="1040" y="240"/>
                </a:lnTo>
                <a:lnTo>
                  <a:pt x="1038" y="239"/>
                </a:lnTo>
                <a:lnTo>
                  <a:pt x="1034" y="241"/>
                </a:lnTo>
                <a:lnTo>
                  <a:pt x="1033" y="240"/>
                </a:lnTo>
                <a:lnTo>
                  <a:pt x="1034" y="235"/>
                </a:lnTo>
                <a:lnTo>
                  <a:pt x="1035" y="234"/>
                </a:lnTo>
                <a:lnTo>
                  <a:pt x="1038" y="234"/>
                </a:lnTo>
                <a:lnTo>
                  <a:pt x="1037" y="233"/>
                </a:lnTo>
                <a:lnTo>
                  <a:pt x="1034" y="233"/>
                </a:lnTo>
                <a:lnTo>
                  <a:pt x="1035" y="230"/>
                </a:lnTo>
                <a:lnTo>
                  <a:pt x="1043" y="226"/>
                </a:lnTo>
                <a:lnTo>
                  <a:pt x="1046" y="226"/>
                </a:lnTo>
                <a:lnTo>
                  <a:pt x="1045" y="224"/>
                </a:lnTo>
                <a:lnTo>
                  <a:pt x="1041" y="224"/>
                </a:lnTo>
                <a:lnTo>
                  <a:pt x="1039" y="226"/>
                </a:lnTo>
                <a:lnTo>
                  <a:pt x="1038" y="228"/>
                </a:lnTo>
                <a:lnTo>
                  <a:pt x="1035" y="228"/>
                </a:lnTo>
                <a:lnTo>
                  <a:pt x="1035" y="222"/>
                </a:lnTo>
                <a:lnTo>
                  <a:pt x="1037" y="220"/>
                </a:lnTo>
                <a:lnTo>
                  <a:pt x="1037" y="213"/>
                </a:lnTo>
                <a:lnTo>
                  <a:pt x="1038" y="207"/>
                </a:lnTo>
                <a:lnTo>
                  <a:pt x="1039" y="203"/>
                </a:lnTo>
                <a:lnTo>
                  <a:pt x="1039" y="201"/>
                </a:lnTo>
                <a:lnTo>
                  <a:pt x="1038" y="198"/>
                </a:lnTo>
                <a:lnTo>
                  <a:pt x="1035" y="195"/>
                </a:lnTo>
                <a:lnTo>
                  <a:pt x="1018" y="178"/>
                </a:lnTo>
                <a:lnTo>
                  <a:pt x="1000" y="162"/>
                </a:lnTo>
                <a:lnTo>
                  <a:pt x="997" y="158"/>
                </a:lnTo>
                <a:lnTo>
                  <a:pt x="1000" y="156"/>
                </a:lnTo>
                <a:lnTo>
                  <a:pt x="1002" y="156"/>
                </a:lnTo>
                <a:lnTo>
                  <a:pt x="1007" y="155"/>
                </a:lnTo>
                <a:lnTo>
                  <a:pt x="1012" y="159"/>
                </a:lnTo>
                <a:lnTo>
                  <a:pt x="1013" y="159"/>
                </a:lnTo>
                <a:lnTo>
                  <a:pt x="1015" y="161"/>
                </a:lnTo>
                <a:lnTo>
                  <a:pt x="1018" y="162"/>
                </a:lnTo>
                <a:lnTo>
                  <a:pt x="1019" y="164"/>
                </a:lnTo>
                <a:lnTo>
                  <a:pt x="1020" y="164"/>
                </a:lnTo>
                <a:lnTo>
                  <a:pt x="1021" y="165"/>
                </a:lnTo>
                <a:lnTo>
                  <a:pt x="1022" y="165"/>
                </a:lnTo>
                <a:lnTo>
                  <a:pt x="1027" y="170"/>
                </a:lnTo>
                <a:lnTo>
                  <a:pt x="1038" y="171"/>
                </a:lnTo>
                <a:lnTo>
                  <a:pt x="1050" y="170"/>
                </a:lnTo>
                <a:lnTo>
                  <a:pt x="1083" y="170"/>
                </a:lnTo>
                <a:lnTo>
                  <a:pt x="1095" y="173"/>
                </a:lnTo>
                <a:lnTo>
                  <a:pt x="1108" y="180"/>
                </a:lnTo>
                <a:lnTo>
                  <a:pt x="1111" y="181"/>
                </a:lnTo>
                <a:lnTo>
                  <a:pt x="1111" y="185"/>
                </a:lnTo>
                <a:lnTo>
                  <a:pt x="1112" y="187"/>
                </a:lnTo>
                <a:lnTo>
                  <a:pt x="1112" y="189"/>
                </a:lnTo>
                <a:lnTo>
                  <a:pt x="1113" y="190"/>
                </a:lnTo>
                <a:lnTo>
                  <a:pt x="1113" y="191"/>
                </a:lnTo>
                <a:lnTo>
                  <a:pt x="1114" y="192"/>
                </a:lnTo>
                <a:lnTo>
                  <a:pt x="1114" y="196"/>
                </a:lnTo>
                <a:lnTo>
                  <a:pt x="1117" y="197"/>
                </a:lnTo>
                <a:lnTo>
                  <a:pt x="1120" y="202"/>
                </a:lnTo>
                <a:lnTo>
                  <a:pt x="1122" y="205"/>
                </a:lnTo>
                <a:lnTo>
                  <a:pt x="1125" y="208"/>
                </a:lnTo>
                <a:lnTo>
                  <a:pt x="1125" y="209"/>
                </a:lnTo>
                <a:lnTo>
                  <a:pt x="1127" y="208"/>
                </a:lnTo>
                <a:lnTo>
                  <a:pt x="1130" y="210"/>
                </a:lnTo>
                <a:lnTo>
                  <a:pt x="1131" y="210"/>
                </a:lnTo>
                <a:lnTo>
                  <a:pt x="1132" y="213"/>
                </a:lnTo>
                <a:lnTo>
                  <a:pt x="1136" y="217"/>
                </a:lnTo>
                <a:lnTo>
                  <a:pt x="1133" y="220"/>
                </a:lnTo>
                <a:lnTo>
                  <a:pt x="1136" y="220"/>
                </a:lnTo>
                <a:lnTo>
                  <a:pt x="1136" y="229"/>
                </a:lnTo>
                <a:lnTo>
                  <a:pt x="1137" y="230"/>
                </a:lnTo>
                <a:lnTo>
                  <a:pt x="1137" y="233"/>
                </a:lnTo>
                <a:lnTo>
                  <a:pt x="1138" y="234"/>
                </a:lnTo>
                <a:lnTo>
                  <a:pt x="1139" y="234"/>
                </a:lnTo>
                <a:lnTo>
                  <a:pt x="1139" y="236"/>
                </a:lnTo>
                <a:lnTo>
                  <a:pt x="1140" y="236"/>
                </a:lnTo>
                <a:lnTo>
                  <a:pt x="1140" y="239"/>
                </a:lnTo>
                <a:lnTo>
                  <a:pt x="1142" y="242"/>
                </a:lnTo>
                <a:lnTo>
                  <a:pt x="1143" y="245"/>
                </a:lnTo>
                <a:lnTo>
                  <a:pt x="1143" y="253"/>
                </a:lnTo>
                <a:lnTo>
                  <a:pt x="1140" y="254"/>
                </a:lnTo>
                <a:lnTo>
                  <a:pt x="1137" y="253"/>
                </a:lnTo>
                <a:lnTo>
                  <a:pt x="1128" y="253"/>
                </a:lnTo>
                <a:lnTo>
                  <a:pt x="1121" y="254"/>
                </a:lnTo>
                <a:lnTo>
                  <a:pt x="1113" y="258"/>
                </a:lnTo>
                <a:lnTo>
                  <a:pt x="1096" y="260"/>
                </a:lnTo>
                <a:lnTo>
                  <a:pt x="1089" y="263"/>
                </a:lnTo>
                <a:lnTo>
                  <a:pt x="1086" y="263"/>
                </a:lnTo>
                <a:lnTo>
                  <a:pt x="1083" y="264"/>
                </a:lnTo>
                <a:lnTo>
                  <a:pt x="1083" y="266"/>
                </a:lnTo>
                <a:lnTo>
                  <a:pt x="1084" y="267"/>
                </a:lnTo>
                <a:lnTo>
                  <a:pt x="1086" y="267"/>
                </a:lnTo>
                <a:lnTo>
                  <a:pt x="1086" y="271"/>
                </a:lnTo>
                <a:lnTo>
                  <a:pt x="1084" y="275"/>
                </a:lnTo>
                <a:lnTo>
                  <a:pt x="1084" y="278"/>
                </a:lnTo>
                <a:lnTo>
                  <a:pt x="1077" y="278"/>
                </a:lnTo>
                <a:lnTo>
                  <a:pt x="1071" y="284"/>
                </a:lnTo>
                <a:lnTo>
                  <a:pt x="1069" y="289"/>
                </a:lnTo>
                <a:lnTo>
                  <a:pt x="1068" y="295"/>
                </a:lnTo>
                <a:lnTo>
                  <a:pt x="1068" y="299"/>
                </a:lnTo>
                <a:lnTo>
                  <a:pt x="1066" y="300"/>
                </a:lnTo>
                <a:lnTo>
                  <a:pt x="1066" y="302"/>
                </a:lnTo>
                <a:lnTo>
                  <a:pt x="1068" y="304"/>
                </a:lnTo>
                <a:lnTo>
                  <a:pt x="1069" y="308"/>
                </a:lnTo>
                <a:lnTo>
                  <a:pt x="1072" y="312"/>
                </a:lnTo>
                <a:lnTo>
                  <a:pt x="1077" y="315"/>
                </a:lnTo>
                <a:lnTo>
                  <a:pt x="1080" y="318"/>
                </a:lnTo>
                <a:lnTo>
                  <a:pt x="1083" y="320"/>
                </a:lnTo>
                <a:lnTo>
                  <a:pt x="1088" y="321"/>
                </a:lnTo>
                <a:lnTo>
                  <a:pt x="1091" y="322"/>
                </a:lnTo>
                <a:lnTo>
                  <a:pt x="1095" y="326"/>
                </a:lnTo>
                <a:lnTo>
                  <a:pt x="1097" y="331"/>
                </a:lnTo>
                <a:lnTo>
                  <a:pt x="1097" y="333"/>
                </a:lnTo>
                <a:lnTo>
                  <a:pt x="1099" y="336"/>
                </a:lnTo>
                <a:lnTo>
                  <a:pt x="1103" y="346"/>
                </a:lnTo>
                <a:lnTo>
                  <a:pt x="1105" y="347"/>
                </a:lnTo>
                <a:lnTo>
                  <a:pt x="1105" y="351"/>
                </a:lnTo>
                <a:lnTo>
                  <a:pt x="1106" y="353"/>
                </a:lnTo>
                <a:lnTo>
                  <a:pt x="1107" y="355"/>
                </a:lnTo>
                <a:lnTo>
                  <a:pt x="1112" y="357"/>
                </a:lnTo>
                <a:lnTo>
                  <a:pt x="1112" y="358"/>
                </a:lnTo>
                <a:lnTo>
                  <a:pt x="1114" y="361"/>
                </a:lnTo>
                <a:lnTo>
                  <a:pt x="1125" y="359"/>
                </a:lnTo>
                <a:lnTo>
                  <a:pt x="1133" y="356"/>
                </a:lnTo>
                <a:lnTo>
                  <a:pt x="1137" y="356"/>
                </a:lnTo>
                <a:lnTo>
                  <a:pt x="1138" y="358"/>
                </a:lnTo>
                <a:lnTo>
                  <a:pt x="1138" y="361"/>
                </a:lnTo>
                <a:lnTo>
                  <a:pt x="1136" y="361"/>
                </a:lnTo>
                <a:lnTo>
                  <a:pt x="1136" y="362"/>
                </a:lnTo>
                <a:lnTo>
                  <a:pt x="1134" y="364"/>
                </a:lnTo>
                <a:lnTo>
                  <a:pt x="1128" y="370"/>
                </a:lnTo>
                <a:lnTo>
                  <a:pt x="1130" y="370"/>
                </a:lnTo>
                <a:lnTo>
                  <a:pt x="1132" y="369"/>
                </a:lnTo>
                <a:lnTo>
                  <a:pt x="1133" y="368"/>
                </a:lnTo>
                <a:lnTo>
                  <a:pt x="1136" y="364"/>
                </a:lnTo>
                <a:lnTo>
                  <a:pt x="1137" y="363"/>
                </a:lnTo>
                <a:lnTo>
                  <a:pt x="1147" y="359"/>
                </a:lnTo>
                <a:lnTo>
                  <a:pt x="1152" y="359"/>
                </a:lnTo>
                <a:lnTo>
                  <a:pt x="1155" y="357"/>
                </a:lnTo>
                <a:lnTo>
                  <a:pt x="1156" y="358"/>
                </a:lnTo>
                <a:lnTo>
                  <a:pt x="1173" y="350"/>
                </a:lnTo>
                <a:lnTo>
                  <a:pt x="1174" y="351"/>
                </a:lnTo>
                <a:lnTo>
                  <a:pt x="1178" y="353"/>
                </a:lnTo>
                <a:lnTo>
                  <a:pt x="1180" y="355"/>
                </a:lnTo>
                <a:lnTo>
                  <a:pt x="1178" y="357"/>
                </a:lnTo>
                <a:lnTo>
                  <a:pt x="1180" y="357"/>
                </a:lnTo>
                <a:lnTo>
                  <a:pt x="1180" y="356"/>
                </a:lnTo>
                <a:lnTo>
                  <a:pt x="1181" y="355"/>
                </a:lnTo>
                <a:lnTo>
                  <a:pt x="1180" y="352"/>
                </a:lnTo>
                <a:lnTo>
                  <a:pt x="1180" y="350"/>
                </a:lnTo>
                <a:lnTo>
                  <a:pt x="1181" y="349"/>
                </a:lnTo>
                <a:lnTo>
                  <a:pt x="1181" y="347"/>
                </a:lnTo>
                <a:lnTo>
                  <a:pt x="1183" y="344"/>
                </a:lnTo>
                <a:lnTo>
                  <a:pt x="1184" y="344"/>
                </a:lnTo>
                <a:lnTo>
                  <a:pt x="1186" y="343"/>
                </a:lnTo>
                <a:lnTo>
                  <a:pt x="1186" y="339"/>
                </a:lnTo>
                <a:lnTo>
                  <a:pt x="1187" y="336"/>
                </a:lnTo>
                <a:lnTo>
                  <a:pt x="1187" y="328"/>
                </a:lnTo>
                <a:lnTo>
                  <a:pt x="1186" y="327"/>
                </a:lnTo>
                <a:lnTo>
                  <a:pt x="1184" y="324"/>
                </a:lnTo>
                <a:lnTo>
                  <a:pt x="1184" y="320"/>
                </a:lnTo>
                <a:lnTo>
                  <a:pt x="1188" y="316"/>
                </a:lnTo>
                <a:lnTo>
                  <a:pt x="1188" y="306"/>
                </a:lnTo>
                <a:lnTo>
                  <a:pt x="1187" y="306"/>
                </a:lnTo>
                <a:lnTo>
                  <a:pt x="1188" y="303"/>
                </a:lnTo>
                <a:lnTo>
                  <a:pt x="1193" y="299"/>
                </a:lnTo>
                <a:lnTo>
                  <a:pt x="1195" y="294"/>
                </a:lnTo>
                <a:lnTo>
                  <a:pt x="1195" y="291"/>
                </a:lnTo>
                <a:lnTo>
                  <a:pt x="1194" y="289"/>
                </a:lnTo>
                <a:lnTo>
                  <a:pt x="1189" y="282"/>
                </a:lnTo>
                <a:lnTo>
                  <a:pt x="1189" y="279"/>
                </a:lnTo>
                <a:lnTo>
                  <a:pt x="1190" y="277"/>
                </a:lnTo>
                <a:lnTo>
                  <a:pt x="1198" y="271"/>
                </a:lnTo>
                <a:lnTo>
                  <a:pt x="1199" y="271"/>
                </a:lnTo>
                <a:lnTo>
                  <a:pt x="1201" y="272"/>
                </a:lnTo>
                <a:lnTo>
                  <a:pt x="1201" y="273"/>
                </a:lnTo>
                <a:lnTo>
                  <a:pt x="1200" y="275"/>
                </a:lnTo>
                <a:lnTo>
                  <a:pt x="1200" y="278"/>
                </a:lnTo>
                <a:lnTo>
                  <a:pt x="1201" y="278"/>
                </a:lnTo>
                <a:lnTo>
                  <a:pt x="1202" y="277"/>
                </a:lnTo>
                <a:lnTo>
                  <a:pt x="1204" y="273"/>
                </a:lnTo>
                <a:lnTo>
                  <a:pt x="1206" y="271"/>
                </a:lnTo>
                <a:lnTo>
                  <a:pt x="1206" y="270"/>
                </a:lnTo>
                <a:lnTo>
                  <a:pt x="1208" y="267"/>
                </a:lnTo>
                <a:lnTo>
                  <a:pt x="1212" y="267"/>
                </a:lnTo>
                <a:lnTo>
                  <a:pt x="1215" y="270"/>
                </a:lnTo>
                <a:lnTo>
                  <a:pt x="1219" y="270"/>
                </a:lnTo>
                <a:lnTo>
                  <a:pt x="1225" y="265"/>
                </a:lnTo>
                <a:lnTo>
                  <a:pt x="1226" y="264"/>
                </a:lnTo>
                <a:lnTo>
                  <a:pt x="1229" y="266"/>
                </a:lnTo>
                <a:lnTo>
                  <a:pt x="1226" y="266"/>
                </a:lnTo>
                <a:lnTo>
                  <a:pt x="1236" y="267"/>
                </a:lnTo>
                <a:lnTo>
                  <a:pt x="1239" y="270"/>
                </a:lnTo>
                <a:lnTo>
                  <a:pt x="1238" y="271"/>
                </a:lnTo>
                <a:lnTo>
                  <a:pt x="1240" y="273"/>
                </a:lnTo>
                <a:lnTo>
                  <a:pt x="1243" y="273"/>
                </a:lnTo>
                <a:lnTo>
                  <a:pt x="1244" y="272"/>
                </a:lnTo>
                <a:lnTo>
                  <a:pt x="1243" y="271"/>
                </a:lnTo>
                <a:lnTo>
                  <a:pt x="1242" y="271"/>
                </a:lnTo>
                <a:lnTo>
                  <a:pt x="1242" y="269"/>
                </a:lnTo>
                <a:lnTo>
                  <a:pt x="1238" y="266"/>
                </a:lnTo>
                <a:lnTo>
                  <a:pt x="1237" y="266"/>
                </a:lnTo>
                <a:lnTo>
                  <a:pt x="1236" y="265"/>
                </a:lnTo>
                <a:lnTo>
                  <a:pt x="1234" y="263"/>
                </a:lnTo>
                <a:lnTo>
                  <a:pt x="1233" y="261"/>
                </a:lnTo>
                <a:lnTo>
                  <a:pt x="1231" y="263"/>
                </a:lnTo>
                <a:lnTo>
                  <a:pt x="1230" y="263"/>
                </a:lnTo>
                <a:lnTo>
                  <a:pt x="1230" y="260"/>
                </a:lnTo>
                <a:lnTo>
                  <a:pt x="1231" y="259"/>
                </a:lnTo>
                <a:lnTo>
                  <a:pt x="1231" y="251"/>
                </a:lnTo>
                <a:lnTo>
                  <a:pt x="1221" y="240"/>
                </a:lnTo>
                <a:lnTo>
                  <a:pt x="1224" y="239"/>
                </a:lnTo>
                <a:lnTo>
                  <a:pt x="1232" y="247"/>
                </a:lnTo>
                <a:lnTo>
                  <a:pt x="1238" y="250"/>
                </a:lnTo>
                <a:lnTo>
                  <a:pt x="1245" y="247"/>
                </a:lnTo>
                <a:lnTo>
                  <a:pt x="1246" y="246"/>
                </a:lnTo>
                <a:lnTo>
                  <a:pt x="1252" y="244"/>
                </a:lnTo>
                <a:lnTo>
                  <a:pt x="1261" y="238"/>
                </a:lnTo>
                <a:lnTo>
                  <a:pt x="1267" y="234"/>
                </a:lnTo>
                <a:lnTo>
                  <a:pt x="1273" y="228"/>
                </a:lnTo>
                <a:lnTo>
                  <a:pt x="1280" y="222"/>
                </a:lnTo>
                <a:lnTo>
                  <a:pt x="1282" y="222"/>
                </a:lnTo>
                <a:lnTo>
                  <a:pt x="1281" y="226"/>
                </a:lnTo>
                <a:lnTo>
                  <a:pt x="1276" y="228"/>
                </a:lnTo>
                <a:lnTo>
                  <a:pt x="1275" y="230"/>
                </a:lnTo>
                <a:lnTo>
                  <a:pt x="1281" y="226"/>
                </a:lnTo>
                <a:lnTo>
                  <a:pt x="1283" y="222"/>
                </a:lnTo>
                <a:lnTo>
                  <a:pt x="1285" y="221"/>
                </a:lnTo>
                <a:lnTo>
                  <a:pt x="1286" y="218"/>
                </a:lnTo>
                <a:lnTo>
                  <a:pt x="1291" y="214"/>
                </a:lnTo>
                <a:lnTo>
                  <a:pt x="1293" y="213"/>
                </a:lnTo>
                <a:lnTo>
                  <a:pt x="1296" y="209"/>
                </a:lnTo>
                <a:lnTo>
                  <a:pt x="1300" y="208"/>
                </a:lnTo>
                <a:lnTo>
                  <a:pt x="1308" y="198"/>
                </a:lnTo>
                <a:lnTo>
                  <a:pt x="1311" y="195"/>
                </a:lnTo>
                <a:lnTo>
                  <a:pt x="1312" y="193"/>
                </a:lnTo>
                <a:lnTo>
                  <a:pt x="1313" y="190"/>
                </a:lnTo>
                <a:lnTo>
                  <a:pt x="1314" y="189"/>
                </a:lnTo>
                <a:lnTo>
                  <a:pt x="1316" y="190"/>
                </a:lnTo>
                <a:lnTo>
                  <a:pt x="1317" y="192"/>
                </a:lnTo>
                <a:lnTo>
                  <a:pt x="1319" y="193"/>
                </a:lnTo>
                <a:lnTo>
                  <a:pt x="1322" y="193"/>
                </a:lnTo>
                <a:lnTo>
                  <a:pt x="1326" y="192"/>
                </a:lnTo>
                <a:lnTo>
                  <a:pt x="1327" y="192"/>
                </a:lnTo>
                <a:lnTo>
                  <a:pt x="1329" y="190"/>
                </a:lnTo>
                <a:lnTo>
                  <a:pt x="1330" y="189"/>
                </a:lnTo>
                <a:lnTo>
                  <a:pt x="1332" y="189"/>
                </a:lnTo>
                <a:lnTo>
                  <a:pt x="1338" y="186"/>
                </a:lnTo>
                <a:lnTo>
                  <a:pt x="1342" y="183"/>
                </a:lnTo>
                <a:lnTo>
                  <a:pt x="1343" y="183"/>
                </a:lnTo>
                <a:lnTo>
                  <a:pt x="1344" y="184"/>
                </a:lnTo>
                <a:lnTo>
                  <a:pt x="1345" y="184"/>
                </a:lnTo>
                <a:lnTo>
                  <a:pt x="1348" y="183"/>
                </a:lnTo>
                <a:lnTo>
                  <a:pt x="1349" y="181"/>
                </a:lnTo>
                <a:lnTo>
                  <a:pt x="1348" y="181"/>
                </a:lnTo>
                <a:lnTo>
                  <a:pt x="1347" y="180"/>
                </a:lnTo>
                <a:lnTo>
                  <a:pt x="1348" y="177"/>
                </a:lnTo>
                <a:lnTo>
                  <a:pt x="1354" y="177"/>
                </a:lnTo>
                <a:lnTo>
                  <a:pt x="1368" y="171"/>
                </a:lnTo>
                <a:lnTo>
                  <a:pt x="1373" y="166"/>
                </a:lnTo>
                <a:lnTo>
                  <a:pt x="1375" y="166"/>
                </a:lnTo>
                <a:lnTo>
                  <a:pt x="1374" y="168"/>
                </a:lnTo>
                <a:lnTo>
                  <a:pt x="1374" y="171"/>
                </a:lnTo>
                <a:lnTo>
                  <a:pt x="1372" y="173"/>
                </a:lnTo>
                <a:lnTo>
                  <a:pt x="1368" y="173"/>
                </a:lnTo>
                <a:lnTo>
                  <a:pt x="1368" y="177"/>
                </a:lnTo>
                <a:lnTo>
                  <a:pt x="1369" y="178"/>
                </a:lnTo>
                <a:lnTo>
                  <a:pt x="1373" y="174"/>
                </a:lnTo>
                <a:lnTo>
                  <a:pt x="1379" y="175"/>
                </a:lnTo>
                <a:lnTo>
                  <a:pt x="1380" y="175"/>
                </a:lnTo>
                <a:lnTo>
                  <a:pt x="1381" y="178"/>
                </a:lnTo>
                <a:lnTo>
                  <a:pt x="1379" y="178"/>
                </a:lnTo>
                <a:lnTo>
                  <a:pt x="1378" y="180"/>
                </a:lnTo>
                <a:lnTo>
                  <a:pt x="1379" y="181"/>
                </a:lnTo>
                <a:lnTo>
                  <a:pt x="1379" y="184"/>
                </a:lnTo>
                <a:lnTo>
                  <a:pt x="1376" y="186"/>
                </a:lnTo>
                <a:lnTo>
                  <a:pt x="1373" y="187"/>
                </a:lnTo>
                <a:lnTo>
                  <a:pt x="1372" y="189"/>
                </a:lnTo>
                <a:lnTo>
                  <a:pt x="1373" y="190"/>
                </a:lnTo>
                <a:lnTo>
                  <a:pt x="1376" y="196"/>
                </a:lnTo>
                <a:lnTo>
                  <a:pt x="1378" y="197"/>
                </a:lnTo>
                <a:lnTo>
                  <a:pt x="1380" y="195"/>
                </a:lnTo>
                <a:lnTo>
                  <a:pt x="1382" y="193"/>
                </a:lnTo>
                <a:lnTo>
                  <a:pt x="1383" y="193"/>
                </a:lnTo>
                <a:lnTo>
                  <a:pt x="1392" y="185"/>
                </a:lnTo>
                <a:lnTo>
                  <a:pt x="1394" y="184"/>
                </a:lnTo>
                <a:lnTo>
                  <a:pt x="1395" y="183"/>
                </a:lnTo>
                <a:lnTo>
                  <a:pt x="1397" y="180"/>
                </a:lnTo>
                <a:lnTo>
                  <a:pt x="1397" y="177"/>
                </a:lnTo>
                <a:lnTo>
                  <a:pt x="1394" y="174"/>
                </a:lnTo>
                <a:lnTo>
                  <a:pt x="1391" y="173"/>
                </a:lnTo>
                <a:lnTo>
                  <a:pt x="1389" y="171"/>
                </a:lnTo>
                <a:lnTo>
                  <a:pt x="1389" y="170"/>
                </a:lnTo>
                <a:lnTo>
                  <a:pt x="1388" y="168"/>
                </a:lnTo>
                <a:lnTo>
                  <a:pt x="1388" y="166"/>
                </a:lnTo>
                <a:lnTo>
                  <a:pt x="1387" y="165"/>
                </a:lnTo>
                <a:lnTo>
                  <a:pt x="1387" y="161"/>
                </a:lnTo>
                <a:lnTo>
                  <a:pt x="1392" y="161"/>
                </a:lnTo>
                <a:lnTo>
                  <a:pt x="1392" y="160"/>
                </a:lnTo>
                <a:lnTo>
                  <a:pt x="1393" y="160"/>
                </a:lnTo>
                <a:lnTo>
                  <a:pt x="1393" y="156"/>
                </a:lnTo>
                <a:lnTo>
                  <a:pt x="1392" y="156"/>
                </a:lnTo>
                <a:lnTo>
                  <a:pt x="1387" y="159"/>
                </a:lnTo>
                <a:lnTo>
                  <a:pt x="1386" y="160"/>
                </a:lnTo>
                <a:lnTo>
                  <a:pt x="1385" y="164"/>
                </a:lnTo>
                <a:lnTo>
                  <a:pt x="1383" y="165"/>
                </a:lnTo>
                <a:lnTo>
                  <a:pt x="1379" y="165"/>
                </a:lnTo>
                <a:lnTo>
                  <a:pt x="1378" y="164"/>
                </a:lnTo>
                <a:lnTo>
                  <a:pt x="1378" y="162"/>
                </a:lnTo>
                <a:lnTo>
                  <a:pt x="1380" y="160"/>
                </a:lnTo>
                <a:lnTo>
                  <a:pt x="1385" y="158"/>
                </a:lnTo>
                <a:lnTo>
                  <a:pt x="1400" y="144"/>
                </a:lnTo>
                <a:lnTo>
                  <a:pt x="1406" y="142"/>
                </a:lnTo>
                <a:lnTo>
                  <a:pt x="1411" y="137"/>
                </a:lnTo>
                <a:lnTo>
                  <a:pt x="1414" y="135"/>
                </a:lnTo>
                <a:lnTo>
                  <a:pt x="1418" y="131"/>
                </a:lnTo>
                <a:lnTo>
                  <a:pt x="1423" y="130"/>
                </a:lnTo>
                <a:lnTo>
                  <a:pt x="1426" y="127"/>
                </a:lnTo>
                <a:lnTo>
                  <a:pt x="1445" y="121"/>
                </a:lnTo>
                <a:lnTo>
                  <a:pt x="1455" y="117"/>
                </a:lnTo>
                <a:lnTo>
                  <a:pt x="1463" y="117"/>
                </a:lnTo>
                <a:lnTo>
                  <a:pt x="1465" y="116"/>
                </a:lnTo>
                <a:lnTo>
                  <a:pt x="1473" y="116"/>
                </a:lnTo>
                <a:lnTo>
                  <a:pt x="1474" y="117"/>
                </a:lnTo>
                <a:lnTo>
                  <a:pt x="1474" y="118"/>
                </a:lnTo>
                <a:lnTo>
                  <a:pt x="1473" y="118"/>
                </a:lnTo>
                <a:lnTo>
                  <a:pt x="1473" y="119"/>
                </a:lnTo>
                <a:lnTo>
                  <a:pt x="1468" y="119"/>
                </a:lnTo>
                <a:lnTo>
                  <a:pt x="1466" y="122"/>
                </a:lnTo>
                <a:lnTo>
                  <a:pt x="1449" y="124"/>
                </a:lnTo>
                <a:lnTo>
                  <a:pt x="1434" y="128"/>
                </a:lnTo>
                <a:lnTo>
                  <a:pt x="1434" y="129"/>
                </a:lnTo>
                <a:lnTo>
                  <a:pt x="1435" y="130"/>
                </a:lnTo>
                <a:lnTo>
                  <a:pt x="1435" y="131"/>
                </a:lnTo>
                <a:lnTo>
                  <a:pt x="1436" y="132"/>
                </a:lnTo>
                <a:lnTo>
                  <a:pt x="1438" y="134"/>
                </a:lnTo>
                <a:lnTo>
                  <a:pt x="1439" y="132"/>
                </a:lnTo>
                <a:lnTo>
                  <a:pt x="1438" y="132"/>
                </a:lnTo>
                <a:lnTo>
                  <a:pt x="1438" y="131"/>
                </a:lnTo>
                <a:lnTo>
                  <a:pt x="1437" y="131"/>
                </a:lnTo>
                <a:lnTo>
                  <a:pt x="1437" y="130"/>
                </a:lnTo>
                <a:lnTo>
                  <a:pt x="1438" y="129"/>
                </a:lnTo>
                <a:lnTo>
                  <a:pt x="1449" y="131"/>
                </a:lnTo>
                <a:lnTo>
                  <a:pt x="1450" y="132"/>
                </a:lnTo>
                <a:lnTo>
                  <a:pt x="1451" y="135"/>
                </a:lnTo>
                <a:lnTo>
                  <a:pt x="1447" y="140"/>
                </a:lnTo>
                <a:lnTo>
                  <a:pt x="1445" y="140"/>
                </a:lnTo>
                <a:lnTo>
                  <a:pt x="1444" y="141"/>
                </a:lnTo>
                <a:lnTo>
                  <a:pt x="1443" y="144"/>
                </a:lnTo>
                <a:lnTo>
                  <a:pt x="1443" y="153"/>
                </a:lnTo>
                <a:lnTo>
                  <a:pt x="1438" y="158"/>
                </a:lnTo>
                <a:lnTo>
                  <a:pt x="1438" y="160"/>
                </a:lnTo>
                <a:lnTo>
                  <a:pt x="1439" y="162"/>
                </a:lnTo>
                <a:lnTo>
                  <a:pt x="1442" y="165"/>
                </a:lnTo>
                <a:lnTo>
                  <a:pt x="1445" y="172"/>
                </a:lnTo>
                <a:lnTo>
                  <a:pt x="1445" y="173"/>
                </a:lnTo>
                <a:lnTo>
                  <a:pt x="1447" y="174"/>
                </a:lnTo>
                <a:lnTo>
                  <a:pt x="1447" y="183"/>
                </a:lnTo>
                <a:lnTo>
                  <a:pt x="1448" y="185"/>
                </a:lnTo>
                <a:lnTo>
                  <a:pt x="1448" y="187"/>
                </a:lnTo>
                <a:lnTo>
                  <a:pt x="1447" y="189"/>
                </a:lnTo>
                <a:lnTo>
                  <a:pt x="1444" y="189"/>
                </a:lnTo>
                <a:lnTo>
                  <a:pt x="1444" y="190"/>
                </a:lnTo>
                <a:lnTo>
                  <a:pt x="1443" y="192"/>
                </a:lnTo>
                <a:lnTo>
                  <a:pt x="1442" y="193"/>
                </a:lnTo>
                <a:lnTo>
                  <a:pt x="1442" y="192"/>
                </a:lnTo>
                <a:lnTo>
                  <a:pt x="1436" y="186"/>
                </a:lnTo>
                <a:lnTo>
                  <a:pt x="1434" y="185"/>
                </a:lnTo>
                <a:lnTo>
                  <a:pt x="1432" y="186"/>
                </a:lnTo>
                <a:lnTo>
                  <a:pt x="1436" y="190"/>
                </a:lnTo>
                <a:lnTo>
                  <a:pt x="1436" y="191"/>
                </a:lnTo>
                <a:lnTo>
                  <a:pt x="1437" y="193"/>
                </a:lnTo>
                <a:lnTo>
                  <a:pt x="1436" y="195"/>
                </a:lnTo>
                <a:lnTo>
                  <a:pt x="1435" y="195"/>
                </a:lnTo>
                <a:lnTo>
                  <a:pt x="1431" y="191"/>
                </a:lnTo>
                <a:lnTo>
                  <a:pt x="1426" y="190"/>
                </a:lnTo>
                <a:lnTo>
                  <a:pt x="1425" y="191"/>
                </a:lnTo>
                <a:lnTo>
                  <a:pt x="1424" y="193"/>
                </a:lnTo>
                <a:lnTo>
                  <a:pt x="1423" y="193"/>
                </a:lnTo>
                <a:lnTo>
                  <a:pt x="1423" y="192"/>
                </a:lnTo>
                <a:lnTo>
                  <a:pt x="1422" y="192"/>
                </a:lnTo>
                <a:lnTo>
                  <a:pt x="1420" y="195"/>
                </a:lnTo>
                <a:lnTo>
                  <a:pt x="1418" y="198"/>
                </a:lnTo>
                <a:lnTo>
                  <a:pt x="1417" y="202"/>
                </a:lnTo>
                <a:lnTo>
                  <a:pt x="1418" y="203"/>
                </a:lnTo>
                <a:lnTo>
                  <a:pt x="1422" y="205"/>
                </a:lnTo>
                <a:lnTo>
                  <a:pt x="1424" y="204"/>
                </a:lnTo>
                <a:lnTo>
                  <a:pt x="1428" y="203"/>
                </a:lnTo>
                <a:lnTo>
                  <a:pt x="1442" y="204"/>
                </a:lnTo>
                <a:lnTo>
                  <a:pt x="1443" y="204"/>
                </a:lnTo>
                <a:lnTo>
                  <a:pt x="1445" y="207"/>
                </a:lnTo>
                <a:lnTo>
                  <a:pt x="1445" y="208"/>
                </a:lnTo>
                <a:lnTo>
                  <a:pt x="1450" y="208"/>
                </a:lnTo>
                <a:lnTo>
                  <a:pt x="1454" y="204"/>
                </a:lnTo>
                <a:lnTo>
                  <a:pt x="1456" y="198"/>
                </a:lnTo>
                <a:lnTo>
                  <a:pt x="1459" y="196"/>
                </a:lnTo>
                <a:lnTo>
                  <a:pt x="1460" y="196"/>
                </a:lnTo>
                <a:lnTo>
                  <a:pt x="1457" y="201"/>
                </a:lnTo>
                <a:lnTo>
                  <a:pt x="1457" y="205"/>
                </a:lnTo>
                <a:lnTo>
                  <a:pt x="1459" y="209"/>
                </a:lnTo>
                <a:lnTo>
                  <a:pt x="1461" y="208"/>
                </a:lnTo>
                <a:lnTo>
                  <a:pt x="1469" y="198"/>
                </a:lnTo>
                <a:lnTo>
                  <a:pt x="1472" y="197"/>
                </a:lnTo>
                <a:lnTo>
                  <a:pt x="1473" y="197"/>
                </a:lnTo>
                <a:lnTo>
                  <a:pt x="1474" y="199"/>
                </a:lnTo>
                <a:lnTo>
                  <a:pt x="1478" y="210"/>
                </a:lnTo>
                <a:lnTo>
                  <a:pt x="1479" y="213"/>
                </a:lnTo>
                <a:lnTo>
                  <a:pt x="1486" y="213"/>
                </a:lnTo>
                <a:lnTo>
                  <a:pt x="1487" y="211"/>
                </a:lnTo>
                <a:lnTo>
                  <a:pt x="1487" y="209"/>
                </a:lnTo>
                <a:lnTo>
                  <a:pt x="1488" y="207"/>
                </a:lnTo>
                <a:lnTo>
                  <a:pt x="1490" y="205"/>
                </a:lnTo>
                <a:lnTo>
                  <a:pt x="1490" y="204"/>
                </a:lnTo>
                <a:lnTo>
                  <a:pt x="1488" y="201"/>
                </a:lnTo>
                <a:lnTo>
                  <a:pt x="1488" y="198"/>
                </a:lnTo>
                <a:lnTo>
                  <a:pt x="1487" y="198"/>
                </a:lnTo>
                <a:lnTo>
                  <a:pt x="1486" y="196"/>
                </a:lnTo>
                <a:lnTo>
                  <a:pt x="1488" y="196"/>
                </a:lnTo>
                <a:lnTo>
                  <a:pt x="1488" y="193"/>
                </a:lnTo>
                <a:lnTo>
                  <a:pt x="1490" y="190"/>
                </a:lnTo>
                <a:lnTo>
                  <a:pt x="1490" y="187"/>
                </a:lnTo>
                <a:lnTo>
                  <a:pt x="1492" y="183"/>
                </a:lnTo>
                <a:lnTo>
                  <a:pt x="1493" y="181"/>
                </a:lnTo>
                <a:lnTo>
                  <a:pt x="1494" y="183"/>
                </a:lnTo>
                <a:lnTo>
                  <a:pt x="1496" y="181"/>
                </a:lnTo>
                <a:lnTo>
                  <a:pt x="1497" y="178"/>
                </a:lnTo>
                <a:lnTo>
                  <a:pt x="1500" y="177"/>
                </a:lnTo>
                <a:lnTo>
                  <a:pt x="1501" y="175"/>
                </a:lnTo>
                <a:lnTo>
                  <a:pt x="1501" y="173"/>
                </a:lnTo>
                <a:lnTo>
                  <a:pt x="1503" y="172"/>
                </a:lnTo>
                <a:lnTo>
                  <a:pt x="1509" y="168"/>
                </a:lnTo>
                <a:lnTo>
                  <a:pt x="1513" y="167"/>
                </a:lnTo>
                <a:lnTo>
                  <a:pt x="1518" y="167"/>
                </a:lnTo>
                <a:lnTo>
                  <a:pt x="1525" y="165"/>
                </a:lnTo>
                <a:lnTo>
                  <a:pt x="1532" y="158"/>
                </a:lnTo>
                <a:lnTo>
                  <a:pt x="1535" y="156"/>
                </a:lnTo>
                <a:lnTo>
                  <a:pt x="1537" y="158"/>
                </a:lnTo>
                <a:lnTo>
                  <a:pt x="1541" y="161"/>
                </a:lnTo>
                <a:lnTo>
                  <a:pt x="1543" y="161"/>
                </a:lnTo>
                <a:lnTo>
                  <a:pt x="1556" y="160"/>
                </a:lnTo>
                <a:lnTo>
                  <a:pt x="1556" y="161"/>
                </a:lnTo>
                <a:lnTo>
                  <a:pt x="1555" y="166"/>
                </a:lnTo>
                <a:lnTo>
                  <a:pt x="1556" y="165"/>
                </a:lnTo>
                <a:lnTo>
                  <a:pt x="1559" y="160"/>
                </a:lnTo>
                <a:lnTo>
                  <a:pt x="1560" y="159"/>
                </a:lnTo>
                <a:lnTo>
                  <a:pt x="1562" y="159"/>
                </a:lnTo>
                <a:lnTo>
                  <a:pt x="1571" y="167"/>
                </a:lnTo>
                <a:lnTo>
                  <a:pt x="1580" y="170"/>
                </a:lnTo>
                <a:lnTo>
                  <a:pt x="1591" y="168"/>
                </a:lnTo>
                <a:lnTo>
                  <a:pt x="1593" y="166"/>
                </a:lnTo>
                <a:lnTo>
                  <a:pt x="1594" y="164"/>
                </a:lnTo>
                <a:lnTo>
                  <a:pt x="1596" y="159"/>
                </a:lnTo>
                <a:lnTo>
                  <a:pt x="1597" y="156"/>
                </a:lnTo>
                <a:lnTo>
                  <a:pt x="1599" y="154"/>
                </a:lnTo>
                <a:lnTo>
                  <a:pt x="1600" y="152"/>
                </a:lnTo>
                <a:lnTo>
                  <a:pt x="1602" y="148"/>
                </a:lnTo>
                <a:lnTo>
                  <a:pt x="1603" y="147"/>
                </a:lnTo>
                <a:lnTo>
                  <a:pt x="1616" y="146"/>
                </a:lnTo>
                <a:lnTo>
                  <a:pt x="1618" y="141"/>
                </a:lnTo>
                <a:lnTo>
                  <a:pt x="1617" y="140"/>
                </a:lnTo>
                <a:lnTo>
                  <a:pt x="1617" y="135"/>
                </a:lnTo>
                <a:lnTo>
                  <a:pt x="1618" y="134"/>
                </a:lnTo>
                <a:lnTo>
                  <a:pt x="1627" y="130"/>
                </a:lnTo>
                <a:lnTo>
                  <a:pt x="1629" y="130"/>
                </a:lnTo>
                <a:lnTo>
                  <a:pt x="1629" y="131"/>
                </a:lnTo>
                <a:lnTo>
                  <a:pt x="1628" y="135"/>
                </a:lnTo>
                <a:lnTo>
                  <a:pt x="1628" y="137"/>
                </a:lnTo>
                <a:lnTo>
                  <a:pt x="1629" y="138"/>
                </a:lnTo>
                <a:lnTo>
                  <a:pt x="1630" y="141"/>
                </a:lnTo>
                <a:lnTo>
                  <a:pt x="1630" y="143"/>
                </a:lnTo>
                <a:lnTo>
                  <a:pt x="1635" y="146"/>
                </a:lnTo>
                <a:lnTo>
                  <a:pt x="1634" y="148"/>
                </a:lnTo>
                <a:lnTo>
                  <a:pt x="1636" y="148"/>
                </a:lnTo>
                <a:lnTo>
                  <a:pt x="1637" y="147"/>
                </a:lnTo>
                <a:lnTo>
                  <a:pt x="1637" y="144"/>
                </a:lnTo>
                <a:lnTo>
                  <a:pt x="1636" y="144"/>
                </a:lnTo>
                <a:lnTo>
                  <a:pt x="1635" y="143"/>
                </a:lnTo>
                <a:lnTo>
                  <a:pt x="1635" y="142"/>
                </a:lnTo>
                <a:lnTo>
                  <a:pt x="1631" y="142"/>
                </a:lnTo>
                <a:lnTo>
                  <a:pt x="1631" y="137"/>
                </a:lnTo>
                <a:lnTo>
                  <a:pt x="1630" y="137"/>
                </a:lnTo>
                <a:lnTo>
                  <a:pt x="1630" y="129"/>
                </a:lnTo>
                <a:lnTo>
                  <a:pt x="1631" y="129"/>
                </a:lnTo>
                <a:lnTo>
                  <a:pt x="1631" y="128"/>
                </a:lnTo>
                <a:lnTo>
                  <a:pt x="1643" y="122"/>
                </a:lnTo>
                <a:lnTo>
                  <a:pt x="1656" y="117"/>
                </a:lnTo>
                <a:lnTo>
                  <a:pt x="1671" y="117"/>
                </a:lnTo>
                <a:lnTo>
                  <a:pt x="1672" y="118"/>
                </a:lnTo>
                <a:lnTo>
                  <a:pt x="1671" y="119"/>
                </a:lnTo>
                <a:lnTo>
                  <a:pt x="1668" y="118"/>
                </a:lnTo>
                <a:lnTo>
                  <a:pt x="1667" y="118"/>
                </a:lnTo>
                <a:lnTo>
                  <a:pt x="1666" y="119"/>
                </a:lnTo>
                <a:lnTo>
                  <a:pt x="1660" y="121"/>
                </a:lnTo>
                <a:lnTo>
                  <a:pt x="1658" y="123"/>
                </a:lnTo>
                <a:lnTo>
                  <a:pt x="1656" y="125"/>
                </a:lnTo>
                <a:lnTo>
                  <a:pt x="1660" y="125"/>
                </a:lnTo>
                <a:lnTo>
                  <a:pt x="1666" y="129"/>
                </a:lnTo>
                <a:lnTo>
                  <a:pt x="1679" y="144"/>
                </a:lnTo>
                <a:lnTo>
                  <a:pt x="1679" y="150"/>
                </a:lnTo>
                <a:lnTo>
                  <a:pt x="1678" y="152"/>
                </a:lnTo>
                <a:lnTo>
                  <a:pt x="1675" y="152"/>
                </a:lnTo>
                <a:lnTo>
                  <a:pt x="1673" y="150"/>
                </a:lnTo>
                <a:lnTo>
                  <a:pt x="1671" y="150"/>
                </a:lnTo>
                <a:lnTo>
                  <a:pt x="1668" y="153"/>
                </a:lnTo>
                <a:lnTo>
                  <a:pt x="1667" y="155"/>
                </a:lnTo>
                <a:lnTo>
                  <a:pt x="1667" y="158"/>
                </a:lnTo>
                <a:lnTo>
                  <a:pt x="1666" y="159"/>
                </a:lnTo>
                <a:lnTo>
                  <a:pt x="1666" y="160"/>
                </a:lnTo>
                <a:lnTo>
                  <a:pt x="1665" y="160"/>
                </a:lnTo>
                <a:lnTo>
                  <a:pt x="1664" y="161"/>
                </a:lnTo>
                <a:lnTo>
                  <a:pt x="1664" y="167"/>
                </a:lnTo>
                <a:lnTo>
                  <a:pt x="1666" y="170"/>
                </a:lnTo>
                <a:lnTo>
                  <a:pt x="1666" y="173"/>
                </a:lnTo>
                <a:lnTo>
                  <a:pt x="1665" y="175"/>
                </a:lnTo>
                <a:lnTo>
                  <a:pt x="1665" y="185"/>
                </a:lnTo>
                <a:lnTo>
                  <a:pt x="1666" y="186"/>
                </a:lnTo>
                <a:lnTo>
                  <a:pt x="1678" y="190"/>
                </a:lnTo>
                <a:lnTo>
                  <a:pt x="1690" y="195"/>
                </a:lnTo>
                <a:lnTo>
                  <a:pt x="1697" y="189"/>
                </a:lnTo>
                <a:lnTo>
                  <a:pt x="1699" y="186"/>
                </a:lnTo>
                <a:lnTo>
                  <a:pt x="1702" y="179"/>
                </a:lnTo>
                <a:lnTo>
                  <a:pt x="1702" y="173"/>
                </a:lnTo>
                <a:lnTo>
                  <a:pt x="1698" y="166"/>
                </a:lnTo>
                <a:lnTo>
                  <a:pt x="1696" y="162"/>
                </a:lnTo>
                <a:lnTo>
                  <a:pt x="1695" y="161"/>
                </a:lnTo>
                <a:lnTo>
                  <a:pt x="1693" y="161"/>
                </a:lnTo>
                <a:lnTo>
                  <a:pt x="1693" y="156"/>
                </a:lnTo>
                <a:lnTo>
                  <a:pt x="1696" y="154"/>
                </a:lnTo>
                <a:lnTo>
                  <a:pt x="1699" y="149"/>
                </a:lnTo>
                <a:lnTo>
                  <a:pt x="1701" y="149"/>
                </a:lnTo>
                <a:lnTo>
                  <a:pt x="1705" y="153"/>
                </a:lnTo>
                <a:lnTo>
                  <a:pt x="1706" y="154"/>
                </a:lnTo>
                <a:lnTo>
                  <a:pt x="1723" y="149"/>
                </a:lnTo>
                <a:lnTo>
                  <a:pt x="1727" y="147"/>
                </a:lnTo>
                <a:lnTo>
                  <a:pt x="1733" y="138"/>
                </a:lnTo>
                <a:lnTo>
                  <a:pt x="1734" y="137"/>
                </a:lnTo>
                <a:lnTo>
                  <a:pt x="1735" y="132"/>
                </a:lnTo>
                <a:lnTo>
                  <a:pt x="1736" y="131"/>
                </a:lnTo>
                <a:lnTo>
                  <a:pt x="1737" y="129"/>
                </a:lnTo>
                <a:lnTo>
                  <a:pt x="1740" y="129"/>
                </a:lnTo>
                <a:lnTo>
                  <a:pt x="1745" y="128"/>
                </a:lnTo>
                <a:lnTo>
                  <a:pt x="1743" y="128"/>
                </a:lnTo>
                <a:lnTo>
                  <a:pt x="1742" y="127"/>
                </a:lnTo>
                <a:lnTo>
                  <a:pt x="1742" y="124"/>
                </a:lnTo>
                <a:lnTo>
                  <a:pt x="1743" y="122"/>
                </a:lnTo>
                <a:lnTo>
                  <a:pt x="1743" y="113"/>
                </a:lnTo>
                <a:lnTo>
                  <a:pt x="1742" y="112"/>
                </a:lnTo>
                <a:lnTo>
                  <a:pt x="1743" y="109"/>
                </a:lnTo>
                <a:lnTo>
                  <a:pt x="1742" y="107"/>
                </a:lnTo>
                <a:lnTo>
                  <a:pt x="1741" y="103"/>
                </a:lnTo>
                <a:lnTo>
                  <a:pt x="1739" y="98"/>
                </a:lnTo>
                <a:lnTo>
                  <a:pt x="1736" y="95"/>
                </a:lnTo>
                <a:lnTo>
                  <a:pt x="1734" y="97"/>
                </a:lnTo>
                <a:lnTo>
                  <a:pt x="1734" y="103"/>
                </a:lnTo>
                <a:lnTo>
                  <a:pt x="1735" y="103"/>
                </a:lnTo>
                <a:lnTo>
                  <a:pt x="1734" y="105"/>
                </a:lnTo>
                <a:lnTo>
                  <a:pt x="1732" y="104"/>
                </a:lnTo>
                <a:lnTo>
                  <a:pt x="1729" y="104"/>
                </a:lnTo>
                <a:lnTo>
                  <a:pt x="1728" y="101"/>
                </a:lnTo>
                <a:lnTo>
                  <a:pt x="1728" y="85"/>
                </a:lnTo>
                <a:lnTo>
                  <a:pt x="1727" y="82"/>
                </a:lnTo>
                <a:lnTo>
                  <a:pt x="1727" y="80"/>
                </a:lnTo>
                <a:lnTo>
                  <a:pt x="1726" y="78"/>
                </a:lnTo>
                <a:lnTo>
                  <a:pt x="1722" y="74"/>
                </a:lnTo>
                <a:lnTo>
                  <a:pt x="1722" y="69"/>
                </a:lnTo>
                <a:lnTo>
                  <a:pt x="1721" y="68"/>
                </a:lnTo>
                <a:lnTo>
                  <a:pt x="1717" y="63"/>
                </a:lnTo>
                <a:lnTo>
                  <a:pt x="1716" y="63"/>
                </a:lnTo>
                <a:lnTo>
                  <a:pt x="1715" y="57"/>
                </a:lnTo>
                <a:lnTo>
                  <a:pt x="1712" y="55"/>
                </a:lnTo>
                <a:lnTo>
                  <a:pt x="1712" y="51"/>
                </a:lnTo>
                <a:lnTo>
                  <a:pt x="1709" y="48"/>
                </a:lnTo>
                <a:lnTo>
                  <a:pt x="1710" y="45"/>
                </a:lnTo>
                <a:lnTo>
                  <a:pt x="1710" y="42"/>
                </a:lnTo>
                <a:lnTo>
                  <a:pt x="1711" y="39"/>
                </a:lnTo>
                <a:lnTo>
                  <a:pt x="1714" y="37"/>
                </a:lnTo>
                <a:lnTo>
                  <a:pt x="1732" y="37"/>
                </a:lnTo>
                <a:lnTo>
                  <a:pt x="1732" y="32"/>
                </a:lnTo>
                <a:lnTo>
                  <a:pt x="1730" y="31"/>
                </a:lnTo>
                <a:lnTo>
                  <a:pt x="1730" y="29"/>
                </a:lnTo>
                <a:lnTo>
                  <a:pt x="1732" y="29"/>
                </a:lnTo>
                <a:lnTo>
                  <a:pt x="1733" y="30"/>
                </a:lnTo>
                <a:lnTo>
                  <a:pt x="1734" y="30"/>
                </a:lnTo>
                <a:lnTo>
                  <a:pt x="1734" y="27"/>
                </a:lnTo>
                <a:lnTo>
                  <a:pt x="1733" y="27"/>
                </a:lnTo>
                <a:lnTo>
                  <a:pt x="1733" y="18"/>
                </a:lnTo>
                <a:lnTo>
                  <a:pt x="1734" y="17"/>
                </a:lnTo>
                <a:lnTo>
                  <a:pt x="1736" y="15"/>
                </a:lnTo>
                <a:lnTo>
                  <a:pt x="1742" y="13"/>
                </a:lnTo>
                <a:lnTo>
                  <a:pt x="1745" y="13"/>
                </a:lnTo>
                <a:lnTo>
                  <a:pt x="1747" y="15"/>
                </a:lnTo>
                <a:lnTo>
                  <a:pt x="1748" y="15"/>
                </a:lnTo>
                <a:lnTo>
                  <a:pt x="1749" y="13"/>
                </a:lnTo>
                <a:lnTo>
                  <a:pt x="1751" y="13"/>
                </a:lnTo>
                <a:lnTo>
                  <a:pt x="1751" y="15"/>
                </a:lnTo>
                <a:lnTo>
                  <a:pt x="1752" y="17"/>
                </a:lnTo>
                <a:lnTo>
                  <a:pt x="1759" y="18"/>
                </a:lnTo>
                <a:lnTo>
                  <a:pt x="1762" y="21"/>
                </a:lnTo>
                <a:lnTo>
                  <a:pt x="1778" y="25"/>
                </a:lnTo>
                <a:lnTo>
                  <a:pt x="1784" y="26"/>
                </a:lnTo>
                <a:lnTo>
                  <a:pt x="1784" y="1480"/>
                </a:lnTo>
                <a:lnTo>
                  <a:pt x="1783" y="1480"/>
                </a:lnTo>
                <a:lnTo>
                  <a:pt x="1782" y="1479"/>
                </a:lnTo>
                <a:lnTo>
                  <a:pt x="1780" y="1479"/>
                </a:lnTo>
                <a:lnTo>
                  <a:pt x="1780" y="1475"/>
                </a:lnTo>
                <a:lnTo>
                  <a:pt x="1778" y="1475"/>
                </a:lnTo>
                <a:lnTo>
                  <a:pt x="1778" y="1476"/>
                </a:lnTo>
                <a:lnTo>
                  <a:pt x="1777" y="1476"/>
                </a:lnTo>
                <a:lnTo>
                  <a:pt x="1776" y="1475"/>
                </a:lnTo>
                <a:lnTo>
                  <a:pt x="1772" y="1475"/>
                </a:lnTo>
                <a:lnTo>
                  <a:pt x="1772" y="1477"/>
                </a:lnTo>
                <a:lnTo>
                  <a:pt x="1771" y="1477"/>
                </a:lnTo>
                <a:lnTo>
                  <a:pt x="1771" y="1479"/>
                </a:lnTo>
                <a:lnTo>
                  <a:pt x="1770" y="1479"/>
                </a:lnTo>
                <a:lnTo>
                  <a:pt x="1768" y="1477"/>
                </a:lnTo>
                <a:lnTo>
                  <a:pt x="1768" y="1475"/>
                </a:lnTo>
                <a:lnTo>
                  <a:pt x="1766" y="1475"/>
                </a:lnTo>
                <a:lnTo>
                  <a:pt x="1765" y="1474"/>
                </a:lnTo>
                <a:lnTo>
                  <a:pt x="1764" y="1471"/>
                </a:lnTo>
                <a:lnTo>
                  <a:pt x="1760" y="1470"/>
                </a:lnTo>
                <a:lnTo>
                  <a:pt x="1759" y="1470"/>
                </a:lnTo>
                <a:lnTo>
                  <a:pt x="1758" y="1471"/>
                </a:lnTo>
                <a:lnTo>
                  <a:pt x="1758" y="1473"/>
                </a:lnTo>
                <a:lnTo>
                  <a:pt x="1757" y="1474"/>
                </a:lnTo>
                <a:lnTo>
                  <a:pt x="1754" y="1474"/>
                </a:lnTo>
                <a:lnTo>
                  <a:pt x="1754" y="1475"/>
                </a:lnTo>
                <a:lnTo>
                  <a:pt x="1755" y="1477"/>
                </a:lnTo>
                <a:lnTo>
                  <a:pt x="1755" y="1480"/>
                </a:lnTo>
                <a:lnTo>
                  <a:pt x="1754" y="1481"/>
                </a:lnTo>
                <a:lnTo>
                  <a:pt x="1754" y="1482"/>
                </a:lnTo>
                <a:lnTo>
                  <a:pt x="1753" y="1481"/>
                </a:lnTo>
                <a:lnTo>
                  <a:pt x="1753" y="1480"/>
                </a:lnTo>
                <a:lnTo>
                  <a:pt x="1752" y="1480"/>
                </a:lnTo>
                <a:lnTo>
                  <a:pt x="1752" y="1479"/>
                </a:lnTo>
                <a:lnTo>
                  <a:pt x="1746" y="1479"/>
                </a:lnTo>
                <a:lnTo>
                  <a:pt x="1745" y="1480"/>
                </a:lnTo>
                <a:lnTo>
                  <a:pt x="1745" y="1483"/>
                </a:lnTo>
                <a:lnTo>
                  <a:pt x="1749" y="1483"/>
                </a:lnTo>
                <a:lnTo>
                  <a:pt x="1749" y="1485"/>
                </a:lnTo>
                <a:lnTo>
                  <a:pt x="1751" y="1486"/>
                </a:lnTo>
                <a:lnTo>
                  <a:pt x="1752" y="1486"/>
                </a:lnTo>
                <a:lnTo>
                  <a:pt x="1754" y="1488"/>
                </a:lnTo>
                <a:lnTo>
                  <a:pt x="1754" y="1489"/>
                </a:lnTo>
                <a:lnTo>
                  <a:pt x="1751" y="1493"/>
                </a:lnTo>
                <a:lnTo>
                  <a:pt x="1751" y="1495"/>
                </a:lnTo>
                <a:lnTo>
                  <a:pt x="1748" y="1495"/>
                </a:lnTo>
                <a:lnTo>
                  <a:pt x="1748" y="1496"/>
                </a:lnTo>
                <a:lnTo>
                  <a:pt x="1747" y="1496"/>
                </a:lnTo>
                <a:lnTo>
                  <a:pt x="1747" y="1500"/>
                </a:lnTo>
                <a:lnTo>
                  <a:pt x="1746" y="1501"/>
                </a:lnTo>
                <a:lnTo>
                  <a:pt x="1741" y="1499"/>
                </a:lnTo>
                <a:lnTo>
                  <a:pt x="1741" y="1501"/>
                </a:lnTo>
                <a:lnTo>
                  <a:pt x="1742" y="1502"/>
                </a:lnTo>
                <a:lnTo>
                  <a:pt x="1747" y="1502"/>
                </a:lnTo>
                <a:lnTo>
                  <a:pt x="1749" y="1504"/>
                </a:lnTo>
                <a:lnTo>
                  <a:pt x="1751" y="1505"/>
                </a:lnTo>
                <a:lnTo>
                  <a:pt x="1751" y="1506"/>
                </a:lnTo>
                <a:lnTo>
                  <a:pt x="1752" y="1506"/>
                </a:lnTo>
                <a:lnTo>
                  <a:pt x="1758" y="1507"/>
                </a:lnTo>
                <a:lnTo>
                  <a:pt x="1759" y="1507"/>
                </a:lnTo>
                <a:lnTo>
                  <a:pt x="1761" y="1505"/>
                </a:lnTo>
                <a:lnTo>
                  <a:pt x="1767" y="1505"/>
                </a:lnTo>
                <a:lnTo>
                  <a:pt x="1768" y="1506"/>
                </a:lnTo>
                <a:lnTo>
                  <a:pt x="1768" y="1510"/>
                </a:lnTo>
                <a:lnTo>
                  <a:pt x="1762" y="1516"/>
                </a:lnTo>
                <a:lnTo>
                  <a:pt x="1761" y="1516"/>
                </a:lnTo>
                <a:lnTo>
                  <a:pt x="1759" y="1513"/>
                </a:lnTo>
                <a:lnTo>
                  <a:pt x="1759" y="1511"/>
                </a:lnTo>
                <a:lnTo>
                  <a:pt x="1758" y="1511"/>
                </a:lnTo>
                <a:lnTo>
                  <a:pt x="1757" y="1510"/>
                </a:lnTo>
                <a:lnTo>
                  <a:pt x="1755" y="1511"/>
                </a:lnTo>
                <a:lnTo>
                  <a:pt x="1754" y="1513"/>
                </a:lnTo>
                <a:lnTo>
                  <a:pt x="1754" y="1516"/>
                </a:lnTo>
                <a:lnTo>
                  <a:pt x="1752" y="1518"/>
                </a:lnTo>
                <a:lnTo>
                  <a:pt x="1752" y="1523"/>
                </a:lnTo>
                <a:lnTo>
                  <a:pt x="1753" y="1525"/>
                </a:lnTo>
                <a:lnTo>
                  <a:pt x="1754" y="1526"/>
                </a:lnTo>
                <a:lnTo>
                  <a:pt x="1760" y="1526"/>
                </a:lnTo>
                <a:lnTo>
                  <a:pt x="1761" y="1528"/>
                </a:lnTo>
                <a:lnTo>
                  <a:pt x="1766" y="1531"/>
                </a:lnTo>
                <a:lnTo>
                  <a:pt x="1768" y="1531"/>
                </a:lnTo>
                <a:lnTo>
                  <a:pt x="1773" y="1529"/>
                </a:lnTo>
                <a:lnTo>
                  <a:pt x="1778" y="1533"/>
                </a:lnTo>
                <a:lnTo>
                  <a:pt x="1780" y="1535"/>
                </a:lnTo>
                <a:lnTo>
                  <a:pt x="1784" y="1536"/>
                </a:lnTo>
                <a:lnTo>
                  <a:pt x="1784" y="1550"/>
                </a:lnTo>
                <a:lnTo>
                  <a:pt x="1782" y="1548"/>
                </a:lnTo>
                <a:lnTo>
                  <a:pt x="1773" y="1548"/>
                </a:lnTo>
                <a:lnTo>
                  <a:pt x="1772" y="1549"/>
                </a:lnTo>
                <a:lnTo>
                  <a:pt x="1770" y="1549"/>
                </a:lnTo>
                <a:lnTo>
                  <a:pt x="1765" y="1544"/>
                </a:lnTo>
                <a:lnTo>
                  <a:pt x="1764" y="1544"/>
                </a:lnTo>
                <a:lnTo>
                  <a:pt x="1761" y="1547"/>
                </a:lnTo>
                <a:lnTo>
                  <a:pt x="1757" y="1547"/>
                </a:lnTo>
                <a:lnTo>
                  <a:pt x="1755" y="1545"/>
                </a:lnTo>
                <a:lnTo>
                  <a:pt x="1752" y="1545"/>
                </a:lnTo>
                <a:lnTo>
                  <a:pt x="1749" y="1548"/>
                </a:lnTo>
                <a:lnTo>
                  <a:pt x="1745" y="1548"/>
                </a:lnTo>
                <a:lnTo>
                  <a:pt x="1748" y="1551"/>
                </a:lnTo>
                <a:lnTo>
                  <a:pt x="1741" y="1559"/>
                </a:lnTo>
                <a:lnTo>
                  <a:pt x="1740" y="1559"/>
                </a:lnTo>
                <a:lnTo>
                  <a:pt x="1739" y="1561"/>
                </a:lnTo>
                <a:lnTo>
                  <a:pt x="1739" y="1562"/>
                </a:lnTo>
                <a:lnTo>
                  <a:pt x="1736" y="1562"/>
                </a:lnTo>
                <a:lnTo>
                  <a:pt x="1735" y="1563"/>
                </a:lnTo>
                <a:lnTo>
                  <a:pt x="1733" y="1565"/>
                </a:lnTo>
                <a:lnTo>
                  <a:pt x="1732" y="1567"/>
                </a:lnTo>
                <a:lnTo>
                  <a:pt x="1732" y="1569"/>
                </a:lnTo>
                <a:lnTo>
                  <a:pt x="1733" y="1569"/>
                </a:lnTo>
                <a:lnTo>
                  <a:pt x="1733" y="1571"/>
                </a:lnTo>
                <a:lnTo>
                  <a:pt x="1734" y="1572"/>
                </a:lnTo>
                <a:lnTo>
                  <a:pt x="1737" y="1572"/>
                </a:lnTo>
                <a:lnTo>
                  <a:pt x="1737" y="1579"/>
                </a:lnTo>
                <a:lnTo>
                  <a:pt x="1739" y="1580"/>
                </a:lnTo>
                <a:lnTo>
                  <a:pt x="1742" y="1581"/>
                </a:lnTo>
                <a:lnTo>
                  <a:pt x="1743" y="1581"/>
                </a:lnTo>
                <a:lnTo>
                  <a:pt x="1743" y="1587"/>
                </a:lnTo>
                <a:lnTo>
                  <a:pt x="1745" y="1588"/>
                </a:lnTo>
                <a:lnTo>
                  <a:pt x="1747" y="1592"/>
                </a:lnTo>
                <a:lnTo>
                  <a:pt x="1741" y="1598"/>
                </a:lnTo>
                <a:lnTo>
                  <a:pt x="1740" y="1598"/>
                </a:lnTo>
                <a:lnTo>
                  <a:pt x="1736" y="1600"/>
                </a:lnTo>
                <a:lnTo>
                  <a:pt x="1735" y="1600"/>
                </a:lnTo>
                <a:lnTo>
                  <a:pt x="1734" y="1604"/>
                </a:lnTo>
                <a:lnTo>
                  <a:pt x="1732" y="1605"/>
                </a:lnTo>
                <a:lnTo>
                  <a:pt x="1724" y="1605"/>
                </a:lnTo>
                <a:lnTo>
                  <a:pt x="1721" y="1606"/>
                </a:lnTo>
                <a:lnTo>
                  <a:pt x="1718" y="1609"/>
                </a:lnTo>
                <a:lnTo>
                  <a:pt x="1712" y="1616"/>
                </a:lnTo>
                <a:lnTo>
                  <a:pt x="1704" y="1616"/>
                </a:lnTo>
                <a:lnTo>
                  <a:pt x="1703" y="1617"/>
                </a:lnTo>
                <a:lnTo>
                  <a:pt x="1703" y="1619"/>
                </a:lnTo>
                <a:lnTo>
                  <a:pt x="1705" y="1624"/>
                </a:lnTo>
                <a:lnTo>
                  <a:pt x="1706" y="1624"/>
                </a:lnTo>
                <a:lnTo>
                  <a:pt x="1708" y="1625"/>
                </a:lnTo>
                <a:lnTo>
                  <a:pt x="1709" y="1624"/>
                </a:lnTo>
                <a:lnTo>
                  <a:pt x="1709" y="1623"/>
                </a:lnTo>
                <a:lnTo>
                  <a:pt x="1711" y="1623"/>
                </a:lnTo>
                <a:lnTo>
                  <a:pt x="1715" y="1627"/>
                </a:lnTo>
                <a:lnTo>
                  <a:pt x="1722" y="1628"/>
                </a:lnTo>
                <a:lnTo>
                  <a:pt x="1723" y="1630"/>
                </a:lnTo>
                <a:lnTo>
                  <a:pt x="1723" y="1631"/>
                </a:lnTo>
                <a:lnTo>
                  <a:pt x="1722" y="1631"/>
                </a:lnTo>
                <a:lnTo>
                  <a:pt x="1722" y="1634"/>
                </a:lnTo>
                <a:lnTo>
                  <a:pt x="1721" y="1634"/>
                </a:lnTo>
                <a:lnTo>
                  <a:pt x="1718" y="1636"/>
                </a:lnTo>
                <a:lnTo>
                  <a:pt x="1718" y="1637"/>
                </a:lnTo>
                <a:lnTo>
                  <a:pt x="1720" y="1639"/>
                </a:lnTo>
                <a:lnTo>
                  <a:pt x="1724" y="1639"/>
                </a:lnTo>
                <a:lnTo>
                  <a:pt x="1724" y="1641"/>
                </a:lnTo>
                <a:lnTo>
                  <a:pt x="1726" y="1641"/>
                </a:lnTo>
                <a:lnTo>
                  <a:pt x="1742" y="1642"/>
                </a:lnTo>
                <a:lnTo>
                  <a:pt x="1742" y="1645"/>
                </a:lnTo>
                <a:lnTo>
                  <a:pt x="1743" y="1646"/>
                </a:lnTo>
                <a:lnTo>
                  <a:pt x="1743" y="1647"/>
                </a:lnTo>
                <a:lnTo>
                  <a:pt x="1747" y="1651"/>
                </a:lnTo>
                <a:lnTo>
                  <a:pt x="1749" y="1651"/>
                </a:lnTo>
                <a:lnTo>
                  <a:pt x="1752" y="1652"/>
                </a:lnTo>
                <a:lnTo>
                  <a:pt x="1758" y="1652"/>
                </a:lnTo>
                <a:lnTo>
                  <a:pt x="1759" y="1653"/>
                </a:lnTo>
                <a:lnTo>
                  <a:pt x="1759" y="1652"/>
                </a:lnTo>
                <a:lnTo>
                  <a:pt x="1760" y="1652"/>
                </a:lnTo>
                <a:lnTo>
                  <a:pt x="1762" y="1653"/>
                </a:lnTo>
                <a:lnTo>
                  <a:pt x="1764" y="1654"/>
                </a:lnTo>
                <a:lnTo>
                  <a:pt x="1766" y="1654"/>
                </a:lnTo>
                <a:lnTo>
                  <a:pt x="1766" y="1655"/>
                </a:lnTo>
                <a:lnTo>
                  <a:pt x="1768" y="1661"/>
                </a:lnTo>
                <a:lnTo>
                  <a:pt x="1771" y="1664"/>
                </a:lnTo>
                <a:lnTo>
                  <a:pt x="1773" y="1665"/>
                </a:lnTo>
                <a:lnTo>
                  <a:pt x="1773" y="1666"/>
                </a:lnTo>
                <a:lnTo>
                  <a:pt x="1771" y="1666"/>
                </a:lnTo>
                <a:lnTo>
                  <a:pt x="1768" y="1668"/>
                </a:lnTo>
                <a:lnTo>
                  <a:pt x="1767" y="1672"/>
                </a:lnTo>
                <a:lnTo>
                  <a:pt x="1765" y="1683"/>
                </a:lnTo>
                <a:lnTo>
                  <a:pt x="1765" y="1685"/>
                </a:lnTo>
                <a:lnTo>
                  <a:pt x="1764" y="1691"/>
                </a:lnTo>
                <a:lnTo>
                  <a:pt x="1764" y="1694"/>
                </a:lnTo>
                <a:lnTo>
                  <a:pt x="1762" y="1696"/>
                </a:lnTo>
                <a:lnTo>
                  <a:pt x="1761" y="1697"/>
                </a:lnTo>
                <a:lnTo>
                  <a:pt x="1749" y="1702"/>
                </a:lnTo>
                <a:lnTo>
                  <a:pt x="1737" y="1705"/>
                </a:lnTo>
                <a:lnTo>
                  <a:pt x="1734" y="1705"/>
                </a:lnTo>
                <a:lnTo>
                  <a:pt x="1716" y="1704"/>
                </a:lnTo>
                <a:lnTo>
                  <a:pt x="1714" y="1703"/>
                </a:lnTo>
                <a:lnTo>
                  <a:pt x="1712" y="1702"/>
                </a:lnTo>
                <a:lnTo>
                  <a:pt x="1711" y="1700"/>
                </a:lnTo>
                <a:lnTo>
                  <a:pt x="1710" y="1698"/>
                </a:lnTo>
                <a:lnTo>
                  <a:pt x="1710" y="1696"/>
                </a:lnTo>
                <a:lnTo>
                  <a:pt x="1709" y="1694"/>
                </a:lnTo>
                <a:lnTo>
                  <a:pt x="1706" y="1692"/>
                </a:lnTo>
                <a:lnTo>
                  <a:pt x="1704" y="1692"/>
                </a:lnTo>
                <a:lnTo>
                  <a:pt x="1703" y="1694"/>
                </a:lnTo>
                <a:lnTo>
                  <a:pt x="1702" y="1694"/>
                </a:lnTo>
                <a:lnTo>
                  <a:pt x="1702" y="1695"/>
                </a:lnTo>
                <a:lnTo>
                  <a:pt x="1701" y="1698"/>
                </a:lnTo>
                <a:lnTo>
                  <a:pt x="1699" y="1700"/>
                </a:lnTo>
                <a:lnTo>
                  <a:pt x="1699" y="1701"/>
                </a:lnTo>
                <a:lnTo>
                  <a:pt x="1701" y="1703"/>
                </a:lnTo>
                <a:lnTo>
                  <a:pt x="1699" y="1704"/>
                </a:lnTo>
                <a:lnTo>
                  <a:pt x="1699" y="1705"/>
                </a:lnTo>
                <a:lnTo>
                  <a:pt x="1697" y="1708"/>
                </a:lnTo>
                <a:lnTo>
                  <a:pt x="1696" y="1711"/>
                </a:lnTo>
                <a:lnTo>
                  <a:pt x="1693" y="1714"/>
                </a:lnTo>
                <a:lnTo>
                  <a:pt x="1690" y="1714"/>
                </a:lnTo>
                <a:lnTo>
                  <a:pt x="1687" y="1715"/>
                </a:lnTo>
                <a:lnTo>
                  <a:pt x="1685" y="1717"/>
                </a:lnTo>
                <a:lnTo>
                  <a:pt x="1684" y="1717"/>
                </a:lnTo>
                <a:lnTo>
                  <a:pt x="1681" y="1716"/>
                </a:lnTo>
                <a:lnTo>
                  <a:pt x="1680" y="1715"/>
                </a:lnTo>
                <a:lnTo>
                  <a:pt x="1680" y="1714"/>
                </a:lnTo>
                <a:lnTo>
                  <a:pt x="1681" y="1713"/>
                </a:lnTo>
                <a:lnTo>
                  <a:pt x="1685" y="1713"/>
                </a:lnTo>
                <a:lnTo>
                  <a:pt x="1685" y="1710"/>
                </a:lnTo>
                <a:lnTo>
                  <a:pt x="1683" y="1709"/>
                </a:lnTo>
                <a:lnTo>
                  <a:pt x="1681" y="1709"/>
                </a:lnTo>
                <a:lnTo>
                  <a:pt x="1680" y="1708"/>
                </a:lnTo>
                <a:lnTo>
                  <a:pt x="1678" y="1708"/>
                </a:lnTo>
                <a:lnTo>
                  <a:pt x="1673" y="1709"/>
                </a:lnTo>
                <a:lnTo>
                  <a:pt x="1671" y="1707"/>
                </a:lnTo>
                <a:lnTo>
                  <a:pt x="1671" y="1705"/>
                </a:lnTo>
                <a:lnTo>
                  <a:pt x="1670" y="1705"/>
                </a:lnTo>
                <a:lnTo>
                  <a:pt x="1658" y="1704"/>
                </a:lnTo>
                <a:lnTo>
                  <a:pt x="1656" y="1703"/>
                </a:lnTo>
                <a:lnTo>
                  <a:pt x="1653" y="1701"/>
                </a:lnTo>
                <a:lnTo>
                  <a:pt x="1652" y="1700"/>
                </a:lnTo>
                <a:lnTo>
                  <a:pt x="1652" y="1697"/>
                </a:lnTo>
                <a:lnTo>
                  <a:pt x="1647" y="1697"/>
                </a:lnTo>
                <a:lnTo>
                  <a:pt x="1647" y="1696"/>
                </a:lnTo>
                <a:lnTo>
                  <a:pt x="1646" y="1695"/>
                </a:lnTo>
                <a:lnTo>
                  <a:pt x="1647" y="1692"/>
                </a:lnTo>
                <a:lnTo>
                  <a:pt x="1643" y="1692"/>
                </a:lnTo>
                <a:lnTo>
                  <a:pt x="1642" y="1691"/>
                </a:lnTo>
                <a:lnTo>
                  <a:pt x="1642" y="1688"/>
                </a:lnTo>
                <a:lnTo>
                  <a:pt x="1643" y="1688"/>
                </a:lnTo>
                <a:lnTo>
                  <a:pt x="1643" y="1686"/>
                </a:lnTo>
                <a:lnTo>
                  <a:pt x="1644" y="1685"/>
                </a:lnTo>
                <a:lnTo>
                  <a:pt x="1644" y="1682"/>
                </a:lnTo>
                <a:lnTo>
                  <a:pt x="1643" y="1679"/>
                </a:lnTo>
                <a:lnTo>
                  <a:pt x="1641" y="1679"/>
                </a:lnTo>
                <a:lnTo>
                  <a:pt x="1636" y="1678"/>
                </a:lnTo>
                <a:lnTo>
                  <a:pt x="1635" y="1678"/>
                </a:lnTo>
                <a:lnTo>
                  <a:pt x="1635" y="1676"/>
                </a:lnTo>
                <a:lnTo>
                  <a:pt x="1633" y="1673"/>
                </a:lnTo>
                <a:lnTo>
                  <a:pt x="1630" y="1673"/>
                </a:lnTo>
                <a:lnTo>
                  <a:pt x="1628" y="1676"/>
                </a:lnTo>
                <a:lnTo>
                  <a:pt x="1628" y="1677"/>
                </a:lnTo>
                <a:lnTo>
                  <a:pt x="1627" y="1678"/>
                </a:lnTo>
                <a:lnTo>
                  <a:pt x="1627" y="1679"/>
                </a:lnTo>
                <a:lnTo>
                  <a:pt x="1625" y="1679"/>
                </a:lnTo>
                <a:lnTo>
                  <a:pt x="1624" y="1678"/>
                </a:lnTo>
                <a:lnTo>
                  <a:pt x="1623" y="1678"/>
                </a:lnTo>
                <a:lnTo>
                  <a:pt x="1623" y="1677"/>
                </a:lnTo>
                <a:lnTo>
                  <a:pt x="1618" y="1677"/>
                </a:lnTo>
                <a:lnTo>
                  <a:pt x="1617" y="1678"/>
                </a:lnTo>
                <a:lnTo>
                  <a:pt x="1616" y="1677"/>
                </a:lnTo>
                <a:lnTo>
                  <a:pt x="1616" y="1676"/>
                </a:lnTo>
                <a:lnTo>
                  <a:pt x="1612" y="1676"/>
                </a:lnTo>
                <a:lnTo>
                  <a:pt x="1610" y="1674"/>
                </a:lnTo>
                <a:lnTo>
                  <a:pt x="1609" y="1674"/>
                </a:lnTo>
                <a:lnTo>
                  <a:pt x="1609" y="1677"/>
                </a:lnTo>
                <a:lnTo>
                  <a:pt x="1608" y="1678"/>
                </a:lnTo>
                <a:lnTo>
                  <a:pt x="1608" y="1689"/>
                </a:lnTo>
                <a:lnTo>
                  <a:pt x="1606" y="1690"/>
                </a:lnTo>
                <a:lnTo>
                  <a:pt x="1602" y="1689"/>
                </a:lnTo>
                <a:lnTo>
                  <a:pt x="1599" y="1689"/>
                </a:lnTo>
                <a:lnTo>
                  <a:pt x="1599" y="1690"/>
                </a:lnTo>
                <a:lnTo>
                  <a:pt x="1598" y="1691"/>
                </a:lnTo>
                <a:lnTo>
                  <a:pt x="1598" y="1692"/>
                </a:lnTo>
                <a:lnTo>
                  <a:pt x="1594" y="1692"/>
                </a:lnTo>
                <a:lnTo>
                  <a:pt x="1592" y="1690"/>
                </a:lnTo>
                <a:lnTo>
                  <a:pt x="1591" y="1690"/>
                </a:lnTo>
                <a:lnTo>
                  <a:pt x="1591" y="1689"/>
                </a:lnTo>
                <a:lnTo>
                  <a:pt x="1590" y="1688"/>
                </a:lnTo>
                <a:lnTo>
                  <a:pt x="1590" y="1685"/>
                </a:lnTo>
                <a:lnTo>
                  <a:pt x="1588" y="1684"/>
                </a:lnTo>
                <a:lnTo>
                  <a:pt x="1588" y="1683"/>
                </a:lnTo>
                <a:lnTo>
                  <a:pt x="1587" y="1683"/>
                </a:lnTo>
                <a:lnTo>
                  <a:pt x="1586" y="1682"/>
                </a:lnTo>
                <a:lnTo>
                  <a:pt x="1585" y="1682"/>
                </a:lnTo>
                <a:lnTo>
                  <a:pt x="1585" y="1678"/>
                </a:lnTo>
                <a:lnTo>
                  <a:pt x="1584" y="1677"/>
                </a:lnTo>
                <a:lnTo>
                  <a:pt x="1584" y="1676"/>
                </a:lnTo>
                <a:lnTo>
                  <a:pt x="1583" y="1677"/>
                </a:lnTo>
                <a:lnTo>
                  <a:pt x="1578" y="1679"/>
                </a:lnTo>
                <a:lnTo>
                  <a:pt x="1574" y="1678"/>
                </a:lnTo>
                <a:lnTo>
                  <a:pt x="1573" y="1678"/>
                </a:lnTo>
                <a:lnTo>
                  <a:pt x="1572" y="1679"/>
                </a:lnTo>
                <a:lnTo>
                  <a:pt x="1569" y="1679"/>
                </a:lnTo>
                <a:lnTo>
                  <a:pt x="1567" y="1678"/>
                </a:lnTo>
                <a:lnTo>
                  <a:pt x="1563" y="1678"/>
                </a:lnTo>
                <a:lnTo>
                  <a:pt x="1563" y="1680"/>
                </a:lnTo>
                <a:lnTo>
                  <a:pt x="1565" y="1683"/>
                </a:lnTo>
                <a:lnTo>
                  <a:pt x="1565" y="1685"/>
                </a:lnTo>
                <a:lnTo>
                  <a:pt x="1563" y="1685"/>
                </a:lnTo>
                <a:lnTo>
                  <a:pt x="1561" y="1684"/>
                </a:lnTo>
                <a:lnTo>
                  <a:pt x="1560" y="1684"/>
                </a:lnTo>
                <a:lnTo>
                  <a:pt x="1556" y="1678"/>
                </a:lnTo>
                <a:lnTo>
                  <a:pt x="1555" y="1678"/>
                </a:lnTo>
                <a:lnTo>
                  <a:pt x="1553" y="1680"/>
                </a:lnTo>
                <a:lnTo>
                  <a:pt x="1553" y="1685"/>
                </a:lnTo>
                <a:lnTo>
                  <a:pt x="1550" y="1685"/>
                </a:lnTo>
                <a:lnTo>
                  <a:pt x="1549" y="1686"/>
                </a:lnTo>
                <a:lnTo>
                  <a:pt x="1549" y="1690"/>
                </a:lnTo>
                <a:lnTo>
                  <a:pt x="1548" y="1691"/>
                </a:lnTo>
                <a:lnTo>
                  <a:pt x="1546" y="1691"/>
                </a:lnTo>
                <a:lnTo>
                  <a:pt x="1542" y="1689"/>
                </a:lnTo>
                <a:lnTo>
                  <a:pt x="1541" y="1689"/>
                </a:lnTo>
                <a:lnTo>
                  <a:pt x="1541" y="1691"/>
                </a:lnTo>
                <a:lnTo>
                  <a:pt x="1538" y="1700"/>
                </a:lnTo>
                <a:lnTo>
                  <a:pt x="1538" y="1701"/>
                </a:lnTo>
                <a:lnTo>
                  <a:pt x="1531" y="1707"/>
                </a:lnTo>
                <a:lnTo>
                  <a:pt x="1525" y="1710"/>
                </a:lnTo>
                <a:lnTo>
                  <a:pt x="1522" y="1714"/>
                </a:lnTo>
                <a:lnTo>
                  <a:pt x="1521" y="1714"/>
                </a:lnTo>
                <a:lnTo>
                  <a:pt x="1518" y="1713"/>
                </a:lnTo>
                <a:lnTo>
                  <a:pt x="1517" y="1711"/>
                </a:lnTo>
                <a:lnTo>
                  <a:pt x="1517" y="1710"/>
                </a:lnTo>
                <a:lnTo>
                  <a:pt x="1515" y="1709"/>
                </a:lnTo>
                <a:lnTo>
                  <a:pt x="1513" y="1708"/>
                </a:lnTo>
                <a:lnTo>
                  <a:pt x="1513" y="1707"/>
                </a:lnTo>
                <a:lnTo>
                  <a:pt x="1512" y="1705"/>
                </a:lnTo>
                <a:lnTo>
                  <a:pt x="1507" y="1705"/>
                </a:lnTo>
                <a:lnTo>
                  <a:pt x="1507" y="1707"/>
                </a:lnTo>
                <a:lnTo>
                  <a:pt x="1506" y="1705"/>
                </a:lnTo>
                <a:lnTo>
                  <a:pt x="1505" y="1705"/>
                </a:lnTo>
                <a:lnTo>
                  <a:pt x="1496" y="1696"/>
                </a:lnTo>
                <a:lnTo>
                  <a:pt x="1496" y="1692"/>
                </a:lnTo>
                <a:lnTo>
                  <a:pt x="1494" y="1691"/>
                </a:lnTo>
                <a:lnTo>
                  <a:pt x="1488" y="1689"/>
                </a:lnTo>
                <a:lnTo>
                  <a:pt x="1485" y="1685"/>
                </a:lnTo>
                <a:lnTo>
                  <a:pt x="1481" y="1683"/>
                </a:lnTo>
                <a:lnTo>
                  <a:pt x="1480" y="1682"/>
                </a:lnTo>
                <a:lnTo>
                  <a:pt x="1479" y="1682"/>
                </a:lnTo>
                <a:lnTo>
                  <a:pt x="1478" y="1680"/>
                </a:lnTo>
                <a:lnTo>
                  <a:pt x="1478" y="1682"/>
                </a:lnTo>
                <a:lnTo>
                  <a:pt x="1474" y="1682"/>
                </a:lnTo>
                <a:lnTo>
                  <a:pt x="1473" y="1683"/>
                </a:lnTo>
                <a:lnTo>
                  <a:pt x="1473" y="1686"/>
                </a:lnTo>
                <a:lnTo>
                  <a:pt x="1472" y="1688"/>
                </a:lnTo>
                <a:lnTo>
                  <a:pt x="1473" y="1689"/>
                </a:lnTo>
                <a:lnTo>
                  <a:pt x="1475" y="1689"/>
                </a:lnTo>
                <a:lnTo>
                  <a:pt x="1478" y="1690"/>
                </a:lnTo>
                <a:lnTo>
                  <a:pt x="1478" y="1694"/>
                </a:lnTo>
                <a:lnTo>
                  <a:pt x="1476" y="1695"/>
                </a:lnTo>
                <a:lnTo>
                  <a:pt x="1476" y="1696"/>
                </a:lnTo>
                <a:lnTo>
                  <a:pt x="1478" y="1697"/>
                </a:lnTo>
                <a:lnTo>
                  <a:pt x="1478" y="1702"/>
                </a:lnTo>
                <a:lnTo>
                  <a:pt x="1479" y="1707"/>
                </a:lnTo>
                <a:lnTo>
                  <a:pt x="1479" y="1709"/>
                </a:lnTo>
                <a:lnTo>
                  <a:pt x="1478" y="1711"/>
                </a:lnTo>
                <a:lnTo>
                  <a:pt x="1475" y="1714"/>
                </a:lnTo>
                <a:lnTo>
                  <a:pt x="1473" y="1714"/>
                </a:lnTo>
                <a:lnTo>
                  <a:pt x="1472" y="1715"/>
                </a:lnTo>
                <a:lnTo>
                  <a:pt x="1470" y="1715"/>
                </a:lnTo>
                <a:lnTo>
                  <a:pt x="1467" y="1711"/>
                </a:lnTo>
                <a:lnTo>
                  <a:pt x="1467" y="1709"/>
                </a:lnTo>
                <a:lnTo>
                  <a:pt x="1466" y="1708"/>
                </a:lnTo>
                <a:lnTo>
                  <a:pt x="1467" y="1707"/>
                </a:lnTo>
                <a:lnTo>
                  <a:pt x="1467" y="1704"/>
                </a:lnTo>
                <a:lnTo>
                  <a:pt x="1468" y="1703"/>
                </a:lnTo>
                <a:lnTo>
                  <a:pt x="1468" y="1698"/>
                </a:lnTo>
                <a:lnTo>
                  <a:pt x="1470" y="1695"/>
                </a:lnTo>
                <a:lnTo>
                  <a:pt x="1470" y="1692"/>
                </a:lnTo>
                <a:lnTo>
                  <a:pt x="1468" y="1692"/>
                </a:lnTo>
                <a:lnTo>
                  <a:pt x="1468" y="1691"/>
                </a:lnTo>
                <a:lnTo>
                  <a:pt x="1467" y="1691"/>
                </a:lnTo>
                <a:lnTo>
                  <a:pt x="1467" y="1690"/>
                </a:lnTo>
                <a:lnTo>
                  <a:pt x="1463" y="1690"/>
                </a:lnTo>
                <a:lnTo>
                  <a:pt x="1462" y="1689"/>
                </a:lnTo>
                <a:lnTo>
                  <a:pt x="1461" y="1689"/>
                </a:lnTo>
                <a:lnTo>
                  <a:pt x="1461" y="1688"/>
                </a:lnTo>
                <a:lnTo>
                  <a:pt x="1459" y="1685"/>
                </a:lnTo>
                <a:lnTo>
                  <a:pt x="1457" y="1685"/>
                </a:lnTo>
                <a:lnTo>
                  <a:pt x="1456" y="1683"/>
                </a:lnTo>
                <a:lnTo>
                  <a:pt x="1456" y="1680"/>
                </a:lnTo>
                <a:lnTo>
                  <a:pt x="1455" y="1678"/>
                </a:lnTo>
                <a:lnTo>
                  <a:pt x="1455" y="1677"/>
                </a:lnTo>
                <a:lnTo>
                  <a:pt x="1454" y="1676"/>
                </a:lnTo>
                <a:lnTo>
                  <a:pt x="1451" y="1676"/>
                </a:lnTo>
                <a:lnTo>
                  <a:pt x="1451" y="1674"/>
                </a:lnTo>
                <a:lnTo>
                  <a:pt x="1450" y="1672"/>
                </a:lnTo>
                <a:lnTo>
                  <a:pt x="1449" y="1672"/>
                </a:lnTo>
                <a:lnTo>
                  <a:pt x="1447" y="1670"/>
                </a:lnTo>
                <a:lnTo>
                  <a:pt x="1444" y="1671"/>
                </a:lnTo>
                <a:lnTo>
                  <a:pt x="1436" y="1668"/>
                </a:lnTo>
                <a:lnTo>
                  <a:pt x="1436" y="1667"/>
                </a:lnTo>
                <a:lnTo>
                  <a:pt x="1435" y="1666"/>
                </a:lnTo>
                <a:lnTo>
                  <a:pt x="1435" y="1665"/>
                </a:lnTo>
                <a:lnTo>
                  <a:pt x="1432" y="1662"/>
                </a:lnTo>
                <a:lnTo>
                  <a:pt x="1434" y="1661"/>
                </a:lnTo>
                <a:lnTo>
                  <a:pt x="1434" y="1660"/>
                </a:lnTo>
                <a:lnTo>
                  <a:pt x="1432" y="1659"/>
                </a:lnTo>
                <a:lnTo>
                  <a:pt x="1434" y="1659"/>
                </a:lnTo>
                <a:lnTo>
                  <a:pt x="1434" y="1657"/>
                </a:lnTo>
                <a:lnTo>
                  <a:pt x="1431" y="1655"/>
                </a:lnTo>
                <a:lnTo>
                  <a:pt x="1428" y="1653"/>
                </a:lnTo>
                <a:lnTo>
                  <a:pt x="1426" y="1653"/>
                </a:lnTo>
                <a:lnTo>
                  <a:pt x="1425" y="1651"/>
                </a:lnTo>
                <a:lnTo>
                  <a:pt x="1424" y="1649"/>
                </a:lnTo>
                <a:lnTo>
                  <a:pt x="1417" y="1649"/>
                </a:lnTo>
                <a:lnTo>
                  <a:pt x="1417" y="1648"/>
                </a:lnTo>
                <a:lnTo>
                  <a:pt x="1414" y="1648"/>
                </a:lnTo>
                <a:lnTo>
                  <a:pt x="1414" y="1651"/>
                </a:lnTo>
                <a:lnTo>
                  <a:pt x="1410" y="1649"/>
                </a:lnTo>
                <a:lnTo>
                  <a:pt x="1409" y="1651"/>
                </a:lnTo>
                <a:lnTo>
                  <a:pt x="1407" y="1651"/>
                </a:lnTo>
                <a:lnTo>
                  <a:pt x="1407" y="1652"/>
                </a:lnTo>
                <a:lnTo>
                  <a:pt x="1406" y="1652"/>
                </a:lnTo>
                <a:lnTo>
                  <a:pt x="1406" y="1653"/>
                </a:lnTo>
                <a:lnTo>
                  <a:pt x="1405" y="1652"/>
                </a:lnTo>
                <a:lnTo>
                  <a:pt x="1403" y="1652"/>
                </a:lnTo>
                <a:lnTo>
                  <a:pt x="1404" y="1651"/>
                </a:lnTo>
                <a:lnTo>
                  <a:pt x="1403" y="1649"/>
                </a:lnTo>
                <a:lnTo>
                  <a:pt x="1400" y="1651"/>
                </a:lnTo>
                <a:lnTo>
                  <a:pt x="1400" y="1649"/>
                </a:lnTo>
                <a:lnTo>
                  <a:pt x="1399" y="1649"/>
                </a:lnTo>
                <a:lnTo>
                  <a:pt x="1399" y="1648"/>
                </a:lnTo>
                <a:lnTo>
                  <a:pt x="1398" y="1649"/>
                </a:lnTo>
                <a:lnTo>
                  <a:pt x="1398" y="1651"/>
                </a:lnTo>
                <a:lnTo>
                  <a:pt x="1395" y="1651"/>
                </a:lnTo>
                <a:lnTo>
                  <a:pt x="1395" y="1652"/>
                </a:lnTo>
                <a:lnTo>
                  <a:pt x="1388" y="1652"/>
                </a:lnTo>
                <a:lnTo>
                  <a:pt x="1387" y="1651"/>
                </a:lnTo>
                <a:lnTo>
                  <a:pt x="1387" y="1649"/>
                </a:lnTo>
                <a:lnTo>
                  <a:pt x="1386" y="1649"/>
                </a:lnTo>
                <a:lnTo>
                  <a:pt x="1386" y="1648"/>
                </a:lnTo>
                <a:lnTo>
                  <a:pt x="1385" y="1643"/>
                </a:lnTo>
                <a:lnTo>
                  <a:pt x="1381" y="1636"/>
                </a:lnTo>
                <a:lnTo>
                  <a:pt x="1381" y="1634"/>
                </a:lnTo>
                <a:lnTo>
                  <a:pt x="1380" y="1631"/>
                </a:lnTo>
                <a:lnTo>
                  <a:pt x="1379" y="1630"/>
                </a:lnTo>
                <a:lnTo>
                  <a:pt x="1379" y="1631"/>
                </a:lnTo>
                <a:lnTo>
                  <a:pt x="1376" y="1634"/>
                </a:lnTo>
                <a:lnTo>
                  <a:pt x="1373" y="1634"/>
                </a:lnTo>
                <a:lnTo>
                  <a:pt x="1372" y="1635"/>
                </a:lnTo>
                <a:lnTo>
                  <a:pt x="1370" y="1637"/>
                </a:lnTo>
                <a:lnTo>
                  <a:pt x="1369" y="1639"/>
                </a:lnTo>
                <a:lnTo>
                  <a:pt x="1364" y="1639"/>
                </a:lnTo>
                <a:lnTo>
                  <a:pt x="1364" y="1637"/>
                </a:lnTo>
                <a:lnTo>
                  <a:pt x="1361" y="1637"/>
                </a:lnTo>
                <a:lnTo>
                  <a:pt x="1358" y="1640"/>
                </a:lnTo>
                <a:lnTo>
                  <a:pt x="1356" y="1643"/>
                </a:lnTo>
                <a:lnTo>
                  <a:pt x="1356" y="1645"/>
                </a:lnTo>
                <a:lnTo>
                  <a:pt x="1357" y="1647"/>
                </a:lnTo>
                <a:lnTo>
                  <a:pt x="1357" y="1649"/>
                </a:lnTo>
                <a:lnTo>
                  <a:pt x="1352" y="1652"/>
                </a:lnTo>
                <a:lnTo>
                  <a:pt x="1351" y="1653"/>
                </a:lnTo>
                <a:lnTo>
                  <a:pt x="1350" y="1651"/>
                </a:lnTo>
                <a:lnTo>
                  <a:pt x="1350" y="1648"/>
                </a:lnTo>
                <a:lnTo>
                  <a:pt x="1349" y="1647"/>
                </a:lnTo>
                <a:lnTo>
                  <a:pt x="1347" y="1647"/>
                </a:lnTo>
                <a:lnTo>
                  <a:pt x="1347" y="1648"/>
                </a:lnTo>
                <a:lnTo>
                  <a:pt x="1345" y="1649"/>
                </a:lnTo>
                <a:lnTo>
                  <a:pt x="1343" y="1651"/>
                </a:lnTo>
                <a:lnTo>
                  <a:pt x="1339" y="1652"/>
                </a:lnTo>
                <a:lnTo>
                  <a:pt x="1335" y="1649"/>
                </a:lnTo>
                <a:lnTo>
                  <a:pt x="1335" y="1648"/>
                </a:lnTo>
                <a:lnTo>
                  <a:pt x="1333" y="1647"/>
                </a:lnTo>
                <a:lnTo>
                  <a:pt x="1333" y="1646"/>
                </a:lnTo>
                <a:lnTo>
                  <a:pt x="1338" y="1646"/>
                </a:lnTo>
                <a:lnTo>
                  <a:pt x="1339" y="1645"/>
                </a:lnTo>
                <a:lnTo>
                  <a:pt x="1339" y="1640"/>
                </a:lnTo>
                <a:lnTo>
                  <a:pt x="1336" y="1640"/>
                </a:lnTo>
                <a:lnTo>
                  <a:pt x="1336" y="1639"/>
                </a:lnTo>
                <a:lnTo>
                  <a:pt x="1333" y="1636"/>
                </a:lnTo>
                <a:lnTo>
                  <a:pt x="1332" y="1637"/>
                </a:lnTo>
                <a:lnTo>
                  <a:pt x="1320" y="1637"/>
                </a:lnTo>
                <a:lnTo>
                  <a:pt x="1319" y="1636"/>
                </a:lnTo>
                <a:lnTo>
                  <a:pt x="1319" y="1635"/>
                </a:lnTo>
                <a:lnTo>
                  <a:pt x="1318" y="1634"/>
                </a:lnTo>
                <a:lnTo>
                  <a:pt x="1318" y="1633"/>
                </a:lnTo>
                <a:lnTo>
                  <a:pt x="1317" y="1633"/>
                </a:lnTo>
                <a:lnTo>
                  <a:pt x="1316" y="1631"/>
                </a:lnTo>
                <a:lnTo>
                  <a:pt x="1314" y="1631"/>
                </a:lnTo>
                <a:lnTo>
                  <a:pt x="1313" y="1633"/>
                </a:lnTo>
                <a:lnTo>
                  <a:pt x="1313" y="1635"/>
                </a:lnTo>
                <a:lnTo>
                  <a:pt x="1316" y="1641"/>
                </a:lnTo>
                <a:lnTo>
                  <a:pt x="1312" y="1645"/>
                </a:lnTo>
                <a:lnTo>
                  <a:pt x="1310" y="1645"/>
                </a:lnTo>
                <a:lnTo>
                  <a:pt x="1310" y="1642"/>
                </a:lnTo>
                <a:lnTo>
                  <a:pt x="1311" y="1642"/>
                </a:lnTo>
                <a:lnTo>
                  <a:pt x="1311" y="1641"/>
                </a:lnTo>
                <a:lnTo>
                  <a:pt x="1308" y="1641"/>
                </a:lnTo>
                <a:lnTo>
                  <a:pt x="1307" y="1640"/>
                </a:lnTo>
                <a:lnTo>
                  <a:pt x="1306" y="1640"/>
                </a:lnTo>
                <a:lnTo>
                  <a:pt x="1306" y="1643"/>
                </a:lnTo>
                <a:lnTo>
                  <a:pt x="1305" y="1643"/>
                </a:lnTo>
                <a:lnTo>
                  <a:pt x="1304" y="1645"/>
                </a:lnTo>
                <a:lnTo>
                  <a:pt x="1304" y="1652"/>
                </a:lnTo>
                <a:lnTo>
                  <a:pt x="1301" y="1652"/>
                </a:lnTo>
                <a:lnTo>
                  <a:pt x="1301" y="1654"/>
                </a:lnTo>
                <a:lnTo>
                  <a:pt x="1296" y="1654"/>
                </a:lnTo>
                <a:lnTo>
                  <a:pt x="1296" y="1655"/>
                </a:lnTo>
                <a:lnTo>
                  <a:pt x="1298" y="1655"/>
                </a:lnTo>
                <a:lnTo>
                  <a:pt x="1298" y="1657"/>
                </a:lnTo>
                <a:lnTo>
                  <a:pt x="1296" y="1657"/>
                </a:lnTo>
                <a:lnTo>
                  <a:pt x="1296" y="1658"/>
                </a:lnTo>
                <a:lnTo>
                  <a:pt x="1295" y="1658"/>
                </a:lnTo>
                <a:lnTo>
                  <a:pt x="1295" y="1659"/>
                </a:lnTo>
                <a:lnTo>
                  <a:pt x="1296" y="1660"/>
                </a:lnTo>
                <a:lnTo>
                  <a:pt x="1296" y="1661"/>
                </a:lnTo>
                <a:lnTo>
                  <a:pt x="1295" y="1662"/>
                </a:lnTo>
                <a:lnTo>
                  <a:pt x="1291" y="1665"/>
                </a:lnTo>
                <a:lnTo>
                  <a:pt x="1282" y="1666"/>
                </a:lnTo>
                <a:lnTo>
                  <a:pt x="1273" y="1676"/>
                </a:lnTo>
                <a:lnTo>
                  <a:pt x="1257" y="1676"/>
                </a:lnTo>
                <a:lnTo>
                  <a:pt x="1257" y="1677"/>
                </a:lnTo>
                <a:lnTo>
                  <a:pt x="1256" y="1678"/>
                </a:lnTo>
                <a:lnTo>
                  <a:pt x="1256" y="1682"/>
                </a:lnTo>
                <a:lnTo>
                  <a:pt x="1255" y="1683"/>
                </a:lnTo>
                <a:lnTo>
                  <a:pt x="1254" y="1685"/>
                </a:lnTo>
                <a:lnTo>
                  <a:pt x="1255" y="1686"/>
                </a:lnTo>
                <a:lnTo>
                  <a:pt x="1257" y="1691"/>
                </a:lnTo>
                <a:lnTo>
                  <a:pt x="1256" y="1694"/>
                </a:lnTo>
                <a:lnTo>
                  <a:pt x="1255" y="1695"/>
                </a:lnTo>
                <a:lnTo>
                  <a:pt x="1251" y="1696"/>
                </a:lnTo>
                <a:lnTo>
                  <a:pt x="1245" y="1697"/>
                </a:lnTo>
                <a:lnTo>
                  <a:pt x="1244" y="1700"/>
                </a:lnTo>
                <a:lnTo>
                  <a:pt x="1239" y="1704"/>
                </a:lnTo>
                <a:lnTo>
                  <a:pt x="1232" y="1710"/>
                </a:lnTo>
                <a:lnTo>
                  <a:pt x="1229" y="1710"/>
                </a:lnTo>
                <a:lnTo>
                  <a:pt x="1223" y="1707"/>
                </a:lnTo>
                <a:lnTo>
                  <a:pt x="1221" y="1707"/>
                </a:lnTo>
                <a:lnTo>
                  <a:pt x="1221" y="1708"/>
                </a:lnTo>
                <a:lnTo>
                  <a:pt x="1223" y="1709"/>
                </a:lnTo>
                <a:lnTo>
                  <a:pt x="1225" y="1709"/>
                </a:lnTo>
                <a:lnTo>
                  <a:pt x="1225" y="1711"/>
                </a:lnTo>
                <a:lnTo>
                  <a:pt x="1226" y="1713"/>
                </a:lnTo>
                <a:lnTo>
                  <a:pt x="1226" y="1727"/>
                </a:lnTo>
                <a:lnTo>
                  <a:pt x="1227" y="1732"/>
                </a:lnTo>
                <a:lnTo>
                  <a:pt x="1230" y="1735"/>
                </a:lnTo>
                <a:lnTo>
                  <a:pt x="1231" y="1738"/>
                </a:lnTo>
                <a:lnTo>
                  <a:pt x="1230" y="1740"/>
                </a:lnTo>
                <a:lnTo>
                  <a:pt x="1230" y="1741"/>
                </a:lnTo>
                <a:lnTo>
                  <a:pt x="1233" y="1743"/>
                </a:lnTo>
                <a:lnTo>
                  <a:pt x="1233" y="1744"/>
                </a:lnTo>
                <a:lnTo>
                  <a:pt x="1234" y="1745"/>
                </a:lnTo>
                <a:lnTo>
                  <a:pt x="1234" y="1748"/>
                </a:lnTo>
                <a:lnTo>
                  <a:pt x="1230" y="1753"/>
                </a:lnTo>
                <a:lnTo>
                  <a:pt x="1226" y="1756"/>
                </a:lnTo>
                <a:lnTo>
                  <a:pt x="1218" y="1759"/>
                </a:lnTo>
                <a:lnTo>
                  <a:pt x="1215" y="1762"/>
                </a:lnTo>
                <a:lnTo>
                  <a:pt x="1214" y="1762"/>
                </a:lnTo>
                <a:lnTo>
                  <a:pt x="1212" y="1760"/>
                </a:lnTo>
                <a:lnTo>
                  <a:pt x="1211" y="1758"/>
                </a:lnTo>
                <a:lnTo>
                  <a:pt x="1207" y="1758"/>
                </a:lnTo>
                <a:lnTo>
                  <a:pt x="1207" y="1757"/>
                </a:lnTo>
                <a:lnTo>
                  <a:pt x="1206" y="1756"/>
                </a:lnTo>
                <a:lnTo>
                  <a:pt x="1206" y="1754"/>
                </a:lnTo>
                <a:lnTo>
                  <a:pt x="1204" y="1752"/>
                </a:lnTo>
                <a:lnTo>
                  <a:pt x="1202" y="1750"/>
                </a:lnTo>
                <a:lnTo>
                  <a:pt x="1202" y="1747"/>
                </a:lnTo>
                <a:lnTo>
                  <a:pt x="1201" y="1746"/>
                </a:lnTo>
                <a:lnTo>
                  <a:pt x="1201" y="1744"/>
                </a:lnTo>
                <a:lnTo>
                  <a:pt x="1200" y="1743"/>
                </a:lnTo>
                <a:lnTo>
                  <a:pt x="1199" y="1740"/>
                </a:lnTo>
                <a:lnTo>
                  <a:pt x="1198" y="1740"/>
                </a:lnTo>
                <a:lnTo>
                  <a:pt x="1198" y="1738"/>
                </a:lnTo>
                <a:lnTo>
                  <a:pt x="1196" y="1738"/>
                </a:lnTo>
                <a:lnTo>
                  <a:pt x="1194" y="1733"/>
                </a:lnTo>
                <a:lnTo>
                  <a:pt x="1192" y="1732"/>
                </a:lnTo>
                <a:lnTo>
                  <a:pt x="1190" y="1731"/>
                </a:lnTo>
                <a:lnTo>
                  <a:pt x="1189" y="1728"/>
                </a:lnTo>
                <a:lnTo>
                  <a:pt x="1188" y="1728"/>
                </a:lnTo>
                <a:lnTo>
                  <a:pt x="1188" y="1727"/>
                </a:lnTo>
                <a:lnTo>
                  <a:pt x="1187" y="1727"/>
                </a:lnTo>
                <a:lnTo>
                  <a:pt x="1187" y="1726"/>
                </a:lnTo>
                <a:lnTo>
                  <a:pt x="1181" y="1720"/>
                </a:lnTo>
                <a:lnTo>
                  <a:pt x="1176" y="1720"/>
                </a:lnTo>
                <a:lnTo>
                  <a:pt x="1175" y="1722"/>
                </a:lnTo>
                <a:lnTo>
                  <a:pt x="1174" y="1723"/>
                </a:lnTo>
                <a:lnTo>
                  <a:pt x="1174" y="1725"/>
                </a:lnTo>
                <a:lnTo>
                  <a:pt x="1173" y="1727"/>
                </a:lnTo>
                <a:lnTo>
                  <a:pt x="1171" y="1728"/>
                </a:lnTo>
                <a:lnTo>
                  <a:pt x="1169" y="1729"/>
                </a:lnTo>
                <a:lnTo>
                  <a:pt x="1168" y="1729"/>
                </a:lnTo>
                <a:lnTo>
                  <a:pt x="1168" y="1733"/>
                </a:lnTo>
                <a:lnTo>
                  <a:pt x="1169" y="1733"/>
                </a:lnTo>
                <a:lnTo>
                  <a:pt x="1168" y="1734"/>
                </a:lnTo>
                <a:lnTo>
                  <a:pt x="1167" y="1737"/>
                </a:lnTo>
                <a:lnTo>
                  <a:pt x="1167" y="1739"/>
                </a:lnTo>
                <a:lnTo>
                  <a:pt x="1169" y="1743"/>
                </a:lnTo>
                <a:lnTo>
                  <a:pt x="1169" y="1745"/>
                </a:lnTo>
                <a:lnTo>
                  <a:pt x="1168" y="1746"/>
                </a:lnTo>
                <a:lnTo>
                  <a:pt x="1165" y="1750"/>
                </a:lnTo>
                <a:lnTo>
                  <a:pt x="1163" y="1752"/>
                </a:lnTo>
                <a:lnTo>
                  <a:pt x="1151" y="1758"/>
                </a:lnTo>
                <a:lnTo>
                  <a:pt x="1151" y="1760"/>
                </a:lnTo>
                <a:lnTo>
                  <a:pt x="1147" y="1777"/>
                </a:lnTo>
                <a:lnTo>
                  <a:pt x="1145" y="1793"/>
                </a:lnTo>
                <a:lnTo>
                  <a:pt x="1147" y="1794"/>
                </a:lnTo>
                <a:lnTo>
                  <a:pt x="1153" y="1799"/>
                </a:lnTo>
                <a:lnTo>
                  <a:pt x="1156" y="1801"/>
                </a:lnTo>
                <a:lnTo>
                  <a:pt x="1157" y="1805"/>
                </a:lnTo>
                <a:lnTo>
                  <a:pt x="1156" y="1808"/>
                </a:lnTo>
                <a:lnTo>
                  <a:pt x="1153" y="1811"/>
                </a:lnTo>
                <a:lnTo>
                  <a:pt x="1152" y="1814"/>
                </a:lnTo>
                <a:lnTo>
                  <a:pt x="1151" y="1814"/>
                </a:lnTo>
                <a:lnTo>
                  <a:pt x="1150" y="1815"/>
                </a:lnTo>
                <a:lnTo>
                  <a:pt x="1145" y="1818"/>
                </a:lnTo>
                <a:lnTo>
                  <a:pt x="1145" y="1820"/>
                </a:lnTo>
                <a:lnTo>
                  <a:pt x="1133" y="1851"/>
                </a:lnTo>
                <a:lnTo>
                  <a:pt x="1144" y="1856"/>
                </a:lnTo>
                <a:lnTo>
                  <a:pt x="1153" y="1860"/>
                </a:lnTo>
                <a:lnTo>
                  <a:pt x="1158" y="1861"/>
                </a:lnTo>
                <a:lnTo>
                  <a:pt x="1159" y="1861"/>
                </a:lnTo>
                <a:lnTo>
                  <a:pt x="1159" y="1863"/>
                </a:lnTo>
                <a:lnTo>
                  <a:pt x="1158" y="1864"/>
                </a:lnTo>
                <a:lnTo>
                  <a:pt x="1158" y="1866"/>
                </a:lnTo>
                <a:lnTo>
                  <a:pt x="1159" y="1867"/>
                </a:lnTo>
                <a:lnTo>
                  <a:pt x="1159" y="1873"/>
                </a:lnTo>
                <a:lnTo>
                  <a:pt x="1163" y="1873"/>
                </a:lnTo>
                <a:lnTo>
                  <a:pt x="1163" y="1874"/>
                </a:lnTo>
                <a:lnTo>
                  <a:pt x="1161" y="1876"/>
                </a:lnTo>
                <a:lnTo>
                  <a:pt x="1157" y="1877"/>
                </a:lnTo>
                <a:lnTo>
                  <a:pt x="1157" y="1880"/>
                </a:lnTo>
                <a:lnTo>
                  <a:pt x="1161" y="1883"/>
                </a:lnTo>
                <a:lnTo>
                  <a:pt x="1162" y="1886"/>
                </a:lnTo>
                <a:lnTo>
                  <a:pt x="1162" y="1887"/>
                </a:lnTo>
                <a:lnTo>
                  <a:pt x="1161" y="1887"/>
                </a:lnTo>
                <a:lnTo>
                  <a:pt x="1161" y="1888"/>
                </a:lnTo>
                <a:lnTo>
                  <a:pt x="1159" y="1889"/>
                </a:lnTo>
                <a:lnTo>
                  <a:pt x="1161" y="1889"/>
                </a:lnTo>
                <a:lnTo>
                  <a:pt x="1161" y="1891"/>
                </a:lnTo>
                <a:lnTo>
                  <a:pt x="1162" y="1892"/>
                </a:lnTo>
                <a:lnTo>
                  <a:pt x="1170" y="1898"/>
                </a:lnTo>
                <a:lnTo>
                  <a:pt x="1171" y="1897"/>
                </a:lnTo>
                <a:lnTo>
                  <a:pt x="1171" y="1888"/>
                </a:lnTo>
                <a:lnTo>
                  <a:pt x="1174" y="1888"/>
                </a:lnTo>
                <a:lnTo>
                  <a:pt x="1182" y="1893"/>
                </a:lnTo>
                <a:lnTo>
                  <a:pt x="1199" y="1892"/>
                </a:lnTo>
                <a:lnTo>
                  <a:pt x="1202" y="1893"/>
                </a:lnTo>
                <a:lnTo>
                  <a:pt x="1205" y="1895"/>
                </a:lnTo>
                <a:lnTo>
                  <a:pt x="1212" y="1910"/>
                </a:lnTo>
                <a:lnTo>
                  <a:pt x="1217" y="1915"/>
                </a:lnTo>
                <a:lnTo>
                  <a:pt x="1219" y="1915"/>
                </a:lnTo>
                <a:lnTo>
                  <a:pt x="1220" y="1916"/>
                </a:lnTo>
                <a:lnTo>
                  <a:pt x="1220" y="1917"/>
                </a:lnTo>
                <a:lnTo>
                  <a:pt x="1226" y="1934"/>
                </a:lnTo>
                <a:lnTo>
                  <a:pt x="1239" y="1954"/>
                </a:lnTo>
                <a:lnTo>
                  <a:pt x="1237" y="1957"/>
                </a:lnTo>
                <a:lnTo>
                  <a:pt x="1236" y="1959"/>
                </a:lnTo>
                <a:lnTo>
                  <a:pt x="1230" y="1960"/>
                </a:lnTo>
                <a:lnTo>
                  <a:pt x="1229" y="1959"/>
                </a:lnTo>
                <a:lnTo>
                  <a:pt x="1227" y="1956"/>
                </a:lnTo>
                <a:lnTo>
                  <a:pt x="1226" y="1956"/>
                </a:lnTo>
                <a:lnTo>
                  <a:pt x="1226" y="1955"/>
                </a:lnTo>
                <a:lnTo>
                  <a:pt x="1224" y="1954"/>
                </a:lnTo>
                <a:lnTo>
                  <a:pt x="1220" y="1955"/>
                </a:lnTo>
                <a:lnTo>
                  <a:pt x="1219" y="1956"/>
                </a:lnTo>
                <a:lnTo>
                  <a:pt x="1218" y="1960"/>
                </a:lnTo>
                <a:lnTo>
                  <a:pt x="1217" y="1961"/>
                </a:lnTo>
                <a:lnTo>
                  <a:pt x="1218" y="1961"/>
                </a:lnTo>
                <a:lnTo>
                  <a:pt x="1220" y="1963"/>
                </a:lnTo>
                <a:lnTo>
                  <a:pt x="1220" y="1965"/>
                </a:lnTo>
                <a:lnTo>
                  <a:pt x="1221" y="1965"/>
                </a:lnTo>
                <a:lnTo>
                  <a:pt x="1220" y="1967"/>
                </a:lnTo>
                <a:lnTo>
                  <a:pt x="1225" y="1967"/>
                </a:lnTo>
                <a:lnTo>
                  <a:pt x="1227" y="1968"/>
                </a:lnTo>
                <a:lnTo>
                  <a:pt x="1229" y="1968"/>
                </a:lnTo>
                <a:lnTo>
                  <a:pt x="1229" y="1969"/>
                </a:lnTo>
                <a:lnTo>
                  <a:pt x="1232" y="1972"/>
                </a:lnTo>
                <a:lnTo>
                  <a:pt x="1236" y="1972"/>
                </a:lnTo>
                <a:lnTo>
                  <a:pt x="1240" y="1977"/>
                </a:lnTo>
                <a:lnTo>
                  <a:pt x="1249" y="1981"/>
                </a:lnTo>
                <a:lnTo>
                  <a:pt x="1250" y="1984"/>
                </a:lnTo>
                <a:lnTo>
                  <a:pt x="1251" y="1985"/>
                </a:lnTo>
                <a:lnTo>
                  <a:pt x="1252" y="1985"/>
                </a:lnTo>
                <a:lnTo>
                  <a:pt x="1252" y="1986"/>
                </a:lnTo>
                <a:lnTo>
                  <a:pt x="1250" y="1986"/>
                </a:lnTo>
                <a:lnTo>
                  <a:pt x="1250" y="1985"/>
                </a:lnTo>
                <a:lnTo>
                  <a:pt x="1248" y="1985"/>
                </a:lnTo>
                <a:lnTo>
                  <a:pt x="1245" y="1983"/>
                </a:lnTo>
                <a:lnTo>
                  <a:pt x="1246" y="1981"/>
                </a:lnTo>
                <a:lnTo>
                  <a:pt x="1245" y="1981"/>
                </a:lnTo>
                <a:lnTo>
                  <a:pt x="1243" y="1984"/>
                </a:lnTo>
                <a:lnTo>
                  <a:pt x="1243" y="1985"/>
                </a:lnTo>
                <a:lnTo>
                  <a:pt x="1242" y="1985"/>
                </a:lnTo>
                <a:lnTo>
                  <a:pt x="1242" y="1986"/>
                </a:lnTo>
                <a:lnTo>
                  <a:pt x="1244" y="1986"/>
                </a:lnTo>
                <a:lnTo>
                  <a:pt x="1244" y="1992"/>
                </a:lnTo>
                <a:lnTo>
                  <a:pt x="1242" y="1990"/>
                </a:lnTo>
                <a:lnTo>
                  <a:pt x="1240" y="1990"/>
                </a:lnTo>
                <a:lnTo>
                  <a:pt x="1240" y="1991"/>
                </a:lnTo>
                <a:lnTo>
                  <a:pt x="1239" y="1991"/>
                </a:lnTo>
                <a:lnTo>
                  <a:pt x="1237" y="1992"/>
                </a:lnTo>
                <a:lnTo>
                  <a:pt x="1237" y="1996"/>
                </a:lnTo>
                <a:lnTo>
                  <a:pt x="1236" y="1996"/>
                </a:lnTo>
                <a:lnTo>
                  <a:pt x="1236" y="1993"/>
                </a:lnTo>
                <a:lnTo>
                  <a:pt x="1234" y="1992"/>
                </a:lnTo>
                <a:lnTo>
                  <a:pt x="1234" y="1995"/>
                </a:lnTo>
                <a:lnTo>
                  <a:pt x="1233" y="1993"/>
                </a:lnTo>
                <a:lnTo>
                  <a:pt x="1233" y="1996"/>
                </a:lnTo>
                <a:lnTo>
                  <a:pt x="1234" y="1997"/>
                </a:lnTo>
                <a:lnTo>
                  <a:pt x="1233" y="1997"/>
                </a:lnTo>
                <a:lnTo>
                  <a:pt x="1232" y="1996"/>
                </a:lnTo>
                <a:lnTo>
                  <a:pt x="1232" y="1998"/>
                </a:lnTo>
                <a:lnTo>
                  <a:pt x="1231" y="1998"/>
                </a:lnTo>
                <a:lnTo>
                  <a:pt x="1231" y="1997"/>
                </a:lnTo>
                <a:lnTo>
                  <a:pt x="1227" y="1993"/>
                </a:lnTo>
                <a:lnTo>
                  <a:pt x="1226" y="1995"/>
                </a:lnTo>
                <a:lnTo>
                  <a:pt x="1225" y="1995"/>
                </a:lnTo>
                <a:lnTo>
                  <a:pt x="1225" y="1996"/>
                </a:lnTo>
                <a:lnTo>
                  <a:pt x="1224" y="1996"/>
                </a:lnTo>
                <a:lnTo>
                  <a:pt x="1224" y="1997"/>
                </a:lnTo>
                <a:lnTo>
                  <a:pt x="1226" y="1997"/>
                </a:lnTo>
                <a:lnTo>
                  <a:pt x="1227" y="1999"/>
                </a:lnTo>
                <a:lnTo>
                  <a:pt x="1227" y="2002"/>
                </a:lnTo>
                <a:lnTo>
                  <a:pt x="1225" y="2002"/>
                </a:lnTo>
                <a:lnTo>
                  <a:pt x="1225" y="2004"/>
                </a:lnTo>
                <a:lnTo>
                  <a:pt x="1226" y="2003"/>
                </a:lnTo>
                <a:lnTo>
                  <a:pt x="1229" y="2003"/>
                </a:lnTo>
                <a:lnTo>
                  <a:pt x="1229" y="2008"/>
                </a:lnTo>
                <a:lnTo>
                  <a:pt x="1230" y="2010"/>
                </a:lnTo>
                <a:lnTo>
                  <a:pt x="1229" y="2011"/>
                </a:lnTo>
                <a:lnTo>
                  <a:pt x="1227" y="2011"/>
                </a:lnTo>
                <a:lnTo>
                  <a:pt x="1227" y="2012"/>
                </a:lnTo>
                <a:lnTo>
                  <a:pt x="1226" y="2011"/>
                </a:lnTo>
                <a:lnTo>
                  <a:pt x="1226" y="2009"/>
                </a:lnTo>
                <a:lnTo>
                  <a:pt x="1224" y="2006"/>
                </a:lnTo>
                <a:lnTo>
                  <a:pt x="1224" y="2005"/>
                </a:lnTo>
                <a:lnTo>
                  <a:pt x="1221" y="2003"/>
                </a:lnTo>
                <a:lnTo>
                  <a:pt x="1220" y="2003"/>
                </a:lnTo>
                <a:lnTo>
                  <a:pt x="1219" y="2004"/>
                </a:lnTo>
                <a:lnTo>
                  <a:pt x="1219" y="2005"/>
                </a:lnTo>
                <a:lnTo>
                  <a:pt x="1217" y="2005"/>
                </a:lnTo>
                <a:lnTo>
                  <a:pt x="1215" y="2006"/>
                </a:lnTo>
                <a:lnTo>
                  <a:pt x="1214" y="2009"/>
                </a:lnTo>
                <a:lnTo>
                  <a:pt x="1212" y="2009"/>
                </a:lnTo>
                <a:lnTo>
                  <a:pt x="1212" y="2010"/>
                </a:lnTo>
                <a:lnTo>
                  <a:pt x="1214" y="2010"/>
                </a:lnTo>
                <a:lnTo>
                  <a:pt x="1214" y="2011"/>
                </a:lnTo>
                <a:lnTo>
                  <a:pt x="1209" y="2011"/>
                </a:lnTo>
                <a:lnTo>
                  <a:pt x="1209" y="2014"/>
                </a:lnTo>
                <a:lnTo>
                  <a:pt x="1208" y="2015"/>
                </a:lnTo>
                <a:lnTo>
                  <a:pt x="1207" y="2015"/>
                </a:lnTo>
                <a:lnTo>
                  <a:pt x="1206" y="2016"/>
                </a:lnTo>
                <a:lnTo>
                  <a:pt x="1207" y="2016"/>
                </a:lnTo>
                <a:lnTo>
                  <a:pt x="1207" y="2018"/>
                </a:lnTo>
                <a:lnTo>
                  <a:pt x="1206" y="2018"/>
                </a:lnTo>
                <a:lnTo>
                  <a:pt x="1205" y="2017"/>
                </a:lnTo>
                <a:lnTo>
                  <a:pt x="1204" y="2017"/>
                </a:lnTo>
                <a:lnTo>
                  <a:pt x="1202" y="2018"/>
                </a:lnTo>
                <a:lnTo>
                  <a:pt x="1201" y="2016"/>
                </a:lnTo>
                <a:lnTo>
                  <a:pt x="1200" y="2016"/>
                </a:lnTo>
                <a:lnTo>
                  <a:pt x="1200" y="2017"/>
                </a:lnTo>
                <a:lnTo>
                  <a:pt x="1199" y="2017"/>
                </a:lnTo>
                <a:lnTo>
                  <a:pt x="1199" y="2018"/>
                </a:lnTo>
                <a:lnTo>
                  <a:pt x="1198" y="2018"/>
                </a:lnTo>
                <a:lnTo>
                  <a:pt x="1198" y="2020"/>
                </a:lnTo>
                <a:lnTo>
                  <a:pt x="1196" y="2018"/>
                </a:lnTo>
                <a:lnTo>
                  <a:pt x="1196" y="2017"/>
                </a:lnTo>
                <a:lnTo>
                  <a:pt x="1195" y="2017"/>
                </a:lnTo>
                <a:lnTo>
                  <a:pt x="1195" y="2018"/>
                </a:lnTo>
                <a:lnTo>
                  <a:pt x="1194" y="2018"/>
                </a:lnTo>
                <a:lnTo>
                  <a:pt x="1193" y="2020"/>
                </a:lnTo>
                <a:lnTo>
                  <a:pt x="1193" y="2018"/>
                </a:lnTo>
                <a:lnTo>
                  <a:pt x="1190" y="2018"/>
                </a:lnTo>
                <a:lnTo>
                  <a:pt x="1190" y="2024"/>
                </a:lnTo>
                <a:lnTo>
                  <a:pt x="1189" y="2026"/>
                </a:lnTo>
                <a:lnTo>
                  <a:pt x="1188" y="2022"/>
                </a:lnTo>
                <a:lnTo>
                  <a:pt x="1187" y="2022"/>
                </a:lnTo>
                <a:lnTo>
                  <a:pt x="1187" y="2020"/>
                </a:lnTo>
                <a:lnTo>
                  <a:pt x="1186" y="2020"/>
                </a:lnTo>
                <a:lnTo>
                  <a:pt x="1184" y="2018"/>
                </a:lnTo>
                <a:lnTo>
                  <a:pt x="1184" y="2020"/>
                </a:lnTo>
                <a:lnTo>
                  <a:pt x="1183" y="2020"/>
                </a:lnTo>
                <a:lnTo>
                  <a:pt x="1182" y="2018"/>
                </a:lnTo>
                <a:lnTo>
                  <a:pt x="1182" y="2016"/>
                </a:lnTo>
                <a:lnTo>
                  <a:pt x="1181" y="2016"/>
                </a:lnTo>
                <a:lnTo>
                  <a:pt x="1180" y="2015"/>
                </a:lnTo>
                <a:lnTo>
                  <a:pt x="1178" y="2015"/>
                </a:lnTo>
                <a:lnTo>
                  <a:pt x="1178" y="2017"/>
                </a:lnTo>
                <a:lnTo>
                  <a:pt x="1180" y="2017"/>
                </a:lnTo>
                <a:lnTo>
                  <a:pt x="1181" y="2018"/>
                </a:lnTo>
                <a:lnTo>
                  <a:pt x="1181" y="2023"/>
                </a:lnTo>
                <a:lnTo>
                  <a:pt x="1183" y="2024"/>
                </a:lnTo>
                <a:lnTo>
                  <a:pt x="1182" y="2026"/>
                </a:lnTo>
                <a:lnTo>
                  <a:pt x="1182" y="2028"/>
                </a:lnTo>
                <a:lnTo>
                  <a:pt x="1181" y="2028"/>
                </a:lnTo>
                <a:lnTo>
                  <a:pt x="1181" y="2027"/>
                </a:lnTo>
                <a:lnTo>
                  <a:pt x="1180" y="2026"/>
                </a:lnTo>
                <a:lnTo>
                  <a:pt x="1180" y="2024"/>
                </a:lnTo>
                <a:lnTo>
                  <a:pt x="1177" y="2022"/>
                </a:lnTo>
                <a:lnTo>
                  <a:pt x="1177" y="2021"/>
                </a:lnTo>
                <a:lnTo>
                  <a:pt x="1174" y="2021"/>
                </a:lnTo>
                <a:lnTo>
                  <a:pt x="1174" y="2018"/>
                </a:lnTo>
                <a:lnTo>
                  <a:pt x="1176" y="2018"/>
                </a:lnTo>
                <a:lnTo>
                  <a:pt x="1175" y="2017"/>
                </a:lnTo>
                <a:lnTo>
                  <a:pt x="1173" y="2017"/>
                </a:lnTo>
                <a:lnTo>
                  <a:pt x="1173" y="2016"/>
                </a:lnTo>
                <a:lnTo>
                  <a:pt x="1171" y="2016"/>
                </a:lnTo>
                <a:lnTo>
                  <a:pt x="1171" y="2017"/>
                </a:lnTo>
                <a:lnTo>
                  <a:pt x="1173" y="2018"/>
                </a:lnTo>
                <a:lnTo>
                  <a:pt x="1173" y="2021"/>
                </a:lnTo>
                <a:lnTo>
                  <a:pt x="1174" y="2021"/>
                </a:lnTo>
                <a:lnTo>
                  <a:pt x="1175" y="2022"/>
                </a:lnTo>
                <a:lnTo>
                  <a:pt x="1176" y="2022"/>
                </a:lnTo>
                <a:lnTo>
                  <a:pt x="1178" y="2024"/>
                </a:lnTo>
                <a:lnTo>
                  <a:pt x="1178" y="2029"/>
                </a:lnTo>
                <a:lnTo>
                  <a:pt x="1177" y="2029"/>
                </a:lnTo>
                <a:lnTo>
                  <a:pt x="1177" y="2028"/>
                </a:lnTo>
                <a:lnTo>
                  <a:pt x="1176" y="2027"/>
                </a:lnTo>
                <a:lnTo>
                  <a:pt x="1176" y="2028"/>
                </a:lnTo>
                <a:lnTo>
                  <a:pt x="1177" y="2030"/>
                </a:lnTo>
                <a:lnTo>
                  <a:pt x="1177" y="2032"/>
                </a:lnTo>
                <a:lnTo>
                  <a:pt x="1176" y="2033"/>
                </a:lnTo>
                <a:lnTo>
                  <a:pt x="1176" y="2035"/>
                </a:lnTo>
                <a:lnTo>
                  <a:pt x="1175" y="2036"/>
                </a:lnTo>
                <a:lnTo>
                  <a:pt x="1171" y="2036"/>
                </a:lnTo>
                <a:lnTo>
                  <a:pt x="1171" y="2038"/>
                </a:lnTo>
                <a:lnTo>
                  <a:pt x="1175" y="2038"/>
                </a:lnTo>
                <a:lnTo>
                  <a:pt x="1174" y="2039"/>
                </a:lnTo>
                <a:lnTo>
                  <a:pt x="1174" y="2040"/>
                </a:lnTo>
                <a:lnTo>
                  <a:pt x="1173" y="2040"/>
                </a:lnTo>
                <a:lnTo>
                  <a:pt x="1171" y="2042"/>
                </a:lnTo>
                <a:lnTo>
                  <a:pt x="1171" y="2049"/>
                </a:lnTo>
                <a:lnTo>
                  <a:pt x="1170" y="2051"/>
                </a:lnTo>
                <a:lnTo>
                  <a:pt x="1169" y="2049"/>
                </a:lnTo>
                <a:lnTo>
                  <a:pt x="1168" y="2049"/>
                </a:lnTo>
                <a:lnTo>
                  <a:pt x="1168" y="2051"/>
                </a:lnTo>
                <a:lnTo>
                  <a:pt x="1167" y="2052"/>
                </a:lnTo>
                <a:lnTo>
                  <a:pt x="1167" y="2054"/>
                </a:lnTo>
                <a:lnTo>
                  <a:pt x="1165" y="2057"/>
                </a:lnTo>
                <a:lnTo>
                  <a:pt x="1165" y="2058"/>
                </a:lnTo>
                <a:lnTo>
                  <a:pt x="1164" y="2059"/>
                </a:lnTo>
                <a:lnTo>
                  <a:pt x="1164" y="2063"/>
                </a:lnTo>
                <a:lnTo>
                  <a:pt x="1163" y="2064"/>
                </a:lnTo>
                <a:lnTo>
                  <a:pt x="1163" y="2063"/>
                </a:lnTo>
                <a:lnTo>
                  <a:pt x="1162" y="2064"/>
                </a:lnTo>
                <a:lnTo>
                  <a:pt x="1162" y="2065"/>
                </a:lnTo>
                <a:lnTo>
                  <a:pt x="1161" y="2066"/>
                </a:lnTo>
                <a:lnTo>
                  <a:pt x="1161" y="2065"/>
                </a:lnTo>
                <a:lnTo>
                  <a:pt x="1159" y="2064"/>
                </a:lnTo>
                <a:lnTo>
                  <a:pt x="1159" y="2070"/>
                </a:lnTo>
                <a:lnTo>
                  <a:pt x="1158" y="2072"/>
                </a:lnTo>
                <a:lnTo>
                  <a:pt x="1158" y="2075"/>
                </a:lnTo>
                <a:lnTo>
                  <a:pt x="1157" y="2073"/>
                </a:lnTo>
                <a:lnTo>
                  <a:pt x="1156" y="2071"/>
                </a:lnTo>
                <a:lnTo>
                  <a:pt x="1156" y="2067"/>
                </a:lnTo>
                <a:lnTo>
                  <a:pt x="1155" y="2066"/>
                </a:lnTo>
                <a:lnTo>
                  <a:pt x="1155" y="2071"/>
                </a:lnTo>
                <a:lnTo>
                  <a:pt x="1156" y="2071"/>
                </a:lnTo>
                <a:lnTo>
                  <a:pt x="1155" y="2072"/>
                </a:lnTo>
                <a:lnTo>
                  <a:pt x="1153" y="2075"/>
                </a:lnTo>
                <a:lnTo>
                  <a:pt x="1153" y="2076"/>
                </a:lnTo>
                <a:lnTo>
                  <a:pt x="1152" y="2075"/>
                </a:lnTo>
                <a:lnTo>
                  <a:pt x="1150" y="2076"/>
                </a:lnTo>
                <a:lnTo>
                  <a:pt x="1150" y="2077"/>
                </a:lnTo>
                <a:lnTo>
                  <a:pt x="1147" y="2079"/>
                </a:lnTo>
                <a:lnTo>
                  <a:pt x="1146" y="2079"/>
                </a:lnTo>
                <a:lnTo>
                  <a:pt x="1144" y="2082"/>
                </a:lnTo>
                <a:lnTo>
                  <a:pt x="1143" y="2082"/>
                </a:lnTo>
                <a:lnTo>
                  <a:pt x="1143" y="2089"/>
                </a:lnTo>
                <a:lnTo>
                  <a:pt x="1142" y="2089"/>
                </a:lnTo>
                <a:lnTo>
                  <a:pt x="1142" y="2091"/>
                </a:lnTo>
                <a:lnTo>
                  <a:pt x="1143" y="2094"/>
                </a:lnTo>
                <a:lnTo>
                  <a:pt x="1143" y="2095"/>
                </a:lnTo>
                <a:lnTo>
                  <a:pt x="1145" y="2097"/>
                </a:lnTo>
                <a:lnTo>
                  <a:pt x="1149" y="2097"/>
                </a:lnTo>
                <a:lnTo>
                  <a:pt x="1155" y="2098"/>
                </a:lnTo>
                <a:lnTo>
                  <a:pt x="1156" y="2100"/>
                </a:lnTo>
                <a:lnTo>
                  <a:pt x="1157" y="2100"/>
                </a:lnTo>
                <a:lnTo>
                  <a:pt x="1157" y="2101"/>
                </a:lnTo>
                <a:lnTo>
                  <a:pt x="1158" y="2104"/>
                </a:lnTo>
                <a:lnTo>
                  <a:pt x="1158" y="2106"/>
                </a:lnTo>
                <a:lnTo>
                  <a:pt x="1162" y="2109"/>
                </a:lnTo>
                <a:lnTo>
                  <a:pt x="1163" y="2109"/>
                </a:lnTo>
                <a:lnTo>
                  <a:pt x="1163" y="2108"/>
                </a:lnTo>
                <a:lnTo>
                  <a:pt x="1164" y="2107"/>
                </a:lnTo>
                <a:lnTo>
                  <a:pt x="1165" y="2108"/>
                </a:lnTo>
                <a:lnTo>
                  <a:pt x="1167" y="2110"/>
                </a:lnTo>
                <a:lnTo>
                  <a:pt x="1167" y="2115"/>
                </a:lnTo>
                <a:lnTo>
                  <a:pt x="1168" y="2118"/>
                </a:lnTo>
                <a:lnTo>
                  <a:pt x="1169" y="2119"/>
                </a:lnTo>
                <a:lnTo>
                  <a:pt x="1170" y="2119"/>
                </a:lnTo>
                <a:lnTo>
                  <a:pt x="1171" y="2124"/>
                </a:lnTo>
                <a:lnTo>
                  <a:pt x="1173" y="2125"/>
                </a:lnTo>
                <a:lnTo>
                  <a:pt x="1173" y="2127"/>
                </a:lnTo>
                <a:lnTo>
                  <a:pt x="1174" y="2128"/>
                </a:lnTo>
                <a:lnTo>
                  <a:pt x="1175" y="2128"/>
                </a:lnTo>
                <a:lnTo>
                  <a:pt x="1174" y="2129"/>
                </a:lnTo>
                <a:lnTo>
                  <a:pt x="1174" y="2131"/>
                </a:lnTo>
                <a:lnTo>
                  <a:pt x="1175" y="2131"/>
                </a:lnTo>
                <a:lnTo>
                  <a:pt x="1176" y="2132"/>
                </a:lnTo>
                <a:lnTo>
                  <a:pt x="1176" y="2134"/>
                </a:lnTo>
                <a:lnTo>
                  <a:pt x="1175" y="2134"/>
                </a:lnTo>
                <a:lnTo>
                  <a:pt x="1174" y="2135"/>
                </a:lnTo>
                <a:lnTo>
                  <a:pt x="1174" y="2139"/>
                </a:lnTo>
                <a:lnTo>
                  <a:pt x="1173" y="2140"/>
                </a:lnTo>
                <a:lnTo>
                  <a:pt x="1173" y="2141"/>
                </a:lnTo>
                <a:lnTo>
                  <a:pt x="1171" y="2144"/>
                </a:lnTo>
                <a:lnTo>
                  <a:pt x="1171" y="2143"/>
                </a:lnTo>
                <a:lnTo>
                  <a:pt x="1170" y="2143"/>
                </a:lnTo>
                <a:lnTo>
                  <a:pt x="1170" y="2145"/>
                </a:lnTo>
                <a:lnTo>
                  <a:pt x="1173" y="2147"/>
                </a:lnTo>
                <a:lnTo>
                  <a:pt x="1173" y="2150"/>
                </a:lnTo>
                <a:lnTo>
                  <a:pt x="1174" y="2149"/>
                </a:lnTo>
                <a:lnTo>
                  <a:pt x="1175" y="2146"/>
                </a:lnTo>
                <a:lnTo>
                  <a:pt x="1175" y="2140"/>
                </a:lnTo>
                <a:lnTo>
                  <a:pt x="1176" y="2140"/>
                </a:lnTo>
                <a:lnTo>
                  <a:pt x="1176" y="2137"/>
                </a:lnTo>
                <a:lnTo>
                  <a:pt x="1177" y="2135"/>
                </a:lnTo>
                <a:lnTo>
                  <a:pt x="1177" y="2129"/>
                </a:lnTo>
                <a:lnTo>
                  <a:pt x="1178" y="2128"/>
                </a:lnTo>
                <a:lnTo>
                  <a:pt x="1178" y="2127"/>
                </a:lnTo>
                <a:lnTo>
                  <a:pt x="1180" y="2126"/>
                </a:lnTo>
                <a:lnTo>
                  <a:pt x="1181" y="2126"/>
                </a:lnTo>
                <a:lnTo>
                  <a:pt x="1182" y="2127"/>
                </a:lnTo>
                <a:lnTo>
                  <a:pt x="1183" y="2127"/>
                </a:lnTo>
                <a:lnTo>
                  <a:pt x="1184" y="2128"/>
                </a:lnTo>
                <a:lnTo>
                  <a:pt x="1182" y="2131"/>
                </a:lnTo>
                <a:lnTo>
                  <a:pt x="1181" y="2134"/>
                </a:lnTo>
                <a:lnTo>
                  <a:pt x="1177" y="2143"/>
                </a:lnTo>
                <a:lnTo>
                  <a:pt x="1177" y="2149"/>
                </a:lnTo>
                <a:lnTo>
                  <a:pt x="1176" y="2152"/>
                </a:lnTo>
                <a:lnTo>
                  <a:pt x="1175" y="2155"/>
                </a:lnTo>
                <a:lnTo>
                  <a:pt x="1175" y="2157"/>
                </a:lnTo>
                <a:lnTo>
                  <a:pt x="1176" y="2158"/>
                </a:lnTo>
                <a:lnTo>
                  <a:pt x="1176" y="2159"/>
                </a:lnTo>
                <a:lnTo>
                  <a:pt x="1175" y="2161"/>
                </a:lnTo>
                <a:lnTo>
                  <a:pt x="1176" y="2162"/>
                </a:lnTo>
                <a:lnTo>
                  <a:pt x="1178" y="2159"/>
                </a:lnTo>
                <a:lnTo>
                  <a:pt x="1180" y="2159"/>
                </a:lnTo>
                <a:lnTo>
                  <a:pt x="1180" y="2162"/>
                </a:lnTo>
                <a:lnTo>
                  <a:pt x="1178" y="2163"/>
                </a:lnTo>
                <a:lnTo>
                  <a:pt x="1178" y="2164"/>
                </a:lnTo>
                <a:lnTo>
                  <a:pt x="1177" y="2164"/>
                </a:lnTo>
                <a:lnTo>
                  <a:pt x="1175" y="2167"/>
                </a:lnTo>
                <a:lnTo>
                  <a:pt x="1176" y="2168"/>
                </a:lnTo>
                <a:lnTo>
                  <a:pt x="1175" y="2169"/>
                </a:lnTo>
                <a:lnTo>
                  <a:pt x="1175" y="2171"/>
                </a:lnTo>
                <a:lnTo>
                  <a:pt x="1174" y="2172"/>
                </a:lnTo>
                <a:lnTo>
                  <a:pt x="1174" y="2174"/>
                </a:lnTo>
                <a:lnTo>
                  <a:pt x="1175" y="2177"/>
                </a:lnTo>
                <a:lnTo>
                  <a:pt x="1177" y="2181"/>
                </a:lnTo>
                <a:lnTo>
                  <a:pt x="1180" y="2182"/>
                </a:lnTo>
                <a:lnTo>
                  <a:pt x="1181" y="2183"/>
                </a:lnTo>
                <a:lnTo>
                  <a:pt x="1181" y="2184"/>
                </a:lnTo>
                <a:lnTo>
                  <a:pt x="1184" y="2187"/>
                </a:lnTo>
                <a:lnTo>
                  <a:pt x="1184" y="2189"/>
                </a:lnTo>
                <a:lnTo>
                  <a:pt x="1186" y="2192"/>
                </a:lnTo>
                <a:lnTo>
                  <a:pt x="1186" y="2198"/>
                </a:lnTo>
                <a:lnTo>
                  <a:pt x="1187" y="2200"/>
                </a:lnTo>
                <a:lnTo>
                  <a:pt x="1190" y="2201"/>
                </a:lnTo>
                <a:lnTo>
                  <a:pt x="1192" y="2202"/>
                </a:lnTo>
                <a:lnTo>
                  <a:pt x="1194" y="2208"/>
                </a:lnTo>
                <a:lnTo>
                  <a:pt x="1196" y="2212"/>
                </a:lnTo>
                <a:lnTo>
                  <a:pt x="1200" y="2215"/>
                </a:lnTo>
                <a:lnTo>
                  <a:pt x="1201" y="2215"/>
                </a:lnTo>
                <a:lnTo>
                  <a:pt x="1206" y="2226"/>
                </a:lnTo>
                <a:lnTo>
                  <a:pt x="1207" y="2227"/>
                </a:lnTo>
                <a:lnTo>
                  <a:pt x="1209" y="2229"/>
                </a:lnTo>
                <a:lnTo>
                  <a:pt x="1209" y="2230"/>
                </a:lnTo>
                <a:lnTo>
                  <a:pt x="1211" y="2231"/>
                </a:lnTo>
                <a:lnTo>
                  <a:pt x="1211" y="2233"/>
                </a:lnTo>
                <a:lnTo>
                  <a:pt x="1213" y="2239"/>
                </a:lnTo>
                <a:lnTo>
                  <a:pt x="1214" y="2241"/>
                </a:lnTo>
                <a:lnTo>
                  <a:pt x="1217" y="2242"/>
                </a:lnTo>
                <a:lnTo>
                  <a:pt x="1219" y="2242"/>
                </a:lnTo>
                <a:lnTo>
                  <a:pt x="1221" y="2244"/>
                </a:lnTo>
                <a:lnTo>
                  <a:pt x="1217" y="2251"/>
                </a:lnTo>
                <a:lnTo>
                  <a:pt x="1214" y="2257"/>
                </a:lnTo>
                <a:lnTo>
                  <a:pt x="1214" y="2258"/>
                </a:lnTo>
                <a:lnTo>
                  <a:pt x="1213" y="2260"/>
                </a:lnTo>
                <a:lnTo>
                  <a:pt x="1209" y="2262"/>
                </a:lnTo>
                <a:lnTo>
                  <a:pt x="1207" y="2263"/>
                </a:lnTo>
                <a:lnTo>
                  <a:pt x="1206" y="2264"/>
                </a:lnTo>
                <a:lnTo>
                  <a:pt x="1201" y="2266"/>
                </a:lnTo>
                <a:lnTo>
                  <a:pt x="1200" y="2266"/>
                </a:lnTo>
                <a:lnTo>
                  <a:pt x="1199" y="2268"/>
                </a:lnTo>
                <a:lnTo>
                  <a:pt x="1198" y="2272"/>
                </a:lnTo>
                <a:lnTo>
                  <a:pt x="1196" y="2273"/>
                </a:lnTo>
                <a:lnTo>
                  <a:pt x="1195" y="2272"/>
                </a:lnTo>
                <a:lnTo>
                  <a:pt x="1195" y="2273"/>
                </a:lnTo>
                <a:lnTo>
                  <a:pt x="1194" y="2274"/>
                </a:lnTo>
                <a:lnTo>
                  <a:pt x="1194" y="2275"/>
                </a:lnTo>
                <a:lnTo>
                  <a:pt x="1193" y="2275"/>
                </a:lnTo>
                <a:lnTo>
                  <a:pt x="1193" y="2280"/>
                </a:lnTo>
                <a:lnTo>
                  <a:pt x="1192" y="2280"/>
                </a:lnTo>
                <a:lnTo>
                  <a:pt x="1190" y="2281"/>
                </a:lnTo>
                <a:lnTo>
                  <a:pt x="1186" y="2281"/>
                </a:lnTo>
                <a:lnTo>
                  <a:pt x="1184" y="2280"/>
                </a:lnTo>
                <a:lnTo>
                  <a:pt x="1182" y="2279"/>
                </a:lnTo>
                <a:lnTo>
                  <a:pt x="1181" y="2279"/>
                </a:lnTo>
                <a:lnTo>
                  <a:pt x="1181" y="2280"/>
                </a:lnTo>
                <a:lnTo>
                  <a:pt x="1177" y="2280"/>
                </a:lnTo>
                <a:lnTo>
                  <a:pt x="1175" y="2278"/>
                </a:lnTo>
                <a:lnTo>
                  <a:pt x="1170" y="2278"/>
                </a:lnTo>
                <a:lnTo>
                  <a:pt x="1169" y="2276"/>
                </a:lnTo>
                <a:lnTo>
                  <a:pt x="1167" y="2275"/>
                </a:lnTo>
                <a:lnTo>
                  <a:pt x="1165" y="2274"/>
                </a:lnTo>
                <a:lnTo>
                  <a:pt x="1165" y="2269"/>
                </a:lnTo>
                <a:lnTo>
                  <a:pt x="1163" y="2267"/>
                </a:lnTo>
                <a:lnTo>
                  <a:pt x="1163" y="2264"/>
                </a:lnTo>
                <a:lnTo>
                  <a:pt x="1162" y="2264"/>
                </a:lnTo>
                <a:lnTo>
                  <a:pt x="1162" y="2263"/>
                </a:lnTo>
                <a:lnTo>
                  <a:pt x="1161" y="2262"/>
                </a:lnTo>
                <a:lnTo>
                  <a:pt x="1161" y="2260"/>
                </a:lnTo>
                <a:lnTo>
                  <a:pt x="1158" y="2260"/>
                </a:lnTo>
                <a:lnTo>
                  <a:pt x="1158" y="2261"/>
                </a:lnTo>
                <a:lnTo>
                  <a:pt x="1156" y="2261"/>
                </a:lnTo>
                <a:lnTo>
                  <a:pt x="1156" y="2260"/>
                </a:lnTo>
                <a:lnTo>
                  <a:pt x="1155" y="2258"/>
                </a:lnTo>
                <a:lnTo>
                  <a:pt x="1153" y="2256"/>
                </a:lnTo>
                <a:lnTo>
                  <a:pt x="1151" y="2254"/>
                </a:lnTo>
                <a:lnTo>
                  <a:pt x="1151" y="2253"/>
                </a:lnTo>
                <a:lnTo>
                  <a:pt x="1150" y="2251"/>
                </a:lnTo>
                <a:lnTo>
                  <a:pt x="1147" y="2251"/>
                </a:lnTo>
                <a:lnTo>
                  <a:pt x="1145" y="2249"/>
                </a:lnTo>
                <a:lnTo>
                  <a:pt x="1145" y="2247"/>
                </a:lnTo>
                <a:lnTo>
                  <a:pt x="1144" y="2245"/>
                </a:lnTo>
                <a:lnTo>
                  <a:pt x="1144" y="2244"/>
                </a:lnTo>
                <a:lnTo>
                  <a:pt x="1143" y="2245"/>
                </a:lnTo>
                <a:lnTo>
                  <a:pt x="1140" y="2245"/>
                </a:lnTo>
                <a:lnTo>
                  <a:pt x="1138" y="2248"/>
                </a:lnTo>
                <a:lnTo>
                  <a:pt x="1136" y="2248"/>
                </a:lnTo>
                <a:lnTo>
                  <a:pt x="1136" y="2243"/>
                </a:lnTo>
                <a:lnTo>
                  <a:pt x="1134" y="2243"/>
                </a:lnTo>
                <a:lnTo>
                  <a:pt x="1133" y="2242"/>
                </a:lnTo>
                <a:lnTo>
                  <a:pt x="1131" y="2242"/>
                </a:lnTo>
                <a:lnTo>
                  <a:pt x="1130" y="2241"/>
                </a:lnTo>
                <a:lnTo>
                  <a:pt x="1128" y="2241"/>
                </a:lnTo>
                <a:lnTo>
                  <a:pt x="1126" y="2239"/>
                </a:lnTo>
                <a:lnTo>
                  <a:pt x="1125" y="2239"/>
                </a:lnTo>
                <a:lnTo>
                  <a:pt x="1124" y="2237"/>
                </a:lnTo>
                <a:lnTo>
                  <a:pt x="1122" y="2236"/>
                </a:lnTo>
                <a:lnTo>
                  <a:pt x="1120" y="2236"/>
                </a:lnTo>
                <a:lnTo>
                  <a:pt x="1118" y="2237"/>
                </a:lnTo>
                <a:lnTo>
                  <a:pt x="1117" y="2237"/>
                </a:lnTo>
                <a:lnTo>
                  <a:pt x="1115" y="2236"/>
                </a:lnTo>
                <a:lnTo>
                  <a:pt x="1115" y="2235"/>
                </a:lnTo>
                <a:lnTo>
                  <a:pt x="1113" y="2235"/>
                </a:lnTo>
                <a:lnTo>
                  <a:pt x="1113" y="2233"/>
                </a:lnTo>
                <a:lnTo>
                  <a:pt x="1112" y="2233"/>
                </a:lnTo>
                <a:lnTo>
                  <a:pt x="1112" y="2235"/>
                </a:lnTo>
                <a:lnTo>
                  <a:pt x="1109" y="2235"/>
                </a:lnTo>
                <a:lnTo>
                  <a:pt x="1109" y="2233"/>
                </a:lnTo>
                <a:lnTo>
                  <a:pt x="1108" y="2231"/>
                </a:lnTo>
                <a:lnTo>
                  <a:pt x="1108" y="2230"/>
                </a:lnTo>
                <a:lnTo>
                  <a:pt x="1105" y="2229"/>
                </a:lnTo>
                <a:lnTo>
                  <a:pt x="1100" y="2226"/>
                </a:lnTo>
                <a:lnTo>
                  <a:pt x="1096" y="2223"/>
                </a:lnTo>
                <a:lnTo>
                  <a:pt x="1101" y="2211"/>
                </a:lnTo>
                <a:lnTo>
                  <a:pt x="1102" y="2210"/>
                </a:lnTo>
                <a:lnTo>
                  <a:pt x="1100" y="2207"/>
                </a:lnTo>
                <a:lnTo>
                  <a:pt x="1093" y="2205"/>
                </a:lnTo>
                <a:lnTo>
                  <a:pt x="1090" y="2205"/>
                </a:lnTo>
                <a:lnTo>
                  <a:pt x="1088" y="2206"/>
                </a:lnTo>
                <a:lnTo>
                  <a:pt x="1084" y="2206"/>
                </a:lnTo>
                <a:lnTo>
                  <a:pt x="1083" y="2205"/>
                </a:lnTo>
                <a:lnTo>
                  <a:pt x="1083" y="2204"/>
                </a:lnTo>
                <a:lnTo>
                  <a:pt x="1082" y="2202"/>
                </a:lnTo>
                <a:lnTo>
                  <a:pt x="1078" y="2198"/>
                </a:lnTo>
                <a:lnTo>
                  <a:pt x="1076" y="2195"/>
                </a:lnTo>
                <a:lnTo>
                  <a:pt x="1075" y="2196"/>
                </a:lnTo>
                <a:lnTo>
                  <a:pt x="1071" y="2196"/>
                </a:lnTo>
                <a:lnTo>
                  <a:pt x="1066" y="2193"/>
                </a:lnTo>
                <a:lnTo>
                  <a:pt x="1064" y="2193"/>
                </a:lnTo>
                <a:lnTo>
                  <a:pt x="1064" y="2194"/>
                </a:lnTo>
                <a:lnTo>
                  <a:pt x="1063" y="2195"/>
                </a:lnTo>
                <a:lnTo>
                  <a:pt x="1062" y="2198"/>
                </a:lnTo>
                <a:lnTo>
                  <a:pt x="1062" y="2201"/>
                </a:lnTo>
                <a:lnTo>
                  <a:pt x="1060" y="2201"/>
                </a:lnTo>
                <a:lnTo>
                  <a:pt x="1060" y="2200"/>
                </a:lnTo>
                <a:lnTo>
                  <a:pt x="1059" y="2198"/>
                </a:lnTo>
                <a:lnTo>
                  <a:pt x="1059" y="2196"/>
                </a:lnTo>
                <a:lnTo>
                  <a:pt x="1057" y="2194"/>
                </a:lnTo>
                <a:lnTo>
                  <a:pt x="1056" y="2194"/>
                </a:lnTo>
                <a:lnTo>
                  <a:pt x="1053" y="2193"/>
                </a:lnTo>
                <a:lnTo>
                  <a:pt x="1049" y="2193"/>
                </a:lnTo>
                <a:lnTo>
                  <a:pt x="1045" y="2195"/>
                </a:lnTo>
                <a:lnTo>
                  <a:pt x="1040" y="2195"/>
                </a:lnTo>
                <a:lnTo>
                  <a:pt x="1039" y="2196"/>
                </a:lnTo>
                <a:lnTo>
                  <a:pt x="1038" y="2199"/>
                </a:lnTo>
                <a:lnTo>
                  <a:pt x="1037" y="2200"/>
                </a:lnTo>
                <a:lnTo>
                  <a:pt x="1034" y="2200"/>
                </a:lnTo>
                <a:lnTo>
                  <a:pt x="1031" y="2201"/>
                </a:lnTo>
                <a:lnTo>
                  <a:pt x="1028" y="2201"/>
                </a:lnTo>
                <a:lnTo>
                  <a:pt x="1028" y="2202"/>
                </a:lnTo>
                <a:lnTo>
                  <a:pt x="1027" y="2204"/>
                </a:lnTo>
                <a:lnTo>
                  <a:pt x="1027" y="2205"/>
                </a:lnTo>
                <a:lnTo>
                  <a:pt x="1026" y="2205"/>
                </a:lnTo>
                <a:lnTo>
                  <a:pt x="1024" y="2202"/>
                </a:lnTo>
                <a:lnTo>
                  <a:pt x="1020" y="2202"/>
                </a:lnTo>
                <a:lnTo>
                  <a:pt x="1018" y="2201"/>
                </a:lnTo>
                <a:lnTo>
                  <a:pt x="1016" y="2200"/>
                </a:lnTo>
                <a:lnTo>
                  <a:pt x="1016" y="2199"/>
                </a:lnTo>
                <a:lnTo>
                  <a:pt x="1018" y="2198"/>
                </a:lnTo>
                <a:lnTo>
                  <a:pt x="1020" y="2196"/>
                </a:lnTo>
                <a:lnTo>
                  <a:pt x="1020" y="2193"/>
                </a:lnTo>
                <a:lnTo>
                  <a:pt x="1018" y="2193"/>
                </a:lnTo>
                <a:lnTo>
                  <a:pt x="1014" y="2192"/>
                </a:lnTo>
                <a:lnTo>
                  <a:pt x="1010" y="2188"/>
                </a:lnTo>
                <a:lnTo>
                  <a:pt x="1008" y="2187"/>
                </a:lnTo>
                <a:lnTo>
                  <a:pt x="1007" y="2187"/>
                </a:lnTo>
                <a:lnTo>
                  <a:pt x="1002" y="2186"/>
                </a:lnTo>
                <a:lnTo>
                  <a:pt x="995" y="2183"/>
                </a:lnTo>
                <a:lnTo>
                  <a:pt x="994" y="2182"/>
                </a:lnTo>
                <a:lnTo>
                  <a:pt x="993" y="2182"/>
                </a:lnTo>
                <a:lnTo>
                  <a:pt x="987" y="2176"/>
                </a:lnTo>
                <a:lnTo>
                  <a:pt x="985" y="2176"/>
                </a:lnTo>
                <a:lnTo>
                  <a:pt x="985" y="2175"/>
                </a:lnTo>
                <a:lnTo>
                  <a:pt x="987" y="2174"/>
                </a:lnTo>
                <a:lnTo>
                  <a:pt x="987" y="2172"/>
                </a:lnTo>
                <a:lnTo>
                  <a:pt x="983" y="2171"/>
                </a:lnTo>
                <a:lnTo>
                  <a:pt x="982" y="2171"/>
                </a:lnTo>
                <a:lnTo>
                  <a:pt x="979" y="2169"/>
                </a:lnTo>
                <a:lnTo>
                  <a:pt x="971" y="2169"/>
                </a:lnTo>
                <a:lnTo>
                  <a:pt x="971" y="2170"/>
                </a:lnTo>
                <a:lnTo>
                  <a:pt x="970" y="2171"/>
                </a:lnTo>
                <a:lnTo>
                  <a:pt x="969" y="2170"/>
                </a:lnTo>
                <a:lnTo>
                  <a:pt x="966" y="2169"/>
                </a:lnTo>
                <a:lnTo>
                  <a:pt x="964" y="2167"/>
                </a:lnTo>
                <a:lnTo>
                  <a:pt x="962" y="2165"/>
                </a:lnTo>
                <a:lnTo>
                  <a:pt x="952" y="2165"/>
                </a:lnTo>
                <a:lnTo>
                  <a:pt x="951" y="2167"/>
                </a:lnTo>
                <a:lnTo>
                  <a:pt x="947" y="2168"/>
                </a:lnTo>
                <a:lnTo>
                  <a:pt x="944" y="2168"/>
                </a:lnTo>
                <a:lnTo>
                  <a:pt x="941" y="2167"/>
                </a:lnTo>
                <a:lnTo>
                  <a:pt x="932" y="2167"/>
                </a:lnTo>
                <a:lnTo>
                  <a:pt x="931" y="2165"/>
                </a:lnTo>
                <a:lnTo>
                  <a:pt x="928" y="2167"/>
                </a:lnTo>
                <a:lnTo>
                  <a:pt x="926" y="2167"/>
                </a:lnTo>
                <a:lnTo>
                  <a:pt x="922" y="2163"/>
                </a:lnTo>
                <a:lnTo>
                  <a:pt x="920" y="2162"/>
                </a:lnTo>
                <a:lnTo>
                  <a:pt x="919" y="2162"/>
                </a:lnTo>
                <a:lnTo>
                  <a:pt x="919" y="2159"/>
                </a:lnTo>
                <a:lnTo>
                  <a:pt x="914" y="2159"/>
                </a:lnTo>
                <a:lnTo>
                  <a:pt x="912" y="2158"/>
                </a:lnTo>
                <a:lnTo>
                  <a:pt x="910" y="2158"/>
                </a:lnTo>
                <a:lnTo>
                  <a:pt x="909" y="2157"/>
                </a:lnTo>
                <a:lnTo>
                  <a:pt x="902" y="2157"/>
                </a:lnTo>
                <a:lnTo>
                  <a:pt x="896" y="2152"/>
                </a:lnTo>
                <a:lnTo>
                  <a:pt x="895" y="2151"/>
                </a:lnTo>
                <a:lnTo>
                  <a:pt x="891" y="2150"/>
                </a:lnTo>
                <a:lnTo>
                  <a:pt x="889" y="2149"/>
                </a:lnTo>
                <a:lnTo>
                  <a:pt x="888" y="2147"/>
                </a:lnTo>
                <a:lnTo>
                  <a:pt x="885" y="2147"/>
                </a:lnTo>
                <a:lnTo>
                  <a:pt x="883" y="2149"/>
                </a:lnTo>
                <a:lnTo>
                  <a:pt x="882" y="2150"/>
                </a:lnTo>
                <a:lnTo>
                  <a:pt x="879" y="2149"/>
                </a:lnTo>
                <a:lnTo>
                  <a:pt x="870" y="2145"/>
                </a:lnTo>
                <a:lnTo>
                  <a:pt x="866" y="2145"/>
                </a:lnTo>
                <a:lnTo>
                  <a:pt x="864" y="2146"/>
                </a:lnTo>
                <a:lnTo>
                  <a:pt x="863" y="2146"/>
                </a:lnTo>
                <a:lnTo>
                  <a:pt x="863" y="2147"/>
                </a:lnTo>
                <a:lnTo>
                  <a:pt x="859" y="2155"/>
                </a:lnTo>
                <a:lnTo>
                  <a:pt x="859" y="2156"/>
                </a:lnTo>
                <a:lnTo>
                  <a:pt x="858" y="2156"/>
                </a:lnTo>
                <a:lnTo>
                  <a:pt x="855" y="2153"/>
                </a:lnTo>
                <a:lnTo>
                  <a:pt x="855" y="2152"/>
                </a:lnTo>
                <a:lnTo>
                  <a:pt x="854" y="2151"/>
                </a:lnTo>
                <a:lnTo>
                  <a:pt x="854" y="2150"/>
                </a:lnTo>
                <a:lnTo>
                  <a:pt x="853" y="2149"/>
                </a:lnTo>
                <a:lnTo>
                  <a:pt x="850" y="2147"/>
                </a:lnTo>
                <a:lnTo>
                  <a:pt x="848" y="2146"/>
                </a:lnTo>
                <a:lnTo>
                  <a:pt x="847" y="2146"/>
                </a:lnTo>
                <a:lnTo>
                  <a:pt x="847" y="2144"/>
                </a:lnTo>
                <a:lnTo>
                  <a:pt x="846" y="2143"/>
                </a:lnTo>
                <a:lnTo>
                  <a:pt x="844" y="2141"/>
                </a:lnTo>
                <a:lnTo>
                  <a:pt x="836" y="2134"/>
                </a:lnTo>
                <a:lnTo>
                  <a:pt x="834" y="2129"/>
                </a:lnTo>
                <a:lnTo>
                  <a:pt x="832" y="2127"/>
                </a:lnTo>
                <a:lnTo>
                  <a:pt x="822" y="2119"/>
                </a:lnTo>
                <a:lnTo>
                  <a:pt x="820" y="2116"/>
                </a:lnTo>
                <a:lnTo>
                  <a:pt x="820" y="2115"/>
                </a:lnTo>
                <a:lnTo>
                  <a:pt x="817" y="2115"/>
                </a:lnTo>
                <a:lnTo>
                  <a:pt x="817" y="2113"/>
                </a:lnTo>
                <a:lnTo>
                  <a:pt x="815" y="2110"/>
                </a:lnTo>
                <a:lnTo>
                  <a:pt x="813" y="2110"/>
                </a:lnTo>
                <a:lnTo>
                  <a:pt x="807" y="2104"/>
                </a:lnTo>
                <a:lnTo>
                  <a:pt x="804" y="2103"/>
                </a:lnTo>
                <a:lnTo>
                  <a:pt x="801" y="2101"/>
                </a:lnTo>
                <a:lnTo>
                  <a:pt x="789" y="2098"/>
                </a:lnTo>
                <a:lnTo>
                  <a:pt x="788" y="2098"/>
                </a:lnTo>
                <a:lnTo>
                  <a:pt x="784" y="2097"/>
                </a:lnTo>
                <a:lnTo>
                  <a:pt x="783" y="2097"/>
                </a:lnTo>
                <a:lnTo>
                  <a:pt x="780" y="2092"/>
                </a:lnTo>
                <a:lnTo>
                  <a:pt x="778" y="2090"/>
                </a:lnTo>
                <a:lnTo>
                  <a:pt x="778" y="2088"/>
                </a:lnTo>
                <a:lnTo>
                  <a:pt x="774" y="2088"/>
                </a:lnTo>
                <a:lnTo>
                  <a:pt x="773" y="2085"/>
                </a:lnTo>
                <a:lnTo>
                  <a:pt x="772" y="2085"/>
                </a:lnTo>
                <a:lnTo>
                  <a:pt x="772" y="2083"/>
                </a:lnTo>
                <a:lnTo>
                  <a:pt x="770" y="2079"/>
                </a:lnTo>
                <a:lnTo>
                  <a:pt x="768" y="2079"/>
                </a:lnTo>
                <a:lnTo>
                  <a:pt x="766" y="2077"/>
                </a:lnTo>
                <a:lnTo>
                  <a:pt x="766" y="2079"/>
                </a:lnTo>
                <a:lnTo>
                  <a:pt x="767" y="2081"/>
                </a:lnTo>
                <a:lnTo>
                  <a:pt x="767" y="2083"/>
                </a:lnTo>
                <a:lnTo>
                  <a:pt x="763" y="2083"/>
                </a:lnTo>
                <a:lnTo>
                  <a:pt x="760" y="2081"/>
                </a:lnTo>
                <a:lnTo>
                  <a:pt x="759" y="2082"/>
                </a:lnTo>
                <a:lnTo>
                  <a:pt x="755" y="2082"/>
                </a:lnTo>
                <a:lnTo>
                  <a:pt x="755" y="2081"/>
                </a:lnTo>
                <a:lnTo>
                  <a:pt x="754" y="2081"/>
                </a:lnTo>
                <a:lnTo>
                  <a:pt x="754" y="2082"/>
                </a:lnTo>
                <a:lnTo>
                  <a:pt x="753" y="2081"/>
                </a:lnTo>
                <a:lnTo>
                  <a:pt x="753" y="2079"/>
                </a:lnTo>
                <a:lnTo>
                  <a:pt x="752" y="2079"/>
                </a:lnTo>
                <a:lnTo>
                  <a:pt x="752" y="2078"/>
                </a:lnTo>
                <a:lnTo>
                  <a:pt x="749" y="2077"/>
                </a:lnTo>
                <a:lnTo>
                  <a:pt x="748" y="2077"/>
                </a:lnTo>
                <a:lnTo>
                  <a:pt x="748" y="2075"/>
                </a:lnTo>
                <a:lnTo>
                  <a:pt x="746" y="2071"/>
                </a:lnTo>
                <a:lnTo>
                  <a:pt x="746" y="2067"/>
                </a:lnTo>
                <a:lnTo>
                  <a:pt x="745" y="2066"/>
                </a:lnTo>
                <a:lnTo>
                  <a:pt x="741" y="2061"/>
                </a:lnTo>
                <a:lnTo>
                  <a:pt x="737" y="2061"/>
                </a:lnTo>
                <a:lnTo>
                  <a:pt x="737" y="2060"/>
                </a:lnTo>
                <a:lnTo>
                  <a:pt x="736" y="2060"/>
                </a:lnTo>
                <a:lnTo>
                  <a:pt x="734" y="2059"/>
                </a:lnTo>
                <a:lnTo>
                  <a:pt x="730" y="2058"/>
                </a:lnTo>
                <a:lnTo>
                  <a:pt x="727" y="2055"/>
                </a:lnTo>
                <a:lnTo>
                  <a:pt x="724" y="2054"/>
                </a:lnTo>
                <a:lnTo>
                  <a:pt x="723" y="2054"/>
                </a:lnTo>
                <a:lnTo>
                  <a:pt x="722" y="2055"/>
                </a:lnTo>
                <a:lnTo>
                  <a:pt x="721" y="2055"/>
                </a:lnTo>
                <a:lnTo>
                  <a:pt x="718" y="2054"/>
                </a:lnTo>
                <a:lnTo>
                  <a:pt x="716" y="2052"/>
                </a:lnTo>
                <a:lnTo>
                  <a:pt x="716" y="2051"/>
                </a:lnTo>
                <a:lnTo>
                  <a:pt x="715" y="2051"/>
                </a:lnTo>
                <a:lnTo>
                  <a:pt x="715" y="2049"/>
                </a:lnTo>
                <a:lnTo>
                  <a:pt x="722" y="2049"/>
                </a:lnTo>
                <a:lnTo>
                  <a:pt x="724" y="2047"/>
                </a:lnTo>
                <a:lnTo>
                  <a:pt x="728" y="2047"/>
                </a:lnTo>
                <a:lnTo>
                  <a:pt x="730" y="2046"/>
                </a:lnTo>
                <a:lnTo>
                  <a:pt x="732" y="2045"/>
                </a:lnTo>
                <a:lnTo>
                  <a:pt x="732" y="2042"/>
                </a:lnTo>
                <a:lnTo>
                  <a:pt x="730" y="2042"/>
                </a:lnTo>
                <a:lnTo>
                  <a:pt x="724" y="2043"/>
                </a:lnTo>
                <a:lnTo>
                  <a:pt x="723" y="2043"/>
                </a:lnTo>
                <a:lnTo>
                  <a:pt x="723" y="2040"/>
                </a:lnTo>
                <a:lnTo>
                  <a:pt x="724" y="2041"/>
                </a:lnTo>
                <a:lnTo>
                  <a:pt x="724" y="2042"/>
                </a:lnTo>
                <a:lnTo>
                  <a:pt x="726" y="2042"/>
                </a:lnTo>
                <a:lnTo>
                  <a:pt x="726" y="2040"/>
                </a:lnTo>
                <a:lnTo>
                  <a:pt x="724" y="2039"/>
                </a:lnTo>
                <a:lnTo>
                  <a:pt x="722" y="2039"/>
                </a:lnTo>
                <a:lnTo>
                  <a:pt x="718" y="2042"/>
                </a:lnTo>
                <a:lnTo>
                  <a:pt x="718" y="2041"/>
                </a:lnTo>
                <a:lnTo>
                  <a:pt x="720" y="2040"/>
                </a:lnTo>
                <a:lnTo>
                  <a:pt x="721" y="2038"/>
                </a:lnTo>
                <a:lnTo>
                  <a:pt x="726" y="2035"/>
                </a:lnTo>
                <a:lnTo>
                  <a:pt x="729" y="2035"/>
                </a:lnTo>
                <a:lnTo>
                  <a:pt x="736" y="2040"/>
                </a:lnTo>
                <a:lnTo>
                  <a:pt x="737" y="2041"/>
                </a:lnTo>
                <a:lnTo>
                  <a:pt x="739" y="2041"/>
                </a:lnTo>
                <a:lnTo>
                  <a:pt x="739" y="2042"/>
                </a:lnTo>
                <a:lnTo>
                  <a:pt x="737" y="2042"/>
                </a:lnTo>
                <a:lnTo>
                  <a:pt x="737" y="2046"/>
                </a:lnTo>
                <a:lnTo>
                  <a:pt x="736" y="2046"/>
                </a:lnTo>
                <a:lnTo>
                  <a:pt x="736" y="2047"/>
                </a:lnTo>
                <a:lnTo>
                  <a:pt x="737" y="2047"/>
                </a:lnTo>
                <a:lnTo>
                  <a:pt x="740" y="2046"/>
                </a:lnTo>
                <a:lnTo>
                  <a:pt x="743" y="2046"/>
                </a:lnTo>
                <a:lnTo>
                  <a:pt x="743" y="2045"/>
                </a:lnTo>
                <a:lnTo>
                  <a:pt x="746" y="2045"/>
                </a:lnTo>
                <a:lnTo>
                  <a:pt x="745" y="2043"/>
                </a:lnTo>
                <a:lnTo>
                  <a:pt x="740" y="2043"/>
                </a:lnTo>
                <a:lnTo>
                  <a:pt x="740" y="2042"/>
                </a:lnTo>
                <a:lnTo>
                  <a:pt x="748" y="2042"/>
                </a:lnTo>
                <a:lnTo>
                  <a:pt x="749" y="2043"/>
                </a:lnTo>
                <a:lnTo>
                  <a:pt x="749" y="2042"/>
                </a:lnTo>
                <a:lnTo>
                  <a:pt x="752" y="2042"/>
                </a:lnTo>
                <a:lnTo>
                  <a:pt x="754" y="2040"/>
                </a:lnTo>
                <a:lnTo>
                  <a:pt x="755" y="2040"/>
                </a:lnTo>
                <a:lnTo>
                  <a:pt x="754" y="2041"/>
                </a:lnTo>
                <a:lnTo>
                  <a:pt x="759" y="2041"/>
                </a:lnTo>
                <a:lnTo>
                  <a:pt x="759" y="2042"/>
                </a:lnTo>
                <a:lnTo>
                  <a:pt x="760" y="2041"/>
                </a:lnTo>
                <a:lnTo>
                  <a:pt x="760" y="2042"/>
                </a:lnTo>
                <a:lnTo>
                  <a:pt x="761" y="2042"/>
                </a:lnTo>
                <a:lnTo>
                  <a:pt x="761" y="2043"/>
                </a:lnTo>
                <a:lnTo>
                  <a:pt x="764" y="2043"/>
                </a:lnTo>
                <a:lnTo>
                  <a:pt x="764" y="2042"/>
                </a:lnTo>
                <a:lnTo>
                  <a:pt x="763" y="2041"/>
                </a:lnTo>
                <a:lnTo>
                  <a:pt x="763" y="2040"/>
                </a:lnTo>
                <a:lnTo>
                  <a:pt x="764" y="2040"/>
                </a:lnTo>
                <a:lnTo>
                  <a:pt x="764" y="2039"/>
                </a:lnTo>
                <a:lnTo>
                  <a:pt x="765" y="2039"/>
                </a:lnTo>
                <a:lnTo>
                  <a:pt x="765" y="2038"/>
                </a:lnTo>
                <a:lnTo>
                  <a:pt x="764" y="2038"/>
                </a:lnTo>
                <a:lnTo>
                  <a:pt x="764" y="2036"/>
                </a:lnTo>
                <a:lnTo>
                  <a:pt x="763" y="2035"/>
                </a:lnTo>
                <a:lnTo>
                  <a:pt x="763" y="2034"/>
                </a:lnTo>
                <a:lnTo>
                  <a:pt x="764" y="2034"/>
                </a:lnTo>
                <a:lnTo>
                  <a:pt x="764" y="2035"/>
                </a:lnTo>
                <a:lnTo>
                  <a:pt x="765" y="2035"/>
                </a:lnTo>
                <a:lnTo>
                  <a:pt x="765" y="2034"/>
                </a:lnTo>
                <a:lnTo>
                  <a:pt x="764" y="2034"/>
                </a:lnTo>
                <a:lnTo>
                  <a:pt x="763" y="2033"/>
                </a:lnTo>
                <a:lnTo>
                  <a:pt x="763" y="2028"/>
                </a:lnTo>
                <a:lnTo>
                  <a:pt x="761" y="2027"/>
                </a:lnTo>
                <a:lnTo>
                  <a:pt x="760" y="2027"/>
                </a:lnTo>
                <a:lnTo>
                  <a:pt x="760" y="2026"/>
                </a:lnTo>
                <a:lnTo>
                  <a:pt x="759" y="2026"/>
                </a:lnTo>
                <a:lnTo>
                  <a:pt x="759" y="2027"/>
                </a:lnTo>
                <a:lnTo>
                  <a:pt x="760" y="2027"/>
                </a:lnTo>
                <a:lnTo>
                  <a:pt x="761" y="2028"/>
                </a:lnTo>
                <a:lnTo>
                  <a:pt x="760" y="2028"/>
                </a:lnTo>
                <a:lnTo>
                  <a:pt x="760" y="2034"/>
                </a:lnTo>
                <a:lnTo>
                  <a:pt x="759" y="2036"/>
                </a:lnTo>
                <a:lnTo>
                  <a:pt x="758" y="2036"/>
                </a:lnTo>
                <a:lnTo>
                  <a:pt x="758" y="2023"/>
                </a:lnTo>
                <a:lnTo>
                  <a:pt x="759" y="2022"/>
                </a:lnTo>
                <a:lnTo>
                  <a:pt x="759" y="2021"/>
                </a:lnTo>
                <a:lnTo>
                  <a:pt x="760" y="2022"/>
                </a:lnTo>
                <a:lnTo>
                  <a:pt x="759" y="2023"/>
                </a:lnTo>
                <a:lnTo>
                  <a:pt x="760" y="2023"/>
                </a:lnTo>
                <a:lnTo>
                  <a:pt x="760" y="2024"/>
                </a:lnTo>
                <a:lnTo>
                  <a:pt x="763" y="2024"/>
                </a:lnTo>
                <a:lnTo>
                  <a:pt x="763" y="2023"/>
                </a:lnTo>
                <a:lnTo>
                  <a:pt x="761" y="2023"/>
                </a:lnTo>
                <a:lnTo>
                  <a:pt x="761" y="2021"/>
                </a:lnTo>
                <a:lnTo>
                  <a:pt x="765" y="2018"/>
                </a:lnTo>
                <a:lnTo>
                  <a:pt x="767" y="2017"/>
                </a:lnTo>
                <a:lnTo>
                  <a:pt x="768" y="2016"/>
                </a:lnTo>
                <a:lnTo>
                  <a:pt x="768" y="2015"/>
                </a:lnTo>
                <a:lnTo>
                  <a:pt x="770" y="2014"/>
                </a:lnTo>
                <a:lnTo>
                  <a:pt x="770" y="2011"/>
                </a:lnTo>
                <a:lnTo>
                  <a:pt x="771" y="2004"/>
                </a:lnTo>
                <a:lnTo>
                  <a:pt x="772" y="2002"/>
                </a:lnTo>
                <a:lnTo>
                  <a:pt x="774" y="1999"/>
                </a:lnTo>
                <a:lnTo>
                  <a:pt x="777" y="1998"/>
                </a:lnTo>
                <a:lnTo>
                  <a:pt x="779" y="1998"/>
                </a:lnTo>
                <a:lnTo>
                  <a:pt x="777" y="1999"/>
                </a:lnTo>
                <a:lnTo>
                  <a:pt x="778" y="1999"/>
                </a:lnTo>
                <a:lnTo>
                  <a:pt x="778" y="2000"/>
                </a:lnTo>
                <a:lnTo>
                  <a:pt x="777" y="2002"/>
                </a:lnTo>
                <a:lnTo>
                  <a:pt x="777" y="2004"/>
                </a:lnTo>
                <a:lnTo>
                  <a:pt x="778" y="2004"/>
                </a:lnTo>
                <a:lnTo>
                  <a:pt x="778" y="2008"/>
                </a:lnTo>
                <a:lnTo>
                  <a:pt x="776" y="2010"/>
                </a:lnTo>
                <a:lnTo>
                  <a:pt x="776" y="2012"/>
                </a:lnTo>
                <a:lnTo>
                  <a:pt x="777" y="2012"/>
                </a:lnTo>
                <a:lnTo>
                  <a:pt x="778" y="2011"/>
                </a:lnTo>
                <a:lnTo>
                  <a:pt x="777" y="2011"/>
                </a:lnTo>
                <a:lnTo>
                  <a:pt x="777" y="2010"/>
                </a:lnTo>
                <a:lnTo>
                  <a:pt x="778" y="2009"/>
                </a:lnTo>
                <a:lnTo>
                  <a:pt x="779" y="2005"/>
                </a:lnTo>
                <a:lnTo>
                  <a:pt x="779" y="2004"/>
                </a:lnTo>
                <a:lnTo>
                  <a:pt x="780" y="2003"/>
                </a:lnTo>
                <a:lnTo>
                  <a:pt x="780" y="2002"/>
                </a:lnTo>
                <a:lnTo>
                  <a:pt x="782" y="1999"/>
                </a:lnTo>
                <a:lnTo>
                  <a:pt x="782" y="1996"/>
                </a:lnTo>
                <a:lnTo>
                  <a:pt x="783" y="1995"/>
                </a:lnTo>
                <a:lnTo>
                  <a:pt x="783" y="1993"/>
                </a:lnTo>
                <a:lnTo>
                  <a:pt x="785" y="1993"/>
                </a:lnTo>
                <a:lnTo>
                  <a:pt x="785" y="1992"/>
                </a:lnTo>
                <a:lnTo>
                  <a:pt x="789" y="1996"/>
                </a:lnTo>
                <a:lnTo>
                  <a:pt x="790" y="1996"/>
                </a:lnTo>
                <a:lnTo>
                  <a:pt x="794" y="1999"/>
                </a:lnTo>
                <a:lnTo>
                  <a:pt x="798" y="1999"/>
                </a:lnTo>
                <a:lnTo>
                  <a:pt x="799" y="1998"/>
                </a:lnTo>
                <a:lnTo>
                  <a:pt x="799" y="1995"/>
                </a:lnTo>
                <a:lnTo>
                  <a:pt x="798" y="1995"/>
                </a:lnTo>
                <a:lnTo>
                  <a:pt x="788" y="1989"/>
                </a:lnTo>
                <a:lnTo>
                  <a:pt x="788" y="1986"/>
                </a:lnTo>
                <a:lnTo>
                  <a:pt x="786" y="1985"/>
                </a:lnTo>
                <a:lnTo>
                  <a:pt x="786" y="1984"/>
                </a:lnTo>
                <a:lnTo>
                  <a:pt x="784" y="1983"/>
                </a:lnTo>
                <a:lnTo>
                  <a:pt x="780" y="1978"/>
                </a:lnTo>
                <a:lnTo>
                  <a:pt x="779" y="1977"/>
                </a:lnTo>
                <a:lnTo>
                  <a:pt x="774" y="1977"/>
                </a:lnTo>
                <a:lnTo>
                  <a:pt x="774" y="1978"/>
                </a:lnTo>
                <a:lnTo>
                  <a:pt x="776" y="1979"/>
                </a:lnTo>
                <a:lnTo>
                  <a:pt x="774" y="1980"/>
                </a:lnTo>
                <a:lnTo>
                  <a:pt x="774" y="1979"/>
                </a:lnTo>
                <a:lnTo>
                  <a:pt x="771" y="1977"/>
                </a:lnTo>
                <a:lnTo>
                  <a:pt x="770" y="1973"/>
                </a:lnTo>
                <a:lnTo>
                  <a:pt x="768" y="1973"/>
                </a:lnTo>
                <a:lnTo>
                  <a:pt x="768" y="1972"/>
                </a:lnTo>
                <a:lnTo>
                  <a:pt x="767" y="1971"/>
                </a:lnTo>
                <a:lnTo>
                  <a:pt x="767" y="1968"/>
                </a:lnTo>
                <a:lnTo>
                  <a:pt x="765" y="1963"/>
                </a:lnTo>
                <a:lnTo>
                  <a:pt x="765" y="1962"/>
                </a:lnTo>
                <a:lnTo>
                  <a:pt x="764" y="1961"/>
                </a:lnTo>
                <a:lnTo>
                  <a:pt x="764" y="1960"/>
                </a:lnTo>
                <a:lnTo>
                  <a:pt x="765" y="1961"/>
                </a:lnTo>
                <a:lnTo>
                  <a:pt x="767" y="1962"/>
                </a:lnTo>
                <a:lnTo>
                  <a:pt x="768" y="1963"/>
                </a:lnTo>
                <a:lnTo>
                  <a:pt x="777" y="1963"/>
                </a:lnTo>
                <a:lnTo>
                  <a:pt x="778" y="1962"/>
                </a:lnTo>
                <a:lnTo>
                  <a:pt x="779" y="1960"/>
                </a:lnTo>
                <a:lnTo>
                  <a:pt x="780" y="1960"/>
                </a:lnTo>
                <a:lnTo>
                  <a:pt x="782" y="1959"/>
                </a:lnTo>
                <a:lnTo>
                  <a:pt x="785" y="1959"/>
                </a:lnTo>
                <a:lnTo>
                  <a:pt x="786" y="1956"/>
                </a:lnTo>
                <a:lnTo>
                  <a:pt x="788" y="1957"/>
                </a:lnTo>
                <a:lnTo>
                  <a:pt x="788" y="1960"/>
                </a:lnTo>
                <a:lnTo>
                  <a:pt x="789" y="1960"/>
                </a:lnTo>
                <a:lnTo>
                  <a:pt x="795" y="1962"/>
                </a:lnTo>
                <a:lnTo>
                  <a:pt x="799" y="1961"/>
                </a:lnTo>
                <a:lnTo>
                  <a:pt x="801" y="1961"/>
                </a:lnTo>
                <a:lnTo>
                  <a:pt x="801" y="1960"/>
                </a:lnTo>
                <a:lnTo>
                  <a:pt x="799" y="1959"/>
                </a:lnTo>
                <a:lnTo>
                  <a:pt x="799" y="1957"/>
                </a:lnTo>
                <a:lnTo>
                  <a:pt x="798" y="1957"/>
                </a:lnTo>
                <a:lnTo>
                  <a:pt x="797" y="1956"/>
                </a:lnTo>
                <a:lnTo>
                  <a:pt x="791" y="1956"/>
                </a:lnTo>
                <a:lnTo>
                  <a:pt x="791" y="1955"/>
                </a:lnTo>
                <a:lnTo>
                  <a:pt x="792" y="1954"/>
                </a:lnTo>
                <a:lnTo>
                  <a:pt x="792" y="1950"/>
                </a:lnTo>
                <a:lnTo>
                  <a:pt x="794" y="1949"/>
                </a:lnTo>
                <a:lnTo>
                  <a:pt x="801" y="1949"/>
                </a:lnTo>
                <a:lnTo>
                  <a:pt x="804" y="1948"/>
                </a:lnTo>
                <a:lnTo>
                  <a:pt x="805" y="1948"/>
                </a:lnTo>
                <a:lnTo>
                  <a:pt x="808" y="1947"/>
                </a:lnTo>
                <a:lnTo>
                  <a:pt x="809" y="1947"/>
                </a:lnTo>
                <a:lnTo>
                  <a:pt x="811" y="1944"/>
                </a:lnTo>
                <a:lnTo>
                  <a:pt x="811" y="1943"/>
                </a:lnTo>
                <a:lnTo>
                  <a:pt x="816" y="1943"/>
                </a:lnTo>
                <a:lnTo>
                  <a:pt x="817" y="1942"/>
                </a:lnTo>
                <a:lnTo>
                  <a:pt x="819" y="1940"/>
                </a:lnTo>
                <a:lnTo>
                  <a:pt x="820" y="1938"/>
                </a:lnTo>
                <a:lnTo>
                  <a:pt x="821" y="1938"/>
                </a:lnTo>
                <a:lnTo>
                  <a:pt x="822" y="1940"/>
                </a:lnTo>
                <a:lnTo>
                  <a:pt x="823" y="1940"/>
                </a:lnTo>
                <a:lnTo>
                  <a:pt x="823" y="1938"/>
                </a:lnTo>
                <a:lnTo>
                  <a:pt x="828" y="1940"/>
                </a:lnTo>
                <a:lnTo>
                  <a:pt x="829" y="1940"/>
                </a:lnTo>
                <a:lnTo>
                  <a:pt x="829" y="1938"/>
                </a:lnTo>
                <a:lnTo>
                  <a:pt x="830" y="1936"/>
                </a:lnTo>
                <a:lnTo>
                  <a:pt x="830" y="1935"/>
                </a:lnTo>
                <a:lnTo>
                  <a:pt x="832" y="1934"/>
                </a:lnTo>
                <a:lnTo>
                  <a:pt x="833" y="1934"/>
                </a:lnTo>
                <a:lnTo>
                  <a:pt x="834" y="1932"/>
                </a:lnTo>
                <a:lnTo>
                  <a:pt x="832" y="1932"/>
                </a:lnTo>
                <a:lnTo>
                  <a:pt x="829" y="1935"/>
                </a:lnTo>
                <a:lnTo>
                  <a:pt x="828" y="1934"/>
                </a:lnTo>
                <a:lnTo>
                  <a:pt x="829" y="1931"/>
                </a:lnTo>
                <a:lnTo>
                  <a:pt x="828" y="1931"/>
                </a:lnTo>
                <a:lnTo>
                  <a:pt x="828" y="1928"/>
                </a:lnTo>
                <a:lnTo>
                  <a:pt x="829" y="1928"/>
                </a:lnTo>
                <a:lnTo>
                  <a:pt x="829" y="1925"/>
                </a:lnTo>
                <a:lnTo>
                  <a:pt x="828" y="1924"/>
                </a:lnTo>
                <a:lnTo>
                  <a:pt x="827" y="1924"/>
                </a:lnTo>
                <a:lnTo>
                  <a:pt x="826" y="1923"/>
                </a:lnTo>
                <a:lnTo>
                  <a:pt x="821" y="1923"/>
                </a:lnTo>
                <a:lnTo>
                  <a:pt x="820" y="1924"/>
                </a:lnTo>
                <a:lnTo>
                  <a:pt x="815" y="1924"/>
                </a:lnTo>
                <a:lnTo>
                  <a:pt x="815" y="1929"/>
                </a:lnTo>
                <a:lnTo>
                  <a:pt x="813" y="1929"/>
                </a:lnTo>
                <a:lnTo>
                  <a:pt x="811" y="1930"/>
                </a:lnTo>
                <a:lnTo>
                  <a:pt x="808" y="1930"/>
                </a:lnTo>
                <a:lnTo>
                  <a:pt x="805" y="1931"/>
                </a:lnTo>
                <a:lnTo>
                  <a:pt x="798" y="1931"/>
                </a:lnTo>
                <a:lnTo>
                  <a:pt x="798" y="1932"/>
                </a:lnTo>
                <a:lnTo>
                  <a:pt x="796" y="1932"/>
                </a:lnTo>
                <a:lnTo>
                  <a:pt x="796" y="1931"/>
                </a:lnTo>
                <a:lnTo>
                  <a:pt x="797" y="1930"/>
                </a:lnTo>
                <a:lnTo>
                  <a:pt x="797" y="1929"/>
                </a:lnTo>
                <a:lnTo>
                  <a:pt x="798" y="1928"/>
                </a:lnTo>
                <a:lnTo>
                  <a:pt x="798" y="1926"/>
                </a:lnTo>
                <a:lnTo>
                  <a:pt x="801" y="1926"/>
                </a:lnTo>
                <a:lnTo>
                  <a:pt x="808" y="1925"/>
                </a:lnTo>
                <a:lnTo>
                  <a:pt x="810" y="1923"/>
                </a:lnTo>
                <a:lnTo>
                  <a:pt x="809" y="1922"/>
                </a:lnTo>
                <a:lnTo>
                  <a:pt x="809" y="1924"/>
                </a:lnTo>
                <a:lnTo>
                  <a:pt x="807" y="1924"/>
                </a:lnTo>
                <a:lnTo>
                  <a:pt x="801" y="1925"/>
                </a:lnTo>
                <a:lnTo>
                  <a:pt x="798" y="1926"/>
                </a:lnTo>
                <a:lnTo>
                  <a:pt x="797" y="1926"/>
                </a:lnTo>
                <a:lnTo>
                  <a:pt x="796" y="1929"/>
                </a:lnTo>
                <a:lnTo>
                  <a:pt x="795" y="1930"/>
                </a:lnTo>
                <a:lnTo>
                  <a:pt x="795" y="1931"/>
                </a:lnTo>
                <a:lnTo>
                  <a:pt x="794" y="1932"/>
                </a:lnTo>
                <a:lnTo>
                  <a:pt x="786" y="1932"/>
                </a:lnTo>
                <a:lnTo>
                  <a:pt x="785" y="1934"/>
                </a:lnTo>
                <a:lnTo>
                  <a:pt x="784" y="1934"/>
                </a:lnTo>
                <a:lnTo>
                  <a:pt x="784" y="1928"/>
                </a:lnTo>
                <a:lnTo>
                  <a:pt x="786" y="1925"/>
                </a:lnTo>
                <a:lnTo>
                  <a:pt x="788" y="1925"/>
                </a:lnTo>
                <a:lnTo>
                  <a:pt x="788" y="1923"/>
                </a:lnTo>
                <a:lnTo>
                  <a:pt x="786" y="1922"/>
                </a:lnTo>
                <a:lnTo>
                  <a:pt x="783" y="1922"/>
                </a:lnTo>
                <a:lnTo>
                  <a:pt x="783" y="1920"/>
                </a:lnTo>
                <a:lnTo>
                  <a:pt x="785" y="1918"/>
                </a:lnTo>
                <a:lnTo>
                  <a:pt x="786" y="1916"/>
                </a:lnTo>
                <a:lnTo>
                  <a:pt x="786" y="1907"/>
                </a:lnTo>
                <a:lnTo>
                  <a:pt x="788" y="1905"/>
                </a:lnTo>
                <a:lnTo>
                  <a:pt x="790" y="1903"/>
                </a:lnTo>
                <a:lnTo>
                  <a:pt x="799" y="1901"/>
                </a:lnTo>
                <a:lnTo>
                  <a:pt x="799" y="1900"/>
                </a:lnTo>
                <a:lnTo>
                  <a:pt x="801" y="1900"/>
                </a:lnTo>
                <a:lnTo>
                  <a:pt x="802" y="1898"/>
                </a:lnTo>
                <a:lnTo>
                  <a:pt x="807" y="1898"/>
                </a:lnTo>
                <a:lnTo>
                  <a:pt x="807" y="1894"/>
                </a:lnTo>
                <a:lnTo>
                  <a:pt x="810" y="1887"/>
                </a:lnTo>
                <a:lnTo>
                  <a:pt x="813" y="1886"/>
                </a:lnTo>
                <a:lnTo>
                  <a:pt x="819" y="1887"/>
                </a:lnTo>
                <a:lnTo>
                  <a:pt x="821" y="1888"/>
                </a:lnTo>
                <a:lnTo>
                  <a:pt x="824" y="1888"/>
                </a:lnTo>
                <a:lnTo>
                  <a:pt x="830" y="1887"/>
                </a:lnTo>
                <a:lnTo>
                  <a:pt x="832" y="1887"/>
                </a:lnTo>
                <a:lnTo>
                  <a:pt x="834" y="1889"/>
                </a:lnTo>
                <a:lnTo>
                  <a:pt x="835" y="1888"/>
                </a:lnTo>
                <a:lnTo>
                  <a:pt x="838" y="1888"/>
                </a:lnTo>
                <a:lnTo>
                  <a:pt x="839" y="1889"/>
                </a:lnTo>
                <a:lnTo>
                  <a:pt x="841" y="1888"/>
                </a:lnTo>
                <a:lnTo>
                  <a:pt x="842" y="1888"/>
                </a:lnTo>
                <a:lnTo>
                  <a:pt x="847" y="1889"/>
                </a:lnTo>
                <a:lnTo>
                  <a:pt x="848" y="1889"/>
                </a:lnTo>
                <a:lnTo>
                  <a:pt x="850" y="1888"/>
                </a:lnTo>
                <a:lnTo>
                  <a:pt x="850" y="1887"/>
                </a:lnTo>
                <a:lnTo>
                  <a:pt x="851" y="1885"/>
                </a:lnTo>
                <a:lnTo>
                  <a:pt x="851" y="1879"/>
                </a:lnTo>
                <a:lnTo>
                  <a:pt x="850" y="1877"/>
                </a:lnTo>
                <a:lnTo>
                  <a:pt x="850" y="1876"/>
                </a:lnTo>
                <a:lnTo>
                  <a:pt x="851" y="1876"/>
                </a:lnTo>
                <a:lnTo>
                  <a:pt x="853" y="1875"/>
                </a:lnTo>
                <a:lnTo>
                  <a:pt x="852" y="1873"/>
                </a:lnTo>
                <a:lnTo>
                  <a:pt x="852" y="1872"/>
                </a:lnTo>
                <a:lnTo>
                  <a:pt x="853" y="1870"/>
                </a:lnTo>
                <a:lnTo>
                  <a:pt x="855" y="1867"/>
                </a:lnTo>
                <a:lnTo>
                  <a:pt x="855" y="1866"/>
                </a:lnTo>
                <a:lnTo>
                  <a:pt x="858" y="1863"/>
                </a:lnTo>
                <a:lnTo>
                  <a:pt x="859" y="1863"/>
                </a:lnTo>
                <a:lnTo>
                  <a:pt x="859" y="1860"/>
                </a:lnTo>
                <a:lnTo>
                  <a:pt x="854" y="1860"/>
                </a:lnTo>
                <a:lnTo>
                  <a:pt x="852" y="1858"/>
                </a:lnTo>
                <a:lnTo>
                  <a:pt x="857" y="1854"/>
                </a:lnTo>
                <a:lnTo>
                  <a:pt x="855" y="1854"/>
                </a:lnTo>
                <a:lnTo>
                  <a:pt x="855" y="1851"/>
                </a:lnTo>
                <a:lnTo>
                  <a:pt x="854" y="1848"/>
                </a:lnTo>
                <a:lnTo>
                  <a:pt x="853" y="1848"/>
                </a:lnTo>
                <a:lnTo>
                  <a:pt x="853" y="1846"/>
                </a:lnTo>
                <a:lnTo>
                  <a:pt x="854" y="1846"/>
                </a:lnTo>
                <a:lnTo>
                  <a:pt x="854" y="1844"/>
                </a:lnTo>
                <a:lnTo>
                  <a:pt x="853" y="1843"/>
                </a:lnTo>
                <a:lnTo>
                  <a:pt x="853" y="1842"/>
                </a:lnTo>
                <a:lnTo>
                  <a:pt x="852" y="1840"/>
                </a:lnTo>
                <a:lnTo>
                  <a:pt x="844" y="1840"/>
                </a:lnTo>
                <a:lnTo>
                  <a:pt x="845" y="1839"/>
                </a:lnTo>
                <a:lnTo>
                  <a:pt x="847" y="1831"/>
                </a:lnTo>
                <a:lnTo>
                  <a:pt x="847" y="1830"/>
                </a:lnTo>
                <a:lnTo>
                  <a:pt x="848" y="1830"/>
                </a:lnTo>
                <a:lnTo>
                  <a:pt x="848" y="1829"/>
                </a:lnTo>
                <a:lnTo>
                  <a:pt x="850" y="1829"/>
                </a:lnTo>
                <a:lnTo>
                  <a:pt x="850" y="1827"/>
                </a:lnTo>
                <a:lnTo>
                  <a:pt x="851" y="1826"/>
                </a:lnTo>
                <a:lnTo>
                  <a:pt x="852" y="1826"/>
                </a:lnTo>
                <a:lnTo>
                  <a:pt x="857" y="1827"/>
                </a:lnTo>
                <a:lnTo>
                  <a:pt x="859" y="1827"/>
                </a:lnTo>
                <a:lnTo>
                  <a:pt x="861" y="1825"/>
                </a:lnTo>
                <a:lnTo>
                  <a:pt x="861" y="1821"/>
                </a:lnTo>
                <a:lnTo>
                  <a:pt x="860" y="1821"/>
                </a:lnTo>
                <a:lnTo>
                  <a:pt x="859" y="1823"/>
                </a:lnTo>
                <a:lnTo>
                  <a:pt x="858" y="1823"/>
                </a:lnTo>
                <a:lnTo>
                  <a:pt x="858" y="1824"/>
                </a:lnTo>
                <a:lnTo>
                  <a:pt x="857" y="1824"/>
                </a:lnTo>
                <a:lnTo>
                  <a:pt x="857" y="1823"/>
                </a:lnTo>
                <a:lnTo>
                  <a:pt x="855" y="1821"/>
                </a:lnTo>
                <a:lnTo>
                  <a:pt x="854" y="1823"/>
                </a:lnTo>
                <a:lnTo>
                  <a:pt x="851" y="1821"/>
                </a:lnTo>
                <a:lnTo>
                  <a:pt x="850" y="1821"/>
                </a:lnTo>
                <a:lnTo>
                  <a:pt x="848" y="1820"/>
                </a:lnTo>
                <a:lnTo>
                  <a:pt x="848" y="1818"/>
                </a:lnTo>
                <a:lnTo>
                  <a:pt x="847" y="1818"/>
                </a:lnTo>
                <a:lnTo>
                  <a:pt x="846" y="1817"/>
                </a:lnTo>
                <a:lnTo>
                  <a:pt x="846" y="1813"/>
                </a:lnTo>
                <a:lnTo>
                  <a:pt x="847" y="1812"/>
                </a:lnTo>
                <a:lnTo>
                  <a:pt x="850" y="1813"/>
                </a:lnTo>
                <a:lnTo>
                  <a:pt x="852" y="1811"/>
                </a:lnTo>
                <a:lnTo>
                  <a:pt x="854" y="1811"/>
                </a:lnTo>
                <a:lnTo>
                  <a:pt x="855" y="1812"/>
                </a:lnTo>
                <a:lnTo>
                  <a:pt x="857" y="1811"/>
                </a:lnTo>
                <a:lnTo>
                  <a:pt x="857" y="1807"/>
                </a:lnTo>
                <a:lnTo>
                  <a:pt x="859" y="1805"/>
                </a:lnTo>
                <a:lnTo>
                  <a:pt x="861" y="1803"/>
                </a:lnTo>
                <a:lnTo>
                  <a:pt x="861" y="1802"/>
                </a:lnTo>
                <a:lnTo>
                  <a:pt x="865" y="1799"/>
                </a:lnTo>
                <a:lnTo>
                  <a:pt x="865" y="1796"/>
                </a:lnTo>
                <a:lnTo>
                  <a:pt x="866" y="1794"/>
                </a:lnTo>
                <a:lnTo>
                  <a:pt x="866" y="1791"/>
                </a:lnTo>
                <a:lnTo>
                  <a:pt x="864" y="1789"/>
                </a:lnTo>
                <a:lnTo>
                  <a:pt x="861" y="1784"/>
                </a:lnTo>
                <a:lnTo>
                  <a:pt x="861" y="1781"/>
                </a:lnTo>
                <a:lnTo>
                  <a:pt x="864" y="1778"/>
                </a:lnTo>
                <a:lnTo>
                  <a:pt x="865" y="1778"/>
                </a:lnTo>
                <a:lnTo>
                  <a:pt x="865" y="1776"/>
                </a:lnTo>
                <a:lnTo>
                  <a:pt x="860" y="1775"/>
                </a:lnTo>
                <a:lnTo>
                  <a:pt x="859" y="1775"/>
                </a:lnTo>
                <a:lnTo>
                  <a:pt x="855" y="1777"/>
                </a:lnTo>
                <a:lnTo>
                  <a:pt x="855" y="1778"/>
                </a:lnTo>
                <a:lnTo>
                  <a:pt x="853" y="1778"/>
                </a:lnTo>
                <a:lnTo>
                  <a:pt x="852" y="1780"/>
                </a:lnTo>
                <a:lnTo>
                  <a:pt x="851" y="1780"/>
                </a:lnTo>
                <a:lnTo>
                  <a:pt x="851" y="1778"/>
                </a:lnTo>
                <a:lnTo>
                  <a:pt x="848" y="1776"/>
                </a:lnTo>
                <a:lnTo>
                  <a:pt x="846" y="1776"/>
                </a:lnTo>
                <a:lnTo>
                  <a:pt x="845" y="1775"/>
                </a:lnTo>
                <a:lnTo>
                  <a:pt x="844" y="1775"/>
                </a:lnTo>
                <a:lnTo>
                  <a:pt x="842" y="1772"/>
                </a:lnTo>
                <a:lnTo>
                  <a:pt x="842" y="1769"/>
                </a:lnTo>
                <a:lnTo>
                  <a:pt x="841" y="1768"/>
                </a:lnTo>
                <a:lnTo>
                  <a:pt x="839" y="1766"/>
                </a:lnTo>
                <a:lnTo>
                  <a:pt x="838" y="1766"/>
                </a:lnTo>
                <a:lnTo>
                  <a:pt x="836" y="1765"/>
                </a:lnTo>
                <a:lnTo>
                  <a:pt x="834" y="1766"/>
                </a:lnTo>
                <a:lnTo>
                  <a:pt x="833" y="1766"/>
                </a:lnTo>
                <a:lnTo>
                  <a:pt x="832" y="1768"/>
                </a:lnTo>
                <a:lnTo>
                  <a:pt x="829" y="1766"/>
                </a:lnTo>
                <a:lnTo>
                  <a:pt x="828" y="1766"/>
                </a:lnTo>
                <a:lnTo>
                  <a:pt x="827" y="1764"/>
                </a:lnTo>
                <a:lnTo>
                  <a:pt x="824" y="1758"/>
                </a:lnTo>
                <a:lnTo>
                  <a:pt x="824" y="1757"/>
                </a:lnTo>
                <a:lnTo>
                  <a:pt x="822" y="1758"/>
                </a:lnTo>
                <a:lnTo>
                  <a:pt x="822" y="1759"/>
                </a:lnTo>
                <a:lnTo>
                  <a:pt x="820" y="1760"/>
                </a:lnTo>
                <a:lnTo>
                  <a:pt x="820" y="1762"/>
                </a:lnTo>
                <a:lnTo>
                  <a:pt x="815" y="1762"/>
                </a:lnTo>
                <a:lnTo>
                  <a:pt x="811" y="1758"/>
                </a:lnTo>
                <a:lnTo>
                  <a:pt x="807" y="1757"/>
                </a:lnTo>
                <a:lnTo>
                  <a:pt x="803" y="1753"/>
                </a:lnTo>
                <a:lnTo>
                  <a:pt x="803" y="1752"/>
                </a:lnTo>
                <a:lnTo>
                  <a:pt x="795" y="1752"/>
                </a:lnTo>
                <a:lnTo>
                  <a:pt x="794" y="1751"/>
                </a:lnTo>
                <a:lnTo>
                  <a:pt x="790" y="1751"/>
                </a:lnTo>
                <a:lnTo>
                  <a:pt x="790" y="1750"/>
                </a:lnTo>
                <a:lnTo>
                  <a:pt x="789" y="1746"/>
                </a:lnTo>
                <a:lnTo>
                  <a:pt x="788" y="1745"/>
                </a:lnTo>
                <a:lnTo>
                  <a:pt x="783" y="1745"/>
                </a:lnTo>
                <a:lnTo>
                  <a:pt x="782" y="1747"/>
                </a:lnTo>
                <a:lnTo>
                  <a:pt x="783" y="1750"/>
                </a:lnTo>
                <a:lnTo>
                  <a:pt x="783" y="1753"/>
                </a:lnTo>
                <a:lnTo>
                  <a:pt x="780" y="1754"/>
                </a:lnTo>
                <a:lnTo>
                  <a:pt x="779" y="1754"/>
                </a:lnTo>
                <a:lnTo>
                  <a:pt x="779" y="1753"/>
                </a:lnTo>
                <a:lnTo>
                  <a:pt x="778" y="1753"/>
                </a:lnTo>
                <a:lnTo>
                  <a:pt x="778" y="1754"/>
                </a:lnTo>
                <a:lnTo>
                  <a:pt x="776" y="1756"/>
                </a:lnTo>
                <a:lnTo>
                  <a:pt x="774" y="1756"/>
                </a:lnTo>
                <a:lnTo>
                  <a:pt x="774" y="1753"/>
                </a:lnTo>
                <a:lnTo>
                  <a:pt x="772" y="1748"/>
                </a:lnTo>
                <a:lnTo>
                  <a:pt x="770" y="1747"/>
                </a:lnTo>
                <a:lnTo>
                  <a:pt x="768" y="1746"/>
                </a:lnTo>
                <a:lnTo>
                  <a:pt x="765" y="1745"/>
                </a:lnTo>
                <a:lnTo>
                  <a:pt x="764" y="1744"/>
                </a:lnTo>
                <a:lnTo>
                  <a:pt x="760" y="1738"/>
                </a:lnTo>
                <a:lnTo>
                  <a:pt x="758" y="1737"/>
                </a:lnTo>
                <a:lnTo>
                  <a:pt x="758" y="1734"/>
                </a:lnTo>
                <a:lnTo>
                  <a:pt x="759" y="1733"/>
                </a:lnTo>
                <a:lnTo>
                  <a:pt x="757" y="1728"/>
                </a:lnTo>
                <a:lnTo>
                  <a:pt x="753" y="1727"/>
                </a:lnTo>
                <a:lnTo>
                  <a:pt x="753" y="1725"/>
                </a:lnTo>
                <a:lnTo>
                  <a:pt x="752" y="1723"/>
                </a:lnTo>
                <a:lnTo>
                  <a:pt x="752" y="1721"/>
                </a:lnTo>
                <a:lnTo>
                  <a:pt x="746" y="1721"/>
                </a:lnTo>
                <a:lnTo>
                  <a:pt x="741" y="1726"/>
                </a:lnTo>
                <a:lnTo>
                  <a:pt x="735" y="1727"/>
                </a:lnTo>
                <a:lnTo>
                  <a:pt x="729" y="1727"/>
                </a:lnTo>
                <a:lnTo>
                  <a:pt x="720" y="1732"/>
                </a:lnTo>
                <a:lnTo>
                  <a:pt x="720" y="1733"/>
                </a:lnTo>
                <a:lnTo>
                  <a:pt x="718" y="1733"/>
                </a:lnTo>
                <a:lnTo>
                  <a:pt x="718" y="1734"/>
                </a:lnTo>
                <a:lnTo>
                  <a:pt x="717" y="1735"/>
                </a:lnTo>
                <a:lnTo>
                  <a:pt x="714" y="1735"/>
                </a:lnTo>
                <a:lnTo>
                  <a:pt x="714" y="1732"/>
                </a:lnTo>
                <a:lnTo>
                  <a:pt x="712" y="1731"/>
                </a:lnTo>
                <a:lnTo>
                  <a:pt x="711" y="1731"/>
                </a:lnTo>
                <a:lnTo>
                  <a:pt x="710" y="1729"/>
                </a:lnTo>
                <a:lnTo>
                  <a:pt x="707" y="1729"/>
                </a:lnTo>
                <a:lnTo>
                  <a:pt x="705" y="1731"/>
                </a:lnTo>
                <a:lnTo>
                  <a:pt x="702" y="1731"/>
                </a:lnTo>
                <a:lnTo>
                  <a:pt x="698" y="1723"/>
                </a:lnTo>
                <a:lnTo>
                  <a:pt x="697" y="1723"/>
                </a:lnTo>
                <a:lnTo>
                  <a:pt x="697" y="1722"/>
                </a:lnTo>
                <a:lnTo>
                  <a:pt x="696" y="1721"/>
                </a:lnTo>
                <a:lnTo>
                  <a:pt x="683" y="1721"/>
                </a:lnTo>
                <a:lnTo>
                  <a:pt x="683" y="1722"/>
                </a:lnTo>
                <a:lnTo>
                  <a:pt x="681" y="1723"/>
                </a:lnTo>
                <a:lnTo>
                  <a:pt x="680" y="1723"/>
                </a:lnTo>
                <a:lnTo>
                  <a:pt x="680" y="1725"/>
                </a:lnTo>
                <a:lnTo>
                  <a:pt x="679" y="1725"/>
                </a:lnTo>
                <a:lnTo>
                  <a:pt x="679" y="1726"/>
                </a:lnTo>
                <a:lnTo>
                  <a:pt x="678" y="1727"/>
                </a:lnTo>
                <a:lnTo>
                  <a:pt x="676" y="1727"/>
                </a:lnTo>
                <a:lnTo>
                  <a:pt x="674" y="1726"/>
                </a:lnTo>
                <a:lnTo>
                  <a:pt x="673" y="1726"/>
                </a:lnTo>
                <a:lnTo>
                  <a:pt x="673" y="1725"/>
                </a:lnTo>
                <a:lnTo>
                  <a:pt x="672" y="1723"/>
                </a:lnTo>
                <a:lnTo>
                  <a:pt x="672" y="1720"/>
                </a:lnTo>
                <a:lnTo>
                  <a:pt x="671" y="1719"/>
                </a:lnTo>
                <a:lnTo>
                  <a:pt x="668" y="1719"/>
                </a:lnTo>
                <a:lnTo>
                  <a:pt x="666" y="1716"/>
                </a:lnTo>
                <a:lnTo>
                  <a:pt x="665" y="1708"/>
                </a:lnTo>
                <a:lnTo>
                  <a:pt x="665" y="1707"/>
                </a:lnTo>
                <a:lnTo>
                  <a:pt x="668" y="1705"/>
                </a:lnTo>
                <a:lnTo>
                  <a:pt x="667" y="1704"/>
                </a:lnTo>
                <a:lnTo>
                  <a:pt x="667" y="1698"/>
                </a:lnTo>
                <a:lnTo>
                  <a:pt x="666" y="1697"/>
                </a:lnTo>
                <a:lnTo>
                  <a:pt x="665" y="1697"/>
                </a:lnTo>
                <a:lnTo>
                  <a:pt x="665" y="1694"/>
                </a:lnTo>
                <a:lnTo>
                  <a:pt x="664" y="1692"/>
                </a:lnTo>
                <a:lnTo>
                  <a:pt x="664" y="1691"/>
                </a:lnTo>
                <a:lnTo>
                  <a:pt x="662" y="1690"/>
                </a:lnTo>
                <a:lnTo>
                  <a:pt x="664" y="1689"/>
                </a:lnTo>
                <a:lnTo>
                  <a:pt x="662" y="1688"/>
                </a:lnTo>
                <a:lnTo>
                  <a:pt x="661" y="1688"/>
                </a:lnTo>
                <a:lnTo>
                  <a:pt x="661" y="1686"/>
                </a:lnTo>
                <a:lnTo>
                  <a:pt x="660" y="1686"/>
                </a:lnTo>
                <a:lnTo>
                  <a:pt x="660" y="1683"/>
                </a:lnTo>
                <a:lnTo>
                  <a:pt x="664" y="1683"/>
                </a:lnTo>
                <a:lnTo>
                  <a:pt x="664" y="1680"/>
                </a:lnTo>
                <a:lnTo>
                  <a:pt x="662" y="1680"/>
                </a:lnTo>
                <a:lnTo>
                  <a:pt x="661" y="1679"/>
                </a:lnTo>
                <a:lnTo>
                  <a:pt x="660" y="1679"/>
                </a:lnTo>
                <a:lnTo>
                  <a:pt x="658" y="1680"/>
                </a:lnTo>
                <a:lnTo>
                  <a:pt x="656" y="1680"/>
                </a:lnTo>
                <a:lnTo>
                  <a:pt x="655" y="1679"/>
                </a:lnTo>
                <a:lnTo>
                  <a:pt x="654" y="1677"/>
                </a:lnTo>
                <a:lnTo>
                  <a:pt x="653" y="1671"/>
                </a:lnTo>
                <a:lnTo>
                  <a:pt x="653" y="1670"/>
                </a:lnTo>
                <a:lnTo>
                  <a:pt x="652" y="1668"/>
                </a:lnTo>
                <a:lnTo>
                  <a:pt x="650" y="1668"/>
                </a:lnTo>
                <a:lnTo>
                  <a:pt x="649" y="1670"/>
                </a:lnTo>
                <a:lnTo>
                  <a:pt x="648" y="1670"/>
                </a:lnTo>
                <a:lnTo>
                  <a:pt x="648" y="1668"/>
                </a:lnTo>
                <a:lnTo>
                  <a:pt x="647" y="1668"/>
                </a:lnTo>
                <a:lnTo>
                  <a:pt x="645" y="1670"/>
                </a:lnTo>
                <a:lnTo>
                  <a:pt x="641" y="1671"/>
                </a:lnTo>
                <a:lnTo>
                  <a:pt x="639" y="1672"/>
                </a:lnTo>
                <a:lnTo>
                  <a:pt x="635" y="1672"/>
                </a:lnTo>
                <a:lnTo>
                  <a:pt x="633" y="1670"/>
                </a:lnTo>
                <a:lnTo>
                  <a:pt x="633" y="1667"/>
                </a:lnTo>
                <a:lnTo>
                  <a:pt x="627" y="1667"/>
                </a:lnTo>
                <a:lnTo>
                  <a:pt x="624" y="1666"/>
                </a:lnTo>
                <a:lnTo>
                  <a:pt x="621" y="1666"/>
                </a:lnTo>
                <a:lnTo>
                  <a:pt x="619" y="1667"/>
                </a:lnTo>
                <a:lnTo>
                  <a:pt x="617" y="1667"/>
                </a:lnTo>
                <a:lnTo>
                  <a:pt x="615" y="1666"/>
                </a:lnTo>
                <a:lnTo>
                  <a:pt x="617" y="1665"/>
                </a:lnTo>
                <a:lnTo>
                  <a:pt x="619" y="1660"/>
                </a:lnTo>
                <a:lnTo>
                  <a:pt x="619" y="1658"/>
                </a:lnTo>
                <a:lnTo>
                  <a:pt x="618" y="1659"/>
                </a:lnTo>
                <a:lnTo>
                  <a:pt x="617" y="1659"/>
                </a:lnTo>
                <a:lnTo>
                  <a:pt x="614" y="1655"/>
                </a:lnTo>
                <a:lnTo>
                  <a:pt x="616" y="1655"/>
                </a:lnTo>
                <a:lnTo>
                  <a:pt x="616" y="1647"/>
                </a:lnTo>
                <a:lnTo>
                  <a:pt x="612" y="1643"/>
                </a:lnTo>
                <a:lnTo>
                  <a:pt x="612" y="1641"/>
                </a:lnTo>
                <a:lnTo>
                  <a:pt x="611" y="1641"/>
                </a:lnTo>
                <a:lnTo>
                  <a:pt x="610" y="1640"/>
                </a:lnTo>
                <a:lnTo>
                  <a:pt x="610" y="1637"/>
                </a:lnTo>
                <a:lnTo>
                  <a:pt x="612" y="1637"/>
                </a:lnTo>
                <a:lnTo>
                  <a:pt x="619" y="1635"/>
                </a:lnTo>
                <a:lnTo>
                  <a:pt x="622" y="1635"/>
                </a:lnTo>
                <a:lnTo>
                  <a:pt x="624" y="1633"/>
                </a:lnTo>
                <a:lnTo>
                  <a:pt x="624" y="1630"/>
                </a:lnTo>
                <a:lnTo>
                  <a:pt x="623" y="1628"/>
                </a:lnTo>
                <a:lnTo>
                  <a:pt x="621" y="1625"/>
                </a:lnTo>
                <a:lnTo>
                  <a:pt x="618" y="1624"/>
                </a:lnTo>
                <a:lnTo>
                  <a:pt x="618" y="1623"/>
                </a:lnTo>
                <a:lnTo>
                  <a:pt x="616" y="1623"/>
                </a:lnTo>
                <a:lnTo>
                  <a:pt x="616" y="1622"/>
                </a:lnTo>
                <a:lnTo>
                  <a:pt x="615" y="1622"/>
                </a:lnTo>
                <a:lnTo>
                  <a:pt x="615" y="1621"/>
                </a:lnTo>
                <a:lnTo>
                  <a:pt x="612" y="1618"/>
                </a:lnTo>
                <a:lnTo>
                  <a:pt x="610" y="1618"/>
                </a:lnTo>
                <a:lnTo>
                  <a:pt x="611" y="1617"/>
                </a:lnTo>
                <a:lnTo>
                  <a:pt x="611" y="1616"/>
                </a:lnTo>
                <a:lnTo>
                  <a:pt x="609" y="1614"/>
                </a:lnTo>
                <a:lnTo>
                  <a:pt x="609" y="1608"/>
                </a:lnTo>
                <a:lnTo>
                  <a:pt x="610" y="1606"/>
                </a:lnTo>
                <a:lnTo>
                  <a:pt x="610" y="1605"/>
                </a:lnTo>
                <a:lnTo>
                  <a:pt x="608" y="1603"/>
                </a:lnTo>
                <a:lnTo>
                  <a:pt x="608" y="1602"/>
                </a:lnTo>
                <a:lnTo>
                  <a:pt x="605" y="1599"/>
                </a:lnTo>
                <a:lnTo>
                  <a:pt x="604" y="1599"/>
                </a:lnTo>
                <a:lnTo>
                  <a:pt x="603" y="1597"/>
                </a:lnTo>
                <a:lnTo>
                  <a:pt x="603" y="1596"/>
                </a:lnTo>
                <a:lnTo>
                  <a:pt x="600" y="1594"/>
                </a:lnTo>
                <a:lnTo>
                  <a:pt x="599" y="1593"/>
                </a:lnTo>
                <a:lnTo>
                  <a:pt x="599" y="1592"/>
                </a:lnTo>
                <a:lnTo>
                  <a:pt x="598" y="1591"/>
                </a:lnTo>
                <a:lnTo>
                  <a:pt x="593" y="1591"/>
                </a:lnTo>
                <a:lnTo>
                  <a:pt x="590" y="1592"/>
                </a:lnTo>
                <a:lnTo>
                  <a:pt x="586" y="1596"/>
                </a:lnTo>
                <a:lnTo>
                  <a:pt x="585" y="1594"/>
                </a:lnTo>
                <a:lnTo>
                  <a:pt x="585" y="1591"/>
                </a:lnTo>
                <a:lnTo>
                  <a:pt x="584" y="1591"/>
                </a:lnTo>
                <a:lnTo>
                  <a:pt x="583" y="1592"/>
                </a:lnTo>
                <a:lnTo>
                  <a:pt x="581" y="1592"/>
                </a:lnTo>
                <a:lnTo>
                  <a:pt x="580" y="1591"/>
                </a:lnTo>
                <a:lnTo>
                  <a:pt x="577" y="1591"/>
                </a:lnTo>
                <a:lnTo>
                  <a:pt x="573" y="1590"/>
                </a:lnTo>
                <a:lnTo>
                  <a:pt x="572" y="1590"/>
                </a:lnTo>
                <a:lnTo>
                  <a:pt x="572" y="1591"/>
                </a:lnTo>
                <a:lnTo>
                  <a:pt x="571" y="1592"/>
                </a:lnTo>
                <a:lnTo>
                  <a:pt x="568" y="1592"/>
                </a:lnTo>
                <a:lnTo>
                  <a:pt x="568" y="1593"/>
                </a:lnTo>
                <a:lnTo>
                  <a:pt x="567" y="1594"/>
                </a:lnTo>
                <a:lnTo>
                  <a:pt x="566" y="1594"/>
                </a:lnTo>
                <a:lnTo>
                  <a:pt x="561" y="1598"/>
                </a:lnTo>
                <a:lnTo>
                  <a:pt x="559" y="1598"/>
                </a:lnTo>
                <a:lnTo>
                  <a:pt x="558" y="1597"/>
                </a:lnTo>
                <a:lnTo>
                  <a:pt x="556" y="1597"/>
                </a:lnTo>
                <a:lnTo>
                  <a:pt x="554" y="1598"/>
                </a:lnTo>
                <a:lnTo>
                  <a:pt x="553" y="1598"/>
                </a:lnTo>
                <a:lnTo>
                  <a:pt x="544" y="1593"/>
                </a:lnTo>
                <a:lnTo>
                  <a:pt x="542" y="1594"/>
                </a:lnTo>
                <a:lnTo>
                  <a:pt x="538" y="1593"/>
                </a:lnTo>
                <a:lnTo>
                  <a:pt x="537" y="1593"/>
                </a:lnTo>
                <a:lnTo>
                  <a:pt x="536" y="1596"/>
                </a:lnTo>
                <a:lnTo>
                  <a:pt x="537" y="1598"/>
                </a:lnTo>
                <a:lnTo>
                  <a:pt x="537" y="1599"/>
                </a:lnTo>
                <a:lnTo>
                  <a:pt x="536" y="1599"/>
                </a:lnTo>
                <a:lnTo>
                  <a:pt x="536" y="1602"/>
                </a:lnTo>
                <a:lnTo>
                  <a:pt x="535" y="1605"/>
                </a:lnTo>
                <a:lnTo>
                  <a:pt x="534" y="1608"/>
                </a:lnTo>
                <a:lnTo>
                  <a:pt x="531" y="1610"/>
                </a:lnTo>
                <a:lnTo>
                  <a:pt x="527" y="1612"/>
                </a:lnTo>
                <a:lnTo>
                  <a:pt x="525" y="1612"/>
                </a:lnTo>
                <a:lnTo>
                  <a:pt x="523" y="1611"/>
                </a:lnTo>
                <a:lnTo>
                  <a:pt x="522" y="1612"/>
                </a:lnTo>
                <a:lnTo>
                  <a:pt x="519" y="1614"/>
                </a:lnTo>
                <a:lnTo>
                  <a:pt x="518" y="1614"/>
                </a:lnTo>
                <a:lnTo>
                  <a:pt x="517" y="1612"/>
                </a:lnTo>
                <a:lnTo>
                  <a:pt x="517" y="1609"/>
                </a:lnTo>
                <a:lnTo>
                  <a:pt x="516" y="1609"/>
                </a:lnTo>
                <a:lnTo>
                  <a:pt x="515" y="1608"/>
                </a:lnTo>
                <a:lnTo>
                  <a:pt x="512" y="1609"/>
                </a:lnTo>
                <a:lnTo>
                  <a:pt x="512" y="1605"/>
                </a:lnTo>
                <a:lnTo>
                  <a:pt x="509" y="1602"/>
                </a:lnTo>
                <a:lnTo>
                  <a:pt x="509" y="1598"/>
                </a:lnTo>
                <a:lnTo>
                  <a:pt x="507" y="1597"/>
                </a:lnTo>
                <a:lnTo>
                  <a:pt x="506" y="1597"/>
                </a:lnTo>
                <a:lnTo>
                  <a:pt x="505" y="1596"/>
                </a:lnTo>
                <a:lnTo>
                  <a:pt x="504" y="1593"/>
                </a:lnTo>
                <a:lnTo>
                  <a:pt x="505" y="1592"/>
                </a:lnTo>
                <a:lnTo>
                  <a:pt x="505" y="1588"/>
                </a:lnTo>
                <a:lnTo>
                  <a:pt x="504" y="1587"/>
                </a:lnTo>
                <a:lnTo>
                  <a:pt x="504" y="1586"/>
                </a:lnTo>
                <a:lnTo>
                  <a:pt x="505" y="1584"/>
                </a:lnTo>
                <a:lnTo>
                  <a:pt x="505" y="1582"/>
                </a:lnTo>
                <a:lnTo>
                  <a:pt x="503" y="1580"/>
                </a:lnTo>
                <a:lnTo>
                  <a:pt x="504" y="1579"/>
                </a:lnTo>
                <a:lnTo>
                  <a:pt x="504" y="1578"/>
                </a:lnTo>
                <a:lnTo>
                  <a:pt x="506" y="1578"/>
                </a:lnTo>
                <a:lnTo>
                  <a:pt x="506" y="1576"/>
                </a:lnTo>
                <a:lnTo>
                  <a:pt x="504" y="1575"/>
                </a:lnTo>
                <a:lnTo>
                  <a:pt x="504" y="1574"/>
                </a:lnTo>
                <a:lnTo>
                  <a:pt x="503" y="1572"/>
                </a:lnTo>
                <a:lnTo>
                  <a:pt x="500" y="1569"/>
                </a:lnTo>
                <a:lnTo>
                  <a:pt x="500" y="1568"/>
                </a:lnTo>
                <a:lnTo>
                  <a:pt x="503" y="1567"/>
                </a:lnTo>
                <a:lnTo>
                  <a:pt x="504" y="1565"/>
                </a:lnTo>
                <a:lnTo>
                  <a:pt x="504" y="1561"/>
                </a:lnTo>
                <a:lnTo>
                  <a:pt x="502" y="1559"/>
                </a:lnTo>
                <a:lnTo>
                  <a:pt x="502" y="1556"/>
                </a:lnTo>
                <a:lnTo>
                  <a:pt x="499" y="1556"/>
                </a:lnTo>
                <a:lnTo>
                  <a:pt x="496" y="1553"/>
                </a:lnTo>
                <a:lnTo>
                  <a:pt x="494" y="1549"/>
                </a:lnTo>
                <a:lnTo>
                  <a:pt x="493" y="1548"/>
                </a:lnTo>
                <a:lnTo>
                  <a:pt x="491" y="1544"/>
                </a:lnTo>
                <a:lnTo>
                  <a:pt x="493" y="1541"/>
                </a:lnTo>
                <a:lnTo>
                  <a:pt x="494" y="1541"/>
                </a:lnTo>
                <a:lnTo>
                  <a:pt x="496" y="1539"/>
                </a:lnTo>
                <a:lnTo>
                  <a:pt x="496" y="1533"/>
                </a:lnTo>
                <a:lnTo>
                  <a:pt x="498" y="1532"/>
                </a:lnTo>
                <a:lnTo>
                  <a:pt x="503" y="1532"/>
                </a:lnTo>
                <a:lnTo>
                  <a:pt x="504" y="1531"/>
                </a:lnTo>
                <a:lnTo>
                  <a:pt x="506" y="1531"/>
                </a:lnTo>
                <a:lnTo>
                  <a:pt x="509" y="1532"/>
                </a:lnTo>
                <a:lnTo>
                  <a:pt x="512" y="1532"/>
                </a:lnTo>
                <a:lnTo>
                  <a:pt x="512" y="1537"/>
                </a:lnTo>
                <a:lnTo>
                  <a:pt x="513" y="1538"/>
                </a:lnTo>
                <a:lnTo>
                  <a:pt x="516" y="1538"/>
                </a:lnTo>
                <a:lnTo>
                  <a:pt x="518" y="1539"/>
                </a:lnTo>
                <a:lnTo>
                  <a:pt x="522" y="1539"/>
                </a:lnTo>
                <a:lnTo>
                  <a:pt x="523" y="1538"/>
                </a:lnTo>
                <a:lnTo>
                  <a:pt x="525" y="1541"/>
                </a:lnTo>
                <a:lnTo>
                  <a:pt x="527" y="1541"/>
                </a:lnTo>
                <a:lnTo>
                  <a:pt x="528" y="1539"/>
                </a:lnTo>
                <a:lnTo>
                  <a:pt x="530" y="1539"/>
                </a:lnTo>
                <a:lnTo>
                  <a:pt x="531" y="1538"/>
                </a:lnTo>
                <a:lnTo>
                  <a:pt x="531" y="1537"/>
                </a:lnTo>
                <a:lnTo>
                  <a:pt x="534" y="1537"/>
                </a:lnTo>
                <a:lnTo>
                  <a:pt x="538" y="1532"/>
                </a:lnTo>
                <a:lnTo>
                  <a:pt x="540" y="1532"/>
                </a:lnTo>
                <a:lnTo>
                  <a:pt x="540" y="1531"/>
                </a:lnTo>
                <a:lnTo>
                  <a:pt x="541" y="1529"/>
                </a:lnTo>
                <a:lnTo>
                  <a:pt x="542" y="1528"/>
                </a:lnTo>
                <a:lnTo>
                  <a:pt x="542" y="1526"/>
                </a:lnTo>
                <a:lnTo>
                  <a:pt x="541" y="1526"/>
                </a:lnTo>
                <a:lnTo>
                  <a:pt x="541" y="1525"/>
                </a:lnTo>
                <a:lnTo>
                  <a:pt x="542" y="1524"/>
                </a:lnTo>
                <a:lnTo>
                  <a:pt x="543" y="1525"/>
                </a:lnTo>
                <a:lnTo>
                  <a:pt x="546" y="1525"/>
                </a:lnTo>
                <a:lnTo>
                  <a:pt x="547" y="1524"/>
                </a:lnTo>
                <a:lnTo>
                  <a:pt x="547" y="1523"/>
                </a:lnTo>
                <a:lnTo>
                  <a:pt x="553" y="1523"/>
                </a:lnTo>
                <a:lnTo>
                  <a:pt x="552" y="1520"/>
                </a:lnTo>
                <a:lnTo>
                  <a:pt x="553" y="1516"/>
                </a:lnTo>
                <a:lnTo>
                  <a:pt x="553" y="1514"/>
                </a:lnTo>
                <a:lnTo>
                  <a:pt x="552" y="1513"/>
                </a:lnTo>
                <a:lnTo>
                  <a:pt x="549" y="1513"/>
                </a:lnTo>
                <a:lnTo>
                  <a:pt x="549" y="1511"/>
                </a:lnTo>
                <a:lnTo>
                  <a:pt x="547" y="1511"/>
                </a:lnTo>
                <a:lnTo>
                  <a:pt x="547" y="1512"/>
                </a:lnTo>
                <a:lnTo>
                  <a:pt x="546" y="1511"/>
                </a:lnTo>
                <a:lnTo>
                  <a:pt x="546" y="1510"/>
                </a:lnTo>
                <a:lnTo>
                  <a:pt x="544" y="1510"/>
                </a:lnTo>
                <a:lnTo>
                  <a:pt x="542" y="1508"/>
                </a:lnTo>
                <a:lnTo>
                  <a:pt x="540" y="1506"/>
                </a:lnTo>
                <a:lnTo>
                  <a:pt x="540" y="1505"/>
                </a:lnTo>
                <a:lnTo>
                  <a:pt x="538" y="1502"/>
                </a:lnTo>
                <a:lnTo>
                  <a:pt x="538" y="1501"/>
                </a:lnTo>
                <a:lnTo>
                  <a:pt x="540" y="1501"/>
                </a:lnTo>
                <a:lnTo>
                  <a:pt x="542" y="1499"/>
                </a:lnTo>
                <a:lnTo>
                  <a:pt x="543" y="1499"/>
                </a:lnTo>
                <a:lnTo>
                  <a:pt x="543" y="1498"/>
                </a:lnTo>
                <a:lnTo>
                  <a:pt x="541" y="1495"/>
                </a:lnTo>
                <a:lnTo>
                  <a:pt x="537" y="1495"/>
                </a:lnTo>
                <a:lnTo>
                  <a:pt x="536" y="1493"/>
                </a:lnTo>
                <a:lnTo>
                  <a:pt x="535" y="1492"/>
                </a:lnTo>
                <a:lnTo>
                  <a:pt x="529" y="1490"/>
                </a:lnTo>
                <a:lnTo>
                  <a:pt x="527" y="1489"/>
                </a:lnTo>
                <a:lnTo>
                  <a:pt x="525" y="1488"/>
                </a:lnTo>
                <a:lnTo>
                  <a:pt x="517" y="1490"/>
                </a:lnTo>
                <a:lnTo>
                  <a:pt x="513" y="1489"/>
                </a:lnTo>
                <a:lnTo>
                  <a:pt x="511" y="1489"/>
                </a:lnTo>
                <a:lnTo>
                  <a:pt x="512" y="1488"/>
                </a:lnTo>
                <a:lnTo>
                  <a:pt x="515" y="1483"/>
                </a:lnTo>
                <a:lnTo>
                  <a:pt x="515" y="1477"/>
                </a:lnTo>
                <a:lnTo>
                  <a:pt x="516" y="1477"/>
                </a:lnTo>
                <a:lnTo>
                  <a:pt x="516" y="1475"/>
                </a:lnTo>
                <a:lnTo>
                  <a:pt x="515" y="1471"/>
                </a:lnTo>
                <a:lnTo>
                  <a:pt x="512" y="1471"/>
                </a:lnTo>
                <a:lnTo>
                  <a:pt x="512" y="1469"/>
                </a:lnTo>
                <a:lnTo>
                  <a:pt x="511" y="1469"/>
                </a:lnTo>
                <a:lnTo>
                  <a:pt x="511" y="1468"/>
                </a:lnTo>
                <a:lnTo>
                  <a:pt x="507" y="1468"/>
                </a:lnTo>
                <a:lnTo>
                  <a:pt x="504" y="1465"/>
                </a:lnTo>
                <a:lnTo>
                  <a:pt x="503" y="1465"/>
                </a:lnTo>
                <a:lnTo>
                  <a:pt x="502" y="1464"/>
                </a:lnTo>
                <a:lnTo>
                  <a:pt x="500" y="1464"/>
                </a:lnTo>
                <a:lnTo>
                  <a:pt x="493" y="1458"/>
                </a:lnTo>
                <a:lnTo>
                  <a:pt x="493" y="1457"/>
                </a:lnTo>
                <a:lnTo>
                  <a:pt x="492" y="1456"/>
                </a:lnTo>
                <a:lnTo>
                  <a:pt x="492" y="1449"/>
                </a:lnTo>
                <a:lnTo>
                  <a:pt x="491" y="1449"/>
                </a:lnTo>
                <a:lnTo>
                  <a:pt x="491" y="1448"/>
                </a:lnTo>
                <a:lnTo>
                  <a:pt x="490" y="1444"/>
                </a:lnTo>
                <a:lnTo>
                  <a:pt x="488" y="1443"/>
                </a:lnTo>
                <a:lnTo>
                  <a:pt x="487" y="1443"/>
                </a:lnTo>
                <a:lnTo>
                  <a:pt x="487" y="1442"/>
                </a:lnTo>
                <a:lnTo>
                  <a:pt x="484" y="1440"/>
                </a:lnTo>
                <a:lnTo>
                  <a:pt x="482" y="1439"/>
                </a:lnTo>
                <a:lnTo>
                  <a:pt x="484" y="1437"/>
                </a:lnTo>
                <a:lnTo>
                  <a:pt x="486" y="1433"/>
                </a:lnTo>
                <a:lnTo>
                  <a:pt x="487" y="1430"/>
                </a:lnTo>
                <a:lnTo>
                  <a:pt x="485" y="1428"/>
                </a:lnTo>
                <a:lnTo>
                  <a:pt x="485" y="1426"/>
                </a:lnTo>
                <a:lnTo>
                  <a:pt x="480" y="1426"/>
                </a:lnTo>
                <a:lnTo>
                  <a:pt x="480" y="1425"/>
                </a:lnTo>
                <a:lnTo>
                  <a:pt x="479" y="1424"/>
                </a:lnTo>
                <a:lnTo>
                  <a:pt x="473" y="1419"/>
                </a:lnTo>
                <a:lnTo>
                  <a:pt x="471" y="1419"/>
                </a:lnTo>
                <a:lnTo>
                  <a:pt x="471" y="1418"/>
                </a:lnTo>
                <a:lnTo>
                  <a:pt x="469" y="1416"/>
                </a:lnTo>
                <a:lnTo>
                  <a:pt x="471" y="1415"/>
                </a:lnTo>
                <a:lnTo>
                  <a:pt x="471" y="1413"/>
                </a:lnTo>
                <a:lnTo>
                  <a:pt x="472" y="1413"/>
                </a:lnTo>
                <a:lnTo>
                  <a:pt x="473" y="1412"/>
                </a:lnTo>
                <a:lnTo>
                  <a:pt x="473" y="1409"/>
                </a:lnTo>
                <a:lnTo>
                  <a:pt x="472" y="1408"/>
                </a:lnTo>
                <a:lnTo>
                  <a:pt x="473" y="1407"/>
                </a:lnTo>
                <a:lnTo>
                  <a:pt x="475" y="1406"/>
                </a:lnTo>
                <a:lnTo>
                  <a:pt x="476" y="1406"/>
                </a:lnTo>
                <a:lnTo>
                  <a:pt x="478" y="1405"/>
                </a:lnTo>
                <a:lnTo>
                  <a:pt x="476" y="1403"/>
                </a:lnTo>
                <a:lnTo>
                  <a:pt x="476" y="1401"/>
                </a:lnTo>
                <a:lnTo>
                  <a:pt x="480" y="1401"/>
                </a:lnTo>
                <a:lnTo>
                  <a:pt x="480" y="1397"/>
                </a:lnTo>
                <a:lnTo>
                  <a:pt x="479" y="1396"/>
                </a:lnTo>
                <a:lnTo>
                  <a:pt x="479" y="1391"/>
                </a:lnTo>
                <a:lnTo>
                  <a:pt x="478" y="1391"/>
                </a:lnTo>
                <a:lnTo>
                  <a:pt x="478" y="1390"/>
                </a:lnTo>
                <a:lnTo>
                  <a:pt x="475" y="1388"/>
                </a:lnTo>
                <a:lnTo>
                  <a:pt x="474" y="1384"/>
                </a:lnTo>
                <a:lnTo>
                  <a:pt x="474" y="1383"/>
                </a:lnTo>
                <a:lnTo>
                  <a:pt x="473" y="1383"/>
                </a:lnTo>
                <a:lnTo>
                  <a:pt x="472" y="1382"/>
                </a:lnTo>
                <a:lnTo>
                  <a:pt x="472" y="1378"/>
                </a:lnTo>
                <a:lnTo>
                  <a:pt x="473" y="1376"/>
                </a:lnTo>
                <a:lnTo>
                  <a:pt x="476" y="1375"/>
                </a:lnTo>
                <a:lnTo>
                  <a:pt x="476" y="1372"/>
                </a:lnTo>
                <a:lnTo>
                  <a:pt x="475" y="1371"/>
                </a:lnTo>
                <a:lnTo>
                  <a:pt x="475" y="1367"/>
                </a:lnTo>
                <a:lnTo>
                  <a:pt x="476" y="1366"/>
                </a:lnTo>
                <a:lnTo>
                  <a:pt x="475" y="1365"/>
                </a:lnTo>
                <a:lnTo>
                  <a:pt x="476" y="1363"/>
                </a:lnTo>
                <a:lnTo>
                  <a:pt x="476" y="1359"/>
                </a:lnTo>
                <a:lnTo>
                  <a:pt x="475" y="1358"/>
                </a:lnTo>
                <a:lnTo>
                  <a:pt x="473" y="1357"/>
                </a:lnTo>
                <a:lnTo>
                  <a:pt x="472" y="1358"/>
                </a:lnTo>
                <a:lnTo>
                  <a:pt x="469" y="1358"/>
                </a:lnTo>
                <a:lnTo>
                  <a:pt x="468" y="1356"/>
                </a:lnTo>
                <a:lnTo>
                  <a:pt x="467" y="1354"/>
                </a:lnTo>
                <a:lnTo>
                  <a:pt x="467" y="1353"/>
                </a:lnTo>
                <a:lnTo>
                  <a:pt x="463" y="1353"/>
                </a:lnTo>
                <a:lnTo>
                  <a:pt x="462" y="1352"/>
                </a:lnTo>
                <a:lnTo>
                  <a:pt x="462" y="1348"/>
                </a:lnTo>
                <a:lnTo>
                  <a:pt x="457" y="1346"/>
                </a:lnTo>
                <a:lnTo>
                  <a:pt x="457" y="1344"/>
                </a:lnTo>
                <a:lnTo>
                  <a:pt x="449" y="1340"/>
                </a:lnTo>
                <a:lnTo>
                  <a:pt x="448" y="1340"/>
                </a:lnTo>
                <a:lnTo>
                  <a:pt x="447" y="1339"/>
                </a:lnTo>
                <a:lnTo>
                  <a:pt x="445" y="1339"/>
                </a:lnTo>
                <a:lnTo>
                  <a:pt x="443" y="1341"/>
                </a:lnTo>
                <a:lnTo>
                  <a:pt x="442" y="1341"/>
                </a:lnTo>
                <a:lnTo>
                  <a:pt x="437" y="1339"/>
                </a:lnTo>
                <a:lnTo>
                  <a:pt x="436" y="1339"/>
                </a:lnTo>
                <a:lnTo>
                  <a:pt x="434" y="1340"/>
                </a:lnTo>
                <a:lnTo>
                  <a:pt x="432" y="1340"/>
                </a:lnTo>
                <a:lnTo>
                  <a:pt x="430" y="1345"/>
                </a:lnTo>
                <a:lnTo>
                  <a:pt x="429" y="1346"/>
                </a:lnTo>
                <a:lnTo>
                  <a:pt x="425" y="1345"/>
                </a:lnTo>
                <a:lnTo>
                  <a:pt x="424" y="1345"/>
                </a:lnTo>
                <a:lnTo>
                  <a:pt x="420" y="1347"/>
                </a:lnTo>
                <a:lnTo>
                  <a:pt x="417" y="1352"/>
                </a:lnTo>
                <a:lnTo>
                  <a:pt x="416" y="1352"/>
                </a:lnTo>
                <a:lnTo>
                  <a:pt x="414" y="1351"/>
                </a:lnTo>
                <a:lnTo>
                  <a:pt x="413" y="1348"/>
                </a:lnTo>
                <a:lnTo>
                  <a:pt x="410" y="1345"/>
                </a:lnTo>
                <a:lnTo>
                  <a:pt x="410" y="1342"/>
                </a:lnTo>
                <a:lnTo>
                  <a:pt x="411" y="1340"/>
                </a:lnTo>
                <a:lnTo>
                  <a:pt x="411" y="1339"/>
                </a:lnTo>
                <a:lnTo>
                  <a:pt x="412" y="1338"/>
                </a:lnTo>
                <a:lnTo>
                  <a:pt x="412" y="1335"/>
                </a:lnTo>
                <a:lnTo>
                  <a:pt x="414" y="1335"/>
                </a:lnTo>
                <a:lnTo>
                  <a:pt x="414" y="1334"/>
                </a:lnTo>
                <a:lnTo>
                  <a:pt x="413" y="1334"/>
                </a:lnTo>
                <a:lnTo>
                  <a:pt x="413" y="1333"/>
                </a:lnTo>
                <a:lnTo>
                  <a:pt x="412" y="1332"/>
                </a:lnTo>
                <a:lnTo>
                  <a:pt x="411" y="1332"/>
                </a:lnTo>
                <a:lnTo>
                  <a:pt x="405" y="1329"/>
                </a:lnTo>
                <a:lnTo>
                  <a:pt x="404" y="1328"/>
                </a:lnTo>
                <a:lnTo>
                  <a:pt x="399" y="1326"/>
                </a:lnTo>
                <a:lnTo>
                  <a:pt x="397" y="1326"/>
                </a:lnTo>
                <a:lnTo>
                  <a:pt x="389" y="1329"/>
                </a:lnTo>
                <a:lnTo>
                  <a:pt x="388" y="1330"/>
                </a:lnTo>
                <a:lnTo>
                  <a:pt x="388" y="1333"/>
                </a:lnTo>
                <a:lnTo>
                  <a:pt x="387" y="1333"/>
                </a:lnTo>
                <a:lnTo>
                  <a:pt x="385" y="1332"/>
                </a:lnTo>
                <a:lnTo>
                  <a:pt x="382" y="1329"/>
                </a:lnTo>
                <a:lnTo>
                  <a:pt x="382" y="1326"/>
                </a:lnTo>
                <a:lnTo>
                  <a:pt x="380" y="1323"/>
                </a:lnTo>
                <a:lnTo>
                  <a:pt x="380" y="1322"/>
                </a:lnTo>
                <a:lnTo>
                  <a:pt x="379" y="1321"/>
                </a:lnTo>
                <a:lnTo>
                  <a:pt x="369" y="1321"/>
                </a:lnTo>
                <a:lnTo>
                  <a:pt x="369" y="1322"/>
                </a:lnTo>
                <a:lnTo>
                  <a:pt x="367" y="1324"/>
                </a:lnTo>
                <a:lnTo>
                  <a:pt x="366" y="1324"/>
                </a:lnTo>
                <a:lnTo>
                  <a:pt x="363" y="1322"/>
                </a:lnTo>
                <a:lnTo>
                  <a:pt x="361" y="1319"/>
                </a:lnTo>
                <a:lnTo>
                  <a:pt x="360" y="1317"/>
                </a:lnTo>
                <a:lnTo>
                  <a:pt x="361" y="1316"/>
                </a:lnTo>
                <a:lnTo>
                  <a:pt x="361" y="1310"/>
                </a:lnTo>
                <a:lnTo>
                  <a:pt x="362" y="1309"/>
                </a:lnTo>
                <a:lnTo>
                  <a:pt x="362" y="1307"/>
                </a:lnTo>
                <a:lnTo>
                  <a:pt x="361" y="1302"/>
                </a:lnTo>
                <a:lnTo>
                  <a:pt x="361" y="1299"/>
                </a:lnTo>
                <a:lnTo>
                  <a:pt x="360" y="1298"/>
                </a:lnTo>
                <a:lnTo>
                  <a:pt x="361" y="1296"/>
                </a:lnTo>
                <a:lnTo>
                  <a:pt x="360" y="1295"/>
                </a:lnTo>
                <a:lnTo>
                  <a:pt x="360" y="1293"/>
                </a:lnTo>
                <a:lnTo>
                  <a:pt x="357" y="1291"/>
                </a:lnTo>
                <a:lnTo>
                  <a:pt x="357" y="1289"/>
                </a:lnTo>
                <a:lnTo>
                  <a:pt x="358" y="1287"/>
                </a:lnTo>
                <a:lnTo>
                  <a:pt x="358" y="1286"/>
                </a:lnTo>
                <a:lnTo>
                  <a:pt x="357" y="1285"/>
                </a:lnTo>
                <a:lnTo>
                  <a:pt x="355" y="1284"/>
                </a:lnTo>
                <a:lnTo>
                  <a:pt x="354" y="1283"/>
                </a:lnTo>
                <a:lnTo>
                  <a:pt x="354" y="1281"/>
                </a:lnTo>
                <a:lnTo>
                  <a:pt x="353" y="1280"/>
                </a:lnTo>
                <a:lnTo>
                  <a:pt x="353" y="1276"/>
                </a:lnTo>
                <a:lnTo>
                  <a:pt x="348" y="1272"/>
                </a:lnTo>
                <a:lnTo>
                  <a:pt x="348" y="1270"/>
                </a:lnTo>
                <a:lnTo>
                  <a:pt x="349" y="1268"/>
                </a:lnTo>
                <a:lnTo>
                  <a:pt x="350" y="1266"/>
                </a:lnTo>
                <a:lnTo>
                  <a:pt x="350" y="1265"/>
                </a:lnTo>
                <a:lnTo>
                  <a:pt x="349" y="1265"/>
                </a:lnTo>
                <a:lnTo>
                  <a:pt x="347" y="1262"/>
                </a:lnTo>
                <a:lnTo>
                  <a:pt x="344" y="1261"/>
                </a:lnTo>
                <a:lnTo>
                  <a:pt x="343" y="1262"/>
                </a:lnTo>
                <a:lnTo>
                  <a:pt x="339" y="1264"/>
                </a:lnTo>
                <a:lnTo>
                  <a:pt x="337" y="1264"/>
                </a:lnTo>
                <a:lnTo>
                  <a:pt x="338" y="1261"/>
                </a:lnTo>
                <a:lnTo>
                  <a:pt x="342" y="1255"/>
                </a:lnTo>
                <a:lnTo>
                  <a:pt x="342" y="1250"/>
                </a:lnTo>
                <a:lnTo>
                  <a:pt x="343" y="1249"/>
                </a:lnTo>
                <a:lnTo>
                  <a:pt x="343" y="1246"/>
                </a:lnTo>
                <a:lnTo>
                  <a:pt x="342" y="1246"/>
                </a:lnTo>
                <a:lnTo>
                  <a:pt x="339" y="1243"/>
                </a:lnTo>
                <a:lnTo>
                  <a:pt x="341" y="1242"/>
                </a:lnTo>
                <a:lnTo>
                  <a:pt x="344" y="1240"/>
                </a:lnTo>
                <a:lnTo>
                  <a:pt x="347" y="1237"/>
                </a:lnTo>
                <a:lnTo>
                  <a:pt x="347" y="1228"/>
                </a:lnTo>
                <a:lnTo>
                  <a:pt x="345" y="1227"/>
                </a:lnTo>
                <a:lnTo>
                  <a:pt x="341" y="1224"/>
                </a:lnTo>
                <a:lnTo>
                  <a:pt x="338" y="1221"/>
                </a:lnTo>
                <a:lnTo>
                  <a:pt x="333" y="1219"/>
                </a:lnTo>
                <a:lnTo>
                  <a:pt x="332" y="1218"/>
                </a:lnTo>
                <a:lnTo>
                  <a:pt x="332" y="1217"/>
                </a:lnTo>
                <a:lnTo>
                  <a:pt x="333" y="1215"/>
                </a:lnTo>
                <a:lnTo>
                  <a:pt x="333" y="1210"/>
                </a:lnTo>
                <a:lnTo>
                  <a:pt x="325" y="1210"/>
                </a:lnTo>
                <a:lnTo>
                  <a:pt x="325" y="1205"/>
                </a:lnTo>
                <a:lnTo>
                  <a:pt x="327" y="1205"/>
                </a:lnTo>
                <a:lnTo>
                  <a:pt x="327" y="1198"/>
                </a:lnTo>
                <a:lnTo>
                  <a:pt x="329" y="1198"/>
                </a:lnTo>
                <a:lnTo>
                  <a:pt x="332" y="1197"/>
                </a:lnTo>
                <a:lnTo>
                  <a:pt x="332" y="1191"/>
                </a:lnTo>
                <a:lnTo>
                  <a:pt x="333" y="1190"/>
                </a:lnTo>
                <a:lnTo>
                  <a:pt x="335" y="1190"/>
                </a:lnTo>
                <a:lnTo>
                  <a:pt x="333" y="1188"/>
                </a:lnTo>
                <a:lnTo>
                  <a:pt x="335" y="1187"/>
                </a:lnTo>
                <a:lnTo>
                  <a:pt x="341" y="1187"/>
                </a:lnTo>
                <a:lnTo>
                  <a:pt x="343" y="1186"/>
                </a:lnTo>
                <a:lnTo>
                  <a:pt x="345" y="1184"/>
                </a:lnTo>
                <a:lnTo>
                  <a:pt x="344" y="1182"/>
                </a:lnTo>
                <a:lnTo>
                  <a:pt x="344" y="1181"/>
                </a:lnTo>
                <a:lnTo>
                  <a:pt x="339" y="1180"/>
                </a:lnTo>
                <a:lnTo>
                  <a:pt x="339" y="1174"/>
                </a:lnTo>
                <a:lnTo>
                  <a:pt x="338" y="1173"/>
                </a:lnTo>
                <a:lnTo>
                  <a:pt x="338" y="1166"/>
                </a:lnTo>
                <a:lnTo>
                  <a:pt x="336" y="1163"/>
                </a:lnTo>
                <a:lnTo>
                  <a:pt x="333" y="1160"/>
                </a:lnTo>
                <a:lnTo>
                  <a:pt x="333" y="1157"/>
                </a:lnTo>
                <a:lnTo>
                  <a:pt x="332" y="1155"/>
                </a:lnTo>
                <a:lnTo>
                  <a:pt x="331" y="1151"/>
                </a:lnTo>
                <a:lnTo>
                  <a:pt x="335" y="1141"/>
                </a:lnTo>
                <a:lnTo>
                  <a:pt x="332" y="1130"/>
                </a:lnTo>
                <a:lnTo>
                  <a:pt x="329" y="1115"/>
                </a:lnTo>
                <a:lnTo>
                  <a:pt x="329" y="1112"/>
                </a:lnTo>
                <a:lnTo>
                  <a:pt x="331" y="1102"/>
                </a:lnTo>
                <a:lnTo>
                  <a:pt x="337" y="1098"/>
                </a:lnTo>
                <a:lnTo>
                  <a:pt x="341" y="1094"/>
                </a:lnTo>
                <a:lnTo>
                  <a:pt x="341" y="1093"/>
                </a:lnTo>
                <a:lnTo>
                  <a:pt x="344" y="1086"/>
                </a:lnTo>
                <a:lnTo>
                  <a:pt x="347" y="1078"/>
                </a:lnTo>
                <a:lnTo>
                  <a:pt x="348" y="1072"/>
                </a:lnTo>
                <a:lnTo>
                  <a:pt x="349" y="1071"/>
                </a:lnTo>
                <a:lnTo>
                  <a:pt x="348" y="1069"/>
                </a:lnTo>
                <a:lnTo>
                  <a:pt x="349" y="1068"/>
                </a:lnTo>
                <a:lnTo>
                  <a:pt x="351" y="1066"/>
                </a:lnTo>
                <a:lnTo>
                  <a:pt x="356" y="1066"/>
                </a:lnTo>
                <a:lnTo>
                  <a:pt x="357" y="1065"/>
                </a:lnTo>
                <a:lnTo>
                  <a:pt x="356" y="1065"/>
                </a:lnTo>
                <a:lnTo>
                  <a:pt x="354" y="1064"/>
                </a:lnTo>
                <a:lnTo>
                  <a:pt x="358" y="1064"/>
                </a:lnTo>
                <a:lnTo>
                  <a:pt x="360" y="1062"/>
                </a:lnTo>
                <a:lnTo>
                  <a:pt x="361" y="1063"/>
                </a:lnTo>
                <a:lnTo>
                  <a:pt x="361" y="1061"/>
                </a:lnTo>
                <a:lnTo>
                  <a:pt x="358" y="1058"/>
                </a:lnTo>
                <a:lnTo>
                  <a:pt x="357" y="1056"/>
                </a:lnTo>
                <a:lnTo>
                  <a:pt x="357" y="1055"/>
                </a:lnTo>
                <a:lnTo>
                  <a:pt x="355" y="1053"/>
                </a:lnTo>
                <a:lnTo>
                  <a:pt x="354" y="1052"/>
                </a:lnTo>
                <a:lnTo>
                  <a:pt x="356" y="1049"/>
                </a:lnTo>
                <a:lnTo>
                  <a:pt x="356" y="1044"/>
                </a:lnTo>
                <a:lnTo>
                  <a:pt x="355" y="1040"/>
                </a:lnTo>
                <a:lnTo>
                  <a:pt x="354" y="1038"/>
                </a:lnTo>
                <a:lnTo>
                  <a:pt x="354" y="1035"/>
                </a:lnTo>
                <a:lnTo>
                  <a:pt x="353" y="1034"/>
                </a:lnTo>
                <a:lnTo>
                  <a:pt x="353" y="1033"/>
                </a:lnTo>
                <a:lnTo>
                  <a:pt x="354" y="1031"/>
                </a:lnTo>
                <a:lnTo>
                  <a:pt x="354" y="1029"/>
                </a:lnTo>
                <a:lnTo>
                  <a:pt x="357" y="1026"/>
                </a:lnTo>
                <a:lnTo>
                  <a:pt x="358" y="1026"/>
                </a:lnTo>
                <a:lnTo>
                  <a:pt x="360" y="1028"/>
                </a:lnTo>
                <a:lnTo>
                  <a:pt x="362" y="1031"/>
                </a:lnTo>
                <a:lnTo>
                  <a:pt x="362" y="1033"/>
                </a:lnTo>
                <a:lnTo>
                  <a:pt x="363" y="1034"/>
                </a:lnTo>
                <a:lnTo>
                  <a:pt x="368" y="1037"/>
                </a:lnTo>
                <a:lnTo>
                  <a:pt x="369" y="1037"/>
                </a:lnTo>
                <a:lnTo>
                  <a:pt x="370" y="1035"/>
                </a:lnTo>
                <a:lnTo>
                  <a:pt x="370" y="1033"/>
                </a:lnTo>
                <a:lnTo>
                  <a:pt x="372" y="1031"/>
                </a:lnTo>
                <a:lnTo>
                  <a:pt x="370" y="1027"/>
                </a:lnTo>
                <a:lnTo>
                  <a:pt x="373" y="1022"/>
                </a:lnTo>
                <a:lnTo>
                  <a:pt x="373" y="1021"/>
                </a:lnTo>
                <a:lnTo>
                  <a:pt x="374" y="1021"/>
                </a:lnTo>
                <a:lnTo>
                  <a:pt x="375" y="1020"/>
                </a:lnTo>
                <a:lnTo>
                  <a:pt x="378" y="1022"/>
                </a:lnTo>
                <a:lnTo>
                  <a:pt x="380" y="1023"/>
                </a:lnTo>
                <a:lnTo>
                  <a:pt x="381" y="1023"/>
                </a:lnTo>
                <a:lnTo>
                  <a:pt x="381" y="1025"/>
                </a:lnTo>
                <a:lnTo>
                  <a:pt x="382" y="1025"/>
                </a:lnTo>
                <a:lnTo>
                  <a:pt x="382" y="1026"/>
                </a:lnTo>
                <a:lnTo>
                  <a:pt x="384" y="1027"/>
                </a:lnTo>
                <a:lnTo>
                  <a:pt x="385" y="1027"/>
                </a:lnTo>
                <a:lnTo>
                  <a:pt x="386" y="1026"/>
                </a:lnTo>
                <a:lnTo>
                  <a:pt x="387" y="1027"/>
                </a:lnTo>
                <a:lnTo>
                  <a:pt x="389" y="1027"/>
                </a:lnTo>
                <a:lnTo>
                  <a:pt x="391" y="1025"/>
                </a:lnTo>
                <a:lnTo>
                  <a:pt x="393" y="1025"/>
                </a:lnTo>
                <a:lnTo>
                  <a:pt x="394" y="1023"/>
                </a:lnTo>
                <a:lnTo>
                  <a:pt x="397" y="1019"/>
                </a:lnTo>
                <a:lnTo>
                  <a:pt x="397" y="1018"/>
                </a:lnTo>
                <a:lnTo>
                  <a:pt x="394" y="1015"/>
                </a:lnTo>
                <a:lnTo>
                  <a:pt x="397" y="1015"/>
                </a:lnTo>
                <a:lnTo>
                  <a:pt x="397" y="1014"/>
                </a:lnTo>
                <a:lnTo>
                  <a:pt x="399" y="1010"/>
                </a:lnTo>
                <a:lnTo>
                  <a:pt x="400" y="1009"/>
                </a:lnTo>
                <a:lnTo>
                  <a:pt x="406" y="1009"/>
                </a:lnTo>
                <a:lnTo>
                  <a:pt x="417" y="1012"/>
                </a:lnTo>
                <a:lnTo>
                  <a:pt x="430" y="1014"/>
                </a:lnTo>
                <a:lnTo>
                  <a:pt x="432" y="1016"/>
                </a:lnTo>
                <a:lnTo>
                  <a:pt x="443" y="1020"/>
                </a:lnTo>
                <a:lnTo>
                  <a:pt x="444" y="1020"/>
                </a:lnTo>
                <a:lnTo>
                  <a:pt x="445" y="1019"/>
                </a:lnTo>
                <a:lnTo>
                  <a:pt x="447" y="1016"/>
                </a:lnTo>
                <a:lnTo>
                  <a:pt x="447" y="1013"/>
                </a:lnTo>
                <a:lnTo>
                  <a:pt x="448" y="1012"/>
                </a:lnTo>
                <a:lnTo>
                  <a:pt x="448" y="1009"/>
                </a:lnTo>
                <a:lnTo>
                  <a:pt x="447" y="1009"/>
                </a:lnTo>
                <a:lnTo>
                  <a:pt x="437" y="1008"/>
                </a:lnTo>
                <a:lnTo>
                  <a:pt x="436" y="1007"/>
                </a:lnTo>
                <a:lnTo>
                  <a:pt x="435" y="1003"/>
                </a:lnTo>
                <a:lnTo>
                  <a:pt x="434" y="1002"/>
                </a:lnTo>
                <a:lnTo>
                  <a:pt x="434" y="997"/>
                </a:lnTo>
                <a:lnTo>
                  <a:pt x="431" y="995"/>
                </a:lnTo>
                <a:lnTo>
                  <a:pt x="425" y="992"/>
                </a:lnTo>
                <a:lnTo>
                  <a:pt x="418" y="991"/>
                </a:lnTo>
                <a:lnTo>
                  <a:pt x="414" y="994"/>
                </a:lnTo>
                <a:lnTo>
                  <a:pt x="413" y="995"/>
                </a:lnTo>
                <a:lnTo>
                  <a:pt x="406" y="994"/>
                </a:lnTo>
                <a:lnTo>
                  <a:pt x="398" y="994"/>
                </a:lnTo>
                <a:lnTo>
                  <a:pt x="397" y="992"/>
                </a:lnTo>
                <a:lnTo>
                  <a:pt x="395" y="990"/>
                </a:lnTo>
                <a:lnTo>
                  <a:pt x="393" y="986"/>
                </a:lnTo>
                <a:lnTo>
                  <a:pt x="391" y="984"/>
                </a:lnTo>
                <a:lnTo>
                  <a:pt x="389" y="984"/>
                </a:lnTo>
                <a:lnTo>
                  <a:pt x="389" y="982"/>
                </a:lnTo>
                <a:lnTo>
                  <a:pt x="388" y="979"/>
                </a:lnTo>
                <a:lnTo>
                  <a:pt x="388" y="978"/>
                </a:lnTo>
                <a:lnTo>
                  <a:pt x="387" y="978"/>
                </a:lnTo>
                <a:lnTo>
                  <a:pt x="387" y="979"/>
                </a:lnTo>
                <a:lnTo>
                  <a:pt x="384" y="979"/>
                </a:lnTo>
                <a:lnTo>
                  <a:pt x="382" y="978"/>
                </a:lnTo>
                <a:lnTo>
                  <a:pt x="380" y="977"/>
                </a:lnTo>
                <a:lnTo>
                  <a:pt x="379" y="977"/>
                </a:lnTo>
                <a:lnTo>
                  <a:pt x="379" y="976"/>
                </a:lnTo>
                <a:lnTo>
                  <a:pt x="375" y="967"/>
                </a:lnTo>
                <a:lnTo>
                  <a:pt x="373" y="963"/>
                </a:lnTo>
                <a:lnTo>
                  <a:pt x="372" y="961"/>
                </a:lnTo>
                <a:lnTo>
                  <a:pt x="373" y="960"/>
                </a:lnTo>
                <a:lnTo>
                  <a:pt x="374" y="960"/>
                </a:lnTo>
                <a:lnTo>
                  <a:pt x="375" y="961"/>
                </a:lnTo>
                <a:lnTo>
                  <a:pt x="375" y="965"/>
                </a:lnTo>
                <a:lnTo>
                  <a:pt x="376" y="965"/>
                </a:lnTo>
                <a:lnTo>
                  <a:pt x="381" y="970"/>
                </a:lnTo>
                <a:lnTo>
                  <a:pt x="384" y="970"/>
                </a:lnTo>
                <a:lnTo>
                  <a:pt x="384" y="969"/>
                </a:lnTo>
                <a:lnTo>
                  <a:pt x="382" y="966"/>
                </a:lnTo>
                <a:lnTo>
                  <a:pt x="382" y="965"/>
                </a:lnTo>
                <a:lnTo>
                  <a:pt x="381" y="964"/>
                </a:lnTo>
                <a:lnTo>
                  <a:pt x="381" y="957"/>
                </a:lnTo>
                <a:lnTo>
                  <a:pt x="382" y="957"/>
                </a:lnTo>
                <a:lnTo>
                  <a:pt x="382" y="955"/>
                </a:lnTo>
                <a:lnTo>
                  <a:pt x="381" y="953"/>
                </a:lnTo>
                <a:lnTo>
                  <a:pt x="380" y="952"/>
                </a:lnTo>
                <a:lnTo>
                  <a:pt x="381" y="951"/>
                </a:lnTo>
                <a:lnTo>
                  <a:pt x="382" y="951"/>
                </a:lnTo>
                <a:lnTo>
                  <a:pt x="382" y="952"/>
                </a:lnTo>
                <a:lnTo>
                  <a:pt x="384" y="952"/>
                </a:lnTo>
                <a:lnTo>
                  <a:pt x="385" y="949"/>
                </a:lnTo>
                <a:lnTo>
                  <a:pt x="384" y="947"/>
                </a:lnTo>
                <a:lnTo>
                  <a:pt x="382" y="946"/>
                </a:lnTo>
                <a:lnTo>
                  <a:pt x="378" y="951"/>
                </a:lnTo>
                <a:lnTo>
                  <a:pt x="375" y="951"/>
                </a:lnTo>
                <a:lnTo>
                  <a:pt x="374" y="952"/>
                </a:lnTo>
                <a:lnTo>
                  <a:pt x="370" y="952"/>
                </a:lnTo>
                <a:lnTo>
                  <a:pt x="369" y="954"/>
                </a:lnTo>
                <a:lnTo>
                  <a:pt x="369" y="955"/>
                </a:lnTo>
                <a:lnTo>
                  <a:pt x="367" y="955"/>
                </a:lnTo>
                <a:lnTo>
                  <a:pt x="367" y="957"/>
                </a:lnTo>
                <a:lnTo>
                  <a:pt x="368" y="957"/>
                </a:lnTo>
                <a:lnTo>
                  <a:pt x="368" y="958"/>
                </a:lnTo>
                <a:lnTo>
                  <a:pt x="366" y="958"/>
                </a:lnTo>
                <a:lnTo>
                  <a:pt x="366" y="959"/>
                </a:lnTo>
                <a:lnTo>
                  <a:pt x="364" y="959"/>
                </a:lnTo>
                <a:lnTo>
                  <a:pt x="363" y="961"/>
                </a:lnTo>
                <a:lnTo>
                  <a:pt x="362" y="963"/>
                </a:lnTo>
                <a:lnTo>
                  <a:pt x="361" y="963"/>
                </a:lnTo>
                <a:lnTo>
                  <a:pt x="361" y="961"/>
                </a:lnTo>
                <a:lnTo>
                  <a:pt x="360" y="961"/>
                </a:lnTo>
                <a:lnTo>
                  <a:pt x="360" y="964"/>
                </a:lnTo>
                <a:lnTo>
                  <a:pt x="358" y="964"/>
                </a:lnTo>
                <a:lnTo>
                  <a:pt x="357" y="963"/>
                </a:lnTo>
                <a:lnTo>
                  <a:pt x="356" y="963"/>
                </a:lnTo>
                <a:lnTo>
                  <a:pt x="355" y="964"/>
                </a:lnTo>
                <a:lnTo>
                  <a:pt x="349" y="964"/>
                </a:lnTo>
                <a:lnTo>
                  <a:pt x="348" y="963"/>
                </a:lnTo>
                <a:lnTo>
                  <a:pt x="348" y="960"/>
                </a:lnTo>
                <a:lnTo>
                  <a:pt x="347" y="961"/>
                </a:lnTo>
                <a:lnTo>
                  <a:pt x="347" y="963"/>
                </a:lnTo>
                <a:lnTo>
                  <a:pt x="345" y="964"/>
                </a:lnTo>
                <a:lnTo>
                  <a:pt x="344" y="964"/>
                </a:lnTo>
                <a:lnTo>
                  <a:pt x="345" y="963"/>
                </a:lnTo>
                <a:lnTo>
                  <a:pt x="345" y="961"/>
                </a:lnTo>
                <a:lnTo>
                  <a:pt x="349" y="958"/>
                </a:lnTo>
                <a:lnTo>
                  <a:pt x="353" y="953"/>
                </a:lnTo>
                <a:lnTo>
                  <a:pt x="354" y="952"/>
                </a:lnTo>
                <a:lnTo>
                  <a:pt x="360" y="945"/>
                </a:lnTo>
                <a:lnTo>
                  <a:pt x="363" y="941"/>
                </a:lnTo>
                <a:lnTo>
                  <a:pt x="368" y="935"/>
                </a:lnTo>
                <a:lnTo>
                  <a:pt x="375" y="928"/>
                </a:lnTo>
                <a:lnTo>
                  <a:pt x="379" y="927"/>
                </a:lnTo>
                <a:lnTo>
                  <a:pt x="381" y="924"/>
                </a:lnTo>
                <a:lnTo>
                  <a:pt x="381" y="922"/>
                </a:lnTo>
                <a:lnTo>
                  <a:pt x="382" y="921"/>
                </a:lnTo>
                <a:lnTo>
                  <a:pt x="385" y="917"/>
                </a:lnTo>
                <a:lnTo>
                  <a:pt x="387" y="915"/>
                </a:lnTo>
                <a:lnTo>
                  <a:pt x="389" y="914"/>
                </a:lnTo>
                <a:lnTo>
                  <a:pt x="392" y="910"/>
                </a:lnTo>
                <a:lnTo>
                  <a:pt x="394" y="909"/>
                </a:lnTo>
                <a:lnTo>
                  <a:pt x="401" y="904"/>
                </a:lnTo>
                <a:lnTo>
                  <a:pt x="404" y="902"/>
                </a:lnTo>
                <a:lnTo>
                  <a:pt x="406" y="898"/>
                </a:lnTo>
                <a:lnTo>
                  <a:pt x="407" y="897"/>
                </a:lnTo>
                <a:lnTo>
                  <a:pt x="407" y="896"/>
                </a:lnTo>
                <a:lnTo>
                  <a:pt x="409" y="893"/>
                </a:lnTo>
                <a:lnTo>
                  <a:pt x="414" y="887"/>
                </a:lnTo>
                <a:lnTo>
                  <a:pt x="417" y="883"/>
                </a:lnTo>
                <a:lnTo>
                  <a:pt x="417" y="881"/>
                </a:lnTo>
                <a:lnTo>
                  <a:pt x="418" y="880"/>
                </a:lnTo>
                <a:lnTo>
                  <a:pt x="423" y="878"/>
                </a:lnTo>
                <a:lnTo>
                  <a:pt x="429" y="871"/>
                </a:lnTo>
                <a:lnTo>
                  <a:pt x="429" y="869"/>
                </a:lnTo>
                <a:lnTo>
                  <a:pt x="430" y="866"/>
                </a:lnTo>
                <a:lnTo>
                  <a:pt x="437" y="859"/>
                </a:lnTo>
                <a:lnTo>
                  <a:pt x="444" y="848"/>
                </a:lnTo>
                <a:lnTo>
                  <a:pt x="451" y="835"/>
                </a:lnTo>
                <a:lnTo>
                  <a:pt x="457" y="829"/>
                </a:lnTo>
                <a:lnTo>
                  <a:pt x="463" y="820"/>
                </a:lnTo>
                <a:lnTo>
                  <a:pt x="465" y="818"/>
                </a:lnTo>
                <a:lnTo>
                  <a:pt x="465" y="817"/>
                </a:lnTo>
                <a:lnTo>
                  <a:pt x="466" y="817"/>
                </a:lnTo>
                <a:lnTo>
                  <a:pt x="467" y="816"/>
                </a:lnTo>
                <a:lnTo>
                  <a:pt x="476" y="809"/>
                </a:lnTo>
                <a:lnTo>
                  <a:pt x="476" y="807"/>
                </a:lnTo>
                <a:lnTo>
                  <a:pt x="478" y="806"/>
                </a:lnTo>
                <a:lnTo>
                  <a:pt x="479" y="804"/>
                </a:lnTo>
                <a:lnTo>
                  <a:pt x="479" y="803"/>
                </a:lnTo>
                <a:lnTo>
                  <a:pt x="485" y="795"/>
                </a:lnTo>
                <a:lnTo>
                  <a:pt x="486" y="793"/>
                </a:lnTo>
                <a:lnTo>
                  <a:pt x="486" y="792"/>
                </a:lnTo>
                <a:lnTo>
                  <a:pt x="487" y="792"/>
                </a:lnTo>
                <a:lnTo>
                  <a:pt x="490" y="791"/>
                </a:lnTo>
                <a:lnTo>
                  <a:pt x="490" y="789"/>
                </a:lnTo>
                <a:lnTo>
                  <a:pt x="491" y="787"/>
                </a:lnTo>
                <a:lnTo>
                  <a:pt x="492" y="782"/>
                </a:lnTo>
                <a:lnTo>
                  <a:pt x="493" y="781"/>
                </a:lnTo>
                <a:lnTo>
                  <a:pt x="494" y="777"/>
                </a:lnTo>
                <a:lnTo>
                  <a:pt x="496" y="775"/>
                </a:lnTo>
                <a:lnTo>
                  <a:pt x="497" y="767"/>
                </a:lnTo>
                <a:lnTo>
                  <a:pt x="498" y="763"/>
                </a:lnTo>
                <a:lnTo>
                  <a:pt x="500" y="760"/>
                </a:lnTo>
                <a:lnTo>
                  <a:pt x="504" y="752"/>
                </a:lnTo>
                <a:lnTo>
                  <a:pt x="503" y="751"/>
                </a:lnTo>
                <a:lnTo>
                  <a:pt x="502" y="749"/>
                </a:lnTo>
                <a:lnTo>
                  <a:pt x="502" y="746"/>
                </a:lnTo>
                <a:lnTo>
                  <a:pt x="500" y="744"/>
                </a:lnTo>
                <a:lnTo>
                  <a:pt x="499" y="744"/>
                </a:lnTo>
                <a:lnTo>
                  <a:pt x="499" y="743"/>
                </a:lnTo>
                <a:lnTo>
                  <a:pt x="496" y="739"/>
                </a:lnTo>
                <a:lnTo>
                  <a:pt x="494" y="737"/>
                </a:lnTo>
                <a:lnTo>
                  <a:pt x="492" y="736"/>
                </a:lnTo>
                <a:lnTo>
                  <a:pt x="491" y="733"/>
                </a:lnTo>
                <a:lnTo>
                  <a:pt x="491" y="732"/>
                </a:lnTo>
                <a:lnTo>
                  <a:pt x="490" y="731"/>
                </a:lnTo>
                <a:lnTo>
                  <a:pt x="490" y="725"/>
                </a:lnTo>
                <a:lnTo>
                  <a:pt x="487" y="723"/>
                </a:lnTo>
                <a:lnTo>
                  <a:pt x="479" y="717"/>
                </a:lnTo>
                <a:lnTo>
                  <a:pt x="472" y="708"/>
                </a:lnTo>
                <a:lnTo>
                  <a:pt x="459" y="700"/>
                </a:lnTo>
                <a:lnTo>
                  <a:pt x="456" y="697"/>
                </a:lnTo>
                <a:lnTo>
                  <a:pt x="454" y="693"/>
                </a:lnTo>
                <a:lnTo>
                  <a:pt x="448" y="689"/>
                </a:lnTo>
                <a:lnTo>
                  <a:pt x="437" y="676"/>
                </a:lnTo>
                <a:lnTo>
                  <a:pt x="437" y="672"/>
                </a:lnTo>
                <a:lnTo>
                  <a:pt x="440" y="671"/>
                </a:lnTo>
                <a:lnTo>
                  <a:pt x="447" y="669"/>
                </a:lnTo>
                <a:lnTo>
                  <a:pt x="449" y="665"/>
                </a:lnTo>
                <a:lnTo>
                  <a:pt x="451" y="658"/>
                </a:lnTo>
                <a:lnTo>
                  <a:pt x="459" y="650"/>
                </a:lnTo>
                <a:lnTo>
                  <a:pt x="461" y="646"/>
                </a:lnTo>
                <a:lnTo>
                  <a:pt x="462" y="644"/>
                </a:lnTo>
                <a:lnTo>
                  <a:pt x="462" y="640"/>
                </a:lnTo>
                <a:lnTo>
                  <a:pt x="461" y="637"/>
                </a:lnTo>
                <a:lnTo>
                  <a:pt x="461" y="634"/>
                </a:lnTo>
                <a:lnTo>
                  <a:pt x="460" y="633"/>
                </a:lnTo>
                <a:lnTo>
                  <a:pt x="460" y="632"/>
                </a:lnTo>
                <a:lnTo>
                  <a:pt x="461" y="629"/>
                </a:lnTo>
                <a:lnTo>
                  <a:pt x="461" y="627"/>
                </a:lnTo>
                <a:lnTo>
                  <a:pt x="459" y="625"/>
                </a:lnTo>
                <a:lnTo>
                  <a:pt x="456" y="625"/>
                </a:lnTo>
                <a:lnTo>
                  <a:pt x="455" y="623"/>
                </a:lnTo>
                <a:lnTo>
                  <a:pt x="455" y="621"/>
                </a:lnTo>
                <a:lnTo>
                  <a:pt x="451" y="617"/>
                </a:lnTo>
                <a:lnTo>
                  <a:pt x="444" y="615"/>
                </a:lnTo>
                <a:lnTo>
                  <a:pt x="442" y="614"/>
                </a:lnTo>
                <a:lnTo>
                  <a:pt x="440" y="611"/>
                </a:lnTo>
                <a:lnTo>
                  <a:pt x="440" y="608"/>
                </a:lnTo>
                <a:lnTo>
                  <a:pt x="441" y="605"/>
                </a:lnTo>
                <a:lnTo>
                  <a:pt x="441" y="603"/>
                </a:lnTo>
                <a:lnTo>
                  <a:pt x="440" y="601"/>
                </a:lnTo>
                <a:lnTo>
                  <a:pt x="437" y="599"/>
                </a:lnTo>
                <a:lnTo>
                  <a:pt x="437" y="596"/>
                </a:lnTo>
                <a:lnTo>
                  <a:pt x="436" y="596"/>
                </a:lnTo>
                <a:lnTo>
                  <a:pt x="436" y="592"/>
                </a:lnTo>
                <a:lnTo>
                  <a:pt x="443" y="589"/>
                </a:lnTo>
                <a:lnTo>
                  <a:pt x="445" y="586"/>
                </a:lnTo>
                <a:lnTo>
                  <a:pt x="445" y="584"/>
                </a:lnTo>
                <a:lnTo>
                  <a:pt x="444" y="582"/>
                </a:lnTo>
                <a:lnTo>
                  <a:pt x="443" y="580"/>
                </a:lnTo>
                <a:lnTo>
                  <a:pt x="443" y="579"/>
                </a:lnTo>
                <a:lnTo>
                  <a:pt x="442" y="578"/>
                </a:lnTo>
                <a:lnTo>
                  <a:pt x="442" y="576"/>
                </a:lnTo>
                <a:lnTo>
                  <a:pt x="443" y="574"/>
                </a:lnTo>
                <a:lnTo>
                  <a:pt x="443" y="573"/>
                </a:lnTo>
                <a:lnTo>
                  <a:pt x="442" y="573"/>
                </a:lnTo>
                <a:lnTo>
                  <a:pt x="441" y="572"/>
                </a:lnTo>
                <a:lnTo>
                  <a:pt x="432" y="572"/>
                </a:lnTo>
                <a:lnTo>
                  <a:pt x="429" y="571"/>
                </a:lnTo>
                <a:lnTo>
                  <a:pt x="425" y="566"/>
                </a:lnTo>
                <a:lnTo>
                  <a:pt x="422" y="560"/>
                </a:lnTo>
                <a:lnTo>
                  <a:pt x="420" y="552"/>
                </a:lnTo>
                <a:lnTo>
                  <a:pt x="420" y="547"/>
                </a:lnTo>
                <a:lnTo>
                  <a:pt x="422" y="545"/>
                </a:lnTo>
                <a:lnTo>
                  <a:pt x="424" y="542"/>
                </a:lnTo>
                <a:lnTo>
                  <a:pt x="430" y="541"/>
                </a:lnTo>
                <a:lnTo>
                  <a:pt x="431" y="540"/>
                </a:lnTo>
                <a:lnTo>
                  <a:pt x="431" y="537"/>
                </a:lnTo>
                <a:lnTo>
                  <a:pt x="430" y="537"/>
                </a:lnTo>
                <a:lnTo>
                  <a:pt x="430" y="535"/>
                </a:lnTo>
                <a:lnTo>
                  <a:pt x="431" y="534"/>
                </a:lnTo>
                <a:lnTo>
                  <a:pt x="431" y="530"/>
                </a:lnTo>
                <a:lnTo>
                  <a:pt x="428" y="529"/>
                </a:lnTo>
                <a:lnTo>
                  <a:pt x="422" y="529"/>
                </a:lnTo>
                <a:lnTo>
                  <a:pt x="420" y="527"/>
                </a:lnTo>
                <a:lnTo>
                  <a:pt x="422" y="523"/>
                </a:lnTo>
                <a:lnTo>
                  <a:pt x="426" y="517"/>
                </a:lnTo>
                <a:lnTo>
                  <a:pt x="426" y="514"/>
                </a:lnTo>
                <a:lnTo>
                  <a:pt x="425" y="505"/>
                </a:lnTo>
                <a:lnTo>
                  <a:pt x="426" y="500"/>
                </a:lnTo>
                <a:lnTo>
                  <a:pt x="426" y="499"/>
                </a:lnTo>
                <a:lnTo>
                  <a:pt x="430" y="494"/>
                </a:lnTo>
                <a:lnTo>
                  <a:pt x="431" y="493"/>
                </a:lnTo>
                <a:lnTo>
                  <a:pt x="430" y="491"/>
                </a:lnTo>
                <a:lnTo>
                  <a:pt x="426" y="488"/>
                </a:lnTo>
                <a:lnTo>
                  <a:pt x="425" y="487"/>
                </a:lnTo>
                <a:lnTo>
                  <a:pt x="428" y="485"/>
                </a:lnTo>
                <a:lnTo>
                  <a:pt x="438" y="481"/>
                </a:lnTo>
                <a:lnTo>
                  <a:pt x="441" y="484"/>
                </a:lnTo>
                <a:lnTo>
                  <a:pt x="442" y="484"/>
                </a:lnTo>
                <a:lnTo>
                  <a:pt x="443" y="481"/>
                </a:lnTo>
                <a:lnTo>
                  <a:pt x="442" y="479"/>
                </a:lnTo>
                <a:lnTo>
                  <a:pt x="441" y="469"/>
                </a:lnTo>
                <a:lnTo>
                  <a:pt x="441" y="467"/>
                </a:lnTo>
                <a:lnTo>
                  <a:pt x="438" y="457"/>
                </a:lnTo>
                <a:lnTo>
                  <a:pt x="437" y="456"/>
                </a:lnTo>
                <a:lnTo>
                  <a:pt x="436" y="451"/>
                </a:lnTo>
                <a:lnTo>
                  <a:pt x="436" y="449"/>
                </a:lnTo>
                <a:lnTo>
                  <a:pt x="435" y="442"/>
                </a:lnTo>
                <a:lnTo>
                  <a:pt x="434" y="437"/>
                </a:lnTo>
                <a:lnTo>
                  <a:pt x="432" y="435"/>
                </a:lnTo>
                <a:lnTo>
                  <a:pt x="429" y="430"/>
                </a:lnTo>
                <a:lnTo>
                  <a:pt x="423" y="418"/>
                </a:lnTo>
                <a:lnTo>
                  <a:pt x="420" y="412"/>
                </a:lnTo>
                <a:lnTo>
                  <a:pt x="419" y="410"/>
                </a:lnTo>
                <a:lnTo>
                  <a:pt x="419" y="405"/>
                </a:lnTo>
                <a:lnTo>
                  <a:pt x="418" y="404"/>
                </a:lnTo>
                <a:lnTo>
                  <a:pt x="418" y="398"/>
                </a:lnTo>
                <a:lnTo>
                  <a:pt x="413" y="389"/>
                </a:lnTo>
                <a:lnTo>
                  <a:pt x="412" y="388"/>
                </a:lnTo>
                <a:lnTo>
                  <a:pt x="412" y="385"/>
                </a:lnTo>
                <a:lnTo>
                  <a:pt x="411" y="383"/>
                </a:lnTo>
                <a:lnTo>
                  <a:pt x="409" y="377"/>
                </a:lnTo>
                <a:lnTo>
                  <a:pt x="399" y="361"/>
                </a:lnTo>
                <a:lnTo>
                  <a:pt x="398" y="352"/>
                </a:lnTo>
                <a:lnTo>
                  <a:pt x="400" y="344"/>
                </a:lnTo>
                <a:lnTo>
                  <a:pt x="413" y="318"/>
                </a:lnTo>
                <a:lnTo>
                  <a:pt x="416" y="315"/>
                </a:lnTo>
                <a:lnTo>
                  <a:pt x="416" y="314"/>
                </a:lnTo>
                <a:lnTo>
                  <a:pt x="417" y="313"/>
                </a:lnTo>
                <a:lnTo>
                  <a:pt x="417" y="310"/>
                </a:lnTo>
                <a:lnTo>
                  <a:pt x="434" y="287"/>
                </a:lnTo>
                <a:lnTo>
                  <a:pt x="435" y="285"/>
                </a:lnTo>
                <a:lnTo>
                  <a:pt x="436" y="281"/>
                </a:lnTo>
                <a:lnTo>
                  <a:pt x="436" y="271"/>
                </a:lnTo>
                <a:lnTo>
                  <a:pt x="437" y="270"/>
                </a:lnTo>
                <a:lnTo>
                  <a:pt x="437" y="269"/>
                </a:lnTo>
                <a:lnTo>
                  <a:pt x="438" y="267"/>
                </a:lnTo>
                <a:lnTo>
                  <a:pt x="425" y="256"/>
                </a:lnTo>
                <a:lnTo>
                  <a:pt x="423" y="252"/>
                </a:lnTo>
                <a:lnTo>
                  <a:pt x="416" y="236"/>
                </a:lnTo>
                <a:lnTo>
                  <a:pt x="414" y="233"/>
                </a:lnTo>
                <a:lnTo>
                  <a:pt x="411" y="226"/>
                </a:lnTo>
                <a:lnTo>
                  <a:pt x="409" y="223"/>
                </a:lnTo>
                <a:lnTo>
                  <a:pt x="395" y="217"/>
                </a:lnTo>
                <a:lnTo>
                  <a:pt x="384" y="213"/>
                </a:lnTo>
                <a:lnTo>
                  <a:pt x="382" y="211"/>
                </a:lnTo>
                <a:lnTo>
                  <a:pt x="381" y="209"/>
                </a:lnTo>
                <a:lnTo>
                  <a:pt x="374" y="179"/>
                </a:lnTo>
                <a:lnTo>
                  <a:pt x="373" y="177"/>
                </a:lnTo>
                <a:lnTo>
                  <a:pt x="372" y="173"/>
                </a:lnTo>
                <a:lnTo>
                  <a:pt x="372" y="172"/>
                </a:lnTo>
                <a:lnTo>
                  <a:pt x="373" y="171"/>
                </a:lnTo>
                <a:lnTo>
                  <a:pt x="384" y="149"/>
                </a:lnTo>
                <a:lnTo>
                  <a:pt x="385" y="146"/>
                </a:lnTo>
                <a:lnTo>
                  <a:pt x="387" y="136"/>
                </a:lnTo>
                <a:lnTo>
                  <a:pt x="384" y="132"/>
                </a:lnTo>
                <a:lnTo>
                  <a:pt x="372" y="132"/>
                </a:lnTo>
                <a:lnTo>
                  <a:pt x="370" y="131"/>
                </a:lnTo>
                <a:lnTo>
                  <a:pt x="370" y="129"/>
                </a:lnTo>
                <a:lnTo>
                  <a:pt x="373" y="129"/>
                </a:lnTo>
                <a:lnTo>
                  <a:pt x="384" y="121"/>
                </a:lnTo>
                <a:lnTo>
                  <a:pt x="388" y="119"/>
                </a:lnTo>
                <a:lnTo>
                  <a:pt x="393" y="113"/>
                </a:lnTo>
                <a:lnTo>
                  <a:pt x="394" y="113"/>
                </a:lnTo>
                <a:lnTo>
                  <a:pt x="395" y="112"/>
                </a:lnTo>
                <a:lnTo>
                  <a:pt x="398" y="113"/>
                </a:lnTo>
                <a:lnTo>
                  <a:pt x="403" y="109"/>
                </a:lnTo>
                <a:lnTo>
                  <a:pt x="405" y="105"/>
                </a:lnTo>
                <a:lnTo>
                  <a:pt x="406" y="104"/>
                </a:lnTo>
                <a:lnTo>
                  <a:pt x="406" y="101"/>
                </a:lnTo>
                <a:lnTo>
                  <a:pt x="407" y="98"/>
                </a:lnTo>
                <a:lnTo>
                  <a:pt x="407" y="94"/>
                </a:lnTo>
                <a:lnTo>
                  <a:pt x="409" y="93"/>
                </a:lnTo>
                <a:lnTo>
                  <a:pt x="409" y="90"/>
                </a:lnTo>
                <a:lnTo>
                  <a:pt x="410" y="86"/>
                </a:lnTo>
                <a:lnTo>
                  <a:pt x="410" y="84"/>
                </a:lnTo>
                <a:lnTo>
                  <a:pt x="411" y="81"/>
                </a:lnTo>
                <a:lnTo>
                  <a:pt x="413" y="80"/>
                </a:lnTo>
                <a:lnTo>
                  <a:pt x="420" y="80"/>
                </a:lnTo>
                <a:lnTo>
                  <a:pt x="423" y="79"/>
                </a:lnTo>
                <a:lnTo>
                  <a:pt x="428" y="74"/>
                </a:lnTo>
                <a:lnTo>
                  <a:pt x="436" y="74"/>
                </a:lnTo>
                <a:lnTo>
                  <a:pt x="436" y="73"/>
                </a:lnTo>
                <a:lnTo>
                  <a:pt x="437" y="70"/>
                </a:lnTo>
                <a:lnTo>
                  <a:pt x="443" y="64"/>
                </a:lnTo>
                <a:lnTo>
                  <a:pt x="443" y="60"/>
                </a:lnTo>
                <a:lnTo>
                  <a:pt x="444" y="58"/>
                </a:lnTo>
                <a:lnTo>
                  <a:pt x="444" y="56"/>
                </a:lnTo>
                <a:lnTo>
                  <a:pt x="447" y="54"/>
                </a:lnTo>
                <a:lnTo>
                  <a:pt x="447" y="52"/>
                </a:lnTo>
                <a:lnTo>
                  <a:pt x="448" y="50"/>
                </a:lnTo>
                <a:lnTo>
                  <a:pt x="448" y="48"/>
                </a:lnTo>
                <a:lnTo>
                  <a:pt x="447" y="45"/>
                </a:lnTo>
                <a:lnTo>
                  <a:pt x="447" y="44"/>
                </a:lnTo>
                <a:lnTo>
                  <a:pt x="444" y="43"/>
                </a:lnTo>
                <a:lnTo>
                  <a:pt x="443" y="42"/>
                </a:lnTo>
                <a:lnTo>
                  <a:pt x="443" y="41"/>
                </a:lnTo>
                <a:lnTo>
                  <a:pt x="448" y="41"/>
                </a:lnTo>
                <a:lnTo>
                  <a:pt x="450" y="43"/>
                </a:lnTo>
                <a:lnTo>
                  <a:pt x="457" y="52"/>
                </a:lnTo>
                <a:lnTo>
                  <a:pt x="460" y="52"/>
                </a:lnTo>
                <a:lnTo>
                  <a:pt x="469" y="55"/>
                </a:lnTo>
                <a:lnTo>
                  <a:pt x="474" y="54"/>
                </a:lnTo>
                <a:lnTo>
                  <a:pt x="475" y="52"/>
                </a:lnTo>
                <a:lnTo>
                  <a:pt x="476" y="48"/>
                </a:lnTo>
                <a:lnTo>
                  <a:pt x="476" y="37"/>
                </a:lnTo>
                <a:lnTo>
                  <a:pt x="475" y="35"/>
                </a:lnTo>
                <a:lnTo>
                  <a:pt x="475" y="31"/>
                </a:lnTo>
                <a:lnTo>
                  <a:pt x="474" y="29"/>
                </a:lnTo>
                <a:lnTo>
                  <a:pt x="474" y="27"/>
                </a:lnTo>
                <a:lnTo>
                  <a:pt x="473" y="25"/>
                </a:lnTo>
                <a:lnTo>
                  <a:pt x="473" y="20"/>
                </a:lnTo>
                <a:lnTo>
                  <a:pt x="481" y="24"/>
                </a:lnTo>
                <a:lnTo>
                  <a:pt x="486" y="24"/>
                </a:lnTo>
                <a:lnTo>
                  <a:pt x="488" y="26"/>
                </a:lnTo>
                <a:lnTo>
                  <a:pt x="490" y="26"/>
                </a:lnTo>
                <a:lnTo>
                  <a:pt x="491" y="25"/>
                </a:lnTo>
                <a:lnTo>
                  <a:pt x="492" y="26"/>
                </a:lnTo>
                <a:lnTo>
                  <a:pt x="493" y="26"/>
                </a:lnTo>
                <a:lnTo>
                  <a:pt x="494" y="30"/>
                </a:lnTo>
                <a:lnTo>
                  <a:pt x="497" y="30"/>
                </a:lnTo>
                <a:lnTo>
                  <a:pt x="497" y="36"/>
                </a:lnTo>
                <a:lnTo>
                  <a:pt x="496" y="36"/>
                </a:lnTo>
                <a:lnTo>
                  <a:pt x="496" y="39"/>
                </a:lnTo>
                <a:lnTo>
                  <a:pt x="494" y="41"/>
                </a:lnTo>
                <a:lnTo>
                  <a:pt x="492" y="44"/>
                </a:lnTo>
                <a:lnTo>
                  <a:pt x="494" y="42"/>
                </a:lnTo>
                <a:lnTo>
                  <a:pt x="499" y="35"/>
                </a:lnTo>
                <a:lnTo>
                  <a:pt x="500" y="33"/>
                </a:lnTo>
                <a:lnTo>
                  <a:pt x="502" y="35"/>
                </a:lnTo>
                <a:lnTo>
                  <a:pt x="503" y="35"/>
                </a:lnTo>
                <a:lnTo>
                  <a:pt x="503" y="33"/>
                </a:lnTo>
                <a:lnTo>
                  <a:pt x="504" y="33"/>
                </a:lnTo>
                <a:lnTo>
                  <a:pt x="515" y="35"/>
                </a:lnTo>
                <a:lnTo>
                  <a:pt x="513" y="32"/>
                </a:lnTo>
                <a:lnTo>
                  <a:pt x="512" y="31"/>
                </a:lnTo>
                <a:lnTo>
                  <a:pt x="510" y="30"/>
                </a:lnTo>
                <a:lnTo>
                  <a:pt x="510" y="27"/>
                </a:lnTo>
                <a:lnTo>
                  <a:pt x="511" y="25"/>
                </a:lnTo>
                <a:lnTo>
                  <a:pt x="510" y="23"/>
                </a:lnTo>
                <a:lnTo>
                  <a:pt x="510" y="18"/>
                </a:lnTo>
                <a:lnTo>
                  <a:pt x="511" y="15"/>
                </a:lnTo>
                <a:lnTo>
                  <a:pt x="512" y="14"/>
                </a:lnTo>
                <a:lnTo>
                  <a:pt x="516" y="14"/>
                </a:lnTo>
                <a:lnTo>
                  <a:pt x="517" y="15"/>
                </a:lnTo>
                <a:lnTo>
                  <a:pt x="518" y="18"/>
                </a:lnTo>
                <a:lnTo>
                  <a:pt x="521" y="19"/>
                </a:lnTo>
                <a:lnTo>
                  <a:pt x="523" y="23"/>
                </a:lnTo>
                <a:lnTo>
                  <a:pt x="524" y="24"/>
                </a:lnTo>
                <a:lnTo>
                  <a:pt x="527" y="21"/>
                </a:lnTo>
                <a:lnTo>
                  <a:pt x="527" y="20"/>
                </a:lnTo>
                <a:lnTo>
                  <a:pt x="525" y="19"/>
                </a:lnTo>
                <a:lnTo>
                  <a:pt x="524" y="15"/>
                </a:lnTo>
                <a:lnTo>
                  <a:pt x="522" y="13"/>
                </a:lnTo>
                <a:lnTo>
                  <a:pt x="522" y="8"/>
                </a:lnTo>
                <a:lnTo>
                  <a:pt x="521" y="8"/>
                </a:lnTo>
                <a:lnTo>
                  <a:pt x="518" y="6"/>
                </a:lnTo>
                <a:lnTo>
                  <a:pt x="518" y="5"/>
                </a:lnTo>
                <a:lnTo>
                  <a:pt x="519" y="2"/>
                </a:lnTo>
                <a:lnTo>
                  <a:pt x="519" y="1"/>
                </a:lnTo>
                <a:lnTo>
                  <a:pt x="521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0" name="Freeform 19">
            <a:extLst>
              <a:ext uri="{FF2B5EF4-FFF2-40B4-BE49-F238E27FC236}">
                <a16:creationId xmlns:a16="http://schemas.microsoft.com/office/drawing/2014/main" id="{38694DF8-AE1D-4FD3-B5F4-67FE1B263693}"/>
              </a:ext>
            </a:extLst>
          </p:cNvPr>
          <p:cNvSpPr>
            <a:spLocks noEditPoints="1"/>
          </p:cNvSpPr>
          <p:nvPr/>
        </p:nvSpPr>
        <p:spPr bwMode="auto">
          <a:xfrm>
            <a:off x="4374447" y="1844353"/>
            <a:ext cx="559291" cy="391214"/>
          </a:xfrm>
          <a:custGeom>
            <a:avLst/>
            <a:gdLst/>
            <a:ahLst/>
            <a:cxnLst>
              <a:cxn ang="0">
                <a:pos x="343" y="203"/>
              </a:cxn>
              <a:cxn ang="0">
                <a:pos x="363" y="216"/>
              </a:cxn>
              <a:cxn ang="0">
                <a:pos x="381" y="244"/>
              </a:cxn>
              <a:cxn ang="0">
                <a:pos x="382" y="257"/>
              </a:cxn>
              <a:cxn ang="0">
                <a:pos x="360" y="270"/>
              </a:cxn>
              <a:cxn ang="0">
                <a:pos x="346" y="253"/>
              </a:cxn>
              <a:cxn ang="0">
                <a:pos x="320" y="240"/>
              </a:cxn>
              <a:cxn ang="0">
                <a:pos x="302" y="220"/>
              </a:cxn>
              <a:cxn ang="0">
                <a:pos x="301" y="208"/>
              </a:cxn>
              <a:cxn ang="0">
                <a:pos x="298" y="196"/>
              </a:cxn>
              <a:cxn ang="0">
                <a:pos x="301" y="186"/>
              </a:cxn>
              <a:cxn ang="0">
                <a:pos x="309" y="176"/>
              </a:cxn>
              <a:cxn ang="0">
                <a:pos x="245" y="164"/>
              </a:cxn>
              <a:cxn ang="0">
                <a:pos x="232" y="159"/>
              </a:cxn>
              <a:cxn ang="0">
                <a:pos x="83" y="65"/>
              </a:cxn>
              <a:cxn ang="0">
                <a:pos x="63" y="54"/>
              </a:cxn>
              <a:cxn ang="0">
                <a:pos x="58" y="54"/>
              </a:cxn>
              <a:cxn ang="0">
                <a:pos x="71" y="69"/>
              </a:cxn>
              <a:cxn ang="0">
                <a:pos x="72" y="91"/>
              </a:cxn>
              <a:cxn ang="0">
                <a:pos x="68" y="103"/>
              </a:cxn>
              <a:cxn ang="0">
                <a:pos x="52" y="74"/>
              </a:cxn>
              <a:cxn ang="0">
                <a:pos x="41" y="54"/>
              </a:cxn>
              <a:cxn ang="0">
                <a:pos x="174" y="0"/>
              </a:cxn>
              <a:cxn ang="0">
                <a:pos x="196" y="61"/>
              </a:cxn>
              <a:cxn ang="0">
                <a:pos x="238" y="121"/>
              </a:cxn>
              <a:cxn ang="0">
                <a:pos x="255" y="139"/>
              </a:cxn>
              <a:cxn ang="0">
                <a:pos x="255" y="153"/>
              </a:cxn>
              <a:cxn ang="0">
                <a:pos x="227" y="145"/>
              </a:cxn>
              <a:cxn ang="0">
                <a:pos x="237" y="154"/>
              </a:cxn>
              <a:cxn ang="0">
                <a:pos x="218" y="137"/>
              </a:cxn>
              <a:cxn ang="0">
                <a:pos x="203" y="139"/>
              </a:cxn>
              <a:cxn ang="0">
                <a:pos x="205" y="148"/>
              </a:cxn>
              <a:cxn ang="0">
                <a:pos x="221" y="158"/>
              </a:cxn>
              <a:cxn ang="0">
                <a:pos x="216" y="154"/>
              </a:cxn>
              <a:cxn ang="0">
                <a:pos x="199" y="154"/>
              </a:cxn>
              <a:cxn ang="0">
                <a:pos x="190" y="154"/>
              </a:cxn>
              <a:cxn ang="0">
                <a:pos x="184" y="146"/>
              </a:cxn>
              <a:cxn ang="0">
                <a:pos x="170" y="136"/>
              </a:cxn>
              <a:cxn ang="0">
                <a:pos x="163" y="143"/>
              </a:cxn>
              <a:cxn ang="0">
                <a:pos x="153" y="154"/>
              </a:cxn>
              <a:cxn ang="0">
                <a:pos x="139" y="134"/>
              </a:cxn>
              <a:cxn ang="0">
                <a:pos x="137" y="142"/>
              </a:cxn>
              <a:cxn ang="0">
                <a:pos x="129" y="140"/>
              </a:cxn>
              <a:cxn ang="0">
                <a:pos x="102" y="128"/>
              </a:cxn>
              <a:cxn ang="0">
                <a:pos x="90" y="128"/>
              </a:cxn>
              <a:cxn ang="0">
                <a:pos x="95" y="122"/>
              </a:cxn>
              <a:cxn ang="0">
                <a:pos x="95" y="102"/>
              </a:cxn>
              <a:cxn ang="0">
                <a:pos x="107" y="96"/>
              </a:cxn>
              <a:cxn ang="0">
                <a:pos x="113" y="90"/>
              </a:cxn>
              <a:cxn ang="0">
                <a:pos x="110" y="81"/>
              </a:cxn>
              <a:cxn ang="0">
                <a:pos x="106" y="80"/>
              </a:cxn>
              <a:cxn ang="0">
                <a:pos x="95" y="76"/>
              </a:cxn>
              <a:cxn ang="0">
                <a:pos x="93" y="61"/>
              </a:cxn>
              <a:cxn ang="0">
                <a:pos x="102" y="45"/>
              </a:cxn>
              <a:cxn ang="0">
                <a:pos x="81" y="37"/>
              </a:cxn>
              <a:cxn ang="0">
                <a:pos x="71" y="47"/>
              </a:cxn>
              <a:cxn ang="0">
                <a:pos x="65" y="50"/>
              </a:cxn>
              <a:cxn ang="0">
                <a:pos x="56" y="38"/>
              </a:cxn>
              <a:cxn ang="0">
                <a:pos x="46" y="23"/>
              </a:cxn>
              <a:cxn ang="0">
                <a:pos x="35" y="32"/>
              </a:cxn>
              <a:cxn ang="0">
                <a:pos x="31" y="39"/>
              </a:cxn>
              <a:cxn ang="0">
                <a:pos x="4" y="18"/>
              </a:cxn>
            </a:cxnLst>
            <a:rect l="0" t="0" r="r" b="b"/>
            <a:pathLst>
              <a:path w="386" h="270">
                <a:moveTo>
                  <a:pt x="321" y="170"/>
                </a:moveTo>
                <a:lnTo>
                  <a:pt x="323" y="171"/>
                </a:lnTo>
                <a:lnTo>
                  <a:pt x="323" y="174"/>
                </a:lnTo>
                <a:lnTo>
                  <a:pt x="324" y="174"/>
                </a:lnTo>
                <a:lnTo>
                  <a:pt x="325" y="176"/>
                </a:lnTo>
                <a:lnTo>
                  <a:pt x="333" y="183"/>
                </a:lnTo>
                <a:lnTo>
                  <a:pt x="334" y="185"/>
                </a:lnTo>
                <a:lnTo>
                  <a:pt x="339" y="194"/>
                </a:lnTo>
                <a:lnTo>
                  <a:pt x="342" y="196"/>
                </a:lnTo>
                <a:lnTo>
                  <a:pt x="343" y="196"/>
                </a:lnTo>
                <a:lnTo>
                  <a:pt x="343" y="203"/>
                </a:lnTo>
                <a:lnTo>
                  <a:pt x="344" y="204"/>
                </a:lnTo>
                <a:lnTo>
                  <a:pt x="348" y="204"/>
                </a:lnTo>
                <a:lnTo>
                  <a:pt x="350" y="208"/>
                </a:lnTo>
                <a:lnTo>
                  <a:pt x="352" y="208"/>
                </a:lnTo>
                <a:lnTo>
                  <a:pt x="352" y="211"/>
                </a:lnTo>
                <a:lnTo>
                  <a:pt x="354" y="213"/>
                </a:lnTo>
                <a:lnTo>
                  <a:pt x="354" y="214"/>
                </a:lnTo>
                <a:lnTo>
                  <a:pt x="356" y="214"/>
                </a:lnTo>
                <a:lnTo>
                  <a:pt x="360" y="217"/>
                </a:lnTo>
                <a:lnTo>
                  <a:pt x="361" y="217"/>
                </a:lnTo>
                <a:lnTo>
                  <a:pt x="363" y="216"/>
                </a:lnTo>
                <a:lnTo>
                  <a:pt x="364" y="217"/>
                </a:lnTo>
                <a:lnTo>
                  <a:pt x="364" y="220"/>
                </a:lnTo>
                <a:lnTo>
                  <a:pt x="365" y="220"/>
                </a:lnTo>
                <a:lnTo>
                  <a:pt x="367" y="221"/>
                </a:lnTo>
                <a:lnTo>
                  <a:pt x="376" y="233"/>
                </a:lnTo>
                <a:lnTo>
                  <a:pt x="376" y="234"/>
                </a:lnTo>
                <a:lnTo>
                  <a:pt x="380" y="234"/>
                </a:lnTo>
                <a:lnTo>
                  <a:pt x="381" y="235"/>
                </a:lnTo>
                <a:lnTo>
                  <a:pt x="382" y="239"/>
                </a:lnTo>
                <a:lnTo>
                  <a:pt x="382" y="242"/>
                </a:lnTo>
                <a:lnTo>
                  <a:pt x="381" y="244"/>
                </a:lnTo>
                <a:lnTo>
                  <a:pt x="382" y="246"/>
                </a:lnTo>
                <a:lnTo>
                  <a:pt x="382" y="247"/>
                </a:lnTo>
                <a:lnTo>
                  <a:pt x="383" y="247"/>
                </a:lnTo>
                <a:lnTo>
                  <a:pt x="385" y="248"/>
                </a:lnTo>
                <a:lnTo>
                  <a:pt x="385" y="251"/>
                </a:lnTo>
                <a:lnTo>
                  <a:pt x="386" y="252"/>
                </a:lnTo>
                <a:lnTo>
                  <a:pt x="386" y="253"/>
                </a:lnTo>
                <a:lnTo>
                  <a:pt x="385" y="253"/>
                </a:lnTo>
                <a:lnTo>
                  <a:pt x="385" y="254"/>
                </a:lnTo>
                <a:lnTo>
                  <a:pt x="383" y="254"/>
                </a:lnTo>
                <a:lnTo>
                  <a:pt x="382" y="257"/>
                </a:lnTo>
                <a:lnTo>
                  <a:pt x="381" y="258"/>
                </a:lnTo>
                <a:lnTo>
                  <a:pt x="381" y="262"/>
                </a:lnTo>
                <a:lnTo>
                  <a:pt x="382" y="264"/>
                </a:lnTo>
                <a:lnTo>
                  <a:pt x="379" y="263"/>
                </a:lnTo>
                <a:lnTo>
                  <a:pt x="377" y="264"/>
                </a:lnTo>
                <a:lnTo>
                  <a:pt x="373" y="268"/>
                </a:lnTo>
                <a:lnTo>
                  <a:pt x="371" y="268"/>
                </a:lnTo>
                <a:lnTo>
                  <a:pt x="367" y="264"/>
                </a:lnTo>
                <a:lnTo>
                  <a:pt x="363" y="264"/>
                </a:lnTo>
                <a:lnTo>
                  <a:pt x="360" y="268"/>
                </a:lnTo>
                <a:lnTo>
                  <a:pt x="360" y="270"/>
                </a:lnTo>
                <a:lnTo>
                  <a:pt x="358" y="270"/>
                </a:lnTo>
                <a:lnTo>
                  <a:pt x="358" y="268"/>
                </a:lnTo>
                <a:lnTo>
                  <a:pt x="357" y="266"/>
                </a:lnTo>
                <a:lnTo>
                  <a:pt x="352" y="266"/>
                </a:lnTo>
                <a:lnTo>
                  <a:pt x="344" y="264"/>
                </a:lnTo>
                <a:lnTo>
                  <a:pt x="345" y="263"/>
                </a:lnTo>
                <a:lnTo>
                  <a:pt x="343" y="260"/>
                </a:lnTo>
                <a:lnTo>
                  <a:pt x="343" y="257"/>
                </a:lnTo>
                <a:lnTo>
                  <a:pt x="344" y="256"/>
                </a:lnTo>
                <a:lnTo>
                  <a:pt x="346" y="256"/>
                </a:lnTo>
                <a:lnTo>
                  <a:pt x="346" y="253"/>
                </a:lnTo>
                <a:lnTo>
                  <a:pt x="345" y="252"/>
                </a:lnTo>
                <a:lnTo>
                  <a:pt x="340" y="246"/>
                </a:lnTo>
                <a:lnTo>
                  <a:pt x="338" y="242"/>
                </a:lnTo>
                <a:lnTo>
                  <a:pt x="336" y="242"/>
                </a:lnTo>
                <a:lnTo>
                  <a:pt x="333" y="244"/>
                </a:lnTo>
                <a:lnTo>
                  <a:pt x="332" y="244"/>
                </a:lnTo>
                <a:lnTo>
                  <a:pt x="327" y="239"/>
                </a:lnTo>
                <a:lnTo>
                  <a:pt x="324" y="239"/>
                </a:lnTo>
                <a:lnTo>
                  <a:pt x="318" y="237"/>
                </a:lnTo>
                <a:lnTo>
                  <a:pt x="318" y="238"/>
                </a:lnTo>
                <a:lnTo>
                  <a:pt x="320" y="240"/>
                </a:lnTo>
                <a:lnTo>
                  <a:pt x="323" y="241"/>
                </a:lnTo>
                <a:lnTo>
                  <a:pt x="326" y="245"/>
                </a:lnTo>
                <a:lnTo>
                  <a:pt x="324" y="247"/>
                </a:lnTo>
                <a:lnTo>
                  <a:pt x="321" y="246"/>
                </a:lnTo>
                <a:lnTo>
                  <a:pt x="321" y="245"/>
                </a:lnTo>
                <a:lnTo>
                  <a:pt x="320" y="245"/>
                </a:lnTo>
                <a:lnTo>
                  <a:pt x="318" y="242"/>
                </a:lnTo>
                <a:lnTo>
                  <a:pt x="318" y="241"/>
                </a:lnTo>
                <a:lnTo>
                  <a:pt x="315" y="238"/>
                </a:lnTo>
                <a:lnTo>
                  <a:pt x="307" y="229"/>
                </a:lnTo>
                <a:lnTo>
                  <a:pt x="302" y="220"/>
                </a:lnTo>
                <a:lnTo>
                  <a:pt x="303" y="215"/>
                </a:lnTo>
                <a:lnTo>
                  <a:pt x="301" y="214"/>
                </a:lnTo>
                <a:lnTo>
                  <a:pt x="301" y="213"/>
                </a:lnTo>
                <a:lnTo>
                  <a:pt x="302" y="213"/>
                </a:lnTo>
                <a:lnTo>
                  <a:pt x="303" y="211"/>
                </a:lnTo>
                <a:lnTo>
                  <a:pt x="303" y="210"/>
                </a:lnTo>
                <a:lnTo>
                  <a:pt x="302" y="210"/>
                </a:lnTo>
                <a:lnTo>
                  <a:pt x="302" y="208"/>
                </a:lnTo>
                <a:lnTo>
                  <a:pt x="303" y="207"/>
                </a:lnTo>
                <a:lnTo>
                  <a:pt x="301" y="207"/>
                </a:lnTo>
                <a:lnTo>
                  <a:pt x="301" y="208"/>
                </a:lnTo>
                <a:lnTo>
                  <a:pt x="300" y="208"/>
                </a:lnTo>
                <a:lnTo>
                  <a:pt x="300" y="205"/>
                </a:lnTo>
                <a:lnTo>
                  <a:pt x="298" y="205"/>
                </a:lnTo>
                <a:lnTo>
                  <a:pt x="298" y="204"/>
                </a:lnTo>
                <a:lnTo>
                  <a:pt x="299" y="202"/>
                </a:lnTo>
                <a:lnTo>
                  <a:pt x="299" y="201"/>
                </a:lnTo>
                <a:lnTo>
                  <a:pt x="298" y="201"/>
                </a:lnTo>
                <a:lnTo>
                  <a:pt x="296" y="199"/>
                </a:lnTo>
                <a:lnTo>
                  <a:pt x="295" y="197"/>
                </a:lnTo>
                <a:lnTo>
                  <a:pt x="296" y="196"/>
                </a:lnTo>
                <a:lnTo>
                  <a:pt x="298" y="196"/>
                </a:lnTo>
                <a:lnTo>
                  <a:pt x="313" y="203"/>
                </a:lnTo>
                <a:lnTo>
                  <a:pt x="313" y="201"/>
                </a:lnTo>
                <a:lnTo>
                  <a:pt x="312" y="199"/>
                </a:lnTo>
                <a:lnTo>
                  <a:pt x="312" y="198"/>
                </a:lnTo>
                <a:lnTo>
                  <a:pt x="311" y="197"/>
                </a:lnTo>
                <a:lnTo>
                  <a:pt x="307" y="195"/>
                </a:lnTo>
                <a:lnTo>
                  <a:pt x="306" y="192"/>
                </a:lnTo>
                <a:lnTo>
                  <a:pt x="300" y="188"/>
                </a:lnTo>
                <a:lnTo>
                  <a:pt x="299" y="188"/>
                </a:lnTo>
                <a:lnTo>
                  <a:pt x="300" y="186"/>
                </a:lnTo>
                <a:lnTo>
                  <a:pt x="301" y="186"/>
                </a:lnTo>
                <a:lnTo>
                  <a:pt x="305" y="188"/>
                </a:lnTo>
                <a:lnTo>
                  <a:pt x="305" y="186"/>
                </a:lnTo>
                <a:lnTo>
                  <a:pt x="307" y="184"/>
                </a:lnTo>
                <a:lnTo>
                  <a:pt x="308" y="184"/>
                </a:lnTo>
                <a:lnTo>
                  <a:pt x="309" y="183"/>
                </a:lnTo>
                <a:lnTo>
                  <a:pt x="309" y="182"/>
                </a:lnTo>
                <a:lnTo>
                  <a:pt x="311" y="180"/>
                </a:lnTo>
                <a:lnTo>
                  <a:pt x="309" y="179"/>
                </a:lnTo>
                <a:lnTo>
                  <a:pt x="309" y="177"/>
                </a:lnTo>
                <a:lnTo>
                  <a:pt x="308" y="177"/>
                </a:lnTo>
                <a:lnTo>
                  <a:pt x="309" y="176"/>
                </a:lnTo>
                <a:lnTo>
                  <a:pt x="315" y="176"/>
                </a:lnTo>
                <a:lnTo>
                  <a:pt x="315" y="174"/>
                </a:lnTo>
                <a:lnTo>
                  <a:pt x="319" y="171"/>
                </a:lnTo>
                <a:lnTo>
                  <a:pt x="321" y="170"/>
                </a:lnTo>
                <a:close/>
                <a:moveTo>
                  <a:pt x="230" y="153"/>
                </a:moveTo>
                <a:lnTo>
                  <a:pt x="234" y="156"/>
                </a:lnTo>
                <a:lnTo>
                  <a:pt x="237" y="158"/>
                </a:lnTo>
                <a:lnTo>
                  <a:pt x="239" y="160"/>
                </a:lnTo>
                <a:lnTo>
                  <a:pt x="240" y="159"/>
                </a:lnTo>
                <a:lnTo>
                  <a:pt x="244" y="161"/>
                </a:lnTo>
                <a:lnTo>
                  <a:pt x="245" y="164"/>
                </a:lnTo>
                <a:lnTo>
                  <a:pt x="245" y="166"/>
                </a:lnTo>
                <a:lnTo>
                  <a:pt x="244" y="165"/>
                </a:lnTo>
                <a:lnTo>
                  <a:pt x="240" y="162"/>
                </a:lnTo>
                <a:lnTo>
                  <a:pt x="238" y="162"/>
                </a:lnTo>
                <a:lnTo>
                  <a:pt x="237" y="161"/>
                </a:lnTo>
                <a:lnTo>
                  <a:pt x="238" y="164"/>
                </a:lnTo>
                <a:lnTo>
                  <a:pt x="242" y="165"/>
                </a:lnTo>
                <a:lnTo>
                  <a:pt x="242" y="167"/>
                </a:lnTo>
                <a:lnTo>
                  <a:pt x="238" y="166"/>
                </a:lnTo>
                <a:lnTo>
                  <a:pt x="233" y="162"/>
                </a:lnTo>
                <a:lnTo>
                  <a:pt x="232" y="159"/>
                </a:lnTo>
                <a:lnTo>
                  <a:pt x="233" y="159"/>
                </a:lnTo>
                <a:lnTo>
                  <a:pt x="232" y="156"/>
                </a:lnTo>
                <a:lnTo>
                  <a:pt x="230" y="156"/>
                </a:lnTo>
                <a:lnTo>
                  <a:pt x="230" y="153"/>
                </a:lnTo>
                <a:close/>
                <a:moveTo>
                  <a:pt x="102" y="128"/>
                </a:moveTo>
                <a:lnTo>
                  <a:pt x="104" y="130"/>
                </a:lnTo>
                <a:lnTo>
                  <a:pt x="103" y="130"/>
                </a:lnTo>
                <a:lnTo>
                  <a:pt x="102" y="128"/>
                </a:lnTo>
                <a:close/>
                <a:moveTo>
                  <a:pt x="73" y="56"/>
                </a:moveTo>
                <a:lnTo>
                  <a:pt x="77" y="56"/>
                </a:lnTo>
                <a:lnTo>
                  <a:pt x="83" y="65"/>
                </a:lnTo>
                <a:lnTo>
                  <a:pt x="83" y="66"/>
                </a:lnTo>
                <a:lnTo>
                  <a:pt x="84" y="66"/>
                </a:lnTo>
                <a:lnTo>
                  <a:pt x="83" y="67"/>
                </a:lnTo>
                <a:lnTo>
                  <a:pt x="82" y="66"/>
                </a:lnTo>
                <a:lnTo>
                  <a:pt x="77" y="62"/>
                </a:lnTo>
                <a:lnTo>
                  <a:pt x="77" y="61"/>
                </a:lnTo>
                <a:lnTo>
                  <a:pt x="76" y="59"/>
                </a:lnTo>
                <a:lnTo>
                  <a:pt x="73" y="56"/>
                </a:lnTo>
                <a:close/>
                <a:moveTo>
                  <a:pt x="54" y="49"/>
                </a:moveTo>
                <a:lnTo>
                  <a:pt x="56" y="49"/>
                </a:lnTo>
                <a:lnTo>
                  <a:pt x="63" y="54"/>
                </a:lnTo>
                <a:lnTo>
                  <a:pt x="63" y="55"/>
                </a:lnTo>
                <a:lnTo>
                  <a:pt x="64" y="56"/>
                </a:lnTo>
                <a:lnTo>
                  <a:pt x="65" y="60"/>
                </a:lnTo>
                <a:lnTo>
                  <a:pt x="65" y="61"/>
                </a:lnTo>
                <a:lnTo>
                  <a:pt x="68" y="63"/>
                </a:lnTo>
                <a:lnTo>
                  <a:pt x="68" y="66"/>
                </a:lnTo>
                <a:lnTo>
                  <a:pt x="63" y="61"/>
                </a:lnTo>
                <a:lnTo>
                  <a:pt x="62" y="57"/>
                </a:lnTo>
                <a:lnTo>
                  <a:pt x="62" y="56"/>
                </a:lnTo>
                <a:lnTo>
                  <a:pt x="59" y="54"/>
                </a:lnTo>
                <a:lnTo>
                  <a:pt x="58" y="54"/>
                </a:lnTo>
                <a:lnTo>
                  <a:pt x="60" y="57"/>
                </a:lnTo>
                <a:lnTo>
                  <a:pt x="62" y="60"/>
                </a:lnTo>
                <a:lnTo>
                  <a:pt x="60" y="61"/>
                </a:lnTo>
                <a:lnTo>
                  <a:pt x="58" y="60"/>
                </a:lnTo>
                <a:lnTo>
                  <a:pt x="58" y="61"/>
                </a:lnTo>
                <a:lnTo>
                  <a:pt x="70" y="72"/>
                </a:lnTo>
                <a:lnTo>
                  <a:pt x="72" y="73"/>
                </a:lnTo>
                <a:lnTo>
                  <a:pt x="73" y="70"/>
                </a:lnTo>
                <a:lnTo>
                  <a:pt x="72" y="69"/>
                </a:lnTo>
                <a:lnTo>
                  <a:pt x="71" y="70"/>
                </a:lnTo>
                <a:lnTo>
                  <a:pt x="71" y="69"/>
                </a:lnTo>
                <a:lnTo>
                  <a:pt x="73" y="67"/>
                </a:lnTo>
                <a:lnTo>
                  <a:pt x="73" y="68"/>
                </a:lnTo>
                <a:lnTo>
                  <a:pt x="75" y="69"/>
                </a:lnTo>
                <a:lnTo>
                  <a:pt x="76" y="69"/>
                </a:lnTo>
                <a:lnTo>
                  <a:pt x="76" y="74"/>
                </a:lnTo>
                <a:lnTo>
                  <a:pt x="77" y="74"/>
                </a:lnTo>
                <a:lnTo>
                  <a:pt x="76" y="76"/>
                </a:lnTo>
                <a:lnTo>
                  <a:pt x="76" y="82"/>
                </a:lnTo>
                <a:lnTo>
                  <a:pt x="73" y="85"/>
                </a:lnTo>
                <a:lnTo>
                  <a:pt x="73" y="91"/>
                </a:lnTo>
                <a:lnTo>
                  <a:pt x="72" y="91"/>
                </a:lnTo>
                <a:lnTo>
                  <a:pt x="72" y="92"/>
                </a:lnTo>
                <a:lnTo>
                  <a:pt x="71" y="92"/>
                </a:lnTo>
                <a:lnTo>
                  <a:pt x="70" y="91"/>
                </a:lnTo>
                <a:lnTo>
                  <a:pt x="69" y="93"/>
                </a:lnTo>
                <a:lnTo>
                  <a:pt x="69" y="98"/>
                </a:lnTo>
                <a:lnTo>
                  <a:pt x="70" y="100"/>
                </a:lnTo>
                <a:lnTo>
                  <a:pt x="73" y="104"/>
                </a:lnTo>
                <a:lnTo>
                  <a:pt x="72" y="106"/>
                </a:lnTo>
                <a:lnTo>
                  <a:pt x="70" y="108"/>
                </a:lnTo>
                <a:lnTo>
                  <a:pt x="68" y="106"/>
                </a:lnTo>
                <a:lnTo>
                  <a:pt x="68" y="103"/>
                </a:lnTo>
                <a:lnTo>
                  <a:pt x="66" y="99"/>
                </a:lnTo>
                <a:lnTo>
                  <a:pt x="66" y="97"/>
                </a:lnTo>
                <a:lnTo>
                  <a:pt x="64" y="94"/>
                </a:lnTo>
                <a:lnTo>
                  <a:pt x="59" y="91"/>
                </a:lnTo>
                <a:lnTo>
                  <a:pt x="59" y="88"/>
                </a:lnTo>
                <a:lnTo>
                  <a:pt x="58" y="88"/>
                </a:lnTo>
                <a:lnTo>
                  <a:pt x="58" y="81"/>
                </a:lnTo>
                <a:lnTo>
                  <a:pt x="57" y="80"/>
                </a:lnTo>
                <a:lnTo>
                  <a:pt x="53" y="78"/>
                </a:lnTo>
                <a:lnTo>
                  <a:pt x="53" y="75"/>
                </a:lnTo>
                <a:lnTo>
                  <a:pt x="52" y="74"/>
                </a:lnTo>
                <a:lnTo>
                  <a:pt x="51" y="72"/>
                </a:lnTo>
                <a:lnTo>
                  <a:pt x="48" y="70"/>
                </a:lnTo>
                <a:lnTo>
                  <a:pt x="46" y="70"/>
                </a:lnTo>
                <a:lnTo>
                  <a:pt x="44" y="72"/>
                </a:lnTo>
                <a:lnTo>
                  <a:pt x="40" y="70"/>
                </a:lnTo>
                <a:lnTo>
                  <a:pt x="35" y="67"/>
                </a:lnTo>
                <a:lnTo>
                  <a:pt x="34" y="65"/>
                </a:lnTo>
                <a:lnTo>
                  <a:pt x="34" y="57"/>
                </a:lnTo>
                <a:lnTo>
                  <a:pt x="35" y="57"/>
                </a:lnTo>
                <a:lnTo>
                  <a:pt x="40" y="55"/>
                </a:lnTo>
                <a:lnTo>
                  <a:pt x="41" y="54"/>
                </a:lnTo>
                <a:lnTo>
                  <a:pt x="45" y="54"/>
                </a:lnTo>
                <a:lnTo>
                  <a:pt x="47" y="51"/>
                </a:lnTo>
                <a:lnTo>
                  <a:pt x="52" y="53"/>
                </a:lnTo>
                <a:lnTo>
                  <a:pt x="53" y="54"/>
                </a:lnTo>
                <a:lnTo>
                  <a:pt x="54" y="56"/>
                </a:lnTo>
                <a:lnTo>
                  <a:pt x="56" y="57"/>
                </a:lnTo>
                <a:lnTo>
                  <a:pt x="56" y="56"/>
                </a:lnTo>
                <a:lnTo>
                  <a:pt x="54" y="54"/>
                </a:lnTo>
                <a:lnTo>
                  <a:pt x="54" y="49"/>
                </a:lnTo>
                <a:close/>
                <a:moveTo>
                  <a:pt x="0" y="0"/>
                </a:moveTo>
                <a:lnTo>
                  <a:pt x="174" y="0"/>
                </a:lnTo>
                <a:lnTo>
                  <a:pt x="175" y="4"/>
                </a:lnTo>
                <a:lnTo>
                  <a:pt x="180" y="23"/>
                </a:lnTo>
                <a:lnTo>
                  <a:pt x="183" y="30"/>
                </a:lnTo>
                <a:lnTo>
                  <a:pt x="186" y="33"/>
                </a:lnTo>
                <a:lnTo>
                  <a:pt x="187" y="35"/>
                </a:lnTo>
                <a:lnTo>
                  <a:pt x="189" y="43"/>
                </a:lnTo>
                <a:lnTo>
                  <a:pt x="190" y="47"/>
                </a:lnTo>
                <a:lnTo>
                  <a:pt x="193" y="49"/>
                </a:lnTo>
                <a:lnTo>
                  <a:pt x="194" y="53"/>
                </a:lnTo>
                <a:lnTo>
                  <a:pt x="195" y="54"/>
                </a:lnTo>
                <a:lnTo>
                  <a:pt x="196" y="61"/>
                </a:lnTo>
                <a:lnTo>
                  <a:pt x="196" y="66"/>
                </a:lnTo>
                <a:lnTo>
                  <a:pt x="199" y="69"/>
                </a:lnTo>
                <a:lnTo>
                  <a:pt x="218" y="96"/>
                </a:lnTo>
                <a:lnTo>
                  <a:pt x="221" y="102"/>
                </a:lnTo>
                <a:lnTo>
                  <a:pt x="227" y="106"/>
                </a:lnTo>
                <a:lnTo>
                  <a:pt x="230" y="108"/>
                </a:lnTo>
                <a:lnTo>
                  <a:pt x="230" y="109"/>
                </a:lnTo>
                <a:lnTo>
                  <a:pt x="231" y="110"/>
                </a:lnTo>
                <a:lnTo>
                  <a:pt x="232" y="113"/>
                </a:lnTo>
                <a:lnTo>
                  <a:pt x="238" y="119"/>
                </a:lnTo>
                <a:lnTo>
                  <a:pt x="238" y="121"/>
                </a:lnTo>
                <a:lnTo>
                  <a:pt x="242" y="121"/>
                </a:lnTo>
                <a:lnTo>
                  <a:pt x="245" y="124"/>
                </a:lnTo>
                <a:lnTo>
                  <a:pt x="247" y="125"/>
                </a:lnTo>
                <a:lnTo>
                  <a:pt x="249" y="128"/>
                </a:lnTo>
                <a:lnTo>
                  <a:pt x="256" y="127"/>
                </a:lnTo>
                <a:lnTo>
                  <a:pt x="256" y="130"/>
                </a:lnTo>
                <a:lnTo>
                  <a:pt x="263" y="137"/>
                </a:lnTo>
                <a:lnTo>
                  <a:pt x="258" y="137"/>
                </a:lnTo>
                <a:lnTo>
                  <a:pt x="256" y="136"/>
                </a:lnTo>
                <a:lnTo>
                  <a:pt x="255" y="135"/>
                </a:lnTo>
                <a:lnTo>
                  <a:pt x="255" y="139"/>
                </a:lnTo>
                <a:lnTo>
                  <a:pt x="257" y="140"/>
                </a:lnTo>
                <a:lnTo>
                  <a:pt x="258" y="141"/>
                </a:lnTo>
                <a:lnTo>
                  <a:pt x="258" y="143"/>
                </a:lnTo>
                <a:lnTo>
                  <a:pt x="256" y="146"/>
                </a:lnTo>
                <a:lnTo>
                  <a:pt x="256" y="148"/>
                </a:lnTo>
                <a:lnTo>
                  <a:pt x="255" y="149"/>
                </a:lnTo>
                <a:lnTo>
                  <a:pt x="255" y="151"/>
                </a:lnTo>
                <a:lnTo>
                  <a:pt x="252" y="151"/>
                </a:lnTo>
                <a:lnTo>
                  <a:pt x="252" y="152"/>
                </a:lnTo>
                <a:lnTo>
                  <a:pt x="253" y="152"/>
                </a:lnTo>
                <a:lnTo>
                  <a:pt x="255" y="153"/>
                </a:lnTo>
                <a:lnTo>
                  <a:pt x="246" y="151"/>
                </a:lnTo>
                <a:lnTo>
                  <a:pt x="239" y="145"/>
                </a:lnTo>
                <a:lnTo>
                  <a:pt x="237" y="145"/>
                </a:lnTo>
                <a:lnTo>
                  <a:pt x="236" y="147"/>
                </a:lnTo>
                <a:lnTo>
                  <a:pt x="234" y="147"/>
                </a:lnTo>
                <a:lnTo>
                  <a:pt x="232" y="146"/>
                </a:lnTo>
                <a:lnTo>
                  <a:pt x="228" y="141"/>
                </a:lnTo>
                <a:lnTo>
                  <a:pt x="226" y="140"/>
                </a:lnTo>
                <a:lnTo>
                  <a:pt x="225" y="141"/>
                </a:lnTo>
                <a:lnTo>
                  <a:pt x="225" y="142"/>
                </a:lnTo>
                <a:lnTo>
                  <a:pt x="227" y="145"/>
                </a:lnTo>
                <a:lnTo>
                  <a:pt x="230" y="148"/>
                </a:lnTo>
                <a:lnTo>
                  <a:pt x="238" y="151"/>
                </a:lnTo>
                <a:lnTo>
                  <a:pt x="240" y="149"/>
                </a:lnTo>
                <a:lnTo>
                  <a:pt x="243" y="149"/>
                </a:lnTo>
                <a:lnTo>
                  <a:pt x="243" y="153"/>
                </a:lnTo>
                <a:lnTo>
                  <a:pt x="245" y="154"/>
                </a:lnTo>
                <a:lnTo>
                  <a:pt x="249" y="156"/>
                </a:lnTo>
                <a:lnTo>
                  <a:pt x="250" y="158"/>
                </a:lnTo>
                <a:lnTo>
                  <a:pt x="250" y="159"/>
                </a:lnTo>
                <a:lnTo>
                  <a:pt x="249" y="159"/>
                </a:lnTo>
                <a:lnTo>
                  <a:pt x="237" y="154"/>
                </a:lnTo>
                <a:lnTo>
                  <a:pt x="224" y="149"/>
                </a:lnTo>
                <a:lnTo>
                  <a:pt x="219" y="145"/>
                </a:lnTo>
                <a:lnTo>
                  <a:pt x="219" y="147"/>
                </a:lnTo>
                <a:lnTo>
                  <a:pt x="224" y="149"/>
                </a:lnTo>
                <a:lnTo>
                  <a:pt x="221" y="151"/>
                </a:lnTo>
                <a:lnTo>
                  <a:pt x="219" y="149"/>
                </a:lnTo>
                <a:lnTo>
                  <a:pt x="215" y="146"/>
                </a:lnTo>
                <a:lnTo>
                  <a:pt x="214" y="142"/>
                </a:lnTo>
                <a:lnTo>
                  <a:pt x="215" y="141"/>
                </a:lnTo>
                <a:lnTo>
                  <a:pt x="215" y="137"/>
                </a:lnTo>
                <a:lnTo>
                  <a:pt x="218" y="137"/>
                </a:lnTo>
                <a:lnTo>
                  <a:pt x="218" y="135"/>
                </a:lnTo>
                <a:lnTo>
                  <a:pt x="213" y="135"/>
                </a:lnTo>
                <a:lnTo>
                  <a:pt x="213" y="137"/>
                </a:lnTo>
                <a:lnTo>
                  <a:pt x="212" y="139"/>
                </a:lnTo>
                <a:lnTo>
                  <a:pt x="212" y="140"/>
                </a:lnTo>
                <a:lnTo>
                  <a:pt x="211" y="140"/>
                </a:lnTo>
                <a:lnTo>
                  <a:pt x="207" y="137"/>
                </a:lnTo>
                <a:lnTo>
                  <a:pt x="205" y="136"/>
                </a:lnTo>
                <a:lnTo>
                  <a:pt x="202" y="136"/>
                </a:lnTo>
                <a:lnTo>
                  <a:pt x="203" y="137"/>
                </a:lnTo>
                <a:lnTo>
                  <a:pt x="203" y="139"/>
                </a:lnTo>
                <a:lnTo>
                  <a:pt x="205" y="140"/>
                </a:lnTo>
                <a:lnTo>
                  <a:pt x="207" y="140"/>
                </a:lnTo>
                <a:lnTo>
                  <a:pt x="207" y="141"/>
                </a:lnTo>
                <a:lnTo>
                  <a:pt x="202" y="140"/>
                </a:lnTo>
                <a:lnTo>
                  <a:pt x="202" y="142"/>
                </a:lnTo>
                <a:lnTo>
                  <a:pt x="203" y="143"/>
                </a:lnTo>
                <a:lnTo>
                  <a:pt x="207" y="143"/>
                </a:lnTo>
                <a:lnTo>
                  <a:pt x="206" y="146"/>
                </a:lnTo>
                <a:lnTo>
                  <a:pt x="203" y="146"/>
                </a:lnTo>
                <a:lnTo>
                  <a:pt x="203" y="147"/>
                </a:lnTo>
                <a:lnTo>
                  <a:pt x="205" y="148"/>
                </a:lnTo>
                <a:lnTo>
                  <a:pt x="209" y="148"/>
                </a:lnTo>
                <a:lnTo>
                  <a:pt x="209" y="146"/>
                </a:lnTo>
                <a:lnTo>
                  <a:pt x="207" y="143"/>
                </a:lnTo>
                <a:lnTo>
                  <a:pt x="212" y="145"/>
                </a:lnTo>
                <a:lnTo>
                  <a:pt x="214" y="146"/>
                </a:lnTo>
                <a:lnTo>
                  <a:pt x="215" y="149"/>
                </a:lnTo>
                <a:lnTo>
                  <a:pt x="213" y="149"/>
                </a:lnTo>
                <a:lnTo>
                  <a:pt x="213" y="151"/>
                </a:lnTo>
                <a:lnTo>
                  <a:pt x="218" y="153"/>
                </a:lnTo>
                <a:lnTo>
                  <a:pt x="221" y="154"/>
                </a:lnTo>
                <a:lnTo>
                  <a:pt x="221" y="158"/>
                </a:lnTo>
                <a:lnTo>
                  <a:pt x="219" y="158"/>
                </a:lnTo>
                <a:lnTo>
                  <a:pt x="215" y="161"/>
                </a:lnTo>
                <a:lnTo>
                  <a:pt x="214" y="161"/>
                </a:lnTo>
                <a:lnTo>
                  <a:pt x="211" y="159"/>
                </a:lnTo>
                <a:lnTo>
                  <a:pt x="215" y="159"/>
                </a:lnTo>
                <a:lnTo>
                  <a:pt x="213" y="158"/>
                </a:lnTo>
                <a:lnTo>
                  <a:pt x="213" y="156"/>
                </a:lnTo>
                <a:lnTo>
                  <a:pt x="214" y="158"/>
                </a:lnTo>
                <a:lnTo>
                  <a:pt x="216" y="158"/>
                </a:lnTo>
                <a:lnTo>
                  <a:pt x="218" y="156"/>
                </a:lnTo>
                <a:lnTo>
                  <a:pt x="216" y="154"/>
                </a:lnTo>
                <a:lnTo>
                  <a:pt x="214" y="154"/>
                </a:lnTo>
                <a:lnTo>
                  <a:pt x="212" y="155"/>
                </a:lnTo>
                <a:lnTo>
                  <a:pt x="208" y="154"/>
                </a:lnTo>
                <a:lnTo>
                  <a:pt x="206" y="153"/>
                </a:lnTo>
                <a:lnTo>
                  <a:pt x="200" y="147"/>
                </a:lnTo>
                <a:lnTo>
                  <a:pt x="197" y="146"/>
                </a:lnTo>
                <a:lnTo>
                  <a:pt x="195" y="148"/>
                </a:lnTo>
                <a:lnTo>
                  <a:pt x="200" y="151"/>
                </a:lnTo>
                <a:lnTo>
                  <a:pt x="201" y="153"/>
                </a:lnTo>
                <a:lnTo>
                  <a:pt x="201" y="155"/>
                </a:lnTo>
                <a:lnTo>
                  <a:pt x="199" y="154"/>
                </a:lnTo>
                <a:lnTo>
                  <a:pt x="195" y="152"/>
                </a:lnTo>
                <a:lnTo>
                  <a:pt x="193" y="147"/>
                </a:lnTo>
                <a:lnTo>
                  <a:pt x="190" y="145"/>
                </a:lnTo>
                <a:lnTo>
                  <a:pt x="187" y="143"/>
                </a:lnTo>
                <a:lnTo>
                  <a:pt x="186" y="142"/>
                </a:lnTo>
                <a:lnTo>
                  <a:pt x="188" y="148"/>
                </a:lnTo>
                <a:lnTo>
                  <a:pt x="194" y="152"/>
                </a:lnTo>
                <a:lnTo>
                  <a:pt x="196" y="156"/>
                </a:lnTo>
                <a:lnTo>
                  <a:pt x="195" y="158"/>
                </a:lnTo>
                <a:lnTo>
                  <a:pt x="191" y="154"/>
                </a:lnTo>
                <a:lnTo>
                  <a:pt x="190" y="154"/>
                </a:lnTo>
                <a:lnTo>
                  <a:pt x="189" y="156"/>
                </a:lnTo>
                <a:lnTo>
                  <a:pt x="188" y="155"/>
                </a:lnTo>
                <a:lnTo>
                  <a:pt x="188" y="153"/>
                </a:lnTo>
                <a:lnTo>
                  <a:pt x="182" y="153"/>
                </a:lnTo>
                <a:lnTo>
                  <a:pt x="181" y="152"/>
                </a:lnTo>
                <a:lnTo>
                  <a:pt x="182" y="151"/>
                </a:lnTo>
                <a:lnTo>
                  <a:pt x="181" y="148"/>
                </a:lnTo>
                <a:lnTo>
                  <a:pt x="183" y="149"/>
                </a:lnTo>
                <a:lnTo>
                  <a:pt x="184" y="149"/>
                </a:lnTo>
                <a:lnTo>
                  <a:pt x="186" y="148"/>
                </a:lnTo>
                <a:lnTo>
                  <a:pt x="184" y="146"/>
                </a:lnTo>
                <a:lnTo>
                  <a:pt x="183" y="142"/>
                </a:lnTo>
                <a:lnTo>
                  <a:pt x="183" y="141"/>
                </a:lnTo>
                <a:lnTo>
                  <a:pt x="180" y="140"/>
                </a:lnTo>
                <a:lnTo>
                  <a:pt x="178" y="136"/>
                </a:lnTo>
                <a:lnTo>
                  <a:pt x="177" y="137"/>
                </a:lnTo>
                <a:lnTo>
                  <a:pt x="177" y="140"/>
                </a:lnTo>
                <a:lnTo>
                  <a:pt x="180" y="140"/>
                </a:lnTo>
                <a:lnTo>
                  <a:pt x="182" y="145"/>
                </a:lnTo>
                <a:lnTo>
                  <a:pt x="172" y="140"/>
                </a:lnTo>
                <a:lnTo>
                  <a:pt x="171" y="139"/>
                </a:lnTo>
                <a:lnTo>
                  <a:pt x="170" y="136"/>
                </a:lnTo>
                <a:lnTo>
                  <a:pt x="170" y="135"/>
                </a:lnTo>
                <a:lnTo>
                  <a:pt x="169" y="135"/>
                </a:lnTo>
                <a:lnTo>
                  <a:pt x="169" y="136"/>
                </a:lnTo>
                <a:lnTo>
                  <a:pt x="166" y="139"/>
                </a:lnTo>
                <a:lnTo>
                  <a:pt x="166" y="141"/>
                </a:lnTo>
                <a:lnTo>
                  <a:pt x="168" y="141"/>
                </a:lnTo>
                <a:lnTo>
                  <a:pt x="170" y="143"/>
                </a:lnTo>
                <a:lnTo>
                  <a:pt x="171" y="147"/>
                </a:lnTo>
                <a:lnTo>
                  <a:pt x="170" y="147"/>
                </a:lnTo>
                <a:lnTo>
                  <a:pt x="169" y="143"/>
                </a:lnTo>
                <a:lnTo>
                  <a:pt x="163" y="143"/>
                </a:lnTo>
                <a:lnTo>
                  <a:pt x="162" y="145"/>
                </a:lnTo>
                <a:lnTo>
                  <a:pt x="162" y="148"/>
                </a:lnTo>
                <a:lnTo>
                  <a:pt x="164" y="152"/>
                </a:lnTo>
                <a:lnTo>
                  <a:pt x="164" y="153"/>
                </a:lnTo>
                <a:lnTo>
                  <a:pt x="163" y="153"/>
                </a:lnTo>
                <a:lnTo>
                  <a:pt x="163" y="156"/>
                </a:lnTo>
                <a:lnTo>
                  <a:pt x="160" y="156"/>
                </a:lnTo>
                <a:lnTo>
                  <a:pt x="160" y="159"/>
                </a:lnTo>
                <a:lnTo>
                  <a:pt x="158" y="160"/>
                </a:lnTo>
                <a:lnTo>
                  <a:pt x="156" y="158"/>
                </a:lnTo>
                <a:lnTo>
                  <a:pt x="153" y="154"/>
                </a:lnTo>
                <a:lnTo>
                  <a:pt x="151" y="152"/>
                </a:lnTo>
                <a:lnTo>
                  <a:pt x="151" y="149"/>
                </a:lnTo>
                <a:lnTo>
                  <a:pt x="147" y="149"/>
                </a:lnTo>
                <a:lnTo>
                  <a:pt x="147" y="148"/>
                </a:lnTo>
                <a:lnTo>
                  <a:pt x="146" y="147"/>
                </a:lnTo>
                <a:lnTo>
                  <a:pt x="143" y="146"/>
                </a:lnTo>
                <a:lnTo>
                  <a:pt x="143" y="145"/>
                </a:lnTo>
                <a:lnTo>
                  <a:pt x="140" y="142"/>
                </a:lnTo>
                <a:lnTo>
                  <a:pt x="140" y="141"/>
                </a:lnTo>
                <a:lnTo>
                  <a:pt x="139" y="139"/>
                </a:lnTo>
                <a:lnTo>
                  <a:pt x="139" y="134"/>
                </a:lnTo>
                <a:lnTo>
                  <a:pt x="138" y="133"/>
                </a:lnTo>
                <a:lnTo>
                  <a:pt x="134" y="131"/>
                </a:lnTo>
                <a:lnTo>
                  <a:pt x="133" y="128"/>
                </a:lnTo>
                <a:lnTo>
                  <a:pt x="131" y="125"/>
                </a:lnTo>
                <a:lnTo>
                  <a:pt x="132" y="128"/>
                </a:lnTo>
                <a:lnTo>
                  <a:pt x="133" y="129"/>
                </a:lnTo>
                <a:lnTo>
                  <a:pt x="133" y="131"/>
                </a:lnTo>
                <a:lnTo>
                  <a:pt x="131" y="130"/>
                </a:lnTo>
                <a:lnTo>
                  <a:pt x="129" y="130"/>
                </a:lnTo>
                <a:lnTo>
                  <a:pt x="129" y="137"/>
                </a:lnTo>
                <a:lnTo>
                  <a:pt x="137" y="142"/>
                </a:lnTo>
                <a:lnTo>
                  <a:pt x="135" y="142"/>
                </a:lnTo>
                <a:lnTo>
                  <a:pt x="135" y="143"/>
                </a:lnTo>
                <a:lnTo>
                  <a:pt x="137" y="145"/>
                </a:lnTo>
                <a:lnTo>
                  <a:pt x="139" y="145"/>
                </a:lnTo>
                <a:lnTo>
                  <a:pt x="140" y="146"/>
                </a:lnTo>
                <a:lnTo>
                  <a:pt x="141" y="148"/>
                </a:lnTo>
                <a:lnTo>
                  <a:pt x="137" y="147"/>
                </a:lnTo>
                <a:lnTo>
                  <a:pt x="133" y="145"/>
                </a:lnTo>
                <a:lnTo>
                  <a:pt x="132" y="143"/>
                </a:lnTo>
                <a:lnTo>
                  <a:pt x="132" y="140"/>
                </a:lnTo>
                <a:lnTo>
                  <a:pt x="129" y="140"/>
                </a:lnTo>
                <a:lnTo>
                  <a:pt x="121" y="131"/>
                </a:lnTo>
                <a:lnTo>
                  <a:pt x="121" y="136"/>
                </a:lnTo>
                <a:lnTo>
                  <a:pt x="120" y="137"/>
                </a:lnTo>
                <a:lnTo>
                  <a:pt x="119" y="137"/>
                </a:lnTo>
                <a:lnTo>
                  <a:pt x="115" y="134"/>
                </a:lnTo>
                <a:lnTo>
                  <a:pt x="113" y="136"/>
                </a:lnTo>
                <a:lnTo>
                  <a:pt x="112" y="135"/>
                </a:lnTo>
                <a:lnTo>
                  <a:pt x="109" y="134"/>
                </a:lnTo>
                <a:lnTo>
                  <a:pt x="103" y="125"/>
                </a:lnTo>
                <a:lnTo>
                  <a:pt x="102" y="125"/>
                </a:lnTo>
                <a:lnTo>
                  <a:pt x="102" y="128"/>
                </a:lnTo>
                <a:lnTo>
                  <a:pt x="101" y="128"/>
                </a:lnTo>
                <a:lnTo>
                  <a:pt x="98" y="129"/>
                </a:lnTo>
                <a:lnTo>
                  <a:pt x="97" y="129"/>
                </a:lnTo>
                <a:lnTo>
                  <a:pt x="97" y="128"/>
                </a:lnTo>
                <a:lnTo>
                  <a:pt x="94" y="124"/>
                </a:lnTo>
                <a:lnTo>
                  <a:pt x="91" y="124"/>
                </a:lnTo>
                <a:lnTo>
                  <a:pt x="90" y="123"/>
                </a:lnTo>
                <a:lnTo>
                  <a:pt x="91" y="123"/>
                </a:lnTo>
                <a:lnTo>
                  <a:pt x="91" y="122"/>
                </a:lnTo>
                <a:lnTo>
                  <a:pt x="90" y="122"/>
                </a:lnTo>
                <a:lnTo>
                  <a:pt x="90" y="128"/>
                </a:lnTo>
                <a:lnTo>
                  <a:pt x="89" y="127"/>
                </a:lnTo>
                <a:lnTo>
                  <a:pt x="87" y="125"/>
                </a:lnTo>
                <a:lnTo>
                  <a:pt x="84" y="122"/>
                </a:lnTo>
                <a:lnTo>
                  <a:pt x="83" y="121"/>
                </a:lnTo>
                <a:lnTo>
                  <a:pt x="79" y="119"/>
                </a:lnTo>
                <a:lnTo>
                  <a:pt x="89" y="119"/>
                </a:lnTo>
                <a:lnTo>
                  <a:pt x="90" y="118"/>
                </a:lnTo>
                <a:lnTo>
                  <a:pt x="90" y="117"/>
                </a:lnTo>
                <a:lnTo>
                  <a:pt x="91" y="117"/>
                </a:lnTo>
                <a:lnTo>
                  <a:pt x="93" y="118"/>
                </a:lnTo>
                <a:lnTo>
                  <a:pt x="95" y="122"/>
                </a:lnTo>
                <a:lnTo>
                  <a:pt x="95" y="124"/>
                </a:lnTo>
                <a:lnTo>
                  <a:pt x="96" y="124"/>
                </a:lnTo>
                <a:lnTo>
                  <a:pt x="97" y="123"/>
                </a:lnTo>
                <a:lnTo>
                  <a:pt x="96" y="121"/>
                </a:lnTo>
                <a:lnTo>
                  <a:pt x="95" y="119"/>
                </a:lnTo>
                <a:lnTo>
                  <a:pt x="95" y="117"/>
                </a:lnTo>
                <a:lnTo>
                  <a:pt x="97" y="112"/>
                </a:lnTo>
                <a:lnTo>
                  <a:pt x="97" y="111"/>
                </a:lnTo>
                <a:lnTo>
                  <a:pt x="98" y="110"/>
                </a:lnTo>
                <a:lnTo>
                  <a:pt x="97" y="106"/>
                </a:lnTo>
                <a:lnTo>
                  <a:pt x="95" y="102"/>
                </a:lnTo>
                <a:lnTo>
                  <a:pt x="90" y="97"/>
                </a:lnTo>
                <a:lnTo>
                  <a:pt x="88" y="93"/>
                </a:lnTo>
                <a:lnTo>
                  <a:pt x="88" y="91"/>
                </a:lnTo>
                <a:lnTo>
                  <a:pt x="90" y="92"/>
                </a:lnTo>
                <a:lnTo>
                  <a:pt x="96" y="92"/>
                </a:lnTo>
                <a:lnTo>
                  <a:pt x="95" y="91"/>
                </a:lnTo>
                <a:lnTo>
                  <a:pt x="96" y="90"/>
                </a:lnTo>
                <a:lnTo>
                  <a:pt x="98" y="92"/>
                </a:lnTo>
                <a:lnTo>
                  <a:pt x="101" y="92"/>
                </a:lnTo>
                <a:lnTo>
                  <a:pt x="106" y="96"/>
                </a:lnTo>
                <a:lnTo>
                  <a:pt x="107" y="96"/>
                </a:lnTo>
                <a:lnTo>
                  <a:pt x="102" y="88"/>
                </a:lnTo>
                <a:lnTo>
                  <a:pt x="101" y="85"/>
                </a:lnTo>
                <a:lnTo>
                  <a:pt x="107" y="84"/>
                </a:lnTo>
                <a:lnTo>
                  <a:pt x="109" y="85"/>
                </a:lnTo>
                <a:lnTo>
                  <a:pt x="112" y="87"/>
                </a:lnTo>
                <a:lnTo>
                  <a:pt x="108" y="86"/>
                </a:lnTo>
                <a:lnTo>
                  <a:pt x="107" y="86"/>
                </a:lnTo>
                <a:lnTo>
                  <a:pt x="106" y="88"/>
                </a:lnTo>
                <a:lnTo>
                  <a:pt x="107" y="90"/>
                </a:lnTo>
                <a:lnTo>
                  <a:pt x="109" y="88"/>
                </a:lnTo>
                <a:lnTo>
                  <a:pt x="113" y="90"/>
                </a:lnTo>
                <a:lnTo>
                  <a:pt x="119" y="87"/>
                </a:lnTo>
                <a:lnTo>
                  <a:pt x="120" y="87"/>
                </a:lnTo>
                <a:lnTo>
                  <a:pt x="119" y="86"/>
                </a:lnTo>
                <a:lnTo>
                  <a:pt x="119" y="85"/>
                </a:lnTo>
                <a:lnTo>
                  <a:pt x="118" y="85"/>
                </a:lnTo>
                <a:lnTo>
                  <a:pt x="116" y="86"/>
                </a:lnTo>
                <a:lnTo>
                  <a:pt x="115" y="86"/>
                </a:lnTo>
                <a:lnTo>
                  <a:pt x="112" y="85"/>
                </a:lnTo>
                <a:lnTo>
                  <a:pt x="110" y="84"/>
                </a:lnTo>
                <a:lnTo>
                  <a:pt x="109" y="81"/>
                </a:lnTo>
                <a:lnTo>
                  <a:pt x="110" y="81"/>
                </a:lnTo>
                <a:lnTo>
                  <a:pt x="110" y="79"/>
                </a:lnTo>
                <a:lnTo>
                  <a:pt x="112" y="78"/>
                </a:lnTo>
                <a:lnTo>
                  <a:pt x="113" y="78"/>
                </a:lnTo>
                <a:lnTo>
                  <a:pt x="112" y="75"/>
                </a:lnTo>
                <a:lnTo>
                  <a:pt x="115" y="75"/>
                </a:lnTo>
                <a:lnTo>
                  <a:pt x="112" y="72"/>
                </a:lnTo>
                <a:lnTo>
                  <a:pt x="110" y="73"/>
                </a:lnTo>
                <a:lnTo>
                  <a:pt x="110" y="74"/>
                </a:lnTo>
                <a:lnTo>
                  <a:pt x="108" y="79"/>
                </a:lnTo>
                <a:lnTo>
                  <a:pt x="107" y="80"/>
                </a:lnTo>
                <a:lnTo>
                  <a:pt x="106" y="80"/>
                </a:lnTo>
                <a:lnTo>
                  <a:pt x="104" y="79"/>
                </a:lnTo>
                <a:lnTo>
                  <a:pt x="104" y="76"/>
                </a:lnTo>
                <a:lnTo>
                  <a:pt x="103" y="75"/>
                </a:lnTo>
                <a:lnTo>
                  <a:pt x="101" y="75"/>
                </a:lnTo>
                <a:lnTo>
                  <a:pt x="102" y="76"/>
                </a:lnTo>
                <a:lnTo>
                  <a:pt x="102" y="82"/>
                </a:lnTo>
                <a:lnTo>
                  <a:pt x="101" y="82"/>
                </a:lnTo>
                <a:lnTo>
                  <a:pt x="98" y="80"/>
                </a:lnTo>
                <a:lnTo>
                  <a:pt x="97" y="80"/>
                </a:lnTo>
                <a:lnTo>
                  <a:pt x="97" y="78"/>
                </a:lnTo>
                <a:lnTo>
                  <a:pt x="95" y="76"/>
                </a:lnTo>
                <a:lnTo>
                  <a:pt x="95" y="75"/>
                </a:lnTo>
                <a:lnTo>
                  <a:pt x="94" y="75"/>
                </a:lnTo>
                <a:lnTo>
                  <a:pt x="91" y="76"/>
                </a:lnTo>
                <a:lnTo>
                  <a:pt x="90" y="75"/>
                </a:lnTo>
                <a:lnTo>
                  <a:pt x="90" y="74"/>
                </a:lnTo>
                <a:lnTo>
                  <a:pt x="89" y="73"/>
                </a:lnTo>
                <a:lnTo>
                  <a:pt x="87" y="69"/>
                </a:lnTo>
                <a:lnTo>
                  <a:pt x="87" y="68"/>
                </a:lnTo>
                <a:lnTo>
                  <a:pt x="91" y="65"/>
                </a:lnTo>
                <a:lnTo>
                  <a:pt x="93" y="63"/>
                </a:lnTo>
                <a:lnTo>
                  <a:pt x="93" y="61"/>
                </a:lnTo>
                <a:lnTo>
                  <a:pt x="95" y="57"/>
                </a:lnTo>
                <a:lnTo>
                  <a:pt x="95" y="54"/>
                </a:lnTo>
                <a:lnTo>
                  <a:pt x="96" y="50"/>
                </a:lnTo>
                <a:lnTo>
                  <a:pt x="97" y="49"/>
                </a:lnTo>
                <a:lnTo>
                  <a:pt x="104" y="48"/>
                </a:lnTo>
                <a:lnTo>
                  <a:pt x="106" y="45"/>
                </a:lnTo>
                <a:lnTo>
                  <a:pt x="107" y="42"/>
                </a:lnTo>
                <a:lnTo>
                  <a:pt x="106" y="41"/>
                </a:lnTo>
                <a:lnTo>
                  <a:pt x="104" y="41"/>
                </a:lnTo>
                <a:lnTo>
                  <a:pt x="104" y="42"/>
                </a:lnTo>
                <a:lnTo>
                  <a:pt x="102" y="45"/>
                </a:lnTo>
                <a:lnTo>
                  <a:pt x="91" y="51"/>
                </a:lnTo>
                <a:lnTo>
                  <a:pt x="90" y="53"/>
                </a:lnTo>
                <a:lnTo>
                  <a:pt x="90" y="61"/>
                </a:lnTo>
                <a:lnTo>
                  <a:pt x="88" y="63"/>
                </a:lnTo>
                <a:lnTo>
                  <a:pt x="84" y="62"/>
                </a:lnTo>
                <a:lnTo>
                  <a:pt x="82" y="60"/>
                </a:lnTo>
                <a:lnTo>
                  <a:pt x="82" y="55"/>
                </a:lnTo>
                <a:lnTo>
                  <a:pt x="81" y="51"/>
                </a:lnTo>
                <a:lnTo>
                  <a:pt x="78" y="43"/>
                </a:lnTo>
                <a:lnTo>
                  <a:pt x="81" y="41"/>
                </a:lnTo>
                <a:lnTo>
                  <a:pt x="81" y="37"/>
                </a:lnTo>
                <a:lnTo>
                  <a:pt x="82" y="35"/>
                </a:lnTo>
                <a:lnTo>
                  <a:pt x="85" y="31"/>
                </a:lnTo>
                <a:lnTo>
                  <a:pt x="83" y="27"/>
                </a:lnTo>
                <a:lnTo>
                  <a:pt x="82" y="27"/>
                </a:lnTo>
                <a:lnTo>
                  <a:pt x="76" y="36"/>
                </a:lnTo>
                <a:lnTo>
                  <a:pt x="75" y="38"/>
                </a:lnTo>
                <a:lnTo>
                  <a:pt x="73" y="42"/>
                </a:lnTo>
                <a:lnTo>
                  <a:pt x="73" y="45"/>
                </a:lnTo>
                <a:lnTo>
                  <a:pt x="72" y="47"/>
                </a:lnTo>
                <a:lnTo>
                  <a:pt x="72" y="48"/>
                </a:lnTo>
                <a:lnTo>
                  <a:pt x="71" y="47"/>
                </a:lnTo>
                <a:lnTo>
                  <a:pt x="71" y="42"/>
                </a:lnTo>
                <a:lnTo>
                  <a:pt x="69" y="39"/>
                </a:lnTo>
                <a:lnTo>
                  <a:pt x="70" y="37"/>
                </a:lnTo>
                <a:lnTo>
                  <a:pt x="69" y="37"/>
                </a:lnTo>
                <a:lnTo>
                  <a:pt x="68" y="38"/>
                </a:lnTo>
                <a:lnTo>
                  <a:pt x="68" y="41"/>
                </a:lnTo>
                <a:lnTo>
                  <a:pt x="69" y="42"/>
                </a:lnTo>
                <a:lnTo>
                  <a:pt x="69" y="44"/>
                </a:lnTo>
                <a:lnTo>
                  <a:pt x="66" y="44"/>
                </a:lnTo>
                <a:lnTo>
                  <a:pt x="66" y="49"/>
                </a:lnTo>
                <a:lnTo>
                  <a:pt x="65" y="50"/>
                </a:lnTo>
                <a:lnTo>
                  <a:pt x="65" y="49"/>
                </a:lnTo>
                <a:lnTo>
                  <a:pt x="64" y="49"/>
                </a:lnTo>
                <a:lnTo>
                  <a:pt x="63" y="51"/>
                </a:lnTo>
                <a:lnTo>
                  <a:pt x="62" y="51"/>
                </a:lnTo>
                <a:lnTo>
                  <a:pt x="62" y="43"/>
                </a:lnTo>
                <a:lnTo>
                  <a:pt x="59" y="41"/>
                </a:lnTo>
                <a:lnTo>
                  <a:pt x="58" y="42"/>
                </a:lnTo>
                <a:lnTo>
                  <a:pt x="59" y="47"/>
                </a:lnTo>
                <a:lnTo>
                  <a:pt x="57" y="45"/>
                </a:lnTo>
                <a:lnTo>
                  <a:pt x="56" y="44"/>
                </a:lnTo>
                <a:lnTo>
                  <a:pt x="56" y="38"/>
                </a:lnTo>
                <a:lnTo>
                  <a:pt x="52" y="42"/>
                </a:lnTo>
                <a:lnTo>
                  <a:pt x="51" y="41"/>
                </a:lnTo>
                <a:lnTo>
                  <a:pt x="51" y="38"/>
                </a:lnTo>
                <a:lnTo>
                  <a:pt x="52" y="36"/>
                </a:lnTo>
                <a:lnTo>
                  <a:pt x="52" y="31"/>
                </a:lnTo>
                <a:lnTo>
                  <a:pt x="51" y="29"/>
                </a:lnTo>
                <a:lnTo>
                  <a:pt x="50" y="27"/>
                </a:lnTo>
                <a:lnTo>
                  <a:pt x="48" y="25"/>
                </a:lnTo>
                <a:lnTo>
                  <a:pt x="48" y="19"/>
                </a:lnTo>
                <a:lnTo>
                  <a:pt x="47" y="20"/>
                </a:lnTo>
                <a:lnTo>
                  <a:pt x="46" y="23"/>
                </a:lnTo>
                <a:lnTo>
                  <a:pt x="46" y="29"/>
                </a:lnTo>
                <a:lnTo>
                  <a:pt x="45" y="30"/>
                </a:lnTo>
                <a:lnTo>
                  <a:pt x="41" y="30"/>
                </a:lnTo>
                <a:lnTo>
                  <a:pt x="40" y="32"/>
                </a:lnTo>
                <a:lnTo>
                  <a:pt x="40" y="36"/>
                </a:lnTo>
                <a:lnTo>
                  <a:pt x="42" y="38"/>
                </a:lnTo>
                <a:lnTo>
                  <a:pt x="42" y="41"/>
                </a:lnTo>
                <a:lnTo>
                  <a:pt x="41" y="39"/>
                </a:lnTo>
                <a:lnTo>
                  <a:pt x="39" y="38"/>
                </a:lnTo>
                <a:lnTo>
                  <a:pt x="37" y="35"/>
                </a:lnTo>
                <a:lnTo>
                  <a:pt x="35" y="32"/>
                </a:lnTo>
                <a:lnTo>
                  <a:pt x="37" y="27"/>
                </a:lnTo>
                <a:lnTo>
                  <a:pt x="37" y="25"/>
                </a:lnTo>
                <a:lnTo>
                  <a:pt x="35" y="26"/>
                </a:lnTo>
                <a:lnTo>
                  <a:pt x="33" y="30"/>
                </a:lnTo>
                <a:lnTo>
                  <a:pt x="32" y="31"/>
                </a:lnTo>
                <a:lnTo>
                  <a:pt x="31" y="31"/>
                </a:lnTo>
                <a:lnTo>
                  <a:pt x="32" y="35"/>
                </a:lnTo>
                <a:lnTo>
                  <a:pt x="33" y="37"/>
                </a:lnTo>
                <a:lnTo>
                  <a:pt x="35" y="38"/>
                </a:lnTo>
                <a:lnTo>
                  <a:pt x="37" y="41"/>
                </a:lnTo>
                <a:lnTo>
                  <a:pt x="31" y="39"/>
                </a:lnTo>
                <a:lnTo>
                  <a:pt x="27" y="41"/>
                </a:lnTo>
                <a:lnTo>
                  <a:pt x="23" y="39"/>
                </a:lnTo>
                <a:lnTo>
                  <a:pt x="21" y="42"/>
                </a:lnTo>
                <a:lnTo>
                  <a:pt x="19" y="43"/>
                </a:lnTo>
                <a:lnTo>
                  <a:pt x="16" y="41"/>
                </a:lnTo>
                <a:lnTo>
                  <a:pt x="16" y="38"/>
                </a:lnTo>
                <a:lnTo>
                  <a:pt x="11" y="33"/>
                </a:lnTo>
                <a:lnTo>
                  <a:pt x="8" y="32"/>
                </a:lnTo>
                <a:lnTo>
                  <a:pt x="6" y="29"/>
                </a:lnTo>
                <a:lnTo>
                  <a:pt x="6" y="19"/>
                </a:lnTo>
                <a:lnTo>
                  <a:pt x="4" y="18"/>
                </a:lnTo>
                <a:lnTo>
                  <a:pt x="2" y="11"/>
                </a:lnTo>
                <a:lnTo>
                  <a:pt x="2" y="10"/>
                </a:lnTo>
                <a:lnTo>
                  <a:pt x="3" y="8"/>
                </a:lnTo>
                <a:lnTo>
                  <a:pt x="1" y="6"/>
                </a:lnTo>
                <a:lnTo>
                  <a:pt x="1" y="4"/>
                </a:lnTo>
                <a:lnTo>
                  <a:pt x="0" y="1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1" name="Freeform 20">
            <a:extLst>
              <a:ext uri="{FF2B5EF4-FFF2-40B4-BE49-F238E27FC236}">
                <a16:creationId xmlns:a16="http://schemas.microsoft.com/office/drawing/2014/main" id="{0AE1136B-EC9B-4969-91B9-230E8934FAC9}"/>
              </a:ext>
            </a:extLst>
          </p:cNvPr>
          <p:cNvSpPr>
            <a:spLocks noEditPoints="1"/>
          </p:cNvSpPr>
          <p:nvPr/>
        </p:nvSpPr>
        <p:spPr bwMode="auto">
          <a:xfrm>
            <a:off x="2469090" y="4878434"/>
            <a:ext cx="578128" cy="405703"/>
          </a:xfrm>
          <a:custGeom>
            <a:avLst/>
            <a:gdLst/>
            <a:ahLst/>
            <a:cxnLst>
              <a:cxn ang="0">
                <a:pos x="366" y="220"/>
              </a:cxn>
              <a:cxn ang="0">
                <a:pos x="274" y="1"/>
              </a:cxn>
              <a:cxn ang="0">
                <a:pos x="287" y="8"/>
              </a:cxn>
              <a:cxn ang="0">
                <a:pos x="291" y="15"/>
              </a:cxn>
              <a:cxn ang="0">
                <a:pos x="294" y="28"/>
              </a:cxn>
              <a:cxn ang="0">
                <a:pos x="303" y="43"/>
              </a:cxn>
              <a:cxn ang="0">
                <a:pos x="310" y="54"/>
              </a:cxn>
              <a:cxn ang="0">
                <a:pos x="318" y="69"/>
              </a:cxn>
              <a:cxn ang="0">
                <a:pos x="331" y="85"/>
              </a:cxn>
              <a:cxn ang="0">
                <a:pos x="337" y="117"/>
              </a:cxn>
              <a:cxn ang="0">
                <a:pos x="331" y="135"/>
              </a:cxn>
              <a:cxn ang="0">
                <a:pos x="334" y="167"/>
              </a:cxn>
              <a:cxn ang="0">
                <a:pos x="343" y="182"/>
              </a:cxn>
              <a:cxn ang="0">
                <a:pos x="361" y="181"/>
              </a:cxn>
              <a:cxn ang="0">
                <a:pos x="375" y="178"/>
              </a:cxn>
              <a:cxn ang="0">
                <a:pos x="397" y="186"/>
              </a:cxn>
              <a:cxn ang="0">
                <a:pos x="397" y="199"/>
              </a:cxn>
              <a:cxn ang="0">
                <a:pos x="378" y="212"/>
              </a:cxn>
              <a:cxn ang="0">
                <a:pos x="375" y="210"/>
              </a:cxn>
              <a:cxn ang="0">
                <a:pos x="368" y="202"/>
              </a:cxn>
              <a:cxn ang="0">
                <a:pos x="367" y="211"/>
              </a:cxn>
              <a:cxn ang="0">
                <a:pos x="360" y="221"/>
              </a:cxn>
              <a:cxn ang="0">
                <a:pos x="359" y="229"/>
              </a:cxn>
              <a:cxn ang="0">
                <a:pos x="358" y="237"/>
              </a:cxn>
              <a:cxn ang="0">
                <a:pos x="355" y="261"/>
              </a:cxn>
              <a:cxn ang="0">
                <a:pos x="322" y="260"/>
              </a:cxn>
              <a:cxn ang="0">
                <a:pos x="297" y="253"/>
              </a:cxn>
              <a:cxn ang="0">
                <a:pos x="272" y="254"/>
              </a:cxn>
              <a:cxn ang="0">
                <a:pos x="235" y="273"/>
              </a:cxn>
              <a:cxn ang="0">
                <a:pos x="214" y="279"/>
              </a:cxn>
              <a:cxn ang="0">
                <a:pos x="173" y="273"/>
              </a:cxn>
              <a:cxn ang="0">
                <a:pos x="123" y="267"/>
              </a:cxn>
              <a:cxn ang="0">
                <a:pos x="116" y="259"/>
              </a:cxn>
              <a:cxn ang="0">
                <a:pos x="100" y="241"/>
              </a:cxn>
              <a:cxn ang="0">
                <a:pos x="100" y="225"/>
              </a:cxn>
              <a:cxn ang="0">
                <a:pos x="92" y="216"/>
              </a:cxn>
              <a:cxn ang="0">
                <a:pos x="77" y="229"/>
              </a:cxn>
              <a:cxn ang="0">
                <a:pos x="58" y="217"/>
              </a:cxn>
              <a:cxn ang="0">
                <a:pos x="52" y="208"/>
              </a:cxn>
              <a:cxn ang="0">
                <a:pos x="49" y="199"/>
              </a:cxn>
              <a:cxn ang="0">
                <a:pos x="42" y="187"/>
              </a:cxn>
              <a:cxn ang="0">
                <a:pos x="25" y="173"/>
              </a:cxn>
              <a:cxn ang="0">
                <a:pos x="21" y="155"/>
              </a:cxn>
              <a:cxn ang="0">
                <a:pos x="8" y="143"/>
              </a:cxn>
              <a:cxn ang="0">
                <a:pos x="11" y="130"/>
              </a:cxn>
              <a:cxn ang="0">
                <a:pos x="26" y="124"/>
              </a:cxn>
              <a:cxn ang="0">
                <a:pos x="38" y="124"/>
              </a:cxn>
              <a:cxn ang="0">
                <a:pos x="44" y="104"/>
              </a:cxn>
              <a:cxn ang="0">
                <a:pos x="54" y="91"/>
              </a:cxn>
              <a:cxn ang="0">
                <a:pos x="58" y="77"/>
              </a:cxn>
              <a:cxn ang="0">
                <a:pos x="70" y="58"/>
              </a:cxn>
              <a:cxn ang="0">
                <a:pos x="87" y="33"/>
              </a:cxn>
              <a:cxn ang="0">
                <a:pos x="111" y="21"/>
              </a:cxn>
              <a:cxn ang="0">
                <a:pos x="122" y="11"/>
              </a:cxn>
              <a:cxn ang="0">
                <a:pos x="145" y="18"/>
              </a:cxn>
              <a:cxn ang="0">
                <a:pos x="168" y="24"/>
              </a:cxn>
              <a:cxn ang="0">
                <a:pos x="192" y="28"/>
              </a:cxn>
              <a:cxn ang="0">
                <a:pos x="237" y="19"/>
              </a:cxn>
              <a:cxn ang="0">
                <a:pos x="255" y="6"/>
              </a:cxn>
            </a:cxnLst>
            <a:rect l="0" t="0" r="r" b="b"/>
            <a:pathLst>
              <a:path w="399" h="280">
                <a:moveTo>
                  <a:pt x="365" y="217"/>
                </a:moveTo>
                <a:lnTo>
                  <a:pt x="368" y="218"/>
                </a:lnTo>
                <a:lnTo>
                  <a:pt x="369" y="220"/>
                </a:lnTo>
                <a:lnTo>
                  <a:pt x="368" y="221"/>
                </a:lnTo>
                <a:lnTo>
                  <a:pt x="368" y="222"/>
                </a:lnTo>
                <a:lnTo>
                  <a:pt x="367" y="222"/>
                </a:lnTo>
                <a:lnTo>
                  <a:pt x="367" y="221"/>
                </a:lnTo>
                <a:lnTo>
                  <a:pt x="368" y="220"/>
                </a:lnTo>
                <a:lnTo>
                  <a:pt x="367" y="218"/>
                </a:lnTo>
                <a:lnTo>
                  <a:pt x="367" y="220"/>
                </a:lnTo>
                <a:lnTo>
                  <a:pt x="366" y="220"/>
                </a:lnTo>
                <a:lnTo>
                  <a:pt x="366" y="221"/>
                </a:lnTo>
                <a:lnTo>
                  <a:pt x="365" y="221"/>
                </a:lnTo>
                <a:lnTo>
                  <a:pt x="362" y="223"/>
                </a:lnTo>
                <a:lnTo>
                  <a:pt x="361" y="223"/>
                </a:lnTo>
                <a:lnTo>
                  <a:pt x="361" y="222"/>
                </a:lnTo>
                <a:lnTo>
                  <a:pt x="363" y="221"/>
                </a:lnTo>
                <a:lnTo>
                  <a:pt x="366" y="218"/>
                </a:lnTo>
                <a:lnTo>
                  <a:pt x="365" y="217"/>
                </a:lnTo>
                <a:close/>
                <a:moveTo>
                  <a:pt x="269" y="0"/>
                </a:moveTo>
                <a:lnTo>
                  <a:pt x="274" y="0"/>
                </a:lnTo>
                <a:lnTo>
                  <a:pt x="274" y="1"/>
                </a:lnTo>
                <a:lnTo>
                  <a:pt x="278" y="1"/>
                </a:lnTo>
                <a:lnTo>
                  <a:pt x="279" y="2"/>
                </a:lnTo>
                <a:lnTo>
                  <a:pt x="281" y="3"/>
                </a:lnTo>
                <a:lnTo>
                  <a:pt x="281" y="5"/>
                </a:lnTo>
                <a:lnTo>
                  <a:pt x="284" y="5"/>
                </a:lnTo>
                <a:lnTo>
                  <a:pt x="284" y="6"/>
                </a:lnTo>
                <a:lnTo>
                  <a:pt x="285" y="6"/>
                </a:lnTo>
                <a:lnTo>
                  <a:pt x="285" y="7"/>
                </a:lnTo>
                <a:lnTo>
                  <a:pt x="284" y="7"/>
                </a:lnTo>
                <a:lnTo>
                  <a:pt x="284" y="8"/>
                </a:lnTo>
                <a:lnTo>
                  <a:pt x="287" y="8"/>
                </a:lnTo>
                <a:lnTo>
                  <a:pt x="287" y="11"/>
                </a:lnTo>
                <a:lnTo>
                  <a:pt x="286" y="11"/>
                </a:lnTo>
                <a:lnTo>
                  <a:pt x="287" y="12"/>
                </a:lnTo>
                <a:lnTo>
                  <a:pt x="287" y="13"/>
                </a:lnTo>
                <a:lnTo>
                  <a:pt x="288" y="14"/>
                </a:lnTo>
                <a:lnTo>
                  <a:pt x="290" y="14"/>
                </a:lnTo>
                <a:lnTo>
                  <a:pt x="290" y="15"/>
                </a:lnTo>
                <a:lnTo>
                  <a:pt x="288" y="15"/>
                </a:lnTo>
                <a:lnTo>
                  <a:pt x="288" y="16"/>
                </a:lnTo>
                <a:lnTo>
                  <a:pt x="290" y="16"/>
                </a:lnTo>
                <a:lnTo>
                  <a:pt x="291" y="15"/>
                </a:lnTo>
                <a:lnTo>
                  <a:pt x="291" y="18"/>
                </a:lnTo>
                <a:lnTo>
                  <a:pt x="292" y="18"/>
                </a:lnTo>
                <a:lnTo>
                  <a:pt x="292" y="20"/>
                </a:lnTo>
                <a:lnTo>
                  <a:pt x="293" y="20"/>
                </a:lnTo>
                <a:lnTo>
                  <a:pt x="292" y="21"/>
                </a:lnTo>
                <a:lnTo>
                  <a:pt x="292" y="22"/>
                </a:lnTo>
                <a:lnTo>
                  <a:pt x="293" y="22"/>
                </a:lnTo>
                <a:lnTo>
                  <a:pt x="294" y="24"/>
                </a:lnTo>
                <a:lnTo>
                  <a:pt x="294" y="26"/>
                </a:lnTo>
                <a:lnTo>
                  <a:pt x="296" y="27"/>
                </a:lnTo>
                <a:lnTo>
                  <a:pt x="294" y="28"/>
                </a:lnTo>
                <a:lnTo>
                  <a:pt x="296" y="30"/>
                </a:lnTo>
                <a:lnTo>
                  <a:pt x="296" y="31"/>
                </a:lnTo>
                <a:lnTo>
                  <a:pt x="298" y="33"/>
                </a:lnTo>
                <a:lnTo>
                  <a:pt x="297" y="33"/>
                </a:lnTo>
                <a:lnTo>
                  <a:pt x="298" y="34"/>
                </a:lnTo>
                <a:lnTo>
                  <a:pt x="297" y="34"/>
                </a:lnTo>
                <a:lnTo>
                  <a:pt x="297" y="36"/>
                </a:lnTo>
                <a:lnTo>
                  <a:pt x="298" y="38"/>
                </a:lnTo>
                <a:lnTo>
                  <a:pt x="300" y="42"/>
                </a:lnTo>
                <a:lnTo>
                  <a:pt x="301" y="43"/>
                </a:lnTo>
                <a:lnTo>
                  <a:pt x="303" y="43"/>
                </a:lnTo>
                <a:lnTo>
                  <a:pt x="304" y="44"/>
                </a:lnTo>
                <a:lnTo>
                  <a:pt x="304" y="46"/>
                </a:lnTo>
                <a:lnTo>
                  <a:pt x="305" y="46"/>
                </a:lnTo>
                <a:lnTo>
                  <a:pt x="305" y="49"/>
                </a:lnTo>
                <a:lnTo>
                  <a:pt x="306" y="49"/>
                </a:lnTo>
                <a:lnTo>
                  <a:pt x="306" y="50"/>
                </a:lnTo>
                <a:lnTo>
                  <a:pt x="310" y="50"/>
                </a:lnTo>
                <a:lnTo>
                  <a:pt x="310" y="51"/>
                </a:lnTo>
                <a:lnTo>
                  <a:pt x="309" y="52"/>
                </a:lnTo>
                <a:lnTo>
                  <a:pt x="309" y="54"/>
                </a:lnTo>
                <a:lnTo>
                  <a:pt x="310" y="54"/>
                </a:lnTo>
                <a:lnTo>
                  <a:pt x="310" y="57"/>
                </a:lnTo>
                <a:lnTo>
                  <a:pt x="311" y="59"/>
                </a:lnTo>
                <a:lnTo>
                  <a:pt x="312" y="61"/>
                </a:lnTo>
                <a:lnTo>
                  <a:pt x="315" y="61"/>
                </a:lnTo>
                <a:lnTo>
                  <a:pt x="315" y="62"/>
                </a:lnTo>
                <a:lnTo>
                  <a:pt x="316" y="62"/>
                </a:lnTo>
                <a:lnTo>
                  <a:pt x="317" y="63"/>
                </a:lnTo>
                <a:lnTo>
                  <a:pt x="317" y="65"/>
                </a:lnTo>
                <a:lnTo>
                  <a:pt x="319" y="68"/>
                </a:lnTo>
                <a:lnTo>
                  <a:pt x="319" y="69"/>
                </a:lnTo>
                <a:lnTo>
                  <a:pt x="318" y="69"/>
                </a:lnTo>
                <a:lnTo>
                  <a:pt x="321" y="71"/>
                </a:lnTo>
                <a:lnTo>
                  <a:pt x="321" y="73"/>
                </a:lnTo>
                <a:lnTo>
                  <a:pt x="322" y="73"/>
                </a:lnTo>
                <a:lnTo>
                  <a:pt x="324" y="75"/>
                </a:lnTo>
                <a:lnTo>
                  <a:pt x="324" y="76"/>
                </a:lnTo>
                <a:lnTo>
                  <a:pt x="325" y="76"/>
                </a:lnTo>
                <a:lnTo>
                  <a:pt x="327" y="77"/>
                </a:lnTo>
                <a:lnTo>
                  <a:pt x="329" y="77"/>
                </a:lnTo>
                <a:lnTo>
                  <a:pt x="329" y="79"/>
                </a:lnTo>
                <a:lnTo>
                  <a:pt x="331" y="81"/>
                </a:lnTo>
                <a:lnTo>
                  <a:pt x="331" y="85"/>
                </a:lnTo>
                <a:lnTo>
                  <a:pt x="332" y="86"/>
                </a:lnTo>
                <a:lnTo>
                  <a:pt x="332" y="89"/>
                </a:lnTo>
                <a:lnTo>
                  <a:pt x="334" y="91"/>
                </a:lnTo>
                <a:lnTo>
                  <a:pt x="335" y="94"/>
                </a:lnTo>
                <a:lnTo>
                  <a:pt x="335" y="95"/>
                </a:lnTo>
                <a:lnTo>
                  <a:pt x="337" y="100"/>
                </a:lnTo>
                <a:lnTo>
                  <a:pt x="337" y="107"/>
                </a:lnTo>
                <a:lnTo>
                  <a:pt x="336" y="107"/>
                </a:lnTo>
                <a:lnTo>
                  <a:pt x="336" y="110"/>
                </a:lnTo>
                <a:lnTo>
                  <a:pt x="337" y="111"/>
                </a:lnTo>
                <a:lnTo>
                  <a:pt x="337" y="117"/>
                </a:lnTo>
                <a:lnTo>
                  <a:pt x="336" y="117"/>
                </a:lnTo>
                <a:lnTo>
                  <a:pt x="336" y="119"/>
                </a:lnTo>
                <a:lnTo>
                  <a:pt x="335" y="119"/>
                </a:lnTo>
                <a:lnTo>
                  <a:pt x="335" y="123"/>
                </a:lnTo>
                <a:lnTo>
                  <a:pt x="334" y="124"/>
                </a:lnTo>
                <a:lnTo>
                  <a:pt x="332" y="124"/>
                </a:lnTo>
                <a:lnTo>
                  <a:pt x="332" y="129"/>
                </a:lnTo>
                <a:lnTo>
                  <a:pt x="334" y="129"/>
                </a:lnTo>
                <a:lnTo>
                  <a:pt x="332" y="131"/>
                </a:lnTo>
                <a:lnTo>
                  <a:pt x="332" y="135"/>
                </a:lnTo>
                <a:lnTo>
                  <a:pt x="331" y="135"/>
                </a:lnTo>
                <a:lnTo>
                  <a:pt x="331" y="141"/>
                </a:lnTo>
                <a:lnTo>
                  <a:pt x="332" y="143"/>
                </a:lnTo>
                <a:lnTo>
                  <a:pt x="332" y="153"/>
                </a:lnTo>
                <a:lnTo>
                  <a:pt x="334" y="154"/>
                </a:lnTo>
                <a:lnTo>
                  <a:pt x="334" y="162"/>
                </a:lnTo>
                <a:lnTo>
                  <a:pt x="335" y="162"/>
                </a:lnTo>
                <a:lnTo>
                  <a:pt x="334" y="163"/>
                </a:lnTo>
                <a:lnTo>
                  <a:pt x="331" y="163"/>
                </a:lnTo>
                <a:lnTo>
                  <a:pt x="330" y="165"/>
                </a:lnTo>
                <a:lnTo>
                  <a:pt x="332" y="166"/>
                </a:lnTo>
                <a:lnTo>
                  <a:pt x="334" y="167"/>
                </a:lnTo>
                <a:lnTo>
                  <a:pt x="334" y="169"/>
                </a:lnTo>
                <a:lnTo>
                  <a:pt x="335" y="171"/>
                </a:lnTo>
                <a:lnTo>
                  <a:pt x="335" y="172"/>
                </a:lnTo>
                <a:lnTo>
                  <a:pt x="336" y="173"/>
                </a:lnTo>
                <a:lnTo>
                  <a:pt x="337" y="173"/>
                </a:lnTo>
                <a:lnTo>
                  <a:pt x="340" y="175"/>
                </a:lnTo>
                <a:lnTo>
                  <a:pt x="340" y="177"/>
                </a:lnTo>
                <a:lnTo>
                  <a:pt x="341" y="180"/>
                </a:lnTo>
                <a:lnTo>
                  <a:pt x="341" y="181"/>
                </a:lnTo>
                <a:lnTo>
                  <a:pt x="342" y="181"/>
                </a:lnTo>
                <a:lnTo>
                  <a:pt x="343" y="182"/>
                </a:lnTo>
                <a:lnTo>
                  <a:pt x="344" y="182"/>
                </a:lnTo>
                <a:lnTo>
                  <a:pt x="348" y="184"/>
                </a:lnTo>
                <a:lnTo>
                  <a:pt x="352" y="186"/>
                </a:lnTo>
                <a:lnTo>
                  <a:pt x="358" y="187"/>
                </a:lnTo>
                <a:lnTo>
                  <a:pt x="359" y="187"/>
                </a:lnTo>
                <a:lnTo>
                  <a:pt x="360" y="186"/>
                </a:lnTo>
                <a:lnTo>
                  <a:pt x="361" y="186"/>
                </a:lnTo>
                <a:lnTo>
                  <a:pt x="360" y="185"/>
                </a:lnTo>
                <a:lnTo>
                  <a:pt x="360" y="184"/>
                </a:lnTo>
                <a:lnTo>
                  <a:pt x="361" y="182"/>
                </a:lnTo>
                <a:lnTo>
                  <a:pt x="361" y="181"/>
                </a:lnTo>
                <a:lnTo>
                  <a:pt x="362" y="181"/>
                </a:lnTo>
                <a:lnTo>
                  <a:pt x="363" y="182"/>
                </a:lnTo>
                <a:lnTo>
                  <a:pt x="365" y="182"/>
                </a:lnTo>
                <a:lnTo>
                  <a:pt x="366" y="184"/>
                </a:lnTo>
                <a:lnTo>
                  <a:pt x="367" y="184"/>
                </a:lnTo>
                <a:lnTo>
                  <a:pt x="368" y="182"/>
                </a:lnTo>
                <a:lnTo>
                  <a:pt x="368" y="181"/>
                </a:lnTo>
                <a:lnTo>
                  <a:pt x="369" y="181"/>
                </a:lnTo>
                <a:lnTo>
                  <a:pt x="372" y="179"/>
                </a:lnTo>
                <a:lnTo>
                  <a:pt x="374" y="179"/>
                </a:lnTo>
                <a:lnTo>
                  <a:pt x="375" y="178"/>
                </a:lnTo>
                <a:lnTo>
                  <a:pt x="377" y="178"/>
                </a:lnTo>
                <a:lnTo>
                  <a:pt x="377" y="177"/>
                </a:lnTo>
                <a:lnTo>
                  <a:pt x="378" y="177"/>
                </a:lnTo>
                <a:lnTo>
                  <a:pt x="378" y="175"/>
                </a:lnTo>
                <a:lnTo>
                  <a:pt x="383" y="175"/>
                </a:lnTo>
                <a:lnTo>
                  <a:pt x="383" y="174"/>
                </a:lnTo>
                <a:lnTo>
                  <a:pt x="387" y="174"/>
                </a:lnTo>
                <a:lnTo>
                  <a:pt x="393" y="177"/>
                </a:lnTo>
                <a:lnTo>
                  <a:pt x="398" y="181"/>
                </a:lnTo>
                <a:lnTo>
                  <a:pt x="398" y="184"/>
                </a:lnTo>
                <a:lnTo>
                  <a:pt x="397" y="186"/>
                </a:lnTo>
                <a:lnTo>
                  <a:pt x="398" y="186"/>
                </a:lnTo>
                <a:lnTo>
                  <a:pt x="398" y="187"/>
                </a:lnTo>
                <a:lnTo>
                  <a:pt x="396" y="187"/>
                </a:lnTo>
                <a:lnTo>
                  <a:pt x="396" y="188"/>
                </a:lnTo>
                <a:lnTo>
                  <a:pt x="397" y="188"/>
                </a:lnTo>
                <a:lnTo>
                  <a:pt x="397" y="190"/>
                </a:lnTo>
                <a:lnTo>
                  <a:pt x="398" y="191"/>
                </a:lnTo>
                <a:lnTo>
                  <a:pt x="399" y="191"/>
                </a:lnTo>
                <a:lnTo>
                  <a:pt x="398" y="192"/>
                </a:lnTo>
                <a:lnTo>
                  <a:pt x="398" y="193"/>
                </a:lnTo>
                <a:lnTo>
                  <a:pt x="397" y="199"/>
                </a:lnTo>
                <a:lnTo>
                  <a:pt x="397" y="203"/>
                </a:lnTo>
                <a:lnTo>
                  <a:pt x="396" y="203"/>
                </a:lnTo>
                <a:lnTo>
                  <a:pt x="396" y="206"/>
                </a:lnTo>
                <a:lnTo>
                  <a:pt x="394" y="208"/>
                </a:lnTo>
                <a:lnTo>
                  <a:pt x="396" y="209"/>
                </a:lnTo>
                <a:lnTo>
                  <a:pt x="396" y="210"/>
                </a:lnTo>
                <a:lnTo>
                  <a:pt x="394" y="210"/>
                </a:lnTo>
                <a:lnTo>
                  <a:pt x="393" y="211"/>
                </a:lnTo>
                <a:lnTo>
                  <a:pt x="391" y="211"/>
                </a:lnTo>
                <a:lnTo>
                  <a:pt x="383" y="212"/>
                </a:lnTo>
                <a:lnTo>
                  <a:pt x="378" y="212"/>
                </a:lnTo>
                <a:lnTo>
                  <a:pt x="377" y="214"/>
                </a:lnTo>
                <a:lnTo>
                  <a:pt x="372" y="216"/>
                </a:lnTo>
                <a:lnTo>
                  <a:pt x="371" y="217"/>
                </a:lnTo>
                <a:lnTo>
                  <a:pt x="369" y="220"/>
                </a:lnTo>
                <a:lnTo>
                  <a:pt x="369" y="217"/>
                </a:lnTo>
                <a:lnTo>
                  <a:pt x="368" y="216"/>
                </a:lnTo>
                <a:lnTo>
                  <a:pt x="369" y="215"/>
                </a:lnTo>
                <a:lnTo>
                  <a:pt x="372" y="215"/>
                </a:lnTo>
                <a:lnTo>
                  <a:pt x="374" y="214"/>
                </a:lnTo>
                <a:lnTo>
                  <a:pt x="375" y="212"/>
                </a:lnTo>
                <a:lnTo>
                  <a:pt x="375" y="210"/>
                </a:lnTo>
                <a:lnTo>
                  <a:pt x="373" y="208"/>
                </a:lnTo>
                <a:lnTo>
                  <a:pt x="374" y="209"/>
                </a:lnTo>
                <a:lnTo>
                  <a:pt x="374" y="210"/>
                </a:lnTo>
                <a:lnTo>
                  <a:pt x="372" y="210"/>
                </a:lnTo>
                <a:lnTo>
                  <a:pt x="372" y="204"/>
                </a:lnTo>
                <a:lnTo>
                  <a:pt x="374" y="203"/>
                </a:lnTo>
                <a:lnTo>
                  <a:pt x="374" y="202"/>
                </a:lnTo>
                <a:lnTo>
                  <a:pt x="372" y="200"/>
                </a:lnTo>
                <a:lnTo>
                  <a:pt x="371" y="200"/>
                </a:lnTo>
                <a:lnTo>
                  <a:pt x="368" y="199"/>
                </a:lnTo>
                <a:lnTo>
                  <a:pt x="368" y="202"/>
                </a:lnTo>
                <a:lnTo>
                  <a:pt x="366" y="202"/>
                </a:lnTo>
                <a:lnTo>
                  <a:pt x="363" y="204"/>
                </a:lnTo>
                <a:lnTo>
                  <a:pt x="363" y="205"/>
                </a:lnTo>
                <a:lnTo>
                  <a:pt x="365" y="205"/>
                </a:lnTo>
                <a:lnTo>
                  <a:pt x="365" y="206"/>
                </a:lnTo>
                <a:lnTo>
                  <a:pt x="363" y="206"/>
                </a:lnTo>
                <a:lnTo>
                  <a:pt x="363" y="208"/>
                </a:lnTo>
                <a:lnTo>
                  <a:pt x="365" y="208"/>
                </a:lnTo>
                <a:lnTo>
                  <a:pt x="365" y="209"/>
                </a:lnTo>
                <a:lnTo>
                  <a:pt x="366" y="209"/>
                </a:lnTo>
                <a:lnTo>
                  <a:pt x="367" y="211"/>
                </a:lnTo>
                <a:lnTo>
                  <a:pt x="366" y="211"/>
                </a:lnTo>
                <a:lnTo>
                  <a:pt x="367" y="212"/>
                </a:lnTo>
                <a:lnTo>
                  <a:pt x="366" y="212"/>
                </a:lnTo>
                <a:lnTo>
                  <a:pt x="366" y="214"/>
                </a:lnTo>
                <a:lnTo>
                  <a:pt x="367" y="214"/>
                </a:lnTo>
                <a:lnTo>
                  <a:pt x="367" y="215"/>
                </a:lnTo>
                <a:lnTo>
                  <a:pt x="363" y="215"/>
                </a:lnTo>
                <a:lnTo>
                  <a:pt x="361" y="217"/>
                </a:lnTo>
                <a:lnTo>
                  <a:pt x="361" y="220"/>
                </a:lnTo>
                <a:lnTo>
                  <a:pt x="360" y="220"/>
                </a:lnTo>
                <a:lnTo>
                  <a:pt x="360" y="221"/>
                </a:lnTo>
                <a:lnTo>
                  <a:pt x="361" y="222"/>
                </a:lnTo>
                <a:lnTo>
                  <a:pt x="360" y="222"/>
                </a:lnTo>
                <a:lnTo>
                  <a:pt x="359" y="223"/>
                </a:lnTo>
                <a:lnTo>
                  <a:pt x="360" y="223"/>
                </a:lnTo>
                <a:lnTo>
                  <a:pt x="360" y="224"/>
                </a:lnTo>
                <a:lnTo>
                  <a:pt x="361" y="225"/>
                </a:lnTo>
                <a:lnTo>
                  <a:pt x="359" y="225"/>
                </a:lnTo>
                <a:lnTo>
                  <a:pt x="359" y="227"/>
                </a:lnTo>
                <a:lnTo>
                  <a:pt x="360" y="227"/>
                </a:lnTo>
                <a:lnTo>
                  <a:pt x="360" y="228"/>
                </a:lnTo>
                <a:lnTo>
                  <a:pt x="359" y="229"/>
                </a:lnTo>
                <a:lnTo>
                  <a:pt x="359" y="233"/>
                </a:lnTo>
                <a:lnTo>
                  <a:pt x="360" y="231"/>
                </a:lnTo>
                <a:lnTo>
                  <a:pt x="360" y="229"/>
                </a:lnTo>
                <a:lnTo>
                  <a:pt x="361" y="229"/>
                </a:lnTo>
                <a:lnTo>
                  <a:pt x="362" y="227"/>
                </a:lnTo>
                <a:lnTo>
                  <a:pt x="363" y="227"/>
                </a:lnTo>
                <a:lnTo>
                  <a:pt x="365" y="225"/>
                </a:lnTo>
                <a:lnTo>
                  <a:pt x="366" y="225"/>
                </a:lnTo>
                <a:lnTo>
                  <a:pt x="363" y="230"/>
                </a:lnTo>
                <a:lnTo>
                  <a:pt x="361" y="231"/>
                </a:lnTo>
                <a:lnTo>
                  <a:pt x="358" y="237"/>
                </a:lnTo>
                <a:lnTo>
                  <a:pt x="356" y="239"/>
                </a:lnTo>
                <a:lnTo>
                  <a:pt x="355" y="239"/>
                </a:lnTo>
                <a:lnTo>
                  <a:pt x="355" y="240"/>
                </a:lnTo>
                <a:lnTo>
                  <a:pt x="354" y="240"/>
                </a:lnTo>
                <a:lnTo>
                  <a:pt x="354" y="245"/>
                </a:lnTo>
                <a:lnTo>
                  <a:pt x="355" y="246"/>
                </a:lnTo>
                <a:lnTo>
                  <a:pt x="355" y="249"/>
                </a:lnTo>
                <a:lnTo>
                  <a:pt x="354" y="249"/>
                </a:lnTo>
                <a:lnTo>
                  <a:pt x="354" y="252"/>
                </a:lnTo>
                <a:lnTo>
                  <a:pt x="355" y="257"/>
                </a:lnTo>
                <a:lnTo>
                  <a:pt x="355" y="261"/>
                </a:lnTo>
                <a:lnTo>
                  <a:pt x="353" y="266"/>
                </a:lnTo>
                <a:lnTo>
                  <a:pt x="353" y="270"/>
                </a:lnTo>
                <a:lnTo>
                  <a:pt x="352" y="271"/>
                </a:lnTo>
                <a:lnTo>
                  <a:pt x="352" y="274"/>
                </a:lnTo>
                <a:lnTo>
                  <a:pt x="346" y="274"/>
                </a:lnTo>
                <a:lnTo>
                  <a:pt x="336" y="273"/>
                </a:lnTo>
                <a:lnTo>
                  <a:pt x="328" y="270"/>
                </a:lnTo>
                <a:lnTo>
                  <a:pt x="327" y="268"/>
                </a:lnTo>
                <a:lnTo>
                  <a:pt x="324" y="261"/>
                </a:lnTo>
                <a:lnTo>
                  <a:pt x="324" y="260"/>
                </a:lnTo>
                <a:lnTo>
                  <a:pt x="322" y="260"/>
                </a:lnTo>
                <a:lnTo>
                  <a:pt x="318" y="261"/>
                </a:lnTo>
                <a:lnTo>
                  <a:pt x="316" y="263"/>
                </a:lnTo>
                <a:lnTo>
                  <a:pt x="313" y="260"/>
                </a:lnTo>
                <a:lnTo>
                  <a:pt x="312" y="258"/>
                </a:lnTo>
                <a:lnTo>
                  <a:pt x="310" y="259"/>
                </a:lnTo>
                <a:lnTo>
                  <a:pt x="301" y="259"/>
                </a:lnTo>
                <a:lnTo>
                  <a:pt x="300" y="258"/>
                </a:lnTo>
                <a:lnTo>
                  <a:pt x="300" y="257"/>
                </a:lnTo>
                <a:lnTo>
                  <a:pt x="299" y="257"/>
                </a:lnTo>
                <a:lnTo>
                  <a:pt x="297" y="255"/>
                </a:lnTo>
                <a:lnTo>
                  <a:pt x="297" y="253"/>
                </a:lnTo>
                <a:lnTo>
                  <a:pt x="296" y="253"/>
                </a:lnTo>
                <a:lnTo>
                  <a:pt x="296" y="252"/>
                </a:lnTo>
                <a:lnTo>
                  <a:pt x="294" y="253"/>
                </a:lnTo>
                <a:lnTo>
                  <a:pt x="294" y="252"/>
                </a:lnTo>
                <a:lnTo>
                  <a:pt x="290" y="251"/>
                </a:lnTo>
                <a:lnTo>
                  <a:pt x="286" y="249"/>
                </a:lnTo>
                <a:lnTo>
                  <a:pt x="285" y="249"/>
                </a:lnTo>
                <a:lnTo>
                  <a:pt x="280" y="251"/>
                </a:lnTo>
                <a:lnTo>
                  <a:pt x="276" y="253"/>
                </a:lnTo>
                <a:lnTo>
                  <a:pt x="273" y="253"/>
                </a:lnTo>
                <a:lnTo>
                  <a:pt x="272" y="254"/>
                </a:lnTo>
                <a:lnTo>
                  <a:pt x="269" y="254"/>
                </a:lnTo>
                <a:lnTo>
                  <a:pt x="261" y="255"/>
                </a:lnTo>
                <a:lnTo>
                  <a:pt x="257" y="257"/>
                </a:lnTo>
                <a:lnTo>
                  <a:pt x="256" y="257"/>
                </a:lnTo>
                <a:lnTo>
                  <a:pt x="249" y="259"/>
                </a:lnTo>
                <a:lnTo>
                  <a:pt x="245" y="263"/>
                </a:lnTo>
                <a:lnTo>
                  <a:pt x="245" y="264"/>
                </a:lnTo>
                <a:lnTo>
                  <a:pt x="241" y="267"/>
                </a:lnTo>
                <a:lnTo>
                  <a:pt x="240" y="267"/>
                </a:lnTo>
                <a:lnTo>
                  <a:pt x="240" y="268"/>
                </a:lnTo>
                <a:lnTo>
                  <a:pt x="235" y="273"/>
                </a:lnTo>
                <a:lnTo>
                  <a:pt x="234" y="276"/>
                </a:lnTo>
                <a:lnTo>
                  <a:pt x="229" y="276"/>
                </a:lnTo>
                <a:lnTo>
                  <a:pt x="229" y="277"/>
                </a:lnTo>
                <a:lnTo>
                  <a:pt x="228" y="277"/>
                </a:lnTo>
                <a:lnTo>
                  <a:pt x="226" y="278"/>
                </a:lnTo>
                <a:lnTo>
                  <a:pt x="225" y="278"/>
                </a:lnTo>
                <a:lnTo>
                  <a:pt x="224" y="279"/>
                </a:lnTo>
                <a:lnTo>
                  <a:pt x="219" y="279"/>
                </a:lnTo>
                <a:lnTo>
                  <a:pt x="218" y="280"/>
                </a:lnTo>
                <a:lnTo>
                  <a:pt x="216" y="279"/>
                </a:lnTo>
                <a:lnTo>
                  <a:pt x="214" y="279"/>
                </a:lnTo>
                <a:lnTo>
                  <a:pt x="213" y="278"/>
                </a:lnTo>
                <a:lnTo>
                  <a:pt x="211" y="277"/>
                </a:lnTo>
                <a:lnTo>
                  <a:pt x="210" y="277"/>
                </a:lnTo>
                <a:lnTo>
                  <a:pt x="204" y="276"/>
                </a:lnTo>
                <a:lnTo>
                  <a:pt x="199" y="274"/>
                </a:lnTo>
                <a:lnTo>
                  <a:pt x="188" y="274"/>
                </a:lnTo>
                <a:lnTo>
                  <a:pt x="186" y="273"/>
                </a:lnTo>
                <a:lnTo>
                  <a:pt x="180" y="271"/>
                </a:lnTo>
                <a:lnTo>
                  <a:pt x="179" y="271"/>
                </a:lnTo>
                <a:lnTo>
                  <a:pt x="174" y="273"/>
                </a:lnTo>
                <a:lnTo>
                  <a:pt x="173" y="273"/>
                </a:lnTo>
                <a:lnTo>
                  <a:pt x="166" y="274"/>
                </a:lnTo>
                <a:lnTo>
                  <a:pt x="164" y="273"/>
                </a:lnTo>
                <a:lnTo>
                  <a:pt x="150" y="270"/>
                </a:lnTo>
                <a:lnTo>
                  <a:pt x="148" y="268"/>
                </a:lnTo>
                <a:lnTo>
                  <a:pt x="147" y="268"/>
                </a:lnTo>
                <a:lnTo>
                  <a:pt x="143" y="270"/>
                </a:lnTo>
                <a:lnTo>
                  <a:pt x="142" y="268"/>
                </a:lnTo>
                <a:lnTo>
                  <a:pt x="137" y="266"/>
                </a:lnTo>
                <a:lnTo>
                  <a:pt x="130" y="266"/>
                </a:lnTo>
                <a:lnTo>
                  <a:pt x="126" y="267"/>
                </a:lnTo>
                <a:lnTo>
                  <a:pt x="123" y="267"/>
                </a:lnTo>
                <a:lnTo>
                  <a:pt x="122" y="268"/>
                </a:lnTo>
                <a:lnTo>
                  <a:pt x="119" y="268"/>
                </a:lnTo>
                <a:lnTo>
                  <a:pt x="113" y="270"/>
                </a:lnTo>
                <a:lnTo>
                  <a:pt x="112" y="268"/>
                </a:lnTo>
                <a:lnTo>
                  <a:pt x="111" y="268"/>
                </a:lnTo>
                <a:lnTo>
                  <a:pt x="110" y="267"/>
                </a:lnTo>
                <a:lnTo>
                  <a:pt x="110" y="266"/>
                </a:lnTo>
                <a:lnTo>
                  <a:pt x="111" y="261"/>
                </a:lnTo>
                <a:lnTo>
                  <a:pt x="112" y="260"/>
                </a:lnTo>
                <a:lnTo>
                  <a:pt x="112" y="259"/>
                </a:lnTo>
                <a:lnTo>
                  <a:pt x="116" y="259"/>
                </a:lnTo>
                <a:lnTo>
                  <a:pt x="117" y="258"/>
                </a:lnTo>
                <a:lnTo>
                  <a:pt x="118" y="255"/>
                </a:lnTo>
                <a:lnTo>
                  <a:pt x="118" y="254"/>
                </a:lnTo>
                <a:lnTo>
                  <a:pt x="117" y="254"/>
                </a:lnTo>
                <a:lnTo>
                  <a:pt x="116" y="253"/>
                </a:lnTo>
                <a:lnTo>
                  <a:pt x="114" y="253"/>
                </a:lnTo>
                <a:lnTo>
                  <a:pt x="112" y="252"/>
                </a:lnTo>
                <a:lnTo>
                  <a:pt x="104" y="246"/>
                </a:lnTo>
                <a:lnTo>
                  <a:pt x="104" y="242"/>
                </a:lnTo>
                <a:lnTo>
                  <a:pt x="102" y="241"/>
                </a:lnTo>
                <a:lnTo>
                  <a:pt x="100" y="241"/>
                </a:lnTo>
                <a:lnTo>
                  <a:pt x="95" y="236"/>
                </a:lnTo>
                <a:lnTo>
                  <a:pt x="95" y="234"/>
                </a:lnTo>
                <a:lnTo>
                  <a:pt x="94" y="233"/>
                </a:lnTo>
                <a:lnTo>
                  <a:pt x="94" y="230"/>
                </a:lnTo>
                <a:lnTo>
                  <a:pt x="95" y="230"/>
                </a:lnTo>
                <a:lnTo>
                  <a:pt x="96" y="229"/>
                </a:lnTo>
                <a:lnTo>
                  <a:pt x="98" y="229"/>
                </a:lnTo>
                <a:lnTo>
                  <a:pt x="98" y="227"/>
                </a:lnTo>
                <a:lnTo>
                  <a:pt x="99" y="227"/>
                </a:lnTo>
                <a:lnTo>
                  <a:pt x="99" y="225"/>
                </a:lnTo>
                <a:lnTo>
                  <a:pt x="100" y="225"/>
                </a:lnTo>
                <a:lnTo>
                  <a:pt x="102" y="228"/>
                </a:lnTo>
                <a:lnTo>
                  <a:pt x="105" y="228"/>
                </a:lnTo>
                <a:lnTo>
                  <a:pt x="106" y="227"/>
                </a:lnTo>
                <a:lnTo>
                  <a:pt x="106" y="225"/>
                </a:lnTo>
                <a:lnTo>
                  <a:pt x="105" y="223"/>
                </a:lnTo>
                <a:lnTo>
                  <a:pt x="104" y="222"/>
                </a:lnTo>
                <a:lnTo>
                  <a:pt x="100" y="222"/>
                </a:lnTo>
                <a:lnTo>
                  <a:pt x="98" y="220"/>
                </a:lnTo>
                <a:lnTo>
                  <a:pt x="94" y="217"/>
                </a:lnTo>
                <a:lnTo>
                  <a:pt x="94" y="216"/>
                </a:lnTo>
                <a:lnTo>
                  <a:pt x="92" y="216"/>
                </a:lnTo>
                <a:lnTo>
                  <a:pt x="92" y="217"/>
                </a:lnTo>
                <a:lnTo>
                  <a:pt x="91" y="218"/>
                </a:lnTo>
                <a:lnTo>
                  <a:pt x="89" y="218"/>
                </a:lnTo>
                <a:lnTo>
                  <a:pt x="88" y="220"/>
                </a:lnTo>
                <a:lnTo>
                  <a:pt x="87" y="220"/>
                </a:lnTo>
                <a:lnTo>
                  <a:pt x="87" y="221"/>
                </a:lnTo>
                <a:lnTo>
                  <a:pt x="82" y="229"/>
                </a:lnTo>
                <a:lnTo>
                  <a:pt x="81" y="230"/>
                </a:lnTo>
                <a:lnTo>
                  <a:pt x="80" y="230"/>
                </a:lnTo>
                <a:lnTo>
                  <a:pt x="79" y="229"/>
                </a:lnTo>
                <a:lnTo>
                  <a:pt x="77" y="229"/>
                </a:lnTo>
                <a:lnTo>
                  <a:pt x="77" y="227"/>
                </a:lnTo>
                <a:lnTo>
                  <a:pt x="76" y="227"/>
                </a:lnTo>
                <a:lnTo>
                  <a:pt x="76" y="224"/>
                </a:lnTo>
                <a:lnTo>
                  <a:pt x="75" y="224"/>
                </a:lnTo>
                <a:lnTo>
                  <a:pt x="74" y="221"/>
                </a:lnTo>
                <a:lnTo>
                  <a:pt x="73" y="221"/>
                </a:lnTo>
                <a:lnTo>
                  <a:pt x="69" y="218"/>
                </a:lnTo>
                <a:lnTo>
                  <a:pt x="68" y="218"/>
                </a:lnTo>
                <a:lnTo>
                  <a:pt x="65" y="220"/>
                </a:lnTo>
                <a:lnTo>
                  <a:pt x="60" y="220"/>
                </a:lnTo>
                <a:lnTo>
                  <a:pt x="58" y="217"/>
                </a:lnTo>
                <a:lnTo>
                  <a:pt x="57" y="216"/>
                </a:lnTo>
                <a:lnTo>
                  <a:pt x="57" y="215"/>
                </a:lnTo>
                <a:lnTo>
                  <a:pt x="56" y="214"/>
                </a:lnTo>
                <a:lnTo>
                  <a:pt x="49" y="214"/>
                </a:lnTo>
                <a:lnTo>
                  <a:pt x="49" y="212"/>
                </a:lnTo>
                <a:lnTo>
                  <a:pt x="46" y="210"/>
                </a:lnTo>
                <a:lnTo>
                  <a:pt x="46" y="209"/>
                </a:lnTo>
                <a:lnTo>
                  <a:pt x="48" y="209"/>
                </a:lnTo>
                <a:lnTo>
                  <a:pt x="49" y="208"/>
                </a:lnTo>
                <a:lnTo>
                  <a:pt x="51" y="209"/>
                </a:lnTo>
                <a:lnTo>
                  <a:pt x="52" y="208"/>
                </a:lnTo>
                <a:lnTo>
                  <a:pt x="55" y="208"/>
                </a:lnTo>
                <a:lnTo>
                  <a:pt x="55" y="205"/>
                </a:lnTo>
                <a:lnTo>
                  <a:pt x="54" y="204"/>
                </a:lnTo>
                <a:lnTo>
                  <a:pt x="52" y="204"/>
                </a:lnTo>
                <a:lnTo>
                  <a:pt x="51" y="203"/>
                </a:lnTo>
                <a:lnTo>
                  <a:pt x="48" y="203"/>
                </a:lnTo>
                <a:lnTo>
                  <a:pt x="48" y="202"/>
                </a:lnTo>
                <a:lnTo>
                  <a:pt x="46" y="202"/>
                </a:lnTo>
                <a:lnTo>
                  <a:pt x="46" y="200"/>
                </a:lnTo>
                <a:lnTo>
                  <a:pt x="48" y="199"/>
                </a:lnTo>
                <a:lnTo>
                  <a:pt x="49" y="199"/>
                </a:lnTo>
                <a:lnTo>
                  <a:pt x="50" y="198"/>
                </a:lnTo>
                <a:lnTo>
                  <a:pt x="50" y="197"/>
                </a:lnTo>
                <a:lnTo>
                  <a:pt x="51" y="196"/>
                </a:lnTo>
                <a:lnTo>
                  <a:pt x="51" y="193"/>
                </a:lnTo>
                <a:lnTo>
                  <a:pt x="52" y="193"/>
                </a:lnTo>
                <a:lnTo>
                  <a:pt x="52" y="191"/>
                </a:lnTo>
                <a:lnTo>
                  <a:pt x="51" y="190"/>
                </a:lnTo>
                <a:lnTo>
                  <a:pt x="50" y="190"/>
                </a:lnTo>
                <a:lnTo>
                  <a:pt x="49" y="188"/>
                </a:lnTo>
                <a:lnTo>
                  <a:pt x="44" y="187"/>
                </a:lnTo>
                <a:lnTo>
                  <a:pt x="42" y="187"/>
                </a:lnTo>
                <a:lnTo>
                  <a:pt x="40" y="186"/>
                </a:lnTo>
                <a:lnTo>
                  <a:pt x="40" y="185"/>
                </a:lnTo>
                <a:lnTo>
                  <a:pt x="38" y="182"/>
                </a:lnTo>
                <a:lnTo>
                  <a:pt x="37" y="182"/>
                </a:lnTo>
                <a:lnTo>
                  <a:pt x="37" y="184"/>
                </a:lnTo>
                <a:lnTo>
                  <a:pt x="36" y="184"/>
                </a:lnTo>
                <a:lnTo>
                  <a:pt x="36" y="182"/>
                </a:lnTo>
                <a:lnTo>
                  <a:pt x="35" y="182"/>
                </a:lnTo>
                <a:lnTo>
                  <a:pt x="32" y="181"/>
                </a:lnTo>
                <a:lnTo>
                  <a:pt x="26" y="175"/>
                </a:lnTo>
                <a:lnTo>
                  <a:pt x="25" y="173"/>
                </a:lnTo>
                <a:lnTo>
                  <a:pt x="24" y="173"/>
                </a:lnTo>
                <a:lnTo>
                  <a:pt x="21" y="171"/>
                </a:lnTo>
                <a:lnTo>
                  <a:pt x="23" y="171"/>
                </a:lnTo>
                <a:lnTo>
                  <a:pt x="24" y="169"/>
                </a:lnTo>
                <a:lnTo>
                  <a:pt x="24" y="168"/>
                </a:lnTo>
                <a:lnTo>
                  <a:pt x="23" y="167"/>
                </a:lnTo>
                <a:lnTo>
                  <a:pt x="21" y="165"/>
                </a:lnTo>
                <a:lnTo>
                  <a:pt x="21" y="162"/>
                </a:lnTo>
                <a:lnTo>
                  <a:pt x="23" y="161"/>
                </a:lnTo>
                <a:lnTo>
                  <a:pt x="23" y="155"/>
                </a:lnTo>
                <a:lnTo>
                  <a:pt x="21" y="155"/>
                </a:lnTo>
                <a:lnTo>
                  <a:pt x="21" y="156"/>
                </a:lnTo>
                <a:lnTo>
                  <a:pt x="19" y="156"/>
                </a:lnTo>
                <a:lnTo>
                  <a:pt x="18" y="155"/>
                </a:lnTo>
                <a:lnTo>
                  <a:pt x="18" y="154"/>
                </a:lnTo>
                <a:lnTo>
                  <a:pt x="17" y="153"/>
                </a:lnTo>
                <a:lnTo>
                  <a:pt x="17" y="150"/>
                </a:lnTo>
                <a:lnTo>
                  <a:pt x="15" y="150"/>
                </a:lnTo>
                <a:lnTo>
                  <a:pt x="15" y="149"/>
                </a:lnTo>
                <a:lnTo>
                  <a:pt x="14" y="147"/>
                </a:lnTo>
                <a:lnTo>
                  <a:pt x="12" y="147"/>
                </a:lnTo>
                <a:lnTo>
                  <a:pt x="8" y="143"/>
                </a:lnTo>
                <a:lnTo>
                  <a:pt x="7" y="143"/>
                </a:lnTo>
                <a:lnTo>
                  <a:pt x="6" y="142"/>
                </a:lnTo>
                <a:lnTo>
                  <a:pt x="5" y="142"/>
                </a:lnTo>
                <a:lnTo>
                  <a:pt x="4" y="141"/>
                </a:lnTo>
                <a:lnTo>
                  <a:pt x="4" y="138"/>
                </a:lnTo>
                <a:lnTo>
                  <a:pt x="2" y="137"/>
                </a:lnTo>
                <a:lnTo>
                  <a:pt x="0" y="134"/>
                </a:lnTo>
                <a:lnTo>
                  <a:pt x="1" y="131"/>
                </a:lnTo>
                <a:lnTo>
                  <a:pt x="8" y="131"/>
                </a:lnTo>
                <a:lnTo>
                  <a:pt x="9" y="130"/>
                </a:lnTo>
                <a:lnTo>
                  <a:pt x="11" y="130"/>
                </a:lnTo>
                <a:lnTo>
                  <a:pt x="13" y="131"/>
                </a:lnTo>
                <a:lnTo>
                  <a:pt x="14" y="132"/>
                </a:lnTo>
                <a:lnTo>
                  <a:pt x="18" y="132"/>
                </a:lnTo>
                <a:lnTo>
                  <a:pt x="19" y="131"/>
                </a:lnTo>
                <a:lnTo>
                  <a:pt x="19" y="129"/>
                </a:lnTo>
                <a:lnTo>
                  <a:pt x="21" y="129"/>
                </a:lnTo>
                <a:lnTo>
                  <a:pt x="21" y="128"/>
                </a:lnTo>
                <a:lnTo>
                  <a:pt x="20" y="126"/>
                </a:lnTo>
                <a:lnTo>
                  <a:pt x="21" y="126"/>
                </a:lnTo>
                <a:lnTo>
                  <a:pt x="23" y="124"/>
                </a:lnTo>
                <a:lnTo>
                  <a:pt x="26" y="124"/>
                </a:lnTo>
                <a:lnTo>
                  <a:pt x="26" y="125"/>
                </a:lnTo>
                <a:lnTo>
                  <a:pt x="27" y="125"/>
                </a:lnTo>
                <a:lnTo>
                  <a:pt x="27" y="124"/>
                </a:lnTo>
                <a:lnTo>
                  <a:pt x="29" y="124"/>
                </a:lnTo>
                <a:lnTo>
                  <a:pt x="30" y="125"/>
                </a:lnTo>
                <a:lnTo>
                  <a:pt x="32" y="125"/>
                </a:lnTo>
                <a:lnTo>
                  <a:pt x="33" y="126"/>
                </a:lnTo>
                <a:lnTo>
                  <a:pt x="35" y="126"/>
                </a:lnTo>
                <a:lnTo>
                  <a:pt x="36" y="124"/>
                </a:lnTo>
                <a:lnTo>
                  <a:pt x="37" y="123"/>
                </a:lnTo>
                <a:lnTo>
                  <a:pt x="38" y="124"/>
                </a:lnTo>
                <a:lnTo>
                  <a:pt x="38" y="122"/>
                </a:lnTo>
                <a:lnTo>
                  <a:pt x="39" y="120"/>
                </a:lnTo>
                <a:lnTo>
                  <a:pt x="39" y="117"/>
                </a:lnTo>
                <a:lnTo>
                  <a:pt x="40" y="116"/>
                </a:lnTo>
                <a:lnTo>
                  <a:pt x="43" y="116"/>
                </a:lnTo>
                <a:lnTo>
                  <a:pt x="44" y="114"/>
                </a:lnTo>
                <a:lnTo>
                  <a:pt x="44" y="113"/>
                </a:lnTo>
                <a:lnTo>
                  <a:pt x="43" y="111"/>
                </a:lnTo>
                <a:lnTo>
                  <a:pt x="43" y="108"/>
                </a:lnTo>
                <a:lnTo>
                  <a:pt x="44" y="108"/>
                </a:lnTo>
                <a:lnTo>
                  <a:pt x="44" y="104"/>
                </a:lnTo>
                <a:lnTo>
                  <a:pt x="45" y="102"/>
                </a:lnTo>
                <a:lnTo>
                  <a:pt x="49" y="102"/>
                </a:lnTo>
                <a:lnTo>
                  <a:pt x="50" y="101"/>
                </a:lnTo>
                <a:lnTo>
                  <a:pt x="50" y="99"/>
                </a:lnTo>
                <a:lnTo>
                  <a:pt x="52" y="99"/>
                </a:lnTo>
                <a:lnTo>
                  <a:pt x="54" y="98"/>
                </a:lnTo>
                <a:lnTo>
                  <a:pt x="54" y="96"/>
                </a:lnTo>
                <a:lnTo>
                  <a:pt x="52" y="95"/>
                </a:lnTo>
                <a:lnTo>
                  <a:pt x="51" y="95"/>
                </a:lnTo>
                <a:lnTo>
                  <a:pt x="52" y="94"/>
                </a:lnTo>
                <a:lnTo>
                  <a:pt x="54" y="91"/>
                </a:lnTo>
                <a:lnTo>
                  <a:pt x="55" y="89"/>
                </a:lnTo>
                <a:lnTo>
                  <a:pt x="56" y="89"/>
                </a:lnTo>
                <a:lnTo>
                  <a:pt x="56" y="88"/>
                </a:lnTo>
                <a:lnTo>
                  <a:pt x="57" y="88"/>
                </a:lnTo>
                <a:lnTo>
                  <a:pt x="57" y="85"/>
                </a:lnTo>
                <a:lnTo>
                  <a:pt x="60" y="83"/>
                </a:lnTo>
                <a:lnTo>
                  <a:pt x="60" y="80"/>
                </a:lnTo>
                <a:lnTo>
                  <a:pt x="61" y="80"/>
                </a:lnTo>
                <a:lnTo>
                  <a:pt x="60" y="79"/>
                </a:lnTo>
                <a:lnTo>
                  <a:pt x="58" y="79"/>
                </a:lnTo>
                <a:lnTo>
                  <a:pt x="58" y="77"/>
                </a:lnTo>
                <a:lnTo>
                  <a:pt x="61" y="76"/>
                </a:lnTo>
                <a:lnTo>
                  <a:pt x="61" y="75"/>
                </a:lnTo>
                <a:lnTo>
                  <a:pt x="63" y="74"/>
                </a:lnTo>
                <a:lnTo>
                  <a:pt x="64" y="73"/>
                </a:lnTo>
                <a:lnTo>
                  <a:pt x="64" y="70"/>
                </a:lnTo>
                <a:lnTo>
                  <a:pt x="65" y="70"/>
                </a:lnTo>
                <a:lnTo>
                  <a:pt x="67" y="69"/>
                </a:lnTo>
                <a:lnTo>
                  <a:pt x="67" y="65"/>
                </a:lnTo>
                <a:lnTo>
                  <a:pt x="68" y="64"/>
                </a:lnTo>
                <a:lnTo>
                  <a:pt x="68" y="61"/>
                </a:lnTo>
                <a:lnTo>
                  <a:pt x="70" y="58"/>
                </a:lnTo>
                <a:lnTo>
                  <a:pt x="70" y="57"/>
                </a:lnTo>
                <a:lnTo>
                  <a:pt x="71" y="57"/>
                </a:lnTo>
                <a:lnTo>
                  <a:pt x="74" y="56"/>
                </a:lnTo>
                <a:lnTo>
                  <a:pt x="74" y="49"/>
                </a:lnTo>
                <a:lnTo>
                  <a:pt x="75" y="48"/>
                </a:lnTo>
                <a:lnTo>
                  <a:pt x="76" y="45"/>
                </a:lnTo>
                <a:lnTo>
                  <a:pt x="81" y="43"/>
                </a:lnTo>
                <a:lnTo>
                  <a:pt x="81" y="40"/>
                </a:lnTo>
                <a:lnTo>
                  <a:pt x="82" y="39"/>
                </a:lnTo>
                <a:lnTo>
                  <a:pt x="82" y="38"/>
                </a:lnTo>
                <a:lnTo>
                  <a:pt x="87" y="33"/>
                </a:lnTo>
                <a:lnTo>
                  <a:pt x="92" y="33"/>
                </a:lnTo>
                <a:lnTo>
                  <a:pt x="92" y="31"/>
                </a:lnTo>
                <a:lnTo>
                  <a:pt x="93" y="30"/>
                </a:lnTo>
                <a:lnTo>
                  <a:pt x="96" y="32"/>
                </a:lnTo>
                <a:lnTo>
                  <a:pt x="100" y="32"/>
                </a:lnTo>
                <a:lnTo>
                  <a:pt x="105" y="27"/>
                </a:lnTo>
                <a:lnTo>
                  <a:pt x="106" y="27"/>
                </a:lnTo>
                <a:lnTo>
                  <a:pt x="106" y="25"/>
                </a:lnTo>
                <a:lnTo>
                  <a:pt x="107" y="24"/>
                </a:lnTo>
                <a:lnTo>
                  <a:pt x="108" y="24"/>
                </a:lnTo>
                <a:lnTo>
                  <a:pt x="111" y="21"/>
                </a:lnTo>
                <a:lnTo>
                  <a:pt x="111" y="20"/>
                </a:lnTo>
                <a:lnTo>
                  <a:pt x="112" y="20"/>
                </a:lnTo>
                <a:lnTo>
                  <a:pt x="113" y="19"/>
                </a:lnTo>
                <a:lnTo>
                  <a:pt x="113" y="16"/>
                </a:lnTo>
                <a:lnTo>
                  <a:pt x="114" y="16"/>
                </a:lnTo>
                <a:lnTo>
                  <a:pt x="116" y="18"/>
                </a:lnTo>
                <a:lnTo>
                  <a:pt x="117" y="18"/>
                </a:lnTo>
                <a:lnTo>
                  <a:pt x="119" y="16"/>
                </a:lnTo>
                <a:lnTo>
                  <a:pt x="119" y="15"/>
                </a:lnTo>
                <a:lnTo>
                  <a:pt x="120" y="12"/>
                </a:lnTo>
                <a:lnTo>
                  <a:pt x="122" y="11"/>
                </a:lnTo>
                <a:lnTo>
                  <a:pt x="123" y="11"/>
                </a:lnTo>
                <a:lnTo>
                  <a:pt x="126" y="12"/>
                </a:lnTo>
                <a:lnTo>
                  <a:pt x="131" y="16"/>
                </a:lnTo>
                <a:lnTo>
                  <a:pt x="131" y="18"/>
                </a:lnTo>
                <a:lnTo>
                  <a:pt x="133" y="18"/>
                </a:lnTo>
                <a:lnTo>
                  <a:pt x="136" y="19"/>
                </a:lnTo>
                <a:lnTo>
                  <a:pt x="137" y="19"/>
                </a:lnTo>
                <a:lnTo>
                  <a:pt x="137" y="18"/>
                </a:lnTo>
                <a:lnTo>
                  <a:pt x="138" y="16"/>
                </a:lnTo>
                <a:lnTo>
                  <a:pt x="144" y="16"/>
                </a:lnTo>
                <a:lnTo>
                  <a:pt x="145" y="18"/>
                </a:lnTo>
                <a:lnTo>
                  <a:pt x="150" y="18"/>
                </a:lnTo>
                <a:lnTo>
                  <a:pt x="153" y="20"/>
                </a:lnTo>
                <a:lnTo>
                  <a:pt x="153" y="21"/>
                </a:lnTo>
                <a:lnTo>
                  <a:pt x="154" y="21"/>
                </a:lnTo>
                <a:lnTo>
                  <a:pt x="157" y="19"/>
                </a:lnTo>
                <a:lnTo>
                  <a:pt x="158" y="19"/>
                </a:lnTo>
                <a:lnTo>
                  <a:pt x="160" y="20"/>
                </a:lnTo>
                <a:lnTo>
                  <a:pt x="162" y="20"/>
                </a:lnTo>
                <a:lnTo>
                  <a:pt x="164" y="22"/>
                </a:lnTo>
                <a:lnTo>
                  <a:pt x="167" y="24"/>
                </a:lnTo>
                <a:lnTo>
                  <a:pt x="168" y="24"/>
                </a:lnTo>
                <a:lnTo>
                  <a:pt x="172" y="21"/>
                </a:lnTo>
                <a:lnTo>
                  <a:pt x="173" y="21"/>
                </a:lnTo>
                <a:lnTo>
                  <a:pt x="175" y="20"/>
                </a:lnTo>
                <a:lnTo>
                  <a:pt x="182" y="20"/>
                </a:lnTo>
                <a:lnTo>
                  <a:pt x="185" y="21"/>
                </a:lnTo>
                <a:lnTo>
                  <a:pt x="185" y="22"/>
                </a:lnTo>
                <a:lnTo>
                  <a:pt x="186" y="24"/>
                </a:lnTo>
                <a:lnTo>
                  <a:pt x="186" y="26"/>
                </a:lnTo>
                <a:lnTo>
                  <a:pt x="187" y="27"/>
                </a:lnTo>
                <a:lnTo>
                  <a:pt x="188" y="27"/>
                </a:lnTo>
                <a:lnTo>
                  <a:pt x="192" y="28"/>
                </a:lnTo>
                <a:lnTo>
                  <a:pt x="193" y="30"/>
                </a:lnTo>
                <a:lnTo>
                  <a:pt x="193" y="31"/>
                </a:lnTo>
                <a:lnTo>
                  <a:pt x="194" y="33"/>
                </a:lnTo>
                <a:lnTo>
                  <a:pt x="195" y="34"/>
                </a:lnTo>
                <a:lnTo>
                  <a:pt x="201" y="34"/>
                </a:lnTo>
                <a:lnTo>
                  <a:pt x="204" y="33"/>
                </a:lnTo>
                <a:lnTo>
                  <a:pt x="206" y="31"/>
                </a:lnTo>
                <a:lnTo>
                  <a:pt x="210" y="25"/>
                </a:lnTo>
                <a:lnTo>
                  <a:pt x="212" y="24"/>
                </a:lnTo>
                <a:lnTo>
                  <a:pt x="232" y="21"/>
                </a:lnTo>
                <a:lnTo>
                  <a:pt x="237" y="19"/>
                </a:lnTo>
                <a:lnTo>
                  <a:pt x="242" y="19"/>
                </a:lnTo>
                <a:lnTo>
                  <a:pt x="244" y="18"/>
                </a:lnTo>
                <a:lnTo>
                  <a:pt x="250" y="18"/>
                </a:lnTo>
                <a:lnTo>
                  <a:pt x="250" y="16"/>
                </a:lnTo>
                <a:lnTo>
                  <a:pt x="251" y="14"/>
                </a:lnTo>
                <a:lnTo>
                  <a:pt x="253" y="14"/>
                </a:lnTo>
                <a:lnTo>
                  <a:pt x="253" y="13"/>
                </a:lnTo>
                <a:lnTo>
                  <a:pt x="254" y="12"/>
                </a:lnTo>
                <a:lnTo>
                  <a:pt x="254" y="11"/>
                </a:lnTo>
                <a:lnTo>
                  <a:pt x="255" y="9"/>
                </a:lnTo>
                <a:lnTo>
                  <a:pt x="255" y="6"/>
                </a:lnTo>
                <a:lnTo>
                  <a:pt x="256" y="3"/>
                </a:lnTo>
                <a:lnTo>
                  <a:pt x="257" y="3"/>
                </a:lnTo>
                <a:lnTo>
                  <a:pt x="259" y="2"/>
                </a:lnTo>
                <a:lnTo>
                  <a:pt x="262" y="2"/>
                </a:lnTo>
                <a:lnTo>
                  <a:pt x="268" y="1"/>
                </a:lnTo>
                <a:lnTo>
                  <a:pt x="269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2" name="Freeform 22">
            <a:extLst>
              <a:ext uri="{FF2B5EF4-FFF2-40B4-BE49-F238E27FC236}">
                <a16:creationId xmlns:a16="http://schemas.microsoft.com/office/drawing/2014/main" id="{6A95BA0C-ED55-451B-8246-6E792F0752EB}"/>
              </a:ext>
            </a:extLst>
          </p:cNvPr>
          <p:cNvSpPr>
            <a:spLocks noEditPoints="1"/>
          </p:cNvSpPr>
          <p:nvPr/>
        </p:nvSpPr>
        <p:spPr bwMode="auto">
          <a:xfrm>
            <a:off x="2093815" y="4230758"/>
            <a:ext cx="612902" cy="579576"/>
          </a:xfrm>
          <a:custGeom>
            <a:avLst/>
            <a:gdLst/>
            <a:ahLst/>
            <a:cxnLst>
              <a:cxn ang="0">
                <a:pos x="195" y="11"/>
              </a:cxn>
              <a:cxn ang="0">
                <a:pos x="195" y="10"/>
              </a:cxn>
              <a:cxn ang="0">
                <a:pos x="179" y="0"/>
              </a:cxn>
              <a:cxn ang="0">
                <a:pos x="185" y="13"/>
              </a:cxn>
              <a:cxn ang="0">
                <a:pos x="195" y="34"/>
              </a:cxn>
              <a:cxn ang="0">
                <a:pos x="235" y="30"/>
              </a:cxn>
              <a:cxn ang="0">
                <a:pos x="370" y="32"/>
              </a:cxn>
              <a:cxn ang="0">
                <a:pos x="391" y="45"/>
              </a:cxn>
              <a:cxn ang="0">
                <a:pos x="397" y="76"/>
              </a:cxn>
              <a:cxn ang="0">
                <a:pos x="413" y="124"/>
              </a:cxn>
              <a:cxn ang="0">
                <a:pos x="383" y="182"/>
              </a:cxn>
              <a:cxn ang="0">
                <a:pos x="397" y="192"/>
              </a:cxn>
              <a:cxn ang="0">
                <a:pos x="402" y="208"/>
              </a:cxn>
              <a:cxn ang="0">
                <a:pos x="398" y="226"/>
              </a:cxn>
              <a:cxn ang="0">
                <a:pos x="403" y="244"/>
              </a:cxn>
              <a:cxn ang="0">
                <a:pos x="412" y="262"/>
              </a:cxn>
              <a:cxn ang="0">
                <a:pos x="420" y="281"/>
              </a:cxn>
              <a:cxn ang="0">
                <a:pos x="421" y="299"/>
              </a:cxn>
              <a:cxn ang="0">
                <a:pos x="400" y="318"/>
              </a:cxn>
              <a:cxn ang="0">
                <a:pos x="365" y="360"/>
              </a:cxn>
              <a:cxn ang="0">
                <a:pos x="364" y="389"/>
              </a:cxn>
              <a:cxn ang="0">
                <a:pos x="364" y="398"/>
              </a:cxn>
              <a:cxn ang="0">
                <a:pos x="338" y="388"/>
              </a:cxn>
              <a:cxn ang="0">
                <a:pos x="321" y="375"/>
              </a:cxn>
              <a:cxn ang="0">
                <a:pos x="299" y="374"/>
              </a:cxn>
              <a:cxn ang="0">
                <a:pos x="289" y="381"/>
              </a:cxn>
              <a:cxn ang="0">
                <a:pos x="267" y="374"/>
              </a:cxn>
              <a:cxn ang="0">
                <a:pos x="252" y="388"/>
              </a:cxn>
              <a:cxn ang="0">
                <a:pos x="240" y="382"/>
              </a:cxn>
              <a:cxn ang="0">
                <a:pos x="227" y="363"/>
              </a:cxn>
              <a:cxn ang="0">
                <a:pos x="210" y="375"/>
              </a:cxn>
              <a:cxn ang="0">
                <a:pos x="198" y="361"/>
              </a:cxn>
              <a:cxn ang="0">
                <a:pos x="189" y="350"/>
              </a:cxn>
              <a:cxn ang="0">
                <a:pos x="178" y="340"/>
              </a:cxn>
              <a:cxn ang="0">
                <a:pos x="166" y="332"/>
              </a:cxn>
              <a:cxn ang="0">
                <a:pos x="153" y="329"/>
              </a:cxn>
              <a:cxn ang="0">
                <a:pos x="150" y="314"/>
              </a:cxn>
              <a:cxn ang="0">
                <a:pos x="131" y="313"/>
              </a:cxn>
              <a:cxn ang="0">
                <a:pos x="118" y="313"/>
              </a:cxn>
              <a:cxn ang="0">
                <a:pos x="118" y="321"/>
              </a:cxn>
              <a:cxn ang="0">
                <a:pos x="99" y="317"/>
              </a:cxn>
              <a:cxn ang="0">
                <a:pos x="92" y="303"/>
              </a:cxn>
              <a:cxn ang="0">
                <a:pos x="87" y="294"/>
              </a:cxn>
              <a:cxn ang="0">
                <a:pos x="75" y="290"/>
              </a:cxn>
              <a:cxn ang="0">
                <a:pos x="53" y="284"/>
              </a:cxn>
              <a:cxn ang="0">
                <a:pos x="43" y="269"/>
              </a:cxn>
              <a:cxn ang="0">
                <a:pos x="30" y="278"/>
              </a:cxn>
              <a:cxn ang="0">
                <a:pos x="35" y="238"/>
              </a:cxn>
              <a:cxn ang="0">
                <a:pos x="23" y="221"/>
              </a:cxn>
              <a:cxn ang="0">
                <a:pos x="25" y="191"/>
              </a:cxn>
              <a:cxn ang="0">
                <a:pos x="23" y="161"/>
              </a:cxn>
              <a:cxn ang="0">
                <a:pos x="3" y="139"/>
              </a:cxn>
              <a:cxn ang="0">
                <a:pos x="13" y="117"/>
              </a:cxn>
              <a:cxn ang="0">
                <a:pos x="9" y="90"/>
              </a:cxn>
              <a:cxn ang="0">
                <a:pos x="15" y="84"/>
              </a:cxn>
              <a:cxn ang="0">
                <a:pos x="19" y="78"/>
              </a:cxn>
              <a:cxn ang="0">
                <a:pos x="11" y="68"/>
              </a:cxn>
              <a:cxn ang="0">
                <a:pos x="3" y="68"/>
              </a:cxn>
              <a:cxn ang="0">
                <a:pos x="66" y="47"/>
              </a:cxn>
              <a:cxn ang="0">
                <a:pos x="92" y="37"/>
              </a:cxn>
              <a:cxn ang="0">
                <a:pos x="100" y="25"/>
              </a:cxn>
              <a:cxn ang="0">
                <a:pos x="160" y="1"/>
              </a:cxn>
            </a:cxnLst>
            <a:rect l="0" t="0" r="r" b="b"/>
            <a:pathLst>
              <a:path w="423" h="400">
                <a:moveTo>
                  <a:pt x="7" y="79"/>
                </a:moveTo>
                <a:lnTo>
                  <a:pt x="9" y="79"/>
                </a:lnTo>
                <a:lnTo>
                  <a:pt x="9" y="80"/>
                </a:lnTo>
                <a:lnTo>
                  <a:pt x="7" y="79"/>
                </a:lnTo>
                <a:close/>
                <a:moveTo>
                  <a:pt x="85" y="41"/>
                </a:moveTo>
                <a:lnTo>
                  <a:pt x="86" y="41"/>
                </a:lnTo>
                <a:lnTo>
                  <a:pt x="84" y="42"/>
                </a:lnTo>
                <a:lnTo>
                  <a:pt x="85" y="41"/>
                </a:lnTo>
                <a:close/>
                <a:moveTo>
                  <a:pt x="92" y="35"/>
                </a:moveTo>
                <a:lnTo>
                  <a:pt x="90" y="37"/>
                </a:lnTo>
                <a:lnTo>
                  <a:pt x="92" y="35"/>
                </a:lnTo>
                <a:close/>
                <a:moveTo>
                  <a:pt x="195" y="11"/>
                </a:moveTo>
                <a:lnTo>
                  <a:pt x="196" y="11"/>
                </a:lnTo>
                <a:lnTo>
                  <a:pt x="198" y="14"/>
                </a:lnTo>
                <a:lnTo>
                  <a:pt x="199" y="16"/>
                </a:lnTo>
                <a:lnTo>
                  <a:pt x="199" y="18"/>
                </a:lnTo>
                <a:lnTo>
                  <a:pt x="198" y="18"/>
                </a:lnTo>
                <a:lnTo>
                  <a:pt x="198" y="17"/>
                </a:lnTo>
                <a:lnTo>
                  <a:pt x="197" y="16"/>
                </a:lnTo>
                <a:lnTo>
                  <a:pt x="197" y="14"/>
                </a:lnTo>
                <a:lnTo>
                  <a:pt x="196" y="13"/>
                </a:lnTo>
                <a:lnTo>
                  <a:pt x="195" y="11"/>
                </a:lnTo>
                <a:close/>
                <a:moveTo>
                  <a:pt x="193" y="10"/>
                </a:moveTo>
                <a:lnTo>
                  <a:pt x="195" y="10"/>
                </a:lnTo>
                <a:lnTo>
                  <a:pt x="195" y="11"/>
                </a:lnTo>
                <a:lnTo>
                  <a:pt x="193" y="10"/>
                </a:lnTo>
                <a:close/>
                <a:moveTo>
                  <a:pt x="184" y="4"/>
                </a:moveTo>
                <a:lnTo>
                  <a:pt x="193" y="10"/>
                </a:lnTo>
                <a:lnTo>
                  <a:pt x="192" y="10"/>
                </a:lnTo>
                <a:lnTo>
                  <a:pt x="191" y="8"/>
                </a:lnTo>
                <a:lnTo>
                  <a:pt x="190" y="8"/>
                </a:lnTo>
                <a:lnTo>
                  <a:pt x="185" y="6"/>
                </a:lnTo>
                <a:lnTo>
                  <a:pt x="185" y="5"/>
                </a:lnTo>
                <a:lnTo>
                  <a:pt x="184" y="4"/>
                </a:lnTo>
                <a:close/>
                <a:moveTo>
                  <a:pt x="171" y="0"/>
                </a:moveTo>
                <a:lnTo>
                  <a:pt x="179" y="0"/>
                </a:lnTo>
                <a:lnTo>
                  <a:pt x="180" y="1"/>
                </a:lnTo>
                <a:lnTo>
                  <a:pt x="180" y="2"/>
                </a:lnTo>
                <a:lnTo>
                  <a:pt x="181" y="2"/>
                </a:lnTo>
                <a:lnTo>
                  <a:pt x="184" y="4"/>
                </a:lnTo>
                <a:lnTo>
                  <a:pt x="183" y="4"/>
                </a:lnTo>
                <a:lnTo>
                  <a:pt x="183" y="5"/>
                </a:lnTo>
                <a:lnTo>
                  <a:pt x="181" y="6"/>
                </a:lnTo>
                <a:lnTo>
                  <a:pt x="181" y="8"/>
                </a:lnTo>
                <a:lnTo>
                  <a:pt x="183" y="8"/>
                </a:lnTo>
                <a:lnTo>
                  <a:pt x="184" y="10"/>
                </a:lnTo>
                <a:lnTo>
                  <a:pt x="184" y="13"/>
                </a:lnTo>
                <a:lnTo>
                  <a:pt x="185" y="13"/>
                </a:lnTo>
                <a:lnTo>
                  <a:pt x="184" y="14"/>
                </a:lnTo>
                <a:lnTo>
                  <a:pt x="185" y="16"/>
                </a:lnTo>
                <a:lnTo>
                  <a:pt x="186" y="16"/>
                </a:lnTo>
                <a:lnTo>
                  <a:pt x="186" y="17"/>
                </a:lnTo>
                <a:lnTo>
                  <a:pt x="187" y="17"/>
                </a:lnTo>
                <a:lnTo>
                  <a:pt x="189" y="20"/>
                </a:lnTo>
                <a:lnTo>
                  <a:pt x="189" y="30"/>
                </a:lnTo>
                <a:lnTo>
                  <a:pt x="190" y="30"/>
                </a:lnTo>
                <a:lnTo>
                  <a:pt x="191" y="31"/>
                </a:lnTo>
                <a:lnTo>
                  <a:pt x="193" y="31"/>
                </a:lnTo>
                <a:lnTo>
                  <a:pt x="193" y="32"/>
                </a:lnTo>
                <a:lnTo>
                  <a:pt x="195" y="34"/>
                </a:lnTo>
                <a:lnTo>
                  <a:pt x="202" y="36"/>
                </a:lnTo>
                <a:lnTo>
                  <a:pt x="203" y="36"/>
                </a:lnTo>
                <a:lnTo>
                  <a:pt x="204" y="35"/>
                </a:lnTo>
                <a:lnTo>
                  <a:pt x="205" y="36"/>
                </a:lnTo>
                <a:lnTo>
                  <a:pt x="207" y="36"/>
                </a:lnTo>
                <a:lnTo>
                  <a:pt x="222" y="34"/>
                </a:lnTo>
                <a:lnTo>
                  <a:pt x="226" y="32"/>
                </a:lnTo>
                <a:lnTo>
                  <a:pt x="228" y="31"/>
                </a:lnTo>
                <a:lnTo>
                  <a:pt x="229" y="31"/>
                </a:lnTo>
                <a:lnTo>
                  <a:pt x="233" y="28"/>
                </a:lnTo>
                <a:lnTo>
                  <a:pt x="233" y="29"/>
                </a:lnTo>
                <a:lnTo>
                  <a:pt x="235" y="30"/>
                </a:lnTo>
                <a:lnTo>
                  <a:pt x="247" y="30"/>
                </a:lnTo>
                <a:lnTo>
                  <a:pt x="264" y="31"/>
                </a:lnTo>
                <a:lnTo>
                  <a:pt x="288" y="32"/>
                </a:lnTo>
                <a:lnTo>
                  <a:pt x="303" y="34"/>
                </a:lnTo>
                <a:lnTo>
                  <a:pt x="321" y="34"/>
                </a:lnTo>
                <a:lnTo>
                  <a:pt x="345" y="35"/>
                </a:lnTo>
                <a:lnTo>
                  <a:pt x="354" y="36"/>
                </a:lnTo>
                <a:lnTo>
                  <a:pt x="363" y="36"/>
                </a:lnTo>
                <a:lnTo>
                  <a:pt x="365" y="35"/>
                </a:lnTo>
                <a:lnTo>
                  <a:pt x="366" y="35"/>
                </a:lnTo>
                <a:lnTo>
                  <a:pt x="367" y="32"/>
                </a:lnTo>
                <a:lnTo>
                  <a:pt x="370" y="32"/>
                </a:lnTo>
                <a:lnTo>
                  <a:pt x="372" y="34"/>
                </a:lnTo>
                <a:lnTo>
                  <a:pt x="375" y="34"/>
                </a:lnTo>
                <a:lnTo>
                  <a:pt x="375" y="36"/>
                </a:lnTo>
                <a:lnTo>
                  <a:pt x="377" y="36"/>
                </a:lnTo>
                <a:lnTo>
                  <a:pt x="377" y="39"/>
                </a:lnTo>
                <a:lnTo>
                  <a:pt x="381" y="39"/>
                </a:lnTo>
                <a:lnTo>
                  <a:pt x="384" y="42"/>
                </a:lnTo>
                <a:lnTo>
                  <a:pt x="385" y="43"/>
                </a:lnTo>
                <a:lnTo>
                  <a:pt x="389" y="44"/>
                </a:lnTo>
                <a:lnTo>
                  <a:pt x="390" y="44"/>
                </a:lnTo>
                <a:lnTo>
                  <a:pt x="390" y="45"/>
                </a:lnTo>
                <a:lnTo>
                  <a:pt x="391" y="45"/>
                </a:lnTo>
                <a:lnTo>
                  <a:pt x="391" y="48"/>
                </a:lnTo>
                <a:lnTo>
                  <a:pt x="392" y="48"/>
                </a:lnTo>
                <a:lnTo>
                  <a:pt x="395" y="50"/>
                </a:lnTo>
                <a:lnTo>
                  <a:pt x="395" y="53"/>
                </a:lnTo>
                <a:lnTo>
                  <a:pt x="396" y="54"/>
                </a:lnTo>
                <a:lnTo>
                  <a:pt x="396" y="61"/>
                </a:lnTo>
                <a:lnTo>
                  <a:pt x="395" y="61"/>
                </a:lnTo>
                <a:lnTo>
                  <a:pt x="395" y="63"/>
                </a:lnTo>
                <a:lnTo>
                  <a:pt x="396" y="63"/>
                </a:lnTo>
                <a:lnTo>
                  <a:pt x="396" y="69"/>
                </a:lnTo>
                <a:lnTo>
                  <a:pt x="397" y="71"/>
                </a:lnTo>
                <a:lnTo>
                  <a:pt x="397" y="76"/>
                </a:lnTo>
                <a:lnTo>
                  <a:pt x="400" y="79"/>
                </a:lnTo>
                <a:lnTo>
                  <a:pt x="400" y="84"/>
                </a:lnTo>
                <a:lnTo>
                  <a:pt x="401" y="88"/>
                </a:lnTo>
                <a:lnTo>
                  <a:pt x="404" y="99"/>
                </a:lnTo>
                <a:lnTo>
                  <a:pt x="406" y="104"/>
                </a:lnTo>
                <a:lnTo>
                  <a:pt x="407" y="106"/>
                </a:lnTo>
                <a:lnTo>
                  <a:pt x="408" y="112"/>
                </a:lnTo>
                <a:lnTo>
                  <a:pt x="409" y="115"/>
                </a:lnTo>
                <a:lnTo>
                  <a:pt x="410" y="116"/>
                </a:lnTo>
                <a:lnTo>
                  <a:pt x="410" y="118"/>
                </a:lnTo>
                <a:lnTo>
                  <a:pt x="413" y="121"/>
                </a:lnTo>
                <a:lnTo>
                  <a:pt x="413" y="124"/>
                </a:lnTo>
                <a:lnTo>
                  <a:pt x="412" y="124"/>
                </a:lnTo>
                <a:lnTo>
                  <a:pt x="412" y="128"/>
                </a:lnTo>
                <a:lnTo>
                  <a:pt x="413" y="130"/>
                </a:lnTo>
                <a:lnTo>
                  <a:pt x="414" y="131"/>
                </a:lnTo>
                <a:lnTo>
                  <a:pt x="414" y="153"/>
                </a:lnTo>
                <a:lnTo>
                  <a:pt x="412" y="155"/>
                </a:lnTo>
                <a:lnTo>
                  <a:pt x="407" y="159"/>
                </a:lnTo>
                <a:lnTo>
                  <a:pt x="396" y="162"/>
                </a:lnTo>
                <a:lnTo>
                  <a:pt x="392" y="166"/>
                </a:lnTo>
                <a:lnTo>
                  <a:pt x="386" y="174"/>
                </a:lnTo>
                <a:lnTo>
                  <a:pt x="384" y="177"/>
                </a:lnTo>
                <a:lnTo>
                  <a:pt x="383" y="182"/>
                </a:lnTo>
                <a:lnTo>
                  <a:pt x="384" y="183"/>
                </a:lnTo>
                <a:lnTo>
                  <a:pt x="383" y="185"/>
                </a:lnTo>
                <a:lnTo>
                  <a:pt x="384" y="185"/>
                </a:lnTo>
                <a:lnTo>
                  <a:pt x="388" y="186"/>
                </a:lnTo>
                <a:lnTo>
                  <a:pt x="388" y="185"/>
                </a:lnTo>
                <a:lnTo>
                  <a:pt x="389" y="186"/>
                </a:lnTo>
                <a:lnTo>
                  <a:pt x="391" y="188"/>
                </a:lnTo>
                <a:lnTo>
                  <a:pt x="392" y="188"/>
                </a:lnTo>
                <a:lnTo>
                  <a:pt x="391" y="189"/>
                </a:lnTo>
                <a:lnTo>
                  <a:pt x="396" y="189"/>
                </a:lnTo>
                <a:lnTo>
                  <a:pt x="396" y="190"/>
                </a:lnTo>
                <a:lnTo>
                  <a:pt x="397" y="192"/>
                </a:lnTo>
                <a:lnTo>
                  <a:pt x="400" y="192"/>
                </a:lnTo>
                <a:lnTo>
                  <a:pt x="401" y="194"/>
                </a:lnTo>
                <a:lnTo>
                  <a:pt x="401" y="195"/>
                </a:lnTo>
                <a:lnTo>
                  <a:pt x="402" y="195"/>
                </a:lnTo>
                <a:lnTo>
                  <a:pt x="402" y="197"/>
                </a:lnTo>
                <a:lnTo>
                  <a:pt x="403" y="198"/>
                </a:lnTo>
                <a:lnTo>
                  <a:pt x="403" y="201"/>
                </a:lnTo>
                <a:lnTo>
                  <a:pt x="404" y="202"/>
                </a:lnTo>
                <a:lnTo>
                  <a:pt x="403" y="202"/>
                </a:lnTo>
                <a:lnTo>
                  <a:pt x="403" y="203"/>
                </a:lnTo>
                <a:lnTo>
                  <a:pt x="402" y="204"/>
                </a:lnTo>
                <a:lnTo>
                  <a:pt x="402" y="208"/>
                </a:lnTo>
                <a:lnTo>
                  <a:pt x="401" y="209"/>
                </a:lnTo>
                <a:lnTo>
                  <a:pt x="402" y="209"/>
                </a:lnTo>
                <a:lnTo>
                  <a:pt x="401" y="210"/>
                </a:lnTo>
                <a:lnTo>
                  <a:pt x="401" y="213"/>
                </a:lnTo>
                <a:lnTo>
                  <a:pt x="402" y="214"/>
                </a:lnTo>
                <a:lnTo>
                  <a:pt x="402" y="216"/>
                </a:lnTo>
                <a:lnTo>
                  <a:pt x="401" y="216"/>
                </a:lnTo>
                <a:lnTo>
                  <a:pt x="400" y="217"/>
                </a:lnTo>
                <a:lnTo>
                  <a:pt x="398" y="217"/>
                </a:lnTo>
                <a:lnTo>
                  <a:pt x="398" y="225"/>
                </a:lnTo>
                <a:lnTo>
                  <a:pt x="397" y="225"/>
                </a:lnTo>
                <a:lnTo>
                  <a:pt x="398" y="226"/>
                </a:lnTo>
                <a:lnTo>
                  <a:pt x="398" y="229"/>
                </a:lnTo>
                <a:lnTo>
                  <a:pt x="400" y="232"/>
                </a:lnTo>
                <a:lnTo>
                  <a:pt x="398" y="232"/>
                </a:lnTo>
                <a:lnTo>
                  <a:pt x="400" y="233"/>
                </a:lnTo>
                <a:lnTo>
                  <a:pt x="401" y="233"/>
                </a:lnTo>
                <a:lnTo>
                  <a:pt x="401" y="235"/>
                </a:lnTo>
                <a:lnTo>
                  <a:pt x="402" y="235"/>
                </a:lnTo>
                <a:lnTo>
                  <a:pt x="403" y="237"/>
                </a:lnTo>
                <a:lnTo>
                  <a:pt x="403" y="238"/>
                </a:lnTo>
                <a:lnTo>
                  <a:pt x="404" y="241"/>
                </a:lnTo>
                <a:lnTo>
                  <a:pt x="404" y="244"/>
                </a:lnTo>
                <a:lnTo>
                  <a:pt x="403" y="244"/>
                </a:lnTo>
                <a:lnTo>
                  <a:pt x="403" y="245"/>
                </a:lnTo>
                <a:lnTo>
                  <a:pt x="402" y="246"/>
                </a:lnTo>
                <a:lnTo>
                  <a:pt x="402" y="248"/>
                </a:lnTo>
                <a:lnTo>
                  <a:pt x="403" y="248"/>
                </a:lnTo>
                <a:lnTo>
                  <a:pt x="404" y="250"/>
                </a:lnTo>
                <a:lnTo>
                  <a:pt x="407" y="254"/>
                </a:lnTo>
                <a:lnTo>
                  <a:pt x="408" y="256"/>
                </a:lnTo>
                <a:lnTo>
                  <a:pt x="410" y="257"/>
                </a:lnTo>
                <a:lnTo>
                  <a:pt x="412" y="259"/>
                </a:lnTo>
                <a:lnTo>
                  <a:pt x="413" y="259"/>
                </a:lnTo>
                <a:lnTo>
                  <a:pt x="412" y="260"/>
                </a:lnTo>
                <a:lnTo>
                  <a:pt x="412" y="262"/>
                </a:lnTo>
                <a:lnTo>
                  <a:pt x="413" y="264"/>
                </a:lnTo>
                <a:lnTo>
                  <a:pt x="414" y="265"/>
                </a:lnTo>
                <a:lnTo>
                  <a:pt x="414" y="269"/>
                </a:lnTo>
                <a:lnTo>
                  <a:pt x="415" y="269"/>
                </a:lnTo>
                <a:lnTo>
                  <a:pt x="415" y="270"/>
                </a:lnTo>
                <a:lnTo>
                  <a:pt x="416" y="270"/>
                </a:lnTo>
                <a:lnTo>
                  <a:pt x="416" y="274"/>
                </a:lnTo>
                <a:lnTo>
                  <a:pt x="420" y="276"/>
                </a:lnTo>
                <a:lnTo>
                  <a:pt x="423" y="277"/>
                </a:lnTo>
                <a:lnTo>
                  <a:pt x="423" y="280"/>
                </a:lnTo>
                <a:lnTo>
                  <a:pt x="420" y="280"/>
                </a:lnTo>
                <a:lnTo>
                  <a:pt x="420" y="281"/>
                </a:lnTo>
                <a:lnTo>
                  <a:pt x="419" y="280"/>
                </a:lnTo>
                <a:lnTo>
                  <a:pt x="417" y="280"/>
                </a:lnTo>
                <a:lnTo>
                  <a:pt x="416" y="281"/>
                </a:lnTo>
                <a:lnTo>
                  <a:pt x="416" y="284"/>
                </a:lnTo>
                <a:lnTo>
                  <a:pt x="419" y="284"/>
                </a:lnTo>
                <a:lnTo>
                  <a:pt x="417" y="286"/>
                </a:lnTo>
                <a:lnTo>
                  <a:pt x="420" y="288"/>
                </a:lnTo>
                <a:lnTo>
                  <a:pt x="421" y="288"/>
                </a:lnTo>
                <a:lnTo>
                  <a:pt x="421" y="291"/>
                </a:lnTo>
                <a:lnTo>
                  <a:pt x="422" y="294"/>
                </a:lnTo>
                <a:lnTo>
                  <a:pt x="421" y="295"/>
                </a:lnTo>
                <a:lnTo>
                  <a:pt x="421" y="299"/>
                </a:lnTo>
                <a:lnTo>
                  <a:pt x="422" y="300"/>
                </a:lnTo>
                <a:lnTo>
                  <a:pt x="421" y="300"/>
                </a:lnTo>
                <a:lnTo>
                  <a:pt x="421" y="301"/>
                </a:lnTo>
                <a:lnTo>
                  <a:pt x="417" y="302"/>
                </a:lnTo>
                <a:lnTo>
                  <a:pt x="417" y="306"/>
                </a:lnTo>
                <a:lnTo>
                  <a:pt x="416" y="308"/>
                </a:lnTo>
                <a:lnTo>
                  <a:pt x="415" y="309"/>
                </a:lnTo>
                <a:lnTo>
                  <a:pt x="406" y="309"/>
                </a:lnTo>
                <a:lnTo>
                  <a:pt x="403" y="312"/>
                </a:lnTo>
                <a:lnTo>
                  <a:pt x="403" y="314"/>
                </a:lnTo>
                <a:lnTo>
                  <a:pt x="402" y="314"/>
                </a:lnTo>
                <a:lnTo>
                  <a:pt x="400" y="318"/>
                </a:lnTo>
                <a:lnTo>
                  <a:pt x="396" y="321"/>
                </a:lnTo>
                <a:lnTo>
                  <a:pt x="394" y="323"/>
                </a:lnTo>
                <a:lnTo>
                  <a:pt x="384" y="333"/>
                </a:lnTo>
                <a:lnTo>
                  <a:pt x="379" y="338"/>
                </a:lnTo>
                <a:lnTo>
                  <a:pt x="375" y="345"/>
                </a:lnTo>
                <a:lnTo>
                  <a:pt x="373" y="346"/>
                </a:lnTo>
                <a:lnTo>
                  <a:pt x="373" y="348"/>
                </a:lnTo>
                <a:lnTo>
                  <a:pt x="371" y="350"/>
                </a:lnTo>
                <a:lnTo>
                  <a:pt x="369" y="355"/>
                </a:lnTo>
                <a:lnTo>
                  <a:pt x="367" y="356"/>
                </a:lnTo>
                <a:lnTo>
                  <a:pt x="365" y="356"/>
                </a:lnTo>
                <a:lnTo>
                  <a:pt x="365" y="360"/>
                </a:lnTo>
                <a:lnTo>
                  <a:pt x="361" y="363"/>
                </a:lnTo>
                <a:lnTo>
                  <a:pt x="360" y="366"/>
                </a:lnTo>
                <a:lnTo>
                  <a:pt x="361" y="368"/>
                </a:lnTo>
                <a:lnTo>
                  <a:pt x="361" y="373"/>
                </a:lnTo>
                <a:lnTo>
                  <a:pt x="364" y="375"/>
                </a:lnTo>
                <a:lnTo>
                  <a:pt x="364" y="385"/>
                </a:lnTo>
                <a:lnTo>
                  <a:pt x="363" y="387"/>
                </a:lnTo>
                <a:lnTo>
                  <a:pt x="363" y="389"/>
                </a:lnTo>
                <a:lnTo>
                  <a:pt x="361" y="389"/>
                </a:lnTo>
                <a:lnTo>
                  <a:pt x="363" y="391"/>
                </a:lnTo>
                <a:lnTo>
                  <a:pt x="363" y="389"/>
                </a:lnTo>
                <a:lnTo>
                  <a:pt x="364" y="389"/>
                </a:lnTo>
                <a:lnTo>
                  <a:pt x="366" y="392"/>
                </a:lnTo>
                <a:lnTo>
                  <a:pt x="366" y="393"/>
                </a:lnTo>
                <a:lnTo>
                  <a:pt x="369" y="394"/>
                </a:lnTo>
                <a:lnTo>
                  <a:pt x="369" y="398"/>
                </a:lnTo>
                <a:lnTo>
                  <a:pt x="370" y="399"/>
                </a:lnTo>
                <a:lnTo>
                  <a:pt x="370" y="400"/>
                </a:lnTo>
                <a:lnTo>
                  <a:pt x="369" y="400"/>
                </a:lnTo>
                <a:lnTo>
                  <a:pt x="367" y="399"/>
                </a:lnTo>
                <a:lnTo>
                  <a:pt x="366" y="399"/>
                </a:lnTo>
                <a:lnTo>
                  <a:pt x="365" y="398"/>
                </a:lnTo>
                <a:lnTo>
                  <a:pt x="365" y="397"/>
                </a:lnTo>
                <a:lnTo>
                  <a:pt x="364" y="398"/>
                </a:lnTo>
                <a:lnTo>
                  <a:pt x="360" y="398"/>
                </a:lnTo>
                <a:lnTo>
                  <a:pt x="357" y="394"/>
                </a:lnTo>
                <a:lnTo>
                  <a:pt x="355" y="395"/>
                </a:lnTo>
                <a:lnTo>
                  <a:pt x="354" y="394"/>
                </a:lnTo>
                <a:lnTo>
                  <a:pt x="350" y="394"/>
                </a:lnTo>
                <a:lnTo>
                  <a:pt x="347" y="392"/>
                </a:lnTo>
                <a:lnTo>
                  <a:pt x="345" y="392"/>
                </a:lnTo>
                <a:lnTo>
                  <a:pt x="342" y="391"/>
                </a:lnTo>
                <a:lnTo>
                  <a:pt x="342" y="389"/>
                </a:lnTo>
                <a:lnTo>
                  <a:pt x="340" y="389"/>
                </a:lnTo>
                <a:lnTo>
                  <a:pt x="339" y="388"/>
                </a:lnTo>
                <a:lnTo>
                  <a:pt x="338" y="388"/>
                </a:lnTo>
                <a:lnTo>
                  <a:pt x="335" y="387"/>
                </a:lnTo>
                <a:lnTo>
                  <a:pt x="334" y="387"/>
                </a:lnTo>
                <a:lnTo>
                  <a:pt x="333" y="385"/>
                </a:lnTo>
                <a:lnTo>
                  <a:pt x="333" y="382"/>
                </a:lnTo>
                <a:lnTo>
                  <a:pt x="332" y="380"/>
                </a:lnTo>
                <a:lnTo>
                  <a:pt x="330" y="379"/>
                </a:lnTo>
                <a:lnTo>
                  <a:pt x="328" y="377"/>
                </a:lnTo>
                <a:lnTo>
                  <a:pt x="327" y="376"/>
                </a:lnTo>
                <a:lnTo>
                  <a:pt x="324" y="376"/>
                </a:lnTo>
                <a:lnTo>
                  <a:pt x="323" y="377"/>
                </a:lnTo>
                <a:lnTo>
                  <a:pt x="322" y="377"/>
                </a:lnTo>
                <a:lnTo>
                  <a:pt x="321" y="375"/>
                </a:lnTo>
                <a:lnTo>
                  <a:pt x="320" y="374"/>
                </a:lnTo>
                <a:lnTo>
                  <a:pt x="319" y="374"/>
                </a:lnTo>
                <a:lnTo>
                  <a:pt x="317" y="373"/>
                </a:lnTo>
                <a:lnTo>
                  <a:pt x="313" y="373"/>
                </a:lnTo>
                <a:lnTo>
                  <a:pt x="311" y="374"/>
                </a:lnTo>
                <a:lnTo>
                  <a:pt x="311" y="373"/>
                </a:lnTo>
                <a:lnTo>
                  <a:pt x="310" y="374"/>
                </a:lnTo>
                <a:lnTo>
                  <a:pt x="309" y="374"/>
                </a:lnTo>
                <a:lnTo>
                  <a:pt x="305" y="373"/>
                </a:lnTo>
                <a:lnTo>
                  <a:pt x="303" y="372"/>
                </a:lnTo>
                <a:lnTo>
                  <a:pt x="301" y="372"/>
                </a:lnTo>
                <a:lnTo>
                  <a:pt x="299" y="374"/>
                </a:lnTo>
                <a:lnTo>
                  <a:pt x="297" y="374"/>
                </a:lnTo>
                <a:lnTo>
                  <a:pt x="297" y="373"/>
                </a:lnTo>
                <a:lnTo>
                  <a:pt x="294" y="373"/>
                </a:lnTo>
                <a:lnTo>
                  <a:pt x="294" y="374"/>
                </a:lnTo>
                <a:lnTo>
                  <a:pt x="292" y="374"/>
                </a:lnTo>
                <a:lnTo>
                  <a:pt x="292" y="375"/>
                </a:lnTo>
                <a:lnTo>
                  <a:pt x="294" y="375"/>
                </a:lnTo>
                <a:lnTo>
                  <a:pt x="295" y="376"/>
                </a:lnTo>
                <a:lnTo>
                  <a:pt x="294" y="377"/>
                </a:lnTo>
                <a:lnTo>
                  <a:pt x="291" y="377"/>
                </a:lnTo>
                <a:lnTo>
                  <a:pt x="291" y="379"/>
                </a:lnTo>
                <a:lnTo>
                  <a:pt x="289" y="381"/>
                </a:lnTo>
                <a:lnTo>
                  <a:pt x="286" y="381"/>
                </a:lnTo>
                <a:lnTo>
                  <a:pt x="285" y="380"/>
                </a:lnTo>
                <a:lnTo>
                  <a:pt x="283" y="380"/>
                </a:lnTo>
                <a:lnTo>
                  <a:pt x="283" y="379"/>
                </a:lnTo>
                <a:lnTo>
                  <a:pt x="282" y="379"/>
                </a:lnTo>
                <a:lnTo>
                  <a:pt x="278" y="374"/>
                </a:lnTo>
                <a:lnTo>
                  <a:pt x="274" y="374"/>
                </a:lnTo>
                <a:lnTo>
                  <a:pt x="274" y="375"/>
                </a:lnTo>
                <a:lnTo>
                  <a:pt x="273" y="375"/>
                </a:lnTo>
                <a:lnTo>
                  <a:pt x="273" y="376"/>
                </a:lnTo>
                <a:lnTo>
                  <a:pt x="271" y="376"/>
                </a:lnTo>
                <a:lnTo>
                  <a:pt x="267" y="374"/>
                </a:lnTo>
                <a:lnTo>
                  <a:pt x="266" y="374"/>
                </a:lnTo>
                <a:lnTo>
                  <a:pt x="266" y="375"/>
                </a:lnTo>
                <a:lnTo>
                  <a:pt x="261" y="375"/>
                </a:lnTo>
                <a:lnTo>
                  <a:pt x="261" y="379"/>
                </a:lnTo>
                <a:lnTo>
                  <a:pt x="257" y="379"/>
                </a:lnTo>
                <a:lnTo>
                  <a:pt x="255" y="380"/>
                </a:lnTo>
                <a:lnTo>
                  <a:pt x="254" y="380"/>
                </a:lnTo>
                <a:lnTo>
                  <a:pt x="254" y="381"/>
                </a:lnTo>
                <a:lnTo>
                  <a:pt x="253" y="382"/>
                </a:lnTo>
                <a:lnTo>
                  <a:pt x="253" y="383"/>
                </a:lnTo>
                <a:lnTo>
                  <a:pt x="252" y="385"/>
                </a:lnTo>
                <a:lnTo>
                  <a:pt x="252" y="388"/>
                </a:lnTo>
                <a:lnTo>
                  <a:pt x="251" y="389"/>
                </a:lnTo>
                <a:lnTo>
                  <a:pt x="247" y="386"/>
                </a:lnTo>
                <a:lnTo>
                  <a:pt x="243" y="386"/>
                </a:lnTo>
                <a:lnTo>
                  <a:pt x="243" y="387"/>
                </a:lnTo>
                <a:lnTo>
                  <a:pt x="242" y="388"/>
                </a:lnTo>
                <a:lnTo>
                  <a:pt x="240" y="388"/>
                </a:lnTo>
                <a:lnTo>
                  <a:pt x="239" y="387"/>
                </a:lnTo>
                <a:lnTo>
                  <a:pt x="239" y="386"/>
                </a:lnTo>
                <a:lnTo>
                  <a:pt x="240" y="383"/>
                </a:lnTo>
                <a:lnTo>
                  <a:pt x="241" y="383"/>
                </a:lnTo>
                <a:lnTo>
                  <a:pt x="241" y="382"/>
                </a:lnTo>
                <a:lnTo>
                  <a:pt x="240" y="382"/>
                </a:lnTo>
                <a:lnTo>
                  <a:pt x="240" y="376"/>
                </a:lnTo>
                <a:lnTo>
                  <a:pt x="239" y="375"/>
                </a:lnTo>
                <a:lnTo>
                  <a:pt x="239" y="374"/>
                </a:lnTo>
                <a:lnTo>
                  <a:pt x="237" y="375"/>
                </a:lnTo>
                <a:lnTo>
                  <a:pt x="235" y="375"/>
                </a:lnTo>
                <a:lnTo>
                  <a:pt x="233" y="374"/>
                </a:lnTo>
                <a:lnTo>
                  <a:pt x="233" y="372"/>
                </a:lnTo>
                <a:lnTo>
                  <a:pt x="230" y="372"/>
                </a:lnTo>
                <a:lnTo>
                  <a:pt x="230" y="370"/>
                </a:lnTo>
                <a:lnTo>
                  <a:pt x="228" y="366"/>
                </a:lnTo>
                <a:lnTo>
                  <a:pt x="228" y="363"/>
                </a:lnTo>
                <a:lnTo>
                  <a:pt x="227" y="363"/>
                </a:lnTo>
                <a:lnTo>
                  <a:pt x="226" y="362"/>
                </a:lnTo>
                <a:lnTo>
                  <a:pt x="226" y="361"/>
                </a:lnTo>
                <a:lnTo>
                  <a:pt x="221" y="366"/>
                </a:lnTo>
                <a:lnTo>
                  <a:pt x="221" y="367"/>
                </a:lnTo>
                <a:lnTo>
                  <a:pt x="216" y="367"/>
                </a:lnTo>
                <a:lnTo>
                  <a:pt x="216" y="368"/>
                </a:lnTo>
                <a:lnTo>
                  <a:pt x="215" y="370"/>
                </a:lnTo>
                <a:lnTo>
                  <a:pt x="216" y="372"/>
                </a:lnTo>
                <a:lnTo>
                  <a:pt x="215" y="372"/>
                </a:lnTo>
                <a:lnTo>
                  <a:pt x="215" y="373"/>
                </a:lnTo>
                <a:lnTo>
                  <a:pt x="212" y="375"/>
                </a:lnTo>
                <a:lnTo>
                  <a:pt x="210" y="375"/>
                </a:lnTo>
                <a:lnTo>
                  <a:pt x="210" y="374"/>
                </a:lnTo>
                <a:lnTo>
                  <a:pt x="209" y="374"/>
                </a:lnTo>
                <a:lnTo>
                  <a:pt x="207" y="375"/>
                </a:lnTo>
                <a:lnTo>
                  <a:pt x="205" y="375"/>
                </a:lnTo>
                <a:lnTo>
                  <a:pt x="205" y="372"/>
                </a:lnTo>
                <a:lnTo>
                  <a:pt x="204" y="370"/>
                </a:lnTo>
                <a:lnTo>
                  <a:pt x="204" y="369"/>
                </a:lnTo>
                <a:lnTo>
                  <a:pt x="205" y="368"/>
                </a:lnTo>
                <a:lnTo>
                  <a:pt x="204" y="368"/>
                </a:lnTo>
                <a:lnTo>
                  <a:pt x="199" y="367"/>
                </a:lnTo>
                <a:lnTo>
                  <a:pt x="199" y="361"/>
                </a:lnTo>
                <a:lnTo>
                  <a:pt x="198" y="361"/>
                </a:lnTo>
                <a:lnTo>
                  <a:pt x="198" y="357"/>
                </a:lnTo>
                <a:lnTo>
                  <a:pt x="197" y="356"/>
                </a:lnTo>
                <a:lnTo>
                  <a:pt x="196" y="356"/>
                </a:lnTo>
                <a:lnTo>
                  <a:pt x="196" y="357"/>
                </a:lnTo>
                <a:lnTo>
                  <a:pt x="195" y="357"/>
                </a:lnTo>
                <a:lnTo>
                  <a:pt x="195" y="356"/>
                </a:lnTo>
                <a:lnTo>
                  <a:pt x="193" y="356"/>
                </a:lnTo>
                <a:lnTo>
                  <a:pt x="193" y="355"/>
                </a:lnTo>
                <a:lnTo>
                  <a:pt x="191" y="355"/>
                </a:lnTo>
                <a:lnTo>
                  <a:pt x="191" y="354"/>
                </a:lnTo>
                <a:lnTo>
                  <a:pt x="190" y="352"/>
                </a:lnTo>
                <a:lnTo>
                  <a:pt x="189" y="350"/>
                </a:lnTo>
                <a:lnTo>
                  <a:pt x="189" y="346"/>
                </a:lnTo>
                <a:lnTo>
                  <a:pt x="190" y="345"/>
                </a:lnTo>
                <a:lnTo>
                  <a:pt x="189" y="344"/>
                </a:lnTo>
                <a:lnTo>
                  <a:pt x="189" y="343"/>
                </a:lnTo>
                <a:lnTo>
                  <a:pt x="187" y="342"/>
                </a:lnTo>
                <a:lnTo>
                  <a:pt x="187" y="340"/>
                </a:lnTo>
                <a:lnTo>
                  <a:pt x="186" y="342"/>
                </a:lnTo>
                <a:lnTo>
                  <a:pt x="185" y="342"/>
                </a:lnTo>
                <a:lnTo>
                  <a:pt x="181" y="340"/>
                </a:lnTo>
                <a:lnTo>
                  <a:pt x="180" y="339"/>
                </a:lnTo>
                <a:lnTo>
                  <a:pt x="178" y="339"/>
                </a:lnTo>
                <a:lnTo>
                  <a:pt x="178" y="340"/>
                </a:lnTo>
                <a:lnTo>
                  <a:pt x="179" y="340"/>
                </a:lnTo>
                <a:lnTo>
                  <a:pt x="178" y="342"/>
                </a:lnTo>
                <a:lnTo>
                  <a:pt x="177" y="342"/>
                </a:lnTo>
                <a:lnTo>
                  <a:pt x="176" y="340"/>
                </a:lnTo>
                <a:lnTo>
                  <a:pt x="176" y="339"/>
                </a:lnTo>
                <a:lnTo>
                  <a:pt x="174" y="338"/>
                </a:lnTo>
                <a:lnTo>
                  <a:pt x="173" y="338"/>
                </a:lnTo>
                <a:lnTo>
                  <a:pt x="172" y="337"/>
                </a:lnTo>
                <a:lnTo>
                  <a:pt x="171" y="337"/>
                </a:lnTo>
                <a:lnTo>
                  <a:pt x="168" y="336"/>
                </a:lnTo>
                <a:lnTo>
                  <a:pt x="168" y="334"/>
                </a:lnTo>
                <a:lnTo>
                  <a:pt x="166" y="332"/>
                </a:lnTo>
                <a:lnTo>
                  <a:pt x="165" y="332"/>
                </a:lnTo>
                <a:lnTo>
                  <a:pt x="165" y="333"/>
                </a:lnTo>
                <a:lnTo>
                  <a:pt x="166" y="333"/>
                </a:lnTo>
                <a:lnTo>
                  <a:pt x="166" y="334"/>
                </a:lnTo>
                <a:lnTo>
                  <a:pt x="165" y="336"/>
                </a:lnTo>
                <a:lnTo>
                  <a:pt x="162" y="336"/>
                </a:lnTo>
                <a:lnTo>
                  <a:pt x="161" y="337"/>
                </a:lnTo>
                <a:lnTo>
                  <a:pt x="158" y="337"/>
                </a:lnTo>
                <a:lnTo>
                  <a:pt x="154" y="333"/>
                </a:lnTo>
                <a:lnTo>
                  <a:pt x="154" y="331"/>
                </a:lnTo>
                <a:lnTo>
                  <a:pt x="153" y="331"/>
                </a:lnTo>
                <a:lnTo>
                  <a:pt x="153" y="329"/>
                </a:lnTo>
                <a:lnTo>
                  <a:pt x="149" y="329"/>
                </a:lnTo>
                <a:lnTo>
                  <a:pt x="147" y="326"/>
                </a:lnTo>
                <a:lnTo>
                  <a:pt x="147" y="325"/>
                </a:lnTo>
                <a:lnTo>
                  <a:pt x="148" y="324"/>
                </a:lnTo>
                <a:lnTo>
                  <a:pt x="150" y="324"/>
                </a:lnTo>
                <a:lnTo>
                  <a:pt x="153" y="323"/>
                </a:lnTo>
                <a:lnTo>
                  <a:pt x="153" y="321"/>
                </a:lnTo>
                <a:lnTo>
                  <a:pt x="154" y="321"/>
                </a:lnTo>
                <a:lnTo>
                  <a:pt x="153" y="320"/>
                </a:lnTo>
                <a:lnTo>
                  <a:pt x="153" y="315"/>
                </a:lnTo>
                <a:lnTo>
                  <a:pt x="152" y="314"/>
                </a:lnTo>
                <a:lnTo>
                  <a:pt x="150" y="314"/>
                </a:lnTo>
                <a:lnTo>
                  <a:pt x="150" y="315"/>
                </a:lnTo>
                <a:lnTo>
                  <a:pt x="149" y="318"/>
                </a:lnTo>
                <a:lnTo>
                  <a:pt x="142" y="318"/>
                </a:lnTo>
                <a:lnTo>
                  <a:pt x="141" y="319"/>
                </a:lnTo>
                <a:lnTo>
                  <a:pt x="140" y="319"/>
                </a:lnTo>
                <a:lnTo>
                  <a:pt x="140" y="318"/>
                </a:lnTo>
                <a:lnTo>
                  <a:pt x="137" y="318"/>
                </a:lnTo>
                <a:lnTo>
                  <a:pt x="137" y="319"/>
                </a:lnTo>
                <a:lnTo>
                  <a:pt x="136" y="318"/>
                </a:lnTo>
                <a:lnTo>
                  <a:pt x="136" y="314"/>
                </a:lnTo>
                <a:lnTo>
                  <a:pt x="133" y="314"/>
                </a:lnTo>
                <a:lnTo>
                  <a:pt x="131" y="313"/>
                </a:lnTo>
                <a:lnTo>
                  <a:pt x="130" y="313"/>
                </a:lnTo>
                <a:lnTo>
                  <a:pt x="130" y="311"/>
                </a:lnTo>
                <a:lnTo>
                  <a:pt x="127" y="311"/>
                </a:lnTo>
                <a:lnTo>
                  <a:pt x="127" y="309"/>
                </a:lnTo>
                <a:lnTo>
                  <a:pt x="125" y="309"/>
                </a:lnTo>
                <a:lnTo>
                  <a:pt x="122" y="308"/>
                </a:lnTo>
                <a:lnTo>
                  <a:pt x="121" y="308"/>
                </a:lnTo>
                <a:lnTo>
                  <a:pt x="119" y="307"/>
                </a:lnTo>
                <a:lnTo>
                  <a:pt x="116" y="307"/>
                </a:lnTo>
                <a:lnTo>
                  <a:pt x="117" y="308"/>
                </a:lnTo>
                <a:lnTo>
                  <a:pt x="118" y="311"/>
                </a:lnTo>
                <a:lnTo>
                  <a:pt x="118" y="313"/>
                </a:lnTo>
                <a:lnTo>
                  <a:pt x="119" y="314"/>
                </a:lnTo>
                <a:lnTo>
                  <a:pt x="119" y="315"/>
                </a:lnTo>
                <a:lnTo>
                  <a:pt x="121" y="315"/>
                </a:lnTo>
                <a:lnTo>
                  <a:pt x="122" y="317"/>
                </a:lnTo>
                <a:lnTo>
                  <a:pt x="122" y="319"/>
                </a:lnTo>
                <a:lnTo>
                  <a:pt x="123" y="320"/>
                </a:lnTo>
                <a:lnTo>
                  <a:pt x="123" y="321"/>
                </a:lnTo>
                <a:lnTo>
                  <a:pt x="122" y="321"/>
                </a:lnTo>
                <a:lnTo>
                  <a:pt x="122" y="320"/>
                </a:lnTo>
                <a:lnTo>
                  <a:pt x="121" y="320"/>
                </a:lnTo>
                <a:lnTo>
                  <a:pt x="121" y="321"/>
                </a:lnTo>
                <a:lnTo>
                  <a:pt x="118" y="321"/>
                </a:lnTo>
                <a:lnTo>
                  <a:pt x="117" y="323"/>
                </a:lnTo>
                <a:lnTo>
                  <a:pt x="115" y="323"/>
                </a:lnTo>
                <a:lnTo>
                  <a:pt x="112" y="325"/>
                </a:lnTo>
                <a:lnTo>
                  <a:pt x="112" y="326"/>
                </a:lnTo>
                <a:lnTo>
                  <a:pt x="110" y="329"/>
                </a:lnTo>
                <a:lnTo>
                  <a:pt x="106" y="329"/>
                </a:lnTo>
                <a:lnTo>
                  <a:pt x="104" y="326"/>
                </a:lnTo>
                <a:lnTo>
                  <a:pt x="104" y="325"/>
                </a:lnTo>
                <a:lnTo>
                  <a:pt x="103" y="323"/>
                </a:lnTo>
                <a:lnTo>
                  <a:pt x="103" y="321"/>
                </a:lnTo>
                <a:lnTo>
                  <a:pt x="100" y="319"/>
                </a:lnTo>
                <a:lnTo>
                  <a:pt x="99" y="317"/>
                </a:lnTo>
                <a:lnTo>
                  <a:pt x="98" y="315"/>
                </a:lnTo>
                <a:lnTo>
                  <a:pt x="96" y="314"/>
                </a:lnTo>
                <a:lnTo>
                  <a:pt x="94" y="313"/>
                </a:lnTo>
                <a:lnTo>
                  <a:pt x="94" y="311"/>
                </a:lnTo>
                <a:lnTo>
                  <a:pt x="91" y="311"/>
                </a:lnTo>
                <a:lnTo>
                  <a:pt x="90" y="308"/>
                </a:lnTo>
                <a:lnTo>
                  <a:pt x="89" y="308"/>
                </a:lnTo>
                <a:lnTo>
                  <a:pt x="89" y="306"/>
                </a:lnTo>
                <a:lnTo>
                  <a:pt x="90" y="306"/>
                </a:lnTo>
                <a:lnTo>
                  <a:pt x="90" y="305"/>
                </a:lnTo>
                <a:lnTo>
                  <a:pt x="91" y="305"/>
                </a:lnTo>
                <a:lnTo>
                  <a:pt x="92" y="303"/>
                </a:lnTo>
                <a:lnTo>
                  <a:pt x="92" y="302"/>
                </a:lnTo>
                <a:lnTo>
                  <a:pt x="96" y="302"/>
                </a:lnTo>
                <a:lnTo>
                  <a:pt x="96" y="301"/>
                </a:lnTo>
                <a:lnTo>
                  <a:pt x="97" y="301"/>
                </a:lnTo>
                <a:lnTo>
                  <a:pt x="97" y="299"/>
                </a:lnTo>
                <a:lnTo>
                  <a:pt x="98" y="297"/>
                </a:lnTo>
                <a:lnTo>
                  <a:pt x="98" y="296"/>
                </a:lnTo>
                <a:lnTo>
                  <a:pt x="93" y="291"/>
                </a:lnTo>
                <a:lnTo>
                  <a:pt x="90" y="291"/>
                </a:lnTo>
                <a:lnTo>
                  <a:pt x="89" y="293"/>
                </a:lnTo>
                <a:lnTo>
                  <a:pt x="89" y="294"/>
                </a:lnTo>
                <a:lnTo>
                  <a:pt x="87" y="294"/>
                </a:lnTo>
                <a:lnTo>
                  <a:pt x="85" y="293"/>
                </a:lnTo>
                <a:lnTo>
                  <a:pt x="84" y="293"/>
                </a:lnTo>
                <a:lnTo>
                  <a:pt x="81" y="295"/>
                </a:lnTo>
                <a:lnTo>
                  <a:pt x="79" y="295"/>
                </a:lnTo>
                <a:lnTo>
                  <a:pt x="79" y="294"/>
                </a:lnTo>
                <a:lnTo>
                  <a:pt x="80" y="294"/>
                </a:lnTo>
                <a:lnTo>
                  <a:pt x="80" y="293"/>
                </a:lnTo>
                <a:lnTo>
                  <a:pt x="79" y="291"/>
                </a:lnTo>
                <a:lnTo>
                  <a:pt x="79" y="290"/>
                </a:lnTo>
                <a:lnTo>
                  <a:pt x="78" y="290"/>
                </a:lnTo>
                <a:lnTo>
                  <a:pt x="78" y="289"/>
                </a:lnTo>
                <a:lnTo>
                  <a:pt x="75" y="290"/>
                </a:lnTo>
                <a:lnTo>
                  <a:pt x="73" y="290"/>
                </a:lnTo>
                <a:lnTo>
                  <a:pt x="72" y="287"/>
                </a:lnTo>
                <a:lnTo>
                  <a:pt x="71" y="286"/>
                </a:lnTo>
                <a:lnTo>
                  <a:pt x="67" y="287"/>
                </a:lnTo>
                <a:lnTo>
                  <a:pt x="66" y="287"/>
                </a:lnTo>
                <a:lnTo>
                  <a:pt x="66" y="286"/>
                </a:lnTo>
                <a:lnTo>
                  <a:pt x="65" y="286"/>
                </a:lnTo>
                <a:lnTo>
                  <a:pt x="56" y="282"/>
                </a:lnTo>
                <a:lnTo>
                  <a:pt x="55" y="282"/>
                </a:lnTo>
                <a:lnTo>
                  <a:pt x="54" y="283"/>
                </a:lnTo>
                <a:lnTo>
                  <a:pt x="54" y="284"/>
                </a:lnTo>
                <a:lnTo>
                  <a:pt x="53" y="284"/>
                </a:lnTo>
                <a:lnTo>
                  <a:pt x="53" y="280"/>
                </a:lnTo>
                <a:lnTo>
                  <a:pt x="50" y="280"/>
                </a:lnTo>
                <a:lnTo>
                  <a:pt x="50" y="278"/>
                </a:lnTo>
                <a:lnTo>
                  <a:pt x="49" y="278"/>
                </a:lnTo>
                <a:lnTo>
                  <a:pt x="49" y="276"/>
                </a:lnTo>
                <a:lnTo>
                  <a:pt x="48" y="275"/>
                </a:lnTo>
                <a:lnTo>
                  <a:pt x="49" y="274"/>
                </a:lnTo>
                <a:lnTo>
                  <a:pt x="49" y="272"/>
                </a:lnTo>
                <a:lnTo>
                  <a:pt x="47" y="270"/>
                </a:lnTo>
                <a:lnTo>
                  <a:pt x="44" y="270"/>
                </a:lnTo>
                <a:lnTo>
                  <a:pt x="44" y="268"/>
                </a:lnTo>
                <a:lnTo>
                  <a:pt x="43" y="269"/>
                </a:lnTo>
                <a:lnTo>
                  <a:pt x="43" y="270"/>
                </a:lnTo>
                <a:lnTo>
                  <a:pt x="42" y="270"/>
                </a:lnTo>
                <a:lnTo>
                  <a:pt x="41" y="269"/>
                </a:lnTo>
                <a:lnTo>
                  <a:pt x="38" y="269"/>
                </a:lnTo>
                <a:lnTo>
                  <a:pt x="38" y="268"/>
                </a:lnTo>
                <a:lnTo>
                  <a:pt x="37" y="268"/>
                </a:lnTo>
                <a:lnTo>
                  <a:pt x="37" y="269"/>
                </a:lnTo>
                <a:lnTo>
                  <a:pt x="36" y="269"/>
                </a:lnTo>
                <a:lnTo>
                  <a:pt x="36" y="270"/>
                </a:lnTo>
                <a:lnTo>
                  <a:pt x="37" y="271"/>
                </a:lnTo>
                <a:lnTo>
                  <a:pt x="37" y="278"/>
                </a:lnTo>
                <a:lnTo>
                  <a:pt x="30" y="278"/>
                </a:lnTo>
                <a:lnTo>
                  <a:pt x="30" y="276"/>
                </a:lnTo>
                <a:lnTo>
                  <a:pt x="32" y="275"/>
                </a:lnTo>
                <a:lnTo>
                  <a:pt x="34" y="269"/>
                </a:lnTo>
                <a:lnTo>
                  <a:pt x="36" y="264"/>
                </a:lnTo>
                <a:lnTo>
                  <a:pt x="36" y="262"/>
                </a:lnTo>
                <a:lnTo>
                  <a:pt x="37" y="262"/>
                </a:lnTo>
                <a:lnTo>
                  <a:pt x="37" y="256"/>
                </a:lnTo>
                <a:lnTo>
                  <a:pt x="38" y="254"/>
                </a:lnTo>
                <a:lnTo>
                  <a:pt x="38" y="250"/>
                </a:lnTo>
                <a:lnTo>
                  <a:pt x="36" y="247"/>
                </a:lnTo>
                <a:lnTo>
                  <a:pt x="36" y="239"/>
                </a:lnTo>
                <a:lnTo>
                  <a:pt x="35" y="238"/>
                </a:lnTo>
                <a:lnTo>
                  <a:pt x="34" y="238"/>
                </a:lnTo>
                <a:lnTo>
                  <a:pt x="32" y="237"/>
                </a:lnTo>
                <a:lnTo>
                  <a:pt x="31" y="237"/>
                </a:lnTo>
                <a:lnTo>
                  <a:pt x="30" y="235"/>
                </a:lnTo>
                <a:lnTo>
                  <a:pt x="29" y="235"/>
                </a:lnTo>
                <a:lnTo>
                  <a:pt x="27" y="234"/>
                </a:lnTo>
                <a:lnTo>
                  <a:pt x="25" y="233"/>
                </a:lnTo>
                <a:lnTo>
                  <a:pt x="25" y="231"/>
                </a:lnTo>
                <a:lnTo>
                  <a:pt x="27" y="229"/>
                </a:lnTo>
                <a:lnTo>
                  <a:pt x="27" y="223"/>
                </a:lnTo>
                <a:lnTo>
                  <a:pt x="24" y="221"/>
                </a:lnTo>
                <a:lnTo>
                  <a:pt x="23" y="221"/>
                </a:lnTo>
                <a:lnTo>
                  <a:pt x="23" y="217"/>
                </a:lnTo>
                <a:lnTo>
                  <a:pt x="21" y="215"/>
                </a:lnTo>
                <a:lnTo>
                  <a:pt x="21" y="211"/>
                </a:lnTo>
                <a:lnTo>
                  <a:pt x="24" y="208"/>
                </a:lnTo>
                <a:lnTo>
                  <a:pt x="24" y="207"/>
                </a:lnTo>
                <a:lnTo>
                  <a:pt x="25" y="205"/>
                </a:lnTo>
                <a:lnTo>
                  <a:pt x="25" y="201"/>
                </a:lnTo>
                <a:lnTo>
                  <a:pt x="27" y="200"/>
                </a:lnTo>
                <a:lnTo>
                  <a:pt x="27" y="197"/>
                </a:lnTo>
                <a:lnTo>
                  <a:pt x="28" y="196"/>
                </a:lnTo>
                <a:lnTo>
                  <a:pt x="24" y="192"/>
                </a:lnTo>
                <a:lnTo>
                  <a:pt x="25" y="191"/>
                </a:lnTo>
                <a:lnTo>
                  <a:pt x="25" y="184"/>
                </a:lnTo>
                <a:lnTo>
                  <a:pt x="24" y="183"/>
                </a:lnTo>
                <a:lnTo>
                  <a:pt x="23" y="183"/>
                </a:lnTo>
                <a:lnTo>
                  <a:pt x="22" y="182"/>
                </a:lnTo>
                <a:lnTo>
                  <a:pt x="21" y="182"/>
                </a:lnTo>
                <a:lnTo>
                  <a:pt x="21" y="180"/>
                </a:lnTo>
                <a:lnTo>
                  <a:pt x="19" y="178"/>
                </a:lnTo>
                <a:lnTo>
                  <a:pt x="18" y="174"/>
                </a:lnTo>
                <a:lnTo>
                  <a:pt x="18" y="172"/>
                </a:lnTo>
                <a:lnTo>
                  <a:pt x="22" y="168"/>
                </a:lnTo>
                <a:lnTo>
                  <a:pt x="22" y="164"/>
                </a:lnTo>
                <a:lnTo>
                  <a:pt x="23" y="161"/>
                </a:lnTo>
                <a:lnTo>
                  <a:pt x="19" y="158"/>
                </a:lnTo>
                <a:lnTo>
                  <a:pt x="16" y="157"/>
                </a:lnTo>
                <a:lnTo>
                  <a:pt x="15" y="154"/>
                </a:lnTo>
                <a:lnTo>
                  <a:pt x="13" y="154"/>
                </a:lnTo>
                <a:lnTo>
                  <a:pt x="12" y="151"/>
                </a:lnTo>
                <a:lnTo>
                  <a:pt x="7" y="147"/>
                </a:lnTo>
                <a:lnTo>
                  <a:pt x="5" y="145"/>
                </a:lnTo>
                <a:lnTo>
                  <a:pt x="3" y="145"/>
                </a:lnTo>
                <a:lnTo>
                  <a:pt x="0" y="142"/>
                </a:lnTo>
                <a:lnTo>
                  <a:pt x="2" y="141"/>
                </a:lnTo>
                <a:lnTo>
                  <a:pt x="3" y="141"/>
                </a:lnTo>
                <a:lnTo>
                  <a:pt x="3" y="139"/>
                </a:lnTo>
                <a:lnTo>
                  <a:pt x="2" y="136"/>
                </a:lnTo>
                <a:lnTo>
                  <a:pt x="2" y="135"/>
                </a:lnTo>
                <a:lnTo>
                  <a:pt x="4" y="133"/>
                </a:lnTo>
                <a:lnTo>
                  <a:pt x="9" y="130"/>
                </a:lnTo>
                <a:lnTo>
                  <a:pt x="10" y="128"/>
                </a:lnTo>
                <a:lnTo>
                  <a:pt x="11" y="127"/>
                </a:lnTo>
                <a:lnTo>
                  <a:pt x="12" y="123"/>
                </a:lnTo>
                <a:lnTo>
                  <a:pt x="12" y="121"/>
                </a:lnTo>
                <a:lnTo>
                  <a:pt x="11" y="119"/>
                </a:lnTo>
                <a:lnTo>
                  <a:pt x="12" y="118"/>
                </a:lnTo>
                <a:lnTo>
                  <a:pt x="12" y="117"/>
                </a:lnTo>
                <a:lnTo>
                  <a:pt x="13" y="117"/>
                </a:lnTo>
                <a:lnTo>
                  <a:pt x="13" y="116"/>
                </a:lnTo>
                <a:lnTo>
                  <a:pt x="15" y="115"/>
                </a:lnTo>
                <a:lnTo>
                  <a:pt x="13" y="114"/>
                </a:lnTo>
                <a:lnTo>
                  <a:pt x="13" y="112"/>
                </a:lnTo>
                <a:lnTo>
                  <a:pt x="12" y="112"/>
                </a:lnTo>
                <a:lnTo>
                  <a:pt x="12" y="109"/>
                </a:lnTo>
                <a:lnTo>
                  <a:pt x="11" y="104"/>
                </a:lnTo>
                <a:lnTo>
                  <a:pt x="11" y="100"/>
                </a:lnTo>
                <a:lnTo>
                  <a:pt x="10" y="99"/>
                </a:lnTo>
                <a:lnTo>
                  <a:pt x="10" y="98"/>
                </a:lnTo>
                <a:lnTo>
                  <a:pt x="9" y="96"/>
                </a:lnTo>
                <a:lnTo>
                  <a:pt x="9" y="90"/>
                </a:lnTo>
                <a:lnTo>
                  <a:pt x="7" y="87"/>
                </a:lnTo>
                <a:lnTo>
                  <a:pt x="6" y="86"/>
                </a:lnTo>
                <a:lnTo>
                  <a:pt x="6" y="82"/>
                </a:lnTo>
                <a:lnTo>
                  <a:pt x="7" y="82"/>
                </a:lnTo>
                <a:lnTo>
                  <a:pt x="9" y="81"/>
                </a:lnTo>
                <a:lnTo>
                  <a:pt x="7" y="80"/>
                </a:lnTo>
                <a:lnTo>
                  <a:pt x="10" y="80"/>
                </a:lnTo>
                <a:lnTo>
                  <a:pt x="10" y="81"/>
                </a:lnTo>
                <a:lnTo>
                  <a:pt x="11" y="81"/>
                </a:lnTo>
                <a:lnTo>
                  <a:pt x="12" y="82"/>
                </a:lnTo>
                <a:lnTo>
                  <a:pt x="12" y="84"/>
                </a:lnTo>
                <a:lnTo>
                  <a:pt x="15" y="84"/>
                </a:lnTo>
                <a:lnTo>
                  <a:pt x="17" y="85"/>
                </a:lnTo>
                <a:lnTo>
                  <a:pt x="18" y="85"/>
                </a:lnTo>
                <a:lnTo>
                  <a:pt x="18" y="86"/>
                </a:lnTo>
                <a:lnTo>
                  <a:pt x="21" y="88"/>
                </a:lnTo>
                <a:lnTo>
                  <a:pt x="21" y="87"/>
                </a:lnTo>
                <a:lnTo>
                  <a:pt x="22" y="87"/>
                </a:lnTo>
                <a:lnTo>
                  <a:pt x="22" y="86"/>
                </a:lnTo>
                <a:lnTo>
                  <a:pt x="21" y="86"/>
                </a:lnTo>
                <a:lnTo>
                  <a:pt x="19" y="85"/>
                </a:lnTo>
                <a:lnTo>
                  <a:pt x="18" y="82"/>
                </a:lnTo>
                <a:lnTo>
                  <a:pt x="19" y="80"/>
                </a:lnTo>
                <a:lnTo>
                  <a:pt x="19" y="78"/>
                </a:lnTo>
                <a:lnTo>
                  <a:pt x="22" y="78"/>
                </a:lnTo>
                <a:lnTo>
                  <a:pt x="22" y="73"/>
                </a:lnTo>
                <a:lnTo>
                  <a:pt x="21" y="74"/>
                </a:lnTo>
                <a:lnTo>
                  <a:pt x="19" y="74"/>
                </a:lnTo>
                <a:lnTo>
                  <a:pt x="19" y="73"/>
                </a:lnTo>
                <a:lnTo>
                  <a:pt x="21" y="73"/>
                </a:lnTo>
                <a:lnTo>
                  <a:pt x="19" y="72"/>
                </a:lnTo>
                <a:lnTo>
                  <a:pt x="19" y="71"/>
                </a:lnTo>
                <a:lnTo>
                  <a:pt x="15" y="71"/>
                </a:lnTo>
                <a:lnTo>
                  <a:pt x="13" y="69"/>
                </a:lnTo>
                <a:lnTo>
                  <a:pt x="15" y="68"/>
                </a:lnTo>
                <a:lnTo>
                  <a:pt x="11" y="68"/>
                </a:lnTo>
                <a:lnTo>
                  <a:pt x="11" y="69"/>
                </a:lnTo>
                <a:lnTo>
                  <a:pt x="12" y="69"/>
                </a:lnTo>
                <a:lnTo>
                  <a:pt x="13" y="71"/>
                </a:lnTo>
                <a:lnTo>
                  <a:pt x="13" y="72"/>
                </a:lnTo>
                <a:lnTo>
                  <a:pt x="12" y="72"/>
                </a:lnTo>
                <a:lnTo>
                  <a:pt x="11" y="73"/>
                </a:lnTo>
                <a:lnTo>
                  <a:pt x="10" y="73"/>
                </a:lnTo>
                <a:lnTo>
                  <a:pt x="10" y="74"/>
                </a:lnTo>
                <a:lnTo>
                  <a:pt x="9" y="74"/>
                </a:lnTo>
                <a:lnTo>
                  <a:pt x="4" y="69"/>
                </a:lnTo>
                <a:lnTo>
                  <a:pt x="4" y="68"/>
                </a:lnTo>
                <a:lnTo>
                  <a:pt x="3" y="68"/>
                </a:lnTo>
                <a:lnTo>
                  <a:pt x="4" y="67"/>
                </a:lnTo>
                <a:lnTo>
                  <a:pt x="4" y="66"/>
                </a:lnTo>
                <a:lnTo>
                  <a:pt x="5" y="66"/>
                </a:lnTo>
                <a:lnTo>
                  <a:pt x="7" y="67"/>
                </a:lnTo>
                <a:lnTo>
                  <a:pt x="12" y="67"/>
                </a:lnTo>
                <a:lnTo>
                  <a:pt x="15" y="66"/>
                </a:lnTo>
                <a:lnTo>
                  <a:pt x="17" y="63"/>
                </a:lnTo>
                <a:lnTo>
                  <a:pt x="29" y="59"/>
                </a:lnTo>
                <a:lnTo>
                  <a:pt x="38" y="56"/>
                </a:lnTo>
                <a:lnTo>
                  <a:pt x="50" y="51"/>
                </a:lnTo>
                <a:lnTo>
                  <a:pt x="58" y="49"/>
                </a:lnTo>
                <a:lnTo>
                  <a:pt x="66" y="47"/>
                </a:lnTo>
                <a:lnTo>
                  <a:pt x="74" y="43"/>
                </a:lnTo>
                <a:lnTo>
                  <a:pt x="81" y="42"/>
                </a:lnTo>
                <a:lnTo>
                  <a:pt x="84" y="42"/>
                </a:lnTo>
                <a:lnTo>
                  <a:pt x="83" y="42"/>
                </a:lnTo>
                <a:lnTo>
                  <a:pt x="84" y="43"/>
                </a:lnTo>
                <a:lnTo>
                  <a:pt x="87" y="42"/>
                </a:lnTo>
                <a:lnTo>
                  <a:pt x="87" y="41"/>
                </a:lnTo>
                <a:lnTo>
                  <a:pt x="89" y="41"/>
                </a:lnTo>
                <a:lnTo>
                  <a:pt x="89" y="39"/>
                </a:lnTo>
                <a:lnTo>
                  <a:pt x="87" y="39"/>
                </a:lnTo>
                <a:lnTo>
                  <a:pt x="90" y="37"/>
                </a:lnTo>
                <a:lnTo>
                  <a:pt x="92" y="37"/>
                </a:lnTo>
                <a:lnTo>
                  <a:pt x="92" y="36"/>
                </a:lnTo>
                <a:lnTo>
                  <a:pt x="93" y="36"/>
                </a:lnTo>
                <a:lnTo>
                  <a:pt x="94" y="35"/>
                </a:lnTo>
                <a:lnTo>
                  <a:pt x="93" y="34"/>
                </a:lnTo>
                <a:lnTo>
                  <a:pt x="92" y="35"/>
                </a:lnTo>
                <a:lnTo>
                  <a:pt x="93" y="32"/>
                </a:lnTo>
                <a:lnTo>
                  <a:pt x="98" y="25"/>
                </a:lnTo>
                <a:lnTo>
                  <a:pt x="98" y="26"/>
                </a:lnTo>
                <a:lnTo>
                  <a:pt x="99" y="28"/>
                </a:lnTo>
                <a:lnTo>
                  <a:pt x="99" y="26"/>
                </a:lnTo>
                <a:lnTo>
                  <a:pt x="100" y="26"/>
                </a:lnTo>
                <a:lnTo>
                  <a:pt x="100" y="25"/>
                </a:lnTo>
                <a:lnTo>
                  <a:pt x="99" y="25"/>
                </a:lnTo>
                <a:lnTo>
                  <a:pt x="99" y="24"/>
                </a:lnTo>
                <a:lnTo>
                  <a:pt x="102" y="23"/>
                </a:lnTo>
                <a:lnTo>
                  <a:pt x="104" y="20"/>
                </a:lnTo>
                <a:lnTo>
                  <a:pt x="112" y="19"/>
                </a:lnTo>
                <a:lnTo>
                  <a:pt x="116" y="18"/>
                </a:lnTo>
                <a:lnTo>
                  <a:pt x="118" y="18"/>
                </a:lnTo>
                <a:lnTo>
                  <a:pt x="119" y="17"/>
                </a:lnTo>
                <a:lnTo>
                  <a:pt x="124" y="13"/>
                </a:lnTo>
                <a:lnTo>
                  <a:pt x="136" y="7"/>
                </a:lnTo>
                <a:lnTo>
                  <a:pt x="153" y="4"/>
                </a:lnTo>
                <a:lnTo>
                  <a:pt x="160" y="1"/>
                </a:lnTo>
                <a:lnTo>
                  <a:pt x="171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3" name="Freeform 23">
            <a:extLst>
              <a:ext uri="{FF2B5EF4-FFF2-40B4-BE49-F238E27FC236}">
                <a16:creationId xmlns:a16="http://schemas.microsoft.com/office/drawing/2014/main" id="{1B287B73-2824-4863-AD6F-A8ADC0970C58}"/>
              </a:ext>
            </a:extLst>
          </p:cNvPr>
          <p:cNvSpPr>
            <a:spLocks noEditPoints="1"/>
          </p:cNvSpPr>
          <p:nvPr/>
        </p:nvSpPr>
        <p:spPr bwMode="auto">
          <a:xfrm>
            <a:off x="1435997" y="4364061"/>
            <a:ext cx="234728" cy="281094"/>
          </a:xfrm>
          <a:custGeom>
            <a:avLst/>
            <a:gdLst/>
            <a:ahLst/>
            <a:cxnLst>
              <a:cxn ang="0">
                <a:pos x="22" y="154"/>
              </a:cxn>
              <a:cxn ang="0">
                <a:pos x="32" y="153"/>
              </a:cxn>
              <a:cxn ang="0">
                <a:pos x="25" y="162"/>
              </a:cxn>
              <a:cxn ang="0">
                <a:pos x="7" y="158"/>
              </a:cxn>
              <a:cxn ang="0">
                <a:pos x="60" y="148"/>
              </a:cxn>
              <a:cxn ang="0">
                <a:pos x="65" y="29"/>
              </a:cxn>
              <a:cxn ang="0">
                <a:pos x="62" y="31"/>
              </a:cxn>
              <a:cxn ang="0">
                <a:pos x="65" y="24"/>
              </a:cxn>
              <a:cxn ang="0">
                <a:pos x="86" y="12"/>
              </a:cxn>
              <a:cxn ang="0">
                <a:pos x="81" y="11"/>
              </a:cxn>
              <a:cxn ang="0">
                <a:pos x="150" y="16"/>
              </a:cxn>
              <a:cxn ang="0">
                <a:pos x="158" y="22"/>
              </a:cxn>
              <a:cxn ang="0">
                <a:pos x="161" y="44"/>
              </a:cxn>
              <a:cxn ang="0">
                <a:pos x="144" y="65"/>
              </a:cxn>
              <a:cxn ang="0">
                <a:pos x="143" y="78"/>
              </a:cxn>
              <a:cxn ang="0">
                <a:pos x="155" y="93"/>
              </a:cxn>
              <a:cxn ang="0">
                <a:pos x="143" y="102"/>
              </a:cxn>
              <a:cxn ang="0">
                <a:pos x="146" y="110"/>
              </a:cxn>
              <a:cxn ang="0">
                <a:pos x="135" y="117"/>
              </a:cxn>
              <a:cxn ang="0">
                <a:pos x="125" y="119"/>
              </a:cxn>
              <a:cxn ang="0">
                <a:pos x="118" y="119"/>
              </a:cxn>
              <a:cxn ang="0">
                <a:pos x="110" y="128"/>
              </a:cxn>
              <a:cxn ang="0">
                <a:pos x="118" y="141"/>
              </a:cxn>
              <a:cxn ang="0">
                <a:pos x="115" y="165"/>
              </a:cxn>
              <a:cxn ang="0">
                <a:pos x="109" y="174"/>
              </a:cxn>
              <a:cxn ang="0">
                <a:pos x="112" y="179"/>
              </a:cxn>
              <a:cxn ang="0">
                <a:pos x="111" y="191"/>
              </a:cxn>
              <a:cxn ang="0">
                <a:pos x="99" y="190"/>
              </a:cxn>
              <a:cxn ang="0">
                <a:pos x="100" y="179"/>
              </a:cxn>
              <a:cxn ang="0">
                <a:pos x="103" y="166"/>
              </a:cxn>
              <a:cxn ang="0">
                <a:pos x="92" y="158"/>
              </a:cxn>
              <a:cxn ang="0">
                <a:pos x="75" y="155"/>
              </a:cxn>
              <a:cxn ang="0">
                <a:pos x="69" y="147"/>
              </a:cxn>
              <a:cxn ang="0">
                <a:pos x="60" y="143"/>
              </a:cxn>
              <a:cxn ang="0">
                <a:pos x="43" y="147"/>
              </a:cxn>
              <a:cxn ang="0">
                <a:pos x="38" y="149"/>
              </a:cxn>
              <a:cxn ang="0">
                <a:pos x="25" y="147"/>
              </a:cxn>
              <a:cxn ang="0">
                <a:pos x="9" y="147"/>
              </a:cxn>
              <a:cxn ang="0">
                <a:pos x="5" y="140"/>
              </a:cxn>
              <a:cxn ang="0">
                <a:pos x="23" y="140"/>
              </a:cxn>
              <a:cxn ang="0">
                <a:pos x="40" y="143"/>
              </a:cxn>
              <a:cxn ang="0">
                <a:pos x="36" y="135"/>
              </a:cxn>
              <a:cxn ang="0">
                <a:pos x="23" y="133"/>
              </a:cxn>
              <a:cxn ang="0">
                <a:pos x="15" y="128"/>
              </a:cxn>
              <a:cxn ang="0">
                <a:pos x="34" y="130"/>
              </a:cxn>
              <a:cxn ang="0">
                <a:pos x="23" y="123"/>
              </a:cxn>
              <a:cxn ang="0">
                <a:pos x="29" y="116"/>
              </a:cxn>
              <a:cxn ang="0">
                <a:pos x="44" y="93"/>
              </a:cxn>
              <a:cxn ang="0">
                <a:pos x="57" y="49"/>
              </a:cxn>
              <a:cxn ang="0">
                <a:pos x="69" y="44"/>
              </a:cxn>
              <a:cxn ang="0">
                <a:pos x="88" y="24"/>
              </a:cxn>
              <a:cxn ang="0">
                <a:pos x="99" y="17"/>
              </a:cxn>
              <a:cxn ang="0">
                <a:pos x="133" y="8"/>
              </a:cxn>
              <a:cxn ang="0">
                <a:pos x="109" y="6"/>
              </a:cxn>
              <a:cxn ang="0">
                <a:pos x="121" y="4"/>
              </a:cxn>
              <a:cxn ang="0">
                <a:pos x="121" y="4"/>
              </a:cxn>
            </a:cxnLst>
            <a:rect l="0" t="0" r="r" b="b"/>
            <a:pathLst>
              <a:path w="162" h="194">
                <a:moveTo>
                  <a:pt x="7" y="149"/>
                </a:moveTo>
                <a:lnTo>
                  <a:pt x="9" y="149"/>
                </a:lnTo>
                <a:lnTo>
                  <a:pt x="11" y="151"/>
                </a:lnTo>
                <a:lnTo>
                  <a:pt x="16" y="152"/>
                </a:lnTo>
                <a:lnTo>
                  <a:pt x="17" y="153"/>
                </a:lnTo>
                <a:lnTo>
                  <a:pt x="19" y="153"/>
                </a:lnTo>
                <a:lnTo>
                  <a:pt x="20" y="154"/>
                </a:lnTo>
                <a:lnTo>
                  <a:pt x="22" y="154"/>
                </a:lnTo>
                <a:lnTo>
                  <a:pt x="25" y="152"/>
                </a:lnTo>
                <a:lnTo>
                  <a:pt x="26" y="152"/>
                </a:lnTo>
                <a:lnTo>
                  <a:pt x="26" y="149"/>
                </a:lnTo>
                <a:lnTo>
                  <a:pt x="29" y="149"/>
                </a:lnTo>
                <a:lnTo>
                  <a:pt x="30" y="151"/>
                </a:lnTo>
                <a:lnTo>
                  <a:pt x="30" y="152"/>
                </a:lnTo>
                <a:lnTo>
                  <a:pt x="32" y="152"/>
                </a:lnTo>
                <a:lnTo>
                  <a:pt x="32" y="153"/>
                </a:lnTo>
                <a:lnTo>
                  <a:pt x="35" y="153"/>
                </a:lnTo>
                <a:lnTo>
                  <a:pt x="35" y="152"/>
                </a:lnTo>
                <a:lnTo>
                  <a:pt x="37" y="152"/>
                </a:lnTo>
                <a:lnTo>
                  <a:pt x="37" y="154"/>
                </a:lnTo>
                <a:lnTo>
                  <a:pt x="36" y="154"/>
                </a:lnTo>
                <a:lnTo>
                  <a:pt x="35" y="156"/>
                </a:lnTo>
                <a:lnTo>
                  <a:pt x="32" y="159"/>
                </a:lnTo>
                <a:lnTo>
                  <a:pt x="25" y="162"/>
                </a:lnTo>
                <a:lnTo>
                  <a:pt x="24" y="162"/>
                </a:lnTo>
                <a:lnTo>
                  <a:pt x="19" y="164"/>
                </a:lnTo>
                <a:lnTo>
                  <a:pt x="19" y="162"/>
                </a:lnTo>
                <a:lnTo>
                  <a:pt x="18" y="162"/>
                </a:lnTo>
                <a:lnTo>
                  <a:pt x="18" y="160"/>
                </a:lnTo>
                <a:lnTo>
                  <a:pt x="17" y="159"/>
                </a:lnTo>
                <a:lnTo>
                  <a:pt x="12" y="158"/>
                </a:lnTo>
                <a:lnTo>
                  <a:pt x="7" y="158"/>
                </a:lnTo>
                <a:lnTo>
                  <a:pt x="6" y="159"/>
                </a:lnTo>
                <a:lnTo>
                  <a:pt x="7" y="160"/>
                </a:lnTo>
                <a:lnTo>
                  <a:pt x="6" y="161"/>
                </a:lnTo>
                <a:lnTo>
                  <a:pt x="4" y="161"/>
                </a:lnTo>
                <a:lnTo>
                  <a:pt x="0" y="158"/>
                </a:lnTo>
                <a:lnTo>
                  <a:pt x="0" y="152"/>
                </a:lnTo>
                <a:lnTo>
                  <a:pt x="7" y="149"/>
                </a:lnTo>
                <a:close/>
                <a:moveTo>
                  <a:pt x="60" y="148"/>
                </a:moveTo>
                <a:lnTo>
                  <a:pt x="61" y="148"/>
                </a:lnTo>
                <a:lnTo>
                  <a:pt x="62" y="149"/>
                </a:lnTo>
                <a:lnTo>
                  <a:pt x="60" y="149"/>
                </a:lnTo>
                <a:lnTo>
                  <a:pt x="60" y="148"/>
                </a:lnTo>
                <a:close/>
                <a:moveTo>
                  <a:pt x="63" y="26"/>
                </a:moveTo>
                <a:lnTo>
                  <a:pt x="65" y="26"/>
                </a:lnTo>
                <a:lnTo>
                  <a:pt x="66" y="27"/>
                </a:lnTo>
                <a:lnTo>
                  <a:pt x="65" y="29"/>
                </a:lnTo>
                <a:lnTo>
                  <a:pt x="66" y="29"/>
                </a:lnTo>
                <a:lnTo>
                  <a:pt x="66" y="35"/>
                </a:lnTo>
                <a:lnTo>
                  <a:pt x="60" y="41"/>
                </a:lnTo>
                <a:lnTo>
                  <a:pt x="57" y="38"/>
                </a:lnTo>
                <a:lnTo>
                  <a:pt x="57" y="36"/>
                </a:lnTo>
                <a:lnTo>
                  <a:pt x="59" y="33"/>
                </a:lnTo>
                <a:lnTo>
                  <a:pt x="60" y="32"/>
                </a:lnTo>
                <a:lnTo>
                  <a:pt x="62" y="31"/>
                </a:lnTo>
                <a:lnTo>
                  <a:pt x="62" y="29"/>
                </a:lnTo>
                <a:lnTo>
                  <a:pt x="63" y="26"/>
                </a:lnTo>
                <a:close/>
                <a:moveTo>
                  <a:pt x="72" y="18"/>
                </a:moveTo>
                <a:lnTo>
                  <a:pt x="73" y="18"/>
                </a:lnTo>
                <a:lnTo>
                  <a:pt x="73" y="19"/>
                </a:lnTo>
                <a:lnTo>
                  <a:pt x="72" y="19"/>
                </a:lnTo>
                <a:lnTo>
                  <a:pt x="66" y="25"/>
                </a:lnTo>
                <a:lnTo>
                  <a:pt x="65" y="24"/>
                </a:lnTo>
                <a:lnTo>
                  <a:pt x="69" y="19"/>
                </a:lnTo>
                <a:lnTo>
                  <a:pt x="72" y="18"/>
                </a:lnTo>
                <a:close/>
                <a:moveTo>
                  <a:pt x="94" y="8"/>
                </a:moveTo>
                <a:lnTo>
                  <a:pt x="93" y="10"/>
                </a:lnTo>
                <a:lnTo>
                  <a:pt x="90" y="10"/>
                </a:lnTo>
                <a:lnTo>
                  <a:pt x="90" y="11"/>
                </a:lnTo>
                <a:lnTo>
                  <a:pt x="88" y="11"/>
                </a:lnTo>
                <a:lnTo>
                  <a:pt x="86" y="12"/>
                </a:lnTo>
                <a:lnTo>
                  <a:pt x="85" y="12"/>
                </a:lnTo>
                <a:lnTo>
                  <a:pt x="79" y="16"/>
                </a:lnTo>
                <a:lnTo>
                  <a:pt x="78" y="16"/>
                </a:lnTo>
                <a:lnTo>
                  <a:pt x="76" y="14"/>
                </a:lnTo>
                <a:lnTo>
                  <a:pt x="78" y="13"/>
                </a:lnTo>
                <a:lnTo>
                  <a:pt x="80" y="12"/>
                </a:lnTo>
                <a:lnTo>
                  <a:pt x="80" y="11"/>
                </a:lnTo>
                <a:lnTo>
                  <a:pt x="81" y="11"/>
                </a:lnTo>
                <a:lnTo>
                  <a:pt x="87" y="10"/>
                </a:lnTo>
                <a:lnTo>
                  <a:pt x="88" y="10"/>
                </a:lnTo>
                <a:lnTo>
                  <a:pt x="94" y="8"/>
                </a:lnTo>
                <a:close/>
                <a:moveTo>
                  <a:pt x="143" y="7"/>
                </a:moveTo>
                <a:lnTo>
                  <a:pt x="147" y="8"/>
                </a:lnTo>
                <a:lnTo>
                  <a:pt x="148" y="8"/>
                </a:lnTo>
                <a:lnTo>
                  <a:pt x="149" y="10"/>
                </a:lnTo>
                <a:lnTo>
                  <a:pt x="150" y="16"/>
                </a:lnTo>
                <a:lnTo>
                  <a:pt x="152" y="16"/>
                </a:lnTo>
                <a:lnTo>
                  <a:pt x="152" y="17"/>
                </a:lnTo>
                <a:lnTo>
                  <a:pt x="154" y="17"/>
                </a:lnTo>
                <a:lnTo>
                  <a:pt x="155" y="18"/>
                </a:lnTo>
                <a:lnTo>
                  <a:pt x="156" y="18"/>
                </a:lnTo>
                <a:lnTo>
                  <a:pt x="156" y="19"/>
                </a:lnTo>
                <a:lnTo>
                  <a:pt x="158" y="18"/>
                </a:lnTo>
                <a:lnTo>
                  <a:pt x="158" y="22"/>
                </a:lnTo>
                <a:lnTo>
                  <a:pt x="159" y="22"/>
                </a:lnTo>
                <a:lnTo>
                  <a:pt x="162" y="23"/>
                </a:lnTo>
                <a:lnTo>
                  <a:pt x="162" y="27"/>
                </a:lnTo>
                <a:lnTo>
                  <a:pt x="161" y="30"/>
                </a:lnTo>
                <a:lnTo>
                  <a:pt x="161" y="31"/>
                </a:lnTo>
                <a:lnTo>
                  <a:pt x="162" y="31"/>
                </a:lnTo>
                <a:lnTo>
                  <a:pt x="162" y="42"/>
                </a:lnTo>
                <a:lnTo>
                  <a:pt x="161" y="44"/>
                </a:lnTo>
                <a:lnTo>
                  <a:pt x="158" y="50"/>
                </a:lnTo>
                <a:lnTo>
                  <a:pt x="158" y="51"/>
                </a:lnTo>
                <a:lnTo>
                  <a:pt x="156" y="53"/>
                </a:lnTo>
                <a:lnTo>
                  <a:pt x="156" y="65"/>
                </a:lnTo>
                <a:lnTo>
                  <a:pt x="155" y="66"/>
                </a:lnTo>
                <a:lnTo>
                  <a:pt x="150" y="66"/>
                </a:lnTo>
                <a:lnTo>
                  <a:pt x="148" y="65"/>
                </a:lnTo>
                <a:lnTo>
                  <a:pt x="144" y="65"/>
                </a:lnTo>
                <a:lnTo>
                  <a:pt x="143" y="66"/>
                </a:lnTo>
                <a:lnTo>
                  <a:pt x="142" y="66"/>
                </a:lnTo>
                <a:lnTo>
                  <a:pt x="142" y="69"/>
                </a:lnTo>
                <a:lnTo>
                  <a:pt x="143" y="70"/>
                </a:lnTo>
                <a:lnTo>
                  <a:pt x="141" y="72"/>
                </a:lnTo>
                <a:lnTo>
                  <a:pt x="141" y="76"/>
                </a:lnTo>
                <a:lnTo>
                  <a:pt x="142" y="78"/>
                </a:lnTo>
                <a:lnTo>
                  <a:pt x="143" y="78"/>
                </a:lnTo>
                <a:lnTo>
                  <a:pt x="147" y="79"/>
                </a:lnTo>
                <a:lnTo>
                  <a:pt x="153" y="79"/>
                </a:lnTo>
                <a:lnTo>
                  <a:pt x="153" y="78"/>
                </a:lnTo>
                <a:lnTo>
                  <a:pt x="155" y="82"/>
                </a:lnTo>
                <a:lnTo>
                  <a:pt x="156" y="84"/>
                </a:lnTo>
                <a:lnTo>
                  <a:pt x="156" y="86"/>
                </a:lnTo>
                <a:lnTo>
                  <a:pt x="155" y="88"/>
                </a:lnTo>
                <a:lnTo>
                  <a:pt x="155" y="93"/>
                </a:lnTo>
                <a:lnTo>
                  <a:pt x="154" y="94"/>
                </a:lnTo>
                <a:lnTo>
                  <a:pt x="153" y="94"/>
                </a:lnTo>
                <a:lnTo>
                  <a:pt x="152" y="97"/>
                </a:lnTo>
                <a:lnTo>
                  <a:pt x="149" y="98"/>
                </a:lnTo>
                <a:lnTo>
                  <a:pt x="148" y="99"/>
                </a:lnTo>
                <a:lnTo>
                  <a:pt x="148" y="100"/>
                </a:lnTo>
                <a:lnTo>
                  <a:pt x="147" y="102"/>
                </a:lnTo>
                <a:lnTo>
                  <a:pt x="143" y="102"/>
                </a:lnTo>
                <a:lnTo>
                  <a:pt x="143" y="103"/>
                </a:lnTo>
                <a:lnTo>
                  <a:pt x="142" y="104"/>
                </a:lnTo>
                <a:lnTo>
                  <a:pt x="142" y="105"/>
                </a:lnTo>
                <a:lnTo>
                  <a:pt x="141" y="105"/>
                </a:lnTo>
                <a:lnTo>
                  <a:pt x="141" y="108"/>
                </a:lnTo>
                <a:lnTo>
                  <a:pt x="142" y="108"/>
                </a:lnTo>
                <a:lnTo>
                  <a:pt x="144" y="109"/>
                </a:lnTo>
                <a:lnTo>
                  <a:pt x="146" y="110"/>
                </a:lnTo>
                <a:lnTo>
                  <a:pt x="146" y="111"/>
                </a:lnTo>
                <a:lnTo>
                  <a:pt x="147" y="111"/>
                </a:lnTo>
                <a:lnTo>
                  <a:pt x="147" y="112"/>
                </a:lnTo>
                <a:lnTo>
                  <a:pt x="146" y="112"/>
                </a:lnTo>
                <a:lnTo>
                  <a:pt x="144" y="115"/>
                </a:lnTo>
                <a:lnTo>
                  <a:pt x="143" y="116"/>
                </a:lnTo>
                <a:lnTo>
                  <a:pt x="138" y="116"/>
                </a:lnTo>
                <a:lnTo>
                  <a:pt x="135" y="117"/>
                </a:lnTo>
                <a:lnTo>
                  <a:pt x="133" y="119"/>
                </a:lnTo>
                <a:lnTo>
                  <a:pt x="131" y="119"/>
                </a:lnTo>
                <a:lnTo>
                  <a:pt x="128" y="118"/>
                </a:lnTo>
                <a:lnTo>
                  <a:pt x="129" y="121"/>
                </a:lnTo>
                <a:lnTo>
                  <a:pt x="128" y="121"/>
                </a:lnTo>
                <a:lnTo>
                  <a:pt x="127" y="122"/>
                </a:lnTo>
                <a:lnTo>
                  <a:pt x="127" y="121"/>
                </a:lnTo>
                <a:lnTo>
                  <a:pt x="125" y="119"/>
                </a:lnTo>
                <a:lnTo>
                  <a:pt x="124" y="119"/>
                </a:lnTo>
                <a:lnTo>
                  <a:pt x="123" y="118"/>
                </a:lnTo>
                <a:lnTo>
                  <a:pt x="121" y="118"/>
                </a:lnTo>
                <a:lnTo>
                  <a:pt x="118" y="117"/>
                </a:lnTo>
                <a:lnTo>
                  <a:pt x="117" y="116"/>
                </a:lnTo>
                <a:lnTo>
                  <a:pt x="116" y="117"/>
                </a:lnTo>
                <a:lnTo>
                  <a:pt x="117" y="117"/>
                </a:lnTo>
                <a:lnTo>
                  <a:pt x="118" y="119"/>
                </a:lnTo>
                <a:lnTo>
                  <a:pt x="113" y="119"/>
                </a:lnTo>
                <a:lnTo>
                  <a:pt x="112" y="121"/>
                </a:lnTo>
                <a:lnTo>
                  <a:pt x="110" y="121"/>
                </a:lnTo>
                <a:lnTo>
                  <a:pt x="109" y="122"/>
                </a:lnTo>
                <a:lnTo>
                  <a:pt x="111" y="124"/>
                </a:lnTo>
                <a:lnTo>
                  <a:pt x="111" y="125"/>
                </a:lnTo>
                <a:lnTo>
                  <a:pt x="110" y="127"/>
                </a:lnTo>
                <a:lnTo>
                  <a:pt x="110" y="128"/>
                </a:lnTo>
                <a:lnTo>
                  <a:pt x="111" y="128"/>
                </a:lnTo>
                <a:lnTo>
                  <a:pt x="112" y="129"/>
                </a:lnTo>
                <a:lnTo>
                  <a:pt x="113" y="129"/>
                </a:lnTo>
                <a:lnTo>
                  <a:pt x="112" y="131"/>
                </a:lnTo>
                <a:lnTo>
                  <a:pt x="113" y="133"/>
                </a:lnTo>
                <a:lnTo>
                  <a:pt x="116" y="134"/>
                </a:lnTo>
                <a:lnTo>
                  <a:pt x="116" y="136"/>
                </a:lnTo>
                <a:lnTo>
                  <a:pt x="118" y="141"/>
                </a:lnTo>
                <a:lnTo>
                  <a:pt x="121" y="142"/>
                </a:lnTo>
                <a:lnTo>
                  <a:pt x="121" y="154"/>
                </a:lnTo>
                <a:lnTo>
                  <a:pt x="119" y="154"/>
                </a:lnTo>
                <a:lnTo>
                  <a:pt x="118" y="155"/>
                </a:lnTo>
                <a:lnTo>
                  <a:pt x="116" y="159"/>
                </a:lnTo>
                <a:lnTo>
                  <a:pt x="116" y="160"/>
                </a:lnTo>
                <a:lnTo>
                  <a:pt x="115" y="161"/>
                </a:lnTo>
                <a:lnTo>
                  <a:pt x="115" y="165"/>
                </a:lnTo>
                <a:lnTo>
                  <a:pt x="116" y="166"/>
                </a:lnTo>
                <a:lnTo>
                  <a:pt x="118" y="165"/>
                </a:lnTo>
                <a:lnTo>
                  <a:pt x="117" y="166"/>
                </a:lnTo>
                <a:lnTo>
                  <a:pt x="118" y="167"/>
                </a:lnTo>
                <a:lnTo>
                  <a:pt x="116" y="168"/>
                </a:lnTo>
                <a:lnTo>
                  <a:pt x="111" y="172"/>
                </a:lnTo>
                <a:lnTo>
                  <a:pt x="110" y="174"/>
                </a:lnTo>
                <a:lnTo>
                  <a:pt x="109" y="174"/>
                </a:lnTo>
                <a:lnTo>
                  <a:pt x="107" y="173"/>
                </a:lnTo>
                <a:lnTo>
                  <a:pt x="106" y="174"/>
                </a:lnTo>
                <a:lnTo>
                  <a:pt x="106" y="179"/>
                </a:lnTo>
                <a:lnTo>
                  <a:pt x="107" y="179"/>
                </a:lnTo>
                <a:lnTo>
                  <a:pt x="109" y="178"/>
                </a:lnTo>
                <a:lnTo>
                  <a:pt x="110" y="178"/>
                </a:lnTo>
                <a:lnTo>
                  <a:pt x="111" y="179"/>
                </a:lnTo>
                <a:lnTo>
                  <a:pt x="112" y="179"/>
                </a:lnTo>
                <a:lnTo>
                  <a:pt x="112" y="182"/>
                </a:lnTo>
                <a:lnTo>
                  <a:pt x="113" y="183"/>
                </a:lnTo>
                <a:lnTo>
                  <a:pt x="115" y="183"/>
                </a:lnTo>
                <a:lnTo>
                  <a:pt x="115" y="186"/>
                </a:lnTo>
                <a:lnTo>
                  <a:pt x="113" y="188"/>
                </a:lnTo>
                <a:lnTo>
                  <a:pt x="112" y="188"/>
                </a:lnTo>
                <a:lnTo>
                  <a:pt x="112" y="190"/>
                </a:lnTo>
                <a:lnTo>
                  <a:pt x="111" y="191"/>
                </a:lnTo>
                <a:lnTo>
                  <a:pt x="111" y="192"/>
                </a:lnTo>
                <a:lnTo>
                  <a:pt x="112" y="192"/>
                </a:lnTo>
                <a:lnTo>
                  <a:pt x="112" y="194"/>
                </a:lnTo>
                <a:lnTo>
                  <a:pt x="103" y="194"/>
                </a:lnTo>
                <a:lnTo>
                  <a:pt x="102" y="192"/>
                </a:lnTo>
                <a:lnTo>
                  <a:pt x="100" y="194"/>
                </a:lnTo>
                <a:lnTo>
                  <a:pt x="99" y="194"/>
                </a:lnTo>
                <a:lnTo>
                  <a:pt x="99" y="190"/>
                </a:lnTo>
                <a:lnTo>
                  <a:pt x="98" y="190"/>
                </a:lnTo>
                <a:lnTo>
                  <a:pt x="97" y="189"/>
                </a:lnTo>
                <a:lnTo>
                  <a:pt x="96" y="186"/>
                </a:lnTo>
                <a:lnTo>
                  <a:pt x="99" y="183"/>
                </a:lnTo>
                <a:lnTo>
                  <a:pt x="100" y="183"/>
                </a:lnTo>
                <a:lnTo>
                  <a:pt x="100" y="182"/>
                </a:lnTo>
                <a:lnTo>
                  <a:pt x="103" y="179"/>
                </a:lnTo>
                <a:lnTo>
                  <a:pt x="100" y="179"/>
                </a:lnTo>
                <a:lnTo>
                  <a:pt x="102" y="177"/>
                </a:lnTo>
                <a:lnTo>
                  <a:pt x="103" y="176"/>
                </a:lnTo>
                <a:lnTo>
                  <a:pt x="103" y="173"/>
                </a:lnTo>
                <a:lnTo>
                  <a:pt x="104" y="173"/>
                </a:lnTo>
                <a:lnTo>
                  <a:pt x="104" y="171"/>
                </a:lnTo>
                <a:lnTo>
                  <a:pt x="105" y="171"/>
                </a:lnTo>
                <a:lnTo>
                  <a:pt x="105" y="166"/>
                </a:lnTo>
                <a:lnTo>
                  <a:pt x="103" y="166"/>
                </a:lnTo>
                <a:lnTo>
                  <a:pt x="102" y="165"/>
                </a:lnTo>
                <a:lnTo>
                  <a:pt x="97" y="165"/>
                </a:lnTo>
                <a:lnTo>
                  <a:pt x="97" y="164"/>
                </a:lnTo>
                <a:lnTo>
                  <a:pt x="94" y="162"/>
                </a:lnTo>
                <a:lnTo>
                  <a:pt x="93" y="162"/>
                </a:lnTo>
                <a:lnTo>
                  <a:pt x="93" y="160"/>
                </a:lnTo>
                <a:lnTo>
                  <a:pt x="92" y="159"/>
                </a:lnTo>
                <a:lnTo>
                  <a:pt x="92" y="158"/>
                </a:lnTo>
                <a:lnTo>
                  <a:pt x="88" y="158"/>
                </a:lnTo>
                <a:lnTo>
                  <a:pt x="86" y="160"/>
                </a:lnTo>
                <a:lnTo>
                  <a:pt x="81" y="159"/>
                </a:lnTo>
                <a:lnTo>
                  <a:pt x="80" y="160"/>
                </a:lnTo>
                <a:lnTo>
                  <a:pt x="79" y="159"/>
                </a:lnTo>
                <a:lnTo>
                  <a:pt x="79" y="156"/>
                </a:lnTo>
                <a:lnTo>
                  <a:pt x="75" y="156"/>
                </a:lnTo>
                <a:lnTo>
                  <a:pt x="75" y="155"/>
                </a:lnTo>
                <a:lnTo>
                  <a:pt x="74" y="154"/>
                </a:lnTo>
                <a:lnTo>
                  <a:pt x="74" y="153"/>
                </a:lnTo>
                <a:lnTo>
                  <a:pt x="73" y="152"/>
                </a:lnTo>
                <a:lnTo>
                  <a:pt x="73" y="146"/>
                </a:lnTo>
                <a:lnTo>
                  <a:pt x="72" y="145"/>
                </a:lnTo>
                <a:lnTo>
                  <a:pt x="71" y="145"/>
                </a:lnTo>
                <a:lnTo>
                  <a:pt x="71" y="146"/>
                </a:lnTo>
                <a:lnTo>
                  <a:pt x="69" y="147"/>
                </a:lnTo>
                <a:lnTo>
                  <a:pt x="69" y="148"/>
                </a:lnTo>
                <a:lnTo>
                  <a:pt x="67" y="151"/>
                </a:lnTo>
                <a:lnTo>
                  <a:pt x="66" y="151"/>
                </a:lnTo>
                <a:lnTo>
                  <a:pt x="65" y="149"/>
                </a:lnTo>
                <a:lnTo>
                  <a:pt x="62" y="149"/>
                </a:lnTo>
                <a:lnTo>
                  <a:pt x="62" y="145"/>
                </a:lnTo>
                <a:lnTo>
                  <a:pt x="61" y="143"/>
                </a:lnTo>
                <a:lnTo>
                  <a:pt x="60" y="143"/>
                </a:lnTo>
                <a:lnTo>
                  <a:pt x="55" y="148"/>
                </a:lnTo>
                <a:lnTo>
                  <a:pt x="54" y="148"/>
                </a:lnTo>
                <a:lnTo>
                  <a:pt x="54" y="149"/>
                </a:lnTo>
                <a:lnTo>
                  <a:pt x="53" y="148"/>
                </a:lnTo>
                <a:lnTo>
                  <a:pt x="50" y="148"/>
                </a:lnTo>
                <a:lnTo>
                  <a:pt x="50" y="145"/>
                </a:lnTo>
                <a:lnTo>
                  <a:pt x="48" y="145"/>
                </a:lnTo>
                <a:lnTo>
                  <a:pt x="43" y="147"/>
                </a:lnTo>
                <a:lnTo>
                  <a:pt x="44" y="148"/>
                </a:lnTo>
                <a:lnTo>
                  <a:pt x="44" y="149"/>
                </a:lnTo>
                <a:lnTo>
                  <a:pt x="46" y="151"/>
                </a:lnTo>
                <a:lnTo>
                  <a:pt x="46" y="153"/>
                </a:lnTo>
                <a:lnTo>
                  <a:pt x="42" y="153"/>
                </a:lnTo>
                <a:lnTo>
                  <a:pt x="40" y="152"/>
                </a:lnTo>
                <a:lnTo>
                  <a:pt x="38" y="152"/>
                </a:lnTo>
                <a:lnTo>
                  <a:pt x="38" y="149"/>
                </a:lnTo>
                <a:lnTo>
                  <a:pt x="37" y="148"/>
                </a:lnTo>
                <a:lnTo>
                  <a:pt x="37" y="149"/>
                </a:lnTo>
                <a:lnTo>
                  <a:pt x="31" y="149"/>
                </a:lnTo>
                <a:lnTo>
                  <a:pt x="31" y="148"/>
                </a:lnTo>
                <a:lnTo>
                  <a:pt x="29" y="147"/>
                </a:lnTo>
                <a:lnTo>
                  <a:pt x="28" y="147"/>
                </a:lnTo>
                <a:lnTo>
                  <a:pt x="26" y="146"/>
                </a:lnTo>
                <a:lnTo>
                  <a:pt x="25" y="147"/>
                </a:lnTo>
                <a:lnTo>
                  <a:pt x="24" y="149"/>
                </a:lnTo>
                <a:lnTo>
                  <a:pt x="23" y="151"/>
                </a:lnTo>
                <a:lnTo>
                  <a:pt x="20" y="151"/>
                </a:lnTo>
                <a:lnTo>
                  <a:pt x="19" y="149"/>
                </a:lnTo>
                <a:lnTo>
                  <a:pt x="16" y="148"/>
                </a:lnTo>
                <a:lnTo>
                  <a:pt x="15" y="146"/>
                </a:lnTo>
                <a:lnTo>
                  <a:pt x="12" y="147"/>
                </a:lnTo>
                <a:lnTo>
                  <a:pt x="9" y="147"/>
                </a:lnTo>
                <a:lnTo>
                  <a:pt x="9" y="146"/>
                </a:lnTo>
                <a:lnTo>
                  <a:pt x="7" y="145"/>
                </a:lnTo>
                <a:lnTo>
                  <a:pt x="7" y="143"/>
                </a:lnTo>
                <a:lnTo>
                  <a:pt x="6" y="143"/>
                </a:lnTo>
                <a:lnTo>
                  <a:pt x="5" y="142"/>
                </a:lnTo>
                <a:lnTo>
                  <a:pt x="5" y="141"/>
                </a:lnTo>
                <a:lnTo>
                  <a:pt x="4" y="140"/>
                </a:lnTo>
                <a:lnTo>
                  <a:pt x="5" y="140"/>
                </a:lnTo>
                <a:lnTo>
                  <a:pt x="9" y="136"/>
                </a:lnTo>
                <a:lnTo>
                  <a:pt x="20" y="135"/>
                </a:lnTo>
                <a:lnTo>
                  <a:pt x="22" y="136"/>
                </a:lnTo>
                <a:lnTo>
                  <a:pt x="23" y="136"/>
                </a:lnTo>
                <a:lnTo>
                  <a:pt x="23" y="137"/>
                </a:lnTo>
                <a:lnTo>
                  <a:pt x="24" y="139"/>
                </a:lnTo>
                <a:lnTo>
                  <a:pt x="23" y="139"/>
                </a:lnTo>
                <a:lnTo>
                  <a:pt x="23" y="140"/>
                </a:lnTo>
                <a:lnTo>
                  <a:pt x="26" y="140"/>
                </a:lnTo>
                <a:lnTo>
                  <a:pt x="29" y="141"/>
                </a:lnTo>
                <a:lnTo>
                  <a:pt x="31" y="143"/>
                </a:lnTo>
                <a:lnTo>
                  <a:pt x="31" y="146"/>
                </a:lnTo>
                <a:lnTo>
                  <a:pt x="32" y="147"/>
                </a:lnTo>
                <a:lnTo>
                  <a:pt x="40" y="147"/>
                </a:lnTo>
                <a:lnTo>
                  <a:pt x="41" y="146"/>
                </a:lnTo>
                <a:lnTo>
                  <a:pt x="40" y="143"/>
                </a:lnTo>
                <a:lnTo>
                  <a:pt x="40" y="142"/>
                </a:lnTo>
                <a:lnTo>
                  <a:pt x="36" y="142"/>
                </a:lnTo>
                <a:lnTo>
                  <a:pt x="34" y="141"/>
                </a:lnTo>
                <a:lnTo>
                  <a:pt x="31" y="141"/>
                </a:lnTo>
                <a:lnTo>
                  <a:pt x="28" y="137"/>
                </a:lnTo>
                <a:lnTo>
                  <a:pt x="30" y="136"/>
                </a:lnTo>
                <a:lnTo>
                  <a:pt x="36" y="136"/>
                </a:lnTo>
                <a:lnTo>
                  <a:pt x="36" y="135"/>
                </a:lnTo>
                <a:lnTo>
                  <a:pt x="34" y="135"/>
                </a:lnTo>
                <a:lnTo>
                  <a:pt x="32" y="134"/>
                </a:lnTo>
                <a:lnTo>
                  <a:pt x="32" y="133"/>
                </a:lnTo>
                <a:lnTo>
                  <a:pt x="31" y="134"/>
                </a:lnTo>
                <a:lnTo>
                  <a:pt x="30" y="134"/>
                </a:lnTo>
                <a:lnTo>
                  <a:pt x="26" y="135"/>
                </a:lnTo>
                <a:lnTo>
                  <a:pt x="24" y="134"/>
                </a:lnTo>
                <a:lnTo>
                  <a:pt x="23" y="133"/>
                </a:lnTo>
                <a:lnTo>
                  <a:pt x="23" y="131"/>
                </a:lnTo>
                <a:lnTo>
                  <a:pt x="22" y="131"/>
                </a:lnTo>
                <a:lnTo>
                  <a:pt x="20" y="130"/>
                </a:lnTo>
                <a:lnTo>
                  <a:pt x="19" y="130"/>
                </a:lnTo>
                <a:lnTo>
                  <a:pt x="19" y="129"/>
                </a:lnTo>
                <a:lnTo>
                  <a:pt x="18" y="131"/>
                </a:lnTo>
                <a:lnTo>
                  <a:pt x="15" y="131"/>
                </a:lnTo>
                <a:lnTo>
                  <a:pt x="15" y="128"/>
                </a:lnTo>
                <a:lnTo>
                  <a:pt x="16" y="127"/>
                </a:lnTo>
                <a:lnTo>
                  <a:pt x="26" y="127"/>
                </a:lnTo>
                <a:lnTo>
                  <a:pt x="26" y="128"/>
                </a:lnTo>
                <a:lnTo>
                  <a:pt x="29" y="129"/>
                </a:lnTo>
                <a:lnTo>
                  <a:pt x="29" y="130"/>
                </a:lnTo>
                <a:lnTo>
                  <a:pt x="31" y="131"/>
                </a:lnTo>
                <a:lnTo>
                  <a:pt x="34" y="131"/>
                </a:lnTo>
                <a:lnTo>
                  <a:pt x="34" y="130"/>
                </a:lnTo>
                <a:lnTo>
                  <a:pt x="35" y="130"/>
                </a:lnTo>
                <a:lnTo>
                  <a:pt x="34" y="129"/>
                </a:lnTo>
                <a:lnTo>
                  <a:pt x="31" y="129"/>
                </a:lnTo>
                <a:lnTo>
                  <a:pt x="30" y="128"/>
                </a:lnTo>
                <a:lnTo>
                  <a:pt x="30" y="125"/>
                </a:lnTo>
                <a:lnTo>
                  <a:pt x="26" y="122"/>
                </a:lnTo>
                <a:lnTo>
                  <a:pt x="26" y="123"/>
                </a:lnTo>
                <a:lnTo>
                  <a:pt x="23" y="123"/>
                </a:lnTo>
                <a:lnTo>
                  <a:pt x="22" y="122"/>
                </a:lnTo>
                <a:lnTo>
                  <a:pt x="23" y="121"/>
                </a:lnTo>
                <a:lnTo>
                  <a:pt x="25" y="119"/>
                </a:lnTo>
                <a:lnTo>
                  <a:pt x="29" y="119"/>
                </a:lnTo>
                <a:lnTo>
                  <a:pt x="30" y="121"/>
                </a:lnTo>
                <a:lnTo>
                  <a:pt x="31" y="119"/>
                </a:lnTo>
                <a:lnTo>
                  <a:pt x="29" y="117"/>
                </a:lnTo>
                <a:lnTo>
                  <a:pt x="29" y="116"/>
                </a:lnTo>
                <a:lnTo>
                  <a:pt x="30" y="116"/>
                </a:lnTo>
                <a:lnTo>
                  <a:pt x="29" y="115"/>
                </a:lnTo>
                <a:lnTo>
                  <a:pt x="29" y="111"/>
                </a:lnTo>
                <a:lnTo>
                  <a:pt x="28" y="110"/>
                </a:lnTo>
                <a:lnTo>
                  <a:pt x="32" y="110"/>
                </a:lnTo>
                <a:lnTo>
                  <a:pt x="34" y="109"/>
                </a:lnTo>
                <a:lnTo>
                  <a:pt x="40" y="102"/>
                </a:lnTo>
                <a:lnTo>
                  <a:pt x="44" y="93"/>
                </a:lnTo>
                <a:lnTo>
                  <a:pt x="49" y="86"/>
                </a:lnTo>
                <a:lnTo>
                  <a:pt x="51" y="79"/>
                </a:lnTo>
                <a:lnTo>
                  <a:pt x="51" y="76"/>
                </a:lnTo>
                <a:lnTo>
                  <a:pt x="53" y="74"/>
                </a:lnTo>
                <a:lnTo>
                  <a:pt x="55" y="61"/>
                </a:lnTo>
                <a:lnTo>
                  <a:pt x="55" y="56"/>
                </a:lnTo>
                <a:lnTo>
                  <a:pt x="56" y="54"/>
                </a:lnTo>
                <a:lnTo>
                  <a:pt x="57" y="49"/>
                </a:lnTo>
                <a:lnTo>
                  <a:pt x="59" y="47"/>
                </a:lnTo>
                <a:lnTo>
                  <a:pt x="59" y="42"/>
                </a:lnTo>
                <a:lnTo>
                  <a:pt x="62" y="43"/>
                </a:lnTo>
                <a:lnTo>
                  <a:pt x="62" y="44"/>
                </a:lnTo>
                <a:lnTo>
                  <a:pt x="63" y="47"/>
                </a:lnTo>
                <a:lnTo>
                  <a:pt x="66" y="47"/>
                </a:lnTo>
                <a:lnTo>
                  <a:pt x="67" y="45"/>
                </a:lnTo>
                <a:lnTo>
                  <a:pt x="69" y="44"/>
                </a:lnTo>
                <a:lnTo>
                  <a:pt x="72" y="44"/>
                </a:lnTo>
                <a:lnTo>
                  <a:pt x="73" y="43"/>
                </a:lnTo>
                <a:lnTo>
                  <a:pt x="81" y="36"/>
                </a:lnTo>
                <a:lnTo>
                  <a:pt x="84" y="33"/>
                </a:lnTo>
                <a:lnTo>
                  <a:pt x="86" y="33"/>
                </a:lnTo>
                <a:lnTo>
                  <a:pt x="87" y="31"/>
                </a:lnTo>
                <a:lnTo>
                  <a:pt x="88" y="26"/>
                </a:lnTo>
                <a:lnTo>
                  <a:pt x="88" y="24"/>
                </a:lnTo>
                <a:lnTo>
                  <a:pt x="91" y="23"/>
                </a:lnTo>
                <a:lnTo>
                  <a:pt x="91" y="22"/>
                </a:lnTo>
                <a:lnTo>
                  <a:pt x="93" y="22"/>
                </a:lnTo>
                <a:lnTo>
                  <a:pt x="93" y="20"/>
                </a:lnTo>
                <a:lnTo>
                  <a:pt x="94" y="19"/>
                </a:lnTo>
                <a:lnTo>
                  <a:pt x="94" y="18"/>
                </a:lnTo>
                <a:lnTo>
                  <a:pt x="98" y="18"/>
                </a:lnTo>
                <a:lnTo>
                  <a:pt x="99" y="17"/>
                </a:lnTo>
                <a:lnTo>
                  <a:pt x="106" y="14"/>
                </a:lnTo>
                <a:lnTo>
                  <a:pt x="107" y="13"/>
                </a:lnTo>
                <a:lnTo>
                  <a:pt x="109" y="13"/>
                </a:lnTo>
                <a:lnTo>
                  <a:pt x="111" y="11"/>
                </a:lnTo>
                <a:lnTo>
                  <a:pt x="124" y="11"/>
                </a:lnTo>
                <a:lnTo>
                  <a:pt x="125" y="12"/>
                </a:lnTo>
                <a:lnTo>
                  <a:pt x="127" y="11"/>
                </a:lnTo>
                <a:lnTo>
                  <a:pt x="133" y="8"/>
                </a:lnTo>
                <a:lnTo>
                  <a:pt x="143" y="7"/>
                </a:lnTo>
                <a:close/>
                <a:moveTo>
                  <a:pt x="117" y="7"/>
                </a:moveTo>
                <a:lnTo>
                  <a:pt x="118" y="7"/>
                </a:lnTo>
                <a:lnTo>
                  <a:pt x="118" y="8"/>
                </a:lnTo>
                <a:lnTo>
                  <a:pt x="117" y="7"/>
                </a:lnTo>
                <a:close/>
                <a:moveTo>
                  <a:pt x="98" y="6"/>
                </a:moveTo>
                <a:lnTo>
                  <a:pt x="98" y="7"/>
                </a:lnTo>
                <a:lnTo>
                  <a:pt x="109" y="6"/>
                </a:lnTo>
                <a:lnTo>
                  <a:pt x="110" y="7"/>
                </a:lnTo>
                <a:lnTo>
                  <a:pt x="106" y="8"/>
                </a:lnTo>
                <a:lnTo>
                  <a:pt x="100" y="8"/>
                </a:lnTo>
                <a:lnTo>
                  <a:pt x="98" y="10"/>
                </a:lnTo>
                <a:lnTo>
                  <a:pt x="97" y="8"/>
                </a:lnTo>
                <a:lnTo>
                  <a:pt x="97" y="7"/>
                </a:lnTo>
                <a:lnTo>
                  <a:pt x="98" y="6"/>
                </a:lnTo>
                <a:close/>
                <a:moveTo>
                  <a:pt x="121" y="4"/>
                </a:moveTo>
                <a:lnTo>
                  <a:pt x="127" y="4"/>
                </a:lnTo>
                <a:lnTo>
                  <a:pt x="127" y="5"/>
                </a:lnTo>
                <a:lnTo>
                  <a:pt x="125" y="5"/>
                </a:lnTo>
                <a:lnTo>
                  <a:pt x="118" y="7"/>
                </a:lnTo>
                <a:lnTo>
                  <a:pt x="117" y="6"/>
                </a:lnTo>
                <a:lnTo>
                  <a:pt x="118" y="5"/>
                </a:lnTo>
                <a:lnTo>
                  <a:pt x="119" y="5"/>
                </a:lnTo>
                <a:lnTo>
                  <a:pt x="121" y="4"/>
                </a:lnTo>
                <a:close/>
                <a:moveTo>
                  <a:pt x="130" y="0"/>
                </a:moveTo>
                <a:lnTo>
                  <a:pt x="131" y="0"/>
                </a:lnTo>
                <a:lnTo>
                  <a:pt x="134" y="1"/>
                </a:lnTo>
                <a:lnTo>
                  <a:pt x="133" y="2"/>
                </a:lnTo>
                <a:lnTo>
                  <a:pt x="13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4" name="Freeform 24">
            <a:extLst>
              <a:ext uri="{FF2B5EF4-FFF2-40B4-BE49-F238E27FC236}">
                <a16:creationId xmlns:a16="http://schemas.microsoft.com/office/drawing/2014/main" id="{D1A2C049-DA08-4866-8D75-B42EA1CA1415}"/>
              </a:ext>
            </a:extLst>
          </p:cNvPr>
          <p:cNvSpPr>
            <a:spLocks noEditPoints="1"/>
          </p:cNvSpPr>
          <p:nvPr/>
        </p:nvSpPr>
        <p:spPr bwMode="auto">
          <a:xfrm>
            <a:off x="2358971" y="5292831"/>
            <a:ext cx="117365" cy="140548"/>
          </a:xfrm>
          <a:custGeom>
            <a:avLst/>
            <a:gdLst/>
            <a:ahLst/>
            <a:cxnLst>
              <a:cxn ang="0">
                <a:pos x="3" y="66"/>
              </a:cxn>
              <a:cxn ang="0">
                <a:pos x="22" y="0"/>
              </a:cxn>
              <a:cxn ang="0">
                <a:pos x="26" y="3"/>
              </a:cxn>
              <a:cxn ang="0">
                <a:pos x="28" y="0"/>
              </a:cxn>
              <a:cxn ang="0">
                <a:pos x="31" y="4"/>
              </a:cxn>
              <a:cxn ang="0">
                <a:pos x="39" y="10"/>
              </a:cxn>
              <a:cxn ang="0">
                <a:pos x="45" y="17"/>
              </a:cxn>
              <a:cxn ang="0">
                <a:pos x="49" y="21"/>
              </a:cxn>
              <a:cxn ang="0">
                <a:pos x="52" y="23"/>
              </a:cxn>
              <a:cxn ang="0">
                <a:pos x="56" y="25"/>
              </a:cxn>
              <a:cxn ang="0">
                <a:pos x="60" y="27"/>
              </a:cxn>
              <a:cxn ang="0">
                <a:pos x="62" y="24"/>
              </a:cxn>
              <a:cxn ang="0">
                <a:pos x="64" y="27"/>
              </a:cxn>
              <a:cxn ang="0">
                <a:pos x="71" y="34"/>
              </a:cxn>
              <a:cxn ang="0">
                <a:pos x="80" y="37"/>
              </a:cxn>
              <a:cxn ang="0">
                <a:pos x="77" y="42"/>
              </a:cxn>
              <a:cxn ang="0">
                <a:pos x="74" y="47"/>
              </a:cxn>
              <a:cxn ang="0">
                <a:pos x="68" y="45"/>
              </a:cxn>
              <a:cxn ang="0">
                <a:pos x="66" y="47"/>
              </a:cxn>
              <a:cxn ang="0">
                <a:pos x="69" y="54"/>
              </a:cxn>
              <a:cxn ang="0">
                <a:pos x="66" y="58"/>
              </a:cxn>
              <a:cxn ang="0">
                <a:pos x="60" y="61"/>
              </a:cxn>
              <a:cxn ang="0">
                <a:pos x="57" y="61"/>
              </a:cxn>
              <a:cxn ang="0">
                <a:pos x="52" y="52"/>
              </a:cxn>
              <a:cxn ang="0">
                <a:pos x="47" y="59"/>
              </a:cxn>
              <a:cxn ang="0">
                <a:pos x="45" y="63"/>
              </a:cxn>
              <a:cxn ang="0">
                <a:pos x="44" y="65"/>
              </a:cxn>
              <a:cxn ang="0">
                <a:pos x="37" y="77"/>
              </a:cxn>
              <a:cxn ang="0">
                <a:pos x="37" y="80"/>
              </a:cxn>
              <a:cxn ang="0">
                <a:pos x="38" y="88"/>
              </a:cxn>
              <a:cxn ang="0">
                <a:pos x="38" y="91"/>
              </a:cxn>
              <a:cxn ang="0">
                <a:pos x="38" y="94"/>
              </a:cxn>
              <a:cxn ang="0">
                <a:pos x="37" y="95"/>
              </a:cxn>
              <a:cxn ang="0">
                <a:pos x="32" y="92"/>
              </a:cxn>
              <a:cxn ang="0">
                <a:pos x="29" y="90"/>
              </a:cxn>
              <a:cxn ang="0">
                <a:pos x="27" y="82"/>
              </a:cxn>
              <a:cxn ang="0">
                <a:pos x="24" y="80"/>
              </a:cxn>
              <a:cxn ang="0">
                <a:pos x="22" y="78"/>
              </a:cxn>
              <a:cxn ang="0">
                <a:pos x="19" y="72"/>
              </a:cxn>
              <a:cxn ang="0">
                <a:pos x="14" y="73"/>
              </a:cxn>
              <a:cxn ang="0">
                <a:pos x="12" y="70"/>
              </a:cxn>
              <a:cxn ang="0">
                <a:pos x="9" y="67"/>
              </a:cxn>
              <a:cxn ang="0">
                <a:pos x="7" y="67"/>
              </a:cxn>
              <a:cxn ang="0">
                <a:pos x="6" y="64"/>
              </a:cxn>
              <a:cxn ang="0">
                <a:pos x="10" y="66"/>
              </a:cxn>
              <a:cxn ang="0">
                <a:pos x="10" y="63"/>
              </a:cxn>
              <a:cxn ang="0">
                <a:pos x="7" y="64"/>
              </a:cxn>
              <a:cxn ang="0">
                <a:pos x="1" y="64"/>
              </a:cxn>
              <a:cxn ang="0">
                <a:pos x="0" y="57"/>
              </a:cxn>
              <a:cxn ang="0">
                <a:pos x="4" y="53"/>
              </a:cxn>
              <a:cxn ang="0">
                <a:pos x="1" y="45"/>
              </a:cxn>
              <a:cxn ang="0">
                <a:pos x="0" y="41"/>
              </a:cxn>
              <a:cxn ang="0">
                <a:pos x="0" y="36"/>
              </a:cxn>
              <a:cxn ang="0">
                <a:pos x="2" y="30"/>
              </a:cxn>
              <a:cxn ang="0">
                <a:pos x="10" y="18"/>
              </a:cxn>
              <a:cxn ang="0">
                <a:pos x="15" y="14"/>
              </a:cxn>
              <a:cxn ang="0">
                <a:pos x="20" y="11"/>
              </a:cxn>
              <a:cxn ang="0">
                <a:pos x="22" y="15"/>
              </a:cxn>
              <a:cxn ang="0">
                <a:pos x="25" y="15"/>
              </a:cxn>
              <a:cxn ang="0">
                <a:pos x="25" y="11"/>
              </a:cxn>
              <a:cxn ang="0">
                <a:pos x="22" y="5"/>
              </a:cxn>
              <a:cxn ang="0">
                <a:pos x="20" y="4"/>
              </a:cxn>
              <a:cxn ang="0">
                <a:pos x="22" y="0"/>
              </a:cxn>
            </a:cxnLst>
            <a:rect l="0" t="0" r="r" b="b"/>
            <a:pathLst>
              <a:path w="81" h="97">
                <a:moveTo>
                  <a:pt x="2" y="64"/>
                </a:moveTo>
                <a:lnTo>
                  <a:pt x="3" y="64"/>
                </a:lnTo>
                <a:lnTo>
                  <a:pt x="3" y="66"/>
                </a:lnTo>
                <a:lnTo>
                  <a:pt x="2" y="65"/>
                </a:lnTo>
                <a:lnTo>
                  <a:pt x="2" y="64"/>
                </a:lnTo>
                <a:close/>
                <a:moveTo>
                  <a:pt x="22" y="0"/>
                </a:moveTo>
                <a:lnTo>
                  <a:pt x="25" y="0"/>
                </a:lnTo>
                <a:lnTo>
                  <a:pt x="25" y="2"/>
                </a:lnTo>
                <a:lnTo>
                  <a:pt x="26" y="3"/>
                </a:lnTo>
                <a:lnTo>
                  <a:pt x="27" y="3"/>
                </a:lnTo>
                <a:lnTo>
                  <a:pt x="27" y="2"/>
                </a:lnTo>
                <a:lnTo>
                  <a:pt x="28" y="0"/>
                </a:lnTo>
                <a:lnTo>
                  <a:pt x="32" y="0"/>
                </a:lnTo>
                <a:lnTo>
                  <a:pt x="31" y="2"/>
                </a:lnTo>
                <a:lnTo>
                  <a:pt x="31" y="4"/>
                </a:lnTo>
                <a:lnTo>
                  <a:pt x="33" y="6"/>
                </a:lnTo>
                <a:lnTo>
                  <a:pt x="39" y="9"/>
                </a:lnTo>
                <a:lnTo>
                  <a:pt x="39" y="10"/>
                </a:lnTo>
                <a:lnTo>
                  <a:pt x="44" y="15"/>
                </a:lnTo>
                <a:lnTo>
                  <a:pt x="44" y="16"/>
                </a:lnTo>
                <a:lnTo>
                  <a:pt x="45" y="17"/>
                </a:lnTo>
                <a:lnTo>
                  <a:pt x="46" y="20"/>
                </a:lnTo>
                <a:lnTo>
                  <a:pt x="47" y="20"/>
                </a:lnTo>
                <a:lnTo>
                  <a:pt x="49" y="21"/>
                </a:lnTo>
                <a:lnTo>
                  <a:pt x="49" y="22"/>
                </a:lnTo>
                <a:lnTo>
                  <a:pt x="52" y="22"/>
                </a:lnTo>
                <a:lnTo>
                  <a:pt x="52" y="23"/>
                </a:lnTo>
                <a:lnTo>
                  <a:pt x="53" y="22"/>
                </a:lnTo>
                <a:lnTo>
                  <a:pt x="54" y="24"/>
                </a:lnTo>
                <a:lnTo>
                  <a:pt x="56" y="25"/>
                </a:lnTo>
                <a:lnTo>
                  <a:pt x="57" y="25"/>
                </a:lnTo>
                <a:lnTo>
                  <a:pt x="58" y="27"/>
                </a:lnTo>
                <a:lnTo>
                  <a:pt x="60" y="27"/>
                </a:lnTo>
                <a:lnTo>
                  <a:pt x="60" y="25"/>
                </a:lnTo>
                <a:lnTo>
                  <a:pt x="62" y="25"/>
                </a:lnTo>
                <a:lnTo>
                  <a:pt x="62" y="24"/>
                </a:lnTo>
                <a:lnTo>
                  <a:pt x="63" y="25"/>
                </a:lnTo>
                <a:lnTo>
                  <a:pt x="63" y="27"/>
                </a:lnTo>
                <a:lnTo>
                  <a:pt x="64" y="27"/>
                </a:lnTo>
                <a:lnTo>
                  <a:pt x="68" y="30"/>
                </a:lnTo>
                <a:lnTo>
                  <a:pt x="71" y="33"/>
                </a:lnTo>
                <a:lnTo>
                  <a:pt x="71" y="34"/>
                </a:lnTo>
                <a:lnTo>
                  <a:pt x="75" y="34"/>
                </a:lnTo>
                <a:lnTo>
                  <a:pt x="77" y="36"/>
                </a:lnTo>
                <a:lnTo>
                  <a:pt x="80" y="37"/>
                </a:lnTo>
                <a:lnTo>
                  <a:pt x="81" y="37"/>
                </a:lnTo>
                <a:lnTo>
                  <a:pt x="81" y="41"/>
                </a:lnTo>
                <a:lnTo>
                  <a:pt x="77" y="42"/>
                </a:lnTo>
                <a:lnTo>
                  <a:pt x="75" y="42"/>
                </a:lnTo>
                <a:lnTo>
                  <a:pt x="75" y="46"/>
                </a:lnTo>
                <a:lnTo>
                  <a:pt x="74" y="47"/>
                </a:lnTo>
                <a:lnTo>
                  <a:pt x="72" y="46"/>
                </a:lnTo>
                <a:lnTo>
                  <a:pt x="70" y="45"/>
                </a:lnTo>
                <a:lnTo>
                  <a:pt x="68" y="45"/>
                </a:lnTo>
                <a:lnTo>
                  <a:pt x="68" y="46"/>
                </a:lnTo>
                <a:lnTo>
                  <a:pt x="66" y="46"/>
                </a:lnTo>
                <a:lnTo>
                  <a:pt x="66" y="47"/>
                </a:lnTo>
                <a:lnTo>
                  <a:pt x="70" y="51"/>
                </a:lnTo>
                <a:lnTo>
                  <a:pt x="70" y="53"/>
                </a:lnTo>
                <a:lnTo>
                  <a:pt x="69" y="54"/>
                </a:lnTo>
                <a:lnTo>
                  <a:pt x="69" y="58"/>
                </a:lnTo>
                <a:lnTo>
                  <a:pt x="68" y="57"/>
                </a:lnTo>
                <a:lnTo>
                  <a:pt x="66" y="58"/>
                </a:lnTo>
                <a:lnTo>
                  <a:pt x="65" y="60"/>
                </a:lnTo>
                <a:lnTo>
                  <a:pt x="60" y="60"/>
                </a:lnTo>
                <a:lnTo>
                  <a:pt x="60" y="61"/>
                </a:lnTo>
                <a:lnTo>
                  <a:pt x="59" y="63"/>
                </a:lnTo>
                <a:lnTo>
                  <a:pt x="57" y="63"/>
                </a:lnTo>
                <a:lnTo>
                  <a:pt x="57" y="61"/>
                </a:lnTo>
                <a:lnTo>
                  <a:pt x="54" y="59"/>
                </a:lnTo>
                <a:lnTo>
                  <a:pt x="54" y="52"/>
                </a:lnTo>
                <a:lnTo>
                  <a:pt x="52" y="52"/>
                </a:lnTo>
                <a:lnTo>
                  <a:pt x="49" y="55"/>
                </a:lnTo>
                <a:lnTo>
                  <a:pt x="49" y="59"/>
                </a:lnTo>
                <a:lnTo>
                  <a:pt x="47" y="59"/>
                </a:lnTo>
                <a:lnTo>
                  <a:pt x="46" y="60"/>
                </a:lnTo>
                <a:lnTo>
                  <a:pt x="46" y="61"/>
                </a:lnTo>
                <a:lnTo>
                  <a:pt x="45" y="63"/>
                </a:lnTo>
                <a:lnTo>
                  <a:pt x="45" y="64"/>
                </a:lnTo>
                <a:lnTo>
                  <a:pt x="44" y="64"/>
                </a:lnTo>
                <a:lnTo>
                  <a:pt x="44" y="65"/>
                </a:lnTo>
                <a:lnTo>
                  <a:pt x="40" y="68"/>
                </a:lnTo>
                <a:lnTo>
                  <a:pt x="40" y="70"/>
                </a:lnTo>
                <a:lnTo>
                  <a:pt x="37" y="77"/>
                </a:lnTo>
                <a:lnTo>
                  <a:pt x="35" y="78"/>
                </a:lnTo>
                <a:lnTo>
                  <a:pt x="35" y="79"/>
                </a:lnTo>
                <a:lnTo>
                  <a:pt x="37" y="80"/>
                </a:lnTo>
                <a:lnTo>
                  <a:pt x="39" y="82"/>
                </a:lnTo>
                <a:lnTo>
                  <a:pt x="39" y="86"/>
                </a:lnTo>
                <a:lnTo>
                  <a:pt x="38" y="88"/>
                </a:lnTo>
                <a:lnTo>
                  <a:pt x="39" y="89"/>
                </a:lnTo>
                <a:lnTo>
                  <a:pt x="39" y="91"/>
                </a:lnTo>
                <a:lnTo>
                  <a:pt x="38" y="91"/>
                </a:lnTo>
                <a:lnTo>
                  <a:pt x="39" y="92"/>
                </a:lnTo>
                <a:lnTo>
                  <a:pt x="38" y="92"/>
                </a:lnTo>
                <a:lnTo>
                  <a:pt x="38" y="94"/>
                </a:lnTo>
                <a:lnTo>
                  <a:pt x="39" y="95"/>
                </a:lnTo>
                <a:lnTo>
                  <a:pt x="39" y="97"/>
                </a:lnTo>
                <a:lnTo>
                  <a:pt x="37" y="95"/>
                </a:lnTo>
                <a:lnTo>
                  <a:pt x="35" y="95"/>
                </a:lnTo>
                <a:lnTo>
                  <a:pt x="33" y="94"/>
                </a:lnTo>
                <a:lnTo>
                  <a:pt x="32" y="92"/>
                </a:lnTo>
                <a:lnTo>
                  <a:pt x="31" y="92"/>
                </a:lnTo>
                <a:lnTo>
                  <a:pt x="31" y="90"/>
                </a:lnTo>
                <a:lnTo>
                  <a:pt x="29" y="90"/>
                </a:lnTo>
                <a:lnTo>
                  <a:pt x="29" y="86"/>
                </a:lnTo>
                <a:lnTo>
                  <a:pt x="27" y="84"/>
                </a:lnTo>
                <a:lnTo>
                  <a:pt x="27" y="82"/>
                </a:lnTo>
                <a:lnTo>
                  <a:pt x="26" y="82"/>
                </a:lnTo>
                <a:lnTo>
                  <a:pt x="26" y="80"/>
                </a:lnTo>
                <a:lnTo>
                  <a:pt x="24" y="80"/>
                </a:lnTo>
                <a:lnTo>
                  <a:pt x="24" y="79"/>
                </a:lnTo>
                <a:lnTo>
                  <a:pt x="22" y="79"/>
                </a:lnTo>
                <a:lnTo>
                  <a:pt x="22" y="78"/>
                </a:lnTo>
                <a:lnTo>
                  <a:pt x="20" y="76"/>
                </a:lnTo>
                <a:lnTo>
                  <a:pt x="19" y="73"/>
                </a:lnTo>
                <a:lnTo>
                  <a:pt x="19" y="72"/>
                </a:lnTo>
                <a:lnTo>
                  <a:pt x="15" y="72"/>
                </a:lnTo>
                <a:lnTo>
                  <a:pt x="15" y="73"/>
                </a:lnTo>
                <a:lnTo>
                  <a:pt x="14" y="73"/>
                </a:lnTo>
                <a:lnTo>
                  <a:pt x="14" y="72"/>
                </a:lnTo>
                <a:lnTo>
                  <a:pt x="12" y="71"/>
                </a:lnTo>
                <a:lnTo>
                  <a:pt x="12" y="70"/>
                </a:lnTo>
                <a:lnTo>
                  <a:pt x="10" y="68"/>
                </a:lnTo>
                <a:lnTo>
                  <a:pt x="10" y="67"/>
                </a:lnTo>
                <a:lnTo>
                  <a:pt x="9" y="67"/>
                </a:lnTo>
                <a:lnTo>
                  <a:pt x="9" y="68"/>
                </a:lnTo>
                <a:lnTo>
                  <a:pt x="8" y="67"/>
                </a:lnTo>
                <a:lnTo>
                  <a:pt x="7" y="67"/>
                </a:lnTo>
                <a:lnTo>
                  <a:pt x="4" y="65"/>
                </a:lnTo>
                <a:lnTo>
                  <a:pt x="4" y="64"/>
                </a:lnTo>
                <a:lnTo>
                  <a:pt x="6" y="64"/>
                </a:lnTo>
                <a:lnTo>
                  <a:pt x="8" y="65"/>
                </a:lnTo>
                <a:lnTo>
                  <a:pt x="9" y="65"/>
                </a:lnTo>
                <a:lnTo>
                  <a:pt x="10" y="66"/>
                </a:lnTo>
                <a:lnTo>
                  <a:pt x="12" y="66"/>
                </a:lnTo>
                <a:lnTo>
                  <a:pt x="12" y="65"/>
                </a:lnTo>
                <a:lnTo>
                  <a:pt x="10" y="63"/>
                </a:lnTo>
                <a:lnTo>
                  <a:pt x="10" y="61"/>
                </a:lnTo>
                <a:lnTo>
                  <a:pt x="9" y="63"/>
                </a:lnTo>
                <a:lnTo>
                  <a:pt x="7" y="64"/>
                </a:lnTo>
                <a:lnTo>
                  <a:pt x="2" y="63"/>
                </a:lnTo>
                <a:lnTo>
                  <a:pt x="2" y="64"/>
                </a:lnTo>
                <a:lnTo>
                  <a:pt x="1" y="64"/>
                </a:lnTo>
                <a:lnTo>
                  <a:pt x="1" y="63"/>
                </a:lnTo>
                <a:lnTo>
                  <a:pt x="0" y="61"/>
                </a:lnTo>
                <a:lnTo>
                  <a:pt x="0" y="57"/>
                </a:lnTo>
                <a:lnTo>
                  <a:pt x="2" y="57"/>
                </a:lnTo>
                <a:lnTo>
                  <a:pt x="2" y="55"/>
                </a:lnTo>
                <a:lnTo>
                  <a:pt x="4" y="53"/>
                </a:lnTo>
                <a:lnTo>
                  <a:pt x="4" y="49"/>
                </a:lnTo>
                <a:lnTo>
                  <a:pt x="2" y="47"/>
                </a:lnTo>
                <a:lnTo>
                  <a:pt x="1" y="45"/>
                </a:lnTo>
                <a:lnTo>
                  <a:pt x="1" y="43"/>
                </a:lnTo>
                <a:lnTo>
                  <a:pt x="0" y="42"/>
                </a:lnTo>
                <a:lnTo>
                  <a:pt x="0" y="41"/>
                </a:lnTo>
                <a:lnTo>
                  <a:pt x="1" y="41"/>
                </a:lnTo>
                <a:lnTo>
                  <a:pt x="1" y="39"/>
                </a:lnTo>
                <a:lnTo>
                  <a:pt x="0" y="36"/>
                </a:lnTo>
                <a:lnTo>
                  <a:pt x="0" y="34"/>
                </a:lnTo>
                <a:lnTo>
                  <a:pt x="1" y="31"/>
                </a:lnTo>
                <a:lnTo>
                  <a:pt x="2" y="30"/>
                </a:lnTo>
                <a:lnTo>
                  <a:pt x="8" y="30"/>
                </a:lnTo>
                <a:lnTo>
                  <a:pt x="8" y="21"/>
                </a:lnTo>
                <a:lnTo>
                  <a:pt x="10" y="18"/>
                </a:lnTo>
                <a:lnTo>
                  <a:pt x="9" y="18"/>
                </a:lnTo>
                <a:lnTo>
                  <a:pt x="10" y="17"/>
                </a:lnTo>
                <a:lnTo>
                  <a:pt x="15" y="14"/>
                </a:lnTo>
                <a:lnTo>
                  <a:pt x="16" y="12"/>
                </a:lnTo>
                <a:lnTo>
                  <a:pt x="16" y="11"/>
                </a:lnTo>
                <a:lnTo>
                  <a:pt x="20" y="11"/>
                </a:lnTo>
                <a:lnTo>
                  <a:pt x="21" y="12"/>
                </a:lnTo>
                <a:lnTo>
                  <a:pt x="22" y="12"/>
                </a:lnTo>
                <a:lnTo>
                  <a:pt x="22" y="15"/>
                </a:lnTo>
                <a:lnTo>
                  <a:pt x="24" y="16"/>
                </a:lnTo>
                <a:lnTo>
                  <a:pt x="24" y="15"/>
                </a:lnTo>
                <a:lnTo>
                  <a:pt x="25" y="15"/>
                </a:lnTo>
                <a:lnTo>
                  <a:pt x="25" y="14"/>
                </a:lnTo>
                <a:lnTo>
                  <a:pt x="27" y="14"/>
                </a:lnTo>
                <a:lnTo>
                  <a:pt x="25" y="11"/>
                </a:lnTo>
                <a:lnTo>
                  <a:pt x="24" y="8"/>
                </a:lnTo>
                <a:lnTo>
                  <a:pt x="22" y="6"/>
                </a:lnTo>
                <a:lnTo>
                  <a:pt x="22" y="5"/>
                </a:lnTo>
                <a:lnTo>
                  <a:pt x="21" y="6"/>
                </a:lnTo>
                <a:lnTo>
                  <a:pt x="21" y="4"/>
                </a:lnTo>
                <a:lnTo>
                  <a:pt x="20" y="4"/>
                </a:lnTo>
                <a:lnTo>
                  <a:pt x="20" y="2"/>
                </a:lnTo>
                <a:lnTo>
                  <a:pt x="21" y="2"/>
                </a:lnTo>
                <a:lnTo>
                  <a:pt x="22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5" name="Freeform 25">
            <a:extLst>
              <a:ext uri="{FF2B5EF4-FFF2-40B4-BE49-F238E27FC236}">
                <a16:creationId xmlns:a16="http://schemas.microsoft.com/office/drawing/2014/main" id="{A9BD064C-DC82-4B30-A2E8-048675052E8B}"/>
              </a:ext>
            </a:extLst>
          </p:cNvPr>
          <p:cNvSpPr>
            <a:spLocks/>
          </p:cNvSpPr>
          <p:nvPr/>
        </p:nvSpPr>
        <p:spPr bwMode="auto">
          <a:xfrm>
            <a:off x="1680867" y="5273995"/>
            <a:ext cx="5796" cy="4347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3" y="0"/>
              </a:cxn>
              <a:cxn ang="0">
                <a:pos x="4" y="1"/>
              </a:cxn>
              <a:cxn ang="0">
                <a:pos x="3" y="3"/>
              </a:cxn>
              <a:cxn ang="0">
                <a:pos x="0" y="3"/>
              </a:cxn>
              <a:cxn ang="0">
                <a:pos x="0" y="1"/>
              </a:cxn>
              <a:cxn ang="0">
                <a:pos x="2" y="0"/>
              </a:cxn>
            </a:cxnLst>
            <a:rect l="0" t="0" r="r" b="b"/>
            <a:pathLst>
              <a:path w="4" h="3">
                <a:moveTo>
                  <a:pt x="2" y="0"/>
                </a:moveTo>
                <a:lnTo>
                  <a:pt x="3" y="0"/>
                </a:lnTo>
                <a:lnTo>
                  <a:pt x="4" y="1"/>
                </a:lnTo>
                <a:lnTo>
                  <a:pt x="3" y="3"/>
                </a:lnTo>
                <a:lnTo>
                  <a:pt x="0" y="3"/>
                </a:lnTo>
                <a:lnTo>
                  <a:pt x="0" y="1"/>
                </a:lnTo>
                <a:lnTo>
                  <a:pt x="2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6" name="Freeform 26">
            <a:extLst>
              <a:ext uri="{FF2B5EF4-FFF2-40B4-BE49-F238E27FC236}">
                <a16:creationId xmlns:a16="http://schemas.microsoft.com/office/drawing/2014/main" id="{AD332B74-EC4B-4C8F-A3C2-D707EA8D0E30}"/>
              </a:ext>
            </a:extLst>
          </p:cNvPr>
          <p:cNvSpPr>
            <a:spLocks/>
          </p:cNvSpPr>
          <p:nvPr/>
        </p:nvSpPr>
        <p:spPr bwMode="auto">
          <a:xfrm>
            <a:off x="2858856" y="4856700"/>
            <a:ext cx="214443" cy="272401"/>
          </a:xfrm>
          <a:custGeom>
            <a:avLst/>
            <a:gdLst/>
            <a:ahLst/>
            <a:cxnLst>
              <a:cxn ang="0">
                <a:pos x="52" y="5"/>
              </a:cxn>
              <a:cxn ang="0">
                <a:pos x="62" y="12"/>
              </a:cxn>
              <a:cxn ang="0">
                <a:pos x="66" y="17"/>
              </a:cxn>
              <a:cxn ang="0">
                <a:pos x="73" y="17"/>
              </a:cxn>
              <a:cxn ang="0">
                <a:pos x="74" y="21"/>
              </a:cxn>
              <a:cxn ang="0">
                <a:pos x="78" y="27"/>
              </a:cxn>
              <a:cxn ang="0">
                <a:pos x="90" y="23"/>
              </a:cxn>
              <a:cxn ang="0">
                <a:pos x="96" y="33"/>
              </a:cxn>
              <a:cxn ang="0">
                <a:pos x="104" y="33"/>
              </a:cxn>
              <a:cxn ang="0">
                <a:pos x="109" y="39"/>
              </a:cxn>
              <a:cxn ang="0">
                <a:pos x="109" y="46"/>
              </a:cxn>
              <a:cxn ang="0">
                <a:pos x="108" y="58"/>
              </a:cxn>
              <a:cxn ang="0">
                <a:pos x="109" y="66"/>
              </a:cxn>
              <a:cxn ang="0">
                <a:pos x="116" y="72"/>
              </a:cxn>
              <a:cxn ang="0">
                <a:pos x="121" y="74"/>
              </a:cxn>
              <a:cxn ang="0">
                <a:pos x="125" y="78"/>
              </a:cxn>
              <a:cxn ang="0">
                <a:pos x="123" y="86"/>
              </a:cxn>
              <a:cxn ang="0">
                <a:pos x="125" y="89"/>
              </a:cxn>
              <a:cxn ang="0">
                <a:pos x="130" y="100"/>
              </a:cxn>
              <a:cxn ang="0">
                <a:pos x="140" y="106"/>
              </a:cxn>
              <a:cxn ang="0">
                <a:pos x="141" y="120"/>
              </a:cxn>
              <a:cxn ang="0">
                <a:pos x="142" y="126"/>
              </a:cxn>
              <a:cxn ang="0">
                <a:pos x="148" y="129"/>
              </a:cxn>
              <a:cxn ang="0">
                <a:pos x="135" y="132"/>
              </a:cxn>
              <a:cxn ang="0">
                <a:pos x="128" y="129"/>
              </a:cxn>
              <a:cxn ang="0">
                <a:pos x="123" y="129"/>
              </a:cxn>
              <a:cxn ang="0">
                <a:pos x="114" y="127"/>
              </a:cxn>
              <a:cxn ang="0">
                <a:pos x="108" y="122"/>
              </a:cxn>
              <a:cxn ang="0">
                <a:pos x="97" y="133"/>
              </a:cxn>
              <a:cxn ang="0">
                <a:pos x="98" y="151"/>
              </a:cxn>
              <a:cxn ang="0">
                <a:pos x="89" y="160"/>
              </a:cxn>
              <a:cxn ang="0">
                <a:pos x="86" y="169"/>
              </a:cxn>
              <a:cxn ang="0">
                <a:pos x="80" y="172"/>
              </a:cxn>
              <a:cxn ang="0">
                <a:pos x="79" y="177"/>
              </a:cxn>
              <a:cxn ang="0">
                <a:pos x="79" y="182"/>
              </a:cxn>
              <a:cxn ang="0">
                <a:pos x="67" y="186"/>
              </a:cxn>
              <a:cxn ang="0">
                <a:pos x="63" y="181"/>
              </a:cxn>
              <a:cxn ang="0">
                <a:pos x="65" y="169"/>
              </a:cxn>
              <a:cxn ang="0">
                <a:pos x="63" y="146"/>
              </a:cxn>
              <a:cxn ang="0">
                <a:pos x="66" y="134"/>
              </a:cxn>
              <a:cxn ang="0">
                <a:pos x="67" y="122"/>
              </a:cxn>
              <a:cxn ang="0">
                <a:pos x="63" y="104"/>
              </a:cxn>
              <a:cxn ang="0">
                <a:pos x="58" y="92"/>
              </a:cxn>
              <a:cxn ang="0">
                <a:pos x="52" y="86"/>
              </a:cxn>
              <a:cxn ang="0">
                <a:pos x="47" y="77"/>
              </a:cxn>
              <a:cxn ang="0">
                <a:pos x="41" y="69"/>
              </a:cxn>
              <a:cxn ang="0">
                <a:pos x="37" y="64"/>
              </a:cxn>
              <a:cxn ang="0">
                <a:pos x="32" y="58"/>
              </a:cxn>
              <a:cxn ang="0">
                <a:pos x="28" y="48"/>
              </a:cxn>
              <a:cxn ang="0">
                <a:pos x="25" y="41"/>
              </a:cxn>
              <a:cxn ang="0">
                <a:pos x="23" y="35"/>
              </a:cxn>
              <a:cxn ang="0">
                <a:pos x="19" y="30"/>
              </a:cxn>
              <a:cxn ang="0">
                <a:pos x="17" y="26"/>
              </a:cxn>
              <a:cxn ang="0">
                <a:pos x="16" y="21"/>
              </a:cxn>
              <a:cxn ang="0">
                <a:pos x="9" y="16"/>
              </a:cxn>
              <a:cxn ang="0">
                <a:pos x="3" y="11"/>
              </a:cxn>
              <a:cxn ang="0">
                <a:pos x="6" y="9"/>
              </a:cxn>
              <a:cxn ang="0">
                <a:pos x="16" y="9"/>
              </a:cxn>
              <a:cxn ang="0">
                <a:pos x="25" y="9"/>
              </a:cxn>
              <a:cxn ang="0">
                <a:pos x="40" y="2"/>
              </a:cxn>
            </a:cxnLst>
            <a:rect l="0" t="0" r="r" b="b"/>
            <a:pathLst>
              <a:path w="148" h="188">
                <a:moveTo>
                  <a:pt x="41" y="0"/>
                </a:moveTo>
                <a:lnTo>
                  <a:pt x="42" y="2"/>
                </a:lnTo>
                <a:lnTo>
                  <a:pt x="42" y="3"/>
                </a:lnTo>
                <a:lnTo>
                  <a:pt x="48" y="3"/>
                </a:lnTo>
                <a:lnTo>
                  <a:pt x="49" y="4"/>
                </a:lnTo>
                <a:lnTo>
                  <a:pt x="52" y="5"/>
                </a:lnTo>
                <a:lnTo>
                  <a:pt x="54" y="8"/>
                </a:lnTo>
                <a:lnTo>
                  <a:pt x="54" y="9"/>
                </a:lnTo>
                <a:lnTo>
                  <a:pt x="56" y="11"/>
                </a:lnTo>
                <a:lnTo>
                  <a:pt x="61" y="11"/>
                </a:lnTo>
                <a:lnTo>
                  <a:pt x="61" y="12"/>
                </a:lnTo>
                <a:lnTo>
                  <a:pt x="62" y="12"/>
                </a:lnTo>
                <a:lnTo>
                  <a:pt x="62" y="14"/>
                </a:lnTo>
                <a:lnTo>
                  <a:pt x="61" y="16"/>
                </a:lnTo>
                <a:lnTo>
                  <a:pt x="62" y="17"/>
                </a:lnTo>
                <a:lnTo>
                  <a:pt x="63" y="17"/>
                </a:lnTo>
                <a:lnTo>
                  <a:pt x="66" y="15"/>
                </a:lnTo>
                <a:lnTo>
                  <a:pt x="66" y="17"/>
                </a:lnTo>
                <a:lnTo>
                  <a:pt x="67" y="18"/>
                </a:lnTo>
                <a:lnTo>
                  <a:pt x="69" y="18"/>
                </a:lnTo>
                <a:lnTo>
                  <a:pt x="69" y="17"/>
                </a:lnTo>
                <a:lnTo>
                  <a:pt x="71" y="17"/>
                </a:lnTo>
                <a:lnTo>
                  <a:pt x="73" y="16"/>
                </a:lnTo>
                <a:lnTo>
                  <a:pt x="73" y="17"/>
                </a:lnTo>
                <a:lnTo>
                  <a:pt x="74" y="17"/>
                </a:lnTo>
                <a:lnTo>
                  <a:pt x="74" y="20"/>
                </a:lnTo>
                <a:lnTo>
                  <a:pt x="72" y="22"/>
                </a:lnTo>
                <a:lnTo>
                  <a:pt x="72" y="23"/>
                </a:lnTo>
                <a:lnTo>
                  <a:pt x="74" y="23"/>
                </a:lnTo>
                <a:lnTo>
                  <a:pt x="74" y="21"/>
                </a:lnTo>
                <a:lnTo>
                  <a:pt x="75" y="21"/>
                </a:lnTo>
                <a:lnTo>
                  <a:pt x="77" y="22"/>
                </a:lnTo>
                <a:lnTo>
                  <a:pt x="77" y="23"/>
                </a:lnTo>
                <a:lnTo>
                  <a:pt x="75" y="24"/>
                </a:lnTo>
                <a:lnTo>
                  <a:pt x="77" y="27"/>
                </a:lnTo>
                <a:lnTo>
                  <a:pt x="78" y="27"/>
                </a:lnTo>
                <a:lnTo>
                  <a:pt x="79" y="28"/>
                </a:lnTo>
                <a:lnTo>
                  <a:pt x="79" y="24"/>
                </a:lnTo>
                <a:lnTo>
                  <a:pt x="80" y="22"/>
                </a:lnTo>
                <a:lnTo>
                  <a:pt x="83" y="22"/>
                </a:lnTo>
                <a:lnTo>
                  <a:pt x="86" y="23"/>
                </a:lnTo>
                <a:lnTo>
                  <a:pt x="90" y="23"/>
                </a:lnTo>
                <a:lnTo>
                  <a:pt x="91" y="24"/>
                </a:lnTo>
                <a:lnTo>
                  <a:pt x="92" y="24"/>
                </a:lnTo>
                <a:lnTo>
                  <a:pt x="92" y="27"/>
                </a:lnTo>
                <a:lnTo>
                  <a:pt x="93" y="28"/>
                </a:lnTo>
                <a:lnTo>
                  <a:pt x="93" y="30"/>
                </a:lnTo>
                <a:lnTo>
                  <a:pt x="96" y="33"/>
                </a:lnTo>
                <a:lnTo>
                  <a:pt x="97" y="35"/>
                </a:lnTo>
                <a:lnTo>
                  <a:pt x="98" y="35"/>
                </a:lnTo>
                <a:lnTo>
                  <a:pt x="98" y="36"/>
                </a:lnTo>
                <a:lnTo>
                  <a:pt x="102" y="36"/>
                </a:lnTo>
                <a:lnTo>
                  <a:pt x="103" y="34"/>
                </a:lnTo>
                <a:lnTo>
                  <a:pt x="104" y="33"/>
                </a:lnTo>
                <a:lnTo>
                  <a:pt x="105" y="33"/>
                </a:lnTo>
                <a:lnTo>
                  <a:pt x="106" y="34"/>
                </a:lnTo>
                <a:lnTo>
                  <a:pt x="106" y="35"/>
                </a:lnTo>
                <a:lnTo>
                  <a:pt x="108" y="35"/>
                </a:lnTo>
                <a:lnTo>
                  <a:pt x="108" y="39"/>
                </a:lnTo>
                <a:lnTo>
                  <a:pt x="109" y="39"/>
                </a:lnTo>
                <a:lnTo>
                  <a:pt x="110" y="40"/>
                </a:lnTo>
                <a:lnTo>
                  <a:pt x="110" y="41"/>
                </a:lnTo>
                <a:lnTo>
                  <a:pt x="109" y="42"/>
                </a:lnTo>
                <a:lnTo>
                  <a:pt x="109" y="43"/>
                </a:lnTo>
                <a:lnTo>
                  <a:pt x="108" y="45"/>
                </a:lnTo>
                <a:lnTo>
                  <a:pt x="109" y="46"/>
                </a:lnTo>
                <a:lnTo>
                  <a:pt x="110" y="46"/>
                </a:lnTo>
                <a:lnTo>
                  <a:pt x="110" y="48"/>
                </a:lnTo>
                <a:lnTo>
                  <a:pt x="109" y="49"/>
                </a:lnTo>
                <a:lnTo>
                  <a:pt x="109" y="54"/>
                </a:lnTo>
                <a:lnTo>
                  <a:pt x="108" y="57"/>
                </a:lnTo>
                <a:lnTo>
                  <a:pt x="108" y="58"/>
                </a:lnTo>
                <a:lnTo>
                  <a:pt x="106" y="59"/>
                </a:lnTo>
                <a:lnTo>
                  <a:pt x="105" y="61"/>
                </a:lnTo>
                <a:lnTo>
                  <a:pt x="108" y="66"/>
                </a:lnTo>
                <a:lnTo>
                  <a:pt x="108" y="67"/>
                </a:lnTo>
                <a:lnTo>
                  <a:pt x="109" y="67"/>
                </a:lnTo>
                <a:lnTo>
                  <a:pt x="109" y="66"/>
                </a:lnTo>
                <a:lnTo>
                  <a:pt x="110" y="66"/>
                </a:lnTo>
                <a:lnTo>
                  <a:pt x="112" y="69"/>
                </a:lnTo>
                <a:lnTo>
                  <a:pt x="112" y="70"/>
                </a:lnTo>
                <a:lnTo>
                  <a:pt x="114" y="71"/>
                </a:lnTo>
                <a:lnTo>
                  <a:pt x="115" y="71"/>
                </a:lnTo>
                <a:lnTo>
                  <a:pt x="116" y="72"/>
                </a:lnTo>
                <a:lnTo>
                  <a:pt x="116" y="76"/>
                </a:lnTo>
                <a:lnTo>
                  <a:pt x="117" y="76"/>
                </a:lnTo>
                <a:lnTo>
                  <a:pt x="117" y="77"/>
                </a:lnTo>
                <a:lnTo>
                  <a:pt x="119" y="77"/>
                </a:lnTo>
                <a:lnTo>
                  <a:pt x="119" y="76"/>
                </a:lnTo>
                <a:lnTo>
                  <a:pt x="121" y="74"/>
                </a:lnTo>
                <a:lnTo>
                  <a:pt x="121" y="73"/>
                </a:lnTo>
                <a:lnTo>
                  <a:pt x="123" y="73"/>
                </a:lnTo>
                <a:lnTo>
                  <a:pt x="124" y="74"/>
                </a:lnTo>
                <a:lnTo>
                  <a:pt x="124" y="76"/>
                </a:lnTo>
                <a:lnTo>
                  <a:pt x="125" y="77"/>
                </a:lnTo>
                <a:lnTo>
                  <a:pt x="125" y="78"/>
                </a:lnTo>
                <a:lnTo>
                  <a:pt x="124" y="79"/>
                </a:lnTo>
                <a:lnTo>
                  <a:pt x="123" y="79"/>
                </a:lnTo>
                <a:lnTo>
                  <a:pt x="123" y="80"/>
                </a:lnTo>
                <a:lnTo>
                  <a:pt x="124" y="84"/>
                </a:lnTo>
                <a:lnTo>
                  <a:pt x="123" y="85"/>
                </a:lnTo>
                <a:lnTo>
                  <a:pt x="123" y="86"/>
                </a:lnTo>
                <a:lnTo>
                  <a:pt x="121" y="86"/>
                </a:lnTo>
                <a:lnTo>
                  <a:pt x="121" y="88"/>
                </a:lnTo>
                <a:lnTo>
                  <a:pt x="122" y="90"/>
                </a:lnTo>
                <a:lnTo>
                  <a:pt x="123" y="90"/>
                </a:lnTo>
                <a:lnTo>
                  <a:pt x="123" y="89"/>
                </a:lnTo>
                <a:lnTo>
                  <a:pt x="125" y="89"/>
                </a:lnTo>
                <a:lnTo>
                  <a:pt x="125" y="92"/>
                </a:lnTo>
                <a:lnTo>
                  <a:pt x="124" y="94"/>
                </a:lnTo>
                <a:lnTo>
                  <a:pt x="124" y="98"/>
                </a:lnTo>
                <a:lnTo>
                  <a:pt x="127" y="98"/>
                </a:lnTo>
                <a:lnTo>
                  <a:pt x="127" y="100"/>
                </a:lnTo>
                <a:lnTo>
                  <a:pt x="130" y="100"/>
                </a:lnTo>
                <a:lnTo>
                  <a:pt x="130" y="101"/>
                </a:lnTo>
                <a:lnTo>
                  <a:pt x="133" y="103"/>
                </a:lnTo>
                <a:lnTo>
                  <a:pt x="136" y="103"/>
                </a:lnTo>
                <a:lnTo>
                  <a:pt x="137" y="104"/>
                </a:lnTo>
                <a:lnTo>
                  <a:pt x="137" y="106"/>
                </a:lnTo>
                <a:lnTo>
                  <a:pt x="140" y="106"/>
                </a:lnTo>
                <a:lnTo>
                  <a:pt x="140" y="109"/>
                </a:lnTo>
                <a:lnTo>
                  <a:pt x="141" y="109"/>
                </a:lnTo>
                <a:lnTo>
                  <a:pt x="141" y="111"/>
                </a:lnTo>
                <a:lnTo>
                  <a:pt x="140" y="115"/>
                </a:lnTo>
                <a:lnTo>
                  <a:pt x="140" y="119"/>
                </a:lnTo>
                <a:lnTo>
                  <a:pt x="141" y="120"/>
                </a:lnTo>
                <a:lnTo>
                  <a:pt x="140" y="121"/>
                </a:lnTo>
                <a:lnTo>
                  <a:pt x="139" y="121"/>
                </a:lnTo>
                <a:lnTo>
                  <a:pt x="139" y="123"/>
                </a:lnTo>
                <a:lnTo>
                  <a:pt x="141" y="125"/>
                </a:lnTo>
                <a:lnTo>
                  <a:pt x="141" y="126"/>
                </a:lnTo>
                <a:lnTo>
                  <a:pt x="142" y="126"/>
                </a:lnTo>
                <a:lnTo>
                  <a:pt x="142" y="125"/>
                </a:lnTo>
                <a:lnTo>
                  <a:pt x="143" y="125"/>
                </a:lnTo>
                <a:lnTo>
                  <a:pt x="143" y="127"/>
                </a:lnTo>
                <a:lnTo>
                  <a:pt x="146" y="128"/>
                </a:lnTo>
                <a:lnTo>
                  <a:pt x="146" y="129"/>
                </a:lnTo>
                <a:lnTo>
                  <a:pt x="148" y="129"/>
                </a:lnTo>
                <a:lnTo>
                  <a:pt x="147" y="132"/>
                </a:lnTo>
                <a:lnTo>
                  <a:pt x="146" y="133"/>
                </a:lnTo>
                <a:lnTo>
                  <a:pt x="137" y="133"/>
                </a:lnTo>
                <a:lnTo>
                  <a:pt x="136" y="134"/>
                </a:lnTo>
                <a:lnTo>
                  <a:pt x="135" y="134"/>
                </a:lnTo>
                <a:lnTo>
                  <a:pt x="135" y="132"/>
                </a:lnTo>
                <a:lnTo>
                  <a:pt x="134" y="131"/>
                </a:lnTo>
                <a:lnTo>
                  <a:pt x="134" y="129"/>
                </a:lnTo>
                <a:lnTo>
                  <a:pt x="131" y="127"/>
                </a:lnTo>
                <a:lnTo>
                  <a:pt x="130" y="127"/>
                </a:lnTo>
                <a:lnTo>
                  <a:pt x="130" y="129"/>
                </a:lnTo>
                <a:lnTo>
                  <a:pt x="128" y="129"/>
                </a:lnTo>
                <a:lnTo>
                  <a:pt x="128" y="133"/>
                </a:lnTo>
                <a:lnTo>
                  <a:pt x="125" y="133"/>
                </a:lnTo>
                <a:lnTo>
                  <a:pt x="124" y="132"/>
                </a:lnTo>
                <a:lnTo>
                  <a:pt x="124" y="131"/>
                </a:lnTo>
                <a:lnTo>
                  <a:pt x="123" y="131"/>
                </a:lnTo>
                <a:lnTo>
                  <a:pt x="123" y="129"/>
                </a:lnTo>
                <a:lnTo>
                  <a:pt x="121" y="129"/>
                </a:lnTo>
                <a:lnTo>
                  <a:pt x="121" y="126"/>
                </a:lnTo>
                <a:lnTo>
                  <a:pt x="119" y="126"/>
                </a:lnTo>
                <a:lnTo>
                  <a:pt x="116" y="129"/>
                </a:lnTo>
                <a:lnTo>
                  <a:pt x="115" y="129"/>
                </a:lnTo>
                <a:lnTo>
                  <a:pt x="114" y="127"/>
                </a:lnTo>
                <a:lnTo>
                  <a:pt x="112" y="128"/>
                </a:lnTo>
                <a:lnTo>
                  <a:pt x="112" y="131"/>
                </a:lnTo>
                <a:lnTo>
                  <a:pt x="110" y="133"/>
                </a:lnTo>
                <a:lnTo>
                  <a:pt x="109" y="133"/>
                </a:lnTo>
                <a:lnTo>
                  <a:pt x="109" y="122"/>
                </a:lnTo>
                <a:lnTo>
                  <a:pt x="108" y="122"/>
                </a:lnTo>
                <a:lnTo>
                  <a:pt x="104" y="125"/>
                </a:lnTo>
                <a:lnTo>
                  <a:pt x="103" y="125"/>
                </a:lnTo>
                <a:lnTo>
                  <a:pt x="102" y="126"/>
                </a:lnTo>
                <a:lnTo>
                  <a:pt x="98" y="127"/>
                </a:lnTo>
                <a:lnTo>
                  <a:pt x="97" y="129"/>
                </a:lnTo>
                <a:lnTo>
                  <a:pt x="97" y="133"/>
                </a:lnTo>
                <a:lnTo>
                  <a:pt x="98" y="135"/>
                </a:lnTo>
                <a:lnTo>
                  <a:pt x="98" y="140"/>
                </a:lnTo>
                <a:lnTo>
                  <a:pt x="102" y="144"/>
                </a:lnTo>
                <a:lnTo>
                  <a:pt x="100" y="146"/>
                </a:lnTo>
                <a:lnTo>
                  <a:pt x="98" y="149"/>
                </a:lnTo>
                <a:lnTo>
                  <a:pt x="98" y="151"/>
                </a:lnTo>
                <a:lnTo>
                  <a:pt x="99" y="154"/>
                </a:lnTo>
                <a:lnTo>
                  <a:pt x="99" y="156"/>
                </a:lnTo>
                <a:lnTo>
                  <a:pt x="98" y="156"/>
                </a:lnTo>
                <a:lnTo>
                  <a:pt x="90" y="158"/>
                </a:lnTo>
                <a:lnTo>
                  <a:pt x="89" y="159"/>
                </a:lnTo>
                <a:lnTo>
                  <a:pt x="89" y="160"/>
                </a:lnTo>
                <a:lnTo>
                  <a:pt x="90" y="162"/>
                </a:lnTo>
                <a:lnTo>
                  <a:pt x="90" y="165"/>
                </a:lnTo>
                <a:lnTo>
                  <a:pt x="89" y="165"/>
                </a:lnTo>
                <a:lnTo>
                  <a:pt x="89" y="166"/>
                </a:lnTo>
                <a:lnTo>
                  <a:pt x="86" y="166"/>
                </a:lnTo>
                <a:lnTo>
                  <a:pt x="86" y="169"/>
                </a:lnTo>
                <a:lnTo>
                  <a:pt x="85" y="170"/>
                </a:lnTo>
                <a:lnTo>
                  <a:pt x="83" y="170"/>
                </a:lnTo>
                <a:lnTo>
                  <a:pt x="81" y="171"/>
                </a:lnTo>
                <a:lnTo>
                  <a:pt x="83" y="171"/>
                </a:lnTo>
                <a:lnTo>
                  <a:pt x="83" y="172"/>
                </a:lnTo>
                <a:lnTo>
                  <a:pt x="80" y="172"/>
                </a:lnTo>
                <a:lnTo>
                  <a:pt x="80" y="174"/>
                </a:lnTo>
                <a:lnTo>
                  <a:pt x="79" y="174"/>
                </a:lnTo>
                <a:lnTo>
                  <a:pt x="79" y="175"/>
                </a:lnTo>
                <a:lnTo>
                  <a:pt x="78" y="176"/>
                </a:lnTo>
                <a:lnTo>
                  <a:pt x="79" y="176"/>
                </a:lnTo>
                <a:lnTo>
                  <a:pt x="79" y="177"/>
                </a:lnTo>
                <a:lnTo>
                  <a:pt x="80" y="177"/>
                </a:lnTo>
                <a:lnTo>
                  <a:pt x="80" y="180"/>
                </a:lnTo>
                <a:lnTo>
                  <a:pt x="81" y="181"/>
                </a:lnTo>
                <a:lnTo>
                  <a:pt x="80" y="181"/>
                </a:lnTo>
                <a:lnTo>
                  <a:pt x="80" y="182"/>
                </a:lnTo>
                <a:lnTo>
                  <a:pt x="79" y="182"/>
                </a:lnTo>
                <a:lnTo>
                  <a:pt x="80" y="184"/>
                </a:lnTo>
                <a:lnTo>
                  <a:pt x="79" y="186"/>
                </a:lnTo>
                <a:lnTo>
                  <a:pt x="75" y="186"/>
                </a:lnTo>
                <a:lnTo>
                  <a:pt x="73" y="184"/>
                </a:lnTo>
                <a:lnTo>
                  <a:pt x="69" y="184"/>
                </a:lnTo>
                <a:lnTo>
                  <a:pt x="67" y="186"/>
                </a:lnTo>
                <a:lnTo>
                  <a:pt x="67" y="188"/>
                </a:lnTo>
                <a:lnTo>
                  <a:pt x="66" y="187"/>
                </a:lnTo>
                <a:lnTo>
                  <a:pt x="66" y="186"/>
                </a:lnTo>
                <a:lnTo>
                  <a:pt x="65" y="184"/>
                </a:lnTo>
                <a:lnTo>
                  <a:pt x="65" y="182"/>
                </a:lnTo>
                <a:lnTo>
                  <a:pt x="63" y="181"/>
                </a:lnTo>
                <a:lnTo>
                  <a:pt x="61" y="180"/>
                </a:lnTo>
                <a:lnTo>
                  <a:pt x="62" y="178"/>
                </a:lnTo>
                <a:lnTo>
                  <a:pt x="65" y="178"/>
                </a:lnTo>
                <a:lnTo>
                  <a:pt x="66" y="177"/>
                </a:lnTo>
                <a:lnTo>
                  <a:pt x="65" y="177"/>
                </a:lnTo>
                <a:lnTo>
                  <a:pt x="65" y="169"/>
                </a:lnTo>
                <a:lnTo>
                  <a:pt x="63" y="168"/>
                </a:lnTo>
                <a:lnTo>
                  <a:pt x="63" y="158"/>
                </a:lnTo>
                <a:lnTo>
                  <a:pt x="62" y="156"/>
                </a:lnTo>
                <a:lnTo>
                  <a:pt x="62" y="150"/>
                </a:lnTo>
                <a:lnTo>
                  <a:pt x="63" y="150"/>
                </a:lnTo>
                <a:lnTo>
                  <a:pt x="63" y="146"/>
                </a:lnTo>
                <a:lnTo>
                  <a:pt x="65" y="144"/>
                </a:lnTo>
                <a:lnTo>
                  <a:pt x="63" y="144"/>
                </a:lnTo>
                <a:lnTo>
                  <a:pt x="63" y="139"/>
                </a:lnTo>
                <a:lnTo>
                  <a:pt x="65" y="139"/>
                </a:lnTo>
                <a:lnTo>
                  <a:pt x="66" y="138"/>
                </a:lnTo>
                <a:lnTo>
                  <a:pt x="66" y="134"/>
                </a:lnTo>
                <a:lnTo>
                  <a:pt x="67" y="134"/>
                </a:lnTo>
                <a:lnTo>
                  <a:pt x="67" y="132"/>
                </a:lnTo>
                <a:lnTo>
                  <a:pt x="68" y="132"/>
                </a:lnTo>
                <a:lnTo>
                  <a:pt x="68" y="126"/>
                </a:lnTo>
                <a:lnTo>
                  <a:pt x="67" y="125"/>
                </a:lnTo>
                <a:lnTo>
                  <a:pt x="67" y="122"/>
                </a:lnTo>
                <a:lnTo>
                  <a:pt x="68" y="122"/>
                </a:lnTo>
                <a:lnTo>
                  <a:pt x="68" y="115"/>
                </a:lnTo>
                <a:lnTo>
                  <a:pt x="66" y="110"/>
                </a:lnTo>
                <a:lnTo>
                  <a:pt x="66" y="109"/>
                </a:lnTo>
                <a:lnTo>
                  <a:pt x="65" y="106"/>
                </a:lnTo>
                <a:lnTo>
                  <a:pt x="63" y="104"/>
                </a:lnTo>
                <a:lnTo>
                  <a:pt x="63" y="101"/>
                </a:lnTo>
                <a:lnTo>
                  <a:pt x="62" y="100"/>
                </a:lnTo>
                <a:lnTo>
                  <a:pt x="62" y="96"/>
                </a:lnTo>
                <a:lnTo>
                  <a:pt x="60" y="94"/>
                </a:lnTo>
                <a:lnTo>
                  <a:pt x="60" y="92"/>
                </a:lnTo>
                <a:lnTo>
                  <a:pt x="58" y="92"/>
                </a:lnTo>
                <a:lnTo>
                  <a:pt x="56" y="91"/>
                </a:lnTo>
                <a:lnTo>
                  <a:pt x="55" y="91"/>
                </a:lnTo>
                <a:lnTo>
                  <a:pt x="55" y="90"/>
                </a:lnTo>
                <a:lnTo>
                  <a:pt x="53" y="88"/>
                </a:lnTo>
                <a:lnTo>
                  <a:pt x="52" y="88"/>
                </a:lnTo>
                <a:lnTo>
                  <a:pt x="52" y="86"/>
                </a:lnTo>
                <a:lnTo>
                  <a:pt x="49" y="84"/>
                </a:lnTo>
                <a:lnTo>
                  <a:pt x="50" y="84"/>
                </a:lnTo>
                <a:lnTo>
                  <a:pt x="50" y="83"/>
                </a:lnTo>
                <a:lnTo>
                  <a:pt x="48" y="80"/>
                </a:lnTo>
                <a:lnTo>
                  <a:pt x="48" y="78"/>
                </a:lnTo>
                <a:lnTo>
                  <a:pt x="47" y="77"/>
                </a:lnTo>
                <a:lnTo>
                  <a:pt x="46" y="77"/>
                </a:lnTo>
                <a:lnTo>
                  <a:pt x="46" y="76"/>
                </a:lnTo>
                <a:lnTo>
                  <a:pt x="43" y="76"/>
                </a:lnTo>
                <a:lnTo>
                  <a:pt x="42" y="74"/>
                </a:lnTo>
                <a:lnTo>
                  <a:pt x="41" y="72"/>
                </a:lnTo>
                <a:lnTo>
                  <a:pt x="41" y="69"/>
                </a:lnTo>
                <a:lnTo>
                  <a:pt x="40" y="69"/>
                </a:lnTo>
                <a:lnTo>
                  <a:pt x="40" y="67"/>
                </a:lnTo>
                <a:lnTo>
                  <a:pt x="41" y="66"/>
                </a:lnTo>
                <a:lnTo>
                  <a:pt x="41" y="65"/>
                </a:lnTo>
                <a:lnTo>
                  <a:pt x="37" y="65"/>
                </a:lnTo>
                <a:lnTo>
                  <a:pt x="37" y="64"/>
                </a:lnTo>
                <a:lnTo>
                  <a:pt x="36" y="64"/>
                </a:lnTo>
                <a:lnTo>
                  <a:pt x="36" y="61"/>
                </a:lnTo>
                <a:lnTo>
                  <a:pt x="35" y="61"/>
                </a:lnTo>
                <a:lnTo>
                  <a:pt x="35" y="59"/>
                </a:lnTo>
                <a:lnTo>
                  <a:pt x="34" y="58"/>
                </a:lnTo>
                <a:lnTo>
                  <a:pt x="32" y="58"/>
                </a:lnTo>
                <a:lnTo>
                  <a:pt x="31" y="57"/>
                </a:lnTo>
                <a:lnTo>
                  <a:pt x="29" y="53"/>
                </a:lnTo>
                <a:lnTo>
                  <a:pt x="28" y="51"/>
                </a:lnTo>
                <a:lnTo>
                  <a:pt x="28" y="49"/>
                </a:lnTo>
                <a:lnTo>
                  <a:pt x="29" y="49"/>
                </a:lnTo>
                <a:lnTo>
                  <a:pt x="28" y="48"/>
                </a:lnTo>
                <a:lnTo>
                  <a:pt x="29" y="48"/>
                </a:lnTo>
                <a:lnTo>
                  <a:pt x="27" y="46"/>
                </a:lnTo>
                <a:lnTo>
                  <a:pt x="27" y="45"/>
                </a:lnTo>
                <a:lnTo>
                  <a:pt x="25" y="43"/>
                </a:lnTo>
                <a:lnTo>
                  <a:pt x="27" y="42"/>
                </a:lnTo>
                <a:lnTo>
                  <a:pt x="25" y="41"/>
                </a:lnTo>
                <a:lnTo>
                  <a:pt x="25" y="39"/>
                </a:lnTo>
                <a:lnTo>
                  <a:pt x="24" y="37"/>
                </a:lnTo>
                <a:lnTo>
                  <a:pt x="23" y="37"/>
                </a:lnTo>
                <a:lnTo>
                  <a:pt x="23" y="36"/>
                </a:lnTo>
                <a:lnTo>
                  <a:pt x="24" y="35"/>
                </a:lnTo>
                <a:lnTo>
                  <a:pt x="23" y="35"/>
                </a:lnTo>
                <a:lnTo>
                  <a:pt x="23" y="33"/>
                </a:lnTo>
                <a:lnTo>
                  <a:pt x="22" y="33"/>
                </a:lnTo>
                <a:lnTo>
                  <a:pt x="22" y="30"/>
                </a:lnTo>
                <a:lnTo>
                  <a:pt x="21" y="31"/>
                </a:lnTo>
                <a:lnTo>
                  <a:pt x="19" y="31"/>
                </a:lnTo>
                <a:lnTo>
                  <a:pt x="19" y="30"/>
                </a:lnTo>
                <a:lnTo>
                  <a:pt x="21" y="30"/>
                </a:lnTo>
                <a:lnTo>
                  <a:pt x="21" y="29"/>
                </a:lnTo>
                <a:lnTo>
                  <a:pt x="19" y="29"/>
                </a:lnTo>
                <a:lnTo>
                  <a:pt x="18" y="28"/>
                </a:lnTo>
                <a:lnTo>
                  <a:pt x="18" y="27"/>
                </a:lnTo>
                <a:lnTo>
                  <a:pt x="17" y="26"/>
                </a:lnTo>
                <a:lnTo>
                  <a:pt x="18" y="26"/>
                </a:lnTo>
                <a:lnTo>
                  <a:pt x="18" y="23"/>
                </a:lnTo>
                <a:lnTo>
                  <a:pt x="15" y="23"/>
                </a:lnTo>
                <a:lnTo>
                  <a:pt x="15" y="22"/>
                </a:lnTo>
                <a:lnTo>
                  <a:pt x="16" y="22"/>
                </a:lnTo>
                <a:lnTo>
                  <a:pt x="16" y="21"/>
                </a:lnTo>
                <a:lnTo>
                  <a:pt x="15" y="21"/>
                </a:lnTo>
                <a:lnTo>
                  <a:pt x="15" y="20"/>
                </a:lnTo>
                <a:lnTo>
                  <a:pt x="12" y="20"/>
                </a:lnTo>
                <a:lnTo>
                  <a:pt x="12" y="18"/>
                </a:lnTo>
                <a:lnTo>
                  <a:pt x="10" y="17"/>
                </a:lnTo>
                <a:lnTo>
                  <a:pt x="9" y="16"/>
                </a:lnTo>
                <a:lnTo>
                  <a:pt x="5" y="16"/>
                </a:lnTo>
                <a:lnTo>
                  <a:pt x="5" y="15"/>
                </a:lnTo>
                <a:lnTo>
                  <a:pt x="0" y="15"/>
                </a:lnTo>
                <a:lnTo>
                  <a:pt x="0" y="14"/>
                </a:lnTo>
                <a:lnTo>
                  <a:pt x="3" y="12"/>
                </a:lnTo>
                <a:lnTo>
                  <a:pt x="3" y="11"/>
                </a:lnTo>
                <a:lnTo>
                  <a:pt x="4" y="11"/>
                </a:lnTo>
                <a:lnTo>
                  <a:pt x="4" y="12"/>
                </a:lnTo>
                <a:lnTo>
                  <a:pt x="5" y="14"/>
                </a:lnTo>
                <a:lnTo>
                  <a:pt x="7" y="14"/>
                </a:lnTo>
                <a:lnTo>
                  <a:pt x="7" y="10"/>
                </a:lnTo>
                <a:lnTo>
                  <a:pt x="6" y="9"/>
                </a:lnTo>
                <a:lnTo>
                  <a:pt x="7" y="8"/>
                </a:lnTo>
                <a:lnTo>
                  <a:pt x="9" y="9"/>
                </a:lnTo>
                <a:lnTo>
                  <a:pt x="9" y="6"/>
                </a:lnTo>
                <a:lnTo>
                  <a:pt x="10" y="6"/>
                </a:lnTo>
                <a:lnTo>
                  <a:pt x="13" y="10"/>
                </a:lnTo>
                <a:lnTo>
                  <a:pt x="16" y="9"/>
                </a:lnTo>
                <a:lnTo>
                  <a:pt x="17" y="9"/>
                </a:lnTo>
                <a:lnTo>
                  <a:pt x="17" y="6"/>
                </a:lnTo>
                <a:lnTo>
                  <a:pt x="18" y="6"/>
                </a:lnTo>
                <a:lnTo>
                  <a:pt x="19" y="8"/>
                </a:lnTo>
                <a:lnTo>
                  <a:pt x="23" y="9"/>
                </a:lnTo>
                <a:lnTo>
                  <a:pt x="25" y="9"/>
                </a:lnTo>
                <a:lnTo>
                  <a:pt x="30" y="4"/>
                </a:lnTo>
                <a:lnTo>
                  <a:pt x="31" y="4"/>
                </a:lnTo>
                <a:lnTo>
                  <a:pt x="32" y="5"/>
                </a:lnTo>
                <a:lnTo>
                  <a:pt x="34" y="5"/>
                </a:lnTo>
                <a:lnTo>
                  <a:pt x="37" y="2"/>
                </a:lnTo>
                <a:lnTo>
                  <a:pt x="40" y="2"/>
                </a:lnTo>
                <a:lnTo>
                  <a:pt x="41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7" name="Freeform 27">
            <a:extLst>
              <a:ext uri="{FF2B5EF4-FFF2-40B4-BE49-F238E27FC236}">
                <a16:creationId xmlns:a16="http://schemas.microsoft.com/office/drawing/2014/main" id="{28077A5A-6E91-4011-B36F-DA5980159CF2}"/>
              </a:ext>
            </a:extLst>
          </p:cNvPr>
          <p:cNvSpPr>
            <a:spLocks noEditPoints="1"/>
          </p:cNvSpPr>
          <p:nvPr/>
        </p:nvSpPr>
        <p:spPr bwMode="auto">
          <a:xfrm>
            <a:off x="2099611" y="5886897"/>
            <a:ext cx="21735" cy="20285"/>
          </a:xfrm>
          <a:custGeom>
            <a:avLst/>
            <a:gdLst/>
            <a:ahLst/>
            <a:cxnLst>
              <a:cxn ang="0">
                <a:pos x="6" y="6"/>
              </a:cxn>
              <a:cxn ang="0">
                <a:pos x="11" y="6"/>
              </a:cxn>
              <a:cxn ang="0">
                <a:pos x="13" y="8"/>
              </a:cxn>
              <a:cxn ang="0">
                <a:pos x="13" y="10"/>
              </a:cxn>
              <a:cxn ang="0">
                <a:pos x="14" y="10"/>
              </a:cxn>
              <a:cxn ang="0">
                <a:pos x="15" y="11"/>
              </a:cxn>
              <a:cxn ang="0">
                <a:pos x="15" y="13"/>
              </a:cxn>
              <a:cxn ang="0">
                <a:pos x="14" y="13"/>
              </a:cxn>
              <a:cxn ang="0">
                <a:pos x="14" y="14"/>
              </a:cxn>
              <a:cxn ang="0">
                <a:pos x="12" y="14"/>
              </a:cxn>
              <a:cxn ang="0">
                <a:pos x="9" y="13"/>
              </a:cxn>
              <a:cxn ang="0">
                <a:pos x="7" y="11"/>
              </a:cxn>
              <a:cxn ang="0">
                <a:pos x="6" y="11"/>
              </a:cxn>
              <a:cxn ang="0">
                <a:pos x="6" y="6"/>
              </a:cxn>
              <a:cxn ang="0">
                <a:pos x="6" y="5"/>
              </a:cxn>
              <a:cxn ang="0">
                <a:pos x="7" y="5"/>
              </a:cxn>
              <a:cxn ang="0">
                <a:pos x="6" y="6"/>
              </a:cxn>
              <a:cxn ang="0">
                <a:pos x="5" y="6"/>
              </a:cxn>
              <a:cxn ang="0">
                <a:pos x="6" y="5"/>
              </a:cxn>
              <a:cxn ang="0">
                <a:pos x="0" y="0"/>
              </a:cxn>
              <a:cxn ang="0">
                <a:pos x="3" y="0"/>
              </a:cxn>
              <a:cxn ang="0">
                <a:pos x="6" y="2"/>
              </a:cxn>
              <a:cxn ang="0">
                <a:pos x="5" y="2"/>
              </a:cxn>
              <a:cxn ang="0">
                <a:pos x="3" y="4"/>
              </a:cxn>
              <a:cxn ang="0">
                <a:pos x="1" y="4"/>
              </a:cxn>
              <a:cxn ang="0">
                <a:pos x="0" y="2"/>
              </a:cxn>
              <a:cxn ang="0">
                <a:pos x="0" y="0"/>
              </a:cxn>
            </a:cxnLst>
            <a:rect l="0" t="0" r="r" b="b"/>
            <a:pathLst>
              <a:path w="15" h="14">
                <a:moveTo>
                  <a:pt x="6" y="6"/>
                </a:moveTo>
                <a:lnTo>
                  <a:pt x="11" y="6"/>
                </a:lnTo>
                <a:lnTo>
                  <a:pt x="13" y="8"/>
                </a:lnTo>
                <a:lnTo>
                  <a:pt x="13" y="10"/>
                </a:lnTo>
                <a:lnTo>
                  <a:pt x="14" y="10"/>
                </a:lnTo>
                <a:lnTo>
                  <a:pt x="15" y="11"/>
                </a:lnTo>
                <a:lnTo>
                  <a:pt x="15" y="13"/>
                </a:lnTo>
                <a:lnTo>
                  <a:pt x="14" y="13"/>
                </a:lnTo>
                <a:lnTo>
                  <a:pt x="14" y="14"/>
                </a:lnTo>
                <a:lnTo>
                  <a:pt x="12" y="14"/>
                </a:lnTo>
                <a:lnTo>
                  <a:pt x="9" y="13"/>
                </a:lnTo>
                <a:lnTo>
                  <a:pt x="7" y="11"/>
                </a:lnTo>
                <a:lnTo>
                  <a:pt x="6" y="11"/>
                </a:lnTo>
                <a:lnTo>
                  <a:pt x="6" y="6"/>
                </a:lnTo>
                <a:close/>
                <a:moveTo>
                  <a:pt x="6" y="5"/>
                </a:moveTo>
                <a:lnTo>
                  <a:pt x="7" y="5"/>
                </a:lnTo>
                <a:lnTo>
                  <a:pt x="6" y="6"/>
                </a:lnTo>
                <a:lnTo>
                  <a:pt x="5" y="6"/>
                </a:lnTo>
                <a:lnTo>
                  <a:pt x="6" y="5"/>
                </a:lnTo>
                <a:close/>
                <a:moveTo>
                  <a:pt x="0" y="0"/>
                </a:moveTo>
                <a:lnTo>
                  <a:pt x="3" y="0"/>
                </a:lnTo>
                <a:lnTo>
                  <a:pt x="6" y="2"/>
                </a:lnTo>
                <a:lnTo>
                  <a:pt x="5" y="2"/>
                </a:lnTo>
                <a:lnTo>
                  <a:pt x="3" y="4"/>
                </a:lnTo>
                <a:lnTo>
                  <a:pt x="1" y="4"/>
                </a:lnTo>
                <a:lnTo>
                  <a:pt x="0" y="2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8" name="Freeform 28">
            <a:extLst>
              <a:ext uri="{FF2B5EF4-FFF2-40B4-BE49-F238E27FC236}">
                <a16:creationId xmlns:a16="http://schemas.microsoft.com/office/drawing/2014/main" id="{7D53529C-DB35-42DD-960B-A04EDDDBAC0E}"/>
              </a:ext>
            </a:extLst>
          </p:cNvPr>
          <p:cNvSpPr>
            <a:spLocks/>
          </p:cNvSpPr>
          <p:nvPr/>
        </p:nvSpPr>
        <p:spPr bwMode="auto">
          <a:xfrm>
            <a:off x="2480682" y="5389911"/>
            <a:ext cx="157935" cy="124609"/>
          </a:xfrm>
          <a:custGeom>
            <a:avLst/>
            <a:gdLst/>
            <a:ahLst/>
            <a:cxnLst>
              <a:cxn ang="0">
                <a:pos x="78" y="3"/>
              </a:cxn>
              <a:cxn ang="0">
                <a:pos x="80" y="4"/>
              </a:cxn>
              <a:cxn ang="0">
                <a:pos x="87" y="13"/>
              </a:cxn>
              <a:cxn ang="0">
                <a:pos x="94" y="18"/>
              </a:cxn>
              <a:cxn ang="0">
                <a:pos x="99" y="19"/>
              </a:cxn>
              <a:cxn ang="0">
                <a:pos x="102" y="22"/>
              </a:cxn>
              <a:cxn ang="0">
                <a:pos x="104" y="29"/>
              </a:cxn>
              <a:cxn ang="0">
                <a:pos x="108" y="35"/>
              </a:cxn>
              <a:cxn ang="0">
                <a:pos x="108" y="40"/>
              </a:cxn>
              <a:cxn ang="0">
                <a:pos x="105" y="46"/>
              </a:cxn>
              <a:cxn ang="0">
                <a:pos x="105" y="55"/>
              </a:cxn>
              <a:cxn ang="0">
                <a:pos x="99" y="59"/>
              </a:cxn>
              <a:cxn ang="0">
                <a:pos x="97" y="62"/>
              </a:cxn>
              <a:cxn ang="0">
                <a:pos x="96" y="70"/>
              </a:cxn>
              <a:cxn ang="0">
                <a:pos x="92" y="68"/>
              </a:cxn>
              <a:cxn ang="0">
                <a:pos x="90" y="72"/>
              </a:cxn>
              <a:cxn ang="0">
                <a:pos x="86" y="72"/>
              </a:cxn>
              <a:cxn ang="0">
                <a:pos x="79" y="71"/>
              </a:cxn>
              <a:cxn ang="0">
                <a:pos x="75" y="68"/>
              </a:cxn>
              <a:cxn ang="0">
                <a:pos x="72" y="71"/>
              </a:cxn>
              <a:cxn ang="0">
                <a:pos x="67" y="70"/>
              </a:cxn>
              <a:cxn ang="0">
                <a:pos x="63" y="72"/>
              </a:cxn>
              <a:cxn ang="0">
                <a:pos x="61" y="76"/>
              </a:cxn>
              <a:cxn ang="0">
                <a:pos x="56" y="82"/>
              </a:cxn>
              <a:cxn ang="0">
                <a:pos x="53" y="82"/>
              </a:cxn>
              <a:cxn ang="0">
                <a:pos x="50" y="84"/>
              </a:cxn>
              <a:cxn ang="0">
                <a:pos x="46" y="84"/>
              </a:cxn>
              <a:cxn ang="0">
                <a:pos x="38" y="85"/>
              </a:cxn>
              <a:cxn ang="0">
                <a:pos x="35" y="85"/>
              </a:cxn>
              <a:cxn ang="0">
                <a:pos x="23" y="86"/>
              </a:cxn>
              <a:cxn ang="0">
                <a:pos x="22" y="83"/>
              </a:cxn>
              <a:cxn ang="0">
                <a:pos x="12" y="84"/>
              </a:cxn>
              <a:cxn ang="0">
                <a:pos x="11" y="78"/>
              </a:cxn>
              <a:cxn ang="0">
                <a:pos x="6" y="73"/>
              </a:cxn>
              <a:cxn ang="0">
                <a:pos x="5" y="68"/>
              </a:cxn>
              <a:cxn ang="0">
                <a:pos x="3" y="61"/>
              </a:cxn>
              <a:cxn ang="0">
                <a:pos x="4" y="59"/>
              </a:cxn>
              <a:cxn ang="0">
                <a:pos x="5" y="55"/>
              </a:cxn>
              <a:cxn ang="0">
                <a:pos x="3" y="54"/>
              </a:cxn>
              <a:cxn ang="0">
                <a:pos x="1" y="50"/>
              </a:cxn>
              <a:cxn ang="0">
                <a:pos x="3" y="47"/>
              </a:cxn>
              <a:cxn ang="0">
                <a:pos x="3" y="41"/>
              </a:cxn>
              <a:cxn ang="0">
                <a:pos x="5" y="30"/>
              </a:cxn>
              <a:cxn ang="0">
                <a:pos x="9" y="30"/>
              </a:cxn>
              <a:cxn ang="0">
                <a:pos x="10" y="30"/>
              </a:cxn>
              <a:cxn ang="0">
                <a:pos x="13" y="28"/>
              </a:cxn>
              <a:cxn ang="0">
                <a:pos x="15" y="17"/>
              </a:cxn>
              <a:cxn ang="0">
                <a:pos x="23" y="15"/>
              </a:cxn>
              <a:cxn ang="0">
                <a:pos x="25" y="12"/>
              </a:cxn>
              <a:cxn ang="0">
                <a:pos x="31" y="12"/>
              </a:cxn>
              <a:cxn ang="0">
                <a:pos x="34" y="16"/>
              </a:cxn>
              <a:cxn ang="0">
                <a:pos x="36" y="16"/>
              </a:cxn>
              <a:cxn ang="0">
                <a:pos x="36" y="13"/>
              </a:cxn>
              <a:cxn ang="0">
                <a:pos x="42" y="10"/>
              </a:cxn>
              <a:cxn ang="0">
                <a:pos x="43" y="9"/>
              </a:cxn>
              <a:cxn ang="0">
                <a:pos x="46" y="9"/>
              </a:cxn>
              <a:cxn ang="0">
                <a:pos x="52" y="9"/>
              </a:cxn>
              <a:cxn ang="0">
                <a:pos x="54" y="7"/>
              </a:cxn>
              <a:cxn ang="0">
                <a:pos x="62" y="3"/>
              </a:cxn>
              <a:cxn ang="0">
                <a:pos x="67" y="5"/>
              </a:cxn>
              <a:cxn ang="0">
                <a:pos x="77" y="1"/>
              </a:cxn>
            </a:cxnLst>
            <a:rect l="0" t="0" r="r" b="b"/>
            <a:pathLst>
              <a:path w="109" h="86">
                <a:moveTo>
                  <a:pt x="77" y="0"/>
                </a:moveTo>
                <a:lnTo>
                  <a:pt x="78" y="0"/>
                </a:lnTo>
                <a:lnTo>
                  <a:pt x="78" y="3"/>
                </a:lnTo>
                <a:lnTo>
                  <a:pt x="79" y="3"/>
                </a:lnTo>
                <a:lnTo>
                  <a:pt x="79" y="4"/>
                </a:lnTo>
                <a:lnTo>
                  <a:pt x="80" y="4"/>
                </a:lnTo>
                <a:lnTo>
                  <a:pt x="85" y="10"/>
                </a:lnTo>
                <a:lnTo>
                  <a:pt x="87" y="12"/>
                </a:lnTo>
                <a:lnTo>
                  <a:pt x="87" y="13"/>
                </a:lnTo>
                <a:lnTo>
                  <a:pt x="88" y="15"/>
                </a:lnTo>
                <a:lnTo>
                  <a:pt x="92" y="17"/>
                </a:lnTo>
                <a:lnTo>
                  <a:pt x="94" y="18"/>
                </a:lnTo>
                <a:lnTo>
                  <a:pt x="96" y="18"/>
                </a:lnTo>
                <a:lnTo>
                  <a:pt x="97" y="19"/>
                </a:lnTo>
                <a:lnTo>
                  <a:pt x="99" y="19"/>
                </a:lnTo>
                <a:lnTo>
                  <a:pt x="99" y="21"/>
                </a:lnTo>
                <a:lnTo>
                  <a:pt x="102" y="21"/>
                </a:lnTo>
                <a:lnTo>
                  <a:pt x="102" y="22"/>
                </a:lnTo>
                <a:lnTo>
                  <a:pt x="103" y="23"/>
                </a:lnTo>
                <a:lnTo>
                  <a:pt x="103" y="29"/>
                </a:lnTo>
                <a:lnTo>
                  <a:pt x="104" y="29"/>
                </a:lnTo>
                <a:lnTo>
                  <a:pt x="104" y="30"/>
                </a:lnTo>
                <a:lnTo>
                  <a:pt x="106" y="35"/>
                </a:lnTo>
                <a:lnTo>
                  <a:pt x="108" y="35"/>
                </a:lnTo>
                <a:lnTo>
                  <a:pt x="109" y="36"/>
                </a:lnTo>
                <a:lnTo>
                  <a:pt x="109" y="39"/>
                </a:lnTo>
                <a:lnTo>
                  <a:pt x="108" y="40"/>
                </a:lnTo>
                <a:lnTo>
                  <a:pt x="108" y="41"/>
                </a:lnTo>
                <a:lnTo>
                  <a:pt x="105" y="43"/>
                </a:lnTo>
                <a:lnTo>
                  <a:pt x="105" y="46"/>
                </a:lnTo>
                <a:lnTo>
                  <a:pt x="106" y="46"/>
                </a:lnTo>
                <a:lnTo>
                  <a:pt x="106" y="55"/>
                </a:lnTo>
                <a:lnTo>
                  <a:pt x="105" y="55"/>
                </a:lnTo>
                <a:lnTo>
                  <a:pt x="106" y="56"/>
                </a:lnTo>
                <a:lnTo>
                  <a:pt x="106" y="59"/>
                </a:lnTo>
                <a:lnTo>
                  <a:pt x="99" y="59"/>
                </a:lnTo>
                <a:lnTo>
                  <a:pt x="98" y="60"/>
                </a:lnTo>
                <a:lnTo>
                  <a:pt x="98" y="62"/>
                </a:lnTo>
                <a:lnTo>
                  <a:pt x="97" y="62"/>
                </a:lnTo>
                <a:lnTo>
                  <a:pt x="97" y="70"/>
                </a:lnTo>
                <a:lnTo>
                  <a:pt x="96" y="71"/>
                </a:lnTo>
                <a:lnTo>
                  <a:pt x="96" y="70"/>
                </a:lnTo>
                <a:lnTo>
                  <a:pt x="94" y="70"/>
                </a:lnTo>
                <a:lnTo>
                  <a:pt x="94" y="68"/>
                </a:lnTo>
                <a:lnTo>
                  <a:pt x="92" y="68"/>
                </a:lnTo>
                <a:lnTo>
                  <a:pt x="92" y="71"/>
                </a:lnTo>
                <a:lnTo>
                  <a:pt x="90" y="71"/>
                </a:lnTo>
                <a:lnTo>
                  <a:pt x="90" y="72"/>
                </a:lnTo>
                <a:lnTo>
                  <a:pt x="88" y="71"/>
                </a:lnTo>
                <a:lnTo>
                  <a:pt x="87" y="71"/>
                </a:lnTo>
                <a:lnTo>
                  <a:pt x="86" y="72"/>
                </a:lnTo>
                <a:lnTo>
                  <a:pt x="84" y="72"/>
                </a:lnTo>
                <a:lnTo>
                  <a:pt x="83" y="71"/>
                </a:lnTo>
                <a:lnTo>
                  <a:pt x="79" y="71"/>
                </a:lnTo>
                <a:lnTo>
                  <a:pt x="79" y="70"/>
                </a:lnTo>
                <a:lnTo>
                  <a:pt x="75" y="70"/>
                </a:lnTo>
                <a:lnTo>
                  <a:pt x="75" y="68"/>
                </a:lnTo>
                <a:lnTo>
                  <a:pt x="74" y="70"/>
                </a:lnTo>
                <a:lnTo>
                  <a:pt x="73" y="70"/>
                </a:lnTo>
                <a:lnTo>
                  <a:pt x="72" y="71"/>
                </a:lnTo>
                <a:lnTo>
                  <a:pt x="68" y="71"/>
                </a:lnTo>
                <a:lnTo>
                  <a:pt x="68" y="70"/>
                </a:lnTo>
                <a:lnTo>
                  <a:pt x="67" y="70"/>
                </a:lnTo>
                <a:lnTo>
                  <a:pt x="67" y="71"/>
                </a:lnTo>
                <a:lnTo>
                  <a:pt x="65" y="71"/>
                </a:lnTo>
                <a:lnTo>
                  <a:pt x="63" y="72"/>
                </a:lnTo>
                <a:lnTo>
                  <a:pt x="62" y="72"/>
                </a:lnTo>
                <a:lnTo>
                  <a:pt x="62" y="76"/>
                </a:lnTo>
                <a:lnTo>
                  <a:pt x="61" y="76"/>
                </a:lnTo>
                <a:lnTo>
                  <a:pt x="57" y="79"/>
                </a:lnTo>
                <a:lnTo>
                  <a:pt x="57" y="82"/>
                </a:lnTo>
                <a:lnTo>
                  <a:pt x="56" y="82"/>
                </a:lnTo>
                <a:lnTo>
                  <a:pt x="56" y="83"/>
                </a:lnTo>
                <a:lnTo>
                  <a:pt x="55" y="83"/>
                </a:lnTo>
                <a:lnTo>
                  <a:pt x="53" y="82"/>
                </a:lnTo>
                <a:lnTo>
                  <a:pt x="52" y="83"/>
                </a:lnTo>
                <a:lnTo>
                  <a:pt x="52" y="84"/>
                </a:lnTo>
                <a:lnTo>
                  <a:pt x="50" y="84"/>
                </a:lnTo>
                <a:lnTo>
                  <a:pt x="49" y="85"/>
                </a:lnTo>
                <a:lnTo>
                  <a:pt x="47" y="85"/>
                </a:lnTo>
                <a:lnTo>
                  <a:pt x="46" y="84"/>
                </a:lnTo>
                <a:lnTo>
                  <a:pt x="42" y="83"/>
                </a:lnTo>
                <a:lnTo>
                  <a:pt x="41" y="83"/>
                </a:lnTo>
                <a:lnTo>
                  <a:pt x="38" y="85"/>
                </a:lnTo>
                <a:lnTo>
                  <a:pt x="36" y="86"/>
                </a:lnTo>
                <a:lnTo>
                  <a:pt x="35" y="86"/>
                </a:lnTo>
                <a:lnTo>
                  <a:pt x="35" y="85"/>
                </a:lnTo>
                <a:lnTo>
                  <a:pt x="31" y="85"/>
                </a:lnTo>
                <a:lnTo>
                  <a:pt x="29" y="86"/>
                </a:lnTo>
                <a:lnTo>
                  <a:pt x="23" y="86"/>
                </a:lnTo>
                <a:lnTo>
                  <a:pt x="23" y="85"/>
                </a:lnTo>
                <a:lnTo>
                  <a:pt x="22" y="84"/>
                </a:lnTo>
                <a:lnTo>
                  <a:pt x="22" y="83"/>
                </a:lnTo>
                <a:lnTo>
                  <a:pt x="16" y="83"/>
                </a:lnTo>
                <a:lnTo>
                  <a:pt x="15" y="84"/>
                </a:lnTo>
                <a:lnTo>
                  <a:pt x="12" y="84"/>
                </a:lnTo>
                <a:lnTo>
                  <a:pt x="12" y="83"/>
                </a:lnTo>
                <a:lnTo>
                  <a:pt x="11" y="82"/>
                </a:lnTo>
                <a:lnTo>
                  <a:pt x="11" y="78"/>
                </a:lnTo>
                <a:lnTo>
                  <a:pt x="10" y="74"/>
                </a:lnTo>
                <a:lnTo>
                  <a:pt x="9" y="73"/>
                </a:lnTo>
                <a:lnTo>
                  <a:pt x="6" y="73"/>
                </a:lnTo>
                <a:lnTo>
                  <a:pt x="6" y="71"/>
                </a:lnTo>
                <a:lnTo>
                  <a:pt x="5" y="70"/>
                </a:lnTo>
                <a:lnTo>
                  <a:pt x="5" y="68"/>
                </a:lnTo>
                <a:lnTo>
                  <a:pt x="4" y="66"/>
                </a:lnTo>
                <a:lnTo>
                  <a:pt x="3" y="65"/>
                </a:lnTo>
                <a:lnTo>
                  <a:pt x="3" y="61"/>
                </a:lnTo>
                <a:lnTo>
                  <a:pt x="1" y="60"/>
                </a:lnTo>
                <a:lnTo>
                  <a:pt x="3" y="59"/>
                </a:lnTo>
                <a:lnTo>
                  <a:pt x="4" y="59"/>
                </a:lnTo>
                <a:lnTo>
                  <a:pt x="4" y="58"/>
                </a:lnTo>
                <a:lnTo>
                  <a:pt x="5" y="56"/>
                </a:lnTo>
                <a:lnTo>
                  <a:pt x="5" y="55"/>
                </a:lnTo>
                <a:lnTo>
                  <a:pt x="4" y="55"/>
                </a:lnTo>
                <a:lnTo>
                  <a:pt x="4" y="54"/>
                </a:lnTo>
                <a:lnTo>
                  <a:pt x="3" y="54"/>
                </a:lnTo>
                <a:lnTo>
                  <a:pt x="3" y="52"/>
                </a:lnTo>
                <a:lnTo>
                  <a:pt x="1" y="52"/>
                </a:lnTo>
                <a:lnTo>
                  <a:pt x="1" y="50"/>
                </a:lnTo>
                <a:lnTo>
                  <a:pt x="0" y="50"/>
                </a:lnTo>
                <a:lnTo>
                  <a:pt x="0" y="47"/>
                </a:lnTo>
                <a:lnTo>
                  <a:pt x="3" y="47"/>
                </a:lnTo>
                <a:lnTo>
                  <a:pt x="4" y="46"/>
                </a:lnTo>
                <a:lnTo>
                  <a:pt x="4" y="42"/>
                </a:lnTo>
                <a:lnTo>
                  <a:pt x="3" y="41"/>
                </a:lnTo>
                <a:lnTo>
                  <a:pt x="3" y="36"/>
                </a:lnTo>
                <a:lnTo>
                  <a:pt x="5" y="34"/>
                </a:lnTo>
                <a:lnTo>
                  <a:pt x="5" y="30"/>
                </a:lnTo>
                <a:lnTo>
                  <a:pt x="6" y="29"/>
                </a:lnTo>
                <a:lnTo>
                  <a:pt x="6" y="30"/>
                </a:lnTo>
                <a:lnTo>
                  <a:pt x="9" y="30"/>
                </a:lnTo>
                <a:lnTo>
                  <a:pt x="9" y="29"/>
                </a:lnTo>
                <a:lnTo>
                  <a:pt x="10" y="29"/>
                </a:lnTo>
                <a:lnTo>
                  <a:pt x="10" y="30"/>
                </a:lnTo>
                <a:lnTo>
                  <a:pt x="12" y="30"/>
                </a:lnTo>
                <a:lnTo>
                  <a:pt x="12" y="29"/>
                </a:lnTo>
                <a:lnTo>
                  <a:pt x="13" y="28"/>
                </a:lnTo>
                <a:lnTo>
                  <a:pt x="13" y="19"/>
                </a:lnTo>
                <a:lnTo>
                  <a:pt x="15" y="18"/>
                </a:lnTo>
                <a:lnTo>
                  <a:pt x="15" y="17"/>
                </a:lnTo>
                <a:lnTo>
                  <a:pt x="16" y="17"/>
                </a:lnTo>
                <a:lnTo>
                  <a:pt x="19" y="15"/>
                </a:lnTo>
                <a:lnTo>
                  <a:pt x="23" y="15"/>
                </a:lnTo>
                <a:lnTo>
                  <a:pt x="24" y="13"/>
                </a:lnTo>
                <a:lnTo>
                  <a:pt x="25" y="13"/>
                </a:lnTo>
                <a:lnTo>
                  <a:pt x="25" y="12"/>
                </a:lnTo>
                <a:lnTo>
                  <a:pt x="27" y="11"/>
                </a:lnTo>
                <a:lnTo>
                  <a:pt x="29" y="11"/>
                </a:lnTo>
                <a:lnTo>
                  <a:pt x="31" y="12"/>
                </a:lnTo>
                <a:lnTo>
                  <a:pt x="32" y="13"/>
                </a:lnTo>
                <a:lnTo>
                  <a:pt x="32" y="15"/>
                </a:lnTo>
                <a:lnTo>
                  <a:pt x="34" y="16"/>
                </a:lnTo>
                <a:lnTo>
                  <a:pt x="35" y="16"/>
                </a:lnTo>
                <a:lnTo>
                  <a:pt x="36" y="17"/>
                </a:lnTo>
                <a:lnTo>
                  <a:pt x="36" y="16"/>
                </a:lnTo>
                <a:lnTo>
                  <a:pt x="37" y="16"/>
                </a:lnTo>
                <a:lnTo>
                  <a:pt x="36" y="15"/>
                </a:lnTo>
                <a:lnTo>
                  <a:pt x="36" y="13"/>
                </a:lnTo>
                <a:lnTo>
                  <a:pt x="38" y="10"/>
                </a:lnTo>
                <a:lnTo>
                  <a:pt x="40" y="9"/>
                </a:lnTo>
                <a:lnTo>
                  <a:pt x="42" y="10"/>
                </a:lnTo>
                <a:lnTo>
                  <a:pt x="42" y="7"/>
                </a:lnTo>
                <a:lnTo>
                  <a:pt x="43" y="7"/>
                </a:lnTo>
                <a:lnTo>
                  <a:pt x="43" y="9"/>
                </a:lnTo>
                <a:lnTo>
                  <a:pt x="44" y="9"/>
                </a:lnTo>
                <a:lnTo>
                  <a:pt x="44" y="7"/>
                </a:lnTo>
                <a:lnTo>
                  <a:pt x="46" y="9"/>
                </a:lnTo>
                <a:lnTo>
                  <a:pt x="48" y="7"/>
                </a:lnTo>
                <a:lnTo>
                  <a:pt x="50" y="7"/>
                </a:lnTo>
                <a:lnTo>
                  <a:pt x="52" y="9"/>
                </a:lnTo>
                <a:lnTo>
                  <a:pt x="53" y="9"/>
                </a:lnTo>
                <a:lnTo>
                  <a:pt x="53" y="7"/>
                </a:lnTo>
                <a:lnTo>
                  <a:pt x="54" y="7"/>
                </a:lnTo>
                <a:lnTo>
                  <a:pt x="59" y="4"/>
                </a:lnTo>
                <a:lnTo>
                  <a:pt x="61" y="4"/>
                </a:lnTo>
                <a:lnTo>
                  <a:pt x="62" y="3"/>
                </a:lnTo>
                <a:lnTo>
                  <a:pt x="63" y="3"/>
                </a:lnTo>
                <a:lnTo>
                  <a:pt x="66" y="4"/>
                </a:lnTo>
                <a:lnTo>
                  <a:pt x="67" y="5"/>
                </a:lnTo>
                <a:lnTo>
                  <a:pt x="68" y="5"/>
                </a:lnTo>
                <a:lnTo>
                  <a:pt x="71" y="4"/>
                </a:lnTo>
                <a:lnTo>
                  <a:pt x="77" y="1"/>
                </a:lnTo>
                <a:lnTo>
                  <a:pt x="77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" name="Freeform 29">
            <a:extLst>
              <a:ext uri="{FF2B5EF4-FFF2-40B4-BE49-F238E27FC236}">
                <a16:creationId xmlns:a16="http://schemas.microsoft.com/office/drawing/2014/main" id="{263C3EF5-159D-4ED1-AC63-5E4350ED25A3}"/>
              </a:ext>
            </a:extLst>
          </p:cNvPr>
          <p:cNvSpPr>
            <a:spLocks/>
          </p:cNvSpPr>
          <p:nvPr/>
        </p:nvSpPr>
        <p:spPr bwMode="auto">
          <a:xfrm>
            <a:off x="1580891" y="4700215"/>
            <a:ext cx="49264" cy="69549"/>
          </a:xfrm>
          <a:custGeom>
            <a:avLst/>
            <a:gdLst/>
            <a:ahLst/>
            <a:cxnLst>
              <a:cxn ang="0">
                <a:pos x="12" y="0"/>
              </a:cxn>
              <a:cxn ang="0">
                <a:pos x="16" y="1"/>
              </a:cxn>
              <a:cxn ang="0">
                <a:pos x="17" y="3"/>
              </a:cxn>
              <a:cxn ang="0">
                <a:pos x="16" y="7"/>
              </a:cxn>
              <a:cxn ang="0">
                <a:pos x="16" y="8"/>
              </a:cxn>
              <a:cxn ang="0">
                <a:pos x="17" y="12"/>
              </a:cxn>
              <a:cxn ang="0">
                <a:pos x="18" y="14"/>
              </a:cxn>
              <a:cxn ang="0">
                <a:pos x="19" y="14"/>
              </a:cxn>
              <a:cxn ang="0">
                <a:pos x="22" y="19"/>
              </a:cxn>
              <a:cxn ang="0">
                <a:pos x="24" y="20"/>
              </a:cxn>
              <a:cxn ang="0">
                <a:pos x="27" y="21"/>
              </a:cxn>
              <a:cxn ang="0">
                <a:pos x="28" y="24"/>
              </a:cxn>
              <a:cxn ang="0">
                <a:pos x="33" y="25"/>
              </a:cxn>
              <a:cxn ang="0">
                <a:pos x="33" y="27"/>
              </a:cxn>
              <a:cxn ang="0">
                <a:pos x="30" y="33"/>
              </a:cxn>
              <a:cxn ang="0">
                <a:pos x="29" y="34"/>
              </a:cxn>
              <a:cxn ang="0">
                <a:pos x="30" y="36"/>
              </a:cxn>
              <a:cxn ang="0">
                <a:pos x="29" y="37"/>
              </a:cxn>
              <a:cxn ang="0">
                <a:pos x="27" y="46"/>
              </a:cxn>
              <a:cxn ang="0">
                <a:pos x="23" y="44"/>
              </a:cxn>
              <a:cxn ang="0">
                <a:pos x="18" y="45"/>
              </a:cxn>
              <a:cxn ang="0">
                <a:pos x="16" y="46"/>
              </a:cxn>
              <a:cxn ang="0">
                <a:pos x="10" y="48"/>
              </a:cxn>
              <a:cxn ang="0">
                <a:pos x="9" y="45"/>
              </a:cxn>
              <a:cxn ang="0">
                <a:pos x="5" y="44"/>
              </a:cxn>
              <a:cxn ang="0">
                <a:pos x="3" y="42"/>
              </a:cxn>
              <a:cxn ang="0">
                <a:pos x="5" y="40"/>
              </a:cxn>
              <a:cxn ang="0">
                <a:pos x="6" y="37"/>
              </a:cxn>
              <a:cxn ang="0">
                <a:pos x="7" y="36"/>
              </a:cxn>
              <a:cxn ang="0">
                <a:pos x="5" y="33"/>
              </a:cxn>
              <a:cxn ang="0">
                <a:pos x="6" y="31"/>
              </a:cxn>
              <a:cxn ang="0">
                <a:pos x="4" y="30"/>
              </a:cxn>
              <a:cxn ang="0">
                <a:pos x="3" y="26"/>
              </a:cxn>
              <a:cxn ang="0">
                <a:pos x="0" y="25"/>
              </a:cxn>
              <a:cxn ang="0">
                <a:pos x="2" y="21"/>
              </a:cxn>
              <a:cxn ang="0">
                <a:pos x="0" y="20"/>
              </a:cxn>
              <a:cxn ang="0">
                <a:pos x="0" y="19"/>
              </a:cxn>
              <a:cxn ang="0">
                <a:pos x="2" y="14"/>
              </a:cxn>
              <a:cxn ang="0">
                <a:pos x="4" y="10"/>
              </a:cxn>
              <a:cxn ang="0">
                <a:pos x="5" y="8"/>
              </a:cxn>
              <a:cxn ang="0">
                <a:pos x="6" y="5"/>
              </a:cxn>
              <a:cxn ang="0">
                <a:pos x="9" y="3"/>
              </a:cxn>
              <a:cxn ang="0">
                <a:pos x="10" y="0"/>
              </a:cxn>
            </a:cxnLst>
            <a:rect l="0" t="0" r="r" b="b"/>
            <a:pathLst>
              <a:path w="34" h="48">
                <a:moveTo>
                  <a:pt x="10" y="0"/>
                </a:moveTo>
                <a:lnTo>
                  <a:pt x="12" y="0"/>
                </a:lnTo>
                <a:lnTo>
                  <a:pt x="12" y="1"/>
                </a:lnTo>
                <a:lnTo>
                  <a:pt x="16" y="1"/>
                </a:lnTo>
                <a:lnTo>
                  <a:pt x="16" y="3"/>
                </a:lnTo>
                <a:lnTo>
                  <a:pt x="17" y="3"/>
                </a:lnTo>
                <a:lnTo>
                  <a:pt x="17" y="5"/>
                </a:lnTo>
                <a:lnTo>
                  <a:pt x="16" y="7"/>
                </a:lnTo>
                <a:lnTo>
                  <a:pt x="17" y="7"/>
                </a:lnTo>
                <a:lnTo>
                  <a:pt x="16" y="8"/>
                </a:lnTo>
                <a:lnTo>
                  <a:pt x="17" y="8"/>
                </a:lnTo>
                <a:lnTo>
                  <a:pt x="17" y="12"/>
                </a:lnTo>
                <a:lnTo>
                  <a:pt x="18" y="13"/>
                </a:lnTo>
                <a:lnTo>
                  <a:pt x="18" y="14"/>
                </a:lnTo>
                <a:lnTo>
                  <a:pt x="19" y="15"/>
                </a:lnTo>
                <a:lnTo>
                  <a:pt x="19" y="14"/>
                </a:lnTo>
                <a:lnTo>
                  <a:pt x="21" y="15"/>
                </a:lnTo>
                <a:lnTo>
                  <a:pt x="22" y="19"/>
                </a:lnTo>
                <a:lnTo>
                  <a:pt x="23" y="20"/>
                </a:lnTo>
                <a:lnTo>
                  <a:pt x="24" y="20"/>
                </a:lnTo>
                <a:lnTo>
                  <a:pt x="24" y="21"/>
                </a:lnTo>
                <a:lnTo>
                  <a:pt x="27" y="21"/>
                </a:lnTo>
                <a:lnTo>
                  <a:pt x="27" y="22"/>
                </a:lnTo>
                <a:lnTo>
                  <a:pt x="28" y="24"/>
                </a:lnTo>
                <a:lnTo>
                  <a:pt x="31" y="24"/>
                </a:lnTo>
                <a:lnTo>
                  <a:pt x="33" y="25"/>
                </a:lnTo>
                <a:lnTo>
                  <a:pt x="34" y="25"/>
                </a:lnTo>
                <a:lnTo>
                  <a:pt x="33" y="27"/>
                </a:lnTo>
                <a:lnTo>
                  <a:pt x="33" y="31"/>
                </a:lnTo>
                <a:lnTo>
                  <a:pt x="30" y="33"/>
                </a:lnTo>
                <a:lnTo>
                  <a:pt x="29" y="33"/>
                </a:lnTo>
                <a:lnTo>
                  <a:pt x="29" y="34"/>
                </a:lnTo>
                <a:lnTo>
                  <a:pt x="30" y="34"/>
                </a:lnTo>
                <a:lnTo>
                  <a:pt x="30" y="36"/>
                </a:lnTo>
                <a:lnTo>
                  <a:pt x="29" y="36"/>
                </a:lnTo>
                <a:lnTo>
                  <a:pt x="29" y="37"/>
                </a:lnTo>
                <a:lnTo>
                  <a:pt x="27" y="39"/>
                </a:lnTo>
                <a:lnTo>
                  <a:pt x="27" y="46"/>
                </a:lnTo>
                <a:lnTo>
                  <a:pt x="24" y="46"/>
                </a:lnTo>
                <a:lnTo>
                  <a:pt x="23" y="44"/>
                </a:lnTo>
                <a:lnTo>
                  <a:pt x="18" y="44"/>
                </a:lnTo>
                <a:lnTo>
                  <a:pt x="18" y="45"/>
                </a:lnTo>
                <a:lnTo>
                  <a:pt x="16" y="45"/>
                </a:lnTo>
                <a:lnTo>
                  <a:pt x="16" y="46"/>
                </a:lnTo>
                <a:lnTo>
                  <a:pt x="15" y="48"/>
                </a:lnTo>
                <a:lnTo>
                  <a:pt x="10" y="48"/>
                </a:lnTo>
                <a:lnTo>
                  <a:pt x="10" y="46"/>
                </a:lnTo>
                <a:lnTo>
                  <a:pt x="9" y="45"/>
                </a:lnTo>
                <a:lnTo>
                  <a:pt x="6" y="44"/>
                </a:lnTo>
                <a:lnTo>
                  <a:pt x="5" y="44"/>
                </a:lnTo>
                <a:lnTo>
                  <a:pt x="5" y="43"/>
                </a:lnTo>
                <a:lnTo>
                  <a:pt x="3" y="42"/>
                </a:lnTo>
                <a:lnTo>
                  <a:pt x="4" y="40"/>
                </a:lnTo>
                <a:lnTo>
                  <a:pt x="5" y="40"/>
                </a:lnTo>
                <a:lnTo>
                  <a:pt x="5" y="38"/>
                </a:lnTo>
                <a:lnTo>
                  <a:pt x="6" y="37"/>
                </a:lnTo>
                <a:lnTo>
                  <a:pt x="6" y="36"/>
                </a:lnTo>
                <a:lnTo>
                  <a:pt x="7" y="36"/>
                </a:lnTo>
                <a:lnTo>
                  <a:pt x="7" y="33"/>
                </a:lnTo>
                <a:lnTo>
                  <a:pt x="5" y="33"/>
                </a:lnTo>
                <a:lnTo>
                  <a:pt x="5" y="32"/>
                </a:lnTo>
                <a:lnTo>
                  <a:pt x="6" y="31"/>
                </a:lnTo>
                <a:lnTo>
                  <a:pt x="6" y="30"/>
                </a:lnTo>
                <a:lnTo>
                  <a:pt x="4" y="30"/>
                </a:lnTo>
                <a:lnTo>
                  <a:pt x="4" y="28"/>
                </a:lnTo>
                <a:lnTo>
                  <a:pt x="3" y="26"/>
                </a:lnTo>
                <a:lnTo>
                  <a:pt x="2" y="25"/>
                </a:lnTo>
                <a:lnTo>
                  <a:pt x="0" y="25"/>
                </a:lnTo>
                <a:lnTo>
                  <a:pt x="0" y="22"/>
                </a:lnTo>
                <a:lnTo>
                  <a:pt x="2" y="21"/>
                </a:lnTo>
                <a:lnTo>
                  <a:pt x="0" y="21"/>
                </a:lnTo>
                <a:lnTo>
                  <a:pt x="0" y="20"/>
                </a:lnTo>
                <a:lnTo>
                  <a:pt x="2" y="20"/>
                </a:lnTo>
                <a:lnTo>
                  <a:pt x="0" y="19"/>
                </a:lnTo>
                <a:lnTo>
                  <a:pt x="2" y="15"/>
                </a:lnTo>
                <a:lnTo>
                  <a:pt x="2" y="14"/>
                </a:lnTo>
                <a:lnTo>
                  <a:pt x="4" y="14"/>
                </a:lnTo>
                <a:lnTo>
                  <a:pt x="4" y="10"/>
                </a:lnTo>
                <a:lnTo>
                  <a:pt x="5" y="10"/>
                </a:lnTo>
                <a:lnTo>
                  <a:pt x="5" y="8"/>
                </a:lnTo>
                <a:lnTo>
                  <a:pt x="6" y="7"/>
                </a:lnTo>
                <a:lnTo>
                  <a:pt x="6" y="5"/>
                </a:lnTo>
                <a:lnTo>
                  <a:pt x="7" y="5"/>
                </a:lnTo>
                <a:lnTo>
                  <a:pt x="9" y="3"/>
                </a:lnTo>
                <a:lnTo>
                  <a:pt x="10" y="3"/>
                </a:lnTo>
                <a:lnTo>
                  <a:pt x="1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" name="Freeform 30">
            <a:extLst>
              <a:ext uri="{FF2B5EF4-FFF2-40B4-BE49-F238E27FC236}">
                <a16:creationId xmlns:a16="http://schemas.microsoft.com/office/drawing/2014/main" id="{1472E933-C019-4C28-8F02-7A11DAF524CC}"/>
              </a:ext>
            </a:extLst>
          </p:cNvPr>
          <p:cNvSpPr>
            <a:spLocks/>
          </p:cNvSpPr>
          <p:nvPr/>
        </p:nvSpPr>
        <p:spPr bwMode="auto">
          <a:xfrm>
            <a:off x="2511110" y="4058334"/>
            <a:ext cx="357889" cy="272401"/>
          </a:xfrm>
          <a:custGeom>
            <a:avLst/>
            <a:gdLst/>
            <a:ahLst/>
            <a:cxnLst>
              <a:cxn ang="0">
                <a:pos x="170" y="10"/>
              </a:cxn>
              <a:cxn ang="0">
                <a:pos x="196" y="22"/>
              </a:cxn>
              <a:cxn ang="0">
                <a:pos x="208" y="33"/>
              </a:cxn>
              <a:cxn ang="0">
                <a:pos x="226" y="52"/>
              </a:cxn>
              <a:cxn ang="0">
                <a:pos x="237" y="68"/>
              </a:cxn>
              <a:cxn ang="0">
                <a:pos x="233" y="83"/>
              </a:cxn>
              <a:cxn ang="0">
                <a:pos x="246" y="89"/>
              </a:cxn>
              <a:cxn ang="0">
                <a:pos x="240" y="93"/>
              </a:cxn>
              <a:cxn ang="0">
                <a:pos x="233" y="98"/>
              </a:cxn>
              <a:cxn ang="0">
                <a:pos x="221" y="107"/>
              </a:cxn>
              <a:cxn ang="0">
                <a:pos x="211" y="111"/>
              </a:cxn>
              <a:cxn ang="0">
                <a:pos x="205" y="117"/>
              </a:cxn>
              <a:cxn ang="0">
                <a:pos x="203" y="139"/>
              </a:cxn>
              <a:cxn ang="0">
                <a:pos x="197" y="149"/>
              </a:cxn>
              <a:cxn ang="0">
                <a:pos x="197" y="158"/>
              </a:cxn>
              <a:cxn ang="0">
                <a:pos x="203" y="161"/>
              </a:cxn>
              <a:cxn ang="0">
                <a:pos x="195" y="170"/>
              </a:cxn>
              <a:cxn ang="0">
                <a:pos x="194" y="163"/>
              </a:cxn>
              <a:cxn ang="0">
                <a:pos x="188" y="162"/>
              </a:cxn>
              <a:cxn ang="0">
                <a:pos x="177" y="169"/>
              </a:cxn>
              <a:cxn ang="0">
                <a:pos x="164" y="172"/>
              </a:cxn>
              <a:cxn ang="0">
                <a:pos x="159" y="182"/>
              </a:cxn>
              <a:cxn ang="0">
                <a:pos x="145" y="188"/>
              </a:cxn>
              <a:cxn ang="0">
                <a:pos x="135" y="184"/>
              </a:cxn>
              <a:cxn ang="0">
                <a:pos x="121" y="186"/>
              </a:cxn>
              <a:cxn ang="0">
                <a:pos x="113" y="187"/>
              </a:cxn>
              <a:cxn ang="0">
                <a:pos x="108" y="180"/>
              </a:cxn>
              <a:cxn ang="0">
                <a:pos x="103" y="164"/>
              </a:cxn>
              <a:cxn ang="0">
                <a:pos x="93" y="158"/>
              </a:cxn>
              <a:cxn ang="0">
                <a:pos x="82" y="151"/>
              </a:cxn>
              <a:cxn ang="0">
                <a:pos x="73" y="138"/>
              </a:cxn>
              <a:cxn ang="0">
                <a:pos x="77" y="126"/>
              </a:cxn>
              <a:cxn ang="0">
                <a:pos x="79" y="115"/>
              </a:cxn>
              <a:cxn ang="0">
                <a:pos x="72" y="111"/>
              </a:cxn>
              <a:cxn ang="0">
                <a:pos x="64" y="104"/>
              </a:cxn>
              <a:cxn ang="0">
                <a:pos x="46" y="104"/>
              </a:cxn>
              <a:cxn ang="0">
                <a:pos x="40" y="100"/>
              </a:cxn>
              <a:cxn ang="0">
                <a:pos x="25" y="93"/>
              </a:cxn>
              <a:cxn ang="0">
                <a:pos x="14" y="86"/>
              </a:cxn>
              <a:cxn ang="0">
                <a:pos x="10" y="82"/>
              </a:cxn>
              <a:cxn ang="0">
                <a:pos x="11" y="68"/>
              </a:cxn>
              <a:cxn ang="0">
                <a:pos x="7" y="74"/>
              </a:cxn>
              <a:cxn ang="0">
                <a:pos x="2" y="86"/>
              </a:cxn>
              <a:cxn ang="0">
                <a:pos x="7" y="53"/>
              </a:cxn>
              <a:cxn ang="0">
                <a:pos x="6" y="49"/>
              </a:cxn>
              <a:cxn ang="0">
                <a:pos x="11" y="26"/>
              </a:cxn>
              <a:cxn ang="0">
                <a:pos x="27" y="10"/>
              </a:cxn>
              <a:cxn ang="0">
                <a:pos x="51" y="1"/>
              </a:cxn>
              <a:cxn ang="0">
                <a:pos x="83" y="2"/>
              </a:cxn>
              <a:cxn ang="0">
                <a:pos x="94" y="7"/>
              </a:cxn>
              <a:cxn ang="0">
                <a:pos x="109" y="8"/>
              </a:cxn>
              <a:cxn ang="0">
                <a:pos x="128" y="9"/>
              </a:cxn>
              <a:cxn ang="0">
                <a:pos x="150" y="13"/>
              </a:cxn>
              <a:cxn ang="0">
                <a:pos x="165" y="2"/>
              </a:cxn>
            </a:cxnLst>
            <a:rect l="0" t="0" r="r" b="b"/>
            <a:pathLst>
              <a:path w="247" h="188">
                <a:moveTo>
                  <a:pt x="165" y="0"/>
                </a:moveTo>
                <a:lnTo>
                  <a:pt x="168" y="0"/>
                </a:lnTo>
                <a:lnTo>
                  <a:pt x="168" y="1"/>
                </a:lnTo>
                <a:lnTo>
                  <a:pt x="169" y="4"/>
                </a:lnTo>
                <a:lnTo>
                  <a:pt x="170" y="9"/>
                </a:lnTo>
                <a:lnTo>
                  <a:pt x="170" y="10"/>
                </a:lnTo>
                <a:lnTo>
                  <a:pt x="171" y="10"/>
                </a:lnTo>
                <a:lnTo>
                  <a:pt x="175" y="18"/>
                </a:lnTo>
                <a:lnTo>
                  <a:pt x="176" y="19"/>
                </a:lnTo>
                <a:lnTo>
                  <a:pt x="187" y="21"/>
                </a:lnTo>
                <a:lnTo>
                  <a:pt x="194" y="21"/>
                </a:lnTo>
                <a:lnTo>
                  <a:pt x="196" y="22"/>
                </a:lnTo>
                <a:lnTo>
                  <a:pt x="200" y="22"/>
                </a:lnTo>
                <a:lnTo>
                  <a:pt x="201" y="26"/>
                </a:lnTo>
                <a:lnTo>
                  <a:pt x="202" y="27"/>
                </a:lnTo>
                <a:lnTo>
                  <a:pt x="205" y="28"/>
                </a:lnTo>
                <a:lnTo>
                  <a:pt x="206" y="29"/>
                </a:lnTo>
                <a:lnTo>
                  <a:pt x="208" y="33"/>
                </a:lnTo>
                <a:lnTo>
                  <a:pt x="212" y="35"/>
                </a:lnTo>
                <a:lnTo>
                  <a:pt x="214" y="38"/>
                </a:lnTo>
                <a:lnTo>
                  <a:pt x="218" y="40"/>
                </a:lnTo>
                <a:lnTo>
                  <a:pt x="221" y="44"/>
                </a:lnTo>
                <a:lnTo>
                  <a:pt x="224" y="49"/>
                </a:lnTo>
                <a:lnTo>
                  <a:pt x="226" y="52"/>
                </a:lnTo>
                <a:lnTo>
                  <a:pt x="228" y="55"/>
                </a:lnTo>
                <a:lnTo>
                  <a:pt x="234" y="57"/>
                </a:lnTo>
                <a:lnTo>
                  <a:pt x="237" y="58"/>
                </a:lnTo>
                <a:lnTo>
                  <a:pt x="239" y="58"/>
                </a:lnTo>
                <a:lnTo>
                  <a:pt x="239" y="65"/>
                </a:lnTo>
                <a:lnTo>
                  <a:pt x="237" y="68"/>
                </a:lnTo>
                <a:lnTo>
                  <a:pt x="237" y="74"/>
                </a:lnTo>
                <a:lnTo>
                  <a:pt x="236" y="75"/>
                </a:lnTo>
                <a:lnTo>
                  <a:pt x="234" y="78"/>
                </a:lnTo>
                <a:lnTo>
                  <a:pt x="234" y="80"/>
                </a:lnTo>
                <a:lnTo>
                  <a:pt x="233" y="81"/>
                </a:lnTo>
                <a:lnTo>
                  <a:pt x="233" y="83"/>
                </a:lnTo>
                <a:lnTo>
                  <a:pt x="236" y="84"/>
                </a:lnTo>
                <a:lnTo>
                  <a:pt x="239" y="84"/>
                </a:lnTo>
                <a:lnTo>
                  <a:pt x="246" y="86"/>
                </a:lnTo>
                <a:lnTo>
                  <a:pt x="247" y="86"/>
                </a:lnTo>
                <a:lnTo>
                  <a:pt x="247" y="88"/>
                </a:lnTo>
                <a:lnTo>
                  <a:pt x="246" y="89"/>
                </a:lnTo>
                <a:lnTo>
                  <a:pt x="245" y="89"/>
                </a:lnTo>
                <a:lnTo>
                  <a:pt x="244" y="90"/>
                </a:lnTo>
                <a:lnTo>
                  <a:pt x="243" y="90"/>
                </a:lnTo>
                <a:lnTo>
                  <a:pt x="241" y="92"/>
                </a:lnTo>
                <a:lnTo>
                  <a:pt x="241" y="93"/>
                </a:lnTo>
                <a:lnTo>
                  <a:pt x="240" y="93"/>
                </a:lnTo>
                <a:lnTo>
                  <a:pt x="240" y="98"/>
                </a:lnTo>
                <a:lnTo>
                  <a:pt x="239" y="99"/>
                </a:lnTo>
                <a:lnTo>
                  <a:pt x="238" y="99"/>
                </a:lnTo>
                <a:lnTo>
                  <a:pt x="234" y="96"/>
                </a:lnTo>
                <a:lnTo>
                  <a:pt x="233" y="96"/>
                </a:lnTo>
                <a:lnTo>
                  <a:pt x="233" y="98"/>
                </a:lnTo>
                <a:lnTo>
                  <a:pt x="232" y="98"/>
                </a:lnTo>
                <a:lnTo>
                  <a:pt x="227" y="96"/>
                </a:lnTo>
                <a:lnTo>
                  <a:pt x="225" y="96"/>
                </a:lnTo>
                <a:lnTo>
                  <a:pt x="224" y="99"/>
                </a:lnTo>
                <a:lnTo>
                  <a:pt x="224" y="104"/>
                </a:lnTo>
                <a:lnTo>
                  <a:pt x="221" y="107"/>
                </a:lnTo>
                <a:lnTo>
                  <a:pt x="221" y="108"/>
                </a:lnTo>
                <a:lnTo>
                  <a:pt x="220" y="108"/>
                </a:lnTo>
                <a:lnTo>
                  <a:pt x="220" y="110"/>
                </a:lnTo>
                <a:lnTo>
                  <a:pt x="218" y="111"/>
                </a:lnTo>
                <a:lnTo>
                  <a:pt x="213" y="112"/>
                </a:lnTo>
                <a:lnTo>
                  <a:pt x="211" y="111"/>
                </a:lnTo>
                <a:lnTo>
                  <a:pt x="208" y="112"/>
                </a:lnTo>
                <a:lnTo>
                  <a:pt x="208" y="113"/>
                </a:lnTo>
                <a:lnTo>
                  <a:pt x="207" y="114"/>
                </a:lnTo>
                <a:lnTo>
                  <a:pt x="207" y="115"/>
                </a:lnTo>
                <a:lnTo>
                  <a:pt x="206" y="115"/>
                </a:lnTo>
                <a:lnTo>
                  <a:pt x="205" y="117"/>
                </a:lnTo>
                <a:lnTo>
                  <a:pt x="205" y="121"/>
                </a:lnTo>
                <a:lnTo>
                  <a:pt x="203" y="121"/>
                </a:lnTo>
                <a:lnTo>
                  <a:pt x="202" y="123"/>
                </a:lnTo>
                <a:lnTo>
                  <a:pt x="202" y="133"/>
                </a:lnTo>
                <a:lnTo>
                  <a:pt x="203" y="136"/>
                </a:lnTo>
                <a:lnTo>
                  <a:pt x="203" y="139"/>
                </a:lnTo>
                <a:lnTo>
                  <a:pt x="202" y="141"/>
                </a:lnTo>
                <a:lnTo>
                  <a:pt x="201" y="141"/>
                </a:lnTo>
                <a:lnTo>
                  <a:pt x="199" y="142"/>
                </a:lnTo>
                <a:lnTo>
                  <a:pt x="199" y="143"/>
                </a:lnTo>
                <a:lnTo>
                  <a:pt x="197" y="144"/>
                </a:lnTo>
                <a:lnTo>
                  <a:pt x="197" y="149"/>
                </a:lnTo>
                <a:lnTo>
                  <a:pt x="195" y="154"/>
                </a:lnTo>
                <a:lnTo>
                  <a:pt x="194" y="155"/>
                </a:lnTo>
                <a:lnTo>
                  <a:pt x="194" y="157"/>
                </a:lnTo>
                <a:lnTo>
                  <a:pt x="195" y="157"/>
                </a:lnTo>
                <a:lnTo>
                  <a:pt x="195" y="158"/>
                </a:lnTo>
                <a:lnTo>
                  <a:pt x="197" y="158"/>
                </a:lnTo>
                <a:lnTo>
                  <a:pt x="200" y="156"/>
                </a:lnTo>
                <a:lnTo>
                  <a:pt x="201" y="156"/>
                </a:lnTo>
                <a:lnTo>
                  <a:pt x="201" y="158"/>
                </a:lnTo>
                <a:lnTo>
                  <a:pt x="202" y="160"/>
                </a:lnTo>
                <a:lnTo>
                  <a:pt x="203" y="160"/>
                </a:lnTo>
                <a:lnTo>
                  <a:pt x="203" y="161"/>
                </a:lnTo>
                <a:lnTo>
                  <a:pt x="205" y="161"/>
                </a:lnTo>
                <a:lnTo>
                  <a:pt x="205" y="168"/>
                </a:lnTo>
                <a:lnTo>
                  <a:pt x="203" y="169"/>
                </a:lnTo>
                <a:lnTo>
                  <a:pt x="201" y="169"/>
                </a:lnTo>
                <a:lnTo>
                  <a:pt x="200" y="170"/>
                </a:lnTo>
                <a:lnTo>
                  <a:pt x="195" y="170"/>
                </a:lnTo>
                <a:lnTo>
                  <a:pt x="193" y="168"/>
                </a:lnTo>
                <a:lnTo>
                  <a:pt x="193" y="167"/>
                </a:lnTo>
                <a:lnTo>
                  <a:pt x="194" y="167"/>
                </a:lnTo>
                <a:lnTo>
                  <a:pt x="194" y="166"/>
                </a:lnTo>
                <a:lnTo>
                  <a:pt x="193" y="164"/>
                </a:lnTo>
                <a:lnTo>
                  <a:pt x="194" y="163"/>
                </a:lnTo>
                <a:lnTo>
                  <a:pt x="195" y="163"/>
                </a:lnTo>
                <a:lnTo>
                  <a:pt x="193" y="160"/>
                </a:lnTo>
                <a:lnTo>
                  <a:pt x="191" y="158"/>
                </a:lnTo>
                <a:lnTo>
                  <a:pt x="190" y="158"/>
                </a:lnTo>
                <a:lnTo>
                  <a:pt x="188" y="161"/>
                </a:lnTo>
                <a:lnTo>
                  <a:pt x="188" y="162"/>
                </a:lnTo>
                <a:lnTo>
                  <a:pt x="184" y="162"/>
                </a:lnTo>
                <a:lnTo>
                  <a:pt x="181" y="161"/>
                </a:lnTo>
                <a:lnTo>
                  <a:pt x="180" y="162"/>
                </a:lnTo>
                <a:lnTo>
                  <a:pt x="180" y="166"/>
                </a:lnTo>
                <a:lnTo>
                  <a:pt x="178" y="167"/>
                </a:lnTo>
                <a:lnTo>
                  <a:pt x="177" y="169"/>
                </a:lnTo>
                <a:lnTo>
                  <a:pt x="175" y="170"/>
                </a:lnTo>
                <a:lnTo>
                  <a:pt x="172" y="170"/>
                </a:lnTo>
                <a:lnTo>
                  <a:pt x="170" y="169"/>
                </a:lnTo>
                <a:lnTo>
                  <a:pt x="165" y="169"/>
                </a:lnTo>
                <a:lnTo>
                  <a:pt x="164" y="170"/>
                </a:lnTo>
                <a:lnTo>
                  <a:pt x="164" y="172"/>
                </a:lnTo>
                <a:lnTo>
                  <a:pt x="163" y="173"/>
                </a:lnTo>
                <a:lnTo>
                  <a:pt x="163" y="176"/>
                </a:lnTo>
                <a:lnTo>
                  <a:pt x="164" y="178"/>
                </a:lnTo>
                <a:lnTo>
                  <a:pt x="164" y="181"/>
                </a:lnTo>
                <a:lnTo>
                  <a:pt x="163" y="182"/>
                </a:lnTo>
                <a:lnTo>
                  <a:pt x="159" y="182"/>
                </a:lnTo>
                <a:lnTo>
                  <a:pt x="158" y="180"/>
                </a:lnTo>
                <a:lnTo>
                  <a:pt x="157" y="181"/>
                </a:lnTo>
                <a:lnTo>
                  <a:pt x="154" y="181"/>
                </a:lnTo>
                <a:lnTo>
                  <a:pt x="152" y="182"/>
                </a:lnTo>
                <a:lnTo>
                  <a:pt x="147" y="187"/>
                </a:lnTo>
                <a:lnTo>
                  <a:pt x="145" y="188"/>
                </a:lnTo>
                <a:lnTo>
                  <a:pt x="144" y="188"/>
                </a:lnTo>
                <a:lnTo>
                  <a:pt x="143" y="187"/>
                </a:lnTo>
                <a:lnTo>
                  <a:pt x="140" y="187"/>
                </a:lnTo>
                <a:lnTo>
                  <a:pt x="139" y="185"/>
                </a:lnTo>
                <a:lnTo>
                  <a:pt x="137" y="182"/>
                </a:lnTo>
                <a:lnTo>
                  <a:pt x="135" y="184"/>
                </a:lnTo>
                <a:lnTo>
                  <a:pt x="133" y="185"/>
                </a:lnTo>
                <a:lnTo>
                  <a:pt x="128" y="185"/>
                </a:lnTo>
                <a:lnTo>
                  <a:pt x="127" y="184"/>
                </a:lnTo>
                <a:lnTo>
                  <a:pt x="126" y="184"/>
                </a:lnTo>
                <a:lnTo>
                  <a:pt x="122" y="186"/>
                </a:lnTo>
                <a:lnTo>
                  <a:pt x="121" y="186"/>
                </a:lnTo>
                <a:lnTo>
                  <a:pt x="121" y="185"/>
                </a:lnTo>
                <a:lnTo>
                  <a:pt x="120" y="185"/>
                </a:lnTo>
                <a:lnTo>
                  <a:pt x="119" y="186"/>
                </a:lnTo>
                <a:lnTo>
                  <a:pt x="116" y="186"/>
                </a:lnTo>
                <a:lnTo>
                  <a:pt x="114" y="187"/>
                </a:lnTo>
                <a:lnTo>
                  <a:pt x="113" y="187"/>
                </a:lnTo>
                <a:lnTo>
                  <a:pt x="109" y="185"/>
                </a:lnTo>
                <a:lnTo>
                  <a:pt x="108" y="185"/>
                </a:lnTo>
                <a:lnTo>
                  <a:pt x="108" y="182"/>
                </a:lnTo>
                <a:lnTo>
                  <a:pt x="107" y="182"/>
                </a:lnTo>
                <a:lnTo>
                  <a:pt x="107" y="180"/>
                </a:lnTo>
                <a:lnTo>
                  <a:pt x="108" y="180"/>
                </a:lnTo>
                <a:lnTo>
                  <a:pt x="108" y="173"/>
                </a:lnTo>
                <a:lnTo>
                  <a:pt x="107" y="172"/>
                </a:lnTo>
                <a:lnTo>
                  <a:pt x="107" y="169"/>
                </a:lnTo>
                <a:lnTo>
                  <a:pt x="104" y="167"/>
                </a:lnTo>
                <a:lnTo>
                  <a:pt x="103" y="167"/>
                </a:lnTo>
                <a:lnTo>
                  <a:pt x="103" y="164"/>
                </a:lnTo>
                <a:lnTo>
                  <a:pt x="102" y="164"/>
                </a:lnTo>
                <a:lnTo>
                  <a:pt x="102" y="163"/>
                </a:lnTo>
                <a:lnTo>
                  <a:pt x="101" y="163"/>
                </a:lnTo>
                <a:lnTo>
                  <a:pt x="97" y="162"/>
                </a:lnTo>
                <a:lnTo>
                  <a:pt x="96" y="161"/>
                </a:lnTo>
                <a:lnTo>
                  <a:pt x="93" y="158"/>
                </a:lnTo>
                <a:lnTo>
                  <a:pt x="89" y="158"/>
                </a:lnTo>
                <a:lnTo>
                  <a:pt x="89" y="155"/>
                </a:lnTo>
                <a:lnTo>
                  <a:pt x="87" y="155"/>
                </a:lnTo>
                <a:lnTo>
                  <a:pt x="87" y="153"/>
                </a:lnTo>
                <a:lnTo>
                  <a:pt x="84" y="153"/>
                </a:lnTo>
                <a:lnTo>
                  <a:pt x="82" y="151"/>
                </a:lnTo>
                <a:lnTo>
                  <a:pt x="79" y="151"/>
                </a:lnTo>
                <a:lnTo>
                  <a:pt x="78" y="154"/>
                </a:lnTo>
                <a:lnTo>
                  <a:pt x="77" y="154"/>
                </a:lnTo>
                <a:lnTo>
                  <a:pt x="75" y="150"/>
                </a:lnTo>
                <a:lnTo>
                  <a:pt x="73" y="148"/>
                </a:lnTo>
                <a:lnTo>
                  <a:pt x="73" y="138"/>
                </a:lnTo>
                <a:lnTo>
                  <a:pt x="75" y="136"/>
                </a:lnTo>
                <a:lnTo>
                  <a:pt x="75" y="130"/>
                </a:lnTo>
                <a:lnTo>
                  <a:pt x="76" y="129"/>
                </a:lnTo>
                <a:lnTo>
                  <a:pt x="76" y="127"/>
                </a:lnTo>
                <a:lnTo>
                  <a:pt x="77" y="127"/>
                </a:lnTo>
                <a:lnTo>
                  <a:pt x="77" y="126"/>
                </a:lnTo>
                <a:lnTo>
                  <a:pt x="78" y="126"/>
                </a:lnTo>
                <a:lnTo>
                  <a:pt x="78" y="125"/>
                </a:lnTo>
                <a:lnTo>
                  <a:pt x="79" y="124"/>
                </a:lnTo>
                <a:lnTo>
                  <a:pt x="81" y="124"/>
                </a:lnTo>
                <a:lnTo>
                  <a:pt x="81" y="117"/>
                </a:lnTo>
                <a:lnTo>
                  <a:pt x="79" y="115"/>
                </a:lnTo>
                <a:lnTo>
                  <a:pt x="77" y="114"/>
                </a:lnTo>
                <a:lnTo>
                  <a:pt x="76" y="113"/>
                </a:lnTo>
                <a:lnTo>
                  <a:pt x="77" y="112"/>
                </a:lnTo>
                <a:lnTo>
                  <a:pt x="76" y="112"/>
                </a:lnTo>
                <a:lnTo>
                  <a:pt x="76" y="111"/>
                </a:lnTo>
                <a:lnTo>
                  <a:pt x="72" y="111"/>
                </a:lnTo>
                <a:lnTo>
                  <a:pt x="71" y="110"/>
                </a:lnTo>
                <a:lnTo>
                  <a:pt x="71" y="108"/>
                </a:lnTo>
                <a:lnTo>
                  <a:pt x="70" y="105"/>
                </a:lnTo>
                <a:lnTo>
                  <a:pt x="70" y="104"/>
                </a:lnTo>
                <a:lnTo>
                  <a:pt x="67" y="101"/>
                </a:lnTo>
                <a:lnTo>
                  <a:pt x="64" y="104"/>
                </a:lnTo>
                <a:lnTo>
                  <a:pt x="57" y="102"/>
                </a:lnTo>
                <a:lnTo>
                  <a:pt x="56" y="102"/>
                </a:lnTo>
                <a:lnTo>
                  <a:pt x="51" y="104"/>
                </a:lnTo>
                <a:lnTo>
                  <a:pt x="50" y="105"/>
                </a:lnTo>
                <a:lnTo>
                  <a:pt x="47" y="105"/>
                </a:lnTo>
                <a:lnTo>
                  <a:pt x="46" y="104"/>
                </a:lnTo>
                <a:lnTo>
                  <a:pt x="46" y="101"/>
                </a:lnTo>
                <a:lnTo>
                  <a:pt x="45" y="100"/>
                </a:lnTo>
                <a:lnTo>
                  <a:pt x="44" y="100"/>
                </a:lnTo>
                <a:lnTo>
                  <a:pt x="44" y="101"/>
                </a:lnTo>
                <a:lnTo>
                  <a:pt x="41" y="101"/>
                </a:lnTo>
                <a:lnTo>
                  <a:pt x="40" y="100"/>
                </a:lnTo>
                <a:lnTo>
                  <a:pt x="39" y="100"/>
                </a:lnTo>
                <a:lnTo>
                  <a:pt x="38" y="99"/>
                </a:lnTo>
                <a:lnTo>
                  <a:pt x="34" y="98"/>
                </a:lnTo>
                <a:lnTo>
                  <a:pt x="31" y="94"/>
                </a:lnTo>
                <a:lnTo>
                  <a:pt x="28" y="93"/>
                </a:lnTo>
                <a:lnTo>
                  <a:pt x="25" y="93"/>
                </a:lnTo>
                <a:lnTo>
                  <a:pt x="22" y="92"/>
                </a:lnTo>
                <a:lnTo>
                  <a:pt x="20" y="87"/>
                </a:lnTo>
                <a:lnTo>
                  <a:pt x="19" y="86"/>
                </a:lnTo>
                <a:lnTo>
                  <a:pt x="17" y="86"/>
                </a:lnTo>
                <a:lnTo>
                  <a:pt x="14" y="89"/>
                </a:lnTo>
                <a:lnTo>
                  <a:pt x="14" y="86"/>
                </a:lnTo>
                <a:lnTo>
                  <a:pt x="15" y="86"/>
                </a:lnTo>
                <a:lnTo>
                  <a:pt x="15" y="83"/>
                </a:lnTo>
                <a:lnTo>
                  <a:pt x="14" y="83"/>
                </a:lnTo>
                <a:lnTo>
                  <a:pt x="14" y="80"/>
                </a:lnTo>
                <a:lnTo>
                  <a:pt x="11" y="82"/>
                </a:lnTo>
                <a:lnTo>
                  <a:pt x="10" y="82"/>
                </a:lnTo>
                <a:lnTo>
                  <a:pt x="13" y="77"/>
                </a:lnTo>
                <a:lnTo>
                  <a:pt x="14" y="76"/>
                </a:lnTo>
                <a:lnTo>
                  <a:pt x="14" y="75"/>
                </a:lnTo>
                <a:lnTo>
                  <a:pt x="13" y="71"/>
                </a:lnTo>
                <a:lnTo>
                  <a:pt x="13" y="69"/>
                </a:lnTo>
                <a:lnTo>
                  <a:pt x="11" y="68"/>
                </a:lnTo>
                <a:lnTo>
                  <a:pt x="11" y="64"/>
                </a:lnTo>
                <a:lnTo>
                  <a:pt x="9" y="59"/>
                </a:lnTo>
                <a:lnTo>
                  <a:pt x="9" y="65"/>
                </a:lnTo>
                <a:lnTo>
                  <a:pt x="8" y="67"/>
                </a:lnTo>
                <a:lnTo>
                  <a:pt x="8" y="72"/>
                </a:lnTo>
                <a:lnTo>
                  <a:pt x="7" y="74"/>
                </a:lnTo>
                <a:lnTo>
                  <a:pt x="7" y="75"/>
                </a:lnTo>
                <a:lnTo>
                  <a:pt x="8" y="75"/>
                </a:lnTo>
                <a:lnTo>
                  <a:pt x="8" y="76"/>
                </a:lnTo>
                <a:lnTo>
                  <a:pt x="6" y="78"/>
                </a:lnTo>
                <a:lnTo>
                  <a:pt x="6" y="82"/>
                </a:lnTo>
                <a:lnTo>
                  <a:pt x="2" y="86"/>
                </a:lnTo>
                <a:lnTo>
                  <a:pt x="2" y="87"/>
                </a:lnTo>
                <a:lnTo>
                  <a:pt x="0" y="87"/>
                </a:lnTo>
                <a:lnTo>
                  <a:pt x="3" y="81"/>
                </a:lnTo>
                <a:lnTo>
                  <a:pt x="4" y="76"/>
                </a:lnTo>
                <a:lnTo>
                  <a:pt x="7" y="70"/>
                </a:lnTo>
                <a:lnTo>
                  <a:pt x="7" y="53"/>
                </a:lnTo>
                <a:lnTo>
                  <a:pt x="9" y="58"/>
                </a:lnTo>
                <a:lnTo>
                  <a:pt x="9" y="56"/>
                </a:lnTo>
                <a:lnTo>
                  <a:pt x="7" y="53"/>
                </a:lnTo>
                <a:lnTo>
                  <a:pt x="7" y="52"/>
                </a:lnTo>
                <a:lnTo>
                  <a:pt x="6" y="52"/>
                </a:lnTo>
                <a:lnTo>
                  <a:pt x="6" y="49"/>
                </a:lnTo>
                <a:lnTo>
                  <a:pt x="4" y="43"/>
                </a:lnTo>
                <a:lnTo>
                  <a:pt x="4" y="39"/>
                </a:lnTo>
                <a:lnTo>
                  <a:pt x="6" y="38"/>
                </a:lnTo>
                <a:lnTo>
                  <a:pt x="6" y="27"/>
                </a:lnTo>
                <a:lnTo>
                  <a:pt x="9" y="27"/>
                </a:lnTo>
                <a:lnTo>
                  <a:pt x="11" y="26"/>
                </a:lnTo>
                <a:lnTo>
                  <a:pt x="11" y="22"/>
                </a:lnTo>
                <a:lnTo>
                  <a:pt x="13" y="20"/>
                </a:lnTo>
                <a:lnTo>
                  <a:pt x="16" y="16"/>
                </a:lnTo>
                <a:lnTo>
                  <a:pt x="19" y="15"/>
                </a:lnTo>
                <a:lnTo>
                  <a:pt x="21" y="15"/>
                </a:lnTo>
                <a:lnTo>
                  <a:pt x="27" y="10"/>
                </a:lnTo>
                <a:lnTo>
                  <a:pt x="28" y="9"/>
                </a:lnTo>
                <a:lnTo>
                  <a:pt x="32" y="9"/>
                </a:lnTo>
                <a:lnTo>
                  <a:pt x="44" y="3"/>
                </a:lnTo>
                <a:lnTo>
                  <a:pt x="45" y="3"/>
                </a:lnTo>
                <a:lnTo>
                  <a:pt x="50" y="1"/>
                </a:lnTo>
                <a:lnTo>
                  <a:pt x="51" y="1"/>
                </a:lnTo>
                <a:lnTo>
                  <a:pt x="53" y="3"/>
                </a:lnTo>
                <a:lnTo>
                  <a:pt x="70" y="3"/>
                </a:lnTo>
                <a:lnTo>
                  <a:pt x="73" y="7"/>
                </a:lnTo>
                <a:lnTo>
                  <a:pt x="79" y="3"/>
                </a:lnTo>
                <a:lnTo>
                  <a:pt x="82" y="3"/>
                </a:lnTo>
                <a:lnTo>
                  <a:pt x="83" y="2"/>
                </a:lnTo>
                <a:lnTo>
                  <a:pt x="85" y="2"/>
                </a:lnTo>
                <a:lnTo>
                  <a:pt x="87" y="4"/>
                </a:lnTo>
                <a:lnTo>
                  <a:pt x="88" y="8"/>
                </a:lnTo>
                <a:lnTo>
                  <a:pt x="90" y="9"/>
                </a:lnTo>
                <a:lnTo>
                  <a:pt x="93" y="9"/>
                </a:lnTo>
                <a:lnTo>
                  <a:pt x="94" y="7"/>
                </a:lnTo>
                <a:lnTo>
                  <a:pt x="94" y="6"/>
                </a:lnTo>
                <a:lnTo>
                  <a:pt x="95" y="6"/>
                </a:lnTo>
                <a:lnTo>
                  <a:pt x="100" y="4"/>
                </a:lnTo>
                <a:lnTo>
                  <a:pt x="101" y="4"/>
                </a:lnTo>
                <a:lnTo>
                  <a:pt x="108" y="8"/>
                </a:lnTo>
                <a:lnTo>
                  <a:pt x="109" y="8"/>
                </a:lnTo>
                <a:lnTo>
                  <a:pt x="112" y="7"/>
                </a:lnTo>
                <a:lnTo>
                  <a:pt x="113" y="6"/>
                </a:lnTo>
                <a:lnTo>
                  <a:pt x="118" y="6"/>
                </a:lnTo>
                <a:lnTo>
                  <a:pt x="118" y="8"/>
                </a:lnTo>
                <a:lnTo>
                  <a:pt x="124" y="8"/>
                </a:lnTo>
                <a:lnTo>
                  <a:pt x="128" y="9"/>
                </a:lnTo>
                <a:lnTo>
                  <a:pt x="133" y="13"/>
                </a:lnTo>
                <a:lnTo>
                  <a:pt x="137" y="13"/>
                </a:lnTo>
                <a:lnTo>
                  <a:pt x="141" y="10"/>
                </a:lnTo>
                <a:lnTo>
                  <a:pt x="144" y="10"/>
                </a:lnTo>
                <a:lnTo>
                  <a:pt x="147" y="13"/>
                </a:lnTo>
                <a:lnTo>
                  <a:pt x="150" y="13"/>
                </a:lnTo>
                <a:lnTo>
                  <a:pt x="152" y="12"/>
                </a:lnTo>
                <a:lnTo>
                  <a:pt x="153" y="10"/>
                </a:lnTo>
                <a:lnTo>
                  <a:pt x="157" y="6"/>
                </a:lnTo>
                <a:lnTo>
                  <a:pt x="159" y="3"/>
                </a:lnTo>
                <a:lnTo>
                  <a:pt x="164" y="2"/>
                </a:lnTo>
                <a:lnTo>
                  <a:pt x="165" y="2"/>
                </a:lnTo>
                <a:lnTo>
                  <a:pt x="165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" name="Freeform 31">
            <a:extLst>
              <a:ext uri="{FF2B5EF4-FFF2-40B4-BE49-F238E27FC236}">
                <a16:creationId xmlns:a16="http://schemas.microsoft.com/office/drawing/2014/main" id="{AC861C80-45AC-48F7-847F-CB932FE653D6}"/>
              </a:ext>
            </a:extLst>
          </p:cNvPr>
          <p:cNvSpPr>
            <a:spLocks/>
          </p:cNvSpPr>
          <p:nvPr/>
        </p:nvSpPr>
        <p:spPr bwMode="auto">
          <a:xfrm>
            <a:off x="1811272" y="4969718"/>
            <a:ext cx="8694" cy="18837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2" y="2"/>
              </a:cxn>
              <a:cxn ang="0">
                <a:pos x="3" y="2"/>
              </a:cxn>
              <a:cxn ang="0">
                <a:pos x="3" y="6"/>
              </a:cxn>
              <a:cxn ang="0">
                <a:pos x="5" y="6"/>
              </a:cxn>
              <a:cxn ang="0">
                <a:pos x="5" y="8"/>
              </a:cxn>
              <a:cxn ang="0">
                <a:pos x="6" y="10"/>
              </a:cxn>
              <a:cxn ang="0">
                <a:pos x="6" y="11"/>
              </a:cxn>
              <a:cxn ang="0">
                <a:pos x="3" y="13"/>
              </a:cxn>
              <a:cxn ang="0">
                <a:pos x="1" y="12"/>
              </a:cxn>
              <a:cxn ang="0">
                <a:pos x="0" y="12"/>
              </a:cxn>
              <a:cxn ang="0">
                <a:pos x="0" y="11"/>
              </a:cxn>
              <a:cxn ang="0">
                <a:pos x="1" y="11"/>
              </a:cxn>
              <a:cxn ang="0">
                <a:pos x="1" y="7"/>
              </a:cxn>
              <a:cxn ang="0">
                <a:pos x="0" y="6"/>
              </a:cxn>
              <a:cxn ang="0">
                <a:pos x="0" y="4"/>
              </a:cxn>
              <a:cxn ang="0">
                <a:pos x="1" y="1"/>
              </a:cxn>
              <a:cxn ang="0">
                <a:pos x="2" y="0"/>
              </a:cxn>
            </a:cxnLst>
            <a:rect l="0" t="0" r="r" b="b"/>
            <a:pathLst>
              <a:path w="6" h="13">
                <a:moveTo>
                  <a:pt x="2" y="0"/>
                </a:moveTo>
                <a:lnTo>
                  <a:pt x="2" y="2"/>
                </a:lnTo>
                <a:lnTo>
                  <a:pt x="3" y="2"/>
                </a:lnTo>
                <a:lnTo>
                  <a:pt x="3" y="6"/>
                </a:lnTo>
                <a:lnTo>
                  <a:pt x="5" y="6"/>
                </a:lnTo>
                <a:lnTo>
                  <a:pt x="5" y="8"/>
                </a:lnTo>
                <a:lnTo>
                  <a:pt x="6" y="10"/>
                </a:lnTo>
                <a:lnTo>
                  <a:pt x="6" y="11"/>
                </a:lnTo>
                <a:lnTo>
                  <a:pt x="3" y="13"/>
                </a:lnTo>
                <a:lnTo>
                  <a:pt x="1" y="12"/>
                </a:lnTo>
                <a:lnTo>
                  <a:pt x="0" y="12"/>
                </a:lnTo>
                <a:lnTo>
                  <a:pt x="0" y="11"/>
                </a:lnTo>
                <a:lnTo>
                  <a:pt x="1" y="11"/>
                </a:lnTo>
                <a:lnTo>
                  <a:pt x="1" y="7"/>
                </a:lnTo>
                <a:lnTo>
                  <a:pt x="0" y="6"/>
                </a:lnTo>
                <a:lnTo>
                  <a:pt x="0" y="4"/>
                </a:lnTo>
                <a:lnTo>
                  <a:pt x="1" y="1"/>
                </a:lnTo>
                <a:lnTo>
                  <a:pt x="2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" name="Freeform 32">
            <a:extLst>
              <a:ext uri="{FF2B5EF4-FFF2-40B4-BE49-F238E27FC236}">
                <a16:creationId xmlns:a16="http://schemas.microsoft.com/office/drawing/2014/main" id="{D69055EE-2975-44C7-B851-384F02C4884F}"/>
              </a:ext>
            </a:extLst>
          </p:cNvPr>
          <p:cNvSpPr>
            <a:spLocks/>
          </p:cNvSpPr>
          <p:nvPr/>
        </p:nvSpPr>
        <p:spPr bwMode="auto">
          <a:xfrm>
            <a:off x="2514008" y="3872870"/>
            <a:ext cx="441927" cy="269503"/>
          </a:xfrm>
          <a:custGeom>
            <a:avLst/>
            <a:gdLst/>
            <a:ahLst/>
            <a:cxnLst>
              <a:cxn ang="0">
                <a:pos x="182" y="5"/>
              </a:cxn>
              <a:cxn ang="0">
                <a:pos x="186" y="3"/>
              </a:cxn>
              <a:cxn ang="0">
                <a:pos x="199" y="12"/>
              </a:cxn>
              <a:cxn ang="0">
                <a:pos x="212" y="18"/>
              </a:cxn>
              <a:cxn ang="0">
                <a:pos x="218" y="27"/>
              </a:cxn>
              <a:cxn ang="0">
                <a:pos x="234" y="44"/>
              </a:cxn>
              <a:cxn ang="0">
                <a:pos x="238" y="42"/>
              </a:cxn>
              <a:cxn ang="0">
                <a:pos x="247" y="38"/>
              </a:cxn>
              <a:cxn ang="0">
                <a:pos x="251" y="37"/>
              </a:cxn>
              <a:cxn ang="0">
                <a:pos x="269" y="43"/>
              </a:cxn>
              <a:cxn ang="0">
                <a:pos x="281" y="54"/>
              </a:cxn>
              <a:cxn ang="0">
                <a:pos x="284" y="75"/>
              </a:cxn>
              <a:cxn ang="0">
                <a:pos x="285" y="88"/>
              </a:cxn>
              <a:cxn ang="0">
                <a:pos x="290" y="95"/>
              </a:cxn>
              <a:cxn ang="0">
                <a:pos x="291" y="105"/>
              </a:cxn>
              <a:cxn ang="0">
                <a:pos x="300" y="118"/>
              </a:cxn>
              <a:cxn ang="0">
                <a:pos x="303" y="128"/>
              </a:cxn>
              <a:cxn ang="0">
                <a:pos x="305" y="142"/>
              </a:cxn>
              <a:cxn ang="0">
                <a:pos x="297" y="152"/>
              </a:cxn>
              <a:cxn ang="0">
                <a:pos x="287" y="160"/>
              </a:cxn>
              <a:cxn ang="0">
                <a:pos x="279" y="177"/>
              </a:cxn>
              <a:cxn ang="0">
                <a:pos x="265" y="177"/>
              </a:cxn>
              <a:cxn ang="0">
                <a:pos x="248" y="181"/>
              </a:cxn>
              <a:cxn ang="0">
                <a:pos x="237" y="186"/>
              </a:cxn>
              <a:cxn ang="0">
                <a:pos x="219" y="172"/>
              </a:cxn>
              <a:cxn ang="0">
                <a:pos x="203" y="156"/>
              </a:cxn>
              <a:cxn ang="0">
                <a:pos x="185" y="149"/>
              </a:cxn>
              <a:cxn ang="0">
                <a:pos x="167" y="132"/>
              </a:cxn>
              <a:cxn ang="0">
                <a:pos x="157" y="131"/>
              </a:cxn>
              <a:cxn ang="0">
                <a:pos x="142" y="138"/>
              </a:cxn>
              <a:cxn ang="0">
                <a:pos x="116" y="136"/>
              </a:cxn>
              <a:cxn ang="0">
                <a:pos x="99" y="132"/>
              </a:cxn>
              <a:cxn ang="0">
                <a:pos x="88" y="137"/>
              </a:cxn>
              <a:cxn ang="0">
                <a:pos x="77" y="131"/>
              </a:cxn>
              <a:cxn ang="0">
                <a:pos x="43" y="131"/>
              </a:cxn>
              <a:cxn ang="0">
                <a:pos x="17" y="143"/>
              </a:cxn>
              <a:cxn ang="0">
                <a:pos x="4" y="155"/>
              </a:cxn>
              <a:cxn ang="0">
                <a:pos x="1" y="122"/>
              </a:cxn>
              <a:cxn ang="0">
                <a:pos x="4" y="129"/>
              </a:cxn>
              <a:cxn ang="0">
                <a:pos x="4" y="109"/>
              </a:cxn>
              <a:cxn ang="0">
                <a:pos x="13" y="88"/>
              </a:cxn>
              <a:cxn ang="0">
                <a:pos x="18" y="79"/>
              </a:cxn>
              <a:cxn ang="0">
                <a:pos x="19" y="63"/>
              </a:cxn>
              <a:cxn ang="0">
                <a:pos x="33" y="38"/>
              </a:cxn>
              <a:cxn ang="0">
                <a:pos x="67" y="25"/>
              </a:cxn>
              <a:cxn ang="0">
                <a:pos x="70" y="38"/>
              </a:cxn>
              <a:cxn ang="0">
                <a:pos x="91" y="57"/>
              </a:cxn>
              <a:cxn ang="0">
                <a:pos x="94" y="68"/>
              </a:cxn>
              <a:cxn ang="0">
                <a:pos x="107" y="82"/>
              </a:cxn>
              <a:cxn ang="0">
                <a:pos x="125" y="83"/>
              </a:cxn>
              <a:cxn ang="0">
                <a:pos x="132" y="77"/>
              </a:cxn>
              <a:cxn ang="0">
                <a:pos x="141" y="70"/>
              </a:cxn>
              <a:cxn ang="0">
                <a:pos x="143" y="45"/>
              </a:cxn>
              <a:cxn ang="0">
                <a:pos x="141" y="17"/>
              </a:cxn>
              <a:cxn ang="0">
                <a:pos x="151" y="9"/>
              </a:cxn>
              <a:cxn ang="0">
                <a:pos x="162" y="8"/>
              </a:cxn>
              <a:cxn ang="0">
                <a:pos x="172" y="1"/>
              </a:cxn>
            </a:cxnLst>
            <a:rect l="0" t="0" r="r" b="b"/>
            <a:pathLst>
              <a:path w="305" h="186">
                <a:moveTo>
                  <a:pt x="175" y="0"/>
                </a:moveTo>
                <a:lnTo>
                  <a:pt x="178" y="2"/>
                </a:lnTo>
                <a:lnTo>
                  <a:pt x="178" y="5"/>
                </a:lnTo>
                <a:lnTo>
                  <a:pt x="179" y="7"/>
                </a:lnTo>
                <a:lnTo>
                  <a:pt x="180" y="7"/>
                </a:lnTo>
                <a:lnTo>
                  <a:pt x="182" y="5"/>
                </a:lnTo>
                <a:lnTo>
                  <a:pt x="180" y="2"/>
                </a:lnTo>
                <a:lnTo>
                  <a:pt x="180" y="0"/>
                </a:lnTo>
                <a:lnTo>
                  <a:pt x="181" y="0"/>
                </a:lnTo>
                <a:lnTo>
                  <a:pt x="183" y="2"/>
                </a:lnTo>
                <a:lnTo>
                  <a:pt x="183" y="3"/>
                </a:lnTo>
                <a:lnTo>
                  <a:pt x="186" y="3"/>
                </a:lnTo>
                <a:lnTo>
                  <a:pt x="191" y="8"/>
                </a:lnTo>
                <a:lnTo>
                  <a:pt x="193" y="8"/>
                </a:lnTo>
                <a:lnTo>
                  <a:pt x="193" y="11"/>
                </a:lnTo>
                <a:lnTo>
                  <a:pt x="195" y="13"/>
                </a:lnTo>
                <a:lnTo>
                  <a:pt x="197" y="13"/>
                </a:lnTo>
                <a:lnTo>
                  <a:pt x="199" y="12"/>
                </a:lnTo>
                <a:lnTo>
                  <a:pt x="200" y="12"/>
                </a:lnTo>
                <a:lnTo>
                  <a:pt x="201" y="13"/>
                </a:lnTo>
                <a:lnTo>
                  <a:pt x="201" y="14"/>
                </a:lnTo>
                <a:lnTo>
                  <a:pt x="203" y="17"/>
                </a:lnTo>
                <a:lnTo>
                  <a:pt x="203" y="18"/>
                </a:lnTo>
                <a:lnTo>
                  <a:pt x="212" y="18"/>
                </a:lnTo>
                <a:lnTo>
                  <a:pt x="213" y="19"/>
                </a:lnTo>
                <a:lnTo>
                  <a:pt x="213" y="20"/>
                </a:lnTo>
                <a:lnTo>
                  <a:pt x="212" y="20"/>
                </a:lnTo>
                <a:lnTo>
                  <a:pt x="212" y="23"/>
                </a:lnTo>
                <a:lnTo>
                  <a:pt x="213" y="24"/>
                </a:lnTo>
                <a:lnTo>
                  <a:pt x="218" y="27"/>
                </a:lnTo>
                <a:lnTo>
                  <a:pt x="219" y="30"/>
                </a:lnTo>
                <a:lnTo>
                  <a:pt x="223" y="36"/>
                </a:lnTo>
                <a:lnTo>
                  <a:pt x="224" y="38"/>
                </a:lnTo>
                <a:lnTo>
                  <a:pt x="226" y="39"/>
                </a:lnTo>
                <a:lnTo>
                  <a:pt x="230" y="40"/>
                </a:lnTo>
                <a:lnTo>
                  <a:pt x="234" y="44"/>
                </a:lnTo>
                <a:lnTo>
                  <a:pt x="235" y="44"/>
                </a:lnTo>
                <a:lnTo>
                  <a:pt x="235" y="43"/>
                </a:lnTo>
                <a:lnTo>
                  <a:pt x="236" y="44"/>
                </a:lnTo>
                <a:lnTo>
                  <a:pt x="237" y="44"/>
                </a:lnTo>
                <a:lnTo>
                  <a:pt x="237" y="42"/>
                </a:lnTo>
                <a:lnTo>
                  <a:pt x="238" y="42"/>
                </a:lnTo>
                <a:lnTo>
                  <a:pt x="239" y="40"/>
                </a:lnTo>
                <a:lnTo>
                  <a:pt x="242" y="39"/>
                </a:lnTo>
                <a:lnTo>
                  <a:pt x="244" y="40"/>
                </a:lnTo>
                <a:lnTo>
                  <a:pt x="245" y="39"/>
                </a:lnTo>
                <a:lnTo>
                  <a:pt x="247" y="39"/>
                </a:lnTo>
                <a:lnTo>
                  <a:pt x="247" y="38"/>
                </a:lnTo>
                <a:lnTo>
                  <a:pt x="248" y="37"/>
                </a:lnTo>
                <a:lnTo>
                  <a:pt x="248" y="36"/>
                </a:lnTo>
                <a:lnTo>
                  <a:pt x="249" y="36"/>
                </a:lnTo>
                <a:lnTo>
                  <a:pt x="250" y="37"/>
                </a:lnTo>
                <a:lnTo>
                  <a:pt x="251" y="36"/>
                </a:lnTo>
                <a:lnTo>
                  <a:pt x="251" y="37"/>
                </a:lnTo>
                <a:lnTo>
                  <a:pt x="254" y="37"/>
                </a:lnTo>
                <a:lnTo>
                  <a:pt x="254" y="38"/>
                </a:lnTo>
                <a:lnTo>
                  <a:pt x="257" y="42"/>
                </a:lnTo>
                <a:lnTo>
                  <a:pt x="261" y="42"/>
                </a:lnTo>
                <a:lnTo>
                  <a:pt x="268" y="44"/>
                </a:lnTo>
                <a:lnTo>
                  <a:pt x="269" y="43"/>
                </a:lnTo>
                <a:lnTo>
                  <a:pt x="276" y="43"/>
                </a:lnTo>
                <a:lnTo>
                  <a:pt x="276" y="48"/>
                </a:lnTo>
                <a:lnTo>
                  <a:pt x="275" y="50"/>
                </a:lnTo>
                <a:lnTo>
                  <a:pt x="275" y="51"/>
                </a:lnTo>
                <a:lnTo>
                  <a:pt x="276" y="52"/>
                </a:lnTo>
                <a:lnTo>
                  <a:pt x="281" y="54"/>
                </a:lnTo>
                <a:lnTo>
                  <a:pt x="284" y="57"/>
                </a:lnTo>
                <a:lnTo>
                  <a:pt x="288" y="60"/>
                </a:lnTo>
                <a:lnTo>
                  <a:pt x="290" y="61"/>
                </a:lnTo>
                <a:lnTo>
                  <a:pt x="290" y="70"/>
                </a:lnTo>
                <a:lnTo>
                  <a:pt x="287" y="73"/>
                </a:lnTo>
                <a:lnTo>
                  <a:pt x="284" y="75"/>
                </a:lnTo>
                <a:lnTo>
                  <a:pt x="282" y="76"/>
                </a:lnTo>
                <a:lnTo>
                  <a:pt x="285" y="79"/>
                </a:lnTo>
                <a:lnTo>
                  <a:pt x="286" y="79"/>
                </a:lnTo>
                <a:lnTo>
                  <a:pt x="286" y="82"/>
                </a:lnTo>
                <a:lnTo>
                  <a:pt x="285" y="83"/>
                </a:lnTo>
                <a:lnTo>
                  <a:pt x="285" y="88"/>
                </a:lnTo>
                <a:lnTo>
                  <a:pt x="281" y="94"/>
                </a:lnTo>
                <a:lnTo>
                  <a:pt x="280" y="97"/>
                </a:lnTo>
                <a:lnTo>
                  <a:pt x="282" y="97"/>
                </a:lnTo>
                <a:lnTo>
                  <a:pt x="286" y="95"/>
                </a:lnTo>
                <a:lnTo>
                  <a:pt x="287" y="94"/>
                </a:lnTo>
                <a:lnTo>
                  <a:pt x="290" y="95"/>
                </a:lnTo>
                <a:lnTo>
                  <a:pt x="292" y="98"/>
                </a:lnTo>
                <a:lnTo>
                  <a:pt x="293" y="98"/>
                </a:lnTo>
                <a:lnTo>
                  <a:pt x="293" y="99"/>
                </a:lnTo>
                <a:lnTo>
                  <a:pt x="292" y="101"/>
                </a:lnTo>
                <a:lnTo>
                  <a:pt x="291" y="103"/>
                </a:lnTo>
                <a:lnTo>
                  <a:pt x="291" y="105"/>
                </a:lnTo>
                <a:lnTo>
                  <a:pt x="296" y="109"/>
                </a:lnTo>
                <a:lnTo>
                  <a:pt x="296" y="113"/>
                </a:lnTo>
                <a:lnTo>
                  <a:pt x="297" y="114"/>
                </a:lnTo>
                <a:lnTo>
                  <a:pt x="297" y="116"/>
                </a:lnTo>
                <a:lnTo>
                  <a:pt x="298" y="117"/>
                </a:lnTo>
                <a:lnTo>
                  <a:pt x="300" y="118"/>
                </a:lnTo>
                <a:lnTo>
                  <a:pt x="301" y="119"/>
                </a:lnTo>
                <a:lnTo>
                  <a:pt x="301" y="120"/>
                </a:lnTo>
                <a:lnTo>
                  <a:pt x="300" y="122"/>
                </a:lnTo>
                <a:lnTo>
                  <a:pt x="300" y="124"/>
                </a:lnTo>
                <a:lnTo>
                  <a:pt x="303" y="126"/>
                </a:lnTo>
                <a:lnTo>
                  <a:pt x="303" y="128"/>
                </a:lnTo>
                <a:lnTo>
                  <a:pt x="304" y="129"/>
                </a:lnTo>
                <a:lnTo>
                  <a:pt x="303" y="131"/>
                </a:lnTo>
                <a:lnTo>
                  <a:pt x="304" y="132"/>
                </a:lnTo>
                <a:lnTo>
                  <a:pt x="304" y="135"/>
                </a:lnTo>
                <a:lnTo>
                  <a:pt x="305" y="140"/>
                </a:lnTo>
                <a:lnTo>
                  <a:pt x="305" y="142"/>
                </a:lnTo>
                <a:lnTo>
                  <a:pt x="304" y="143"/>
                </a:lnTo>
                <a:lnTo>
                  <a:pt x="304" y="149"/>
                </a:lnTo>
                <a:lnTo>
                  <a:pt x="303" y="150"/>
                </a:lnTo>
                <a:lnTo>
                  <a:pt x="301" y="149"/>
                </a:lnTo>
                <a:lnTo>
                  <a:pt x="299" y="149"/>
                </a:lnTo>
                <a:lnTo>
                  <a:pt x="297" y="152"/>
                </a:lnTo>
                <a:lnTo>
                  <a:pt x="296" y="152"/>
                </a:lnTo>
                <a:lnTo>
                  <a:pt x="294" y="153"/>
                </a:lnTo>
                <a:lnTo>
                  <a:pt x="293" y="153"/>
                </a:lnTo>
                <a:lnTo>
                  <a:pt x="292" y="154"/>
                </a:lnTo>
                <a:lnTo>
                  <a:pt x="292" y="155"/>
                </a:lnTo>
                <a:lnTo>
                  <a:pt x="287" y="160"/>
                </a:lnTo>
                <a:lnTo>
                  <a:pt x="287" y="161"/>
                </a:lnTo>
                <a:lnTo>
                  <a:pt x="286" y="163"/>
                </a:lnTo>
                <a:lnTo>
                  <a:pt x="281" y="167"/>
                </a:lnTo>
                <a:lnTo>
                  <a:pt x="280" y="169"/>
                </a:lnTo>
                <a:lnTo>
                  <a:pt x="280" y="175"/>
                </a:lnTo>
                <a:lnTo>
                  <a:pt x="279" y="177"/>
                </a:lnTo>
                <a:lnTo>
                  <a:pt x="278" y="177"/>
                </a:lnTo>
                <a:lnTo>
                  <a:pt x="273" y="175"/>
                </a:lnTo>
                <a:lnTo>
                  <a:pt x="272" y="175"/>
                </a:lnTo>
                <a:lnTo>
                  <a:pt x="269" y="173"/>
                </a:lnTo>
                <a:lnTo>
                  <a:pt x="266" y="177"/>
                </a:lnTo>
                <a:lnTo>
                  <a:pt x="265" y="177"/>
                </a:lnTo>
                <a:lnTo>
                  <a:pt x="261" y="174"/>
                </a:lnTo>
                <a:lnTo>
                  <a:pt x="261" y="173"/>
                </a:lnTo>
                <a:lnTo>
                  <a:pt x="259" y="173"/>
                </a:lnTo>
                <a:lnTo>
                  <a:pt x="254" y="174"/>
                </a:lnTo>
                <a:lnTo>
                  <a:pt x="253" y="174"/>
                </a:lnTo>
                <a:lnTo>
                  <a:pt x="248" y="181"/>
                </a:lnTo>
                <a:lnTo>
                  <a:pt x="247" y="183"/>
                </a:lnTo>
                <a:lnTo>
                  <a:pt x="243" y="185"/>
                </a:lnTo>
                <a:lnTo>
                  <a:pt x="242" y="185"/>
                </a:lnTo>
                <a:lnTo>
                  <a:pt x="239" y="184"/>
                </a:lnTo>
                <a:lnTo>
                  <a:pt x="238" y="184"/>
                </a:lnTo>
                <a:lnTo>
                  <a:pt x="237" y="186"/>
                </a:lnTo>
                <a:lnTo>
                  <a:pt x="235" y="186"/>
                </a:lnTo>
                <a:lnTo>
                  <a:pt x="232" y="185"/>
                </a:lnTo>
                <a:lnTo>
                  <a:pt x="226" y="183"/>
                </a:lnTo>
                <a:lnTo>
                  <a:pt x="224" y="180"/>
                </a:lnTo>
                <a:lnTo>
                  <a:pt x="222" y="177"/>
                </a:lnTo>
                <a:lnTo>
                  <a:pt x="219" y="172"/>
                </a:lnTo>
                <a:lnTo>
                  <a:pt x="216" y="168"/>
                </a:lnTo>
                <a:lnTo>
                  <a:pt x="212" y="166"/>
                </a:lnTo>
                <a:lnTo>
                  <a:pt x="210" y="163"/>
                </a:lnTo>
                <a:lnTo>
                  <a:pt x="206" y="161"/>
                </a:lnTo>
                <a:lnTo>
                  <a:pt x="204" y="157"/>
                </a:lnTo>
                <a:lnTo>
                  <a:pt x="203" y="156"/>
                </a:lnTo>
                <a:lnTo>
                  <a:pt x="200" y="155"/>
                </a:lnTo>
                <a:lnTo>
                  <a:pt x="199" y="154"/>
                </a:lnTo>
                <a:lnTo>
                  <a:pt x="198" y="150"/>
                </a:lnTo>
                <a:lnTo>
                  <a:pt x="194" y="150"/>
                </a:lnTo>
                <a:lnTo>
                  <a:pt x="192" y="149"/>
                </a:lnTo>
                <a:lnTo>
                  <a:pt x="185" y="149"/>
                </a:lnTo>
                <a:lnTo>
                  <a:pt x="174" y="147"/>
                </a:lnTo>
                <a:lnTo>
                  <a:pt x="173" y="146"/>
                </a:lnTo>
                <a:lnTo>
                  <a:pt x="169" y="138"/>
                </a:lnTo>
                <a:lnTo>
                  <a:pt x="168" y="138"/>
                </a:lnTo>
                <a:lnTo>
                  <a:pt x="168" y="137"/>
                </a:lnTo>
                <a:lnTo>
                  <a:pt x="167" y="132"/>
                </a:lnTo>
                <a:lnTo>
                  <a:pt x="166" y="129"/>
                </a:lnTo>
                <a:lnTo>
                  <a:pt x="166" y="128"/>
                </a:lnTo>
                <a:lnTo>
                  <a:pt x="163" y="128"/>
                </a:lnTo>
                <a:lnTo>
                  <a:pt x="163" y="130"/>
                </a:lnTo>
                <a:lnTo>
                  <a:pt x="162" y="130"/>
                </a:lnTo>
                <a:lnTo>
                  <a:pt x="157" y="131"/>
                </a:lnTo>
                <a:lnTo>
                  <a:pt x="155" y="134"/>
                </a:lnTo>
                <a:lnTo>
                  <a:pt x="151" y="138"/>
                </a:lnTo>
                <a:lnTo>
                  <a:pt x="150" y="140"/>
                </a:lnTo>
                <a:lnTo>
                  <a:pt x="148" y="141"/>
                </a:lnTo>
                <a:lnTo>
                  <a:pt x="145" y="141"/>
                </a:lnTo>
                <a:lnTo>
                  <a:pt x="142" y="138"/>
                </a:lnTo>
                <a:lnTo>
                  <a:pt x="139" y="138"/>
                </a:lnTo>
                <a:lnTo>
                  <a:pt x="135" y="141"/>
                </a:lnTo>
                <a:lnTo>
                  <a:pt x="131" y="141"/>
                </a:lnTo>
                <a:lnTo>
                  <a:pt x="126" y="137"/>
                </a:lnTo>
                <a:lnTo>
                  <a:pt x="122" y="136"/>
                </a:lnTo>
                <a:lnTo>
                  <a:pt x="116" y="136"/>
                </a:lnTo>
                <a:lnTo>
                  <a:pt x="116" y="134"/>
                </a:lnTo>
                <a:lnTo>
                  <a:pt x="111" y="134"/>
                </a:lnTo>
                <a:lnTo>
                  <a:pt x="110" y="135"/>
                </a:lnTo>
                <a:lnTo>
                  <a:pt x="107" y="136"/>
                </a:lnTo>
                <a:lnTo>
                  <a:pt x="106" y="136"/>
                </a:lnTo>
                <a:lnTo>
                  <a:pt x="99" y="132"/>
                </a:lnTo>
                <a:lnTo>
                  <a:pt x="98" y="132"/>
                </a:lnTo>
                <a:lnTo>
                  <a:pt x="93" y="134"/>
                </a:lnTo>
                <a:lnTo>
                  <a:pt x="92" y="134"/>
                </a:lnTo>
                <a:lnTo>
                  <a:pt x="92" y="135"/>
                </a:lnTo>
                <a:lnTo>
                  <a:pt x="91" y="137"/>
                </a:lnTo>
                <a:lnTo>
                  <a:pt x="88" y="137"/>
                </a:lnTo>
                <a:lnTo>
                  <a:pt x="86" y="136"/>
                </a:lnTo>
                <a:lnTo>
                  <a:pt x="85" y="132"/>
                </a:lnTo>
                <a:lnTo>
                  <a:pt x="83" y="130"/>
                </a:lnTo>
                <a:lnTo>
                  <a:pt x="81" y="130"/>
                </a:lnTo>
                <a:lnTo>
                  <a:pt x="80" y="131"/>
                </a:lnTo>
                <a:lnTo>
                  <a:pt x="77" y="131"/>
                </a:lnTo>
                <a:lnTo>
                  <a:pt x="71" y="135"/>
                </a:lnTo>
                <a:lnTo>
                  <a:pt x="68" y="131"/>
                </a:lnTo>
                <a:lnTo>
                  <a:pt x="51" y="131"/>
                </a:lnTo>
                <a:lnTo>
                  <a:pt x="49" y="129"/>
                </a:lnTo>
                <a:lnTo>
                  <a:pt x="48" y="129"/>
                </a:lnTo>
                <a:lnTo>
                  <a:pt x="43" y="131"/>
                </a:lnTo>
                <a:lnTo>
                  <a:pt x="42" y="131"/>
                </a:lnTo>
                <a:lnTo>
                  <a:pt x="30" y="137"/>
                </a:lnTo>
                <a:lnTo>
                  <a:pt x="26" y="137"/>
                </a:lnTo>
                <a:lnTo>
                  <a:pt x="25" y="138"/>
                </a:lnTo>
                <a:lnTo>
                  <a:pt x="19" y="143"/>
                </a:lnTo>
                <a:lnTo>
                  <a:pt x="17" y="143"/>
                </a:lnTo>
                <a:lnTo>
                  <a:pt x="14" y="144"/>
                </a:lnTo>
                <a:lnTo>
                  <a:pt x="11" y="148"/>
                </a:lnTo>
                <a:lnTo>
                  <a:pt x="9" y="150"/>
                </a:lnTo>
                <a:lnTo>
                  <a:pt x="9" y="154"/>
                </a:lnTo>
                <a:lnTo>
                  <a:pt x="7" y="155"/>
                </a:lnTo>
                <a:lnTo>
                  <a:pt x="4" y="155"/>
                </a:lnTo>
                <a:lnTo>
                  <a:pt x="2" y="153"/>
                </a:lnTo>
                <a:lnTo>
                  <a:pt x="2" y="149"/>
                </a:lnTo>
                <a:lnTo>
                  <a:pt x="0" y="144"/>
                </a:lnTo>
                <a:lnTo>
                  <a:pt x="0" y="130"/>
                </a:lnTo>
                <a:lnTo>
                  <a:pt x="1" y="129"/>
                </a:lnTo>
                <a:lnTo>
                  <a:pt x="1" y="122"/>
                </a:lnTo>
                <a:lnTo>
                  <a:pt x="2" y="122"/>
                </a:lnTo>
                <a:lnTo>
                  <a:pt x="2" y="130"/>
                </a:lnTo>
                <a:lnTo>
                  <a:pt x="4" y="131"/>
                </a:lnTo>
                <a:lnTo>
                  <a:pt x="5" y="131"/>
                </a:lnTo>
                <a:lnTo>
                  <a:pt x="5" y="130"/>
                </a:lnTo>
                <a:lnTo>
                  <a:pt x="4" y="129"/>
                </a:lnTo>
                <a:lnTo>
                  <a:pt x="4" y="122"/>
                </a:lnTo>
                <a:lnTo>
                  <a:pt x="2" y="120"/>
                </a:lnTo>
                <a:lnTo>
                  <a:pt x="1" y="120"/>
                </a:lnTo>
                <a:lnTo>
                  <a:pt x="1" y="116"/>
                </a:lnTo>
                <a:lnTo>
                  <a:pt x="2" y="111"/>
                </a:lnTo>
                <a:lnTo>
                  <a:pt x="4" y="109"/>
                </a:lnTo>
                <a:lnTo>
                  <a:pt x="4" y="97"/>
                </a:lnTo>
                <a:lnTo>
                  <a:pt x="7" y="94"/>
                </a:lnTo>
                <a:lnTo>
                  <a:pt x="7" y="93"/>
                </a:lnTo>
                <a:lnTo>
                  <a:pt x="11" y="92"/>
                </a:lnTo>
                <a:lnTo>
                  <a:pt x="11" y="91"/>
                </a:lnTo>
                <a:lnTo>
                  <a:pt x="13" y="88"/>
                </a:lnTo>
                <a:lnTo>
                  <a:pt x="13" y="87"/>
                </a:lnTo>
                <a:lnTo>
                  <a:pt x="14" y="86"/>
                </a:lnTo>
                <a:lnTo>
                  <a:pt x="17" y="85"/>
                </a:lnTo>
                <a:lnTo>
                  <a:pt x="17" y="83"/>
                </a:lnTo>
                <a:lnTo>
                  <a:pt x="18" y="81"/>
                </a:lnTo>
                <a:lnTo>
                  <a:pt x="18" y="79"/>
                </a:lnTo>
                <a:lnTo>
                  <a:pt x="19" y="75"/>
                </a:lnTo>
                <a:lnTo>
                  <a:pt x="18" y="75"/>
                </a:lnTo>
                <a:lnTo>
                  <a:pt x="18" y="70"/>
                </a:lnTo>
                <a:lnTo>
                  <a:pt x="19" y="70"/>
                </a:lnTo>
                <a:lnTo>
                  <a:pt x="18" y="64"/>
                </a:lnTo>
                <a:lnTo>
                  <a:pt x="19" y="63"/>
                </a:lnTo>
                <a:lnTo>
                  <a:pt x="19" y="61"/>
                </a:lnTo>
                <a:lnTo>
                  <a:pt x="21" y="58"/>
                </a:lnTo>
                <a:lnTo>
                  <a:pt x="23" y="54"/>
                </a:lnTo>
                <a:lnTo>
                  <a:pt x="26" y="50"/>
                </a:lnTo>
                <a:lnTo>
                  <a:pt x="31" y="40"/>
                </a:lnTo>
                <a:lnTo>
                  <a:pt x="33" y="38"/>
                </a:lnTo>
                <a:lnTo>
                  <a:pt x="42" y="38"/>
                </a:lnTo>
                <a:lnTo>
                  <a:pt x="43" y="37"/>
                </a:lnTo>
                <a:lnTo>
                  <a:pt x="51" y="33"/>
                </a:lnTo>
                <a:lnTo>
                  <a:pt x="63" y="26"/>
                </a:lnTo>
                <a:lnTo>
                  <a:pt x="67" y="26"/>
                </a:lnTo>
                <a:lnTo>
                  <a:pt x="67" y="25"/>
                </a:lnTo>
                <a:lnTo>
                  <a:pt x="69" y="25"/>
                </a:lnTo>
                <a:lnTo>
                  <a:pt x="69" y="26"/>
                </a:lnTo>
                <a:lnTo>
                  <a:pt x="68" y="26"/>
                </a:lnTo>
                <a:lnTo>
                  <a:pt x="68" y="34"/>
                </a:lnTo>
                <a:lnTo>
                  <a:pt x="69" y="36"/>
                </a:lnTo>
                <a:lnTo>
                  <a:pt x="70" y="38"/>
                </a:lnTo>
                <a:lnTo>
                  <a:pt x="80" y="46"/>
                </a:lnTo>
                <a:lnTo>
                  <a:pt x="83" y="51"/>
                </a:lnTo>
                <a:lnTo>
                  <a:pt x="87" y="54"/>
                </a:lnTo>
                <a:lnTo>
                  <a:pt x="89" y="55"/>
                </a:lnTo>
                <a:lnTo>
                  <a:pt x="91" y="55"/>
                </a:lnTo>
                <a:lnTo>
                  <a:pt x="91" y="57"/>
                </a:lnTo>
                <a:lnTo>
                  <a:pt x="92" y="57"/>
                </a:lnTo>
                <a:lnTo>
                  <a:pt x="92" y="60"/>
                </a:lnTo>
                <a:lnTo>
                  <a:pt x="93" y="61"/>
                </a:lnTo>
                <a:lnTo>
                  <a:pt x="93" y="66"/>
                </a:lnTo>
                <a:lnTo>
                  <a:pt x="94" y="67"/>
                </a:lnTo>
                <a:lnTo>
                  <a:pt x="94" y="68"/>
                </a:lnTo>
                <a:lnTo>
                  <a:pt x="95" y="68"/>
                </a:lnTo>
                <a:lnTo>
                  <a:pt x="96" y="75"/>
                </a:lnTo>
                <a:lnTo>
                  <a:pt x="96" y="77"/>
                </a:lnTo>
                <a:lnTo>
                  <a:pt x="98" y="77"/>
                </a:lnTo>
                <a:lnTo>
                  <a:pt x="100" y="80"/>
                </a:lnTo>
                <a:lnTo>
                  <a:pt x="107" y="82"/>
                </a:lnTo>
                <a:lnTo>
                  <a:pt x="110" y="86"/>
                </a:lnTo>
                <a:lnTo>
                  <a:pt x="112" y="87"/>
                </a:lnTo>
                <a:lnTo>
                  <a:pt x="114" y="87"/>
                </a:lnTo>
                <a:lnTo>
                  <a:pt x="122" y="85"/>
                </a:lnTo>
                <a:lnTo>
                  <a:pt x="124" y="83"/>
                </a:lnTo>
                <a:lnTo>
                  <a:pt x="125" y="83"/>
                </a:lnTo>
                <a:lnTo>
                  <a:pt x="127" y="82"/>
                </a:lnTo>
                <a:lnTo>
                  <a:pt x="127" y="81"/>
                </a:lnTo>
                <a:lnTo>
                  <a:pt x="129" y="80"/>
                </a:lnTo>
                <a:lnTo>
                  <a:pt x="129" y="79"/>
                </a:lnTo>
                <a:lnTo>
                  <a:pt x="131" y="79"/>
                </a:lnTo>
                <a:lnTo>
                  <a:pt x="132" y="77"/>
                </a:lnTo>
                <a:lnTo>
                  <a:pt x="137" y="75"/>
                </a:lnTo>
                <a:lnTo>
                  <a:pt x="137" y="73"/>
                </a:lnTo>
                <a:lnTo>
                  <a:pt x="138" y="73"/>
                </a:lnTo>
                <a:lnTo>
                  <a:pt x="139" y="71"/>
                </a:lnTo>
                <a:lnTo>
                  <a:pt x="139" y="70"/>
                </a:lnTo>
                <a:lnTo>
                  <a:pt x="141" y="70"/>
                </a:lnTo>
                <a:lnTo>
                  <a:pt x="143" y="67"/>
                </a:lnTo>
                <a:lnTo>
                  <a:pt x="144" y="64"/>
                </a:lnTo>
                <a:lnTo>
                  <a:pt x="145" y="61"/>
                </a:lnTo>
                <a:lnTo>
                  <a:pt x="144" y="57"/>
                </a:lnTo>
                <a:lnTo>
                  <a:pt x="144" y="48"/>
                </a:lnTo>
                <a:lnTo>
                  <a:pt x="143" y="45"/>
                </a:lnTo>
                <a:lnTo>
                  <a:pt x="143" y="31"/>
                </a:lnTo>
                <a:lnTo>
                  <a:pt x="141" y="27"/>
                </a:lnTo>
                <a:lnTo>
                  <a:pt x="141" y="25"/>
                </a:lnTo>
                <a:lnTo>
                  <a:pt x="139" y="21"/>
                </a:lnTo>
                <a:lnTo>
                  <a:pt x="139" y="18"/>
                </a:lnTo>
                <a:lnTo>
                  <a:pt x="141" y="17"/>
                </a:lnTo>
                <a:lnTo>
                  <a:pt x="144" y="17"/>
                </a:lnTo>
                <a:lnTo>
                  <a:pt x="145" y="15"/>
                </a:lnTo>
                <a:lnTo>
                  <a:pt x="145" y="14"/>
                </a:lnTo>
                <a:lnTo>
                  <a:pt x="148" y="12"/>
                </a:lnTo>
                <a:lnTo>
                  <a:pt x="150" y="11"/>
                </a:lnTo>
                <a:lnTo>
                  <a:pt x="151" y="9"/>
                </a:lnTo>
                <a:lnTo>
                  <a:pt x="154" y="11"/>
                </a:lnTo>
                <a:lnTo>
                  <a:pt x="156" y="9"/>
                </a:lnTo>
                <a:lnTo>
                  <a:pt x="157" y="9"/>
                </a:lnTo>
                <a:lnTo>
                  <a:pt x="157" y="7"/>
                </a:lnTo>
                <a:lnTo>
                  <a:pt x="161" y="7"/>
                </a:lnTo>
                <a:lnTo>
                  <a:pt x="162" y="8"/>
                </a:lnTo>
                <a:lnTo>
                  <a:pt x="162" y="7"/>
                </a:lnTo>
                <a:lnTo>
                  <a:pt x="163" y="7"/>
                </a:lnTo>
                <a:lnTo>
                  <a:pt x="164" y="6"/>
                </a:lnTo>
                <a:lnTo>
                  <a:pt x="168" y="6"/>
                </a:lnTo>
                <a:lnTo>
                  <a:pt x="172" y="2"/>
                </a:lnTo>
                <a:lnTo>
                  <a:pt x="172" y="1"/>
                </a:lnTo>
                <a:lnTo>
                  <a:pt x="174" y="1"/>
                </a:lnTo>
                <a:lnTo>
                  <a:pt x="175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" name="Freeform 33">
            <a:extLst>
              <a:ext uri="{FF2B5EF4-FFF2-40B4-BE49-F238E27FC236}">
                <a16:creationId xmlns:a16="http://schemas.microsoft.com/office/drawing/2014/main" id="{52BE015B-6644-468A-A861-3856F214EF20}"/>
              </a:ext>
            </a:extLst>
          </p:cNvPr>
          <p:cNvSpPr>
            <a:spLocks/>
          </p:cNvSpPr>
          <p:nvPr/>
        </p:nvSpPr>
        <p:spPr bwMode="auto">
          <a:xfrm>
            <a:off x="2454601" y="5316014"/>
            <a:ext cx="107222" cy="117365"/>
          </a:xfrm>
          <a:custGeom>
            <a:avLst/>
            <a:gdLst/>
            <a:ahLst/>
            <a:cxnLst>
              <a:cxn ang="0">
                <a:pos x="35" y="1"/>
              </a:cxn>
              <a:cxn ang="0">
                <a:pos x="35" y="4"/>
              </a:cxn>
              <a:cxn ang="0">
                <a:pos x="42" y="9"/>
              </a:cxn>
              <a:cxn ang="0">
                <a:pos x="47" y="12"/>
              </a:cxn>
              <a:cxn ang="0">
                <a:pos x="50" y="15"/>
              </a:cxn>
              <a:cxn ang="0">
                <a:pos x="53" y="23"/>
              </a:cxn>
              <a:cxn ang="0">
                <a:pos x="59" y="24"/>
              </a:cxn>
              <a:cxn ang="0">
                <a:pos x="59" y="31"/>
              </a:cxn>
              <a:cxn ang="0">
                <a:pos x="68" y="33"/>
              </a:cxn>
              <a:cxn ang="0">
                <a:pos x="71" y="33"/>
              </a:cxn>
              <a:cxn ang="0">
                <a:pos x="74" y="35"/>
              </a:cxn>
              <a:cxn ang="0">
                <a:pos x="73" y="41"/>
              </a:cxn>
              <a:cxn ang="0">
                <a:pos x="68" y="47"/>
              </a:cxn>
              <a:cxn ang="0">
                <a:pos x="65" y="52"/>
              </a:cxn>
              <a:cxn ang="0">
                <a:pos x="65" y="57"/>
              </a:cxn>
              <a:cxn ang="0">
                <a:pos x="62" y="58"/>
              </a:cxn>
              <a:cxn ang="0">
                <a:pos x="61" y="58"/>
              </a:cxn>
              <a:cxn ang="0">
                <a:pos x="58" y="60"/>
              </a:cxn>
              <a:cxn ang="0">
                <a:pos x="54" y="66"/>
              </a:cxn>
              <a:cxn ang="0">
                <a:pos x="54" y="68"/>
              </a:cxn>
              <a:cxn ang="0">
                <a:pos x="50" y="66"/>
              </a:cxn>
              <a:cxn ang="0">
                <a:pos x="47" y="62"/>
              </a:cxn>
              <a:cxn ang="0">
                <a:pos x="43" y="64"/>
              </a:cxn>
              <a:cxn ang="0">
                <a:pos x="37" y="66"/>
              </a:cxn>
              <a:cxn ang="0">
                <a:pos x="33" y="69"/>
              </a:cxn>
              <a:cxn ang="0">
                <a:pos x="30" y="80"/>
              </a:cxn>
              <a:cxn ang="0">
                <a:pos x="28" y="80"/>
              </a:cxn>
              <a:cxn ang="0">
                <a:pos x="24" y="81"/>
              </a:cxn>
              <a:cxn ang="0">
                <a:pos x="24" y="78"/>
              </a:cxn>
              <a:cxn ang="0">
                <a:pos x="24" y="74"/>
              </a:cxn>
              <a:cxn ang="0">
                <a:pos x="23" y="64"/>
              </a:cxn>
              <a:cxn ang="0">
                <a:pos x="19" y="60"/>
              </a:cxn>
              <a:cxn ang="0">
                <a:pos x="10" y="55"/>
              </a:cxn>
              <a:cxn ang="0">
                <a:pos x="9" y="51"/>
              </a:cxn>
              <a:cxn ang="0">
                <a:pos x="9" y="49"/>
              </a:cxn>
              <a:cxn ang="0">
                <a:pos x="5" y="44"/>
              </a:cxn>
              <a:cxn ang="0">
                <a:pos x="4" y="37"/>
              </a:cxn>
              <a:cxn ang="0">
                <a:pos x="0" y="30"/>
              </a:cxn>
              <a:cxn ang="0">
                <a:pos x="4" y="29"/>
              </a:cxn>
              <a:cxn ang="0">
                <a:pos x="9" y="30"/>
              </a:cxn>
              <a:cxn ang="0">
                <a:pos x="15" y="25"/>
              </a:cxn>
              <a:cxn ang="0">
                <a:pos x="21" y="21"/>
              </a:cxn>
              <a:cxn ang="0">
                <a:pos x="19" y="19"/>
              </a:cxn>
              <a:cxn ang="0">
                <a:pos x="22" y="17"/>
              </a:cxn>
              <a:cxn ang="0">
                <a:pos x="25" y="15"/>
              </a:cxn>
              <a:cxn ang="0">
                <a:pos x="28" y="11"/>
              </a:cxn>
              <a:cxn ang="0">
                <a:pos x="27" y="8"/>
              </a:cxn>
              <a:cxn ang="0">
                <a:pos x="28" y="4"/>
              </a:cxn>
              <a:cxn ang="0">
                <a:pos x="34" y="0"/>
              </a:cxn>
            </a:cxnLst>
            <a:rect l="0" t="0" r="r" b="b"/>
            <a:pathLst>
              <a:path w="74" h="81">
                <a:moveTo>
                  <a:pt x="34" y="0"/>
                </a:moveTo>
                <a:lnTo>
                  <a:pt x="34" y="1"/>
                </a:lnTo>
                <a:lnTo>
                  <a:pt x="35" y="1"/>
                </a:lnTo>
                <a:lnTo>
                  <a:pt x="35" y="2"/>
                </a:lnTo>
                <a:lnTo>
                  <a:pt x="36" y="2"/>
                </a:lnTo>
                <a:lnTo>
                  <a:pt x="35" y="4"/>
                </a:lnTo>
                <a:lnTo>
                  <a:pt x="35" y="6"/>
                </a:lnTo>
                <a:lnTo>
                  <a:pt x="39" y="7"/>
                </a:lnTo>
                <a:lnTo>
                  <a:pt x="42" y="9"/>
                </a:lnTo>
                <a:lnTo>
                  <a:pt x="43" y="11"/>
                </a:lnTo>
                <a:lnTo>
                  <a:pt x="47" y="11"/>
                </a:lnTo>
                <a:lnTo>
                  <a:pt x="47" y="12"/>
                </a:lnTo>
                <a:lnTo>
                  <a:pt x="48" y="15"/>
                </a:lnTo>
                <a:lnTo>
                  <a:pt x="49" y="17"/>
                </a:lnTo>
                <a:lnTo>
                  <a:pt x="50" y="15"/>
                </a:lnTo>
                <a:lnTo>
                  <a:pt x="52" y="17"/>
                </a:lnTo>
                <a:lnTo>
                  <a:pt x="52" y="20"/>
                </a:lnTo>
                <a:lnTo>
                  <a:pt x="53" y="23"/>
                </a:lnTo>
                <a:lnTo>
                  <a:pt x="55" y="23"/>
                </a:lnTo>
                <a:lnTo>
                  <a:pt x="56" y="24"/>
                </a:lnTo>
                <a:lnTo>
                  <a:pt x="59" y="24"/>
                </a:lnTo>
                <a:lnTo>
                  <a:pt x="59" y="30"/>
                </a:lnTo>
                <a:lnTo>
                  <a:pt x="58" y="30"/>
                </a:lnTo>
                <a:lnTo>
                  <a:pt x="59" y="31"/>
                </a:lnTo>
                <a:lnTo>
                  <a:pt x="65" y="31"/>
                </a:lnTo>
                <a:lnTo>
                  <a:pt x="66" y="32"/>
                </a:lnTo>
                <a:lnTo>
                  <a:pt x="68" y="33"/>
                </a:lnTo>
                <a:lnTo>
                  <a:pt x="68" y="35"/>
                </a:lnTo>
                <a:lnTo>
                  <a:pt x="70" y="35"/>
                </a:lnTo>
                <a:lnTo>
                  <a:pt x="71" y="33"/>
                </a:lnTo>
                <a:lnTo>
                  <a:pt x="73" y="33"/>
                </a:lnTo>
                <a:lnTo>
                  <a:pt x="73" y="35"/>
                </a:lnTo>
                <a:lnTo>
                  <a:pt x="74" y="35"/>
                </a:lnTo>
                <a:lnTo>
                  <a:pt x="74" y="37"/>
                </a:lnTo>
                <a:lnTo>
                  <a:pt x="73" y="37"/>
                </a:lnTo>
                <a:lnTo>
                  <a:pt x="73" y="41"/>
                </a:lnTo>
                <a:lnTo>
                  <a:pt x="72" y="42"/>
                </a:lnTo>
                <a:lnTo>
                  <a:pt x="70" y="45"/>
                </a:lnTo>
                <a:lnTo>
                  <a:pt x="68" y="47"/>
                </a:lnTo>
                <a:lnTo>
                  <a:pt x="68" y="51"/>
                </a:lnTo>
                <a:lnTo>
                  <a:pt x="67" y="51"/>
                </a:lnTo>
                <a:lnTo>
                  <a:pt x="65" y="52"/>
                </a:lnTo>
                <a:lnTo>
                  <a:pt x="64" y="54"/>
                </a:lnTo>
                <a:lnTo>
                  <a:pt x="64" y="55"/>
                </a:lnTo>
                <a:lnTo>
                  <a:pt x="65" y="57"/>
                </a:lnTo>
                <a:lnTo>
                  <a:pt x="66" y="58"/>
                </a:lnTo>
                <a:lnTo>
                  <a:pt x="64" y="60"/>
                </a:lnTo>
                <a:lnTo>
                  <a:pt x="62" y="58"/>
                </a:lnTo>
                <a:lnTo>
                  <a:pt x="62" y="60"/>
                </a:lnTo>
                <a:lnTo>
                  <a:pt x="61" y="60"/>
                </a:lnTo>
                <a:lnTo>
                  <a:pt x="61" y="58"/>
                </a:lnTo>
                <a:lnTo>
                  <a:pt x="60" y="58"/>
                </a:lnTo>
                <a:lnTo>
                  <a:pt x="60" y="61"/>
                </a:lnTo>
                <a:lnTo>
                  <a:pt x="58" y="60"/>
                </a:lnTo>
                <a:lnTo>
                  <a:pt x="56" y="61"/>
                </a:lnTo>
                <a:lnTo>
                  <a:pt x="54" y="64"/>
                </a:lnTo>
                <a:lnTo>
                  <a:pt x="54" y="66"/>
                </a:lnTo>
                <a:lnTo>
                  <a:pt x="55" y="67"/>
                </a:lnTo>
                <a:lnTo>
                  <a:pt x="54" y="67"/>
                </a:lnTo>
                <a:lnTo>
                  <a:pt x="54" y="68"/>
                </a:lnTo>
                <a:lnTo>
                  <a:pt x="53" y="67"/>
                </a:lnTo>
                <a:lnTo>
                  <a:pt x="52" y="67"/>
                </a:lnTo>
                <a:lnTo>
                  <a:pt x="50" y="66"/>
                </a:lnTo>
                <a:lnTo>
                  <a:pt x="50" y="64"/>
                </a:lnTo>
                <a:lnTo>
                  <a:pt x="49" y="63"/>
                </a:lnTo>
                <a:lnTo>
                  <a:pt x="47" y="62"/>
                </a:lnTo>
                <a:lnTo>
                  <a:pt x="45" y="62"/>
                </a:lnTo>
                <a:lnTo>
                  <a:pt x="43" y="63"/>
                </a:lnTo>
                <a:lnTo>
                  <a:pt x="43" y="64"/>
                </a:lnTo>
                <a:lnTo>
                  <a:pt x="42" y="64"/>
                </a:lnTo>
                <a:lnTo>
                  <a:pt x="41" y="66"/>
                </a:lnTo>
                <a:lnTo>
                  <a:pt x="37" y="66"/>
                </a:lnTo>
                <a:lnTo>
                  <a:pt x="34" y="68"/>
                </a:lnTo>
                <a:lnTo>
                  <a:pt x="33" y="68"/>
                </a:lnTo>
                <a:lnTo>
                  <a:pt x="33" y="69"/>
                </a:lnTo>
                <a:lnTo>
                  <a:pt x="31" y="70"/>
                </a:lnTo>
                <a:lnTo>
                  <a:pt x="31" y="79"/>
                </a:lnTo>
                <a:lnTo>
                  <a:pt x="30" y="80"/>
                </a:lnTo>
                <a:lnTo>
                  <a:pt x="30" y="81"/>
                </a:lnTo>
                <a:lnTo>
                  <a:pt x="28" y="81"/>
                </a:lnTo>
                <a:lnTo>
                  <a:pt x="28" y="80"/>
                </a:lnTo>
                <a:lnTo>
                  <a:pt x="27" y="80"/>
                </a:lnTo>
                <a:lnTo>
                  <a:pt x="27" y="81"/>
                </a:lnTo>
                <a:lnTo>
                  <a:pt x="24" y="81"/>
                </a:lnTo>
                <a:lnTo>
                  <a:pt x="24" y="80"/>
                </a:lnTo>
                <a:lnTo>
                  <a:pt x="23" y="79"/>
                </a:lnTo>
                <a:lnTo>
                  <a:pt x="24" y="78"/>
                </a:lnTo>
                <a:lnTo>
                  <a:pt x="24" y="76"/>
                </a:lnTo>
                <a:lnTo>
                  <a:pt x="25" y="75"/>
                </a:lnTo>
                <a:lnTo>
                  <a:pt x="24" y="74"/>
                </a:lnTo>
                <a:lnTo>
                  <a:pt x="24" y="73"/>
                </a:lnTo>
                <a:lnTo>
                  <a:pt x="23" y="69"/>
                </a:lnTo>
                <a:lnTo>
                  <a:pt x="23" y="64"/>
                </a:lnTo>
                <a:lnTo>
                  <a:pt x="21" y="61"/>
                </a:lnTo>
                <a:lnTo>
                  <a:pt x="21" y="60"/>
                </a:lnTo>
                <a:lnTo>
                  <a:pt x="19" y="60"/>
                </a:lnTo>
                <a:lnTo>
                  <a:pt x="19" y="58"/>
                </a:lnTo>
                <a:lnTo>
                  <a:pt x="14" y="55"/>
                </a:lnTo>
                <a:lnTo>
                  <a:pt x="10" y="55"/>
                </a:lnTo>
                <a:lnTo>
                  <a:pt x="10" y="54"/>
                </a:lnTo>
                <a:lnTo>
                  <a:pt x="9" y="54"/>
                </a:lnTo>
                <a:lnTo>
                  <a:pt x="9" y="51"/>
                </a:lnTo>
                <a:lnTo>
                  <a:pt x="8" y="51"/>
                </a:lnTo>
                <a:lnTo>
                  <a:pt x="8" y="50"/>
                </a:lnTo>
                <a:lnTo>
                  <a:pt x="9" y="49"/>
                </a:lnTo>
                <a:lnTo>
                  <a:pt x="8" y="48"/>
                </a:lnTo>
                <a:lnTo>
                  <a:pt x="6" y="44"/>
                </a:lnTo>
                <a:lnTo>
                  <a:pt x="5" y="44"/>
                </a:lnTo>
                <a:lnTo>
                  <a:pt x="3" y="43"/>
                </a:lnTo>
                <a:lnTo>
                  <a:pt x="3" y="38"/>
                </a:lnTo>
                <a:lnTo>
                  <a:pt x="4" y="37"/>
                </a:lnTo>
                <a:lnTo>
                  <a:pt x="4" y="35"/>
                </a:lnTo>
                <a:lnTo>
                  <a:pt x="0" y="31"/>
                </a:lnTo>
                <a:lnTo>
                  <a:pt x="0" y="30"/>
                </a:lnTo>
                <a:lnTo>
                  <a:pt x="2" y="30"/>
                </a:lnTo>
                <a:lnTo>
                  <a:pt x="2" y="29"/>
                </a:lnTo>
                <a:lnTo>
                  <a:pt x="4" y="29"/>
                </a:lnTo>
                <a:lnTo>
                  <a:pt x="6" y="30"/>
                </a:lnTo>
                <a:lnTo>
                  <a:pt x="8" y="31"/>
                </a:lnTo>
                <a:lnTo>
                  <a:pt x="9" y="30"/>
                </a:lnTo>
                <a:lnTo>
                  <a:pt x="9" y="26"/>
                </a:lnTo>
                <a:lnTo>
                  <a:pt x="11" y="26"/>
                </a:lnTo>
                <a:lnTo>
                  <a:pt x="15" y="25"/>
                </a:lnTo>
                <a:lnTo>
                  <a:pt x="18" y="25"/>
                </a:lnTo>
                <a:lnTo>
                  <a:pt x="21" y="23"/>
                </a:lnTo>
                <a:lnTo>
                  <a:pt x="21" y="21"/>
                </a:lnTo>
                <a:lnTo>
                  <a:pt x="19" y="20"/>
                </a:lnTo>
                <a:lnTo>
                  <a:pt x="18" y="20"/>
                </a:lnTo>
                <a:lnTo>
                  <a:pt x="19" y="19"/>
                </a:lnTo>
                <a:lnTo>
                  <a:pt x="19" y="18"/>
                </a:lnTo>
                <a:lnTo>
                  <a:pt x="22" y="18"/>
                </a:lnTo>
                <a:lnTo>
                  <a:pt x="22" y="17"/>
                </a:lnTo>
                <a:lnTo>
                  <a:pt x="23" y="17"/>
                </a:lnTo>
                <a:lnTo>
                  <a:pt x="23" y="15"/>
                </a:lnTo>
                <a:lnTo>
                  <a:pt x="25" y="15"/>
                </a:lnTo>
                <a:lnTo>
                  <a:pt x="25" y="14"/>
                </a:lnTo>
                <a:lnTo>
                  <a:pt x="27" y="13"/>
                </a:lnTo>
                <a:lnTo>
                  <a:pt x="28" y="11"/>
                </a:lnTo>
                <a:lnTo>
                  <a:pt x="28" y="9"/>
                </a:lnTo>
                <a:lnTo>
                  <a:pt x="27" y="9"/>
                </a:lnTo>
                <a:lnTo>
                  <a:pt x="27" y="8"/>
                </a:lnTo>
                <a:lnTo>
                  <a:pt x="25" y="8"/>
                </a:lnTo>
                <a:lnTo>
                  <a:pt x="25" y="4"/>
                </a:lnTo>
                <a:lnTo>
                  <a:pt x="28" y="4"/>
                </a:lnTo>
                <a:lnTo>
                  <a:pt x="31" y="1"/>
                </a:lnTo>
                <a:lnTo>
                  <a:pt x="33" y="1"/>
                </a:lnTo>
                <a:lnTo>
                  <a:pt x="34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" name="Freeform 34">
            <a:extLst>
              <a:ext uri="{FF2B5EF4-FFF2-40B4-BE49-F238E27FC236}">
                <a16:creationId xmlns:a16="http://schemas.microsoft.com/office/drawing/2014/main" id="{95E72CD3-1C5C-486E-A504-BC0BED32464D}"/>
              </a:ext>
            </a:extLst>
          </p:cNvPr>
          <p:cNvSpPr>
            <a:spLocks noEditPoints="1"/>
          </p:cNvSpPr>
          <p:nvPr/>
        </p:nvSpPr>
        <p:spPr bwMode="auto">
          <a:xfrm>
            <a:off x="1634501" y="4985656"/>
            <a:ext cx="728817" cy="946159"/>
          </a:xfrm>
          <a:custGeom>
            <a:avLst/>
            <a:gdLst/>
            <a:ahLst/>
            <a:cxnLst>
              <a:cxn ang="0">
                <a:pos x="231" y="522"/>
              </a:cxn>
              <a:cxn ang="0">
                <a:pos x="365" y="559"/>
              </a:cxn>
              <a:cxn ang="0">
                <a:pos x="358" y="592"/>
              </a:cxn>
              <a:cxn ang="0">
                <a:pos x="296" y="560"/>
              </a:cxn>
              <a:cxn ang="0">
                <a:pos x="249" y="538"/>
              </a:cxn>
              <a:cxn ang="0">
                <a:pos x="273" y="516"/>
              </a:cxn>
              <a:cxn ang="0">
                <a:pos x="315" y="519"/>
              </a:cxn>
              <a:cxn ang="0">
                <a:pos x="354" y="501"/>
              </a:cxn>
              <a:cxn ang="0">
                <a:pos x="335" y="489"/>
              </a:cxn>
              <a:cxn ang="0">
                <a:pos x="72" y="461"/>
              </a:cxn>
              <a:cxn ang="0">
                <a:pos x="74" y="353"/>
              </a:cxn>
              <a:cxn ang="0">
                <a:pos x="124" y="349"/>
              </a:cxn>
              <a:cxn ang="0">
                <a:pos x="133" y="375"/>
              </a:cxn>
              <a:cxn ang="0">
                <a:pos x="130" y="421"/>
              </a:cxn>
              <a:cxn ang="0">
                <a:pos x="115" y="455"/>
              </a:cxn>
              <a:cxn ang="0">
                <a:pos x="90" y="470"/>
              </a:cxn>
              <a:cxn ang="0">
                <a:pos x="77" y="443"/>
              </a:cxn>
              <a:cxn ang="0">
                <a:pos x="80" y="406"/>
              </a:cxn>
              <a:cxn ang="0">
                <a:pos x="67" y="374"/>
              </a:cxn>
              <a:cxn ang="0">
                <a:pos x="99" y="353"/>
              </a:cxn>
              <a:cxn ang="0">
                <a:pos x="148" y="267"/>
              </a:cxn>
              <a:cxn ang="0">
                <a:pos x="158" y="254"/>
              </a:cxn>
              <a:cxn ang="0">
                <a:pos x="136" y="181"/>
              </a:cxn>
              <a:cxn ang="0">
                <a:pos x="234" y="7"/>
              </a:cxn>
              <a:cxn ang="0">
                <a:pos x="291" y="33"/>
              </a:cxn>
              <a:cxn ang="0">
                <a:pos x="291" y="67"/>
              </a:cxn>
              <a:cxn ang="0">
                <a:pos x="301" y="85"/>
              </a:cxn>
              <a:cxn ang="0">
                <a:pos x="274" y="82"/>
              </a:cxn>
              <a:cxn ang="0">
                <a:pos x="249" y="92"/>
              </a:cxn>
              <a:cxn ang="0">
                <a:pos x="246" y="124"/>
              </a:cxn>
              <a:cxn ang="0">
                <a:pos x="240" y="137"/>
              </a:cxn>
              <a:cxn ang="0">
                <a:pos x="291" y="208"/>
              </a:cxn>
              <a:cxn ang="0">
                <a:pos x="340" y="290"/>
              </a:cxn>
              <a:cxn ang="0">
                <a:pos x="398" y="319"/>
              </a:cxn>
              <a:cxn ang="0">
                <a:pos x="475" y="374"/>
              </a:cxn>
              <a:cxn ang="0">
                <a:pos x="497" y="421"/>
              </a:cxn>
              <a:cxn ang="0">
                <a:pos x="450" y="390"/>
              </a:cxn>
              <a:cxn ang="0">
                <a:pos x="425" y="406"/>
              </a:cxn>
              <a:cxn ang="0">
                <a:pos x="441" y="443"/>
              </a:cxn>
              <a:cxn ang="0">
                <a:pos x="419" y="500"/>
              </a:cxn>
              <a:cxn ang="0">
                <a:pos x="389" y="504"/>
              </a:cxn>
              <a:cxn ang="0">
                <a:pos x="397" y="443"/>
              </a:cxn>
              <a:cxn ang="0">
                <a:pos x="352" y="399"/>
              </a:cxn>
              <a:cxn ang="0">
                <a:pos x="329" y="377"/>
              </a:cxn>
              <a:cxn ang="0">
                <a:pos x="295" y="344"/>
              </a:cxn>
              <a:cxn ang="0">
                <a:pos x="241" y="316"/>
              </a:cxn>
              <a:cxn ang="0">
                <a:pos x="191" y="278"/>
              </a:cxn>
              <a:cxn ang="0">
                <a:pos x="165" y="247"/>
              </a:cxn>
              <a:cxn ang="0">
                <a:pos x="136" y="179"/>
              </a:cxn>
              <a:cxn ang="0">
                <a:pos x="94" y="161"/>
              </a:cxn>
              <a:cxn ang="0">
                <a:pos x="66" y="189"/>
              </a:cxn>
              <a:cxn ang="0">
                <a:pos x="34" y="178"/>
              </a:cxn>
              <a:cxn ang="0">
                <a:pos x="18" y="140"/>
              </a:cxn>
              <a:cxn ang="0">
                <a:pos x="19" y="113"/>
              </a:cxn>
              <a:cxn ang="0">
                <a:pos x="21" y="73"/>
              </a:cxn>
              <a:cxn ang="0">
                <a:pos x="62" y="51"/>
              </a:cxn>
              <a:cxn ang="0">
                <a:pos x="94" y="64"/>
              </a:cxn>
              <a:cxn ang="0">
                <a:pos x="105" y="60"/>
              </a:cxn>
              <a:cxn ang="0">
                <a:pos x="124" y="48"/>
              </a:cxn>
              <a:cxn ang="0">
                <a:pos x="147" y="30"/>
              </a:cxn>
              <a:cxn ang="0">
                <a:pos x="174" y="18"/>
              </a:cxn>
              <a:cxn ang="0">
                <a:pos x="216" y="7"/>
              </a:cxn>
            </a:cxnLst>
            <a:rect l="0" t="0" r="r" b="b"/>
            <a:pathLst>
              <a:path w="503" h="653">
                <a:moveTo>
                  <a:pt x="251" y="651"/>
                </a:moveTo>
                <a:lnTo>
                  <a:pt x="254" y="651"/>
                </a:lnTo>
                <a:lnTo>
                  <a:pt x="254" y="653"/>
                </a:lnTo>
                <a:lnTo>
                  <a:pt x="253" y="652"/>
                </a:lnTo>
                <a:lnTo>
                  <a:pt x="251" y="652"/>
                </a:lnTo>
                <a:lnTo>
                  <a:pt x="251" y="651"/>
                </a:lnTo>
                <a:close/>
                <a:moveTo>
                  <a:pt x="264" y="633"/>
                </a:moveTo>
                <a:lnTo>
                  <a:pt x="265" y="633"/>
                </a:lnTo>
                <a:lnTo>
                  <a:pt x="265" y="634"/>
                </a:lnTo>
                <a:lnTo>
                  <a:pt x="264" y="634"/>
                </a:lnTo>
                <a:lnTo>
                  <a:pt x="264" y="633"/>
                </a:lnTo>
                <a:close/>
                <a:moveTo>
                  <a:pt x="224" y="583"/>
                </a:moveTo>
                <a:lnTo>
                  <a:pt x="228" y="583"/>
                </a:lnTo>
                <a:lnTo>
                  <a:pt x="230" y="584"/>
                </a:lnTo>
                <a:lnTo>
                  <a:pt x="230" y="586"/>
                </a:lnTo>
                <a:lnTo>
                  <a:pt x="229" y="587"/>
                </a:lnTo>
                <a:lnTo>
                  <a:pt x="228" y="587"/>
                </a:lnTo>
                <a:lnTo>
                  <a:pt x="226" y="585"/>
                </a:lnTo>
                <a:lnTo>
                  <a:pt x="226" y="584"/>
                </a:lnTo>
                <a:lnTo>
                  <a:pt x="224" y="583"/>
                </a:lnTo>
                <a:close/>
                <a:moveTo>
                  <a:pt x="240" y="524"/>
                </a:moveTo>
                <a:lnTo>
                  <a:pt x="243" y="524"/>
                </a:lnTo>
                <a:lnTo>
                  <a:pt x="243" y="525"/>
                </a:lnTo>
                <a:lnTo>
                  <a:pt x="240" y="525"/>
                </a:lnTo>
                <a:lnTo>
                  <a:pt x="240" y="524"/>
                </a:lnTo>
                <a:close/>
                <a:moveTo>
                  <a:pt x="230" y="522"/>
                </a:moveTo>
                <a:lnTo>
                  <a:pt x="231" y="522"/>
                </a:lnTo>
                <a:lnTo>
                  <a:pt x="231" y="523"/>
                </a:lnTo>
                <a:lnTo>
                  <a:pt x="230" y="523"/>
                </a:lnTo>
                <a:lnTo>
                  <a:pt x="230" y="522"/>
                </a:lnTo>
                <a:close/>
                <a:moveTo>
                  <a:pt x="377" y="505"/>
                </a:moveTo>
                <a:lnTo>
                  <a:pt x="378" y="505"/>
                </a:lnTo>
                <a:lnTo>
                  <a:pt x="380" y="506"/>
                </a:lnTo>
                <a:lnTo>
                  <a:pt x="382" y="506"/>
                </a:lnTo>
                <a:lnTo>
                  <a:pt x="379" y="507"/>
                </a:lnTo>
                <a:lnTo>
                  <a:pt x="379" y="509"/>
                </a:lnTo>
                <a:lnTo>
                  <a:pt x="378" y="510"/>
                </a:lnTo>
                <a:lnTo>
                  <a:pt x="379" y="510"/>
                </a:lnTo>
                <a:lnTo>
                  <a:pt x="377" y="513"/>
                </a:lnTo>
                <a:lnTo>
                  <a:pt x="376" y="516"/>
                </a:lnTo>
                <a:lnTo>
                  <a:pt x="371" y="522"/>
                </a:lnTo>
                <a:lnTo>
                  <a:pt x="367" y="528"/>
                </a:lnTo>
                <a:lnTo>
                  <a:pt x="366" y="530"/>
                </a:lnTo>
                <a:lnTo>
                  <a:pt x="366" y="531"/>
                </a:lnTo>
                <a:lnTo>
                  <a:pt x="365" y="531"/>
                </a:lnTo>
                <a:lnTo>
                  <a:pt x="364" y="534"/>
                </a:lnTo>
                <a:lnTo>
                  <a:pt x="364" y="537"/>
                </a:lnTo>
                <a:lnTo>
                  <a:pt x="363" y="538"/>
                </a:lnTo>
                <a:lnTo>
                  <a:pt x="363" y="542"/>
                </a:lnTo>
                <a:lnTo>
                  <a:pt x="361" y="543"/>
                </a:lnTo>
                <a:lnTo>
                  <a:pt x="359" y="548"/>
                </a:lnTo>
                <a:lnTo>
                  <a:pt x="359" y="556"/>
                </a:lnTo>
                <a:lnTo>
                  <a:pt x="363" y="559"/>
                </a:lnTo>
                <a:lnTo>
                  <a:pt x="365" y="559"/>
                </a:lnTo>
                <a:lnTo>
                  <a:pt x="365" y="560"/>
                </a:lnTo>
                <a:lnTo>
                  <a:pt x="366" y="561"/>
                </a:lnTo>
                <a:lnTo>
                  <a:pt x="365" y="561"/>
                </a:lnTo>
                <a:lnTo>
                  <a:pt x="364" y="562"/>
                </a:lnTo>
                <a:lnTo>
                  <a:pt x="364" y="561"/>
                </a:lnTo>
                <a:lnTo>
                  <a:pt x="363" y="561"/>
                </a:lnTo>
                <a:lnTo>
                  <a:pt x="363" y="565"/>
                </a:lnTo>
                <a:lnTo>
                  <a:pt x="364" y="566"/>
                </a:lnTo>
                <a:lnTo>
                  <a:pt x="365" y="565"/>
                </a:lnTo>
                <a:lnTo>
                  <a:pt x="365" y="567"/>
                </a:lnTo>
                <a:lnTo>
                  <a:pt x="366" y="568"/>
                </a:lnTo>
                <a:lnTo>
                  <a:pt x="367" y="568"/>
                </a:lnTo>
                <a:lnTo>
                  <a:pt x="367" y="571"/>
                </a:lnTo>
                <a:lnTo>
                  <a:pt x="366" y="571"/>
                </a:lnTo>
                <a:lnTo>
                  <a:pt x="367" y="572"/>
                </a:lnTo>
                <a:lnTo>
                  <a:pt x="367" y="573"/>
                </a:lnTo>
                <a:lnTo>
                  <a:pt x="366" y="574"/>
                </a:lnTo>
                <a:lnTo>
                  <a:pt x="366" y="575"/>
                </a:lnTo>
                <a:lnTo>
                  <a:pt x="364" y="575"/>
                </a:lnTo>
                <a:lnTo>
                  <a:pt x="364" y="577"/>
                </a:lnTo>
                <a:lnTo>
                  <a:pt x="363" y="577"/>
                </a:lnTo>
                <a:lnTo>
                  <a:pt x="361" y="578"/>
                </a:lnTo>
                <a:lnTo>
                  <a:pt x="359" y="584"/>
                </a:lnTo>
                <a:lnTo>
                  <a:pt x="359" y="585"/>
                </a:lnTo>
                <a:lnTo>
                  <a:pt x="360" y="587"/>
                </a:lnTo>
                <a:lnTo>
                  <a:pt x="360" y="592"/>
                </a:lnTo>
                <a:lnTo>
                  <a:pt x="358" y="592"/>
                </a:lnTo>
                <a:lnTo>
                  <a:pt x="357" y="591"/>
                </a:lnTo>
                <a:lnTo>
                  <a:pt x="357" y="590"/>
                </a:lnTo>
                <a:lnTo>
                  <a:pt x="353" y="590"/>
                </a:lnTo>
                <a:lnTo>
                  <a:pt x="352" y="589"/>
                </a:lnTo>
                <a:lnTo>
                  <a:pt x="349" y="587"/>
                </a:lnTo>
                <a:lnTo>
                  <a:pt x="348" y="589"/>
                </a:lnTo>
                <a:lnTo>
                  <a:pt x="346" y="590"/>
                </a:lnTo>
                <a:lnTo>
                  <a:pt x="346" y="589"/>
                </a:lnTo>
                <a:lnTo>
                  <a:pt x="345" y="589"/>
                </a:lnTo>
                <a:lnTo>
                  <a:pt x="345" y="590"/>
                </a:lnTo>
                <a:lnTo>
                  <a:pt x="344" y="589"/>
                </a:lnTo>
                <a:lnTo>
                  <a:pt x="341" y="589"/>
                </a:lnTo>
                <a:lnTo>
                  <a:pt x="341" y="587"/>
                </a:lnTo>
                <a:lnTo>
                  <a:pt x="340" y="586"/>
                </a:lnTo>
                <a:lnTo>
                  <a:pt x="338" y="586"/>
                </a:lnTo>
                <a:lnTo>
                  <a:pt x="338" y="585"/>
                </a:lnTo>
                <a:lnTo>
                  <a:pt x="333" y="585"/>
                </a:lnTo>
                <a:lnTo>
                  <a:pt x="333" y="584"/>
                </a:lnTo>
                <a:lnTo>
                  <a:pt x="329" y="577"/>
                </a:lnTo>
                <a:lnTo>
                  <a:pt x="324" y="572"/>
                </a:lnTo>
                <a:lnTo>
                  <a:pt x="321" y="570"/>
                </a:lnTo>
                <a:lnTo>
                  <a:pt x="316" y="567"/>
                </a:lnTo>
                <a:lnTo>
                  <a:pt x="311" y="568"/>
                </a:lnTo>
                <a:lnTo>
                  <a:pt x="308" y="568"/>
                </a:lnTo>
                <a:lnTo>
                  <a:pt x="305" y="566"/>
                </a:lnTo>
                <a:lnTo>
                  <a:pt x="302" y="566"/>
                </a:lnTo>
                <a:lnTo>
                  <a:pt x="296" y="560"/>
                </a:lnTo>
                <a:lnTo>
                  <a:pt x="295" y="560"/>
                </a:lnTo>
                <a:lnTo>
                  <a:pt x="293" y="559"/>
                </a:lnTo>
                <a:lnTo>
                  <a:pt x="291" y="559"/>
                </a:lnTo>
                <a:lnTo>
                  <a:pt x="290" y="558"/>
                </a:lnTo>
                <a:lnTo>
                  <a:pt x="289" y="558"/>
                </a:lnTo>
                <a:lnTo>
                  <a:pt x="286" y="555"/>
                </a:lnTo>
                <a:lnTo>
                  <a:pt x="284" y="554"/>
                </a:lnTo>
                <a:lnTo>
                  <a:pt x="283" y="554"/>
                </a:lnTo>
                <a:lnTo>
                  <a:pt x="283" y="553"/>
                </a:lnTo>
                <a:lnTo>
                  <a:pt x="282" y="553"/>
                </a:lnTo>
                <a:lnTo>
                  <a:pt x="282" y="550"/>
                </a:lnTo>
                <a:lnTo>
                  <a:pt x="280" y="550"/>
                </a:lnTo>
                <a:lnTo>
                  <a:pt x="279" y="549"/>
                </a:lnTo>
                <a:lnTo>
                  <a:pt x="278" y="549"/>
                </a:lnTo>
                <a:lnTo>
                  <a:pt x="278" y="548"/>
                </a:lnTo>
                <a:lnTo>
                  <a:pt x="272" y="547"/>
                </a:lnTo>
                <a:lnTo>
                  <a:pt x="272" y="548"/>
                </a:lnTo>
                <a:lnTo>
                  <a:pt x="271" y="548"/>
                </a:lnTo>
                <a:lnTo>
                  <a:pt x="271" y="546"/>
                </a:lnTo>
                <a:lnTo>
                  <a:pt x="268" y="543"/>
                </a:lnTo>
                <a:lnTo>
                  <a:pt x="261" y="543"/>
                </a:lnTo>
                <a:lnTo>
                  <a:pt x="258" y="544"/>
                </a:lnTo>
                <a:lnTo>
                  <a:pt x="257" y="544"/>
                </a:lnTo>
                <a:lnTo>
                  <a:pt x="255" y="543"/>
                </a:lnTo>
                <a:lnTo>
                  <a:pt x="253" y="540"/>
                </a:lnTo>
                <a:lnTo>
                  <a:pt x="252" y="538"/>
                </a:lnTo>
                <a:lnTo>
                  <a:pt x="249" y="538"/>
                </a:lnTo>
                <a:lnTo>
                  <a:pt x="249" y="537"/>
                </a:lnTo>
                <a:lnTo>
                  <a:pt x="248" y="536"/>
                </a:lnTo>
                <a:lnTo>
                  <a:pt x="248" y="534"/>
                </a:lnTo>
                <a:lnTo>
                  <a:pt x="247" y="534"/>
                </a:lnTo>
                <a:lnTo>
                  <a:pt x="247" y="532"/>
                </a:lnTo>
                <a:lnTo>
                  <a:pt x="246" y="531"/>
                </a:lnTo>
                <a:lnTo>
                  <a:pt x="247" y="530"/>
                </a:lnTo>
                <a:lnTo>
                  <a:pt x="247" y="531"/>
                </a:lnTo>
                <a:lnTo>
                  <a:pt x="248" y="530"/>
                </a:lnTo>
                <a:lnTo>
                  <a:pt x="248" y="525"/>
                </a:lnTo>
                <a:lnTo>
                  <a:pt x="249" y="523"/>
                </a:lnTo>
                <a:lnTo>
                  <a:pt x="249" y="519"/>
                </a:lnTo>
                <a:lnTo>
                  <a:pt x="251" y="519"/>
                </a:lnTo>
                <a:lnTo>
                  <a:pt x="253" y="517"/>
                </a:lnTo>
                <a:lnTo>
                  <a:pt x="255" y="517"/>
                </a:lnTo>
                <a:lnTo>
                  <a:pt x="255" y="516"/>
                </a:lnTo>
                <a:lnTo>
                  <a:pt x="257" y="515"/>
                </a:lnTo>
                <a:lnTo>
                  <a:pt x="259" y="515"/>
                </a:lnTo>
                <a:lnTo>
                  <a:pt x="259" y="511"/>
                </a:lnTo>
                <a:lnTo>
                  <a:pt x="260" y="511"/>
                </a:lnTo>
                <a:lnTo>
                  <a:pt x="260" y="512"/>
                </a:lnTo>
                <a:lnTo>
                  <a:pt x="262" y="517"/>
                </a:lnTo>
                <a:lnTo>
                  <a:pt x="264" y="517"/>
                </a:lnTo>
                <a:lnTo>
                  <a:pt x="266" y="519"/>
                </a:lnTo>
                <a:lnTo>
                  <a:pt x="268" y="519"/>
                </a:lnTo>
                <a:lnTo>
                  <a:pt x="272" y="517"/>
                </a:lnTo>
                <a:lnTo>
                  <a:pt x="273" y="516"/>
                </a:lnTo>
                <a:lnTo>
                  <a:pt x="273" y="513"/>
                </a:lnTo>
                <a:lnTo>
                  <a:pt x="274" y="512"/>
                </a:lnTo>
                <a:lnTo>
                  <a:pt x="274" y="511"/>
                </a:lnTo>
                <a:lnTo>
                  <a:pt x="280" y="511"/>
                </a:lnTo>
                <a:lnTo>
                  <a:pt x="280" y="510"/>
                </a:lnTo>
                <a:lnTo>
                  <a:pt x="283" y="510"/>
                </a:lnTo>
                <a:lnTo>
                  <a:pt x="284" y="509"/>
                </a:lnTo>
                <a:lnTo>
                  <a:pt x="284" y="510"/>
                </a:lnTo>
                <a:lnTo>
                  <a:pt x="286" y="511"/>
                </a:lnTo>
                <a:lnTo>
                  <a:pt x="286" y="513"/>
                </a:lnTo>
                <a:lnTo>
                  <a:pt x="288" y="516"/>
                </a:lnTo>
                <a:lnTo>
                  <a:pt x="292" y="515"/>
                </a:lnTo>
                <a:lnTo>
                  <a:pt x="293" y="516"/>
                </a:lnTo>
                <a:lnTo>
                  <a:pt x="293" y="518"/>
                </a:lnTo>
                <a:lnTo>
                  <a:pt x="295" y="518"/>
                </a:lnTo>
                <a:lnTo>
                  <a:pt x="297" y="519"/>
                </a:lnTo>
                <a:lnTo>
                  <a:pt x="298" y="521"/>
                </a:lnTo>
                <a:lnTo>
                  <a:pt x="299" y="521"/>
                </a:lnTo>
                <a:lnTo>
                  <a:pt x="301" y="522"/>
                </a:lnTo>
                <a:lnTo>
                  <a:pt x="304" y="522"/>
                </a:lnTo>
                <a:lnTo>
                  <a:pt x="307" y="521"/>
                </a:lnTo>
                <a:lnTo>
                  <a:pt x="309" y="521"/>
                </a:lnTo>
                <a:lnTo>
                  <a:pt x="309" y="519"/>
                </a:lnTo>
                <a:lnTo>
                  <a:pt x="310" y="519"/>
                </a:lnTo>
                <a:lnTo>
                  <a:pt x="313" y="518"/>
                </a:lnTo>
                <a:lnTo>
                  <a:pt x="314" y="518"/>
                </a:lnTo>
                <a:lnTo>
                  <a:pt x="315" y="519"/>
                </a:lnTo>
                <a:lnTo>
                  <a:pt x="329" y="519"/>
                </a:lnTo>
                <a:lnTo>
                  <a:pt x="330" y="518"/>
                </a:lnTo>
                <a:lnTo>
                  <a:pt x="334" y="518"/>
                </a:lnTo>
                <a:lnTo>
                  <a:pt x="340" y="517"/>
                </a:lnTo>
                <a:lnTo>
                  <a:pt x="342" y="515"/>
                </a:lnTo>
                <a:lnTo>
                  <a:pt x="344" y="512"/>
                </a:lnTo>
                <a:lnTo>
                  <a:pt x="346" y="512"/>
                </a:lnTo>
                <a:lnTo>
                  <a:pt x="349" y="511"/>
                </a:lnTo>
                <a:lnTo>
                  <a:pt x="352" y="511"/>
                </a:lnTo>
                <a:lnTo>
                  <a:pt x="353" y="512"/>
                </a:lnTo>
                <a:lnTo>
                  <a:pt x="357" y="512"/>
                </a:lnTo>
                <a:lnTo>
                  <a:pt x="357" y="513"/>
                </a:lnTo>
                <a:lnTo>
                  <a:pt x="360" y="513"/>
                </a:lnTo>
                <a:lnTo>
                  <a:pt x="363" y="512"/>
                </a:lnTo>
                <a:lnTo>
                  <a:pt x="364" y="511"/>
                </a:lnTo>
                <a:lnTo>
                  <a:pt x="365" y="507"/>
                </a:lnTo>
                <a:lnTo>
                  <a:pt x="365" y="509"/>
                </a:lnTo>
                <a:lnTo>
                  <a:pt x="366" y="510"/>
                </a:lnTo>
                <a:lnTo>
                  <a:pt x="367" y="510"/>
                </a:lnTo>
                <a:lnTo>
                  <a:pt x="372" y="509"/>
                </a:lnTo>
                <a:lnTo>
                  <a:pt x="372" y="507"/>
                </a:lnTo>
                <a:lnTo>
                  <a:pt x="373" y="507"/>
                </a:lnTo>
                <a:lnTo>
                  <a:pt x="375" y="506"/>
                </a:lnTo>
                <a:lnTo>
                  <a:pt x="377" y="505"/>
                </a:lnTo>
                <a:close/>
                <a:moveTo>
                  <a:pt x="353" y="498"/>
                </a:moveTo>
                <a:lnTo>
                  <a:pt x="355" y="500"/>
                </a:lnTo>
                <a:lnTo>
                  <a:pt x="354" y="501"/>
                </a:lnTo>
                <a:lnTo>
                  <a:pt x="353" y="500"/>
                </a:lnTo>
                <a:lnTo>
                  <a:pt x="353" y="498"/>
                </a:lnTo>
                <a:close/>
                <a:moveTo>
                  <a:pt x="351" y="493"/>
                </a:moveTo>
                <a:lnTo>
                  <a:pt x="353" y="493"/>
                </a:lnTo>
                <a:lnTo>
                  <a:pt x="353" y="494"/>
                </a:lnTo>
                <a:lnTo>
                  <a:pt x="354" y="494"/>
                </a:lnTo>
                <a:lnTo>
                  <a:pt x="354" y="495"/>
                </a:lnTo>
                <a:lnTo>
                  <a:pt x="353" y="495"/>
                </a:lnTo>
                <a:lnTo>
                  <a:pt x="353" y="497"/>
                </a:lnTo>
                <a:lnTo>
                  <a:pt x="352" y="497"/>
                </a:lnTo>
                <a:lnTo>
                  <a:pt x="352" y="495"/>
                </a:lnTo>
                <a:lnTo>
                  <a:pt x="351" y="495"/>
                </a:lnTo>
                <a:lnTo>
                  <a:pt x="351" y="493"/>
                </a:lnTo>
                <a:close/>
                <a:moveTo>
                  <a:pt x="328" y="491"/>
                </a:moveTo>
                <a:lnTo>
                  <a:pt x="328" y="492"/>
                </a:lnTo>
                <a:lnTo>
                  <a:pt x="327" y="492"/>
                </a:lnTo>
                <a:lnTo>
                  <a:pt x="328" y="491"/>
                </a:lnTo>
                <a:close/>
                <a:moveTo>
                  <a:pt x="346" y="489"/>
                </a:moveTo>
                <a:lnTo>
                  <a:pt x="349" y="489"/>
                </a:lnTo>
                <a:lnTo>
                  <a:pt x="349" y="492"/>
                </a:lnTo>
                <a:lnTo>
                  <a:pt x="347" y="491"/>
                </a:lnTo>
                <a:lnTo>
                  <a:pt x="346" y="489"/>
                </a:lnTo>
                <a:close/>
                <a:moveTo>
                  <a:pt x="335" y="489"/>
                </a:moveTo>
                <a:lnTo>
                  <a:pt x="336" y="489"/>
                </a:lnTo>
                <a:lnTo>
                  <a:pt x="338" y="491"/>
                </a:lnTo>
                <a:lnTo>
                  <a:pt x="336" y="491"/>
                </a:lnTo>
                <a:lnTo>
                  <a:pt x="335" y="489"/>
                </a:lnTo>
                <a:close/>
                <a:moveTo>
                  <a:pt x="277" y="482"/>
                </a:moveTo>
                <a:lnTo>
                  <a:pt x="279" y="482"/>
                </a:lnTo>
                <a:lnTo>
                  <a:pt x="278" y="484"/>
                </a:lnTo>
                <a:lnTo>
                  <a:pt x="277" y="484"/>
                </a:lnTo>
                <a:lnTo>
                  <a:pt x="277" y="482"/>
                </a:lnTo>
                <a:close/>
                <a:moveTo>
                  <a:pt x="363" y="478"/>
                </a:moveTo>
                <a:lnTo>
                  <a:pt x="365" y="478"/>
                </a:lnTo>
                <a:lnTo>
                  <a:pt x="365" y="479"/>
                </a:lnTo>
                <a:lnTo>
                  <a:pt x="363" y="479"/>
                </a:lnTo>
                <a:lnTo>
                  <a:pt x="363" y="478"/>
                </a:lnTo>
                <a:close/>
                <a:moveTo>
                  <a:pt x="74" y="461"/>
                </a:moveTo>
                <a:lnTo>
                  <a:pt x="78" y="461"/>
                </a:lnTo>
                <a:lnTo>
                  <a:pt x="79" y="463"/>
                </a:lnTo>
                <a:lnTo>
                  <a:pt x="80" y="463"/>
                </a:lnTo>
                <a:lnTo>
                  <a:pt x="79" y="464"/>
                </a:lnTo>
                <a:lnTo>
                  <a:pt x="79" y="466"/>
                </a:lnTo>
                <a:lnTo>
                  <a:pt x="78" y="467"/>
                </a:lnTo>
                <a:lnTo>
                  <a:pt x="78" y="469"/>
                </a:lnTo>
                <a:lnTo>
                  <a:pt x="77" y="469"/>
                </a:lnTo>
                <a:lnTo>
                  <a:pt x="77" y="468"/>
                </a:lnTo>
                <a:lnTo>
                  <a:pt x="74" y="463"/>
                </a:lnTo>
                <a:lnTo>
                  <a:pt x="74" y="461"/>
                </a:lnTo>
                <a:close/>
                <a:moveTo>
                  <a:pt x="69" y="457"/>
                </a:moveTo>
                <a:lnTo>
                  <a:pt x="72" y="457"/>
                </a:lnTo>
                <a:lnTo>
                  <a:pt x="72" y="458"/>
                </a:lnTo>
                <a:lnTo>
                  <a:pt x="73" y="461"/>
                </a:lnTo>
                <a:lnTo>
                  <a:pt x="72" y="461"/>
                </a:lnTo>
                <a:lnTo>
                  <a:pt x="72" y="462"/>
                </a:lnTo>
                <a:lnTo>
                  <a:pt x="71" y="462"/>
                </a:lnTo>
                <a:lnTo>
                  <a:pt x="71" y="460"/>
                </a:lnTo>
                <a:lnTo>
                  <a:pt x="69" y="460"/>
                </a:lnTo>
                <a:lnTo>
                  <a:pt x="69" y="457"/>
                </a:lnTo>
                <a:close/>
                <a:moveTo>
                  <a:pt x="307" y="370"/>
                </a:moveTo>
                <a:lnTo>
                  <a:pt x="308" y="370"/>
                </a:lnTo>
                <a:lnTo>
                  <a:pt x="310" y="371"/>
                </a:lnTo>
                <a:lnTo>
                  <a:pt x="311" y="371"/>
                </a:lnTo>
                <a:lnTo>
                  <a:pt x="311" y="372"/>
                </a:lnTo>
                <a:lnTo>
                  <a:pt x="310" y="374"/>
                </a:lnTo>
                <a:lnTo>
                  <a:pt x="307" y="374"/>
                </a:lnTo>
                <a:lnTo>
                  <a:pt x="307" y="370"/>
                </a:lnTo>
                <a:close/>
                <a:moveTo>
                  <a:pt x="289" y="368"/>
                </a:moveTo>
                <a:lnTo>
                  <a:pt x="289" y="369"/>
                </a:lnTo>
                <a:lnTo>
                  <a:pt x="288" y="369"/>
                </a:lnTo>
                <a:lnTo>
                  <a:pt x="289" y="368"/>
                </a:lnTo>
                <a:close/>
                <a:moveTo>
                  <a:pt x="71" y="353"/>
                </a:moveTo>
                <a:lnTo>
                  <a:pt x="71" y="356"/>
                </a:lnTo>
                <a:lnTo>
                  <a:pt x="69" y="357"/>
                </a:lnTo>
                <a:lnTo>
                  <a:pt x="68" y="357"/>
                </a:lnTo>
                <a:lnTo>
                  <a:pt x="69" y="356"/>
                </a:lnTo>
                <a:lnTo>
                  <a:pt x="69" y="355"/>
                </a:lnTo>
                <a:lnTo>
                  <a:pt x="71" y="353"/>
                </a:lnTo>
                <a:close/>
                <a:moveTo>
                  <a:pt x="71" y="351"/>
                </a:moveTo>
                <a:lnTo>
                  <a:pt x="74" y="351"/>
                </a:lnTo>
                <a:lnTo>
                  <a:pt x="74" y="353"/>
                </a:lnTo>
                <a:lnTo>
                  <a:pt x="71" y="353"/>
                </a:lnTo>
                <a:lnTo>
                  <a:pt x="71" y="351"/>
                </a:lnTo>
                <a:close/>
                <a:moveTo>
                  <a:pt x="121" y="344"/>
                </a:moveTo>
                <a:lnTo>
                  <a:pt x="122" y="344"/>
                </a:lnTo>
                <a:lnTo>
                  <a:pt x="122" y="347"/>
                </a:lnTo>
                <a:lnTo>
                  <a:pt x="121" y="347"/>
                </a:lnTo>
                <a:lnTo>
                  <a:pt x="121" y="344"/>
                </a:lnTo>
                <a:close/>
                <a:moveTo>
                  <a:pt x="118" y="343"/>
                </a:moveTo>
                <a:lnTo>
                  <a:pt x="119" y="343"/>
                </a:lnTo>
                <a:lnTo>
                  <a:pt x="119" y="345"/>
                </a:lnTo>
                <a:lnTo>
                  <a:pt x="117" y="345"/>
                </a:lnTo>
                <a:lnTo>
                  <a:pt x="117" y="344"/>
                </a:lnTo>
                <a:lnTo>
                  <a:pt x="118" y="344"/>
                </a:lnTo>
                <a:lnTo>
                  <a:pt x="118" y="343"/>
                </a:lnTo>
                <a:close/>
                <a:moveTo>
                  <a:pt x="110" y="343"/>
                </a:moveTo>
                <a:lnTo>
                  <a:pt x="112" y="343"/>
                </a:lnTo>
                <a:lnTo>
                  <a:pt x="114" y="344"/>
                </a:lnTo>
                <a:lnTo>
                  <a:pt x="114" y="346"/>
                </a:lnTo>
                <a:lnTo>
                  <a:pt x="116" y="346"/>
                </a:lnTo>
                <a:lnTo>
                  <a:pt x="116" y="345"/>
                </a:lnTo>
                <a:lnTo>
                  <a:pt x="117" y="345"/>
                </a:lnTo>
                <a:lnTo>
                  <a:pt x="118" y="347"/>
                </a:lnTo>
                <a:lnTo>
                  <a:pt x="119" y="347"/>
                </a:lnTo>
                <a:lnTo>
                  <a:pt x="119" y="349"/>
                </a:lnTo>
                <a:lnTo>
                  <a:pt x="121" y="350"/>
                </a:lnTo>
                <a:lnTo>
                  <a:pt x="121" y="349"/>
                </a:lnTo>
                <a:lnTo>
                  <a:pt x="124" y="349"/>
                </a:lnTo>
                <a:lnTo>
                  <a:pt x="124" y="350"/>
                </a:lnTo>
                <a:lnTo>
                  <a:pt x="125" y="350"/>
                </a:lnTo>
                <a:lnTo>
                  <a:pt x="125" y="352"/>
                </a:lnTo>
                <a:lnTo>
                  <a:pt x="124" y="352"/>
                </a:lnTo>
                <a:lnTo>
                  <a:pt x="124" y="355"/>
                </a:lnTo>
                <a:lnTo>
                  <a:pt x="125" y="355"/>
                </a:lnTo>
                <a:lnTo>
                  <a:pt x="125" y="357"/>
                </a:lnTo>
                <a:lnTo>
                  <a:pt x="127" y="356"/>
                </a:lnTo>
                <a:lnTo>
                  <a:pt x="128" y="356"/>
                </a:lnTo>
                <a:lnTo>
                  <a:pt x="129" y="357"/>
                </a:lnTo>
                <a:lnTo>
                  <a:pt x="127" y="357"/>
                </a:lnTo>
                <a:lnTo>
                  <a:pt x="127" y="359"/>
                </a:lnTo>
                <a:lnTo>
                  <a:pt x="125" y="359"/>
                </a:lnTo>
                <a:lnTo>
                  <a:pt x="125" y="361"/>
                </a:lnTo>
                <a:lnTo>
                  <a:pt x="123" y="361"/>
                </a:lnTo>
                <a:lnTo>
                  <a:pt x="123" y="362"/>
                </a:lnTo>
                <a:lnTo>
                  <a:pt x="128" y="362"/>
                </a:lnTo>
                <a:lnTo>
                  <a:pt x="128" y="363"/>
                </a:lnTo>
                <a:lnTo>
                  <a:pt x="130" y="365"/>
                </a:lnTo>
                <a:lnTo>
                  <a:pt x="133" y="365"/>
                </a:lnTo>
                <a:lnTo>
                  <a:pt x="131" y="366"/>
                </a:lnTo>
                <a:lnTo>
                  <a:pt x="130" y="366"/>
                </a:lnTo>
                <a:lnTo>
                  <a:pt x="130" y="368"/>
                </a:lnTo>
                <a:lnTo>
                  <a:pt x="129" y="368"/>
                </a:lnTo>
                <a:lnTo>
                  <a:pt x="131" y="370"/>
                </a:lnTo>
                <a:lnTo>
                  <a:pt x="131" y="372"/>
                </a:lnTo>
                <a:lnTo>
                  <a:pt x="133" y="375"/>
                </a:lnTo>
                <a:lnTo>
                  <a:pt x="134" y="376"/>
                </a:lnTo>
                <a:lnTo>
                  <a:pt x="134" y="380"/>
                </a:lnTo>
                <a:lnTo>
                  <a:pt x="135" y="381"/>
                </a:lnTo>
                <a:lnTo>
                  <a:pt x="135" y="382"/>
                </a:lnTo>
                <a:lnTo>
                  <a:pt x="136" y="383"/>
                </a:lnTo>
                <a:lnTo>
                  <a:pt x="136" y="387"/>
                </a:lnTo>
                <a:lnTo>
                  <a:pt x="135" y="387"/>
                </a:lnTo>
                <a:lnTo>
                  <a:pt x="135" y="389"/>
                </a:lnTo>
                <a:lnTo>
                  <a:pt x="134" y="390"/>
                </a:lnTo>
                <a:lnTo>
                  <a:pt x="134" y="392"/>
                </a:lnTo>
                <a:lnTo>
                  <a:pt x="133" y="392"/>
                </a:lnTo>
                <a:lnTo>
                  <a:pt x="130" y="394"/>
                </a:lnTo>
                <a:lnTo>
                  <a:pt x="130" y="395"/>
                </a:lnTo>
                <a:lnTo>
                  <a:pt x="128" y="398"/>
                </a:lnTo>
                <a:lnTo>
                  <a:pt x="128" y="401"/>
                </a:lnTo>
                <a:lnTo>
                  <a:pt x="129" y="405"/>
                </a:lnTo>
                <a:lnTo>
                  <a:pt x="130" y="405"/>
                </a:lnTo>
                <a:lnTo>
                  <a:pt x="130" y="406"/>
                </a:lnTo>
                <a:lnTo>
                  <a:pt x="133" y="408"/>
                </a:lnTo>
                <a:lnTo>
                  <a:pt x="131" y="413"/>
                </a:lnTo>
                <a:lnTo>
                  <a:pt x="130" y="414"/>
                </a:lnTo>
                <a:lnTo>
                  <a:pt x="131" y="415"/>
                </a:lnTo>
                <a:lnTo>
                  <a:pt x="131" y="417"/>
                </a:lnTo>
                <a:lnTo>
                  <a:pt x="130" y="418"/>
                </a:lnTo>
                <a:lnTo>
                  <a:pt x="130" y="420"/>
                </a:lnTo>
                <a:lnTo>
                  <a:pt x="131" y="420"/>
                </a:lnTo>
                <a:lnTo>
                  <a:pt x="130" y="421"/>
                </a:lnTo>
                <a:lnTo>
                  <a:pt x="130" y="430"/>
                </a:lnTo>
                <a:lnTo>
                  <a:pt x="129" y="431"/>
                </a:lnTo>
                <a:lnTo>
                  <a:pt x="129" y="436"/>
                </a:lnTo>
                <a:lnTo>
                  <a:pt x="128" y="439"/>
                </a:lnTo>
                <a:lnTo>
                  <a:pt x="129" y="441"/>
                </a:lnTo>
                <a:lnTo>
                  <a:pt x="129" y="443"/>
                </a:lnTo>
                <a:lnTo>
                  <a:pt x="127" y="448"/>
                </a:lnTo>
                <a:lnTo>
                  <a:pt x="127" y="449"/>
                </a:lnTo>
                <a:lnTo>
                  <a:pt x="128" y="450"/>
                </a:lnTo>
                <a:lnTo>
                  <a:pt x="129" y="450"/>
                </a:lnTo>
                <a:lnTo>
                  <a:pt x="129" y="451"/>
                </a:lnTo>
                <a:lnTo>
                  <a:pt x="128" y="451"/>
                </a:lnTo>
                <a:lnTo>
                  <a:pt x="125" y="454"/>
                </a:lnTo>
                <a:lnTo>
                  <a:pt x="125" y="456"/>
                </a:lnTo>
                <a:lnTo>
                  <a:pt x="127" y="457"/>
                </a:lnTo>
                <a:lnTo>
                  <a:pt x="125" y="458"/>
                </a:lnTo>
                <a:lnTo>
                  <a:pt x="125" y="460"/>
                </a:lnTo>
                <a:lnTo>
                  <a:pt x="124" y="460"/>
                </a:lnTo>
                <a:lnTo>
                  <a:pt x="123" y="461"/>
                </a:lnTo>
                <a:lnTo>
                  <a:pt x="123" y="460"/>
                </a:lnTo>
                <a:lnTo>
                  <a:pt x="119" y="460"/>
                </a:lnTo>
                <a:lnTo>
                  <a:pt x="119" y="458"/>
                </a:lnTo>
                <a:lnTo>
                  <a:pt x="118" y="457"/>
                </a:lnTo>
                <a:lnTo>
                  <a:pt x="117" y="457"/>
                </a:lnTo>
                <a:lnTo>
                  <a:pt x="116" y="456"/>
                </a:lnTo>
                <a:lnTo>
                  <a:pt x="115" y="456"/>
                </a:lnTo>
                <a:lnTo>
                  <a:pt x="115" y="455"/>
                </a:lnTo>
                <a:lnTo>
                  <a:pt x="110" y="455"/>
                </a:lnTo>
                <a:lnTo>
                  <a:pt x="109" y="456"/>
                </a:lnTo>
                <a:lnTo>
                  <a:pt x="109" y="457"/>
                </a:lnTo>
                <a:lnTo>
                  <a:pt x="108" y="456"/>
                </a:lnTo>
                <a:lnTo>
                  <a:pt x="106" y="456"/>
                </a:lnTo>
                <a:lnTo>
                  <a:pt x="105" y="454"/>
                </a:lnTo>
                <a:lnTo>
                  <a:pt x="104" y="454"/>
                </a:lnTo>
                <a:lnTo>
                  <a:pt x="104" y="452"/>
                </a:lnTo>
                <a:lnTo>
                  <a:pt x="103" y="452"/>
                </a:lnTo>
                <a:lnTo>
                  <a:pt x="103" y="455"/>
                </a:lnTo>
                <a:lnTo>
                  <a:pt x="105" y="455"/>
                </a:lnTo>
                <a:lnTo>
                  <a:pt x="103" y="457"/>
                </a:lnTo>
                <a:lnTo>
                  <a:pt x="103" y="463"/>
                </a:lnTo>
                <a:lnTo>
                  <a:pt x="104" y="463"/>
                </a:lnTo>
                <a:lnTo>
                  <a:pt x="104" y="464"/>
                </a:lnTo>
                <a:lnTo>
                  <a:pt x="103" y="466"/>
                </a:lnTo>
                <a:lnTo>
                  <a:pt x="103" y="468"/>
                </a:lnTo>
                <a:lnTo>
                  <a:pt x="102" y="468"/>
                </a:lnTo>
                <a:lnTo>
                  <a:pt x="97" y="473"/>
                </a:lnTo>
                <a:lnTo>
                  <a:pt x="96" y="473"/>
                </a:lnTo>
                <a:lnTo>
                  <a:pt x="96" y="474"/>
                </a:lnTo>
                <a:lnTo>
                  <a:pt x="94" y="474"/>
                </a:lnTo>
                <a:lnTo>
                  <a:pt x="94" y="473"/>
                </a:lnTo>
                <a:lnTo>
                  <a:pt x="93" y="472"/>
                </a:lnTo>
                <a:lnTo>
                  <a:pt x="92" y="472"/>
                </a:lnTo>
                <a:lnTo>
                  <a:pt x="91" y="470"/>
                </a:lnTo>
                <a:lnTo>
                  <a:pt x="90" y="470"/>
                </a:lnTo>
                <a:lnTo>
                  <a:pt x="88" y="472"/>
                </a:lnTo>
                <a:lnTo>
                  <a:pt x="87" y="472"/>
                </a:lnTo>
                <a:lnTo>
                  <a:pt x="87" y="474"/>
                </a:lnTo>
                <a:lnTo>
                  <a:pt x="86" y="474"/>
                </a:lnTo>
                <a:lnTo>
                  <a:pt x="86" y="473"/>
                </a:lnTo>
                <a:lnTo>
                  <a:pt x="85" y="473"/>
                </a:lnTo>
                <a:lnTo>
                  <a:pt x="85" y="469"/>
                </a:lnTo>
                <a:lnTo>
                  <a:pt x="84" y="469"/>
                </a:lnTo>
                <a:lnTo>
                  <a:pt x="84" y="467"/>
                </a:lnTo>
                <a:lnTo>
                  <a:pt x="83" y="464"/>
                </a:lnTo>
                <a:lnTo>
                  <a:pt x="81" y="463"/>
                </a:lnTo>
                <a:lnTo>
                  <a:pt x="81" y="462"/>
                </a:lnTo>
                <a:lnTo>
                  <a:pt x="80" y="462"/>
                </a:lnTo>
                <a:lnTo>
                  <a:pt x="79" y="461"/>
                </a:lnTo>
                <a:lnTo>
                  <a:pt x="79" y="460"/>
                </a:lnTo>
                <a:lnTo>
                  <a:pt x="78" y="461"/>
                </a:lnTo>
                <a:lnTo>
                  <a:pt x="78" y="457"/>
                </a:lnTo>
                <a:lnTo>
                  <a:pt x="77" y="457"/>
                </a:lnTo>
                <a:lnTo>
                  <a:pt x="77" y="456"/>
                </a:lnTo>
                <a:lnTo>
                  <a:pt x="75" y="456"/>
                </a:lnTo>
                <a:lnTo>
                  <a:pt x="75" y="454"/>
                </a:lnTo>
                <a:lnTo>
                  <a:pt x="78" y="451"/>
                </a:lnTo>
                <a:lnTo>
                  <a:pt x="78" y="450"/>
                </a:lnTo>
                <a:lnTo>
                  <a:pt x="75" y="448"/>
                </a:lnTo>
                <a:lnTo>
                  <a:pt x="75" y="445"/>
                </a:lnTo>
                <a:lnTo>
                  <a:pt x="77" y="445"/>
                </a:lnTo>
                <a:lnTo>
                  <a:pt x="77" y="443"/>
                </a:lnTo>
                <a:lnTo>
                  <a:pt x="75" y="442"/>
                </a:lnTo>
                <a:lnTo>
                  <a:pt x="78" y="439"/>
                </a:lnTo>
                <a:lnTo>
                  <a:pt x="78" y="438"/>
                </a:lnTo>
                <a:lnTo>
                  <a:pt x="79" y="437"/>
                </a:lnTo>
                <a:lnTo>
                  <a:pt x="79" y="431"/>
                </a:lnTo>
                <a:lnTo>
                  <a:pt x="78" y="429"/>
                </a:lnTo>
                <a:lnTo>
                  <a:pt x="78" y="425"/>
                </a:lnTo>
                <a:lnTo>
                  <a:pt x="79" y="425"/>
                </a:lnTo>
                <a:lnTo>
                  <a:pt x="79" y="426"/>
                </a:lnTo>
                <a:lnTo>
                  <a:pt x="81" y="429"/>
                </a:lnTo>
                <a:lnTo>
                  <a:pt x="81" y="426"/>
                </a:lnTo>
                <a:lnTo>
                  <a:pt x="83" y="425"/>
                </a:lnTo>
                <a:lnTo>
                  <a:pt x="81" y="425"/>
                </a:lnTo>
                <a:lnTo>
                  <a:pt x="83" y="424"/>
                </a:lnTo>
                <a:lnTo>
                  <a:pt x="83" y="419"/>
                </a:lnTo>
                <a:lnTo>
                  <a:pt x="80" y="417"/>
                </a:lnTo>
                <a:lnTo>
                  <a:pt x="79" y="417"/>
                </a:lnTo>
                <a:lnTo>
                  <a:pt x="78" y="418"/>
                </a:lnTo>
                <a:lnTo>
                  <a:pt x="79" y="418"/>
                </a:lnTo>
                <a:lnTo>
                  <a:pt x="78" y="419"/>
                </a:lnTo>
                <a:lnTo>
                  <a:pt x="77" y="418"/>
                </a:lnTo>
                <a:lnTo>
                  <a:pt x="77" y="411"/>
                </a:lnTo>
                <a:lnTo>
                  <a:pt x="75" y="411"/>
                </a:lnTo>
                <a:lnTo>
                  <a:pt x="75" y="409"/>
                </a:lnTo>
                <a:lnTo>
                  <a:pt x="79" y="409"/>
                </a:lnTo>
                <a:lnTo>
                  <a:pt x="80" y="408"/>
                </a:lnTo>
                <a:lnTo>
                  <a:pt x="80" y="406"/>
                </a:lnTo>
                <a:lnTo>
                  <a:pt x="79" y="405"/>
                </a:lnTo>
                <a:lnTo>
                  <a:pt x="79" y="400"/>
                </a:lnTo>
                <a:lnTo>
                  <a:pt x="80" y="398"/>
                </a:lnTo>
                <a:lnTo>
                  <a:pt x="80" y="396"/>
                </a:lnTo>
                <a:lnTo>
                  <a:pt x="77" y="393"/>
                </a:lnTo>
                <a:lnTo>
                  <a:pt x="77" y="394"/>
                </a:lnTo>
                <a:lnTo>
                  <a:pt x="75" y="393"/>
                </a:lnTo>
                <a:lnTo>
                  <a:pt x="75" y="392"/>
                </a:lnTo>
                <a:lnTo>
                  <a:pt x="77" y="389"/>
                </a:lnTo>
                <a:lnTo>
                  <a:pt x="75" y="388"/>
                </a:lnTo>
                <a:lnTo>
                  <a:pt x="75" y="386"/>
                </a:lnTo>
                <a:lnTo>
                  <a:pt x="74" y="384"/>
                </a:lnTo>
                <a:lnTo>
                  <a:pt x="73" y="384"/>
                </a:lnTo>
                <a:lnTo>
                  <a:pt x="73" y="381"/>
                </a:lnTo>
                <a:lnTo>
                  <a:pt x="72" y="380"/>
                </a:lnTo>
                <a:lnTo>
                  <a:pt x="71" y="380"/>
                </a:lnTo>
                <a:lnTo>
                  <a:pt x="68" y="381"/>
                </a:lnTo>
                <a:lnTo>
                  <a:pt x="68" y="378"/>
                </a:lnTo>
                <a:lnTo>
                  <a:pt x="67" y="378"/>
                </a:lnTo>
                <a:lnTo>
                  <a:pt x="67" y="380"/>
                </a:lnTo>
                <a:lnTo>
                  <a:pt x="66" y="381"/>
                </a:lnTo>
                <a:lnTo>
                  <a:pt x="66" y="377"/>
                </a:lnTo>
                <a:lnTo>
                  <a:pt x="67" y="377"/>
                </a:lnTo>
                <a:lnTo>
                  <a:pt x="67" y="375"/>
                </a:lnTo>
                <a:lnTo>
                  <a:pt x="68" y="375"/>
                </a:lnTo>
                <a:lnTo>
                  <a:pt x="68" y="374"/>
                </a:lnTo>
                <a:lnTo>
                  <a:pt x="67" y="374"/>
                </a:lnTo>
                <a:lnTo>
                  <a:pt x="66" y="372"/>
                </a:lnTo>
                <a:lnTo>
                  <a:pt x="65" y="372"/>
                </a:lnTo>
                <a:lnTo>
                  <a:pt x="68" y="364"/>
                </a:lnTo>
                <a:lnTo>
                  <a:pt x="68" y="362"/>
                </a:lnTo>
                <a:lnTo>
                  <a:pt x="67" y="362"/>
                </a:lnTo>
                <a:lnTo>
                  <a:pt x="67" y="359"/>
                </a:lnTo>
                <a:lnTo>
                  <a:pt x="68" y="358"/>
                </a:lnTo>
                <a:lnTo>
                  <a:pt x="68" y="359"/>
                </a:lnTo>
                <a:lnTo>
                  <a:pt x="69" y="359"/>
                </a:lnTo>
                <a:lnTo>
                  <a:pt x="69" y="362"/>
                </a:lnTo>
                <a:lnTo>
                  <a:pt x="71" y="364"/>
                </a:lnTo>
                <a:lnTo>
                  <a:pt x="73" y="365"/>
                </a:lnTo>
                <a:lnTo>
                  <a:pt x="78" y="366"/>
                </a:lnTo>
                <a:lnTo>
                  <a:pt x="81" y="366"/>
                </a:lnTo>
                <a:lnTo>
                  <a:pt x="85" y="365"/>
                </a:lnTo>
                <a:lnTo>
                  <a:pt x="86" y="364"/>
                </a:lnTo>
                <a:lnTo>
                  <a:pt x="86" y="363"/>
                </a:lnTo>
                <a:lnTo>
                  <a:pt x="90" y="362"/>
                </a:lnTo>
                <a:lnTo>
                  <a:pt x="92" y="362"/>
                </a:lnTo>
                <a:lnTo>
                  <a:pt x="94" y="361"/>
                </a:lnTo>
                <a:lnTo>
                  <a:pt x="94" y="359"/>
                </a:lnTo>
                <a:lnTo>
                  <a:pt x="97" y="357"/>
                </a:lnTo>
                <a:lnTo>
                  <a:pt x="97" y="356"/>
                </a:lnTo>
                <a:lnTo>
                  <a:pt x="98" y="356"/>
                </a:lnTo>
                <a:lnTo>
                  <a:pt x="98" y="355"/>
                </a:lnTo>
                <a:lnTo>
                  <a:pt x="99" y="355"/>
                </a:lnTo>
                <a:lnTo>
                  <a:pt x="99" y="353"/>
                </a:lnTo>
                <a:lnTo>
                  <a:pt x="100" y="353"/>
                </a:lnTo>
                <a:lnTo>
                  <a:pt x="100" y="352"/>
                </a:lnTo>
                <a:lnTo>
                  <a:pt x="102" y="351"/>
                </a:lnTo>
                <a:lnTo>
                  <a:pt x="102" y="350"/>
                </a:lnTo>
                <a:lnTo>
                  <a:pt x="106" y="350"/>
                </a:lnTo>
                <a:lnTo>
                  <a:pt x="109" y="347"/>
                </a:lnTo>
                <a:lnTo>
                  <a:pt x="109" y="344"/>
                </a:lnTo>
                <a:lnTo>
                  <a:pt x="110" y="343"/>
                </a:lnTo>
                <a:close/>
                <a:moveTo>
                  <a:pt x="183" y="282"/>
                </a:moveTo>
                <a:lnTo>
                  <a:pt x="184" y="282"/>
                </a:lnTo>
                <a:lnTo>
                  <a:pt x="183" y="283"/>
                </a:lnTo>
                <a:lnTo>
                  <a:pt x="183" y="282"/>
                </a:lnTo>
                <a:close/>
                <a:moveTo>
                  <a:pt x="156" y="280"/>
                </a:moveTo>
                <a:lnTo>
                  <a:pt x="158" y="282"/>
                </a:lnTo>
                <a:lnTo>
                  <a:pt x="158" y="283"/>
                </a:lnTo>
                <a:lnTo>
                  <a:pt x="156" y="282"/>
                </a:lnTo>
                <a:lnTo>
                  <a:pt x="156" y="280"/>
                </a:lnTo>
                <a:close/>
                <a:moveTo>
                  <a:pt x="181" y="278"/>
                </a:moveTo>
                <a:lnTo>
                  <a:pt x="181" y="279"/>
                </a:lnTo>
                <a:lnTo>
                  <a:pt x="183" y="279"/>
                </a:lnTo>
                <a:lnTo>
                  <a:pt x="183" y="282"/>
                </a:lnTo>
                <a:lnTo>
                  <a:pt x="180" y="280"/>
                </a:lnTo>
                <a:lnTo>
                  <a:pt x="180" y="279"/>
                </a:lnTo>
                <a:lnTo>
                  <a:pt x="181" y="278"/>
                </a:lnTo>
                <a:close/>
                <a:moveTo>
                  <a:pt x="147" y="266"/>
                </a:moveTo>
                <a:lnTo>
                  <a:pt x="148" y="266"/>
                </a:lnTo>
                <a:lnTo>
                  <a:pt x="148" y="267"/>
                </a:lnTo>
                <a:lnTo>
                  <a:pt x="147" y="269"/>
                </a:lnTo>
                <a:lnTo>
                  <a:pt x="147" y="266"/>
                </a:lnTo>
                <a:close/>
                <a:moveTo>
                  <a:pt x="161" y="251"/>
                </a:moveTo>
                <a:lnTo>
                  <a:pt x="162" y="252"/>
                </a:lnTo>
                <a:lnTo>
                  <a:pt x="162" y="255"/>
                </a:lnTo>
                <a:lnTo>
                  <a:pt x="160" y="258"/>
                </a:lnTo>
                <a:lnTo>
                  <a:pt x="161" y="258"/>
                </a:lnTo>
                <a:lnTo>
                  <a:pt x="162" y="259"/>
                </a:lnTo>
                <a:lnTo>
                  <a:pt x="161" y="260"/>
                </a:lnTo>
                <a:lnTo>
                  <a:pt x="160" y="260"/>
                </a:lnTo>
                <a:lnTo>
                  <a:pt x="160" y="259"/>
                </a:lnTo>
                <a:lnTo>
                  <a:pt x="158" y="257"/>
                </a:lnTo>
                <a:lnTo>
                  <a:pt x="158" y="258"/>
                </a:lnTo>
                <a:lnTo>
                  <a:pt x="154" y="258"/>
                </a:lnTo>
                <a:lnTo>
                  <a:pt x="154" y="259"/>
                </a:lnTo>
                <a:lnTo>
                  <a:pt x="150" y="259"/>
                </a:lnTo>
                <a:lnTo>
                  <a:pt x="149" y="258"/>
                </a:lnTo>
                <a:lnTo>
                  <a:pt x="148" y="258"/>
                </a:lnTo>
                <a:lnTo>
                  <a:pt x="148" y="255"/>
                </a:lnTo>
                <a:lnTo>
                  <a:pt x="149" y="254"/>
                </a:lnTo>
                <a:lnTo>
                  <a:pt x="153" y="254"/>
                </a:lnTo>
                <a:lnTo>
                  <a:pt x="153" y="255"/>
                </a:lnTo>
                <a:lnTo>
                  <a:pt x="155" y="255"/>
                </a:lnTo>
                <a:lnTo>
                  <a:pt x="155" y="253"/>
                </a:lnTo>
                <a:lnTo>
                  <a:pt x="156" y="254"/>
                </a:lnTo>
                <a:lnTo>
                  <a:pt x="158" y="253"/>
                </a:lnTo>
                <a:lnTo>
                  <a:pt x="158" y="254"/>
                </a:lnTo>
                <a:lnTo>
                  <a:pt x="159" y="254"/>
                </a:lnTo>
                <a:lnTo>
                  <a:pt x="160" y="253"/>
                </a:lnTo>
                <a:lnTo>
                  <a:pt x="160" y="252"/>
                </a:lnTo>
                <a:lnTo>
                  <a:pt x="161" y="251"/>
                </a:lnTo>
                <a:close/>
                <a:moveTo>
                  <a:pt x="136" y="240"/>
                </a:moveTo>
                <a:lnTo>
                  <a:pt x="137" y="240"/>
                </a:lnTo>
                <a:lnTo>
                  <a:pt x="137" y="242"/>
                </a:lnTo>
                <a:lnTo>
                  <a:pt x="136" y="243"/>
                </a:lnTo>
                <a:lnTo>
                  <a:pt x="135" y="243"/>
                </a:lnTo>
                <a:lnTo>
                  <a:pt x="135" y="242"/>
                </a:lnTo>
                <a:lnTo>
                  <a:pt x="136" y="240"/>
                </a:lnTo>
                <a:close/>
                <a:moveTo>
                  <a:pt x="248" y="186"/>
                </a:moveTo>
                <a:lnTo>
                  <a:pt x="247" y="187"/>
                </a:lnTo>
                <a:lnTo>
                  <a:pt x="246" y="187"/>
                </a:lnTo>
                <a:lnTo>
                  <a:pt x="245" y="189"/>
                </a:lnTo>
                <a:lnTo>
                  <a:pt x="245" y="191"/>
                </a:lnTo>
                <a:lnTo>
                  <a:pt x="246" y="192"/>
                </a:lnTo>
                <a:lnTo>
                  <a:pt x="248" y="192"/>
                </a:lnTo>
                <a:lnTo>
                  <a:pt x="248" y="190"/>
                </a:lnTo>
                <a:lnTo>
                  <a:pt x="249" y="189"/>
                </a:lnTo>
                <a:lnTo>
                  <a:pt x="249" y="187"/>
                </a:lnTo>
                <a:lnTo>
                  <a:pt x="248" y="186"/>
                </a:lnTo>
                <a:close/>
                <a:moveTo>
                  <a:pt x="136" y="181"/>
                </a:moveTo>
                <a:lnTo>
                  <a:pt x="137" y="181"/>
                </a:lnTo>
                <a:lnTo>
                  <a:pt x="137" y="183"/>
                </a:lnTo>
                <a:lnTo>
                  <a:pt x="136" y="183"/>
                </a:lnTo>
                <a:lnTo>
                  <a:pt x="136" y="181"/>
                </a:lnTo>
                <a:close/>
                <a:moveTo>
                  <a:pt x="235" y="107"/>
                </a:moveTo>
                <a:lnTo>
                  <a:pt x="235" y="111"/>
                </a:lnTo>
                <a:lnTo>
                  <a:pt x="236" y="111"/>
                </a:lnTo>
                <a:lnTo>
                  <a:pt x="236" y="108"/>
                </a:lnTo>
                <a:lnTo>
                  <a:pt x="235" y="107"/>
                </a:lnTo>
                <a:close/>
                <a:moveTo>
                  <a:pt x="245" y="100"/>
                </a:moveTo>
                <a:lnTo>
                  <a:pt x="246" y="100"/>
                </a:lnTo>
                <a:lnTo>
                  <a:pt x="247" y="101"/>
                </a:lnTo>
                <a:lnTo>
                  <a:pt x="245" y="101"/>
                </a:lnTo>
                <a:lnTo>
                  <a:pt x="242" y="106"/>
                </a:lnTo>
                <a:lnTo>
                  <a:pt x="242" y="104"/>
                </a:lnTo>
                <a:lnTo>
                  <a:pt x="243" y="103"/>
                </a:lnTo>
                <a:lnTo>
                  <a:pt x="243" y="101"/>
                </a:lnTo>
                <a:lnTo>
                  <a:pt x="245" y="100"/>
                </a:lnTo>
                <a:close/>
                <a:moveTo>
                  <a:pt x="242" y="99"/>
                </a:moveTo>
                <a:lnTo>
                  <a:pt x="243" y="99"/>
                </a:lnTo>
                <a:lnTo>
                  <a:pt x="243" y="100"/>
                </a:lnTo>
                <a:lnTo>
                  <a:pt x="242" y="101"/>
                </a:lnTo>
                <a:lnTo>
                  <a:pt x="242" y="100"/>
                </a:lnTo>
                <a:lnTo>
                  <a:pt x="241" y="100"/>
                </a:lnTo>
                <a:lnTo>
                  <a:pt x="242" y="99"/>
                </a:lnTo>
                <a:close/>
                <a:moveTo>
                  <a:pt x="233" y="0"/>
                </a:moveTo>
                <a:lnTo>
                  <a:pt x="236" y="0"/>
                </a:lnTo>
                <a:lnTo>
                  <a:pt x="236" y="3"/>
                </a:lnTo>
                <a:lnTo>
                  <a:pt x="234" y="5"/>
                </a:lnTo>
                <a:lnTo>
                  <a:pt x="233" y="6"/>
                </a:lnTo>
                <a:lnTo>
                  <a:pt x="234" y="7"/>
                </a:lnTo>
                <a:lnTo>
                  <a:pt x="234" y="11"/>
                </a:lnTo>
                <a:lnTo>
                  <a:pt x="235" y="11"/>
                </a:lnTo>
                <a:lnTo>
                  <a:pt x="235" y="12"/>
                </a:lnTo>
                <a:lnTo>
                  <a:pt x="236" y="12"/>
                </a:lnTo>
                <a:lnTo>
                  <a:pt x="236" y="13"/>
                </a:lnTo>
                <a:lnTo>
                  <a:pt x="240" y="13"/>
                </a:lnTo>
                <a:lnTo>
                  <a:pt x="240" y="19"/>
                </a:lnTo>
                <a:lnTo>
                  <a:pt x="242" y="19"/>
                </a:lnTo>
                <a:lnTo>
                  <a:pt x="242" y="20"/>
                </a:lnTo>
                <a:lnTo>
                  <a:pt x="243" y="21"/>
                </a:lnTo>
                <a:lnTo>
                  <a:pt x="243" y="22"/>
                </a:lnTo>
                <a:lnTo>
                  <a:pt x="246" y="24"/>
                </a:lnTo>
                <a:lnTo>
                  <a:pt x="247" y="25"/>
                </a:lnTo>
                <a:lnTo>
                  <a:pt x="249" y="25"/>
                </a:lnTo>
                <a:lnTo>
                  <a:pt x="251" y="26"/>
                </a:lnTo>
                <a:lnTo>
                  <a:pt x="257" y="26"/>
                </a:lnTo>
                <a:lnTo>
                  <a:pt x="258" y="27"/>
                </a:lnTo>
                <a:lnTo>
                  <a:pt x="261" y="27"/>
                </a:lnTo>
                <a:lnTo>
                  <a:pt x="264" y="30"/>
                </a:lnTo>
                <a:lnTo>
                  <a:pt x="273" y="30"/>
                </a:lnTo>
                <a:lnTo>
                  <a:pt x="277" y="31"/>
                </a:lnTo>
                <a:lnTo>
                  <a:pt x="279" y="32"/>
                </a:lnTo>
                <a:lnTo>
                  <a:pt x="280" y="32"/>
                </a:lnTo>
                <a:lnTo>
                  <a:pt x="282" y="33"/>
                </a:lnTo>
                <a:lnTo>
                  <a:pt x="286" y="32"/>
                </a:lnTo>
                <a:lnTo>
                  <a:pt x="291" y="32"/>
                </a:lnTo>
                <a:lnTo>
                  <a:pt x="291" y="33"/>
                </a:lnTo>
                <a:lnTo>
                  <a:pt x="293" y="33"/>
                </a:lnTo>
                <a:lnTo>
                  <a:pt x="298" y="34"/>
                </a:lnTo>
                <a:lnTo>
                  <a:pt x="299" y="34"/>
                </a:lnTo>
                <a:lnTo>
                  <a:pt x="299" y="39"/>
                </a:lnTo>
                <a:lnTo>
                  <a:pt x="296" y="39"/>
                </a:lnTo>
                <a:lnTo>
                  <a:pt x="291" y="44"/>
                </a:lnTo>
                <a:lnTo>
                  <a:pt x="290" y="44"/>
                </a:lnTo>
                <a:lnTo>
                  <a:pt x="288" y="46"/>
                </a:lnTo>
                <a:lnTo>
                  <a:pt x="288" y="48"/>
                </a:lnTo>
                <a:lnTo>
                  <a:pt x="286" y="49"/>
                </a:lnTo>
                <a:lnTo>
                  <a:pt x="286" y="51"/>
                </a:lnTo>
                <a:lnTo>
                  <a:pt x="288" y="52"/>
                </a:lnTo>
                <a:lnTo>
                  <a:pt x="288" y="54"/>
                </a:lnTo>
                <a:lnTo>
                  <a:pt x="289" y="54"/>
                </a:lnTo>
                <a:lnTo>
                  <a:pt x="289" y="52"/>
                </a:lnTo>
                <a:lnTo>
                  <a:pt x="290" y="52"/>
                </a:lnTo>
                <a:lnTo>
                  <a:pt x="291" y="54"/>
                </a:lnTo>
                <a:lnTo>
                  <a:pt x="292" y="54"/>
                </a:lnTo>
                <a:lnTo>
                  <a:pt x="293" y="55"/>
                </a:lnTo>
                <a:lnTo>
                  <a:pt x="297" y="55"/>
                </a:lnTo>
                <a:lnTo>
                  <a:pt x="297" y="56"/>
                </a:lnTo>
                <a:lnTo>
                  <a:pt x="296" y="58"/>
                </a:lnTo>
                <a:lnTo>
                  <a:pt x="291" y="63"/>
                </a:lnTo>
                <a:lnTo>
                  <a:pt x="291" y="65"/>
                </a:lnTo>
                <a:lnTo>
                  <a:pt x="290" y="65"/>
                </a:lnTo>
                <a:lnTo>
                  <a:pt x="290" y="67"/>
                </a:lnTo>
                <a:lnTo>
                  <a:pt x="291" y="67"/>
                </a:lnTo>
                <a:lnTo>
                  <a:pt x="292" y="68"/>
                </a:lnTo>
                <a:lnTo>
                  <a:pt x="295" y="68"/>
                </a:lnTo>
                <a:lnTo>
                  <a:pt x="296" y="67"/>
                </a:lnTo>
                <a:lnTo>
                  <a:pt x="297" y="68"/>
                </a:lnTo>
                <a:lnTo>
                  <a:pt x="296" y="69"/>
                </a:lnTo>
                <a:lnTo>
                  <a:pt x="296" y="71"/>
                </a:lnTo>
                <a:lnTo>
                  <a:pt x="295" y="75"/>
                </a:lnTo>
                <a:lnTo>
                  <a:pt x="295" y="77"/>
                </a:lnTo>
                <a:lnTo>
                  <a:pt x="296" y="79"/>
                </a:lnTo>
                <a:lnTo>
                  <a:pt x="298" y="79"/>
                </a:lnTo>
                <a:lnTo>
                  <a:pt x="301" y="81"/>
                </a:lnTo>
                <a:lnTo>
                  <a:pt x="303" y="82"/>
                </a:lnTo>
                <a:lnTo>
                  <a:pt x="307" y="87"/>
                </a:lnTo>
                <a:lnTo>
                  <a:pt x="307" y="88"/>
                </a:lnTo>
                <a:lnTo>
                  <a:pt x="308" y="88"/>
                </a:lnTo>
                <a:lnTo>
                  <a:pt x="308" y="89"/>
                </a:lnTo>
                <a:lnTo>
                  <a:pt x="307" y="91"/>
                </a:lnTo>
                <a:lnTo>
                  <a:pt x="307" y="92"/>
                </a:lnTo>
                <a:lnTo>
                  <a:pt x="304" y="92"/>
                </a:lnTo>
                <a:lnTo>
                  <a:pt x="303" y="91"/>
                </a:lnTo>
                <a:lnTo>
                  <a:pt x="301" y="91"/>
                </a:lnTo>
                <a:lnTo>
                  <a:pt x="301" y="89"/>
                </a:lnTo>
                <a:lnTo>
                  <a:pt x="303" y="89"/>
                </a:lnTo>
                <a:lnTo>
                  <a:pt x="303" y="88"/>
                </a:lnTo>
                <a:lnTo>
                  <a:pt x="302" y="87"/>
                </a:lnTo>
                <a:lnTo>
                  <a:pt x="302" y="85"/>
                </a:lnTo>
                <a:lnTo>
                  <a:pt x="301" y="85"/>
                </a:lnTo>
                <a:lnTo>
                  <a:pt x="298" y="81"/>
                </a:lnTo>
                <a:lnTo>
                  <a:pt x="297" y="80"/>
                </a:lnTo>
                <a:lnTo>
                  <a:pt x="295" y="79"/>
                </a:lnTo>
                <a:lnTo>
                  <a:pt x="293" y="79"/>
                </a:lnTo>
                <a:lnTo>
                  <a:pt x="293" y="80"/>
                </a:lnTo>
                <a:lnTo>
                  <a:pt x="292" y="81"/>
                </a:lnTo>
                <a:lnTo>
                  <a:pt x="292" y="82"/>
                </a:lnTo>
                <a:lnTo>
                  <a:pt x="293" y="82"/>
                </a:lnTo>
                <a:lnTo>
                  <a:pt x="292" y="83"/>
                </a:lnTo>
                <a:lnTo>
                  <a:pt x="291" y="83"/>
                </a:lnTo>
                <a:lnTo>
                  <a:pt x="289" y="86"/>
                </a:lnTo>
                <a:lnTo>
                  <a:pt x="286" y="86"/>
                </a:lnTo>
                <a:lnTo>
                  <a:pt x="288" y="85"/>
                </a:lnTo>
                <a:lnTo>
                  <a:pt x="289" y="85"/>
                </a:lnTo>
                <a:lnTo>
                  <a:pt x="289" y="83"/>
                </a:lnTo>
                <a:lnTo>
                  <a:pt x="286" y="82"/>
                </a:lnTo>
                <a:lnTo>
                  <a:pt x="285" y="82"/>
                </a:lnTo>
                <a:lnTo>
                  <a:pt x="282" y="81"/>
                </a:lnTo>
                <a:lnTo>
                  <a:pt x="280" y="81"/>
                </a:lnTo>
                <a:lnTo>
                  <a:pt x="280" y="80"/>
                </a:lnTo>
                <a:lnTo>
                  <a:pt x="278" y="80"/>
                </a:lnTo>
                <a:lnTo>
                  <a:pt x="277" y="81"/>
                </a:lnTo>
                <a:lnTo>
                  <a:pt x="276" y="80"/>
                </a:lnTo>
                <a:lnTo>
                  <a:pt x="274" y="81"/>
                </a:lnTo>
                <a:lnTo>
                  <a:pt x="276" y="81"/>
                </a:lnTo>
                <a:lnTo>
                  <a:pt x="276" y="82"/>
                </a:lnTo>
                <a:lnTo>
                  <a:pt x="274" y="82"/>
                </a:lnTo>
                <a:lnTo>
                  <a:pt x="273" y="83"/>
                </a:lnTo>
                <a:lnTo>
                  <a:pt x="273" y="85"/>
                </a:lnTo>
                <a:lnTo>
                  <a:pt x="277" y="85"/>
                </a:lnTo>
                <a:lnTo>
                  <a:pt x="274" y="86"/>
                </a:lnTo>
                <a:lnTo>
                  <a:pt x="274" y="88"/>
                </a:lnTo>
                <a:lnTo>
                  <a:pt x="268" y="88"/>
                </a:lnTo>
                <a:lnTo>
                  <a:pt x="261" y="93"/>
                </a:lnTo>
                <a:lnTo>
                  <a:pt x="254" y="97"/>
                </a:lnTo>
                <a:lnTo>
                  <a:pt x="249" y="98"/>
                </a:lnTo>
                <a:lnTo>
                  <a:pt x="249" y="99"/>
                </a:lnTo>
                <a:lnTo>
                  <a:pt x="247" y="99"/>
                </a:lnTo>
                <a:lnTo>
                  <a:pt x="246" y="100"/>
                </a:lnTo>
                <a:lnTo>
                  <a:pt x="246" y="99"/>
                </a:lnTo>
                <a:lnTo>
                  <a:pt x="247" y="98"/>
                </a:lnTo>
                <a:lnTo>
                  <a:pt x="247" y="97"/>
                </a:lnTo>
                <a:lnTo>
                  <a:pt x="251" y="97"/>
                </a:lnTo>
                <a:lnTo>
                  <a:pt x="251" y="95"/>
                </a:lnTo>
                <a:lnTo>
                  <a:pt x="252" y="95"/>
                </a:lnTo>
                <a:lnTo>
                  <a:pt x="252" y="94"/>
                </a:lnTo>
                <a:lnTo>
                  <a:pt x="253" y="94"/>
                </a:lnTo>
                <a:lnTo>
                  <a:pt x="253" y="93"/>
                </a:lnTo>
                <a:lnTo>
                  <a:pt x="252" y="93"/>
                </a:lnTo>
                <a:lnTo>
                  <a:pt x="252" y="94"/>
                </a:lnTo>
                <a:lnTo>
                  <a:pt x="251" y="94"/>
                </a:lnTo>
                <a:lnTo>
                  <a:pt x="251" y="93"/>
                </a:lnTo>
                <a:lnTo>
                  <a:pt x="249" y="93"/>
                </a:lnTo>
                <a:lnTo>
                  <a:pt x="249" y="92"/>
                </a:lnTo>
                <a:lnTo>
                  <a:pt x="247" y="94"/>
                </a:lnTo>
                <a:lnTo>
                  <a:pt x="247" y="95"/>
                </a:lnTo>
                <a:lnTo>
                  <a:pt x="246" y="95"/>
                </a:lnTo>
                <a:lnTo>
                  <a:pt x="245" y="94"/>
                </a:lnTo>
                <a:lnTo>
                  <a:pt x="245" y="95"/>
                </a:lnTo>
                <a:lnTo>
                  <a:pt x="246" y="97"/>
                </a:lnTo>
                <a:lnTo>
                  <a:pt x="243" y="97"/>
                </a:lnTo>
                <a:lnTo>
                  <a:pt x="241" y="98"/>
                </a:lnTo>
                <a:lnTo>
                  <a:pt x="239" y="100"/>
                </a:lnTo>
                <a:lnTo>
                  <a:pt x="239" y="105"/>
                </a:lnTo>
                <a:lnTo>
                  <a:pt x="237" y="105"/>
                </a:lnTo>
                <a:lnTo>
                  <a:pt x="237" y="114"/>
                </a:lnTo>
                <a:lnTo>
                  <a:pt x="239" y="114"/>
                </a:lnTo>
                <a:lnTo>
                  <a:pt x="240" y="113"/>
                </a:lnTo>
                <a:lnTo>
                  <a:pt x="241" y="113"/>
                </a:lnTo>
                <a:lnTo>
                  <a:pt x="241" y="116"/>
                </a:lnTo>
                <a:lnTo>
                  <a:pt x="242" y="116"/>
                </a:lnTo>
                <a:lnTo>
                  <a:pt x="242" y="120"/>
                </a:lnTo>
                <a:lnTo>
                  <a:pt x="241" y="120"/>
                </a:lnTo>
                <a:lnTo>
                  <a:pt x="241" y="122"/>
                </a:lnTo>
                <a:lnTo>
                  <a:pt x="242" y="122"/>
                </a:lnTo>
                <a:lnTo>
                  <a:pt x="245" y="124"/>
                </a:lnTo>
                <a:lnTo>
                  <a:pt x="243" y="124"/>
                </a:lnTo>
                <a:lnTo>
                  <a:pt x="243" y="125"/>
                </a:lnTo>
                <a:lnTo>
                  <a:pt x="245" y="125"/>
                </a:lnTo>
                <a:lnTo>
                  <a:pt x="245" y="124"/>
                </a:lnTo>
                <a:lnTo>
                  <a:pt x="246" y="124"/>
                </a:lnTo>
                <a:lnTo>
                  <a:pt x="246" y="125"/>
                </a:lnTo>
                <a:lnTo>
                  <a:pt x="247" y="125"/>
                </a:lnTo>
                <a:lnTo>
                  <a:pt x="248" y="126"/>
                </a:lnTo>
                <a:lnTo>
                  <a:pt x="249" y="126"/>
                </a:lnTo>
                <a:lnTo>
                  <a:pt x="251" y="128"/>
                </a:lnTo>
                <a:lnTo>
                  <a:pt x="251" y="130"/>
                </a:lnTo>
                <a:lnTo>
                  <a:pt x="249" y="131"/>
                </a:lnTo>
                <a:lnTo>
                  <a:pt x="249" y="135"/>
                </a:lnTo>
                <a:lnTo>
                  <a:pt x="247" y="137"/>
                </a:lnTo>
                <a:lnTo>
                  <a:pt x="247" y="136"/>
                </a:lnTo>
                <a:lnTo>
                  <a:pt x="246" y="135"/>
                </a:lnTo>
                <a:lnTo>
                  <a:pt x="247" y="134"/>
                </a:lnTo>
                <a:lnTo>
                  <a:pt x="247" y="132"/>
                </a:lnTo>
                <a:lnTo>
                  <a:pt x="246" y="132"/>
                </a:lnTo>
                <a:lnTo>
                  <a:pt x="246" y="134"/>
                </a:lnTo>
                <a:lnTo>
                  <a:pt x="245" y="135"/>
                </a:lnTo>
                <a:lnTo>
                  <a:pt x="246" y="135"/>
                </a:lnTo>
                <a:lnTo>
                  <a:pt x="246" y="136"/>
                </a:lnTo>
                <a:lnTo>
                  <a:pt x="245" y="136"/>
                </a:lnTo>
                <a:lnTo>
                  <a:pt x="245" y="137"/>
                </a:lnTo>
                <a:lnTo>
                  <a:pt x="246" y="137"/>
                </a:lnTo>
                <a:lnTo>
                  <a:pt x="246" y="138"/>
                </a:lnTo>
                <a:lnTo>
                  <a:pt x="243" y="138"/>
                </a:lnTo>
                <a:lnTo>
                  <a:pt x="243" y="137"/>
                </a:lnTo>
                <a:lnTo>
                  <a:pt x="242" y="136"/>
                </a:lnTo>
                <a:lnTo>
                  <a:pt x="241" y="136"/>
                </a:lnTo>
                <a:lnTo>
                  <a:pt x="240" y="137"/>
                </a:lnTo>
                <a:lnTo>
                  <a:pt x="239" y="141"/>
                </a:lnTo>
                <a:lnTo>
                  <a:pt x="239" y="147"/>
                </a:lnTo>
                <a:lnTo>
                  <a:pt x="240" y="148"/>
                </a:lnTo>
                <a:lnTo>
                  <a:pt x="240" y="156"/>
                </a:lnTo>
                <a:lnTo>
                  <a:pt x="241" y="162"/>
                </a:lnTo>
                <a:lnTo>
                  <a:pt x="242" y="165"/>
                </a:lnTo>
                <a:lnTo>
                  <a:pt x="242" y="167"/>
                </a:lnTo>
                <a:lnTo>
                  <a:pt x="243" y="168"/>
                </a:lnTo>
                <a:lnTo>
                  <a:pt x="243" y="171"/>
                </a:lnTo>
                <a:lnTo>
                  <a:pt x="245" y="173"/>
                </a:lnTo>
                <a:lnTo>
                  <a:pt x="247" y="175"/>
                </a:lnTo>
                <a:lnTo>
                  <a:pt x="248" y="178"/>
                </a:lnTo>
                <a:lnTo>
                  <a:pt x="249" y="179"/>
                </a:lnTo>
                <a:lnTo>
                  <a:pt x="252" y="180"/>
                </a:lnTo>
                <a:lnTo>
                  <a:pt x="253" y="180"/>
                </a:lnTo>
                <a:lnTo>
                  <a:pt x="255" y="184"/>
                </a:lnTo>
                <a:lnTo>
                  <a:pt x="258" y="186"/>
                </a:lnTo>
                <a:lnTo>
                  <a:pt x="260" y="187"/>
                </a:lnTo>
                <a:lnTo>
                  <a:pt x="262" y="187"/>
                </a:lnTo>
                <a:lnTo>
                  <a:pt x="262" y="189"/>
                </a:lnTo>
                <a:lnTo>
                  <a:pt x="267" y="191"/>
                </a:lnTo>
                <a:lnTo>
                  <a:pt x="268" y="192"/>
                </a:lnTo>
                <a:lnTo>
                  <a:pt x="282" y="203"/>
                </a:lnTo>
                <a:lnTo>
                  <a:pt x="286" y="206"/>
                </a:lnTo>
                <a:lnTo>
                  <a:pt x="288" y="206"/>
                </a:lnTo>
                <a:lnTo>
                  <a:pt x="289" y="208"/>
                </a:lnTo>
                <a:lnTo>
                  <a:pt x="291" y="208"/>
                </a:lnTo>
                <a:lnTo>
                  <a:pt x="292" y="206"/>
                </a:lnTo>
                <a:lnTo>
                  <a:pt x="292" y="208"/>
                </a:lnTo>
                <a:lnTo>
                  <a:pt x="293" y="208"/>
                </a:lnTo>
                <a:lnTo>
                  <a:pt x="293" y="209"/>
                </a:lnTo>
                <a:lnTo>
                  <a:pt x="297" y="212"/>
                </a:lnTo>
                <a:lnTo>
                  <a:pt x="296" y="212"/>
                </a:lnTo>
                <a:lnTo>
                  <a:pt x="303" y="228"/>
                </a:lnTo>
                <a:lnTo>
                  <a:pt x="303" y="232"/>
                </a:lnTo>
                <a:lnTo>
                  <a:pt x="304" y="233"/>
                </a:lnTo>
                <a:lnTo>
                  <a:pt x="304" y="234"/>
                </a:lnTo>
                <a:lnTo>
                  <a:pt x="307" y="239"/>
                </a:lnTo>
                <a:lnTo>
                  <a:pt x="307" y="243"/>
                </a:lnTo>
                <a:lnTo>
                  <a:pt x="309" y="249"/>
                </a:lnTo>
                <a:lnTo>
                  <a:pt x="310" y="255"/>
                </a:lnTo>
                <a:lnTo>
                  <a:pt x="311" y="259"/>
                </a:lnTo>
                <a:lnTo>
                  <a:pt x="313" y="261"/>
                </a:lnTo>
                <a:lnTo>
                  <a:pt x="315" y="265"/>
                </a:lnTo>
                <a:lnTo>
                  <a:pt x="315" y="266"/>
                </a:lnTo>
                <a:lnTo>
                  <a:pt x="316" y="266"/>
                </a:lnTo>
                <a:lnTo>
                  <a:pt x="322" y="275"/>
                </a:lnTo>
                <a:lnTo>
                  <a:pt x="324" y="277"/>
                </a:lnTo>
                <a:lnTo>
                  <a:pt x="328" y="278"/>
                </a:lnTo>
                <a:lnTo>
                  <a:pt x="329" y="279"/>
                </a:lnTo>
                <a:lnTo>
                  <a:pt x="330" y="283"/>
                </a:lnTo>
                <a:lnTo>
                  <a:pt x="336" y="288"/>
                </a:lnTo>
                <a:lnTo>
                  <a:pt x="338" y="289"/>
                </a:lnTo>
                <a:lnTo>
                  <a:pt x="340" y="290"/>
                </a:lnTo>
                <a:lnTo>
                  <a:pt x="342" y="290"/>
                </a:lnTo>
                <a:lnTo>
                  <a:pt x="342" y="291"/>
                </a:lnTo>
                <a:lnTo>
                  <a:pt x="344" y="294"/>
                </a:lnTo>
                <a:lnTo>
                  <a:pt x="344" y="296"/>
                </a:lnTo>
                <a:lnTo>
                  <a:pt x="346" y="296"/>
                </a:lnTo>
                <a:lnTo>
                  <a:pt x="346" y="297"/>
                </a:lnTo>
                <a:lnTo>
                  <a:pt x="348" y="298"/>
                </a:lnTo>
                <a:lnTo>
                  <a:pt x="349" y="298"/>
                </a:lnTo>
                <a:lnTo>
                  <a:pt x="353" y="300"/>
                </a:lnTo>
                <a:lnTo>
                  <a:pt x="354" y="300"/>
                </a:lnTo>
                <a:lnTo>
                  <a:pt x="359" y="304"/>
                </a:lnTo>
                <a:lnTo>
                  <a:pt x="366" y="304"/>
                </a:lnTo>
                <a:lnTo>
                  <a:pt x="372" y="306"/>
                </a:lnTo>
                <a:lnTo>
                  <a:pt x="373" y="306"/>
                </a:lnTo>
                <a:lnTo>
                  <a:pt x="380" y="304"/>
                </a:lnTo>
                <a:lnTo>
                  <a:pt x="388" y="306"/>
                </a:lnTo>
                <a:lnTo>
                  <a:pt x="398" y="304"/>
                </a:lnTo>
                <a:lnTo>
                  <a:pt x="402" y="304"/>
                </a:lnTo>
                <a:lnTo>
                  <a:pt x="404" y="307"/>
                </a:lnTo>
                <a:lnTo>
                  <a:pt x="404" y="309"/>
                </a:lnTo>
                <a:lnTo>
                  <a:pt x="406" y="310"/>
                </a:lnTo>
                <a:lnTo>
                  <a:pt x="406" y="313"/>
                </a:lnTo>
                <a:lnTo>
                  <a:pt x="404" y="313"/>
                </a:lnTo>
                <a:lnTo>
                  <a:pt x="404" y="314"/>
                </a:lnTo>
                <a:lnTo>
                  <a:pt x="403" y="315"/>
                </a:lnTo>
                <a:lnTo>
                  <a:pt x="402" y="315"/>
                </a:lnTo>
                <a:lnTo>
                  <a:pt x="398" y="319"/>
                </a:lnTo>
                <a:lnTo>
                  <a:pt x="394" y="321"/>
                </a:lnTo>
                <a:lnTo>
                  <a:pt x="392" y="322"/>
                </a:lnTo>
                <a:lnTo>
                  <a:pt x="392" y="327"/>
                </a:lnTo>
                <a:lnTo>
                  <a:pt x="394" y="328"/>
                </a:lnTo>
                <a:lnTo>
                  <a:pt x="395" y="331"/>
                </a:lnTo>
                <a:lnTo>
                  <a:pt x="395" y="332"/>
                </a:lnTo>
                <a:lnTo>
                  <a:pt x="398" y="333"/>
                </a:lnTo>
                <a:lnTo>
                  <a:pt x="401" y="334"/>
                </a:lnTo>
                <a:lnTo>
                  <a:pt x="402" y="335"/>
                </a:lnTo>
                <a:lnTo>
                  <a:pt x="410" y="339"/>
                </a:lnTo>
                <a:lnTo>
                  <a:pt x="416" y="343"/>
                </a:lnTo>
                <a:lnTo>
                  <a:pt x="419" y="343"/>
                </a:lnTo>
                <a:lnTo>
                  <a:pt x="420" y="344"/>
                </a:lnTo>
                <a:lnTo>
                  <a:pt x="422" y="345"/>
                </a:lnTo>
                <a:lnTo>
                  <a:pt x="432" y="349"/>
                </a:lnTo>
                <a:lnTo>
                  <a:pt x="433" y="350"/>
                </a:lnTo>
                <a:lnTo>
                  <a:pt x="433" y="349"/>
                </a:lnTo>
                <a:lnTo>
                  <a:pt x="434" y="350"/>
                </a:lnTo>
                <a:lnTo>
                  <a:pt x="441" y="352"/>
                </a:lnTo>
                <a:lnTo>
                  <a:pt x="447" y="356"/>
                </a:lnTo>
                <a:lnTo>
                  <a:pt x="451" y="358"/>
                </a:lnTo>
                <a:lnTo>
                  <a:pt x="459" y="366"/>
                </a:lnTo>
                <a:lnTo>
                  <a:pt x="460" y="366"/>
                </a:lnTo>
                <a:lnTo>
                  <a:pt x="463" y="368"/>
                </a:lnTo>
                <a:lnTo>
                  <a:pt x="466" y="369"/>
                </a:lnTo>
                <a:lnTo>
                  <a:pt x="471" y="371"/>
                </a:lnTo>
                <a:lnTo>
                  <a:pt x="475" y="374"/>
                </a:lnTo>
                <a:lnTo>
                  <a:pt x="478" y="375"/>
                </a:lnTo>
                <a:lnTo>
                  <a:pt x="479" y="375"/>
                </a:lnTo>
                <a:lnTo>
                  <a:pt x="479" y="377"/>
                </a:lnTo>
                <a:lnTo>
                  <a:pt x="481" y="376"/>
                </a:lnTo>
                <a:lnTo>
                  <a:pt x="482" y="376"/>
                </a:lnTo>
                <a:lnTo>
                  <a:pt x="482" y="378"/>
                </a:lnTo>
                <a:lnTo>
                  <a:pt x="483" y="378"/>
                </a:lnTo>
                <a:lnTo>
                  <a:pt x="483" y="382"/>
                </a:lnTo>
                <a:lnTo>
                  <a:pt x="490" y="387"/>
                </a:lnTo>
                <a:lnTo>
                  <a:pt x="491" y="387"/>
                </a:lnTo>
                <a:lnTo>
                  <a:pt x="493" y="389"/>
                </a:lnTo>
                <a:lnTo>
                  <a:pt x="494" y="390"/>
                </a:lnTo>
                <a:lnTo>
                  <a:pt x="495" y="393"/>
                </a:lnTo>
                <a:lnTo>
                  <a:pt x="496" y="393"/>
                </a:lnTo>
                <a:lnTo>
                  <a:pt x="497" y="394"/>
                </a:lnTo>
                <a:lnTo>
                  <a:pt x="500" y="398"/>
                </a:lnTo>
                <a:lnTo>
                  <a:pt x="502" y="404"/>
                </a:lnTo>
                <a:lnTo>
                  <a:pt x="502" y="405"/>
                </a:lnTo>
                <a:lnTo>
                  <a:pt x="503" y="405"/>
                </a:lnTo>
                <a:lnTo>
                  <a:pt x="503" y="407"/>
                </a:lnTo>
                <a:lnTo>
                  <a:pt x="502" y="408"/>
                </a:lnTo>
                <a:lnTo>
                  <a:pt x="502" y="409"/>
                </a:lnTo>
                <a:lnTo>
                  <a:pt x="501" y="409"/>
                </a:lnTo>
                <a:lnTo>
                  <a:pt x="500" y="411"/>
                </a:lnTo>
                <a:lnTo>
                  <a:pt x="498" y="413"/>
                </a:lnTo>
                <a:lnTo>
                  <a:pt x="498" y="419"/>
                </a:lnTo>
                <a:lnTo>
                  <a:pt x="497" y="421"/>
                </a:lnTo>
                <a:lnTo>
                  <a:pt x="497" y="424"/>
                </a:lnTo>
                <a:lnTo>
                  <a:pt x="496" y="424"/>
                </a:lnTo>
                <a:lnTo>
                  <a:pt x="494" y="421"/>
                </a:lnTo>
                <a:lnTo>
                  <a:pt x="490" y="421"/>
                </a:lnTo>
                <a:lnTo>
                  <a:pt x="489" y="420"/>
                </a:lnTo>
                <a:lnTo>
                  <a:pt x="488" y="420"/>
                </a:lnTo>
                <a:lnTo>
                  <a:pt x="484" y="417"/>
                </a:lnTo>
                <a:lnTo>
                  <a:pt x="482" y="413"/>
                </a:lnTo>
                <a:lnTo>
                  <a:pt x="481" y="413"/>
                </a:lnTo>
                <a:lnTo>
                  <a:pt x="481" y="412"/>
                </a:lnTo>
                <a:lnTo>
                  <a:pt x="482" y="412"/>
                </a:lnTo>
                <a:lnTo>
                  <a:pt x="482" y="409"/>
                </a:lnTo>
                <a:lnTo>
                  <a:pt x="479" y="409"/>
                </a:lnTo>
                <a:lnTo>
                  <a:pt x="482" y="408"/>
                </a:lnTo>
                <a:lnTo>
                  <a:pt x="482" y="406"/>
                </a:lnTo>
                <a:lnTo>
                  <a:pt x="479" y="405"/>
                </a:lnTo>
                <a:lnTo>
                  <a:pt x="479" y="404"/>
                </a:lnTo>
                <a:lnTo>
                  <a:pt x="478" y="402"/>
                </a:lnTo>
                <a:lnTo>
                  <a:pt x="478" y="399"/>
                </a:lnTo>
                <a:lnTo>
                  <a:pt x="476" y="396"/>
                </a:lnTo>
                <a:lnTo>
                  <a:pt x="475" y="396"/>
                </a:lnTo>
                <a:lnTo>
                  <a:pt x="460" y="395"/>
                </a:lnTo>
                <a:lnTo>
                  <a:pt x="458" y="394"/>
                </a:lnTo>
                <a:lnTo>
                  <a:pt x="456" y="394"/>
                </a:lnTo>
                <a:lnTo>
                  <a:pt x="456" y="393"/>
                </a:lnTo>
                <a:lnTo>
                  <a:pt x="454" y="393"/>
                </a:lnTo>
                <a:lnTo>
                  <a:pt x="450" y="390"/>
                </a:lnTo>
                <a:lnTo>
                  <a:pt x="448" y="390"/>
                </a:lnTo>
                <a:lnTo>
                  <a:pt x="447" y="389"/>
                </a:lnTo>
                <a:lnTo>
                  <a:pt x="448" y="389"/>
                </a:lnTo>
                <a:lnTo>
                  <a:pt x="450" y="388"/>
                </a:lnTo>
                <a:lnTo>
                  <a:pt x="450" y="387"/>
                </a:lnTo>
                <a:lnTo>
                  <a:pt x="448" y="387"/>
                </a:lnTo>
                <a:lnTo>
                  <a:pt x="450" y="386"/>
                </a:lnTo>
                <a:lnTo>
                  <a:pt x="452" y="387"/>
                </a:lnTo>
                <a:lnTo>
                  <a:pt x="452" y="386"/>
                </a:lnTo>
                <a:lnTo>
                  <a:pt x="453" y="384"/>
                </a:lnTo>
                <a:lnTo>
                  <a:pt x="452" y="384"/>
                </a:lnTo>
                <a:lnTo>
                  <a:pt x="451" y="386"/>
                </a:lnTo>
                <a:lnTo>
                  <a:pt x="451" y="384"/>
                </a:lnTo>
                <a:lnTo>
                  <a:pt x="448" y="384"/>
                </a:lnTo>
                <a:lnTo>
                  <a:pt x="448" y="386"/>
                </a:lnTo>
                <a:lnTo>
                  <a:pt x="446" y="386"/>
                </a:lnTo>
                <a:lnTo>
                  <a:pt x="446" y="384"/>
                </a:lnTo>
                <a:lnTo>
                  <a:pt x="445" y="384"/>
                </a:lnTo>
                <a:lnTo>
                  <a:pt x="441" y="383"/>
                </a:lnTo>
                <a:lnTo>
                  <a:pt x="438" y="386"/>
                </a:lnTo>
                <a:lnTo>
                  <a:pt x="433" y="390"/>
                </a:lnTo>
                <a:lnTo>
                  <a:pt x="431" y="396"/>
                </a:lnTo>
                <a:lnTo>
                  <a:pt x="429" y="398"/>
                </a:lnTo>
                <a:lnTo>
                  <a:pt x="428" y="401"/>
                </a:lnTo>
                <a:lnTo>
                  <a:pt x="427" y="402"/>
                </a:lnTo>
                <a:lnTo>
                  <a:pt x="426" y="405"/>
                </a:lnTo>
                <a:lnTo>
                  <a:pt x="425" y="406"/>
                </a:lnTo>
                <a:lnTo>
                  <a:pt x="423" y="406"/>
                </a:lnTo>
                <a:lnTo>
                  <a:pt x="422" y="408"/>
                </a:lnTo>
                <a:lnTo>
                  <a:pt x="422" y="411"/>
                </a:lnTo>
                <a:lnTo>
                  <a:pt x="423" y="413"/>
                </a:lnTo>
                <a:lnTo>
                  <a:pt x="423" y="415"/>
                </a:lnTo>
                <a:lnTo>
                  <a:pt x="422" y="415"/>
                </a:lnTo>
                <a:lnTo>
                  <a:pt x="422" y="417"/>
                </a:lnTo>
                <a:lnTo>
                  <a:pt x="420" y="419"/>
                </a:lnTo>
                <a:lnTo>
                  <a:pt x="419" y="421"/>
                </a:lnTo>
                <a:lnTo>
                  <a:pt x="417" y="423"/>
                </a:lnTo>
                <a:lnTo>
                  <a:pt x="417" y="425"/>
                </a:lnTo>
                <a:lnTo>
                  <a:pt x="420" y="427"/>
                </a:lnTo>
                <a:lnTo>
                  <a:pt x="420" y="429"/>
                </a:lnTo>
                <a:lnTo>
                  <a:pt x="419" y="430"/>
                </a:lnTo>
                <a:lnTo>
                  <a:pt x="420" y="431"/>
                </a:lnTo>
                <a:lnTo>
                  <a:pt x="422" y="432"/>
                </a:lnTo>
                <a:lnTo>
                  <a:pt x="423" y="433"/>
                </a:lnTo>
                <a:lnTo>
                  <a:pt x="431" y="433"/>
                </a:lnTo>
                <a:lnTo>
                  <a:pt x="431" y="435"/>
                </a:lnTo>
                <a:lnTo>
                  <a:pt x="432" y="435"/>
                </a:lnTo>
                <a:lnTo>
                  <a:pt x="432" y="437"/>
                </a:lnTo>
                <a:lnTo>
                  <a:pt x="433" y="437"/>
                </a:lnTo>
                <a:lnTo>
                  <a:pt x="438" y="439"/>
                </a:lnTo>
                <a:lnTo>
                  <a:pt x="438" y="441"/>
                </a:lnTo>
                <a:lnTo>
                  <a:pt x="440" y="441"/>
                </a:lnTo>
                <a:lnTo>
                  <a:pt x="441" y="442"/>
                </a:lnTo>
                <a:lnTo>
                  <a:pt x="441" y="443"/>
                </a:lnTo>
                <a:lnTo>
                  <a:pt x="442" y="444"/>
                </a:lnTo>
                <a:lnTo>
                  <a:pt x="445" y="445"/>
                </a:lnTo>
                <a:lnTo>
                  <a:pt x="446" y="445"/>
                </a:lnTo>
                <a:lnTo>
                  <a:pt x="445" y="449"/>
                </a:lnTo>
                <a:lnTo>
                  <a:pt x="444" y="451"/>
                </a:lnTo>
                <a:lnTo>
                  <a:pt x="444" y="452"/>
                </a:lnTo>
                <a:lnTo>
                  <a:pt x="445" y="454"/>
                </a:lnTo>
                <a:lnTo>
                  <a:pt x="445" y="464"/>
                </a:lnTo>
                <a:lnTo>
                  <a:pt x="446" y="464"/>
                </a:lnTo>
                <a:lnTo>
                  <a:pt x="447" y="466"/>
                </a:lnTo>
                <a:lnTo>
                  <a:pt x="446" y="467"/>
                </a:lnTo>
                <a:lnTo>
                  <a:pt x="446" y="469"/>
                </a:lnTo>
                <a:lnTo>
                  <a:pt x="444" y="472"/>
                </a:lnTo>
                <a:lnTo>
                  <a:pt x="440" y="472"/>
                </a:lnTo>
                <a:lnTo>
                  <a:pt x="439" y="470"/>
                </a:lnTo>
                <a:lnTo>
                  <a:pt x="436" y="470"/>
                </a:lnTo>
                <a:lnTo>
                  <a:pt x="433" y="472"/>
                </a:lnTo>
                <a:lnTo>
                  <a:pt x="426" y="475"/>
                </a:lnTo>
                <a:lnTo>
                  <a:pt x="422" y="476"/>
                </a:lnTo>
                <a:lnTo>
                  <a:pt x="422" y="478"/>
                </a:lnTo>
                <a:lnTo>
                  <a:pt x="421" y="479"/>
                </a:lnTo>
                <a:lnTo>
                  <a:pt x="421" y="480"/>
                </a:lnTo>
                <a:lnTo>
                  <a:pt x="420" y="481"/>
                </a:lnTo>
                <a:lnTo>
                  <a:pt x="420" y="485"/>
                </a:lnTo>
                <a:lnTo>
                  <a:pt x="421" y="488"/>
                </a:lnTo>
                <a:lnTo>
                  <a:pt x="421" y="498"/>
                </a:lnTo>
                <a:lnTo>
                  <a:pt x="419" y="500"/>
                </a:lnTo>
                <a:lnTo>
                  <a:pt x="419" y="501"/>
                </a:lnTo>
                <a:lnTo>
                  <a:pt x="417" y="501"/>
                </a:lnTo>
                <a:lnTo>
                  <a:pt x="416" y="503"/>
                </a:lnTo>
                <a:lnTo>
                  <a:pt x="415" y="503"/>
                </a:lnTo>
                <a:lnTo>
                  <a:pt x="411" y="505"/>
                </a:lnTo>
                <a:lnTo>
                  <a:pt x="410" y="506"/>
                </a:lnTo>
                <a:lnTo>
                  <a:pt x="404" y="513"/>
                </a:lnTo>
                <a:lnTo>
                  <a:pt x="403" y="515"/>
                </a:lnTo>
                <a:lnTo>
                  <a:pt x="402" y="521"/>
                </a:lnTo>
                <a:lnTo>
                  <a:pt x="402" y="522"/>
                </a:lnTo>
                <a:lnTo>
                  <a:pt x="401" y="523"/>
                </a:lnTo>
                <a:lnTo>
                  <a:pt x="401" y="524"/>
                </a:lnTo>
                <a:lnTo>
                  <a:pt x="400" y="524"/>
                </a:lnTo>
                <a:lnTo>
                  <a:pt x="397" y="525"/>
                </a:lnTo>
                <a:lnTo>
                  <a:pt x="395" y="524"/>
                </a:lnTo>
                <a:lnTo>
                  <a:pt x="386" y="525"/>
                </a:lnTo>
                <a:lnTo>
                  <a:pt x="384" y="523"/>
                </a:lnTo>
                <a:lnTo>
                  <a:pt x="383" y="523"/>
                </a:lnTo>
                <a:lnTo>
                  <a:pt x="382" y="522"/>
                </a:lnTo>
                <a:lnTo>
                  <a:pt x="382" y="519"/>
                </a:lnTo>
                <a:lnTo>
                  <a:pt x="383" y="518"/>
                </a:lnTo>
                <a:lnTo>
                  <a:pt x="382" y="517"/>
                </a:lnTo>
                <a:lnTo>
                  <a:pt x="382" y="507"/>
                </a:lnTo>
                <a:lnTo>
                  <a:pt x="384" y="507"/>
                </a:lnTo>
                <a:lnTo>
                  <a:pt x="388" y="506"/>
                </a:lnTo>
                <a:lnTo>
                  <a:pt x="389" y="505"/>
                </a:lnTo>
                <a:lnTo>
                  <a:pt x="389" y="504"/>
                </a:lnTo>
                <a:lnTo>
                  <a:pt x="390" y="501"/>
                </a:lnTo>
                <a:lnTo>
                  <a:pt x="392" y="495"/>
                </a:lnTo>
                <a:lnTo>
                  <a:pt x="394" y="493"/>
                </a:lnTo>
                <a:lnTo>
                  <a:pt x="394" y="491"/>
                </a:lnTo>
                <a:lnTo>
                  <a:pt x="390" y="487"/>
                </a:lnTo>
                <a:lnTo>
                  <a:pt x="390" y="485"/>
                </a:lnTo>
                <a:lnTo>
                  <a:pt x="392" y="485"/>
                </a:lnTo>
                <a:lnTo>
                  <a:pt x="396" y="482"/>
                </a:lnTo>
                <a:lnTo>
                  <a:pt x="397" y="482"/>
                </a:lnTo>
                <a:lnTo>
                  <a:pt x="400" y="481"/>
                </a:lnTo>
                <a:lnTo>
                  <a:pt x="402" y="482"/>
                </a:lnTo>
                <a:lnTo>
                  <a:pt x="403" y="482"/>
                </a:lnTo>
                <a:lnTo>
                  <a:pt x="403" y="481"/>
                </a:lnTo>
                <a:lnTo>
                  <a:pt x="404" y="481"/>
                </a:lnTo>
                <a:lnTo>
                  <a:pt x="406" y="479"/>
                </a:lnTo>
                <a:lnTo>
                  <a:pt x="406" y="478"/>
                </a:lnTo>
                <a:lnTo>
                  <a:pt x="407" y="475"/>
                </a:lnTo>
                <a:lnTo>
                  <a:pt x="407" y="473"/>
                </a:lnTo>
                <a:lnTo>
                  <a:pt x="406" y="472"/>
                </a:lnTo>
                <a:lnTo>
                  <a:pt x="406" y="470"/>
                </a:lnTo>
                <a:lnTo>
                  <a:pt x="404" y="470"/>
                </a:lnTo>
                <a:lnTo>
                  <a:pt x="403" y="469"/>
                </a:lnTo>
                <a:lnTo>
                  <a:pt x="403" y="468"/>
                </a:lnTo>
                <a:lnTo>
                  <a:pt x="401" y="463"/>
                </a:lnTo>
                <a:lnTo>
                  <a:pt x="398" y="450"/>
                </a:lnTo>
                <a:lnTo>
                  <a:pt x="398" y="448"/>
                </a:lnTo>
                <a:lnTo>
                  <a:pt x="397" y="443"/>
                </a:lnTo>
                <a:lnTo>
                  <a:pt x="391" y="437"/>
                </a:lnTo>
                <a:lnTo>
                  <a:pt x="391" y="433"/>
                </a:lnTo>
                <a:lnTo>
                  <a:pt x="390" y="431"/>
                </a:lnTo>
                <a:lnTo>
                  <a:pt x="389" y="430"/>
                </a:lnTo>
                <a:lnTo>
                  <a:pt x="389" y="429"/>
                </a:lnTo>
                <a:lnTo>
                  <a:pt x="388" y="424"/>
                </a:lnTo>
                <a:lnTo>
                  <a:pt x="388" y="418"/>
                </a:lnTo>
                <a:lnTo>
                  <a:pt x="385" y="415"/>
                </a:lnTo>
                <a:lnTo>
                  <a:pt x="385" y="413"/>
                </a:lnTo>
                <a:lnTo>
                  <a:pt x="383" y="412"/>
                </a:lnTo>
                <a:lnTo>
                  <a:pt x="383" y="409"/>
                </a:lnTo>
                <a:lnTo>
                  <a:pt x="382" y="409"/>
                </a:lnTo>
                <a:lnTo>
                  <a:pt x="382" y="408"/>
                </a:lnTo>
                <a:lnTo>
                  <a:pt x="377" y="408"/>
                </a:lnTo>
                <a:lnTo>
                  <a:pt x="372" y="413"/>
                </a:lnTo>
                <a:lnTo>
                  <a:pt x="367" y="411"/>
                </a:lnTo>
                <a:lnTo>
                  <a:pt x="366" y="411"/>
                </a:lnTo>
                <a:lnTo>
                  <a:pt x="366" y="408"/>
                </a:lnTo>
                <a:lnTo>
                  <a:pt x="364" y="406"/>
                </a:lnTo>
                <a:lnTo>
                  <a:pt x="363" y="406"/>
                </a:lnTo>
                <a:lnTo>
                  <a:pt x="359" y="402"/>
                </a:lnTo>
                <a:lnTo>
                  <a:pt x="358" y="404"/>
                </a:lnTo>
                <a:lnTo>
                  <a:pt x="357" y="404"/>
                </a:lnTo>
                <a:lnTo>
                  <a:pt x="357" y="402"/>
                </a:lnTo>
                <a:lnTo>
                  <a:pt x="354" y="400"/>
                </a:lnTo>
                <a:lnTo>
                  <a:pt x="352" y="400"/>
                </a:lnTo>
                <a:lnTo>
                  <a:pt x="352" y="399"/>
                </a:lnTo>
                <a:lnTo>
                  <a:pt x="351" y="399"/>
                </a:lnTo>
                <a:lnTo>
                  <a:pt x="351" y="398"/>
                </a:lnTo>
                <a:lnTo>
                  <a:pt x="352" y="396"/>
                </a:lnTo>
                <a:lnTo>
                  <a:pt x="352" y="394"/>
                </a:lnTo>
                <a:lnTo>
                  <a:pt x="353" y="394"/>
                </a:lnTo>
                <a:lnTo>
                  <a:pt x="353" y="393"/>
                </a:lnTo>
                <a:lnTo>
                  <a:pt x="354" y="393"/>
                </a:lnTo>
                <a:lnTo>
                  <a:pt x="354" y="388"/>
                </a:lnTo>
                <a:lnTo>
                  <a:pt x="349" y="378"/>
                </a:lnTo>
                <a:lnTo>
                  <a:pt x="346" y="375"/>
                </a:lnTo>
                <a:lnTo>
                  <a:pt x="345" y="375"/>
                </a:lnTo>
                <a:lnTo>
                  <a:pt x="344" y="376"/>
                </a:lnTo>
                <a:lnTo>
                  <a:pt x="341" y="376"/>
                </a:lnTo>
                <a:lnTo>
                  <a:pt x="341" y="377"/>
                </a:lnTo>
                <a:lnTo>
                  <a:pt x="339" y="376"/>
                </a:lnTo>
                <a:lnTo>
                  <a:pt x="339" y="377"/>
                </a:lnTo>
                <a:lnTo>
                  <a:pt x="336" y="378"/>
                </a:lnTo>
                <a:lnTo>
                  <a:pt x="334" y="378"/>
                </a:lnTo>
                <a:lnTo>
                  <a:pt x="333" y="377"/>
                </a:lnTo>
                <a:lnTo>
                  <a:pt x="333" y="378"/>
                </a:lnTo>
                <a:lnTo>
                  <a:pt x="330" y="378"/>
                </a:lnTo>
                <a:lnTo>
                  <a:pt x="329" y="380"/>
                </a:lnTo>
                <a:lnTo>
                  <a:pt x="328" y="380"/>
                </a:lnTo>
                <a:lnTo>
                  <a:pt x="327" y="381"/>
                </a:lnTo>
                <a:lnTo>
                  <a:pt x="327" y="378"/>
                </a:lnTo>
                <a:lnTo>
                  <a:pt x="328" y="377"/>
                </a:lnTo>
                <a:lnTo>
                  <a:pt x="329" y="377"/>
                </a:lnTo>
                <a:lnTo>
                  <a:pt x="329" y="376"/>
                </a:lnTo>
                <a:lnTo>
                  <a:pt x="332" y="375"/>
                </a:lnTo>
                <a:lnTo>
                  <a:pt x="333" y="374"/>
                </a:lnTo>
                <a:lnTo>
                  <a:pt x="333" y="372"/>
                </a:lnTo>
                <a:lnTo>
                  <a:pt x="332" y="371"/>
                </a:lnTo>
                <a:lnTo>
                  <a:pt x="332" y="370"/>
                </a:lnTo>
                <a:lnTo>
                  <a:pt x="330" y="371"/>
                </a:lnTo>
                <a:lnTo>
                  <a:pt x="328" y="369"/>
                </a:lnTo>
                <a:lnTo>
                  <a:pt x="327" y="369"/>
                </a:lnTo>
                <a:lnTo>
                  <a:pt x="326" y="366"/>
                </a:lnTo>
                <a:lnTo>
                  <a:pt x="322" y="366"/>
                </a:lnTo>
                <a:lnTo>
                  <a:pt x="321" y="368"/>
                </a:lnTo>
                <a:lnTo>
                  <a:pt x="319" y="368"/>
                </a:lnTo>
                <a:lnTo>
                  <a:pt x="317" y="366"/>
                </a:lnTo>
                <a:lnTo>
                  <a:pt x="316" y="366"/>
                </a:lnTo>
                <a:lnTo>
                  <a:pt x="316" y="369"/>
                </a:lnTo>
                <a:lnTo>
                  <a:pt x="315" y="369"/>
                </a:lnTo>
                <a:lnTo>
                  <a:pt x="315" y="364"/>
                </a:lnTo>
                <a:lnTo>
                  <a:pt x="311" y="357"/>
                </a:lnTo>
                <a:lnTo>
                  <a:pt x="310" y="356"/>
                </a:lnTo>
                <a:lnTo>
                  <a:pt x="309" y="356"/>
                </a:lnTo>
                <a:lnTo>
                  <a:pt x="309" y="353"/>
                </a:lnTo>
                <a:lnTo>
                  <a:pt x="307" y="349"/>
                </a:lnTo>
                <a:lnTo>
                  <a:pt x="304" y="345"/>
                </a:lnTo>
                <a:lnTo>
                  <a:pt x="301" y="343"/>
                </a:lnTo>
                <a:lnTo>
                  <a:pt x="296" y="343"/>
                </a:lnTo>
                <a:lnTo>
                  <a:pt x="295" y="344"/>
                </a:lnTo>
                <a:lnTo>
                  <a:pt x="295" y="345"/>
                </a:lnTo>
                <a:lnTo>
                  <a:pt x="291" y="345"/>
                </a:lnTo>
                <a:lnTo>
                  <a:pt x="291" y="344"/>
                </a:lnTo>
                <a:lnTo>
                  <a:pt x="284" y="340"/>
                </a:lnTo>
                <a:lnTo>
                  <a:pt x="283" y="340"/>
                </a:lnTo>
                <a:lnTo>
                  <a:pt x="279" y="341"/>
                </a:lnTo>
                <a:lnTo>
                  <a:pt x="278" y="341"/>
                </a:lnTo>
                <a:lnTo>
                  <a:pt x="277" y="343"/>
                </a:lnTo>
                <a:lnTo>
                  <a:pt x="276" y="343"/>
                </a:lnTo>
                <a:lnTo>
                  <a:pt x="273" y="345"/>
                </a:lnTo>
                <a:lnTo>
                  <a:pt x="272" y="344"/>
                </a:lnTo>
                <a:lnTo>
                  <a:pt x="272" y="343"/>
                </a:lnTo>
                <a:lnTo>
                  <a:pt x="271" y="341"/>
                </a:lnTo>
                <a:lnTo>
                  <a:pt x="270" y="339"/>
                </a:lnTo>
                <a:lnTo>
                  <a:pt x="267" y="335"/>
                </a:lnTo>
                <a:lnTo>
                  <a:pt x="266" y="334"/>
                </a:lnTo>
                <a:lnTo>
                  <a:pt x="265" y="334"/>
                </a:lnTo>
                <a:lnTo>
                  <a:pt x="264" y="333"/>
                </a:lnTo>
                <a:lnTo>
                  <a:pt x="260" y="333"/>
                </a:lnTo>
                <a:lnTo>
                  <a:pt x="257" y="332"/>
                </a:lnTo>
                <a:lnTo>
                  <a:pt x="255" y="331"/>
                </a:lnTo>
                <a:lnTo>
                  <a:pt x="255" y="332"/>
                </a:lnTo>
                <a:lnTo>
                  <a:pt x="254" y="332"/>
                </a:lnTo>
                <a:lnTo>
                  <a:pt x="252" y="327"/>
                </a:lnTo>
                <a:lnTo>
                  <a:pt x="247" y="321"/>
                </a:lnTo>
                <a:lnTo>
                  <a:pt x="242" y="318"/>
                </a:lnTo>
                <a:lnTo>
                  <a:pt x="241" y="316"/>
                </a:lnTo>
                <a:lnTo>
                  <a:pt x="239" y="316"/>
                </a:lnTo>
                <a:lnTo>
                  <a:pt x="239" y="315"/>
                </a:lnTo>
                <a:lnTo>
                  <a:pt x="237" y="315"/>
                </a:lnTo>
                <a:lnTo>
                  <a:pt x="237" y="310"/>
                </a:lnTo>
                <a:lnTo>
                  <a:pt x="229" y="302"/>
                </a:lnTo>
                <a:lnTo>
                  <a:pt x="229" y="301"/>
                </a:lnTo>
                <a:lnTo>
                  <a:pt x="228" y="301"/>
                </a:lnTo>
                <a:lnTo>
                  <a:pt x="226" y="298"/>
                </a:lnTo>
                <a:lnTo>
                  <a:pt x="221" y="298"/>
                </a:lnTo>
                <a:lnTo>
                  <a:pt x="221" y="297"/>
                </a:lnTo>
                <a:lnTo>
                  <a:pt x="220" y="296"/>
                </a:lnTo>
                <a:lnTo>
                  <a:pt x="218" y="296"/>
                </a:lnTo>
                <a:lnTo>
                  <a:pt x="218" y="295"/>
                </a:lnTo>
                <a:lnTo>
                  <a:pt x="217" y="294"/>
                </a:lnTo>
                <a:lnTo>
                  <a:pt x="217" y="291"/>
                </a:lnTo>
                <a:lnTo>
                  <a:pt x="215" y="286"/>
                </a:lnTo>
                <a:lnTo>
                  <a:pt x="209" y="280"/>
                </a:lnTo>
                <a:lnTo>
                  <a:pt x="206" y="280"/>
                </a:lnTo>
                <a:lnTo>
                  <a:pt x="204" y="279"/>
                </a:lnTo>
                <a:lnTo>
                  <a:pt x="203" y="278"/>
                </a:lnTo>
                <a:lnTo>
                  <a:pt x="201" y="278"/>
                </a:lnTo>
                <a:lnTo>
                  <a:pt x="197" y="277"/>
                </a:lnTo>
                <a:lnTo>
                  <a:pt x="195" y="277"/>
                </a:lnTo>
                <a:lnTo>
                  <a:pt x="195" y="278"/>
                </a:lnTo>
                <a:lnTo>
                  <a:pt x="193" y="279"/>
                </a:lnTo>
                <a:lnTo>
                  <a:pt x="192" y="279"/>
                </a:lnTo>
                <a:lnTo>
                  <a:pt x="191" y="278"/>
                </a:lnTo>
                <a:lnTo>
                  <a:pt x="190" y="278"/>
                </a:lnTo>
                <a:lnTo>
                  <a:pt x="190" y="276"/>
                </a:lnTo>
                <a:lnTo>
                  <a:pt x="193" y="276"/>
                </a:lnTo>
                <a:lnTo>
                  <a:pt x="193" y="275"/>
                </a:lnTo>
                <a:lnTo>
                  <a:pt x="195" y="273"/>
                </a:lnTo>
                <a:lnTo>
                  <a:pt x="195" y="272"/>
                </a:lnTo>
                <a:lnTo>
                  <a:pt x="193" y="271"/>
                </a:lnTo>
                <a:lnTo>
                  <a:pt x="193" y="270"/>
                </a:lnTo>
                <a:lnTo>
                  <a:pt x="192" y="269"/>
                </a:lnTo>
                <a:lnTo>
                  <a:pt x="191" y="269"/>
                </a:lnTo>
                <a:lnTo>
                  <a:pt x="191" y="267"/>
                </a:lnTo>
                <a:lnTo>
                  <a:pt x="190" y="266"/>
                </a:lnTo>
                <a:lnTo>
                  <a:pt x="190" y="265"/>
                </a:lnTo>
                <a:lnTo>
                  <a:pt x="189" y="264"/>
                </a:lnTo>
                <a:lnTo>
                  <a:pt x="186" y="263"/>
                </a:lnTo>
                <a:lnTo>
                  <a:pt x="186" y="261"/>
                </a:lnTo>
                <a:lnTo>
                  <a:pt x="185" y="260"/>
                </a:lnTo>
                <a:lnTo>
                  <a:pt x="184" y="258"/>
                </a:lnTo>
                <a:lnTo>
                  <a:pt x="181" y="257"/>
                </a:lnTo>
                <a:lnTo>
                  <a:pt x="174" y="255"/>
                </a:lnTo>
                <a:lnTo>
                  <a:pt x="177" y="253"/>
                </a:lnTo>
                <a:lnTo>
                  <a:pt x="177" y="249"/>
                </a:lnTo>
                <a:lnTo>
                  <a:pt x="175" y="248"/>
                </a:lnTo>
                <a:lnTo>
                  <a:pt x="171" y="246"/>
                </a:lnTo>
                <a:lnTo>
                  <a:pt x="168" y="246"/>
                </a:lnTo>
                <a:lnTo>
                  <a:pt x="166" y="248"/>
                </a:lnTo>
                <a:lnTo>
                  <a:pt x="165" y="247"/>
                </a:lnTo>
                <a:lnTo>
                  <a:pt x="164" y="245"/>
                </a:lnTo>
                <a:lnTo>
                  <a:pt x="166" y="242"/>
                </a:lnTo>
                <a:lnTo>
                  <a:pt x="167" y="239"/>
                </a:lnTo>
                <a:lnTo>
                  <a:pt x="166" y="239"/>
                </a:lnTo>
                <a:lnTo>
                  <a:pt x="166" y="237"/>
                </a:lnTo>
                <a:lnTo>
                  <a:pt x="167" y="236"/>
                </a:lnTo>
                <a:lnTo>
                  <a:pt x="167" y="234"/>
                </a:lnTo>
                <a:lnTo>
                  <a:pt x="166" y="233"/>
                </a:lnTo>
                <a:lnTo>
                  <a:pt x="166" y="228"/>
                </a:lnTo>
                <a:lnTo>
                  <a:pt x="162" y="221"/>
                </a:lnTo>
                <a:lnTo>
                  <a:pt x="160" y="217"/>
                </a:lnTo>
                <a:lnTo>
                  <a:pt x="159" y="217"/>
                </a:lnTo>
                <a:lnTo>
                  <a:pt x="158" y="216"/>
                </a:lnTo>
                <a:lnTo>
                  <a:pt x="158" y="215"/>
                </a:lnTo>
                <a:lnTo>
                  <a:pt x="156" y="211"/>
                </a:lnTo>
                <a:lnTo>
                  <a:pt x="155" y="197"/>
                </a:lnTo>
                <a:lnTo>
                  <a:pt x="154" y="194"/>
                </a:lnTo>
                <a:lnTo>
                  <a:pt x="153" y="190"/>
                </a:lnTo>
                <a:lnTo>
                  <a:pt x="152" y="189"/>
                </a:lnTo>
                <a:lnTo>
                  <a:pt x="149" y="187"/>
                </a:lnTo>
                <a:lnTo>
                  <a:pt x="148" y="185"/>
                </a:lnTo>
                <a:lnTo>
                  <a:pt x="148" y="184"/>
                </a:lnTo>
                <a:lnTo>
                  <a:pt x="147" y="184"/>
                </a:lnTo>
                <a:lnTo>
                  <a:pt x="146" y="183"/>
                </a:lnTo>
                <a:lnTo>
                  <a:pt x="141" y="183"/>
                </a:lnTo>
                <a:lnTo>
                  <a:pt x="137" y="179"/>
                </a:lnTo>
                <a:lnTo>
                  <a:pt x="136" y="179"/>
                </a:lnTo>
                <a:lnTo>
                  <a:pt x="137" y="180"/>
                </a:lnTo>
                <a:lnTo>
                  <a:pt x="136" y="180"/>
                </a:lnTo>
                <a:lnTo>
                  <a:pt x="136" y="181"/>
                </a:lnTo>
                <a:lnTo>
                  <a:pt x="134" y="181"/>
                </a:lnTo>
                <a:lnTo>
                  <a:pt x="133" y="179"/>
                </a:lnTo>
                <a:lnTo>
                  <a:pt x="131" y="179"/>
                </a:lnTo>
                <a:lnTo>
                  <a:pt x="130" y="178"/>
                </a:lnTo>
                <a:lnTo>
                  <a:pt x="129" y="178"/>
                </a:lnTo>
                <a:lnTo>
                  <a:pt x="125" y="174"/>
                </a:lnTo>
                <a:lnTo>
                  <a:pt x="123" y="173"/>
                </a:lnTo>
                <a:lnTo>
                  <a:pt x="122" y="172"/>
                </a:lnTo>
                <a:lnTo>
                  <a:pt x="121" y="172"/>
                </a:lnTo>
                <a:lnTo>
                  <a:pt x="119" y="171"/>
                </a:lnTo>
                <a:lnTo>
                  <a:pt x="117" y="169"/>
                </a:lnTo>
                <a:lnTo>
                  <a:pt x="117" y="168"/>
                </a:lnTo>
                <a:lnTo>
                  <a:pt x="112" y="166"/>
                </a:lnTo>
                <a:lnTo>
                  <a:pt x="111" y="165"/>
                </a:lnTo>
                <a:lnTo>
                  <a:pt x="111" y="166"/>
                </a:lnTo>
                <a:lnTo>
                  <a:pt x="110" y="167"/>
                </a:lnTo>
                <a:lnTo>
                  <a:pt x="109" y="167"/>
                </a:lnTo>
                <a:lnTo>
                  <a:pt x="108" y="166"/>
                </a:lnTo>
                <a:lnTo>
                  <a:pt x="108" y="165"/>
                </a:lnTo>
                <a:lnTo>
                  <a:pt x="106" y="163"/>
                </a:lnTo>
                <a:lnTo>
                  <a:pt x="102" y="162"/>
                </a:lnTo>
                <a:lnTo>
                  <a:pt x="99" y="162"/>
                </a:lnTo>
                <a:lnTo>
                  <a:pt x="98" y="161"/>
                </a:lnTo>
                <a:lnTo>
                  <a:pt x="94" y="161"/>
                </a:lnTo>
                <a:lnTo>
                  <a:pt x="94" y="160"/>
                </a:lnTo>
                <a:lnTo>
                  <a:pt x="91" y="160"/>
                </a:lnTo>
                <a:lnTo>
                  <a:pt x="90" y="161"/>
                </a:lnTo>
                <a:lnTo>
                  <a:pt x="88" y="161"/>
                </a:lnTo>
                <a:lnTo>
                  <a:pt x="88" y="162"/>
                </a:lnTo>
                <a:lnTo>
                  <a:pt x="87" y="162"/>
                </a:lnTo>
                <a:lnTo>
                  <a:pt x="85" y="165"/>
                </a:lnTo>
                <a:lnTo>
                  <a:pt x="84" y="165"/>
                </a:lnTo>
                <a:lnTo>
                  <a:pt x="83" y="166"/>
                </a:lnTo>
                <a:lnTo>
                  <a:pt x="79" y="168"/>
                </a:lnTo>
                <a:lnTo>
                  <a:pt x="78" y="169"/>
                </a:lnTo>
                <a:lnTo>
                  <a:pt x="79" y="169"/>
                </a:lnTo>
                <a:lnTo>
                  <a:pt x="78" y="171"/>
                </a:lnTo>
                <a:lnTo>
                  <a:pt x="78" y="172"/>
                </a:lnTo>
                <a:lnTo>
                  <a:pt x="77" y="172"/>
                </a:lnTo>
                <a:lnTo>
                  <a:pt x="77" y="175"/>
                </a:lnTo>
                <a:lnTo>
                  <a:pt x="75" y="175"/>
                </a:lnTo>
                <a:lnTo>
                  <a:pt x="73" y="177"/>
                </a:lnTo>
                <a:lnTo>
                  <a:pt x="72" y="177"/>
                </a:lnTo>
                <a:lnTo>
                  <a:pt x="69" y="179"/>
                </a:lnTo>
                <a:lnTo>
                  <a:pt x="69" y="183"/>
                </a:lnTo>
                <a:lnTo>
                  <a:pt x="68" y="183"/>
                </a:lnTo>
                <a:lnTo>
                  <a:pt x="67" y="185"/>
                </a:lnTo>
                <a:lnTo>
                  <a:pt x="66" y="186"/>
                </a:lnTo>
                <a:lnTo>
                  <a:pt x="67" y="187"/>
                </a:lnTo>
                <a:lnTo>
                  <a:pt x="67" y="189"/>
                </a:lnTo>
                <a:lnTo>
                  <a:pt x="66" y="189"/>
                </a:lnTo>
                <a:lnTo>
                  <a:pt x="65" y="190"/>
                </a:lnTo>
                <a:lnTo>
                  <a:pt x="63" y="190"/>
                </a:lnTo>
                <a:lnTo>
                  <a:pt x="63" y="191"/>
                </a:lnTo>
                <a:lnTo>
                  <a:pt x="62" y="191"/>
                </a:lnTo>
                <a:lnTo>
                  <a:pt x="62" y="192"/>
                </a:lnTo>
                <a:lnTo>
                  <a:pt x="61" y="192"/>
                </a:lnTo>
                <a:lnTo>
                  <a:pt x="57" y="194"/>
                </a:lnTo>
                <a:lnTo>
                  <a:pt x="50" y="196"/>
                </a:lnTo>
                <a:lnTo>
                  <a:pt x="48" y="197"/>
                </a:lnTo>
                <a:lnTo>
                  <a:pt x="47" y="198"/>
                </a:lnTo>
                <a:lnTo>
                  <a:pt x="38" y="198"/>
                </a:lnTo>
                <a:lnTo>
                  <a:pt x="37" y="194"/>
                </a:lnTo>
                <a:lnTo>
                  <a:pt x="37" y="193"/>
                </a:lnTo>
                <a:lnTo>
                  <a:pt x="38" y="192"/>
                </a:lnTo>
                <a:lnTo>
                  <a:pt x="40" y="190"/>
                </a:lnTo>
                <a:lnTo>
                  <a:pt x="41" y="189"/>
                </a:lnTo>
                <a:lnTo>
                  <a:pt x="43" y="187"/>
                </a:lnTo>
                <a:lnTo>
                  <a:pt x="44" y="186"/>
                </a:lnTo>
                <a:lnTo>
                  <a:pt x="44" y="184"/>
                </a:lnTo>
                <a:lnTo>
                  <a:pt x="47" y="181"/>
                </a:lnTo>
                <a:lnTo>
                  <a:pt x="47" y="180"/>
                </a:lnTo>
                <a:lnTo>
                  <a:pt x="44" y="178"/>
                </a:lnTo>
                <a:lnTo>
                  <a:pt x="44" y="175"/>
                </a:lnTo>
                <a:lnTo>
                  <a:pt x="43" y="175"/>
                </a:lnTo>
                <a:lnTo>
                  <a:pt x="42" y="177"/>
                </a:lnTo>
                <a:lnTo>
                  <a:pt x="41" y="177"/>
                </a:lnTo>
                <a:lnTo>
                  <a:pt x="34" y="178"/>
                </a:lnTo>
                <a:lnTo>
                  <a:pt x="30" y="178"/>
                </a:lnTo>
                <a:lnTo>
                  <a:pt x="30" y="177"/>
                </a:lnTo>
                <a:lnTo>
                  <a:pt x="28" y="177"/>
                </a:lnTo>
                <a:lnTo>
                  <a:pt x="23" y="173"/>
                </a:lnTo>
                <a:lnTo>
                  <a:pt x="22" y="173"/>
                </a:lnTo>
                <a:lnTo>
                  <a:pt x="19" y="172"/>
                </a:lnTo>
                <a:lnTo>
                  <a:pt x="17" y="172"/>
                </a:lnTo>
                <a:lnTo>
                  <a:pt x="16" y="171"/>
                </a:lnTo>
                <a:lnTo>
                  <a:pt x="16" y="169"/>
                </a:lnTo>
                <a:lnTo>
                  <a:pt x="15" y="168"/>
                </a:lnTo>
                <a:lnTo>
                  <a:pt x="13" y="168"/>
                </a:lnTo>
                <a:lnTo>
                  <a:pt x="13" y="166"/>
                </a:lnTo>
                <a:lnTo>
                  <a:pt x="12" y="165"/>
                </a:lnTo>
                <a:lnTo>
                  <a:pt x="12" y="161"/>
                </a:lnTo>
                <a:lnTo>
                  <a:pt x="13" y="160"/>
                </a:lnTo>
                <a:lnTo>
                  <a:pt x="11" y="157"/>
                </a:lnTo>
                <a:lnTo>
                  <a:pt x="11" y="156"/>
                </a:lnTo>
                <a:lnTo>
                  <a:pt x="10" y="154"/>
                </a:lnTo>
                <a:lnTo>
                  <a:pt x="11" y="154"/>
                </a:lnTo>
                <a:lnTo>
                  <a:pt x="13" y="151"/>
                </a:lnTo>
                <a:lnTo>
                  <a:pt x="15" y="149"/>
                </a:lnTo>
                <a:lnTo>
                  <a:pt x="15" y="147"/>
                </a:lnTo>
                <a:lnTo>
                  <a:pt x="17" y="144"/>
                </a:lnTo>
                <a:lnTo>
                  <a:pt x="19" y="146"/>
                </a:lnTo>
                <a:lnTo>
                  <a:pt x="19" y="144"/>
                </a:lnTo>
                <a:lnTo>
                  <a:pt x="18" y="142"/>
                </a:lnTo>
                <a:lnTo>
                  <a:pt x="18" y="140"/>
                </a:lnTo>
                <a:lnTo>
                  <a:pt x="17" y="138"/>
                </a:lnTo>
                <a:lnTo>
                  <a:pt x="17" y="136"/>
                </a:lnTo>
                <a:lnTo>
                  <a:pt x="15" y="135"/>
                </a:lnTo>
                <a:lnTo>
                  <a:pt x="11" y="135"/>
                </a:lnTo>
                <a:lnTo>
                  <a:pt x="7" y="134"/>
                </a:lnTo>
                <a:lnTo>
                  <a:pt x="6" y="132"/>
                </a:lnTo>
                <a:lnTo>
                  <a:pt x="6" y="128"/>
                </a:lnTo>
                <a:lnTo>
                  <a:pt x="5" y="125"/>
                </a:lnTo>
                <a:lnTo>
                  <a:pt x="3" y="125"/>
                </a:lnTo>
                <a:lnTo>
                  <a:pt x="3" y="124"/>
                </a:lnTo>
                <a:lnTo>
                  <a:pt x="1" y="123"/>
                </a:lnTo>
                <a:lnTo>
                  <a:pt x="1" y="122"/>
                </a:lnTo>
                <a:lnTo>
                  <a:pt x="0" y="120"/>
                </a:lnTo>
                <a:lnTo>
                  <a:pt x="3" y="118"/>
                </a:lnTo>
                <a:lnTo>
                  <a:pt x="5" y="118"/>
                </a:lnTo>
                <a:lnTo>
                  <a:pt x="6" y="117"/>
                </a:lnTo>
                <a:lnTo>
                  <a:pt x="7" y="117"/>
                </a:lnTo>
                <a:lnTo>
                  <a:pt x="9" y="118"/>
                </a:lnTo>
                <a:lnTo>
                  <a:pt x="11" y="119"/>
                </a:lnTo>
                <a:lnTo>
                  <a:pt x="12" y="118"/>
                </a:lnTo>
                <a:lnTo>
                  <a:pt x="12" y="117"/>
                </a:lnTo>
                <a:lnTo>
                  <a:pt x="13" y="117"/>
                </a:lnTo>
                <a:lnTo>
                  <a:pt x="15" y="116"/>
                </a:lnTo>
                <a:lnTo>
                  <a:pt x="15" y="114"/>
                </a:lnTo>
                <a:lnTo>
                  <a:pt x="16" y="114"/>
                </a:lnTo>
                <a:lnTo>
                  <a:pt x="17" y="113"/>
                </a:lnTo>
                <a:lnTo>
                  <a:pt x="19" y="113"/>
                </a:lnTo>
                <a:lnTo>
                  <a:pt x="22" y="111"/>
                </a:lnTo>
                <a:lnTo>
                  <a:pt x="22" y="107"/>
                </a:lnTo>
                <a:lnTo>
                  <a:pt x="23" y="105"/>
                </a:lnTo>
                <a:lnTo>
                  <a:pt x="24" y="104"/>
                </a:lnTo>
                <a:lnTo>
                  <a:pt x="24" y="101"/>
                </a:lnTo>
                <a:lnTo>
                  <a:pt x="22" y="101"/>
                </a:lnTo>
                <a:lnTo>
                  <a:pt x="22" y="100"/>
                </a:lnTo>
                <a:lnTo>
                  <a:pt x="21" y="100"/>
                </a:lnTo>
                <a:lnTo>
                  <a:pt x="21" y="98"/>
                </a:lnTo>
                <a:lnTo>
                  <a:pt x="18" y="97"/>
                </a:lnTo>
                <a:lnTo>
                  <a:pt x="17" y="95"/>
                </a:lnTo>
                <a:lnTo>
                  <a:pt x="16" y="95"/>
                </a:lnTo>
                <a:lnTo>
                  <a:pt x="16" y="88"/>
                </a:lnTo>
                <a:lnTo>
                  <a:pt x="13" y="87"/>
                </a:lnTo>
                <a:lnTo>
                  <a:pt x="12" y="86"/>
                </a:lnTo>
                <a:lnTo>
                  <a:pt x="11" y="86"/>
                </a:lnTo>
                <a:lnTo>
                  <a:pt x="9" y="83"/>
                </a:lnTo>
                <a:lnTo>
                  <a:pt x="9" y="76"/>
                </a:lnTo>
                <a:lnTo>
                  <a:pt x="11" y="76"/>
                </a:lnTo>
                <a:lnTo>
                  <a:pt x="11" y="75"/>
                </a:lnTo>
                <a:lnTo>
                  <a:pt x="12" y="76"/>
                </a:lnTo>
                <a:lnTo>
                  <a:pt x="13" y="76"/>
                </a:lnTo>
                <a:lnTo>
                  <a:pt x="17" y="73"/>
                </a:lnTo>
                <a:lnTo>
                  <a:pt x="17" y="71"/>
                </a:lnTo>
                <a:lnTo>
                  <a:pt x="18" y="71"/>
                </a:lnTo>
                <a:lnTo>
                  <a:pt x="18" y="70"/>
                </a:lnTo>
                <a:lnTo>
                  <a:pt x="21" y="73"/>
                </a:lnTo>
                <a:lnTo>
                  <a:pt x="21" y="74"/>
                </a:lnTo>
                <a:lnTo>
                  <a:pt x="25" y="74"/>
                </a:lnTo>
                <a:lnTo>
                  <a:pt x="28" y="73"/>
                </a:lnTo>
                <a:lnTo>
                  <a:pt x="29" y="71"/>
                </a:lnTo>
                <a:lnTo>
                  <a:pt x="34" y="71"/>
                </a:lnTo>
                <a:lnTo>
                  <a:pt x="36" y="69"/>
                </a:lnTo>
                <a:lnTo>
                  <a:pt x="38" y="69"/>
                </a:lnTo>
                <a:lnTo>
                  <a:pt x="38" y="68"/>
                </a:lnTo>
                <a:lnTo>
                  <a:pt x="40" y="68"/>
                </a:lnTo>
                <a:lnTo>
                  <a:pt x="40" y="67"/>
                </a:lnTo>
                <a:lnTo>
                  <a:pt x="44" y="68"/>
                </a:lnTo>
                <a:lnTo>
                  <a:pt x="47" y="70"/>
                </a:lnTo>
                <a:lnTo>
                  <a:pt x="48" y="70"/>
                </a:lnTo>
                <a:lnTo>
                  <a:pt x="50" y="71"/>
                </a:lnTo>
                <a:lnTo>
                  <a:pt x="53" y="71"/>
                </a:lnTo>
                <a:lnTo>
                  <a:pt x="53" y="70"/>
                </a:lnTo>
                <a:lnTo>
                  <a:pt x="54" y="68"/>
                </a:lnTo>
                <a:lnTo>
                  <a:pt x="55" y="68"/>
                </a:lnTo>
                <a:lnTo>
                  <a:pt x="59" y="67"/>
                </a:lnTo>
                <a:lnTo>
                  <a:pt x="60" y="65"/>
                </a:lnTo>
                <a:lnTo>
                  <a:pt x="60" y="62"/>
                </a:lnTo>
                <a:lnTo>
                  <a:pt x="61" y="61"/>
                </a:lnTo>
                <a:lnTo>
                  <a:pt x="62" y="61"/>
                </a:lnTo>
                <a:lnTo>
                  <a:pt x="65" y="58"/>
                </a:lnTo>
                <a:lnTo>
                  <a:pt x="65" y="55"/>
                </a:lnTo>
                <a:lnTo>
                  <a:pt x="63" y="52"/>
                </a:lnTo>
                <a:lnTo>
                  <a:pt x="62" y="51"/>
                </a:lnTo>
                <a:lnTo>
                  <a:pt x="62" y="50"/>
                </a:lnTo>
                <a:lnTo>
                  <a:pt x="63" y="50"/>
                </a:lnTo>
                <a:lnTo>
                  <a:pt x="63" y="49"/>
                </a:lnTo>
                <a:lnTo>
                  <a:pt x="65" y="49"/>
                </a:lnTo>
                <a:lnTo>
                  <a:pt x="67" y="48"/>
                </a:lnTo>
                <a:lnTo>
                  <a:pt x="71" y="44"/>
                </a:lnTo>
                <a:lnTo>
                  <a:pt x="72" y="44"/>
                </a:lnTo>
                <a:lnTo>
                  <a:pt x="72" y="40"/>
                </a:lnTo>
                <a:lnTo>
                  <a:pt x="73" y="40"/>
                </a:lnTo>
                <a:lnTo>
                  <a:pt x="74" y="39"/>
                </a:lnTo>
                <a:lnTo>
                  <a:pt x="78" y="39"/>
                </a:lnTo>
                <a:lnTo>
                  <a:pt x="78" y="52"/>
                </a:lnTo>
                <a:lnTo>
                  <a:pt x="79" y="52"/>
                </a:lnTo>
                <a:lnTo>
                  <a:pt x="80" y="54"/>
                </a:lnTo>
                <a:lnTo>
                  <a:pt x="81" y="54"/>
                </a:lnTo>
                <a:lnTo>
                  <a:pt x="83" y="55"/>
                </a:lnTo>
                <a:lnTo>
                  <a:pt x="85" y="58"/>
                </a:lnTo>
                <a:lnTo>
                  <a:pt x="85" y="60"/>
                </a:lnTo>
                <a:lnTo>
                  <a:pt x="86" y="60"/>
                </a:lnTo>
                <a:lnTo>
                  <a:pt x="88" y="61"/>
                </a:lnTo>
                <a:lnTo>
                  <a:pt x="90" y="61"/>
                </a:lnTo>
                <a:lnTo>
                  <a:pt x="90" y="60"/>
                </a:lnTo>
                <a:lnTo>
                  <a:pt x="91" y="60"/>
                </a:lnTo>
                <a:lnTo>
                  <a:pt x="91" y="61"/>
                </a:lnTo>
                <a:lnTo>
                  <a:pt x="93" y="61"/>
                </a:lnTo>
                <a:lnTo>
                  <a:pt x="94" y="62"/>
                </a:lnTo>
                <a:lnTo>
                  <a:pt x="94" y="64"/>
                </a:lnTo>
                <a:lnTo>
                  <a:pt x="92" y="67"/>
                </a:lnTo>
                <a:lnTo>
                  <a:pt x="92" y="68"/>
                </a:lnTo>
                <a:lnTo>
                  <a:pt x="93" y="68"/>
                </a:lnTo>
                <a:lnTo>
                  <a:pt x="96" y="69"/>
                </a:lnTo>
                <a:lnTo>
                  <a:pt x="97" y="70"/>
                </a:lnTo>
                <a:lnTo>
                  <a:pt x="97" y="71"/>
                </a:lnTo>
                <a:lnTo>
                  <a:pt x="98" y="73"/>
                </a:lnTo>
                <a:lnTo>
                  <a:pt x="98" y="76"/>
                </a:lnTo>
                <a:lnTo>
                  <a:pt x="99" y="76"/>
                </a:lnTo>
                <a:lnTo>
                  <a:pt x="100" y="77"/>
                </a:lnTo>
                <a:lnTo>
                  <a:pt x="102" y="77"/>
                </a:lnTo>
                <a:lnTo>
                  <a:pt x="103" y="75"/>
                </a:lnTo>
                <a:lnTo>
                  <a:pt x="104" y="74"/>
                </a:lnTo>
                <a:lnTo>
                  <a:pt x="104" y="71"/>
                </a:lnTo>
                <a:lnTo>
                  <a:pt x="103" y="71"/>
                </a:lnTo>
                <a:lnTo>
                  <a:pt x="102" y="70"/>
                </a:lnTo>
                <a:lnTo>
                  <a:pt x="102" y="69"/>
                </a:lnTo>
                <a:lnTo>
                  <a:pt x="100" y="69"/>
                </a:lnTo>
                <a:lnTo>
                  <a:pt x="100" y="68"/>
                </a:lnTo>
                <a:lnTo>
                  <a:pt x="103" y="67"/>
                </a:lnTo>
                <a:lnTo>
                  <a:pt x="102" y="64"/>
                </a:lnTo>
                <a:lnTo>
                  <a:pt x="103" y="63"/>
                </a:lnTo>
                <a:lnTo>
                  <a:pt x="104" y="63"/>
                </a:lnTo>
                <a:lnTo>
                  <a:pt x="104" y="62"/>
                </a:lnTo>
                <a:lnTo>
                  <a:pt x="105" y="61"/>
                </a:lnTo>
                <a:lnTo>
                  <a:pt x="104" y="60"/>
                </a:lnTo>
                <a:lnTo>
                  <a:pt x="105" y="60"/>
                </a:lnTo>
                <a:lnTo>
                  <a:pt x="105" y="58"/>
                </a:lnTo>
                <a:lnTo>
                  <a:pt x="109" y="56"/>
                </a:lnTo>
                <a:lnTo>
                  <a:pt x="109" y="54"/>
                </a:lnTo>
                <a:lnTo>
                  <a:pt x="110" y="54"/>
                </a:lnTo>
                <a:lnTo>
                  <a:pt x="111" y="52"/>
                </a:lnTo>
                <a:lnTo>
                  <a:pt x="114" y="48"/>
                </a:lnTo>
                <a:lnTo>
                  <a:pt x="114" y="45"/>
                </a:lnTo>
                <a:lnTo>
                  <a:pt x="112" y="43"/>
                </a:lnTo>
                <a:lnTo>
                  <a:pt x="112" y="40"/>
                </a:lnTo>
                <a:lnTo>
                  <a:pt x="111" y="39"/>
                </a:lnTo>
                <a:lnTo>
                  <a:pt x="112" y="38"/>
                </a:lnTo>
                <a:lnTo>
                  <a:pt x="112" y="37"/>
                </a:lnTo>
                <a:lnTo>
                  <a:pt x="114" y="36"/>
                </a:lnTo>
                <a:lnTo>
                  <a:pt x="116" y="36"/>
                </a:lnTo>
                <a:lnTo>
                  <a:pt x="116" y="37"/>
                </a:lnTo>
                <a:lnTo>
                  <a:pt x="117" y="38"/>
                </a:lnTo>
                <a:lnTo>
                  <a:pt x="118" y="38"/>
                </a:lnTo>
                <a:lnTo>
                  <a:pt x="118" y="37"/>
                </a:lnTo>
                <a:lnTo>
                  <a:pt x="119" y="37"/>
                </a:lnTo>
                <a:lnTo>
                  <a:pt x="119" y="36"/>
                </a:lnTo>
                <a:lnTo>
                  <a:pt x="121" y="37"/>
                </a:lnTo>
                <a:lnTo>
                  <a:pt x="121" y="44"/>
                </a:lnTo>
                <a:lnTo>
                  <a:pt x="122" y="44"/>
                </a:lnTo>
                <a:lnTo>
                  <a:pt x="122" y="45"/>
                </a:lnTo>
                <a:lnTo>
                  <a:pt x="123" y="46"/>
                </a:lnTo>
                <a:lnTo>
                  <a:pt x="123" y="48"/>
                </a:lnTo>
                <a:lnTo>
                  <a:pt x="124" y="48"/>
                </a:lnTo>
                <a:lnTo>
                  <a:pt x="125" y="49"/>
                </a:lnTo>
                <a:lnTo>
                  <a:pt x="131" y="49"/>
                </a:lnTo>
                <a:lnTo>
                  <a:pt x="131" y="45"/>
                </a:lnTo>
                <a:lnTo>
                  <a:pt x="135" y="45"/>
                </a:lnTo>
                <a:lnTo>
                  <a:pt x="137" y="44"/>
                </a:lnTo>
                <a:lnTo>
                  <a:pt x="141" y="44"/>
                </a:lnTo>
                <a:lnTo>
                  <a:pt x="142" y="45"/>
                </a:lnTo>
                <a:lnTo>
                  <a:pt x="142" y="46"/>
                </a:lnTo>
                <a:lnTo>
                  <a:pt x="143" y="49"/>
                </a:lnTo>
                <a:lnTo>
                  <a:pt x="146" y="50"/>
                </a:lnTo>
                <a:lnTo>
                  <a:pt x="146" y="52"/>
                </a:lnTo>
                <a:lnTo>
                  <a:pt x="149" y="52"/>
                </a:lnTo>
                <a:lnTo>
                  <a:pt x="150" y="51"/>
                </a:lnTo>
                <a:lnTo>
                  <a:pt x="150" y="49"/>
                </a:lnTo>
                <a:lnTo>
                  <a:pt x="148" y="48"/>
                </a:lnTo>
                <a:lnTo>
                  <a:pt x="148" y="44"/>
                </a:lnTo>
                <a:lnTo>
                  <a:pt x="149" y="44"/>
                </a:lnTo>
                <a:lnTo>
                  <a:pt x="149" y="40"/>
                </a:lnTo>
                <a:lnTo>
                  <a:pt x="146" y="40"/>
                </a:lnTo>
                <a:lnTo>
                  <a:pt x="144" y="39"/>
                </a:lnTo>
                <a:lnTo>
                  <a:pt x="146" y="38"/>
                </a:lnTo>
                <a:lnTo>
                  <a:pt x="146" y="37"/>
                </a:lnTo>
                <a:lnTo>
                  <a:pt x="144" y="37"/>
                </a:lnTo>
                <a:lnTo>
                  <a:pt x="146" y="36"/>
                </a:lnTo>
                <a:lnTo>
                  <a:pt x="146" y="33"/>
                </a:lnTo>
                <a:lnTo>
                  <a:pt x="147" y="32"/>
                </a:lnTo>
                <a:lnTo>
                  <a:pt x="147" y="30"/>
                </a:lnTo>
                <a:lnTo>
                  <a:pt x="148" y="30"/>
                </a:lnTo>
                <a:lnTo>
                  <a:pt x="152" y="28"/>
                </a:lnTo>
                <a:lnTo>
                  <a:pt x="154" y="28"/>
                </a:lnTo>
                <a:lnTo>
                  <a:pt x="154" y="31"/>
                </a:lnTo>
                <a:lnTo>
                  <a:pt x="155" y="32"/>
                </a:lnTo>
                <a:lnTo>
                  <a:pt x="156" y="32"/>
                </a:lnTo>
                <a:lnTo>
                  <a:pt x="156" y="33"/>
                </a:lnTo>
                <a:lnTo>
                  <a:pt x="162" y="33"/>
                </a:lnTo>
                <a:lnTo>
                  <a:pt x="164" y="32"/>
                </a:lnTo>
                <a:lnTo>
                  <a:pt x="164" y="28"/>
                </a:lnTo>
                <a:lnTo>
                  <a:pt x="162" y="27"/>
                </a:lnTo>
                <a:lnTo>
                  <a:pt x="160" y="27"/>
                </a:lnTo>
                <a:lnTo>
                  <a:pt x="160" y="22"/>
                </a:lnTo>
                <a:lnTo>
                  <a:pt x="162" y="20"/>
                </a:lnTo>
                <a:lnTo>
                  <a:pt x="162" y="19"/>
                </a:lnTo>
                <a:lnTo>
                  <a:pt x="161" y="19"/>
                </a:lnTo>
                <a:lnTo>
                  <a:pt x="161" y="18"/>
                </a:lnTo>
                <a:lnTo>
                  <a:pt x="162" y="17"/>
                </a:lnTo>
                <a:lnTo>
                  <a:pt x="162" y="15"/>
                </a:lnTo>
                <a:lnTo>
                  <a:pt x="164" y="13"/>
                </a:lnTo>
                <a:lnTo>
                  <a:pt x="166" y="15"/>
                </a:lnTo>
                <a:lnTo>
                  <a:pt x="171" y="14"/>
                </a:lnTo>
                <a:lnTo>
                  <a:pt x="171" y="13"/>
                </a:lnTo>
                <a:lnTo>
                  <a:pt x="172" y="14"/>
                </a:lnTo>
                <a:lnTo>
                  <a:pt x="175" y="15"/>
                </a:lnTo>
                <a:lnTo>
                  <a:pt x="175" y="17"/>
                </a:lnTo>
                <a:lnTo>
                  <a:pt x="174" y="18"/>
                </a:lnTo>
                <a:lnTo>
                  <a:pt x="177" y="18"/>
                </a:lnTo>
                <a:lnTo>
                  <a:pt x="178" y="19"/>
                </a:lnTo>
                <a:lnTo>
                  <a:pt x="180" y="19"/>
                </a:lnTo>
                <a:lnTo>
                  <a:pt x="180" y="20"/>
                </a:lnTo>
                <a:lnTo>
                  <a:pt x="181" y="20"/>
                </a:lnTo>
                <a:lnTo>
                  <a:pt x="183" y="19"/>
                </a:lnTo>
                <a:lnTo>
                  <a:pt x="186" y="19"/>
                </a:lnTo>
                <a:lnTo>
                  <a:pt x="187" y="17"/>
                </a:lnTo>
                <a:lnTo>
                  <a:pt x="189" y="17"/>
                </a:lnTo>
                <a:lnTo>
                  <a:pt x="189" y="13"/>
                </a:lnTo>
                <a:lnTo>
                  <a:pt x="190" y="12"/>
                </a:lnTo>
                <a:lnTo>
                  <a:pt x="190" y="11"/>
                </a:lnTo>
                <a:lnTo>
                  <a:pt x="193" y="7"/>
                </a:lnTo>
                <a:lnTo>
                  <a:pt x="196" y="6"/>
                </a:lnTo>
                <a:lnTo>
                  <a:pt x="201" y="6"/>
                </a:lnTo>
                <a:lnTo>
                  <a:pt x="202" y="7"/>
                </a:lnTo>
                <a:lnTo>
                  <a:pt x="203" y="7"/>
                </a:lnTo>
                <a:lnTo>
                  <a:pt x="205" y="6"/>
                </a:lnTo>
                <a:lnTo>
                  <a:pt x="205" y="5"/>
                </a:lnTo>
                <a:lnTo>
                  <a:pt x="206" y="5"/>
                </a:lnTo>
                <a:lnTo>
                  <a:pt x="208" y="6"/>
                </a:lnTo>
                <a:lnTo>
                  <a:pt x="209" y="6"/>
                </a:lnTo>
                <a:lnTo>
                  <a:pt x="210" y="5"/>
                </a:lnTo>
                <a:lnTo>
                  <a:pt x="211" y="5"/>
                </a:lnTo>
                <a:lnTo>
                  <a:pt x="214" y="6"/>
                </a:lnTo>
                <a:lnTo>
                  <a:pt x="215" y="6"/>
                </a:lnTo>
                <a:lnTo>
                  <a:pt x="216" y="7"/>
                </a:lnTo>
                <a:lnTo>
                  <a:pt x="217" y="7"/>
                </a:lnTo>
                <a:lnTo>
                  <a:pt x="218" y="6"/>
                </a:lnTo>
                <a:lnTo>
                  <a:pt x="221" y="6"/>
                </a:lnTo>
                <a:lnTo>
                  <a:pt x="222" y="5"/>
                </a:lnTo>
                <a:lnTo>
                  <a:pt x="224" y="3"/>
                </a:lnTo>
                <a:lnTo>
                  <a:pt x="226" y="2"/>
                </a:lnTo>
                <a:lnTo>
                  <a:pt x="229" y="2"/>
                </a:lnTo>
                <a:lnTo>
                  <a:pt x="233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" name="Freeform 35">
            <a:extLst>
              <a:ext uri="{FF2B5EF4-FFF2-40B4-BE49-F238E27FC236}">
                <a16:creationId xmlns:a16="http://schemas.microsoft.com/office/drawing/2014/main" id="{1A61FD9C-856C-4AC4-899E-3D8BF1ACD00A}"/>
              </a:ext>
            </a:extLst>
          </p:cNvPr>
          <p:cNvSpPr>
            <a:spLocks noEditPoints="1"/>
          </p:cNvSpPr>
          <p:nvPr/>
        </p:nvSpPr>
        <p:spPr bwMode="auto">
          <a:xfrm>
            <a:off x="591264" y="4171351"/>
            <a:ext cx="273850" cy="405703"/>
          </a:xfrm>
          <a:custGeom>
            <a:avLst/>
            <a:gdLst/>
            <a:ahLst/>
            <a:cxnLst>
              <a:cxn ang="0">
                <a:pos x="34" y="165"/>
              </a:cxn>
              <a:cxn ang="0">
                <a:pos x="33" y="155"/>
              </a:cxn>
              <a:cxn ang="0">
                <a:pos x="29" y="108"/>
              </a:cxn>
              <a:cxn ang="0">
                <a:pos x="22" y="83"/>
              </a:cxn>
              <a:cxn ang="0">
                <a:pos x="87" y="60"/>
              </a:cxn>
              <a:cxn ang="0">
                <a:pos x="136" y="3"/>
              </a:cxn>
              <a:cxn ang="0">
                <a:pos x="131" y="27"/>
              </a:cxn>
              <a:cxn ang="0">
                <a:pos x="112" y="55"/>
              </a:cxn>
              <a:cxn ang="0">
                <a:pos x="101" y="75"/>
              </a:cxn>
              <a:cxn ang="0">
                <a:pos x="134" y="94"/>
              </a:cxn>
              <a:cxn ang="0">
                <a:pos x="146" y="72"/>
              </a:cxn>
              <a:cxn ang="0">
                <a:pos x="160" y="94"/>
              </a:cxn>
              <a:cxn ang="0">
                <a:pos x="182" y="100"/>
              </a:cxn>
              <a:cxn ang="0">
                <a:pos x="180" y="128"/>
              </a:cxn>
              <a:cxn ang="0">
                <a:pos x="180" y="150"/>
              </a:cxn>
              <a:cxn ang="0">
                <a:pos x="183" y="186"/>
              </a:cxn>
              <a:cxn ang="0">
                <a:pos x="174" y="229"/>
              </a:cxn>
              <a:cxn ang="0">
                <a:pos x="157" y="225"/>
              </a:cxn>
              <a:cxn ang="0">
                <a:pos x="148" y="227"/>
              </a:cxn>
              <a:cxn ang="0">
                <a:pos x="124" y="236"/>
              </a:cxn>
              <a:cxn ang="0">
                <a:pos x="111" y="244"/>
              </a:cxn>
              <a:cxn ang="0">
                <a:pos x="97" y="252"/>
              </a:cxn>
              <a:cxn ang="0">
                <a:pos x="91" y="256"/>
              </a:cxn>
              <a:cxn ang="0">
                <a:pos x="75" y="268"/>
              </a:cxn>
              <a:cxn ang="0">
                <a:pos x="58" y="274"/>
              </a:cxn>
              <a:cxn ang="0">
                <a:pos x="44" y="274"/>
              </a:cxn>
              <a:cxn ang="0">
                <a:pos x="27" y="278"/>
              </a:cxn>
              <a:cxn ang="0">
                <a:pos x="40" y="264"/>
              </a:cxn>
              <a:cxn ang="0">
                <a:pos x="15" y="269"/>
              </a:cxn>
              <a:cxn ang="0">
                <a:pos x="28" y="256"/>
              </a:cxn>
              <a:cxn ang="0">
                <a:pos x="18" y="257"/>
              </a:cxn>
              <a:cxn ang="0">
                <a:pos x="5" y="248"/>
              </a:cxn>
              <a:cxn ang="0">
                <a:pos x="21" y="236"/>
              </a:cxn>
              <a:cxn ang="0">
                <a:pos x="9" y="235"/>
              </a:cxn>
              <a:cxn ang="0">
                <a:pos x="6" y="226"/>
              </a:cxn>
              <a:cxn ang="0">
                <a:pos x="30" y="224"/>
              </a:cxn>
              <a:cxn ang="0">
                <a:pos x="34" y="208"/>
              </a:cxn>
              <a:cxn ang="0">
                <a:pos x="65" y="192"/>
              </a:cxn>
              <a:cxn ang="0">
                <a:pos x="40" y="199"/>
              </a:cxn>
              <a:cxn ang="0">
                <a:pos x="43" y="183"/>
              </a:cxn>
              <a:cxn ang="0">
                <a:pos x="59" y="163"/>
              </a:cxn>
              <a:cxn ang="0">
                <a:pos x="62" y="156"/>
              </a:cxn>
              <a:cxn ang="0">
                <a:pos x="37" y="146"/>
              </a:cxn>
              <a:cxn ang="0">
                <a:pos x="27" y="144"/>
              </a:cxn>
              <a:cxn ang="0">
                <a:pos x="15" y="137"/>
              </a:cxn>
              <a:cxn ang="0">
                <a:pos x="23" y="123"/>
              </a:cxn>
              <a:cxn ang="0">
                <a:pos x="22" y="110"/>
              </a:cxn>
              <a:cxn ang="0">
                <a:pos x="22" y="101"/>
              </a:cxn>
              <a:cxn ang="0">
                <a:pos x="27" y="94"/>
              </a:cxn>
              <a:cxn ang="0">
                <a:pos x="27" y="82"/>
              </a:cxn>
              <a:cxn ang="0">
                <a:pos x="52" y="80"/>
              </a:cxn>
              <a:cxn ang="0">
                <a:pos x="71" y="83"/>
              </a:cxn>
              <a:cxn ang="0">
                <a:pos x="81" y="79"/>
              </a:cxn>
              <a:cxn ang="0">
                <a:pos x="96" y="60"/>
              </a:cxn>
              <a:cxn ang="0">
                <a:pos x="84" y="58"/>
              </a:cxn>
              <a:cxn ang="0">
                <a:pos x="81" y="45"/>
              </a:cxn>
              <a:cxn ang="0">
                <a:pos x="85" y="33"/>
              </a:cxn>
              <a:cxn ang="0">
                <a:pos x="98" y="20"/>
              </a:cxn>
              <a:cxn ang="0">
                <a:pos x="112" y="15"/>
              </a:cxn>
              <a:cxn ang="0">
                <a:pos x="116" y="11"/>
              </a:cxn>
              <a:cxn ang="0">
                <a:pos x="124" y="27"/>
              </a:cxn>
              <a:cxn ang="0">
                <a:pos x="133" y="8"/>
              </a:cxn>
            </a:cxnLst>
            <a:rect l="0" t="0" r="r" b="b"/>
            <a:pathLst>
              <a:path w="189" h="280">
                <a:moveTo>
                  <a:pt x="24" y="267"/>
                </a:moveTo>
                <a:lnTo>
                  <a:pt x="28" y="267"/>
                </a:lnTo>
                <a:lnTo>
                  <a:pt x="28" y="268"/>
                </a:lnTo>
                <a:lnTo>
                  <a:pt x="24" y="269"/>
                </a:lnTo>
                <a:lnTo>
                  <a:pt x="24" y="268"/>
                </a:lnTo>
                <a:lnTo>
                  <a:pt x="23" y="268"/>
                </a:lnTo>
                <a:lnTo>
                  <a:pt x="24" y="267"/>
                </a:lnTo>
                <a:close/>
                <a:moveTo>
                  <a:pt x="141" y="231"/>
                </a:moveTo>
                <a:lnTo>
                  <a:pt x="142" y="231"/>
                </a:lnTo>
                <a:lnTo>
                  <a:pt x="142" y="232"/>
                </a:lnTo>
                <a:lnTo>
                  <a:pt x="141" y="231"/>
                </a:lnTo>
                <a:close/>
                <a:moveTo>
                  <a:pt x="167" y="217"/>
                </a:moveTo>
                <a:lnTo>
                  <a:pt x="167" y="218"/>
                </a:lnTo>
                <a:lnTo>
                  <a:pt x="168" y="218"/>
                </a:lnTo>
                <a:lnTo>
                  <a:pt x="170" y="217"/>
                </a:lnTo>
                <a:lnTo>
                  <a:pt x="167" y="217"/>
                </a:lnTo>
                <a:close/>
                <a:moveTo>
                  <a:pt x="28" y="163"/>
                </a:moveTo>
                <a:lnTo>
                  <a:pt x="33" y="163"/>
                </a:lnTo>
                <a:lnTo>
                  <a:pt x="34" y="164"/>
                </a:lnTo>
                <a:lnTo>
                  <a:pt x="34" y="165"/>
                </a:lnTo>
                <a:lnTo>
                  <a:pt x="35" y="165"/>
                </a:lnTo>
                <a:lnTo>
                  <a:pt x="35" y="166"/>
                </a:lnTo>
                <a:lnTo>
                  <a:pt x="34" y="166"/>
                </a:lnTo>
                <a:lnTo>
                  <a:pt x="29" y="164"/>
                </a:lnTo>
                <a:lnTo>
                  <a:pt x="28" y="163"/>
                </a:lnTo>
                <a:close/>
                <a:moveTo>
                  <a:pt x="62" y="160"/>
                </a:moveTo>
                <a:lnTo>
                  <a:pt x="64" y="160"/>
                </a:lnTo>
                <a:lnTo>
                  <a:pt x="62" y="162"/>
                </a:lnTo>
                <a:lnTo>
                  <a:pt x="62" y="160"/>
                </a:lnTo>
                <a:close/>
                <a:moveTo>
                  <a:pt x="60" y="160"/>
                </a:moveTo>
                <a:lnTo>
                  <a:pt x="61" y="160"/>
                </a:lnTo>
                <a:lnTo>
                  <a:pt x="62" y="162"/>
                </a:lnTo>
                <a:lnTo>
                  <a:pt x="60" y="162"/>
                </a:lnTo>
                <a:lnTo>
                  <a:pt x="60" y="160"/>
                </a:lnTo>
                <a:close/>
                <a:moveTo>
                  <a:pt x="33" y="153"/>
                </a:moveTo>
                <a:lnTo>
                  <a:pt x="34" y="153"/>
                </a:lnTo>
                <a:lnTo>
                  <a:pt x="35" y="156"/>
                </a:lnTo>
                <a:lnTo>
                  <a:pt x="35" y="157"/>
                </a:lnTo>
                <a:lnTo>
                  <a:pt x="33" y="157"/>
                </a:lnTo>
                <a:lnTo>
                  <a:pt x="33" y="155"/>
                </a:lnTo>
                <a:lnTo>
                  <a:pt x="31" y="155"/>
                </a:lnTo>
                <a:lnTo>
                  <a:pt x="33" y="153"/>
                </a:lnTo>
                <a:close/>
                <a:moveTo>
                  <a:pt x="184" y="145"/>
                </a:moveTo>
                <a:lnTo>
                  <a:pt x="186" y="145"/>
                </a:lnTo>
                <a:lnTo>
                  <a:pt x="186" y="147"/>
                </a:lnTo>
                <a:lnTo>
                  <a:pt x="185" y="147"/>
                </a:lnTo>
                <a:lnTo>
                  <a:pt x="185" y="146"/>
                </a:lnTo>
                <a:lnTo>
                  <a:pt x="184" y="146"/>
                </a:lnTo>
                <a:lnTo>
                  <a:pt x="184" y="145"/>
                </a:lnTo>
                <a:close/>
                <a:moveTo>
                  <a:pt x="18" y="139"/>
                </a:moveTo>
                <a:lnTo>
                  <a:pt x="19" y="140"/>
                </a:lnTo>
                <a:lnTo>
                  <a:pt x="19" y="139"/>
                </a:lnTo>
                <a:lnTo>
                  <a:pt x="18" y="139"/>
                </a:lnTo>
                <a:close/>
                <a:moveTo>
                  <a:pt x="11" y="134"/>
                </a:moveTo>
                <a:lnTo>
                  <a:pt x="14" y="134"/>
                </a:lnTo>
                <a:lnTo>
                  <a:pt x="12" y="135"/>
                </a:lnTo>
                <a:lnTo>
                  <a:pt x="11" y="134"/>
                </a:lnTo>
                <a:close/>
                <a:moveTo>
                  <a:pt x="28" y="104"/>
                </a:moveTo>
                <a:lnTo>
                  <a:pt x="28" y="108"/>
                </a:lnTo>
                <a:lnTo>
                  <a:pt x="29" y="108"/>
                </a:lnTo>
                <a:lnTo>
                  <a:pt x="29" y="106"/>
                </a:lnTo>
                <a:lnTo>
                  <a:pt x="28" y="104"/>
                </a:lnTo>
                <a:close/>
                <a:moveTo>
                  <a:pt x="134" y="90"/>
                </a:moveTo>
                <a:lnTo>
                  <a:pt x="134" y="94"/>
                </a:lnTo>
                <a:lnTo>
                  <a:pt x="133" y="91"/>
                </a:lnTo>
                <a:lnTo>
                  <a:pt x="134" y="90"/>
                </a:lnTo>
                <a:close/>
                <a:moveTo>
                  <a:pt x="16" y="90"/>
                </a:moveTo>
                <a:lnTo>
                  <a:pt x="16" y="91"/>
                </a:lnTo>
                <a:lnTo>
                  <a:pt x="17" y="91"/>
                </a:lnTo>
                <a:lnTo>
                  <a:pt x="17" y="92"/>
                </a:lnTo>
                <a:lnTo>
                  <a:pt x="16" y="94"/>
                </a:lnTo>
                <a:lnTo>
                  <a:pt x="17" y="94"/>
                </a:lnTo>
                <a:lnTo>
                  <a:pt x="17" y="95"/>
                </a:lnTo>
                <a:lnTo>
                  <a:pt x="15" y="95"/>
                </a:lnTo>
                <a:lnTo>
                  <a:pt x="15" y="92"/>
                </a:lnTo>
                <a:lnTo>
                  <a:pt x="16" y="90"/>
                </a:lnTo>
                <a:close/>
                <a:moveTo>
                  <a:pt x="19" y="80"/>
                </a:moveTo>
                <a:lnTo>
                  <a:pt x="21" y="80"/>
                </a:lnTo>
                <a:lnTo>
                  <a:pt x="21" y="82"/>
                </a:lnTo>
                <a:lnTo>
                  <a:pt x="22" y="83"/>
                </a:lnTo>
                <a:lnTo>
                  <a:pt x="25" y="83"/>
                </a:lnTo>
                <a:lnTo>
                  <a:pt x="24" y="85"/>
                </a:lnTo>
                <a:lnTo>
                  <a:pt x="22" y="85"/>
                </a:lnTo>
                <a:lnTo>
                  <a:pt x="21" y="84"/>
                </a:lnTo>
                <a:lnTo>
                  <a:pt x="21" y="86"/>
                </a:lnTo>
                <a:lnTo>
                  <a:pt x="19" y="86"/>
                </a:lnTo>
                <a:lnTo>
                  <a:pt x="19" y="89"/>
                </a:lnTo>
                <a:lnTo>
                  <a:pt x="18" y="89"/>
                </a:lnTo>
                <a:lnTo>
                  <a:pt x="18" y="90"/>
                </a:lnTo>
                <a:lnTo>
                  <a:pt x="16" y="90"/>
                </a:lnTo>
                <a:lnTo>
                  <a:pt x="16" y="88"/>
                </a:lnTo>
                <a:lnTo>
                  <a:pt x="17" y="88"/>
                </a:lnTo>
                <a:lnTo>
                  <a:pt x="17" y="86"/>
                </a:lnTo>
                <a:lnTo>
                  <a:pt x="16" y="86"/>
                </a:lnTo>
                <a:lnTo>
                  <a:pt x="16" y="84"/>
                </a:lnTo>
                <a:lnTo>
                  <a:pt x="17" y="83"/>
                </a:lnTo>
                <a:lnTo>
                  <a:pt x="17" y="82"/>
                </a:lnTo>
                <a:lnTo>
                  <a:pt x="19" y="80"/>
                </a:lnTo>
                <a:close/>
                <a:moveTo>
                  <a:pt x="89" y="58"/>
                </a:moveTo>
                <a:lnTo>
                  <a:pt x="87" y="60"/>
                </a:lnTo>
                <a:lnTo>
                  <a:pt x="86" y="60"/>
                </a:lnTo>
                <a:lnTo>
                  <a:pt x="86" y="61"/>
                </a:lnTo>
                <a:lnTo>
                  <a:pt x="85" y="61"/>
                </a:lnTo>
                <a:lnTo>
                  <a:pt x="85" y="60"/>
                </a:lnTo>
                <a:lnTo>
                  <a:pt x="86" y="59"/>
                </a:lnTo>
                <a:lnTo>
                  <a:pt x="87" y="59"/>
                </a:lnTo>
                <a:lnTo>
                  <a:pt x="89" y="58"/>
                </a:lnTo>
                <a:close/>
                <a:moveTo>
                  <a:pt x="81" y="28"/>
                </a:moveTo>
                <a:lnTo>
                  <a:pt x="83" y="29"/>
                </a:lnTo>
                <a:lnTo>
                  <a:pt x="84" y="29"/>
                </a:lnTo>
                <a:lnTo>
                  <a:pt x="84" y="32"/>
                </a:lnTo>
                <a:lnTo>
                  <a:pt x="80" y="32"/>
                </a:lnTo>
                <a:lnTo>
                  <a:pt x="80" y="29"/>
                </a:lnTo>
                <a:lnTo>
                  <a:pt x="81" y="29"/>
                </a:lnTo>
                <a:lnTo>
                  <a:pt x="81" y="28"/>
                </a:lnTo>
                <a:close/>
                <a:moveTo>
                  <a:pt x="130" y="0"/>
                </a:moveTo>
                <a:lnTo>
                  <a:pt x="131" y="0"/>
                </a:lnTo>
                <a:lnTo>
                  <a:pt x="133" y="2"/>
                </a:lnTo>
                <a:lnTo>
                  <a:pt x="135" y="3"/>
                </a:lnTo>
                <a:lnTo>
                  <a:pt x="136" y="3"/>
                </a:lnTo>
                <a:lnTo>
                  <a:pt x="137" y="4"/>
                </a:lnTo>
                <a:lnTo>
                  <a:pt x="139" y="4"/>
                </a:lnTo>
                <a:lnTo>
                  <a:pt x="141" y="8"/>
                </a:lnTo>
                <a:lnTo>
                  <a:pt x="143" y="9"/>
                </a:lnTo>
                <a:lnTo>
                  <a:pt x="145" y="10"/>
                </a:lnTo>
                <a:lnTo>
                  <a:pt x="147" y="10"/>
                </a:lnTo>
                <a:lnTo>
                  <a:pt x="148" y="11"/>
                </a:lnTo>
                <a:lnTo>
                  <a:pt x="148" y="10"/>
                </a:lnTo>
                <a:lnTo>
                  <a:pt x="149" y="11"/>
                </a:lnTo>
                <a:lnTo>
                  <a:pt x="149" y="14"/>
                </a:lnTo>
                <a:lnTo>
                  <a:pt x="147" y="14"/>
                </a:lnTo>
                <a:lnTo>
                  <a:pt x="145" y="15"/>
                </a:lnTo>
                <a:lnTo>
                  <a:pt x="141" y="18"/>
                </a:lnTo>
                <a:lnTo>
                  <a:pt x="140" y="18"/>
                </a:lnTo>
                <a:lnTo>
                  <a:pt x="136" y="22"/>
                </a:lnTo>
                <a:lnTo>
                  <a:pt x="136" y="24"/>
                </a:lnTo>
                <a:lnTo>
                  <a:pt x="135" y="24"/>
                </a:lnTo>
                <a:lnTo>
                  <a:pt x="135" y="26"/>
                </a:lnTo>
                <a:lnTo>
                  <a:pt x="134" y="26"/>
                </a:lnTo>
                <a:lnTo>
                  <a:pt x="131" y="27"/>
                </a:lnTo>
                <a:lnTo>
                  <a:pt x="130" y="27"/>
                </a:lnTo>
                <a:lnTo>
                  <a:pt x="129" y="29"/>
                </a:lnTo>
                <a:lnTo>
                  <a:pt x="129" y="34"/>
                </a:lnTo>
                <a:lnTo>
                  <a:pt x="128" y="34"/>
                </a:lnTo>
                <a:lnTo>
                  <a:pt x="128" y="40"/>
                </a:lnTo>
                <a:lnTo>
                  <a:pt x="123" y="45"/>
                </a:lnTo>
                <a:lnTo>
                  <a:pt x="123" y="48"/>
                </a:lnTo>
                <a:lnTo>
                  <a:pt x="118" y="48"/>
                </a:lnTo>
                <a:lnTo>
                  <a:pt x="116" y="51"/>
                </a:lnTo>
                <a:lnTo>
                  <a:pt x="112" y="51"/>
                </a:lnTo>
                <a:lnTo>
                  <a:pt x="111" y="49"/>
                </a:lnTo>
                <a:lnTo>
                  <a:pt x="110" y="51"/>
                </a:lnTo>
                <a:lnTo>
                  <a:pt x="108" y="52"/>
                </a:lnTo>
                <a:lnTo>
                  <a:pt x="109" y="52"/>
                </a:lnTo>
                <a:lnTo>
                  <a:pt x="108" y="53"/>
                </a:lnTo>
                <a:lnTo>
                  <a:pt x="109" y="54"/>
                </a:lnTo>
                <a:lnTo>
                  <a:pt x="110" y="54"/>
                </a:lnTo>
                <a:lnTo>
                  <a:pt x="110" y="55"/>
                </a:lnTo>
                <a:lnTo>
                  <a:pt x="111" y="57"/>
                </a:lnTo>
                <a:lnTo>
                  <a:pt x="112" y="55"/>
                </a:lnTo>
                <a:lnTo>
                  <a:pt x="112" y="57"/>
                </a:lnTo>
                <a:lnTo>
                  <a:pt x="114" y="58"/>
                </a:lnTo>
                <a:lnTo>
                  <a:pt x="115" y="58"/>
                </a:lnTo>
                <a:lnTo>
                  <a:pt x="116" y="57"/>
                </a:lnTo>
                <a:lnTo>
                  <a:pt x="117" y="57"/>
                </a:lnTo>
                <a:lnTo>
                  <a:pt x="117" y="58"/>
                </a:lnTo>
                <a:lnTo>
                  <a:pt x="115" y="59"/>
                </a:lnTo>
                <a:lnTo>
                  <a:pt x="111" y="63"/>
                </a:lnTo>
                <a:lnTo>
                  <a:pt x="109" y="64"/>
                </a:lnTo>
                <a:lnTo>
                  <a:pt x="108" y="64"/>
                </a:lnTo>
                <a:lnTo>
                  <a:pt x="104" y="63"/>
                </a:lnTo>
                <a:lnTo>
                  <a:pt x="103" y="64"/>
                </a:lnTo>
                <a:lnTo>
                  <a:pt x="103" y="65"/>
                </a:lnTo>
                <a:lnTo>
                  <a:pt x="102" y="66"/>
                </a:lnTo>
                <a:lnTo>
                  <a:pt x="102" y="67"/>
                </a:lnTo>
                <a:lnTo>
                  <a:pt x="101" y="67"/>
                </a:lnTo>
                <a:lnTo>
                  <a:pt x="98" y="69"/>
                </a:lnTo>
                <a:lnTo>
                  <a:pt x="98" y="71"/>
                </a:lnTo>
                <a:lnTo>
                  <a:pt x="99" y="72"/>
                </a:lnTo>
                <a:lnTo>
                  <a:pt x="101" y="75"/>
                </a:lnTo>
                <a:lnTo>
                  <a:pt x="102" y="76"/>
                </a:lnTo>
                <a:lnTo>
                  <a:pt x="104" y="76"/>
                </a:lnTo>
                <a:lnTo>
                  <a:pt x="105" y="78"/>
                </a:lnTo>
                <a:lnTo>
                  <a:pt x="105" y="79"/>
                </a:lnTo>
                <a:lnTo>
                  <a:pt x="106" y="80"/>
                </a:lnTo>
                <a:lnTo>
                  <a:pt x="109" y="80"/>
                </a:lnTo>
                <a:lnTo>
                  <a:pt x="110" y="82"/>
                </a:lnTo>
                <a:lnTo>
                  <a:pt x="110" y="86"/>
                </a:lnTo>
                <a:lnTo>
                  <a:pt x="111" y="88"/>
                </a:lnTo>
                <a:lnTo>
                  <a:pt x="117" y="88"/>
                </a:lnTo>
                <a:lnTo>
                  <a:pt x="120" y="90"/>
                </a:lnTo>
                <a:lnTo>
                  <a:pt x="121" y="90"/>
                </a:lnTo>
                <a:lnTo>
                  <a:pt x="121" y="92"/>
                </a:lnTo>
                <a:lnTo>
                  <a:pt x="127" y="92"/>
                </a:lnTo>
                <a:lnTo>
                  <a:pt x="128" y="91"/>
                </a:lnTo>
                <a:lnTo>
                  <a:pt x="129" y="91"/>
                </a:lnTo>
                <a:lnTo>
                  <a:pt x="129" y="92"/>
                </a:lnTo>
                <a:lnTo>
                  <a:pt x="130" y="92"/>
                </a:lnTo>
                <a:lnTo>
                  <a:pt x="130" y="94"/>
                </a:lnTo>
                <a:lnTo>
                  <a:pt x="134" y="94"/>
                </a:lnTo>
                <a:lnTo>
                  <a:pt x="135" y="92"/>
                </a:lnTo>
                <a:lnTo>
                  <a:pt x="135" y="90"/>
                </a:lnTo>
                <a:lnTo>
                  <a:pt x="136" y="90"/>
                </a:lnTo>
                <a:lnTo>
                  <a:pt x="136" y="89"/>
                </a:lnTo>
                <a:lnTo>
                  <a:pt x="135" y="89"/>
                </a:lnTo>
                <a:lnTo>
                  <a:pt x="137" y="86"/>
                </a:lnTo>
                <a:lnTo>
                  <a:pt x="139" y="86"/>
                </a:lnTo>
                <a:lnTo>
                  <a:pt x="140" y="85"/>
                </a:lnTo>
                <a:lnTo>
                  <a:pt x="140" y="84"/>
                </a:lnTo>
                <a:lnTo>
                  <a:pt x="141" y="84"/>
                </a:lnTo>
                <a:lnTo>
                  <a:pt x="139" y="83"/>
                </a:lnTo>
                <a:lnTo>
                  <a:pt x="139" y="82"/>
                </a:lnTo>
                <a:lnTo>
                  <a:pt x="137" y="80"/>
                </a:lnTo>
                <a:lnTo>
                  <a:pt x="139" y="80"/>
                </a:lnTo>
                <a:lnTo>
                  <a:pt x="139" y="78"/>
                </a:lnTo>
                <a:lnTo>
                  <a:pt x="140" y="78"/>
                </a:lnTo>
                <a:lnTo>
                  <a:pt x="141" y="77"/>
                </a:lnTo>
                <a:lnTo>
                  <a:pt x="143" y="73"/>
                </a:lnTo>
                <a:lnTo>
                  <a:pt x="145" y="72"/>
                </a:lnTo>
                <a:lnTo>
                  <a:pt x="146" y="72"/>
                </a:lnTo>
                <a:lnTo>
                  <a:pt x="147" y="73"/>
                </a:lnTo>
                <a:lnTo>
                  <a:pt x="149" y="75"/>
                </a:lnTo>
                <a:lnTo>
                  <a:pt x="151" y="76"/>
                </a:lnTo>
                <a:lnTo>
                  <a:pt x="151" y="77"/>
                </a:lnTo>
                <a:lnTo>
                  <a:pt x="152" y="77"/>
                </a:lnTo>
                <a:lnTo>
                  <a:pt x="152" y="78"/>
                </a:lnTo>
                <a:lnTo>
                  <a:pt x="153" y="79"/>
                </a:lnTo>
                <a:lnTo>
                  <a:pt x="153" y="80"/>
                </a:lnTo>
                <a:lnTo>
                  <a:pt x="152" y="82"/>
                </a:lnTo>
                <a:lnTo>
                  <a:pt x="154" y="84"/>
                </a:lnTo>
                <a:lnTo>
                  <a:pt x="154" y="86"/>
                </a:lnTo>
                <a:lnTo>
                  <a:pt x="155" y="88"/>
                </a:lnTo>
                <a:lnTo>
                  <a:pt x="157" y="88"/>
                </a:lnTo>
                <a:lnTo>
                  <a:pt x="158" y="89"/>
                </a:lnTo>
                <a:lnTo>
                  <a:pt x="159" y="88"/>
                </a:lnTo>
                <a:lnTo>
                  <a:pt x="160" y="88"/>
                </a:lnTo>
                <a:lnTo>
                  <a:pt x="161" y="89"/>
                </a:lnTo>
                <a:lnTo>
                  <a:pt x="161" y="90"/>
                </a:lnTo>
                <a:lnTo>
                  <a:pt x="162" y="91"/>
                </a:lnTo>
                <a:lnTo>
                  <a:pt x="160" y="94"/>
                </a:lnTo>
                <a:lnTo>
                  <a:pt x="161" y="95"/>
                </a:lnTo>
                <a:lnTo>
                  <a:pt x="160" y="97"/>
                </a:lnTo>
                <a:lnTo>
                  <a:pt x="161" y="97"/>
                </a:lnTo>
                <a:lnTo>
                  <a:pt x="162" y="98"/>
                </a:lnTo>
                <a:lnTo>
                  <a:pt x="162" y="100"/>
                </a:lnTo>
                <a:lnTo>
                  <a:pt x="164" y="98"/>
                </a:lnTo>
                <a:lnTo>
                  <a:pt x="165" y="98"/>
                </a:lnTo>
                <a:lnTo>
                  <a:pt x="168" y="97"/>
                </a:lnTo>
                <a:lnTo>
                  <a:pt x="170" y="97"/>
                </a:lnTo>
                <a:lnTo>
                  <a:pt x="171" y="98"/>
                </a:lnTo>
                <a:lnTo>
                  <a:pt x="172" y="97"/>
                </a:lnTo>
                <a:lnTo>
                  <a:pt x="173" y="97"/>
                </a:lnTo>
                <a:lnTo>
                  <a:pt x="173" y="95"/>
                </a:lnTo>
                <a:lnTo>
                  <a:pt x="174" y="94"/>
                </a:lnTo>
                <a:lnTo>
                  <a:pt x="174" y="95"/>
                </a:lnTo>
                <a:lnTo>
                  <a:pt x="178" y="95"/>
                </a:lnTo>
                <a:lnTo>
                  <a:pt x="180" y="97"/>
                </a:lnTo>
                <a:lnTo>
                  <a:pt x="180" y="98"/>
                </a:lnTo>
                <a:lnTo>
                  <a:pt x="182" y="98"/>
                </a:lnTo>
                <a:lnTo>
                  <a:pt x="182" y="100"/>
                </a:lnTo>
                <a:lnTo>
                  <a:pt x="184" y="100"/>
                </a:lnTo>
                <a:lnTo>
                  <a:pt x="184" y="102"/>
                </a:lnTo>
                <a:lnTo>
                  <a:pt x="183" y="103"/>
                </a:lnTo>
                <a:lnTo>
                  <a:pt x="180" y="103"/>
                </a:lnTo>
                <a:lnTo>
                  <a:pt x="179" y="102"/>
                </a:lnTo>
                <a:lnTo>
                  <a:pt x="176" y="101"/>
                </a:lnTo>
                <a:lnTo>
                  <a:pt x="173" y="101"/>
                </a:lnTo>
                <a:lnTo>
                  <a:pt x="174" y="102"/>
                </a:lnTo>
                <a:lnTo>
                  <a:pt x="173" y="103"/>
                </a:lnTo>
                <a:lnTo>
                  <a:pt x="173" y="109"/>
                </a:lnTo>
                <a:lnTo>
                  <a:pt x="176" y="112"/>
                </a:lnTo>
                <a:lnTo>
                  <a:pt x="178" y="112"/>
                </a:lnTo>
                <a:lnTo>
                  <a:pt x="178" y="116"/>
                </a:lnTo>
                <a:lnTo>
                  <a:pt x="179" y="116"/>
                </a:lnTo>
                <a:lnTo>
                  <a:pt x="178" y="117"/>
                </a:lnTo>
                <a:lnTo>
                  <a:pt x="178" y="121"/>
                </a:lnTo>
                <a:lnTo>
                  <a:pt x="179" y="125"/>
                </a:lnTo>
                <a:lnTo>
                  <a:pt x="179" y="127"/>
                </a:lnTo>
                <a:lnTo>
                  <a:pt x="180" y="127"/>
                </a:lnTo>
                <a:lnTo>
                  <a:pt x="180" y="128"/>
                </a:lnTo>
                <a:lnTo>
                  <a:pt x="182" y="131"/>
                </a:lnTo>
                <a:lnTo>
                  <a:pt x="183" y="131"/>
                </a:lnTo>
                <a:lnTo>
                  <a:pt x="184" y="132"/>
                </a:lnTo>
                <a:lnTo>
                  <a:pt x="185" y="132"/>
                </a:lnTo>
                <a:lnTo>
                  <a:pt x="185" y="137"/>
                </a:lnTo>
                <a:lnTo>
                  <a:pt x="184" y="138"/>
                </a:lnTo>
                <a:lnTo>
                  <a:pt x="184" y="140"/>
                </a:lnTo>
                <a:lnTo>
                  <a:pt x="183" y="140"/>
                </a:lnTo>
                <a:lnTo>
                  <a:pt x="182" y="139"/>
                </a:lnTo>
                <a:lnTo>
                  <a:pt x="182" y="140"/>
                </a:lnTo>
                <a:lnTo>
                  <a:pt x="180" y="140"/>
                </a:lnTo>
                <a:lnTo>
                  <a:pt x="183" y="141"/>
                </a:lnTo>
                <a:lnTo>
                  <a:pt x="184" y="143"/>
                </a:lnTo>
                <a:lnTo>
                  <a:pt x="184" y="145"/>
                </a:lnTo>
                <a:lnTo>
                  <a:pt x="183" y="145"/>
                </a:lnTo>
                <a:lnTo>
                  <a:pt x="183" y="146"/>
                </a:lnTo>
                <a:lnTo>
                  <a:pt x="179" y="147"/>
                </a:lnTo>
                <a:lnTo>
                  <a:pt x="179" y="149"/>
                </a:lnTo>
                <a:lnTo>
                  <a:pt x="180" y="149"/>
                </a:lnTo>
                <a:lnTo>
                  <a:pt x="180" y="150"/>
                </a:lnTo>
                <a:lnTo>
                  <a:pt x="183" y="152"/>
                </a:lnTo>
                <a:lnTo>
                  <a:pt x="184" y="152"/>
                </a:lnTo>
                <a:lnTo>
                  <a:pt x="185" y="153"/>
                </a:lnTo>
                <a:lnTo>
                  <a:pt x="184" y="153"/>
                </a:lnTo>
                <a:lnTo>
                  <a:pt x="184" y="157"/>
                </a:lnTo>
                <a:lnTo>
                  <a:pt x="185" y="158"/>
                </a:lnTo>
                <a:lnTo>
                  <a:pt x="185" y="159"/>
                </a:lnTo>
                <a:lnTo>
                  <a:pt x="186" y="159"/>
                </a:lnTo>
                <a:lnTo>
                  <a:pt x="185" y="162"/>
                </a:lnTo>
                <a:lnTo>
                  <a:pt x="186" y="162"/>
                </a:lnTo>
                <a:lnTo>
                  <a:pt x="188" y="165"/>
                </a:lnTo>
                <a:lnTo>
                  <a:pt x="188" y="170"/>
                </a:lnTo>
                <a:lnTo>
                  <a:pt x="186" y="171"/>
                </a:lnTo>
                <a:lnTo>
                  <a:pt x="186" y="172"/>
                </a:lnTo>
                <a:lnTo>
                  <a:pt x="189" y="175"/>
                </a:lnTo>
                <a:lnTo>
                  <a:pt x="189" y="176"/>
                </a:lnTo>
                <a:lnTo>
                  <a:pt x="188" y="177"/>
                </a:lnTo>
                <a:lnTo>
                  <a:pt x="188" y="178"/>
                </a:lnTo>
                <a:lnTo>
                  <a:pt x="186" y="182"/>
                </a:lnTo>
                <a:lnTo>
                  <a:pt x="183" y="186"/>
                </a:lnTo>
                <a:lnTo>
                  <a:pt x="183" y="190"/>
                </a:lnTo>
                <a:lnTo>
                  <a:pt x="182" y="193"/>
                </a:lnTo>
                <a:lnTo>
                  <a:pt x="179" y="196"/>
                </a:lnTo>
                <a:lnTo>
                  <a:pt x="179" y="199"/>
                </a:lnTo>
                <a:lnTo>
                  <a:pt x="180" y="200"/>
                </a:lnTo>
                <a:lnTo>
                  <a:pt x="180" y="205"/>
                </a:lnTo>
                <a:lnTo>
                  <a:pt x="179" y="206"/>
                </a:lnTo>
                <a:lnTo>
                  <a:pt x="177" y="209"/>
                </a:lnTo>
                <a:lnTo>
                  <a:pt x="176" y="211"/>
                </a:lnTo>
                <a:lnTo>
                  <a:pt x="176" y="212"/>
                </a:lnTo>
                <a:lnTo>
                  <a:pt x="174" y="212"/>
                </a:lnTo>
                <a:lnTo>
                  <a:pt x="173" y="214"/>
                </a:lnTo>
                <a:lnTo>
                  <a:pt x="173" y="218"/>
                </a:lnTo>
                <a:lnTo>
                  <a:pt x="170" y="218"/>
                </a:lnTo>
                <a:lnTo>
                  <a:pt x="170" y="220"/>
                </a:lnTo>
                <a:lnTo>
                  <a:pt x="172" y="223"/>
                </a:lnTo>
                <a:lnTo>
                  <a:pt x="172" y="221"/>
                </a:lnTo>
                <a:lnTo>
                  <a:pt x="173" y="224"/>
                </a:lnTo>
                <a:lnTo>
                  <a:pt x="176" y="225"/>
                </a:lnTo>
                <a:lnTo>
                  <a:pt x="174" y="229"/>
                </a:lnTo>
                <a:lnTo>
                  <a:pt x="173" y="230"/>
                </a:lnTo>
                <a:lnTo>
                  <a:pt x="172" y="230"/>
                </a:lnTo>
                <a:lnTo>
                  <a:pt x="172" y="229"/>
                </a:lnTo>
                <a:lnTo>
                  <a:pt x="173" y="227"/>
                </a:lnTo>
                <a:lnTo>
                  <a:pt x="172" y="227"/>
                </a:lnTo>
                <a:lnTo>
                  <a:pt x="172" y="229"/>
                </a:lnTo>
                <a:lnTo>
                  <a:pt x="170" y="229"/>
                </a:lnTo>
                <a:lnTo>
                  <a:pt x="170" y="227"/>
                </a:lnTo>
                <a:lnTo>
                  <a:pt x="168" y="227"/>
                </a:lnTo>
                <a:lnTo>
                  <a:pt x="168" y="229"/>
                </a:lnTo>
                <a:lnTo>
                  <a:pt x="166" y="229"/>
                </a:lnTo>
                <a:lnTo>
                  <a:pt x="165" y="230"/>
                </a:lnTo>
                <a:lnTo>
                  <a:pt x="164" y="230"/>
                </a:lnTo>
                <a:lnTo>
                  <a:pt x="162" y="229"/>
                </a:lnTo>
                <a:lnTo>
                  <a:pt x="161" y="229"/>
                </a:lnTo>
                <a:lnTo>
                  <a:pt x="159" y="227"/>
                </a:lnTo>
                <a:lnTo>
                  <a:pt x="155" y="227"/>
                </a:lnTo>
                <a:lnTo>
                  <a:pt x="155" y="226"/>
                </a:lnTo>
                <a:lnTo>
                  <a:pt x="157" y="226"/>
                </a:lnTo>
                <a:lnTo>
                  <a:pt x="157" y="225"/>
                </a:lnTo>
                <a:lnTo>
                  <a:pt x="155" y="226"/>
                </a:lnTo>
                <a:lnTo>
                  <a:pt x="154" y="226"/>
                </a:lnTo>
                <a:lnTo>
                  <a:pt x="154" y="225"/>
                </a:lnTo>
                <a:lnTo>
                  <a:pt x="153" y="226"/>
                </a:lnTo>
                <a:lnTo>
                  <a:pt x="153" y="227"/>
                </a:lnTo>
                <a:lnTo>
                  <a:pt x="154" y="227"/>
                </a:lnTo>
                <a:lnTo>
                  <a:pt x="154" y="230"/>
                </a:lnTo>
                <a:lnTo>
                  <a:pt x="151" y="232"/>
                </a:lnTo>
                <a:lnTo>
                  <a:pt x="151" y="233"/>
                </a:lnTo>
                <a:lnTo>
                  <a:pt x="148" y="233"/>
                </a:lnTo>
                <a:lnTo>
                  <a:pt x="151" y="231"/>
                </a:lnTo>
                <a:lnTo>
                  <a:pt x="151" y="230"/>
                </a:lnTo>
                <a:lnTo>
                  <a:pt x="149" y="227"/>
                </a:lnTo>
                <a:lnTo>
                  <a:pt x="149" y="226"/>
                </a:lnTo>
                <a:lnTo>
                  <a:pt x="148" y="226"/>
                </a:lnTo>
                <a:lnTo>
                  <a:pt x="148" y="225"/>
                </a:lnTo>
                <a:lnTo>
                  <a:pt x="147" y="223"/>
                </a:lnTo>
                <a:lnTo>
                  <a:pt x="147" y="225"/>
                </a:lnTo>
                <a:lnTo>
                  <a:pt x="148" y="226"/>
                </a:lnTo>
                <a:lnTo>
                  <a:pt x="148" y="227"/>
                </a:lnTo>
                <a:lnTo>
                  <a:pt x="147" y="229"/>
                </a:lnTo>
                <a:lnTo>
                  <a:pt x="147" y="230"/>
                </a:lnTo>
                <a:lnTo>
                  <a:pt x="148" y="230"/>
                </a:lnTo>
                <a:lnTo>
                  <a:pt x="147" y="232"/>
                </a:lnTo>
                <a:lnTo>
                  <a:pt x="146" y="232"/>
                </a:lnTo>
                <a:lnTo>
                  <a:pt x="145" y="233"/>
                </a:lnTo>
                <a:lnTo>
                  <a:pt x="142" y="233"/>
                </a:lnTo>
                <a:lnTo>
                  <a:pt x="142" y="232"/>
                </a:lnTo>
                <a:lnTo>
                  <a:pt x="143" y="231"/>
                </a:lnTo>
                <a:lnTo>
                  <a:pt x="142" y="230"/>
                </a:lnTo>
                <a:lnTo>
                  <a:pt x="141" y="230"/>
                </a:lnTo>
                <a:lnTo>
                  <a:pt x="141" y="231"/>
                </a:lnTo>
                <a:lnTo>
                  <a:pt x="140" y="231"/>
                </a:lnTo>
                <a:lnTo>
                  <a:pt x="140" y="232"/>
                </a:lnTo>
                <a:lnTo>
                  <a:pt x="139" y="233"/>
                </a:lnTo>
                <a:lnTo>
                  <a:pt x="137" y="233"/>
                </a:lnTo>
                <a:lnTo>
                  <a:pt x="136" y="232"/>
                </a:lnTo>
                <a:lnTo>
                  <a:pt x="128" y="233"/>
                </a:lnTo>
                <a:lnTo>
                  <a:pt x="126" y="235"/>
                </a:lnTo>
                <a:lnTo>
                  <a:pt x="124" y="236"/>
                </a:lnTo>
                <a:lnTo>
                  <a:pt x="123" y="236"/>
                </a:lnTo>
                <a:lnTo>
                  <a:pt x="123" y="237"/>
                </a:lnTo>
                <a:lnTo>
                  <a:pt x="122" y="236"/>
                </a:lnTo>
                <a:lnTo>
                  <a:pt x="122" y="235"/>
                </a:lnTo>
                <a:lnTo>
                  <a:pt x="120" y="237"/>
                </a:lnTo>
                <a:lnTo>
                  <a:pt x="120" y="238"/>
                </a:lnTo>
                <a:lnTo>
                  <a:pt x="121" y="237"/>
                </a:lnTo>
                <a:lnTo>
                  <a:pt x="122" y="237"/>
                </a:lnTo>
                <a:lnTo>
                  <a:pt x="123" y="238"/>
                </a:lnTo>
                <a:lnTo>
                  <a:pt x="123" y="239"/>
                </a:lnTo>
                <a:lnTo>
                  <a:pt x="122" y="241"/>
                </a:lnTo>
                <a:lnTo>
                  <a:pt x="122" y="243"/>
                </a:lnTo>
                <a:lnTo>
                  <a:pt x="121" y="243"/>
                </a:lnTo>
                <a:lnTo>
                  <a:pt x="120" y="244"/>
                </a:lnTo>
                <a:lnTo>
                  <a:pt x="117" y="243"/>
                </a:lnTo>
                <a:lnTo>
                  <a:pt x="117" y="244"/>
                </a:lnTo>
                <a:lnTo>
                  <a:pt x="116" y="245"/>
                </a:lnTo>
                <a:lnTo>
                  <a:pt x="116" y="246"/>
                </a:lnTo>
                <a:lnTo>
                  <a:pt x="111" y="245"/>
                </a:lnTo>
                <a:lnTo>
                  <a:pt x="111" y="244"/>
                </a:lnTo>
                <a:lnTo>
                  <a:pt x="110" y="244"/>
                </a:lnTo>
                <a:lnTo>
                  <a:pt x="110" y="246"/>
                </a:lnTo>
                <a:lnTo>
                  <a:pt x="109" y="248"/>
                </a:lnTo>
                <a:lnTo>
                  <a:pt x="108" y="248"/>
                </a:lnTo>
                <a:lnTo>
                  <a:pt x="109" y="249"/>
                </a:lnTo>
                <a:lnTo>
                  <a:pt x="109" y="250"/>
                </a:lnTo>
                <a:lnTo>
                  <a:pt x="108" y="250"/>
                </a:lnTo>
                <a:lnTo>
                  <a:pt x="106" y="251"/>
                </a:lnTo>
                <a:lnTo>
                  <a:pt x="104" y="252"/>
                </a:lnTo>
                <a:lnTo>
                  <a:pt x="103" y="252"/>
                </a:lnTo>
                <a:lnTo>
                  <a:pt x="104" y="254"/>
                </a:lnTo>
                <a:lnTo>
                  <a:pt x="101" y="255"/>
                </a:lnTo>
                <a:lnTo>
                  <a:pt x="99" y="256"/>
                </a:lnTo>
                <a:lnTo>
                  <a:pt x="95" y="256"/>
                </a:lnTo>
                <a:lnTo>
                  <a:pt x="93" y="255"/>
                </a:lnTo>
                <a:lnTo>
                  <a:pt x="95" y="255"/>
                </a:lnTo>
                <a:lnTo>
                  <a:pt x="95" y="254"/>
                </a:lnTo>
                <a:lnTo>
                  <a:pt x="96" y="254"/>
                </a:lnTo>
                <a:lnTo>
                  <a:pt x="96" y="252"/>
                </a:lnTo>
                <a:lnTo>
                  <a:pt x="97" y="252"/>
                </a:lnTo>
                <a:lnTo>
                  <a:pt x="97" y="251"/>
                </a:lnTo>
                <a:lnTo>
                  <a:pt x="96" y="251"/>
                </a:lnTo>
                <a:lnTo>
                  <a:pt x="96" y="250"/>
                </a:lnTo>
                <a:lnTo>
                  <a:pt x="97" y="250"/>
                </a:lnTo>
                <a:lnTo>
                  <a:pt x="97" y="249"/>
                </a:lnTo>
                <a:lnTo>
                  <a:pt x="96" y="249"/>
                </a:lnTo>
                <a:lnTo>
                  <a:pt x="96" y="250"/>
                </a:lnTo>
                <a:lnTo>
                  <a:pt x="95" y="250"/>
                </a:lnTo>
                <a:lnTo>
                  <a:pt x="95" y="249"/>
                </a:lnTo>
                <a:lnTo>
                  <a:pt x="92" y="250"/>
                </a:lnTo>
                <a:lnTo>
                  <a:pt x="92" y="249"/>
                </a:lnTo>
                <a:lnTo>
                  <a:pt x="91" y="249"/>
                </a:lnTo>
                <a:lnTo>
                  <a:pt x="90" y="250"/>
                </a:lnTo>
                <a:lnTo>
                  <a:pt x="89" y="249"/>
                </a:lnTo>
                <a:lnTo>
                  <a:pt x="87" y="250"/>
                </a:lnTo>
                <a:lnTo>
                  <a:pt x="90" y="251"/>
                </a:lnTo>
                <a:lnTo>
                  <a:pt x="91" y="251"/>
                </a:lnTo>
                <a:lnTo>
                  <a:pt x="90" y="254"/>
                </a:lnTo>
                <a:lnTo>
                  <a:pt x="91" y="254"/>
                </a:lnTo>
                <a:lnTo>
                  <a:pt x="91" y="256"/>
                </a:lnTo>
                <a:lnTo>
                  <a:pt x="92" y="256"/>
                </a:lnTo>
                <a:lnTo>
                  <a:pt x="92" y="258"/>
                </a:lnTo>
                <a:lnTo>
                  <a:pt x="90" y="260"/>
                </a:lnTo>
                <a:lnTo>
                  <a:pt x="90" y="261"/>
                </a:lnTo>
                <a:lnTo>
                  <a:pt x="89" y="262"/>
                </a:lnTo>
                <a:lnTo>
                  <a:pt x="85" y="262"/>
                </a:lnTo>
                <a:lnTo>
                  <a:pt x="85" y="263"/>
                </a:lnTo>
                <a:lnTo>
                  <a:pt x="84" y="264"/>
                </a:lnTo>
                <a:lnTo>
                  <a:pt x="84" y="263"/>
                </a:lnTo>
                <a:lnTo>
                  <a:pt x="83" y="263"/>
                </a:lnTo>
                <a:lnTo>
                  <a:pt x="83" y="262"/>
                </a:lnTo>
                <a:lnTo>
                  <a:pt x="81" y="262"/>
                </a:lnTo>
                <a:lnTo>
                  <a:pt x="81" y="263"/>
                </a:lnTo>
                <a:lnTo>
                  <a:pt x="83" y="263"/>
                </a:lnTo>
                <a:lnTo>
                  <a:pt x="83" y="264"/>
                </a:lnTo>
                <a:lnTo>
                  <a:pt x="81" y="266"/>
                </a:lnTo>
                <a:lnTo>
                  <a:pt x="81" y="268"/>
                </a:lnTo>
                <a:lnTo>
                  <a:pt x="80" y="267"/>
                </a:lnTo>
                <a:lnTo>
                  <a:pt x="75" y="267"/>
                </a:lnTo>
                <a:lnTo>
                  <a:pt x="75" y="268"/>
                </a:lnTo>
                <a:lnTo>
                  <a:pt x="74" y="268"/>
                </a:lnTo>
                <a:lnTo>
                  <a:pt x="75" y="269"/>
                </a:lnTo>
                <a:lnTo>
                  <a:pt x="74" y="269"/>
                </a:lnTo>
                <a:lnTo>
                  <a:pt x="74" y="270"/>
                </a:lnTo>
                <a:lnTo>
                  <a:pt x="75" y="272"/>
                </a:lnTo>
                <a:lnTo>
                  <a:pt x="73" y="270"/>
                </a:lnTo>
                <a:lnTo>
                  <a:pt x="71" y="270"/>
                </a:lnTo>
                <a:lnTo>
                  <a:pt x="70" y="269"/>
                </a:lnTo>
                <a:lnTo>
                  <a:pt x="70" y="270"/>
                </a:lnTo>
                <a:lnTo>
                  <a:pt x="68" y="269"/>
                </a:lnTo>
                <a:lnTo>
                  <a:pt x="68" y="270"/>
                </a:lnTo>
                <a:lnTo>
                  <a:pt x="67" y="272"/>
                </a:lnTo>
                <a:lnTo>
                  <a:pt x="67" y="273"/>
                </a:lnTo>
                <a:lnTo>
                  <a:pt x="64" y="273"/>
                </a:lnTo>
                <a:lnTo>
                  <a:pt x="64" y="272"/>
                </a:lnTo>
                <a:lnTo>
                  <a:pt x="62" y="272"/>
                </a:lnTo>
                <a:lnTo>
                  <a:pt x="61" y="273"/>
                </a:lnTo>
                <a:lnTo>
                  <a:pt x="59" y="273"/>
                </a:lnTo>
                <a:lnTo>
                  <a:pt x="58" y="272"/>
                </a:lnTo>
                <a:lnTo>
                  <a:pt x="58" y="274"/>
                </a:lnTo>
                <a:lnTo>
                  <a:pt x="56" y="274"/>
                </a:lnTo>
                <a:lnTo>
                  <a:pt x="55" y="275"/>
                </a:lnTo>
                <a:lnTo>
                  <a:pt x="54" y="274"/>
                </a:lnTo>
                <a:lnTo>
                  <a:pt x="54" y="275"/>
                </a:lnTo>
                <a:lnTo>
                  <a:pt x="53" y="276"/>
                </a:lnTo>
                <a:lnTo>
                  <a:pt x="53" y="278"/>
                </a:lnTo>
                <a:lnTo>
                  <a:pt x="52" y="276"/>
                </a:lnTo>
                <a:lnTo>
                  <a:pt x="50" y="278"/>
                </a:lnTo>
                <a:lnTo>
                  <a:pt x="50" y="275"/>
                </a:lnTo>
                <a:lnTo>
                  <a:pt x="49" y="276"/>
                </a:lnTo>
                <a:lnTo>
                  <a:pt x="49" y="278"/>
                </a:lnTo>
                <a:lnTo>
                  <a:pt x="47" y="278"/>
                </a:lnTo>
                <a:lnTo>
                  <a:pt x="47" y="275"/>
                </a:lnTo>
                <a:lnTo>
                  <a:pt x="48" y="274"/>
                </a:lnTo>
                <a:lnTo>
                  <a:pt x="47" y="274"/>
                </a:lnTo>
                <a:lnTo>
                  <a:pt x="47" y="275"/>
                </a:lnTo>
                <a:lnTo>
                  <a:pt x="46" y="275"/>
                </a:lnTo>
                <a:lnTo>
                  <a:pt x="46" y="276"/>
                </a:lnTo>
                <a:lnTo>
                  <a:pt x="44" y="275"/>
                </a:lnTo>
                <a:lnTo>
                  <a:pt x="44" y="274"/>
                </a:lnTo>
                <a:lnTo>
                  <a:pt x="46" y="273"/>
                </a:lnTo>
                <a:lnTo>
                  <a:pt x="44" y="273"/>
                </a:lnTo>
                <a:lnTo>
                  <a:pt x="43" y="272"/>
                </a:lnTo>
                <a:lnTo>
                  <a:pt x="43" y="273"/>
                </a:lnTo>
                <a:lnTo>
                  <a:pt x="42" y="274"/>
                </a:lnTo>
                <a:lnTo>
                  <a:pt x="39" y="274"/>
                </a:lnTo>
                <a:lnTo>
                  <a:pt x="39" y="275"/>
                </a:lnTo>
                <a:lnTo>
                  <a:pt x="37" y="275"/>
                </a:lnTo>
                <a:lnTo>
                  <a:pt x="37" y="276"/>
                </a:lnTo>
                <a:lnTo>
                  <a:pt x="36" y="276"/>
                </a:lnTo>
                <a:lnTo>
                  <a:pt x="35" y="275"/>
                </a:lnTo>
                <a:lnTo>
                  <a:pt x="34" y="275"/>
                </a:lnTo>
                <a:lnTo>
                  <a:pt x="31" y="278"/>
                </a:lnTo>
                <a:lnTo>
                  <a:pt x="33" y="278"/>
                </a:lnTo>
                <a:lnTo>
                  <a:pt x="30" y="280"/>
                </a:lnTo>
                <a:lnTo>
                  <a:pt x="30" y="279"/>
                </a:lnTo>
                <a:lnTo>
                  <a:pt x="29" y="279"/>
                </a:lnTo>
                <a:lnTo>
                  <a:pt x="28" y="280"/>
                </a:lnTo>
                <a:lnTo>
                  <a:pt x="28" y="278"/>
                </a:lnTo>
                <a:lnTo>
                  <a:pt x="27" y="278"/>
                </a:lnTo>
                <a:lnTo>
                  <a:pt x="28" y="276"/>
                </a:lnTo>
                <a:lnTo>
                  <a:pt x="29" y="276"/>
                </a:lnTo>
                <a:lnTo>
                  <a:pt x="31" y="274"/>
                </a:lnTo>
                <a:lnTo>
                  <a:pt x="33" y="274"/>
                </a:lnTo>
                <a:lnTo>
                  <a:pt x="36" y="270"/>
                </a:lnTo>
                <a:lnTo>
                  <a:pt x="37" y="270"/>
                </a:lnTo>
                <a:lnTo>
                  <a:pt x="39" y="269"/>
                </a:lnTo>
                <a:lnTo>
                  <a:pt x="40" y="269"/>
                </a:lnTo>
                <a:lnTo>
                  <a:pt x="37" y="268"/>
                </a:lnTo>
                <a:lnTo>
                  <a:pt x="29" y="273"/>
                </a:lnTo>
                <a:lnTo>
                  <a:pt x="27" y="273"/>
                </a:lnTo>
                <a:lnTo>
                  <a:pt x="28" y="272"/>
                </a:lnTo>
                <a:lnTo>
                  <a:pt x="29" y="272"/>
                </a:lnTo>
                <a:lnTo>
                  <a:pt x="29" y="270"/>
                </a:lnTo>
                <a:lnTo>
                  <a:pt x="30" y="270"/>
                </a:lnTo>
                <a:lnTo>
                  <a:pt x="31" y="269"/>
                </a:lnTo>
                <a:lnTo>
                  <a:pt x="36" y="267"/>
                </a:lnTo>
                <a:lnTo>
                  <a:pt x="37" y="266"/>
                </a:lnTo>
                <a:lnTo>
                  <a:pt x="39" y="266"/>
                </a:lnTo>
                <a:lnTo>
                  <a:pt x="40" y="264"/>
                </a:lnTo>
                <a:lnTo>
                  <a:pt x="42" y="264"/>
                </a:lnTo>
                <a:lnTo>
                  <a:pt x="43" y="263"/>
                </a:lnTo>
                <a:lnTo>
                  <a:pt x="43" y="261"/>
                </a:lnTo>
                <a:lnTo>
                  <a:pt x="42" y="261"/>
                </a:lnTo>
                <a:lnTo>
                  <a:pt x="42" y="262"/>
                </a:lnTo>
                <a:lnTo>
                  <a:pt x="41" y="261"/>
                </a:lnTo>
                <a:lnTo>
                  <a:pt x="40" y="261"/>
                </a:lnTo>
                <a:lnTo>
                  <a:pt x="40" y="258"/>
                </a:lnTo>
                <a:lnTo>
                  <a:pt x="39" y="258"/>
                </a:lnTo>
                <a:lnTo>
                  <a:pt x="39" y="261"/>
                </a:lnTo>
                <a:lnTo>
                  <a:pt x="40" y="261"/>
                </a:lnTo>
                <a:lnTo>
                  <a:pt x="39" y="262"/>
                </a:lnTo>
                <a:lnTo>
                  <a:pt x="37" y="262"/>
                </a:lnTo>
                <a:lnTo>
                  <a:pt x="35" y="264"/>
                </a:lnTo>
                <a:lnTo>
                  <a:pt x="30" y="264"/>
                </a:lnTo>
                <a:lnTo>
                  <a:pt x="25" y="266"/>
                </a:lnTo>
                <a:lnTo>
                  <a:pt x="23" y="267"/>
                </a:lnTo>
                <a:lnTo>
                  <a:pt x="23" y="268"/>
                </a:lnTo>
                <a:lnTo>
                  <a:pt x="19" y="269"/>
                </a:lnTo>
                <a:lnTo>
                  <a:pt x="15" y="269"/>
                </a:lnTo>
                <a:lnTo>
                  <a:pt x="15" y="270"/>
                </a:lnTo>
                <a:lnTo>
                  <a:pt x="14" y="270"/>
                </a:lnTo>
                <a:lnTo>
                  <a:pt x="14" y="268"/>
                </a:lnTo>
                <a:lnTo>
                  <a:pt x="17" y="268"/>
                </a:lnTo>
                <a:lnTo>
                  <a:pt x="17" y="266"/>
                </a:lnTo>
                <a:lnTo>
                  <a:pt x="16" y="266"/>
                </a:lnTo>
                <a:lnTo>
                  <a:pt x="16" y="264"/>
                </a:lnTo>
                <a:lnTo>
                  <a:pt x="19" y="264"/>
                </a:lnTo>
                <a:lnTo>
                  <a:pt x="22" y="262"/>
                </a:lnTo>
                <a:lnTo>
                  <a:pt x="21" y="262"/>
                </a:lnTo>
                <a:lnTo>
                  <a:pt x="21" y="261"/>
                </a:lnTo>
                <a:lnTo>
                  <a:pt x="23" y="258"/>
                </a:lnTo>
                <a:lnTo>
                  <a:pt x="24" y="258"/>
                </a:lnTo>
                <a:lnTo>
                  <a:pt x="24" y="260"/>
                </a:lnTo>
                <a:lnTo>
                  <a:pt x="25" y="260"/>
                </a:lnTo>
                <a:lnTo>
                  <a:pt x="27" y="258"/>
                </a:lnTo>
                <a:lnTo>
                  <a:pt x="29" y="258"/>
                </a:lnTo>
                <a:lnTo>
                  <a:pt x="29" y="257"/>
                </a:lnTo>
                <a:lnTo>
                  <a:pt x="28" y="257"/>
                </a:lnTo>
                <a:lnTo>
                  <a:pt x="28" y="256"/>
                </a:lnTo>
                <a:lnTo>
                  <a:pt x="29" y="256"/>
                </a:lnTo>
                <a:lnTo>
                  <a:pt x="29" y="255"/>
                </a:lnTo>
                <a:lnTo>
                  <a:pt x="30" y="255"/>
                </a:lnTo>
                <a:lnTo>
                  <a:pt x="31" y="254"/>
                </a:lnTo>
                <a:lnTo>
                  <a:pt x="33" y="254"/>
                </a:lnTo>
                <a:lnTo>
                  <a:pt x="34" y="252"/>
                </a:lnTo>
                <a:lnTo>
                  <a:pt x="36" y="251"/>
                </a:lnTo>
                <a:lnTo>
                  <a:pt x="37" y="251"/>
                </a:lnTo>
                <a:lnTo>
                  <a:pt x="37" y="250"/>
                </a:lnTo>
                <a:lnTo>
                  <a:pt x="35" y="251"/>
                </a:lnTo>
                <a:lnTo>
                  <a:pt x="30" y="252"/>
                </a:lnTo>
                <a:lnTo>
                  <a:pt x="29" y="254"/>
                </a:lnTo>
                <a:lnTo>
                  <a:pt x="27" y="254"/>
                </a:lnTo>
                <a:lnTo>
                  <a:pt x="27" y="255"/>
                </a:lnTo>
                <a:lnTo>
                  <a:pt x="25" y="256"/>
                </a:lnTo>
                <a:lnTo>
                  <a:pt x="25" y="254"/>
                </a:lnTo>
                <a:lnTo>
                  <a:pt x="24" y="255"/>
                </a:lnTo>
                <a:lnTo>
                  <a:pt x="23" y="255"/>
                </a:lnTo>
                <a:lnTo>
                  <a:pt x="21" y="257"/>
                </a:lnTo>
                <a:lnTo>
                  <a:pt x="18" y="257"/>
                </a:lnTo>
                <a:lnTo>
                  <a:pt x="17" y="258"/>
                </a:lnTo>
                <a:lnTo>
                  <a:pt x="16" y="258"/>
                </a:lnTo>
                <a:lnTo>
                  <a:pt x="16" y="260"/>
                </a:lnTo>
                <a:lnTo>
                  <a:pt x="15" y="260"/>
                </a:lnTo>
                <a:lnTo>
                  <a:pt x="15" y="258"/>
                </a:lnTo>
                <a:lnTo>
                  <a:pt x="11" y="257"/>
                </a:lnTo>
                <a:lnTo>
                  <a:pt x="12" y="256"/>
                </a:lnTo>
                <a:lnTo>
                  <a:pt x="12" y="254"/>
                </a:lnTo>
                <a:lnTo>
                  <a:pt x="10" y="252"/>
                </a:lnTo>
                <a:lnTo>
                  <a:pt x="9" y="255"/>
                </a:lnTo>
                <a:lnTo>
                  <a:pt x="8" y="255"/>
                </a:lnTo>
                <a:lnTo>
                  <a:pt x="6" y="256"/>
                </a:lnTo>
                <a:lnTo>
                  <a:pt x="5" y="256"/>
                </a:lnTo>
                <a:lnTo>
                  <a:pt x="6" y="254"/>
                </a:lnTo>
                <a:lnTo>
                  <a:pt x="5" y="252"/>
                </a:lnTo>
                <a:lnTo>
                  <a:pt x="4" y="252"/>
                </a:lnTo>
                <a:lnTo>
                  <a:pt x="4" y="250"/>
                </a:lnTo>
                <a:lnTo>
                  <a:pt x="2" y="250"/>
                </a:lnTo>
                <a:lnTo>
                  <a:pt x="3" y="249"/>
                </a:lnTo>
                <a:lnTo>
                  <a:pt x="5" y="248"/>
                </a:lnTo>
                <a:lnTo>
                  <a:pt x="5" y="246"/>
                </a:lnTo>
                <a:lnTo>
                  <a:pt x="6" y="246"/>
                </a:lnTo>
                <a:lnTo>
                  <a:pt x="6" y="248"/>
                </a:lnTo>
                <a:lnTo>
                  <a:pt x="8" y="248"/>
                </a:lnTo>
                <a:lnTo>
                  <a:pt x="5" y="250"/>
                </a:lnTo>
                <a:lnTo>
                  <a:pt x="9" y="249"/>
                </a:lnTo>
                <a:lnTo>
                  <a:pt x="10" y="248"/>
                </a:lnTo>
                <a:lnTo>
                  <a:pt x="9" y="248"/>
                </a:lnTo>
                <a:lnTo>
                  <a:pt x="9" y="246"/>
                </a:lnTo>
                <a:lnTo>
                  <a:pt x="8" y="245"/>
                </a:lnTo>
                <a:lnTo>
                  <a:pt x="8" y="244"/>
                </a:lnTo>
                <a:lnTo>
                  <a:pt x="9" y="244"/>
                </a:lnTo>
                <a:lnTo>
                  <a:pt x="9" y="243"/>
                </a:lnTo>
                <a:lnTo>
                  <a:pt x="10" y="243"/>
                </a:lnTo>
                <a:lnTo>
                  <a:pt x="11" y="242"/>
                </a:lnTo>
                <a:lnTo>
                  <a:pt x="12" y="242"/>
                </a:lnTo>
                <a:lnTo>
                  <a:pt x="15" y="241"/>
                </a:lnTo>
                <a:lnTo>
                  <a:pt x="18" y="239"/>
                </a:lnTo>
                <a:lnTo>
                  <a:pt x="21" y="238"/>
                </a:lnTo>
                <a:lnTo>
                  <a:pt x="21" y="236"/>
                </a:lnTo>
                <a:lnTo>
                  <a:pt x="22" y="236"/>
                </a:lnTo>
                <a:lnTo>
                  <a:pt x="22" y="238"/>
                </a:lnTo>
                <a:lnTo>
                  <a:pt x="23" y="238"/>
                </a:lnTo>
                <a:lnTo>
                  <a:pt x="23" y="237"/>
                </a:lnTo>
                <a:lnTo>
                  <a:pt x="24" y="233"/>
                </a:lnTo>
                <a:lnTo>
                  <a:pt x="25" y="233"/>
                </a:lnTo>
                <a:lnTo>
                  <a:pt x="27" y="235"/>
                </a:lnTo>
                <a:lnTo>
                  <a:pt x="30" y="233"/>
                </a:lnTo>
                <a:lnTo>
                  <a:pt x="29" y="233"/>
                </a:lnTo>
                <a:lnTo>
                  <a:pt x="29" y="232"/>
                </a:lnTo>
                <a:lnTo>
                  <a:pt x="22" y="232"/>
                </a:lnTo>
                <a:lnTo>
                  <a:pt x="22" y="233"/>
                </a:lnTo>
                <a:lnTo>
                  <a:pt x="21" y="233"/>
                </a:lnTo>
                <a:lnTo>
                  <a:pt x="21" y="232"/>
                </a:lnTo>
                <a:lnTo>
                  <a:pt x="18" y="232"/>
                </a:lnTo>
                <a:lnTo>
                  <a:pt x="14" y="235"/>
                </a:lnTo>
                <a:lnTo>
                  <a:pt x="11" y="235"/>
                </a:lnTo>
                <a:lnTo>
                  <a:pt x="11" y="233"/>
                </a:lnTo>
                <a:lnTo>
                  <a:pt x="8" y="233"/>
                </a:lnTo>
                <a:lnTo>
                  <a:pt x="9" y="235"/>
                </a:lnTo>
                <a:lnTo>
                  <a:pt x="8" y="235"/>
                </a:lnTo>
                <a:lnTo>
                  <a:pt x="5" y="233"/>
                </a:lnTo>
                <a:lnTo>
                  <a:pt x="4" y="233"/>
                </a:lnTo>
                <a:lnTo>
                  <a:pt x="4" y="235"/>
                </a:lnTo>
                <a:lnTo>
                  <a:pt x="3" y="236"/>
                </a:lnTo>
                <a:lnTo>
                  <a:pt x="2" y="236"/>
                </a:lnTo>
                <a:lnTo>
                  <a:pt x="0" y="235"/>
                </a:lnTo>
                <a:lnTo>
                  <a:pt x="0" y="231"/>
                </a:lnTo>
                <a:lnTo>
                  <a:pt x="2" y="231"/>
                </a:lnTo>
                <a:lnTo>
                  <a:pt x="2" y="230"/>
                </a:lnTo>
                <a:lnTo>
                  <a:pt x="0" y="230"/>
                </a:lnTo>
                <a:lnTo>
                  <a:pt x="2" y="229"/>
                </a:lnTo>
                <a:lnTo>
                  <a:pt x="3" y="229"/>
                </a:lnTo>
                <a:lnTo>
                  <a:pt x="3" y="230"/>
                </a:lnTo>
                <a:lnTo>
                  <a:pt x="4" y="230"/>
                </a:lnTo>
                <a:lnTo>
                  <a:pt x="4" y="229"/>
                </a:lnTo>
                <a:lnTo>
                  <a:pt x="5" y="227"/>
                </a:lnTo>
                <a:lnTo>
                  <a:pt x="4" y="227"/>
                </a:lnTo>
                <a:lnTo>
                  <a:pt x="4" y="226"/>
                </a:lnTo>
                <a:lnTo>
                  <a:pt x="6" y="226"/>
                </a:lnTo>
                <a:lnTo>
                  <a:pt x="8" y="225"/>
                </a:lnTo>
                <a:lnTo>
                  <a:pt x="8" y="224"/>
                </a:lnTo>
                <a:lnTo>
                  <a:pt x="9" y="224"/>
                </a:lnTo>
                <a:lnTo>
                  <a:pt x="12" y="223"/>
                </a:lnTo>
                <a:lnTo>
                  <a:pt x="14" y="223"/>
                </a:lnTo>
                <a:lnTo>
                  <a:pt x="14" y="226"/>
                </a:lnTo>
                <a:lnTo>
                  <a:pt x="16" y="225"/>
                </a:lnTo>
                <a:lnTo>
                  <a:pt x="17" y="225"/>
                </a:lnTo>
                <a:lnTo>
                  <a:pt x="18" y="224"/>
                </a:lnTo>
                <a:lnTo>
                  <a:pt x="18" y="223"/>
                </a:lnTo>
                <a:lnTo>
                  <a:pt x="17" y="221"/>
                </a:lnTo>
                <a:lnTo>
                  <a:pt x="19" y="220"/>
                </a:lnTo>
                <a:lnTo>
                  <a:pt x="19" y="225"/>
                </a:lnTo>
                <a:lnTo>
                  <a:pt x="21" y="225"/>
                </a:lnTo>
                <a:lnTo>
                  <a:pt x="22" y="226"/>
                </a:lnTo>
                <a:lnTo>
                  <a:pt x="25" y="226"/>
                </a:lnTo>
                <a:lnTo>
                  <a:pt x="28" y="224"/>
                </a:lnTo>
                <a:lnTo>
                  <a:pt x="28" y="225"/>
                </a:lnTo>
                <a:lnTo>
                  <a:pt x="31" y="225"/>
                </a:lnTo>
                <a:lnTo>
                  <a:pt x="30" y="224"/>
                </a:lnTo>
                <a:lnTo>
                  <a:pt x="25" y="224"/>
                </a:lnTo>
                <a:lnTo>
                  <a:pt x="25" y="223"/>
                </a:lnTo>
                <a:lnTo>
                  <a:pt x="27" y="223"/>
                </a:lnTo>
                <a:lnTo>
                  <a:pt x="27" y="221"/>
                </a:lnTo>
                <a:lnTo>
                  <a:pt x="28" y="221"/>
                </a:lnTo>
                <a:lnTo>
                  <a:pt x="27" y="220"/>
                </a:lnTo>
                <a:lnTo>
                  <a:pt x="27" y="215"/>
                </a:lnTo>
                <a:lnTo>
                  <a:pt x="24" y="215"/>
                </a:lnTo>
                <a:lnTo>
                  <a:pt x="23" y="214"/>
                </a:lnTo>
                <a:lnTo>
                  <a:pt x="22" y="214"/>
                </a:lnTo>
                <a:lnTo>
                  <a:pt x="23" y="213"/>
                </a:lnTo>
                <a:lnTo>
                  <a:pt x="27" y="213"/>
                </a:lnTo>
                <a:lnTo>
                  <a:pt x="30" y="211"/>
                </a:lnTo>
                <a:lnTo>
                  <a:pt x="31" y="211"/>
                </a:lnTo>
                <a:lnTo>
                  <a:pt x="31" y="209"/>
                </a:lnTo>
                <a:lnTo>
                  <a:pt x="33" y="208"/>
                </a:lnTo>
                <a:lnTo>
                  <a:pt x="34" y="208"/>
                </a:lnTo>
                <a:lnTo>
                  <a:pt x="35" y="209"/>
                </a:lnTo>
                <a:lnTo>
                  <a:pt x="35" y="208"/>
                </a:lnTo>
                <a:lnTo>
                  <a:pt x="34" y="208"/>
                </a:lnTo>
                <a:lnTo>
                  <a:pt x="34" y="203"/>
                </a:lnTo>
                <a:lnTo>
                  <a:pt x="35" y="202"/>
                </a:lnTo>
                <a:lnTo>
                  <a:pt x="41" y="202"/>
                </a:lnTo>
                <a:lnTo>
                  <a:pt x="42" y="203"/>
                </a:lnTo>
                <a:lnTo>
                  <a:pt x="43" y="203"/>
                </a:lnTo>
                <a:lnTo>
                  <a:pt x="43" y="202"/>
                </a:lnTo>
                <a:lnTo>
                  <a:pt x="53" y="202"/>
                </a:lnTo>
                <a:lnTo>
                  <a:pt x="54" y="201"/>
                </a:lnTo>
                <a:lnTo>
                  <a:pt x="59" y="199"/>
                </a:lnTo>
                <a:lnTo>
                  <a:pt x="60" y="199"/>
                </a:lnTo>
                <a:lnTo>
                  <a:pt x="61" y="200"/>
                </a:lnTo>
                <a:lnTo>
                  <a:pt x="64" y="198"/>
                </a:lnTo>
                <a:lnTo>
                  <a:pt x="71" y="196"/>
                </a:lnTo>
                <a:lnTo>
                  <a:pt x="73" y="195"/>
                </a:lnTo>
                <a:lnTo>
                  <a:pt x="70" y="195"/>
                </a:lnTo>
                <a:lnTo>
                  <a:pt x="68" y="194"/>
                </a:lnTo>
                <a:lnTo>
                  <a:pt x="65" y="195"/>
                </a:lnTo>
                <a:lnTo>
                  <a:pt x="64" y="194"/>
                </a:lnTo>
                <a:lnTo>
                  <a:pt x="65" y="193"/>
                </a:lnTo>
                <a:lnTo>
                  <a:pt x="65" y="192"/>
                </a:lnTo>
                <a:lnTo>
                  <a:pt x="64" y="190"/>
                </a:lnTo>
                <a:lnTo>
                  <a:pt x="65" y="189"/>
                </a:lnTo>
                <a:lnTo>
                  <a:pt x="65" y="188"/>
                </a:lnTo>
                <a:lnTo>
                  <a:pt x="64" y="189"/>
                </a:lnTo>
                <a:lnTo>
                  <a:pt x="62" y="189"/>
                </a:lnTo>
                <a:lnTo>
                  <a:pt x="61" y="190"/>
                </a:lnTo>
                <a:lnTo>
                  <a:pt x="61" y="192"/>
                </a:lnTo>
                <a:lnTo>
                  <a:pt x="60" y="194"/>
                </a:lnTo>
                <a:lnTo>
                  <a:pt x="56" y="199"/>
                </a:lnTo>
                <a:lnTo>
                  <a:pt x="55" y="200"/>
                </a:lnTo>
                <a:lnTo>
                  <a:pt x="52" y="200"/>
                </a:lnTo>
                <a:lnTo>
                  <a:pt x="50" y="201"/>
                </a:lnTo>
                <a:lnTo>
                  <a:pt x="48" y="201"/>
                </a:lnTo>
                <a:lnTo>
                  <a:pt x="50" y="199"/>
                </a:lnTo>
                <a:lnTo>
                  <a:pt x="50" y="198"/>
                </a:lnTo>
                <a:lnTo>
                  <a:pt x="49" y="199"/>
                </a:lnTo>
                <a:lnTo>
                  <a:pt x="46" y="200"/>
                </a:lnTo>
                <a:lnTo>
                  <a:pt x="42" y="200"/>
                </a:lnTo>
                <a:lnTo>
                  <a:pt x="42" y="199"/>
                </a:lnTo>
                <a:lnTo>
                  <a:pt x="40" y="199"/>
                </a:lnTo>
                <a:lnTo>
                  <a:pt x="40" y="196"/>
                </a:lnTo>
                <a:lnTo>
                  <a:pt x="39" y="196"/>
                </a:lnTo>
                <a:lnTo>
                  <a:pt x="39" y="198"/>
                </a:lnTo>
                <a:lnTo>
                  <a:pt x="36" y="200"/>
                </a:lnTo>
                <a:lnTo>
                  <a:pt x="33" y="200"/>
                </a:lnTo>
                <a:lnTo>
                  <a:pt x="33" y="202"/>
                </a:lnTo>
                <a:lnTo>
                  <a:pt x="30" y="202"/>
                </a:lnTo>
                <a:lnTo>
                  <a:pt x="23" y="203"/>
                </a:lnTo>
                <a:lnTo>
                  <a:pt x="25" y="201"/>
                </a:lnTo>
                <a:lnTo>
                  <a:pt x="28" y="201"/>
                </a:lnTo>
                <a:lnTo>
                  <a:pt x="36" y="193"/>
                </a:lnTo>
                <a:lnTo>
                  <a:pt x="36" y="192"/>
                </a:lnTo>
                <a:lnTo>
                  <a:pt x="37" y="192"/>
                </a:lnTo>
                <a:lnTo>
                  <a:pt x="37" y="190"/>
                </a:lnTo>
                <a:lnTo>
                  <a:pt x="41" y="190"/>
                </a:lnTo>
                <a:lnTo>
                  <a:pt x="41" y="189"/>
                </a:lnTo>
                <a:lnTo>
                  <a:pt x="42" y="188"/>
                </a:lnTo>
                <a:lnTo>
                  <a:pt x="42" y="186"/>
                </a:lnTo>
                <a:lnTo>
                  <a:pt x="43" y="186"/>
                </a:lnTo>
                <a:lnTo>
                  <a:pt x="43" y="183"/>
                </a:lnTo>
                <a:lnTo>
                  <a:pt x="44" y="183"/>
                </a:lnTo>
                <a:lnTo>
                  <a:pt x="44" y="181"/>
                </a:lnTo>
                <a:lnTo>
                  <a:pt x="47" y="178"/>
                </a:lnTo>
                <a:lnTo>
                  <a:pt x="47" y="177"/>
                </a:lnTo>
                <a:lnTo>
                  <a:pt x="42" y="177"/>
                </a:lnTo>
                <a:lnTo>
                  <a:pt x="43" y="176"/>
                </a:lnTo>
                <a:lnTo>
                  <a:pt x="43" y="175"/>
                </a:lnTo>
                <a:lnTo>
                  <a:pt x="46" y="172"/>
                </a:lnTo>
                <a:lnTo>
                  <a:pt x="46" y="171"/>
                </a:lnTo>
                <a:lnTo>
                  <a:pt x="48" y="168"/>
                </a:lnTo>
                <a:lnTo>
                  <a:pt x="49" y="166"/>
                </a:lnTo>
                <a:lnTo>
                  <a:pt x="49" y="165"/>
                </a:lnTo>
                <a:lnTo>
                  <a:pt x="50" y="164"/>
                </a:lnTo>
                <a:lnTo>
                  <a:pt x="50" y="163"/>
                </a:lnTo>
                <a:lnTo>
                  <a:pt x="52" y="162"/>
                </a:lnTo>
                <a:lnTo>
                  <a:pt x="55" y="165"/>
                </a:lnTo>
                <a:lnTo>
                  <a:pt x="56" y="165"/>
                </a:lnTo>
                <a:lnTo>
                  <a:pt x="58" y="164"/>
                </a:lnTo>
                <a:lnTo>
                  <a:pt x="59" y="164"/>
                </a:lnTo>
                <a:lnTo>
                  <a:pt x="59" y="163"/>
                </a:lnTo>
                <a:lnTo>
                  <a:pt x="56" y="162"/>
                </a:lnTo>
                <a:lnTo>
                  <a:pt x="60" y="162"/>
                </a:lnTo>
                <a:lnTo>
                  <a:pt x="61" y="163"/>
                </a:lnTo>
                <a:lnTo>
                  <a:pt x="62" y="163"/>
                </a:lnTo>
                <a:lnTo>
                  <a:pt x="62" y="162"/>
                </a:lnTo>
                <a:lnTo>
                  <a:pt x="64" y="162"/>
                </a:lnTo>
                <a:lnTo>
                  <a:pt x="65" y="163"/>
                </a:lnTo>
                <a:lnTo>
                  <a:pt x="65" y="160"/>
                </a:lnTo>
                <a:lnTo>
                  <a:pt x="64" y="160"/>
                </a:lnTo>
                <a:lnTo>
                  <a:pt x="65" y="159"/>
                </a:lnTo>
                <a:lnTo>
                  <a:pt x="65" y="158"/>
                </a:lnTo>
                <a:lnTo>
                  <a:pt x="66" y="158"/>
                </a:lnTo>
                <a:lnTo>
                  <a:pt x="67" y="157"/>
                </a:lnTo>
                <a:lnTo>
                  <a:pt x="66" y="157"/>
                </a:lnTo>
                <a:lnTo>
                  <a:pt x="66" y="158"/>
                </a:lnTo>
                <a:lnTo>
                  <a:pt x="61" y="158"/>
                </a:lnTo>
                <a:lnTo>
                  <a:pt x="60" y="157"/>
                </a:lnTo>
                <a:lnTo>
                  <a:pt x="62" y="157"/>
                </a:lnTo>
                <a:lnTo>
                  <a:pt x="64" y="156"/>
                </a:lnTo>
                <a:lnTo>
                  <a:pt x="62" y="156"/>
                </a:lnTo>
                <a:lnTo>
                  <a:pt x="64" y="155"/>
                </a:lnTo>
                <a:lnTo>
                  <a:pt x="65" y="155"/>
                </a:lnTo>
                <a:lnTo>
                  <a:pt x="61" y="153"/>
                </a:lnTo>
                <a:lnTo>
                  <a:pt x="60" y="153"/>
                </a:lnTo>
                <a:lnTo>
                  <a:pt x="59" y="155"/>
                </a:lnTo>
                <a:lnTo>
                  <a:pt x="46" y="156"/>
                </a:lnTo>
                <a:lnTo>
                  <a:pt x="44" y="156"/>
                </a:lnTo>
                <a:lnTo>
                  <a:pt x="43" y="157"/>
                </a:lnTo>
                <a:lnTo>
                  <a:pt x="40" y="157"/>
                </a:lnTo>
                <a:lnTo>
                  <a:pt x="40" y="156"/>
                </a:lnTo>
                <a:lnTo>
                  <a:pt x="39" y="155"/>
                </a:lnTo>
                <a:lnTo>
                  <a:pt x="39" y="152"/>
                </a:lnTo>
                <a:lnTo>
                  <a:pt x="37" y="153"/>
                </a:lnTo>
                <a:lnTo>
                  <a:pt x="37" y="156"/>
                </a:lnTo>
                <a:lnTo>
                  <a:pt x="36" y="156"/>
                </a:lnTo>
                <a:lnTo>
                  <a:pt x="36" y="150"/>
                </a:lnTo>
                <a:lnTo>
                  <a:pt x="39" y="150"/>
                </a:lnTo>
                <a:lnTo>
                  <a:pt x="39" y="149"/>
                </a:lnTo>
                <a:lnTo>
                  <a:pt x="37" y="147"/>
                </a:lnTo>
                <a:lnTo>
                  <a:pt x="37" y="146"/>
                </a:lnTo>
                <a:lnTo>
                  <a:pt x="36" y="146"/>
                </a:lnTo>
                <a:lnTo>
                  <a:pt x="36" y="150"/>
                </a:lnTo>
                <a:lnTo>
                  <a:pt x="35" y="150"/>
                </a:lnTo>
                <a:lnTo>
                  <a:pt x="35" y="145"/>
                </a:lnTo>
                <a:lnTo>
                  <a:pt x="33" y="147"/>
                </a:lnTo>
                <a:lnTo>
                  <a:pt x="33" y="149"/>
                </a:lnTo>
                <a:lnTo>
                  <a:pt x="31" y="150"/>
                </a:lnTo>
                <a:lnTo>
                  <a:pt x="31" y="151"/>
                </a:lnTo>
                <a:lnTo>
                  <a:pt x="29" y="152"/>
                </a:lnTo>
                <a:lnTo>
                  <a:pt x="28" y="152"/>
                </a:lnTo>
                <a:lnTo>
                  <a:pt x="28" y="151"/>
                </a:lnTo>
                <a:lnTo>
                  <a:pt x="27" y="150"/>
                </a:lnTo>
                <a:lnTo>
                  <a:pt x="24" y="151"/>
                </a:lnTo>
                <a:lnTo>
                  <a:pt x="24" y="147"/>
                </a:lnTo>
                <a:lnTo>
                  <a:pt x="27" y="147"/>
                </a:lnTo>
                <a:lnTo>
                  <a:pt x="29" y="146"/>
                </a:lnTo>
                <a:lnTo>
                  <a:pt x="29" y="145"/>
                </a:lnTo>
                <a:lnTo>
                  <a:pt x="28" y="145"/>
                </a:lnTo>
                <a:lnTo>
                  <a:pt x="28" y="144"/>
                </a:lnTo>
                <a:lnTo>
                  <a:pt x="27" y="144"/>
                </a:lnTo>
                <a:lnTo>
                  <a:pt x="27" y="145"/>
                </a:lnTo>
                <a:lnTo>
                  <a:pt x="25" y="145"/>
                </a:lnTo>
                <a:lnTo>
                  <a:pt x="25" y="144"/>
                </a:lnTo>
                <a:lnTo>
                  <a:pt x="27" y="143"/>
                </a:lnTo>
                <a:lnTo>
                  <a:pt x="25" y="143"/>
                </a:lnTo>
                <a:lnTo>
                  <a:pt x="25" y="144"/>
                </a:lnTo>
                <a:lnTo>
                  <a:pt x="24" y="143"/>
                </a:lnTo>
                <a:lnTo>
                  <a:pt x="23" y="144"/>
                </a:lnTo>
                <a:lnTo>
                  <a:pt x="23" y="146"/>
                </a:lnTo>
                <a:lnTo>
                  <a:pt x="19" y="146"/>
                </a:lnTo>
                <a:lnTo>
                  <a:pt x="18" y="145"/>
                </a:lnTo>
                <a:lnTo>
                  <a:pt x="18" y="144"/>
                </a:lnTo>
                <a:lnTo>
                  <a:pt x="12" y="144"/>
                </a:lnTo>
                <a:lnTo>
                  <a:pt x="14" y="143"/>
                </a:lnTo>
                <a:lnTo>
                  <a:pt x="14" y="141"/>
                </a:lnTo>
                <a:lnTo>
                  <a:pt x="18" y="141"/>
                </a:lnTo>
                <a:lnTo>
                  <a:pt x="18" y="140"/>
                </a:lnTo>
                <a:lnTo>
                  <a:pt x="17" y="140"/>
                </a:lnTo>
                <a:lnTo>
                  <a:pt x="17" y="139"/>
                </a:lnTo>
                <a:lnTo>
                  <a:pt x="15" y="137"/>
                </a:lnTo>
                <a:lnTo>
                  <a:pt x="15" y="135"/>
                </a:lnTo>
                <a:lnTo>
                  <a:pt x="14" y="135"/>
                </a:lnTo>
                <a:lnTo>
                  <a:pt x="14" y="134"/>
                </a:lnTo>
                <a:lnTo>
                  <a:pt x="16" y="134"/>
                </a:lnTo>
                <a:lnTo>
                  <a:pt x="15" y="133"/>
                </a:lnTo>
                <a:lnTo>
                  <a:pt x="19" y="133"/>
                </a:lnTo>
                <a:lnTo>
                  <a:pt x="19" y="134"/>
                </a:lnTo>
                <a:lnTo>
                  <a:pt x="21" y="134"/>
                </a:lnTo>
                <a:lnTo>
                  <a:pt x="21" y="133"/>
                </a:lnTo>
                <a:lnTo>
                  <a:pt x="18" y="132"/>
                </a:lnTo>
                <a:lnTo>
                  <a:pt x="18" y="131"/>
                </a:lnTo>
                <a:lnTo>
                  <a:pt x="24" y="131"/>
                </a:lnTo>
                <a:lnTo>
                  <a:pt x="25" y="129"/>
                </a:lnTo>
                <a:lnTo>
                  <a:pt x="28" y="129"/>
                </a:lnTo>
                <a:lnTo>
                  <a:pt x="29" y="131"/>
                </a:lnTo>
                <a:lnTo>
                  <a:pt x="33" y="131"/>
                </a:lnTo>
                <a:lnTo>
                  <a:pt x="33" y="129"/>
                </a:lnTo>
                <a:lnTo>
                  <a:pt x="28" y="129"/>
                </a:lnTo>
                <a:lnTo>
                  <a:pt x="24" y="127"/>
                </a:lnTo>
                <a:lnTo>
                  <a:pt x="23" y="123"/>
                </a:lnTo>
                <a:lnTo>
                  <a:pt x="23" y="122"/>
                </a:lnTo>
                <a:lnTo>
                  <a:pt x="24" y="121"/>
                </a:lnTo>
                <a:lnTo>
                  <a:pt x="24" y="119"/>
                </a:lnTo>
                <a:lnTo>
                  <a:pt x="25" y="119"/>
                </a:lnTo>
                <a:lnTo>
                  <a:pt x="27" y="117"/>
                </a:lnTo>
                <a:lnTo>
                  <a:pt x="30" y="117"/>
                </a:lnTo>
                <a:lnTo>
                  <a:pt x="39" y="116"/>
                </a:lnTo>
                <a:lnTo>
                  <a:pt x="37" y="116"/>
                </a:lnTo>
                <a:lnTo>
                  <a:pt x="36" y="115"/>
                </a:lnTo>
                <a:lnTo>
                  <a:pt x="37" y="114"/>
                </a:lnTo>
                <a:lnTo>
                  <a:pt x="36" y="114"/>
                </a:lnTo>
                <a:lnTo>
                  <a:pt x="39" y="112"/>
                </a:lnTo>
                <a:lnTo>
                  <a:pt x="37" y="112"/>
                </a:lnTo>
                <a:lnTo>
                  <a:pt x="37" y="110"/>
                </a:lnTo>
                <a:lnTo>
                  <a:pt x="39" y="110"/>
                </a:lnTo>
                <a:lnTo>
                  <a:pt x="39" y="109"/>
                </a:lnTo>
                <a:lnTo>
                  <a:pt x="30" y="109"/>
                </a:lnTo>
                <a:lnTo>
                  <a:pt x="27" y="112"/>
                </a:lnTo>
                <a:lnTo>
                  <a:pt x="24" y="112"/>
                </a:lnTo>
                <a:lnTo>
                  <a:pt x="22" y="110"/>
                </a:lnTo>
                <a:lnTo>
                  <a:pt x="23" y="110"/>
                </a:lnTo>
                <a:lnTo>
                  <a:pt x="23" y="109"/>
                </a:lnTo>
                <a:lnTo>
                  <a:pt x="22" y="110"/>
                </a:lnTo>
                <a:lnTo>
                  <a:pt x="21" y="110"/>
                </a:lnTo>
                <a:lnTo>
                  <a:pt x="21" y="109"/>
                </a:lnTo>
                <a:lnTo>
                  <a:pt x="19" y="108"/>
                </a:lnTo>
                <a:lnTo>
                  <a:pt x="17" y="108"/>
                </a:lnTo>
                <a:lnTo>
                  <a:pt x="17" y="107"/>
                </a:lnTo>
                <a:lnTo>
                  <a:pt x="18" y="106"/>
                </a:lnTo>
                <a:lnTo>
                  <a:pt x="17" y="104"/>
                </a:lnTo>
                <a:lnTo>
                  <a:pt x="12" y="104"/>
                </a:lnTo>
                <a:lnTo>
                  <a:pt x="10" y="103"/>
                </a:lnTo>
                <a:lnTo>
                  <a:pt x="11" y="103"/>
                </a:lnTo>
                <a:lnTo>
                  <a:pt x="11" y="102"/>
                </a:lnTo>
                <a:lnTo>
                  <a:pt x="12" y="101"/>
                </a:lnTo>
                <a:lnTo>
                  <a:pt x="14" y="101"/>
                </a:lnTo>
                <a:lnTo>
                  <a:pt x="15" y="102"/>
                </a:lnTo>
                <a:lnTo>
                  <a:pt x="16" y="102"/>
                </a:lnTo>
                <a:lnTo>
                  <a:pt x="17" y="101"/>
                </a:lnTo>
                <a:lnTo>
                  <a:pt x="22" y="101"/>
                </a:lnTo>
                <a:lnTo>
                  <a:pt x="23" y="103"/>
                </a:lnTo>
                <a:lnTo>
                  <a:pt x="22" y="103"/>
                </a:lnTo>
                <a:lnTo>
                  <a:pt x="22" y="104"/>
                </a:lnTo>
                <a:lnTo>
                  <a:pt x="23" y="104"/>
                </a:lnTo>
                <a:lnTo>
                  <a:pt x="23" y="108"/>
                </a:lnTo>
                <a:lnTo>
                  <a:pt x="24" y="108"/>
                </a:lnTo>
                <a:lnTo>
                  <a:pt x="24" y="106"/>
                </a:lnTo>
                <a:lnTo>
                  <a:pt x="23" y="106"/>
                </a:lnTo>
                <a:lnTo>
                  <a:pt x="25" y="104"/>
                </a:lnTo>
                <a:lnTo>
                  <a:pt x="27" y="106"/>
                </a:lnTo>
                <a:lnTo>
                  <a:pt x="27" y="102"/>
                </a:lnTo>
                <a:lnTo>
                  <a:pt x="25" y="102"/>
                </a:lnTo>
                <a:lnTo>
                  <a:pt x="25" y="101"/>
                </a:lnTo>
                <a:lnTo>
                  <a:pt x="24" y="101"/>
                </a:lnTo>
                <a:lnTo>
                  <a:pt x="24" y="97"/>
                </a:lnTo>
                <a:lnTo>
                  <a:pt x="25" y="97"/>
                </a:lnTo>
                <a:lnTo>
                  <a:pt x="25" y="96"/>
                </a:lnTo>
                <a:lnTo>
                  <a:pt x="27" y="95"/>
                </a:lnTo>
                <a:lnTo>
                  <a:pt x="25" y="95"/>
                </a:lnTo>
                <a:lnTo>
                  <a:pt x="27" y="94"/>
                </a:lnTo>
                <a:lnTo>
                  <a:pt x="25" y="94"/>
                </a:lnTo>
                <a:lnTo>
                  <a:pt x="25" y="95"/>
                </a:lnTo>
                <a:lnTo>
                  <a:pt x="24" y="95"/>
                </a:lnTo>
                <a:lnTo>
                  <a:pt x="23" y="97"/>
                </a:lnTo>
                <a:lnTo>
                  <a:pt x="22" y="97"/>
                </a:lnTo>
                <a:lnTo>
                  <a:pt x="22" y="96"/>
                </a:lnTo>
                <a:lnTo>
                  <a:pt x="21" y="95"/>
                </a:lnTo>
                <a:lnTo>
                  <a:pt x="23" y="94"/>
                </a:lnTo>
                <a:lnTo>
                  <a:pt x="24" y="94"/>
                </a:lnTo>
                <a:lnTo>
                  <a:pt x="22" y="91"/>
                </a:lnTo>
                <a:lnTo>
                  <a:pt x="23" y="91"/>
                </a:lnTo>
                <a:lnTo>
                  <a:pt x="21" y="89"/>
                </a:lnTo>
                <a:lnTo>
                  <a:pt x="23" y="89"/>
                </a:lnTo>
                <a:lnTo>
                  <a:pt x="21" y="86"/>
                </a:lnTo>
                <a:lnTo>
                  <a:pt x="23" y="86"/>
                </a:lnTo>
                <a:lnTo>
                  <a:pt x="24" y="88"/>
                </a:lnTo>
                <a:lnTo>
                  <a:pt x="24" y="86"/>
                </a:lnTo>
                <a:lnTo>
                  <a:pt x="25" y="86"/>
                </a:lnTo>
                <a:lnTo>
                  <a:pt x="25" y="83"/>
                </a:lnTo>
                <a:lnTo>
                  <a:pt x="27" y="82"/>
                </a:lnTo>
                <a:lnTo>
                  <a:pt x="28" y="83"/>
                </a:lnTo>
                <a:lnTo>
                  <a:pt x="29" y="83"/>
                </a:lnTo>
                <a:lnTo>
                  <a:pt x="30" y="84"/>
                </a:lnTo>
                <a:lnTo>
                  <a:pt x="30" y="83"/>
                </a:lnTo>
                <a:lnTo>
                  <a:pt x="29" y="83"/>
                </a:lnTo>
                <a:lnTo>
                  <a:pt x="29" y="82"/>
                </a:lnTo>
                <a:lnTo>
                  <a:pt x="30" y="82"/>
                </a:lnTo>
                <a:lnTo>
                  <a:pt x="29" y="80"/>
                </a:lnTo>
                <a:lnTo>
                  <a:pt x="28" y="80"/>
                </a:lnTo>
                <a:lnTo>
                  <a:pt x="27" y="79"/>
                </a:lnTo>
                <a:lnTo>
                  <a:pt x="27" y="78"/>
                </a:lnTo>
                <a:lnTo>
                  <a:pt x="30" y="78"/>
                </a:lnTo>
                <a:lnTo>
                  <a:pt x="31" y="79"/>
                </a:lnTo>
                <a:lnTo>
                  <a:pt x="42" y="79"/>
                </a:lnTo>
                <a:lnTo>
                  <a:pt x="42" y="80"/>
                </a:lnTo>
                <a:lnTo>
                  <a:pt x="47" y="80"/>
                </a:lnTo>
                <a:lnTo>
                  <a:pt x="47" y="79"/>
                </a:lnTo>
                <a:lnTo>
                  <a:pt x="48" y="79"/>
                </a:lnTo>
                <a:lnTo>
                  <a:pt x="50" y="80"/>
                </a:lnTo>
                <a:lnTo>
                  <a:pt x="52" y="80"/>
                </a:lnTo>
                <a:lnTo>
                  <a:pt x="52" y="82"/>
                </a:lnTo>
                <a:lnTo>
                  <a:pt x="53" y="82"/>
                </a:lnTo>
                <a:lnTo>
                  <a:pt x="53" y="84"/>
                </a:lnTo>
                <a:lnTo>
                  <a:pt x="54" y="84"/>
                </a:lnTo>
                <a:lnTo>
                  <a:pt x="54" y="85"/>
                </a:lnTo>
                <a:lnTo>
                  <a:pt x="53" y="85"/>
                </a:lnTo>
                <a:lnTo>
                  <a:pt x="53" y="86"/>
                </a:lnTo>
                <a:lnTo>
                  <a:pt x="55" y="88"/>
                </a:lnTo>
                <a:lnTo>
                  <a:pt x="56" y="89"/>
                </a:lnTo>
                <a:lnTo>
                  <a:pt x="56" y="86"/>
                </a:lnTo>
                <a:lnTo>
                  <a:pt x="58" y="86"/>
                </a:lnTo>
                <a:lnTo>
                  <a:pt x="59" y="85"/>
                </a:lnTo>
                <a:lnTo>
                  <a:pt x="59" y="84"/>
                </a:lnTo>
                <a:lnTo>
                  <a:pt x="60" y="83"/>
                </a:lnTo>
                <a:lnTo>
                  <a:pt x="60" y="82"/>
                </a:lnTo>
                <a:lnTo>
                  <a:pt x="61" y="80"/>
                </a:lnTo>
                <a:lnTo>
                  <a:pt x="64" y="82"/>
                </a:lnTo>
                <a:lnTo>
                  <a:pt x="67" y="82"/>
                </a:lnTo>
                <a:lnTo>
                  <a:pt x="67" y="83"/>
                </a:lnTo>
                <a:lnTo>
                  <a:pt x="71" y="83"/>
                </a:lnTo>
                <a:lnTo>
                  <a:pt x="72" y="82"/>
                </a:lnTo>
                <a:lnTo>
                  <a:pt x="73" y="83"/>
                </a:lnTo>
                <a:lnTo>
                  <a:pt x="77" y="83"/>
                </a:lnTo>
                <a:lnTo>
                  <a:pt x="78" y="84"/>
                </a:lnTo>
                <a:lnTo>
                  <a:pt x="78" y="85"/>
                </a:lnTo>
                <a:lnTo>
                  <a:pt x="79" y="85"/>
                </a:lnTo>
                <a:lnTo>
                  <a:pt x="79" y="86"/>
                </a:lnTo>
                <a:lnTo>
                  <a:pt x="80" y="88"/>
                </a:lnTo>
                <a:lnTo>
                  <a:pt x="81" y="86"/>
                </a:lnTo>
                <a:lnTo>
                  <a:pt x="80" y="85"/>
                </a:lnTo>
                <a:lnTo>
                  <a:pt x="80" y="84"/>
                </a:lnTo>
                <a:lnTo>
                  <a:pt x="78" y="84"/>
                </a:lnTo>
                <a:lnTo>
                  <a:pt x="78" y="83"/>
                </a:lnTo>
                <a:lnTo>
                  <a:pt x="79" y="83"/>
                </a:lnTo>
                <a:lnTo>
                  <a:pt x="79" y="82"/>
                </a:lnTo>
                <a:lnTo>
                  <a:pt x="84" y="82"/>
                </a:lnTo>
                <a:lnTo>
                  <a:pt x="83" y="80"/>
                </a:lnTo>
                <a:lnTo>
                  <a:pt x="80" y="80"/>
                </a:lnTo>
                <a:lnTo>
                  <a:pt x="80" y="78"/>
                </a:lnTo>
                <a:lnTo>
                  <a:pt x="81" y="79"/>
                </a:lnTo>
                <a:lnTo>
                  <a:pt x="83" y="79"/>
                </a:lnTo>
                <a:lnTo>
                  <a:pt x="83" y="78"/>
                </a:lnTo>
                <a:lnTo>
                  <a:pt x="77" y="78"/>
                </a:lnTo>
                <a:lnTo>
                  <a:pt x="77" y="76"/>
                </a:lnTo>
                <a:lnTo>
                  <a:pt x="78" y="76"/>
                </a:lnTo>
                <a:lnTo>
                  <a:pt x="79" y="75"/>
                </a:lnTo>
                <a:lnTo>
                  <a:pt x="84" y="71"/>
                </a:lnTo>
                <a:lnTo>
                  <a:pt x="85" y="71"/>
                </a:lnTo>
                <a:lnTo>
                  <a:pt x="85" y="69"/>
                </a:lnTo>
                <a:lnTo>
                  <a:pt x="86" y="70"/>
                </a:lnTo>
                <a:lnTo>
                  <a:pt x="87" y="69"/>
                </a:lnTo>
                <a:lnTo>
                  <a:pt x="89" y="69"/>
                </a:lnTo>
                <a:lnTo>
                  <a:pt x="92" y="67"/>
                </a:lnTo>
                <a:lnTo>
                  <a:pt x="95" y="66"/>
                </a:lnTo>
                <a:lnTo>
                  <a:pt x="96" y="66"/>
                </a:lnTo>
                <a:lnTo>
                  <a:pt x="96" y="65"/>
                </a:lnTo>
                <a:lnTo>
                  <a:pt x="93" y="65"/>
                </a:lnTo>
                <a:lnTo>
                  <a:pt x="93" y="64"/>
                </a:lnTo>
                <a:lnTo>
                  <a:pt x="96" y="63"/>
                </a:lnTo>
                <a:lnTo>
                  <a:pt x="96" y="60"/>
                </a:lnTo>
                <a:lnTo>
                  <a:pt x="97" y="59"/>
                </a:lnTo>
                <a:lnTo>
                  <a:pt x="97" y="58"/>
                </a:lnTo>
                <a:lnTo>
                  <a:pt x="98" y="58"/>
                </a:lnTo>
                <a:lnTo>
                  <a:pt x="99" y="55"/>
                </a:lnTo>
                <a:lnTo>
                  <a:pt x="99" y="54"/>
                </a:lnTo>
                <a:lnTo>
                  <a:pt x="98" y="55"/>
                </a:lnTo>
                <a:lnTo>
                  <a:pt x="97" y="55"/>
                </a:lnTo>
                <a:lnTo>
                  <a:pt x="95" y="57"/>
                </a:lnTo>
                <a:lnTo>
                  <a:pt x="93" y="58"/>
                </a:lnTo>
                <a:lnTo>
                  <a:pt x="92" y="58"/>
                </a:lnTo>
                <a:lnTo>
                  <a:pt x="92" y="55"/>
                </a:lnTo>
                <a:lnTo>
                  <a:pt x="91" y="55"/>
                </a:lnTo>
                <a:lnTo>
                  <a:pt x="90" y="58"/>
                </a:lnTo>
                <a:lnTo>
                  <a:pt x="89" y="58"/>
                </a:lnTo>
                <a:lnTo>
                  <a:pt x="89" y="57"/>
                </a:lnTo>
                <a:lnTo>
                  <a:pt x="86" y="57"/>
                </a:lnTo>
                <a:lnTo>
                  <a:pt x="86" y="55"/>
                </a:lnTo>
                <a:lnTo>
                  <a:pt x="85" y="57"/>
                </a:lnTo>
                <a:lnTo>
                  <a:pt x="85" y="58"/>
                </a:lnTo>
                <a:lnTo>
                  <a:pt x="84" y="58"/>
                </a:lnTo>
                <a:lnTo>
                  <a:pt x="84" y="57"/>
                </a:lnTo>
                <a:lnTo>
                  <a:pt x="81" y="57"/>
                </a:lnTo>
                <a:lnTo>
                  <a:pt x="80" y="58"/>
                </a:lnTo>
                <a:lnTo>
                  <a:pt x="79" y="57"/>
                </a:lnTo>
                <a:lnTo>
                  <a:pt x="75" y="57"/>
                </a:lnTo>
                <a:lnTo>
                  <a:pt x="75" y="55"/>
                </a:lnTo>
                <a:lnTo>
                  <a:pt x="72" y="54"/>
                </a:lnTo>
                <a:lnTo>
                  <a:pt x="71" y="54"/>
                </a:lnTo>
                <a:lnTo>
                  <a:pt x="72" y="53"/>
                </a:lnTo>
                <a:lnTo>
                  <a:pt x="71" y="52"/>
                </a:lnTo>
                <a:lnTo>
                  <a:pt x="72" y="51"/>
                </a:lnTo>
                <a:lnTo>
                  <a:pt x="73" y="51"/>
                </a:lnTo>
                <a:lnTo>
                  <a:pt x="73" y="49"/>
                </a:lnTo>
                <a:lnTo>
                  <a:pt x="77" y="47"/>
                </a:lnTo>
                <a:lnTo>
                  <a:pt x="78" y="46"/>
                </a:lnTo>
                <a:lnTo>
                  <a:pt x="81" y="46"/>
                </a:lnTo>
                <a:lnTo>
                  <a:pt x="84" y="47"/>
                </a:lnTo>
                <a:lnTo>
                  <a:pt x="85" y="47"/>
                </a:lnTo>
                <a:lnTo>
                  <a:pt x="83" y="46"/>
                </a:lnTo>
                <a:lnTo>
                  <a:pt x="81" y="45"/>
                </a:lnTo>
                <a:lnTo>
                  <a:pt x="85" y="45"/>
                </a:lnTo>
                <a:lnTo>
                  <a:pt x="85" y="46"/>
                </a:lnTo>
                <a:lnTo>
                  <a:pt x="86" y="47"/>
                </a:lnTo>
                <a:lnTo>
                  <a:pt x="87" y="47"/>
                </a:lnTo>
                <a:lnTo>
                  <a:pt x="84" y="43"/>
                </a:lnTo>
                <a:lnTo>
                  <a:pt x="81" y="42"/>
                </a:lnTo>
                <a:lnTo>
                  <a:pt x="83" y="41"/>
                </a:lnTo>
                <a:lnTo>
                  <a:pt x="84" y="41"/>
                </a:lnTo>
                <a:lnTo>
                  <a:pt x="84" y="40"/>
                </a:lnTo>
                <a:lnTo>
                  <a:pt x="85" y="41"/>
                </a:lnTo>
                <a:lnTo>
                  <a:pt x="89" y="41"/>
                </a:lnTo>
                <a:lnTo>
                  <a:pt x="89" y="37"/>
                </a:lnTo>
                <a:lnTo>
                  <a:pt x="91" y="39"/>
                </a:lnTo>
                <a:lnTo>
                  <a:pt x="91" y="37"/>
                </a:lnTo>
                <a:lnTo>
                  <a:pt x="90" y="36"/>
                </a:lnTo>
                <a:lnTo>
                  <a:pt x="89" y="36"/>
                </a:lnTo>
                <a:lnTo>
                  <a:pt x="89" y="37"/>
                </a:lnTo>
                <a:lnTo>
                  <a:pt x="87" y="37"/>
                </a:lnTo>
                <a:lnTo>
                  <a:pt x="85" y="35"/>
                </a:lnTo>
                <a:lnTo>
                  <a:pt x="85" y="33"/>
                </a:lnTo>
                <a:lnTo>
                  <a:pt x="86" y="34"/>
                </a:lnTo>
                <a:lnTo>
                  <a:pt x="87" y="34"/>
                </a:lnTo>
                <a:lnTo>
                  <a:pt x="89" y="33"/>
                </a:lnTo>
                <a:lnTo>
                  <a:pt x="87" y="33"/>
                </a:lnTo>
                <a:lnTo>
                  <a:pt x="86" y="32"/>
                </a:lnTo>
                <a:lnTo>
                  <a:pt x="85" y="29"/>
                </a:lnTo>
                <a:lnTo>
                  <a:pt x="87" y="29"/>
                </a:lnTo>
                <a:lnTo>
                  <a:pt x="87" y="27"/>
                </a:lnTo>
                <a:lnTo>
                  <a:pt x="89" y="27"/>
                </a:lnTo>
                <a:lnTo>
                  <a:pt x="90" y="24"/>
                </a:lnTo>
                <a:lnTo>
                  <a:pt x="90" y="27"/>
                </a:lnTo>
                <a:lnTo>
                  <a:pt x="91" y="27"/>
                </a:lnTo>
                <a:lnTo>
                  <a:pt x="91" y="21"/>
                </a:lnTo>
                <a:lnTo>
                  <a:pt x="92" y="18"/>
                </a:lnTo>
                <a:lnTo>
                  <a:pt x="92" y="17"/>
                </a:lnTo>
                <a:lnTo>
                  <a:pt x="93" y="17"/>
                </a:lnTo>
                <a:lnTo>
                  <a:pt x="96" y="18"/>
                </a:lnTo>
                <a:lnTo>
                  <a:pt x="97" y="18"/>
                </a:lnTo>
                <a:lnTo>
                  <a:pt x="98" y="17"/>
                </a:lnTo>
                <a:lnTo>
                  <a:pt x="98" y="20"/>
                </a:lnTo>
                <a:lnTo>
                  <a:pt x="102" y="16"/>
                </a:lnTo>
                <a:lnTo>
                  <a:pt x="103" y="16"/>
                </a:lnTo>
                <a:lnTo>
                  <a:pt x="104" y="15"/>
                </a:lnTo>
                <a:lnTo>
                  <a:pt x="104" y="14"/>
                </a:lnTo>
                <a:lnTo>
                  <a:pt x="105" y="12"/>
                </a:lnTo>
                <a:lnTo>
                  <a:pt x="106" y="14"/>
                </a:lnTo>
                <a:lnTo>
                  <a:pt x="106" y="15"/>
                </a:lnTo>
                <a:lnTo>
                  <a:pt x="104" y="16"/>
                </a:lnTo>
                <a:lnTo>
                  <a:pt x="108" y="16"/>
                </a:lnTo>
                <a:lnTo>
                  <a:pt x="109" y="15"/>
                </a:lnTo>
                <a:lnTo>
                  <a:pt x="109" y="17"/>
                </a:lnTo>
                <a:lnTo>
                  <a:pt x="110" y="17"/>
                </a:lnTo>
                <a:lnTo>
                  <a:pt x="110" y="20"/>
                </a:lnTo>
                <a:lnTo>
                  <a:pt x="111" y="18"/>
                </a:lnTo>
                <a:lnTo>
                  <a:pt x="111" y="16"/>
                </a:lnTo>
                <a:lnTo>
                  <a:pt x="110" y="15"/>
                </a:lnTo>
                <a:lnTo>
                  <a:pt x="110" y="14"/>
                </a:lnTo>
                <a:lnTo>
                  <a:pt x="112" y="11"/>
                </a:lnTo>
                <a:lnTo>
                  <a:pt x="114" y="11"/>
                </a:lnTo>
                <a:lnTo>
                  <a:pt x="112" y="15"/>
                </a:lnTo>
                <a:lnTo>
                  <a:pt x="112" y="16"/>
                </a:lnTo>
                <a:lnTo>
                  <a:pt x="114" y="16"/>
                </a:lnTo>
                <a:lnTo>
                  <a:pt x="114" y="15"/>
                </a:lnTo>
                <a:lnTo>
                  <a:pt x="115" y="16"/>
                </a:lnTo>
                <a:lnTo>
                  <a:pt x="116" y="16"/>
                </a:lnTo>
                <a:lnTo>
                  <a:pt x="116" y="17"/>
                </a:lnTo>
                <a:lnTo>
                  <a:pt x="117" y="17"/>
                </a:lnTo>
                <a:lnTo>
                  <a:pt x="117" y="21"/>
                </a:lnTo>
                <a:lnTo>
                  <a:pt x="118" y="20"/>
                </a:lnTo>
                <a:lnTo>
                  <a:pt x="118" y="17"/>
                </a:lnTo>
                <a:lnTo>
                  <a:pt x="117" y="16"/>
                </a:lnTo>
                <a:lnTo>
                  <a:pt x="117" y="14"/>
                </a:lnTo>
                <a:lnTo>
                  <a:pt x="116" y="12"/>
                </a:lnTo>
                <a:lnTo>
                  <a:pt x="116" y="16"/>
                </a:lnTo>
                <a:lnTo>
                  <a:pt x="115" y="15"/>
                </a:lnTo>
                <a:lnTo>
                  <a:pt x="114" y="15"/>
                </a:lnTo>
                <a:lnTo>
                  <a:pt x="114" y="14"/>
                </a:lnTo>
                <a:lnTo>
                  <a:pt x="115" y="11"/>
                </a:lnTo>
                <a:lnTo>
                  <a:pt x="115" y="10"/>
                </a:lnTo>
                <a:lnTo>
                  <a:pt x="116" y="11"/>
                </a:lnTo>
                <a:lnTo>
                  <a:pt x="118" y="9"/>
                </a:lnTo>
                <a:lnTo>
                  <a:pt x="120" y="9"/>
                </a:lnTo>
                <a:lnTo>
                  <a:pt x="120" y="10"/>
                </a:lnTo>
                <a:lnTo>
                  <a:pt x="121" y="10"/>
                </a:lnTo>
                <a:lnTo>
                  <a:pt x="121" y="15"/>
                </a:lnTo>
                <a:lnTo>
                  <a:pt x="122" y="16"/>
                </a:lnTo>
                <a:lnTo>
                  <a:pt x="122" y="17"/>
                </a:lnTo>
                <a:lnTo>
                  <a:pt x="123" y="18"/>
                </a:lnTo>
                <a:lnTo>
                  <a:pt x="124" y="18"/>
                </a:lnTo>
                <a:lnTo>
                  <a:pt x="124" y="22"/>
                </a:lnTo>
                <a:lnTo>
                  <a:pt x="122" y="24"/>
                </a:lnTo>
                <a:lnTo>
                  <a:pt x="120" y="26"/>
                </a:lnTo>
                <a:lnTo>
                  <a:pt x="123" y="26"/>
                </a:lnTo>
                <a:lnTo>
                  <a:pt x="122" y="28"/>
                </a:lnTo>
                <a:lnTo>
                  <a:pt x="120" y="29"/>
                </a:lnTo>
                <a:lnTo>
                  <a:pt x="118" y="32"/>
                </a:lnTo>
                <a:lnTo>
                  <a:pt x="118" y="33"/>
                </a:lnTo>
                <a:lnTo>
                  <a:pt x="123" y="28"/>
                </a:lnTo>
                <a:lnTo>
                  <a:pt x="124" y="28"/>
                </a:lnTo>
                <a:lnTo>
                  <a:pt x="124" y="27"/>
                </a:lnTo>
                <a:lnTo>
                  <a:pt x="126" y="27"/>
                </a:lnTo>
                <a:lnTo>
                  <a:pt x="127" y="26"/>
                </a:lnTo>
                <a:lnTo>
                  <a:pt x="128" y="26"/>
                </a:lnTo>
                <a:lnTo>
                  <a:pt x="128" y="23"/>
                </a:lnTo>
                <a:lnTo>
                  <a:pt x="127" y="22"/>
                </a:lnTo>
                <a:lnTo>
                  <a:pt x="127" y="18"/>
                </a:lnTo>
                <a:lnTo>
                  <a:pt x="126" y="16"/>
                </a:lnTo>
                <a:lnTo>
                  <a:pt x="123" y="14"/>
                </a:lnTo>
                <a:lnTo>
                  <a:pt x="123" y="12"/>
                </a:lnTo>
                <a:lnTo>
                  <a:pt x="124" y="12"/>
                </a:lnTo>
                <a:lnTo>
                  <a:pt x="124" y="8"/>
                </a:lnTo>
                <a:lnTo>
                  <a:pt x="126" y="8"/>
                </a:lnTo>
                <a:lnTo>
                  <a:pt x="127" y="9"/>
                </a:lnTo>
                <a:lnTo>
                  <a:pt x="127" y="6"/>
                </a:lnTo>
                <a:lnTo>
                  <a:pt x="128" y="8"/>
                </a:lnTo>
                <a:lnTo>
                  <a:pt x="129" y="8"/>
                </a:lnTo>
                <a:lnTo>
                  <a:pt x="131" y="6"/>
                </a:lnTo>
                <a:lnTo>
                  <a:pt x="133" y="6"/>
                </a:lnTo>
                <a:lnTo>
                  <a:pt x="134" y="8"/>
                </a:lnTo>
                <a:lnTo>
                  <a:pt x="133" y="8"/>
                </a:lnTo>
                <a:lnTo>
                  <a:pt x="133" y="9"/>
                </a:lnTo>
                <a:lnTo>
                  <a:pt x="136" y="9"/>
                </a:lnTo>
                <a:lnTo>
                  <a:pt x="133" y="6"/>
                </a:lnTo>
                <a:lnTo>
                  <a:pt x="131" y="4"/>
                </a:lnTo>
                <a:lnTo>
                  <a:pt x="131" y="3"/>
                </a:lnTo>
                <a:lnTo>
                  <a:pt x="130" y="2"/>
                </a:lnTo>
                <a:lnTo>
                  <a:pt x="129" y="2"/>
                </a:lnTo>
                <a:lnTo>
                  <a:pt x="13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" name="Freeform 37">
            <a:extLst>
              <a:ext uri="{FF2B5EF4-FFF2-40B4-BE49-F238E27FC236}">
                <a16:creationId xmlns:a16="http://schemas.microsoft.com/office/drawing/2014/main" id="{C9EF10BC-D78A-4FA4-8C32-20C9A15C817D}"/>
              </a:ext>
            </a:extLst>
          </p:cNvPr>
          <p:cNvSpPr>
            <a:spLocks noEditPoints="1"/>
          </p:cNvSpPr>
          <p:nvPr/>
        </p:nvSpPr>
        <p:spPr bwMode="auto">
          <a:xfrm>
            <a:off x="2215526" y="4850905"/>
            <a:ext cx="414397" cy="253565"/>
          </a:xfrm>
          <a:custGeom>
            <a:avLst/>
            <a:gdLst/>
            <a:ahLst/>
            <a:cxnLst>
              <a:cxn ang="0">
                <a:pos x="199" y="0"/>
              </a:cxn>
              <a:cxn ang="0">
                <a:pos x="214" y="3"/>
              </a:cxn>
              <a:cxn ang="0">
                <a:pos x="223" y="1"/>
              </a:cxn>
              <a:cxn ang="0">
                <a:pos x="232" y="4"/>
              </a:cxn>
              <a:cxn ang="0">
                <a:pos x="245" y="13"/>
              </a:cxn>
              <a:cxn ang="0">
                <a:pos x="261" y="10"/>
              </a:cxn>
              <a:cxn ang="0">
                <a:pos x="266" y="21"/>
              </a:cxn>
              <a:cxn ang="0">
                <a:pos x="274" y="28"/>
              </a:cxn>
              <a:cxn ang="0">
                <a:pos x="285" y="31"/>
              </a:cxn>
              <a:cxn ang="0">
                <a:pos x="286" y="40"/>
              </a:cxn>
              <a:cxn ang="0">
                <a:pos x="271" y="51"/>
              </a:cxn>
              <a:cxn ang="0">
                <a:pos x="256" y="59"/>
              </a:cxn>
              <a:cxn ang="0">
                <a:pos x="245" y="76"/>
              </a:cxn>
              <a:cxn ang="0">
                <a:pos x="239" y="89"/>
              </a:cxn>
              <a:cxn ang="0">
                <a:pos x="235" y="98"/>
              </a:cxn>
              <a:cxn ang="0">
                <a:pos x="231" y="108"/>
              </a:cxn>
              <a:cxn ang="0">
                <a:pos x="229" y="117"/>
              </a:cxn>
              <a:cxn ang="0">
                <a:pos x="219" y="127"/>
              </a:cxn>
              <a:cxn ang="0">
                <a:pos x="214" y="136"/>
              </a:cxn>
              <a:cxn ang="0">
                <a:pos x="208" y="145"/>
              </a:cxn>
              <a:cxn ang="0">
                <a:pos x="201" y="143"/>
              </a:cxn>
              <a:cxn ang="0">
                <a:pos x="194" y="150"/>
              </a:cxn>
              <a:cxn ang="0">
                <a:pos x="176" y="150"/>
              </a:cxn>
              <a:cxn ang="0">
                <a:pos x="164" y="150"/>
              </a:cxn>
              <a:cxn ang="0">
                <a:pos x="151" y="149"/>
              </a:cxn>
              <a:cxn ang="0">
                <a:pos x="142" y="154"/>
              </a:cxn>
              <a:cxn ang="0">
                <a:pos x="134" y="158"/>
              </a:cxn>
              <a:cxn ang="0">
                <a:pos x="125" y="158"/>
              </a:cxn>
              <a:cxn ang="0">
                <a:pos x="114" y="166"/>
              </a:cxn>
              <a:cxn ang="0">
                <a:pos x="107" y="167"/>
              </a:cxn>
              <a:cxn ang="0">
                <a:pos x="96" y="175"/>
              </a:cxn>
              <a:cxn ang="0">
                <a:pos x="75" y="173"/>
              </a:cxn>
              <a:cxn ang="0">
                <a:pos x="56" y="163"/>
              </a:cxn>
              <a:cxn ang="0">
                <a:pos x="50" y="157"/>
              </a:cxn>
              <a:cxn ang="0">
                <a:pos x="37" y="147"/>
              </a:cxn>
              <a:cxn ang="0">
                <a:pos x="27" y="135"/>
              </a:cxn>
              <a:cxn ang="0">
                <a:pos x="20" y="131"/>
              </a:cxn>
              <a:cxn ang="0">
                <a:pos x="12" y="121"/>
              </a:cxn>
              <a:cxn ang="0">
                <a:pos x="9" y="111"/>
              </a:cxn>
              <a:cxn ang="0">
                <a:pos x="3" y="104"/>
              </a:cxn>
              <a:cxn ang="0">
                <a:pos x="13" y="98"/>
              </a:cxn>
              <a:cxn ang="0">
                <a:pos x="16" y="94"/>
              </a:cxn>
              <a:cxn ang="0">
                <a:pos x="14" y="87"/>
              </a:cxn>
              <a:cxn ang="0">
                <a:pos x="14" y="77"/>
              </a:cxn>
              <a:cxn ang="0">
                <a:pos x="22" y="68"/>
              </a:cxn>
              <a:cxn ang="0">
                <a:pos x="20" y="59"/>
              </a:cxn>
              <a:cxn ang="0">
                <a:pos x="18" y="55"/>
              </a:cxn>
              <a:cxn ang="0">
                <a:pos x="25" y="52"/>
              </a:cxn>
              <a:cxn ang="0">
                <a:pos x="32" y="56"/>
              </a:cxn>
              <a:cxn ang="0">
                <a:pos x="39" y="46"/>
              </a:cxn>
              <a:cxn ang="0">
                <a:pos x="43" y="39"/>
              </a:cxn>
              <a:cxn ang="0">
                <a:pos x="52" y="35"/>
              </a:cxn>
              <a:cxn ang="0">
                <a:pos x="65" y="47"/>
              </a:cxn>
              <a:cxn ang="0">
                <a:pos x="103" y="49"/>
              </a:cxn>
              <a:cxn ang="0">
                <a:pos x="115" y="46"/>
              </a:cxn>
              <a:cxn ang="0">
                <a:pos x="120" y="32"/>
              </a:cxn>
              <a:cxn ang="0">
                <a:pos x="143" y="27"/>
              </a:cxn>
              <a:cxn ang="0">
                <a:pos x="151" y="24"/>
              </a:cxn>
              <a:cxn ang="0">
                <a:pos x="164" y="26"/>
              </a:cxn>
              <a:cxn ang="0">
                <a:pos x="170" y="20"/>
              </a:cxn>
              <a:cxn ang="0">
                <a:pos x="182" y="9"/>
              </a:cxn>
              <a:cxn ang="0">
                <a:pos x="189" y="2"/>
              </a:cxn>
            </a:cxnLst>
            <a:rect l="0" t="0" r="r" b="b"/>
            <a:pathLst>
              <a:path w="286" h="175">
                <a:moveTo>
                  <a:pt x="121" y="163"/>
                </a:moveTo>
                <a:lnTo>
                  <a:pt x="123" y="163"/>
                </a:lnTo>
                <a:lnTo>
                  <a:pt x="123" y="164"/>
                </a:lnTo>
                <a:lnTo>
                  <a:pt x="121" y="164"/>
                </a:lnTo>
                <a:lnTo>
                  <a:pt x="121" y="163"/>
                </a:lnTo>
                <a:close/>
                <a:moveTo>
                  <a:pt x="198" y="0"/>
                </a:moveTo>
                <a:lnTo>
                  <a:pt x="199" y="0"/>
                </a:lnTo>
                <a:lnTo>
                  <a:pt x="200" y="1"/>
                </a:lnTo>
                <a:lnTo>
                  <a:pt x="202" y="1"/>
                </a:lnTo>
                <a:lnTo>
                  <a:pt x="205" y="3"/>
                </a:lnTo>
                <a:lnTo>
                  <a:pt x="210" y="3"/>
                </a:lnTo>
                <a:lnTo>
                  <a:pt x="211" y="4"/>
                </a:lnTo>
                <a:lnTo>
                  <a:pt x="212" y="4"/>
                </a:lnTo>
                <a:lnTo>
                  <a:pt x="214" y="3"/>
                </a:lnTo>
                <a:lnTo>
                  <a:pt x="218" y="3"/>
                </a:lnTo>
                <a:lnTo>
                  <a:pt x="218" y="4"/>
                </a:lnTo>
                <a:lnTo>
                  <a:pt x="219" y="3"/>
                </a:lnTo>
                <a:lnTo>
                  <a:pt x="219" y="2"/>
                </a:lnTo>
                <a:lnTo>
                  <a:pt x="220" y="2"/>
                </a:lnTo>
                <a:lnTo>
                  <a:pt x="220" y="1"/>
                </a:lnTo>
                <a:lnTo>
                  <a:pt x="223" y="1"/>
                </a:lnTo>
                <a:lnTo>
                  <a:pt x="225" y="0"/>
                </a:lnTo>
                <a:lnTo>
                  <a:pt x="225" y="1"/>
                </a:lnTo>
                <a:lnTo>
                  <a:pt x="227" y="1"/>
                </a:lnTo>
                <a:lnTo>
                  <a:pt x="227" y="2"/>
                </a:lnTo>
                <a:lnTo>
                  <a:pt x="229" y="2"/>
                </a:lnTo>
                <a:lnTo>
                  <a:pt x="229" y="4"/>
                </a:lnTo>
                <a:lnTo>
                  <a:pt x="232" y="4"/>
                </a:lnTo>
                <a:lnTo>
                  <a:pt x="232" y="6"/>
                </a:lnTo>
                <a:lnTo>
                  <a:pt x="233" y="8"/>
                </a:lnTo>
                <a:lnTo>
                  <a:pt x="236" y="12"/>
                </a:lnTo>
                <a:lnTo>
                  <a:pt x="239" y="15"/>
                </a:lnTo>
                <a:lnTo>
                  <a:pt x="240" y="14"/>
                </a:lnTo>
                <a:lnTo>
                  <a:pt x="243" y="13"/>
                </a:lnTo>
                <a:lnTo>
                  <a:pt x="245" y="13"/>
                </a:lnTo>
                <a:lnTo>
                  <a:pt x="246" y="12"/>
                </a:lnTo>
                <a:lnTo>
                  <a:pt x="254" y="12"/>
                </a:lnTo>
                <a:lnTo>
                  <a:pt x="255" y="10"/>
                </a:lnTo>
                <a:lnTo>
                  <a:pt x="256" y="10"/>
                </a:lnTo>
                <a:lnTo>
                  <a:pt x="256" y="9"/>
                </a:lnTo>
                <a:lnTo>
                  <a:pt x="260" y="9"/>
                </a:lnTo>
                <a:lnTo>
                  <a:pt x="261" y="10"/>
                </a:lnTo>
                <a:lnTo>
                  <a:pt x="260" y="12"/>
                </a:lnTo>
                <a:lnTo>
                  <a:pt x="260" y="13"/>
                </a:lnTo>
                <a:lnTo>
                  <a:pt x="262" y="13"/>
                </a:lnTo>
                <a:lnTo>
                  <a:pt x="262" y="18"/>
                </a:lnTo>
                <a:lnTo>
                  <a:pt x="264" y="20"/>
                </a:lnTo>
                <a:lnTo>
                  <a:pt x="264" y="21"/>
                </a:lnTo>
                <a:lnTo>
                  <a:pt x="266" y="21"/>
                </a:lnTo>
                <a:lnTo>
                  <a:pt x="266" y="20"/>
                </a:lnTo>
                <a:lnTo>
                  <a:pt x="267" y="21"/>
                </a:lnTo>
                <a:lnTo>
                  <a:pt x="268" y="21"/>
                </a:lnTo>
                <a:lnTo>
                  <a:pt x="269" y="20"/>
                </a:lnTo>
                <a:lnTo>
                  <a:pt x="273" y="25"/>
                </a:lnTo>
                <a:lnTo>
                  <a:pt x="273" y="26"/>
                </a:lnTo>
                <a:lnTo>
                  <a:pt x="274" y="28"/>
                </a:lnTo>
                <a:lnTo>
                  <a:pt x="274" y="30"/>
                </a:lnTo>
                <a:lnTo>
                  <a:pt x="279" y="30"/>
                </a:lnTo>
                <a:lnTo>
                  <a:pt x="280" y="28"/>
                </a:lnTo>
                <a:lnTo>
                  <a:pt x="281" y="28"/>
                </a:lnTo>
                <a:lnTo>
                  <a:pt x="281" y="30"/>
                </a:lnTo>
                <a:lnTo>
                  <a:pt x="283" y="30"/>
                </a:lnTo>
                <a:lnTo>
                  <a:pt x="285" y="31"/>
                </a:lnTo>
                <a:lnTo>
                  <a:pt x="285" y="32"/>
                </a:lnTo>
                <a:lnTo>
                  <a:pt x="286" y="33"/>
                </a:lnTo>
                <a:lnTo>
                  <a:pt x="286" y="34"/>
                </a:lnTo>
                <a:lnTo>
                  <a:pt x="285" y="35"/>
                </a:lnTo>
                <a:lnTo>
                  <a:pt x="285" y="38"/>
                </a:lnTo>
                <a:lnTo>
                  <a:pt x="286" y="39"/>
                </a:lnTo>
                <a:lnTo>
                  <a:pt x="286" y="40"/>
                </a:lnTo>
                <a:lnTo>
                  <a:pt x="283" y="43"/>
                </a:lnTo>
                <a:lnTo>
                  <a:pt x="282" y="43"/>
                </a:lnTo>
                <a:lnTo>
                  <a:pt x="281" y="44"/>
                </a:lnTo>
                <a:lnTo>
                  <a:pt x="281" y="46"/>
                </a:lnTo>
                <a:lnTo>
                  <a:pt x="280" y="46"/>
                </a:lnTo>
                <a:lnTo>
                  <a:pt x="275" y="51"/>
                </a:lnTo>
                <a:lnTo>
                  <a:pt x="271" y="51"/>
                </a:lnTo>
                <a:lnTo>
                  <a:pt x="268" y="49"/>
                </a:lnTo>
                <a:lnTo>
                  <a:pt x="267" y="50"/>
                </a:lnTo>
                <a:lnTo>
                  <a:pt x="267" y="52"/>
                </a:lnTo>
                <a:lnTo>
                  <a:pt x="262" y="52"/>
                </a:lnTo>
                <a:lnTo>
                  <a:pt x="257" y="57"/>
                </a:lnTo>
                <a:lnTo>
                  <a:pt x="257" y="58"/>
                </a:lnTo>
                <a:lnTo>
                  <a:pt x="256" y="59"/>
                </a:lnTo>
                <a:lnTo>
                  <a:pt x="256" y="62"/>
                </a:lnTo>
                <a:lnTo>
                  <a:pt x="251" y="64"/>
                </a:lnTo>
                <a:lnTo>
                  <a:pt x="250" y="67"/>
                </a:lnTo>
                <a:lnTo>
                  <a:pt x="249" y="68"/>
                </a:lnTo>
                <a:lnTo>
                  <a:pt x="249" y="75"/>
                </a:lnTo>
                <a:lnTo>
                  <a:pt x="246" y="76"/>
                </a:lnTo>
                <a:lnTo>
                  <a:pt x="245" y="76"/>
                </a:lnTo>
                <a:lnTo>
                  <a:pt x="245" y="77"/>
                </a:lnTo>
                <a:lnTo>
                  <a:pt x="243" y="80"/>
                </a:lnTo>
                <a:lnTo>
                  <a:pt x="243" y="83"/>
                </a:lnTo>
                <a:lnTo>
                  <a:pt x="242" y="84"/>
                </a:lnTo>
                <a:lnTo>
                  <a:pt x="242" y="88"/>
                </a:lnTo>
                <a:lnTo>
                  <a:pt x="240" y="89"/>
                </a:lnTo>
                <a:lnTo>
                  <a:pt x="239" y="89"/>
                </a:lnTo>
                <a:lnTo>
                  <a:pt x="239" y="92"/>
                </a:lnTo>
                <a:lnTo>
                  <a:pt x="238" y="93"/>
                </a:lnTo>
                <a:lnTo>
                  <a:pt x="236" y="94"/>
                </a:lnTo>
                <a:lnTo>
                  <a:pt x="236" y="95"/>
                </a:lnTo>
                <a:lnTo>
                  <a:pt x="233" y="96"/>
                </a:lnTo>
                <a:lnTo>
                  <a:pt x="233" y="98"/>
                </a:lnTo>
                <a:lnTo>
                  <a:pt x="235" y="98"/>
                </a:lnTo>
                <a:lnTo>
                  <a:pt x="236" y="99"/>
                </a:lnTo>
                <a:lnTo>
                  <a:pt x="235" y="99"/>
                </a:lnTo>
                <a:lnTo>
                  <a:pt x="235" y="102"/>
                </a:lnTo>
                <a:lnTo>
                  <a:pt x="232" y="104"/>
                </a:lnTo>
                <a:lnTo>
                  <a:pt x="232" y="107"/>
                </a:lnTo>
                <a:lnTo>
                  <a:pt x="231" y="107"/>
                </a:lnTo>
                <a:lnTo>
                  <a:pt x="231" y="108"/>
                </a:lnTo>
                <a:lnTo>
                  <a:pt x="230" y="108"/>
                </a:lnTo>
                <a:lnTo>
                  <a:pt x="229" y="110"/>
                </a:lnTo>
                <a:lnTo>
                  <a:pt x="227" y="113"/>
                </a:lnTo>
                <a:lnTo>
                  <a:pt x="226" y="114"/>
                </a:lnTo>
                <a:lnTo>
                  <a:pt x="227" y="114"/>
                </a:lnTo>
                <a:lnTo>
                  <a:pt x="229" y="115"/>
                </a:lnTo>
                <a:lnTo>
                  <a:pt x="229" y="117"/>
                </a:lnTo>
                <a:lnTo>
                  <a:pt x="227" y="118"/>
                </a:lnTo>
                <a:lnTo>
                  <a:pt x="225" y="118"/>
                </a:lnTo>
                <a:lnTo>
                  <a:pt x="225" y="120"/>
                </a:lnTo>
                <a:lnTo>
                  <a:pt x="224" y="121"/>
                </a:lnTo>
                <a:lnTo>
                  <a:pt x="220" y="121"/>
                </a:lnTo>
                <a:lnTo>
                  <a:pt x="219" y="123"/>
                </a:lnTo>
                <a:lnTo>
                  <a:pt x="219" y="127"/>
                </a:lnTo>
                <a:lnTo>
                  <a:pt x="218" y="127"/>
                </a:lnTo>
                <a:lnTo>
                  <a:pt x="218" y="130"/>
                </a:lnTo>
                <a:lnTo>
                  <a:pt x="219" y="132"/>
                </a:lnTo>
                <a:lnTo>
                  <a:pt x="219" y="133"/>
                </a:lnTo>
                <a:lnTo>
                  <a:pt x="218" y="135"/>
                </a:lnTo>
                <a:lnTo>
                  <a:pt x="215" y="135"/>
                </a:lnTo>
                <a:lnTo>
                  <a:pt x="214" y="136"/>
                </a:lnTo>
                <a:lnTo>
                  <a:pt x="214" y="139"/>
                </a:lnTo>
                <a:lnTo>
                  <a:pt x="213" y="141"/>
                </a:lnTo>
                <a:lnTo>
                  <a:pt x="213" y="143"/>
                </a:lnTo>
                <a:lnTo>
                  <a:pt x="212" y="142"/>
                </a:lnTo>
                <a:lnTo>
                  <a:pt x="211" y="143"/>
                </a:lnTo>
                <a:lnTo>
                  <a:pt x="210" y="145"/>
                </a:lnTo>
                <a:lnTo>
                  <a:pt x="208" y="145"/>
                </a:lnTo>
                <a:lnTo>
                  <a:pt x="207" y="144"/>
                </a:lnTo>
                <a:lnTo>
                  <a:pt x="205" y="144"/>
                </a:lnTo>
                <a:lnTo>
                  <a:pt x="204" y="143"/>
                </a:lnTo>
                <a:lnTo>
                  <a:pt x="202" y="143"/>
                </a:lnTo>
                <a:lnTo>
                  <a:pt x="202" y="144"/>
                </a:lnTo>
                <a:lnTo>
                  <a:pt x="201" y="144"/>
                </a:lnTo>
                <a:lnTo>
                  <a:pt x="201" y="143"/>
                </a:lnTo>
                <a:lnTo>
                  <a:pt x="198" y="143"/>
                </a:lnTo>
                <a:lnTo>
                  <a:pt x="196" y="145"/>
                </a:lnTo>
                <a:lnTo>
                  <a:pt x="195" y="145"/>
                </a:lnTo>
                <a:lnTo>
                  <a:pt x="196" y="147"/>
                </a:lnTo>
                <a:lnTo>
                  <a:pt x="196" y="148"/>
                </a:lnTo>
                <a:lnTo>
                  <a:pt x="194" y="148"/>
                </a:lnTo>
                <a:lnTo>
                  <a:pt x="194" y="150"/>
                </a:lnTo>
                <a:lnTo>
                  <a:pt x="193" y="151"/>
                </a:lnTo>
                <a:lnTo>
                  <a:pt x="189" y="151"/>
                </a:lnTo>
                <a:lnTo>
                  <a:pt x="188" y="150"/>
                </a:lnTo>
                <a:lnTo>
                  <a:pt x="186" y="149"/>
                </a:lnTo>
                <a:lnTo>
                  <a:pt x="184" y="149"/>
                </a:lnTo>
                <a:lnTo>
                  <a:pt x="183" y="150"/>
                </a:lnTo>
                <a:lnTo>
                  <a:pt x="176" y="150"/>
                </a:lnTo>
                <a:lnTo>
                  <a:pt x="175" y="153"/>
                </a:lnTo>
                <a:lnTo>
                  <a:pt x="173" y="151"/>
                </a:lnTo>
                <a:lnTo>
                  <a:pt x="171" y="150"/>
                </a:lnTo>
                <a:lnTo>
                  <a:pt x="171" y="151"/>
                </a:lnTo>
                <a:lnTo>
                  <a:pt x="170" y="151"/>
                </a:lnTo>
                <a:lnTo>
                  <a:pt x="170" y="150"/>
                </a:lnTo>
                <a:lnTo>
                  <a:pt x="164" y="150"/>
                </a:lnTo>
                <a:lnTo>
                  <a:pt x="162" y="149"/>
                </a:lnTo>
                <a:lnTo>
                  <a:pt x="161" y="150"/>
                </a:lnTo>
                <a:lnTo>
                  <a:pt x="159" y="150"/>
                </a:lnTo>
                <a:lnTo>
                  <a:pt x="156" y="151"/>
                </a:lnTo>
                <a:lnTo>
                  <a:pt x="155" y="151"/>
                </a:lnTo>
                <a:lnTo>
                  <a:pt x="152" y="150"/>
                </a:lnTo>
                <a:lnTo>
                  <a:pt x="151" y="149"/>
                </a:lnTo>
                <a:lnTo>
                  <a:pt x="146" y="149"/>
                </a:lnTo>
                <a:lnTo>
                  <a:pt x="145" y="150"/>
                </a:lnTo>
                <a:lnTo>
                  <a:pt x="144" y="150"/>
                </a:lnTo>
                <a:lnTo>
                  <a:pt x="143" y="151"/>
                </a:lnTo>
                <a:lnTo>
                  <a:pt x="144" y="153"/>
                </a:lnTo>
                <a:lnTo>
                  <a:pt x="143" y="154"/>
                </a:lnTo>
                <a:lnTo>
                  <a:pt x="142" y="154"/>
                </a:lnTo>
                <a:lnTo>
                  <a:pt x="142" y="155"/>
                </a:lnTo>
                <a:lnTo>
                  <a:pt x="140" y="155"/>
                </a:lnTo>
                <a:lnTo>
                  <a:pt x="139" y="156"/>
                </a:lnTo>
                <a:lnTo>
                  <a:pt x="139" y="157"/>
                </a:lnTo>
                <a:lnTo>
                  <a:pt x="136" y="157"/>
                </a:lnTo>
                <a:lnTo>
                  <a:pt x="136" y="158"/>
                </a:lnTo>
                <a:lnTo>
                  <a:pt x="134" y="158"/>
                </a:lnTo>
                <a:lnTo>
                  <a:pt x="134" y="160"/>
                </a:lnTo>
                <a:lnTo>
                  <a:pt x="133" y="161"/>
                </a:lnTo>
                <a:lnTo>
                  <a:pt x="132" y="161"/>
                </a:lnTo>
                <a:lnTo>
                  <a:pt x="128" y="160"/>
                </a:lnTo>
                <a:lnTo>
                  <a:pt x="127" y="160"/>
                </a:lnTo>
                <a:lnTo>
                  <a:pt x="127" y="158"/>
                </a:lnTo>
                <a:lnTo>
                  <a:pt x="125" y="158"/>
                </a:lnTo>
                <a:lnTo>
                  <a:pt x="125" y="162"/>
                </a:lnTo>
                <a:lnTo>
                  <a:pt x="121" y="162"/>
                </a:lnTo>
                <a:lnTo>
                  <a:pt x="121" y="163"/>
                </a:lnTo>
                <a:lnTo>
                  <a:pt x="118" y="163"/>
                </a:lnTo>
                <a:lnTo>
                  <a:pt x="118" y="164"/>
                </a:lnTo>
                <a:lnTo>
                  <a:pt x="114" y="164"/>
                </a:lnTo>
                <a:lnTo>
                  <a:pt x="114" y="166"/>
                </a:lnTo>
                <a:lnTo>
                  <a:pt x="113" y="166"/>
                </a:lnTo>
                <a:lnTo>
                  <a:pt x="113" y="167"/>
                </a:lnTo>
                <a:lnTo>
                  <a:pt x="111" y="166"/>
                </a:lnTo>
                <a:lnTo>
                  <a:pt x="109" y="164"/>
                </a:lnTo>
                <a:lnTo>
                  <a:pt x="108" y="164"/>
                </a:lnTo>
                <a:lnTo>
                  <a:pt x="107" y="166"/>
                </a:lnTo>
                <a:lnTo>
                  <a:pt x="107" y="167"/>
                </a:lnTo>
                <a:lnTo>
                  <a:pt x="105" y="169"/>
                </a:lnTo>
                <a:lnTo>
                  <a:pt x="105" y="170"/>
                </a:lnTo>
                <a:lnTo>
                  <a:pt x="102" y="172"/>
                </a:lnTo>
                <a:lnTo>
                  <a:pt x="101" y="173"/>
                </a:lnTo>
                <a:lnTo>
                  <a:pt x="101" y="172"/>
                </a:lnTo>
                <a:lnTo>
                  <a:pt x="97" y="175"/>
                </a:lnTo>
                <a:lnTo>
                  <a:pt x="96" y="175"/>
                </a:lnTo>
                <a:lnTo>
                  <a:pt x="96" y="174"/>
                </a:lnTo>
                <a:lnTo>
                  <a:pt x="92" y="174"/>
                </a:lnTo>
                <a:lnTo>
                  <a:pt x="90" y="173"/>
                </a:lnTo>
                <a:lnTo>
                  <a:pt x="83" y="173"/>
                </a:lnTo>
                <a:lnTo>
                  <a:pt x="80" y="172"/>
                </a:lnTo>
                <a:lnTo>
                  <a:pt x="75" y="172"/>
                </a:lnTo>
                <a:lnTo>
                  <a:pt x="75" y="173"/>
                </a:lnTo>
                <a:lnTo>
                  <a:pt x="72" y="170"/>
                </a:lnTo>
                <a:lnTo>
                  <a:pt x="68" y="169"/>
                </a:lnTo>
                <a:lnTo>
                  <a:pt x="65" y="169"/>
                </a:lnTo>
                <a:lnTo>
                  <a:pt x="65" y="166"/>
                </a:lnTo>
                <a:lnTo>
                  <a:pt x="62" y="162"/>
                </a:lnTo>
                <a:lnTo>
                  <a:pt x="56" y="162"/>
                </a:lnTo>
                <a:lnTo>
                  <a:pt x="56" y="163"/>
                </a:lnTo>
                <a:lnTo>
                  <a:pt x="55" y="162"/>
                </a:lnTo>
                <a:lnTo>
                  <a:pt x="52" y="162"/>
                </a:lnTo>
                <a:lnTo>
                  <a:pt x="52" y="161"/>
                </a:lnTo>
                <a:lnTo>
                  <a:pt x="51" y="161"/>
                </a:lnTo>
                <a:lnTo>
                  <a:pt x="51" y="158"/>
                </a:lnTo>
                <a:lnTo>
                  <a:pt x="50" y="158"/>
                </a:lnTo>
                <a:lnTo>
                  <a:pt x="50" y="157"/>
                </a:lnTo>
                <a:lnTo>
                  <a:pt x="47" y="153"/>
                </a:lnTo>
                <a:lnTo>
                  <a:pt x="46" y="153"/>
                </a:lnTo>
                <a:lnTo>
                  <a:pt x="43" y="151"/>
                </a:lnTo>
                <a:lnTo>
                  <a:pt x="40" y="150"/>
                </a:lnTo>
                <a:lnTo>
                  <a:pt x="40" y="149"/>
                </a:lnTo>
                <a:lnTo>
                  <a:pt x="39" y="149"/>
                </a:lnTo>
                <a:lnTo>
                  <a:pt x="37" y="147"/>
                </a:lnTo>
                <a:lnTo>
                  <a:pt x="34" y="142"/>
                </a:lnTo>
                <a:lnTo>
                  <a:pt x="33" y="142"/>
                </a:lnTo>
                <a:lnTo>
                  <a:pt x="33" y="138"/>
                </a:lnTo>
                <a:lnTo>
                  <a:pt x="32" y="137"/>
                </a:lnTo>
                <a:lnTo>
                  <a:pt x="32" y="136"/>
                </a:lnTo>
                <a:lnTo>
                  <a:pt x="28" y="136"/>
                </a:lnTo>
                <a:lnTo>
                  <a:pt x="27" y="135"/>
                </a:lnTo>
                <a:lnTo>
                  <a:pt x="26" y="135"/>
                </a:lnTo>
                <a:lnTo>
                  <a:pt x="25" y="133"/>
                </a:lnTo>
                <a:lnTo>
                  <a:pt x="25" y="132"/>
                </a:lnTo>
                <a:lnTo>
                  <a:pt x="22" y="130"/>
                </a:lnTo>
                <a:lnTo>
                  <a:pt x="21" y="130"/>
                </a:lnTo>
                <a:lnTo>
                  <a:pt x="21" y="131"/>
                </a:lnTo>
                <a:lnTo>
                  <a:pt x="20" y="131"/>
                </a:lnTo>
                <a:lnTo>
                  <a:pt x="20" y="130"/>
                </a:lnTo>
                <a:lnTo>
                  <a:pt x="18" y="129"/>
                </a:lnTo>
                <a:lnTo>
                  <a:pt x="18" y="126"/>
                </a:lnTo>
                <a:lnTo>
                  <a:pt x="15" y="125"/>
                </a:lnTo>
                <a:lnTo>
                  <a:pt x="14" y="123"/>
                </a:lnTo>
                <a:lnTo>
                  <a:pt x="13" y="121"/>
                </a:lnTo>
                <a:lnTo>
                  <a:pt x="12" y="121"/>
                </a:lnTo>
                <a:lnTo>
                  <a:pt x="12" y="119"/>
                </a:lnTo>
                <a:lnTo>
                  <a:pt x="13" y="119"/>
                </a:lnTo>
                <a:lnTo>
                  <a:pt x="13" y="117"/>
                </a:lnTo>
                <a:lnTo>
                  <a:pt x="12" y="117"/>
                </a:lnTo>
                <a:lnTo>
                  <a:pt x="9" y="114"/>
                </a:lnTo>
                <a:lnTo>
                  <a:pt x="8" y="112"/>
                </a:lnTo>
                <a:lnTo>
                  <a:pt x="9" y="111"/>
                </a:lnTo>
                <a:lnTo>
                  <a:pt x="9" y="108"/>
                </a:lnTo>
                <a:lnTo>
                  <a:pt x="7" y="106"/>
                </a:lnTo>
                <a:lnTo>
                  <a:pt x="3" y="107"/>
                </a:lnTo>
                <a:lnTo>
                  <a:pt x="0" y="107"/>
                </a:lnTo>
                <a:lnTo>
                  <a:pt x="1" y="106"/>
                </a:lnTo>
                <a:lnTo>
                  <a:pt x="2" y="104"/>
                </a:lnTo>
                <a:lnTo>
                  <a:pt x="3" y="104"/>
                </a:lnTo>
                <a:lnTo>
                  <a:pt x="5" y="102"/>
                </a:lnTo>
                <a:lnTo>
                  <a:pt x="6" y="102"/>
                </a:lnTo>
                <a:lnTo>
                  <a:pt x="6" y="100"/>
                </a:lnTo>
                <a:lnTo>
                  <a:pt x="7" y="100"/>
                </a:lnTo>
                <a:lnTo>
                  <a:pt x="7" y="99"/>
                </a:lnTo>
                <a:lnTo>
                  <a:pt x="8" y="98"/>
                </a:lnTo>
                <a:lnTo>
                  <a:pt x="13" y="98"/>
                </a:lnTo>
                <a:lnTo>
                  <a:pt x="13" y="99"/>
                </a:lnTo>
                <a:lnTo>
                  <a:pt x="15" y="99"/>
                </a:lnTo>
                <a:lnTo>
                  <a:pt x="16" y="98"/>
                </a:lnTo>
                <a:lnTo>
                  <a:pt x="15" y="96"/>
                </a:lnTo>
                <a:lnTo>
                  <a:pt x="14" y="96"/>
                </a:lnTo>
                <a:lnTo>
                  <a:pt x="16" y="95"/>
                </a:lnTo>
                <a:lnTo>
                  <a:pt x="16" y="94"/>
                </a:lnTo>
                <a:lnTo>
                  <a:pt x="15" y="94"/>
                </a:lnTo>
                <a:lnTo>
                  <a:pt x="15" y="92"/>
                </a:lnTo>
                <a:lnTo>
                  <a:pt x="16" y="92"/>
                </a:lnTo>
                <a:lnTo>
                  <a:pt x="18" y="90"/>
                </a:lnTo>
                <a:lnTo>
                  <a:pt x="18" y="89"/>
                </a:lnTo>
                <a:lnTo>
                  <a:pt x="14" y="89"/>
                </a:lnTo>
                <a:lnTo>
                  <a:pt x="14" y="87"/>
                </a:lnTo>
                <a:lnTo>
                  <a:pt x="13" y="87"/>
                </a:lnTo>
                <a:lnTo>
                  <a:pt x="13" y="86"/>
                </a:lnTo>
                <a:lnTo>
                  <a:pt x="14" y="84"/>
                </a:lnTo>
                <a:lnTo>
                  <a:pt x="14" y="83"/>
                </a:lnTo>
                <a:lnTo>
                  <a:pt x="16" y="81"/>
                </a:lnTo>
                <a:lnTo>
                  <a:pt x="15" y="80"/>
                </a:lnTo>
                <a:lnTo>
                  <a:pt x="14" y="77"/>
                </a:lnTo>
                <a:lnTo>
                  <a:pt x="14" y="74"/>
                </a:lnTo>
                <a:lnTo>
                  <a:pt x="15" y="73"/>
                </a:lnTo>
                <a:lnTo>
                  <a:pt x="16" y="74"/>
                </a:lnTo>
                <a:lnTo>
                  <a:pt x="21" y="71"/>
                </a:lnTo>
                <a:lnTo>
                  <a:pt x="22" y="70"/>
                </a:lnTo>
                <a:lnTo>
                  <a:pt x="24" y="70"/>
                </a:lnTo>
                <a:lnTo>
                  <a:pt x="22" y="68"/>
                </a:lnTo>
                <a:lnTo>
                  <a:pt x="24" y="67"/>
                </a:lnTo>
                <a:lnTo>
                  <a:pt x="25" y="67"/>
                </a:lnTo>
                <a:lnTo>
                  <a:pt x="25" y="64"/>
                </a:lnTo>
                <a:lnTo>
                  <a:pt x="24" y="63"/>
                </a:lnTo>
                <a:lnTo>
                  <a:pt x="24" y="61"/>
                </a:lnTo>
                <a:lnTo>
                  <a:pt x="22" y="59"/>
                </a:lnTo>
                <a:lnTo>
                  <a:pt x="20" y="59"/>
                </a:lnTo>
                <a:lnTo>
                  <a:pt x="18" y="58"/>
                </a:lnTo>
                <a:lnTo>
                  <a:pt x="16" y="58"/>
                </a:lnTo>
                <a:lnTo>
                  <a:pt x="14" y="57"/>
                </a:lnTo>
                <a:lnTo>
                  <a:pt x="14" y="55"/>
                </a:lnTo>
                <a:lnTo>
                  <a:pt x="15" y="56"/>
                </a:lnTo>
                <a:lnTo>
                  <a:pt x="16" y="55"/>
                </a:lnTo>
                <a:lnTo>
                  <a:pt x="18" y="55"/>
                </a:lnTo>
                <a:lnTo>
                  <a:pt x="18" y="53"/>
                </a:lnTo>
                <a:lnTo>
                  <a:pt x="19" y="53"/>
                </a:lnTo>
                <a:lnTo>
                  <a:pt x="18" y="52"/>
                </a:lnTo>
                <a:lnTo>
                  <a:pt x="19" y="52"/>
                </a:lnTo>
                <a:lnTo>
                  <a:pt x="20" y="51"/>
                </a:lnTo>
                <a:lnTo>
                  <a:pt x="21" y="51"/>
                </a:lnTo>
                <a:lnTo>
                  <a:pt x="25" y="52"/>
                </a:lnTo>
                <a:lnTo>
                  <a:pt x="26" y="53"/>
                </a:lnTo>
                <a:lnTo>
                  <a:pt x="26" y="55"/>
                </a:lnTo>
                <a:lnTo>
                  <a:pt x="27" y="56"/>
                </a:lnTo>
                <a:lnTo>
                  <a:pt x="31" y="56"/>
                </a:lnTo>
                <a:lnTo>
                  <a:pt x="31" y="55"/>
                </a:lnTo>
                <a:lnTo>
                  <a:pt x="32" y="53"/>
                </a:lnTo>
                <a:lnTo>
                  <a:pt x="32" y="56"/>
                </a:lnTo>
                <a:lnTo>
                  <a:pt x="34" y="56"/>
                </a:lnTo>
                <a:lnTo>
                  <a:pt x="38" y="55"/>
                </a:lnTo>
                <a:lnTo>
                  <a:pt x="41" y="55"/>
                </a:lnTo>
                <a:lnTo>
                  <a:pt x="41" y="53"/>
                </a:lnTo>
                <a:lnTo>
                  <a:pt x="40" y="53"/>
                </a:lnTo>
                <a:lnTo>
                  <a:pt x="40" y="46"/>
                </a:lnTo>
                <a:lnTo>
                  <a:pt x="39" y="46"/>
                </a:lnTo>
                <a:lnTo>
                  <a:pt x="39" y="45"/>
                </a:lnTo>
                <a:lnTo>
                  <a:pt x="38" y="45"/>
                </a:lnTo>
                <a:lnTo>
                  <a:pt x="38" y="44"/>
                </a:lnTo>
                <a:lnTo>
                  <a:pt x="40" y="44"/>
                </a:lnTo>
                <a:lnTo>
                  <a:pt x="41" y="43"/>
                </a:lnTo>
                <a:lnTo>
                  <a:pt x="41" y="39"/>
                </a:lnTo>
                <a:lnTo>
                  <a:pt x="43" y="39"/>
                </a:lnTo>
                <a:lnTo>
                  <a:pt x="43" y="38"/>
                </a:lnTo>
                <a:lnTo>
                  <a:pt x="41" y="38"/>
                </a:lnTo>
                <a:lnTo>
                  <a:pt x="44" y="35"/>
                </a:lnTo>
                <a:lnTo>
                  <a:pt x="46" y="34"/>
                </a:lnTo>
                <a:lnTo>
                  <a:pt x="47" y="34"/>
                </a:lnTo>
                <a:lnTo>
                  <a:pt x="50" y="35"/>
                </a:lnTo>
                <a:lnTo>
                  <a:pt x="52" y="35"/>
                </a:lnTo>
                <a:lnTo>
                  <a:pt x="53" y="37"/>
                </a:lnTo>
                <a:lnTo>
                  <a:pt x="58" y="43"/>
                </a:lnTo>
                <a:lnTo>
                  <a:pt x="59" y="44"/>
                </a:lnTo>
                <a:lnTo>
                  <a:pt x="61" y="44"/>
                </a:lnTo>
                <a:lnTo>
                  <a:pt x="62" y="46"/>
                </a:lnTo>
                <a:lnTo>
                  <a:pt x="64" y="46"/>
                </a:lnTo>
                <a:lnTo>
                  <a:pt x="65" y="47"/>
                </a:lnTo>
                <a:lnTo>
                  <a:pt x="66" y="47"/>
                </a:lnTo>
                <a:lnTo>
                  <a:pt x="66" y="49"/>
                </a:lnTo>
                <a:lnTo>
                  <a:pt x="69" y="50"/>
                </a:lnTo>
                <a:lnTo>
                  <a:pt x="70" y="51"/>
                </a:lnTo>
                <a:lnTo>
                  <a:pt x="92" y="51"/>
                </a:lnTo>
                <a:lnTo>
                  <a:pt x="95" y="50"/>
                </a:lnTo>
                <a:lnTo>
                  <a:pt x="103" y="49"/>
                </a:lnTo>
                <a:lnTo>
                  <a:pt x="106" y="49"/>
                </a:lnTo>
                <a:lnTo>
                  <a:pt x="107" y="50"/>
                </a:lnTo>
                <a:lnTo>
                  <a:pt x="109" y="50"/>
                </a:lnTo>
                <a:lnTo>
                  <a:pt x="112" y="47"/>
                </a:lnTo>
                <a:lnTo>
                  <a:pt x="113" y="47"/>
                </a:lnTo>
                <a:lnTo>
                  <a:pt x="114" y="46"/>
                </a:lnTo>
                <a:lnTo>
                  <a:pt x="115" y="46"/>
                </a:lnTo>
                <a:lnTo>
                  <a:pt x="113" y="45"/>
                </a:lnTo>
                <a:lnTo>
                  <a:pt x="112" y="44"/>
                </a:lnTo>
                <a:lnTo>
                  <a:pt x="112" y="37"/>
                </a:lnTo>
                <a:lnTo>
                  <a:pt x="114" y="37"/>
                </a:lnTo>
                <a:lnTo>
                  <a:pt x="115" y="34"/>
                </a:lnTo>
                <a:lnTo>
                  <a:pt x="115" y="33"/>
                </a:lnTo>
                <a:lnTo>
                  <a:pt x="120" y="32"/>
                </a:lnTo>
                <a:lnTo>
                  <a:pt x="124" y="32"/>
                </a:lnTo>
                <a:lnTo>
                  <a:pt x="127" y="31"/>
                </a:lnTo>
                <a:lnTo>
                  <a:pt x="132" y="32"/>
                </a:lnTo>
                <a:lnTo>
                  <a:pt x="134" y="31"/>
                </a:lnTo>
                <a:lnTo>
                  <a:pt x="140" y="31"/>
                </a:lnTo>
                <a:lnTo>
                  <a:pt x="143" y="28"/>
                </a:lnTo>
                <a:lnTo>
                  <a:pt x="143" y="27"/>
                </a:lnTo>
                <a:lnTo>
                  <a:pt x="144" y="26"/>
                </a:lnTo>
                <a:lnTo>
                  <a:pt x="144" y="22"/>
                </a:lnTo>
                <a:lnTo>
                  <a:pt x="145" y="22"/>
                </a:lnTo>
                <a:lnTo>
                  <a:pt x="149" y="21"/>
                </a:lnTo>
                <a:lnTo>
                  <a:pt x="150" y="21"/>
                </a:lnTo>
                <a:lnTo>
                  <a:pt x="150" y="22"/>
                </a:lnTo>
                <a:lnTo>
                  <a:pt x="151" y="24"/>
                </a:lnTo>
                <a:lnTo>
                  <a:pt x="153" y="22"/>
                </a:lnTo>
                <a:lnTo>
                  <a:pt x="155" y="24"/>
                </a:lnTo>
                <a:lnTo>
                  <a:pt x="155" y="26"/>
                </a:lnTo>
                <a:lnTo>
                  <a:pt x="158" y="26"/>
                </a:lnTo>
                <a:lnTo>
                  <a:pt x="161" y="28"/>
                </a:lnTo>
                <a:lnTo>
                  <a:pt x="162" y="27"/>
                </a:lnTo>
                <a:lnTo>
                  <a:pt x="164" y="26"/>
                </a:lnTo>
                <a:lnTo>
                  <a:pt x="164" y="25"/>
                </a:lnTo>
                <a:lnTo>
                  <a:pt x="167" y="25"/>
                </a:lnTo>
                <a:lnTo>
                  <a:pt x="168" y="24"/>
                </a:lnTo>
                <a:lnTo>
                  <a:pt x="169" y="24"/>
                </a:lnTo>
                <a:lnTo>
                  <a:pt x="169" y="22"/>
                </a:lnTo>
                <a:lnTo>
                  <a:pt x="170" y="21"/>
                </a:lnTo>
                <a:lnTo>
                  <a:pt x="170" y="20"/>
                </a:lnTo>
                <a:lnTo>
                  <a:pt x="173" y="20"/>
                </a:lnTo>
                <a:lnTo>
                  <a:pt x="174" y="19"/>
                </a:lnTo>
                <a:lnTo>
                  <a:pt x="175" y="19"/>
                </a:lnTo>
                <a:lnTo>
                  <a:pt x="176" y="20"/>
                </a:lnTo>
                <a:lnTo>
                  <a:pt x="180" y="16"/>
                </a:lnTo>
                <a:lnTo>
                  <a:pt x="181" y="14"/>
                </a:lnTo>
                <a:lnTo>
                  <a:pt x="182" y="9"/>
                </a:lnTo>
                <a:lnTo>
                  <a:pt x="182" y="8"/>
                </a:lnTo>
                <a:lnTo>
                  <a:pt x="183" y="8"/>
                </a:lnTo>
                <a:lnTo>
                  <a:pt x="186" y="6"/>
                </a:lnTo>
                <a:lnTo>
                  <a:pt x="186" y="4"/>
                </a:lnTo>
                <a:lnTo>
                  <a:pt x="184" y="3"/>
                </a:lnTo>
                <a:lnTo>
                  <a:pt x="186" y="2"/>
                </a:lnTo>
                <a:lnTo>
                  <a:pt x="189" y="2"/>
                </a:lnTo>
                <a:lnTo>
                  <a:pt x="198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" name="Freeform 38">
            <a:extLst>
              <a:ext uri="{FF2B5EF4-FFF2-40B4-BE49-F238E27FC236}">
                <a16:creationId xmlns:a16="http://schemas.microsoft.com/office/drawing/2014/main" id="{30BCADE8-2029-4C45-B8BF-40EE69BDA869}"/>
              </a:ext>
            </a:extLst>
          </p:cNvPr>
          <p:cNvSpPr>
            <a:spLocks noEditPoints="1"/>
          </p:cNvSpPr>
          <p:nvPr/>
        </p:nvSpPr>
        <p:spPr bwMode="auto">
          <a:xfrm>
            <a:off x="2432867" y="5442072"/>
            <a:ext cx="524516" cy="540455"/>
          </a:xfrm>
          <a:custGeom>
            <a:avLst/>
            <a:gdLst/>
            <a:ahLst/>
            <a:cxnLst>
              <a:cxn ang="0">
                <a:pos x="191" y="339"/>
              </a:cxn>
              <a:cxn ang="0">
                <a:pos x="268" y="351"/>
              </a:cxn>
              <a:cxn ang="0">
                <a:pos x="208" y="357"/>
              </a:cxn>
              <a:cxn ang="0">
                <a:pos x="318" y="326"/>
              </a:cxn>
              <a:cxn ang="0">
                <a:pos x="139" y="292"/>
              </a:cxn>
              <a:cxn ang="0">
                <a:pos x="348" y="313"/>
              </a:cxn>
              <a:cxn ang="0">
                <a:pos x="329" y="289"/>
              </a:cxn>
              <a:cxn ang="0">
                <a:pos x="346" y="282"/>
              </a:cxn>
              <a:cxn ang="0">
                <a:pos x="200" y="274"/>
              </a:cxn>
              <a:cxn ang="0">
                <a:pos x="211" y="270"/>
              </a:cxn>
              <a:cxn ang="0">
                <a:pos x="270" y="264"/>
              </a:cxn>
              <a:cxn ang="0">
                <a:pos x="306" y="255"/>
              </a:cxn>
              <a:cxn ang="0">
                <a:pos x="232" y="255"/>
              </a:cxn>
              <a:cxn ang="0">
                <a:pos x="204" y="252"/>
              </a:cxn>
              <a:cxn ang="0">
                <a:pos x="203" y="238"/>
              </a:cxn>
              <a:cxn ang="0">
                <a:pos x="162" y="231"/>
              </a:cxn>
              <a:cxn ang="0">
                <a:pos x="232" y="226"/>
              </a:cxn>
              <a:cxn ang="0">
                <a:pos x="309" y="219"/>
              </a:cxn>
              <a:cxn ang="0">
                <a:pos x="50" y="222"/>
              </a:cxn>
              <a:cxn ang="0">
                <a:pos x="216" y="213"/>
              </a:cxn>
              <a:cxn ang="0">
                <a:pos x="45" y="185"/>
              </a:cxn>
              <a:cxn ang="0">
                <a:pos x="38" y="186"/>
              </a:cxn>
              <a:cxn ang="0">
                <a:pos x="266" y="195"/>
              </a:cxn>
              <a:cxn ang="0">
                <a:pos x="54" y="172"/>
              </a:cxn>
              <a:cxn ang="0">
                <a:pos x="141" y="159"/>
              </a:cxn>
              <a:cxn ang="0">
                <a:pos x="160" y="154"/>
              </a:cxn>
              <a:cxn ang="0">
                <a:pos x="206" y="208"/>
              </a:cxn>
              <a:cxn ang="0">
                <a:pos x="161" y="171"/>
              </a:cxn>
              <a:cxn ang="0">
                <a:pos x="161" y="140"/>
              </a:cxn>
              <a:cxn ang="0">
                <a:pos x="282" y="133"/>
              </a:cxn>
              <a:cxn ang="0">
                <a:pos x="280" y="141"/>
              </a:cxn>
              <a:cxn ang="0">
                <a:pos x="12" y="109"/>
              </a:cxn>
              <a:cxn ang="0">
                <a:pos x="6" y="108"/>
              </a:cxn>
              <a:cxn ang="0">
                <a:pos x="229" y="98"/>
              </a:cxn>
              <a:cxn ang="0">
                <a:pos x="208" y="63"/>
              </a:cxn>
              <a:cxn ang="0">
                <a:pos x="284" y="41"/>
              </a:cxn>
              <a:cxn ang="0">
                <a:pos x="225" y="44"/>
              </a:cxn>
              <a:cxn ang="0">
                <a:pos x="173" y="62"/>
              </a:cxn>
              <a:cxn ang="0">
                <a:pos x="170" y="79"/>
              </a:cxn>
              <a:cxn ang="0">
                <a:pos x="156" y="85"/>
              </a:cxn>
              <a:cxn ang="0">
                <a:pos x="137" y="62"/>
              </a:cxn>
              <a:cxn ang="0">
                <a:pos x="138" y="120"/>
              </a:cxn>
              <a:cxn ang="0">
                <a:pos x="136" y="143"/>
              </a:cxn>
              <a:cxn ang="0">
                <a:pos x="124" y="160"/>
              </a:cxn>
              <a:cxn ang="0">
                <a:pos x="167" y="182"/>
              </a:cxn>
              <a:cxn ang="0">
                <a:pos x="180" y="217"/>
              </a:cxn>
              <a:cxn ang="0">
                <a:pos x="149" y="222"/>
              </a:cxn>
              <a:cxn ang="0">
                <a:pos x="147" y="240"/>
              </a:cxn>
              <a:cxn ang="0">
                <a:pos x="143" y="265"/>
              </a:cxn>
              <a:cxn ang="0">
                <a:pos x="124" y="272"/>
              </a:cxn>
              <a:cxn ang="0">
                <a:pos x="99" y="258"/>
              </a:cxn>
              <a:cxn ang="0">
                <a:pos x="67" y="216"/>
              </a:cxn>
              <a:cxn ang="0">
                <a:pos x="139" y="209"/>
              </a:cxn>
              <a:cxn ang="0">
                <a:pos x="129" y="189"/>
              </a:cxn>
              <a:cxn ang="0">
                <a:pos x="89" y="186"/>
              </a:cxn>
              <a:cxn ang="0">
                <a:pos x="58" y="174"/>
              </a:cxn>
              <a:cxn ang="0">
                <a:pos x="61" y="149"/>
              </a:cxn>
              <a:cxn ang="0">
                <a:pos x="25" y="129"/>
              </a:cxn>
              <a:cxn ang="0">
                <a:pos x="43" y="92"/>
              </a:cxn>
              <a:cxn ang="0">
                <a:pos x="94" y="40"/>
              </a:cxn>
              <a:cxn ang="0">
                <a:pos x="155" y="20"/>
              </a:cxn>
              <a:cxn ang="0">
                <a:pos x="213" y="19"/>
              </a:cxn>
              <a:cxn ang="0">
                <a:pos x="275" y="12"/>
              </a:cxn>
            </a:cxnLst>
            <a:rect l="0" t="0" r="r" b="b"/>
            <a:pathLst>
              <a:path w="362" h="373">
                <a:moveTo>
                  <a:pt x="187" y="369"/>
                </a:moveTo>
                <a:lnTo>
                  <a:pt x="188" y="369"/>
                </a:lnTo>
                <a:lnTo>
                  <a:pt x="189" y="370"/>
                </a:lnTo>
                <a:lnTo>
                  <a:pt x="188" y="370"/>
                </a:lnTo>
                <a:lnTo>
                  <a:pt x="188" y="372"/>
                </a:lnTo>
                <a:lnTo>
                  <a:pt x="189" y="372"/>
                </a:lnTo>
                <a:lnTo>
                  <a:pt x="189" y="373"/>
                </a:lnTo>
                <a:lnTo>
                  <a:pt x="188" y="373"/>
                </a:lnTo>
                <a:lnTo>
                  <a:pt x="186" y="370"/>
                </a:lnTo>
                <a:lnTo>
                  <a:pt x="187" y="370"/>
                </a:lnTo>
                <a:lnTo>
                  <a:pt x="187" y="369"/>
                </a:lnTo>
                <a:close/>
                <a:moveTo>
                  <a:pt x="280" y="346"/>
                </a:moveTo>
                <a:lnTo>
                  <a:pt x="281" y="346"/>
                </a:lnTo>
                <a:lnTo>
                  <a:pt x="281" y="348"/>
                </a:lnTo>
                <a:lnTo>
                  <a:pt x="280" y="348"/>
                </a:lnTo>
                <a:lnTo>
                  <a:pt x="280" y="346"/>
                </a:lnTo>
                <a:close/>
                <a:moveTo>
                  <a:pt x="309" y="341"/>
                </a:moveTo>
                <a:lnTo>
                  <a:pt x="310" y="341"/>
                </a:lnTo>
                <a:lnTo>
                  <a:pt x="310" y="343"/>
                </a:lnTo>
                <a:lnTo>
                  <a:pt x="307" y="343"/>
                </a:lnTo>
                <a:lnTo>
                  <a:pt x="307" y="344"/>
                </a:lnTo>
                <a:lnTo>
                  <a:pt x="306" y="344"/>
                </a:lnTo>
                <a:lnTo>
                  <a:pt x="305" y="345"/>
                </a:lnTo>
                <a:lnTo>
                  <a:pt x="304" y="344"/>
                </a:lnTo>
                <a:lnTo>
                  <a:pt x="304" y="343"/>
                </a:lnTo>
                <a:lnTo>
                  <a:pt x="305" y="342"/>
                </a:lnTo>
                <a:lnTo>
                  <a:pt x="307" y="342"/>
                </a:lnTo>
                <a:lnTo>
                  <a:pt x="309" y="341"/>
                </a:lnTo>
                <a:close/>
                <a:moveTo>
                  <a:pt x="173" y="327"/>
                </a:moveTo>
                <a:lnTo>
                  <a:pt x="174" y="327"/>
                </a:lnTo>
                <a:lnTo>
                  <a:pt x="174" y="333"/>
                </a:lnTo>
                <a:lnTo>
                  <a:pt x="176" y="336"/>
                </a:lnTo>
                <a:lnTo>
                  <a:pt x="186" y="336"/>
                </a:lnTo>
                <a:lnTo>
                  <a:pt x="186" y="335"/>
                </a:lnTo>
                <a:lnTo>
                  <a:pt x="187" y="335"/>
                </a:lnTo>
                <a:lnTo>
                  <a:pt x="187" y="332"/>
                </a:lnTo>
                <a:lnTo>
                  <a:pt x="192" y="332"/>
                </a:lnTo>
                <a:lnTo>
                  <a:pt x="192" y="337"/>
                </a:lnTo>
                <a:lnTo>
                  <a:pt x="187" y="337"/>
                </a:lnTo>
                <a:lnTo>
                  <a:pt x="187" y="338"/>
                </a:lnTo>
                <a:lnTo>
                  <a:pt x="189" y="338"/>
                </a:lnTo>
                <a:lnTo>
                  <a:pt x="191" y="339"/>
                </a:lnTo>
                <a:lnTo>
                  <a:pt x="193" y="339"/>
                </a:lnTo>
                <a:lnTo>
                  <a:pt x="194" y="338"/>
                </a:lnTo>
                <a:lnTo>
                  <a:pt x="194" y="344"/>
                </a:lnTo>
                <a:lnTo>
                  <a:pt x="197" y="344"/>
                </a:lnTo>
                <a:lnTo>
                  <a:pt x="198" y="345"/>
                </a:lnTo>
                <a:lnTo>
                  <a:pt x="201" y="344"/>
                </a:lnTo>
                <a:lnTo>
                  <a:pt x="204" y="344"/>
                </a:lnTo>
                <a:lnTo>
                  <a:pt x="207" y="343"/>
                </a:lnTo>
                <a:lnTo>
                  <a:pt x="208" y="343"/>
                </a:lnTo>
                <a:lnTo>
                  <a:pt x="211" y="342"/>
                </a:lnTo>
                <a:lnTo>
                  <a:pt x="212" y="341"/>
                </a:lnTo>
                <a:lnTo>
                  <a:pt x="214" y="341"/>
                </a:lnTo>
                <a:lnTo>
                  <a:pt x="218" y="342"/>
                </a:lnTo>
                <a:lnTo>
                  <a:pt x="220" y="342"/>
                </a:lnTo>
                <a:lnTo>
                  <a:pt x="222" y="341"/>
                </a:lnTo>
                <a:lnTo>
                  <a:pt x="224" y="342"/>
                </a:lnTo>
                <a:lnTo>
                  <a:pt x="224" y="341"/>
                </a:lnTo>
                <a:lnTo>
                  <a:pt x="226" y="342"/>
                </a:lnTo>
                <a:lnTo>
                  <a:pt x="228" y="342"/>
                </a:lnTo>
                <a:lnTo>
                  <a:pt x="228" y="344"/>
                </a:lnTo>
                <a:lnTo>
                  <a:pt x="229" y="345"/>
                </a:lnTo>
                <a:lnTo>
                  <a:pt x="242" y="345"/>
                </a:lnTo>
                <a:lnTo>
                  <a:pt x="242" y="346"/>
                </a:lnTo>
                <a:lnTo>
                  <a:pt x="243" y="346"/>
                </a:lnTo>
                <a:lnTo>
                  <a:pt x="243" y="348"/>
                </a:lnTo>
                <a:lnTo>
                  <a:pt x="247" y="348"/>
                </a:lnTo>
                <a:lnTo>
                  <a:pt x="253" y="345"/>
                </a:lnTo>
                <a:lnTo>
                  <a:pt x="259" y="345"/>
                </a:lnTo>
                <a:lnTo>
                  <a:pt x="256" y="348"/>
                </a:lnTo>
                <a:lnTo>
                  <a:pt x="256" y="349"/>
                </a:lnTo>
                <a:lnTo>
                  <a:pt x="257" y="350"/>
                </a:lnTo>
                <a:lnTo>
                  <a:pt x="256" y="350"/>
                </a:lnTo>
                <a:lnTo>
                  <a:pt x="256" y="356"/>
                </a:lnTo>
                <a:lnTo>
                  <a:pt x="259" y="356"/>
                </a:lnTo>
                <a:lnTo>
                  <a:pt x="259" y="357"/>
                </a:lnTo>
                <a:lnTo>
                  <a:pt x="260" y="357"/>
                </a:lnTo>
                <a:lnTo>
                  <a:pt x="261" y="356"/>
                </a:lnTo>
                <a:lnTo>
                  <a:pt x="261" y="355"/>
                </a:lnTo>
                <a:lnTo>
                  <a:pt x="263" y="355"/>
                </a:lnTo>
                <a:lnTo>
                  <a:pt x="263" y="354"/>
                </a:lnTo>
                <a:lnTo>
                  <a:pt x="266" y="354"/>
                </a:lnTo>
                <a:lnTo>
                  <a:pt x="268" y="351"/>
                </a:lnTo>
                <a:lnTo>
                  <a:pt x="273" y="351"/>
                </a:lnTo>
                <a:lnTo>
                  <a:pt x="273" y="352"/>
                </a:lnTo>
                <a:lnTo>
                  <a:pt x="275" y="352"/>
                </a:lnTo>
                <a:lnTo>
                  <a:pt x="278" y="350"/>
                </a:lnTo>
                <a:lnTo>
                  <a:pt x="278" y="349"/>
                </a:lnTo>
                <a:lnTo>
                  <a:pt x="279" y="348"/>
                </a:lnTo>
                <a:lnTo>
                  <a:pt x="280" y="348"/>
                </a:lnTo>
                <a:lnTo>
                  <a:pt x="280" y="349"/>
                </a:lnTo>
                <a:lnTo>
                  <a:pt x="279" y="350"/>
                </a:lnTo>
                <a:lnTo>
                  <a:pt x="280" y="352"/>
                </a:lnTo>
                <a:lnTo>
                  <a:pt x="280" y="354"/>
                </a:lnTo>
                <a:lnTo>
                  <a:pt x="281" y="352"/>
                </a:lnTo>
                <a:lnTo>
                  <a:pt x="281" y="354"/>
                </a:lnTo>
                <a:lnTo>
                  <a:pt x="280" y="355"/>
                </a:lnTo>
                <a:lnTo>
                  <a:pt x="280" y="357"/>
                </a:lnTo>
                <a:lnTo>
                  <a:pt x="279" y="358"/>
                </a:lnTo>
                <a:lnTo>
                  <a:pt x="279" y="360"/>
                </a:lnTo>
                <a:lnTo>
                  <a:pt x="276" y="362"/>
                </a:lnTo>
                <a:lnTo>
                  <a:pt x="274" y="363"/>
                </a:lnTo>
                <a:lnTo>
                  <a:pt x="273" y="363"/>
                </a:lnTo>
                <a:lnTo>
                  <a:pt x="272" y="362"/>
                </a:lnTo>
                <a:lnTo>
                  <a:pt x="269" y="362"/>
                </a:lnTo>
                <a:lnTo>
                  <a:pt x="268" y="361"/>
                </a:lnTo>
                <a:lnTo>
                  <a:pt x="265" y="361"/>
                </a:lnTo>
                <a:lnTo>
                  <a:pt x="263" y="362"/>
                </a:lnTo>
                <a:lnTo>
                  <a:pt x="251" y="362"/>
                </a:lnTo>
                <a:lnTo>
                  <a:pt x="248" y="363"/>
                </a:lnTo>
                <a:lnTo>
                  <a:pt x="238" y="363"/>
                </a:lnTo>
                <a:lnTo>
                  <a:pt x="238" y="364"/>
                </a:lnTo>
                <a:lnTo>
                  <a:pt x="237" y="364"/>
                </a:lnTo>
                <a:lnTo>
                  <a:pt x="235" y="366"/>
                </a:lnTo>
                <a:lnTo>
                  <a:pt x="228" y="366"/>
                </a:lnTo>
                <a:lnTo>
                  <a:pt x="226" y="367"/>
                </a:lnTo>
                <a:lnTo>
                  <a:pt x="226" y="366"/>
                </a:lnTo>
                <a:lnTo>
                  <a:pt x="225" y="366"/>
                </a:lnTo>
                <a:lnTo>
                  <a:pt x="214" y="367"/>
                </a:lnTo>
                <a:lnTo>
                  <a:pt x="214" y="366"/>
                </a:lnTo>
                <a:lnTo>
                  <a:pt x="216" y="366"/>
                </a:lnTo>
                <a:lnTo>
                  <a:pt x="216" y="360"/>
                </a:lnTo>
                <a:lnTo>
                  <a:pt x="214" y="358"/>
                </a:lnTo>
                <a:lnTo>
                  <a:pt x="210" y="358"/>
                </a:lnTo>
                <a:lnTo>
                  <a:pt x="208" y="357"/>
                </a:lnTo>
                <a:lnTo>
                  <a:pt x="207" y="357"/>
                </a:lnTo>
                <a:lnTo>
                  <a:pt x="206" y="356"/>
                </a:lnTo>
                <a:lnTo>
                  <a:pt x="205" y="356"/>
                </a:lnTo>
                <a:lnTo>
                  <a:pt x="205" y="355"/>
                </a:lnTo>
                <a:lnTo>
                  <a:pt x="203" y="355"/>
                </a:lnTo>
                <a:lnTo>
                  <a:pt x="200" y="354"/>
                </a:lnTo>
                <a:lnTo>
                  <a:pt x="193" y="354"/>
                </a:lnTo>
                <a:lnTo>
                  <a:pt x="193" y="352"/>
                </a:lnTo>
                <a:lnTo>
                  <a:pt x="187" y="352"/>
                </a:lnTo>
                <a:lnTo>
                  <a:pt x="186" y="354"/>
                </a:lnTo>
                <a:lnTo>
                  <a:pt x="183" y="351"/>
                </a:lnTo>
                <a:lnTo>
                  <a:pt x="178" y="351"/>
                </a:lnTo>
                <a:lnTo>
                  <a:pt x="176" y="350"/>
                </a:lnTo>
                <a:lnTo>
                  <a:pt x="175" y="350"/>
                </a:lnTo>
                <a:lnTo>
                  <a:pt x="174" y="351"/>
                </a:lnTo>
                <a:lnTo>
                  <a:pt x="167" y="351"/>
                </a:lnTo>
                <a:lnTo>
                  <a:pt x="166" y="350"/>
                </a:lnTo>
                <a:lnTo>
                  <a:pt x="166" y="349"/>
                </a:lnTo>
                <a:lnTo>
                  <a:pt x="164" y="349"/>
                </a:lnTo>
                <a:lnTo>
                  <a:pt x="163" y="348"/>
                </a:lnTo>
                <a:lnTo>
                  <a:pt x="163" y="346"/>
                </a:lnTo>
                <a:lnTo>
                  <a:pt x="164" y="346"/>
                </a:lnTo>
                <a:lnTo>
                  <a:pt x="164" y="343"/>
                </a:lnTo>
                <a:lnTo>
                  <a:pt x="166" y="342"/>
                </a:lnTo>
                <a:lnTo>
                  <a:pt x="166" y="339"/>
                </a:lnTo>
                <a:lnTo>
                  <a:pt x="164" y="339"/>
                </a:lnTo>
                <a:lnTo>
                  <a:pt x="166" y="338"/>
                </a:lnTo>
                <a:lnTo>
                  <a:pt x="166" y="333"/>
                </a:lnTo>
                <a:lnTo>
                  <a:pt x="167" y="332"/>
                </a:lnTo>
                <a:lnTo>
                  <a:pt x="167" y="336"/>
                </a:lnTo>
                <a:lnTo>
                  <a:pt x="168" y="336"/>
                </a:lnTo>
                <a:lnTo>
                  <a:pt x="168" y="337"/>
                </a:lnTo>
                <a:lnTo>
                  <a:pt x="172" y="337"/>
                </a:lnTo>
                <a:lnTo>
                  <a:pt x="172" y="336"/>
                </a:lnTo>
                <a:lnTo>
                  <a:pt x="173" y="335"/>
                </a:lnTo>
                <a:lnTo>
                  <a:pt x="172" y="333"/>
                </a:lnTo>
                <a:lnTo>
                  <a:pt x="172" y="329"/>
                </a:lnTo>
                <a:lnTo>
                  <a:pt x="173" y="327"/>
                </a:lnTo>
                <a:close/>
                <a:moveTo>
                  <a:pt x="318" y="320"/>
                </a:moveTo>
                <a:lnTo>
                  <a:pt x="319" y="320"/>
                </a:lnTo>
                <a:lnTo>
                  <a:pt x="319" y="326"/>
                </a:lnTo>
                <a:lnTo>
                  <a:pt x="318" y="326"/>
                </a:lnTo>
                <a:lnTo>
                  <a:pt x="318" y="329"/>
                </a:lnTo>
                <a:lnTo>
                  <a:pt x="317" y="329"/>
                </a:lnTo>
                <a:lnTo>
                  <a:pt x="317" y="331"/>
                </a:lnTo>
                <a:lnTo>
                  <a:pt x="318" y="332"/>
                </a:lnTo>
                <a:lnTo>
                  <a:pt x="319" y="335"/>
                </a:lnTo>
                <a:lnTo>
                  <a:pt x="319" y="337"/>
                </a:lnTo>
                <a:lnTo>
                  <a:pt x="321" y="337"/>
                </a:lnTo>
                <a:lnTo>
                  <a:pt x="318" y="339"/>
                </a:lnTo>
                <a:lnTo>
                  <a:pt x="317" y="339"/>
                </a:lnTo>
                <a:lnTo>
                  <a:pt x="317" y="342"/>
                </a:lnTo>
                <a:lnTo>
                  <a:pt x="316" y="342"/>
                </a:lnTo>
                <a:lnTo>
                  <a:pt x="316" y="341"/>
                </a:lnTo>
                <a:lnTo>
                  <a:pt x="315" y="341"/>
                </a:lnTo>
                <a:lnTo>
                  <a:pt x="315" y="333"/>
                </a:lnTo>
                <a:lnTo>
                  <a:pt x="313" y="333"/>
                </a:lnTo>
                <a:lnTo>
                  <a:pt x="313" y="330"/>
                </a:lnTo>
                <a:lnTo>
                  <a:pt x="315" y="330"/>
                </a:lnTo>
                <a:lnTo>
                  <a:pt x="316" y="329"/>
                </a:lnTo>
                <a:lnTo>
                  <a:pt x="316" y="327"/>
                </a:lnTo>
                <a:lnTo>
                  <a:pt x="317" y="326"/>
                </a:lnTo>
                <a:lnTo>
                  <a:pt x="317" y="321"/>
                </a:lnTo>
                <a:lnTo>
                  <a:pt x="318" y="321"/>
                </a:lnTo>
                <a:lnTo>
                  <a:pt x="318" y="320"/>
                </a:lnTo>
                <a:close/>
                <a:moveTo>
                  <a:pt x="152" y="317"/>
                </a:moveTo>
                <a:lnTo>
                  <a:pt x="154" y="317"/>
                </a:lnTo>
                <a:lnTo>
                  <a:pt x="155" y="318"/>
                </a:lnTo>
                <a:lnTo>
                  <a:pt x="155" y="319"/>
                </a:lnTo>
                <a:lnTo>
                  <a:pt x="154" y="319"/>
                </a:lnTo>
                <a:lnTo>
                  <a:pt x="154" y="318"/>
                </a:lnTo>
                <a:lnTo>
                  <a:pt x="152" y="317"/>
                </a:lnTo>
                <a:close/>
                <a:moveTo>
                  <a:pt x="332" y="299"/>
                </a:moveTo>
                <a:lnTo>
                  <a:pt x="336" y="299"/>
                </a:lnTo>
                <a:lnTo>
                  <a:pt x="336" y="300"/>
                </a:lnTo>
                <a:lnTo>
                  <a:pt x="332" y="300"/>
                </a:lnTo>
                <a:lnTo>
                  <a:pt x="332" y="299"/>
                </a:lnTo>
                <a:close/>
                <a:moveTo>
                  <a:pt x="257" y="290"/>
                </a:moveTo>
                <a:lnTo>
                  <a:pt x="260" y="290"/>
                </a:lnTo>
                <a:lnTo>
                  <a:pt x="262" y="293"/>
                </a:lnTo>
                <a:lnTo>
                  <a:pt x="257" y="293"/>
                </a:lnTo>
                <a:lnTo>
                  <a:pt x="257" y="290"/>
                </a:lnTo>
                <a:close/>
                <a:moveTo>
                  <a:pt x="139" y="290"/>
                </a:moveTo>
                <a:lnTo>
                  <a:pt x="139" y="292"/>
                </a:lnTo>
                <a:lnTo>
                  <a:pt x="142" y="294"/>
                </a:lnTo>
                <a:lnTo>
                  <a:pt x="142" y="295"/>
                </a:lnTo>
                <a:lnTo>
                  <a:pt x="144" y="298"/>
                </a:lnTo>
                <a:lnTo>
                  <a:pt x="145" y="298"/>
                </a:lnTo>
                <a:lnTo>
                  <a:pt x="145" y="299"/>
                </a:lnTo>
                <a:lnTo>
                  <a:pt x="144" y="300"/>
                </a:lnTo>
                <a:lnTo>
                  <a:pt x="144" y="301"/>
                </a:lnTo>
                <a:lnTo>
                  <a:pt x="143" y="303"/>
                </a:lnTo>
                <a:lnTo>
                  <a:pt x="141" y="303"/>
                </a:lnTo>
                <a:lnTo>
                  <a:pt x="139" y="302"/>
                </a:lnTo>
                <a:lnTo>
                  <a:pt x="138" y="302"/>
                </a:lnTo>
                <a:lnTo>
                  <a:pt x="138" y="301"/>
                </a:lnTo>
                <a:lnTo>
                  <a:pt x="137" y="300"/>
                </a:lnTo>
                <a:lnTo>
                  <a:pt x="138" y="298"/>
                </a:lnTo>
                <a:lnTo>
                  <a:pt x="138" y="296"/>
                </a:lnTo>
                <a:lnTo>
                  <a:pt x="137" y="295"/>
                </a:lnTo>
                <a:lnTo>
                  <a:pt x="137" y="294"/>
                </a:lnTo>
                <a:lnTo>
                  <a:pt x="138" y="292"/>
                </a:lnTo>
                <a:lnTo>
                  <a:pt x="139" y="290"/>
                </a:lnTo>
                <a:close/>
                <a:moveTo>
                  <a:pt x="361" y="288"/>
                </a:moveTo>
                <a:lnTo>
                  <a:pt x="362" y="288"/>
                </a:lnTo>
                <a:lnTo>
                  <a:pt x="362" y="292"/>
                </a:lnTo>
                <a:lnTo>
                  <a:pt x="361" y="293"/>
                </a:lnTo>
                <a:lnTo>
                  <a:pt x="361" y="295"/>
                </a:lnTo>
                <a:lnTo>
                  <a:pt x="360" y="296"/>
                </a:lnTo>
                <a:lnTo>
                  <a:pt x="360" y="299"/>
                </a:lnTo>
                <a:lnTo>
                  <a:pt x="359" y="299"/>
                </a:lnTo>
                <a:lnTo>
                  <a:pt x="359" y="300"/>
                </a:lnTo>
                <a:lnTo>
                  <a:pt x="357" y="301"/>
                </a:lnTo>
                <a:lnTo>
                  <a:pt x="356" y="301"/>
                </a:lnTo>
                <a:lnTo>
                  <a:pt x="356" y="302"/>
                </a:lnTo>
                <a:lnTo>
                  <a:pt x="355" y="305"/>
                </a:lnTo>
                <a:lnTo>
                  <a:pt x="355" y="306"/>
                </a:lnTo>
                <a:lnTo>
                  <a:pt x="356" y="306"/>
                </a:lnTo>
                <a:lnTo>
                  <a:pt x="356" y="307"/>
                </a:lnTo>
                <a:lnTo>
                  <a:pt x="355" y="307"/>
                </a:lnTo>
                <a:lnTo>
                  <a:pt x="356" y="308"/>
                </a:lnTo>
                <a:lnTo>
                  <a:pt x="354" y="307"/>
                </a:lnTo>
                <a:lnTo>
                  <a:pt x="353" y="307"/>
                </a:lnTo>
                <a:lnTo>
                  <a:pt x="350" y="309"/>
                </a:lnTo>
                <a:lnTo>
                  <a:pt x="349" y="309"/>
                </a:lnTo>
                <a:lnTo>
                  <a:pt x="348" y="313"/>
                </a:lnTo>
                <a:lnTo>
                  <a:pt x="346" y="315"/>
                </a:lnTo>
                <a:lnTo>
                  <a:pt x="343" y="317"/>
                </a:lnTo>
                <a:lnTo>
                  <a:pt x="341" y="315"/>
                </a:lnTo>
                <a:lnTo>
                  <a:pt x="340" y="314"/>
                </a:lnTo>
                <a:lnTo>
                  <a:pt x="341" y="313"/>
                </a:lnTo>
                <a:lnTo>
                  <a:pt x="342" y="309"/>
                </a:lnTo>
                <a:lnTo>
                  <a:pt x="342" y="306"/>
                </a:lnTo>
                <a:lnTo>
                  <a:pt x="341" y="306"/>
                </a:lnTo>
                <a:lnTo>
                  <a:pt x="340" y="305"/>
                </a:lnTo>
                <a:lnTo>
                  <a:pt x="341" y="303"/>
                </a:lnTo>
                <a:lnTo>
                  <a:pt x="338" y="303"/>
                </a:lnTo>
                <a:lnTo>
                  <a:pt x="341" y="301"/>
                </a:lnTo>
                <a:lnTo>
                  <a:pt x="343" y="301"/>
                </a:lnTo>
                <a:lnTo>
                  <a:pt x="342" y="300"/>
                </a:lnTo>
                <a:lnTo>
                  <a:pt x="343" y="300"/>
                </a:lnTo>
                <a:lnTo>
                  <a:pt x="343" y="298"/>
                </a:lnTo>
                <a:lnTo>
                  <a:pt x="344" y="298"/>
                </a:lnTo>
                <a:lnTo>
                  <a:pt x="344" y="296"/>
                </a:lnTo>
                <a:lnTo>
                  <a:pt x="346" y="296"/>
                </a:lnTo>
                <a:lnTo>
                  <a:pt x="347" y="294"/>
                </a:lnTo>
                <a:lnTo>
                  <a:pt x="348" y="294"/>
                </a:lnTo>
                <a:lnTo>
                  <a:pt x="355" y="290"/>
                </a:lnTo>
                <a:lnTo>
                  <a:pt x="356" y="289"/>
                </a:lnTo>
                <a:lnTo>
                  <a:pt x="360" y="289"/>
                </a:lnTo>
                <a:lnTo>
                  <a:pt x="361" y="288"/>
                </a:lnTo>
                <a:close/>
                <a:moveTo>
                  <a:pt x="243" y="287"/>
                </a:moveTo>
                <a:lnTo>
                  <a:pt x="247" y="290"/>
                </a:lnTo>
                <a:lnTo>
                  <a:pt x="247" y="292"/>
                </a:lnTo>
                <a:lnTo>
                  <a:pt x="244" y="294"/>
                </a:lnTo>
                <a:lnTo>
                  <a:pt x="242" y="293"/>
                </a:lnTo>
                <a:lnTo>
                  <a:pt x="243" y="293"/>
                </a:lnTo>
                <a:lnTo>
                  <a:pt x="243" y="292"/>
                </a:lnTo>
                <a:lnTo>
                  <a:pt x="244" y="292"/>
                </a:lnTo>
                <a:lnTo>
                  <a:pt x="244" y="289"/>
                </a:lnTo>
                <a:lnTo>
                  <a:pt x="243" y="289"/>
                </a:lnTo>
                <a:lnTo>
                  <a:pt x="243" y="287"/>
                </a:lnTo>
                <a:close/>
                <a:moveTo>
                  <a:pt x="325" y="286"/>
                </a:moveTo>
                <a:lnTo>
                  <a:pt x="325" y="287"/>
                </a:lnTo>
                <a:lnTo>
                  <a:pt x="326" y="288"/>
                </a:lnTo>
                <a:lnTo>
                  <a:pt x="326" y="290"/>
                </a:lnTo>
                <a:lnTo>
                  <a:pt x="328" y="290"/>
                </a:lnTo>
                <a:lnTo>
                  <a:pt x="329" y="289"/>
                </a:lnTo>
                <a:lnTo>
                  <a:pt x="329" y="290"/>
                </a:lnTo>
                <a:lnTo>
                  <a:pt x="328" y="292"/>
                </a:lnTo>
                <a:lnTo>
                  <a:pt x="326" y="292"/>
                </a:lnTo>
                <a:lnTo>
                  <a:pt x="325" y="290"/>
                </a:lnTo>
                <a:lnTo>
                  <a:pt x="325" y="289"/>
                </a:lnTo>
                <a:lnTo>
                  <a:pt x="323" y="289"/>
                </a:lnTo>
                <a:lnTo>
                  <a:pt x="323" y="287"/>
                </a:lnTo>
                <a:lnTo>
                  <a:pt x="324" y="287"/>
                </a:lnTo>
                <a:lnTo>
                  <a:pt x="325" y="286"/>
                </a:lnTo>
                <a:close/>
                <a:moveTo>
                  <a:pt x="242" y="286"/>
                </a:moveTo>
                <a:lnTo>
                  <a:pt x="243" y="287"/>
                </a:lnTo>
                <a:lnTo>
                  <a:pt x="242" y="287"/>
                </a:lnTo>
                <a:lnTo>
                  <a:pt x="242" y="286"/>
                </a:lnTo>
                <a:close/>
                <a:moveTo>
                  <a:pt x="316" y="280"/>
                </a:moveTo>
                <a:lnTo>
                  <a:pt x="318" y="280"/>
                </a:lnTo>
                <a:lnTo>
                  <a:pt x="319" y="281"/>
                </a:lnTo>
                <a:lnTo>
                  <a:pt x="318" y="282"/>
                </a:lnTo>
                <a:lnTo>
                  <a:pt x="316" y="282"/>
                </a:lnTo>
                <a:lnTo>
                  <a:pt x="316" y="280"/>
                </a:lnTo>
                <a:close/>
                <a:moveTo>
                  <a:pt x="279" y="280"/>
                </a:moveTo>
                <a:lnTo>
                  <a:pt x="280" y="281"/>
                </a:lnTo>
                <a:lnTo>
                  <a:pt x="280" y="280"/>
                </a:lnTo>
                <a:lnTo>
                  <a:pt x="282" y="282"/>
                </a:lnTo>
                <a:lnTo>
                  <a:pt x="282" y="281"/>
                </a:lnTo>
                <a:lnTo>
                  <a:pt x="284" y="281"/>
                </a:lnTo>
                <a:lnTo>
                  <a:pt x="284" y="282"/>
                </a:lnTo>
                <a:lnTo>
                  <a:pt x="282" y="283"/>
                </a:lnTo>
                <a:lnTo>
                  <a:pt x="282" y="284"/>
                </a:lnTo>
                <a:lnTo>
                  <a:pt x="280" y="284"/>
                </a:lnTo>
                <a:lnTo>
                  <a:pt x="280" y="283"/>
                </a:lnTo>
                <a:lnTo>
                  <a:pt x="279" y="282"/>
                </a:lnTo>
                <a:lnTo>
                  <a:pt x="280" y="282"/>
                </a:lnTo>
                <a:lnTo>
                  <a:pt x="279" y="281"/>
                </a:lnTo>
                <a:lnTo>
                  <a:pt x="279" y="280"/>
                </a:lnTo>
                <a:close/>
                <a:moveTo>
                  <a:pt x="343" y="278"/>
                </a:moveTo>
                <a:lnTo>
                  <a:pt x="344" y="278"/>
                </a:lnTo>
                <a:lnTo>
                  <a:pt x="344" y="280"/>
                </a:lnTo>
                <a:lnTo>
                  <a:pt x="346" y="280"/>
                </a:lnTo>
                <a:lnTo>
                  <a:pt x="347" y="278"/>
                </a:lnTo>
                <a:lnTo>
                  <a:pt x="347" y="283"/>
                </a:lnTo>
                <a:lnTo>
                  <a:pt x="346" y="283"/>
                </a:lnTo>
                <a:lnTo>
                  <a:pt x="346" y="282"/>
                </a:lnTo>
                <a:lnTo>
                  <a:pt x="343" y="282"/>
                </a:lnTo>
                <a:lnTo>
                  <a:pt x="344" y="281"/>
                </a:lnTo>
                <a:lnTo>
                  <a:pt x="342" y="281"/>
                </a:lnTo>
                <a:lnTo>
                  <a:pt x="343" y="280"/>
                </a:lnTo>
                <a:lnTo>
                  <a:pt x="343" y="278"/>
                </a:lnTo>
                <a:close/>
                <a:moveTo>
                  <a:pt x="285" y="278"/>
                </a:moveTo>
                <a:lnTo>
                  <a:pt x="286" y="278"/>
                </a:lnTo>
                <a:lnTo>
                  <a:pt x="287" y="280"/>
                </a:lnTo>
                <a:lnTo>
                  <a:pt x="287" y="281"/>
                </a:lnTo>
                <a:lnTo>
                  <a:pt x="285" y="281"/>
                </a:lnTo>
                <a:lnTo>
                  <a:pt x="285" y="278"/>
                </a:lnTo>
                <a:close/>
                <a:moveTo>
                  <a:pt x="346" y="277"/>
                </a:moveTo>
                <a:lnTo>
                  <a:pt x="347" y="277"/>
                </a:lnTo>
                <a:lnTo>
                  <a:pt x="347" y="278"/>
                </a:lnTo>
                <a:lnTo>
                  <a:pt x="344" y="278"/>
                </a:lnTo>
                <a:lnTo>
                  <a:pt x="346" y="277"/>
                </a:lnTo>
                <a:close/>
                <a:moveTo>
                  <a:pt x="219" y="276"/>
                </a:moveTo>
                <a:lnTo>
                  <a:pt x="220" y="276"/>
                </a:lnTo>
                <a:lnTo>
                  <a:pt x="224" y="278"/>
                </a:lnTo>
                <a:lnTo>
                  <a:pt x="224" y="280"/>
                </a:lnTo>
                <a:lnTo>
                  <a:pt x="223" y="280"/>
                </a:lnTo>
                <a:lnTo>
                  <a:pt x="222" y="278"/>
                </a:lnTo>
                <a:lnTo>
                  <a:pt x="220" y="278"/>
                </a:lnTo>
                <a:lnTo>
                  <a:pt x="219" y="277"/>
                </a:lnTo>
                <a:lnTo>
                  <a:pt x="219" y="276"/>
                </a:lnTo>
                <a:close/>
                <a:moveTo>
                  <a:pt x="231" y="274"/>
                </a:moveTo>
                <a:lnTo>
                  <a:pt x="234" y="274"/>
                </a:lnTo>
                <a:lnTo>
                  <a:pt x="234" y="275"/>
                </a:lnTo>
                <a:lnTo>
                  <a:pt x="230" y="278"/>
                </a:lnTo>
                <a:lnTo>
                  <a:pt x="229" y="278"/>
                </a:lnTo>
                <a:lnTo>
                  <a:pt x="230" y="275"/>
                </a:lnTo>
                <a:lnTo>
                  <a:pt x="231" y="275"/>
                </a:lnTo>
                <a:lnTo>
                  <a:pt x="231" y="274"/>
                </a:lnTo>
                <a:close/>
                <a:moveTo>
                  <a:pt x="89" y="272"/>
                </a:moveTo>
                <a:lnTo>
                  <a:pt x="90" y="272"/>
                </a:lnTo>
                <a:lnTo>
                  <a:pt x="89" y="274"/>
                </a:lnTo>
                <a:lnTo>
                  <a:pt x="88" y="274"/>
                </a:lnTo>
                <a:lnTo>
                  <a:pt x="89" y="272"/>
                </a:lnTo>
                <a:close/>
                <a:moveTo>
                  <a:pt x="199" y="271"/>
                </a:moveTo>
                <a:lnTo>
                  <a:pt x="199" y="272"/>
                </a:lnTo>
                <a:lnTo>
                  <a:pt x="200" y="272"/>
                </a:lnTo>
                <a:lnTo>
                  <a:pt x="200" y="274"/>
                </a:lnTo>
                <a:lnTo>
                  <a:pt x="201" y="275"/>
                </a:lnTo>
                <a:lnTo>
                  <a:pt x="204" y="275"/>
                </a:lnTo>
                <a:lnTo>
                  <a:pt x="204" y="274"/>
                </a:lnTo>
                <a:lnTo>
                  <a:pt x="203" y="274"/>
                </a:lnTo>
                <a:lnTo>
                  <a:pt x="201" y="272"/>
                </a:lnTo>
                <a:lnTo>
                  <a:pt x="201" y="271"/>
                </a:lnTo>
                <a:lnTo>
                  <a:pt x="203" y="271"/>
                </a:lnTo>
                <a:lnTo>
                  <a:pt x="204" y="272"/>
                </a:lnTo>
                <a:lnTo>
                  <a:pt x="205" y="271"/>
                </a:lnTo>
                <a:lnTo>
                  <a:pt x="206" y="271"/>
                </a:lnTo>
                <a:lnTo>
                  <a:pt x="206" y="276"/>
                </a:lnTo>
                <a:lnTo>
                  <a:pt x="199" y="276"/>
                </a:lnTo>
                <a:lnTo>
                  <a:pt x="198" y="277"/>
                </a:lnTo>
                <a:lnTo>
                  <a:pt x="197" y="276"/>
                </a:lnTo>
                <a:lnTo>
                  <a:pt x="198" y="275"/>
                </a:lnTo>
                <a:lnTo>
                  <a:pt x="198" y="272"/>
                </a:lnTo>
                <a:lnTo>
                  <a:pt x="199" y="271"/>
                </a:lnTo>
                <a:close/>
                <a:moveTo>
                  <a:pt x="309" y="270"/>
                </a:moveTo>
                <a:lnTo>
                  <a:pt x="310" y="271"/>
                </a:lnTo>
                <a:lnTo>
                  <a:pt x="309" y="272"/>
                </a:lnTo>
                <a:lnTo>
                  <a:pt x="310" y="274"/>
                </a:lnTo>
                <a:lnTo>
                  <a:pt x="309" y="274"/>
                </a:lnTo>
                <a:lnTo>
                  <a:pt x="309" y="276"/>
                </a:lnTo>
                <a:lnTo>
                  <a:pt x="306" y="274"/>
                </a:lnTo>
                <a:lnTo>
                  <a:pt x="306" y="272"/>
                </a:lnTo>
                <a:lnTo>
                  <a:pt x="309" y="270"/>
                </a:lnTo>
                <a:close/>
                <a:moveTo>
                  <a:pt x="238" y="270"/>
                </a:moveTo>
                <a:lnTo>
                  <a:pt x="239" y="270"/>
                </a:lnTo>
                <a:lnTo>
                  <a:pt x="239" y="271"/>
                </a:lnTo>
                <a:lnTo>
                  <a:pt x="241" y="272"/>
                </a:lnTo>
                <a:lnTo>
                  <a:pt x="242" y="272"/>
                </a:lnTo>
                <a:lnTo>
                  <a:pt x="243" y="274"/>
                </a:lnTo>
                <a:lnTo>
                  <a:pt x="242" y="274"/>
                </a:lnTo>
                <a:lnTo>
                  <a:pt x="242" y="277"/>
                </a:lnTo>
                <a:lnTo>
                  <a:pt x="239" y="276"/>
                </a:lnTo>
                <a:lnTo>
                  <a:pt x="237" y="274"/>
                </a:lnTo>
                <a:lnTo>
                  <a:pt x="236" y="274"/>
                </a:lnTo>
                <a:lnTo>
                  <a:pt x="237" y="272"/>
                </a:lnTo>
                <a:lnTo>
                  <a:pt x="237" y="271"/>
                </a:lnTo>
                <a:lnTo>
                  <a:pt x="238" y="270"/>
                </a:lnTo>
                <a:close/>
                <a:moveTo>
                  <a:pt x="210" y="270"/>
                </a:moveTo>
                <a:lnTo>
                  <a:pt x="211" y="270"/>
                </a:lnTo>
                <a:lnTo>
                  <a:pt x="212" y="271"/>
                </a:lnTo>
                <a:lnTo>
                  <a:pt x="211" y="272"/>
                </a:lnTo>
                <a:lnTo>
                  <a:pt x="210" y="271"/>
                </a:lnTo>
                <a:lnTo>
                  <a:pt x="210" y="270"/>
                </a:lnTo>
                <a:close/>
                <a:moveTo>
                  <a:pt x="87" y="270"/>
                </a:moveTo>
                <a:lnTo>
                  <a:pt x="87" y="272"/>
                </a:lnTo>
                <a:lnTo>
                  <a:pt x="86" y="272"/>
                </a:lnTo>
                <a:lnTo>
                  <a:pt x="87" y="270"/>
                </a:lnTo>
                <a:close/>
                <a:moveTo>
                  <a:pt x="207" y="266"/>
                </a:moveTo>
                <a:lnTo>
                  <a:pt x="207" y="268"/>
                </a:lnTo>
                <a:lnTo>
                  <a:pt x="208" y="268"/>
                </a:lnTo>
                <a:lnTo>
                  <a:pt x="207" y="270"/>
                </a:lnTo>
                <a:lnTo>
                  <a:pt x="206" y="270"/>
                </a:lnTo>
                <a:lnTo>
                  <a:pt x="206" y="269"/>
                </a:lnTo>
                <a:lnTo>
                  <a:pt x="205" y="269"/>
                </a:lnTo>
                <a:lnTo>
                  <a:pt x="207" y="266"/>
                </a:lnTo>
                <a:close/>
                <a:moveTo>
                  <a:pt x="245" y="265"/>
                </a:moveTo>
                <a:lnTo>
                  <a:pt x="245" y="268"/>
                </a:lnTo>
                <a:lnTo>
                  <a:pt x="243" y="268"/>
                </a:lnTo>
                <a:lnTo>
                  <a:pt x="245" y="265"/>
                </a:lnTo>
                <a:close/>
                <a:moveTo>
                  <a:pt x="317" y="264"/>
                </a:moveTo>
                <a:lnTo>
                  <a:pt x="323" y="264"/>
                </a:lnTo>
                <a:lnTo>
                  <a:pt x="325" y="266"/>
                </a:lnTo>
                <a:lnTo>
                  <a:pt x="324" y="266"/>
                </a:lnTo>
                <a:lnTo>
                  <a:pt x="319" y="268"/>
                </a:lnTo>
                <a:lnTo>
                  <a:pt x="316" y="271"/>
                </a:lnTo>
                <a:lnTo>
                  <a:pt x="310" y="271"/>
                </a:lnTo>
                <a:lnTo>
                  <a:pt x="310" y="270"/>
                </a:lnTo>
                <a:lnTo>
                  <a:pt x="311" y="270"/>
                </a:lnTo>
                <a:lnTo>
                  <a:pt x="311" y="269"/>
                </a:lnTo>
                <a:lnTo>
                  <a:pt x="312" y="268"/>
                </a:lnTo>
                <a:lnTo>
                  <a:pt x="317" y="264"/>
                </a:lnTo>
                <a:close/>
                <a:moveTo>
                  <a:pt x="253" y="263"/>
                </a:moveTo>
                <a:lnTo>
                  <a:pt x="254" y="264"/>
                </a:lnTo>
                <a:lnTo>
                  <a:pt x="255" y="264"/>
                </a:lnTo>
                <a:lnTo>
                  <a:pt x="254" y="265"/>
                </a:lnTo>
                <a:lnTo>
                  <a:pt x="251" y="265"/>
                </a:lnTo>
                <a:lnTo>
                  <a:pt x="251" y="264"/>
                </a:lnTo>
                <a:lnTo>
                  <a:pt x="253" y="264"/>
                </a:lnTo>
                <a:lnTo>
                  <a:pt x="253" y="263"/>
                </a:lnTo>
                <a:close/>
                <a:moveTo>
                  <a:pt x="268" y="262"/>
                </a:moveTo>
                <a:lnTo>
                  <a:pt x="270" y="264"/>
                </a:lnTo>
                <a:lnTo>
                  <a:pt x="268" y="264"/>
                </a:lnTo>
                <a:lnTo>
                  <a:pt x="268" y="265"/>
                </a:lnTo>
                <a:lnTo>
                  <a:pt x="266" y="266"/>
                </a:lnTo>
                <a:lnTo>
                  <a:pt x="263" y="269"/>
                </a:lnTo>
                <a:lnTo>
                  <a:pt x="263" y="270"/>
                </a:lnTo>
                <a:lnTo>
                  <a:pt x="260" y="271"/>
                </a:lnTo>
                <a:lnTo>
                  <a:pt x="257" y="271"/>
                </a:lnTo>
                <a:lnTo>
                  <a:pt x="257" y="269"/>
                </a:lnTo>
                <a:lnTo>
                  <a:pt x="262" y="269"/>
                </a:lnTo>
                <a:lnTo>
                  <a:pt x="262" y="268"/>
                </a:lnTo>
                <a:lnTo>
                  <a:pt x="261" y="268"/>
                </a:lnTo>
                <a:lnTo>
                  <a:pt x="261" y="266"/>
                </a:lnTo>
                <a:lnTo>
                  <a:pt x="262" y="266"/>
                </a:lnTo>
                <a:lnTo>
                  <a:pt x="267" y="264"/>
                </a:lnTo>
                <a:lnTo>
                  <a:pt x="266" y="264"/>
                </a:lnTo>
                <a:lnTo>
                  <a:pt x="266" y="263"/>
                </a:lnTo>
                <a:lnTo>
                  <a:pt x="267" y="263"/>
                </a:lnTo>
                <a:lnTo>
                  <a:pt x="268" y="262"/>
                </a:lnTo>
                <a:close/>
                <a:moveTo>
                  <a:pt x="228" y="257"/>
                </a:moveTo>
                <a:lnTo>
                  <a:pt x="230" y="257"/>
                </a:lnTo>
                <a:lnTo>
                  <a:pt x="229" y="259"/>
                </a:lnTo>
                <a:lnTo>
                  <a:pt x="229" y="262"/>
                </a:lnTo>
                <a:lnTo>
                  <a:pt x="228" y="260"/>
                </a:lnTo>
                <a:lnTo>
                  <a:pt x="228" y="259"/>
                </a:lnTo>
                <a:lnTo>
                  <a:pt x="226" y="258"/>
                </a:lnTo>
                <a:lnTo>
                  <a:pt x="228" y="258"/>
                </a:lnTo>
                <a:lnTo>
                  <a:pt x="228" y="257"/>
                </a:lnTo>
                <a:close/>
                <a:moveTo>
                  <a:pt x="211" y="256"/>
                </a:moveTo>
                <a:lnTo>
                  <a:pt x="212" y="257"/>
                </a:lnTo>
                <a:lnTo>
                  <a:pt x="213" y="257"/>
                </a:lnTo>
                <a:lnTo>
                  <a:pt x="213" y="258"/>
                </a:lnTo>
                <a:lnTo>
                  <a:pt x="216" y="259"/>
                </a:lnTo>
                <a:lnTo>
                  <a:pt x="216" y="262"/>
                </a:lnTo>
                <a:lnTo>
                  <a:pt x="214" y="262"/>
                </a:lnTo>
                <a:lnTo>
                  <a:pt x="213" y="264"/>
                </a:lnTo>
                <a:lnTo>
                  <a:pt x="213" y="263"/>
                </a:lnTo>
                <a:lnTo>
                  <a:pt x="212" y="262"/>
                </a:lnTo>
                <a:lnTo>
                  <a:pt x="212" y="258"/>
                </a:lnTo>
                <a:lnTo>
                  <a:pt x="211" y="258"/>
                </a:lnTo>
                <a:lnTo>
                  <a:pt x="211" y="256"/>
                </a:lnTo>
                <a:close/>
                <a:moveTo>
                  <a:pt x="305" y="255"/>
                </a:moveTo>
                <a:lnTo>
                  <a:pt x="306" y="255"/>
                </a:lnTo>
                <a:lnTo>
                  <a:pt x="310" y="256"/>
                </a:lnTo>
                <a:lnTo>
                  <a:pt x="310" y="259"/>
                </a:lnTo>
                <a:lnTo>
                  <a:pt x="311" y="258"/>
                </a:lnTo>
                <a:lnTo>
                  <a:pt x="312" y="258"/>
                </a:lnTo>
                <a:lnTo>
                  <a:pt x="312" y="260"/>
                </a:lnTo>
                <a:lnTo>
                  <a:pt x="311" y="260"/>
                </a:lnTo>
                <a:lnTo>
                  <a:pt x="311" y="262"/>
                </a:lnTo>
                <a:lnTo>
                  <a:pt x="310" y="262"/>
                </a:lnTo>
                <a:lnTo>
                  <a:pt x="310" y="263"/>
                </a:lnTo>
                <a:lnTo>
                  <a:pt x="307" y="263"/>
                </a:lnTo>
                <a:lnTo>
                  <a:pt x="307" y="262"/>
                </a:lnTo>
                <a:lnTo>
                  <a:pt x="306" y="262"/>
                </a:lnTo>
                <a:lnTo>
                  <a:pt x="306" y="260"/>
                </a:lnTo>
                <a:lnTo>
                  <a:pt x="307" y="260"/>
                </a:lnTo>
                <a:lnTo>
                  <a:pt x="307" y="258"/>
                </a:lnTo>
                <a:lnTo>
                  <a:pt x="309" y="258"/>
                </a:lnTo>
                <a:lnTo>
                  <a:pt x="309" y="257"/>
                </a:lnTo>
                <a:lnTo>
                  <a:pt x="306" y="257"/>
                </a:lnTo>
                <a:lnTo>
                  <a:pt x="306" y="256"/>
                </a:lnTo>
                <a:lnTo>
                  <a:pt x="305" y="255"/>
                </a:lnTo>
                <a:close/>
                <a:moveTo>
                  <a:pt x="259" y="252"/>
                </a:moveTo>
                <a:lnTo>
                  <a:pt x="261" y="252"/>
                </a:lnTo>
                <a:lnTo>
                  <a:pt x="261" y="253"/>
                </a:lnTo>
                <a:lnTo>
                  <a:pt x="260" y="253"/>
                </a:lnTo>
                <a:lnTo>
                  <a:pt x="259" y="252"/>
                </a:lnTo>
                <a:close/>
                <a:moveTo>
                  <a:pt x="237" y="251"/>
                </a:moveTo>
                <a:lnTo>
                  <a:pt x="238" y="251"/>
                </a:lnTo>
                <a:lnTo>
                  <a:pt x="238" y="252"/>
                </a:lnTo>
                <a:lnTo>
                  <a:pt x="237" y="252"/>
                </a:lnTo>
                <a:lnTo>
                  <a:pt x="237" y="251"/>
                </a:lnTo>
                <a:close/>
                <a:moveTo>
                  <a:pt x="235" y="251"/>
                </a:moveTo>
                <a:lnTo>
                  <a:pt x="236" y="251"/>
                </a:lnTo>
                <a:lnTo>
                  <a:pt x="235" y="252"/>
                </a:lnTo>
                <a:lnTo>
                  <a:pt x="237" y="252"/>
                </a:lnTo>
                <a:lnTo>
                  <a:pt x="237" y="257"/>
                </a:lnTo>
                <a:lnTo>
                  <a:pt x="235" y="259"/>
                </a:lnTo>
                <a:lnTo>
                  <a:pt x="232" y="259"/>
                </a:lnTo>
                <a:lnTo>
                  <a:pt x="231" y="258"/>
                </a:lnTo>
                <a:lnTo>
                  <a:pt x="230" y="258"/>
                </a:lnTo>
                <a:lnTo>
                  <a:pt x="230" y="256"/>
                </a:lnTo>
                <a:lnTo>
                  <a:pt x="231" y="255"/>
                </a:lnTo>
                <a:lnTo>
                  <a:pt x="232" y="255"/>
                </a:lnTo>
                <a:lnTo>
                  <a:pt x="232" y="253"/>
                </a:lnTo>
                <a:lnTo>
                  <a:pt x="235" y="251"/>
                </a:lnTo>
                <a:close/>
                <a:moveTo>
                  <a:pt x="301" y="249"/>
                </a:moveTo>
                <a:lnTo>
                  <a:pt x="304" y="249"/>
                </a:lnTo>
                <a:lnTo>
                  <a:pt x="304" y="251"/>
                </a:lnTo>
                <a:lnTo>
                  <a:pt x="305" y="251"/>
                </a:lnTo>
                <a:lnTo>
                  <a:pt x="305" y="253"/>
                </a:lnTo>
                <a:lnTo>
                  <a:pt x="303" y="253"/>
                </a:lnTo>
                <a:lnTo>
                  <a:pt x="304" y="252"/>
                </a:lnTo>
                <a:lnTo>
                  <a:pt x="303" y="252"/>
                </a:lnTo>
                <a:lnTo>
                  <a:pt x="303" y="251"/>
                </a:lnTo>
                <a:lnTo>
                  <a:pt x="301" y="251"/>
                </a:lnTo>
                <a:lnTo>
                  <a:pt x="301" y="250"/>
                </a:lnTo>
                <a:lnTo>
                  <a:pt x="300" y="250"/>
                </a:lnTo>
                <a:lnTo>
                  <a:pt x="301" y="249"/>
                </a:lnTo>
                <a:close/>
                <a:moveTo>
                  <a:pt x="247" y="249"/>
                </a:moveTo>
                <a:lnTo>
                  <a:pt x="249" y="249"/>
                </a:lnTo>
                <a:lnTo>
                  <a:pt x="250" y="250"/>
                </a:lnTo>
                <a:lnTo>
                  <a:pt x="250" y="251"/>
                </a:lnTo>
                <a:lnTo>
                  <a:pt x="251" y="253"/>
                </a:lnTo>
                <a:lnTo>
                  <a:pt x="250" y="255"/>
                </a:lnTo>
                <a:lnTo>
                  <a:pt x="250" y="258"/>
                </a:lnTo>
                <a:lnTo>
                  <a:pt x="249" y="260"/>
                </a:lnTo>
                <a:lnTo>
                  <a:pt x="248" y="260"/>
                </a:lnTo>
                <a:lnTo>
                  <a:pt x="247" y="263"/>
                </a:lnTo>
                <a:lnTo>
                  <a:pt x="244" y="263"/>
                </a:lnTo>
                <a:lnTo>
                  <a:pt x="244" y="260"/>
                </a:lnTo>
                <a:lnTo>
                  <a:pt x="243" y="260"/>
                </a:lnTo>
                <a:lnTo>
                  <a:pt x="242" y="259"/>
                </a:lnTo>
                <a:lnTo>
                  <a:pt x="242" y="257"/>
                </a:lnTo>
                <a:lnTo>
                  <a:pt x="241" y="256"/>
                </a:lnTo>
                <a:lnTo>
                  <a:pt x="241" y="255"/>
                </a:lnTo>
                <a:lnTo>
                  <a:pt x="242" y="255"/>
                </a:lnTo>
                <a:lnTo>
                  <a:pt x="243" y="252"/>
                </a:lnTo>
                <a:lnTo>
                  <a:pt x="247" y="249"/>
                </a:lnTo>
                <a:close/>
                <a:moveTo>
                  <a:pt x="204" y="247"/>
                </a:moveTo>
                <a:lnTo>
                  <a:pt x="205" y="249"/>
                </a:lnTo>
                <a:lnTo>
                  <a:pt x="206" y="249"/>
                </a:lnTo>
                <a:lnTo>
                  <a:pt x="206" y="251"/>
                </a:lnTo>
                <a:lnTo>
                  <a:pt x="205" y="251"/>
                </a:lnTo>
                <a:lnTo>
                  <a:pt x="205" y="253"/>
                </a:lnTo>
                <a:lnTo>
                  <a:pt x="204" y="252"/>
                </a:lnTo>
                <a:lnTo>
                  <a:pt x="201" y="252"/>
                </a:lnTo>
                <a:lnTo>
                  <a:pt x="201" y="250"/>
                </a:lnTo>
                <a:lnTo>
                  <a:pt x="203" y="250"/>
                </a:lnTo>
                <a:lnTo>
                  <a:pt x="201" y="249"/>
                </a:lnTo>
                <a:lnTo>
                  <a:pt x="204" y="249"/>
                </a:lnTo>
                <a:lnTo>
                  <a:pt x="204" y="247"/>
                </a:lnTo>
                <a:close/>
                <a:moveTo>
                  <a:pt x="145" y="244"/>
                </a:moveTo>
                <a:lnTo>
                  <a:pt x="148" y="244"/>
                </a:lnTo>
                <a:lnTo>
                  <a:pt x="148" y="246"/>
                </a:lnTo>
                <a:lnTo>
                  <a:pt x="147" y="246"/>
                </a:lnTo>
                <a:lnTo>
                  <a:pt x="147" y="245"/>
                </a:lnTo>
                <a:lnTo>
                  <a:pt x="145" y="244"/>
                </a:lnTo>
                <a:close/>
                <a:moveTo>
                  <a:pt x="291" y="241"/>
                </a:moveTo>
                <a:lnTo>
                  <a:pt x="292" y="243"/>
                </a:lnTo>
                <a:lnTo>
                  <a:pt x="292" y="245"/>
                </a:lnTo>
                <a:lnTo>
                  <a:pt x="291" y="244"/>
                </a:lnTo>
                <a:lnTo>
                  <a:pt x="291" y="241"/>
                </a:lnTo>
                <a:close/>
                <a:moveTo>
                  <a:pt x="291" y="239"/>
                </a:moveTo>
                <a:lnTo>
                  <a:pt x="293" y="239"/>
                </a:lnTo>
                <a:lnTo>
                  <a:pt x="293" y="240"/>
                </a:lnTo>
                <a:lnTo>
                  <a:pt x="292" y="240"/>
                </a:lnTo>
                <a:lnTo>
                  <a:pt x="292" y="241"/>
                </a:lnTo>
                <a:lnTo>
                  <a:pt x="291" y="241"/>
                </a:lnTo>
                <a:lnTo>
                  <a:pt x="291" y="239"/>
                </a:lnTo>
                <a:close/>
                <a:moveTo>
                  <a:pt x="163" y="239"/>
                </a:moveTo>
                <a:lnTo>
                  <a:pt x="166" y="239"/>
                </a:lnTo>
                <a:lnTo>
                  <a:pt x="166" y="240"/>
                </a:lnTo>
                <a:lnTo>
                  <a:pt x="163" y="240"/>
                </a:lnTo>
                <a:lnTo>
                  <a:pt x="163" y="241"/>
                </a:lnTo>
                <a:lnTo>
                  <a:pt x="162" y="241"/>
                </a:lnTo>
                <a:lnTo>
                  <a:pt x="161" y="243"/>
                </a:lnTo>
                <a:lnTo>
                  <a:pt x="157" y="243"/>
                </a:lnTo>
                <a:lnTo>
                  <a:pt x="161" y="240"/>
                </a:lnTo>
                <a:lnTo>
                  <a:pt x="162" y="240"/>
                </a:lnTo>
                <a:lnTo>
                  <a:pt x="163" y="239"/>
                </a:lnTo>
                <a:close/>
                <a:moveTo>
                  <a:pt x="201" y="233"/>
                </a:moveTo>
                <a:lnTo>
                  <a:pt x="203" y="233"/>
                </a:lnTo>
                <a:lnTo>
                  <a:pt x="203" y="234"/>
                </a:lnTo>
                <a:lnTo>
                  <a:pt x="201" y="235"/>
                </a:lnTo>
                <a:lnTo>
                  <a:pt x="204" y="237"/>
                </a:lnTo>
                <a:lnTo>
                  <a:pt x="204" y="238"/>
                </a:lnTo>
                <a:lnTo>
                  <a:pt x="203" y="238"/>
                </a:lnTo>
                <a:lnTo>
                  <a:pt x="203" y="240"/>
                </a:lnTo>
                <a:lnTo>
                  <a:pt x="200" y="243"/>
                </a:lnTo>
                <a:lnTo>
                  <a:pt x="199" y="243"/>
                </a:lnTo>
                <a:lnTo>
                  <a:pt x="199" y="240"/>
                </a:lnTo>
                <a:lnTo>
                  <a:pt x="200" y="240"/>
                </a:lnTo>
                <a:lnTo>
                  <a:pt x="200" y="237"/>
                </a:lnTo>
                <a:lnTo>
                  <a:pt x="199" y="237"/>
                </a:lnTo>
                <a:lnTo>
                  <a:pt x="199" y="235"/>
                </a:lnTo>
                <a:lnTo>
                  <a:pt x="200" y="234"/>
                </a:lnTo>
                <a:lnTo>
                  <a:pt x="201" y="234"/>
                </a:lnTo>
                <a:lnTo>
                  <a:pt x="201" y="233"/>
                </a:lnTo>
                <a:close/>
                <a:moveTo>
                  <a:pt x="239" y="232"/>
                </a:moveTo>
                <a:lnTo>
                  <a:pt x="241" y="232"/>
                </a:lnTo>
                <a:lnTo>
                  <a:pt x="242" y="234"/>
                </a:lnTo>
                <a:lnTo>
                  <a:pt x="242" y="233"/>
                </a:lnTo>
                <a:lnTo>
                  <a:pt x="244" y="233"/>
                </a:lnTo>
                <a:lnTo>
                  <a:pt x="244" y="234"/>
                </a:lnTo>
                <a:lnTo>
                  <a:pt x="245" y="234"/>
                </a:lnTo>
                <a:lnTo>
                  <a:pt x="245" y="235"/>
                </a:lnTo>
                <a:lnTo>
                  <a:pt x="243" y="235"/>
                </a:lnTo>
                <a:lnTo>
                  <a:pt x="243" y="237"/>
                </a:lnTo>
                <a:lnTo>
                  <a:pt x="238" y="237"/>
                </a:lnTo>
                <a:lnTo>
                  <a:pt x="238" y="235"/>
                </a:lnTo>
                <a:lnTo>
                  <a:pt x="239" y="235"/>
                </a:lnTo>
                <a:lnTo>
                  <a:pt x="239" y="234"/>
                </a:lnTo>
                <a:lnTo>
                  <a:pt x="238" y="234"/>
                </a:lnTo>
                <a:lnTo>
                  <a:pt x="239" y="233"/>
                </a:lnTo>
                <a:lnTo>
                  <a:pt x="239" y="232"/>
                </a:lnTo>
                <a:close/>
                <a:moveTo>
                  <a:pt x="222" y="232"/>
                </a:moveTo>
                <a:lnTo>
                  <a:pt x="223" y="232"/>
                </a:lnTo>
                <a:lnTo>
                  <a:pt x="224" y="233"/>
                </a:lnTo>
                <a:lnTo>
                  <a:pt x="224" y="238"/>
                </a:lnTo>
                <a:lnTo>
                  <a:pt x="222" y="239"/>
                </a:lnTo>
                <a:lnTo>
                  <a:pt x="220" y="240"/>
                </a:lnTo>
                <a:lnTo>
                  <a:pt x="220" y="239"/>
                </a:lnTo>
                <a:lnTo>
                  <a:pt x="222" y="238"/>
                </a:lnTo>
                <a:lnTo>
                  <a:pt x="220" y="238"/>
                </a:lnTo>
                <a:lnTo>
                  <a:pt x="220" y="235"/>
                </a:lnTo>
                <a:lnTo>
                  <a:pt x="222" y="235"/>
                </a:lnTo>
                <a:lnTo>
                  <a:pt x="222" y="232"/>
                </a:lnTo>
                <a:close/>
                <a:moveTo>
                  <a:pt x="162" y="229"/>
                </a:moveTo>
                <a:lnTo>
                  <a:pt x="162" y="231"/>
                </a:lnTo>
                <a:lnTo>
                  <a:pt x="163" y="231"/>
                </a:lnTo>
                <a:lnTo>
                  <a:pt x="163" y="232"/>
                </a:lnTo>
                <a:lnTo>
                  <a:pt x="161" y="232"/>
                </a:lnTo>
                <a:lnTo>
                  <a:pt x="160" y="231"/>
                </a:lnTo>
                <a:lnTo>
                  <a:pt x="161" y="231"/>
                </a:lnTo>
                <a:lnTo>
                  <a:pt x="162" y="229"/>
                </a:lnTo>
                <a:close/>
                <a:moveTo>
                  <a:pt x="213" y="226"/>
                </a:moveTo>
                <a:lnTo>
                  <a:pt x="214" y="226"/>
                </a:lnTo>
                <a:lnTo>
                  <a:pt x="214" y="227"/>
                </a:lnTo>
                <a:lnTo>
                  <a:pt x="212" y="227"/>
                </a:lnTo>
                <a:lnTo>
                  <a:pt x="213" y="226"/>
                </a:lnTo>
                <a:close/>
                <a:moveTo>
                  <a:pt x="281" y="222"/>
                </a:moveTo>
                <a:lnTo>
                  <a:pt x="284" y="222"/>
                </a:lnTo>
                <a:lnTo>
                  <a:pt x="276" y="229"/>
                </a:lnTo>
                <a:lnTo>
                  <a:pt x="273" y="229"/>
                </a:lnTo>
                <a:lnTo>
                  <a:pt x="272" y="231"/>
                </a:lnTo>
                <a:lnTo>
                  <a:pt x="270" y="231"/>
                </a:lnTo>
                <a:lnTo>
                  <a:pt x="270" y="232"/>
                </a:lnTo>
                <a:lnTo>
                  <a:pt x="269" y="232"/>
                </a:lnTo>
                <a:lnTo>
                  <a:pt x="269" y="231"/>
                </a:lnTo>
                <a:lnTo>
                  <a:pt x="268" y="232"/>
                </a:lnTo>
                <a:lnTo>
                  <a:pt x="267" y="232"/>
                </a:lnTo>
                <a:lnTo>
                  <a:pt x="267" y="229"/>
                </a:lnTo>
                <a:lnTo>
                  <a:pt x="268" y="228"/>
                </a:lnTo>
                <a:lnTo>
                  <a:pt x="269" y="228"/>
                </a:lnTo>
                <a:lnTo>
                  <a:pt x="269" y="226"/>
                </a:lnTo>
                <a:lnTo>
                  <a:pt x="270" y="226"/>
                </a:lnTo>
                <a:lnTo>
                  <a:pt x="270" y="225"/>
                </a:lnTo>
                <a:lnTo>
                  <a:pt x="272" y="225"/>
                </a:lnTo>
                <a:lnTo>
                  <a:pt x="274" y="226"/>
                </a:lnTo>
                <a:lnTo>
                  <a:pt x="275" y="225"/>
                </a:lnTo>
                <a:lnTo>
                  <a:pt x="276" y="226"/>
                </a:lnTo>
                <a:lnTo>
                  <a:pt x="278" y="225"/>
                </a:lnTo>
                <a:lnTo>
                  <a:pt x="279" y="225"/>
                </a:lnTo>
                <a:lnTo>
                  <a:pt x="281" y="222"/>
                </a:lnTo>
                <a:close/>
                <a:moveTo>
                  <a:pt x="225" y="222"/>
                </a:moveTo>
                <a:lnTo>
                  <a:pt x="228" y="222"/>
                </a:lnTo>
                <a:lnTo>
                  <a:pt x="228" y="223"/>
                </a:lnTo>
                <a:lnTo>
                  <a:pt x="229" y="223"/>
                </a:lnTo>
                <a:lnTo>
                  <a:pt x="229" y="225"/>
                </a:lnTo>
                <a:lnTo>
                  <a:pt x="231" y="225"/>
                </a:lnTo>
                <a:lnTo>
                  <a:pt x="232" y="226"/>
                </a:lnTo>
                <a:lnTo>
                  <a:pt x="232" y="225"/>
                </a:lnTo>
                <a:lnTo>
                  <a:pt x="234" y="225"/>
                </a:lnTo>
                <a:lnTo>
                  <a:pt x="235" y="226"/>
                </a:lnTo>
                <a:lnTo>
                  <a:pt x="236" y="226"/>
                </a:lnTo>
                <a:lnTo>
                  <a:pt x="236" y="227"/>
                </a:lnTo>
                <a:lnTo>
                  <a:pt x="237" y="227"/>
                </a:lnTo>
                <a:lnTo>
                  <a:pt x="236" y="229"/>
                </a:lnTo>
                <a:lnTo>
                  <a:pt x="235" y="231"/>
                </a:lnTo>
                <a:lnTo>
                  <a:pt x="232" y="231"/>
                </a:lnTo>
                <a:lnTo>
                  <a:pt x="230" y="228"/>
                </a:lnTo>
                <a:lnTo>
                  <a:pt x="229" y="228"/>
                </a:lnTo>
                <a:lnTo>
                  <a:pt x="228" y="226"/>
                </a:lnTo>
                <a:lnTo>
                  <a:pt x="226" y="226"/>
                </a:lnTo>
                <a:lnTo>
                  <a:pt x="225" y="225"/>
                </a:lnTo>
                <a:lnTo>
                  <a:pt x="225" y="222"/>
                </a:lnTo>
                <a:close/>
                <a:moveTo>
                  <a:pt x="197" y="222"/>
                </a:moveTo>
                <a:lnTo>
                  <a:pt x="199" y="222"/>
                </a:lnTo>
                <a:lnTo>
                  <a:pt x="200" y="225"/>
                </a:lnTo>
                <a:lnTo>
                  <a:pt x="200" y="226"/>
                </a:lnTo>
                <a:lnTo>
                  <a:pt x="198" y="228"/>
                </a:lnTo>
                <a:lnTo>
                  <a:pt x="197" y="231"/>
                </a:lnTo>
                <a:lnTo>
                  <a:pt x="195" y="231"/>
                </a:lnTo>
                <a:lnTo>
                  <a:pt x="195" y="225"/>
                </a:lnTo>
                <a:lnTo>
                  <a:pt x="197" y="223"/>
                </a:lnTo>
                <a:lnTo>
                  <a:pt x="197" y="222"/>
                </a:lnTo>
                <a:close/>
                <a:moveTo>
                  <a:pt x="164" y="217"/>
                </a:moveTo>
                <a:lnTo>
                  <a:pt x="166" y="219"/>
                </a:lnTo>
                <a:lnTo>
                  <a:pt x="164" y="219"/>
                </a:lnTo>
                <a:lnTo>
                  <a:pt x="164" y="220"/>
                </a:lnTo>
                <a:lnTo>
                  <a:pt x="163" y="220"/>
                </a:lnTo>
                <a:lnTo>
                  <a:pt x="163" y="222"/>
                </a:lnTo>
                <a:lnTo>
                  <a:pt x="161" y="222"/>
                </a:lnTo>
                <a:lnTo>
                  <a:pt x="161" y="221"/>
                </a:lnTo>
                <a:lnTo>
                  <a:pt x="160" y="220"/>
                </a:lnTo>
                <a:lnTo>
                  <a:pt x="160" y="219"/>
                </a:lnTo>
                <a:lnTo>
                  <a:pt x="164" y="217"/>
                </a:lnTo>
                <a:close/>
                <a:moveTo>
                  <a:pt x="300" y="215"/>
                </a:moveTo>
                <a:lnTo>
                  <a:pt x="301" y="215"/>
                </a:lnTo>
                <a:lnTo>
                  <a:pt x="304" y="216"/>
                </a:lnTo>
                <a:lnTo>
                  <a:pt x="305" y="217"/>
                </a:lnTo>
                <a:lnTo>
                  <a:pt x="306" y="217"/>
                </a:lnTo>
                <a:lnTo>
                  <a:pt x="309" y="219"/>
                </a:lnTo>
                <a:lnTo>
                  <a:pt x="309" y="217"/>
                </a:lnTo>
                <a:lnTo>
                  <a:pt x="313" y="217"/>
                </a:lnTo>
                <a:lnTo>
                  <a:pt x="312" y="219"/>
                </a:lnTo>
                <a:lnTo>
                  <a:pt x="311" y="219"/>
                </a:lnTo>
                <a:lnTo>
                  <a:pt x="312" y="220"/>
                </a:lnTo>
                <a:lnTo>
                  <a:pt x="313" y="220"/>
                </a:lnTo>
                <a:lnTo>
                  <a:pt x="313" y="221"/>
                </a:lnTo>
                <a:lnTo>
                  <a:pt x="310" y="221"/>
                </a:lnTo>
                <a:lnTo>
                  <a:pt x="306" y="223"/>
                </a:lnTo>
                <a:lnTo>
                  <a:pt x="305" y="223"/>
                </a:lnTo>
                <a:lnTo>
                  <a:pt x="305" y="225"/>
                </a:lnTo>
                <a:lnTo>
                  <a:pt x="301" y="225"/>
                </a:lnTo>
                <a:lnTo>
                  <a:pt x="300" y="223"/>
                </a:lnTo>
                <a:lnTo>
                  <a:pt x="300" y="222"/>
                </a:lnTo>
                <a:lnTo>
                  <a:pt x="299" y="222"/>
                </a:lnTo>
                <a:lnTo>
                  <a:pt x="299" y="221"/>
                </a:lnTo>
                <a:lnTo>
                  <a:pt x="295" y="221"/>
                </a:lnTo>
                <a:lnTo>
                  <a:pt x="295" y="222"/>
                </a:lnTo>
                <a:lnTo>
                  <a:pt x="293" y="222"/>
                </a:lnTo>
                <a:lnTo>
                  <a:pt x="292" y="221"/>
                </a:lnTo>
                <a:lnTo>
                  <a:pt x="292" y="220"/>
                </a:lnTo>
                <a:lnTo>
                  <a:pt x="293" y="219"/>
                </a:lnTo>
                <a:lnTo>
                  <a:pt x="294" y="219"/>
                </a:lnTo>
                <a:lnTo>
                  <a:pt x="295" y="217"/>
                </a:lnTo>
                <a:lnTo>
                  <a:pt x="295" y="216"/>
                </a:lnTo>
                <a:lnTo>
                  <a:pt x="300" y="215"/>
                </a:lnTo>
                <a:close/>
                <a:moveTo>
                  <a:pt x="44" y="209"/>
                </a:moveTo>
                <a:lnTo>
                  <a:pt x="45" y="210"/>
                </a:lnTo>
                <a:lnTo>
                  <a:pt x="45" y="212"/>
                </a:lnTo>
                <a:lnTo>
                  <a:pt x="46" y="213"/>
                </a:lnTo>
                <a:lnTo>
                  <a:pt x="46" y="214"/>
                </a:lnTo>
                <a:lnTo>
                  <a:pt x="51" y="214"/>
                </a:lnTo>
                <a:lnTo>
                  <a:pt x="52" y="215"/>
                </a:lnTo>
                <a:lnTo>
                  <a:pt x="52" y="216"/>
                </a:lnTo>
                <a:lnTo>
                  <a:pt x="54" y="219"/>
                </a:lnTo>
                <a:lnTo>
                  <a:pt x="56" y="220"/>
                </a:lnTo>
                <a:lnTo>
                  <a:pt x="57" y="222"/>
                </a:lnTo>
                <a:lnTo>
                  <a:pt x="55" y="220"/>
                </a:lnTo>
                <a:lnTo>
                  <a:pt x="52" y="220"/>
                </a:lnTo>
                <a:lnTo>
                  <a:pt x="51" y="221"/>
                </a:lnTo>
                <a:lnTo>
                  <a:pt x="50" y="221"/>
                </a:lnTo>
                <a:lnTo>
                  <a:pt x="50" y="222"/>
                </a:lnTo>
                <a:lnTo>
                  <a:pt x="51" y="223"/>
                </a:lnTo>
                <a:lnTo>
                  <a:pt x="50" y="225"/>
                </a:lnTo>
                <a:lnTo>
                  <a:pt x="49" y="225"/>
                </a:lnTo>
                <a:lnTo>
                  <a:pt x="48" y="222"/>
                </a:lnTo>
                <a:lnTo>
                  <a:pt x="45" y="221"/>
                </a:lnTo>
                <a:lnTo>
                  <a:pt x="44" y="220"/>
                </a:lnTo>
                <a:lnTo>
                  <a:pt x="44" y="217"/>
                </a:lnTo>
                <a:lnTo>
                  <a:pt x="42" y="216"/>
                </a:lnTo>
                <a:lnTo>
                  <a:pt x="40" y="215"/>
                </a:lnTo>
                <a:lnTo>
                  <a:pt x="42" y="215"/>
                </a:lnTo>
                <a:lnTo>
                  <a:pt x="40" y="214"/>
                </a:lnTo>
                <a:lnTo>
                  <a:pt x="42" y="214"/>
                </a:lnTo>
                <a:lnTo>
                  <a:pt x="40" y="213"/>
                </a:lnTo>
                <a:lnTo>
                  <a:pt x="44" y="209"/>
                </a:lnTo>
                <a:close/>
                <a:moveTo>
                  <a:pt x="216" y="206"/>
                </a:moveTo>
                <a:lnTo>
                  <a:pt x="217" y="206"/>
                </a:lnTo>
                <a:lnTo>
                  <a:pt x="217" y="207"/>
                </a:lnTo>
                <a:lnTo>
                  <a:pt x="218" y="207"/>
                </a:lnTo>
                <a:lnTo>
                  <a:pt x="218" y="208"/>
                </a:lnTo>
                <a:lnTo>
                  <a:pt x="219" y="209"/>
                </a:lnTo>
                <a:lnTo>
                  <a:pt x="219" y="210"/>
                </a:lnTo>
                <a:lnTo>
                  <a:pt x="224" y="210"/>
                </a:lnTo>
                <a:lnTo>
                  <a:pt x="224" y="213"/>
                </a:lnTo>
                <a:lnTo>
                  <a:pt x="223" y="214"/>
                </a:lnTo>
                <a:lnTo>
                  <a:pt x="225" y="215"/>
                </a:lnTo>
                <a:lnTo>
                  <a:pt x="225" y="216"/>
                </a:lnTo>
                <a:lnTo>
                  <a:pt x="224" y="216"/>
                </a:lnTo>
                <a:lnTo>
                  <a:pt x="224" y="217"/>
                </a:lnTo>
                <a:lnTo>
                  <a:pt x="225" y="217"/>
                </a:lnTo>
                <a:lnTo>
                  <a:pt x="225" y="220"/>
                </a:lnTo>
                <a:lnTo>
                  <a:pt x="224" y="221"/>
                </a:lnTo>
                <a:lnTo>
                  <a:pt x="224" y="222"/>
                </a:lnTo>
                <a:lnTo>
                  <a:pt x="223" y="221"/>
                </a:lnTo>
                <a:lnTo>
                  <a:pt x="222" y="221"/>
                </a:lnTo>
                <a:lnTo>
                  <a:pt x="222" y="219"/>
                </a:lnTo>
                <a:lnTo>
                  <a:pt x="220" y="217"/>
                </a:lnTo>
                <a:lnTo>
                  <a:pt x="219" y="217"/>
                </a:lnTo>
                <a:lnTo>
                  <a:pt x="219" y="216"/>
                </a:lnTo>
                <a:lnTo>
                  <a:pt x="218" y="215"/>
                </a:lnTo>
                <a:lnTo>
                  <a:pt x="217" y="215"/>
                </a:lnTo>
                <a:lnTo>
                  <a:pt x="217" y="213"/>
                </a:lnTo>
                <a:lnTo>
                  <a:pt x="216" y="213"/>
                </a:lnTo>
                <a:lnTo>
                  <a:pt x="214" y="212"/>
                </a:lnTo>
                <a:lnTo>
                  <a:pt x="213" y="213"/>
                </a:lnTo>
                <a:lnTo>
                  <a:pt x="213" y="210"/>
                </a:lnTo>
                <a:lnTo>
                  <a:pt x="212" y="209"/>
                </a:lnTo>
                <a:lnTo>
                  <a:pt x="213" y="209"/>
                </a:lnTo>
                <a:lnTo>
                  <a:pt x="212" y="208"/>
                </a:lnTo>
                <a:lnTo>
                  <a:pt x="213" y="208"/>
                </a:lnTo>
                <a:lnTo>
                  <a:pt x="213" y="207"/>
                </a:lnTo>
                <a:lnTo>
                  <a:pt x="216" y="206"/>
                </a:lnTo>
                <a:close/>
                <a:moveTo>
                  <a:pt x="161" y="206"/>
                </a:moveTo>
                <a:lnTo>
                  <a:pt x="163" y="206"/>
                </a:lnTo>
                <a:lnTo>
                  <a:pt x="164" y="207"/>
                </a:lnTo>
                <a:lnTo>
                  <a:pt x="164" y="208"/>
                </a:lnTo>
                <a:lnTo>
                  <a:pt x="166" y="208"/>
                </a:lnTo>
                <a:lnTo>
                  <a:pt x="163" y="210"/>
                </a:lnTo>
                <a:lnTo>
                  <a:pt x="163" y="212"/>
                </a:lnTo>
                <a:lnTo>
                  <a:pt x="162" y="210"/>
                </a:lnTo>
                <a:lnTo>
                  <a:pt x="162" y="212"/>
                </a:lnTo>
                <a:lnTo>
                  <a:pt x="158" y="212"/>
                </a:lnTo>
                <a:lnTo>
                  <a:pt x="158" y="210"/>
                </a:lnTo>
                <a:lnTo>
                  <a:pt x="160" y="209"/>
                </a:lnTo>
                <a:lnTo>
                  <a:pt x="162" y="209"/>
                </a:lnTo>
                <a:lnTo>
                  <a:pt x="162" y="208"/>
                </a:lnTo>
                <a:lnTo>
                  <a:pt x="160" y="208"/>
                </a:lnTo>
                <a:lnTo>
                  <a:pt x="161" y="207"/>
                </a:lnTo>
                <a:lnTo>
                  <a:pt x="161" y="206"/>
                </a:lnTo>
                <a:close/>
                <a:moveTo>
                  <a:pt x="138" y="195"/>
                </a:moveTo>
                <a:lnTo>
                  <a:pt x="139" y="195"/>
                </a:lnTo>
                <a:lnTo>
                  <a:pt x="141" y="196"/>
                </a:lnTo>
                <a:lnTo>
                  <a:pt x="139" y="196"/>
                </a:lnTo>
                <a:lnTo>
                  <a:pt x="138" y="195"/>
                </a:lnTo>
                <a:close/>
                <a:moveTo>
                  <a:pt x="75" y="188"/>
                </a:moveTo>
                <a:lnTo>
                  <a:pt x="76" y="188"/>
                </a:lnTo>
                <a:lnTo>
                  <a:pt x="76" y="189"/>
                </a:lnTo>
                <a:lnTo>
                  <a:pt x="75" y="188"/>
                </a:lnTo>
                <a:close/>
                <a:moveTo>
                  <a:pt x="45" y="185"/>
                </a:moveTo>
                <a:lnTo>
                  <a:pt x="46" y="185"/>
                </a:lnTo>
                <a:lnTo>
                  <a:pt x="46" y="189"/>
                </a:lnTo>
                <a:lnTo>
                  <a:pt x="44" y="189"/>
                </a:lnTo>
                <a:lnTo>
                  <a:pt x="44" y="186"/>
                </a:lnTo>
                <a:lnTo>
                  <a:pt x="45" y="186"/>
                </a:lnTo>
                <a:lnTo>
                  <a:pt x="45" y="185"/>
                </a:lnTo>
                <a:close/>
                <a:moveTo>
                  <a:pt x="37" y="180"/>
                </a:moveTo>
                <a:lnTo>
                  <a:pt x="39" y="180"/>
                </a:lnTo>
                <a:lnTo>
                  <a:pt x="42" y="186"/>
                </a:lnTo>
                <a:lnTo>
                  <a:pt x="42" y="188"/>
                </a:lnTo>
                <a:lnTo>
                  <a:pt x="40" y="189"/>
                </a:lnTo>
                <a:lnTo>
                  <a:pt x="40" y="190"/>
                </a:lnTo>
                <a:lnTo>
                  <a:pt x="42" y="192"/>
                </a:lnTo>
                <a:lnTo>
                  <a:pt x="43" y="191"/>
                </a:lnTo>
                <a:lnTo>
                  <a:pt x="44" y="191"/>
                </a:lnTo>
                <a:lnTo>
                  <a:pt x="44" y="192"/>
                </a:lnTo>
                <a:lnTo>
                  <a:pt x="46" y="195"/>
                </a:lnTo>
                <a:lnTo>
                  <a:pt x="46" y="197"/>
                </a:lnTo>
                <a:lnTo>
                  <a:pt x="49" y="198"/>
                </a:lnTo>
                <a:lnTo>
                  <a:pt x="49" y="202"/>
                </a:lnTo>
                <a:lnTo>
                  <a:pt x="44" y="202"/>
                </a:lnTo>
                <a:lnTo>
                  <a:pt x="44" y="201"/>
                </a:lnTo>
                <a:lnTo>
                  <a:pt x="43" y="200"/>
                </a:lnTo>
                <a:lnTo>
                  <a:pt x="39" y="200"/>
                </a:lnTo>
                <a:lnTo>
                  <a:pt x="38" y="201"/>
                </a:lnTo>
                <a:lnTo>
                  <a:pt x="36" y="200"/>
                </a:lnTo>
                <a:lnTo>
                  <a:pt x="36" y="197"/>
                </a:lnTo>
                <a:lnTo>
                  <a:pt x="34" y="196"/>
                </a:lnTo>
                <a:lnTo>
                  <a:pt x="36" y="196"/>
                </a:lnTo>
                <a:lnTo>
                  <a:pt x="36" y="195"/>
                </a:lnTo>
                <a:lnTo>
                  <a:pt x="34" y="191"/>
                </a:lnTo>
                <a:lnTo>
                  <a:pt x="33" y="191"/>
                </a:lnTo>
                <a:lnTo>
                  <a:pt x="33" y="196"/>
                </a:lnTo>
                <a:lnTo>
                  <a:pt x="32" y="197"/>
                </a:lnTo>
                <a:lnTo>
                  <a:pt x="31" y="197"/>
                </a:lnTo>
                <a:lnTo>
                  <a:pt x="29" y="195"/>
                </a:lnTo>
                <a:lnTo>
                  <a:pt x="30" y="195"/>
                </a:lnTo>
                <a:lnTo>
                  <a:pt x="30" y="191"/>
                </a:lnTo>
                <a:lnTo>
                  <a:pt x="31" y="191"/>
                </a:lnTo>
                <a:lnTo>
                  <a:pt x="31" y="190"/>
                </a:lnTo>
                <a:lnTo>
                  <a:pt x="32" y="188"/>
                </a:lnTo>
                <a:lnTo>
                  <a:pt x="33" y="186"/>
                </a:lnTo>
                <a:lnTo>
                  <a:pt x="33" y="188"/>
                </a:lnTo>
                <a:lnTo>
                  <a:pt x="34" y="189"/>
                </a:lnTo>
                <a:lnTo>
                  <a:pt x="36" y="189"/>
                </a:lnTo>
                <a:lnTo>
                  <a:pt x="36" y="188"/>
                </a:lnTo>
                <a:lnTo>
                  <a:pt x="37" y="188"/>
                </a:lnTo>
                <a:lnTo>
                  <a:pt x="38" y="186"/>
                </a:lnTo>
                <a:lnTo>
                  <a:pt x="38" y="183"/>
                </a:lnTo>
                <a:lnTo>
                  <a:pt x="37" y="183"/>
                </a:lnTo>
                <a:lnTo>
                  <a:pt x="38" y="182"/>
                </a:lnTo>
                <a:lnTo>
                  <a:pt x="37" y="180"/>
                </a:lnTo>
                <a:close/>
                <a:moveTo>
                  <a:pt x="43" y="179"/>
                </a:moveTo>
                <a:lnTo>
                  <a:pt x="43" y="180"/>
                </a:lnTo>
                <a:lnTo>
                  <a:pt x="44" y="182"/>
                </a:lnTo>
                <a:lnTo>
                  <a:pt x="45" y="182"/>
                </a:lnTo>
                <a:lnTo>
                  <a:pt x="44" y="183"/>
                </a:lnTo>
                <a:lnTo>
                  <a:pt x="44" y="184"/>
                </a:lnTo>
                <a:lnTo>
                  <a:pt x="43" y="185"/>
                </a:lnTo>
                <a:lnTo>
                  <a:pt x="44" y="185"/>
                </a:lnTo>
                <a:lnTo>
                  <a:pt x="44" y="186"/>
                </a:lnTo>
                <a:lnTo>
                  <a:pt x="43" y="186"/>
                </a:lnTo>
                <a:lnTo>
                  <a:pt x="42" y="184"/>
                </a:lnTo>
                <a:lnTo>
                  <a:pt x="42" y="182"/>
                </a:lnTo>
                <a:lnTo>
                  <a:pt x="40" y="182"/>
                </a:lnTo>
                <a:lnTo>
                  <a:pt x="40" y="180"/>
                </a:lnTo>
                <a:lnTo>
                  <a:pt x="42" y="180"/>
                </a:lnTo>
                <a:lnTo>
                  <a:pt x="43" y="179"/>
                </a:lnTo>
                <a:close/>
                <a:moveTo>
                  <a:pt x="268" y="173"/>
                </a:moveTo>
                <a:lnTo>
                  <a:pt x="270" y="174"/>
                </a:lnTo>
                <a:lnTo>
                  <a:pt x="273" y="177"/>
                </a:lnTo>
                <a:lnTo>
                  <a:pt x="273" y="176"/>
                </a:lnTo>
                <a:lnTo>
                  <a:pt x="274" y="176"/>
                </a:lnTo>
                <a:lnTo>
                  <a:pt x="275" y="177"/>
                </a:lnTo>
                <a:lnTo>
                  <a:pt x="274" y="177"/>
                </a:lnTo>
                <a:lnTo>
                  <a:pt x="274" y="179"/>
                </a:lnTo>
                <a:lnTo>
                  <a:pt x="273" y="179"/>
                </a:lnTo>
                <a:lnTo>
                  <a:pt x="273" y="180"/>
                </a:lnTo>
                <a:lnTo>
                  <a:pt x="274" y="180"/>
                </a:lnTo>
                <a:lnTo>
                  <a:pt x="274" y="188"/>
                </a:lnTo>
                <a:lnTo>
                  <a:pt x="275" y="190"/>
                </a:lnTo>
                <a:lnTo>
                  <a:pt x="273" y="190"/>
                </a:lnTo>
                <a:lnTo>
                  <a:pt x="272" y="191"/>
                </a:lnTo>
                <a:lnTo>
                  <a:pt x="273" y="194"/>
                </a:lnTo>
                <a:lnTo>
                  <a:pt x="272" y="195"/>
                </a:lnTo>
                <a:lnTo>
                  <a:pt x="269" y="195"/>
                </a:lnTo>
                <a:lnTo>
                  <a:pt x="269" y="197"/>
                </a:lnTo>
                <a:lnTo>
                  <a:pt x="267" y="197"/>
                </a:lnTo>
                <a:lnTo>
                  <a:pt x="267" y="196"/>
                </a:lnTo>
                <a:lnTo>
                  <a:pt x="266" y="195"/>
                </a:lnTo>
                <a:lnTo>
                  <a:pt x="265" y="195"/>
                </a:lnTo>
                <a:lnTo>
                  <a:pt x="265" y="194"/>
                </a:lnTo>
                <a:lnTo>
                  <a:pt x="263" y="194"/>
                </a:lnTo>
                <a:lnTo>
                  <a:pt x="263" y="192"/>
                </a:lnTo>
                <a:lnTo>
                  <a:pt x="262" y="192"/>
                </a:lnTo>
                <a:lnTo>
                  <a:pt x="262" y="191"/>
                </a:lnTo>
                <a:lnTo>
                  <a:pt x="263" y="191"/>
                </a:lnTo>
                <a:lnTo>
                  <a:pt x="263" y="190"/>
                </a:lnTo>
                <a:lnTo>
                  <a:pt x="267" y="190"/>
                </a:lnTo>
                <a:lnTo>
                  <a:pt x="267" y="188"/>
                </a:lnTo>
                <a:lnTo>
                  <a:pt x="268" y="188"/>
                </a:lnTo>
                <a:lnTo>
                  <a:pt x="267" y="186"/>
                </a:lnTo>
                <a:lnTo>
                  <a:pt x="267" y="184"/>
                </a:lnTo>
                <a:lnTo>
                  <a:pt x="266" y="184"/>
                </a:lnTo>
                <a:lnTo>
                  <a:pt x="266" y="182"/>
                </a:lnTo>
                <a:lnTo>
                  <a:pt x="265" y="180"/>
                </a:lnTo>
                <a:lnTo>
                  <a:pt x="263" y="180"/>
                </a:lnTo>
                <a:lnTo>
                  <a:pt x="261" y="178"/>
                </a:lnTo>
                <a:lnTo>
                  <a:pt x="261" y="174"/>
                </a:lnTo>
                <a:lnTo>
                  <a:pt x="268" y="173"/>
                </a:lnTo>
                <a:close/>
                <a:moveTo>
                  <a:pt x="248" y="173"/>
                </a:moveTo>
                <a:lnTo>
                  <a:pt x="251" y="173"/>
                </a:lnTo>
                <a:lnTo>
                  <a:pt x="251" y="177"/>
                </a:lnTo>
                <a:lnTo>
                  <a:pt x="249" y="177"/>
                </a:lnTo>
                <a:lnTo>
                  <a:pt x="249" y="174"/>
                </a:lnTo>
                <a:lnTo>
                  <a:pt x="248" y="174"/>
                </a:lnTo>
                <a:lnTo>
                  <a:pt x="248" y="173"/>
                </a:lnTo>
                <a:close/>
                <a:moveTo>
                  <a:pt x="54" y="173"/>
                </a:moveTo>
                <a:lnTo>
                  <a:pt x="55" y="173"/>
                </a:lnTo>
                <a:lnTo>
                  <a:pt x="54" y="174"/>
                </a:lnTo>
                <a:lnTo>
                  <a:pt x="54" y="177"/>
                </a:lnTo>
                <a:lnTo>
                  <a:pt x="52" y="177"/>
                </a:lnTo>
                <a:lnTo>
                  <a:pt x="52" y="176"/>
                </a:lnTo>
                <a:lnTo>
                  <a:pt x="54" y="173"/>
                </a:lnTo>
                <a:close/>
                <a:moveTo>
                  <a:pt x="46" y="172"/>
                </a:moveTo>
                <a:lnTo>
                  <a:pt x="48" y="172"/>
                </a:lnTo>
                <a:lnTo>
                  <a:pt x="48" y="173"/>
                </a:lnTo>
                <a:lnTo>
                  <a:pt x="46" y="172"/>
                </a:lnTo>
                <a:close/>
                <a:moveTo>
                  <a:pt x="52" y="171"/>
                </a:moveTo>
                <a:lnTo>
                  <a:pt x="55" y="171"/>
                </a:lnTo>
                <a:lnTo>
                  <a:pt x="55" y="172"/>
                </a:lnTo>
                <a:lnTo>
                  <a:pt x="54" y="172"/>
                </a:lnTo>
                <a:lnTo>
                  <a:pt x="54" y="173"/>
                </a:lnTo>
                <a:lnTo>
                  <a:pt x="52" y="173"/>
                </a:lnTo>
                <a:lnTo>
                  <a:pt x="52" y="174"/>
                </a:lnTo>
                <a:lnTo>
                  <a:pt x="51" y="174"/>
                </a:lnTo>
                <a:lnTo>
                  <a:pt x="51" y="173"/>
                </a:lnTo>
                <a:lnTo>
                  <a:pt x="52" y="172"/>
                </a:lnTo>
                <a:lnTo>
                  <a:pt x="52" y="171"/>
                </a:lnTo>
                <a:close/>
                <a:moveTo>
                  <a:pt x="46" y="170"/>
                </a:moveTo>
                <a:lnTo>
                  <a:pt x="49" y="170"/>
                </a:lnTo>
                <a:lnTo>
                  <a:pt x="49" y="171"/>
                </a:lnTo>
                <a:lnTo>
                  <a:pt x="46" y="171"/>
                </a:lnTo>
                <a:lnTo>
                  <a:pt x="46" y="170"/>
                </a:lnTo>
                <a:close/>
                <a:moveTo>
                  <a:pt x="43" y="160"/>
                </a:moveTo>
                <a:lnTo>
                  <a:pt x="44" y="160"/>
                </a:lnTo>
                <a:lnTo>
                  <a:pt x="44" y="161"/>
                </a:lnTo>
                <a:lnTo>
                  <a:pt x="45" y="161"/>
                </a:lnTo>
                <a:lnTo>
                  <a:pt x="45" y="167"/>
                </a:lnTo>
                <a:lnTo>
                  <a:pt x="44" y="169"/>
                </a:lnTo>
                <a:lnTo>
                  <a:pt x="44" y="170"/>
                </a:lnTo>
                <a:lnTo>
                  <a:pt x="45" y="169"/>
                </a:lnTo>
                <a:lnTo>
                  <a:pt x="45" y="172"/>
                </a:lnTo>
                <a:lnTo>
                  <a:pt x="44" y="171"/>
                </a:lnTo>
                <a:lnTo>
                  <a:pt x="44" y="173"/>
                </a:lnTo>
                <a:lnTo>
                  <a:pt x="40" y="173"/>
                </a:lnTo>
                <a:lnTo>
                  <a:pt x="40" y="172"/>
                </a:lnTo>
                <a:lnTo>
                  <a:pt x="39" y="172"/>
                </a:lnTo>
                <a:lnTo>
                  <a:pt x="39" y="173"/>
                </a:lnTo>
                <a:lnTo>
                  <a:pt x="38" y="173"/>
                </a:lnTo>
                <a:lnTo>
                  <a:pt x="38" y="169"/>
                </a:lnTo>
                <a:lnTo>
                  <a:pt x="39" y="167"/>
                </a:lnTo>
                <a:lnTo>
                  <a:pt x="39" y="166"/>
                </a:lnTo>
                <a:lnTo>
                  <a:pt x="40" y="164"/>
                </a:lnTo>
                <a:lnTo>
                  <a:pt x="40" y="163"/>
                </a:lnTo>
                <a:lnTo>
                  <a:pt x="43" y="160"/>
                </a:lnTo>
                <a:close/>
                <a:moveTo>
                  <a:pt x="201" y="158"/>
                </a:moveTo>
                <a:lnTo>
                  <a:pt x="203" y="158"/>
                </a:lnTo>
                <a:lnTo>
                  <a:pt x="201" y="159"/>
                </a:lnTo>
                <a:lnTo>
                  <a:pt x="201" y="158"/>
                </a:lnTo>
                <a:close/>
                <a:moveTo>
                  <a:pt x="137" y="158"/>
                </a:moveTo>
                <a:lnTo>
                  <a:pt x="139" y="158"/>
                </a:lnTo>
                <a:lnTo>
                  <a:pt x="139" y="159"/>
                </a:lnTo>
                <a:lnTo>
                  <a:pt x="141" y="159"/>
                </a:lnTo>
                <a:lnTo>
                  <a:pt x="141" y="160"/>
                </a:lnTo>
                <a:lnTo>
                  <a:pt x="139" y="160"/>
                </a:lnTo>
                <a:lnTo>
                  <a:pt x="136" y="161"/>
                </a:lnTo>
                <a:lnTo>
                  <a:pt x="135" y="161"/>
                </a:lnTo>
                <a:lnTo>
                  <a:pt x="135" y="159"/>
                </a:lnTo>
                <a:lnTo>
                  <a:pt x="137" y="159"/>
                </a:lnTo>
                <a:lnTo>
                  <a:pt x="137" y="158"/>
                </a:lnTo>
                <a:close/>
                <a:moveTo>
                  <a:pt x="204" y="153"/>
                </a:moveTo>
                <a:lnTo>
                  <a:pt x="207" y="155"/>
                </a:lnTo>
                <a:lnTo>
                  <a:pt x="207" y="158"/>
                </a:lnTo>
                <a:lnTo>
                  <a:pt x="208" y="159"/>
                </a:lnTo>
                <a:lnTo>
                  <a:pt x="211" y="160"/>
                </a:lnTo>
                <a:lnTo>
                  <a:pt x="212" y="161"/>
                </a:lnTo>
                <a:lnTo>
                  <a:pt x="212" y="164"/>
                </a:lnTo>
                <a:lnTo>
                  <a:pt x="211" y="165"/>
                </a:lnTo>
                <a:lnTo>
                  <a:pt x="211" y="164"/>
                </a:lnTo>
                <a:lnTo>
                  <a:pt x="210" y="165"/>
                </a:lnTo>
                <a:lnTo>
                  <a:pt x="210" y="164"/>
                </a:lnTo>
                <a:lnTo>
                  <a:pt x="207" y="164"/>
                </a:lnTo>
                <a:lnTo>
                  <a:pt x="207" y="165"/>
                </a:lnTo>
                <a:lnTo>
                  <a:pt x="206" y="163"/>
                </a:lnTo>
                <a:lnTo>
                  <a:pt x="207" y="163"/>
                </a:lnTo>
                <a:lnTo>
                  <a:pt x="207" y="160"/>
                </a:lnTo>
                <a:lnTo>
                  <a:pt x="206" y="161"/>
                </a:lnTo>
                <a:lnTo>
                  <a:pt x="206" y="160"/>
                </a:lnTo>
                <a:lnTo>
                  <a:pt x="205" y="160"/>
                </a:lnTo>
                <a:lnTo>
                  <a:pt x="204" y="159"/>
                </a:lnTo>
                <a:lnTo>
                  <a:pt x="203" y="159"/>
                </a:lnTo>
                <a:lnTo>
                  <a:pt x="203" y="154"/>
                </a:lnTo>
                <a:lnTo>
                  <a:pt x="204" y="153"/>
                </a:lnTo>
                <a:close/>
                <a:moveTo>
                  <a:pt x="49" y="153"/>
                </a:moveTo>
                <a:lnTo>
                  <a:pt x="50" y="153"/>
                </a:lnTo>
                <a:lnTo>
                  <a:pt x="50" y="154"/>
                </a:lnTo>
                <a:lnTo>
                  <a:pt x="49" y="154"/>
                </a:lnTo>
                <a:lnTo>
                  <a:pt x="49" y="153"/>
                </a:lnTo>
                <a:close/>
                <a:moveTo>
                  <a:pt x="152" y="149"/>
                </a:moveTo>
                <a:lnTo>
                  <a:pt x="155" y="149"/>
                </a:lnTo>
                <a:lnTo>
                  <a:pt x="155" y="151"/>
                </a:lnTo>
                <a:lnTo>
                  <a:pt x="156" y="151"/>
                </a:lnTo>
                <a:lnTo>
                  <a:pt x="157" y="152"/>
                </a:lnTo>
                <a:lnTo>
                  <a:pt x="157" y="154"/>
                </a:lnTo>
                <a:lnTo>
                  <a:pt x="160" y="154"/>
                </a:lnTo>
                <a:lnTo>
                  <a:pt x="160" y="158"/>
                </a:lnTo>
                <a:lnTo>
                  <a:pt x="161" y="158"/>
                </a:lnTo>
                <a:lnTo>
                  <a:pt x="161" y="160"/>
                </a:lnTo>
                <a:lnTo>
                  <a:pt x="162" y="160"/>
                </a:lnTo>
                <a:lnTo>
                  <a:pt x="163" y="161"/>
                </a:lnTo>
                <a:lnTo>
                  <a:pt x="166" y="163"/>
                </a:lnTo>
                <a:lnTo>
                  <a:pt x="168" y="165"/>
                </a:lnTo>
                <a:lnTo>
                  <a:pt x="173" y="165"/>
                </a:lnTo>
                <a:lnTo>
                  <a:pt x="173" y="167"/>
                </a:lnTo>
                <a:lnTo>
                  <a:pt x="174" y="167"/>
                </a:lnTo>
                <a:lnTo>
                  <a:pt x="175" y="169"/>
                </a:lnTo>
                <a:lnTo>
                  <a:pt x="178" y="169"/>
                </a:lnTo>
                <a:lnTo>
                  <a:pt x="180" y="170"/>
                </a:lnTo>
                <a:lnTo>
                  <a:pt x="182" y="170"/>
                </a:lnTo>
                <a:lnTo>
                  <a:pt x="182" y="169"/>
                </a:lnTo>
                <a:lnTo>
                  <a:pt x="183" y="170"/>
                </a:lnTo>
                <a:lnTo>
                  <a:pt x="189" y="170"/>
                </a:lnTo>
                <a:lnTo>
                  <a:pt x="191" y="171"/>
                </a:lnTo>
                <a:lnTo>
                  <a:pt x="189" y="171"/>
                </a:lnTo>
                <a:lnTo>
                  <a:pt x="189" y="172"/>
                </a:lnTo>
                <a:lnTo>
                  <a:pt x="188" y="172"/>
                </a:lnTo>
                <a:lnTo>
                  <a:pt x="188" y="173"/>
                </a:lnTo>
                <a:lnTo>
                  <a:pt x="189" y="173"/>
                </a:lnTo>
                <a:lnTo>
                  <a:pt x="193" y="177"/>
                </a:lnTo>
                <a:lnTo>
                  <a:pt x="193" y="178"/>
                </a:lnTo>
                <a:lnTo>
                  <a:pt x="192" y="178"/>
                </a:lnTo>
                <a:lnTo>
                  <a:pt x="192" y="184"/>
                </a:lnTo>
                <a:lnTo>
                  <a:pt x="193" y="185"/>
                </a:lnTo>
                <a:lnTo>
                  <a:pt x="193" y="189"/>
                </a:lnTo>
                <a:lnTo>
                  <a:pt x="194" y="190"/>
                </a:lnTo>
                <a:lnTo>
                  <a:pt x="194" y="194"/>
                </a:lnTo>
                <a:lnTo>
                  <a:pt x="195" y="195"/>
                </a:lnTo>
                <a:lnTo>
                  <a:pt x="198" y="196"/>
                </a:lnTo>
                <a:lnTo>
                  <a:pt x="198" y="197"/>
                </a:lnTo>
                <a:lnTo>
                  <a:pt x="200" y="197"/>
                </a:lnTo>
                <a:lnTo>
                  <a:pt x="201" y="198"/>
                </a:lnTo>
                <a:lnTo>
                  <a:pt x="205" y="198"/>
                </a:lnTo>
                <a:lnTo>
                  <a:pt x="208" y="197"/>
                </a:lnTo>
                <a:lnTo>
                  <a:pt x="208" y="203"/>
                </a:lnTo>
                <a:lnTo>
                  <a:pt x="207" y="206"/>
                </a:lnTo>
                <a:lnTo>
                  <a:pt x="207" y="207"/>
                </a:lnTo>
                <a:lnTo>
                  <a:pt x="206" y="208"/>
                </a:lnTo>
                <a:lnTo>
                  <a:pt x="204" y="208"/>
                </a:lnTo>
                <a:lnTo>
                  <a:pt x="204" y="207"/>
                </a:lnTo>
                <a:lnTo>
                  <a:pt x="201" y="204"/>
                </a:lnTo>
                <a:lnTo>
                  <a:pt x="200" y="206"/>
                </a:lnTo>
                <a:lnTo>
                  <a:pt x="200" y="207"/>
                </a:lnTo>
                <a:lnTo>
                  <a:pt x="199" y="207"/>
                </a:lnTo>
                <a:lnTo>
                  <a:pt x="198" y="206"/>
                </a:lnTo>
                <a:lnTo>
                  <a:pt x="198" y="204"/>
                </a:lnTo>
                <a:lnTo>
                  <a:pt x="197" y="204"/>
                </a:lnTo>
                <a:lnTo>
                  <a:pt x="198" y="203"/>
                </a:lnTo>
                <a:lnTo>
                  <a:pt x="197" y="202"/>
                </a:lnTo>
                <a:lnTo>
                  <a:pt x="195" y="202"/>
                </a:lnTo>
                <a:lnTo>
                  <a:pt x="195" y="201"/>
                </a:lnTo>
                <a:lnTo>
                  <a:pt x="193" y="201"/>
                </a:lnTo>
                <a:lnTo>
                  <a:pt x="193" y="200"/>
                </a:lnTo>
                <a:lnTo>
                  <a:pt x="192" y="198"/>
                </a:lnTo>
                <a:lnTo>
                  <a:pt x="192" y="197"/>
                </a:lnTo>
                <a:lnTo>
                  <a:pt x="193" y="197"/>
                </a:lnTo>
                <a:lnTo>
                  <a:pt x="192" y="196"/>
                </a:lnTo>
                <a:lnTo>
                  <a:pt x="192" y="194"/>
                </a:lnTo>
                <a:lnTo>
                  <a:pt x="189" y="194"/>
                </a:lnTo>
                <a:lnTo>
                  <a:pt x="189" y="192"/>
                </a:lnTo>
                <a:lnTo>
                  <a:pt x="191" y="191"/>
                </a:lnTo>
                <a:lnTo>
                  <a:pt x="189" y="191"/>
                </a:lnTo>
                <a:lnTo>
                  <a:pt x="188" y="192"/>
                </a:lnTo>
                <a:lnTo>
                  <a:pt x="188" y="189"/>
                </a:lnTo>
                <a:lnTo>
                  <a:pt x="187" y="189"/>
                </a:lnTo>
                <a:lnTo>
                  <a:pt x="186" y="188"/>
                </a:lnTo>
                <a:lnTo>
                  <a:pt x="186" y="184"/>
                </a:lnTo>
                <a:lnTo>
                  <a:pt x="182" y="184"/>
                </a:lnTo>
                <a:lnTo>
                  <a:pt x="180" y="185"/>
                </a:lnTo>
                <a:lnTo>
                  <a:pt x="179" y="184"/>
                </a:lnTo>
                <a:lnTo>
                  <a:pt x="168" y="184"/>
                </a:lnTo>
                <a:lnTo>
                  <a:pt x="167" y="180"/>
                </a:lnTo>
                <a:lnTo>
                  <a:pt x="168" y="179"/>
                </a:lnTo>
                <a:lnTo>
                  <a:pt x="168" y="177"/>
                </a:lnTo>
                <a:lnTo>
                  <a:pt x="166" y="174"/>
                </a:lnTo>
                <a:lnTo>
                  <a:pt x="163" y="174"/>
                </a:lnTo>
                <a:lnTo>
                  <a:pt x="163" y="173"/>
                </a:lnTo>
                <a:lnTo>
                  <a:pt x="162" y="173"/>
                </a:lnTo>
                <a:lnTo>
                  <a:pt x="162" y="172"/>
                </a:lnTo>
                <a:lnTo>
                  <a:pt x="161" y="171"/>
                </a:lnTo>
                <a:lnTo>
                  <a:pt x="161" y="170"/>
                </a:lnTo>
                <a:lnTo>
                  <a:pt x="160" y="170"/>
                </a:lnTo>
                <a:lnTo>
                  <a:pt x="160" y="169"/>
                </a:lnTo>
                <a:lnTo>
                  <a:pt x="158" y="169"/>
                </a:lnTo>
                <a:lnTo>
                  <a:pt x="154" y="164"/>
                </a:lnTo>
                <a:lnTo>
                  <a:pt x="150" y="161"/>
                </a:lnTo>
                <a:lnTo>
                  <a:pt x="149" y="160"/>
                </a:lnTo>
                <a:lnTo>
                  <a:pt x="144" y="160"/>
                </a:lnTo>
                <a:lnTo>
                  <a:pt x="143" y="159"/>
                </a:lnTo>
                <a:lnTo>
                  <a:pt x="142" y="159"/>
                </a:lnTo>
                <a:lnTo>
                  <a:pt x="141" y="158"/>
                </a:lnTo>
                <a:lnTo>
                  <a:pt x="139" y="158"/>
                </a:lnTo>
                <a:lnTo>
                  <a:pt x="141" y="157"/>
                </a:lnTo>
                <a:lnTo>
                  <a:pt x="142" y="157"/>
                </a:lnTo>
                <a:lnTo>
                  <a:pt x="144" y="154"/>
                </a:lnTo>
                <a:lnTo>
                  <a:pt x="145" y="154"/>
                </a:lnTo>
                <a:lnTo>
                  <a:pt x="145" y="153"/>
                </a:lnTo>
                <a:lnTo>
                  <a:pt x="147" y="152"/>
                </a:lnTo>
                <a:lnTo>
                  <a:pt x="150" y="152"/>
                </a:lnTo>
                <a:lnTo>
                  <a:pt x="150" y="151"/>
                </a:lnTo>
                <a:lnTo>
                  <a:pt x="152" y="149"/>
                </a:lnTo>
                <a:close/>
                <a:moveTo>
                  <a:pt x="168" y="142"/>
                </a:moveTo>
                <a:lnTo>
                  <a:pt x="169" y="142"/>
                </a:lnTo>
                <a:lnTo>
                  <a:pt x="170" y="143"/>
                </a:lnTo>
                <a:lnTo>
                  <a:pt x="173" y="143"/>
                </a:lnTo>
                <a:lnTo>
                  <a:pt x="172" y="145"/>
                </a:lnTo>
                <a:lnTo>
                  <a:pt x="175" y="145"/>
                </a:lnTo>
                <a:lnTo>
                  <a:pt x="175" y="146"/>
                </a:lnTo>
                <a:lnTo>
                  <a:pt x="174" y="147"/>
                </a:lnTo>
                <a:lnTo>
                  <a:pt x="173" y="147"/>
                </a:lnTo>
                <a:lnTo>
                  <a:pt x="172" y="148"/>
                </a:lnTo>
                <a:lnTo>
                  <a:pt x="172" y="147"/>
                </a:lnTo>
                <a:lnTo>
                  <a:pt x="169" y="147"/>
                </a:lnTo>
                <a:lnTo>
                  <a:pt x="169" y="146"/>
                </a:lnTo>
                <a:lnTo>
                  <a:pt x="168" y="143"/>
                </a:lnTo>
                <a:lnTo>
                  <a:pt x="168" y="142"/>
                </a:lnTo>
                <a:close/>
                <a:moveTo>
                  <a:pt x="167" y="140"/>
                </a:moveTo>
                <a:lnTo>
                  <a:pt x="167" y="141"/>
                </a:lnTo>
                <a:lnTo>
                  <a:pt x="168" y="142"/>
                </a:lnTo>
                <a:lnTo>
                  <a:pt x="166" y="141"/>
                </a:lnTo>
                <a:lnTo>
                  <a:pt x="167" y="140"/>
                </a:lnTo>
                <a:close/>
                <a:moveTo>
                  <a:pt x="161" y="140"/>
                </a:moveTo>
                <a:lnTo>
                  <a:pt x="163" y="142"/>
                </a:lnTo>
                <a:lnTo>
                  <a:pt x="163" y="143"/>
                </a:lnTo>
                <a:lnTo>
                  <a:pt x="162" y="142"/>
                </a:lnTo>
                <a:lnTo>
                  <a:pt x="161" y="143"/>
                </a:lnTo>
                <a:lnTo>
                  <a:pt x="161" y="145"/>
                </a:lnTo>
                <a:lnTo>
                  <a:pt x="160" y="145"/>
                </a:lnTo>
                <a:lnTo>
                  <a:pt x="160" y="143"/>
                </a:lnTo>
                <a:lnTo>
                  <a:pt x="158" y="143"/>
                </a:lnTo>
                <a:lnTo>
                  <a:pt x="158" y="142"/>
                </a:lnTo>
                <a:lnTo>
                  <a:pt x="160" y="142"/>
                </a:lnTo>
                <a:lnTo>
                  <a:pt x="160" y="141"/>
                </a:lnTo>
                <a:lnTo>
                  <a:pt x="161" y="141"/>
                </a:lnTo>
                <a:lnTo>
                  <a:pt x="161" y="140"/>
                </a:lnTo>
                <a:close/>
                <a:moveTo>
                  <a:pt x="20" y="139"/>
                </a:moveTo>
                <a:lnTo>
                  <a:pt x="21" y="140"/>
                </a:lnTo>
                <a:lnTo>
                  <a:pt x="23" y="140"/>
                </a:lnTo>
                <a:lnTo>
                  <a:pt x="23" y="141"/>
                </a:lnTo>
                <a:lnTo>
                  <a:pt x="24" y="142"/>
                </a:lnTo>
                <a:lnTo>
                  <a:pt x="21" y="142"/>
                </a:lnTo>
                <a:lnTo>
                  <a:pt x="20" y="141"/>
                </a:lnTo>
                <a:lnTo>
                  <a:pt x="20" y="139"/>
                </a:lnTo>
                <a:close/>
                <a:moveTo>
                  <a:pt x="181" y="136"/>
                </a:moveTo>
                <a:lnTo>
                  <a:pt x="181" y="137"/>
                </a:lnTo>
                <a:lnTo>
                  <a:pt x="182" y="137"/>
                </a:lnTo>
                <a:lnTo>
                  <a:pt x="182" y="139"/>
                </a:lnTo>
                <a:lnTo>
                  <a:pt x="180" y="141"/>
                </a:lnTo>
                <a:lnTo>
                  <a:pt x="179" y="143"/>
                </a:lnTo>
                <a:lnTo>
                  <a:pt x="178" y="145"/>
                </a:lnTo>
                <a:lnTo>
                  <a:pt x="176" y="143"/>
                </a:lnTo>
                <a:lnTo>
                  <a:pt x="178" y="143"/>
                </a:lnTo>
                <a:lnTo>
                  <a:pt x="178" y="142"/>
                </a:lnTo>
                <a:lnTo>
                  <a:pt x="179" y="142"/>
                </a:lnTo>
                <a:lnTo>
                  <a:pt x="179" y="140"/>
                </a:lnTo>
                <a:lnTo>
                  <a:pt x="181" y="136"/>
                </a:lnTo>
                <a:close/>
                <a:moveTo>
                  <a:pt x="186" y="133"/>
                </a:moveTo>
                <a:lnTo>
                  <a:pt x="187" y="133"/>
                </a:lnTo>
                <a:lnTo>
                  <a:pt x="187" y="135"/>
                </a:lnTo>
                <a:lnTo>
                  <a:pt x="186" y="136"/>
                </a:lnTo>
                <a:lnTo>
                  <a:pt x="186" y="133"/>
                </a:lnTo>
                <a:close/>
                <a:moveTo>
                  <a:pt x="275" y="132"/>
                </a:moveTo>
                <a:lnTo>
                  <a:pt x="284" y="132"/>
                </a:lnTo>
                <a:lnTo>
                  <a:pt x="282" y="133"/>
                </a:lnTo>
                <a:lnTo>
                  <a:pt x="284" y="133"/>
                </a:lnTo>
                <a:lnTo>
                  <a:pt x="285" y="134"/>
                </a:lnTo>
                <a:lnTo>
                  <a:pt x="286" y="134"/>
                </a:lnTo>
                <a:lnTo>
                  <a:pt x="284" y="136"/>
                </a:lnTo>
                <a:lnTo>
                  <a:pt x="284" y="137"/>
                </a:lnTo>
                <a:lnTo>
                  <a:pt x="286" y="139"/>
                </a:lnTo>
                <a:lnTo>
                  <a:pt x="287" y="139"/>
                </a:lnTo>
                <a:lnTo>
                  <a:pt x="287" y="140"/>
                </a:lnTo>
                <a:lnTo>
                  <a:pt x="288" y="140"/>
                </a:lnTo>
                <a:lnTo>
                  <a:pt x="290" y="142"/>
                </a:lnTo>
                <a:lnTo>
                  <a:pt x="291" y="143"/>
                </a:lnTo>
                <a:lnTo>
                  <a:pt x="291" y="146"/>
                </a:lnTo>
                <a:lnTo>
                  <a:pt x="292" y="146"/>
                </a:lnTo>
                <a:lnTo>
                  <a:pt x="292" y="148"/>
                </a:lnTo>
                <a:lnTo>
                  <a:pt x="293" y="149"/>
                </a:lnTo>
                <a:lnTo>
                  <a:pt x="294" y="149"/>
                </a:lnTo>
                <a:lnTo>
                  <a:pt x="293" y="151"/>
                </a:lnTo>
                <a:lnTo>
                  <a:pt x="293" y="152"/>
                </a:lnTo>
                <a:lnTo>
                  <a:pt x="292" y="151"/>
                </a:lnTo>
                <a:lnTo>
                  <a:pt x="291" y="151"/>
                </a:lnTo>
                <a:lnTo>
                  <a:pt x="290" y="149"/>
                </a:lnTo>
                <a:lnTo>
                  <a:pt x="290" y="146"/>
                </a:lnTo>
                <a:lnTo>
                  <a:pt x="286" y="146"/>
                </a:lnTo>
                <a:lnTo>
                  <a:pt x="291" y="151"/>
                </a:lnTo>
                <a:lnTo>
                  <a:pt x="291" y="153"/>
                </a:lnTo>
                <a:lnTo>
                  <a:pt x="288" y="153"/>
                </a:lnTo>
                <a:lnTo>
                  <a:pt x="286" y="154"/>
                </a:lnTo>
                <a:lnTo>
                  <a:pt x="285" y="154"/>
                </a:lnTo>
                <a:lnTo>
                  <a:pt x="284" y="153"/>
                </a:lnTo>
                <a:lnTo>
                  <a:pt x="281" y="153"/>
                </a:lnTo>
                <a:lnTo>
                  <a:pt x="280" y="152"/>
                </a:lnTo>
                <a:lnTo>
                  <a:pt x="278" y="151"/>
                </a:lnTo>
                <a:lnTo>
                  <a:pt x="274" y="151"/>
                </a:lnTo>
                <a:lnTo>
                  <a:pt x="273" y="148"/>
                </a:lnTo>
                <a:lnTo>
                  <a:pt x="272" y="148"/>
                </a:lnTo>
                <a:lnTo>
                  <a:pt x="272" y="147"/>
                </a:lnTo>
                <a:lnTo>
                  <a:pt x="275" y="147"/>
                </a:lnTo>
                <a:lnTo>
                  <a:pt x="275" y="146"/>
                </a:lnTo>
                <a:lnTo>
                  <a:pt x="276" y="145"/>
                </a:lnTo>
                <a:lnTo>
                  <a:pt x="278" y="145"/>
                </a:lnTo>
                <a:lnTo>
                  <a:pt x="280" y="142"/>
                </a:lnTo>
                <a:lnTo>
                  <a:pt x="280" y="141"/>
                </a:lnTo>
                <a:lnTo>
                  <a:pt x="275" y="141"/>
                </a:lnTo>
                <a:lnTo>
                  <a:pt x="275" y="142"/>
                </a:lnTo>
                <a:lnTo>
                  <a:pt x="272" y="146"/>
                </a:lnTo>
                <a:lnTo>
                  <a:pt x="272" y="147"/>
                </a:lnTo>
                <a:lnTo>
                  <a:pt x="269" y="147"/>
                </a:lnTo>
                <a:lnTo>
                  <a:pt x="266" y="146"/>
                </a:lnTo>
                <a:lnTo>
                  <a:pt x="266" y="145"/>
                </a:lnTo>
                <a:lnTo>
                  <a:pt x="263" y="145"/>
                </a:lnTo>
                <a:lnTo>
                  <a:pt x="262" y="142"/>
                </a:lnTo>
                <a:lnTo>
                  <a:pt x="261" y="142"/>
                </a:lnTo>
                <a:lnTo>
                  <a:pt x="261" y="141"/>
                </a:lnTo>
                <a:lnTo>
                  <a:pt x="262" y="141"/>
                </a:lnTo>
                <a:lnTo>
                  <a:pt x="262" y="137"/>
                </a:lnTo>
                <a:lnTo>
                  <a:pt x="263" y="137"/>
                </a:lnTo>
                <a:lnTo>
                  <a:pt x="265" y="136"/>
                </a:lnTo>
                <a:lnTo>
                  <a:pt x="266" y="137"/>
                </a:lnTo>
                <a:lnTo>
                  <a:pt x="267" y="136"/>
                </a:lnTo>
                <a:lnTo>
                  <a:pt x="269" y="136"/>
                </a:lnTo>
                <a:lnTo>
                  <a:pt x="270" y="135"/>
                </a:lnTo>
                <a:lnTo>
                  <a:pt x="274" y="135"/>
                </a:lnTo>
                <a:lnTo>
                  <a:pt x="275" y="134"/>
                </a:lnTo>
                <a:lnTo>
                  <a:pt x="275" y="132"/>
                </a:lnTo>
                <a:close/>
                <a:moveTo>
                  <a:pt x="226" y="121"/>
                </a:moveTo>
                <a:lnTo>
                  <a:pt x="228" y="122"/>
                </a:lnTo>
                <a:lnTo>
                  <a:pt x="228" y="123"/>
                </a:lnTo>
                <a:lnTo>
                  <a:pt x="225" y="127"/>
                </a:lnTo>
                <a:lnTo>
                  <a:pt x="225" y="122"/>
                </a:lnTo>
                <a:lnTo>
                  <a:pt x="226" y="121"/>
                </a:lnTo>
                <a:close/>
                <a:moveTo>
                  <a:pt x="19" y="115"/>
                </a:moveTo>
                <a:lnTo>
                  <a:pt x="21" y="117"/>
                </a:lnTo>
                <a:lnTo>
                  <a:pt x="20" y="117"/>
                </a:lnTo>
                <a:lnTo>
                  <a:pt x="20" y="116"/>
                </a:lnTo>
                <a:lnTo>
                  <a:pt x="19" y="116"/>
                </a:lnTo>
                <a:lnTo>
                  <a:pt x="19" y="115"/>
                </a:lnTo>
                <a:close/>
                <a:moveTo>
                  <a:pt x="15" y="114"/>
                </a:moveTo>
                <a:lnTo>
                  <a:pt x="17" y="115"/>
                </a:lnTo>
                <a:lnTo>
                  <a:pt x="14" y="115"/>
                </a:lnTo>
                <a:lnTo>
                  <a:pt x="15" y="114"/>
                </a:lnTo>
                <a:close/>
                <a:moveTo>
                  <a:pt x="8" y="106"/>
                </a:moveTo>
                <a:lnTo>
                  <a:pt x="9" y="108"/>
                </a:lnTo>
                <a:lnTo>
                  <a:pt x="11" y="108"/>
                </a:lnTo>
                <a:lnTo>
                  <a:pt x="12" y="109"/>
                </a:lnTo>
                <a:lnTo>
                  <a:pt x="13" y="109"/>
                </a:lnTo>
                <a:lnTo>
                  <a:pt x="13" y="110"/>
                </a:lnTo>
                <a:lnTo>
                  <a:pt x="11" y="112"/>
                </a:lnTo>
                <a:lnTo>
                  <a:pt x="8" y="114"/>
                </a:lnTo>
                <a:lnTo>
                  <a:pt x="8" y="116"/>
                </a:lnTo>
                <a:lnTo>
                  <a:pt x="11" y="117"/>
                </a:lnTo>
                <a:lnTo>
                  <a:pt x="12" y="118"/>
                </a:lnTo>
                <a:lnTo>
                  <a:pt x="12" y="120"/>
                </a:lnTo>
                <a:lnTo>
                  <a:pt x="11" y="120"/>
                </a:lnTo>
                <a:lnTo>
                  <a:pt x="11" y="121"/>
                </a:lnTo>
                <a:lnTo>
                  <a:pt x="12" y="126"/>
                </a:lnTo>
                <a:lnTo>
                  <a:pt x="12" y="127"/>
                </a:lnTo>
                <a:lnTo>
                  <a:pt x="15" y="127"/>
                </a:lnTo>
                <a:lnTo>
                  <a:pt x="15" y="128"/>
                </a:lnTo>
                <a:lnTo>
                  <a:pt x="19" y="128"/>
                </a:lnTo>
                <a:lnTo>
                  <a:pt x="19" y="130"/>
                </a:lnTo>
                <a:lnTo>
                  <a:pt x="20" y="132"/>
                </a:lnTo>
                <a:lnTo>
                  <a:pt x="19" y="133"/>
                </a:lnTo>
                <a:lnTo>
                  <a:pt x="19" y="132"/>
                </a:lnTo>
                <a:lnTo>
                  <a:pt x="18" y="132"/>
                </a:lnTo>
                <a:lnTo>
                  <a:pt x="17" y="130"/>
                </a:lnTo>
                <a:lnTo>
                  <a:pt x="14" y="130"/>
                </a:lnTo>
                <a:lnTo>
                  <a:pt x="13" y="129"/>
                </a:lnTo>
                <a:lnTo>
                  <a:pt x="11" y="129"/>
                </a:lnTo>
                <a:lnTo>
                  <a:pt x="11" y="128"/>
                </a:lnTo>
                <a:lnTo>
                  <a:pt x="12" y="128"/>
                </a:lnTo>
                <a:lnTo>
                  <a:pt x="11" y="127"/>
                </a:lnTo>
                <a:lnTo>
                  <a:pt x="9" y="127"/>
                </a:lnTo>
                <a:lnTo>
                  <a:pt x="8" y="126"/>
                </a:lnTo>
                <a:lnTo>
                  <a:pt x="8" y="122"/>
                </a:lnTo>
                <a:lnTo>
                  <a:pt x="7" y="121"/>
                </a:lnTo>
                <a:lnTo>
                  <a:pt x="7" y="120"/>
                </a:lnTo>
                <a:lnTo>
                  <a:pt x="6" y="120"/>
                </a:lnTo>
                <a:lnTo>
                  <a:pt x="5" y="118"/>
                </a:lnTo>
                <a:lnTo>
                  <a:pt x="3" y="116"/>
                </a:lnTo>
                <a:lnTo>
                  <a:pt x="2" y="115"/>
                </a:lnTo>
                <a:lnTo>
                  <a:pt x="1" y="115"/>
                </a:lnTo>
                <a:lnTo>
                  <a:pt x="1" y="112"/>
                </a:lnTo>
                <a:lnTo>
                  <a:pt x="0" y="114"/>
                </a:lnTo>
                <a:lnTo>
                  <a:pt x="0" y="109"/>
                </a:lnTo>
                <a:lnTo>
                  <a:pt x="5" y="109"/>
                </a:lnTo>
                <a:lnTo>
                  <a:pt x="6" y="108"/>
                </a:lnTo>
                <a:lnTo>
                  <a:pt x="7" y="108"/>
                </a:lnTo>
                <a:lnTo>
                  <a:pt x="8" y="106"/>
                </a:lnTo>
                <a:close/>
                <a:moveTo>
                  <a:pt x="242" y="96"/>
                </a:moveTo>
                <a:lnTo>
                  <a:pt x="244" y="96"/>
                </a:lnTo>
                <a:lnTo>
                  <a:pt x="244" y="98"/>
                </a:lnTo>
                <a:lnTo>
                  <a:pt x="242" y="100"/>
                </a:lnTo>
                <a:lnTo>
                  <a:pt x="242" y="102"/>
                </a:lnTo>
                <a:lnTo>
                  <a:pt x="241" y="102"/>
                </a:lnTo>
                <a:lnTo>
                  <a:pt x="241" y="104"/>
                </a:lnTo>
                <a:lnTo>
                  <a:pt x="239" y="104"/>
                </a:lnTo>
                <a:lnTo>
                  <a:pt x="241" y="105"/>
                </a:lnTo>
                <a:lnTo>
                  <a:pt x="241" y="106"/>
                </a:lnTo>
                <a:lnTo>
                  <a:pt x="242" y="108"/>
                </a:lnTo>
                <a:lnTo>
                  <a:pt x="241" y="108"/>
                </a:lnTo>
                <a:lnTo>
                  <a:pt x="241" y="109"/>
                </a:lnTo>
                <a:lnTo>
                  <a:pt x="239" y="109"/>
                </a:lnTo>
                <a:lnTo>
                  <a:pt x="238" y="108"/>
                </a:lnTo>
                <a:lnTo>
                  <a:pt x="238" y="106"/>
                </a:lnTo>
                <a:lnTo>
                  <a:pt x="237" y="106"/>
                </a:lnTo>
                <a:lnTo>
                  <a:pt x="237" y="105"/>
                </a:lnTo>
                <a:lnTo>
                  <a:pt x="236" y="105"/>
                </a:lnTo>
                <a:lnTo>
                  <a:pt x="237" y="104"/>
                </a:lnTo>
                <a:lnTo>
                  <a:pt x="237" y="102"/>
                </a:lnTo>
                <a:lnTo>
                  <a:pt x="236" y="102"/>
                </a:lnTo>
                <a:lnTo>
                  <a:pt x="234" y="103"/>
                </a:lnTo>
                <a:lnTo>
                  <a:pt x="235" y="103"/>
                </a:lnTo>
                <a:lnTo>
                  <a:pt x="235" y="104"/>
                </a:lnTo>
                <a:lnTo>
                  <a:pt x="234" y="104"/>
                </a:lnTo>
                <a:lnTo>
                  <a:pt x="234" y="105"/>
                </a:lnTo>
                <a:lnTo>
                  <a:pt x="235" y="106"/>
                </a:lnTo>
                <a:lnTo>
                  <a:pt x="235" y="108"/>
                </a:lnTo>
                <a:lnTo>
                  <a:pt x="232" y="108"/>
                </a:lnTo>
                <a:lnTo>
                  <a:pt x="232" y="105"/>
                </a:lnTo>
                <a:lnTo>
                  <a:pt x="231" y="105"/>
                </a:lnTo>
                <a:lnTo>
                  <a:pt x="229" y="106"/>
                </a:lnTo>
                <a:lnTo>
                  <a:pt x="228" y="106"/>
                </a:lnTo>
                <a:lnTo>
                  <a:pt x="228" y="104"/>
                </a:lnTo>
                <a:lnTo>
                  <a:pt x="229" y="104"/>
                </a:lnTo>
                <a:lnTo>
                  <a:pt x="229" y="102"/>
                </a:lnTo>
                <a:lnTo>
                  <a:pt x="228" y="100"/>
                </a:lnTo>
                <a:lnTo>
                  <a:pt x="228" y="98"/>
                </a:lnTo>
                <a:lnTo>
                  <a:pt x="229" y="98"/>
                </a:lnTo>
                <a:lnTo>
                  <a:pt x="231" y="97"/>
                </a:lnTo>
                <a:lnTo>
                  <a:pt x="232" y="97"/>
                </a:lnTo>
                <a:lnTo>
                  <a:pt x="232" y="98"/>
                </a:lnTo>
                <a:lnTo>
                  <a:pt x="234" y="98"/>
                </a:lnTo>
                <a:lnTo>
                  <a:pt x="235" y="97"/>
                </a:lnTo>
                <a:lnTo>
                  <a:pt x="236" y="97"/>
                </a:lnTo>
                <a:lnTo>
                  <a:pt x="237" y="98"/>
                </a:lnTo>
                <a:lnTo>
                  <a:pt x="237" y="99"/>
                </a:lnTo>
                <a:lnTo>
                  <a:pt x="239" y="99"/>
                </a:lnTo>
                <a:lnTo>
                  <a:pt x="242" y="97"/>
                </a:lnTo>
                <a:lnTo>
                  <a:pt x="242" y="96"/>
                </a:lnTo>
                <a:close/>
                <a:moveTo>
                  <a:pt x="248" y="69"/>
                </a:moveTo>
                <a:lnTo>
                  <a:pt x="254" y="69"/>
                </a:lnTo>
                <a:lnTo>
                  <a:pt x="254" y="71"/>
                </a:lnTo>
                <a:lnTo>
                  <a:pt x="255" y="71"/>
                </a:lnTo>
                <a:lnTo>
                  <a:pt x="255" y="74"/>
                </a:lnTo>
                <a:lnTo>
                  <a:pt x="250" y="75"/>
                </a:lnTo>
                <a:lnTo>
                  <a:pt x="248" y="74"/>
                </a:lnTo>
                <a:lnTo>
                  <a:pt x="245" y="72"/>
                </a:lnTo>
                <a:lnTo>
                  <a:pt x="244" y="72"/>
                </a:lnTo>
                <a:lnTo>
                  <a:pt x="244" y="71"/>
                </a:lnTo>
                <a:lnTo>
                  <a:pt x="245" y="71"/>
                </a:lnTo>
                <a:lnTo>
                  <a:pt x="248" y="69"/>
                </a:lnTo>
                <a:close/>
                <a:moveTo>
                  <a:pt x="211" y="53"/>
                </a:moveTo>
                <a:lnTo>
                  <a:pt x="212" y="54"/>
                </a:lnTo>
                <a:lnTo>
                  <a:pt x="214" y="54"/>
                </a:lnTo>
                <a:lnTo>
                  <a:pt x="214" y="55"/>
                </a:lnTo>
                <a:lnTo>
                  <a:pt x="216" y="55"/>
                </a:lnTo>
                <a:lnTo>
                  <a:pt x="216" y="57"/>
                </a:lnTo>
                <a:lnTo>
                  <a:pt x="217" y="59"/>
                </a:lnTo>
                <a:lnTo>
                  <a:pt x="217" y="60"/>
                </a:lnTo>
                <a:lnTo>
                  <a:pt x="216" y="60"/>
                </a:lnTo>
                <a:lnTo>
                  <a:pt x="216" y="62"/>
                </a:lnTo>
                <a:lnTo>
                  <a:pt x="217" y="62"/>
                </a:lnTo>
                <a:lnTo>
                  <a:pt x="217" y="63"/>
                </a:lnTo>
                <a:lnTo>
                  <a:pt x="214" y="63"/>
                </a:lnTo>
                <a:lnTo>
                  <a:pt x="214" y="65"/>
                </a:lnTo>
                <a:lnTo>
                  <a:pt x="212" y="65"/>
                </a:lnTo>
                <a:lnTo>
                  <a:pt x="211" y="66"/>
                </a:lnTo>
                <a:lnTo>
                  <a:pt x="210" y="65"/>
                </a:lnTo>
                <a:lnTo>
                  <a:pt x="208" y="65"/>
                </a:lnTo>
                <a:lnTo>
                  <a:pt x="208" y="63"/>
                </a:lnTo>
                <a:lnTo>
                  <a:pt x="207" y="62"/>
                </a:lnTo>
                <a:lnTo>
                  <a:pt x="205" y="62"/>
                </a:lnTo>
                <a:lnTo>
                  <a:pt x="205" y="59"/>
                </a:lnTo>
                <a:lnTo>
                  <a:pt x="206" y="57"/>
                </a:lnTo>
                <a:lnTo>
                  <a:pt x="207" y="55"/>
                </a:lnTo>
                <a:lnTo>
                  <a:pt x="211" y="53"/>
                </a:lnTo>
                <a:close/>
                <a:moveTo>
                  <a:pt x="276" y="0"/>
                </a:moveTo>
                <a:lnTo>
                  <a:pt x="278" y="0"/>
                </a:lnTo>
                <a:lnTo>
                  <a:pt x="279" y="1"/>
                </a:lnTo>
                <a:lnTo>
                  <a:pt x="280" y="1"/>
                </a:lnTo>
                <a:lnTo>
                  <a:pt x="280" y="3"/>
                </a:lnTo>
                <a:lnTo>
                  <a:pt x="282" y="3"/>
                </a:lnTo>
                <a:lnTo>
                  <a:pt x="284" y="1"/>
                </a:lnTo>
                <a:lnTo>
                  <a:pt x="284" y="3"/>
                </a:lnTo>
                <a:lnTo>
                  <a:pt x="285" y="4"/>
                </a:lnTo>
                <a:lnTo>
                  <a:pt x="288" y="4"/>
                </a:lnTo>
                <a:lnTo>
                  <a:pt x="288" y="5"/>
                </a:lnTo>
                <a:lnTo>
                  <a:pt x="287" y="6"/>
                </a:lnTo>
                <a:lnTo>
                  <a:pt x="292" y="8"/>
                </a:lnTo>
                <a:lnTo>
                  <a:pt x="293" y="7"/>
                </a:lnTo>
                <a:lnTo>
                  <a:pt x="293" y="13"/>
                </a:lnTo>
                <a:lnTo>
                  <a:pt x="294" y="16"/>
                </a:lnTo>
                <a:lnTo>
                  <a:pt x="294" y="23"/>
                </a:lnTo>
                <a:lnTo>
                  <a:pt x="293" y="24"/>
                </a:lnTo>
                <a:lnTo>
                  <a:pt x="292" y="23"/>
                </a:lnTo>
                <a:lnTo>
                  <a:pt x="291" y="23"/>
                </a:lnTo>
                <a:lnTo>
                  <a:pt x="288" y="24"/>
                </a:lnTo>
                <a:lnTo>
                  <a:pt x="288" y="25"/>
                </a:lnTo>
                <a:lnTo>
                  <a:pt x="287" y="25"/>
                </a:lnTo>
                <a:lnTo>
                  <a:pt x="285" y="28"/>
                </a:lnTo>
                <a:lnTo>
                  <a:pt x="282" y="28"/>
                </a:lnTo>
                <a:lnTo>
                  <a:pt x="281" y="29"/>
                </a:lnTo>
                <a:lnTo>
                  <a:pt x="282" y="29"/>
                </a:lnTo>
                <a:lnTo>
                  <a:pt x="281" y="30"/>
                </a:lnTo>
                <a:lnTo>
                  <a:pt x="281" y="32"/>
                </a:lnTo>
                <a:lnTo>
                  <a:pt x="282" y="34"/>
                </a:lnTo>
                <a:lnTo>
                  <a:pt x="281" y="35"/>
                </a:lnTo>
                <a:lnTo>
                  <a:pt x="282" y="35"/>
                </a:lnTo>
                <a:lnTo>
                  <a:pt x="282" y="36"/>
                </a:lnTo>
                <a:lnTo>
                  <a:pt x="281" y="37"/>
                </a:lnTo>
                <a:lnTo>
                  <a:pt x="281" y="38"/>
                </a:lnTo>
                <a:lnTo>
                  <a:pt x="284" y="41"/>
                </a:lnTo>
                <a:lnTo>
                  <a:pt x="284" y="42"/>
                </a:lnTo>
                <a:lnTo>
                  <a:pt x="282" y="42"/>
                </a:lnTo>
                <a:lnTo>
                  <a:pt x="282" y="46"/>
                </a:lnTo>
                <a:lnTo>
                  <a:pt x="280" y="46"/>
                </a:lnTo>
                <a:lnTo>
                  <a:pt x="280" y="47"/>
                </a:lnTo>
                <a:lnTo>
                  <a:pt x="279" y="47"/>
                </a:lnTo>
                <a:lnTo>
                  <a:pt x="279" y="48"/>
                </a:lnTo>
                <a:lnTo>
                  <a:pt x="278" y="48"/>
                </a:lnTo>
                <a:lnTo>
                  <a:pt x="278" y="49"/>
                </a:lnTo>
                <a:lnTo>
                  <a:pt x="276" y="49"/>
                </a:lnTo>
                <a:lnTo>
                  <a:pt x="276" y="50"/>
                </a:lnTo>
                <a:lnTo>
                  <a:pt x="274" y="53"/>
                </a:lnTo>
                <a:lnTo>
                  <a:pt x="274" y="55"/>
                </a:lnTo>
                <a:lnTo>
                  <a:pt x="273" y="56"/>
                </a:lnTo>
                <a:lnTo>
                  <a:pt x="270" y="56"/>
                </a:lnTo>
                <a:lnTo>
                  <a:pt x="269" y="55"/>
                </a:lnTo>
                <a:lnTo>
                  <a:pt x="269" y="54"/>
                </a:lnTo>
                <a:lnTo>
                  <a:pt x="268" y="53"/>
                </a:lnTo>
                <a:lnTo>
                  <a:pt x="270" y="53"/>
                </a:lnTo>
                <a:lnTo>
                  <a:pt x="270" y="51"/>
                </a:lnTo>
                <a:lnTo>
                  <a:pt x="268" y="51"/>
                </a:lnTo>
                <a:lnTo>
                  <a:pt x="268" y="53"/>
                </a:lnTo>
                <a:lnTo>
                  <a:pt x="266" y="50"/>
                </a:lnTo>
                <a:lnTo>
                  <a:pt x="255" y="50"/>
                </a:lnTo>
                <a:lnTo>
                  <a:pt x="253" y="49"/>
                </a:lnTo>
                <a:lnTo>
                  <a:pt x="248" y="49"/>
                </a:lnTo>
                <a:lnTo>
                  <a:pt x="247" y="48"/>
                </a:lnTo>
                <a:lnTo>
                  <a:pt x="244" y="47"/>
                </a:lnTo>
                <a:lnTo>
                  <a:pt x="242" y="47"/>
                </a:lnTo>
                <a:lnTo>
                  <a:pt x="241" y="46"/>
                </a:lnTo>
                <a:lnTo>
                  <a:pt x="238" y="44"/>
                </a:lnTo>
                <a:lnTo>
                  <a:pt x="237" y="46"/>
                </a:lnTo>
                <a:lnTo>
                  <a:pt x="234" y="46"/>
                </a:lnTo>
                <a:lnTo>
                  <a:pt x="232" y="44"/>
                </a:lnTo>
                <a:lnTo>
                  <a:pt x="231" y="44"/>
                </a:lnTo>
                <a:lnTo>
                  <a:pt x="231" y="43"/>
                </a:lnTo>
                <a:lnTo>
                  <a:pt x="232" y="43"/>
                </a:lnTo>
                <a:lnTo>
                  <a:pt x="232" y="42"/>
                </a:lnTo>
                <a:lnTo>
                  <a:pt x="228" y="42"/>
                </a:lnTo>
                <a:lnTo>
                  <a:pt x="228" y="43"/>
                </a:lnTo>
                <a:lnTo>
                  <a:pt x="226" y="43"/>
                </a:lnTo>
                <a:lnTo>
                  <a:pt x="225" y="44"/>
                </a:lnTo>
                <a:lnTo>
                  <a:pt x="225" y="46"/>
                </a:lnTo>
                <a:lnTo>
                  <a:pt x="223" y="46"/>
                </a:lnTo>
                <a:lnTo>
                  <a:pt x="222" y="47"/>
                </a:lnTo>
                <a:lnTo>
                  <a:pt x="220" y="47"/>
                </a:lnTo>
                <a:lnTo>
                  <a:pt x="219" y="49"/>
                </a:lnTo>
                <a:lnTo>
                  <a:pt x="217" y="50"/>
                </a:lnTo>
                <a:lnTo>
                  <a:pt x="216" y="49"/>
                </a:lnTo>
                <a:lnTo>
                  <a:pt x="214" y="50"/>
                </a:lnTo>
                <a:lnTo>
                  <a:pt x="213" y="50"/>
                </a:lnTo>
                <a:lnTo>
                  <a:pt x="213" y="49"/>
                </a:lnTo>
                <a:lnTo>
                  <a:pt x="211" y="49"/>
                </a:lnTo>
                <a:lnTo>
                  <a:pt x="211" y="50"/>
                </a:lnTo>
                <a:lnTo>
                  <a:pt x="210" y="50"/>
                </a:lnTo>
                <a:lnTo>
                  <a:pt x="210" y="48"/>
                </a:lnTo>
                <a:lnTo>
                  <a:pt x="208" y="48"/>
                </a:lnTo>
                <a:lnTo>
                  <a:pt x="208" y="47"/>
                </a:lnTo>
                <a:lnTo>
                  <a:pt x="207" y="46"/>
                </a:lnTo>
                <a:lnTo>
                  <a:pt x="207" y="44"/>
                </a:lnTo>
                <a:lnTo>
                  <a:pt x="204" y="44"/>
                </a:lnTo>
                <a:lnTo>
                  <a:pt x="203" y="46"/>
                </a:lnTo>
                <a:lnTo>
                  <a:pt x="203" y="44"/>
                </a:lnTo>
                <a:lnTo>
                  <a:pt x="201" y="46"/>
                </a:lnTo>
                <a:lnTo>
                  <a:pt x="200" y="46"/>
                </a:lnTo>
                <a:lnTo>
                  <a:pt x="197" y="49"/>
                </a:lnTo>
                <a:lnTo>
                  <a:pt x="198" y="49"/>
                </a:lnTo>
                <a:lnTo>
                  <a:pt x="198" y="50"/>
                </a:lnTo>
                <a:lnTo>
                  <a:pt x="197" y="50"/>
                </a:lnTo>
                <a:lnTo>
                  <a:pt x="197" y="51"/>
                </a:lnTo>
                <a:lnTo>
                  <a:pt x="198" y="51"/>
                </a:lnTo>
                <a:lnTo>
                  <a:pt x="193" y="55"/>
                </a:lnTo>
                <a:lnTo>
                  <a:pt x="188" y="57"/>
                </a:lnTo>
                <a:lnTo>
                  <a:pt x="183" y="57"/>
                </a:lnTo>
                <a:lnTo>
                  <a:pt x="179" y="54"/>
                </a:lnTo>
                <a:lnTo>
                  <a:pt x="175" y="54"/>
                </a:lnTo>
                <a:lnTo>
                  <a:pt x="173" y="55"/>
                </a:lnTo>
                <a:lnTo>
                  <a:pt x="173" y="56"/>
                </a:lnTo>
                <a:lnTo>
                  <a:pt x="172" y="56"/>
                </a:lnTo>
                <a:lnTo>
                  <a:pt x="170" y="57"/>
                </a:lnTo>
                <a:lnTo>
                  <a:pt x="170" y="60"/>
                </a:lnTo>
                <a:lnTo>
                  <a:pt x="172" y="61"/>
                </a:lnTo>
                <a:lnTo>
                  <a:pt x="173" y="61"/>
                </a:lnTo>
                <a:lnTo>
                  <a:pt x="173" y="62"/>
                </a:lnTo>
                <a:lnTo>
                  <a:pt x="174" y="62"/>
                </a:lnTo>
                <a:lnTo>
                  <a:pt x="174" y="63"/>
                </a:lnTo>
                <a:lnTo>
                  <a:pt x="178" y="67"/>
                </a:lnTo>
                <a:lnTo>
                  <a:pt x="179" y="67"/>
                </a:lnTo>
                <a:lnTo>
                  <a:pt x="180" y="68"/>
                </a:lnTo>
                <a:lnTo>
                  <a:pt x="176" y="68"/>
                </a:lnTo>
                <a:lnTo>
                  <a:pt x="176" y="72"/>
                </a:lnTo>
                <a:lnTo>
                  <a:pt x="178" y="74"/>
                </a:lnTo>
                <a:lnTo>
                  <a:pt x="179" y="75"/>
                </a:lnTo>
                <a:lnTo>
                  <a:pt x="180" y="75"/>
                </a:lnTo>
                <a:lnTo>
                  <a:pt x="181" y="77"/>
                </a:lnTo>
                <a:lnTo>
                  <a:pt x="183" y="77"/>
                </a:lnTo>
                <a:lnTo>
                  <a:pt x="183" y="73"/>
                </a:lnTo>
                <a:lnTo>
                  <a:pt x="185" y="73"/>
                </a:lnTo>
                <a:lnTo>
                  <a:pt x="186" y="75"/>
                </a:lnTo>
                <a:lnTo>
                  <a:pt x="186" y="77"/>
                </a:lnTo>
                <a:lnTo>
                  <a:pt x="187" y="78"/>
                </a:lnTo>
                <a:lnTo>
                  <a:pt x="192" y="78"/>
                </a:lnTo>
                <a:lnTo>
                  <a:pt x="192" y="80"/>
                </a:lnTo>
                <a:lnTo>
                  <a:pt x="193" y="80"/>
                </a:lnTo>
                <a:lnTo>
                  <a:pt x="194" y="81"/>
                </a:lnTo>
                <a:lnTo>
                  <a:pt x="197" y="85"/>
                </a:lnTo>
                <a:lnTo>
                  <a:pt x="200" y="87"/>
                </a:lnTo>
                <a:lnTo>
                  <a:pt x="200" y="89"/>
                </a:lnTo>
                <a:lnTo>
                  <a:pt x="199" y="90"/>
                </a:lnTo>
                <a:lnTo>
                  <a:pt x="197" y="91"/>
                </a:lnTo>
                <a:lnTo>
                  <a:pt x="195" y="90"/>
                </a:lnTo>
                <a:lnTo>
                  <a:pt x="195" y="89"/>
                </a:lnTo>
                <a:lnTo>
                  <a:pt x="194" y="87"/>
                </a:lnTo>
                <a:lnTo>
                  <a:pt x="193" y="87"/>
                </a:lnTo>
                <a:lnTo>
                  <a:pt x="193" y="85"/>
                </a:lnTo>
                <a:lnTo>
                  <a:pt x="189" y="81"/>
                </a:lnTo>
                <a:lnTo>
                  <a:pt x="186" y="81"/>
                </a:lnTo>
                <a:lnTo>
                  <a:pt x="182" y="78"/>
                </a:lnTo>
                <a:lnTo>
                  <a:pt x="181" y="78"/>
                </a:lnTo>
                <a:lnTo>
                  <a:pt x="180" y="77"/>
                </a:lnTo>
                <a:lnTo>
                  <a:pt x="179" y="78"/>
                </a:lnTo>
                <a:lnTo>
                  <a:pt x="178" y="77"/>
                </a:lnTo>
                <a:lnTo>
                  <a:pt x="176" y="77"/>
                </a:lnTo>
                <a:lnTo>
                  <a:pt x="174" y="78"/>
                </a:lnTo>
                <a:lnTo>
                  <a:pt x="172" y="78"/>
                </a:lnTo>
                <a:lnTo>
                  <a:pt x="170" y="79"/>
                </a:lnTo>
                <a:lnTo>
                  <a:pt x="170" y="81"/>
                </a:lnTo>
                <a:lnTo>
                  <a:pt x="172" y="83"/>
                </a:lnTo>
                <a:lnTo>
                  <a:pt x="172" y="84"/>
                </a:lnTo>
                <a:lnTo>
                  <a:pt x="173" y="85"/>
                </a:lnTo>
                <a:lnTo>
                  <a:pt x="174" y="85"/>
                </a:lnTo>
                <a:lnTo>
                  <a:pt x="174" y="86"/>
                </a:lnTo>
                <a:lnTo>
                  <a:pt x="175" y="86"/>
                </a:lnTo>
                <a:lnTo>
                  <a:pt x="178" y="87"/>
                </a:lnTo>
                <a:lnTo>
                  <a:pt x="179" y="87"/>
                </a:lnTo>
                <a:lnTo>
                  <a:pt x="179" y="89"/>
                </a:lnTo>
                <a:lnTo>
                  <a:pt x="180" y="89"/>
                </a:lnTo>
                <a:lnTo>
                  <a:pt x="180" y="90"/>
                </a:lnTo>
                <a:lnTo>
                  <a:pt x="182" y="90"/>
                </a:lnTo>
                <a:lnTo>
                  <a:pt x="183" y="91"/>
                </a:lnTo>
                <a:lnTo>
                  <a:pt x="182" y="92"/>
                </a:lnTo>
                <a:lnTo>
                  <a:pt x="182" y="93"/>
                </a:lnTo>
                <a:lnTo>
                  <a:pt x="183" y="93"/>
                </a:lnTo>
                <a:lnTo>
                  <a:pt x="183" y="96"/>
                </a:lnTo>
                <a:lnTo>
                  <a:pt x="185" y="96"/>
                </a:lnTo>
                <a:lnTo>
                  <a:pt x="185" y="97"/>
                </a:lnTo>
                <a:lnTo>
                  <a:pt x="183" y="97"/>
                </a:lnTo>
                <a:lnTo>
                  <a:pt x="183" y="100"/>
                </a:lnTo>
                <a:lnTo>
                  <a:pt x="181" y="100"/>
                </a:lnTo>
                <a:lnTo>
                  <a:pt x="179" y="98"/>
                </a:lnTo>
                <a:lnTo>
                  <a:pt x="180" y="98"/>
                </a:lnTo>
                <a:lnTo>
                  <a:pt x="178" y="97"/>
                </a:lnTo>
                <a:lnTo>
                  <a:pt x="178" y="96"/>
                </a:lnTo>
                <a:lnTo>
                  <a:pt x="176" y="96"/>
                </a:lnTo>
                <a:lnTo>
                  <a:pt x="176" y="97"/>
                </a:lnTo>
                <a:lnTo>
                  <a:pt x="175" y="94"/>
                </a:lnTo>
                <a:lnTo>
                  <a:pt x="174" y="93"/>
                </a:lnTo>
                <a:lnTo>
                  <a:pt x="175" y="93"/>
                </a:lnTo>
                <a:lnTo>
                  <a:pt x="175" y="92"/>
                </a:lnTo>
                <a:lnTo>
                  <a:pt x="174" y="92"/>
                </a:lnTo>
                <a:lnTo>
                  <a:pt x="174" y="91"/>
                </a:lnTo>
                <a:lnTo>
                  <a:pt x="170" y="85"/>
                </a:lnTo>
                <a:lnTo>
                  <a:pt x="168" y="85"/>
                </a:lnTo>
                <a:lnTo>
                  <a:pt x="168" y="84"/>
                </a:lnTo>
                <a:lnTo>
                  <a:pt x="164" y="84"/>
                </a:lnTo>
                <a:lnTo>
                  <a:pt x="162" y="83"/>
                </a:lnTo>
                <a:lnTo>
                  <a:pt x="157" y="83"/>
                </a:lnTo>
                <a:lnTo>
                  <a:pt x="156" y="85"/>
                </a:lnTo>
                <a:lnTo>
                  <a:pt x="156" y="89"/>
                </a:lnTo>
                <a:lnTo>
                  <a:pt x="157" y="89"/>
                </a:lnTo>
                <a:lnTo>
                  <a:pt x="157" y="90"/>
                </a:lnTo>
                <a:lnTo>
                  <a:pt x="158" y="90"/>
                </a:lnTo>
                <a:lnTo>
                  <a:pt x="158" y="91"/>
                </a:lnTo>
                <a:lnTo>
                  <a:pt x="162" y="94"/>
                </a:lnTo>
                <a:lnTo>
                  <a:pt x="169" y="98"/>
                </a:lnTo>
                <a:lnTo>
                  <a:pt x="169" y="99"/>
                </a:lnTo>
                <a:lnTo>
                  <a:pt x="170" y="99"/>
                </a:lnTo>
                <a:lnTo>
                  <a:pt x="170" y="100"/>
                </a:lnTo>
                <a:lnTo>
                  <a:pt x="173" y="100"/>
                </a:lnTo>
                <a:lnTo>
                  <a:pt x="173" y="102"/>
                </a:lnTo>
                <a:lnTo>
                  <a:pt x="167" y="102"/>
                </a:lnTo>
                <a:lnTo>
                  <a:pt x="161" y="99"/>
                </a:lnTo>
                <a:lnTo>
                  <a:pt x="157" y="99"/>
                </a:lnTo>
                <a:lnTo>
                  <a:pt x="157" y="96"/>
                </a:lnTo>
                <a:lnTo>
                  <a:pt x="156" y="96"/>
                </a:lnTo>
                <a:lnTo>
                  <a:pt x="156" y="93"/>
                </a:lnTo>
                <a:lnTo>
                  <a:pt x="155" y="92"/>
                </a:lnTo>
                <a:lnTo>
                  <a:pt x="154" y="92"/>
                </a:lnTo>
                <a:lnTo>
                  <a:pt x="155" y="90"/>
                </a:lnTo>
                <a:lnTo>
                  <a:pt x="155" y="86"/>
                </a:lnTo>
                <a:lnTo>
                  <a:pt x="151" y="83"/>
                </a:lnTo>
                <a:lnTo>
                  <a:pt x="148" y="83"/>
                </a:lnTo>
                <a:lnTo>
                  <a:pt x="145" y="80"/>
                </a:lnTo>
                <a:lnTo>
                  <a:pt x="144" y="80"/>
                </a:lnTo>
                <a:lnTo>
                  <a:pt x="142" y="78"/>
                </a:lnTo>
                <a:lnTo>
                  <a:pt x="139" y="77"/>
                </a:lnTo>
                <a:lnTo>
                  <a:pt x="138" y="75"/>
                </a:lnTo>
                <a:lnTo>
                  <a:pt x="137" y="77"/>
                </a:lnTo>
                <a:lnTo>
                  <a:pt x="137" y="74"/>
                </a:lnTo>
                <a:lnTo>
                  <a:pt x="136" y="73"/>
                </a:lnTo>
                <a:lnTo>
                  <a:pt x="136" y="72"/>
                </a:lnTo>
                <a:lnTo>
                  <a:pt x="133" y="69"/>
                </a:lnTo>
                <a:lnTo>
                  <a:pt x="139" y="69"/>
                </a:lnTo>
                <a:lnTo>
                  <a:pt x="139" y="68"/>
                </a:lnTo>
                <a:lnTo>
                  <a:pt x="141" y="67"/>
                </a:lnTo>
                <a:lnTo>
                  <a:pt x="141" y="66"/>
                </a:lnTo>
                <a:lnTo>
                  <a:pt x="139" y="65"/>
                </a:lnTo>
                <a:lnTo>
                  <a:pt x="139" y="63"/>
                </a:lnTo>
                <a:lnTo>
                  <a:pt x="138" y="62"/>
                </a:lnTo>
                <a:lnTo>
                  <a:pt x="137" y="62"/>
                </a:lnTo>
                <a:lnTo>
                  <a:pt x="137" y="61"/>
                </a:lnTo>
                <a:lnTo>
                  <a:pt x="135" y="62"/>
                </a:lnTo>
                <a:lnTo>
                  <a:pt x="136" y="63"/>
                </a:lnTo>
                <a:lnTo>
                  <a:pt x="133" y="66"/>
                </a:lnTo>
                <a:lnTo>
                  <a:pt x="131" y="66"/>
                </a:lnTo>
                <a:lnTo>
                  <a:pt x="131" y="68"/>
                </a:lnTo>
                <a:lnTo>
                  <a:pt x="130" y="68"/>
                </a:lnTo>
                <a:lnTo>
                  <a:pt x="130" y="69"/>
                </a:lnTo>
                <a:lnTo>
                  <a:pt x="129" y="69"/>
                </a:lnTo>
                <a:lnTo>
                  <a:pt x="129" y="68"/>
                </a:lnTo>
                <a:lnTo>
                  <a:pt x="127" y="68"/>
                </a:lnTo>
                <a:lnTo>
                  <a:pt x="127" y="71"/>
                </a:lnTo>
                <a:lnTo>
                  <a:pt x="124" y="71"/>
                </a:lnTo>
                <a:lnTo>
                  <a:pt x="124" y="72"/>
                </a:lnTo>
                <a:lnTo>
                  <a:pt x="125" y="73"/>
                </a:lnTo>
                <a:lnTo>
                  <a:pt x="125" y="75"/>
                </a:lnTo>
                <a:lnTo>
                  <a:pt x="126" y="77"/>
                </a:lnTo>
                <a:lnTo>
                  <a:pt x="127" y="77"/>
                </a:lnTo>
                <a:lnTo>
                  <a:pt x="126" y="78"/>
                </a:lnTo>
                <a:lnTo>
                  <a:pt x="125" y="80"/>
                </a:lnTo>
                <a:lnTo>
                  <a:pt x="124" y="84"/>
                </a:lnTo>
                <a:lnTo>
                  <a:pt x="124" y="85"/>
                </a:lnTo>
                <a:lnTo>
                  <a:pt x="123" y="89"/>
                </a:lnTo>
                <a:lnTo>
                  <a:pt x="123" y="91"/>
                </a:lnTo>
                <a:lnTo>
                  <a:pt x="124" y="92"/>
                </a:lnTo>
                <a:lnTo>
                  <a:pt x="123" y="93"/>
                </a:lnTo>
                <a:lnTo>
                  <a:pt x="123" y="94"/>
                </a:lnTo>
                <a:lnTo>
                  <a:pt x="124" y="94"/>
                </a:lnTo>
                <a:lnTo>
                  <a:pt x="124" y="97"/>
                </a:lnTo>
                <a:lnTo>
                  <a:pt x="126" y="98"/>
                </a:lnTo>
                <a:lnTo>
                  <a:pt x="127" y="98"/>
                </a:lnTo>
                <a:lnTo>
                  <a:pt x="127" y="99"/>
                </a:lnTo>
                <a:lnTo>
                  <a:pt x="129" y="99"/>
                </a:lnTo>
                <a:lnTo>
                  <a:pt x="129" y="100"/>
                </a:lnTo>
                <a:lnTo>
                  <a:pt x="130" y="103"/>
                </a:lnTo>
                <a:lnTo>
                  <a:pt x="130" y="104"/>
                </a:lnTo>
                <a:lnTo>
                  <a:pt x="132" y="105"/>
                </a:lnTo>
                <a:lnTo>
                  <a:pt x="135" y="108"/>
                </a:lnTo>
                <a:lnTo>
                  <a:pt x="135" y="109"/>
                </a:lnTo>
                <a:lnTo>
                  <a:pt x="136" y="110"/>
                </a:lnTo>
                <a:lnTo>
                  <a:pt x="136" y="112"/>
                </a:lnTo>
                <a:lnTo>
                  <a:pt x="138" y="120"/>
                </a:lnTo>
                <a:lnTo>
                  <a:pt x="139" y="121"/>
                </a:lnTo>
                <a:lnTo>
                  <a:pt x="144" y="123"/>
                </a:lnTo>
                <a:lnTo>
                  <a:pt x="145" y="124"/>
                </a:lnTo>
                <a:lnTo>
                  <a:pt x="147" y="127"/>
                </a:lnTo>
                <a:lnTo>
                  <a:pt x="150" y="132"/>
                </a:lnTo>
                <a:lnTo>
                  <a:pt x="152" y="134"/>
                </a:lnTo>
                <a:lnTo>
                  <a:pt x="154" y="137"/>
                </a:lnTo>
                <a:lnTo>
                  <a:pt x="156" y="141"/>
                </a:lnTo>
                <a:lnTo>
                  <a:pt x="156" y="142"/>
                </a:lnTo>
                <a:lnTo>
                  <a:pt x="155" y="142"/>
                </a:lnTo>
                <a:lnTo>
                  <a:pt x="154" y="143"/>
                </a:lnTo>
                <a:lnTo>
                  <a:pt x="151" y="145"/>
                </a:lnTo>
                <a:lnTo>
                  <a:pt x="151" y="146"/>
                </a:lnTo>
                <a:lnTo>
                  <a:pt x="149" y="146"/>
                </a:lnTo>
                <a:lnTo>
                  <a:pt x="148" y="147"/>
                </a:lnTo>
                <a:lnTo>
                  <a:pt x="143" y="147"/>
                </a:lnTo>
                <a:lnTo>
                  <a:pt x="144" y="146"/>
                </a:lnTo>
                <a:lnTo>
                  <a:pt x="144" y="145"/>
                </a:lnTo>
                <a:lnTo>
                  <a:pt x="145" y="143"/>
                </a:lnTo>
                <a:lnTo>
                  <a:pt x="147" y="143"/>
                </a:lnTo>
                <a:lnTo>
                  <a:pt x="145" y="146"/>
                </a:lnTo>
                <a:lnTo>
                  <a:pt x="149" y="145"/>
                </a:lnTo>
                <a:lnTo>
                  <a:pt x="149" y="143"/>
                </a:lnTo>
                <a:lnTo>
                  <a:pt x="150" y="143"/>
                </a:lnTo>
                <a:lnTo>
                  <a:pt x="150" y="141"/>
                </a:lnTo>
                <a:lnTo>
                  <a:pt x="149" y="140"/>
                </a:lnTo>
                <a:lnTo>
                  <a:pt x="149" y="137"/>
                </a:lnTo>
                <a:lnTo>
                  <a:pt x="148" y="136"/>
                </a:lnTo>
                <a:lnTo>
                  <a:pt x="147" y="136"/>
                </a:lnTo>
                <a:lnTo>
                  <a:pt x="147" y="135"/>
                </a:lnTo>
                <a:lnTo>
                  <a:pt x="142" y="135"/>
                </a:lnTo>
                <a:lnTo>
                  <a:pt x="142" y="133"/>
                </a:lnTo>
                <a:lnTo>
                  <a:pt x="139" y="133"/>
                </a:lnTo>
                <a:lnTo>
                  <a:pt x="138" y="134"/>
                </a:lnTo>
                <a:lnTo>
                  <a:pt x="138" y="135"/>
                </a:lnTo>
                <a:lnTo>
                  <a:pt x="139" y="135"/>
                </a:lnTo>
                <a:lnTo>
                  <a:pt x="138" y="136"/>
                </a:lnTo>
                <a:lnTo>
                  <a:pt x="135" y="136"/>
                </a:lnTo>
                <a:lnTo>
                  <a:pt x="133" y="137"/>
                </a:lnTo>
                <a:lnTo>
                  <a:pt x="133" y="140"/>
                </a:lnTo>
                <a:lnTo>
                  <a:pt x="135" y="143"/>
                </a:lnTo>
                <a:lnTo>
                  <a:pt x="136" y="143"/>
                </a:lnTo>
                <a:lnTo>
                  <a:pt x="136" y="141"/>
                </a:lnTo>
                <a:lnTo>
                  <a:pt x="137" y="142"/>
                </a:lnTo>
                <a:lnTo>
                  <a:pt x="137" y="143"/>
                </a:lnTo>
                <a:lnTo>
                  <a:pt x="138" y="145"/>
                </a:lnTo>
                <a:lnTo>
                  <a:pt x="138" y="146"/>
                </a:lnTo>
                <a:lnTo>
                  <a:pt x="141" y="146"/>
                </a:lnTo>
                <a:lnTo>
                  <a:pt x="141" y="147"/>
                </a:lnTo>
                <a:lnTo>
                  <a:pt x="142" y="148"/>
                </a:lnTo>
                <a:lnTo>
                  <a:pt x="141" y="149"/>
                </a:lnTo>
                <a:lnTo>
                  <a:pt x="142" y="149"/>
                </a:lnTo>
                <a:lnTo>
                  <a:pt x="139" y="151"/>
                </a:lnTo>
                <a:lnTo>
                  <a:pt x="139" y="152"/>
                </a:lnTo>
                <a:lnTo>
                  <a:pt x="142" y="151"/>
                </a:lnTo>
                <a:lnTo>
                  <a:pt x="143" y="149"/>
                </a:lnTo>
                <a:lnTo>
                  <a:pt x="144" y="149"/>
                </a:lnTo>
                <a:lnTo>
                  <a:pt x="144" y="151"/>
                </a:lnTo>
                <a:lnTo>
                  <a:pt x="143" y="151"/>
                </a:lnTo>
                <a:lnTo>
                  <a:pt x="142" y="152"/>
                </a:lnTo>
                <a:lnTo>
                  <a:pt x="142" y="154"/>
                </a:lnTo>
                <a:lnTo>
                  <a:pt x="139" y="154"/>
                </a:lnTo>
                <a:lnTo>
                  <a:pt x="139" y="155"/>
                </a:lnTo>
                <a:lnTo>
                  <a:pt x="138" y="155"/>
                </a:lnTo>
                <a:lnTo>
                  <a:pt x="137" y="157"/>
                </a:lnTo>
                <a:lnTo>
                  <a:pt x="136" y="155"/>
                </a:lnTo>
                <a:lnTo>
                  <a:pt x="135" y="155"/>
                </a:lnTo>
                <a:lnTo>
                  <a:pt x="135" y="158"/>
                </a:lnTo>
                <a:lnTo>
                  <a:pt x="132" y="158"/>
                </a:lnTo>
                <a:lnTo>
                  <a:pt x="132" y="159"/>
                </a:lnTo>
                <a:lnTo>
                  <a:pt x="130" y="159"/>
                </a:lnTo>
                <a:lnTo>
                  <a:pt x="130" y="158"/>
                </a:lnTo>
                <a:lnTo>
                  <a:pt x="129" y="158"/>
                </a:lnTo>
                <a:lnTo>
                  <a:pt x="129" y="159"/>
                </a:lnTo>
                <a:lnTo>
                  <a:pt x="127" y="159"/>
                </a:lnTo>
                <a:lnTo>
                  <a:pt x="127" y="158"/>
                </a:lnTo>
                <a:lnTo>
                  <a:pt x="126" y="158"/>
                </a:lnTo>
                <a:lnTo>
                  <a:pt x="125" y="157"/>
                </a:lnTo>
                <a:lnTo>
                  <a:pt x="124" y="158"/>
                </a:lnTo>
                <a:lnTo>
                  <a:pt x="123" y="158"/>
                </a:lnTo>
                <a:lnTo>
                  <a:pt x="121" y="159"/>
                </a:lnTo>
                <a:lnTo>
                  <a:pt x="121" y="160"/>
                </a:lnTo>
                <a:lnTo>
                  <a:pt x="124" y="159"/>
                </a:lnTo>
                <a:lnTo>
                  <a:pt x="124" y="160"/>
                </a:lnTo>
                <a:lnTo>
                  <a:pt x="123" y="160"/>
                </a:lnTo>
                <a:lnTo>
                  <a:pt x="123" y="161"/>
                </a:lnTo>
                <a:lnTo>
                  <a:pt x="126" y="161"/>
                </a:lnTo>
                <a:lnTo>
                  <a:pt x="129" y="160"/>
                </a:lnTo>
                <a:lnTo>
                  <a:pt x="131" y="163"/>
                </a:lnTo>
                <a:lnTo>
                  <a:pt x="131" y="164"/>
                </a:lnTo>
                <a:lnTo>
                  <a:pt x="135" y="164"/>
                </a:lnTo>
                <a:lnTo>
                  <a:pt x="136" y="165"/>
                </a:lnTo>
                <a:lnTo>
                  <a:pt x="137" y="164"/>
                </a:lnTo>
                <a:lnTo>
                  <a:pt x="138" y="164"/>
                </a:lnTo>
                <a:lnTo>
                  <a:pt x="139" y="165"/>
                </a:lnTo>
                <a:lnTo>
                  <a:pt x="142" y="165"/>
                </a:lnTo>
                <a:lnTo>
                  <a:pt x="143" y="166"/>
                </a:lnTo>
                <a:lnTo>
                  <a:pt x="144" y="166"/>
                </a:lnTo>
                <a:lnTo>
                  <a:pt x="145" y="171"/>
                </a:lnTo>
                <a:lnTo>
                  <a:pt x="147" y="172"/>
                </a:lnTo>
                <a:lnTo>
                  <a:pt x="147" y="171"/>
                </a:lnTo>
                <a:lnTo>
                  <a:pt x="149" y="171"/>
                </a:lnTo>
                <a:lnTo>
                  <a:pt x="150" y="170"/>
                </a:lnTo>
                <a:lnTo>
                  <a:pt x="149" y="170"/>
                </a:lnTo>
                <a:lnTo>
                  <a:pt x="149" y="169"/>
                </a:lnTo>
                <a:lnTo>
                  <a:pt x="150" y="169"/>
                </a:lnTo>
                <a:lnTo>
                  <a:pt x="151" y="170"/>
                </a:lnTo>
                <a:lnTo>
                  <a:pt x="152" y="170"/>
                </a:lnTo>
                <a:lnTo>
                  <a:pt x="154" y="171"/>
                </a:lnTo>
                <a:lnTo>
                  <a:pt x="155" y="171"/>
                </a:lnTo>
                <a:lnTo>
                  <a:pt x="155" y="172"/>
                </a:lnTo>
                <a:lnTo>
                  <a:pt x="156" y="172"/>
                </a:lnTo>
                <a:lnTo>
                  <a:pt x="154" y="174"/>
                </a:lnTo>
                <a:lnTo>
                  <a:pt x="154" y="176"/>
                </a:lnTo>
                <a:lnTo>
                  <a:pt x="155" y="176"/>
                </a:lnTo>
                <a:lnTo>
                  <a:pt x="156" y="177"/>
                </a:lnTo>
                <a:lnTo>
                  <a:pt x="157" y="177"/>
                </a:lnTo>
                <a:lnTo>
                  <a:pt x="157" y="178"/>
                </a:lnTo>
                <a:lnTo>
                  <a:pt x="155" y="178"/>
                </a:lnTo>
                <a:lnTo>
                  <a:pt x="156" y="179"/>
                </a:lnTo>
                <a:lnTo>
                  <a:pt x="163" y="179"/>
                </a:lnTo>
                <a:lnTo>
                  <a:pt x="164" y="178"/>
                </a:lnTo>
                <a:lnTo>
                  <a:pt x="167" y="180"/>
                </a:lnTo>
                <a:lnTo>
                  <a:pt x="166" y="180"/>
                </a:lnTo>
                <a:lnTo>
                  <a:pt x="166" y="182"/>
                </a:lnTo>
                <a:lnTo>
                  <a:pt x="167" y="182"/>
                </a:lnTo>
                <a:lnTo>
                  <a:pt x="167" y="183"/>
                </a:lnTo>
                <a:lnTo>
                  <a:pt x="168" y="184"/>
                </a:lnTo>
                <a:lnTo>
                  <a:pt x="169" y="186"/>
                </a:lnTo>
                <a:lnTo>
                  <a:pt x="172" y="188"/>
                </a:lnTo>
                <a:lnTo>
                  <a:pt x="176" y="188"/>
                </a:lnTo>
                <a:lnTo>
                  <a:pt x="180" y="190"/>
                </a:lnTo>
                <a:lnTo>
                  <a:pt x="181" y="190"/>
                </a:lnTo>
                <a:lnTo>
                  <a:pt x="185" y="194"/>
                </a:lnTo>
                <a:lnTo>
                  <a:pt x="186" y="194"/>
                </a:lnTo>
                <a:lnTo>
                  <a:pt x="186" y="195"/>
                </a:lnTo>
                <a:lnTo>
                  <a:pt x="187" y="195"/>
                </a:lnTo>
                <a:lnTo>
                  <a:pt x="187" y="197"/>
                </a:lnTo>
                <a:lnTo>
                  <a:pt x="186" y="197"/>
                </a:lnTo>
                <a:lnTo>
                  <a:pt x="186" y="198"/>
                </a:lnTo>
                <a:lnTo>
                  <a:pt x="185" y="198"/>
                </a:lnTo>
                <a:lnTo>
                  <a:pt x="183" y="200"/>
                </a:lnTo>
                <a:lnTo>
                  <a:pt x="183" y="203"/>
                </a:lnTo>
                <a:lnTo>
                  <a:pt x="185" y="204"/>
                </a:lnTo>
                <a:lnTo>
                  <a:pt x="185" y="207"/>
                </a:lnTo>
                <a:lnTo>
                  <a:pt x="183" y="208"/>
                </a:lnTo>
                <a:lnTo>
                  <a:pt x="185" y="208"/>
                </a:lnTo>
                <a:lnTo>
                  <a:pt x="185" y="210"/>
                </a:lnTo>
                <a:lnTo>
                  <a:pt x="186" y="210"/>
                </a:lnTo>
                <a:lnTo>
                  <a:pt x="186" y="212"/>
                </a:lnTo>
                <a:lnTo>
                  <a:pt x="185" y="212"/>
                </a:lnTo>
                <a:lnTo>
                  <a:pt x="185" y="213"/>
                </a:lnTo>
                <a:lnTo>
                  <a:pt x="186" y="213"/>
                </a:lnTo>
                <a:lnTo>
                  <a:pt x="186" y="215"/>
                </a:lnTo>
                <a:lnTo>
                  <a:pt x="187" y="216"/>
                </a:lnTo>
                <a:lnTo>
                  <a:pt x="187" y="219"/>
                </a:lnTo>
                <a:lnTo>
                  <a:pt x="186" y="220"/>
                </a:lnTo>
                <a:lnTo>
                  <a:pt x="187" y="220"/>
                </a:lnTo>
                <a:lnTo>
                  <a:pt x="187" y="221"/>
                </a:lnTo>
                <a:lnTo>
                  <a:pt x="186" y="221"/>
                </a:lnTo>
                <a:lnTo>
                  <a:pt x="186" y="222"/>
                </a:lnTo>
                <a:lnTo>
                  <a:pt x="187" y="222"/>
                </a:lnTo>
                <a:lnTo>
                  <a:pt x="185" y="225"/>
                </a:lnTo>
                <a:lnTo>
                  <a:pt x="185" y="223"/>
                </a:lnTo>
                <a:lnTo>
                  <a:pt x="181" y="223"/>
                </a:lnTo>
                <a:lnTo>
                  <a:pt x="181" y="220"/>
                </a:lnTo>
                <a:lnTo>
                  <a:pt x="180" y="221"/>
                </a:lnTo>
                <a:lnTo>
                  <a:pt x="180" y="217"/>
                </a:lnTo>
                <a:lnTo>
                  <a:pt x="179" y="217"/>
                </a:lnTo>
                <a:lnTo>
                  <a:pt x="179" y="216"/>
                </a:lnTo>
                <a:lnTo>
                  <a:pt x="178" y="216"/>
                </a:lnTo>
                <a:lnTo>
                  <a:pt x="178" y="215"/>
                </a:lnTo>
                <a:lnTo>
                  <a:pt x="175" y="215"/>
                </a:lnTo>
                <a:lnTo>
                  <a:pt x="175" y="216"/>
                </a:lnTo>
                <a:lnTo>
                  <a:pt x="174" y="216"/>
                </a:lnTo>
                <a:lnTo>
                  <a:pt x="174" y="214"/>
                </a:lnTo>
                <a:lnTo>
                  <a:pt x="173" y="214"/>
                </a:lnTo>
                <a:lnTo>
                  <a:pt x="173" y="213"/>
                </a:lnTo>
                <a:lnTo>
                  <a:pt x="170" y="210"/>
                </a:lnTo>
                <a:lnTo>
                  <a:pt x="170" y="209"/>
                </a:lnTo>
                <a:lnTo>
                  <a:pt x="168" y="209"/>
                </a:lnTo>
                <a:lnTo>
                  <a:pt x="168" y="208"/>
                </a:lnTo>
                <a:lnTo>
                  <a:pt x="166" y="208"/>
                </a:lnTo>
                <a:lnTo>
                  <a:pt x="164" y="207"/>
                </a:lnTo>
                <a:lnTo>
                  <a:pt x="167" y="204"/>
                </a:lnTo>
                <a:lnTo>
                  <a:pt x="167" y="203"/>
                </a:lnTo>
                <a:lnTo>
                  <a:pt x="163" y="203"/>
                </a:lnTo>
                <a:lnTo>
                  <a:pt x="163" y="204"/>
                </a:lnTo>
                <a:lnTo>
                  <a:pt x="161" y="204"/>
                </a:lnTo>
                <a:lnTo>
                  <a:pt x="158" y="206"/>
                </a:lnTo>
                <a:lnTo>
                  <a:pt x="158" y="207"/>
                </a:lnTo>
                <a:lnTo>
                  <a:pt x="151" y="207"/>
                </a:lnTo>
                <a:lnTo>
                  <a:pt x="149" y="208"/>
                </a:lnTo>
                <a:lnTo>
                  <a:pt x="148" y="209"/>
                </a:lnTo>
                <a:lnTo>
                  <a:pt x="145" y="210"/>
                </a:lnTo>
                <a:lnTo>
                  <a:pt x="142" y="210"/>
                </a:lnTo>
                <a:lnTo>
                  <a:pt x="142" y="212"/>
                </a:lnTo>
                <a:lnTo>
                  <a:pt x="141" y="212"/>
                </a:lnTo>
                <a:lnTo>
                  <a:pt x="142" y="213"/>
                </a:lnTo>
                <a:lnTo>
                  <a:pt x="142" y="214"/>
                </a:lnTo>
                <a:lnTo>
                  <a:pt x="147" y="214"/>
                </a:lnTo>
                <a:lnTo>
                  <a:pt x="149" y="216"/>
                </a:lnTo>
                <a:lnTo>
                  <a:pt x="149" y="217"/>
                </a:lnTo>
                <a:lnTo>
                  <a:pt x="148" y="219"/>
                </a:lnTo>
                <a:lnTo>
                  <a:pt x="147" y="219"/>
                </a:lnTo>
                <a:lnTo>
                  <a:pt x="147" y="220"/>
                </a:lnTo>
                <a:lnTo>
                  <a:pt x="148" y="220"/>
                </a:lnTo>
                <a:lnTo>
                  <a:pt x="148" y="221"/>
                </a:lnTo>
                <a:lnTo>
                  <a:pt x="149" y="221"/>
                </a:lnTo>
                <a:lnTo>
                  <a:pt x="149" y="222"/>
                </a:lnTo>
                <a:lnTo>
                  <a:pt x="148" y="222"/>
                </a:lnTo>
                <a:lnTo>
                  <a:pt x="149" y="223"/>
                </a:lnTo>
                <a:lnTo>
                  <a:pt x="149" y="225"/>
                </a:lnTo>
                <a:lnTo>
                  <a:pt x="148" y="225"/>
                </a:lnTo>
                <a:lnTo>
                  <a:pt x="148" y="226"/>
                </a:lnTo>
                <a:lnTo>
                  <a:pt x="149" y="226"/>
                </a:lnTo>
                <a:lnTo>
                  <a:pt x="149" y="227"/>
                </a:lnTo>
                <a:lnTo>
                  <a:pt x="151" y="228"/>
                </a:lnTo>
                <a:lnTo>
                  <a:pt x="151" y="227"/>
                </a:lnTo>
                <a:lnTo>
                  <a:pt x="152" y="229"/>
                </a:lnTo>
                <a:lnTo>
                  <a:pt x="154" y="229"/>
                </a:lnTo>
                <a:lnTo>
                  <a:pt x="155" y="231"/>
                </a:lnTo>
                <a:lnTo>
                  <a:pt x="156" y="231"/>
                </a:lnTo>
                <a:lnTo>
                  <a:pt x="156" y="227"/>
                </a:lnTo>
                <a:lnTo>
                  <a:pt x="155" y="227"/>
                </a:lnTo>
                <a:lnTo>
                  <a:pt x="155" y="226"/>
                </a:lnTo>
                <a:lnTo>
                  <a:pt x="156" y="225"/>
                </a:lnTo>
                <a:lnTo>
                  <a:pt x="158" y="225"/>
                </a:lnTo>
                <a:lnTo>
                  <a:pt x="158" y="227"/>
                </a:lnTo>
                <a:lnTo>
                  <a:pt x="157" y="228"/>
                </a:lnTo>
                <a:lnTo>
                  <a:pt x="157" y="229"/>
                </a:lnTo>
                <a:lnTo>
                  <a:pt x="158" y="231"/>
                </a:lnTo>
                <a:lnTo>
                  <a:pt x="158" y="232"/>
                </a:lnTo>
                <a:lnTo>
                  <a:pt x="160" y="232"/>
                </a:lnTo>
                <a:lnTo>
                  <a:pt x="161" y="233"/>
                </a:lnTo>
                <a:lnTo>
                  <a:pt x="162" y="233"/>
                </a:lnTo>
                <a:lnTo>
                  <a:pt x="163" y="234"/>
                </a:lnTo>
                <a:lnTo>
                  <a:pt x="163" y="237"/>
                </a:lnTo>
                <a:lnTo>
                  <a:pt x="154" y="237"/>
                </a:lnTo>
                <a:lnTo>
                  <a:pt x="155" y="238"/>
                </a:lnTo>
                <a:lnTo>
                  <a:pt x="152" y="238"/>
                </a:lnTo>
                <a:lnTo>
                  <a:pt x="151" y="239"/>
                </a:lnTo>
                <a:lnTo>
                  <a:pt x="152" y="239"/>
                </a:lnTo>
                <a:lnTo>
                  <a:pt x="152" y="240"/>
                </a:lnTo>
                <a:lnTo>
                  <a:pt x="150" y="240"/>
                </a:lnTo>
                <a:lnTo>
                  <a:pt x="149" y="241"/>
                </a:lnTo>
                <a:lnTo>
                  <a:pt x="150" y="241"/>
                </a:lnTo>
                <a:lnTo>
                  <a:pt x="150" y="243"/>
                </a:lnTo>
                <a:lnTo>
                  <a:pt x="148" y="243"/>
                </a:lnTo>
                <a:lnTo>
                  <a:pt x="148" y="241"/>
                </a:lnTo>
                <a:lnTo>
                  <a:pt x="147" y="241"/>
                </a:lnTo>
                <a:lnTo>
                  <a:pt x="147" y="240"/>
                </a:lnTo>
                <a:lnTo>
                  <a:pt x="144" y="240"/>
                </a:lnTo>
                <a:lnTo>
                  <a:pt x="144" y="238"/>
                </a:lnTo>
                <a:lnTo>
                  <a:pt x="145" y="238"/>
                </a:lnTo>
                <a:lnTo>
                  <a:pt x="147" y="237"/>
                </a:lnTo>
                <a:lnTo>
                  <a:pt x="147" y="234"/>
                </a:lnTo>
                <a:lnTo>
                  <a:pt x="144" y="234"/>
                </a:lnTo>
                <a:lnTo>
                  <a:pt x="143" y="233"/>
                </a:lnTo>
                <a:lnTo>
                  <a:pt x="142" y="234"/>
                </a:lnTo>
                <a:lnTo>
                  <a:pt x="141" y="233"/>
                </a:lnTo>
                <a:lnTo>
                  <a:pt x="141" y="232"/>
                </a:lnTo>
                <a:lnTo>
                  <a:pt x="139" y="231"/>
                </a:lnTo>
                <a:lnTo>
                  <a:pt x="136" y="231"/>
                </a:lnTo>
                <a:lnTo>
                  <a:pt x="135" y="232"/>
                </a:lnTo>
                <a:lnTo>
                  <a:pt x="133" y="231"/>
                </a:lnTo>
                <a:lnTo>
                  <a:pt x="133" y="229"/>
                </a:lnTo>
                <a:lnTo>
                  <a:pt x="132" y="228"/>
                </a:lnTo>
                <a:lnTo>
                  <a:pt x="132" y="227"/>
                </a:lnTo>
                <a:lnTo>
                  <a:pt x="131" y="227"/>
                </a:lnTo>
                <a:lnTo>
                  <a:pt x="130" y="228"/>
                </a:lnTo>
                <a:lnTo>
                  <a:pt x="130" y="233"/>
                </a:lnTo>
                <a:lnTo>
                  <a:pt x="131" y="234"/>
                </a:lnTo>
                <a:lnTo>
                  <a:pt x="131" y="238"/>
                </a:lnTo>
                <a:lnTo>
                  <a:pt x="133" y="240"/>
                </a:lnTo>
                <a:lnTo>
                  <a:pt x="133" y="243"/>
                </a:lnTo>
                <a:lnTo>
                  <a:pt x="135" y="243"/>
                </a:lnTo>
                <a:lnTo>
                  <a:pt x="135" y="244"/>
                </a:lnTo>
                <a:lnTo>
                  <a:pt x="136" y="245"/>
                </a:lnTo>
                <a:lnTo>
                  <a:pt x="137" y="247"/>
                </a:lnTo>
                <a:lnTo>
                  <a:pt x="137" y="249"/>
                </a:lnTo>
                <a:lnTo>
                  <a:pt x="138" y="249"/>
                </a:lnTo>
                <a:lnTo>
                  <a:pt x="137" y="250"/>
                </a:lnTo>
                <a:lnTo>
                  <a:pt x="137" y="252"/>
                </a:lnTo>
                <a:lnTo>
                  <a:pt x="139" y="252"/>
                </a:lnTo>
                <a:lnTo>
                  <a:pt x="139" y="253"/>
                </a:lnTo>
                <a:lnTo>
                  <a:pt x="141" y="255"/>
                </a:lnTo>
                <a:lnTo>
                  <a:pt x="139" y="255"/>
                </a:lnTo>
                <a:lnTo>
                  <a:pt x="142" y="257"/>
                </a:lnTo>
                <a:lnTo>
                  <a:pt x="142" y="259"/>
                </a:lnTo>
                <a:lnTo>
                  <a:pt x="141" y="259"/>
                </a:lnTo>
                <a:lnTo>
                  <a:pt x="142" y="260"/>
                </a:lnTo>
                <a:lnTo>
                  <a:pt x="142" y="263"/>
                </a:lnTo>
                <a:lnTo>
                  <a:pt x="143" y="265"/>
                </a:lnTo>
                <a:lnTo>
                  <a:pt x="145" y="268"/>
                </a:lnTo>
                <a:lnTo>
                  <a:pt x="145" y="269"/>
                </a:lnTo>
                <a:lnTo>
                  <a:pt x="144" y="270"/>
                </a:lnTo>
                <a:lnTo>
                  <a:pt x="147" y="270"/>
                </a:lnTo>
                <a:lnTo>
                  <a:pt x="147" y="271"/>
                </a:lnTo>
                <a:lnTo>
                  <a:pt x="145" y="271"/>
                </a:lnTo>
                <a:lnTo>
                  <a:pt x="145" y="272"/>
                </a:lnTo>
                <a:lnTo>
                  <a:pt x="143" y="272"/>
                </a:lnTo>
                <a:lnTo>
                  <a:pt x="143" y="275"/>
                </a:lnTo>
                <a:lnTo>
                  <a:pt x="144" y="275"/>
                </a:lnTo>
                <a:lnTo>
                  <a:pt x="143" y="276"/>
                </a:lnTo>
                <a:lnTo>
                  <a:pt x="143" y="278"/>
                </a:lnTo>
                <a:lnTo>
                  <a:pt x="144" y="280"/>
                </a:lnTo>
                <a:lnTo>
                  <a:pt x="144" y="281"/>
                </a:lnTo>
                <a:lnTo>
                  <a:pt x="145" y="281"/>
                </a:lnTo>
                <a:lnTo>
                  <a:pt x="145" y="282"/>
                </a:lnTo>
                <a:lnTo>
                  <a:pt x="148" y="282"/>
                </a:lnTo>
                <a:lnTo>
                  <a:pt x="148" y="284"/>
                </a:lnTo>
                <a:lnTo>
                  <a:pt x="147" y="284"/>
                </a:lnTo>
                <a:lnTo>
                  <a:pt x="150" y="288"/>
                </a:lnTo>
                <a:lnTo>
                  <a:pt x="150" y="289"/>
                </a:lnTo>
                <a:lnTo>
                  <a:pt x="148" y="288"/>
                </a:lnTo>
                <a:lnTo>
                  <a:pt x="145" y="288"/>
                </a:lnTo>
                <a:lnTo>
                  <a:pt x="144" y="287"/>
                </a:lnTo>
                <a:lnTo>
                  <a:pt x="144" y="284"/>
                </a:lnTo>
                <a:lnTo>
                  <a:pt x="143" y="284"/>
                </a:lnTo>
                <a:lnTo>
                  <a:pt x="143" y="283"/>
                </a:lnTo>
                <a:lnTo>
                  <a:pt x="141" y="284"/>
                </a:lnTo>
                <a:lnTo>
                  <a:pt x="139" y="283"/>
                </a:lnTo>
                <a:lnTo>
                  <a:pt x="138" y="281"/>
                </a:lnTo>
                <a:lnTo>
                  <a:pt x="138" y="280"/>
                </a:lnTo>
                <a:lnTo>
                  <a:pt x="136" y="278"/>
                </a:lnTo>
                <a:lnTo>
                  <a:pt x="137" y="277"/>
                </a:lnTo>
                <a:lnTo>
                  <a:pt x="135" y="275"/>
                </a:lnTo>
                <a:lnTo>
                  <a:pt x="135" y="276"/>
                </a:lnTo>
                <a:lnTo>
                  <a:pt x="133" y="276"/>
                </a:lnTo>
                <a:lnTo>
                  <a:pt x="133" y="270"/>
                </a:lnTo>
                <a:lnTo>
                  <a:pt x="132" y="270"/>
                </a:lnTo>
                <a:lnTo>
                  <a:pt x="131" y="269"/>
                </a:lnTo>
                <a:lnTo>
                  <a:pt x="125" y="269"/>
                </a:lnTo>
                <a:lnTo>
                  <a:pt x="124" y="270"/>
                </a:lnTo>
                <a:lnTo>
                  <a:pt x="124" y="272"/>
                </a:lnTo>
                <a:lnTo>
                  <a:pt x="123" y="274"/>
                </a:lnTo>
                <a:lnTo>
                  <a:pt x="121" y="274"/>
                </a:lnTo>
                <a:lnTo>
                  <a:pt x="121" y="275"/>
                </a:lnTo>
                <a:lnTo>
                  <a:pt x="123" y="276"/>
                </a:lnTo>
                <a:lnTo>
                  <a:pt x="123" y="277"/>
                </a:lnTo>
                <a:lnTo>
                  <a:pt x="121" y="277"/>
                </a:lnTo>
                <a:lnTo>
                  <a:pt x="121" y="276"/>
                </a:lnTo>
                <a:lnTo>
                  <a:pt x="120" y="277"/>
                </a:lnTo>
                <a:lnTo>
                  <a:pt x="121" y="278"/>
                </a:lnTo>
                <a:lnTo>
                  <a:pt x="121" y="280"/>
                </a:lnTo>
                <a:lnTo>
                  <a:pt x="120" y="280"/>
                </a:lnTo>
                <a:lnTo>
                  <a:pt x="120" y="278"/>
                </a:lnTo>
                <a:lnTo>
                  <a:pt x="119" y="280"/>
                </a:lnTo>
                <a:lnTo>
                  <a:pt x="119" y="283"/>
                </a:lnTo>
                <a:lnTo>
                  <a:pt x="120" y="284"/>
                </a:lnTo>
                <a:lnTo>
                  <a:pt x="120" y="290"/>
                </a:lnTo>
                <a:lnTo>
                  <a:pt x="119" y="290"/>
                </a:lnTo>
                <a:lnTo>
                  <a:pt x="119" y="288"/>
                </a:lnTo>
                <a:lnTo>
                  <a:pt x="118" y="287"/>
                </a:lnTo>
                <a:lnTo>
                  <a:pt x="117" y="287"/>
                </a:lnTo>
                <a:lnTo>
                  <a:pt x="117" y="286"/>
                </a:lnTo>
                <a:lnTo>
                  <a:pt x="114" y="286"/>
                </a:lnTo>
                <a:lnTo>
                  <a:pt x="114" y="282"/>
                </a:lnTo>
                <a:lnTo>
                  <a:pt x="116" y="283"/>
                </a:lnTo>
                <a:lnTo>
                  <a:pt x="116" y="280"/>
                </a:lnTo>
                <a:lnTo>
                  <a:pt x="114" y="280"/>
                </a:lnTo>
                <a:lnTo>
                  <a:pt x="114" y="276"/>
                </a:lnTo>
                <a:lnTo>
                  <a:pt x="116" y="275"/>
                </a:lnTo>
                <a:lnTo>
                  <a:pt x="114" y="275"/>
                </a:lnTo>
                <a:lnTo>
                  <a:pt x="113" y="274"/>
                </a:lnTo>
                <a:lnTo>
                  <a:pt x="113" y="271"/>
                </a:lnTo>
                <a:lnTo>
                  <a:pt x="112" y="271"/>
                </a:lnTo>
                <a:lnTo>
                  <a:pt x="112" y="269"/>
                </a:lnTo>
                <a:lnTo>
                  <a:pt x="108" y="264"/>
                </a:lnTo>
                <a:lnTo>
                  <a:pt x="106" y="264"/>
                </a:lnTo>
                <a:lnTo>
                  <a:pt x="105" y="263"/>
                </a:lnTo>
                <a:lnTo>
                  <a:pt x="105" y="262"/>
                </a:lnTo>
                <a:lnTo>
                  <a:pt x="106" y="260"/>
                </a:lnTo>
                <a:lnTo>
                  <a:pt x="106" y="258"/>
                </a:lnTo>
                <a:lnTo>
                  <a:pt x="102" y="257"/>
                </a:lnTo>
                <a:lnTo>
                  <a:pt x="100" y="257"/>
                </a:lnTo>
                <a:lnTo>
                  <a:pt x="99" y="258"/>
                </a:lnTo>
                <a:lnTo>
                  <a:pt x="98" y="258"/>
                </a:lnTo>
                <a:lnTo>
                  <a:pt x="96" y="259"/>
                </a:lnTo>
                <a:lnTo>
                  <a:pt x="96" y="265"/>
                </a:lnTo>
                <a:lnTo>
                  <a:pt x="95" y="265"/>
                </a:lnTo>
                <a:lnTo>
                  <a:pt x="95" y="266"/>
                </a:lnTo>
                <a:lnTo>
                  <a:pt x="96" y="266"/>
                </a:lnTo>
                <a:lnTo>
                  <a:pt x="96" y="269"/>
                </a:lnTo>
                <a:lnTo>
                  <a:pt x="98" y="269"/>
                </a:lnTo>
                <a:lnTo>
                  <a:pt x="98" y="270"/>
                </a:lnTo>
                <a:lnTo>
                  <a:pt x="96" y="270"/>
                </a:lnTo>
                <a:lnTo>
                  <a:pt x="96" y="271"/>
                </a:lnTo>
                <a:lnTo>
                  <a:pt x="95" y="272"/>
                </a:lnTo>
                <a:lnTo>
                  <a:pt x="94" y="272"/>
                </a:lnTo>
                <a:lnTo>
                  <a:pt x="94" y="274"/>
                </a:lnTo>
                <a:lnTo>
                  <a:pt x="92" y="269"/>
                </a:lnTo>
                <a:lnTo>
                  <a:pt x="90" y="269"/>
                </a:lnTo>
                <a:lnTo>
                  <a:pt x="89" y="270"/>
                </a:lnTo>
                <a:lnTo>
                  <a:pt x="86" y="266"/>
                </a:lnTo>
                <a:lnTo>
                  <a:pt x="86" y="264"/>
                </a:lnTo>
                <a:lnTo>
                  <a:pt x="87" y="263"/>
                </a:lnTo>
                <a:lnTo>
                  <a:pt x="87" y="260"/>
                </a:lnTo>
                <a:lnTo>
                  <a:pt x="85" y="260"/>
                </a:lnTo>
                <a:lnTo>
                  <a:pt x="85" y="259"/>
                </a:lnTo>
                <a:lnTo>
                  <a:pt x="82" y="257"/>
                </a:lnTo>
                <a:lnTo>
                  <a:pt x="81" y="255"/>
                </a:lnTo>
                <a:lnTo>
                  <a:pt x="81" y="249"/>
                </a:lnTo>
                <a:lnTo>
                  <a:pt x="86" y="244"/>
                </a:lnTo>
                <a:lnTo>
                  <a:pt x="86" y="238"/>
                </a:lnTo>
                <a:lnTo>
                  <a:pt x="82" y="232"/>
                </a:lnTo>
                <a:lnTo>
                  <a:pt x="81" y="229"/>
                </a:lnTo>
                <a:lnTo>
                  <a:pt x="80" y="229"/>
                </a:lnTo>
                <a:lnTo>
                  <a:pt x="76" y="227"/>
                </a:lnTo>
                <a:lnTo>
                  <a:pt x="76" y="226"/>
                </a:lnTo>
                <a:lnTo>
                  <a:pt x="75" y="226"/>
                </a:lnTo>
                <a:lnTo>
                  <a:pt x="74" y="225"/>
                </a:lnTo>
                <a:lnTo>
                  <a:pt x="71" y="223"/>
                </a:lnTo>
                <a:lnTo>
                  <a:pt x="69" y="223"/>
                </a:lnTo>
                <a:lnTo>
                  <a:pt x="70" y="222"/>
                </a:lnTo>
                <a:lnTo>
                  <a:pt x="70" y="220"/>
                </a:lnTo>
                <a:lnTo>
                  <a:pt x="69" y="217"/>
                </a:lnTo>
                <a:lnTo>
                  <a:pt x="68" y="216"/>
                </a:lnTo>
                <a:lnTo>
                  <a:pt x="67" y="216"/>
                </a:lnTo>
                <a:lnTo>
                  <a:pt x="62" y="214"/>
                </a:lnTo>
                <a:lnTo>
                  <a:pt x="62" y="213"/>
                </a:lnTo>
                <a:lnTo>
                  <a:pt x="63" y="209"/>
                </a:lnTo>
                <a:lnTo>
                  <a:pt x="65" y="209"/>
                </a:lnTo>
                <a:lnTo>
                  <a:pt x="69" y="206"/>
                </a:lnTo>
                <a:lnTo>
                  <a:pt x="70" y="206"/>
                </a:lnTo>
                <a:lnTo>
                  <a:pt x="70" y="204"/>
                </a:lnTo>
                <a:lnTo>
                  <a:pt x="69" y="204"/>
                </a:lnTo>
                <a:lnTo>
                  <a:pt x="71" y="202"/>
                </a:lnTo>
                <a:lnTo>
                  <a:pt x="73" y="200"/>
                </a:lnTo>
                <a:lnTo>
                  <a:pt x="73" y="195"/>
                </a:lnTo>
                <a:lnTo>
                  <a:pt x="74" y="196"/>
                </a:lnTo>
                <a:lnTo>
                  <a:pt x="74" y="195"/>
                </a:lnTo>
                <a:lnTo>
                  <a:pt x="77" y="195"/>
                </a:lnTo>
                <a:lnTo>
                  <a:pt x="79" y="197"/>
                </a:lnTo>
                <a:lnTo>
                  <a:pt x="85" y="197"/>
                </a:lnTo>
                <a:lnTo>
                  <a:pt x="87" y="195"/>
                </a:lnTo>
                <a:lnTo>
                  <a:pt x="88" y="191"/>
                </a:lnTo>
                <a:lnTo>
                  <a:pt x="89" y="190"/>
                </a:lnTo>
                <a:lnTo>
                  <a:pt x="93" y="188"/>
                </a:lnTo>
                <a:lnTo>
                  <a:pt x="98" y="188"/>
                </a:lnTo>
                <a:lnTo>
                  <a:pt x="98" y="189"/>
                </a:lnTo>
                <a:lnTo>
                  <a:pt x="100" y="189"/>
                </a:lnTo>
                <a:lnTo>
                  <a:pt x="100" y="190"/>
                </a:lnTo>
                <a:lnTo>
                  <a:pt x="101" y="191"/>
                </a:lnTo>
                <a:lnTo>
                  <a:pt x="105" y="191"/>
                </a:lnTo>
                <a:lnTo>
                  <a:pt x="105" y="192"/>
                </a:lnTo>
                <a:lnTo>
                  <a:pt x="106" y="194"/>
                </a:lnTo>
                <a:lnTo>
                  <a:pt x="106" y="195"/>
                </a:lnTo>
                <a:lnTo>
                  <a:pt x="108" y="195"/>
                </a:lnTo>
                <a:lnTo>
                  <a:pt x="108" y="196"/>
                </a:lnTo>
                <a:lnTo>
                  <a:pt x="113" y="196"/>
                </a:lnTo>
                <a:lnTo>
                  <a:pt x="116" y="198"/>
                </a:lnTo>
                <a:lnTo>
                  <a:pt x="120" y="198"/>
                </a:lnTo>
                <a:lnTo>
                  <a:pt x="127" y="202"/>
                </a:lnTo>
                <a:lnTo>
                  <a:pt x="129" y="203"/>
                </a:lnTo>
                <a:lnTo>
                  <a:pt x="132" y="206"/>
                </a:lnTo>
                <a:lnTo>
                  <a:pt x="132" y="207"/>
                </a:lnTo>
                <a:lnTo>
                  <a:pt x="133" y="207"/>
                </a:lnTo>
                <a:lnTo>
                  <a:pt x="133" y="208"/>
                </a:lnTo>
                <a:lnTo>
                  <a:pt x="135" y="209"/>
                </a:lnTo>
                <a:lnTo>
                  <a:pt x="139" y="209"/>
                </a:lnTo>
                <a:lnTo>
                  <a:pt x="139" y="208"/>
                </a:lnTo>
                <a:lnTo>
                  <a:pt x="141" y="207"/>
                </a:lnTo>
                <a:lnTo>
                  <a:pt x="139" y="207"/>
                </a:lnTo>
                <a:lnTo>
                  <a:pt x="139" y="206"/>
                </a:lnTo>
                <a:lnTo>
                  <a:pt x="138" y="206"/>
                </a:lnTo>
                <a:lnTo>
                  <a:pt x="137" y="204"/>
                </a:lnTo>
                <a:lnTo>
                  <a:pt x="135" y="204"/>
                </a:lnTo>
                <a:lnTo>
                  <a:pt x="136" y="203"/>
                </a:lnTo>
                <a:lnTo>
                  <a:pt x="137" y="203"/>
                </a:lnTo>
                <a:lnTo>
                  <a:pt x="139" y="201"/>
                </a:lnTo>
                <a:lnTo>
                  <a:pt x="141" y="201"/>
                </a:lnTo>
                <a:lnTo>
                  <a:pt x="142" y="202"/>
                </a:lnTo>
                <a:lnTo>
                  <a:pt x="143" y="202"/>
                </a:lnTo>
                <a:lnTo>
                  <a:pt x="144" y="203"/>
                </a:lnTo>
                <a:lnTo>
                  <a:pt x="145" y="202"/>
                </a:lnTo>
                <a:lnTo>
                  <a:pt x="149" y="202"/>
                </a:lnTo>
                <a:lnTo>
                  <a:pt x="149" y="201"/>
                </a:lnTo>
                <a:lnTo>
                  <a:pt x="150" y="201"/>
                </a:lnTo>
                <a:lnTo>
                  <a:pt x="150" y="198"/>
                </a:lnTo>
                <a:lnTo>
                  <a:pt x="149" y="198"/>
                </a:lnTo>
                <a:lnTo>
                  <a:pt x="150" y="197"/>
                </a:lnTo>
                <a:lnTo>
                  <a:pt x="148" y="197"/>
                </a:lnTo>
                <a:lnTo>
                  <a:pt x="147" y="196"/>
                </a:lnTo>
                <a:lnTo>
                  <a:pt x="148" y="196"/>
                </a:lnTo>
                <a:lnTo>
                  <a:pt x="147" y="195"/>
                </a:lnTo>
                <a:lnTo>
                  <a:pt x="144" y="196"/>
                </a:lnTo>
                <a:lnTo>
                  <a:pt x="143" y="196"/>
                </a:lnTo>
                <a:lnTo>
                  <a:pt x="143" y="194"/>
                </a:lnTo>
                <a:lnTo>
                  <a:pt x="138" y="194"/>
                </a:lnTo>
                <a:lnTo>
                  <a:pt x="138" y="195"/>
                </a:lnTo>
                <a:lnTo>
                  <a:pt x="137" y="196"/>
                </a:lnTo>
                <a:lnTo>
                  <a:pt x="137" y="192"/>
                </a:lnTo>
                <a:lnTo>
                  <a:pt x="136" y="194"/>
                </a:lnTo>
                <a:lnTo>
                  <a:pt x="133" y="194"/>
                </a:lnTo>
                <a:lnTo>
                  <a:pt x="131" y="192"/>
                </a:lnTo>
                <a:lnTo>
                  <a:pt x="132" y="192"/>
                </a:lnTo>
                <a:lnTo>
                  <a:pt x="132" y="191"/>
                </a:lnTo>
                <a:lnTo>
                  <a:pt x="133" y="191"/>
                </a:lnTo>
                <a:lnTo>
                  <a:pt x="132" y="190"/>
                </a:lnTo>
                <a:lnTo>
                  <a:pt x="131" y="190"/>
                </a:lnTo>
                <a:lnTo>
                  <a:pt x="130" y="189"/>
                </a:lnTo>
                <a:lnTo>
                  <a:pt x="129" y="189"/>
                </a:lnTo>
                <a:lnTo>
                  <a:pt x="127" y="188"/>
                </a:lnTo>
                <a:lnTo>
                  <a:pt x="127" y="185"/>
                </a:lnTo>
                <a:lnTo>
                  <a:pt x="126" y="185"/>
                </a:lnTo>
                <a:lnTo>
                  <a:pt x="124" y="188"/>
                </a:lnTo>
                <a:lnTo>
                  <a:pt x="124" y="190"/>
                </a:lnTo>
                <a:lnTo>
                  <a:pt x="123" y="190"/>
                </a:lnTo>
                <a:lnTo>
                  <a:pt x="123" y="189"/>
                </a:lnTo>
                <a:lnTo>
                  <a:pt x="121" y="189"/>
                </a:lnTo>
                <a:lnTo>
                  <a:pt x="121" y="186"/>
                </a:lnTo>
                <a:lnTo>
                  <a:pt x="119" y="184"/>
                </a:lnTo>
                <a:lnTo>
                  <a:pt x="119" y="183"/>
                </a:lnTo>
                <a:lnTo>
                  <a:pt x="117" y="183"/>
                </a:lnTo>
                <a:lnTo>
                  <a:pt x="117" y="182"/>
                </a:lnTo>
                <a:lnTo>
                  <a:pt x="116" y="182"/>
                </a:lnTo>
                <a:lnTo>
                  <a:pt x="117" y="183"/>
                </a:lnTo>
                <a:lnTo>
                  <a:pt x="117" y="184"/>
                </a:lnTo>
                <a:lnTo>
                  <a:pt x="116" y="184"/>
                </a:lnTo>
                <a:lnTo>
                  <a:pt x="114" y="185"/>
                </a:lnTo>
                <a:lnTo>
                  <a:pt x="116" y="185"/>
                </a:lnTo>
                <a:lnTo>
                  <a:pt x="116" y="188"/>
                </a:lnTo>
                <a:lnTo>
                  <a:pt x="114" y="188"/>
                </a:lnTo>
                <a:lnTo>
                  <a:pt x="113" y="186"/>
                </a:lnTo>
                <a:lnTo>
                  <a:pt x="111" y="188"/>
                </a:lnTo>
                <a:lnTo>
                  <a:pt x="111" y="186"/>
                </a:lnTo>
                <a:lnTo>
                  <a:pt x="108" y="186"/>
                </a:lnTo>
                <a:lnTo>
                  <a:pt x="107" y="188"/>
                </a:lnTo>
                <a:lnTo>
                  <a:pt x="106" y="188"/>
                </a:lnTo>
                <a:lnTo>
                  <a:pt x="106" y="186"/>
                </a:lnTo>
                <a:lnTo>
                  <a:pt x="105" y="186"/>
                </a:lnTo>
                <a:lnTo>
                  <a:pt x="105" y="185"/>
                </a:lnTo>
                <a:lnTo>
                  <a:pt x="104" y="185"/>
                </a:lnTo>
                <a:lnTo>
                  <a:pt x="101" y="184"/>
                </a:lnTo>
                <a:lnTo>
                  <a:pt x="100" y="184"/>
                </a:lnTo>
                <a:lnTo>
                  <a:pt x="100" y="185"/>
                </a:lnTo>
                <a:lnTo>
                  <a:pt x="99" y="184"/>
                </a:lnTo>
                <a:lnTo>
                  <a:pt x="96" y="184"/>
                </a:lnTo>
                <a:lnTo>
                  <a:pt x="94" y="185"/>
                </a:lnTo>
                <a:lnTo>
                  <a:pt x="93" y="185"/>
                </a:lnTo>
                <a:lnTo>
                  <a:pt x="93" y="184"/>
                </a:lnTo>
                <a:lnTo>
                  <a:pt x="92" y="184"/>
                </a:lnTo>
                <a:lnTo>
                  <a:pt x="90" y="186"/>
                </a:lnTo>
                <a:lnTo>
                  <a:pt x="89" y="186"/>
                </a:lnTo>
                <a:lnTo>
                  <a:pt x="89" y="188"/>
                </a:lnTo>
                <a:lnTo>
                  <a:pt x="88" y="188"/>
                </a:lnTo>
                <a:lnTo>
                  <a:pt x="87" y="186"/>
                </a:lnTo>
                <a:lnTo>
                  <a:pt x="85" y="186"/>
                </a:lnTo>
                <a:lnTo>
                  <a:pt x="83" y="188"/>
                </a:lnTo>
                <a:lnTo>
                  <a:pt x="82" y="186"/>
                </a:lnTo>
                <a:lnTo>
                  <a:pt x="79" y="190"/>
                </a:lnTo>
                <a:lnTo>
                  <a:pt x="77" y="190"/>
                </a:lnTo>
                <a:lnTo>
                  <a:pt x="77" y="186"/>
                </a:lnTo>
                <a:lnTo>
                  <a:pt x="75" y="186"/>
                </a:lnTo>
                <a:lnTo>
                  <a:pt x="75" y="184"/>
                </a:lnTo>
                <a:lnTo>
                  <a:pt x="73" y="184"/>
                </a:lnTo>
                <a:lnTo>
                  <a:pt x="73" y="180"/>
                </a:lnTo>
                <a:lnTo>
                  <a:pt x="71" y="179"/>
                </a:lnTo>
                <a:lnTo>
                  <a:pt x="70" y="179"/>
                </a:lnTo>
                <a:lnTo>
                  <a:pt x="71" y="183"/>
                </a:lnTo>
                <a:lnTo>
                  <a:pt x="71" y="185"/>
                </a:lnTo>
                <a:lnTo>
                  <a:pt x="69" y="185"/>
                </a:lnTo>
                <a:lnTo>
                  <a:pt x="69" y="186"/>
                </a:lnTo>
                <a:lnTo>
                  <a:pt x="68" y="186"/>
                </a:lnTo>
                <a:lnTo>
                  <a:pt x="68" y="188"/>
                </a:lnTo>
                <a:lnTo>
                  <a:pt x="64" y="188"/>
                </a:lnTo>
                <a:lnTo>
                  <a:pt x="64" y="190"/>
                </a:lnTo>
                <a:lnTo>
                  <a:pt x="63" y="190"/>
                </a:lnTo>
                <a:lnTo>
                  <a:pt x="63" y="188"/>
                </a:lnTo>
                <a:lnTo>
                  <a:pt x="61" y="188"/>
                </a:lnTo>
                <a:lnTo>
                  <a:pt x="62" y="186"/>
                </a:lnTo>
                <a:lnTo>
                  <a:pt x="61" y="186"/>
                </a:lnTo>
                <a:lnTo>
                  <a:pt x="61" y="185"/>
                </a:lnTo>
                <a:lnTo>
                  <a:pt x="63" y="185"/>
                </a:lnTo>
                <a:lnTo>
                  <a:pt x="63" y="184"/>
                </a:lnTo>
                <a:lnTo>
                  <a:pt x="61" y="184"/>
                </a:lnTo>
                <a:lnTo>
                  <a:pt x="61" y="183"/>
                </a:lnTo>
                <a:lnTo>
                  <a:pt x="62" y="183"/>
                </a:lnTo>
                <a:lnTo>
                  <a:pt x="62" y="182"/>
                </a:lnTo>
                <a:lnTo>
                  <a:pt x="61" y="180"/>
                </a:lnTo>
                <a:lnTo>
                  <a:pt x="61" y="177"/>
                </a:lnTo>
                <a:lnTo>
                  <a:pt x="60" y="178"/>
                </a:lnTo>
                <a:lnTo>
                  <a:pt x="58" y="178"/>
                </a:lnTo>
                <a:lnTo>
                  <a:pt x="58" y="177"/>
                </a:lnTo>
                <a:lnTo>
                  <a:pt x="57" y="177"/>
                </a:lnTo>
                <a:lnTo>
                  <a:pt x="58" y="174"/>
                </a:lnTo>
                <a:lnTo>
                  <a:pt x="58" y="173"/>
                </a:lnTo>
                <a:lnTo>
                  <a:pt x="57" y="172"/>
                </a:lnTo>
                <a:lnTo>
                  <a:pt x="56" y="170"/>
                </a:lnTo>
                <a:lnTo>
                  <a:pt x="54" y="170"/>
                </a:lnTo>
                <a:lnTo>
                  <a:pt x="54" y="169"/>
                </a:lnTo>
                <a:lnTo>
                  <a:pt x="52" y="164"/>
                </a:lnTo>
                <a:lnTo>
                  <a:pt x="51" y="163"/>
                </a:lnTo>
                <a:lnTo>
                  <a:pt x="50" y="163"/>
                </a:lnTo>
                <a:lnTo>
                  <a:pt x="50" y="164"/>
                </a:lnTo>
                <a:lnTo>
                  <a:pt x="49" y="164"/>
                </a:lnTo>
                <a:lnTo>
                  <a:pt x="48" y="165"/>
                </a:lnTo>
                <a:lnTo>
                  <a:pt x="48" y="164"/>
                </a:lnTo>
                <a:lnTo>
                  <a:pt x="46" y="164"/>
                </a:lnTo>
                <a:lnTo>
                  <a:pt x="45" y="163"/>
                </a:lnTo>
                <a:lnTo>
                  <a:pt x="46" y="161"/>
                </a:lnTo>
                <a:lnTo>
                  <a:pt x="46" y="160"/>
                </a:lnTo>
                <a:lnTo>
                  <a:pt x="48" y="159"/>
                </a:lnTo>
                <a:lnTo>
                  <a:pt x="49" y="159"/>
                </a:lnTo>
                <a:lnTo>
                  <a:pt x="46" y="157"/>
                </a:lnTo>
                <a:lnTo>
                  <a:pt x="46" y="155"/>
                </a:lnTo>
                <a:lnTo>
                  <a:pt x="48" y="154"/>
                </a:lnTo>
                <a:lnTo>
                  <a:pt x="48" y="155"/>
                </a:lnTo>
                <a:lnTo>
                  <a:pt x="49" y="155"/>
                </a:lnTo>
                <a:lnTo>
                  <a:pt x="49" y="157"/>
                </a:lnTo>
                <a:lnTo>
                  <a:pt x="50" y="155"/>
                </a:lnTo>
                <a:lnTo>
                  <a:pt x="54" y="155"/>
                </a:lnTo>
                <a:lnTo>
                  <a:pt x="54" y="154"/>
                </a:lnTo>
                <a:lnTo>
                  <a:pt x="55" y="155"/>
                </a:lnTo>
                <a:lnTo>
                  <a:pt x="58" y="155"/>
                </a:lnTo>
                <a:lnTo>
                  <a:pt x="58" y="158"/>
                </a:lnTo>
                <a:lnTo>
                  <a:pt x="60" y="158"/>
                </a:lnTo>
                <a:lnTo>
                  <a:pt x="61" y="159"/>
                </a:lnTo>
                <a:lnTo>
                  <a:pt x="61" y="157"/>
                </a:lnTo>
                <a:lnTo>
                  <a:pt x="62" y="157"/>
                </a:lnTo>
                <a:lnTo>
                  <a:pt x="64" y="159"/>
                </a:lnTo>
                <a:lnTo>
                  <a:pt x="64" y="157"/>
                </a:lnTo>
                <a:lnTo>
                  <a:pt x="63" y="157"/>
                </a:lnTo>
                <a:lnTo>
                  <a:pt x="63" y="153"/>
                </a:lnTo>
                <a:lnTo>
                  <a:pt x="64" y="153"/>
                </a:lnTo>
                <a:lnTo>
                  <a:pt x="64" y="152"/>
                </a:lnTo>
                <a:lnTo>
                  <a:pt x="61" y="148"/>
                </a:lnTo>
                <a:lnTo>
                  <a:pt x="61" y="149"/>
                </a:lnTo>
                <a:lnTo>
                  <a:pt x="60" y="149"/>
                </a:lnTo>
                <a:lnTo>
                  <a:pt x="58" y="151"/>
                </a:lnTo>
                <a:lnTo>
                  <a:pt x="60" y="152"/>
                </a:lnTo>
                <a:lnTo>
                  <a:pt x="57" y="151"/>
                </a:lnTo>
                <a:lnTo>
                  <a:pt x="56" y="151"/>
                </a:lnTo>
                <a:lnTo>
                  <a:pt x="56" y="149"/>
                </a:lnTo>
                <a:lnTo>
                  <a:pt x="55" y="151"/>
                </a:lnTo>
                <a:lnTo>
                  <a:pt x="55" y="148"/>
                </a:lnTo>
                <a:lnTo>
                  <a:pt x="50" y="148"/>
                </a:lnTo>
                <a:lnTo>
                  <a:pt x="50" y="146"/>
                </a:lnTo>
                <a:lnTo>
                  <a:pt x="49" y="146"/>
                </a:lnTo>
                <a:lnTo>
                  <a:pt x="49" y="147"/>
                </a:lnTo>
                <a:lnTo>
                  <a:pt x="48" y="147"/>
                </a:lnTo>
                <a:lnTo>
                  <a:pt x="48" y="149"/>
                </a:lnTo>
                <a:lnTo>
                  <a:pt x="46" y="151"/>
                </a:lnTo>
                <a:lnTo>
                  <a:pt x="49" y="153"/>
                </a:lnTo>
                <a:lnTo>
                  <a:pt x="46" y="153"/>
                </a:lnTo>
                <a:lnTo>
                  <a:pt x="46" y="154"/>
                </a:lnTo>
                <a:lnTo>
                  <a:pt x="45" y="154"/>
                </a:lnTo>
                <a:lnTo>
                  <a:pt x="45" y="153"/>
                </a:lnTo>
                <a:lnTo>
                  <a:pt x="44" y="152"/>
                </a:lnTo>
                <a:lnTo>
                  <a:pt x="45" y="152"/>
                </a:lnTo>
                <a:lnTo>
                  <a:pt x="45" y="151"/>
                </a:lnTo>
                <a:lnTo>
                  <a:pt x="44" y="149"/>
                </a:lnTo>
                <a:lnTo>
                  <a:pt x="44" y="148"/>
                </a:lnTo>
                <a:lnTo>
                  <a:pt x="36" y="140"/>
                </a:lnTo>
                <a:lnTo>
                  <a:pt x="34" y="140"/>
                </a:lnTo>
                <a:lnTo>
                  <a:pt x="36" y="139"/>
                </a:lnTo>
                <a:lnTo>
                  <a:pt x="34" y="139"/>
                </a:lnTo>
                <a:lnTo>
                  <a:pt x="34" y="137"/>
                </a:lnTo>
                <a:lnTo>
                  <a:pt x="36" y="137"/>
                </a:lnTo>
                <a:lnTo>
                  <a:pt x="36" y="136"/>
                </a:lnTo>
                <a:lnTo>
                  <a:pt x="34" y="136"/>
                </a:lnTo>
                <a:lnTo>
                  <a:pt x="34" y="137"/>
                </a:lnTo>
                <a:lnTo>
                  <a:pt x="33" y="136"/>
                </a:lnTo>
                <a:lnTo>
                  <a:pt x="30" y="136"/>
                </a:lnTo>
                <a:lnTo>
                  <a:pt x="27" y="134"/>
                </a:lnTo>
                <a:lnTo>
                  <a:pt x="27" y="133"/>
                </a:lnTo>
                <a:lnTo>
                  <a:pt x="26" y="132"/>
                </a:lnTo>
                <a:lnTo>
                  <a:pt x="26" y="130"/>
                </a:lnTo>
                <a:lnTo>
                  <a:pt x="25" y="130"/>
                </a:lnTo>
                <a:lnTo>
                  <a:pt x="25" y="129"/>
                </a:lnTo>
                <a:lnTo>
                  <a:pt x="24" y="128"/>
                </a:lnTo>
                <a:lnTo>
                  <a:pt x="26" y="128"/>
                </a:lnTo>
                <a:lnTo>
                  <a:pt x="26" y="127"/>
                </a:lnTo>
                <a:lnTo>
                  <a:pt x="25" y="127"/>
                </a:lnTo>
                <a:lnTo>
                  <a:pt x="24" y="126"/>
                </a:lnTo>
                <a:lnTo>
                  <a:pt x="25" y="126"/>
                </a:lnTo>
                <a:lnTo>
                  <a:pt x="26" y="124"/>
                </a:lnTo>
                <a:lnTo>
                  <a:pt x="25" y="124"/>
                </a:lnTo>
                <a:lnTo>
                  <a:pt x="25" y="123"/>
                </a:lnTo>
                <a:lnTo>
                  <a:pt x="20" y="123"/>
                </a:lnTo>
                <a:lnTo>
                  <a:pt x="21" y="122"/>
                </a:lnTo>
                <a:lnTo>
                  <a:pt x="21" y="121"/>
                </a:lnTo>
                <a:lnTo>
                  <a:pt x="23" y="121"/>
                </a:lnTo>
                <a:lnTo>
                  <a:pt x="23" y="118"/>
                </a:lnTo>
                <a:lnTo>
                  <a:pt x="21" y="117"/>
                </a:lnTo>
                <a:lnTo>
                  <a:pt x="24" y="117"/>
                </a:lnTo>
                <a:lnTo>
                  <a:pt x="24" y="116"/>
                </a:lnTo>
                <a:lnTo>
                  <a:pt x="25" y="116"/>
                </a:lnTo>
                <a:lnTo>
                  <a:pt x="25" y="115"/>
                </a:lnTo>
                <a:lnTo>
                  <a:pt x="27" y="112"/>
                </a:lnTo>
                <a:lnTo>
                  <a:pt x="27" y="111"/>
                </a:lnTo>
                <a:lnTo>
                  <a:pt x="26" y="111"/>
                </a:lnTo>
                <a:lnTo>
                  <a:pt x="26" y="110"/>
                </a:lnTo>
                <a:lnTo>
                  <a:pt x="27" y="110"/>
                </a:lnTo>
                <a:lnTo>
                  <a:pt x="26" y="109"/>
                </a:lnTo>
                <a:lnTo>
                  <a:pt x="26" y="108"/>
                </a:lnTo>
                <a:lnTo>
                  <a:pt x="27" y="108"/>
                </a:lnTo>
                <a:lnTo>
                  <a:pt x="29" y="109"/>
                </a:lnTo>
                <a:lnTo>
                  <a:pt x="31" y="109"/>
                </a:lnTo>
                <a:lnTo>
                  <a:pt x="32" y="108"/>
                </a:lnTo>
                <a:lnTo>
                  <a:pt x="31" y="106"/>
                </a:lnTo>
                <a:lnTo>
                  <a:pt x="30" y="103"/>
                </a:lnTo>
                <a:lnTo>
                  <a:pt x="29" y="102"/>
                </a:lnTo>
                <a:lnTo>
                  <a:pt x="27" y="98"/>
                </a:lnTo>
                <a:lnTo>
                  <a:pt x="31" y="98"/>
                </a:lnTo>
                <a:lnTo>
                  <a:pt x="31" y="96"/>
                </a:lnTo>
                <a:lnTo>
                  <a:pt x="33" y="93"/>
                </a:lnTo>
                <a:lnTo>
                  <a:pt x="34" y="94"/>
                </a:lnTo>
                <a:lnTo>
                  <a:pt x="36" y="93"/>
                </a:lnTo>
                <a:lnTo>
                  <a:pt x="40" y="93"/>
                </a:lnTo>
                <a:lnTo>
                  <a:pt x="42" y="92"/>
                </a:lnTo>
                <a:lnTo>
                  <a:pt x="43" y="92"/>
                </a:lnTo>
                <a:lnTo>
                  <a:pt x="43" y="87"/>
                </a:lnTo>
                <a:lnTo>
                  <a:pt x="44" y="87"/>
                </a:lnTo>
                <a:lnTo>
                  <a:pt x="44" y="81"/>
                </a:lnTo>
                <a:lnTo>
                  <a:pt x="45" y="81"/>
                </a:lnTo>
                <a:lnTo>
                  <a:pt x="46" y="80"/>
                </a:lnTo>
                <a:lnTo>
                  <a:pt x="46" y="79"/>
                </a:lnTo>
                <a:lnTo>
                  <a:pt x="48" y="78"/>
                </a:lnTo>
                <a:lnTo>
                  <a:pt x="48" y="74"/>
                </a:lnTo>
                <a:lnTo>
                  <a:pt x="50" y="72"/>
                </a:lnTo>
                <a:lnTo>
                  <a:pt x="55" y="72"/>
                </a:lnTo>
                <a:lnTo>
                  <a:pt x="55" y="69"/>
                </a:lnTo>
                <a:lnTo>
                  <a:pt x="56" y="68"/>
                </a:lnTo>
                <a:lnTo>
                  <a:pt x="57" y="68"/>
                </a:lnTo>
                <a:lnTo>
                  <a:pt x="57" y="67"/>
                </a:lnTo>
                <a:lnTo>
                  <a:pt x="58" y="67"/>
                </a:lnTo>
                <a:lnTo>
                  <a:pt x="58" y="59"/>
                </a:lnTo>
                <a:lnTo>
                  <a:pt x="56" y="56"/>
                </a:lnTo>
                <a:lnTo>
                  <a:pt x="55" y="56"/>
                </a:lnTo>
                <a:lnTo>
                  <a:pt x="55" y="54"/>
                </a:lnTo>
                <a:lnTo>
                  <a:pt x="56" y="53"/>
                </a:lnTo>
                <a:lnTo>
                  <a:pt x="56" y="50"/>
                </a:lnTo>
                <a:lnTo>
                  <a:pt x="62" y="50"/>
                </a:lnTo>
                <a:lnTo>
                  <a:pt x="64" y="49"/>
                </a:lnTo>
                <a:lnTo>
                  <a:pt x="68" y="49"/>
                </a:lnTo>
                <a:lnTo>
                  <a:pt x="68" y="50"/>
                </a:lnTo>
                <a:lnTo>
                  <a:pt x="69" y="50"/>
                </a:lnTo>
                <a:lnTo>
                  <a:pt x="71" y="49"/>
                </a:lnTo>
                <a:lnTo>
                  <a:pt x="74" y="47"/>
                </a:lnTo>
                <a:lnTo>
                  <a:pt x="75" y="47"/>
                </a:lnTo>
                <a:lnTo>
                  <a:pt x="79" y="48"/>
                </a:lnTo>
                <a:lnTo>
                  <a:pt x="80" y="49"/>
                </a:lnTo>
                <a:lnTo>
                  <a:pt x="82" y="49"/>
                </a:lnTo>
                <a:lnTo>
                  <a:pt x="83" y="48"/>
                </a:lnTo>
                <a:lnTo>
                  <a:pt x="85" y="48"/>
                </a:lnTo>
                <a:lnTo>
                  <a:pt x="85" y="47"/>
                </a:lnTo>
                <a:lnTo>
                  <a:pt x="86" y="46"/>
                </a:lnTo>
                <a:lnTo>
                  <a:pt x="88" y="47"/>
                </a:lnTo>
                <a:lnTo>
                  <a:pt x="89" y="47"/>
                </a:lnTo>
                <a:lnTo>
                  <a:pt x="89" y="46"/>
                </a:lnTo>
                <a:lnTo>
                  <a:pt x="90" y="46"/>
                </a:lnTo>
                <a:lnTo>
                  <a:pt x="90" y="43"/>
                </a:lnTo>
                <a:lnTo>
                  <a:pt x="94" y="40"/>
                </a:lnTo>
                <a:lnTo>
                  <a:pt x="95" y="40"/>
                </a:lnTo>
                <a:lnTo>
                  <a:pt x="95" y="36"/>
                </a:lnTo>
                <a:lnTo>
                  <a:pt x="96" y="36"/>
                </a:lnTo>
                <a:lnTo>
                  <a:pt x="98" y="35"/>
                </a:lnTo>
                <a:lnTo>
                  <a:pt x="100" y="35"/>
                </a:lnTo>
                <a:lnTo>
                  <a:pt x="100" y="34"/>
                </a:lnTo>
                <a:lnTo>
                  <a:pt x="101" y="34"/>
                </a:lnTo>
                <a:lnTo>
                  <a:pt x="101" y="35"/>
                </a:lnTo>
                <a:lnTo>
                  <a:pt x="105" y="35"/>
                </a:lnTo>
                <a:lnTo>
                  <a:pt x="106" y="34"/>
                </a:lnTo>
                <a:lnTo>
                  <a:pt x="107" y="34"/>
                </a:lnTo>
                <a:lnTo>
                  <a:pt x="108" y="32"/>
                </a:lnTo>
                <a:lnTo>
                  <a:pt x="108" y="34"/>
                </a:lnTo>
                <a:lnTo>
                  <a:pt x="112" y="34"/>
                </a:lnTo>
                <a:lnTo>
                  <a:pt x="112" y="35"/>
                </a:lnTo>
                <a:lnTo>
                  <a:pt x="116" y="35"/>
                </a:lnTo>
                <a:lnTo>
                  <a:pt x="117" y="36"/>
                </a:lnTo>
                <a:lnTo>
                  <a:pt x="119" y="36"/>
                </a:lnTo>
                <a:lnTo>
                  <a:pt x="120" y="35"/>
                </a:lnTo>
                <a:lnTo>
                  <a:pt x="121" y="35"/>
                </a:lnTo>
                <a:lnTo>
                  <a:pt x="123" y="36"/>
                </a:lnTo>
                <a:lnTo>
                  <a:pt x="123" y="35"/>
                </a:lnTo>
                <a:lnTo>
                  <a:pt x="125" y="35"/>
                </a:lnTo>
                <a:lnTo>
                  <a:pt x="125" y="32"/>
                </a:lnTo>
                <a:lnTo>
                  <a:pt x="127" y="32"/>
                </a:lnTo>
                <a:lnTo>
                  <a:pt x="127" y="34"/>
                </a:lnTo>
                <a:lnTo>
                  <a:pt x="129" y="34"/>
                </a:lnTo>
                <a:lnTo>
                  <a:pt x="129" y="35"/>
                </a:lnTo>
                <a:lnTo>
                  <a:pt x="130" y="34"/>
                </a:lnTo>
                <a:lnTo>
                  <a:pt x="130" y="26"/>
                </a:lnTo>
                <a:lnTo>
                  <a:pt x="131" y="26"/>
                </a:lnTo>
                <a:lnTo>
                  <a:pt x="131" y="24"/>
                </a:lnTo>
                <a:lnTo>
                  <a:pt x="132" y="23"/>
                </a:lnTo>
                <a:lnTo>
                  <a:pt x="138" y="23"/>
                </a:lnTo>
                <a:lnTo>
                  <a:pt x="147" y="24"/>
                </a:lnTo>
                <a:lnTo>
                  <a:pt x="149" y="24"/>
                </a:lnTo>
                <a:lnTo>
                  <a:pt x="150" y="23"/>
                </a:lnTo>
                <a:lnTo>
                  <a:pt x="150" y="22"/>
                </a:lnTo>
                <a:lnTo>
                  <a:pt x="152" y="19"/>
                </a:lnTo>
                <a:lnTo>
                  <a:pt x="154" y="19"/>
                </a:lnTo>
                <a:lnTo>
                  <a:pt x="154" y="20"/>
                </a:lnTo>
                <a:lnTo>
                  <a:pt x="155" y="20"/>
                </a:lnTo>
                <a:lnTo>
                  <a:pt x="155" y="22"/>
                </a:lnTo>
                <a:lnTo>
                  <a:pt x="156" y="22"/>
                </a:lnTo>
                <a:lnTo>
                  <a:pt x="157" y="20"/>
                </a:lnTo>
                <a:lnTo>
                  <a:pt x="158" y="20"/>
                </a:lnTo>
                <a:lnTo>
                  <a:pt x="158" y="19"/>
                </a:lnTo>
                <a:lnTo>
                  <a:pt x="163" y="19"/>
                </a:lnTo>
                <a:lnTo>
                  <a:pt x="166" y="22"/>
                </a:lnTo>
                <a:lnTo>
                  <a:pt x="167" y="22"/>
                </a:lnTo>
                <a:lnTo>
                  <a:pt x="169" y="19"/>
                </a:lnTo>
                <a:lnTo>
                  <a:pt x="173" y="19"/>
                </a:lnTo>
                <a:lnTo>
                  <a:pt x="174" y="18"/>
                </a:lnTo>
                <a:lnTo>
                  <a:pt x="176" y="18"/>
                </a:lnTo>
                <a:lnTo>
                  <a:pt x="179" y="16"/>
                </a:lnTo>
                <a:lnTo>
                  <a:pt x="180" y="16"/>
                </a:lnTo>
                <a:lnTo>
                  <a:pt x="181" y="18"/>
                </a:lnTo>
                <a:lnTo>
                  <a:pt x="182" y="17"/>
                </a:lnTo>
                <a:lnTo>
                  <a:pt x="183" y="17"/>
                </a:lnTo>
                <a:lnTo>
                  <a:pt x="183" y="16"/>
                </a:lnTo>
                <a:lnTo>
                  <a:pt x="185" y="17"/>
                </a:lnTo>
                <a:lnTo>
                  <a:pt x="186" y="17"/>
                </a:lnTo>
                <a:lnTo>
                  <a:pt x="186" y="12"/>
                </a:lnTo>
                <a:lnTo>
                  <a:pt x="189" y="12"/>
                </a:lnTo>
                <a:lnTo>
                  <a:pt x="189" y="13"/>
                </a:lnTo>
                <a:lnTo>
                  <a:pt x="191" y="13"/>
                </a:lnTo>
                <a:lnTo>
                  <a:pt x="191" y="12"/>
                </a:lnTo>
                <a:lnTo>
                  <a:pt x="192" y="11"/>
                </a:lnTo>
                <a:lnTo>
                  <a:pt x="194" y="11"/>
                </a:lnTo>
                <a:lnTo>
                  <a:pt x="195" y="12"/>
                </a:lnTo>
                <a:lnTo>
                  <a:pt x="195" y="13"/>
                </a:lnTo>
                <a:lnTo>
                  <a:pt x="199" y="13"/>
                </a:lnTo>
                <a:lnTo>
                  <a:pt x="200" y="12"/>
                </a:lnTo>
                <a:lnTo>
                  <a:pt x="203" y="12"/>
                </a:lnTo>
                <a:lnTo>
                  <a:pt x="203" y="11"/>
                </a:lnTo>
                <a:lnTo>
                  <a:pt x="206" y="11"/>
                </a:lnTo>
                <a:lnTo>
                  <a:pt x="206" y="14"/>
                </a:lnTo>
                <a:lnTo>
                  <a:pt x="207" y="14"/>
                </a:lnTo>
                <a:lnTo>
                  <a:pt x="207" y="16"/>
                </a:lnTo>
                <a:lnTo>
                  <a:pt x="208" y="16"/>
                </a:lnTo>
                <a:lnTo>
                  <a:pt x="208" y="18"/>
                </a:lnTo>
                <a:lnTo>
                  <a:pt x="211" y="18"/>
                </a:lnTo>
                <a:lnTo>
                  <a:pt x="212" y="19"/>
                </a:lnTo>
                <a:lnTo>
                  <a:pt x="213" y="19"/>
                </a:lnTo>
                <a:lnTo>
                  <a:pt x="213" y="20"/>
                </a:lnTo>
                <a:lnTo>
                  <a:pt x="216" y="22"/>
                </a:lnTo>
                <a:lnTo>
                  <a:pt x="216" y="23"/>
                </a:lnTo>
                <a:lnTo>
                  <a:pt x="217" y="23"/>
                </a:lnTo>
                <a:lnTo>
                  <a:pt x="217" y="20"/>
                </a:lnTo>
                <a:lnTo>
                  <a:pt x="219" y="20"/>
                </a:lnTo>
                <a:lnTo>
                  <a:pt x="220" y="19"/>
                </a:lnTo>
                <a:lnTo>
                  <a:pt x="223" y="20"/>
                </a:lnTo>
                <a:lnTo>
                  <a:pt x="229" y="23"/>
                </a:lnTo>
                <a:lnTo>
                  <a:pt x="230" y="23"/>
                </a:lnTo>
                <a:lnTo>
                  <a:pt x="230" y="24"/>
                </a:lnTo>
                <a:lnTo>
                  <a:pt x="231" y="24"/>
                </a:lnTo>
                <a:lnTo>
                  <a:pt x="232" y="25"/>
                </a:lnTo>
                <a:lnTo>
                  <a:pt x="234" y="25"/>
                </a:lnTo>
                <a:lnTo>
                  <a:pt x="235" y="28"/>
                </a:lnTo>
                <a:lnTo>
                  <a:pt x="236" y="29"/>
                </a:lnTo>
                <a:lnTo>
                  <a:pt x="238" y="29"/>
                </a:lnTo>
                <a:lnTo>
                  <a:pt x="244" y="26"/>
                </a:lnTo>
                <a:lnTo>
                  <a:pt x="248" y="26"/>
                </a:lnTo>
                <a:lnTo>
                  <a:pt x="248" y="24"/>
                </a:lnTo>
                <a:lnTo>
                  <a:pt x="253" y="24"/>
                </a:lnTo>
                <a:lnTo>
                  <a:pt x="253" y="25"/>
                </a:lnTo>
                <a:lnTo>
                  <a:pt x="255" y="25"/>
                </a:lnTo>
                <a:lnTo>
                  <a:pt x="256" y="24"/>
                </a:lnTo>
                <a:lnTo>
                  <a:pt x="257" y="24"/>
                </a:lnTo>
                <a:lnTo>
                  <a:pt x="260" y="23"/>
                </a:lnTo>
                <a:lnTo>
                  <a:pt x="261" y="23"/>
                </a:lnTo>
                <a:lnTo>
                  <a:pt x="262" y="25"/>
                </a:lnTo>
                <a:lnTo>
                  <a:pt x="263" y="25"/>
                </a:lnTo>
                <a:lnTo>
                  <a:pt x="265" y="24"/>
                </a:lnTo>
                <a:lnTo>
                  <a:pt x="267" y="24"/>
                </a:lnTo>
                <a:lnTo>
                  <a:pt x="268" y="23"/>
                </a:lnTo>
                <a:lnTo>
                  <a:pt x="269" y="23"/>
                </a:lnTo>
                <a:lnTo>
                  <a:pt x="273" y="22"/>
                </a:lnTo>
                <a:lnTo>
                  <a:pt x="274" y="22"/>
                </a:lnTo>
                <a:lnTo>
                  <a:pt x="274" y="18"/>
                </a:lnTo>
                <a:lnTo>
                  <a:pt x="275" y="18"/>
                </a:lnTo>
                <a:lnTo>
                  <a:pt x="275" y="17"/>
                </a:lnTo>
                <a:lnTo>
                  <a:pt x="274" y="16"/>
                </a:lnTo>
                <a:lnTo>
                  <a:pt x="274" y="14"/>
                </a:lnTo>
                <a:lnTo>
                  <a:pt x="275" y="13"/>
                </a:lnTo>
                <a:lnTo>
                  <a:pt x="275" y="12"/>
                </a:lnTo>
                <a:lnTo>
                  <a:pt x="274" y="12"/>
                </a:lnTo>
                <a:lnTo>
                  <a:pt x="274" y="11"/>
                </a:lnTo>
                <a:lnTo>
                  <a:pt x="273" y="11"/>
                </a:lnTo>
                <a:lnTo>
                  <a:pt x="273" y="7"/>
                </a:lnTo>
                <a:lnTo>
                  <a:pt x="272" y="7"/>
                </a:lnTo>
                <a:lnTo>
                  <a:pt x="272" y="6"/>
                </a:lnTo>
                <a:lnTo>
                  <a:pt x="270" y="6"/>
                </a:lnTo>
                <a:lnTo>
                  <a:pt x="270" y="3"/>
                </a:lnTo>
                <a:lnTo>
                  <a:pt x="272" y="3"/>
                </a:lnTo>
                <a:lnTo>
                  <a:pt x="273" y="1"/>
                </a:lnTo>
                <a:lnTo>
                  <a:pt x="276" y="1"/>
                </a:lnTo>
                <a:lnTo>
                  <a:pt x="276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" name="Freeform 39">
            <a:extLst>
              <a:ext uri="{FF2B5EF4-FFF2-40B4-BE49-F238E27FC236}">
                <a16:creationId xmlns:a16="http://schemas.microsoft.com/office/drawing/2014/main" id="{9EB75BD1-6532-4B70-A653-A1FDE26A1FE8}"/>
              </a:ext>
            </a:extLst>
          </p:cNvPr>
          <p:cNvSpPr>
            <a:spLocks noEditPoints="1"/>
          </p:cNvSpPr>
          <p:nvPr/>
        </p:nvSpPr>
        <p:spPr bwMode="auto">
          <a:xfrm>
            <a:off x="705731" y="3801872"/>
            <a:ext cx="633187" cy="992525"/>
          </a:xfrm>
          <a:custGeom>
            <a:avLst/>
            <a:gdLst/>
            <a:ahLst/>
            <a:cxnLst>
              <a:cxn ang="0">
                <a:pos x="260" y="596"/>
              </a:cxn>
              <a:cxn ang="0">
                <a:pos x="170" y="411"/>
              </a:cxn>
              <a:cxn ang="0">
                <a:pos x="180" y="337"/>
              </a:cxn>
              <a:cxn ang="0">
                <a:pos x="113" y="287"/>
              </a:cxn>
              <a:cxn ang="0">
                <a:pos x="123" y="319"/>
              </a:cxn>
              <a:cxn ang="0">
                <a:pos x="81" y="343"/>
              </a:cxn>
              <a:cxn ang="0">
                <a:pos x="30" y="335"/>
              </a:cxn>
              <a:cxn ang="0">
                <a:pos x="63" y="282"/>
              </a:cxn>
              <a:cxn ang="0">
                <a:pos x="150" y="229"/>
              </a:cxn>
              <a:cxn ang="0">
                <a:pos x="88" y="234"/>
              </a:cxn>
              <a:cxn ang="0">
                <a:pos x="111" y="212"/>
              </a:cxn>
              <a:cxn ang="0">
                <a:pos x="78" y="168"/>
              </a:cxn>
              <a:cxn ang="0">
                <a:pos x="98" y="184"/>
              </a:cxn>
              <a:cxn ang="0">
                <a:pos x="86" y="165"/>
              </a:cxn>
              <a:cxn ang="0">
                <a:pos x="86" y="130"/>
              </a:cxn>
              <a:cxn ang="0">
                <a:pos x="58" y="124"/>
              </a:cxn>
              <a:cxn ang="0">
                <a:pos x="56" y="88"/>
              </a:cxn>
              <a:cxn ang="0">
                <a:pos x="51" y="83"/>
              </a:cxn>
              <a:cxn ang="0">
                <a:pos x="109" y="131"/>
              </a:cxn>
              <a:cxn ang="0">
                <a:pos x="79" y="103"/>
              </a:cxn>
              <a:cxn ang="0">
                <a:pos x="61" y="75"/>
              </a:cxn>
              <a:cxn ang="0">
                <a:pos x="94" y="36"/>
              </a:cxn>
              <a:cxn ang="0">
                <a:pos x="81" y="61"/>
              </a:cxn>
              <a:cxn ang="0">
                <a:pos x="62" y="45"/>
              </a:cxn>
              <a:cxn ang="0">
                <a:pos x="236" y="3"/>
              </a:cxn>
              <a:cxn ang="0">
                <a:pos x="179" y="62"/>
              </a:cxn>
              <a:cxn ang="0">
                <a:pos x="186" y="92"/>
              </a:cxn>
              <a:cxn ang="0">
                <a:pos x="267" y="79"/>
              </a:cxn>
              <a:cxn ang="0">
                <a:pos x="248" y="174"/>
              </a:cxn>
              <a:cxn ang="0">
                <a:pos x="223" y="210"/>
              </a:cxn>
              <a:cxn ang="0">
                <a:pos x="299" y="273"/>
              </a:cxn>
              <a:cxn ang="0">
                <a:pos x="354" y="357"/>
              </a:cxn>
              <a:cxn ang="0">
                <a:pos x="370" y="427"/>
              </a:cxn>
              <a:cxn ang="0">
                <a:pos x="417" y="499"/>
              </a:cxn>
              <a:cxn ang="0">
                <a:pos x="381" y="534"/>
              </a:cxn>
              <a:cxn ang="0">
                <a:pos x="390" y="574"/>
              </a:cxn>
              <a:cxn ang="0">
                <a:pos x="298" y="580"/>
              </a:cxn>
              <a:cxn ang="0">
                <a:pos x="217" y="591"/>
              </a:cxn>
              <a:cxn ang="0">
                <a:pos x="178" y="607"/>
              </a:cxn>
              <a:cxn ang="0">
                <a:pos x="124" y="620"/>
              </a:cxn>
              <a:cxn ang="0">
                <a:pos x="185" y="552"/>
              </a:cxn>
              <a:cxn ang="0">
                <a:pos x="237" y="528"/>
              </a:cxn>
              <a:cxn ang="0">
                <a:pos x="178" y="516"/>
              </a:cxn>
              <a:cxn ang="0">
                <a:pos x="144" y="517"/>
              </a:cxn>
              <a:cxn ang="0">
                <a:pos x="197" y="458"/>
              </a:cxn>
              <a:cxn ang="0">
                <a:pos x="187" y="413"/>
              </a:cxn>
              <a:cxn ang="0">
                <a:pos x="238" y="378"/>
              </a:cxn>
              <a:cxn ang="0">
                <a:pos x="227" y="343"/>
              </a:cxn>
              <a:cxn ang="0">
                <a:pos x="200" y="295"/>
              </a:cxn>
              <a:cxn ang="0">
                <a:pos x="155" y="302"/>
              </a:cxn>
              <a:cxn ang="0">
                <a:pos x="157" y="223"/>
              </a:cxn>
              <a:cxn ang="0">
                <a:pos x="149" y="216"/>
              </a:cxn>
              <a:cxn ang="0">
                <a:pos x="132" y="236"/>
              </a:cxn>
              <a:cxn ang="0">
                <a:pos x="124" y="218"/>
              </a:cxn>
              <a:cxn ang="0">
                <a:pos x="134" y="175"/>
              </a:cxn>
              <a:cxn ang="0">
                <a:pos x="144" y="149"/>
              </a:cxn>
              <a:cxn ang="0">
                <a:pos x="113" y="152"/>
              </a:cxn>
              <a:cxn ang="0">
                <a:pos x="129" y="125"/>
              </a:cxn>
              <a:cxn ang="0">
                <a:pos x="117" y="88"/>
              </a:cxn>
              <a:cxn ang="0">
                <a:pos x="131" y="67"/>
              </a:cxn>
              <a:cxn ang="0">
                <a:pos x="136" y="36"/>
              </a:cxn>
              <a:cxn ang="0">
                <a:pos x="166" y="11"/>
              </a:cxn>
              <a:cxn ang="0">
                <a:pos x="221" y="5"/>
              </a:cxn>
            </a:cxnLst>
            <a:rect l="0" t="0" r="r" b="b"/>
            <a:pathLst>
              <a:path w="437" h="685">
                <a:moveTo>
                  <a:pt x="268" y="679"/>
                </a:moveTo>
                <a:lnTo>
                  <a:pt x="275" y="679"/>
                </a:lnTo>
                <a:lnTo>
                  <a:pt x="278" y="681"/>
                </a:lnTo>
                <a:lnTo>
                  <a:pt x="278" y="685"/>
                </a:lnTo>
                <a:lnTo>
                  <a:pt x="277" y="684"/>
                </a:lnTo>
                <a:lnTo>
                  <a:pt x="274" y="684"/>
                </a:lnTo>
                <a:lnTo>
                  <a:pt x="273" y="683"/>
                </a:lnTo>
                <a:lnTo>
                  <a:pt x="272" y="683"/>
                </a:lnTo>
                <a:lnTo>
                  <a:pt x="272" y="684"/>
                </a:lnTo>
                <a:lnTo>
                  <a:pt x="268" y="684"/>
                </a:lnTo>
                <a:lnTo>
                  <a:pt x="269" y="683"/>
                </a:lnTo>
                <a:lnTo>
                  <a:pt x="268" y="682"/>
                </a:lnTo>
                <a:lnTo>
                  <a:pt x="268" y="679"/>
                </a:lnTo>
                <a:close/>
                <a:moveTo>
                  <a:pt x="262" y="668"/>
                </a:moveTo>
                <a:lnTo>
                  <a:pt x="263" y="668"/>
                </a:lnTo>
                <a:lnTo>
                  <a:pt x="263" y="669"/>
                </a:lnTo>
                <a:lnTo>
                  <a:pt x="262" y="670"/>
                </a:lnTo>
                <a:lnTo>
                  <a:pt x="262" y="668"/>
                </a:lnTo>
                <a:close/>
                <a:moveTo>
                  <a:pt x="256" y="663"/>
                </a:moveTo>
                <a:lnTo>
                  <a:pt x="257" y="664"/>
                </a:lnTo>
                <a:lnTo>
                  <a:pt x="256" y="665"/>
                </a:lnTo>
                <a:lnTo>
                  <a:pt x="256" y="668"/>
                </a:lnTo>
                <a:lnTo>
                  <a:pt x="255" y="669"/>
                </a:lnTo>
                <a:lnTo>
                  <a:pt x="250" y="669"/>
                </a:lnTo>
                <a:lnTo>
                  <a:pt x="250" y="668"/>
                </a:lnTo>
                <a:lnTo>
                  <a:pt x="252" y="668"/>
                </a:lnTo>
                <a:lnTo>
                  <a:pt x="250" y="666"/>
                </a:lnTo>
                <a:lnTo>
                  <a:pt x="253" y="666"/>
                </a:lnTo>
                <a:lnTo>
                  <a:pt x="254" y="664"/>
                </a:lnTo>
                <a:lnTo>
                  <a:pt x="255" y="664"/>
                </a:lnTo>
                <a:lnTo>
                  <a:pt x="256" y="663"/>
                </a:lnTo>
                <a:close/>
                <a:moveTo>
                  <a:pt x="269" y="650"/>
                </a:moveTo>
                <a:lnTo>
                  <a:pt x="271" y="650"/>
                </a:lnTo>
                <a:lnTo>
                  <a:pt x="271" y="651"/>
                </a:lnTo>
                <a:lnTo>
                  <a:pt x="269" y="651"/>
                </a:lnTo>
                <a:lnTo>
                  <a:pt x="269" y="650"/>
                </a:lnTo>
                <a:close/>
                <a:moveTo>
                  <a:pt x="271" y="648"/>
                </a:moveTo>
                <a:lnTo>
                  <a:pt x="272" y="648"/>
                </a:lnTo>
                <a:lnTo>
                  <a:pt x="272" y="650"/>
                </a:lnTo>
                <a:lnTo>
                  <a:pt x="271" y="650"/>
                </a:lnTo>
                <a:lnTo>
                  <a:pt x="271" y="648"/>
                </a:lnTo>
                <a:close/>
                <a:moveTo>
                  <a:pt x="97" y="635"/>
                </a:moveTo>
                <a:lnTo>
                  <a:pt x="98" y="635"/>
                </a:lnTo>
                <a:lnTo>
                  <a:pt x="98" y="638"/>
                </a:lnTo>
                <a:lnTo>
                  <a:pt x="97" y="636"/>
                </a:lnTo>
                <a:lnTo>
                  <a:pt x="97" y="635"/>
                </a:lnTo>
                <a:close/>
                <a:moveTo>
                  <a:pt x="95" y="634"/>
                </a:moveTo>
                <a:lnTo>
                  <a:pt x="97" y="634"/>
                </a:lnTo>
                <a:lnTo>
                  <a:pt x="95" y="635"/>
                </a:lnTo>
                <a:lnTo>
                  <a:pt x="95" y="634"/>
                </a:lnTo>
                <a:close/>
                <a:moveTo>
                  <a:pt x="259" y="592"/>
                </a:moveTo>
                <a:lnTo>
                  <a:pt x="260" y="593"/>
                </a:lnTo>
                <a:lnTo>
                  <a:pt x="260" y="596"/>
                </a:lnTo>
                <a:lnTo>
                  <a:pt x="259" y="596"/>
                </a:lnTo>
                <a:lnTo>
                  <a:pt x="259" y="592"/>
                </a:lnTo>
                <a:close/>
                <a:moveTo>
                  <a:pt x="306" y="580"/>
                </a:moveTo>
                <a:lnTo>
                  <a:pt x="309" y="580"/>
                </a:lnTo>
                <a:lnTo>
                  <a:pt x="315" y="583"/>
                </a:lnTo>
                <a:lnTo>
                  <a:pt x="317" y="583"/>
                </a:lnTo>
                <a:lnTo>
                  <a:pt x="317" y="584"/>
                </a:lnTo>
                <a:lnTo>
                  <a:pt x="318" y="585"/>
                </a:lnTo>
                <a:lnTo>
                  <a:pt x="318" y="586"/>
                </a:lnTo>
                <a:lnTo>
                  <a:pt x="316" y="586"/>
                </a:lnTo>
                <a:lnTo>
                  <a:pt x="316" y="587"/>
                </a:lnTo>
                <a:lnTo>
                  <a:pt x="315" y="589"/>
                </a:lnTo>
                <a:lnTo>
                  <a:pt x="314" y="589"/>
                </a:lnTo>
                <a:lnTo>
                  <a:pt x="314" y="591"/>
                </a:lnTo>
                <a:lnTo>
                  <a:pt x="309" y="592"/>
                </a:lnTo>
                <a:lnTo>
                  <a:pt x="308" y="592"/>
                </a:lnTo>
                <a:lnTo>
                  <a:pt x="302" y="589"/>
                </a:lnTo>
                <a:lnTo>
                  <a:pt x="302" y="587"/>
                </a:lnTo>
                <a:lnTo>
                  <a:pt x="300" y="587"/>
                </a:lnTo>
                <a:lnTo>
                  <a:pt x="299" y="586"/>
                </a:lnTo>
                <a:lnTo>
                  <a:pt x="298" y="587"/>
                </a:lnTo>
                <a:lnTo>
                  <a:pt x="297" y="587"/>
                </a:lnTo>
                <a:lnTo>
                  <a:pt x="298" y="586"/>
                </a:lnTo>
                <a:lnTo>
                  <a:pt x="299" y="584"/>
                </a:lnTo>
                <a:lnTo>
                  <a:pt x="303" y="583"/>
                </a:lnTo>
                <a:lnTo>
                  <a:pt x="303" y="584"/>
                </a:lnTo>
                <a:lnTo>
                  <a:pt x="304" y="584"/>
                </a:lnTo>
                <a:lnTo>
                  <a:pt x="305" y="583"/>
                </a:lnTo>
                <a:lnTo>
                  <a:pt x="306" y="580"/>
                </a:lnTo>
                <a:close/>
                <a:moveTo>
                  <a:pt x="322" y="577"/>
                </a:moveTo>
                <a:lnTo>
                  <a:pt x="323" y="577"/>
                </a:lnTo>
                <a:lnTo>
                  <a:pt x="323" y="579"/>
                </a:lnTo>
                <a:lnTo>
                  <a:pt x="319" y="579"/>
                </a:lnTo>
                <a:lnTo>
                  <a:pt x="322" y="577"/>
                </a:lnTo>
                <a:close/>
                <a:moveTo>
                  <a:pt x="411" y="496"/>
                </a:moveTo>
                <a:lnTo>
                  <a:pt x="414" y="497"/>
                </a:lnTo>
                <a:lnTo>
                  <a:pt x="414" y="498"/>
                </a:lnTo>
                <a:lnTo>
                  <a:pt x="416" y="498"/>
                </a:lnTo>
                <a:lnTo>
                  <a:pt x="415" y="497"/>
                </a:lnTo>
                <a:lnTo>
                  <a:pt x="412" y="496"/>
                </a:lnTo>
                <a:lnTo>
                  <a:pt x="411" y="496"/>
                </a:lnTo>
                <a:close/>
                <a:moveTo>
                  <a:pt x="404" y="430"/>
                </a:moveTo>
                <a:lnTo>
                  <a:pt x="405" y="430"/>
                </a:lnTo>
                <a:lnTo>
                  <a:pt x="404" y="430"/>
                </a:lnTo>
                <a:close/>
                <a:moveTo>
                  <a:pt x="166" y="405"/>
                </a:moveTo>
                <a:lnTo>
                  <a:pt x="167" y="405"/>
                </a:lnTo>
                <a:lnTo>
                  <a:pt x="167" y="406"/>
                </a:lnTo>
                <a:lnTo>
                  <a:pt x="168" y="405"/>
                </a:lnTo>
                <a:lnTo>
                  <a:pt x="168" y="406"/>
                </a:lnTo>
                <a:lnTo>
                  <a:pt x="169" y="407"/>
                </a:lnTo>
                <a:lnTo>
                  <a:pt x="169" y="408"/>
                </a:lnTo>
                <a:lnTo>
                  <a:pt x="170" y="410"/>
                </a:lnTo>
                <a:lnTo>
                  <a:pt x="170" y="411"/>
                </a:lnTo>
                <a:lnTo>
                  <a:pt x="169" y="411"/>
                </a:lnTo>
                <a:lnTo>
                  <a:pt x="169" y="410"/>
                </a:lnTo>
                <a:lnTo>
                  <a:pt x="168" y="408"/>
                </a:lnTo>
                <a:lnTo>
                  <a:pt x="166" y="408"/>
                </a:lnTo>
                <a:lnTo>
                  <a:pt x="165" y="406"/>
                </a:lnTo>
                <a:lnTo>
                  <a:pt x="166" y="405"/>
                </a:lnTo>
                <a:close/>
                <a:moveTo>
                  <a:pt x="176" y="398"/>
                </a:moveTo>
                <a:lnTo>
                  <a:pt x="180" y="399"/>
                </a:lnTo>
                <a:lnTo>
                  <a:pt x="182" y="399"/>
                </a:lnTo>
                <a:lnTo>
                  <a:pt x="182" y="402"/>
                </a:lnTo>
                <a:lnTo>
                  <a:pt x="185" y="402"/>
                </a:lnTo>
                <a:lnTo>
                  <a:pt x="185" y="406"/>
                </a:lnTo>
                <a:lnTo>
                  <a:pt x="186" y="406"/>
                </a:lnTo>
                <a:lnTo>
                  <a:pt x="186" y="407"/>
                </a:lnTo>
                <a:lnTo>
                  <a:pt x="187" y="407"/>
                </a:lnTo>
                <a:lnTo>
                  <a:pt x="188" y="406"/>
                </a:lnTo>
                <a:lnTo>
                  <a:pt x="192" y="406"/>
                </a:lnTo>
                <a:lnTo>
                  <a:pt x="192" y="407"/>
                </a:lnTo>
                <a:lnTo>
                  <a:pt x="190" y="411"/>
                </a:lnTo>
                <a:lnTo>
                  <a:pt x="188" y="411"/>
                </a:lnTo>
                <a:lnTo>
                  <a:pt x="187" y="412"/>
                </a:lnTo>
                <a:lnTo>
                  <a:pt x="186" y="412"/>
                </a:lnTo>
                <a:lnTo>
                  <a:pt x="185" y="413"/>
                </a:lnTo>
                <a:lnTo>
                  <a:pt x="185" y="415"/>
                </a:lnTo>
                <a:lnTo>
                  <a:pt x="182" y="417"/>
                </a:lnTo>
                <a:lnTo>
                  <a:pt x="180" y="419"/>
                </a:lnTo>
                <a:lnTo>
                  <a:pt x="179" y="419"/>
                </a:lnTo>
                <a:lnTo>
                  <a:pt x="178" y="418"/>
                </a:lnTo>
                <a:lnTo>
                  <a:pt x="178" y="419"/>
                </a:lnTo>
                <a:lnTo>
                  <a:pt x="176" y="419"/>
                </a:lnTo>
                <a:lnTo>
                  <a:pt x="176" y="417"/>
                </a:lnTo>
                <a:lnTo>
                  <a:pt x="178" y="417"/>
                </a:lnTo>
                <a:lnTo>
                  <a:pt x="178" y="414"/>
                </a:lnTo>
                <a:lnTo>
                  <a:pt x="176" y="415"/>
                </a:lnTo>
                <a:lnTo>
                  <a:pt x="176" y="417"/>
                </a:lnTo>
                <a:lnTo>
                  <a:pt x="175" y="417"/>
                </a:lnTo>
                <a:lnTo>
                  <a:pt x="174" y="415"/>
                </a:lnTo>
                <a:lnTo>
                  <a:pt x="173" y="415"/>
                </a:lnTo>
                <a:lnTo>
                  <a:pt x="173" y="413"/>
                </a:lnTo>
                <a:lnTo>
                  <a:pt x="172" y="412"/>
                </a:lnTo>
                <a:lnTo>
                  <a:pt x="170" y="410"/>
                </a:lnTo>
                <a:lnTo>
                  <a:pt x="170" y="400"/>
                </a:lnTo>
                <a:lnTo>
                  <a:pt x="176" y="398"/>
                </a:lnTo>
                <a:close/>
                <a:moveTo>
                  <a:pt x="178" y="327"/>
                </a:moveTo>
                <a:lnTo>
                  <a:pt x="179" y="327"/>
                </a:lnTo>
                <a:lnTo>
                  <a:pt x="179" y="328"/>
                </a:lnTo>
                <a:lnTo>
                  <a:pt x="178" y="331"/>
                </a:lnTo>
                <a:lnTo>
                  <a:pt x="179" y="332"/>
                </a:lnTo>
                <a:lnTo>
                  <a:pt x="179" y="334"/>
                </a:lnTo>
                <a:lnTo>
                  <a:pt x="180" y="334"/>
                </a:lnTo>
                <a:lnTo>
                  <a:pt x="181" y="335"/>
                </a:lnTo>
                <a:lnTo>
                  <a:pt x="181" y="337"/>
                </a:lnTo>
                <a:lnTo>
                  <a:pt x="180" y="337"/>
                </a:lnTo>
                <a:lnTo>
                  <a:pt x="180" y="338"/>
                </a:lnTo>
                <a:lnTo>
                  <a:pt x="179" y="339"/>
                </a:lnTo>
                <a:lnTo>
                  <a:pt x="179" y="340"/>
                </a:lnTo>
                <a:lnTo>
                  <a:pt x="178" y="341"/>
                </a:lnTo>
                <a:lnTo>
                  <a:pt x="178" y="343"/>
                </a:lnTo>
                <a:lnTo>
                  <a:pt x="170" y="350"/>
                </a:lnTo>
                <a:lnTo>
                  <a:pt x="169" y="350"/>
                </a:lnTo>
                <a:lnTo>
                  <a:pt x="169" y="351"/>
                </a:lnTo>
                <a:lnTo>
                  <a:pt x="168" y="353"/>
                </a:lnTo>
                <a:lnTo>
                  <a:pt x="168" y="352"/>
                </a:lnTo>
                <a:lnTo>
                  <a:pt x="166" y="352"/>
                </a:lnTo>
                <a:lnTo>
                  <a:pt x="165" y="351"/>
                </a:lnTo>
                <a:lnTo>
                  <a:pt x="163" y="351"/>
                </a:lnTo>
                <a:lnTo>
                  <a:pt x="162" y="352"/>
                </a:lnTo>
                <a:lnTo>
                  <a:pt x="161" y="352"/>
                </a:lnTo>
                <a:lnTo>
                  <a:pt x="161" y="351"/>
                </a:lnTo>
                <a:lnTo>
                  <a:pt x="162" y="351"/>
                </a:lnTo>
                <a:lnTo>
                  <a:pt x="162" y="350"/>
                </a:lnTo>
                <a:lnTo>
                  <a:pt x="163" y="347"/>
                </a:lnTo>
                <a:lnTo>
                  <a:pt x="163" y="344"/>
                </a:lnTo>
                <a:lnTo>
                  <a:pt x="165" y="343"/>
                </a:lnTo>
                <a:lnTo>
                  <a:pt x="165" y="341"/>
                </a:lnTo>
                <a:lnTo>
                  <a:pt x="169" y="337"/>
                </a:lnTo>
                <a:lnTo>
                  <a:pt x="170" y="332"/>
                </a:lnTo>
                <a:lnTo>
                  <a:pt x="173" y="330"/>
                </a:lnTo>
                <a:lnTo>
                  <a:pt x="178" y="327"/>
                </a:lnTo>
                <a:close/>
                <a:moveTo>
                  <a:pt x="201" y="294"/>
                </a:moveTo>
                <a:lnTo>
                  <a:pt x="203" y="294"/>
                </a:lnTo>
                <a:lnTo>
                  <a:pt x="203" y="295"/>
                </a:lnTo>
                <a:lnTo>
                  <a:pt x="201" y="295"/>
                </a:lnTo>
                <a:lnTo>
                  <a:pt x="201" y="294"/>
                </a:lnTo>
                <a:close/>
                <a:moveTo>
                  <a:pt x="88" y="266"/>
                </a:moveTo>
                <a:lnTo>
                  <a:pt x="89" y="266"/>
                </a:lnTo>
                <a:lnTo>
                  <a:pt x="91" y="267"/>
                </a:lnTo>
                <a:lnTo>
                  <a:pt x="92" y="267"/>
                </a:lnTo>
                <a:lnTo>
                  <a:pt x="94" y="266"/>
                </a:lnTo>
                <a:lnTo>
                  <a:pt x="95" y="266"/>
                </a:lnTo>
                <a:lnTo>
                  <a:pt x="99" y="269"/>
                </a:lnTo>
                <a:lnTo>
                  <a:pt x="103" y="269"/>
                </a:lnTo>
                <a:lnTo>
                  <a:pt x="103" y="267"/>
                </a:lnTo>
                <a:lnTo>
                  <a:pt x="105" y="269"/>
                </a:lnTo>
                <a:lnTo>
                  <a:pt x="106" y="269"/>
                </a:lnTo>
                <a:lnTo>
                  <a:pt x="106" y="270"/>
                </a:lnTo>
                <a:lnTo>
                  <a:pt x="109" y="272"/>
                </a:lnTo>
                <a:lnTo>
                  <a:pt x="109" y="276"/>
                </a:lnTo>
                <a:lnTo>
                  <a:pt x="107" y="277"/>
                </a:lnTo>
                <a:lnTo>
                  <a:pt x="107" y="279"/>
                </a:lnTo>
                <a:lnTo>
                  <a:pt x="110" y="279"/>
                </a:lnTo>
                <a:lnTo>
                  <a:pt x="111" y="281"/>
                </a:lnTo>
                <a:lnTo>
                  <a:pt x="111" y="283"/>
                </a:lnTo>
                <a:lnTo>
                  <a:pt x="110" y="285"/>
                </a:lnTo>
                <a:lnTo>
                  <a:pt x="112" y="285"/>
                </a:lnTo>
                <a:lnTo>
                  <a:pt x="113" y="287"/>
                </a:lnTo>
                <a:lnTo>
                  <a:pt x="113" y="288"/>
                </a:lnTo>
                <a:lnTo>
                  <a:pt x="114" y="289"/>
                </a:lnTo>
                <a:lnTo>
                  <a:pt x="114" y="290"/>
                </a:lnTo>
                <a:lnTo>
                  <a:pt x="117" y="292"/>
                </a:lnTo>
                <a:lnTo>
                  <a:pt x="117" y="294"/>
                </a:lnTo>
                <a:lnTo>
                  <a:pt x="118" y="295"/>
                </a:lnTo>
                <a:lnTo>
                  <a:pt x="118" y="297"/>
                </a:lnTo>
                <a:lnTo>
                  <a:pt x="119" y="298"/>
                </a:lnTo>
                <a:lnTo>
                  <a:pt x="120" y="298"/>
                </a:lnTo>
                <a:lnTo>
                  <a:pt x="118" y="296"/>
                </a:lnTo>
                <a:lnTo>
                  <a:pt x="119" y="295"/>
                </a:lnTo>
                <a:lnTo>
                  <a:pt x="120" y="295"/>
                </a:lnTo>
                <a:lnTo>
                  <a:pt x="123" y="297"/>
                </a:lnTo>
                <a:lnTo>
                  <a:pt x="123" y="302"/>
                </a:lnTo>
                <a:lnTo>
                  <a:pt x="122" y="303"/>
                </a:lnTo>
                <a:lnTo>
                  <a:pt x="122" y="304"/>
                </a:lnTo>
                <a:lnTo>
                  <a:pt x="120" y="304"/>
                </a:lnTo>
                <a:lnTo>
                  <a:pt x="117" y="306"/>
                </a:lnTo>
                <a:lnTo>
                  <a:pt x="114" y="308"/>
                </a:lnTo>
                <a:lnTo>
                  <a:pt x="113" y="310"/>
                </a:lnTo>
                <a:lnTo>
                  <a:pt x="113" y="313"/>
                </a:lnTo>
                <a:lnTo>
                  <a:pt x="114" y="313"/>
                </a:lnTo>
                <a:lnTo>
                  <a:pt x="116" y="312"/>
                </a:lnTo>
                <a:lnTo>
                  <a:pt x="116" y="310"/>
                </a:lnTo>
                <a:lnTo>
                  <a:pt x="117" y="310"/>
                </a:lnTo>
                <a:lnTo>
                  <a:pt x="119" y="308"/>
                </a:lnTo>
                <a:lnTo>
                  <a:pt x="128" y="308"/>
                </a:lnTo>
                <a:lnTo>
                  <a:pt x="129" y="309"/>
                </a:lnTo>
                <a:lnTo>
                  <a:pt x="130" y="309"/>
                </a:lnTo>
                <a:lnTo>
                  <a:pt x="130" y="314"/>
                </a:lnTo>
                <a:lnTo>
                  <a:pt x="131" y="315"/>
                </a:lnTo>
                <a:lnTo>
                  <a:pt x="132" y="315"/>
                </a:lnTo>
                <a:lnTo>
                  <a:pt x="132" y="320"/>
                </a:lnTo>
                <a:lnTo>
                  <a:pt x="134" y="321"/>
                </a:lnTo>
                <a:lnTo>
                  <a:pt x="134" y="324"/>
                </a:lnTo>
                <a:lnTo>
                  <a:pt x="132" y="326"/>
                </a:lnTo>
                <a:lnTo>
                  <a:pt x="132" y="330"/>
                </a:lnTo>
                <a:lnTo>
                  <a:pt x="131" y="330"/>
                </a:lnTo>
                <a:lnTo>
                  <a:pt x="131" y="331"/>
                </a:lnTo>
                <a:lnTo>
                  <a:pt x="132" y="331"/>
                </a:lnTo>
                <a:lnTo>
                  <a:pt x="130" y="333"/>
                </a:lnTo>
                <a:lnTo>
                  <a:pt x="130" y="332"/>
                </a:lnTo>
                <a:lnTo>
                  <a:pt x="129" y="331"/>
                </a:lnTo>
                <a:lnTo>
                  <a:pt x="129" y="330"/>
                </a:lnTo>
                <a:lnTo>
                  <a:pt x="128" y="328"/>
                </a:lnTo>
                <a:lnTo>
                  <a:pt x="128" y="326"/>
                </a:lnTo>
                <a:lnTo>
                  <a:pt x="129" y="325"/>
                </a:lnTo>
                <a:lnTo>
                  <a:pt x="129" y="320"/>
                </a:lnTo>
                <a:lnTo>
                  <a:pt x="124" y="315"/>
                </a:lnTo>
                <a:lnTo>
                  <a:pt x="123" y="315"/>
                </a:lnTo>
                <a:lnTo>
                  <a:pt x="123" y="318"/>
                </a:lnTo>
                <a:lnTo>
                  <a:pt x="122" y="318"/>
                </a:lnTo>
                <a:lnTo>
                  <a:pt x="123" y="319"/>
                </a:lnTo>
                <a:lnTo>
                  <a:pt x="125" y="319"/>
                </a:lnTo>
                <a:lnTo>
                  <a:pt x="125" y="320"/>
                </a:lnTo>
                <a:lnTo>
                  <a:pt x="124" y="320"/>
                </a:lnTo>
                <a:lnTo>
                  <a:pt x="125" y="321"/>
                </a:lnTo>
                <a:lnTo>
                  <a:pt x="125" y="325"/>
                </a:lnTo>
                <a:lnTo>
                  <a:pt x="124" y="328"/>
                </a:lnTo>
                <a:lnTo>
                  <a:pt x="124" y="330"/>
                </a:lnTo>
                <a:lnTo>
                  <a:pt x="122" y="332"/>
                </a:lnTo>
                <a:lnTo>
                  <a:pt x="124" y="331"/>
                </a:lnTo>
                <a:lnTo>
                  <a:pt x="125" y="330"/>
                </a:lnTo>
                <a:lnTo>
                  <a:pt x="128" y="330"/>
                </a:lnTo>
                <a:lnTo>
                  <a:pt x="129" y="331"/>
                </a:lnTo>
                <a:lnTo>
                  <a:pt x="129" y="335"/>
                </a:lnTo>
                <a:lnTo>
                  <a:pt x="128" y="337"/>
                </a:lnTo>
                <a:lnTo>
                  <a:pt x="126" y="339"/>
                </a:lnTo>
                <a:lnTo>
                  <a:pt x="125" y="338"/>
                </a:lnTo>
                <a:lnTo>
                  <a:pt x="125" y="340"/>
                </a:lnTo>
                <a:lnTo>
                  <a:pt x="124" y="340"/>
                </a:lnTo>
                <a:lnTo>
                  <a:pt x="123" y="339"/>
                </a:lnTo>
                <a:lnTo>
                  <a:pt x="119" y="339"/>
                </a:lnTo>
                <a:lnTo>
                  <a:pt x="117" y="340"/>
                </a:lnTo>
                <a:lnTo>
                  <a:pt x="116" y="340"/>
                </a:lnTo>
                <a:lnTo>
                  <a:pt x="116" y="346"/>
                </a:lnTo>
                <a:lnTo>
                  <a:pt x="114" y="349"/>
                </a:lnTo>
                <a:lnTo>
                  <a:pt x="114" y="350"/>
                </a:lnTo>
                <a:lnTo>
                  <a:pt x="113" y="350"/>
                </a:lnTo>
                <a:lnTo>
                  <a:pt x="109" y="355"/>
                </a:lnTo>
                <a:lnTo>
                  <a:pt x="106" y="355"/>
                </a:lnTo>
                <a:lnTo>
                  <a:pt x="105" y="353"/>
                </a:lnTo>
                <a:lnTo>
                  <a:pt x="106" y="353"/>
                </a:lnTo>
                <a:lnTo>
                  <a:pt x="103" y="352"/>
                </a:lnTo>
                <a:lnTo>
                  <a:pt x="103" y="351"/>
                </a:lnTo>
                <a:lnTo>
                  <a:pt x="101" y="350"/>
                </a:lnTo>
                <a:lnTo>
                  <a:pt x="95" y="350"/>
                </a:lnTo>
                <a:lnTo>
                  <a:pt x="95" y="349"/>
                </a:lnTo>
                <a:lnTo>
                  <a:pt x="94" y="350"/>
                </a:lnTo>
                <a:lnTo>
                  <a:pt x="94" y="352"/>
                </a:lnTo>
                <a:lnTo>
                  <a:pt x="93" y="352"/>
                </a:lnTo>
                <a:lnTo>
                  <a:pt x="92" y="353"/>
                </a:lnTo>
                <a:lnTo>
                  <a:pt x="91" y="352"/>
                </a:lnTo>
                <a:lnTo>
                  <a:pt x="89" y="352"/>
                </a:lnTo>
                <a:lnTo>
                  <a:pt x="86" y="353"/>
                </a:lnTo>
                <a:lnTo>
                  <a:pt x="85" y="353"/>
                </a:lnTo>
                <a:lnTo>
                  <a:pt x="83" y="355"/>
                </a:lnTo>
                <a:lnTo>
                  <a:pt x="83" y="353"/>
                </a:lnTo>
                <a:lnTo>
                  <a:pt x="82" y="352"/>
                </a:lnTo>
                <a:lnTo>
                  <a:pt x="81" y="352"/>
                </a:lnTo>
                <a:lnTo>
                  <a:pt x="82" y="350"/>
                </a:lnTo>
                <a:lnTo>
                  <a:pt x="81" y="349"/>
                </a:lnTo>
                <a:lnTo>
                  <a:pt x="83" y="346"/>
                </a:lnTo>
                <a:lnTo>
                  <a:pt x="82" y="345"/>
                </a:lnTo>
                <a:lnTo>
                  <a:pt x="82" y="344"/>
                </a:lnTo>
                <a:lnTo>
                  <a:pt x="81" y="343"/>
                </a:lnTo>
                <a:lnTo>
                  <a:pt x="80" y="343"/>
                </a:lnTo>
                <a:lnTo>
                  <a:pt x="79" y="344"/>
                </a:lnTo>
                <a:lnTo>
                  <a:pt x="78" y="343"/>
                </a:lnTo>
                <a:lnTo>
                  <a:pt x="76" y="343"/>
                </a:lnTo>
                <a:lnTo>
                  <a:pt x="75" y="341"/>
                </a:lnTo>
                <a:lnTo>
                  <a:pt x="75" y="339"/>
                </a:lnTo>
                <a:lnTo>
                  <a:pt x="73" y="337"/>
                </a:lnTo>
                <a:lnTo>
                  <a:pt x="74" y="335"/>
                </a:lnTo>
                <a:lnTo>
                  <a:pt x="74" y="334"/>
                </a:lnTo>
                <a:lnTo>
                  <a:pt x="73" y="333"/>
                </a:lnTo>
                <a:lnTo>
                  <a:pt x="73" y="332"/>
                </a:lnTo>
                <a:lnTo>
                  <a:pt x="72" y="332"/>
                </a:lnTo>
                <a:lnTo>
                  <a:pt x="72" y="331"/>
                </a:lnTo>
                <a:lnTo>
                  <a:pt x="70" y="330"/>
                </a:lnTo>
                <a:lnTo>
                  <a:pt x="68" y="328"/>
                </a:lnTo>
                <a:lnTo>
                  <a:pt x="67" y="327"/>
                </a:lnTo>
                <a:lnTo>
                  <a:pt x="66" y="327"/>
                </a:lnTo>
                <a:lnTo>
                  <a:pt x="64" y="328"/>
                </a:lnTo>
                <a:lnTo>
                  <a:pt x="62" y="332"/>
                </a:lnTo>
                <a:lnTo>
                  <a:pt x="61" y="333"/>
                </a:lnTo>
                <a:lnTo>
                  <a:pt x="60" y="333"/>
                </a:lnTo>
                <a:lnTo>
                  <a:pt x="60" y="335"/>
                </a:lnTo>
                <a:lnTo>
                  <a:pt x="58" y="335"/>
                </a:lnTo>
                <a:lnTo>
                  <a:pt x="60" y="337"/>
                </a:lnTo>
                <a:lnTo>
                  <a:pt x="60" y="338"/>
                </a:lnTo>
                <a:lnTo>
                  <a:pt x="62" y="339"/>
                </a:lnTo>
                <a:lnTo>
                  <a:pt x="61" y="339"/>
                </a:lnTo>
                <a:lnTo>
                  <a:pt x="61" y="340"/>
                </a:lnTo>
                <a:lnTo>
                  <a:pt x="60" y="341"/>
                </a:lnTo>
                <a:lnTo>
                  <a:pt x="58" y="341"/>
                </a:lnTo>
                <a:lnTo>
                  <a:pt x="56" y="344"/>
                </a:lnTo>
                <a:lnTo>
                  <a:pt x="57" y="344"/>
                </a:lnTo>
                <a:lnTo>
                  <a:pt x="57" y="345"/>
                </a:lnTo>
                <a:lnTo>
                  <a:pt x="56" y="345"/>
                </a:lnTo>
                <a:lnTo>
                  <a:pt x="56" y="347"/>
                </a:lnTo>
                <a:lnTo>
                  <a:pt x="55" y="349"/>
                </a:lnTo>
                <a:lnTo>
                  <a:pt x="55" y="345"/>
                </a:lnTo>
                <a:lnTo>
                  <a:pt x="54" y="346"/>
                </a:lnTo>
                <a:lnTo>
                  <a:pt x="55" y="349"/>
                </a:lnTo>
                <a:lnTo>
                  <a:pt x="51" y="349"/>
                </a:lnTo>
                <a:lnTo>
                  <a:pt x="51" y="347"/>
                </a:lnTo>
                <a:lnTo>
                  <a:pt x="50" y="347"/>
                </a:lnTo>
                <a:lnTo>
                  <a:pt x="50" y="346"/>
                </a:lnTo>
                <a:lnTo>
                  <a:pt x="49" y="346"/>
                </a:lnTo>
                <a:lnTo>
                  <a:pt x="48" y="347"/>
                </a:lnTo>
                <a:lnTo>
                  <a:pt x="42" y="347"/>
                </a:lnTo>
                <a:lnTo>
                  <a:pt x="42" y="345"/>
                </a:lnTo>
                <a:lnTo>
                  <a:pt x="41" y="345"/>
                </a:lnTo>
                <a:lnTo>
                  <a:pt x="38" y="343"/>
                </a:lnTo>
                <a:lnTo>
                  <a:pt x="32" y="343"/>
                </a:lnTo>
                <a:lnTo>
                  <a:pt x="31" y="341"/>
                </a:lnTo>
                <a:lnTo>
                  <a:pt x="31" y="337"/>
                </a:lnTo>
                <a:lnTo>
                  <a:pt x="30" y="335"/>
                </a:lnTo>
                <a:lnTo>
                  <a:pt x="27" y="335"/>
                </a:lnTo>
                <a:lnTo>
                  <a:pt x="26" y="334"/>
                </a:lnTo>
                <a:lnTo>
                  <a:pt x="26" y="333"/>
                </a:lnTo>
                <a:lnTo>
                  <a:pt x="25" y="331"/>
                </a:lnTo>
                <a:lnTo>
                  <a:pt x="23" y="331"/>
                </a:lnTo>
                <a:lnTo>
                  <a:pt x="22" y="330"/>
                </a:lnTo>
                <a:lnTo>
                  <a:pt x="20" y="327"/>
                </a:lnTo>
                <a:lnTo>
                  <a:pt x="19" y="326"/>
                </a:lnTo>
                <a:lnTo>
                  <a:pt x="19" y="324"/>
                </a:lnTo>
                <a:lnTo>
                  <a:pt x="22" y="322"/>
                </a:lnTo>
                <a:lnTo>
                  <a:pt x="23" y="322"/>
                </a:lnTo>
                <a:lnTo>
                  <a:pt x="23" y="321"/>
                </a:lnTo>
                <a:lnTo>
                  <a:pt x="24" y="320"/>
                </a:lnTo>
                <a:lnTo>
                  <a:pt x="24" y="319"/>
                </a:lnTo>
                <a:lnTo>
                  <a:pt x="25" y="318"/>
                </a:lnTo>
                <a:lnTo>
                  <a:pt x="29" y="319"/>
                </a:lnTo>
                <a:lnTo>
                  <a:pt x="30" y="319"/>
                </a:lnTo>
                <a:lnTo>
                  <a:pt x="32" y="318"/>
                </a:lnTo>
                <a:lnTo>
                  <a:pt x="36" y="314"/>
                </a:lnTo>
                <a:lnTo>
                  <a:pt x="38" y="313"/>
                </a:lnTo>
                <a:lnTo>
                  <a:pt x="38" y="312"/>
                </a:lnTo>
                <a:lnTo>
                  <a:pt x="37" y="312"/>
                </a:lnTo>
                <a:lnTo>
                  <a:pt x="36" y="313"/>
                </a:lnTo>
                <a:lnTo>
                  <a:pt x="35" y="313"/>
                </a:lnTo>
                <a:lnTo>
                  <a:pt x="33" y="312"/>
                </a:lnTo>
                <a:lnTo>
                  <a:pt x="33" y="310"/>
                </a:lnTo>
                <a:lnTo>
                  <a:pt x="32" y="312"/>
                </a:lnTo>
                <a:lnTo>
                  <a:pt x="31" y="310"/>
                </a:lnTo>
                <a:lnTo>
                  <a:pt x="31" y="309"/>
                </a:lnTo>
                <a:lnTo>
                  <a:pt x="30" y="309"/>
                </a:lnTo>
                <a:lnTo>
                  <a:pt x="29" y="308"/>
                </a:lnTo>
                <a:lnTo>
                  <a:pt x="30" y="307"/>
                </a:lnTo>
                <a:lnTo>
                  <a:pt x="29" y="307"/>
                </a:lnTo>
                <a:lnTo>
                  <a:pt x="31" y="306"/>
                </a:lnTo>
                <a:lnTo>
                  <a:pt x="32" y="304"/>
                </a:lnTo>
                <a:lnTo>
                  <a:pt x="33" y="306"/>
                </a:lnTo>
                <a:lnTo>
                  <a:pt x="37" y="306"/>
                </a:lnTo>
                <a:lnTo>
                  <a:pt x="39" y="303"/>
                </a:lnTo>
                <a:lnTo>
                  <a:pt x="44" y="303"/>
                </a:lnTo>
                <a:lnTo>
                  <a:pt x="44" y="300"/>
                </a:lnTo>
                <a:lnTo>
                  <a:pt x="49" y="295"/>
                </a:lnTo>
                <a:lnTo>
                  <a:pt x="49" y="289"/>
                </a:lnTo>
                <a:lnTo>
                  <a:pt x="50" y="289"/>
                </a:lnTo>
                <a:lnTo>
                  <a:pt x="50" y="284"/>
                </a:lnTo>
                <a:lnTo>
                  <a:pt x="51" y="282"/>
                </a:lnTo>
                <a:lnTo>
                  <a:pt x="52" y="282"/>
                </a:lnTo>
                <a:lnTo>
                  <a:pt x="55" y="281"/>
                </a:lnTo>
                <a:lnTo>
                  <a:pt x="56" y="281"/>
                </a:lnTo>
                <a:lnTo>
                  <a:pt x="56" y="279"/>
                </a:lnTo>
                <a:lnTo>
                  <a:pt x="57" y="279"/>
                </a:lnTo>
                <a:lnTo>
                  <a:pt x="57" y="281"/>
                </a:lnTo>
                <a:lnTo>
                  <a:pt x="62" y="281"/>
                </a:lnTo>
                <a:lnTo>
                  <a:pt x="63" y="282"/>
                </a:lnTo>
                <a:lnTo>
                  <a:pt x="64" y="281"/>
                </a:lnTo>
                <a:lnTo>
                  <a:pt x="66" y="281"/>
                </a:lnTo>
                <a:lnTo>
                  <a:pt x="67" y="279"/>
                </a:lnTo>
                <a:lnTo>
                  <a:pt x="67" y="277"/>
                </a:lnTo>
                <a:lnTo>
                  <a:pt x="68" y="276"/>
                </a:lnTo>
                <a:lnTo>
                  <a:pt x="68" y="275"/>
                </a:lnTo>
                <a:lnTo>
                  <a:pt x="69" y="275"/>
                </a:lnTo>
                <a:lnTo>
                  <a:pt x="69" y="270"/>
                </a:lnTo>
                <a:lnTo>
                  <a:pt x="70" y="270"/>
                </a:lnTo>
                <a:lnTo>
                  <a:pt x="72" y="271"/>
                </a:lnTo>
                <a:lnTo>
                  <a:pt x="78" y="271"/>
                </a:lnTo>
                <a:lnTo>
                  <a:pt x="82" y="269"/>
                </a:lnTo>
                <a:lnTo>
                  <a:pt x="86" y="269"/>
                </a:lnTo>
                <a:lnTo>
                  <a:pt x="88" y="266"/>
                </a:lnTo>
                <a:close/>
                <a:moveTo>
                  <a:pt x="98" y="261"/>
                </a:moveTo>
                <a:lnTo>
                  <a:pt x="103" y="261"/>
                </a:lnTo>
                <a:lnTo>
                  <a:pt x="103" y="264"/>
                </a:lnTo>
                <a:lnTo>
                  <a:pt x="101" y="264"/>
                </a:lnTo>
                <a:lnTo>
                  <a:pt x="101" y="263"/>
                </a:lnTo>
                <a:lnTo>
                  <a:pt x="98" y="263"/>
                </a:lnTo>
                <a:lnTo>
                  <a:pt x="98" y="261"/>
                </a:lnTo>
                <a:close/>
                <a:moveTo>
                  <a:pt x="140" y="230"/>
                </a:moveTo>
                <a:lnTo>
                  <a:pt x="141" y="230"/>
                </a:lnTo>
                <a:lnTo>
                  <a:pt x="143" y="232"/>
                </a:lnTo>
                <a:lnTo>
                  <a:pt x="145" y="234"/>
                </a:lnTo>
                <a:lnTo>
                  <a:pt x="145" y="235"/>
                </a:lnTo>
                <a:lnTo>
                  <a:pt x="147" y="240"/>
                </a:lnTo>
                <a:lnTo>
                  <a:pt x="148" y="242"/>
                </a:lnTo>
                <a:lnTo>
                  <a:pt x="148" y="245"/>
                </a:lnTo>
                <a:lnTo>
                  <a:pt x="147" y="245"/>
                </a:lnTo>
                <a:lnTo>
                  <a:pt x="147" y="246"/>
                </a:lnTo>
                <a:lnTo>
                  <a:pt x="148" y="246"/>
                </a:lnTo>
                <a:lnTo>
                  <a:pt x="149" y="247"/>
                </a:lnTo>
                <a:lnTo>
                  <a:pt x="148" y="247"/>
                </a:lnTo>
                <a:lnTo>
                  <a:pt x="148" y="248"/>
                </a:lnTo>
                <a:lnTo>
                  <a:pt x="149" y="249"/>
                </a:lnTo>
                <a:lnTo>
                  <a:pt x="149" y="251"/>
                </a:lnTo>
                <a:lnTo>
                  <a:pt x="148" y="252"/>
                </a:lnTo>
                <a:lnTo>
                  <a:pt x="143" y="252"/>
                </a:lnTo>
                <a:lnTo>
                  <a:pt x="141" y="251"/>
                </a:lnTo>
                <a:lnTo>
                  <a:pt x="140" y="251"/>
                </a:lnTo>
                <a:lnTo>
                  <a:pt x="137" y="248"/>
                </a:lnTo>
                <a:lnTo>
                  <a:pt x="137" y="244"/>
                </a:lnTo>
                <a:lnTo>
                  <a:pt x="136" y="242"/>
                </a:lnTo>
                <a:lnTo>
                  <a:pt x="136" y="241"/>
                </a:lnTo>
                <a:lnTo>
                  <a:pt x="135" y="239"/>
                </a:lnTo>
                <a:lnTo>
                  <a:pt x="136" y="236"/>
                </a:lnTo>
                <a:lnTo>
                  <a:pt x="136" y="235"/>
                </a:lnTo>
                <a:lnTo>
                  <a:pt x="137" y="233"/>
                </a:lnTo>
                <a:lnTo>
                  <a:pt x="138" y="232"/>
                </a:lnTo>
                <a:lnTo>
                  <a:pt x="140" y="232"/>
                </a:lnTo>
                <a:lnTo>
                  <a:pt x="140" y="230"/>
                </a:lnTo>
                <a:close/>
                <a:moveTo>
                  <a:pt x="150" y="229"/>
                </a:moveTo>
                <a:lnTo>
                  <a:pt x="151" y="229"/>
                </a:lnTo>
                <a:lnTo>
                  <a:pt x="151" y="230"/>
                </a:lnTo>
                <a:lnTo>
                  <a:pt x="150" y="230"/>
                </a:lnTo>
                <a:lnTo>
                  <a:pt x="150" y="229"/>
                </a:lnTo>
                <a:close/>
                <a:moveTo>
                  <a:pt x="143" y="216"/>
                </a:moveTo>
                <a:lnTo>
                  <a:pt x="145" y="216"/>
                </a:lnTo>
                <a:lnTo>
                  <a:pt x="148" y="218"/>
                </a:lnTo>
                <a:lnTo>
                  <a:pt x="149" y="218"/>
                </a:lnTo>
                <a:lnTo>
                  <a:pt x="149" y="221"/>
                </a:lnTo>
                <a:lnTo>
                  <a:pt x="150" y="221"/>
                </a:lnTo>
                <a:lnTo>
                  <a:pt x="150" y="223"/>
                </a:lnTo>
                <a:lnTo>
                  <a:pt x="151" y="224"/>
                </a:lnTo>
                <a:lnTo>
                  <a:pt x="151" y="228"/>
                </a:lnTo>
                <a:lnTo>
                  <a:pt x="150" y="229"/>
                </a:lnTo>
                <a:lnTo>
                  <a:pt x="147" y="226"/>
                </a:lnTo>
                <a:lnTo>
                  <a:pt x="147" y="222"/>
                </a:lnTo>
                <a:lnTo>
                  <a:pt x="144" y="221"/>
                </a:lnTo>
                <a:lnTo>
                  <a:pt x="144" y="218"/>
                </a:lnTo>
                <a:lnTo>
                  <a:pt x="143" y="217"/>
                </a:lnTo>
                <a:lnTo>
                  <a:pt x="143" y="216"/>
                </a:lnTo>
                <a:close/>
                <a:moveTo>
                  <a:pt x="103" y="215"/>
                </a:moveTo>
                <a:lnTo>
                  <a:pt x="105" y="215"/>
                </a:lnTo>
                <a:lnTo>
                  <a:pt x="105" y="222"/>
                </a:lnTo>
                <a:lnTo>
                  <a:pt x="106" y="224"/>
                </a:lnTo>
                <a:lnTo>
                  <a:pt x="106" y="227"/>
                </a:lnTo>
                <a:lnTo>
                  <a:pt x="107" y="227"/>
                </a:lnTo>
                <a:lnTo>
                  <a:pt x="107" y="230"/>
                </a:lnTo>
                <a:lnTo>
                  <a:pt x="109" y="230"/>
                </a:lnTo>
                <a:lnTo>
                  <a:pt x="109" y="234"/>
                </a:lnTo>
                <a:lnTo>
                  <a:pt x="107" y="234"/>
                </a:lnTo>
                <a:lnTo>
                  <a:pt x="107" y="235"/>
                </a:lnTo>
                <a:lnTo>
                  <a:pt x="106" y="236"/>
                </a:lnTo>
                <a:lnTo>
                  <a:pt x="105" y="236"/>
                </a:lnTo>
                <a:lnTo>
                  <a:pt x="104" y="238"/>
                </a:lnTo>
                <a:lnTo>
                  <a:pt x="100" y="238"/>
                </a:lnTo>
                <a:lnTo>
                  <a:pt x="100" y="240"/>
                </a:lnTo>
                <a:lnTo>
                  <a:pt x="99" y="241"/>
                </a:lnTo>
                <a:lnTo>
                  <a:pt x="97" y="241"/>
                </a:lnTo>
                <a:lnTo>
                  <a:pt x="97" y="238"/>
                </a:lnTo>
                <a:lnTo>
                  <a:pt x="99" y="235"/>
                </a:lnTo>
                <a:lnTo>
                  <a:pt x="99" y="233"/>
                </a:lnTo>
                <a:lnTo>
                  <a:pt x="98" y="232"/>
                </a:lnTo>
                <a:lnTo>
                  <a:pt x="97" y="232"/>
                </a:lnTo>
                <a:lnTo>
                  <a:pt x="97" y="230"/>
                </a:lnTo>
                <a:lnTo>
                  <a:pt x="98" y="228"/>
                </a:lnTo>
                <a:lnTo>
                  <a:pt x="99" y="227"/>
                </a:lnTo>
                <a:lnTo>
                  <a:pt x="98" y="226"/>
                </a:lnTo>
                <a:lnTo>
                  <a:pt x="95" y="226"/>
                </a:lnTo>
                <a:lnTo>
                  <a:pt x="95" y="227"/>
                </a:lnTo>
                <a:lnTo>
                  <a:pt x="94" y="229"/>
                </a:lnTo>
                <a:lnTo>
                  <a:pt x="92" y="232"/>
                </a:lnTo>
                <a:lnTo>
                  <a:pt x="91" y="234"/>
                </a:lnTo>
                <a:lnTo>
                  <a:pt x="88" y="234"/>
                </a:lnTo>
                <a:lnTo>
                  <a:pt x="88" y="233"/>
                </a:lnTo>
                <a:lnTo>
                  <a:pt x="89" y="232"/>
                </a:lnTo>
                <a:lnTo>
                  <a:pt x="88" y="230"/>
                </a:lnTo>
                <a:lnTo>
                  <a:pt x="89" y="229"/>
                </a:lnTo>
                <a:lnTo>
                  <a:pt x="91" y="227"/>
                </a:lnTo>
                <a:lnTo>
                  <a:pt x="89" y="226"/>
                </a:lnTo>
                <a:lnTo>
                  <a:pt x="91" y="224"/>
                </a:lnTo>
                <a:lnTo>
                  <a:pt x="91" y="221"/>
                </a:lnTo>
                <a:lnTo>
                  <a:pt x="95" y="218"/>
                </a:lnTo>
                <a:lnTo>
                  <a:pt x="97" y="218"/>
                </a:lnTo>
                <a:lnTo>
                  <a:pt x="95" y="221"/>
                </a:lnTo>
                <a:lnTo>
                  <a:pt x="95" y="223"/>
                </a:lnTo>
                <a:lnTo>
                  <a:pt x="97" y="223"/>
                </a:lnTo>
                <a:lnTo>
                  <a:pt x="97" y="222"/>
                </a:lnTo>
                <a:lnTo>
                  <a:pt x="98" y="220"/>
                </a:lnTo>
                <a:lnTo>
                  <a:pt x="101" y="216"/>
                </a:lnTo>
                <a:lnTo>
                  <a:pt x="103" y="216"/>
                </a:lnTo>
                <a:lnTo>
                  <a:pt x="103" y="215"/>
                </a:lnTo>
                <a:close/>
                <a:moveTo>
                  <a:pt x="103" y="201"/>
                </a:moveTo>
                <a:lnTo>
                  <a:pt x="104" y="201"/>
                </a:lnTo>
                <a:lnTo>
                  <a:pt x="104" y="202"/>
                </a:lnTo>
                <a:lnTo>
                  <a:pt x="103" y="204"/>
                </a:lnTo>
                <a:lnTo>
                  <a:pt x="103" y="206"/>
                </a:lnTo>
                <a:lnTo>
                  <a:pt x="101" y="208"/>
                </a:lnTo>
                <a:lnTo>
                  <a:pt x="99" y="208"/>
                </a:lnTo>
                <a:lnTo>
                  <a:pt x="99" y="205"/>
                </a:lnTo>
                <a:lnTo>
                  <a:pt x="101" y="203"/>
                </a:lnTo>
                <a:lnTo>
                  <a:pt x="101" y="202"/>
                </a:lnTo>
                <a:lnTo>
                  <a:pt x="103" y="202"/>
                </a:lnTo>
                <a:lnTo>
                  <a:pt x="103" y="201"/>
                </a:lnTo>
                <a:close/>
                <a:moveTo>
                  <a:pt x="122" y="198"/>
                </a:moveTo>
                <a:lnTo>
                  <a:pt x="123" y="198"/>
                </a:lnTo>
                <a:lnTo>
                  <a:pt x="123" y="202"/>
                </a:lnTo>
                <a:lnTo>
                  <a:pt x="120" y="204"/>
                </a:lnTo>
                <a:lnTo>
                  <a:pt x="119" y="208"/>
                </a:lnTo>
                <a:lnTo>
                  <a:pt x="116" y="215"/>
                </a:lnTo>
                <a:lnTo>
                  <a:pt x="114" y="218"/>
                </a:lnTo>
                <a:lnTo>
                  <a:pt x="113" y="220"/>
                </a:lnTo>
                <a:lnTo>
                  <a:pt x="112" y="220"/>
                </a:lnTo>
                <a:lnTo>
                  <a:pt x="112" y="223"/>
                </a:lnTo>
                <a:lnTo>
                  <a:pt x="111" y="224"/>
                </a:lnTo>
                <a:lnTo>
                  <a:pt x="111" y="226"/>
                </a:lnTo>
                <a:lnTo>
                  <a:pt x="109" y="226"/>
                </a:lnTo>
                <a:lnTo>
                  <a:pt x="107" y="224"/>
                </a:lnTo>
                <a:lnTo>
                  <a:pt x="106" y="222"/>
                </a:lnTo>
                <a:lnTo>
                  <a:pt x="106" y="216"/>
                </a:lnTo>
                <a:lnTo>
                  <a:pt x="107" y="216"/>
                </a:lnTo>
                <a:lnTo>
                  <a:pt x="110" y="214"/>
                </a:lnTo>
                <a:lnTo>
                  <a:pt x="113" y="212"/>
                </a:lnTo>
                <a:lnTo>
                  <a:pt x="114" y="211"/>
                </a:lnTo>
                <a:lnTo>
                  <a:pt x="113" y="211"/>
                </a:lnTo>
                <a:lnTo>
                  <a:pt x="112" y="212"/>
                </a:lnTo>
                <a:lnTo>
                  <a:pt x="111" y="212"/>
                </a:lnTo>
                <a:lnTo>
                  <a:pt x="110" y="211"/>
                </a:lnTo>
                <a:lnTo>
                  <a:pt x="111" y="209"/>
                </a:lnTo>
                <a:lnTo>
                  <a:pt x="112" y="208"/>
                </a:lnTo>
                <a:lnTo>
                  <a:pt x="113" y="205"/>
                </a:lnTo>
                <a:lnTo>
                  <a:pt x="116" y="204"/>
                </a:lnTo>
                <a:lnTo>
                  <a:pt x="122" y="198"/>
                </a:lnTo>
                <a:close/>
                <a:moveTo>
                  <a:pt x="123" y="195"/>
                </a:moveTo>
                <a:lnTo>
                  <a:pt x="124" y="196"/>
                </a:lnTo>
                <a:lnTo>
                  <a:pt x="123" y="197"/>
                </a:lnTo>
                <a:lnTo>
                  <a:pt x="122" y="197"/>
                </a:lnTo>
                <a:lnTo>
                  <a:pt x="120" y="198"/>
                </a:lnTo>
                <a:lnTo>
                  <a:pt x="120" y="197"/>
                </a:lnTo>
                <a:lnTo>
                  <a:pt x="123" y="195"/>
                </a:lnTo>
                <a:close/>
                <a:moveTo>
                  <a:pt x="125" y="190"/>
                </a:moveTo>
                <a:lnTo>
                  <a:pt x="126" y="190"/>
                </a:lnTo>
                <a:lnTo>
                  <a:pt x="126" y="192"/>
                </a:lnTo>
                <a:lnTo>
                  <a:pt x="125" y="193"/>
                </a:lnTo>
                <a:lnTo>
                  <a:pt x="125" y="195"/>
                </a:lnTo>
                <a:lnTo>
                  <a:pt x="124" y="193"/>
                </a:lnTo>
                <a:lnTo>
                  <a:pt x="124" y="192"/>
                </a:lnTo>
                <a:lnTo>
                  <a:pt x="125" y="191"/>
                </a:lnTo>
                <a:lnTo>
                  <a:pt x="125" y="190"/>
                </a:lnTo>
                <a:close/>
                <a:moveTo>
                  <a:pt x="129" y="178"/>
                </a:moveTo>
                <a:lnTo>
                  <a:pt x="131" y="178"/>
                </a:lnTo>
                <a:lnTo>
                  <a:pt x="129" y="180"/>
                </a:lnTo>
                <a:lnTo>
                  <a:pt x="128" y="180"/>
                </a:lnTo>
                <a:lnTo>
                  <a:pt x="128" y="179"/>
                </a:lnTo>
                <a:lnTo>
                  <a:pt x="129" y="178"/>
                </a:lnTo>
                <a:close/>
                <a:moveTo>
                  <a:pt x="99" y="172"/>
                </a:moveTo>
                <a:lnTo>
                  <a:pt x="101" y="172"/>
                </a:lnTo>
                <a:lnTo>
                  <a:pt x="103" y="173"/>
                </a:lnTo>
                <a:lnTo>
                  <a:pt x="103" y="174"/>
                </a:lnTo>
                <a:lnTo>
                  <a:pt x="100" y="174"/>
                </a:lnTo>
                <a:lnTo>
                  <a:pt x="99" y="173"/>
                </a:lnTo>
                <a:lnTo>
                  <a:pt x="99" y="172"/>
                </a:lnTo>
                <a:close/>
                <a:moveTo>
                  <a:pt x="78" y="168"/>
                </a:moveTo>
                <a:lnTo>
                  <a:pt x="79" y="168"/>
                </a:lnTo>
                <a:lnTo>
                  <a:pt x="79" y="171"/>
                </a:lnTo>
                <a:lnTo>
                  <a:pt x="76" y="171"/>
                </a:lnTo>
                <a:lnTo>
                  <a:pt x="76" y="172"/>
                </a:lnTo>
                <a:lnTo>
                  <a:pt x="75" y="173"/>
                </a:lnTo>
                <a:lnTo>
                  <a:pt x="73" y="173"/>
                </a:lnTo>
                <a:lnTo>
                  <a:pt x="73" y="177"/>
                </a:lnTo>
                <a:lnTo>
                  <a:pt x="72" y="177"/>
                </a:lnTo>
                <a:lnTo>
                  <a:pt x="69" y="175"/>
                </a:lnTo>
                <a:lnTo>
                  <a:pt x="69" y="174"/>
                </a:lnTo>
                <a:lnTo>
                  <a:pt x="68" y="173"/>
                </a:lnTo>
                <a:lnTo>
                  <a:pt x="68" y="172"/>
                </a:lnTo>
                <a:lnTo>
                  <a:pt x="69" y="171"/>
                </a:lnTo>
                <a:lnTo>
                  <a:pt x="73" y="171"/>
                </a:lnTo>
                <a:lnTo>
                  <a:pt x="74" y="169"/>
                </a:lnTo>
                <a:lnTo>
                  <a:pt x="75" y="169"/>
                </a:lnTo>
                <a:lnTo>
                  <a:pt x="78" y="168"/>
                </a:lnTo>
                <a:close/>
                <a:moveTo>
                  <a:pt x="104" y="160"/>
                </a:moveTo>
                <a:lnTo>
                  <a:pt x="105" y="160"/>
                </a:lnTo>
                <a:lnTo>
                  <a:pt x="107" y="161"/>
                </a:lnTo>
                <a:lnTo>
                  <a:pt x="107" y="162"/>
                </a:lnTo>
                <a:lnTo>
                  <a:pt x="109" y="162"/>
                </a:lnTo>
                <a:lnTo>
                  <a:pt x="110" y="165"/>
                </a:lnTo>
                <a:lnTo>
                  <a:pt x="111" y="168"/>
                </a:lnTo>
                <a:lnTo>
                  <a:pt x="111" y="169"/>
                </a:lnTo>
                <a:lnTo>
                  <a:pt x="116" y="169"/>
                </a:lnTo>
                <a:lnTo>
                  <a:pt x="117" y="171"/>
                </a:lnTo>
                <a:lnTo>
                  <a:pt x="119" y="171"/>
                </a:lnTo>
                <a:lnTo>
                  <a:pt x="119" y="172"/>
                </a:lnTo>
                <a:lnTo>
                  <a:pt x="120" y="173"/>
                </a:lnTo>
                <a:lnTo>
                  <a:pt x="122" y="173"/>
                </a:lnTo>
                <a:lnTo>
                  <a:pt x="123" y="174"/>
                </a:lnTo>
                <a:lnTo>
                  <a:pt x="123" y="175"/>
                </a:lnTo>
                <a:lnTo>
                  <a:pt x="125" y="175"/>
                </a:lnTo>
                <a:lnTo>
                  <a:pt x="124" y="178"/>
                </a:lnTo>
                <a:lnTo>
                  <a:pt x="124" y="177"/>
                </a:lnTo>
                <a:lnTo>
                  <a:pt x="123" y="177"/>
                </a:lnTo>
                <a:lnTo>
                  <a:pt x="123" y="178"/>
                </a:lnTo>
                <a:lnTo>
                  <a:pt x="124" y="178"/>
                </a:lnTo>
                <a:lnTo>
                  <a:pt x="124" y="180"/>
                </a:lnTo>
                <a:lnTo>
                  <a:pt x="122" y="180"/>
                </a:lnTo>
                <a:lnTo>
                  <a:pt x="122" y="178"/>
                </a:lnTo>
                <a:lnTo>
                  <a:pt x="120" y="178"/>
                </a:lnTo>
                <a:lnTo>
                  <a:pt x="120" y="180"/>
                </a:lnTo>
                <a:lnTo>
                  <a:pt x="119" y="181"/>
                </a:lnTo>
                <a:lnTo>
                  <a:pt x="123" y="181"/>
                </a:lnTo>
                <a:lnTo>
                  <a:pt x="123" y="183"/>
                </a:lnTo>
                <a:lnTo>
                  <a:pt x="122" y="183"/>
                </a:lnTo>
                <a:lnTo>
                  <a:pt x="118" y="186"/>
                </a:lnTo>
                <a:lnTo>
                  <a:pt x="116" y="186"/>
                </a:lnTo>
                <a:lnTo>
                  <a:pt x="114" y="185"/>
                </a:lnTo>
                <a:lnTo>
                  <a:pt x="116" y="185"/>
                </a:lnTo>
                <a:lnTo>
                  <a:pt x="116" y="183"/>
                </a:lnTo>
                <a:lnTo>
                  <a:pt x="114" y="183"/>
                </a:lnTo>
                <a:lnTo>
                  <a:pt x="114" y="184"/>
                </a:lnTo>
                <a:lnTo>
                  <a:pt x="113" y="184"/>
                </a:lnTo>
                <a:lnTo>
                  <a:pt x="113" y="185"/>
                </a:lnTo>
                <a:lnTo>
                  <a:pt x="112" y="185"/>
                </a:lnTo>
                <a:lnTo>
                  <a:pt x="109" y="186"/>
                </a:lnTo>
                <a:lnTo>
                  <a:pt x="107" y="187"/>
                </a:lnTo>
                <a:lnTo>
                  <a:pt x="105" y="187"/>
                </a:lnTo>
                <a:lnTo>
                  <a:pt x="104" y="189"/>
                </a:lnTo>
                <a:lnTo>
                  <a:pt x="99" y="189"/>
                </a:lnTo>
                <a:lnTo>
                  <a:pt x="99" y="190"/>
                </a:lnTo>
                <a:lnTo>
                  <a:pt x="97" y="190"/>
                </a:lnTo>
                <a:lnTo>
                  <a:pt x="95" y="189"/>
                </a:lnTo>
                <a:lnTo>
                  <a:pt x="95" y="187"/>
                </a:lnTo>
                <a:lnTo>
                  <a:pt x="94" y="187"/>
                </a:lnTo>
                <a:lnTo>
                  <a:pt x="94" y="184"/>
                </a:lnTo>
                <a:lnTo>
                  <a:pt x="98" y="184"/>
                </a:lnTo>
                <a:lnTo>
                  <a:pt x="98" y="185"/>
                </a:lnTo>
                <a:lnTo>
                  <a:pt x="99" y="185"/>
                </a:lnTo>
                <a:lnTo>
                  <a:pt x="99" y="186"/>
                </a:lnTo>
                <a:lnTo>
                  <a:pt x="100" y="186"/>
                </a:lnTo>
                <a:lnTo>
                  <a:pt x="100" y="185"/>
                </a:lnTo>
                <a:lnTo>
                  <a:pt x="99" y="185"/>
                </a:lnTo>
                <a:lnTo>
                  <a:pt x="100" y="184"/>
                </a:lnTo>
                <a:lnTo>
                  <a:pt x="101" y="185"/>
                </a:lnTo>
                <a:lnTo>
                  <a:pt x="103" y="184"/>
                </a:lnTo>
                <a:lnTo>
                  <a:pt x="104" y="184"/>
                </a:lnTo>
                <a:lnTo>
                  <a:pt x="109" y="181"/>
                </a:lnTo>
                <a:lnTo>
                  <a:pt x="109" y="180"/>
                </a:lnTo>
                <a:lnTo>
                  <a:pt x="107" y="180"/>
                </a:lnTo>
                <a:lnTo>
                  <a:pt x="105" y="183"/>
                </a:lnTo>
                <a:lnTo>
                  <a:pt x="103" y="183"/>
                </a:lnTo>
                <a:lnTo>
                  <a:pt x="101" y="181"/>
                </a:lnTo>
                <a:lnTo>
                  <a:pt x="101" y="180"/>
                </a:lnTo>
                <a:lnTo>
                  <a:pt x="104" y="178"/>
                </a:lnTo>
                <a:lnTo>
                  <a:pt x="104" y="177"/>
                </a:lnTo>
                <a:lnTo>
                  <a:pt x="105" y="175"/>
                </a:lnTo>
                <a:lnTo>
                  <a:pt x="106" y="175"/>
                </a:lnTo>
                <a:lnTo>
                  <a:pt x="109" y="174"/>
                </a:lnTo>
                <a:lnTo>
                  <a:pt x="110" y="174"/>
                </a:lnTo>
                <a:lnTo>
                  <a:pt x="110" y="172"/>
                </a:lnTo>
                <a:lnTo>
                  <a:pt x="109" y="172"/>
                </a:lnTo>
                <a:lnTo>
                  <a:pt x="106" y="173"/>
                </a:lnTo>
                <a:lnTo>
                  <a:pt x="105" y="173"/>
                </a:lnTo>
                <a:lnTo>
                  <a:pt x="105" y="174"/>
                </a:lnTo>
                <a:lnTo>
                  <a:pt x="104" y="173"/>
                </a:lnTo>
                <a:lnTo>
                  <a:pt x="104" y="172"/>
                </a:lnTo>
                <a:lnTo>
                  <a:pt x="101" y="169"/>
                </a:lnTo>
                <a:lnTo>
                  <a:pt x="97" y="169"/>
                </a:lnTo>
                <a:lnTo>
                  <a:pt x="97" y="168"/>
                </a:lnTo>
                <a:lnTo>
                  <a:pt x="95" y="168"/>
                </a:lnTo>
                <a:lnTo>
                  <a:pt x="98" y="166"/>
                </a:lnTo>
                <a:lnTo>
                  <a:pt x="97" y="166"/>
                </a:lnTo>
                <a:lnTo>
                  <a:pt x="97" y="163"/>
                </a:lnTo>
                <a:lnTo>
                  <a:pt x="98" y="163"/>
                </a:lnTo>
                <a:lnTo>
                  <a:pt x="99" y="162"/>
                </a:lnTo>
                <a:lnTo>
                  <a:pt x="99" y="163"/>
                </a:lnTo>
                <a:lnTo>
                  <a:pt x="100" y="163"/>
                </a:lnTo>
                <a:lnTo>
                  <a:pt x="100" y="161"/>
                </a:lnTo>
                <a:lnTo>
                  <a:pt x="101" y="161"/>
                </a:lnTo>
                <a:lnTo>
                  <a:pt x="104" y="160"/>
                </a:lnTo>
                <a:close/>
                <a:moveTo>
                  <a:pt x="88" y="158"/>
                </a:moveTo>
                <a:lnTo>
                  <a:pt x="91" y="158"/>
                </a:lnTo>
                <a:lnTo>
                  <a:pt x="91" y="159"/>
                </a:lnTo>
                <a:lnTo>
                  <a:pt x="89" y="159"/>
                </a:lnTo>
                <a:lnTo>
                  <a:pt x="89" y="161"/>
                </a:lnTo>
                <a:lnTo>
                  <a:pt x="88" y="161"/>
                </a:lnTo>
                <a:lnTo>
                  <a:pt x="88" y="162"/>
                </a:lnTo>
                <a:lnTo>
                  <a:pt x="87" y="162"/>
                </a:lnTo>
                <a:lnTo>
                  <a:pt x="86" y="165"/>
                </a:lnTo>
                <a:lnTo>
                  <a:pt x="83" y="166"/>
                </a:lnTo>
                <a:lnTo>
                  <a:pt x="81" y="166"/>
                </a:lnTo>
                <a:lnTo>
                  <a:pt x="81" y="167"/>
                </a:lnTo>
                <a:lnTo>
                  <a:pt x="80" y="166"/>
                </a:lnTo>
                <a:lnTo>
                  <a:pt x="80" y="165"/>
                </a:lnTo>
                <a:lnTo>
                  <a:pt x="81" y="165"/>
                </a:lnTo>
                <a:lnTo>
                  <a:pt x="85" y="161"/>
                </a:lnTo>
                <a:lnTo>
                  <a:pt x="85" y="160"/>
                </a:lnTo>
                <a:lnTo>
                  <a:pt x="86" y="159"/>
                </a:lnTo>
                <a:lnTo>
                  <a:pt x="87" y="159"/>
                </a:lnTo>
                <a:lnTo>
                  <a:pt x="88" y="158"/>
                </a:lnTo>
                <a:close/>
                <a:moveTo>
                  <a:pt x="129" y="156"/>
                </a:moveTo>
                <a:lnTo>
                  <a:pt x="125" y="158"/>
                </a:lnTo>
                <a:lnTo>
                  <a:pt x="128" y="158"/>
                </a:lnTo>
                <a:lnTo>
                  <a:pt x="129" y="156"/>
                </a:lnTo>
                <a:close/>
                <a:moveTo>
                  <a:pt x="94" y="129"/>
                </a:moveTo>
                <a:lnTo>
                  <a:pt x="97" y="129"/>
                </a:lnTo>
                <a:lnTo>
                  <a:pt x="99" y="131"/>
                </a:lnTo>
                <a:lnTo>
                  <a:pt x="99" y="135"/>
                </a:lnTo>
                <a:lnTo>
                  <a:pt x="98" y="137"/>
                </a:lnTo>
                <a:lnTo>
                  <a:pt x="97" y="137"/>
                </a:lnTo>
                <a:lnTo>
                  <a:pt x="95" y="138"/>
                </a:lnTo>
                <a:lnTo>
                  <a:pt x="94" y="137"/>
                </a:lnTo>
                <a:lnTo>
                  <a:pt x="94" y="136"/>
                </a:lnTo>
                <a:lnTo>
                  <a:pt x="91" y="132"/>
                </a:lnTo>
                <a:lnTo>
                  <a:pt x="94" y="129"/>
                </a:lnTo>
                <a:close/>
                <a:moveTo>
                  <a:pt x="49" y="129"/>
                </a:moveTo>
                <a:lnTo>
                  <a:pt x="50" y="129"/>
                </a:lnTo>
                <a:lnTo>
                  <a:pt x="50" y="130"/>
                </a:lnTo>
                <a:lnTo>
                  <a:pt x="49" y="131"/>
                </a:lnTo>
                <a:lnTo>
                  <a:pt x="50" y="132"/>
                </a:lnTo>
                <a:lnTo>
                  <a:pt x="51" y="132"/>
                </a:lnTo>
                <a:lnTo>
                  <a:pt x="51" y="135"/>
                </a:lnTo>
                <a:lnTo>
                  <a:pt x="50" y="135"/>
                </a:lnTo>
                <a:lnTo>
                  <a:pt x="50" y="136"/>
                </a:lnTo>
                <a:lnTo>
                  <a:pt x="49" y="136"/>
                </a:lnTo>
                <a:lnTo>
                  <a:pt x="49" y="137"/>
                </a:lnTo>
                <a:lnTo>
                  <a:pt x="48" y="137"/>
                </a:lnTo>
                <a:lnTo>
                  <a:pt x="48" y="138"/>
                </a:lnTo>
                <a:lnTo>
                  <a:pt x="45" y="137"/>
                </a:lnTo>
                <a:lnTo>
                  <a:pt x="44" y="137"/>
                </a:lnTo>
                <a:lnTo>
                  <a:pt x="44" y="136"/>
                </a:lnTo>
                <a:lnTo>
                  <a:pt x="47" y="134"/>
                </a:lnTo>
                <a:lnTo>
                  <a:pt x="45" y="134"/>
                </a:lnTo>
                <a:lnTo>
                  <a:pt x="45" y="132"/>
                </a:lnTo>
                <a:lnTo>
                  <a:pt x="47" y="131"/>
                </a:lnTo>
                <a:lnTo>
                  <a:pt x="48" y="131"/>
                </a:lnTo>
                <a:lnTo>
                  <a:pt x="49" y="129"/>
                </a:lnTo>
                <a:close/>
                <a:moveTo>
                  <a:pt x="86" y="128"/>
                </a:moveTo>
                <a:lnTo>
                  <a:pt x="87" y="128"/>
                </a:lnTo>
                <a:lnTo>
                  <a:pt x="88" y="129"/>
                </a:lnTo>
                <a:lnTo>
                  <a:pt x="87" y="130"/>
                </a:lnTo>
                <a:lnTo>
                  <a:pt x="86" y="130"/>
                </a:lnTo>
                <a:lnTo>
                  <a:pt x="85" y="129"/>
                </a:lnTo>
                <a:lnTo>
                  <a:pt x="86" y="128"/>
                </a:lnTo>
                <a:close/>
                <a:moveTo>
                  <a:pt x="131" y="124"/>
                </a:moveTo>
                <a:lnTo>
                  <a:pt x="130" y="125"/>
                </a:lnTo>
                <a:lnTo>
                  <a:pt x="135" y="125"/>
                </a:lnTo>
                <a:lnTo>
                  <a:pt x="135" y="124"/>
                </a:lnTo>
                <a:lnTo>
                  <a:pt x="131" y="124"/>
                </a:lnTo>
                <a:close/>
                <a:moveTo>
                  <a:pt x="110" y="109"/>
                </a:moveTo>
                <a:lnTo>
                  <a:pt x="112" y="109"/>
                </a:lnTo>
                <a:lnTo>
                  <a:pt x="113" y="110"/>
                </a:lnTo>
                <a:lnTo>
                  <a:pt x="113" y="111"/>
                </a:lnTo>
                <a:lnTo>
                  <a:pt x="111" y="111"/>
                </a:lnTo>
                <a:lnTo>
                  <a:pt x="110" y="110"/>
                </a:lnTo>
                <a:lnTo>
                  <a:pt x="110" y="109"/>
                </a:lnTo>
                <a:close/>
                <a:moveTo>
                  <a:pt x="103" y="101"/>
                </a:moveTo>
                <a:lnTo>
                  <a:pt x="101" y="103"/>
                </a:lnTo>
                <a:lnTo>
                  <a:pt x="103" y="103"/>
                </a:lnTo>
                <a:lnTo>
                  <a:pt x="103" y="101"/>
                </a:lnTo>
                <a:close/>
                <a:moveTo>
                  <a:pt x="52" y="101"/>
                </a:moveTo>
                <a:lnTo>
                  <a:pt x="56" y="104"/>
                </a:lnTo>
                <a:lnTo>
                  <a:pt x="56" y="105"/>
                </a:lnTo>
                <a:lnTo>
                  <a:pt x="55" y="104"/>
                </a:lnTo>
                <a:lnTo>
                  <a:pt x="55" y="105"/>
                </a:lnTo>
                <a:lnTo>
                  <a:pt x="56" y="105"/>
                </a:lnTo>
                <a:lnTo>
                  <a:pt x="57" y="106"/>
                </a:lnTo>
                <a:lnTo>
                  <a:pt x="58" y="106"/>
                </a:lnTo>
                <a:lnTo>
                  <a:pt x="58" y="107"/>
                </a:lnTo>
                <a:lnTo>
                  <a:pt x="56" y="107"/>
                </a:lnTo>
                <a:lnTo>
                  <a:pt x="52" y="104"/>
                </a:lnTo>
                <a:lnTo>
                  <a:pt x="52" y="103"/>
                </a:lnTo>
                <a:lnTo>
                  <a:pt x="51" y="104"/>
                </a:lnTo>
                <a:lnTo>
                  <a:pt x="51" y="105"/>
                </a:lnTo>
                <a:lnTo>
                  <a:pt x="52" y="106"/>
                </a:lnTo>
                <a:lnTo>
                  <a:pt x="54" y="106"/>
                </a:lnTo>
                <a:lnTo>
                  <a:pt x="55" y="107"/>
                </a:lnTo>
                <a:lnTo>
                  <a:pt x="56" y="107"/>
                </a:lnTo>
                <a:lnTo>
                  <a:pt x="58" y="110"/>
                </a:lnTo>
                <a:lnTo>
                  <a:pt x="60" y="110"/>
                </a:lnTo>
                <a:lnTo>
                  <a:pt x="60" y="111"/>
                </a:lnTo>
                <a:lnTo>
                  <a:pt x="58" y="111"/>
                </a:lnTo>
                <a:lnTo>
                  <a:pt x="57" y="112"/>
                </a:lnTo>
                <a:lnTo>
                  <a:pt x="57" y="115"/>
                </a:lnTo>
                <a:lnTo>
                  <a:pt x="56" y="116"/>
                </a:lnTo>
                <a:lnTo>
                  <a:pt x="52" y="115"/>
                </a:lnTo>
                <a:lnTo>
                  <a:pt x="55" y="116"/>
                </a:lnTo>
                <a:lnTo>
                  <a:pt x="56" y="117"/>
                </a:lnTo>
                <a:lnTo>
                  <a:pt x="56" y="118"/>
                </a:lnTo>
                <a:lnTo>
                  <a:pt x="57" y="119"/>
                </a:lnTo>
                <a:lnTo>
                  <a:pt x="56" y="120"/>
                </a:lnTo>
                <a:lnTo>
                  <a:pt x="56" y="123"/>
                </a:lnTo>
                <a:lnTo>
                  <a:pt x="57" y="123"/>
                </a:lnTo>
                <a:lnTo>
                  <a:pt x="57" y="124"/>
                </a:lnTo>
                <a:lnTo>
                  <a:pt x="58" y="124"/>
                </a:lnTo>
                <a:lnTo>
                  <a:pt x="57" y="125"/>
                </a:lnTo>
                <a:lnTo>
                  <a:pt x="52" y="125"/>
                </a:lnTo>
                <a:lnTo>
                  <a:pt x="51" y="124"/>
                </a:lnTo>
                <a:lnTo>
                  <a:pt x="51" y="123"/>
                </a:lnTo>
                <a:lnTo>
                  <a:pt x="50" y="119"/>
                </a:lnTo>
                <a:lnTo>
                  <a:pt x="50" y="117"/>
                </a:lnTo>
                <a:lnTo>
                  <a:pt x="49" y="116"/>
                </a:lnTo>
                <a:lnTo>
                  <a:pt x="49" y="113"/>
                </a:lnTo>
                <a:lnTo>
                  <a:pt x="50" y="112"/>
                </a:lnTo>
                <a:lnTo>
                  <a:pt x="50" y="110"/>
                </a:lnTo>
                <a:lnTo>
                  <a:pt x="51" y="110"/>
                </a:lnTo>
                <a:lnTo>
                  <a:pt x="51" y="109"/>
                </a:lnTo>
                <a:lnTo>
                  <a:pt x="50" y="106"/>
                </a:lnTo>
                <a:lnTo>
                  <a:pt x="50" y="103"/>
                </a:lnTo>
                <a:lnTo>
                  <a:pt x="52" y="101"/>
                </a:lnTo>
                <a:close/>
                <a:moveTo>
                  <a:pt x="51" y="95"/>
                </a:moveTo>
                <a:lnTo>
                  <a:pt x="56" y="95"/>
                </a:lnTo>
                <a:lnTo>
                  <a:pt x="56" y="97"/>
                </a:lnTo>
                <a:lnTo>
                  <a:pt x="58" y="97"/>
                </a:lnTo>
                <a:lnTo>
                  <a:pt x="60" y="98"/>
                </a:lnTo>
                <a:lnTo>
                  <a:pt x="56" y="98"/>
                </a:lnTo>
                <a:lnTo>
                  <a:pt x="57" y="99"/>
                </a:lnTo>
                <a:lnTo>
                  <a:pt x="58" y="99"/>
                </a:lnTo>
                <a:lnTo>
                  <a:pt x="58" y="100"/>
                </a:lnTo>
                <a:lnTo>
                  <a:pt x="55" y="101"/>
                </a:lnTo>
                <a:lnTo>
                  <a:pt x="54" y="101"/>
                </a:lnTo>
                <a:lnTo>
                  <a:pt x="51" y="99"/>
                </a:lnTo>
                <a:lnTo>
                  <a:pt x="50" y="99"/>
                </a:lnTo>
                <a:lnTo>
                  <a:pt x="50" y="97"/>
                </a:lnTo>
                <a:lnTo>
                  <a:pt x="51" y="95"/>
                </a:lnTo>
                <a:close/>
                <a:moveTo>
                  <a:pt x="109" y="94"/>
                </a:moveTo>
                <a:lnTo>
                  <a:pt x="111" y="94"/>
                </a:lnTo>
                <a:lnTo>
                  <a:pt x="111" y="95"/>
                </a:lnTo>
                <a:lnTo>
                  <a:pt x="109" y="100"/>
                </a:lnTo>
                <a:lnTo>
                  <a:pt x="109" y="103"/>
                </a:lnTo>
                <a:lnTo>
                  <a:pt x="110" y="104"/>
                </a:lnTo>
                <a:lnTo>
                  <a:pt x="110" y="107"/>
                </a:lnTo>
                <a:lnTo>
                  <a:pt x="107" y="107"/>
                </a:lnTo>
                <a:lnTo>
                  <a:pt x="107" y="106"/>
                </a:lnTo>
                <a:lnTo>
                  <a:pt x="106" y="106"/>
                </a:lnTo>
                <a:lnTo>
                  <a:pt x="106" y="105"/>
                </a:lnTo>
                <a:lnTo>
                  <a:pt x="107" y="99"/>
                </a:lnTo>
                <a:lnTo>
                  <a:pt x="107" y="98"/>
                </a:lnTo>
                <a:lnTo>
                  <a:pt x="109" y="98"/>
                </a:lnTo>
                <a:lnTo>
                  <a:pt x="109" y="94"/>
                </a:lnTo>
                <a:close/>
                <a:moveTo>
                  <a:pt x="111" y="88"/>
                </a:moveTo>
                <a:lnTo>
                  <a:pt x="112" y="88"/>
                </a:lnTo>
                <a:lnTo>
                  <a:pt x="111" y="92"/>
                </a:lnTo>
                <a:lnTo>
                  <a:pt x="111" y="93"/>
                </a:lnTo>
                <a:lnTo>
                  <a:pt x="110" y="92"/>
                </a:lnTo>
                <a:lnTo>
                  <a:pt x="111" y="91"/>
                </a:lnTo>
                <a:lnTo>
                  <a:pt x="111" y="88"/>
                </a:lnTo>
                <a:close/>
                <a:moveTo>
                  <a:pt x="56" y="88"/>
                </a:moveTo>
                <a:lnTo>
                  <a:pt x="55" y="91"/>
                </a:lnTo>
                <a:lnTo>
                  <a:pt x="57" y="91"/>
                </a:lnTo>
                <a:lnTo>
                  <a:pt x="57" y="88"/>
                </a:lnTo>
                <a:lnTo>
                  <a:pt x="56" y="88"/>
                </a:lnTo>
                <a:close/>
                <a:moveTo>
                  <a:pt x="54" y="80"/>
                </a:moveTo>
                <a:lnTo>
                  <a:pt x="54" y="81"/>
                </a:lnTo>
                <a:lnTo>
                  <a:pt x="56" y="82"/>
                </a:lnTo>
                <a:lnTo>
                  <a:pt x="56" y="81"/>
                </a:lnTo>
                <a:lnTo>
                  <a:pt x="57" y="81"/>
                </a:lnTo>
                <a:lnTo>
                  <a:pt x="58" y="80"/>
                </a:lnTo>
                <a:lnTo>
                  <a:pt x="61" y="80"/>
                </a:lnTo>
                <a:lnTo>
                  <a:pt x="61" y="81"/>
                </a:lnTo>
                <a:lnTo>
                  <a:pt x="60" y="82"/>
                </a:lnTo>
                <a:lnTo>
                  <a:pt x="64" y="82"/>
                </a:lnTo>
                <a:lnTo>
                  <a:pt x="64" y="85"/>
                </a:lnTo>
                <a:lnTo>
                  <a:pt x="63" y="86"/>
                </a:lnTo>
                <a:lnTo>
                  <a:pt x="62" y="85"/>
                </a:lnTo>
                <a:lnTo>
                  <a:pt x="61" y="85"/>
                </a:lnTo>
                <a:lnTo>
                  <a:pt x="61" y="83"/>
                </a:lnTo>
                <a:lnTo>
                  <a:pt x="60" y="83"/>
                </a:lnTo>
                <a:lnTo>
                  <a:pt x="60" y="86"/>
                </a:lnTo>
                <a:lnTo>
                  <a:pt x="61" y="86"/>
                </a:lnTo>
                <a:lnTo>
                  <a:pt x="61" y="87"/>
                </a:lnTo>
                <a:lnTo>
                  <a:pt x="63" y="87"/>
                </a:lnTo>
                <a:lnTo>
                  <a:pt x="61" y="89"/>
                </a:lnTo>
                <a:lnTo>
                  <a:pt x="58" y="89"/>
                </a:lnTo>
                <a:lnTo>
                  <a:pt x="58" y="91"/>
                </a:lnTo>
                <a:lnTo>
                  <a:pt x="62" y="91"/>
                </a:lnTo>
                <a:lnTo>
                  <a:pt x="62" y="92"/>
                </a:lnTo>
                <a:lnTo>
                  <a:pt x="61" y="93"/>
                </a:lnTo>
                <a:lnTo>
                  <a:pt x="58" y="93"/>
                </a:lnTo>
                <a:lnTo>
                  <a:pt x="57" y="94"/>
                </a:lnTo>
                <a:lnTo>
                  <a:pt x="57" y="93"/>
                </a:lnTo>
                <a:lnTo>
                  <a:pt x="55" y="94"/>
                </a:lnTo>
                <a:lnTo>
                  <a:pt x="55" y="93"/>
                </a:lnTo>
                <a:lnTo>
                  <a:pt x="54" y="93"/>
                </a:lnTo>
                <a:lnTo>
                  <a:pt x="54" y="91"/>
                </a:lnTo>
                <a:lnTo>
                  <a:pt x="52" y="91"/>
                </a:lnTo>
                <a:lnTo>
                  <a:pt x="50" y="88"/>
                </a:lnTo>
                <a:lnTo>
                  <a:pt x="49" y="88"/>
                </a:lnTo>
                <a:lnTo>
                  <a:pt x="49" y="89"/>
                </a:lnTo>
                <a:lnTo>
                  <a:pt x="48" y="89"/>
                </a:lnTo>
                <a:lnTo>
                  <a:pt x="48" y="88"/>
                </a:lnTo>
                <a:lnTo>
                  <a:pt x="47" y="88"/>
                </a:lnTo>
                <a:lnTo>
                  <a:pt x="44" y="87"/>
                </a:lnTo>
                <a:lnTo>
                  <a:pt x="47" y="85"/>
                </a:lnTo>
                <a:lnTo>
                  <a:pt x="47" y="83"/>
                </a:lnTo>
                <a:lnTo>
                  <a:pt x="48" y="81"/>
                </a:lnTo>
                <a:lnTo>
                  <a:pt x="49" y="82"/>
                </a:lnTo>
                <a:lnTo>
                  <a:pt x="51" y="81"/>
                </a:lnTo>
                <a:lnTo>
                  <a:pt x="51" y="82"/>
                </a:lnTo>
                <a:lnTo>
                  <a:pt x="50" y="82"/>
                </a:lnTo>
                <a:lnTo>
                  <a:pt x="51" y="83"/>
                </a:lnTo>
                <a:lnTo>
                  <a:pt x="52" y="82"/>
                </a:lnTo>
                <a:lnTo>
                  <a:pt x="54" y="80"/>
                </a:lnTo>
                <a:close/>
                <a:moveTo>
                  <a:pt x="95" y="79"/>
                </a:moveTo>
                <a:lnTo>
                  <a:pt x="97" y="79"/>
                </a:lnTo>
                <a:lnTo>
                  <a:pt x="100" y="82"/>
                </a:lnTo>
                <a:lnTo>
                  <a:pt x="100" y="83"/>
                </a:lnTo>
                <a:lnTo>
                  <a:pt x="103" y="86"/>
                </a:lnTo>
                <a:lnTo>
                  <a:pt x="103" y="87"/>
                </a:lnTo>
                <a:lnTo>
                  <a:pt x="104" y="87"/>
                </a:lnTo>
                <a:lnTo>
                  <a:pt x="104" y="101"/>
                </a:lnTo>
                <a:lnTo>
                  <a:pt x="105" y="101"/>
                </a:lnTo>
                <a:lnTo>
                  <a:pt x="105" y="103"/>
                </a:lnTo>
                <a:lnTo>
                  <a:pt x="104" y="104"/>
                </a:lnTo>
                <a:lnTo>
                  <a:pt x="104" y="105"/>
                </a:lnTo>
                <a:lnTo>
                  <a:pt x="105" y="106"/>
                </a:lnTo>
                <a:lnTo>
                  <a:pt x="105" y="107"/>
                </a:lnTo>
                <a:lnTo>
                  <a:pt x="106" y="107"/>
                </a:lnTo>
                <a:lnTo>
                  <a:pt x="105" y="109"/>
                </a:lnTo>
                <a:lnTo>
                  <a:pt x="104" y="109"/>
                </a:lnTo>
                <a:lnTo>
                  <a:pt x="104" y="110"/>
                </a:lnTo>
                <a:lnTo>
                  <a:pt x="107" y="109"/>
                </a:lnTo>
                <a:lnTo>
                  <a:pt x="107" y="110"/>
                </a:lnTo>
                <a:lnTo>
                  <a:pt x="109" y="110"/>
                </a:lnTo>
                <a:lnTo>
                  <a:pt x="107" y="111"/>
                </a:lnTo>
                <a:lnTo>
                  <a:pt x="106" y="111"/>
                </a:lnTo>
                <a:lnTo>
                  <a:pt x="106" y="112"/>
                </a:lnTo>
                <a:lnTo>
                  <a:pt x="107" y="112"/>
                </a:lnTo>
                <a:lnTo>
                  <a:pt x="109" y="111"/>
                </a:lnTo>
                <a:lnTo>
                  <a:pt x="110" y="111"/>
                </a:lnTo>
                <a:lnTo>
                  <a:pt x="111" y="112"/>
                </a:lnTo>
                <a:lnTo>
                  <a:pt x="113" y="112"/>
                </a:lnTo>
                <a:lnTo>
                  <a:pt x="113" y="115"/>
                </a:lnTo>
                <a:lnTo>
                  <a:pt x="114" y="115"/>
                </a:lnTo>
                <a:lnTo>
                  <a:pt x="116" y="113"/>
                </a:lnTo>
                <a:lnTo>
                  <a:pt x="117" y="113"/>
                </a:lnTo>
                <a:lnTo>
                  <a:pt x="118" y="112"/>
                </a:lnTo>
                <a:lnTo>
                  <a:pt x="120" y="112"/>
                </a:lnTo>
                <a:lnTo>
                  <a:pt x="122" y="113"/>
                </a:lnTo>
                <a:lnTo>
                  <a:pt x="125" y="113"/>
                </a:lnTo>
                <a:lnTo>
                  <a:pt x="124" y="115"/>
                </a:lnTo>
                <a:lnTo>
                  <a:pt x="124" y="117"/>
                </a:lnTo>
                <a:lnTo>
                  <a:pt x="123" y="118"/>
                </a:lnTo>
                <a:lnTo>
                  <a:pt x="122" y="120"/>
                </a:lnTo>
                <a:lnTo>
                  <a:pt x="119" y="120"/>
                </a:lnTo>
                <a:lnTo>
                  <a:pt x="118" y="123"/>
                </a:lnTo>
                <a:lnTo>
                  <a:pt x="118" y="124"/>
                </a:lnTo>
                <a:lnTo>
                  <a:pt x="117" y="124"/>
                </a:lnTo>
                <a:lnTo>
                  <a:pt x="117" y="125"/>
                </a:lnTo>
                <a:lnTo>
                  <a:pt x="116" y="125"/>
                </a:lnTo>
                <a:lnTo>
                  <a:pt x="116" y="126"/>
                </a:lnTo>
                <a:lnTo>
                  <a:pt x="112" y="130"/>
                </a:lnTo>
                <a:lnTo>
                  <a:pt x="112" y="131"/>
                </a:lnTo>
                <a:lnTo>
                  <a:pt x="109" y="131"/>
                </a:lnTo>
                <a:lnTo>
                  <a:pt x="109" y="129"/>
                </a:lnTo>
                <a:lnTo>
                  <a:pt x="110" y="126"/>
                </a:lnTo>
                <a:lnTo>
                  <a:pt x="110" y="124"/>
                </a:lnTo>
                <a:lnTo>
                  <a:pt x="111" y="124"/>
                </a:lnTo>
                <a:lnTo>
                  <a:pt x="111" y="123"/>
                </a:lnTo>
                <a:lnTo>
                  <a:pt x="112" y="122"/>
                </a:lnTo>
                <a:lnTo>
                  <a:pt x="117" y="119"/>
                </a:lnTo>
                <a:lnTo>
                  <a:pt x="110" y="119"/>
                </a:lnTo>
                <a:lnTo>
                  <a:pt x="110" y="118"/>
                </a:lnTo>
                <a:lnTo>
                  <a:pt x="109" y="117"/>
                </a:lnTo>
                <a:lnTo>
                  <a:pt x="109" y="119"/>
                </a:lnTo>
                <a:lnTo>
                  <a:pt x="107" y="120"/>
                </a:lnTo>
                <a:lnTo>
                  <a:pt x="109" y="120"/>
                </a:lnTo>
                <a:lnTo>
                  <a:pt x="107" y="122"/>
                </a:lnTo>
                <a:lnTo>
                  <a:pt x="107" y="123"/>
                </a:lnTo>
                <a:lnTo>
                  <a:pt x="105" y="123"/>
                </a:lnTo>
                <a:lnTo>
                  <a:pt x="105" y="118"/>
                </a:lnTo>
                <a:lnTo>
                  <a:pt x="103" y="118"/>
                </a:lnTo>
                <a:lnTo>
                  <a:pt x="103" y="119"/>
                </a:lnTo>
                <a:lnTo>
                  <a:pt x="97" y="120"/>
                </a:lnTo>
                <a:lnTo>
                  <a:pt x="97" y="119"/>
                </a:lnTo>
                <a:lnTo>
                  <a:pt x="98" y="118"/>
                </a:lnTo>
                <a:lnTo>
                  <a:pt x="95" y="118"/>
                </a:lnTo>
                <a:lnTo>
                  <a:pt x="95" y="119"/>
                </a:lnTo>
                <a:lnTo>
                  <a:pt x="94" y="117"/>
                </a:lnTo>
                <a:lnTo>
                  <a:pt x="94" y="116"/>
                </a:lnTo>
                <a:lnTo>
                  <a:pt x="95" y="115"/>
                </a:lnTo>
                <a:lnTo>
                  <a:pt x="93" y="115"/>
                </a:lnTo>
                <a:lnTo>
                  <a:pt x="91" y="112"/>
                </a:lnTo>
                <a:lnTo>
                  <a:pt x="91" y="111"/>
                </a:lnTo>
                <a:lnTo>
                  <a:pt x="89" y="110"/>
                </a:lnTo>
                <a:lnTo>
                  <a:pt x="89" y="109"/>
                </a:lnTo>
                <a:lnTo>
                  <a:pt x="92" y="107"/>
                </a:lnTo>
                <a:lnTo>
                  <a:pt x="93" y="107"/>
                </a:lnTo>
                <a:lnTo>
                  <a:pt x="95" y="110"/>
                </a:lnTo>
                <a:lnTo>
                  <a:pt x="97" y="110"/>
                </a:lnTo>
                <a:lnTo>
                  <a:pt x="97" y="109"/>
                </a:lnTo>
                <a:lnTo>
                  <a:pt x="93" y="107"/>
                </a:lnTo>
                <a:lnTo>
                  <a:pt x="93" y="106"/>
                </a:lnTo>
                <a:lnTo>
                  <a:pt x="91" y="106"/>
                </a:lnTo>
                <a:lnTo>
                  <a:pt x="91" y="104"/>
                </a:lnTo>
                <a:lnTo>
                  <a:pt x="89" y="104"/>
                </a:lnTo>
                <a:lnTo>
                  <a:pt x="89" y="103"/>
                </a:lnTo>
                <a:lnTo>
                  <a:pt x="88" y="104"/>
                </a:lnTo>
                <a:lnTo>
                  <a:pt x="88" y="101"/>
                </a:lnTo>
                <a:lnTo>
                  <a:pt x="87" y="101"/>
                </a:lnTo>
                <a:lnTo>
                  <a:pt x="87" y="103"/>
                </a:lnTo>
                <a:lnTo>
                  <a:pt x="86" y="103"/>
                </a:lnTo>
                <a:lnTo>
                  <a:pt x="86" y="107"/>
                </a:lnTo>
                <a:lnTo>
                  <a:pt x="81" y="106"/>
                </a:lnTo>
                <a:lnTo>
                  <a:pt x="80" y="105"/>
                </a:lnTo>
                <a:lnTo>
                  <a:pt x="80" y="104"/>
                </a:lnTo>
                <a:lnTo>
                  <a:pt x="79" y="103"/>
                </a:lnTo>
                <a:lnTo>
                  <a:pt x="79" y="101"/>
                </a:lnTo>
                <a:lnTo>
                  <a:pt x="78" y="99"/>
                </a:lnTo>
                <a:lnTo>
                  <a:pt x="76" y="98"/>
                </a:lnTo>
                <a:lnTo>
                  <a:pt x="79" y="98"/>
                </a:lnTo>
                <a:lnTo>
                  <a:pt x="79" y="93"/>
                </a:lnTo>
                <a:lnTo>
                  <a:pt x="80" y="93"/>
                </a:lnTo>
                <a:lnTo>
                  <a:pt x="82" y="97"/>
                </a:lnTo>
                <a:lnTo>
                  <a:pt x="82" y="98"/>
                </a:lnTo>
                <a:lnTo>
                  <a:pt x="83" y="99"/>
                </a:lnTo>
                <a:lnTo>
                  <a:pt x="85" y="99"/>
                </a:lnTo>
                <a:lnTo>
                  <a:pt x="83" y="98"/>
                </a:lnTo>
                <a:lnTo>
                  <a:pt x="85" y="97"/>
                </a:lnTo>
                <a:lnTo>
                  <a:pt x="83" y="95"/>
                </a:lnTo>
                <a:lnTo>
                  <a:pt x="83" y="93"/>
                </a:lnTo>
                <a:lnTo>
                  <a:pt x="85" y="93"/>
                </a:lnTo>
                <a:lnTo>
                  <a:pt x="86" y="94"/>
                </a:lnTo>
                <a:lnTo>
                  <a:pt x="86" y="93"/>
                </a:lnTo>
                <a:lnTo>
                  <a:pt x="83" y="91"/>
                </a:lnTo>
                <a:lnTo>
                  <a:pt x="82" y="91"/>
                </a:lnTo>
                <a:lnTo>
                  <a:pt x="82" y="89"/>
                </a:lnTo>
                <a:lnTo>
                  <a:pt x="83" y="88"/>
                </a:lnTo>
                <a:lnTo>
                  <a:pt x="83" y="87"/>
                </a:lnTo>
                <a:lnTo>
                  <a:pt x="82" y="87"/>
                </a:lnTo>
                <a:lnTo>
                  <a:pt x="82" y="86"/>
                </a:lnTo>
                <a:lnTo>
                  <a:pt x="83" y="86"/>
                </a:lnTo>
                <a:lnTo>
                  <a:pt x="86" y="88"/>
                </a:lnTo>
                <a:lnTo>
                  <a:pt x="86" y="91"/>
                </a:lnTo>
                <a:lnTo>
                  <a:pt x="87" y="91"/>
                </a:lnTo>
                <a:lnTo>
                  <a:pt x="88" y="92"/>
                </a:lnTo>
                <a:lnTo>
                  <a:pt x="89" y="92"/>
                </a:lnTo>
                <a:lnTo>
                  <a:pt x="89" y="93"/>
                </a:lnTo>
                <a:lnTo>
                  <a:pt x="92" y="93"/>
                </a:lnTo>
                <a:lnTo>
                  <a:pt x="91" y="95"/>
                </a:lnTo>
                <a:lnTo>
                  <a:pt x="92" y="95"/>
                </a:lnTo>
                <a:lnTo>
                  <a:pt x="92" y="94"/>
                </a:lnTo>
                <a:lnTo>
                  <a:pt x="93" y="93"/>
                </a:lnTo>
                <a:lnTo>
                  <a:pt x="97" y="98"/>
                </a:lnTo>
                <a:lnTo>
                  <a:pt x="97" y="94"/>
                </a:lnTo>
                <a:lnTo>
                  <a:pt x="93" y="91"/>
                </a:lnTo>
                <a:lnTo>
                  <a:pt x="93" y="89"/>
                </a:lnTo>
                <a:lnTo>
                  <a:pt x="94" y="88"/>
                </a:lnTo>
                <a:lnTo>
                  <a:pt x="94" y="87"/>
                </a:lnTo>
                <a:lnTo>
                  <a:pt x="93" y="87"/>
                </a:lnTo>
                <a:lnTo>
                  <a:pt x="93" y="85"/>
                </a:lnTo>
                <a:lnTo>
                  <a:pt x="92" y="83"/>
                </a:lnTo>
                <a:lnTo>
                  <a:pt x="92" y="82"/>
                </a:lnTo>
                <a:lnTo>
                  <a:pt x="93" y="82"/>
                </a:lnTo>
                <a:lnTo>
                  <a:pt x="95" y="80"/>
                </a:lnTo>
                <a:lnTo>
                  <a:pt x="95" y="79"/>
                </a:lnTo>
                <a:close/>
                <a:moveTo>
                  <a:pt x="61" y="75"/>
                </a:moveTo>
                <a:lnTo>
                  <a:pt x="61" y="77"/>
                </a:lnTo>
                <a:lnTo>
                  <a:pt x="58" y="77"/>
                </a:lnTo>
                <a:lnTo>
                  <a:pt x="61" y="75"/>
                </a:lnTo>
                <a:close/>
                <a:moveTo>
                  <a:pt x="0" y="69"/>
                </a:moveTo>
                <a:lnTo>
                  <a:pt x="2" y="69"/>
                </a:lnTo>
                <a:lnTo>
                  <a:pt x="1" y="70"/>
                </a:lnTo>
                <a:lnTo>
                  <a:pt x="0" y="70"/>
                </a:lnTo>
                <a:lnTo>
                  <a:pt x="0" y="69"/>
                </a:lnTo>
                <a:close/>
                <a:moveTo>
                  <a:pt x="67" y="61"/>
                </a:moveTo>
                <a:lnTo>
                  <a:pt x="68" y="62"/>
                </a:lnTo>
                <a:lnTo>
                  <a:pt x="68" y="63"/>
                </a:lnTo>
                <a:lnTo>
                  <a:pt x="66" y="63"/>
                </a:lnTo>
                <a:lnTo>
                  <a:pt x="66" y="64"/>
                </a:lnTo>
                <a:lnTo>
                  <a:pt x="64" y="64"/>
                </a:lnTo>
                <a:lnTo>
                  <a:pt x="64" y="63"/>
                </a:lnTo>
                <a:lnTo>
                  <a:pt x="67" y="61"/>
                </a:lnTo>
                <a:close/>
                <a:moveTo>
                  <a:pt x="136" y="60"/>
                </a:moveTo>
                <a:lnTo>
                  <a:pt x="136" y="61"/>
                </a:lnTo>
                <a:lnTo>
                  <a:pt x="135" y="61"/>
                </a:lnTo>
                <a:lnTo>
                  <a:pt x="136" y="60"/>
                </a:lnTo>
                <a:close/>
                <a:moveTo>
                  <a:pt x="81" y="50"/>
                </a:moveTo>
                <a:lnTo>
                  <a:pt x="81" y="51"/>
                </a:lnTo>
                <a:lnTo>
                  <a:pt x="83" y="51"/>
                </a:lnTo>
                <a:lnTo>
                  <a:pt x="85" y="50"/>
                </a:lnTo>
                <a:lnTo>
                  <a:pt x="81" y="50"/>
                </a:lnTo>
                <a:close/>
                <a:moveTo>
                  <a:pt x="73" y="37"/>
                </a:moveTo>
                <a:lnTo>
                  <a:pt x="74" y="38"/>
                </a:lnTo>
                <a:lnTo>
                  <a:pt x="73" y="38"/>
                </a:lnTo>
                <a:lnTo>
                  <a:pt x="73" y="37"/>
                </a:lnTo>
                <a:close/>
                <a:moveTo>
                  <a:pt x="73" y="34"/>
                </a:moveTo>
                <a:lnTo>
                  <a:pt x="74" y="34"/>
                </a:lnTo>
                <a:lnTo>
                  <a:pt x="76" y="37"/>
                </a:lnTo>
                <a:lnTo>
                  <a:pt x="76" y="38"/>
                </a:lnTo>
                <a:lnTo>
                  <a:pt x="74" y="38"/>
                </a:lnTo>
                <a:lnTo>
                  <a:pt x="74" y="37"/>
                </a:lnTo>
                <a:lnTo>
                  <a:pt x="73" y="37"/>
                </a:lnTo>
                <a:lnTo>
                  <a:pt x="73" y="34"/>
                </a:lnTo>
                <a:close/>
                <a:moveTo>
                  <a:pt x="99" y="14"/>
                </a:moveTo>
                <a:lnTo>
                  <a:pt x="100" y="14"/>
                </a:lnTo>
                <a:lnTo>
                  <a:pt x="101" y="17"/>
                </a:lnTo>
                <a:lnTo>
                  <a:pt x="101" y="19"/>
                </a:lnTo>
                <a:lnTo>
                  <a:pt x="103" y="20"/>
                </a:lnTo>
                <a:lnTo>
                  <a:pt x="103" y="21"/>
                </a:lnTo>
                <a:lnTo>
                  <a:pt x="101" y="23"/>
                </a:lnTo>
                <a:lnTo>
                  <a:pt x="100" y="25"/>
                </a:lnTo>
                <a:lnTo>
                  <a:pt x="101" y="26"/>
                </a:lnTo>
                <a:lnTo>
                  <a:pt x="103" y="26"/>
                </a:lnTo>
                <a:lnTo>
                  <a:pt x="103" y="27"/>
                </a:lnTo>
                <a:lnTo>
                  <a:pt x="101" y="27"/>
                </a:lnTo>
                <a:lnTo>
                  <a:pt x="99" y="30"/>
                </a:lnTo>
                <a:lnTo>
                  <a:pt x="99" y="31"/>
                </a:lnTo>
                <a:lnTo>
                  <a:pt x="98" y="32"/>
                </a:lnTo>
                <a:lnTo>
                  <a:pt x="98" y="33"/>
                </a:lnTo>
                <a:lnTo>
                  <a:pt x="97" y="33"/>
                </a:lnTo>
                <a:lnTo>
                  <a:pt x="97" y="36"/>
                </a:lnTo>
                <a:lnTo>
                  <a:pt x="94" y="36"/>
                </a:lnTo>
                <a:lnTo>
                  <a:pt x="97" y="38"/>
                </a:lnTo>
                <a:lnTo>
                  <a:pt x="98" y="38"/>
                </a:lnTo>
                <a:lnTo>
                  <a:pt x="101" y="34"/>
                </a:lnTo>
                <a:lnTo>
                  <a:pt x="103" y="34"/>
                </a:lnTo>
                <a:lnTo>
                  <a:pt x="103" y="37"/>
                </a:lnTo>
                <a:lnTo>
                  <a:pt x="101" y="38"/>
                </a:lnTo>
                <a:lnTo>
                  <a:pt x="101" y="39"/>
                </a:lnTo>
                <a:lnTo>
                  <a:pt x="100" y="39"/>
                </a:lnTo>
                <a:lnTo>
                  <a:pt x="100" y="40"/>
                </a:lnTo>
                <a:lnTo>
                  <a:pt x="99" y="40"/>
                </a:lnTo>
                <a:lnTo>
                  <a:pt x="98" y="39"/>
                </a:lnTo>
                <a:lnTo>
                  <a:pt x="95" y="39"/>
                </a:lnTo>
                <a:lnTo>
                  <a:pt x="93" y="38"/>
                </a:lnTo>
                <a:lnTo>
                  <a:pt x="94" y="40"/>
                </a:lnTo>
                <a:lnTo>
                  <a:pt x="94" y="44"/>
                </a:lnTo>
                <a:lnTo>
                  <a:pt x="91" y="44"/>
                </a:lnTo>
                <a:lnTo>
                  <a:pt x="89" y="46"/>
                </a:lnTo>
                <a:lnTo>
                  <a:pt x="88" y="46"/>
                </a:lnTo>
                <a:lnTo>
                  <a:pt x="87" y="48"/>
                </a:lnTo>
                <a:lnTo>
                  <a:pt x="83" y="48"/>
                </a:lnTo>
                <a:lnTo>
                  <a:pt x="83" y="49"/>
                </a:lnTo>
                <a:lnTo>
                  <a:pt x="85" y="49"/>
                </a:lnTo>
                <a:lnTo>
                  <a:pt x="91" y="48"/>
                </a:lnTo>
                <a:lnTo>
                  <a:pt x="92" y="46"/>
                </a:lnTo>
                <a:lnTo>
                  <a:pt x="93" y="46"/>
                </a:lnTo>
                <a:lnTo>
                  <a:pt x="93" y="48"/>
                </a:lnTo>
                <a:lnTo>
                  <a:pt x="94" y="49"/>
                </a:lnTo>
                <a:lnTo>
                  <a:pt x="94" y="51"/>
                </a:lnTo>
                <a:lnTo>
                  <a:pt x="95" y="51"/>
                </a:lnTo>
                <a:lnTo>
                  <a:pt x="93" y="54"/>
                </a:lnTo>
                <a:lnTo>
                  <a:pt x="93" y="55"/>
                </a:lnTo>
                <a:lnTo>
                  <a:pt x="92" y="55"/>
                </a:lnTo>
                <a:lnTo>
                  <a:pt x="88" y="54"/>
                </a:lnTo>
                <a:lnTo>
                  <a:pt x="87" y="54"/>
                </a:lnTo>
                <a:lnTo>
                  <a:pt x="87" y="55"/>
                </a:lnTo>
                <a:lnTo>
                  <a:pt x="88" y="55"/>
                </a:lnTo>
                <a:lnTo>
                  <a:pt x="91" y="57"/>
                </a:lnTo>
                <a:lnTo>
                  <a:pt x="89" y="58"/>
                </a:lnTo>
                <a:lnTo>
                  <a:pt x="89" y="60"/>
                </a:lnTo>
                <a:lnTo>
                  <a:pt x="87" y="60"/>
                </a:lnTo>
                <a:lnTo>
                  <a:pt x="87" y="61"/>
                </a:lnTo>
                <a:lnTo>
                  <a:pt x="86" y="62"/>
                </a:lnTo>
                <a:lnTo>
                  <a:pt x="85" y="61"/>
                </a:lnTo>
                <a:lnTo>
                  <a:pt x="85" y="60"/>
                </a:lnTo>
                <a:lnTo>
                  <a:pt x="83" y="58"/>
                </a:lnTo>
                <a:lnTo>
                  <a:pt x="83" y="62"/>
                </a:lnTo>
                <a:lnTo>
                  <a:pt x="81" y="60"/>
                </a:lnTo>
                <a:lnTo>
                  <a:pt x="80" y="57"/>
                </a:lnTo>
                <a:lnTo>
                  <a:pt x="80" y="52"/>
                </a:lnTo>
                <a:lnTo>
                  <a:pt x="78" y="55"/>
                </a:lnTo>
                <a:lnTo>
                  <a:pt x="79" y="57"/>
                </a:lnTo>
                <a:lnTo>
                  <a:pt x="81" y="60"/>
                </a:lnTo>
                <a:lnTo>
                  <a:pt x="81" y="61"/>
                </a:lnTo>
                <a:lnTo>
                  <a:pt x="80" y="61"/>
                </a:lnTo>
                <a:lnTo>
                  <a:pt x="82" y="63"/>
                </a:lnTo>
                <a:lnTo>
                  <a:pt x="82" y="64"/>
                </a:lnTo>
                <a:lnTo>
                  <a:pt x="79" y="63"/>
                </a:lnTo>
                <a:lnTo>
                  <a:pt x="76" y="63"/>
                </a:lnTo>
                <a:lnTo>
                  <a:pt x="76" y="64"/>
                </a:lnTo>
                <a:lnTo>
                  <a:pt x="79" y="67"/>
                </a:lnTo>
                <a:lnTo>
                  <a:pt x="79" y="68"/>
                </a:lnTo>
                <a:lnTo>
                  <a:pt x="78" y="69"/>
                </a:lnTo>
                <a:lnTo>
                  <a:pt x="76" y="69"/>
                </a:lnTo>
                <a:lnTo>
                  <a:pt x="74" y="68"/>
                </a:lnTo>
                <a:lnTo>
                  <a:pt x="74" y="72"/>
                </a:lnTo>
                <a:lnTo>
                  <a:pt x="73" y="72"/>
                </a:lnTo>
                <a:lnTo>
                  <a:pt x="73" y="73"/>
                </a:lnTo>
                <a:lnTo>
                  <a:pt x="72" y="74"/>
                </a:lnTo>
                <a:lnTo>
                  <a:pt x="69" y="75"/>
                </a:lnTo>
                <a:lnTo>
                  <a:pt x="69" y="76"/>
                </a:lnTo>
                <a:lnTo>
                  <a:pt x="68" y="76"/>
                </a:lnTo>
                <a:lnTo>
                  <a:pt x="67" y="73"/>
                </a:lnTo>
                <a:lnTo>
                  <a:pt x="66" y="73"/>
                </a:lnTo>
                <a:lnTo>
                  <a:pt x="63" y="70"/>
                </a:lnTo>
                <a:lnTo>
                  <a:pt x="63" y="69"/>
                </a:lnTo>
                <a:lnTo>
                  <a:pt x="62" y="68"/>
                </a:lnTo>
                <a:lnTo>
                  <a:pt x="64" y="68"/>
                </a:lnTo>
                <a:lnTo>
                  <a:pt x="64" y="69"/>
                </a:lnTo>
                <a:lnTo>
                  <a:pt x="68" y="67"/>
                </a:lnTo>
                <a:lnTo>
                  <a:pt x="68" y="66"/>
                </a:lnTo>
                <a:lnTo>
                  <a:pt x="72" y="66"/>
                </a:lnTo>
                <a:lnTo>
                  <a:pt x="69" y="63"/>
                </a:lnTo>
                <a:lnTo>
                  <a:pt x="72" y="62"/>
                </a:lnTo>
                <a:lnTo>
                  <a:pt x="74" y="62"/>
                </a:lnTo>
                <a:lnTo>
                  <a:pt x="74" y="60"/>
                </a:lnTo>
                <a:lnTo>
                  <a:pt x="72" y="60"/>
                </a:lnTo>
                <a:lnTo>
                  <a:pt x="70" y="58"/>
                </a:lnTo>
                <a:lnTo>
                  <a:pt x="66" y="58"/>
                </a:lnTo>
                <a:lnTo>
                  <a:pt x="66" y="57"/>
                </a:lnTo>
                <a:lnTo>
                  <a:pt x="64" y="57"/>
                </a:lnTo>
                <a:lnTo>
                  <a:pt x="63" y="56"/>
                </a:lnTo>
                <a:lnTo>
                  <a:pt x="63" y="55"/>
                </a:lnTo>
                <a:lnTo>
                  <a:pt x="64" y="55"/>
                </a:lnTo>
                <a:lnTo>
                  <a:pt x="64" y="54"/>
                </a:lnTo>
                <a:lnTo>
                  <a:pt x="66" y="54"/>
                </a:lnTo>
                <a:lnTo>
                  <a:pt x="66" y="52"/>
                </a:lnTo>
                <a:lnTo>
                  <a:pt x="68" y="52"/>
                </a:lnTo>
                <a:lnTo>
                  <a:pt x="70" y="50"/>
                </a:lnTo>
                <a:lnTo>
                  <a:pt x="67" y="51"/>
                </a:lnTo>
                <a:lnTo>
                  <a:pt x="66" y="51"/>
                </a:lnTo>
                <a:lnTo>
                  <a:pt x="66" y="50"/>
                </a:lnTo>
                <a:lnTo>
                  <a:pt x="67" y="49"/>
                </a:lnTo>
                <a:lnTo>
                  <a:pt x="64" y="50"/>
                </a:lnTo>
                <a:lnTo>
                  <a:pt x="63" y="48"/>
                </a:lnTo>
                <a:lnTo>
                  <a:pt x="63" y="45"/>
                </a:lnTo>
                <a:lnTo>
                  <a:pt x="62" y="45"/>
                </a:lnTo>
                <a:lnTo>
                  <a:pt x="62" y="44"/>
                </a:lnTo>
                <a:lnTo>
                  <a:pt x="63" y="43"/>
                </a:lnTo>
                <a:lnTo>
                  <a:pt x="63" y="40"/>
                </a:lnTo>
                <a:lnTo>
                  <a:pt x="66" y="40"/>
                </a:lnTo>
                <a:lnTo>
                  <a:pt x="67" y="39"/>
                </a:lnTo>
                <a:lnTo>
                  <a:pt x="66" y="39"/>
                </a:lnTo>
                <a:lnTo>
                  <a:pt x="66" y="36"/>
                </a:lnTo>
                <a:lnTo>
                  <a:pt x="67" y="36"/>
                </a:lnTo>
                <a:lnTo>
                  <a:pt x="68" y="37"/>
                </a:lnTo>
                <a:lnTo>
                  <a:pt x="72" y="37"/>
                </a:lnTo>
                <a:lnTo>
                  <a:pt x="72" y="38"/>
                </a:lnTo>
                <a:lnTo>
                  <a:pt x="70" y="38"/>
                </a:lnTo>
                <a:lnTo>
                  <a:pt x="70" y="39"/>
                </a:lnTo>
                <a:lnTo>
                  <a:pt x="72" y="40"/>
                </a:lnTo>
                <a:lnTo>
                  <a:pt x="72" y="43"/>
                </a:lnTo>
                <a:lnTo>
                  <a:pt x="73" y="44"/>
                </a:lnTo>
                <a:lnTo>
                  <a:pt x="73" y="45"/>
                </a:lnTo>
                <a:lnTo>
                  <a:pt x="74" y="46"/>
                </a:lnTo>
                <a:lnTo>
                  <a:pt x="74" y="44"/>
                </a:lnTo>
                <a:lnTo>
                  <a:pt x="73" y="44"/>
                </a:lnTo>
                <a:lnTo>
                  <a:pt x="73" y="39"/>
                </a:lnTo>
                <a:lnTo>
                  <a:pt x="75" y="39"/>
                </a:lnTo>
                <a:lnTo>
                  <a:pt x="76" y="38"/>
                </a:lnTo>
                <a:lnTo>
                  <a:pt x="79" y="40"/>
                </a:lnTo>
                <a:lnTo>
                  <a:pt x="79" y="42"/>
                </a:lnTo>
                <a:lnTo>
                  <a:pt x="80" y="39"/>
                </a:lnTo>
                <a:lnTo>
                  <a:pt x="79" y="39"/>
                </a:lnTo>
                <a:lnTo>
                  <a:pt x="79" y="38"/>
                </a:lnTo>
                <a:lnTo>
                  <a:pt x="78" y="37"/>
                </a:lnTo>
                <a:lnTo>
                  <a:pt x="76" y="37"/>
                </a:lnTo>
                <a:lnTo>
                  <a:pt x="76" y="34"/>
                </a:lnTo>
                <a:lnTo>
                  <a:pt x="75" y="34"/>
                </a:lnTo>
                <a:lnTo>
                  <a:pt x="75" y="33"/>
                </a:lnTo>
                <a:lnTo>
                  <a:pt x="76" y="33"/>
                </a:lnTo>
                <a:lnTo>
                  <a:pt x="76" y="32"/>
                </a:lnTo>
                <a:lnTo>
                  <a:pt x="75" y="32"/>
                </a:lnTo>
                <a:lnTo>
                  <a:pt x="80" y="27"/>
                </a:lnTo>
                <a:lnTo>
                  <a:pt x="82" y="27"/>
                </a:lnTo>
                <a:lnTo>
                  <a:pt x="83" y="26"/>
                </a:lnTo>
                <a:lnTo>
                  <a:pt x="86" y="25"/>
                </a:lnTo>
                <a:lnTo>
                  <a:pt x="87" y="25"/>
                </a:lnTo>
                <a:lnTo>
                  <a:pt x="88" y="24"/>
                </a:lnTo>
                <a:lnTo>
                  <a:pt x="95" y="18"/>
                </a:lnTo>
                <a:lnTo>
                  <a:pt x="99" y="14"/>
                </a:lnTo>
                <a:close/>
                <a:moveTo>
                  <a:pt x="221" y="0"/>
                </a:moveTo>
                <a:lnTo>
                  <a:pt x="222" y="1"/>
                </a:lnTo>
                <a:lnTo>
                  <a:pt x="222" y="2"/>
                </a:lnTo>
                <a:lnTo>
                  <a:pt x="227" y="2"/>
                </a:lnTo>
                <a:lnTo>
                  <a:pt x="228" y="1"/>
                </a:lnTo>
                <a:lnTo>
                  <a:pt x="230" y="3"/>
                </a:lnTo>
                <a:lnTo>
                  <a:pt x="231" y="3"/>
                </a:lnTo>
                <a:lnTo>
                  <a:pt x="234" y="2"/>
                </a:lnTo>
                <a:lnTo>
                  <a:pt x="236" y="3"/>
                </a:lnTo>
                <a:lnTo>
                  <a:pt x="235" y="5"/>
                </a:lnTo>
                <a:lnTo>
                  <a:pt x="235" y="8"/>
                </a:lnTo>
                <a:lnTo>
                  <a:pt x="234" y="8"/>
                </a:lnTo>
                <a:lnTo>
                  <a:pt x="234" y="9"/>
                </a:lnTo>
                <a:lnTo>
                  <a:pt x="231" y="12"/>
                </a:lnTo>
                <a:lnTo>
                  <a:pt x="231" y="15"/>
                </a:lnTo>
                <a:lnTo>
                  <a:pt x="232" y="17"/>
                </a:lnTo>
                <a:lnTo>
                  <a:pt x="234" y="17"/>
                </a:lnTo>
                <a:lnTo>
                  <a:pt x="234" y="19"/>
                </a:lnTo>
                <a:lnTo>
                  <a:pt x="232" y="21"/>
                </a:lnTo>
                <a:lnTo>
                  <a:pt x="231" y="25"/>
                </a:lnTo>
                <a:lnTo>
                  <a:pt x="229" y="29"/>
                </a:lnTo>
                <a:lnTo>
                  <a:pt x="227" y="31"/>
                </a:lnTo>
                <a:lnTo>
                  <a:pt x="225" y="31"/>
                </a:lnTo>
                <a:lnTo>
                  <a:pt x="222" y="33"/>
                </a:lnTo>
                <a:lnTo>
                  <a:pt x="221" y="33"/>
                </a:lnTo>
                <a:lnTo>
                  <a:pt x="217" y="37"/>
                </a:lnTo>
                <a:lnTo>
                  <a:pt x="217" y="39"/>
                </a:lnTo>
                <a:lnTo>
                  <a:pt x="215" y="42"/>
                </a:lnTo>
                <a:lnTo>
                  <a:pt x="205" y="49"/>
                </a:lnTo>
                <a:lnTo>
                  <a:pt x="203" y="51"/>
                </a:lnTo>
                <a:lnTo>
                  <a:pt x="201" y="51"/>
                </a:lnTo>
                <a:lnTo>
                  <a:pt x="201" y="52"/>
                </a:lnTo>
                <a:lnTo>
                  <a:pt x="200" y="54"/>
                </a:lnTo>
                <a:lnTo>
                  <a:pt x="200" y="55"/>
                </a:lnTo>
                <a:lnTo>
                  <a:pt x="199" y="56"/>
                </a:lnTo>
                <a:lnTo>
                  <a:pt x="198" y="56"/>
                </a:lnTo>
                <a:lnTo>
                  <a:pt x="196" y="57"/>
                </a:lnTo>
                <a:lnTo>
                  <a:pt x="194" y="58"/>
                </a:lnTo>
                <a:lnTo>
                  <a:pt x="194" y="60"/>
                </a:lnTo>
                <a:lnTo>
                  <a:pt x="193" y="60"/>
                </a:lnTo>
                <a:lnTo>
                  <a:pt x="193" y="58"/>
                </a:lnTo>
                <a:lnTo>
                  <a:pt x="192" y="58"/>
                </a:lnTo>
                <a:lnTo>
                  <a:pt x="191" y="57"/>
                </a:lnTo>
                <a:lnTo>
                  <a:pt x="191" y="60"/>
                </a:lnTo>
                <a:lnTo>
                  <a:pt x="193" y="60"/>
                </a:lnTo>
                <a:lnTo>
                  <a:pt x="193" y="61"/>
                </a:lnTo>
                <a:lnTo>
                  <a:pt x="194" y="61"/>
                </a:lnTo>
                <a:lnTo>
                  <a:pt x="194" y="63"/>
                </a:lnTo>
                <a:lnTo>
                  <a:pt x="193" y="64"/>
                </a:lnTo>
                <a:lnTo>
                  <a:pt x="194" y="66"/>
                </a:lnTo>
                <a:lnTo>
                  <a:pt x="193" y="66"/>
                </a:lnTo>
                <a:lnTo>
                  <a:pt x="192" y="64"/>
                </a:lnTo>
                <a:lnTo>
                  <a:pt x="191" y="64"/>
                </a:lnTo>
                <a:lnTo>
                  <a:pt x="191" y="66"/>
                </a:lnTo>
                <a:lnTo>
                  <a:pt x="190" y="66"/>
                </a:lnTo>
                <a:lnTo>
                  <a:pt x="190" y="67"/>
                </a:lnTo>
                <a:lnTo>
                  <a:pt x="188" y="67"/>
                </a:lnTo>
                <a:lnTo>
                  <a:pt x="186" y="66"/>
                </a:lnTo>
                <a:lnTo>
                  <a:pt x="185" y="64"/>
                </a:lnTo>
                <a:lnTo>
                  <a:pt x="181" y="66"/>
                </a:lnTo>
                <a:lnTo>
                  <a:pt x="179" y="63"/>
                </a:lnTo>
                <a:lnTo>
                  <a:pt x="179" y="62"/>
                </a:lnTo>
                <a:lnTo>
                  <a:pt x="178" y="62"/>
                </a:lnTo>
                <a:lnTo>
                  <a:pt x="180" y="66"/>
                </a:lnTo>
                <a:lnTo>
                  <a:pt x="181" y="67"/>
                </a:lnTo>
                <a:lnTo>
                  <a:pt x="182" y="67"/>
                </a:lnTo>
                <a:lnTo>
                  <a:pt x="185" y="66"/>
                </a:lnTo>
                <a:lnTo>
                  <a:pt x="187" y="68"/>
                </a:lnTo>
                <a:lnTo>
                  <a:pt x="188" y="68"/>
                </a:lnTo>
                <a:lnTo>
                  <a:pt x="188" y="67"/>
                </a:lnTo>
                <a:lnTo>
                  <a:pt x="191" y="69"/>
                </a:lnTo>
                <a:lnTo>
                  <a:pt x="192" y="69"/>
                </a:lnTo>
                <a:lnTo>
                  <a:pt x="194" y="67"/>
                </a:lnTo>
                <a:lnTo>
                  <a:pt x="197" y="68"/>
                </a:lnTo>
                <a:lnTo>
                  <a:pt x="197" y="69"/>
                </a:lnTo>
                <a:lnTo>
                  <a:pt x="198" y="70"/>
                </a:lnTo>
                <a:lnTo>
                  <a:pt x="203" y="66"/>
                </a:lnTo>
                <a:lnTo>
                  <a:pt x="204" y="67"/>
                </a:lnTo>
                <a:lnTo>
                  <a:pt x="204" y="68"/>
                </a:lnTo>
                <a:lnTo>
                  <a:pt x="203" y="68"/>
                </a:lnTo>
                <a:lnTo>
                  <a:pt x="197" y="76"/>
                </a:lnTo>
                <a:lnTo>
                  <a:pt x="196" y="79"/>
                </a:lnTo>
                <a:lnTo>
                  <a:pt x="193" y="79"/>
                </a:lnTo>
                <a:lnTo>
                  <a:pt x="193" y="76"/>
                </a:lnTo>
                <a:lnTo>
                  <a:pt x="192" y="75"/>
                </a:lnTo>
                <a:lnTo>
                  <a:pt x="191" y="76"/>
                </a:lnTo>
                <a:lnTo>
                  <a:pt x="187" y="79"/>
                </a:lnTo>
                <a:lnTo>
                  <a:pt x="187" y="80"/>
                </a:lnTo>
                <a:lnTo>
                  <a:pt x="181" y="80"/>
                </a:lnTo>
                <a:lnTo>
                  <a:pt x="181" y="82"/>
                </a:lnTo>
                <a:lnTo>
                  <a:pt x="180" y="82"/>
                </a:lnTo>
                <a:lnTo>
                  <a:pt x="180" y="83"/>
                </a:lnTo>
                <a:lnTo>
                  <a:pt x="178" y="86"/>
                </a:lnTo>
                <a:lnTo>
                  <a:pt x="176" y="86"/>
                </a:lnTo>
                <a:lnTo>
                  <a:pt x="176" y="88"/>
                </a:lnTo>
                <a:lnTo>
                  <a:pt x="178" y="87"/>
                </a:lnTo>
                <a:lnTo>
                  <a:pt x="179" y="87"/>
                </a:lnTo>
                <a:lnTo>
                  <a:pt x="179" y="86"/>
                </a:lnTo>
                <a:lnTo>
                  <a:pt x="180" y="85"/>
                </a:lnTo>
                <a:lnTo>
                  <a:pt x="182" y="83"/>
                </a:lnTo>
                <a:lnTo>
                  <a:pt x="184" y="81"/>
                </a:lnTo>
                <a:lnTo>
                  <a:pt x="187" y="81"/>
                </a:lnTo>
                <a:lnTo>
                  <a:pt x="190" y="82"/>
                </a:lnTo>
                <a:lnTo>
                  <a:pt x="191" y="81"/>
                </a:lnTo>
                <a:lnTo>
                  <a:pt x="193" y="80"/>
                </a:lnTo>
                <a:lnTo>
                  <a:pt x="194" y="80"/>
                </a:lnTo>
                <a:lnTo>
                  <a:pt x="193" y="82"/>
                </a:lnTo>
                <a:lnTo>
                  <a:pt x="191" y="85"/>
                </a:lnTo>
                <a:lnTo>
                  <a:pt x="190" y="87"/>
                </a:lnTo>
                <a:lnTo>
                  <a:pt x="190" y="88"/>
                </a:lnTo>
                <a:lnTo>
                  <a:pt x="187" y="88"/>
                </a:lnTo>
                <a:lnTo>
                  <a:pt x="186" y="89"/>
                </a:lnTo>
                <a:lnTo>
                  <a:pt x="187" y="91"/>
                </a:lnTo>
                <a:lnTo>
                  <a:pt x="185" y="91"/>
                </a:lnTo>
                <a:lnTo>
                  <a:pt x="186" y="92"/>
                </a:lnTo>
                <a:lnTo>
                  <a:pt x="184" y="94"/>
                </a:lnTo>
                <a:lnTo>
                  <a:pt x="185" y="95"/>
                </a:lnTo>
                <a:lnTo>
                  <a:pt x="186" y="95"/>
                </a:lnTo>
                <a:lnTo>
                  <a:pt x="188" y="93"/>
                </a:lnTo>
                <a:lnTo>
                  <a:pt x="190" y="93"/>
                </a:lnTo>
                <a:lnTo>
                  <a:pt x="190" y="92"/>
                </a:lnTo>
                <a:lnTo>
                  <a:pt x="191" y="91"/>
                </a:lnTo>
                <a:lnTo>
                  <a:pt x="192" y="91"/>
                </a:lnTo>
                <a:lnTo>
                  <a:pt x="193" y="89"/>
                </a:lnTo>
                <a:lnTo>
                  <a:pt x="192" y="89"/>
                </a:lnTo>
                <a:lnTo>
                  <a:pt x="191" y="87"/>
                </a:lnTo>
                <a:lnTo>
                  <a:pt x="201" y="87"/>
                </a:lnTo>
                <a:lnTo>
                  <a:pt x="207" y="82"/>
                </a:lnTo>
                <a:lnTo>
                  <a:pt x="210" y="81"/>
                </a:lnTo>
                <a:lnTo>
                  <a:pt x="210" y="82"/>
                </a:lnTo>
                <a:lnTo>
                  <a:pt x="209" y="83"/>
                </a:lnTo>
                <a:lnTo>
                  <a:pt x="211" y="83"/>
                </a:lnTo>
                <a:lnTo>
                  <a:pt x="211" y="81"/>
                </a:lnTo>
                <a:lnTo>
                  <a:pt x="212" y="81"/>
                </a:lnTo>
                <a:lnTo>
                  <a:pt x="213" y="82"/>
                </a:lnTo>
                <a:lnTo>
                  <a:pt x="213" y="81"/>
                </a:lnTo>
                <a:lnTo>
                  <a:pt x="215" y="81"/>
                </a:lnTo>
                <a:lnTo>
                  <a:pt x="215" y="80"/>
                </a:lnTo>
                <a:lnTo>
                  <a:pt x="216" y="79"/>
                </a:lnTo>
                <a:lnTo>
                  <a:pt x="216" y="77"/>
                </a:lnTo>
                <a:lnTo>
                  <a:pt x="217" y="77"/>
                </a:lnTo>
                <a:lnTo>
                  <a:pt x="218" y="76"/>
                </a:lnTo>
                <a:lnTo>
                  <a:pt x="219" y="76"/>
                </a:lnTo>
                <a:lnTo>
                  <a:pt x="224" y="77"/>
                </a:lnTo>
                <a:lnTo>
                  <a:pt x="228" y="79"/>
                </a:lnTo>
                <a:lnTo>
                  <a:pt x="232" y="81"/>
                </a:lnTo>
                <a:lnTo>
                  <a:pt x="236" y="81"/>
                </a:lnTo>
                <a:lnTo>
                  <a:pt x="240" y="79"/>
                </a:lnTo>
                <a:lnTo>
                  <a:pt x="247" y="79"/>
                </a:lnTo>
                <a:lnTo>
                  <a:pt x="247" y="80"/>
                </a:lnTo>
                <a:lnTo>
                  <a:pt x="248" y="80"/>
                </a:lnTo>
                <a:lnTo>
                  <a:pt x="248" y="79"/>
                </a:lnTo>
                <a:lnTo>
                  <a:pt x="249" y="79"/>
                </a:lnTo>
                <a:lnTo>
                  <a:pt x="249" y="80"/>
                </a:lnTo>
                <a:lnTo>
                  <a:pt x="250" y="79"/>
                </a:lnTo>
                <a:lnTo>
                  <a:pt x="254" y="80"/>
                </a:lnTo>
                <a:lnTo>
                  <a:pt x="255" y="80"/>
                </a:lnTo>
                <a:lnTo>
                  <a:pt x="256" y="81"/>
                </a:lnTo>
                <a:lnTo>
                  <a:pt x="257" y="80"/>
                </a:lnTo>
                <a:lnTo>
                  <a:pt x="259" y="80"/>
                </a:lnTo>
                <a:lnTo>
                  <a:pt x="260" y="81"/>
                </a:lnTo>
                <a:lnTo>
                  <a:pt x="262" y="81"/>
                </a:lnTo>
                <a:lnTo>
                  <a:pt x="263" y="80"/>
                </a:lnTo>
                <a:lnTo>
                  <a:pt x="265" y="81"/>
                </a:lnTo>
                <a:lnTo>
                  <a:pt x="265" y="80"/>
                </a:lnTo>
                <a:lnTo>
                  <a:pt x="266" y="80"/>
                </a:lnTo>
                <a:lnTo>
                  <a:pt x="266" y="79"/>
                </a:lnTo>
                <a:lnTo>
                  <a:pt x="267" y="79"/>
                </a:lnTo>
                <a:lnTo>
                  <a:pt x="269" y="80"/>
                </a:lnTo>
                <a:lnTo>
                  <a:pt x="269" y="81"/>
                </a:lnTo>
                <a:lnTo>
                  <a:pt x="271" y="80"/>
                </a:lnTo>
                <a:lnTo>
                  <a:pt x="273" y="79"/>
                </a:lnTo>
                <a:lnTo>
                  <a:pt x="279" y="79"/>
                </a:lnTo>
                <a:lnTo>
                  <a:pt x="279" y="80"/>
                </a:lnTo>
                <a:lnTo>
                  <a:pt x="280" y="81"/>
                </a:lnTo>
                <a:lnTo>
                  <a:pt x="281" y="80"/>
                </a:lnTo>
                <a:lnTo>
                  <a:pt x="283" y="81"/>
                </a:lnTo>
                <a:lnTo>
                  <a:pt x="286" y="86"/>
                </a:lnTo>
                <a:lnTo>
                  <a:pt x="286" y="89"/>
                </a:lnTo>
                <a:lnTo>
                  <a:pt x="287" y="91"/>
                </a:lnTo>
                <a:lnTo>
                  <a:pt x="287" y="93"/>
                </a:lnTo>
                <a:lnTo>
                  <a:pt x="288" y="94"/>
                </a:lnTo>
                <a:lnTo>
                  <a:pt x="287" y="95"/>
                </a:lnTo>
                <a:lnTo>
                  <a:pt x="288" y="97"/>
                </a:lnTo>
                <a:lnTo>
                  <a:pt x="287" y="98"/>
                </a:lnTo>
                <a:lnTo>
                  <a:pt x="286" y="100"/>
                </a:lnTo>
                <a:lnTo>
                  <a:pt x="285" y="101"/>
                </a:lnTo>
                <a:lnTo>
                  <a:pt x="285" y="103"/>
                </a:lnTo>
                <a:lnTo>
                  <a:pt x="279" y="109"/>
                </a:lnTo>
                <a:lnTo>
                  <a:pt x="275" y="119"/>
                </a:lnTo>
                <a:lnTo>
                  <a:pt x="275" y="123"/>
                </a:lnTo>
                <a:lnTo>
                  <a:pt x="277" y="123"/>
                </a:lnTo>
                <a:lnTo>
                  <a:pt x="277" y="124"/>
                </a:lnTo>
                <a:lnTo>
                  <a:pt x="275" y="125"/>
                </a:lnTo>
                <a:lnTo>
                  <a:pt x="272" y="131"/>
                </a:lnTo>
                <a:lnTo>
                  <a:pt x="271" y="135"/>
                </a:lnTo>
                <a:lnTo>
                  <a:pt x="271" y="141"/>
                </a:lnTo>
                <a:lnTo>
                  <a:pt x="269" y="142"/>
                </a:lnTo>
                <a:lnTo>
                  <a:pt x="269" y="143"/>
                </a:lnTo>
                <a:lnTo>
                  <a:pt x="266" y="147"/>
                </a:lnTo>
                <a:lnTo>
                  <a:pt x="265" y="149"/>
                </a:lnTo>
                <a:lnTo>
                  <a:pt x="262" y="152"/>
                </a:lnTo>
                <a:lnTo>
                  <a:pt x="261" y="152"/>
                </a:lnTo>
                <a:lnTo>
                  <a:pt x="261" y="153"/>
                </a:lnTo>
                <a:lnTo>
                  <a:pt x="260" y="154"/>
                </a:lnTo>
                <a:lnTo>
                  <a:pt x="260" y="158"/>
                </a:lnTo>
                <a:lnTo>
                  <a:pt x="259" y="158"/>
                </a:lnTo>
                <a:lnTo>
                  <a:pt x="259" y="159"/>
                </a:lnTo>
                <a:lnTo>
                  <a:pt x="257" y="160"/>
                </a:lnTo>
                <a:lnTo>
                  <a:pt x="257" y="161"/>
                </a:lnTo>
                <a:lnTo>
                  <a:pt x="259" y="161"/>
                </a:lnTo>
                <a:lnTo>
                  <a:pt x="259" y="162"/>
                </a:lnTo>
                <a:lnTo>
                  <a:pt x="257" y="162"/>
                </a:lnTo>
                <a:lnTo>
                  <a:pt x="257" y="163"/>
                </a:lnTo>
                <a:lnTo>
                  <a:pt x="256" y="165"/>
                </a:lnTo>
                <a:lnTo>
                  <a:pt x="256" y="166"/>
                </a:lnTo>
                <a:lnTo>
                  <a:pt x="253" y="168"/>
                </a:lnTo>
                <a:lnTo>
                  <a:pt x="252" y="171"/>
                </a:lnTo>
                <a:lnTo>
                  <a:pt x="250" y="171"/>
                </a:lnTo>
                <a:lnTo>
                  <a:pt x="249" y="172"/>
                </a:lnTo>
                <a:lnTo>
                  <a:pt x="248" y="174"/>
                </a:lnTo>
                <a:lnTo>
                  <a:pt x="244" y="174"/>
                </a:lnTo>
                <a:lnTo>
                  <a:pt x="234" y="175"/>
                </a:lnTo>
                <a:lnTo>
                  <a:pt x="231" y="178"/>
                </a:lnTo>
                <a:lnTo>
                  <a:pt x="227" y="181"/>
                </a:lnTo>
                <a:lnTo>
                  <a:pt x="224" y="183"/>
                </a:lnTo>
                <a:lnTo>
                  <a:pt x="227" y="183"/>
                </a:lnTo>
                <a:lnTo>
                  <a:pt x="229" y="181"/>
                </a:lnTo>
                <a:lnTo>
                  <a:pt x="230" y="181"/>
                </a:lnTo>
                <a:lnTo>
                  <a:pt x="238" y="177"/>
                </a:lnTo>
                <a:lnTo>
                  <a:pt x="240" y="175"/>
                </a:lnTo>
                <a:lnTo>
                  <a:pt x="242" y="175"/>
                </a:lnTo>
                <a:lnTo>
                  <a:pt x="243" y="177"/>
                </a:lnTo>
                <a:lnTo>
                  <a:pt x="244" y="177"/>
                </a:lnTo>
                <a:lnTo>
                  <a:pt x="244" y="181"/>
                </a:lnTo>
                <a:lnTo>
                  <a:pt x="243" y="183"/>
                </a:lnTo>
                <a:lnTo>
                  <a:pt x="244" y="183"/>
                </a:lnTo>
                <a:lnTo>
                  <a:pt x="244" y="184"/>
                </a:lnTo>
                <a:lnTo>
                  <a:pt x="246" y="184"/>
                </a:lnTo>
                <a:lnTo>
                  <a:pt x="246" y="185"/>
                </a:lnTo>
                <a:lnTo>
                  <a:pt x="250" y="185"/>
                </a:lnTo>
                <a:lnTo>
                  <a:pt x="253" y="186"/>
                </a:lnTo>
                <a:lnTo>
                  <a:pt x="253" y="187"/>
                </a:lnTo>
                <a:lnTo>
                  <a:pt x="254" y="189"/>
                </a:lnTo>
                <a:lnTo>
                  <a:pt x="252" y="191"/>
                </a:lnTo>
                <a:lnTo>
                  <a:pt x="252" y="192"/>
                </a:lnTo>
                <a:lnTo>
                  <a:pt x="250" y="193"/>
                </a:lnTo>
                <a:lnTo>
                  <a:pt x="248" y="193"/>
                </a:lnTo>
                <a:lnTo>
                  <a:pt x="246" y="196"/>
                </a:lnTo>
                <a:lnTo>
                  <a:pt x="243" y="196"/>
                </a:lnTo>
                <a:lnTo>
                  <a:pt x="238" y="193"/>
                </a:lnTo>
                <a:lnTo>
                  <a:pt x="238" y="195"/>
                </a:lnTo>
                <a:lnTo>
                  <a:pt x="237" y="195"/>
                </a:lnTo>
                <a:lnTo>
                  <a:pt x="237" y="196"/>
                </a:lnTo>
                <a:lnTo>
                  <a:pt x="235" y="197"/>
                </a:lnTo>
                <a:lnTo>
                  <a:pt x="230" y="202"/>
                </a:lnTo>
                <a:lnTo>
                  <a:pt x="230" y="204"/>
                </a:lnTo>
                <a:lnTo>
                  <a:pt x="229" y="205"/>
                </a:lnTo>
                <a:lnTo>
                  <a:pt x="225" y="205"/>
                </a:lnTo>
                <a:lnTo>
                  <a:pt x="225" y="206"/>
                </a:lnTo>
                <a:lnTo>
                  <a:pt x="224" y="206"/>
                </a:lnTo>
                <a:lnTo>
                  <a:pt x="222" y="208"/>
                </a:lnTo>
                <a:lnTo>
                  <a:pt x="218" y="208"/>
                </a:lnTo>
                <a:lnTo>
                  <a:pt x="212" y="205"/>
                </a:lnTo>
                <a:lnTo>
                  <a:pt x="207" y="206"/>
                </a:lnTo>
                <a:lnTo>
                  <a:pt x="203" y="202"/>
                </a:lnTo>
                <a:lnTo>
                  <a:pt x="201" y="202"/>
                </a:lnTo>
                <a:lnTo>
                  <a:pt x="206" y="206"/>
                </a:lnTo>
                <a:lnTo>
                  <a:pt x="206" y="208"/>
                </a:lnTo>
                <a:lnTo>
                  <a:pt x="207" y="208"/>
                </a:lnTo>
                <a:lnTo>
                  <a:pt x="207" y="209"/>
                </a:lnTo>
                <a:lnTo>
                  <a:pt x="212" y="209"/>
                </a:lnTo>
                <a:lnTo>
                  <a:pt x="219" y="210"/>
                </a:lnTo>
                <a:lnTo>
                  <a:pt x="223" y="210"/>
                </a:lnTo>
                <a:lnTo>
                  <a:pt x="223" y="211"/>
                </a:lnTo>
                <a:lnTo>
                  <a:pt x="224" y="211"/>
                </a:lnTo>
                <a:lnTo>
                  <a:pt x="231" y="212"/>
                </a:lnTo>
                <a:lnTo>
                  <a:pt x="232" y="214"/>
                </a:lnTo>
                <a:lnTo>
                  <a:pt x="236" y="214"/>
                </a:lnTo>
                <a:lnTo>
                  <a:pt x="238" y="212"/>
                </a:lnTo>
                <a:lnTo>
                  <a:pt x="241" y="210"/>
                </a:lnTo>
                <a:lnTo>
                  <a:pt x="241" y="209"/>
                </a:lnTo>
                <a:lnTo>
                  <a:pt x="242" y="209"/>
                </a:lnTo>
                <a:lnTo>
                  <a:pt x="242" y="206"/>
                </a:lnTo>
                <a:lnTo>
                  <a:pt x="244" y="205"/>
                </a:lnTo>
                <a:lnTo>
                  <a:pt x="253" y="205"/>
                </a:lnTo>
                <a:lnTo>
                  <a:pt x="254" y="208"/>
                </a:lnTo>
                <a:lnTo>
                  <a:pt x="255" y="208"/>
                </a:lnTo>
                <a:lnTo>
                  <a:pt x="254" y="209"/>
                </a:lnTo>
                <a:lnTo>
                  <a:pt x="254" y="210"/>
                </a:lnTo>
                <a:lnTo>
                  <a:pt x="256" y="210"/>
                </a:lnTo>
                <a:lnTo>
                  <a:pt x="256" y="209"/>
                </a:lnTo>
                <a:lnTo>
                  <a:pt x="257" y="209"/>
                </a:lnTo>
                <a:lnTo>
                  <a:pt x="257" y="210"/>
                </a:lnTo>
                <a:lnTo>
                  <a:pt x="260" y="211"/>
                </a:lnTo>
                <a:lnTo>
                  <a:pt x="261" y="211"/>
                </a:lnTo>
                <a:lnTo>
                  <a:pt x="263" y="214"/>
                </a:lnTo>
                <a:lnTo>
                  <a:pt x="266" y="215"/>
                </a:lnTo>
                <a:lnTo>
                  <a:pt x="272" y="216"/>
                </a:lnTo>
                <a:lnTo>
                  <a:pt x="273" y="216"/>
                </a:lnTo>
                <a:lnTo>
                  <a:pt x="273" y="218"/>
                </a:lnTo>
                <a:lnTo>
                  <a:pt x="274" y="218"/>
                </a:lnTo>
                <a:lnTo>
                  <a:pt x="275" y="220"/>
                </a:lnTo>
                <a:lnTo>
                  <a:pt x="278" y="224"/>
                </a:lnTo>
                <a:lnTo>
                  <a:pt x="278" y="226"/>
                </a:lnTo>
                <a:lnTo>
                  <a:pt x="284" y="233"/>
                </a:lnTo>
                <a:lnTo>
                  <a:pt x="285" y="234"/>
                </a:lnTo>
                <a:lnTo>
                  <a:pt x="285" y="235"/>
                </a:lnTo>
                <a:lnTo>
                  <a:pt x="286" y="236"/>
                </a:lnTo>
                <a:lnTo>
                  <a:pt x="286" y="238"/>
                </a:lnTo>
                <a:lnTo>
                  <a:pt x="287" y="236"/>
                </a:lnTo>
                <a:lnTo>
                  <a:pt x="288" y="236"/>
                </a:lnTo>
                <a:lnTo>
                  <a:pt x="288" y="238"/>
                </a:lnTo>
                <a:lnTo>
                  <a:pt x="290" y="239"/>
                </a:lnTo>
                <a:lnTo>
                  <a:pt x="291" y="239"/>
                </a:lnTo>
                <a:lnTo>
                  <a:pt x="294" y="241"/>
                </a:lnTo>
                <a:lnTo>
                  <a:pt x="294" y="245"/>
                </a:lnTo>
                <a:lnTo>
                  <a:pt x="296" y="246"/>
                </a:lnTo>
                <a:lnTo>
                  <a:pt x="294" y="247"/>
                </a:lnTo>
                <a:lnTo>
                  <a:pt x="296" y="247"/>
                </a:lnTo>
                <a:lnTo>
                  <a:pt x="296" y="258"/>
                </a:lnTo>
                <a:lnTo>
                  <a:pt x="297" y="260"/>
                </a:lnTo>
                <a:lnTo>
                  <a:pt x="297" y="265"/>
                </a:lnTo>
                <a:lnTo>
                  <a:pt x="299" y="267"/>
                </a:lnTo>
                <a:lnTo>
                  <a:pt x="298" y="269"/>
                </a:lnTo>
                <a:lnTo>
                  <a:pt x="299" y="269"/>
                </a:lnTo>
                <a:lnTo>
                  <a:pt x="299" y="273"/>
                </a:lnTo>
                <a:lnTo>
                  <a:pt x="300" y="275"/>
                </a:lnTo>
                <a:lnTo>
                  <a:pt x="300" y="278"/>
                </a:lnTo>
                <a:lnTo>
                  <a:pt x="302" y="278"/>
                </a:lnTo>
                <a:lnTo>
                  <a:pt x="302" y="279"/>
                </a:lnTo>
                <a:lnTo>
                  <a:pt x="303" y="282"/>
                </a:lnTo>
                <a:lnTo>
                  <a:pt x="303" y="284"/>
                </a:lnTo>
                <a:lnTo>
                  <a:pt x="304" y="284"/>
                </a:lnTo>
                <a:lnTo>
                  <a:pt x="304" y="285"/>
                </a:lnTo>
                <a:lnTo>
                  <a:pt x="305" y="287"/>
                </a:lnTo>
                <a:lnTo>
                  <a:pt x="305" y="290"/>
                </a:lnTo>
                <a:lnTo>
                  <a:pt x="306" y="290"/>
                </a:lnTo>
                <a:lnTo>
                  <a:pt x="305" y="291"/>
                </a:lnTo>
                <a:lnTo>
                  <a:pt x="309" y="301"/>
                </a:lnTo>
                <a:lnTo>
                  <a:pt x="309" y="303"/>
                </a:lnTo>
                <a:lnTo>
                  <a:pt x="311" y="304"/>
                </a:lnTo>
                <a:lnTo>
                  <a:pt x="311" y="306"/>
                </a:lnTo>
                <a:lnTo>
                  <a:pt x="314" y="306"/>
                </a:lnTo>
                <a:lnTo>
                  <a:pt x="314" y="307"/>
                </a:lnTo>
                <a:lnTo>
                  <a:pt x="312" y="307"/>
                </a:lnTo>
                <a:lnTo>
                  <a:pt x="314" y="308"/>
                </a:lnTo>
                <a:lnTo>
                  <a:pt x="314" y="310"/>
                </a:lnTo>
                <a:lnTo>
                  <a:pt x="312" y="312"/>
                </a:lnTo>
                <a:lnTo>
                  <a:pt x="314" y="312"/>
                </a:lnTo>
                <a:lnTo>
                  <a:pt x="314" y="313"/>
                </a:lnTo>
                <a:lnTo>
                  <a:pt x="315" y="313"/>
                </a:lnTo>
                <a:lnTo>
                  <a:pt x="315" y="310"/>
                </a:lnTo>
                <a:lnTo>
                  <a:pt x="316" y="312"/>
                </a:lnTo>
                <a:lnTo>
                  <a:pt x="317" y="312"/>
                </a:lnTo>
                <a:lnTo>
                  <a:pt x="319" y="313"/>
                </a:lnTo>
                <a:lnTo>
                  <a:pt x="321" y="314"/>
                </a:lnTo>
                <a:lnTo>
                  <a:pt x="330" y="316"/>
                </a:lnTo>
                <a:lnTo>
                  <a:pt x="340" y="322"/>
                </a:lnTo>
                <a:lnTo>
                  <a:pt x="341" y="324"/>
                </a:lnTo>
                <a:lnTo>
                  <a:pt x="341" y="327"/>
                </a:lnTo>
                <a:lnTo>
                  <a:pt x="343" y="328"/>
                </a:lnTo>
                <a:lnTo>
                  <a:pt x="345" y="330"/>
                </a:lnTo>
                <a:lnTo>
                  <a:pt x="345" y="332"/>
                </a:lnTo>
                <a:lnTo>
                  <a:pt x="346" y="333"/>
                </a:lnTo>
                <a:lnTo>
                  <a:pt x="346" y="338"/>
                </a:lnTo>
                <a:lnTo>
                  <a:pt x="347" y="338"/>
                </a:lnTo>
                <a:lnTo>
                  <a:pt x="347" y="339"/>
                </a:lnTo>
                <a:lnTo>
                  <a:pt x="348" y="339"/>
                </a:lnTo>
                <a:lnTo>
                  <a:pt x="349" y="340"/>
                </a:lnTo>
                <a:lnTo>
                  <a:pt x="350" y="340"/>
                </a:lnTo>
                <a:lnTo>
                  <a:pt x="352" y="341"/>
                </a:lnTo>
                <a:lnTo>
                  <a:pt x="352" y="344"/>
                </a:lnTo>
                <a:lnTo>
                  <a:pt x="353" y="345"/>
                </a:lnTo>
                <a:lnTo>
                  <a:pt x="359" y="347"/>
                </a:lnTo>
                <a:lnTo>
                  <a:pt x="360" y="349"/>
                </a:lnTo>
                <a:lnTo>
                  <a:pt x="356" y="351"/>
                </a:lnTo>
                <a:lnTo>
                  <a:pt x="355" y="352"/>
                </a:lnTo>
                <a:lnTo>
                  <a:pt x="354" y="356"/>
                </a:lnTo>
                <a:lnTo>
                  <a:pt x="354" y="357"/>
                </a:lnTo>
                <a:lnTo>
                  <a:pt x="355" y="362"/>
                </a:lnTo>
                <a:lnTo>
                  <a:pt x="356" y="364"/>
                </a:lnTo>
                <a:lnTo>
                  <a:pt x="368" y="382"/>
                </a:lnTo>
                <a:lnTo>
                  <a:pt x="370" y="384"/>
                </a:lnTo>
                <a:lnTo>
                  <a:pt x="368" y="387"/>
                </a:lnTo>
                <a:lnTo>
                  <a:pt x="367" y="388"/>
                </a:lnTo>
                <a:lnTo>
                  <a:pt x="368" y="386"/>
                </a:lnTo>
                <a:lnTo>
                  <a:pt x="368" y="384"/>
                </a:lnTo>
                <a:lnTo>
                  <a:pt x="367" y="384"/>
                </a:lnTo>
                <a:lnTo>
                  <a:pt x="365" y="382"/>
                </a:lnTo>
                <a:lnTo>
                  <a:pt x="364" y="382"/>
                </a:lnTo>
                <a:lnTo>
                  <a:pt x="362" y="383"/>
                </a:lnTo>
                <a:lnTo>
                  <a:pt x="358" y="383"/>
                </a:lnTo>
                <a:lnTo>
                  <a:pt x="358" y="382"/>
                </a:lnTo>
                <a:lnTo>
                  <a:pt x="352" y="376"/>
                </a:lnTo>
                <a:lnTo>
                  <a:pt x="350" y="376"/>
                </a:lnTo>
                <a:lnTo>
                  <a:pt x="345" y="377"/>
                </a:lnTo>
                <a:lnTo>
                  <a:pt x="340" y="377"/>
                </a:lnTo>
                <a:lnTo>
                  <a:pt x="339" y="376"/>
                </a:lnTo>
                <a:lnTo>
                  <a:pt x="335" y="376"/>
                </a:lnTo>
                <a:lnTo>
                  <a:pt x="333" y="378"/>
                </a:lnTo>
                <a:lnTo>
                  <a:pt x="334" y="378"/>
                </a:lnTo>
                <a:lnTo>
                  <a:pt x="335" y="377"/>
                </a:lnTo>
                <a:lnTo>
                  <a:pt x="337" y="377"/>
                </a:lnTo>
                <a:lnTo>
                  <a:pt x="340" y="378"/>
                </a:lnTo>
                <a:lnTo>
                  <a:pt x="340" y="380"/>
                </a:lnTo>
                <a:lnTo>
                  <a:pt x="341" y="380"/>
                </a:lnTo>
                <a:lnTo>
                  <a:pt x="342" y="378"/>
                </a:lnTo>
                <a:lnTo>
                  <a:pt x="350" y="377"/>
                </a:lnTo>
                <a:lnTo>
                  <a:pt x="352" y="377"/>
                </a:lnTo>
                <a:lnTo>
                  <a:pt x="352" y="380"/>
                </a:lnTo>
                <a:lnTo>
                  <a:pt x="355" y="384"/>
                </a:lnTo>
                <a:lnTo>
                  <a:pt x="356" y="384"/>
                </a:lnTo>
                <a:lnTo>
                  <a:pt x="358" y="387"/>
                </a:lnTo>
                <a:lnTo>
                  <a:pt x="360" y="387"/>
                </a:lnTo>
                <a:lnTo>
                  <a:pt x="361" y="388"/>
                </a:lnTo>
                <a:lnTo>
                  <a:pt x="362" y="390"/>
                </a:lnTo>
                <a:lnTo>
                  <a:pt x="367" y="394"/>
                </a:lnTo>
                <a:lnTo>
                  <a:pt x="370" y="394"/>
                </a:lnTo>
                <a:lnTo>
                  <a:pt x="370" y="395"/>
                </a:lnTo>
                <a:lnTo>
                  <a:pt x="371" y="395"/>
                </a:lnTo>
                <a:lnTo>
                  <a:pt x="371" y="398"/>
                </a:lnTo>
                <a:lnTo>
                  <a:pt x="372" y="399"/>
                </a:lnTo>
                <a:lnTo>
                  <a:pt x="373" y="399"/>
                </a:lnTo>
                <a:lnTo>
                  <a:pt x="373" y="400"/>
                </a:lnTo>
                <a:lnTo>
                  <a:pt x="374" y="401"/>
                </a:lnTo>
                <a:lnTo>
                  <a:pt x="374" y="402"/>
                </a:lnTo>
                <a:lnTo>
                  <a:pt x="378" y="412"/>
                </a:lnTo>
                <a:lnTo>
                  <a:pt x="378" y="418"/>
                </a:lnTo>
                <a:lnTo>
                  <a:pt x="377" y="421"/>
                </a:lnTo>
                <a:lnTo>
                  <a:pt x="375" y="423"/>
                </a:lnTo>
                <a:lnTo>
                  <a:pt x="374" y="423"/>
                </a:lnTo>
                <a:lnTo>
                  <a:pt x="370" y="427"/>
                </a:lnTo>
                <a:lnTo>
                  <a:pt x="366" y="432"/>
                </a:lnTo>
                <a:lnTo>
                  <a:pt x="366" y="433"/>
                </a:lnTo>
                <a:lnTo>
                  <a:pt x="364" y="433"/>
                </a:lnTo>
                <a:lnTo>
                  <a:pt x="364" y="436"/>
                </a:lnTo>
                <a:lnTo>
                  <a:pt x="367" y="436"/>
                </a:lnTo>
                <a:lnTo>
                  <a:pt x="368" y="437"/>
                </a:lnTo>
                <a:lnTo>
                  <a:pt x="371" y="437"/>
                </a:lnTo>
                <a:lnTo>
                  <a:pt x="372" y="441"/>
                </a:lnTo>
                <a:lnTo>
                  <a:pt x="373" y="442"/>
                </a:lnTo>
                <a:lnTo>
                  <a:pt x="378" y="442"/>
                </a:lnTo>
                <a:lnTo>
                  <a:pt x="379" y="444"/>
                </a:lnTo>
                <a:lnTo>
                  <a:pt x="379" y="443"/>
                </a:lnTo>
                <a:lnTo>
                  <a:pt x="380" y="441"/>
                </a:lnTo>
                <a:lnTo>
                  <a:pt x="381" y="439"/>
                </a:lnTo>
                <a:lnTo>
                  <a:pt x="381" y="437"/>
                </a:lnTo>
                <a:lnTo>
                  <a:pt x="383" y="436"/>
                </a:lnTo>
                <a:lnTo>
                  <a:pt x="383" y="433"/>
                </a:lnTo>
                <a:lnTo>
                  <a:pt x="385" y="431"/>
                </a:lnTo>
                <a:lnTo>
                  <a:pt x="387" y="430"/>
                </a:lnTo>
                <a:lnTo>
                  <a:pt x="391" y="430"/>
                </a:lnTo>
                <a:lnTo>
                  <a:pt x="391" y="429"/>
                </a:lnTo>
                <a:lnTo>
                  <a:pt x="392" y="429"/>
                </a:lnTo>
                <a:lnTo>
                  <a:pt x="393" y="430"/>
                </a:lnTo>
                <a:lnTo>
                  <a:pt x="399" y="430"/>
                </a:lnTo>
                <a:lnTo>
                  <a:pt x="402" y="431"/>
                </a:lnTo>
                <a:lnTo>
                  <a:pt x="405" y="431"/>
                </a:lnTo>
                <a:lnTo>
                  <a:pt x="405" y="430"/>
                </a:lnTo>
                <a:lnTo>
                  <a:pt x="417" y="432"/>
                </a:lnTo>
                <a:lnTo>
                  <a:pt x="422" y="436"/>
                </a:lnTo>
                <a:lnTo>
                  <a:pt x="433" y="443"/>
                </a:lnTo>
                <a:lnTo>
                  <a:pt x="434" y="445"/>
                </a:lnTo>
                <a:lnTo>
                  <a:pt x="435" y="447"/>
                </a:lnTo>
                <a:lnTo>
                  <a:pt x="435" y="450"/>
                </a:lnTo>
                <a:lnTo>
                  <a:pt x="436" y="453"/>
                </a:lnTo>
                <a:lnTo>
                  <a:pt x="436" y="461"/>
                </a:lnTo>
                <a:lnTo>
                  <a:pt x="437" y="463"/>
                </a:lnTo>
                <a:lnTo>
                  <a:pt x="437" y="464"/>
                </a:lnTo>
                <a:lnTo>
                  <a:pt x="436" y="468"/>
                </a:lnTo>
                <a:lnTo>
                  <a:pt x="436" y="470"/>
                </a:lnTo>
                <a:lnTo>
                  <a:pt x="433" y="478"/>
                </a:lnTo>
                <a:lnTo>
                  <a:pt x="432" y="479"/>
                </a:lnTo>
                <a:lnTo>
                  <a:pt x="432" y="485"/>
                </a:lnTo>
                <a:lnTo>
                  <a:pt x="430" y="487"/>
                </a:lnTo>
                <a:lnTo>
                  <a:pt x="430" y="491"/>
                </a:lnTo>
                <a:lnTo>
                  <a:pt x="429" y="492"/>
                </a:lnTo>
                <a:lnTo>
                  <a:pt x="427" y="493"/>
                </a:lnTo>
                <a:lnTo>
                  <a:pt x="426" y="494"/>
                </a:lnTo>
                <a:lnTo>
                  <a:pt x="426" y="493"/>
                </a:lnTo>
                <a:lnTo>
                  <a:pt x="424" y="494"/>
                </a:lnTo>
                <a:lnTo>
                  <a:pt x="424" y="496"/>
                </a:lnTo>
                <a:lnTo>
                  <a:pt x="420" y="500"/>
                </a:lnTo>
                <a:lnTo>
                  <a:pt x="420" y="501"/>
                </a:lnTo>
                <a:lnTo>
                  <a:pt x="417" y="499"/>
                </a:lnTo>
                <a:lnTo>
                  <a:pt x="417" y="500"/>
                </a:lnTo>
                <a:lnTo>
                  <a:pt x="414" y="500"/>
                </a:lnTo>
                <a:lnTo>
                  <a:pt x="412" y="499"/>
                </a:lnTo>
                <a:lnTo>
                  <a:pt x="411" y="499"/>
                </a:lnTo>
                <a:lnTo>
                  <a:pt x="409" y="500"/>
                </a:lnTo>
                <a:lnTo>
                  <a:pt x="416" y="501"/>
                </a:lnTo>
                <a:lnTo>
                  <a:pt x="417" y="500"/>
                </a:lnTo>
                <a:lnTo>
                  <a:pt x="417" y="501"/>
                </a:lnTo>
                <a:lnTo>
                  <a:pt x="414" y="505"/>
                </a:lnTo>
                <a:lnTo>
                  <a:pt x="414" y="506"/>
                </a:lnTo>
                <a:lnTo>
                  <a:pt x="417" y="506"/>
                </a:lnTo>
                <a:lnTo>
                  <a:pt x="417" y="507"/>
                </a:lnTo>
                <a:lnTo>
                  <a:pt x="415" y="510"/>
                </a:lnTo>
                <a:lnTo>
                  <a:pt x="412" y="511"/>
                </a:lnTo>
                <a:lnTo>
                  <a:pt x="411" y="512"/>
                </a:lnTo>
                <a:lnTo>
                  <a:pt x="406" y="512"/>
                </a:lnTo>
                <a:lnTo>
                  <a:pt x="406" y="511"/>
                </a:lnTo>
                <a:lnTo>
                  <a:pt x="404" y="509"/>
                </a:lnTo>
                <a:lnTo>
                  <a:pt x="404" y="510"/>
                </a:lnTo>
                <a:lnTo>
                  <a:pt x="402" y="511"/>
                </a:lnTo>
                <a:lnTo>
                  <a:pt x="401" y="512"/>
                </a:lnTo>
                <a:lnTo>
                  <a:pt x="401" y="513"/>
                </a:lnTo>
                <a:lnTo>
                  <a:pt x="399" y="515"/>
                </a:lnTo>
                <a:lnTo>
                  <a:pt x="398" y="515"/>
                </a:lnTo>
                <a:lnTo>
                  <a:pt x="398" y="516"/>
                </a:lnTo>
                <a:lnTo>
                  <a:pt x="397" y="515"/>
                </a:lnTo>
                <a:lnTo>
                  <a:pt x="396" y="515"/>
                </a:lnTo>
                <a:lnTo>
                  <a:pt x="393" y="516"/>
                </a:lnTo>
                <a:lnTo>
                  <a:pt x="392" y="516"/>
                </a:lnTo>
                <a:lnTo>
                  <a:pt x="393" y="517"/>
                </a:lnTo>
                <a:lnTo>
                  <a:pt x="395" y="517"/>
                </a:lnTo>
                <a:lnTo>
                  <a:pt x="395" y="518"/>
                </a:lnTo>
                <a:lnTo>
                  <a:pt x="396" y="517"/>
                </a:lnTo>
                <a:lnTo>
                  <a:pt x="399" y="516"/>
                </a:lnTo>
                <a:lnTo>
                  <a:pt x="401" y="516"/>
                </a:lnTo>
                <a:lnTo>
                  <a:pt x="402" y="515"/>
                </a:lnTo>
                <a:lnTo>
                  <a:pt x="403" y="516"/>
                </a:lnTo>
                <a:lnTo>
                  <a:pt x="403" y="522"/>
                </a:lnTo>
                <a:lnTo>
                  <a:pt x="402" y="522"/>
                </a:lnTo>
                <a:lnTo>
                  <a:pt x="402" y="523"/>
                </a:lnTo>
                <a:lnTo>
                  <a:pt x="403" y="523"/>
                </a:lnTo>
                <a:lnTo>
                  <a:pt x="402" y="525"/>
                </a:lnTo>
                <a:lnTo>
                  <a:pt x="399" y="527"/>
                </a:lnTo>
                <a:lnTo>
                  <a:pt x="397" y="529"/>
                </a:lnTo>
                <a:lnTo>
                  <a:pt x="390" y="529"/>
                </a:lnTo>
                <a:lnTo>
                  <a:pt x="390" y="530"/>
                </a:lnTo>
                <a:lnTo>
                  <a:pt x="385" y="530"/>
                </a:lnTo>
                <a:lnTo>
                  <a:pt x="383" y="531"/>
                </a:lnTo>
                <a:lnTo>
                  <a:pt x="381" y="531"/>
                </a:lnTo>
                <a:lnTo>
                  <a:pt x="381" y="534"/>
                </a:lnTo>
                <a:lnTo>
                  <a:pt x="380" y="534"/>
                </a:lnTo>
                <a:lnTo>
                  <a:pt x="379" y="535"/>
                </a:lnTo>
                <a:lnTo>
                  <a:pt x="381" y="534"/>
                </a:lnTo>
                <a:lnTo>
                  <a:pt x="383" y="534"/>
                </a:lnTo>
                <a:lnTo>
                  <a:pt x="383" y="533"/>
                </a:lnTo>
                <a:lnTo>
                  <a:pt x="385" y="531"/>
                </a:lnTo>
                <a:lnTo>
                  <a:pt x="392" y="533"/>
                </a:lnTo>
                <a:lnTo>
                  <a:pt x="393" y="534"/>
                </a:lnTo>
                <a:lnTo>
                  <a:pt x="393" y="535"/>
                </a:lnTo>
                <a:lnTo>
                  <a:pt x="390" y="535"/>
                </a:lnTo>
                <a:lnTo>
                  <a:pt x="389" y="536"/>
                </a:lnTo>
                <a:lnTo>
                  <a:pt x="387" y="536"/>
                </a:lnTo>
                <a:lnTo>
                  <a:pt x="386" y="537"/>
                </a:lnTo>
                <a:lnTo>
                  <a:pt x="387" y="539"/>
                </a:lnTo>
                <a:lnTo>
                  <a:pt x="392" y="539"/>
                </a:lnTo>
                <a:lnTo>
                  <a:pt x="392" y="536"/>
                </a:lnTo>
                <a:lnTo>
                  <a:pt x="393" y="536"/>
                </a:lnTo>
                <a:lnTo>
                  <a:pt x="393" y="537"/>
                </a:lnTo>
                <a:lnTo>
                  <a:pt x="395" y="535"/>
                </a:lnTo>
                <a:lnTo>
                  <a:pt x="396" y="535"/>
                </a:lnTo>
                <a:lnTo>
                  <a:pt x="401" y="536"/>
                </a:lnTo>
                <a:lnTo>
                  <a:pt x="401" y="537"/>
                </a:lnTo>
                <a:lnTo>
                  <a:pt x="402" y="537"/>
                </a:lnTo>
                <a:lnTo>
                  <a:pt x="402" y="539"/>
                </a:lnTo>
                <a:lnTo>
                  <a:pt x="403" y="539"/>
                </a:lnTo>
                <a:lnTo>
                  <a:pt x="403" y="540"/>
                </a:lnTo>
                <a:lnTo>
                  <a:pt x="402" y="541"/>
                </a:lnTo>
                <a:lnTo>
                  <a:pt x="397" y="540"/>
                </a:lnTo>
                <a:lnTo>
                  <a:pt x="396" y="540"/>
                </a:lnTo>
                <a:lnTo>
                  <a:pt x="395" y="539"/>
                </a:lnTo>
                <a:lnTo>
                  <a:pt x="395" y="540"/>
                </a:lnTo>
                <a:lnTo>
                  <a:pt x="396" y="541"/>
                </a:lnTo>
                <a:lnTo>
                  <a:pt x="404" y="541"/>
                </a:lnTo>
                <a:lnTo>
                  <a:pt x="409" y="540"/>
                </a:lnTo>
                <a:lnTo>
                  <a:pt x="423" y="539"/>
                </a:lnTo>
                <a:lnTo>
                  <a:pt x="424" y="539"/>
                </a:lnTo>
                <a:lnTo>
                  <a:pt x="423" y="541"/>
                </a:lnTo>
                <a:lnTo>
                  <a:pt x="423" y="542"/>
                </a:lnTo>
                <a:lnTo>
                  <a:pt x="421" y="542"/>
                </a:lnTo>
                <a:lnTo>
                  <a:pt x="421" y="544"/>
                </a:lnTo>
                <a:lnTo>
                  <a:pt x="422" y="546"/>
                </a:lnTo>
                <a:lnTo>
                  <a:pt x="422" y="553"/>
                </a:lnTo>
                <a:lnTo>
                  <a:pt x="421" y="555"/>
                </a:lnTo>
                <a:lnTo>
                  <a:pt x="421" y="556"/>
                </a:lnTo>
                <a:lnTo>
                  <a:pt x="417" y="558"/>
                </a:lnTo>
                <a:lnTo>
                  <a:pt x="415" y="558"/>
                </a:lnTo>
                <a:lnTo>
                  <a:pt x="412" y="560"/>
                </a:lnTo>
                <a:lnTo>
                  <a:pt x="408" y="560"/>
                </a:lnTo>
                <a:lnTo>
                  <a:pt x="406" y="562"/>
                </a:lnTo>
                <a:lnTo>
                  <a:pt x="404" y="565"/>
                </a:lnTo>
                <a:lnTo>
                  <a:pt x="404" y="571"/>
                </a:lnTo>
                <a:lnTo>
                  <a:pt x="403" y="571"/>
                </a:lnTo>
                <a:lnTo>
                  <a:pt x="399" y="570"/>
                </a:lnTo>
                <a:lnTo>
                  <a:pt x="397" y="568"/>
                </a:lnTo>
                <a:lnTo>
                  <a:pt x="395" y="570"/>
                </a:lnTo>
                <a:lnTo>
                  <a:pt x="390" y="574"/>
                </a:lnTo>
                <a:lnTo>
                  <a:pt x="380" y="577"/>
                </a:lnTo>
                <a:lnTo>
                  <a:pt x="378" y="577"/>
                </a:lnTo>
                <a:lnTo>
                  <a:pt x="378" y="579"/>
                </a:lnTo>
                <a:lnTo>
                  <a:pt x="375" y="579"/>
                </a:lnTo>
                <a:lnTo>
                  <a:pt x="374" y="582"/>
                </a:lnTo>
                <a:lnTo>
                  <a:pt x="372" y="582"/>
                </a:lnTo>
                <a:lnTo>
                  <a:pt x="370" y="580"/>
                </a:lnTo>
                <a:lnTo>
                  <a:pt x="367" y="580"/>
                </a:lnTo>
                <a:lnTo>
                  <a:pt x="366" y="579"/>
                </a:lnTo>
                <a:lnTo>
                  <a:pt x="364" y="579"/>
                </a:lnTo>
                <a:lnTo>
                  <a:pt x="355" y="577"/>
                </a:lnTo>
                <a:lnTo>
                  <a:pt x="352" y="577"/>
                </a:lnTo>
                <a:lnTo>
                  <a:pt x="346" y="578"/>
                </a:lnTo>
                <a:lnTo>
                  <a:pt x="339" y="578"/>
                </a:lnTo>
                <a:lnTo>
                  <a:pt x="333" y="580"/>
                </a:lnTo>
                <a:lnTo>
                  <a:pt x="330" y="580"/>
                </a:lnTo>
                <a:lnTo>
                  <a:pt x="330" y="583"/>
                </a:lnTo>
                <a:lnTo>
                  <a:pt x="329" y="583"/>
                </a:lnTo>
                <a:lnTo>
                  <a:pt x="324" y="580"/>
                </a:lnTo>
                <a:lnTo>
                  <a:pt x="324" y="579"/>
                </a:lnTo>
                <a:lnTo>
                  <a:pt x="325" y="579"/>
                </a:lnTo>
                <a:lnTo>
                  <a:pt x="327" y="578"/>
                </a:lnTo>
                <a:lnTo>
                  <a:pt x="325" y="577"/>
                </a:lnTo>
                <a:lnTo>
                  <a:pt x="324" y="577"/>
                </a:lnTo>
                <a:lnTo>
                  <a:pt x="324" y="576"/>
                </a:lnTo>
                <a:lnTo>
                  <a:pt x="319" y="576"/>
                </a:lnTo>
                <a:lnTo>
                  <a:pt x="319" y="578"/>
                </a:lnTo>
                <a:lnTo>
                  <a:pt x="318" y="579"/>
                </a:lnTo>
                <a:lnTo>
                  <a:pt x="316" y="579"/>
                </a:lnTo>
                <a:lnTo>
                  <a:pt x="317" y="578"/>
                </a:lnTo>
                <a:lnTo>
                  <a:pt x="317" y="577"/>
                </a:lnTo>
                <a:lnTo>
                  <a:pt x="318" y="576"/>
                </a:lnTo>
                <a:lnTo>
                  <a:pt x="317" y="574"/>
                </a:lnTo>
                <a:lnTo>
                  <a:pt x="315" y="576"/>
                </a:lnTo>
                <a:lnTo>
                  <a:pt x="314" y="576"/>
                </a:lnTo>
                <a:lnTo>
                  <a:pt x="315" y="577"/>
                </a:lnTo>
                <a:lnTo>
                  <a:pt x="316" y="577"/>
                </a:lnTo>
                <a:lnTo>
                  <a:pt x="316" y="579"/>
                </a:lnTo>
                <a:lnTo>
                  <a:pt x="312" y="579"/>
                </a:lnTo>
                <a:lnTo>
                  <a:pt x="312" y="578"/>
                </a:lnTo>
                <a:lnTo>
                  <a:pt x="310" y="576"/>
                </a:lnTo>
                <a:lnTo>
                  <a:pt x="308" y="576"/>
                </a:lnTo>
                <a:lnTo>
                  <a:pt x="308" y="574"/>
                </a:lnTo>
                <a:lnTo>
                  <a:pt x="306" y="573"/>
                </a:lnTo>
                <a:lnTo>
                  <a:pt x="302" y="571"/>
                </a:lnTo>
                <a:lnTo>
                  <a:pt x="308" y="577"/>
                </a:lnTo>
                <a:lnTo>
                  <a:pt x="308" y="578"/>
                </a:lnTo>
                <a:lnTo>
                  <a:pt x="306" y="579"/>
                </a:lnTo>
                <a:lnTo>
                  <a:pt x="304" y="579"/>
                </a:lnTo>
                <a:lnTo>
                  <a:pt x="304" y="580"/>
                </a:lnTo>
                <a:lnTo>
                  <a:pt x="300" y="580"/>
                </a:lnTo>
                <a:lnTo>
                  <a:pt x="300" y="582"/>
                </a:lnTo>
                <a:lnTo>
                  <a:pt x="298" y="580"/>
                </a:lnTo>
                <a:lnTo>
                  <a:pt x="297" y="584"/>
                </a:lnTo>
                <a:lnTo>
                  <a:pt x="296" y="583"/>
                </a:lnTo>
                <a:lnTo>
                  <a:pt x="291" y="583"/>
                </a:lnTo>
                <a:lnTo>
                  <a:pt x="288" y="584"/>
                </a:lnTo>
                <a:lnTo>
                  <a:pt x="287" y="584"/>
                </a:lnTo>
                <a:lnTo>
                  <a:pt x="286" y="583"/>
                </a:lnTo>
                <a:lnTo>
                  <a:pt x="285" y="583"/>
                </a:lnTo>
                <a:lnTo>
                  <a:pt x="284" y="584"/>
                </a:lnTo>
                <a:lnTo>
                  <a:pt x="283" y="584"/>
                </a:lnTo>
                <a:lnTo>
                  <a:pt x="281" y="585"/>
                </a:lnTo>
                <a:lnTo>
                  <a:pt x="281" y="584"/>
                </a:lnTo>
                <a:lnTo>
                  <a:pt x="278" y="584"/>
                </a:lnTo>
                <a:lnTo>
                  <a:pt x="278" y="583"/>
                </a:lnTo>
                <a:lnTo>
                  <a:pt x="277" y="583"/>
                </a:lnTo>
                <a:lnTo>
                  <a:pt x="275" y="585"/>
                </a:lnTo>
                <a:lnTo>
                  <a:pt x="277" y="585"/>
                </a:lnTo>
                <a:lnTo>
                  <a:pt x="277" y="584"/>
                </a:lnTo>
                <a:lnTo>
                  <a:pt x="279" y="586"/>
                </a:lnTo>
                <a:lnTo>
                  <a:pt x="280" y="586"/>
                </a:lnTo>
                <a:lnTo>
                  <a:pt x="281" y="587"/>
                </a:lnTo>
                <a:lnTo>
                  <a:pt x="280" y="589"/>
                </a:lnTo>
                <a:lnTo>
                  <a:pt x="281" y="589"/>
                </a:lnTo>
                <a:lnTo>
                  <a:pt x="280" y="590"/>
                </a:lnTo>
                <a:lnTo>
                  <a:pt x="280" y="591"/>
                </a:lnTo>
                <a:lnTo>
                  <a:pt x="279" y="592"/>
                </a:lnTo>
                <a:lnTo>
                  <a:pt x="275" y="592"/>
                </a:lnTo>
                <a:lnTo>
                  <a:pt x="272" y="590"/>
                </a:lnTo>
                <a:lnTo>
                  <a:pt x="265" y="590"/>
                </a:lnTo>
                <a:lnTo>
                  <a:pt x="262" y="589"/>
                </a:lnTo>
                <a:lnTo>
                  <a:pt x="260" y="589"/>
                </a:lnTo>
                <a:lnTo>
                  <a:pt x="260" y="590"/>
                </a:lnTo>
                <a:lnTo>
                  <a:pt x="259" y="591"/>
                </a:lnTo>
                <a:lnTo>
                  <a:pt x="259" y="592"/>
                </a:lnTo>
                <a:lnTo>
                  <a:pt x="249" y="585"/>
                </a:lnTo>
                <a:lnTo>
                  <a:pt x="242" y="583"/>
                </a:lnTo>
                <a:lnTo>
                  <a:pt x="238" y="583"/>
                </a:lnTo>
                <a:lnTo>
                  <a:pt x="238" y="584"/>
                </a:lnTo>
                <a:lnTo>
                  <a:pt x="234" y="584"/>
                </a:lnTo>
                <a:lnTo>
                  <a:pt x="231" y="586"/>
                </a:lnTo>
                <a:lnTo>
                  <a:pt x="230" y="586"/>
                </a:lnTo>
                <a:lnTo>
                  <a:pt x="230" y="585"/>
                </a:lnTo>
                <a:lnTo>
                  <a:pt x="229" y="585"/>
                </a:lnTo>
                <a:lnTo>
                  <a:pt x="228" y="586"/>
                </a:lnTo>
                <a:lnTo>
                  <a:pt x="225" y="586"/>
                </a:lnTo>
                <a:lnTo>
                  <a:pt x="225" y="587"/>
                </a:lnTo>
                <a:lnTo>
                  <a:pt x="224" y="589"/>
                </a:lnTo>
                <a:lnTo>
                  <a:pt x="221" y="590"/>
                </a:lnTo>
                <a:lnTo>
                  <a:pt x="218" y="590"/>
                </a:lnTo>
                <a:lnTo>
                  <a:pt x="218" y="589"/>
                </a:lnTo>
                <a:lnTo>
                  <a:pt x="217" y="587"/>
                </a:lnTo>
                <a:lnTo>
                  <a:pt x="218" y="590"/>
                </a:lnTo>
                <a:lnTo>
                  <a:pt x="218" y="591"/>
                </a:lnTo>
                <a:lnTo>
                  <a:pt x="217" y="591"/>
                </a:lnTo>
                <a:lnTo>
                  <a:pt x="217" y="592"/>
                </a:lnTo>
                <a:lnTo>
                  <a:pt x="216" y="593"/>
                </a:lnTo>
                <a:lnTo>
                  <a:pt x="216" y="595"/>
                </a:lnTo>
                <a:lnTo>
                  <a:pt x="215" y="597"/>
                </a:lnTo>
                <a:lnTo>
                  <a:pt x="215" y="598"/>
                </a:lnTo>
                <a:lnTo>
                  <a:pt x="216" y="601"/>
                </a:lnTo>
                <a:lnTo>
                  <a:pt x="213" y="601"/>
                </a:lnTo>
                <a:lnTo>
                  <a:pt x="213" y="604"/>
                </a:lnTo>
                <a:lnTo>
                  <a:pt x="216" y="604"/>
                </a:lnTo>
                <a:lnTo>
                  <a:pt x="216" y="605"/>
                </a:lnTo>
                <a:lnTo>
                  <a:pt x="215" y="605"/>
                </a:lnTo>
                <a:lnTo>
                  <a:pt x="215" y="608"/>
                </a:lnTo>
                <a:lnTo>
                  <a:pt x="213" y="609"/>
                </a:lnTo>
                <a:lnTo>
                  <a:pt x="213" y="608"/>
                </a:lnTo>
                <a:lnTo>
                  <a:pt x="212" y="608"/>
                </a:lnTo>
                <a:lnTo>
                  <a:pt x="212" y="609"/>
                </a:lnTo>
                <a:lnTo>
                  <a:pt x="211" y="610"/>
                </a:lnTo>
                <a:lnTo>
                  <a:pt x="210" y="610"/>
                </a:lnTo>
                <a:lnTo>
                  <a:pt x="210" y="611"/>
                </a:lnTo>
                <a:lnTo>
                  <a:pt x="209" y="613"/>
                </a:lnTo>
                <a:lnTo>
                  <a:pt x="209" y="616"/>
                </a:lnTo>
                <a:lnTo>
                  <a:pt x="206" y="617"/>
                </a:lnTo>
                <a:lnTo>
                  <a:pt x="205" y="617"/>
                </a:lnTo>
                <a:lnTo>
                  <a:pt x="204" y="616"/>
                </a:lnTo>
                <a:lnTo>
                  <a:pt x="203" y="617"/>
                </a:lnTo>
                <a:lnTo>
                  <a:pt x="201" y="616"/>
                </a:lnTo>
                <a:lnTo>
                  <a:pt x="199" y="613"/>
                </a:lnTo>
                <a:lnTo>
                  <a:pt x="197" y="610"/>
                </a:lnTo>
                <a:lnTo>
                  <a:pt x="194" y="610"/>
                </a:lnTo>
                <a:lnTo>
                  <a:pt x="194" y="611"/>
                </a:lnTo>
                <a:lnTo>
                  <a:pt x="191" y="611"/>
                </a:lnTo>
                <a:lnTo>
                  <a:pt x="191" y="610"/>
                </a:lnTo>
                <a:lnTo>
                  <a:pt x="190" y="609"/>
                </a:lnTo>
                <a:lnTo>
                  <a:pt x="190" y="607"/>
                </a:lnTo>
                <a:lnTo>
                  <a:pt x="187" y="607"/>
                </a:lnTo>
                <a:lnTo>
                  <a:pt x="187" y="605"/>
                </a:lnTo>
                <a:lnTo>
                  <a:pt x="186" y="604"/>
                </a:lnTo>
                <a:lnTo>
                  <a:pt x="186" y="603"/>
                </a:lnTo>
                <a:lnTo>
                  <a:pt x="187" y="602"/>
                </a:lnTo>
                <a:lnTo>
                  <a:pt x="185" y="602"/>
                </a:lnTo>
                <a:lnTo>
                  <a:pt x="185" y="605"/>
                </a:lnTo>
                <a:lnTo>
                  <a:pt x="182" y="605"/>
                </a:lnTo>
                <a:lnTo>
                  <a:pt x="182" y="607"/>
                </a:lnTo>
                <a:lnTo>
                  <a:pt x="185" y="605"/>
                </a:lnTo>
                <a:lnTo>
                  <a:pt x="186" y="607"/>
                </a:lnTo>
                <a:lnTo>
                  <a:pt x="185" y="607"/>
                </a:lnTo>
                <a:lnTo>
                  <a:pt x="186" y="608"/>
                </a:lnTo>
                <a:lnTo>
                  <a:pt x="186" y="610"/>
                </a:lnTo>
                <a:lnTo>
                  <a:pt x="185" y="610"/>
                </a:lnTo>
                <a:lnTo>
                  <a:pt x="185" y="608"/>
                </a:lnTo>
                <a:lnTo>
                  <a:pt x="184" y="608"/>
                </a:lnTo>
                <a:lnTo>
                  <a:pt x="180" y="607"/>
                </a:lnTo>
                <a:lnTo>
                  <a:pt x="178" y="607"/>
                </a:lnTo>
                <a:lnTo>
                  <a:pt x="175" y="609"/>
                </a:lnTo>
                <a:lnTo>
                  <a:pt x="173" y="609"/>
                </a:lnTo>
                <a:lnTo>
                  <a:pt x="167" y="610"/>
                </a:lnTo>
                <a:lnTo>
                  <a:pt x="166" y="610"/>
                </a:lnTo>
                <a:lnTo>
                  <a:pt x="166" y="609"/>
                </a:lnTo>
                <a:lnTo>
                  <a:pt x="162" y="609"/>
                </a:lnTo>
                <a:lnTo>
                  <a:pt x="162" y="611"/>
                </a:lnTo>
                <a:lnTo>
                  <a:pt x="161" y="613"/>
                </a:lnTo>
                <a:lnTo>
                  <a:pt x="161" y="616"/>
                </a:lnTo>
                <a:lnTo>
                  <a:pt x="157" y="616"/>
                </a:lnTo>
                <a:lnTo>
                  <a:pt x="156" y="617"/>
                </a:lnTo>
                <a:lnTo>
                  <a:pt x="154" y="619"/>
                </a:lnTo>
                <a:lnTo>
                  <a:pt x="151" y="622"/>
                </a:lnTo>
                <a:lnTo>
                  <a:pt x="151" y="619"/>
                </a:lnTo>
                <a:lnTo>
                  <a:pt x="150" y="619"/>
                </a:lnTo>
                <a:lnTo>
                  <a:pt x="150" y="620"/>
                </a:lnTo>
                <a:lnTo>
                  <a:pt x="149" y="621"/>
                </a:lnTo>
                <a:lnTo>
                  <a:pt x="150" y="622"/>
                </a:lnTo>
                <a:lnTo>
                  <a:pt x="149" y="622"/>
                </a:lnTo>
                <a:lnTo>
                  <a:pt x="149" y="623"/>
                </a:lnTo>
                <a:lnTo>
                  <a:pt x="148" y="625"/>
                </a:lnTo>
                <a:lnTo>
                  <a:pt x="148" y="626"/>
                </a:lnTo>
                <a:lnTo>
                  <a:pt x="149" y="626"/>
                </a:lnTo>
                <a:lnTo>
                  <a:pt x="149" y="628"/>
                </a:lnTo>
                <a:lnTo>
                  <a:pt x="148" y="630"/>
                </a:lnTo>
                <a:lnTo>
                  <a:pt x="145" y="630"/>
                </a:lnTo>
                <a:lnTo>
                  <a:pt x="144" y="632"/>
                </a:lnTo>
                <a:lnTo>
                  <a:pt x="144" y="634"/>
                </a:lnTo>
                <a:lnTo>
                  <a:pt x="143" y="634"/>
                </a:lnTo>
                <a:lnTo>
                  <a:pt x="143" y="633"/>
                </a:lnTo>
                <a:lnTo>
                  <a:pt x="142" y="632"/>
                </a:lnTo>
                <a:lnTo>
                  <a:pt x="142" y="629"/>
                </a:lnTo>
                <a:lnTo>
                  <a:pt x="140" y="627"/>
                </a:lnTo>
                <a:lnTo>
                  <a:pt x="140" y="626"/>
                </a:lnTo>
                <a:lnTo>
                  <a:pt x="138" y="626"/>
                </a:lnTo>
                <a:lnTo>
                  <a:pt x="134" y="623"/>
                </a:lnTo>
                <a:lnTo>
                  <a:pt x="132" y="623"/>
                </a:lnTo>
                <a:lnTo>
                  <a:pt x="132" y="622"/>
                </a:lnTo>
                <a:lnTo>
                  <a:pt x="131" y="622"/>
                </a:lnTo>
                <a:lnTo>
                  <a:pt x="130" y="623"/>
                </a:lnTo>
                <a:lnTo>
                  <a:pt x="129" y="623"/>
                </a:lnTo>
                <a:lnTo>
                  <a:pt x="129" y="625"/>
                </a:lnTo>
                <a:lnTo>
                  <a:pt x="130" y="626"/>
                </a:lnTo>
                <a:lnTo>
                  <a:pt x="128" y="628"/>
                </a:lnTo>
                <a:lnTo>
                  <a:pt x="123" y="628"/>
                </a:lnTo>
                <a:lnTo>
                  <a:pt x="122" y="626"/>
                </a:lnTo>
                <a:lnTo>
                  <a:pt x="123" y="626"/>
                </a:lnTo>
                <a:lnTo>
                  <a:pt x="123" y="625"/>
                </a:lnTo>
                <a:lnTo>
                  <a:pt x="122" y="623"/>
                </a:lnTo>
                <a:lnTo>
                  <a:pt x="122" y="622"/>
                </a:lnTo>
                <a:lnTo>
                  <a:pt x="123" y="622"/>
                </a:lnTo>
                <a:lnTo>
                  <a:pt x="123" y="621"/>
                </a:lnTo>
                <a:lnTo>
                  <a:pt x="124" y="620"/>
                </a:lnTo>
                <a:lnTo>
                  <a:pt x="125" y="620"/>
                </a:lnTo>
                <a:lnTo>
                  <a:pt x="128" y="619"/>
                </a:lnTo>
                <a:lnTo>
                  <a:pt x="130" y="616"/>
                </a:lnTo>
                <a:lnTo>
                  <a:pt x="131" y="616"/>
                </a:lnTo>
                <a:lnTo>
                  <a:pt x="132" y="619"/>
                </a:lnTo>
                <a:lnTo>
                  <a:pt x="134" y="619"/>
                </a:lnTo>
                <a:lnTo>
                  <a:pt x="135" y="617"/>
                </a:lnTo>
                <a:lnTo>
                  <a:pt x="135" y="616"/>
                </a:lnTo>
                <a:lnTo>
                  <a:pt x="136" y="616"/>
                </a:lnTo>
                <a:lnTo>
                  <a:pt x="136" y="615"/>
                </a:lnTo>
                <a:lnTo>
                  <a:pt x="138" y="615"/>
                </a:lnTo>
                <a:lnTo>
                  <a:pt x="143" y="609"/>
                </a:lnTo>
                <a:lnTo>
                  <a:pt x="145" y="608"/>
                </a:lnTo>
                <a:lnTo>
                  <a:pt x="145" y="604"/>
                </a:lnTo>
                <a:lnTo>
                  <a:pt x="147" y="604"/>
                </a:lnTo>
                <a:lnTo>
                  <a:pt x="150" y="603"/>
                </a:lnTo>
                <a:lnTo>
                  <a:pt x="150" y="598"/>
                </a:lnTo>
                <a:lnTo>
                  <a:pt x="151" y="597"/>
                </a:lnTo>
                <a:lnTo>
                  <a:pt x="151" y="596"/>
                </a:lnTo>
                <a:lnTo>
                  <a:pt x="153" y="595"/>
                </a:lnTo>
                <a:lnTo>
                  <a:pt x="154" y="595"/>
                </a:lnTo>
                <a:lnTo>
                  <a:pt x="154" y="593"/>
                </a:lnTo>
                <a:lnTo>
                  <a:pt x="155" y="595"/>
                </a:lnTo>
                <a:lnTo>
                  <a:pt x="155" y="596"/>
                </a:lnTo>
                <a:lnTo>
                  <a:pt x="156" y="597"/>
                </a:lnTo>
                <a:lnTo>
                  <a:pt x="159" y="597"/>
                </a:lnTo>
                <a:lnTo>
                  <a:pt x="159" y="596"/>
                </a:lnTo>
                <a:lnTo>
                  <a:pt x="156" y="596"/>
                </a:lnTo>
                <a:lnTo>
                  <a:pt x="155" y="595"/>
                </a:lnTo>
                <a:lnTo>
                  <a:pt x="155" y="592"/>
                </a:lnTo>
                <a:lnTo>
                  <a:pt x="161" y="592"/>
                </a:lnTo>
                <a:lnTo>
                  <a:pt x="161" y="591"/>
                </a:lnTo>
                <a:lnTo>
                  <a:pt x="162" y="590"/>
                </a:lnTo>
                <a:lnTo>
                  <a:pt x="162" y="586"/>
                </a:lnTo>
                <a:lnTo>
                  <a:pt x="163" y="586"/>
                </a:lnTo>
                <a:lnTo>
                  <a:pt x="167" y="584"/>
                </a:lnTo>
                <a:lnTo>
                  <a:pt x="167" y="583"/>
                </a:lnTo>
                <a:lnTo>
                  <a:pt x="169" y="580"/>
                </a:lnTo>
                <a:lnTo>
                  <a:pt x="170" y="578"/>
                </a:lnTo>
                <a:lnTo>
                  <a:pt x="170" y="572"/>
                </a:lnTo>
                <a:lnTo>
                  <a:pt x="172" y="568"/>
                </a:lnTo>
                <a:lnTo>
                  <a:pt x="172" y="564"/>
                </a:lnTo>
                <a:lnTo>
                  <a:pt x="176" y="564"/>
                </a:lnTo>
                <a:lnTo>
                  <a:pt x="178" y="565"/>
                </a:lnTo>
                <a:lnTo>
                  <a:pt x="181" y="565"/>
                </a:lnTo>
                <a:lnTo>
                  <a:pt x="185" y="561"/>
                </a:lnTo>
                <a:lnTo>
                  <a:pt x="185" y="560"/>
                </a:lnTo>
                <a:lnTo>
                  <a:pt x="186" y="560"/>
                </a:lnTo>
                <a:lnTo>
                  <a:pt x="185" y="559"/>
                </a:lnTo>
                <a:lnTo>
                  <a:pt x="185" y="556"/>
                </a:lnTo>
                <a:lnTo>
                  <a:pt x="184" y="555"/>
                </a:lnTo>
                <a:lnTo>
                  <a:pt x="185" y="555"/>
                </a:lnTo>
                <a:lnTo>
                  <a:pt x="185" y="552"/>
                </a:lnTo>
                <a:lnTo>
                  <a:pt x="187" y="550"/>
                </a:lnTo>
                <a:lnTo>
                  <a:pt x="196" y="550"/>
                </a:lnTo>
                <a:lnTo>
                  <a:pt x="197" y="549"/>
                </a:lnTo>
                <a:lnTo>
                  <a:pt x="201" y="549"/>
                </a:lnTo>
                <a:lnTo>
                  <a:pt x="203" y="548"/>
                </a:lnTo>
                <a:lnTo>
                  <a:pt x="204" y="548"/>
                </a:lnTo>
                <a:lnTo>
                  <a:pt x="210" y="549"/>
                </a:lnTo>
                <a:lnTo>
                  <a:pt x="212" y="549"/>
                </a:lnTo>
                <a:lnTo>
                  <a:pt x="218" y="550"/>
                </a:lnTo>
                <a:lnTo>
                  <a:pt x="221" y="553"/>
                </a:lnTo>
                <a:lnTo>
                  <a:pt x="225" y="552"/>
                </a:lnTo>
                <a:lnTo>
                  <a:pt x="228" y="552"/>
                </a:lnTo>
                <a:lnTo>
                  <a:pt x="230" y="550"/>
                </a:lnTo>
                <a:lnTo>
                  <a:pt x="232" y="552"/>
                </a:lnTo>
                <a:lnTo>
                  <a:pt x="234" y="550"/>
                </a:lnTo>
                <a:lnTo>
                  <a:pt x="235" y="550"/>
                </a:lnTo>
                <a:lnTo>
                  <a:pt x="235" y="552"/>
                </a:lnTo>
                <a:lnTo>
                  <a:pt x="236" y="550"/>
                </a:lnTo>
                <a:lnTo>
                  <a:pt x="236" y="544"/>
                </a:lnTo>
                <a:lnTo>
                  <a:pt x="235" y="543"/>
                </a:lnTo>
                <a:lnTo>
                  <a:pt x="237" y="543"/>
                </a:lnTo>
                <a:lnTo>
                  <a:pt x="237" y="541"/>
                </a:lnTo>
                <a:lnTo>
                  <a:pt x="238" y="540"/>
                </a:lnTo>
                <a:lnTo>
                  <a:pt x="237" y="539"/>
                </a:lnTo>
                <a:lnTo>
                  <a:pt x="240" y="539"/>
                </a:lnTo>
                <a:lnTo>
                  <a:pt x="241" y="537"/>
                </a:lnTo>
                <a:lnTo>
                  <a:pt x="244" y="533"/>
                </a:lnTo>
                <a:lnTo>
                  <a:pt x="246" y="531"/>
                </a:lnTo>
                <a:lnTo>
                  <a:pt x="248" y="531"/>
                </a:lnTo>
                <a:lnTo>
                  <a:pt x="249" y="530"/>
                </a:lnTo>
                <a:lnTo>
                  <a:pt x="253" y="524"/>
                </a:lnTo>
                <a:lnTo>
                  <a:pt x="254" y="523"/>
                </a:lnTo>
                <a:lnTo>
                  <a:pt x="254" y="522"/>
                </a:lnTo>
                <a:lnTo>
                  <a:pt x="255" y="522"/>
                </a:lnTo>
                <a:lnTo>
                  <a:pt x="255" y="521"/>
                </a:lnTo>
                <a:lnTo>
                  <a:pt x="257" y="518"/>
                </a:lnTo>
                <a:lnTo>
                  <a:pt x="259" y="516"/>
                </a:lnTo>
                <a:lnTo>
                  <a:pt x="260" y="516"/>
                </a:lnTo>
                <a:lnTo>
                  <a:pt x="261" y="515"/>
                </a:lnTo>
                <a:lnTo>
                  <a:pt x="262" y="515"/>
                </a:lnTo>
                <a:lnTo>
                  <a:pt x="262" y="512"/>
                </a:lnTo>
                <a:lnTo>
                  <a:pt x="260" y="515"/>
                </a:lnTo>
                <a:lnTo>
                  <a:pt x="259" y="515"/>
                </a:lnTo>
                <a:lnTo>
                  <a:pt x="254" y="519"/>
                </a:lnTo>
                <a:lnTo>
                  <a:pt x="253" y="519"/>
                </a:lnTo>
                <a:lnTo>
                  <a:pt x="250" y="523"/>
                </a:lnTo>
                <a:lnTo>
                  <a:pt x="248" y="525"/>
                </a:lnTo>
                <a:lnTo>
                  <a:pt x="247" y="525"/>
                </a:lnTo>
                <a:lnTo>
                  <a:pt x="244" y="527"/>
                </a:lnTo>
                <a:lnTo>
                  <a:pt x="244" y="528"/>
                </a:lnTo>
                <a:lnTo>
                  <a:pt x="238" y="528"/>
                </a:lnTo>
                <a:lnTo>
                  <a:pt x="237" y="527"/>
                </a:lnTo>
                <a:lnTo>
                  <a:pt x="237" y="528"/>
                </a:lnTo>
                <a:lnTo>
                  <a:pt x="236" y="529"/>
                </a:lnTo>
                <a:lnTo>
                  <a:pt x="234" y="530"/>
                </a:lnTo>
                <a:lnTo>
                  <a:pt x="231" y="533"/>
                </a:lnTo>
                <a:lnTo>
                  <a:pt x="230" y="533"/>
                </a:lnTo>
                <a:lnTo>
                  <a:pt x="230" y="534"/>
                </a:lnTo>
                <a:lnTo>
                  <a:pt x="229" y="534"/>
                </a:lnTo>
                <a:lnTo>
                  <a:pt x="229" y="535"/>
                </a:lnTo>
                <a:lnTo>
                  <a:pt x="230" y="536"/>
                </a:lnTo>
                <a:lnTo>
                  <a:pt x="229" y="537"/>
                </a:lnTo>
                <a:lnTo>
                  <a:pt x="229" y="539"/>
                </a:lnTo>
                <a:lnTo>
                  <a:pt x="228" y="537"/>
                </a:lnTo>
                <a:lnTo>
                  <a:pt x="224" y="539"/>
                </a:lnTo>
                <a:lnTo>
                  <a:pt x="213" y="539"/>
                </a:lnTo>
                <a:lnTo>
                  <a:pt x="213" y="537"/>
                </a:lnTo>
                <a:lnTo>
                  <a:pt x="209" y="533"/>
                </a:lnTo>
                <a:lnTo>
                  <a:pt x="206" y="533"/>
                </a:lnTo>
                <a:lnTo>
                  <a:pt x="205" y="531"/>
                </a:lnTo>
                <a:lnTo>
                  <a:pt x="205" y="529"/>
                </a:lnTo>
                <a:lnTo>
                  <a:pt x="204" y="528"/>
                </a:lnTo>
                <a:lnTo>
                  <a:pt x="204" y="527"/>
                </a:lnTo>
                <a:lnTo>
                  <a:pt x="201" y="524"/>
                </a:lnTo>
                <a:lnTo>
                  <a:pt x="201" y="523"/>
                </a:lnTo>
                <a:lnTo>
                  <a:pt x="196" y="523"/>
                </a:lnTo>
                <a:lnTo>
                  <a:pt x="194" y="524"/>
                </a:lnTo>
                <a:lnTo>
                  <a:pt x="194" y="525"/>
                </a:lnTo>
                <a:lnTo>
                  <a:pt x="196" y="527"/>
                </a:lnTo>
                <a:lnTo>
                  <a:pt x="192" y="527"/>
                </a:lnTo>
                <a:lnTo>
                  <a:pt x="192" y="528"/>
                </a:lnTo>
                <a:lnTo>
                  <a:pt x="191" y="528"/>
                </a:lnTo>
                <a:lnTo>
                  <a:pt x="191" y="527"/>
                </a:lnTo>
                <a:lnTo>
                  <a:pt x="188" y="527"/>
                </a:lnTo>
                <a:lnTo>
                  <a:pt x="188" y="528"/>
                </a:lnTo>
                <a:lnTo>
                  <a:pt x="186" y="528"/>
                </a:lnTo>
                <a:lnTo>
                  <a:pt x="186" y="529"/>
                </a:lnTo>
                <a:lnTo>
                  <a:pt x="185" y="529"/>
                </a:lnTo>
                <a:lnTo>
                  <a:pt x="182" y="528"/>
                </a:lnTo>
                <a:lnTo>
                  <a:pt x="181" y="527"/>
                </a:lnTo>
                <a:lnTo>
                  <a:pt x="182" y="525"/>
                </a:lnTo>
                <a:lnTo>
                  <a:pt x="182" y="523"/>
                </a:lnTo>
                <a:lnTo>
                  <a:pt x="184" y="523"/>
                </a:lnTo>
                <a:lnTo>
                  <a:pt x="184" y="522"/>
                </a:lnTo>
                <a:lnTo>
                  <a:pt x="185" y="522"/>
                </a:lnTo>
                <a:lnTo>
                  <a:pt x="185" y="523"/>
                </a:lnTo>
                <a:lnTo>
                  <a:pt x="186" y="522"/>
                </a:lnTo>
                <a:lnTo>
                  <a:pt x="191" y="522"/>
                </a:lnTo>
                <a:lnTo>
                  <a:pt x="191" y="519"/>
                </a:lnTo>
                <a:lnTo>
                  <a:pt x="190" y="519"/>
                </a:lnTo>
                <a:lnTo>
                  <a:pt x="190" y="521"/>
                </a:lnTo>
                <a:lnTo>
                  <a:pt x="188" y="519"/>
                </a:lnTo>
                <a:lnTo>
                  <a:pt x="186" y="518"/>
                </a:lnTo>
                <a:lnTo>
                  <a:pt x="185" y="519"/>
                </a:lnTo>
                <a:lnTo>
                  <a:pt x="181" y="519"/>
                </a:lnTo>
                <a:lnTo>
                  <a:pt x="178" y="516"/>
                </a:lnTo>
                <a:lnTo>
                  <a:pt x="180" y="516"/>
                </a:lnTo>
                <a:lnTo>
                  <a:pt x="180" y="515"/>
                </a:lnTo>
                <a:lnTo>
                  <a:pt x="179" y="515"/>
                </a:lnTo>
                <a:lnTo>
                  <a:pt x="179" y="512"/>
                </a:lnTo>
                <a:lnTo>
                  <a:pt x="178" y="512"/>
                </a:lnTo>
                <a:lnTo>
                  <a:pt x="178" y="513"/>
                </a:lnTo>
                <a:lnTo>
                  <a:pt x="176" y="513"/>
                </a:lnTo>
                <a:lnTo>
                  <a:pt x="176" y="512"/>
                </a:lnTo>
                <a:lnTo>
                  <a:pt x="175" y="512"/>
                </a:lnTo>
                <a:lnTo>
                  <a:pt x="175" y="513"/>
                </a:lnTo>
                <a:lnTo>
                  <a:pt x="176" y="515"/>
                </a:lnTo>
                <a:lnTo>
                  <a:pt x="175" y="515"/>
                </a:lnTo>
                <a:lnTo>
                  <a:pt x="173" y="516"/>
                </a:lnTo>
                <a:lnTo>
                  <a:pt x="170" y="515"/>
                </a:lnTo>
                <a:lnTo>
                  <a:pt x="169" y="515"/>
                </a:lnTo>
                <a:lnTo>
                  <a:pt x="167" y="516"/>
                </a:lnTo>
                <a:lnTo>
                  <a:pt x="166" y="516"/>
                </a:lnTo>
                <a:lnTo>
                  <a:pt x="166" y="518"/>
                </a:lnTo>
                <a:lnTo>
                  <a:pt x="165" y="518"/>
                </a:lnTo>
                <a:lnTo>
                  <a:pt x="165" y="521"/>
                </a:lnTo>
                <a:lnTo>
                  <a:pt x="163" y="521"/>
                </a:lnTo>
                <a:lnTo>
                  <a:pt x="162" y="522"/>
                </a:lnTo>
                <a:lnTo>
                  <a:pt x="156" y="522"/>
                </a:lnTo>
                <a:lnTo>
                  <a:pt x="156" y="523"/>
                </a:lnTo>
                <a:lnTo>
                  <a:pt x="155" y="524"/>
                </a:lnTo>
                <a:lnTo>
                  <a:pt x="154" y="524"/>
                </a:lnTo>
                <a:lnTo>
                  <a:pt x="151" y="523"/>
                </a:lnTo>
                <a:lnTo>
                  <a:pt x="150" y="523"/>
                </a:lnTo>
                <a:lnTo>
                  <a:pt x="150" y="521"/>
                </a:lnTo>
                <a:lnTo>
                  <a:pt x="148" y="519"/>
                </a:lnTo>
                <a:lnTo>
                  <a:pt x="147" y="519"/>
                </a:lnTo>
                <a:lnTo>
                  <a:pt x="147" y="518"/>
                </a:lnTo>
                <a:lnTo>
                  <a:pt x="150" y="519"/>
                </a:lnTo>
                <a:lnTo>
                  <a:pt x="150" y="518"/>
                </a:lnTo>
                <a:lnTo>
                  <a:pt x="153" y="518"/>
                </a:lnTo>
                <a:lnTo>
                  <a:pt x="155" y="517"/>
                </a:lnTo>
                <a:lnTo>
                  <a:pt x="157" y="517"/>
                </a:lnTo>
                <a:lnTo>
                  <a:pt x="157" y="516"/>
                </a:lnTo>
                <a:lnTo>
                  <a:pt x="159" y="517"/>
                </a:lnTo>
                <a:lnTo>
                  <a:pt x="159" y="516"/>
                </a:lnTo>
                <a:lnTo>
                  <a:pt x="157" y="515"/>
                </a:lnTo>
                <a:lnTo>
                  <a:pt x="157" y="512"/>
                </a:lnTo>
                <a:lnTo>
                  <a:pt x="160" y="511"/>
                </a:lnTo>
                <a:lnTo>
                  <a:pt x="159" y="511"/>
                </a:lnTo>
                <a:lnTo>
                  <a:pt x="157" y="512"/>
                </a:lnTo>
                <a:lnTo>
                  <a:pt x="156" y="512"/>
                </a:lnTo>
                <a:lnTo>
                  <a:pt x="156" y="516"/>
                </a:lnTo>
                <a:lnTo>
                  <a:pt x="153" y="517"/>
                </a:lnTo>
                <a:lnTo>
                  <a:pt x="151" y="517"/>
                </a:lnTo>
                <a:lnTo>
                  <a:pt x="145" y="516"/>
                </a:lnTo>
                <a:lnTo>
                  <a:pt x="145" y="518"/>
                </a:lnTo>
                <a:lnTo>
                  <a:pt x="144" y="518"/>
                </a:lnTo>
                <a:lnTo>
                  <a:pt x="144" y="517"/>
                </a:lnTo>
                <a:lnTo>
                  <a:pt x="142" y="516"/>
                </a:lnTo>
                <a:lnTo>
                  <a:pt x="143" y="515"/>
                </a:lnTo>
                <a:lnTo>
                  <a:pt x="144" y="515"/>
                </a:lnTo>
                <a:lnTo>
                  <a:pt x="144" y="513"/>
                </a:lnTo>
                <a:lnTo>
                  <a:pt x="147" y="513"/>
                </a:lnTo>
                <a:lnTo>
                  <a:pt x="148" y="512"/>
                </a:lnTo>
                <a:lnTo>
                  <a:pt x="148" y="511"/>
                </a:lnTo>
                <a:lnTo>
                  <a:pt x="147" y="510"/>
                </a:lnTo>
                <a:lnTo>
                  <a:pt x="147" y="506"/>
                </a:lnTo>
                <a:lnTo>
                  <a:pt x="145" y="507"/>
                </a:lnTo>
                <a:lnTo>
                  <a:pt x="145" y="506"/>
                </a:lnTo>
                <a:lnTo>
                  <a:pt x="143" y="506"/>
                </a:lnTo>
                <a:lnTo>
                  <a:pt x="143" y="505"/>
                </a:lnTo>
                <a:lnTo>
                  <a:pt x="142" y="506"/>
                </a:lnTo>
                <a:lnTo>
                  <a:pt x="140" y="506"/>
                </a:lnTo>
                <a:lnTo>
                  <a:pt x="140" y="503"/>
                </a:lnTo>
                <a:lnTo>
                  <a:pt x="142" y="503"/>
                </a:lnTo>
                <a:lnTo>
                  <a:pt x="144" y="500"/>
                </a:lnTo>
                <a:lnTo>
                  <a:pt x="147" y="500"/>
                </a:lnTo>
                <a:lnTo>
                  <a:pt x="148" y="499"/>
                </a:lnTo>
                <a:lnTo>
                  <a:pt x="148" y="497"/>
                </a:lnTo>
                <a:lnTo>
                  <a:pt x="149" y="497"/>
                </a:lnTo>
                <a:lnTo>
                  <a:pt x="149" y="496"/>
                </a:lnTo>
                <a:lnTo>
                  <a:pt x="151" y="496"/>
                </a:lnTo>
                <a:lnTo>
                  <a:pt x="154" y="497"/>
                </a:lnTo>
                <a:lnTo>
                  <a:pt x="155" y="497"/>
                </a:lnTo>
                <a:lnTo>
                  <a:pt x="156" y="496"/>
                </a:lnTo>
                <a:lnTo>
                  <a:pt x="159" y="496"/>
                </a:lnTo>
                <a:lnTo>
                  <a:pt x="159" y="493"/>
                </a:lnTo>
                <a:lnTo>
                  <a:pt x="161" y="493"/>
                </a:lnTo>
                <a:lnTo>
                  <a:pt x="163" y="491"/>
                </a:lnTo>
                <a:lnTo>
                  <a:pt x="163" y="490"/>
                </a:lnTo>
                <a:lnTo>
                  <a:pt x="165" y="490"/>
                </a:lnTo>
                <a:lnTo>
                  <a:pt x="166" y="491"/>
                </a:lnTo>
                <a:lnTo>
                  <a:pt x="166" y="488"/>
                </a:lnTo>
                <a:lnTo>
                  <a:pt x="167" y="487"/>
                </a:lnTo>
                <a:lnTo>
                  <a:pt x="173" y="488"/>
                </a:lnTo>
                <a:lnTo>
                  <a:pt x="173" y="487"/>
                </a:lnTo>
                <a:lnTo>
                  <a:pt x="174" y="486"/>
                </a:lnTo>
                <a:lnTo>
                  <a:pt x="175" y="486"/>
                </a:lnTo>
                <a:lnTo>
                  <a:pt x="179" y="482"/>
                </a:lnTo>
                <a:lnTo>
                  <a:pt x="181" y="482"/>
                </a:lnTo>
                <a:lnTo>
                  <a:pt x="186" y="478"/>
                </a:lnTo>
                <a:lnTo>
                  <a:pt x="188" y="474"/>
                </a:lnTo>
                <a:lnTo>
                  <a:pt x="190" y="472"/>
                </a:lnTo>
                <a:lnTo>
                  <a:pt x="190" y="470"/>
                </a:lnTo>
                <a:lnTo>
                  <a:pt x="191" y="468"/>
                </a:lnTo>
                <a:lnTo>
                  <a:pt x="191" y="464"/>
                </a:lnTo>
                <a:lnTo>
                  <a:pt x="192" y="463"/>
                </a:lnTo>
                <a:lnTo>
                  <a:pt x="192" y="461"/>
                </a:lnTo>
                <a:lnTo>
                  <a:pt x="194" y="461"/>
                </a:lnTo>
                <a:lnTo>
                  <a:pt x="197" y="460"/>
                </a:lnTo>
                <a:lnTo>
                  <a:pt x="197" y="458"/>
                </a:lnTo>
                <a:lnTo>
                  <a:pt x="196" y="458"/>
                </a:lnTo>
                <a:lnTo>
                  <a:pt x="193" y="460"/>
                </a:lnTo>
                <a:lnTo>
                  <a:pt x="191" y="460"/>
                </a:lnTo>
                <a:lnTo>
                  <a:pt x="190" y="456"/>
                </a:lnTo>
                <a:lnTo>
                  <a:pt x="188" y="455"/>
                </a:lnTo>
                <a:lnTo>
                  <a:pt x="190" y="454"/>
                </a:lnTo>
                <a:lnTo>
                  <a:pt x="190" y="453"/>
                </a:lnTo>
                <a:lnTo>
                  <a:pt x="191" y="450"/>
                </a:lnTo>
                <a:lnTo>
                  <a:pt x="192" y="450"/>
                </a:lnTo>
                <a:lnTo>
                  <a:pt x="192" y="449"/>
                </a:lnTo>
                <a:lnTo>
                  <a:pt x="194" y="447"/>
                </a:lnTo>
                <a:lnTo>
                  <a:pt x="193" y="447"/>
                </a:lnTo>
                <a:lnTo>
                  <a:pt x="192" y="448"/>
                </a:lnTo>
                <a:lnTo>
                  <a:pt x="188" y="443"/>
                </a:lnTo>
                <a:lnTo>
                  <a:pt x="188" y="441"/>
                </a:lnTo>
                <a:lnTo>
                  <a:pt x="190" y="439"/>
                </a:lnTo>
                <a:lnTo>
                  <a:pt x="190" y="438"/>
                </a:lnTo>
                <a:lnTo>
                  <a:pt x="188" y="437"/>
                </a:lnTo>
                <a:lnTo>
                  <a:pt x="188" y="436"/>
                </a:lnTo>
                <a:lnTo>
                  <a:pt x="192" y="433"/>
                </a:lnTo>
                <a:lnTo>
                  <a:pt x="185" y="433"/>
                </a:lnTo>
                <a:lnTo>
                  <a:pt x="181" y="435"/>
                </a:lnTo>
                <a:lnTo>
                  <a:pt x="180" y="436"/>
                </a:lnTo>
                <a:lnTo>
                  <a:pt x="176" y="436"/>
                </a:lnTo>
                <a:lnTo>
                  <a:pt x="173" y="439"/>
                </a:lnTo>
                <a:lnTo>
                  <a:pt x="173" y="441"/>
                </a:lnTo>
                <a:lnTo>
                  <a:pt x="174" y="442"/>
                </a:lnTo>
                <a:lnTo>
                  <a:pt x="173" y="442"/>
                </a:lnTo>
                <a:lnTo>
                  <a:pt x="173" y="443"/>
                </a:lnTo>
                <a:lnTo>
                  <a:pt x="172" y="443"/>
                </a:lnTo>
                <a:lnTo>
                  <a:pt x="172" y="442"/>
                </a:lnTo>
                <a:lnTo>
                  <a:pt x="170" y="442"/>
                </a:lnTo>
                <a:lnTo>
                  <a:pt x="169" y="441"/>
                </a:lnTo>
                <a:lnTo>
                  <a:pt x="168" y="441"/>
                </a:lnTo>
                <a:lnTo>
                  <a:pt x="168" y="442"/>
                </a:lnTo>
                <a:lnTo>
                  <a:pt x="163" y="442"/>
                </a:lnTo>
                <a:lnTo>
                  <a:pt x="163" y="443"/>
                </a:lnTo>
                <a:lnTo>
                  <a:pt x="162" y="443"/>
                </a:lnTo>
                <a:lnTo>
                  <a:pt x="162" y="441"/>
                </a:lnTo>
                <a:lnTo>
                  <a:pt x="169" y="433"/>
                </a:lnTo>
                <a:lnTo>
                  <a:pt x="169" y="432"/>
                </a:lnTo>
                <a:lnTo>
                  <a:pt x="172" y="432"/>
                </a:lnTo>
                <a:lnTo>
                  <a:pt x="176" y="427"/>
                </a:lnTo>
                <a:lnTo>
                  <a:pt x="179" y="426"/>
                </a:lnTo>
                <a:lnTo>
                  <a:pt x="179" y="425"/>
                </a:lnTo>
                <a:lnTo>
                  <a:pt x="180" y="424"/>
                </a:lnTo>
                <a:lnTo>
                  <a:pt x="180" y="420"/>
                </a:lnTo>
                <a:lnTo>
                  <a:pt x="181" y="420"/>
                </a:lnTo>
                <a:lnTo>
                  <a:pt x="181" y="419"/>
                </a:lnTo>
                <a:lnTo>
                  <a:pt x="184" y="417"/>
                </a:lnTo>
                <a:lnTo>
                  <a:pt x="185" y="417"/>
                </a:lnTo>
                <a:lnTo>
                  <a:pt x="185" y="415"/>
                </a:lnTo>
                <a:lnTo>
                  <a:pt x="187" y="413"/>
                </a:lnTo>
                <a:lnTo>
                  <a:pt x="187" y="412"/>
                </a:lnTo>
                <a:lnTo>
                  <a:pt x="190" y="412"/>
                </a:lnTo>
                <a:lnTo>
                  <a:pt x="191" y="411"/>
                </a:lnTo>
                <a:lnTo>
                  <a:pt x="191" y="412"/>
                </a:lnTo>
                <a:lnTo>
                  <a:pt x="192" y="412"/>
                </a:lnTo>
                <a:lnTo>
                  <a:pt x="193" y="411"/>
                </a:lnTo>
                <a:lnTo>
                  <a:pt x="194" y="411"/>
                </a:lnTo>
                <a:lnTo>
                  <a:pt x="196" y="410"/>
                </a:lnTo>
                <a:lnTo>
                  <a:pt x="200" y="407"/>
                </a:lnTo>
                <a:lnTo>
                  <a:pt x="201" y="407"/>
                </a:lnTo>
                <a:lnTo>
                  <a:pt x="199" y="405"/>
                </a:lnTo>
                <a:lnTo>
                  <a:pt x="199" y="404"/>
                </a:lnTo>
                <a:lnTo>
                  <a:pt x="200" y="405"/>
                </a:lnTo>
                <a:lnTo>
                  <a:pt x="201" y="405"/>
                </a:lnTo>
                <a:lnTo>
                  <a:pt x="203" y="406"/>
                </a:lnTo>
                <a:lnTo>
                  <a:pt x="203" y="405"/>
                </a:lnTo>
                <a:lnTo>
                  <a:pt x="204" y="406"/>
                </a:lnTo>
                <a:lnTo>
                  <a:pt x="205" y="406"/>
                </a:lnTo>
                <a:lnTo>
                  <a:pt x="205" y="407"/>
                </a:lnTo>
                <a:lnTo>
                  <a:pt x="212" y="407"/>
                </a:lnTo>
                <a:lnTo>
                  <a:pt x="221" y="404"/>
                </a:lnTo>
                <a:lnTo>
                  <a:pt x="224" y="404"/>
                </a:lnTo>
                <a:lnTo>
                  <a:pt x="225" y="405"/>
                </a:lnTo>
                <a:lnTo>
                  <a:pt x="225" y="406"/>
                </a:lnTo>
                <a:lnTo>
                  <a:pt x="231" y="410"/>
                </a:lnTo>
                <a:lnTo>
                  <a:pt x="231" y="411"/>
                </a:lnTo>
                <a:lnTo>
                  <a:pt x="232" y="411"/>
                </a:lnTo>
                <a:lnTo>
                  <a:pt x="232" y="407"/>
                </a:lnTo>
                <a:lnTo>
                  <a:pt x="230" y="405"/>
                </a:lnTo>
                <a:lnTo>
                  <a:pt x="229" y="402"/>
                </a:lnTo>
                <a:lnTo>
                  <a:pt x="229" y="400"/>
                </a:lnTo>
                <a:lnTo>
                  <a:pt x="230" y="399"/>
                </a:lnTo>
                <a:lnTo>
                  <a:pt x="232" y="399"/>
                </a:lnTo>
                <a:lnTo>
                  <a:pt x="234" y="398"/>
                </a:lnTo>
                <a:lnTo>
                  <a:pt x="235" y="398"/>
                </a:lnTo>
                <a:lnTo>
                  <a:pt x="236" y="399"/>
                </a:lnTo>
                <a:lnTo>
                  <a:pt x="238" y="405"/>
                </a:lnTo>
                <a:lnTo>
                  <a:pt x="240" y="406"/>
                </a:lnTo>
                <a:lnTo>
                  <a:pt x="240" y="407"/>
                </a:lnTo>
                <a:lnTo>
                  <a:pt x="246" y="407"/>
                </a:lnTo>
                <a:lnTo>
                  <a:pt x="247" y="406"/>
                </a:lnTo>
                <a:lnTo>
                  <a:pt x="247" y="404"/>
                </a:lnTo>
                <a:lnTo>
                  <a:pt x="246" y="404"/>
                </a:lnTo>
                <a:lnTo>
                  <a:pt x="246" y="405"/>
                </a:lnTo>
                <a:lnTo>
                  <a:pt x="241" y="405"/>
                </a:lnTo>
                <a:lnTo>
                  <a:pt x="240" y="404"/>
                </a:lnTo>
                <a:lnTo>
                  <a:pt x="238" y="401"/>
                </a:lnTo>
                <a:lnTo>
                  <a:pt x="237" y="400"/>
                </a:lnTo>
                <a:lnTo>
                  <a:pt x="232" y="389"/>
                </a:lnTo>
                <a:lnTo>
                  <a:pt x="232" y="387"/>
                </a:lnTo>
                <a:lnTo>
                  <a:pt x="235" y="382"/>
                </a:lnTo>
                <a:lnTo>
                  <a:pt x="237" y="378"/>
                </a:lnTo>
                <a:lnTo>
                  <a:pt x="238" y="378"/>
                </a:lnTo>
                <a:lnTo>
                  <a:pt x="238" y="377"/>
                </a:lnTo>
                <a:lnTo>
                  <a:pt x="240" y="376"/>
                </a:lnTo>
                <a:lnTo>
                  <a:pt x="237" y="376"/>
                </a:lnTo>
                <a:lnTo>
                  <a:pt x="235" y="374"/>
                </a:lnTo>
                <a:lnTo>
                  <a:pt x="234" y="371"/>
                </a:lnTo>
                <a:lnTo>
                  <a:pt x="235" y="365"/>
                </a:lnTo>
                <a:lnTo>
                  <a:pt x="234" y="364"/>
                </a:lnTo>
                <a:lnTo>
                  <a:pt x="236" y="362"/>
                </a:lnTo>
                <a:lnTo>
                  <a:pt x="240" y="361"/>
                </a:lnTo>
                <a:lnTo>
                  <a:pt x="241" y="361"/>
                </a:lnTo>
                <a:lnTo>
                  <a:pt x="242" y="359"/>
                </a:lnTo>
                <a:lnTo>
                  <a:pt x="242" y="358"/>
                </a:lnTo>
                <a:lnTo>
                  <a:pt x="243" y="357"/>
                </a:lnTo>
                <a:lnTo>
                  <a:pt x="243" y="356"/>
                </a:lnTo>
                <a:lnTo>
                  <a:pt x="242" y="357"/>
                </a:lnTo>
                <a:lnTo>
                  <a:pt x="241" y="357"/>
                </a:lnTo>
                <a:lnTo>
                  <a:pt x="240" y="355"/>
                </a:lnTo>
                <a:lnTo>
                  <a:pt x="242" y="352"/>
                </a:lnTo>
                <a:lnTo>
                  <a:pt x="242" y="351"/>
                </a:lnTo>
                <a:lnTo>
                  <a:pt x="243" y="351"/>
                </a:lnTo>
                <a:lnTo>
                  <a:pt x="244" y="350"/>
                </a:lnTo>
                <a:lnTo>
                  <a:pt x="244" y="347"/>
                </a:lnTo>
                <a:lnTo>
                  <a:pt x="243" y="345"/>
                </a:lnTo>
                <a:lnTo>
                  <a:pt x="243" y="344"/>
                </a:lnTo>
                <a:lnTo>
                  <a:pt x="242" y="343"/>
                </a:lnTo>
                <a:lnTo>
                  <a:pt x="243" y="343"/>
                </a:lnTo>
                <a:lnTo>
                  <a:pt x="246" y="340"/>
                </a:lnTo>
                <a:lnTo>
                  <a:pt x="244" y="339"/>
                </a:lnTo>
                <a:lnTo>
                  <a:pt x="244" y="341"/>
                </a:lnTo>
                <a:lnTo>
                  <a:pt x="243" y="341"/>
                </a:lnTo>
                <a:lnTo>
                  <a:pt x="241" y="343"/>
                </a:lnTo>
                <a:lnTo>
                  <a:pt x="241" y="344"/>
                </a:lnTo>
                <a:lnTo>
                  <a:pt x="240" y="344"/>
                </a:lnTo>
                <a:lnTo>
                  <a:pt x="240" y="345"/>
                </a:lnTo>
                <a:lnTo>
                  <a:pt x="238" y="346"/>
                </a:lnTo>
                <a:lnTo>
                  <a:pt x="237" y="346"/>
                </a:lnTo>
                <a:lnTo>
                  <a:pt x="236" y="345"/>
                </a:lnTo>
                <a:lnTo>
                  <a:pt x="236" y="341"/>
                </a:lnTo>
                <a:lnTo>
                  <a:pt x="235" y="341"/>
                </a:lnTo>
                <a:lnTo>
                  <a:pt x="235" y="343"/>
                </a:lnTo>
                <a:lnTo>
                  <a:pt x="234" y="344"/>
                </a:lnTo>
                <a:lnTo>
                  <a:pt x="234" y="345"/>
                </a:lnTo>
                <a:lnTo>
                  <a:pt x="232" y="347"/>
                </a:lnTo>
                <a:lnTo>
                  <a:pt x="230" y="350"/>
                </a:lnTo>
                <a:lnTo>
                  <a:pt x="230" y="352"/>
                </a:lnTo>
                <a:lnTo>
                  <a:pt x="229" y="350"/>
                </a:lnTo>
                <a:lnTo>
                  <a:pt x="227" y="350"/>
                </a:lnTo>
                <a:lnTo>
                  <a:pt x="227" y="345"/>
                </a:lnTo>
                <a:lnTo>
                  <a:pt x="225" y="345"/>
                </a:lnTo>
                <a:lnTo>
                  <a:pt x="228" y="344"/>
                </a:lnTo>
                <a:lnTo>
                  <a:pt x="228" y="338"/>
                </a:lnTo>
                <a:lnTo>
                  <a:pt x="227" y="338"/>
                </a:lnTo>
                <a:lnTo>
                  <a:pt x="227" y="343"/>
                </a:lnTo>
                <a:lnTo>
                  <a:pt x="223" y="343"/>
                </a:lnTo>
                <a:lnTo>
                  <a:pt x="221" y="339"/>
                </a:lnTo>
                <a:lnTo>
                  <a:pt x="219" y="338"/>
                </a:lnTo>
                <a:lnTo>
                  <a:pt x="219" y="332"/>
                </a:lnTo>
                <a:lnTo>
                  <a:pt x="218" y="332"/>
                </a:lnTo>
                <a:lnTo>
                  <a:pt x="216" y="328"/>
                </a:lnTo>
                <a:lnTo>
                  <a:pt x="216" y="327"/>
                </a:lnTo>
                <a:lnTo>
                  <a:pt x="211" y="322"/>
                </a:lnTo>
                <a:lnTo>
                  <a:pt x="211" y="321"/>
                </a:lnTo>
                <a:lnTo>
                  <a:pt x="210" y="320"/>
                </a:lnTo>
                <a:lnTo>
                  <a:pt x="210" y="319"/>
                </a:lnTo>
                <a:lnTo>
                  <a:pt x="211" y="319"/>
                </a:lnTo>
                <a:lnTo>
                  <a:pt x="211" y="316"/>
                </a:lnTo>
                <a:lnTo>
                  <a:pt x="212" y="310"/>
                </a:lnTo>
                <a:lnTo>
                  <a:pt x="215" y="307"/>
                </a:lnTo>
                <a:lnTo>
                  <a:pt x="215" y="304"/>
                </a:lnTo>
                <a:lnTo>
                  <a:pt x="216" y="304"/>
                </a:lnTo>
                <a:lnTo>
                  <a:pt x="218" y="302"/>
                </a:lnTo>
                <a:lnTo>
                  <a:pt x="218" y="300"/>
                </a:lnTo>
                <a:lnTo>
                  <a:pt x="219" y="295"/>
                </a:lnTo>
                <a:lnTo>
                  <a:pt x="221" y="292"/>
                </a:lnTo>
                <a:lnTo>
                  <a:pt x="221" y="291"/>
                </a:lnTo>
                <a:lnTo>
                  <a:pt x="222" y="291"/>
                </a:lnTo>
                <a:lnTo>
                  <a:pt x="223" y="292"/>
                </a:lnTo>
                <a:lnTo>
                  <a:pt x="224" y="292"/>
                </a:lnTo>
                <a:lnTo>
                  <a:pt x="225" y="291"/>
                </a:lnTo>
                <a:lnTo>
                  <a:pt x="223" y="290"/>
                </a:lnTo>
                <a:lnTo>
                  <a:pt x="224" y="289"/>
                </a:lnTo>
                <a:lnTo>
                  <a:pt x="228" y="288"/>
                </a:lnTo>
                <a:lnTo>
                  <a:pt x="229" y="289"/>
                </a:lnTo>
                <a:lnTo>
                  <a:pt x="231" y="289"/>
                </a:lnTo>
                <a:lnTo>
                  <a:pt x="235" y="288"/>
                </a:lnTo>
                <a:lnTo>
                  <a:pt x="232" y="288"/>
                </a:lnTo>
                <a:lnTo>
                  <a:pt x="234" y="287"/>
                </a:lnTo>
                <a:lnTo>
                  <a:pt x="235" y="287"/>
                </a:lnTo>
                <a:lnTo>
                  <a:pt x="235" y="285"/>
                </a:lnTo>
                <a:lnTo>
                  <a:pt x="234" y="285"/>
                </a:lnTo>
                <a:lnTo>
                  <a:pt x="230" y="287"/>
                </a:lnTo>
                <a:lnTo>
                  <a:pt x="217" y="285"/>
                </a:lnTo>
                <a:lnTo>
                  <a:pt x="215" y="285"/>
                </a:lnTo>
                <a:lnTo>
                  <a:pt x="215" y="287"/>
                </a:lnTo>
                <a:lnTo>
                  <a:pt x="212" y="284"/>
                </a:lnTo>
                <a:lnTo>
                  <a:pt x="212" y="292"/>
                </a:lnTo>
                <a:lnTo>
                  <a:pt x="211" y="294"/>
                </a:lnTo>
                <a:lnTo>
                  <a:pt x="207" y="292"/>
                </a:lnTo>
                <a:lnTo>
                  <a:pt x="206" y="292"/>
                </a:lnTo>
                <a:lnTo>
                  <a:pt x="205" y="295"/>
                </a:lnTo>
                <a:lnTo>
                  <a:pt x="203" y="294"/>
                </a:lnTo>
                <a:lnTo>
                  <a:pt x="201" y="292"/>
                </a:lnTo>
                <a:lnTo>
                  <a:pt x="201" y="294"/>
                </a:lnTo>
                <a:lnTo>
                  <a:pt x="200" y="294"/>
                </a:lnTo>
                <a:lnTo>
                  <a:pt x="201" y="295"/>
                </a:lnTo>
                <a:lnTo>
                  <a:pt x="200" y="295"/>
                </a:lnTo>
                <a:lnTo>
                  <a:pt x="200" y="296"/>
                </a:lnTo>
                <a:lnTo>
                  <a:pt x="201" y="297"/>
                </a:lnTo>
                <a:lnTo>
                  <a:pt x="199" y="298"/>
                </a:lnTo>
                <a:lnTo>
                  <a:pt x="196" y="301"/>
                </a:lnTo>
                <a:lnTo>
                  <a:pt x="192" y="301"/>
                </a:lnTo>
                <a:lnTo>
                  <a:pt x="192" y="296"/>
                </a:lnTo>
                <a:lnTo>
                  <a:pt x="191" y="297"/>
                </a:lnTo>
                <a:lnTo>
                  <a:pt x="191" y="301"/>
                </a:lnTo>
                <a:lnTo>
                  <a:pt x="190" y="301"/>
                </a:lnTo>
                <a:lnTo>
                  <a:pt x="187" y="300"/>
                </a:lnTo>
                <a:lnTo>
                  <a:pt x="185" y="297"/>
                </a:lnTo>
                <a:lnTo>
                  <a:pt x="186" y="294"/>
                </a:lnTo>
                <a:lnTo>
                  <a:pt x="184" y="296"/>
                </a:lnTo>
                <a:lnTo>
                  <a:pt x="182" y="296"/>
                </a:lnTo>
                <a:lnTo>
                  <a:pt x="180" y="295"/>
                </a:lnTo>
                <a:lnTo>
                  <a:pt x="179" y="294"/>
                </a:lnTo>
                <a:lnTo>
                  <a:pt x="179" y="292"/>
                </a:lnTo>
                <a:lnTo>
                  <a:pt x="178" y="291"/>
                </a:lnTo>
                <a:lnTo>
                  <a:pt x="176" y="291"/>
                </a:lnTo>
                <a:lnTo>
                  <a:pt x="176" y="296"/>
                </a:lnTo>
                <a:lnTo>
                  <a:pt x="178" y="297"/>
                </a:lnTo>
                <a:lnTo>
                  <a:pt x="179" y="297"/>
                </a:lnTo>
                <a:lnTo>
                  <a:pt x="180" y="298"/>
                </a:lnTo>
                <a:lnTo>
                  <a:pt x="180" y="300"/>
                </a:lnTo>
                <a:lnTo>
                  <a:pt x="179" y="300"/>
                </a:lnTo>
                <a:lnTo>
                  <a:pt x="179" y="301"/>
                </a:lnTo>
                <a:lnTo>
                  <a:pt x="180" y="302"/>
                </a:lnTo>
                <a:lnTo>
                  <a:pt x="179" y="303"/>
                </a:lnTo>
                <a:lnTo>
                  <a:pt x="179" y="304"/>
                </a:lnTo>
                <a:lnTo>
                  <a:pt x="180" y="306"/>
                </a:lnTo>
                <a:lnTo>
                  <a:pt x="179" y="307"/>
                </a:lnTo>
                <a:lnTo>
                  <a:pt x="179" y="308"/>
                </a:lnTo>
                <a:lnTo>
                  <a:pt x="178" y="308"/>
                </a:lnTo>
                <a:lnTo>
                  <a:pt x="176" y="307"/>
                </a:lnTo>
                <a:lnTo>
                  <a:pt x="175" y="307"/>
                </a:lnTo>
                <a:lnTo>
                  <a:pt x="175" y="306"/>
                </a:lnTo>
                <a:lnTo>
                  <a:pt x="173" y="306"/>
                </a:lnTo>
                <a:lnTo>
                  <a:pt x="170" y="302"/>
                </a:lnTo>
                <a:lnTo>
                  <a:pt x="169" y="301"/>
                </a:lnTo>
                <a:lnTo>
                  <a:pt x="165" y="297"/>
                </a:lnTo>
                <a:lnTo>
                  <a:pt x="162" y="297"/>
                </a:lnTo>
                <a:lnTo>
                  <a:pt x="161" y="296"/>
                </a:lnTo>
                <a:lnTo>
                  <a:pt x="161" y="295"/>
                </a:lnTo>
                <a:lnTo>
                  <a:pt x="160" y="294"/>
                </a:lnTo>
                <a:lnTo>
                  <a:pt x="157" y="294"/>
                </a:lnTo>
                <a:lnTo>
                  <a:pt x="157" y="295"/>
                </a:lnTo>
                <a:lnTo>
                  <a:pt x="156" y="295"/>
                </a:lnTo>
                <a:lnTo>
                  <a:pt x="155" y="296"/>
                </a:lnTo>
                <a:lnTo>
                  <a:pt x="155" y="297"/>
                </a:lnTo>
                <a:lnTo>
                  <a:pt x="154" y="297"/>
                </a:lnTo>
                <a:lnTo>
                  <a:pt x="154" y="301"/>
                </a:lnTo>
                <a:lnTo>
                  <a:pt x="155" y="301"/>
                </a:lnTo>
                <a:lnTo>
                  <a:pt x="155" y="302"/>
                </a:lnTo>
                <a:lnTo>
                  <a:pt x="156" y="304"/>
                </a:lnTo>
                <a:lnTo>
                  <a:pt x="156" y="306"/>
                </a:lnTo>
                <a:lnTo>
                  <a:pt x="157" y="307"/>
                </a:lnTo>
                <a:lnTo>
                  <a:pt x="157" y="310"/>
                </a:lnTo>
                <a:lnTo>
                  <a:pt x="155" y="310"/>
                </a:lnTo>
                <a:lnTo>
                  <a:pt x="154" y="309"/>
                </a:lnTo>
                <a:lnTo>
                  <a:pt x="154" y="304"/>
                </a:lnTo>
                <a:lnTo>
                  <a:pt x="153" y="304"/>
                </a:lnTo>
                <a:lnTo>
                  <a:pt x="153" y="302"/>
                </a:lnTo>
                <a:lnTo>
                  <a:pt x="150" y="300"/>
                </a:lnTo>
                <a:lnTo>
                  <a:pt x="147" y="295"/>
                </a:lnTo>
                <a:lnTo>
                  <a:pt x="145" y="294"/>
                </a:lnTo>
                <a:lnTo>
                  <a:pt x="144" y="290"/>
                </a:lnTo>
                <a:lnTo>
                  <a:pt x="144" y="284"/>
                </a:lnTo>
                <a:lnTo>
                  <a:pt x="145" y="283"/>
                </a:lnTo>
                <a:lnTo>
                  <a:pt x="147" y="283"/>
                </a:lnTo>
                <a:lnTo>
                  <a:pt x="147" y="282"/>
                </a:lnTo>
                <a:lnTo>
                  <a:pt x="148" y="283"/>
                </a:lnTo>
                <a:lnTo>
                  <a:pt x="148" y="284"/>
                </a:lnTo>
                <a:lnTo>
                  <a:pt x="149" y="284"/>
                </a:lnTo>
                <a:lnTo>
                  <a:pt x="149" y="289"/>
                </a:lnTo>
                <a:lnTo>
                  <a:pt x="150" y="290"/>
                </a:lnTo>
                <a:lnTo>
                  <a:pt x="150" y="291"/>
                </a:lnTo>
                <a:lnTo>
                  <a:pt x="151" y="291"/>
                </a:lnTo>
                <a:lnTo>
                  <a:pt x="153" y="290"/>
                </a:lnTo>
                <a:lnTo>
                  <a:pt x="153" y="289"/>
                </a:lnTo>
                <a:lnTo>
                  <a:pt x="151" y="287"/>
                </a:lnTo>
                <a:lnTo>
                  <a:pt x="150" y="285"/>
                </a:lnTo>
                <a:lnTo>
                  <a:pt x="150" y="279"/>
                </a:lnTo>
                <a:lnTo>
                  <a:pt x="151" y="278"/>
                </a:lnTo>
                <a:lnTo>
                  <a:pt x="151" y="273"/>
                </a:lnTo>
                <a:lnTo>
                  <a:pt x="153" y="273"/>
                </a:lnTo>
                <a:lnTo>
                  <a:pt x="157" y="269"/>
                </a:lnTo>
                <a:lnTo>
                  <a:pt x="157" y="266"/>
                </a:lnTo>
                <a:lnTo>
                  <a:pt x="159" y="264"/>
                </a:lnTo>
                <a:lnTo>
                  <a:pt x="159" y="260"/>
                </a:lnTo>
                <a:lnTo>
                  <a:pt x="161" y="258"/>
                </a:lnTo>
                <a:lnTo>
                  <a:pt x="161" y="257"/>
                </a:lnTo>
                <a:lnTo>
                  <a:pt x="162" y="257"/>
                </a:lnTo>
                <a:lnTo>
                  <a:pt x="162" y="254"/>
                </a:lnTo>
                <a:lnTo>
                  <a:pt x="163" y="252"/>
                </a:lnTo>
                <a:lnTo>
                  <a:pt x="167" y="251"/>
                </a:lnTo>
                <a:lnTo>
                  <a:pt x="168" y="249"/>
                </a:lnTo>
                <a:lnTo>
                  <a:pt x="168" y="246"/>
                </a:lnTo>
                <a:lnTo>
                  <a:pt x="166" y="244"/>
                </a:lnTo>
                <a:lnTo>
                  <a:pt x="166" y="241"/>
                </a:lnTo>
                <a:lnTo>
                  <a:pt x="163" y="239"/>
                </a:lnTo>
                <a:lnTo>
                  <a:pt x="161" y="238"/>
                </a:lnTo>
                <a:lnTo>
                  <a:pt x="160" y="238"/>
                </a:lnTo>
                <a:lnTo>
                  <a:pt x="160" y="236"/>
                </a:lnTo>
                <a:lnTo>
                  <a:pt x="155" y="232"/>
                </a:lnTo>
                <a:lnTo>
                  <a:pt x="157" y="229"/>
                </a:lnTo>
                <a:lnTo>
                  <a:pt x="157" y="223"/>
                </a:lnTo>
                <a:lnTo>
                  <a:pt x="156" y="220"/>
                </a:lnTo>
                <a:lnTo>
                  <a:pt x="156" y="216"/>
                </a:lnTo>
                <a:lnTo>
                  <a:pt x="159" y="214"/>
                </a:lnTo>
                <a:lnTo>
                  <a:pt x="160" y="214"/>
                </a:lnTo>
                <a:lnTo>
                  <a:pt x="161" y="212"/>
                </a:lnTo>
                <a:lnTo>
                  <a:pt x="163" y="215"/>
                </a:lnTo>
                <a:lnTo>
                  <a:pt x="165" y="215"/>
                </a:lnTo>
                <a:lnTo>
                  <a:pt x="165" y="214"/>
                </a:lnTo>
                <a:lnTo>
                  <a:pt x="166" y="215"/>
                </a:lnTo>
                <a:lnTo>
                  <a:pt x="173" y="216"/>
                </a:lnTo>
                <a:lnTo>
                  <a:pt x="174" y="215"/>
                </a:lnTo>
                <a:lnTo>
                  <a:pt x="169" y="214"/>
                </a:lnTo>
                <a:lnTo>
                  <a:pt x="168" y="214"/>
                </a:lnTo>
                <a:lnTo>
                  <a:pt x="166" y="212"/>
                </a:lnTo>
                <a:lnTo>
                  <a:pt x="162" y="209"/>
                </a:lnTo>
                <a:lnTo>
                  <a:pt x="161" y="209"/>
                </a:lnTo>
                <a:lnTo>
                  <a:pt x="161" y="208"/>
                </a:lnTo>
                <a:lnTo>
                  <a:pt x="160" y="206"/>
                </a:lnTo>
                <a:lnTo>
                  <a:pt x="160" y="204"/>
                </a:lnTo>
                <a:lnTo>
                  <a:pt x="159" y="204"/>
                </a:lnTo>
                <a:lnTo>
                  <a:pt x="159" y="206"/>
                </a:lnTo>
                <a:lnTo>
                  <a:pt x="161" y="209"/>
                </a:lnTo>
                <a:lnTo>
                  <a:pt x="161" y="211"/>
                </a:lnTo>
                <a:lnTo>
                  <a:pt x="159" y="211"/>
                </a:lnTo>
                <a:lnTo>
                  <a:pt x="157" y="210"/>
                </a:lnTo>
                <a:lnTo>
                  <a:pt x="157" y="205"/>
                </a:lnTo>
                <a:lnTo>
                  <a:pt x="162" y="196"/>
                </a:lnTo>
                <a:lnTo>
                  <a:pt x="162" y="195"/>
                </a:lnTo>
                <a:lnTo>
                  <a:pt x="161" y="196"/>
                </a:lnTo>
                <a:lnTo>
                  <a:pt x="159" y="201"/>
                </a:lnTo>
                <a:lnTo>
                  <a:pt x="159" y="202"/>
                </a:lnTo>
                <a:lnTo>
                  <a:pt x="157" y="202"/>
                </a:lnTo>
                <a:lnTo>
                  <a:pt x="157" y="197"/>
                </a:lnTo>
                <a:lnTo>
                  <a:pt x="155" y="197"/>
                </a:lnTo>
                <a:lnTo>
                  <a:pt x="156" y="198"/>
                </a:lnTo>
                <a:lnTo>
                  <a:pt x="156" y="211"/>
                </a:lnTo>
                <a:lnTo>
                  <a:pt x="155" y="210"/>
                </a:lnTo>
                <a:lnTo>
                  <a:pt x="154" y="210"/>
                </a:lnTo>
                <a:lnTo>
                  <a:pt x="156" y="212"/>
                </a:lnTo>
                <a:lnTo>
                  <a:pt x="155" y="214"/>
                </a:lnTo>
                <a:lnTo>
                  <a:pt x="155" y="215"/>
                </a:lnTo>
                <a:lnTo>
                  <a:pt x="154" y="216"/>
                </a:lnTo>
                <a:lnTo>
                  <a:pt x="154" y="218"/>
                </a:lnTo>
                <a:lnTo>
                  <a:pt x="153" y="220"/>
                </a:lnTo>
                <a:lnTo>
                  <a:pt x="151" y="220"/>
                </a:lnTo>
                <a:lnTo>
                  <a:pt x="150" y="218"/>
                </a:lnTo>
                <a:lnTo>
                  <a:pt x="149" y="216"/>
                </a:lnTo>
                <a:lnTo>
                  <a:pt x="149" y="212"/>
                </a:lnTo>
                <a:lnTo>
                  <a:pt x="148" y="210"/>
                </a:lnTo>
                <a:lnTo>
                  <a:pt x="147" y="210"/>
                </a:lnTo>
                <a:lnTo>
                  <a:pt x="147" y="211"/>
                </a:lnTo>
                <a:lnTo>
                  <a:pt x="148" y="215"/>
                </a:lnTo>
                <a:lnTo>
                  <a:pt x="149" y="216"/>
                </a:lnTo>
                <a:lnTo>
                  <a:pt x="148" y="217"/>
                </a:lnTo>
                <a:lnTo>
                  <a:pt x="144" y="215"/>
                </a:lnTo>
                <a:lnTo>
                  <a:pt x="144" y="212"/>
                </a:lnTo>
                <a:lnTo>
                  <a:pt x="143" y="214"/>
                </a:lnTo>
                <a:lnTo>
                  <a:pt x="143" y="216"/>
                </a:lnTo>
                <a:lnTo>
                  <a:pt x="142" y="218"/>
                </a:lnTo>
                <a:lnTo>
                  <a:pt x="143" y="220"/>
                </a:lnTo>
                <a:lnTo>
                  <a:pt x="143" y="222"/>
                </a:lnTo>
                <a:lnTo>
                  <a:pt x="141" y="221"/>
                </a:lnTo>
                <a:lnTo>
                  <a:pt x="140" y="221"/>
                </a:lnTo>
                <a:lnTo>
                  <a:pt x="138" y="218"/>
                </a:lnTo>
                <a:lnTo>
                  <a:pt x="138" y="217"/>
                </a:lnTo>
                <a:lnTo>
                  <a:pt x="137" y="217"/>
                </a:lnTo>
                <a:lnTo>
                  <a:pt x="137" y="215"/>
                </a:lnTo>
                <a:lnTo>
                  <a:pt x="138" y="215"/>
                </a:lnTo>
                <a:lnTo>
                  <a:pt x="138" y="212"/>
                </a:lnTo>
                <a:lnTo>
                  <a:pt x="137" y="210"/>
                </a:lnTo>
                <a:lnTo>
                  <a:pt x="138" y="209"/>
                </a:lnTo>
                <a:lnTo>
                  <a:pt x="143" y="201"/>
                </a:lnTo>
                <a:lnTo>
                  <a:pt x="148" y="198"/>
                </a:lnTo>
                <a:lnTo>
                  <a:pt x="149" y="195"/>
                </a:lnTo>
                <a:lnTo>
                  <a:pt x="151" y="192"/>
                </a:lnTo>
                <a:lnTo>
                  <a:pt x="153" y="192"/>
                </a:lnTo>
                <a:lnTo>
                  <a:pt x="155" y="191"/>
                </a:lnTo>
                <a:lnTo>
                  <a:pt x="155" y="190"/>
                </a:lnTo>
                <a:lnTo>
                  <a:pt x="153" y="191"/>
                </a:lnTo>
                <a:lnTo>
                  <a:pt x="150" y="191"/>
                </a:lnTo>
                <a:lnTo>
                  <a:pt x="150" y="192"/>
                </a:lnTo>
                <a:lnTo>
                  <a:pt x="149" y="192"/>
                </a:lnTo>
                <a:lnTo>
                  <a:pt x="149" y="193"/>
                </a:lnTo>
                <a:lnTo>
                  <a:pt x="148" y="196"/>
                </a:lnTo>
                <a:lnTo>
                  <a:pt x="148" y="197"/>
                </a:lnTo>
                <a:lnTo>
                  <a:pt x="142" y="201"/>
                </a:lnTo>
                <a:lnTo>
                  <a:pt x="138" y="205"/>
                </a:lnTo>
                <a:lnTo>
                  <a:pt x="137" y="205"/>
                </a:lnTo>
                <a:lnTo>
                  <a:pt x="137" y="208"/>
                </a:lnTo>
                <a:lnTo>
                  <a:pt x="136" y="209"/>
                </a:lnTo>
                <a:lnTo>
                  <a:pt x="134" y="209"/>
                </a:lnTo>
                <a:lnTo>
                  <a:pt x="132" y="214"/>
                </a:lnTo>
                <a:lnTo>
                  <a:pt x="134" y="214"/>
                </a:lnTo>
                <a:lnTo>
                  <a:pt x="135" y="215"/>
                </a:lnTo>
                <a:lnTo>
                  <a:pt x="135" y="218"/>
                </a:lnTo>
                <a:lnTo>
                  <a:pt x="136" y="220"/>
                </a:lnTo>
                <a:lnTo>
                  <a:pt x="135" y="220"/>
                </a:lnTo>
                <a:lnTo>
                  <a:pt x="137" y="222"/>
                </a:lnTo>
                <a:lnTo>
                  <a:pt x="138" y="224"/>
                </a:lnTo>
                <a:lnTo>
                  <a:pt x="138" y="227"/>
                </a:lnTo>
                <a:lnTo>
                  <a:pt x="137" y="228"/>
                </a:lnTo>
                <a:lnTo>
                  <a:pt x="136" y="228"/>
                </a:lnTo>
                <a:lnTo>
                  <a:pt x="134" y="230"/>
                </a:lnTo>
                <a:lnTo>
                  <a:pt x="134" y="232"/>
                </a:lnTo>
                <a:lnTo>
                  <a:pt x="132" y="233"/>
                </a:lnTo>
                <a:lnTo>
                  <a:pt x="132" y="236"/>
                </a:lnTo>
                <a:lnTo>
                  <a:pt x="131" y="236"/>
                </a:lnTo>
                <a:lnTo>
                  <a:pt x="131" y="239"/>
                </a:lnTo>
                <a:lnTo>
                  <a:pt x="132" y="240"/>
                </a:lnTo>
                <a:lnTo>
                  <a:pt x="132" y="241"/>
                </a:lnTo>
                <a:lnTo>
                  <a:pt x="131" y="242"/>
                </a:lnTo>
                <a:lnTo>
                  <a:pt x="131" y="245"/>
                </a:lnTo>
                <a:lnTo>
                  <a:pt x="130" y="246"/>
                </a:lnTo>
                <a:lnTo>
                  <a:pt x="130" y="248"/>
                </a:lnTo>
                <a:lnTo>
                  <a:pt x="129" y="251"/>
                </a:lnTo>
                <a:lnTo>
                  <a:pt x="129" y="252"/>
                </a:lnTo>
                <a:lnTo>
                  <a:pt x="128" y="252"/>
                </a:lnTo>
                <a:lnTo>
                  <a:pt x="129" y="253"/>
                </a:lnTo>
                <a:lnTo>
                  <a:pt x="129" y="254"/>
                </a:lnTo>
                <a:lnTo>
                  <a:pt x="130" y="255"/>
                </a:lnTo>
                <a:lnTo>
                  <a:pt x="130" y="258"/>
                </a:lnTo>
                <a:lnTo>
                  <a:pt x="129" y="260"/>
                </a:lnTo>
                <a:lnTo>
                  <a:pt x="128" y="260"/>
                </a:lnTo>
                <a:lnTo>
                  <a:pt x="126" y="261"/>
                </a:lnTo>
                <a:lnTo>
                  <a:pt x="123" y="261"/>
                </a:lnTo>
                <a:lnTo>
                  <a:pt x="122" y="263"/>
                </a:lnTo>
                <a:lnTo>
                  <a:pt x="119" y="263"/>
                </a:lnTo>
                <a:lnTo>
                  <a:pt x="119" y="261"/>
                </a:lnTo>
                <a:lnTo>
                  <a:pt x="118" y="258"/>
                </a:lnTo>
                <a:lnTo>
                  <a:pt x="118" y="254"/>
                </a:lnTo>
                <a:lnTo>
                  <a:pt x="119" y="254"/>
                </a:lnTo>
                <a:lnTo>
                  <a:pt x="122" y="252"/>
                </a:lnTo>
                <a:lnTo>
                  <a:pt x="122" y="241"/>
                </a:lnTo>
                <a:lnTo>
                  <a:pt x="123" y="240"/>
                </a:lnTo>
                <a:lnTo>
                  <a:pt x="124" y="236"/>
                </a:lnTo>
                <a:lnTo>
                  <a:pt x="124" y="235"/>
                </a:lnTo>
                <a:lnTo>
                  <a:pt x="123" y="234"/>
                </a:lnTo>
                <a:lnTo>
                  <a:pt x="125" y="233"/>
                </a:lnTo>
                <a:lnTo>
                  <a:pt x="126" y="232"/>
                </a:lnTo>
                <a:lnTo>
                  <a:pt x="126" y="229"/>
                </a:lnTo>
                <a:lnTo>
                  <a:pt x="129" y="227"/>
                </a:lnTo>
                <a:lnTo>
                  <a:pt x="131" y="226"/>
                </a:lnTo>
                <a:lnTo>
                  <a:pt x="132" y="223"/>
                </a:lnTo>
                <a:lnTo>
                  <a:pt x="132" y="221"/>
                </a:lnTo>
                <a:lnTo>
                  <a:pt x="129" y="226"/>
                </a:lnTo>
                <a:lnTo>
                  <a:pt x="126" y="228"/>
                </a:lnTo>
                <a:lnTo>
                  <a:pt x="126" y="227"/>
                </a:lnTo>
                <a:lnTo>
                  <a:pt x="125" y="226"/>
                </a:lnTo>
                <a:lnTo>
                  <a:pt x="124" y="226"/>
                </a:lnTo>
                <a:lnTo>
                  <a:pt x="124" y="221"/>
                </a:lnTo>
                <a:lnTo>
                  <a:pt x="125" y="218"/>
                </a:lnTo>
                <a:lnTo>
                  <a:pt x="126" y="217"/>
                </a:lnTo>
                <a:lnTo>
                  <a:pt x="126" y="216"/>
                </a:lnTo>
                <a:lnTo>
                  <a:pt x="128" y="216"/>
                </a:lnTo>
                <a:lnTo>
                  <a:pt x="128" y="215"/>
                </a:lnTo>
                <a:lnTo>
                  <a:pt x="126" y="215"/>
                </a:lnTo>
                <a:lnTo>
                  <a:pt x="125" y="217"/>
                </a:lnTo>
                <a:lnTo>
                  <a:pt x="124" y="217"/>
                </a:lnTo>
                <a:lnTo>
                  <a:pt x="124" y="218"/>
                </a:lnTo>
                <a:lnTo>
                  <a:pt x="123" y="218"/>
                </a:lnTo>
                <a:lnTo>
                  <a:pt x="123" y="216"/>
                </a:lnTo>
                <a:lnTo>
                  <a:pt x="128" y="209"/>
                </a:lnTo>
                <a:lnTo>
                  <a:pt x="128" y="206"/>
                </a:lnTo>
                <a:lnTo>
                  <a:pt x="126" y="206"/>
                </a:lnTo>
                <a:lnTo>
                  <a:pt x="126" y="208"/>
                </a:lnTo>
                <a:lnTo>
                  <a:pt x="125" y="208"/>
                </a:lnTo>
                <a:lnTo>
                  <a:pt x="125" y="209"/>
                </a:lnTo>
                <a:lnTo>
                  <a:pt x="124" y="211"/>
                </a:lnTo>
                <a:lnTo>
                  <a:pt x="124" y="214"/>
                </a:lnTo>
                <a:lnTo>
                  <a:pt x="123" y="215"/>
                </a:lnTo>
                <a:lnTo>
                  <a:pt x="122" y="214"/>
                </a:lnTo>
                <a:lnTo>
                  <a:pt x="123" y="214"/>
                </a:lnTo>
                <a:lnTo>
                  <a:pt x="123" y="211"/>
                </a:lnTo>
                <a:lnTo>
                  <a:pt x="124" y="208"/>
                </a:lnTo>
                <a:lnTo>
                  <a:pt x="128" y="203"/>
                </a:lnTo>
                <a:lnTo>
                  <a:pt x="130" y="203"/>
                </a:lnTo>
                <a:lnTo>
                  <a:pt x="129" y="202"/>
                </a:lnTo>
                <a:lnTo>
                  <a:pt x="129" y="199"/>
                </a:lnTo>
                <a:lnTo>
                  <a:pt x="130" y="197"/>
                </a:lnTo>
                <a:lnTo>
                  <a:pt x="130" y="196"/>
                </a:lnTo>
                <a:lnTo>
                  <a:pt x="129" y="196"/>
                </a:lnTo>
                <a:lnTo>
                  <a:pt x="129" y="197"/>
                </a:lnTo>
                <a:lnTo>
                  <a:pt x="126" y="199"/>
                </a:lnTo>
                <a:lnTo>
                  <a:pt x="126" y="198"/>
                </a:lnTo>
                <a:lnTo>
                  <a:pt x="128" y="196"/>
                </a:lnTo>
                <a:lnTo>
                  <a:pt x="128" y="195"/>
                </a:lnTo>
                <a:lnTo>
                  <a:pt x="129" y="193"/>
                </a:lnTo>
                <a:lnTo>
                  <a:pt x="129" y="192"/>
                </a:lnTo>
                <a:lnTo>
                  <a:pt x="130" y="191"/>
                </a:lnTo>
                <a:lnTo>
                  <a:pt x="131" y="191"/>
                </a:lnTo>
                <a:lnTo>
                  <a:pt x="131" y="190"/>
                </a:lnTo>
                <a:lnTo>
                  <a:pt x="129" y="190"/>
                </a:lnTo>
                <a:lnTo>
                  <a:pt x="128" y="191"/>
                </a:lnTo>
                <a:lnTo>
                  <a:pt x="126" y="190"/>
                </a:lnTo>
                <a:lnTo>
                  <a:pt x="128" y="187"/>
                </a:lnTo>
                <a:lnTo>
                  <a:pt x="128" y="186"/>
                </a:lnTo>
                <a:lnTo>
                  <a:pt x="126" y="186"/>
                </a:lnTo>
                <a:lnTo>
                  <a:pt x="126" y="189"/>
                </a:lnTo>
                <a:lnTo>
                  <a:pt x="125" y="189"/>
                </a:lnTo>
                <a:lnTo>
                  <a:pt x="125" y="185"/>
                </a:lnTo>
                <a:lnTo>
                  <a:pt x="128" y="185"/>
                </a:lnTo>
                <a:lnTo>
                  <a:pt x="129" y="184"/>
                </a:lnTo>
                <a:lnTo>
                  <a:pt x="129" y="183"/>
                </a:lnTo>
                <a:lnTo>
                  <a:pt x="130" y="184"/>
                </a:lnTo>
                <a:lnTo>
                  <a:pt x="131" y="184"/>
                </a:lnTo>
                <a:lnTo>
                  <a:pt x="134" y="183"/>
                </a:lnTo>
                <a:lnTo>
                  <a:pt x="129" y="183"/>
                </a:lnTo>
                <a:lnTo>
                  <a:pt x="130" y="180"/>
                </a:lnTo>
                <a:lnTo>
                  <a:pt x="130" y="179"/>
                </a:lnTo>
                <a:lnTo>
                  <a:pt x="132" y="179"/>
                </a:lnTo>
                <a:lnTo>
                  <a:pt x="131" y="178"/>
                </a:lnTo>
                <a:lnTo>
                  <a:pt x="134" y="175"/>
                </a:lnTo>
                <a:lnTo>
                  <a:pt x="138" y="175"/>
                </a:lnTo>
                <a:lnTo>
                  <a:pt x="142" y="177"/>
                </a:lnTo>
                <a:lnTo>
                  <a:pt x="143" y="175"/>
                </a:lnTo>
                <a:lnTo>
                  <a:pt x="144" y="175"/>
                </a:lnTo>
                <a:lnTo>
                  <a:pt x="145" y="173"/>
                </a:lnTo>
                <a:lnTo>
                  <a:pt x="145" y="172"/>
                </a:lnTo>
                <a:lnTo>
                  <a:pt x="148" y="169"/>
                </a:lnTo>
                <a:lnTo>
                  <a:pt x="148" y="168"/>
                </a:lnTo>
                <a:lnTo>
                  <a:pt x="149" y="167"/>
                </a:lnTo>
                <a:lnTo>
                  <a:pt x="148" y="167"/>
                </a:lnTo>
                <a:lnTo>
                  <a:pt x="148" y="168"/>
                </a:lnTo>
                <a:lnTo>
                  <a:pt x="147" y="171"/>
                </a:lnTo>
                <a:lnTo>
                  <a:pt x="145" y="172"/>
                </a:lnTo>
                <a:lnTo>
                  <a:pt x="145" y="173"/>
                </a:lnTo>
                <a:lnTo>
                  <a:pt x="144" y="174"/>
                </a:lnTo>
                <a:lnTo>
                  <a:pt x="143" y="174"/>
                </a:lnTo>
                <a:lnTo>
                  <a:pt x="142" y="175"/>
                </a:lnTo>
                <a:lnTo>
                  <a:pt x="137" y="174"/>
                </a:lnTo>
                <a:lnTo>
                  <a:pt x="136" y="175"/>
                </a:lnTo>
                <a:lnTo>
                  <a:pt x="136" y="174"/>
                </a:lnTo>
                <a:lnTo>
                  <a:pt x="135" y="172"/>
                </a:lnTo>
                <a:lnTo>
                  <a:pt x="134" y="172"/>
                </a:lnTo>
                <a:lnTo>
                  <a:pt x="134" y="173"/>
                </a:lnTo>
                <a:lnTo>
                  <a:pt x="132" y="174"/>
                </a:lnTo>
                <a:lnTo>
                  <a:pt x="134" y="169"/>
                </a:lnTo>
                <a:lnTo>
                  <a:pt x="135" y="169"/>
                </a:lnTo>
                <a:lnTo>
                  <a:pt x="136" y="171"/>
                </a:lnTo>
                <a:lnTo>
                  <a:pt x="137" y="171"/>
                </a:lnTo>
                <a:lnTo>
                  <a:pt x="137" y="169"/>
                </a:lnTo>
                <a:lnTo>
                  <a:pt x="140" y="168"/>
                </a:lnTo>
                <a:lnTo>
                  <a:pt x="137" y="168"/>
                </a:lnTo>
                <a:lnTo>
                  <a:pt x="137" y="169"/>
                </a:lnTo>
                <a:lnTo>
                  <a:pt x="136" y="169"/>
                </a:lnTo>
                <a:lnTo>
                  <a:pt x="135" y="168"/>
                </a:lnTo>
                <a:lnTo>
                  <a:pt x="135" y="167"/>
                </a:lnTo>
                <a:lnTo>
                  <a:pt x="136" y="167"/>
                </a:lnTo>
                <a:lnTo>
                  <a:pt x="136" y="166"/>
                </a:lnTo>
                <a:lnTo>
                  <a:pt x="138" y="161"/>
                </a:lnTo>
                <a:lnTo>
                  <a:pt x="140" y="161"/>
                </a:lnTo>
                <a:lnTo>
                  <a:pt x="138" y="160"/>
                </a:lnTo>
                <a:lnTo>
                  <a:pt x="140" y="159"/>
                </a:lnTo>
                <a:lnTo>
                  <a:pt x="142" y="159"/>
                </a:lnTo>
                <a:lnTo>
                  <a:pt x="143" y="158"/>
                </a:lnTo>
                <a:lnTo>
                  <a:pt x="147" y="158"/>
                </a:lnTo>
                <a:lnTo>
                  <a:pt x="148" y="156"/>
                </a:lnTo>
                <a:lnTo>
                  <a:pt x="151" y="156"/>
                </a:lnTo>
                <a:lnTo>
                  <a:pt x="153" y="155"/>
                </a:lnTo>
                <a:lnTo>
                  <a:pt x="145" y="156"/>
                </a:lnTo>
                <a:lnTo>
                  <a:pt x="142" y="155"/>
                </a:lnTo>
                <a:lnTo>
                  <a:pt x="142" y="154"/>
                </a:lnTo>
                <a:lnTo>
                  <a:pt x="147" y="149"/>
                </a:lnTo>
                <a:lnTo>
                  <a:pt x="147" y="148"/>
                </a:lnTo>
                <a:lnTo>
                  <a:pt x="144" y="149"/>
                </a:lnTo>
                <a:lnTo>
                  <a:pt x="144" y="150"/>
                </a:lnTo>
                <a:lnTo>
                  <a:pt x="143" y="152"/>
                </a:lnTo>
                <a:lnTo>
                  <a:pt x="142" y="152"/>
                </a:lnTo>
                <a:lnTo>
                  <a:pt x="142" y="154"/>
                </a:lnTo>
                <a:lnTo>
                  <a:pt x="140" y="156"/>
                </a:lnTo>
                <a:lnTo>
                  <a:pt x="138" y="156"/>
                </a:lnTo>
                <a:lnTo>
                  <a:pt x="137" y="158"/>
                </a:lnTo>
                <a:lnTo>
                  <a:pt x="137" y="159"/>
                </a:lnTo>
                <a:lnTo>
                  <a:pt x="136" y="160"/>
                </a:lnTo>
                <a:lnTo>
                  <a:pt x="135" y="160"/>
                </a:lnTo>
                <a:lnTo>
                  <a:pt x="134" y="161"/>
                </a:lnTo>
                <a:lnTo>
                  <a:pt x="134" y="162"/>
                </a:lnTo>
                <a:lnTo>
                  <a:pt x="132" y="162"/>
                </a:lnTo>
                <a:lnTo>
                  <a:pt x="131" y="163"/>
                </a:lnTo>
                <a:lnTo>
                  <a:pt x="130" y="166"/>
                </a:lnTo>
                <a:lnTo>
                  <a:pt x="124" y="172"/>
                </a:lnTo>
                <a:lnTo>
                  <a:pt x="123" y="172"/>
                </a:lnTo>
                <a:lnTo>
                  <a:pt x="123" y="171"/>
                </a:lnTo>
                <a:lnTo>
                  <a:pt x="122" y="171"/>
                </a:lnTo>
                <a:lnTo>
                  <a:pt x="120" y="169"/>
                </a:lnTo>
                <a:lnTo>
                  <a:pt x="119" y="169"/>
                </a:lnTo>
                <a:lnTo>
                  <a:pt x="120" y="168"/>
                </a:lnTo>
                <a:lnTo>
                  <a:pt x="120" y="166"/>
                </a:lnTo>
                <a:lnTo>
                  <a:pt x="118" y="168"/>
                </a:lnTo>
                <a:lnTo>
                  <a:pt x="116" y="168"/>
                </a:lnTo>
                <a:lnTo>
                  <a:pt x="110" y="162"/>
                </a:lnTo>
                <a:lnTo>
                  <a:pt x="110" y="160"/>
                </a:lnTo>
                <a:lnTo>
                  <a:pt x="114" y="160"/>
                </a:lnTo>
                <a:lnTo>
                  <a:pt x="117" y="162"/>
                </a:lnTo>
                <a:lnTo>
                  <a:pt x="117" y="161"/>
                </a:lnTo>
                <a:lnTo>
                  <a:pt x="116" y="161"/>
                </a:lnTo>
                <a:lnTo>
                  <a:pt x="116" y="160"/>
                </a:lnTo>
                <a:lnTo>
                  <a:pt x="120" y="156"/>
                </a:lnTo>
                <a:lnTo>
                  <a:pt x="124" y="158"/>
                </a:lnTo>
                <a:lnTo>
                  <a:pt x="122" y="156"/>
                </a:lnTo>
                <a:lnTo>
                  <a:pt x="120" y="155"/>
                </a:lnTo>
                <a:lnTo>
                  <a:pt x="116" y="158"/>
                </a:lnTo>
                <a:lnTo>
                  <a:pt x="114" y="159"/>
                </a:lnTo>
                <a:lnTo>
                  <a:pt x="113" y="159"/>
                </a:lnTo>
                <a:lnTo>
                  <a:pt x="112" y="158"/>
                </a:lnTo>
                <a:lnTo>
                  <a:pt x="109" y="158"/>
                </a:lnTo>
                <a:lnTo>
                  <a:pt x="106" y="156"/>
                </a:lnTo>
                <a:lnTo>
                  <a:pt x="105" y="156"/>
                </a:lnTo>
                <a:lnTo>
                  <a:pt x="103" y="159"/>
                </a:lnTo>
                <a:lnTo>
                  <a:pt x="100" y="156"/>
                </a:lnTo>
                <a:lnTo>
                  <a:pt x="100" y="154"/>
                </a:lnTo>
                <a:lnTo>
                  <a:pt x="101" y="153"/>
                </a:lnTo>
                <a:lnTo>
                  <a:pt x="103" y="153"/>
                </a:lnTo>
                <a:lnTo>
                  <a:pt x="109" y="152"/>
                </a:lnTo>
                <a:lnTo>
                  <a:pt x="110" y="152"/>
                </a:lnTo>
                <a:lnTo>
                  <a:pt x="111" y="150"/>
                </a:lnTo>
                <a:lnTo>
                  <a:pt x="112" y="150"/>
                </a:lnTo>
                <a:lnTo>
                  <a:pt x="113" y="152"/>
                </a:lnTo>
                <a:lnTo>
                  <a:pt x="116" y="153"/>
                </a:lnTo>
                <a:lnTo>
                  <a:pt x="116" y="150"/>
                </a:lnTo>
                <a:lnTo>
                  <a:pt x="117" y="150"/>
                </a:lnTo>
                <a:lnTo>
                  <a:pt x="117" y="149"/>
                </a:lnTo>
                <a:lnTo>
                  <a:pt x="118" y="149"/>
                </a:lnTo>
                <a:lnTo>
                  <a:pt x="120" y="150"/>
                </a:lnTo>
                <a:lnTo>
                  <a:pt x="119" y="149"/>
                </a:lnTo>
                <a:lnTo>
                  <a:pt x="118" y="149"/>
                </a:lnTo>
                <a:lnTo>
                  <a:pt x="117" y="148"/>
                </a:lnTo>
                <a:lnTo>
                  <a:pt x="116" y="148"/>
                </a:lnTo>
                <a:lnTo>
                  <a:pt x="116" y="147"/>
                </a:lnTo>
                <a:lnTo>
                  <a:pt x="117" y="146"/>
                </a:lnTo>
                <a:lnTo>
                  <a:pt x="120" y="146"/>
                </a:lnTo>
                <a:lnTo>
                  <a:pt x="123" y="144"/>
                </a:lnTo>
                <a:lnTo>
                  <a:pt x="124" y="143"/>
                </a:lnTo>
                <a:lnTo>
                  <a:pt x="122" y="143"/>
                </a:lnTo>
                <a:lnTo>
                  <a:pt x="122" y="144"/>
                </a:lnTo>
                <a:lnTo>
                  <a:pt x="119" y="144"/>
                </a:lnTo>
                <a:lnTo>
                  <a:pt x="119" y="143"/>
                </a:lnTo>
                <a:lnTo>
                  <a:pt x="120" y="142"/>
                </a:lnTo>
                <a:lnTo>
                  <a:pt x="119" y="141"/>
                </a:lnTo>
                <a:lnTo>
                  <a:pt x="114" y="142"/>
                </a:lnTo>
                <a:lnTo>
                  <a:pt x="113" y="142"/>
                </a:lnTo>
                <a:lnTo>
                  <a:pt x="114" y="141"/>
                </a:lnTo>
                <a:lnTo>
                  <a:pt x="116" y="141"/>
                </a:lnTo>
                <a:lnTo>
                  <a:pt x="114" y="140"/>
                </a:lnTo>
                <a:lnTo>
                  <a:pt x="116" y="138"/>
                </a:lnTo>
                <a:lnTo>
                  <a:pt x="116" y="137"/>
                </a:lnTo>
                <a:lnTo>
                  <a:pt x="117" y="135"/>
                </a:lnTo>
                <a:lnTo>
                  <a:pt x="117" y="134"/>
                </a:lnTo>
                <a:lnTo>
                  <a:pt x="119" y="131"/>
                </a:lnTo>
                <a:lnTo>
                  <a:pt x="122" y="131"/>
                </a:lnTo>
                <a:lnTo>
                  <a:pt x="122" y="132"/>
                </a:lnTo>
                <a:lnTo>
                  <a:pt x="124" y="135"/>
                </a:lnTo>
                <a:lnTo>
                  <a:pt x="128" y="135"/>
                </a:lnTo>
                <a:lnTo>
                  <a:pt x="130" y="134"/>
                </a:lnTo>
                <a:lnTo>
                  <a:pt x="130" y="132"/>
                </a:lnTo>
                <a:lnTo>
                  <a:pt x="129" y="134"/>
                </a:lnTo>
                <a:lnTo>
                  <a:pt x="124" y="134"/>
                </a:lnTo>
                <a:lnTo>
                  <a:pt x="124" y="132"/>
                </a:lnTo>
                <a:lnTo>
                  <a:pt x="123" y="132"/>
                </a:lnTo>
                <a:lnTo>
                  <a:pt x="123" y="130"/>
                </a:lnTo>
                <a:lnTo>
                  <a:pt x="119" y="130"/>
                </a:lnTo>
                <a:lnTo>
                  <a:pt x="119" y="129"/>
                </a:lnTo>
                <a:lnTo>
                  <a:pt x="118" y="129"/>
                </a:lnTo>
                <a:lnTo>
                  <a:pt x="119" y="128"/>
                </a:lnTo>
                <a:lnTo>
                  <a:pt x="120" y="125"/>
                </a:lnTo>
                <a:lnTo>
                  <a:pt x="122" y="124"/>
                </a:lnTo>
                <a:lnTo>
                  <a:pt x="124" y="124"/>
                </a:lnTo>
                <a:lnTo>
                  <a:pt x="125" y="123"/>
                </a:lnTo>
                <a:lnTo>
                  <a:pt x="125" y="124"/>
                </a:lnTo>
                <a:lnTo>
                  <a:pt x="128" y="125"/>
                </a:lnTo>
                <a:lnTo>
                  <a:pt x="129" y="125"/>
                </a:lnTo>
                <a:lnTo>
                  <a:pt x="128" y="123"/>
                </a:lnTo>
                <a:lnTo>
                  <a:pt x="124" y="122"/>
                </a:lnTo>
                <a:lnTo>
                  <a:pt x="123" y="120"/>
                </a:lnTo>
                <a:lnTo>
                  <a:pt x="125" y="118"/>
                </a:lnTo>
                <a:lnTo>
                  <a:pt x="125" y="116"/>
                </a:lnTo>
                <a:lnTo>
                  <a:pt x="126" y="113"/>
                </a:lnTo>
                <a:lnTo>
                  <a:pt x="128" y="112"/>
                </a:lnTo>
                <a:lnTo>
                  <a:pt x="129" y="112"/>
                </a:lnTo>
                <a:lnTo>
                  <a:pt x="131" y="115"/>
                </a:lnTo>
                <a:lnTo>
                  <a:pt x="134" y="116"/>
                </a:lnTo>
                <a:lnTo>
                  <a:pt x="135" y="116"/>
                </a:lnTo>
                <a:lnTo>
                  <a:pt x="135" y="115"/>
                </a:lnTo>
                <a:lnTo>
                  <a:pt x="132" y="115"/>
                </a:lnTo>
                <a:lnTo>
                  <a:pt x="132" y="113"/>
                </a:lnTo>
                <a:lnTo>
                  <a:pt x="131" y="112"/>
                </a:lnTo>
                <a:lnTo>
                  <a:pt x="131" y="111"/>
                </a:lnTo>
                <a:lnTo>
                  <a:pt x="134" y="109"/>
                </a:lnTo>
                <a:lnTo>
                  <a:pt x="131" y="109"/>
                </a:lnTo>
                <a:lnTo>
                  <a:pt x="131" y="110"/>
                </a:lnTo>
                <a:lnTo>
                  <a:pt x="130" y="111"/>
                </a:lnTo>
                <a:lnTo>
                  <a:pt x="129" y="111"/>
                </a:lnTo>
                <a:lnTo>
                  <a:pt x="128" y="112"/>
                </a:lnTo>
                <a:lnTo>
                  <a:pt x="126" y="112"/>
                </a:lnTo>
                <a:lnTo>
                  <a:pt x="125" y="111"/>
                </a:lnTo>
                <a:lnTo>
                  <a:pt x="122" y="111"/>
                </a:lnTo>
                <a:lnTo>
                  <a:pt x="122" y="110"/>
                </a:lnTo>
                <a:lnTo>
                  <a:pt x="123" y="107"/>
                </a:lnTo>
                <a:lnTo>
                  <a:pt x="124" y="106"/>
                </a:lnTo>
                <a:lnTo>
                  <a:pt x="125" y="106"/>
                </a:lnTo>
                <a:lnTo>
                  <a:pt x="125" y="107"/>
                </a:lnTo>
                <a:lnTo>
                  <a:pt x="126" y="106"/>
                </a:lnTo>
                <a:lnTo>
                  <a:pt x="131" y="105"/>
                </a:lnTo>
                <a:lnTo>
                  <a:pt x="134" y="100"/>
                </a:lnTo>
                <a:lnTo>
                  <a:pt x="132" y="100"/>
                </a:lnTo>
                <a:lnTo>
                  <a:pt x="129" y="104"/>
                </a:lnTo>
                <a:lnTo>
                  <a:pt x="129" y="105"/>
                </a:lnTo>
                <a:lnTo>
                  <a:pt x="126" y="105"/>
                </a:lnTo>
                <a:lnTo>
                  <a:pt x="125" y="104"/>
                </a:lnTo>
                <a:lnTo>
                  <a:pt x="126" y="104"/>
                </a:lnTo>
                <a:lnTo>
                  <a:pt x="126" y="101"/>
                </a:lnTo>
                <a:lnTo>
                  <a:pt x="125" y="101"/>
                </a:lnTo>
                <a:lnTo>
                  <a:pt x="122" y="105"/>
                </a:lnTo>
                <a:lnTo>
                  <a:pt x="122" y="106"/>
                </a:lnTo>
                <a:lnTo>
                  <a:pt x="118" y="106"/>
                </a:lnTo>
                <a:lnTo>
                  <a:pt x="117" y="103"/>
                </a:lnTo>
                <a:lnTo>
                  <a:pt x="118" y="103"/>
                </a:lnTo>
                <a:lnTo>
                  <a:pt x="118" y="101"/>
                </a:lnTo>
                <a:lnTo>
                  <a:pt x="117" y="101"/>
                </a:lnTo>
                <a:lnTo>
                  <a:pt x="117" y="99"/>
                </a:lnTo>
                <a:lnTo>
                  <a:pt x="116" y="98"/>
                </a:lnTo>
                <a:lnTo>
                  <a:pt x="116" y="89"/>
                </a:lnTo>
                <a:lnTo>
                  <a:pt x="117" y="89"/>
                </a:lnTo>
                <a:lnTo>
                  <a:pt x="117" y="88"/>
                </a:lnTo>
                <a:lnTo>
                  <a:pt x="119" y="88"/>
                </a:lnTo>
                <a:lnTo>
                  <a:pt x="123" y="92"/>
                </a:lnTo>
                <a:lnTo>
                  <a:pt x="123" y="93"/>
                </a:lnTo>
                <a:lnTo>
                  <a:pt x="125" y="93"/>
                </a:lnTo>
                <a:lnTo>
                  <a:pt x="124" y="92"/>
                </a:lnTo>
                <a:lnTo>
                  <a:pt x="130" y="92"/>
                </a:lnTo>
                <a:lnTo>
                  <a:pt x="130" y="91"/>
                </a:lnTo>
                <a:lnTo>
                  <a:pt x="129" y="89"/>
                </a:lnTo>
                <a:lnTo>
                  <a:pt x="125" y="89"/>
                </a:lnTo>
                <a:lnTo>
                  <a:pt x="124" y="91"/>
                </a:lnTo>
                <a:lnTo>
                  <a:pt x="123" y="89"/>
                </a:lnTo>
                <a:lnTo>
                  <a:pt x="123" y="88"/>
                </a:lnTo>
                <a:lnTo>
                  <a:pt x="122" y="88"/>
                </a:lnTo>
                <a:lnTo>
                  <a:pt x="122" y="87"/>
                </a:lnTo>
                <a:lnTo>
                  <a:pt x="120" y="85"/>
                </a:lnTo>
                <a:lnTo>
                  <a:pt x="119" y="83"/>
                </a:lnTo>
                <a:lnTo>
                  <a:pt x="118" y="83"/>
                </a:lnTo>
                <a:lnTo>
                  <a:pt x="118" y="81"/>
                </a:lnTo>
                <a:lnTo>
                  <a:pt x="119" y="80"/>
                </a:lnTo>
                <a:lnTo>
                  <a:pt x="118" y="80"/>
                </a:lnTo>
                <a:lnTo>
                  <a:pt x="118" y="79"/>
                </a:lnTo>
                <a:lnTo>
                  <a:pt x="120" y="77"/>
                </a:lnTo>
                <a:lnTo>
                  <a:pt x="123" y="80"/>
                </a:lnTo>
                <a:lnTo>
                  <a:pt x="123" y="79"/>
                </a:lnTo>
                <a:lnTo>
                  <a:pt x="124" y="77"/>
                </a:lnTo>
                <a:lnTo>
                  <a:pt x="123" y="77"/>
                </a:lnTo>
                <a:lnTo>
                  <a:pt x="123" y="76"/>
                </a:lnTo>
                <a:lnTo>
                  <a:pt x="122" y="76"/>
                </a:lnTo>
                <a:lnTo>
                  <a:pt x="118" y="75"/>
                </a:lnTo>
                <a:lnTo>
                  <a:pt x="118" y="67"/>
                </a:lnTo>
                <a:lnTo>
                  <a:pt x="120" y="64"/>
                </a:lnTo>
                <a:lnTo>
                  <a:pt x="122" y="64"/>
                </a:lnTo>
                <a:lnTo>
                  <a:pt x="123" y="66"/>
                </a:lnTo>
                <a:lnTo>
                  <a:pt x="124" y="66"/>
                </a:lnTo>
                <a:lnTo>
                  <a:pt x="123" y="67"/>
                </a:lnTo>
                <a:lnTo>
                  <a:pt x="124" y="68"/>
                </a:lnTo>
                <a:lnTo>
                  <a:pt x="124" y="72"/>
                </a:lnTo>
                <a:lnTo>
                  <a:pt x="125" y="73"/>
                </a:lnTo>
                <a:lnTo>
                  <a:pt x="126" y="73"/>
                </a:lnTo>
                <a:lnTo>
                  <a:pt x="125" y="72"/>
                </a:lnTo>
                <a:lnTo>
                  <a:pt x="128" y="72"/>
                </a:lnTo>
                <a:lnTo>
                  <a:pt x="128" y="68"/>
                </a:lnTo>
                <a:lnTo>
                  <a:pt x="124" y="64"/>
                </a:lnTo>
                <a:lnTo>
                  <a:pt x="125" y="63"/>
                </a:lnTo>
                <a:lnTo>
                  <a:pt x="124" y="63"/>
                </a:lnTo>
                <a:lnTo>
                  <a:pt x="125" y="62"/>
                </a:lnTo>
                <a:lnTo>
                  <a:pt x="125" y="61"/>
                </a:lnTo>
                <a:lnTo>
                  <a:pt x="126" y="61"/>
                </a:lnTo>
                <a:lnTo>
                  <a:pt x="128" y="62"/>
                </a:lnTo>
                <a:lnTo>
                  <a:pt x="129" y="62"/>
                </a:lnTo>
                <a:lnTo>
                  <a:pt x="129" y="63"/>
                </a:lnTo>
                <a:lnTo>
                  <a:pt x="130" y="66"/>
                </a:lnTo>
                <a:lnTo>
                  <a:pt x="131" y="67"/>
                </a:lnTo>
                <a:lnTo>
                  <a:pt x="132" y="67"/>
                </a:lnTo>
                <a:lnTo>
                  <a:pt x="132" y="66"/>
                </a:lnTo>
                <a:lnTo>
                  <a:pt x="134" y="66"/>
                </a:lnTo>
                <a:lnTo>
                  <a:pt x="134" y="62"/>
                </a:lnTo>
                <a:lnTo>
                  <a:pt x="135" y="62"/>
                </a:lnTo>
                <a:lnTo>
                  <a:pt x="136" y="63"/>
                </a:lnTo>
                <a:lnTo>
                  <a:pt x="137" y="63"/>
                </a:lnTo>
                <a:lnTo>
                  <a:pt x="140" y="66"/>
                </a:lnTo>
                <a:lnTo>
                  <a:pt x="143" y="67"/>
                </a:lnTo>
                <a:lnTo>
                  <a:pt x="141" y="64"/>
                </a:lnTo>
                <a:lnTo>
                  <a:pt x="136" y="62"/>
                </a:lnTo>
                <a:lnTo>
                  <a:pt x="136" y="61"/>
                </a:lnTo>
                <a:lnTo>
                  <a:pt x="137" y="60"/>
                </a:lnTo>
                <a:lnTo>
                  <a:pt x="138" y="62"/>
                </a:lnTo>
                <a:lnTo>
                  <a:pt x="143" y="62"/>
                </a:lnTo>
                <a:lnTo>
                  <a:pt x="143" y="63"/>
                </a:lnTo>
                <a:lnTo>
                  <a:pt x="145" y="64"/>
                </a:lnTo>
                <a:lnTo>
                  <a:pt x="147" y="66"/>
                </a:lnTo>
                <a:lnTo>
                  <a:pt x="148" y="68"/>
                </a:lnTo>
                <a:lnTo>
                  <a:pt x="149" y="68"/>
                </a:lnTo>
                <a:lnTo>
                  <a:pt x="149" y="67"/>
                </a:lnTo>
                <a:lnTo>
                  <a:pt x="143" y="61"/>
                </a:lnTo>
                <a:lnTo>
                  <a:pt x="144" y="60"/>
                </a:lnTo>
                <a:lnTo>
                  <a:pt x="144" y="58"/>
                </a:lnTo>
                <a:lnTo>
                  <a:pt x="143" y="58"/>
                </a:lnTo>
                <a:lnTo>
                  <a:pt x="143" y="57"/>
                </a:lnTo>
                <a:lnTo>
                  <a:pt x="141" y="57"/>
                </a:lnTo>
                <a:lnTo>
                  <a:pt x="140" y="56"/>
                </a:lnTo>
                <a:lnTo>
                  <a:pt x="138" y="54"/>
                </a:lnTo>
                <a:lnTo>
                  <a:pt x="137" y="54"/>
                </a:lnTo>
                <a:lnTo>
                  <a:pt x="136" y="52"/>
                </a:lnTo>
                <a:lnTo>
                  <a:pt x="134" y="52"/>
                </a:lnTo>
                <a:lnTo>
                  <a:pt x="135" y="51"/>
                </a:lnTo>
                <a:lnTo>
                  <a:pt x="135" y="50"/>
                </a:lnTo>
                <a:lnTo>
                  <a:pt x="134" y="48"/>
                </a:lnTo>
                <a:lnTo>
                  <a:pt x="134" y="46"/>
                </a:lnTo>
                <a:lnTo>
                  <a:pt x="136" y="48"/>
                </a:lnTo>
                <a:lnTo>
                  <a:pt x="137" y="50"/>
                </a:lnTo>
                <a:lnTo>
                  <a:pt x="137" y="49"/>
                </a:lnTo>
                <a:lnTo>
                  <a:pt x="140" y="49"/>
                </a:lnTo>
                <a:lnTo>
                  <a:pt x="141" y="48"/>
                </a:lnTo>
                <a:lnTo>
                  <a:pt x="141" y="46"/>
                </a:lnTo>
                <a:lnTo>
                  <a:pt x="140" y="45"/>
                </a:lnTo>
                <a:lnTo>
                  <a:pt x="141" y="45"/>
                </a:lnTo>
                <a:lnTo>
                  <a:pt x="141" y="44"/>
                </a:lnTo>
                <a:lnTo>
                  <a:pt x="140" y="44"/>
                </a:lnTo>
                <a:lnTo>
                  <a:pt x="141" y="43"/>
                </a:lnTo>
                <a:lnTo>
                  <a:pt x="140" y="43"/>
                </a:lnTo>
                <a:lnTo>
                  <a:pt x="140" y="40"/>
                </a:lnTo>
                <a:lnTo>
                  <a:pt x="138" y="40"/>
                </a:lnTo>
                <a:lnTo>
                  <a:pt x="138" y="38"/>
                </a:lnTo>
                <a:lnTo>
                  <a:pt x="137" y="38"/>
                </a:lnTo>
                <a:lnTo>
                  <a:pt x="136" y="36"/>
                </a:lnTo>
                <a:lnTo>
                  <a:pt x="136" y="33"/>
                </a:lnTo>
                <a:lnTo>
                  <a:pt x="138" y="36"/>
                </a:lnTo>
                <a:lnTo>
                  <a:pt x="141" y="36"/>
                </a:lnTo>
                <a:lnTo>
                  <a:pt x="143" y="33"/>
                </a:lnTo>
                <a:lnTo>
                  <a:pt x="144" y="34"/>
                </a:lnTo>
                <a:lnTo>
                  <a:pt x="145" y="34"/>
                </a:lnTo>
                <a:lnTo>
                  <a:pt x="145" y="33"/>
                </a:lnTo>
                <a:lnTo>
                  <a:pt x="148" y="33"/>
                </a:lnTo>
                <a:lnTo>
                  <a:pt x="149" y="34"/>
                </a:lnTo>
                <a:lnTo>
                  <a:pt x="151" y="34"/>
                </a:lnTo>
                <a:lnTo>
                  <a:pt x="155" y="37"/>
                </a:lnTo>
                <a:lnTo>
                  <a:pt x="153" y="34"/>
                </a:lnTo>
                <a:lnTo>
                  <a:pt x="155" y="34"/>
                </a:lnTo>
                <a:lnTo>
                  <a:pt x="155" y="33"/>
                </a:lnTo>
                <a:lnTo>
                  <a:pt x="151" y="33"/>
                </a:lnTo>
                <a:lnTo>
                  <a:pt x="150" y="34"/>
                </a:lnTo>
                <a:lnTo>
                  <a:pt x="147" y="31"/>
                </a:lnTo>
                <a:lnTo>
                  <a:pt x="147" y="30"/>
                </a:lnTo>
                <a:lnTo>
                  <a:pt x="145" y="29"/>
                </a:lnTo>
                <a:lnTo>
                  <a:pt x="145" y="27"/>
                </a:lnTo>
                <a:lnTo>
                  <a:pt x="144" y="27"/>
                </a:lnTo>
                <a:lnTo>
                  <a:pt x="144" y="26"/>
                </a:lnTo>
                <a:lnTo>
                  <a:pt x="145" y="26"/>
                </a:lnTo>
                <a:lnTo>
                  <a:pt x="145" y="21"/>
                </a:lnTo>
                <a:lnTo>
                  <a:pt x="147" y="21"/>
                </a:lnTo>
                <a:lnTo>
                  <a:pt x="147" y="23"/>
                </a:lnTo>
                <a:lnTo>
                  <a:pt x="149" y="24"/>
                </a:lnTo>
                <a:lnTo>
                  <a:pt x="151" y="24"/>
                </a:lnTo>
                <a:lnTo>
                  <a:pt x="150" y="23"/>
                </a:lnTo>
                <a:lnTo>
                  <a:pt x="150" y="21"/>
                </a:lnTo>
                <a:lnTo>
                  <a:pt x="148" y="21"/>
                </a:lnTo>
                <a:lnTo>
                  <a:pt x="148" y="20"/>
                </a:lnTo>
                <a:lnTo>
                  <a:pt x="150" y="19"/>
                </a:lnTo>
                <a:lnTo>
                  <a:pt x="151" y="19"/>
                </a:lnTo>
                <a:lnTo>
                  <a:pt x="148" y="15"/>
                </a:lnTo>
                <a:lnTo>
                  <a:pt x="148" y="13"/>
                </a:lnTo>
                <a:lnTo>
                  <a:pt x="150" y="12"/>
                </a:lnTo>
                <a:lnTo>
                  <a:pt x="150" y="11"/>
                </a:lnTo>
                <a:lnTo>
                  <a:pt x="151" y="9"/>
                </a:lnTo>
                <a:lnTo>
                  <a:pt x="151" y="5"/>
                </a:lnTo>
                <a:lnTo>
                  <a:pt x="153" y="5"/>
                </a:lnTo>
                <a:lnTo>
                  <a:pt x="157" y="6"/>
                </a:lnTo>
                <a:lnTo>
                  <a:pt x="159" y="6"/>
                </a:lnTo>
                <a:lnTo>
                  <a:pt x="160" y="7"/>
                </a:lnTo>
                <a:lnTo>
                  <a:pt x="160" y="13"/>
                </a:lnTo>
                <a:lnTo>
                  <a:pt x="161" y="12"/>
                </a:lnTo>
                <a:lnTo>
                  <a:pt x="161" y="8"/>
                </a:lnTo>
                <a:lnTo>
                  <a:pt x="162" y="7"/>
                </a:lnTo>
                <a:lnTo>
                  <a:pt x="161" y="6"/>
                </a:lnTo>
                <a:lnTo>
                  <a:pt x="163" y="8"/>
                </a:lnTo>
                <a:lnTo>
                  <a:pt x="165" y="8"/>
                </a:lnTo>
                <a:lnTo>
                  <a:pt x="166" y="9"/>
                </a:lnTo>
                <a:lnTo>
                  <a:pt x="166" y="11"/>
                </a:lnTo>
                <a:lnTo>
                  <a:pt x="167" y="11"/>
                </a:lnTo>
                <a:lnTo>
                  <a:pt x="166" y="12"/>
                </a:lnTo>
                <a:lnTo>
                  <a:pt x="166" y="13"/>
                </a:lnTo>
                <a:lnTo>
                  <a:pt x="165" y="14"/>
                </a:lnTo>
                <a:lnTo>
                  <a:pt x="163" y="17"/>
                </a:lnTo>
                <a:lnTo>
                  <a:pt x="162" y="18"/>
                </a:lnTo>
                <a:lnTo>
                  <a:pt x="162" y="19"/>
                </a:lnTo>
                <a:lnTo>
                  <a:pt x="163" y="19"/>
                </a:lnTo>
                <a:lnTo>
                  <a:pt x="166" y="15"/>
                </a:lnTo>
                <a:lnTo>
                  <a:pt x="166" y="14"/>
                </a:lnTo>
                <a:lnTo>
                  <a:pt x="167" y="14"/>
                </a:lnTo>
                <a:lnTo>
                  <a:pt x="169" y="12"/>
                </a:lnTo>
                <a:lnTo>
                  <a:pt x="169" y="8"/>
                </a:lnTo>
                <a:lnTo>
                  <a:pt x="173" y="8"/>
                </a:lnTo>
                <a:lnTo>
                  <a:pt x="174" y="9"/>
                </a:lnTo>
                <a:lnTo>
                  <a:pt x="176" y="11"/>
                </a:lnTo>
                <a:lnTo>
                  <a:pt x="176" y="13"/>
                </a:lnTo>
                <a:lnTo>
                  <a:pt x="174" y="15"/>
                </a:lnTo>
                <a:lnTo>
                  <a:pt x="174" y="17"/>
                </a:lnTo>
                <a:lnTo>
                  <a:pt x="173" y="19"/>
                </a:lnTo>
                <a:lnTo>
                  <a:pt x="174" y="19"/>
                </a:lnTo>
                <a:lnTo>
                  <a:pt x="176" y="17"/>
                </a:lnTo>
                <a:lnTo>
                  <a:pt x="176" y="14"/>
                </a:lnTo>
                <a:lnTo>
                  <a:pt x="178" y="13"/>
                </a:lnTo>
                <a:lnTo>
                  <a:pt x="180" y="12"/>
                </a:lnTo>
                <a:lnTo>
                  <a:pt x="181" y="11"/>
                </a:lnTo>
                <a:lnTo>
                  <a:pt x="184" y="13"/>
                </a:lnTo>
                <a:lnTo>
                  <a:pt x="185" y="13"/>
                </a:lnTo>
                <a:lnTo>
                  <a:pt x="184" y="12"/>
                </a:lnTo>
                <a:lnTo>
                  <a:pt x="185" y="12"/>
                </a:lnTo>
                <a:lnTo>
                  <a:pt x="185" y="11"/>
                </a:lnTo>
                <a:lnTo>
                  <a:pt x="187" y="11"/>
                </a:lnTo>
                <a:lnTo>
                  <a:pt x="187" y="9"/>
                </a:lnTo>
                <a:lnTo>
                  <a:pt x="191" y="9"/>
                </a:lnTo>
                <a:lnTo>
                  <a:pt x="192" y="8"/>
                </a:lnTo>
                <a:lnTo>
                  <a:pt x="192" y="7"/>
                </a:lnTo>
                <a:lnTo>
                  <a:pt x="193" y="7"/>
                </a:lnTo>
                <a:lnTo>
                  <a:pt x="194" y="8"/>
                </a:lnTo>
                <a:lnTo>
                  <a:pt x="194" y="9"/>
                </a:lnTo>
                <a:lnTo>
                  <a:pt x="196" y="8"/>
                </a:lnTo>
                <a:lnTo>
                  <a:pt x="199" y="9"/>
                </a:lnTo>
                <a:lnTo>
                  <a:pt x="203" y="8"/>
                </a:lnTo>
                <a:lnTo>
                  <a:pt x="204" y="8"/>
                </a:lnTo>
                <a:lnTo>
                  <a:pt x="207" y="6"/>
                </a:lnTo>
                <a:lnTo>
                  <a:pt x="209" y="5"/>
                </a:lnTo>
                <a:lnTo>
                  <a:pt x="213" y="5"/>
                </a:lnTo>
                <a:lnTo>
                  <a:pt x="213" y="7"/>
                </a:lnTo>
                <a:lnTo>
                  <a:pt x="215" y="6"/>
                </a:lnTo>
                <a:lnTo>
                  <a:pt x="217" y="6"/>
                </a:lnTo>
                <a:lnTo>
                  <a:pt x="219" y="7"/>
                </a:lnTo>
                <a:lnTo>
                  <a:pt x="221" y="7"/>
                </a:lnTo>
                <a:lnTo>
                  <a:pt x="222" y="5"/>
                </a:lnTo>
                <a:lnTo>
                  <a:pt x="221" y="5"/>
                </a:lnTo>
                <a:lnTo>
                  <a:pt x="221" y="3"/>
                </a:lnTo>
                <a:lnTo>
                  <a:pt x="219" y="3"/>
                </a:lnTo>
                <a:lnTo>
                  <a:pt x="219" y="1"/>
                </a:lnTo>
                <a:lnTo>
                  <a:pt x="221" y="0"/>
                </a:lnTo>
                <a:close/>
              </a:path>
            </a:pathLst>
          </a:custGeom>
          <a:solidFill>
            <a:schemeClr val="accent5">
              <a:lumMod val="95000"/>
            </a:schemeClr>
          </a:soli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" name="Freeform 40">
            <a:extLst>
              <a:ext uri="{FF2B5EF4-FFF2-40B4-BE49-F238E27FC236}">
                <a16:creationId xmlns:a16="http://schemas.microsoft.com/office/drawing/2014/main" id="{AD9A96EC-57B4-4660-B7F1-583F3FDA9343}"/>
              </a:ext>
            </a:extLst>
          </p:cNvPr>
          <p:cNvSpPr>
            <a:spLocks noEditPoints="1"/>
          </p:cNvSpPr>
          <p:nvPr/>
        </p:nvSpPr>
        <p:spPr bwMode="auto">
          <a:xfrm>
            <a:off x="1021600" y="3538165"/>
            <a:ext cx="163731" cy="257911"/>
          </a:xfrm>
          <a:custGeom>
            <a:avLst/>
            <a:gdLst/>
            <a:ahLst/>
            <a:cxnLst>
              <a:cxn ang="0">
                <a:pos x="22" y="171"/>
              </a:cxn>
              <a:cxn ang="0">
                <a:pos x="17" y="170"/>
              </a:cxn>
              <a:cxn ang="0">
                <a:pos x="11" y="171"/>
              </a:cxn>
              <a:cxn ang="0">
                <a:pos x="0" y="164"/>
              </a:cxn>
              <a:cxn ang="0">
                <a:pos x="32" y="147"/>
              </a:cxn>
              <a:cxn ang="0">
                <a:pos x="16" y="153"/>
              </a:cxn>
              <a:cxn ang="0">
                <a:pos x="23" y="158"/>
              </a:cxn>
              <a:cxn ang="0">
                <a:pos x="26" y="159"/>
              </a:cxn>
              <a:cxn ang="0">
                <a:pos x="28" y="163"/>
              </a:cxn>
              <a:cxn ang="0">
                <a:pos x="17" y="160"/>
              </a:cxn>
              <a:cxn ang="0">
                <a:pos x="9" y="157"/>
              </a:cxn>
              <a:cxn ang="0">
                <a:pos x="4" y="158"/>
              </a:cxn>
              <a:cxn ang="0">
                <a:pos x="37" y="146"/>
              </a:cxn>
              <a:cxn ang="0">
                <a:pos x="35" y="145"/>
              </a:cxn>
              <a:cxn ang="0">
                <a:pos x="19" y="145"/>
              </a:cxn>
              <a:cxn ang="0">
                <a:pos x="29" y="136"/>
              </a:cxn>
              <a:cxn ang="0">
                <a:pos x="26" y="142"/>
              </a:cxn>
              <a:cxn ang="0">
                <a:pos x="23" y="135"/>
              </a:cxn>
              <a:cxn ang="0">
                <a:pos x="36" y="138"/>
              </a:cxn>
              <a:cxn ang="0">
                <a:pos x="34" y="136"/>
              </a:cxn>
              <a:cxn ang="0">
                <a:pos x="38" y="130"/>
              </a:cxn>
              <a:cxn ang="0">
                <a:pos x="16" y="129"/>
              </a:cxn>
              <a:cxn ang="0">
                <a:pos x="24" y="134"/>
              </a:cxn>
              <a:cxn ang="0">
                <a:pos x="17" y="132"/>
              </a:cxn>
              <a:cxn ang="0">
                <a:pos x="75" y="114"/>
              </a:cxn>
              <a:cxn ang="0">
                <a:pos x="88" y="64"/>
              </a:cxn>
              <a:cxn ang="0">
                <a:pos x="100" y="59"/>
              </a:cxn>
              <a:cxn ang="0">
                <a:pos x="105" y="42"/>
              </a:cxn>
              <a:cxn ang="0">
                <a:pos x="111" y="19"/>
              </a:cxn>
              <a:cxn ang="0">
                <a:pos x="106" y="23"/>
              </a:cxn>
              <a:cxn ang="0">
                <a:pos x="90" y="29"/>
              </a:cxn>
              <a:cxn ang="0">
                <a:pos x="87" y="39"/>
              </a:cxn>
              <a:cxn ang="0">
                <a:pos x="93" y="31"/>
              </a:cxn>
              <a:cxn ang="0">
                <a:pos x="93" y="39"/>
              </a:cxn>
              <a:cxn ang="0">
                <a:pos x="101" y="35"/>
              </a:cxn>
              <a:cxn ang="0">
                <a:pos x="97" y="45"/>
              </a:cxn>
              <a:cxn ang="0">
                <a:pos x="96" y="49"/>
              </a:cxn>
              <a:cxn ang="0">
                <a:pos x="94" y="58"/>
              </a:cxn>
              <a:cxn ang="0">
                <a:pos x="94" y="64"/>
              </a:cxn>
              <a:cxn ang="0">
                <a:pos x="94" y="73"/>
              </a:cxn>
              <a:cxn ang="0">
                <a:pos x="92" y="84"/>
              </a:cxn>
              <a:cxn ang="0">
                <a:pos x="90" y="77"/>
              </a:cxn>
              <a:cxn ang="0">
                <a:pos x="92" y="64"/>
              </a:cxn>
              <a:cxn ang="0">
                <a:pos x="92" y="53"/>
              </a:cxn>
              <a:cxn ang="0">
                <a:pos x="87" y="53"/>
              </a:cxn>
              <a:cxn ang="0">
                <a:pos x="84" y="60"/>
              </a:cxn>
              <a:cxn ang="0">
                <a:pos x="81" y="52"/>
              </a:cxn>
              <a:cxn ang="0">
                <a:pos x="75" y="47"/>
              </a:cxn>
              <a:cxn ang="0">
                <a:pos x="82" y="46"/>
              </a:cxn>
              <a:cxn ang="0">
                <a:pos x="88" y="43"/>
              </a:cxn>
              <a:cxn ang="0">
                <a:pos x="85" y="34"/>
              </a:cxn>
              <a:cxn ang="0">
                <a:pos x="78" y="33"/>
              </a:cxn>
              <a:cxn ang="0">
                <a:pos x="86" y="29"/>
              </a:cxn>
              <a:cxn ang="0">
                <a:pos x="87" y="21"/>
              </a:cxn>
              <a:cxn ang="0">
                <a:pos x="104" y="13"/>
              </a:cxn>
              <a:cxn ang="0">
                <a:pos x="101" y="18"/>
              </a:cxn>
              <a:cxn ang="0">
                <a:pos x="99" y="30"/>
              </a:cxn>
              <a:cxn ang="0">
                <a:pos x="97" y="17"/>
              </a:cxn>
              <a:cxn ang="0">
                <a:pos x="107" y="5"/>
              </a:cxn>
              <a:cxn ang="0">
                <a:pos x="113" y="4"/>
              </a:cxn>
              <a:cxn ang="0">
                <a:pos x="105" y="15"/>
              </a:cxn>
              <a:cxn ang="0">
                <a:pos x="106" y="4"/>
              </a:cxn>
            </a:cxnLst>
            <a:rect l="0" t="0" r="r" b="b"/>
            <a:pathLst>
              <a:path w="113" h="178">
                <a:moveTo>
                  <a:pt x="12" y="171"/>
                </a:moveTo>
                <a:lnTo>
                  <a:pt x="13" y="172"/>
                </a:lnTo>
                <a:lnTo>
                  <a:pt x="12" y="173"/>
                </a:lnTo>
                <a:lnTo>
                  <a:pt x="10" y="173"/>
                </a:lnTo>
                <a:lnTo>
                  <a:pt x="12" y="171"/>
                </a:lnTo>
                <a:close/>
                <a:moveTo>
                  <a:pt x="20" y="169"/>
                </a:moveTo>
                <a:lnTo>
                  <a:pt x="23" y="169"/>
                </a:lnTo>
                <a:lnTo>
                  <a:pt x="23" y="171"/>
                </a:lnTo>
                <a:lnTo>
                  <a:pt x="22" y="171"/>
                </a:lnTo>
                <a:lnTo>
                  <a:pt x="22" y="177"/>
                </a:lnTo>
                <a:lnTo>
                  <a:pt x="20" y="178"/>
                </a:lnTo>
                <a:lnTo>
                  <a:pt x="19" y="176"/>
                </a:lnTo>
                <a:lnTo>
                  <a:pt x="19" y="173"/>
                </a:lnTo>
                <a:lnTo>
                  <a:pt x="18" y="171"/>
                </a:lnTo>
                <a:lnTo>
                  <a:pt x="19" y="172"/>
                </a:lnTo>
                <a:lnTo>
                  <a:pt x="19" y="171"/>
                </a:lnTo>
                <a:lnTo>
                  <a:pt x="17" y="171"/>
                </a:lnTo>
                <a:lnTo>
                  <a:pt x="17" y="170"/>
                </a:lnTo>
                <a:lnTo>
                  <a:pt x="18" y="170"/>
                </a:lnTo>
                <a:lnTo>
                  <a:pt x="20" y="169"/>
                </a:lnTo>
                <a:close/>
                <a:moveTo>
                  <a:pt x="4" y="162"/>
                </a:moveTo>
                <a:lnTo>
                  <a:pt x="6" y="164"/>
                </a:lnTo>
                <a:lnTo>
                  <a:pt x="9" y="164"/>
                </a:lnTo>
                <a:lnTo>
                  <a:pt x="10" y="168"/>
                </a:lnTo>
                <a:lnTo>
                  <a:pt x="10" y="169"/>
                </a:lnTo>
                <a:lnTo>
                  <a:pt x="11" y="170"/>
                </a:lnTo>
                <a:lnTo>
                  <a:pt x="11" y="171"/>
                </a:lnTo>
                <a:lnTo>
                  <a:pt x="10" y="171"/>
                </a:lnTo>
                <a:lnTo>
                  <a:pt x="7" y="173"/>
                </a:lnTo>
                <a:lnTo>
                  <a:pt x="5" y="173"/>
                </a:lnTo>
                <a:lnTo>
                  <a:pt x="5" y="171"/>
                </a:lnTo>
                <a:lnTo>
                  <a:pt x="4" y="170"/>
                </a:lnTo>
                <a:lnTo>
                  <a:pt x="3" y="168"/>
                </a:lnTo>
                <a:lnTo>
                  <a:pt x="3" y="166"/>
                </a:lnTo>
                <a:lnTo>
                  <a:pt x="0" y="166"/>
                </a:lnTo>
                <a:lnTo>
                  <a:pt x="0" y="164"/>
                </a:lnTo>
                <a:lnTo>
                  <a:pt x="1" y="164"/>
                </a:lnTo>
                <a:lnTo>
                  <a:pt x="1" y="163"/>
                </a:lnTo>
                <a:lnTo>
                  <a:pt x="4" y="162"/>
                </a:lnTo>
                <a:close/>
                <a:moveTo>
                  <a:pt x="32" y="147"/>
                </a:moveTo>
                <a:lnTo>
                  <a:pt x="34" y="147"/>
                </a:lnTo>
                <a:lnTo>
                  <a:pt x="34" y="148"/>
                </a:lnTo>
                <a:lnTo>
                  <a:pt x="32" y="150"/>
                </a:lnTo>
                <a:lnTo>
                  <a:pt x="31" y="148"/>
                </a:lnTo>
                <a:lnTo>
                  <a:pt x="32" y="147"/>
                </a:lnTo>
                <a:close/>
                <a:moveTo>
                  <a:pt x="6" y="144"/>
                </a:moveTo>
                <a:lnTo>
                  <a:pt x="11" y="144"/>
                </a:lnTo>
                <a:lnTo>
                  <a:pt x="13" y="146"/>
                </a:lnTo>
                <a:lnTo>
                  <a:pt x="16" y="146"/>
                </a:lnTo>
                <a:lnTo>
                  <a:pt x="16" y="148"/>
                </a:lnTo>
                <a:lnTo>
                  <a:pt x="18" y="150"/>
                </a:lnTo>
                <a:lnTo>
                  <a:pt x="18" y="151"/>
                </a:lnTo>
                <a:lnTo>
                  <a:pt x="16" y="152"/>
                </a:lnTo>
                <a:lnTo>
                  <a:pt x="16" y="153"/>
                </a:lnTo>
                <a:lnTo>
                  <a:pt x="13" y="156"/>
                </a:lnTo>
                <a:lnTo>
                  <a:pt x="14" y="157"/>
                </a:lnTo>
                <a:lnTo>
                  <a:pt x="17" y="157"/>
                </a:lnTo>
                <a:lnTo>
                  <a:pt x="17" y="156"/>
                </a:lnTo>
                <a:lnTo>
                  <a:pt x="18" y="154"/>
                </a:lnTo>
                <a:lnTo>
                  <a:pt x="19" y="156"/>
                </a:lnTo>
                <a:lnTo>
                  <a:pt x="22" y="156"/>
                </a:lnTo>
                <a:lnTo>
                  <a:pt x="23" y="157"/>
                </a:lnTo>
                <a:lnTo>
                  <a:pt x="23" y="158"/>
                </a:lnTo>
                <a:lnTo>
                  <a:pt x="25" y="158"/>
                </a:lnTo>
                <a:lnTo>
                  <a:pt x="25" y="157"/>
                </a:lnTo>
                <a:lnTo>
                  <a:pt x="28" y="157"/>
                </a:lnTo>
                <a:lnTo>
                  <a:pt x="28" y="158"/>
                </a:lnTo>
                <a:lnTo>
                  <a:pt x="25" y="160"/>
                </a:lnTo>
                <a:lnTo>
                  <a:pt x="25" y="162"/>
                </a:lnTo>
                <a:lnTo>
                  <a:pt x="28" y="162"/>
                </a:lnTo>
                <a:lnTo>
                  <a:pt x="28" y="160"/>
                </a:lnTo>
                <a:lnTo>
                  <a:pt x="26" y="159"/>
                </a:lnTo>
                <a:lnTo>
                  <a:pt x="28" y="159"/>
                </a:lnTo>
                <a:lnTo>
                  <a:pt x="29" y="158"/>
                </a:lnTo>
                <a:lnTo>
                  <a:pt x="30" y="158"/>
                </a:lnTo>
                <a:lnTo>
                  <a:pt x="30" y="159"/>
                </a:lnTo>
                <a:lnTo>
                  <a:pt x="31" y="159"/>
                </a:lnTo>
                <a:lnTo>
                  <a:pt x="31" y="162"/>
                </a:lnTo>
                <a:lnTo>
                  <a:pt x="30" y="162"/>
                </a:lnTo>
                <a:lnTo>
                  <a:pt x="30" y="163"/>
                </a:lnTo>
                <a:lnTo>
                  <a:pt x="28" y="163"/>
                </a:lnTo>
                <a:lnTo>
                  <a:pt x="26" y="165"/>
                </a:lnTo>
                <a:lnTo>
                  <a:pt x="25" y="165"/>
                </a:lnTo>
                <a:lnTo>
                  <a:pt x="22" y="164"/>
                </a:lnTo>
                <a:lnTo>
                  <a:pt x="20" y="163"/>
                </a:lnTo>
                <a:lnTo>
                  <a:pt x="19" y="160"/>
                </a:lnTo>
                <a:lnTo>
                  <a:pt x="19" y="159"/>
                </a:lnTo>
                <a:lnTo>
                  <a:pt x="18" y="159"/>
                </a:lnTo>
                <a:lnTo>
                  <a:pt x="18" y="160"/>
                </a:lnTo>
                <a:lnTo>
                  <a:pt x="17" y="160"/>
                </a:lnTo>
                <a:lnTo>
                  <a:pt x="16" y="162"/>
                </a:lnTo>
                <a:lnTo>
                  <a:pt x="16" y="160"/>
                </a:lnTo>
                <a:lnTo>
                  <a:pt x="14" y="160"/>
                </a:lnTo>
                <a:lnTo>
                  <a:pt x="16" y="162"/>
                </a:lnTo>
                <a:lnTo>
                  <a:pt x="13" y="162"/>
                </a:lnTo>
                <a:lnTo>
                  <a:pt x="13" y="163"/>
                </a:lnTo>
                <a:lnTo>
                  <a:pt x="10" y="163"/>
                </a:lnTo>
                <a:lnTo>
                  <a:pt x="9" y="162"/>
                </a:lnTo>
                <a:lnTo>
                  <a:pt x="9" y="157"/>
                </a:lnTo>
                <a:lnTo>
                  <a:pt x="10" y="156"/>
                </a:lnTo>
                <a:lnTo>
                  <a:pt x="10" y="154"/>
                </a:lnTo>
                <a:lnTo>
                  <a:pt x="9" y="154"/>
                </a:lnTo>
                <a:lnTo>
                  <a:pt x="9" y="156"/>
                </a:lnTo>
                <a:lnTo>
                  <a:pt x="7" y="154"/>
                </a:lnTo>
                <a:lnTo>
                  <a:pt x="7" y="158"/>
                </a:lnTo>
                <a:lnTo>
                  <a:pt x="6" y="159"/>
                </a:lnTo>
                <a:lnTo>
                  <a:pt x="6" y="160"/>
                </a:lnTo>
                <a:lnTo>
                  <a:pt x="4" y="158"/>
                </a:lnTo>
                <a:lnTo>
                  <a:pt x="3" y="154"/>
                </a:lnTo>
                <a:lnTo>
                  <a:pt x="4" y="152"/>
                </a:lnTo>
                <a:lnTo>
                  <a:pt x="4" y="148"/>
                </a:lnTo>
                <a:lnTo>
                  <a:pt x="6" y="144"/>
                </a:lnTo>
                <a:close/>
                <a:moveTo>
                  <a:pt x="35" y="142"/>
                </a:moveTo>
                <a:lnTo>
                  <a:pt x="35" y="144"/>
                </a:lnTo>
                <a:lnTo>
                  <a:pt x="36" y="144"/>
                </a:lnTo>
                <a:lnTo>
                  <a:pt x="36" y="146"/>
                </a:lnTo>
                <a:lnTo>
                  <a:pt x="37" y="146"/>
                </a:lnTo>
                <a:lnTo>
                  <a:pt x="37" y="147"/>
                </a:lnTo>
                <a:lnTo>
                  <a:pt x="38" y="148"/>
                </a:lnTo>
                <a:lnTo>
                  <a:pt x="38" y="150"/>
                </a:lnTo>
                <a:lnTo>
                  <a:pt x="36" y="150"/>
                </a:lnTo>
                <a:lnTo>
                  <a:pt x="35" y="148"/>
                </a:lnTo>
                <a:lnTo>
                  <a:pt x="35" y="147"/>
                </a:lnTo>
                <a:lnTo>
                  <a:pt x="34" y="147"/>
                </a:lnTo>
                <a:lnTo>
                  <a:pt x="35" y="146"/>
                </a:lnTo>
                <a:lnTo>
                  <a:pt x="35" y="145"/>
                </a:lnTo>
                <a:lnTo>
                  <a:pt x="32" y="144"/>
                </a:lnTo>
                <a:lnTo>
                  <a:pt x="35" y="142"/>
                </a:lnTo>
                <a:close/>
                <a:moveTo>
                  <a:pt x="14" y="140"/>
                </a:moveTo>
                <a:lnTo>
                  <a:pt x="17" y="140"/>
                </a:lnTo>
                <a:lnTo>
                  <a:pt x="17" y="141"/>
                </a:lnTo>
                <a:lnTo>
                  <a:pt x="19" y="140"/>
                </a:lnTo>
                <a:lnTo>
                  <a:pt x="20" y="141"/>
                </a:lnTo>
                <a:lnTo>
                  <a:pt x="19" y="142"/>
                </a:lnTo>
                <a:lnTo>
                  <a:pt x="19" y="145"/>
                </a:lnTo>
                <a:lnTo>
                  <a:pt x="18" y="146"/>
                </a:lnTo>
                <a:lnTo>
                  <a:pt x="17" y="145"/>
                </a:lnTo>
                <a:lnTo>
                  <a:pt x="14" y="145"/>
                </a:lnTo>
                <a:lnTo>
                  <a:pt x="13" y="142"/>
                </a:lnTo>
                <a:lnTo>
                  <a:pt x="13" y="141"/>
                </a:lnTo>
                <a:lnTo>
                  <a:pt x="14" y="140"/>
                </a:lnTo>
                <a:close/>
                <a:moveTo>
                  <a:pt x="28" y="135"/>
                </a:moveTo>
                <a:lnTo>
                  <a:pt x="29" y="135"/>
                </a:lnTo>
                <a:lnTo>
                  <a:pt x="29" y="136"/>
                </a:lnTo>
                <a:lnTo>
                  <a:pt x="30" y="136"/>
                </a:lnTo>
                <a:lnTo>
                  <a:pt x="30" y="139"/>
                </a:lnTo>
                <a:lnTo>
                  <a:pt x="29" y="140"/>
                </a:lnTo>
                <a:lnTo>
                  <a:pt x="29" y="144"/>
                </a:lnTo>
                <a:lnTo>
                  <a:pt x="30" y="144"/>
                </a:lnTo>
                <a:lnTo>
                  <a:pt x="29" y="145"/>
                </a:lnTo>
                <a:lnTo>
                  <a:pt x="28" y="145"/>
                </a:lnTo>
                <a:lnTo>
                  <a:pt x="28" y="142"/>
                </a:lnTo>
                <a:lnTo>
                  <a:pt x="26" y="142"/>
                </a:lnTo>
                <a:lnTo>
                  <a:pt x="26" y="141"/>
                </a:lnTo>
                <a:lnTo>
                  <a:pt x="25" y="141"/>
                </a:lnTo>
                <a:lnTo>
                  <a:pt x="25" y="140"/>
                </a:lnTo>
                <a:lnTo>
                  <a:pt x="28" y="140"/>
                </a:lnTo>
                <a:lnTo>
                  <a:pt x="28" y="135"/>
                </a:lnTo>
                <a:close/>
                <a:moveTo>
                  <a:pt x="23" y="135"/>
                </a:moveTo>
                <a:lnTo>
                  <a:pt x="24" y="135"/>
                </a:lnTo>
                <a:lnTo>
                  <a:pt x="23" y="136"/>
                </a:lnTo>
                <a:lnTo>
                  <a:pt x="23" y="135"/>
                </a:lnTo>
                <a:close/>
                <a:moveTo>
                  <a:pt x="43" y="130"/>
                </a:moveTo>
                <a:lnTo>
                  <a:pt x="44" y="132"/>
                </a:lnTo>
                <a:lnTo>
                  <a:pt x="44" y="133"/>
                </a:lnTo>
                <a:lnTo>
                  <a:pt x="41" y="133"/>
                </a:lnTo>
                <a:lnTo>
                  <a:pt x="41" y="134"/>
                </a:lnTo>
                <a:lnTo>
                  <a:pt x="39" y="136"/>
                </a:lnTo>
                <a:lnTo>
                  <a:pt x="38" y="136"/>
                </a:lnTo>
                <a:lnTo>
                  <a:pt x="38" y="135"/>
                </a:lnTo>
                <a:lnTo>
                  <a:pt x="36" y="138"/>
                </a:lnTo>
                <a:lnTo>
                  <a:pt x="36" y="136"/>
                </a:lnTo>
                <a:lnTo>
                  <a:pt x="35" y="136"/>
                </a:lnTo>
                <a:lnTo>
                  <a:pt x="32" y="139"/>
                </a:lnTo>
                <a:lnTo>
                  <a:pt x="32" y="140"/>
                </a:lnTo>
                <a:lnTo>
                  <a:pt x="31" y="140"/>
                </a:lnTo>
                <a:lnTo>
                  <a:pt x="31" y="138"/>
                </a:lnTo>
                <a:lnTo>
                  <a:pt x="32" y="138"/>
                </a:lnTo>
                <a:lnTo>
                  <a:pt x="32" y="136"/>
                </a:lnTo>
                <a:lnTo>
                  <a:pt x="34" y="136"/>
                </a:lnTo>
                <a:lnTo>
                  <a:pt x="34" y="135"/>
                </a:lnTo>
                <a:lnTo>
                  <a:pt x="35" y="135"/>
                </a:lnTo>
                <a:lnTo>
                  <a:pt x="35" y="134"/>
                </a:lnTo>
                <a:lnTo>
                  <a:pt x="37" y="134"/>
                </a:lnTo>
                <a:lnTo>
                  <a:pt x="39" y="132"/>
                </a:lnTo>
                <a:lnTo>
                  <a:pt x="42" y="132"/>
                </a:lnTo>
                <a:lnTo>
                  <a:pt x="43" y="130"/>
                </a:lnTo>
                <a:close/>
                <a:moveTo>
                  <a:pt x="37" y="130"/>
                </a:moveTo>
                <a:lnTo>
                  <a:pt x="38" y="130"/>
                </a:lnTo>
                <a:lnTo>
                  <a:pt x="38" y="132"/>
                </a:lnTo>
                <a:lnTo>
                  <a:pt x="36" y="134"/>
                </a:lnTo>
                <a:lnTo>
                  <a:pt x="36" y="133"/>
                </a:lnTo>
                <a:lnTo>
                  <a:pt x="35" y="132"/>
                </a:lnTo>
                <a:lnTo>
                  <a:pt x="36" y="132"/>
                </a:lnTo>
                <a:lnTo>
                  <a:pt x="37" y="130"/>
                </a:lnTo>
                <a:close/>
                <a:moveTo>
                  <a:pt x="16" y="128"/>
                </a:moveTo>
                <a:lnTo>
                  <a:pt x="17" y="129"/>
                </a:lnTo>
                <a:lnTo>
                  <a:pt x="16" y="129"/>
                </a:lnTo>
                <a:lnTo>
                  <a:pt x="16" y="128"/>
                </a:lnTo>
                <a:close/>
                <a:moveTo>
                  <a:pt x="19" y="126"/>
                </a:moveTo>
                <a:lnTo>
                  <a:pt x="20" y="127"/>
                </a:lnTo>
                <a:lnTo>
                  <a:pt x="20" y="129"/>
                </a:lnTo>
                <a:lnTo>
                  <a:pt x="19" y="129"/>
                </a:lnTo>
                <a:lnTo>
                  <a:pt x="22" y="130"/>
                </a:lnTo>
                <a:lnTo>
                  <a:pt x="23" y="130"/>
                </a:lnTo>
                <a:lnTo>
                  <a:pt x="24" y="133"/>
                </a:lnTo>
                <a:lnTo>
                  <a:pt x="24" y="134"/>
                </a:lnTo>
                <a:lnTo>
                  <a:pt x="25" y="134"/>
                </a:lnTo>
                <a:lnTo>
                  <a:pt x="25" y="135"/>
                </a:lnTo>
                <a:lnTo>
                  <a:pt x="24" y="135"/>
                </a:lnTo>
                <a:lnTo>
                  <a:pt x="20" y="132"/>
                </a:lnTo>
                <a:lnTo>
                  <a:pt x="19" y="132"/>
                </a:lnTo>
                <a:lnTo>
                  <a:pt x="19" y="134"/>
                </a:lnTo>
                <a:lnTo>
                  <a:pt x="18" y="134"/>
                </a:lnTo>
                <a:lnTo>
                  <a:pt x="18" y="133"/>
                </a:lnTo>
                <a:lnTo>
                  <a:pt x="17" y="132"/>
                </a:lnTo>
                <a:lnTo>
                  <a:pt x="17" y="129"/>
                </a:lnTo>
                <a:lnTo>
                  <a:pt x="19" y="127"/>
                </a:lnTo>
                <a:lnTo>
                  <a:pt x="19" y="126"/>
                </a:lnTo>
                <a:close/>
                <a:moveTo>
                  <a:pt x="76" y="110"/>
                </a:moveTo>
                <a:lnTo>
                  <a:pt x="78" y="110"/>
                </a:lnTo>
                <a:lnTo>
                  <a:pt x="78" y="113"/>
                </a:lnTo>
                <a:lnTo>
                  <a:pt x="76" y="113"/>
                </a:lnTo>
                <a:lnTo>
                  <a:pt x="76" y="114"/>
                </a:lnTo>
                <a:lnTo>
                  <a:pt x="75" y="114"/>
                </a:lnTo>
                <a:lnTo>
                  <a:pt x="75" y="111"/>
                </a:lnTo>
                <a:lnTo>
                  <a:pt x="76" y="110"/>
                </a:lnTo>
                <a:close/>
                <a:moveTo>
                  <a:pt x="88" y="64"/>
                </a:moveTo>
                <a:lnTo>
                  <a:pt x="90" y="64"/>
                </a:lnTo>
                <a:lnTo>
                  <a:pt x="90" y="67"/>
                </a:lnTo>
                <a:lnTo>
                  <a:pt x="87" y="70"/>
                </a:lnTo>
                <a:lnTo>
                  <a:pt x="87" y="68"/>
                </a:lnTo>
                <a:lnTo>
                  <a:pt x="88" y="67"/>
                </a:lnTo>
                <a:lnTo>
                  <a:pt x="88" y="64"/>
                </a:lnTo>
                <a:close/>
                <a:moveTo>
                  <a:pt x="56" y="60"/>
                </a:moveTo>
                <a:lnTo>
                  <a:pt x="59" y="60"/>
                </a:lnTo>
                <a:lnTo>
                  <a:pt x="59" y="62"/>
                </a:lnTo>
                <a:lnTo>
                  <a:pt x="57" y="62"/>
                </a:lnTo>
                <a:lnTo>
                  <a:pt x="56" y="61"/>
                </a:lnTo>
                <a:lnTo>
                  <a:pt x="56" y="60"/>
                </a:lnTo>
                <a:close/>
                <a:moveTo>
                  <a:pt x="97" y="58"/>
                </a:moveTo>
                <a:lnTo>
                  <a:pt x="99" y="58"/>
                </a:lnTo>
                <a:lnTo>
                  <a:pt x="100" y="59"/>
                </a:lnTo>
                <a:lnTo>
                  <a:pt x="100" y="62"/>
                </a:lnTo>
                <a:lnTo>
                  <a:pt x="99" y="64"/>
                </a:lnTo>
                <a:lnTo>
                  <a:pt x="98" y="62"/>
                </a:lnTo>
                <a:lnTo>
                  <a:pt x="98" y="60"/>
                </a:lnTo>
                <a:lnTo>
                  <a:pt x="97" y="59"/>
                </a:lnTo>
                <a:lnTo>
                  <a:pt x="97" y="58"/>
                </a:lnTo>
                <a:close/>
                <a:moveTo>
                  <a:pt x="106" y="40"/>
                </a:moveTo>
                <a:lnTo>
                  <a:pt x="106" y="41"/>
                </a:lnTo>
                <a:lnTo>
                  <a:pt x="105" y="42"/>
                </a:lnTo>
                <a:lnTo>
                  <a:pt x="104" y="45"/>
                </a:lnTo>
                <a:lnTo>
                  <a:pt x="101" y="45"/>
                </a:lnTo>
                <a:lnTo>
                  <a:pt x="101" y="42"/>
                </a:lnTo>
                <a:lnTo>
                  <a:pt x="103" y="42"/>
                </a:lnTo>
                <a:lnTo>
                  <a:pt x="103" y="41"/>
                </a:lnTo>
                <a:lnTo>
                  <a:pt x="105" y="41"/>
                </a:lnTo>
                <a:lnTo>
                  <a:pt x="106" y="40"/>
                </a:lnTo>
                <a:close/>
                <a:moveTo>
                  <a:pt x="105" y="19"/>
                </a:moveTo>
                <a:lnTo>
                  <a:pt x="111" y="19"/>
                </a:lnTo>
                <a:lnTo>
                  <a:pt x="111" y="21"/>
                </a:lnTo>
                <a:lnTo>
                  <a:pt x="113" y="21"/>
                </a:lnTo>
                <a:lnTo>
                  <a:pt x="113" y="23"/>
                </a:lnTo>
                <a:lnTo>
                  <a:pt x="112" y="24"/>
                </a:lnTo>
                <a:lnTo>
                  <a:pt x="111" y="23"/>
                </a:lnTo>
                <a:lnTo>
                  <a:pt x="109" y="23"/>
                </a:lnTo>
                <a:lnTo>
                  <a:pt x="109" y="24"/>
                </a:lnTo>
                <a:lnTo>
                  <a:pt x="107" y="24"/>
                </a:lnTo>
                <a:lnTo>
                  <a:pt x="106" y="23"/>
                </a:lnTo>
                <a:lnTo>
                  <a:pt x="105" y="19"/>
                </a:lnTo>
                <a:close/>
                <a:moveTo>
                  <a:pt x="90" y="18"/>
                </a:moveTo>
                <a:lnTo>
                  <a:pt x="91" y="19"/>
                </a:lnTo>
                <a:lnTo>
                  <a:pt x="91" y="22"/>
                </a:lnTo>
                <a:lnTo>
                  <a:pt x="90" y="23"/>
                </a:lnTo>
                <a:lnTo>
                  <a:pt x="90" y="27"/>
                </a:lnTo>
                <a:lnTo>
                  <a:pt x="88" y="28"/>
                </a:lnTo>
                <a:lnTo>
                  <a:pt x="88" y="29"/>
                </a:lnTo>
                <a:lnTo>
                  <a:pt x="90" y="29"/>
                </a:lnTo>
                <a:lnTo>
                  <a:pt x="88" y="31"/>
                </a:lnTo>
                <a:lnTo>
                  <a:pt x="90" y="31"/>
                </a:lnTo>
                <a:lnTo>
                  <a:pt x="90" y="30"/>
                </a:lnTo>
                <a:lnTo>
                  <a:pt x="91" y="31"/>
                </a:lnTo>
                <a:lnTo>
                  <a:pt x="90" y="33"/>
                </a:lnTo>
                <a:lnTo>
                  <a:pt x="90" y="34"/>
                </a:lnTo>
                <a:lnTo>
                  <a:pt x="88" y="34"/>
                </a:lnTo>
                <a:lnTo>
                  <a:pt x="88" y="37"/>
                </a:lnTo>
                <a:lnTo>
                  <a:pt x="87" y="39"/>
                </a:lnTo>
                <a:lnTo>
                  <a:pt x="90" y="39"/>
                </a:lnTo>
                <a:lnTo>
                  <a:pt x="90" y="36"/>
                </a:lnTo>
                <a:lnTo>
                  <a:pt x="91" y="36"/>
                </a:lnTo>
                <a:lnTo>
                  <a:pt x="93" y="35"/>
                </a:lnTo>
                <a:lnTo>
                  <a:pt x="91" y="34"/>
                </a:lnTo>
                <a:lnTo>
                  <a:pt x="91" y="31"/>
                </a:lnTo>
                <a:lnTo>
                  <a:pt x="92" y="31"/>
                </a:lnTo>
                <a:lnTo>
                  <a:pt x="92" y="33"/>
                </a:lnTo>
                <a:lnTo>
                  <a:pt x="93" y="31"/>
                </a:lnTo>
                <a:lnTo>
                  <a:pt x="93" y="30"/>
                </a:lnTo>
                <a:lnTo>
                  <a:pt x="94" y="31"/>
                </a:lnTo>
                <a:lnTo>
                  <a:pt x="94" y="33"/>
                </a:lnTo>
                <a:lnTo>
                  <a:pt x="96" y="33"/>
                </a:lnTo>
                <a:lnTo>
                  <a:pt x="96" y="36"/>
                </a:lnTo>
                <a:lnTo>
                  <a:pt x="94" y="36"/>
                </a:lnTo>
                <a:lnTo>
                  <a:pt x="94" y="37"/>
                </a:lnTo>
                <a:lnTo>
                  <a:pt x="93" y="37"/>
                </a:lnTo>
                <a:lnTo>
                  <a:pt x="93" y="39"/>
                </a:lnTo>
                <a:lnTo>
                  <a:pt x="94" y="39"/>
                </a:lnTo>
                <a:lnTo>
                  <a:pt x="94" y="37"/>
                </a:lnTo>
                <a:lnTo>
                  <a:pt x="96" y="37"/>
                </a:lnTo>
                <a:lnTo>
                  <a:pt x="97" y="39"/>
                </a:lnTo>
                <a:lnTo>
                  <a:pt x="98" y="39"/>
                </a:lnTo>
                <a:lnTo>
                  <a:pt x="98" y="36"/>
                </a:lnTo>
                <a:lnTo>
                  <a:pt x="99" y="36"/>
                </a:lnTo>
                <a:lnTo>
                  <a:pt x="99" y="35"/>
                </a:lnTo>
                <a:lnTo>
                  <a:pt x="101" y="35"/>
                </a:lnTo>
                <a:lnTo>
                  <a:pt x="100" y="36"/>
                </a:lnTo>
                <a:lnTo>
                  <a:pt x="98" y="40"/>
                </a:lnTo>
                <a:lnTo>
                  <a:pt x="98" y="41"/>
                </a:lnTo>
                <a:lnTo>
                  <a:pt x="99" y="40"/>
                </a:lnTo>
                <a:lnTo>
                  <a:pt x="100" y="40"/>
                </a:lnTo>
                <a:lnTo>
                  <a:pt x="100" y="42"/>
                </a:lnTo>
                <a:lnTo>
                  <a:pt x="99" y="42"/>
                </a:lnTo>
                <a:lnTo>
                  <a:pt x="96" y="43"/>
                </a:lnTo>
                <a:lnTo>
                  <a:pt x="97" y="45"/>
                </a:lnTo>
                <a:lnTo>
                  <a:pt x="98" y="45"/>
                </a:lnTo>
                <a:lnTo>
                  <a:pt x="99" y="46"/>
                </a:lnTo>
                <a:lnTo>
                  <a:pt x="98" y="48"/>
                </a:lnTo>
                <a:lnTo>
                  <a:pt x="97" y="48"/>
                </a:lnTo>
                <a:lnTo>
                  <a:pt x="97" y="49"/>
                </a:lnTo>
                <a:lnTo>
                  <a:pt x="99" y="49"/>
                </a:lnTo>
                <a:lnTo>
                  <a:pt x="97" y="52"/>
                </a:lnTo>
                <a:lnTo>
                  <a:pt x="96" y="52"/>
                </a:lnTo>
                <a:lnTo>
                  <a:pt x="96" y="49"/>
                </a:lnTo>
                <a:lnTo>
                  <a:pt x="94" y="49"/>
                </a:lnTo>
                <a:lnTo>
                  <a:pt x="94" y="52"/>
                </a:lnTo>
                <a:lnTo>
                  <a:pt x="93" y="53"/>
                </a:lnTo>
                <a:lnTo>
                  <a:pt x="96" y="53"/>
                </a:lnTo>
                <a:lnTo>
                  <a:pt x="94" y="54"/>
                </a:lnTo>
                <a:lnTo>
                  <a:pt x="94" y="55"/>
                </a:lnTo>
                <a:lnTo>
                  <a:pt x="96" y="54"/>
                </a:lnTo>
                <a:lnTo>
                  <a:pt x="94" y="56"/>
                </a:lnTo>
                <a:lnTo>
                  <a:pt x="94" y="58"/>
                </a:lnTo>
                <a:lnTo>
                  <a:pt x="96" y="56"/>
                </a:lnTo>
                <a:lnTo>
                  <a:pt x="97" y="56"/>
                </a:lnTo>
                <a:lnTo>
                  <a:pt x="96" y="59"/>
                </a:lnTo>
                <a:lnTo>
                  <a:pt x="98" y="60"/>
                </a:lnTo>
                <a:lnTo>
                  <a:pt x="97" y="60"/>
                </a:lnTo>
                <a:lnTo>
                  <a:pt x="97" y="61"/>
                </a:lnTo>
                <a:lnTo>
                  <a:pt x="96" y="61"/>
                </a:lnTo>
                <a:lnTo>
                  <a:pt x="96" y="62"/>
                </a:lnTo>
                <a:lnTo>
                  <a:pt x="94" y="64"/>
                </a:lnTo>
                <a:lnTo>
                  <a:pt x="94" y="65"/>
                </a:lnTo>
                <a:lnTo>
                  <a:pt x="96" y="65"/>
                </a:lnTo>
                <a:lnTo>
                  <a:pt x="94" y="66"/>
                </a:lnTo>
                <a:lnTo>
                  <a:pt x="94" y="67"/>
                </a:lnTo>
                <a:lnTo>
                  <a:pt x="96" y="67"/>
                </a:lnTo>
                <a:lnTo>
                  <a:pt x="96" y="70"/>
                </a:lnTo>
                <a:lnTo>
                  <a:pt x="93" y="70"/>
                </a:lnTo>
                <a:lnTo>
                  <a:pt x="93" y="71"/>
                </a:lnTo>
                <a:lnTo>
                  <a:pt x="94" y="73"/>
                </a:lnTo>
                <a:lnTo>
                  <a:pt x="94" y="74"/>
                </a:lnTo>
                <a:lnTo>
                  <a:pt x="93" y="74"/>
                </a:lnTo>
                <a:lnTo>
                  <a:pt x="92" y="73"/>
                </a:lnTo>
                <a:lnTo>
                  <a:pt x="92" y="79"/>
                </a:lnTo>
                <a:lnTo>
                  <a:pt x="91" y="79"/>
                </a:lnTo>
                <a:lnTo>
                  <a:pt x="92" y="80"/>
                </a:lnTo>
                <a:lnTo>
                  <a:pt x="92" y="82"/>
                </a:lnTo>
                <a:lnTo>
                  <a:pt x="91" y="83"/>
                </a:lnTo>
                <a:lnTo>
                  <a:pt x="92" y="84"/>
                </a:lnTo>
                <a:lnTo>
                  <a:pt x="92" y="85"/>
                </a:lnTo>
                <a:lnTo>
                  <a:pt x="91" y="85"/>
                </a:lnTo>
                <a:lnTo>
                  <a:pt x="91" y="84"/>
                </a:lnTo>
                <a:lnTo>
                  <a:pt x="90" y="84"/>
                </a:lnTo>
                <a:lnTo>
                  <a:pt x="90" y="82"/>
                </a:lnTo>
                <a:lnTo>
                  <a:pt x="87" y="82"/>
                </a:lnTo>
                <a:lnTo>
                  <a:pt x="87" y="78"/>
                </a:lnTo>
                <a:lnTo>
                  <a:pt x="88" y="77"/>
                </a:lnTo>
                <a:lnTo>
                  <a:pt x="90" y="77"/>
                </a:lnTo>
                <a:lnTo>
                  <a:pt x="88" y="76"/>
                </a:lnTo>
                <a:lnTo>
                  <a:pt x="88" y="74"/>
                </a:lnTo>
                <a:lnTo>
                  <a:pt x="90" y="74"/>
                </a:lnTo>
                <a:lnTo>
                  <a:pt x="88" y="73"/>
                </a:lnTo>
                <a:lnTo>
                  <a:pt x="90" y="72"/>
                </a:lnTo>
                <a:lnTo>
                  <a:pt x="90" y="71"/>
                </a:lnTo>
                <a:lnTo>
                  <a:pt x="91" y="66"/>
                </a:lnTo>
                <a:lnTo>
                  <a:pt x="91" y="65"/>
                </a:lnTo>
                <a:lnTo>
                  <a:pt x="92" y="64"/>
                </a:lnTo>
                <a:lnTo>
                  <a:pt x="92" y="61"/>
                </a:lnTo>
                <a:lnTo>
                  <a:pt x="91" y="60"/>
                </a:lnTo>
                <a:lnTo>
                  <a:pt x="91" y="59"/>
                </a:lnTo>
                <a:lnTo>
                  <a:pt x="92" y="58"/>
                </a:lnTo>
                <a:lnTo>
                  <a:pt x="90" y="58"/>
                </a:lnTo>
                <a:lnTo>
                  <a:pt x="90" y="56"/>
                </a:lnTo>
                <a:lnTo>
                  <a:pt x="91" y="54"/>
                </a:lnTo>
                <a:lnTo>
                  <a:pt x="91" y="53"/>
                </a:lnTo>
                <a:lnTo>
                  <a:pt x="92" y="53"/>
                </a:lnTo>
                <a:lnTo>
                  <a:pt x="92" y="52"/>
                </a:lnTo>
                <a:lnTo>
                  <a:pt x="91" y="52"/>
                </a:lnTo>
                <a:lnTo>
                  <a:pt x="90" y="53"/>
                </a:lnTo>
                <a:lnTo>
                  <a:pt x="88" y="55"/>
                </a:lnTo>
                <a:lnTo>
                  <a:pt x="88" y="54"/>
                </a:lnTo>
                <a:lnTo>
                  <a:pt x="87" y="52"/>
                </a:lnTo>
                <a:lnTo>
                  <a:pt x="86" y="50"/>
                </a:lnTo>
                <a:lnTo>
                  <a:pt x="86" y="52"/>
                </a:lnTo>
                <a:lnTo>
                  <a:pt x="87" y="53"/>
                </a:lnTo>
                <a:lnTo>
                  <a:pt x="87" y="54"/>
                </a:lnTo>
                <a:lnTo>
                  <a:pt x="88" y="55"/>
                </a:lnTo>
                <a:lnTo>
                  <a:pt x="87" y="56"/>
                </a:lnTo>
                <a:lnTo>
                  <a:pt x="87" y="55"/>
                </a:lnTo>
                <a:lnTo>
                  <a:pt x="86" y="55"/>
                </a:lnTo>
                <a:lnTo>
                  <a:pt x="86" y="58"/>
                </a:lnTo>
                <a:lnTo>
                  <a:pt x="85" y="58"/>
                </a:lnTo>
                <a:lnTo>
                  <a:pt x="85" y="59"/>
                </a:lnTo>
                <a:lnTo>
                  <a:pt x="84" y="60"/>
                </a:lnTo>
                <a:lnTo>
                  <a:pt x="82" y="59"/>
                </a:lnTo>
                <a:lnTo>
                  <a:pt x="81" y="59"/>
                </a:lnTo>
                <a:lnTo>
                  <a:pt x="81" y="58"/>
                </a:lnTo>
                <a:lnTo>
                  <a:pt x="80" y="56"/>
                </a:lnTo>
                <a:lnTo>
                  <a:pt x="81" y="55"/>
                </a:lnTo>
                <a:lnTo>
                  <a:pt x="82" y="55"/>
                </a:lnTo>
                <a:lnTo>
                  <a:pt x="84" y="54"/>
                </a:lnTo>
                <a:lnTo>
                  <a:pt x="82" y="54"/>
                </a:lnTo>
                <a:lnTo>
                  <a:pt x="81" y="52"/>
                </a:lnTo>
                <a:lnTo>
                  <a:pt x="81" y="54"/>
                </a:lnTo>
                <a:lnTo>
                  <a:pt x="80" y="55"/>
                </a:lnTo>
                <a:lnTo>
                  <a:pt x="80" y="53"/>
                </a:lnTo>
                <a:lnTo>
                  <a:pt x="79" y="54"/>
                </a:lnTo>
                <a:lnTo>
                  <a:pt x="76" y="54"/>
                </a:lnTo>
                <a:lnTo>
                  <a:pt x="76" y="53"/>
                </a:lnTo>
                <a:lnTo>
                  <a:pt x="74" y="53"/>
                </a:lnTo>
                <a:lnTo>
                  <a:pt x="74" y="47"/>
                </a:lnTo>
                <a:lnTo>
                  <a:pt x="75" y="47"/>
                </a:lnTo>
                <a:lnTo>
                  <a:pt x="76" y="46"/>
                </a:lnTo>
                <a:lnTo>
                  <a:pt x="78" y="46"/>
                </a:lnTo>
                <a:lnTo>
                  <a:pt x="78" y="47"/>
                </a:lnTo>
                <a:lnTo>
                  <a:pt x="79" y="48"/>
                </a:lnTo>
                <a:lnTo>
                  <a:pt x="80" y="48"/>
                </a:lnTo>
                <a:lnTo>
                  <a:pt x="79" y="47"/>
                </a:lnTo>
                <a:lnTo>
                  <a:pt x="80" y="47"/>
                </a:lnTo>
                <a:lnTo>
                  <a:pt x="80" y="46"/>
                </a:lnTo>
                <a:lnTo>
                  <a:pt x="82" y="46"/>
                </a:lnTo>
                <a:lnTo>
                  <a:pt x="84" y="47"/>
                </a:lnTo>
                <a:lnTo>
                  <a:pt x="84" y="46"/>
                </a:lnTo>
                <a:lnTo>
                  <a:pt x="86" y="46"/>
                </a:lnTo>
                <a:lnTo>
                  <a:pt x="87" y="47"/>
                </a:lnTo>
                <a:lnTo>
                  <a:pt x="87" y="48"/>
                </a:lnTo>
                <a:lnTo>
                  <a:pt x="88" y="48"/>
                </a:lnTo>
                <a:lnTo>
                  <a:pt x="88" y="47"/>
                </a:lnTo>
                <a:lnTo>
                  <a:pt x="87" y="46"/>
                </a:lnTo>
                <a:lnTo>
                  <a:pt x="88" y="43"/>
                </a:lnTo>
                <a:lnTo>
                  <a:pt x="90" y="42"/>
                </a:lnTo>
                <a:lnTo>
                  <a:pt x="88" y="41"/>
                </a:lnTo>
                <a:lnTo>
                  <a:pt x="88" y="40"/>
                </a:lnTo>
                <a:lnTo>
                  <a:pt x="87" y="40"/>
                </a:lnTo>
                <a:lnTo>
                  <a:pt x="87" y="41"/>
                </a:lnTo>
                <a:lnTo>
                  <a:pt x="86" y="41"/>
                </a:lnTo>
                <a:lnTo>
                  <a:pt x="86" y="37"/>
                </a:lnTo>
                <a:lnTo>
                  <a:pt x="85" y="37"/>
                </a:lnTo>
                <a:lnTo>
                  <a:pt x="85" y="34"/>
                </a:lnTo>
                <a:lnTo>
                  <a:pt x="84" y="31"/>
                </a:lnTo>
                <a:lnTo>
                  <a:pt x="84" y="33"/>
                </a:lnTo>
                <a:lnTo>
                  <a:pt x="82" y="34"/>
                </a:lnTo>
                <a:lnTo>
                  <a:pt x="81" y="33"/>
                </a:lnTo>
                <a:lnTo>
                  <a:pt x="82" y="33"/>
                </a:lnTo>
                <a:lnTo>
                  <a:pt x="82" y="31"/>
                </a:lnTo>
                <a:lnTo>
                  <a:pt x="80" y="31"/>
                </a:lnTo>
                <a:lnTo>
                  <a:pt x="79" y="33"/>
                </a:lnTo>
                <a:lnTo>
                  <a:pt x="78" y="33"/>
                </a:lnTo>
                <a:lnTo>
                  <a:pt x="76" y="31"/>
                </a:lnTo>
                <a:lnTo>
                  <a:pt x="78" y="30"/>
                </a:lnTo>
                <a:lnTo>
                  <a:pt x="78" y="29"/>
                </a:lnTo>
                <a:lnTo>
                  <a:pt x="80" y="29"/>
                </a:lnTo>
                <a:lnTo>
                  <a:pt x="80" y="25"/>
                </a:lnTo>
                <a:lnTo>
                  <a:pt x="81" y="25"/>
                </a:lnTo>
                <a:lnTo>
                  <a:pt x="81" y="27"/>
                </a:lnTo>
                <a:lnTo>
                  <a:pt x="85" y="30"/>
                </a:lnTo>
                <a:lnTo>
                  <a:pt x="86" y="29"/>
                </a:lnTo>
                <a:lnTo>
                  <a:pt x="84" y="29"/>
                </a:lnTo>
                <a:lnTo>
                  <a:pt x="84" y="27"/>
                </a:lnTo>
                <a:lnTo>
                  <a:pt x="82" y="27"/>
                </a:lnTo>
                <a:lnTo>
                  <a:pt x="84" y="25"/>
                </a:lnTo>
                <a:lnTo>
                  <a:pt x="84" y="24"/>
                </a:lnTo>
                <a:lnTo>
                  <a:pt x="86" y="23"/>
                </a:lnTo>
                <a:lnTo>
                  <a:pt x="85" y="23"/>
                </a:lnTo>
                <a:lnTo>
                  <a:pt x="85" y="21"/>
                </a:lnTo>
                <a:lnTo>
                  <a:pt x="87" y="21"/>
                </a:lnTo>
                <a:lnTo>
                  <a:pt x="88" y="22"/>
                </a:lnTo>
                <a:lnTo>
                  <a:pt x="90" y="22"/>
                </a:lnTo>
                <a:lnTo>
                  <a:pt x="90" y="18"/>
                </a:lnTo>
                <a:close/>
                <a:moveTo>
                  <a:pt x="99" y="10"/>
                </a:moveTo>
                <a:lnTo>
                  <a:pt x="100" y="11"/>
                </a:lnTo>
                <a:lnTo>
                  <a:pt x="101" y="10"/>
                </a:lnTo>
                <a:lnTo>
                  <a:pt x="103" y="10"/>
                </a:lnTo>
                <a:lnTo>
                  <a:pt x="103" y="13"/>
                </a:lnTo>
                <a:lnTo>
                  <a:pt x="104" y="13"/>
                </a:lnTo>
                <a:lnTo>
                  <a:pt x="103" y="15"/>
                </a:lnTo>
                <a:lnTo>
                  <a:pt x="104" y="17"/>
                </a:lnTo>
                <a:lnTo>
                  <a:pt x="104" y="18"/>
                </a:lnTo>
                <a:lnTo>
                  <a:pt x="103" y="18"/>
                </a:lnTo>
                <a:lnTo>
                  <a:pt x="101" y="17"/>
                </a:lnTo>
                <a:lnTo>
                  <a:pt x="101" y="16"/>
                </a:lnTo>
                <a:lnTo>
                  <a:pt x="100" y="16"/>
                </a:lnTo>
                <a:lnTo>
                  <a:pt x="100" y="17"/>
                </a:lnTo>
                <a:lnTo>
                  <a:pt x="101" y="18"/>
                </a:lnTo>
                <a:lnTo>
                  <a:pt x="103" y="21"/>
                </a:lnTo>
                <a:lnTo>
                  <a:pt x="100" y="21"/>
                </a:lnTo>
                <a:lnTo>
                  <a:pt x="100" y="22"/>
                </a:lnTo>
                <a:lnTo>
                  <a:pt x="101" y="22"/>
                </a:lnTo>
                <a:lnTo>
                  <a:pt x="101" y="23"/>
                </a:lnTo>
                <a:lnTo>
                  <a:pt x="103" y="24"/>
                </a:lnTo>
                <a:lnTo>
                  <a:pt x="101" y="25"/>
                </a:lnTo>
                <a:lnTo>
                  <a:pt x="101" y="30"/>
                </a:lnTo>
                <a:lnTo>
                  <a:pt x="99" y="30"/>
                </a:lnTo>
                <a:lnTo>
                  <a:pt x="99" y="29"/>
                </a:lnTo>
                <a:lnTo>
                  <a:pt x="98" y="29"/>
                </a:lnTo>
                <a:lnTo>
                  <a:pt x="98" y="30"/>
                </a:lnTo>
                <a:lnTo>
                  <a:pt x="99" y="30"/>
                </a:lnTo>
                <a:lnTo>
                  <a:pt x="99" y="31"/>
                </a:lnTo>
                <a:lnTo>
                  <a:pt x="97" y="30"/>
                </a:lnTo>
                <a:lnTo>
                  <a:pt x="96" y="28"/>
                </a:lnTo>
                <a:lnTo>
                  <a:pt x="96" y="18"/>
                </a:lnTo>
                <a:lnTo>
                  <a:pt x="97" y="17"/>
                </a:lnTo>
                <a:lnTo>
                  <a:pt x="97" y="21"/>
                </a:lnTo>
                <a:lnTo>
                  <a:pt x="98" y="21"/>
                </a:lnTo>
                <a:lnTo>
                  <a:pt x="98" y="11"/>
                </a:lnTo>
                <a:lnTo>
                  <a:pt x="99" y="10"/>
                </a:lnTo>
                <a:close/>
                <a:moveTo>
                  <a:pt x="107" y="0"/>
                </a:moveTo>
                <a:lnTo>
                  <a:pt x="109" y="0"/>
                </a:lnTo>
                <a:lnTo>
                  <a:pt x="109" y="4"/>
                </a:lnTo>
                <a:lnTo>
                  <a:pt x="107" y="4"/>
                </a:lnTo>
                <a:lnTo>
                  <a:pt x="107" y="5"/>
                </a:lnTo>
                <a:lnTo>
                  <a:pt x="109" y="5"/>
                </a:lnTo>
                <a:lnTo>
                  <a:pt x="109" y="4"/>
                </a:lnTo>
                <a:lnTo>
                  <a:pt x="110" y="2"/>
                </a:lnTo>
                <a:lnTo>
                  <a:pt x="110" y="0"/>
                </a:lnTo>
                <a:lnTo>
                  <a:pt x="111" y="0"/>
                </a:lnTo>
                <a:lnTo>
                  <a:pt x="111" y="2"/>
                </a:lnTo>
                <a:lnTo>
                  <a:pt x="112" y="2"/>
                </a:lnTo>
                <a:lnTo>
                  <a:pt x="112" y="3"/>
                </a:lnTo>
                <a:lnTo>
                  <a:pt x="113" y="4"/>
                </a:lnTo>
                <a:lnTo>
                  <a:pt x="111" y="6"/>
                </a:lnTo>
                <a:lnTo>
                  <a:pt x="111" y="7"/>
                </a:lnTo>
                <a:lnTo>
                  <a:pt x="110" y="7"/>
                </a:lnTo>
                <a:lnTo>
                  <a:pt x="111" y="9"/>
                </a:lnTo>
                <a:lnTo>
                  <a:pt x="110" y="11"/>
                </a:lnTo>
                <a:lnTo>
                  <a:pt x="109" y="11"/>
                </a:lnTo>
                <a:lnTo>
                  <a:pt x="110" y="12"/>
                </a:lnTo>
                <a:lnTo>
                  <a:pt x="110" y="15"/>
                </a:lnTo>
                <a:lnTo>
                  <a:pt x="105" y="15"/>
                </a:lnTo>
                <a:lnTo>
                  <a:pt x="104" y="13"/>
                </a:lnTo>
                <a:lnTo>
                  <a:pt x="104" y="11"/>
                </a:lnTo>
                <a:lnTo>
                  <a:pt x="105" y="11"/>
                </a:lnTo>
                <a:lnTo>
                  <a:pt x="105" y="9"/>
                </a:lnTo>
                <a:lnTo>
                  <a:pt x="106" y="7"/>
                </a:lnTo>
                <a:lnTo>
                  <a:pt x="106" y="6"/>
                </a:lnTo>
                <a:lnTo>
                  <a:pt x="105" y="5"/>
                </a:lnTo>
                <a:lnTo>
                  <a:pt x="105" y="4"/>
                </a:lnTo>
                <a:lnTo>
                  <a:pt x="106" y="4"/>
                </a:lnTo>
                <a:lnTo>
                  <a:pt x="106" y="3"/>
                </a:lnTo>
                <a:lnTo>
                  <a:pt x="107" y="3"/>
                </a:lnTo>
                <a:lnTo>
                  <a:pt x="107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" name="Freeform 41">
            <a:extLst>
              <a:ext uri="{FF2B5EF4-FFF2-40B4-BE49-F238E27FC236}">
                <a16:creationId xmlns:a16="http://schemas.microsoft.com/office/drawing/2014/main" id="{BAB9174F-0D37-4FA3-B5FE-98313E4E52C9}"/>
              </a:ext>
            </a:extLst>
          </p:cNvPr>
          <p:cNvSpPr>
            <a:spLocks noEditPoints="1"/>
          </p:cNvSpPr>
          <p:nvPr/>
        </p:nvSpPr>
        <p:spPr bwMode="auto">
          <a:xfrm>
            <a:off x="1589584" y="4206126"/>
            <a:ext cx="559291" cy="762143"/>
          </a:xfrm>
          <a:custGeom>
            <a:avLst/>
            <a:gdLst/>
            <a:ahLst/>
            <a:cxnLst>
              <a:cxn ang="0">
                <a:pos x="96" y="98"/>
              </a:cxn>
              <a:cxn ang="0">
                <a:pos x="85" y="92"/>
              </a:cxn>
              <a:cxn ang="0">
                <a:pos x="319" y="59"/>
              </a:cxn>
              <a:cxn ang="0">
                <a:pos x="277" y="51"/>
              </a:cxn>
              <a:cxn ang="0">
                <a:pos x="220" y="40"/>
              </a:cxn>
              <a:cxn ang="0">
                <a:pos x="125" y="43"/>
              </a:cxn>
              <a:cxn ang="0">
                <a:pos x="332" y="55"/>
              </a:cxn>
              <a:cxn ang="0">
                <a:pos x="313" y="45"/>
              </a:cxn>
              <a:cxn ang="0">
                <a:pos x="322" y="42"/>
              </a:cxn>
              <a:cxn ang="0">
                <a:pos x="305" y="41"/>
              </a:cxn>
              <a:cxn ang="0">
                <a:pos x="313" y="30"/>
              </a:cxn>
              <a:cxn ang="0">
                <a:pos x="148" y="19"/>
              </a:cxn>
              <a:cxn ang="0">
                <a:pos x="174" y="28"/>
              </a:cxn>
              <a:cxn ang="0">
                <a:pos x="181" y="53"/>
              </a:cxn>
              <a:cxn ang="0">
                <a:pos x="212" y="71"/>
              </a:cxn>
              <a:cxn ang="0">
                <a:pos x="237" y="78"/>
              </a:cxn>
              <a:cxn ang="0">
                <a:pos x="271" y="58"/>
              </a:cxn>
              <a:cxn ang="0">
                <a:pos x="288" y="48"/>
              </a:cxn>
              <a:cxn ang="0">
                <a:pos x="314" y="61"/>
              </a:cxn>
              <a:cxn ang="0">
                <a:pos x="333" y="76"/>
              </a:cxn>
              <a:cxn ang="0">
                <a:pos x="345" y="82"/>
              </a:cxn>
              <a:cxn ang="0">
                <a:pos x="334" y="65"/>
              </a:cxn>
              <a:cxn ang="0">
                <a:pos x="352" y="97"/>
              </a:cxn>
              <a:cxn ang="0">
                <a:pos x="360" y="134"/>
              </a:cxn>
              <a:cxn ang="0">
                <a:pos x="370" y="185"/>
              </a:cxn>
              <a:cxn ang="0">
                <a:pos x="375" y="246"/>
              </a:cxn>
              <a:cxn ang="0">
                <a:pos x="373" y="298"/>
              </a:cxn>
              <a:cxn ang="0">
                <a:pos x="353" y="294"/>
              </a:cxn>
              <a:cxn ang="0">
                <a:pos x="313" y="314"/>
              </a:cxn>
              <a:cxn ang="0">
                <a:pos x="273" y="336"/>
              </a:cxn>
              <a:cxn ang="0">
                <a:pos x="270" y="349"/>
              </a:cxn>
              <a:cxn ang="0">
                <a:pos x="284" y="384"/>
              </a:cxn>
              <a:cxn ang="0">
                <a:pos x="321" y="421"/>
              </a:cxn>
              <a:cxn ang="0">
                <a:pos x="329" y="447"/>
              </a:cxn>
              <a:cxn ang="0">
                <a:pos x="291" y="476"/>
              </a:cxn>
              <a:cxn ang="0">
                <a:pos x="292" y="506"/>
              </a:cxn>
              <a:cxn ang="0">
                <a:pos x="268" y="501"/>
              </a:cxn>
              <a:cxn ang="0">
                <a:pos x="216" y="518"/>
              </a:cxn>
              <a:cxn ang="0">
                <a:pos x="192" y="513"/>
              </a:cxn>
              <a:cxn ang="0">
                <a:pos x="173" y="512"/>
              </a:cxn>
              <a:cxn ang="0">
                <a:pos x="123" y="500"/>
              </a:cxn>
              <a:cxn ang="0">
                <a:pos x="111" y="503"/>
              </a:cxn>
              <a:cxn ang="0">
                <a:pos x="74" y="508"/>
              </a:cxn>
              <a:cxn ang="0">
                <a:pos x="78" y="461"/>
              </a:cxn>
              <a:cxn ang="0">
                <a:pos x="85" y="415"/>
              </a:cxn>
              <a:cxn ang="0">
                <a:pos x="49" y="410"/>
              </a:cxn>
              <a:cxn ang="0">
                <a:pos x="21" y="380"/>
              </a:cxn>
              <a:cxn ang="0">
                <a:pos x="11" y="353"/>
              </a:cxn>
              <a:cxn ang="0">
                <a:pos x="15" y="320"/>
              </a:cxn>
              <a:cxn ang="0">
                <a:pos x="5" y="288"/>
              </a:cxn>
              <a:cxn ang="0">
                <a:pos x="10" y="243"/>
              </a:cxn>
              <a:cxn ang="0">
                <a:pos x="22" y="230"/>
              </a:cxn>
              <a:cxn ang="0">
                <a:pos x="43" y="207"/>
              </a:cxn>
              <a:cxn ang="0">
                <a:pos x="50" y="162"/>
              </a:cxn>
              <a:cxn ang="0">
                <a:pos x="54" y="109"/>
              </a:cxn>
              <a:cxn ang="0">
                <a:pos x="102" y="120"/>
              </a:cxn>
              <a:cxn ang="0">
                <a:pos x="112" y="95"/>
              </a:cxn>
              <a:cxn ang="0">
                <a:pos x="168" y="110"/>
              </a:cxn>
              <a:cxn ang="0">
                <a:pos x="131" y="77"/>
              </a:cxn>
              <a:cxn ang="0">
                <a:pos x="121" y="56"/>
              </a:cxn>
              <a:cxn ang="0">
                <a:pos x="118" y="19"/>
              </a:cxn>
              <a:cxn ang="0">
                <a:pos x="106" y="3"/>
              </a:cxn>
            </a:cxnLst>
            <a:rect l="0" t="0" r="r" b="b"/>
            <a:pathLst>
              <a:path w="386" h="526">
                <a:moveTo>
                  <a:pt x="111" y="117"/>
                </a:moveTo>
                <a:lnTo>
                  <a:pt x="111" y="122"/>
                </a:lnTo>
                <a:lnTo>
                  <a:pt x="112" y="123"/>
                </a:lnTo>
                <a:lnTo>
                  <a:pt x="112" y="122"/>
                </a:lnTo>
                <a:lnTo>
                  <a:pt x="111" y="117"/>
                </a:lnTo>
                <a:close/>
                <a:moveTo>
                  <a:pt x="37" y="105"/>
                </a:moveTo>
                <a:lnTo>
                  <a:pt x="40" y="105"/>
                </a:lnTo>
                <a:lnTo>
                  <a:pt x="40" y="107"/>
                </a:lnTo>
                <a:lnTo>
                  <a:pt x="36" y="107"/>
                </a:lnTo>
                <a:lnTo>
                  <a:pt x="36" y="109"/>
                </a:lnTo>
                <a:lnTo>
                  <a:pt x="35" y="109"/>
                </a:lnTo>
                <a:lnTo>
                  <a:pt x="35" y="108"/>
                </a:lnTo>
                <a:lnTo>
                  <a:pt x="34" y="108"/>
                </a:lnTo>
                <a:lnTo>
                  <a:pt x="34" y="107"/>
                </a:lnTo>
                <a:lnTo>
                  <a:pt x="35" y="107"/>
                </a:lnTo>
                <a:lnTo>
                  <a:pt x="37" y="105"/>
                </a:lnTo>
                <a:close/>
                <a:moveTo>
                  <a:pt x="50" y="99"/>
                </a:moveTo>
                <a:lnTo>
                  <a:pt x="52" y="101"/>
                </a:lnTo>
                <a:lnTo>
                  <a:pt x="43" y="102"/>
                </a:lnTo>
                <a:lnTo>
                  <a:pt x="44" y="101"/>
                </a:lnTo>
                <a:lnTo>
                  <a:pt x="50" y="99"/>
                </a:lnTo>
                <a:close/>
                <a:moveTo>
                  <a:pt x="96" y="97"/>
                </a:moveTo>
                <a:lnTo>
                  <a:pt x="98" y="97"/>
                </a:lnTo>
                <a:lnTo>
                  <a:pt x="97" y="98"/>
                </a:lnTo>
                <a:lnTo>
                  <a:pt x="96" y="98"/>
                </a:lnTo>
                <a:lnTo>
                  <a:pt x="96" y="97"/>
                </a:lnTo>
                <a:close/>
                <a:moveTo>
                  <a:pt x="65" y="97"/>
                </a:moveTo>
                <a:lnTo>
                  <a:pt x="67" y="97"/>
                </a:lnTo>
                <a:lnTo>
                  <a:pt x="66" y="98"/>
                </a:lnTo>
                <a:lnTo>
                  <a:pt x="65" y="97"/>
                </a:lnTo>
                <a:close/>
                <a:moveTo>
                  <a:pt x="56" y="97"/>
                </a:moveTo>
                <a:lnTo>
                  <a:pt x="63" y="97"/>
                </a:lnTo>
                <a:lnTo>
                  <a:pt x="63" y="98"/>
                </a:lnTo>
                <a:lnTo>
                  <a:pt x="61" y="98"/>
                </a:lnTo>
                <a:lnTo>
                  <a:pt x="55" y="99"/>
                </a:lnTo>
                <a:lnTo>
                  <a:pt x="54" y="98"/>
                </a:lnTo>
                <a:lnTo>
                  <a:pt x="56" y="97"/>
                </a:lnTo>
                <a:close/>
                <a:moveTo>
                  <a:pt x="68" y="95"/>
                </a:moveTo>
                <a:lnTo>
                  <a:pt x="74" y="95"/>
                </a:lnTo>
                <a:lnTo>
                  <a:pt x="74" y="96"/>
                </a:lnTo>
                <a:lnTo>
                  <a:pt x="69" y="96"/>
                </a:lnTo>
                <a:lnTo>
                  <a:pt x="69" y="97"/>
                </a:lnTo>
                <a:lnTo>
                  <a:pt x="68" y="97"/>
                </a:lnTo>
                <a:lnTo>
                  <a:pt x="68" y="95"/>
                </a:lnTo>
                <a:close/>
                <a:moveTo>
                  <a:pt x="78" y="93"/>
                </a:moveTo>
                <a:lnTo>
                  <a:pt x="83" y="93"/>
                </a:lnTo>
                <a:lnTo>
                  <a:pt x="81" y="95"/>
                </a:lnTo>
                <a:lnTo>
                  <a:pt x="77" y="95"/>
                </a:lnTo>
                <a:lnTo>
                  <a:pt x="78" y="93"/>
                </a:lnTo>
                <a:close/>
                <a:moveTo>
                  <a:pt x="85" y="92"/>
                </a:moveTo>
                <a:lnTo>
                  <a:pt x="87" y="92"/>
                </a:lnTo>
                <a:lnTo>
                  <a:pt x="88" y="93"/>
                </a:lnTo>
                <a:lnTo>
                  <a:pt x="85" y="93"/>
                </a:lnTo>
                <a:lnTo>
                  <a:pt x="85" y="92"/>
                </a:lnTo>
                <a:close/>
                <a:moveTo>
                  <a:pt x="236" y="76"/>
                </a:moveTo>
                <a:lnTo>
                  <a:pt x="237" y="77"/>
                </a:lnTo>
                <a:lnTo>
                  <a:pt x="236" y="80"/>
                </a:lnTo>
                <a:lnTo>
                  <a:pt x="236" y="78"/>
                </a:lnTo>
                <a:lnTo>
                  <a:pt x="235" y="78"/>
                </a:lnTo>
                <a:lnTo>
                  <a:pt x="235" y="80"/>
                </a:lnTo>
                <a:lnTo>
                  <a:pt x="234" y="80"/>
                </a:lnTo>
                <a:lnTo>
                  <a:pt x="233" y="79"/>
                </a:lnTo>
                <a:lnTo>
                  <a:pt x="236" y="76"/>
                </a:lnTo>
                <a:close/>
                <a:moveTo>
                  <a:pt x="242" y="71"/>
                </a:moveTo>
                <a:lnTo>
                  <a:pt x="240" y="73"/>
                </a:lnTo>
                <a:lnTo>
                  <a:pt x="240" y="72"/>
                </a:lnTo>
                <a:lnTo>
                  <a:pt x="242" y="71"/>
                </a:lnTo>
                <a:close/>
                <a:moveTo>
                  <a:pt x="243" y="70"/>
                </a:moveTo>
                <a:lnTo>
                  <a:pt x="242" y="71"/>
                </a:lnTo>
                <a:lnTo>
                  <a:pt x="243" y="70"/>
                </a:lnTo>
                <a:close/>
                <a:moveTo>
                  <a:pt x="316" y="58"/>
                </a:moveTo>
                <a:lnTo>
                  <a:pt x="316" y="60"/>
                </a:lnTo>
                <a:lnTo>
                  <a:pt x="317" y="60"/>
                </a:lnTo>
                <a:lnTo>
                  <a:pt x="317" y="59"/>
                </a:lnTo>
                <a:lnTo>
                  <a:pt x="319" y="59"/>
                </a:lnTo>
                <a:lnTo>
                  <a:pt x="320" y="60"/>
                </a:lnTo>
                <a:lnTo>
                  <a:pt x="320" y="61"/>
                </a:lnTo>
                <a:lnTo>
                  <a:pt x="316" y="61"/>
                </a:lnTo>
                <a:lnTo>
                  <a:pt x="315" y="60"/>
                </a:lnTo>
                <a:lnTo>
                  <a:pt x="315" y="59"/>
                </a:lnTo>
                <a:lnTo>
                  <a:pt x="316" y="58"/>
                </a:lnTo>
                <a:close/>
                <a:moveTo>
                  <a:pt x="330" y="55"/>
                </a:moveTo>
                <a:lnTo>
                  <a:pt x="332" y="55"/>
                </a:lnTo>
                <a:lnTo>
                  <a:pt x="332" y="56"/>
                </a:lnTo>
                <a:lnTo>
                  <a:pt x="329" y="56"/>
                </a:lnTo>
                <a:lnTo>
                  <a:pt x="330" y="55"/>
                </a:lnTo>
                <a:close/>
                <a:moveTo>
                  <a:pt x="308" y="55"/>
                </a:moveTo>
                <a:lnTo>
                  <a:pt x="309" y="56"/>
                </a:lnTo>
                <a:lnTo>
                  <a:pt x="308" y="56"/>
                </a:lnTo>
                <a:lnTo>
                  <a:pt x="308" y="55"/>
                </a:lnTo>
                <a:close/>
                <a:moveTo>
                  <a:pt x="277" y="52"/>
                </a:moveTo>
                <a:lnTo>
                  <a:pt x="277" y="53"/>
                </a:lnTo>
                <a:lnTo>
                  <a:pt x="276" y="53"/>
                </a:lnTo>
                <a:lnTo>
                  <a:pt x="277" y="52"/>
                </a:lnTo>
                <a:close/>
                <a:moveTo>
                  <a:pt x="277" y="51"/>
                </a:moveTo>
                <a:lnTo>
                  <a:pt x="277" y="52"/>
                </a:lnTo>
                <a:lnTo>
                  <a:pt x="277" y="51"/>
                </a:lnTo>
                <a:close/>
                <a:moveTo>
                  <a:pt x="278" y="49"/>
                </a:moveTo>
                <a:lnTo>
                  <a:pt x="278" y="51"/>
                </a:lnTo>
                <a:lnTo>
                  <a:pt x="277" y="51"/>
                </a:lnTo>
                <a:lnTo>
                  <a:pt x="278" y="49"/>
                </a:lnTo>
                <a:close/>
                <a:moveTo>
                  <a:pt x="282" y="42"/>
                </a:moveTo>
                <a:lnTo>
                  <a:pt x="282" y="43"/>
                </a:lnTo>
                <a:lnTo>
                  <a:pt x="284" y="46"/>
                </a:lnTo>
                <a:lnTo>
                  <a:pt x="297" y="46"/>
                </a:lnTo>
                <a:lnTo>
                  <a:pt x="298" y="47"/>
                </a:lnTo>
                <a:lnTo>
                  <a:pt x="297" y="48"/>
                </a:lnTo>
                <a:lnTo>
                  <a:pt x="296" y="48"/>
                </a:lnTo>
                <a:lnTo>
                  <a:pt x="291" y="47"/>
                </a:lnTo>
                <a:lnTo>
                  <a:pt x="288" y="47"/>
                </a:lnTo>
                <a:lnTo>
                  <a:pt x="288" y="48"/>
                </a:lnTo>
                <a:lnTo>
                  <a:pt x="286" y="48"/>
                </a:lnTo>
                <a:lnTo>
                  <a:pt x="285" y="47"/>
                </a:lnTo>
                <a:lnTo>
                  <a:pt x="285" y="48"/>
                </a:lnTo>
                <a:lnTo>
                  <a:pt x="284" y="48"/>
                </a:lnTo>
                <a:lnTo>
                  <a:pt x="284" y="49"/>
                </a:lnTo>
                <a:lnTo>
                  <a:pt x="283" y="49"/>
                </a:lnTo>
                <a:lnTo>
                  <a:pt x="282" y="51"/>
                </a:lnTo>
                <a:lnTo>
                  <a:pt x="280" y="51"/>
                </a:lnTo>
                <a:lnTo>
                  <a:pt x="280" y="49"/>
                </a:lnTo>
                <a:lnTo>
                  <a:pt x="278" y="49"/>
                </a:lnTo>
                <a:lnTo>
                  <a:pt x="278" y="48"/>
                </a:lnTo>
                <a:lnTo>
                  <a:pt x="280" y="43"/>
                </a:lnTo>
                <a:lnTo>
                  <a:pt x="282" y="42"/>
                </a:lnTo>
                <a:close/>
                <a:moveTo>
                  <a:pt x="220" y="40"/>
                </a:moveTo>
                <a:lnTo>
                  <a:pt x="222" y="40"/>
                </a:lnTo>
                <a:lnTo>
                  <a:pt x="226" y="41"/>
                </a:lnTo>
                <a:lnTo>
                  <a:pt x="228" y="43"/>
                </a:lnTo>
                <a:lnTo>
                  <a:pt x="230" y="48"/>
                </a:lnTo>
                <a:lnTo>
                  <a:pt x="226" y="47"/>
                </a:lnTo>
                <a:lnTo>
                  <a:pt x="224" y="48"/>
                </a:lnTo>
                <a:lnTo>
                  <a:pt x="222" y="48"/>
                </a:lnTo>
                <a:lnTo>
                  <a:pt x="221" y="47"/>
                </a:lnTo>
                <a:lnTo>
                  <a:pt x="222" y="46"/>
                </a:lnTo>
                <a:lnTo>
                  <a:pt x="221" y="46"/>
                </a:lnTo>
                <a:lnTo>
                  <a:pt x="221" y="45"/>
                </a:lnTo>
                <a:lnTo>
                  <a:pt x="220" y="45"/>
                </a:lnTo>
                <a:lnTo>
                  <a:pt x="220" y="46"/>
                </a:lnTo>
                <a:lnTo>
                  <a:pt x="218" y="46"/>
                </a:lnTo>
                <a:lnTo>
                  <a:pt x="218" y="45"/>
                </a:lnTo>
                <a:lnTo>
                  <a:pt x="217" y="45"/>
                </a:lnTo>
                <a:lnTo>
                  <a:pt x="218" y="41"/>
                </a:lnTo>
                <a:lnTo>
                  <a:pt x="220" y="40"/>
                </a:lnTo>
                <a:close/>
                <a:moveTo>
                  <a:pt x="128" y="40"/>
                </a:moveTo>
                <a:lnTo>
                  <a:pt x="131" y="40"/>
                </a:lnTo>
                <a:lnTo>
                  <a:pt x="131" y="41"/>
                </a:lnTo>
                <a:lnTo>
                  <a:pt x="128" y="45"/>
                </a:lnTo>
                <a:lnTo>
                  <a:pt x="125" y="45"/>
                </a:lnTo>
                <a:lnTo>
                  <a:pt x="124" y="43"/>
                </a:lnTo>
                <a:lnTo>
                  <a:pt x="125" y="43"/>
                </a:lnTo>
                <a:lnTo>
                  <a:pt x="125" y="42"/>
                </a:lnTo>
                <a:lnTo>
                  <a:pt x="124" y="42"/>
                </a:lnTo>
                <a:lnTo>
                  <a:pt x="127" y="41"/>
                </a:lnTo>
                <a:lnTo>
                  <a:pt x="128" y="40"/>
                </a:lnTo>
                <a:close/>
                <a:moveTo>
                  <a:pt x="119" y="37"/>
                </a:moveTo>
                <a:lnTo>
                  <a:pt x="119" y="40"/>
                </a:lnTo>
                <a:lnTo>
                  <a:pt x="118" y="42"/>
                </a:lnTo>
                <a:lnTo>
                  <a:pt x="116" y="42"/>
                </a:lnTo>
                <a:lnTo>
                  <a:pt x="116" y="40"/>
                </a:lnTo>
                <a:lnTo>
                  <a:pt x="117" y="39"/>
                </a:lnTo>
                <a:lnTo>
                  <a:pt x="119" y="37"/>
                </a:lnTo>
                <a:close/>
                <a:moveTo>
                  <a:pt x="327" y="35"/>
                </a:moveTo>
                <a:lnTo>
                  <a:pt x="330" y="39"/>
                </a:lnTo>
                <a:lnTo>
                  <a:pt x="329" y="41"/>
                </a:lnTo>
                <a:lnTo>
                  <a:pt x="327" y="42"/>
                </a:lnTo>
                <a:lnTo>
                  <a:pt x="326" y="43"/>
                </a:lnTo>
                <a:lnTo>
                  <a:pt x="326" y="47"/>
                </a:lnTo>
                <a:lnTo>
                  <a:pt x="327" y="47"/>
                </a:lnTo>
                <a:lnTo>
                  <a:pt x="327" y="48"/>
                </a:lnTo>
                <a:lnTo>
                  <a:pt x="328" y="48"/>
                </a:lnTo>
                <a:lnTo>
                  <a:pt x="330" y="49"/>
                </a:lnTo>
                <a:lnTo>
                  <a:pt x="332" y="52"/>
                </a:lnTo>
                <a:lnTo>
                  <a:pt x="333" y="53"/>
                </a:lnTo>
                <a:lnTo>
                  <a:pt x="333" y="54"/>
                </a:lnTo>
                <a:lnTo>
                  <a:pt x="332" y="55"/>
                </a:lnTo>
                <a:lnTo>
                  <a:pt x="332" y="54"/>
                </a:lnTo>
                <a:lnTo>
                  <a:pt x="328" y="54"/>
                </a:lnTo>
                <a:lnTo>
                  <a:pt x="329" y="53"/>
                </a:lnTo>
                <a:lnTo>
                  <a:pt x="322" y="53"/>
                </a:lnTo>
                <a:lnTo>
                  <a:pt x="322" y="54"/>
                </a:lnTo>
                <a:lnTo>
                  <a:pt x="320" y="55"/>
                </a:lnTo>
                <a:lnTo>
                  <a:pt x="319" y="56"/>
                </a:lnTo>
                <a:lnTo>
                  <a:pt x="319" y="58"/>
                </a:lnTo>
                <a:lnTo>
                  <a:pt x="315" y="58"/>
                </a:lnTo>
                <a:lnTo>
                  <a:pt x="315" y="59"/>
                </a:lnTo>
                <a:lnTo>
                  <a:pt x="311" y="59"/>
                </a:lnTo>
                <a:lnTo>
                  <a:pt x="310" y="58"/>
                </a:lnTo>
                <a:lnTo>
                  <a:pt x="310" y="56"/>
                </a:lnTo>
                <a:lnTo>
                  <a:pt x="309" y="56"/>
                </a:lnTo>
                <a:lnTo>
                  <a:pt x="309" y="55"/>
                </a:lnTo>
                <a:lnTo>
                  <a:pt x="307" y="54"/>
                </a:lnTo>
                <a:lnTo>
                  <a:pt x="307" y="52"/>
                </a:lnTo>
                <a:lnTo>
                  <a:pt x="308" y="51"/>
                </a:lnTo>
                <a:lnTo>
                  <a:pt x="313" y="51"/>
                </a:lnTo>
                <a:lnTo>
                  <a:pt x="311" y="49"/>
                </a:lnTo>
                <a:lnTo>
                  <a:pt x="311" y="48"/>
                </a:lnTo>
                <a:lnTo>
                  <a:pt x="310" y="47"/>
                </a:lnTo>
                <a:lnTo>
                  <a:pt x="308" y="47"/>
                </a:lnTo>
                <a:lnTo>
                  <a:pt x="310" y="45"/>
                </a:lnTo>
                <a:lnTo>
                  <a:pt x="313" y="45"/>
                </a:lnTo>
                <a:lnTo>
                  <a:pt x="313" y="43"/>
                </a:lnTo>
                <a:lnTo>
                  <a:pt x="311" y="42"/>
                </a:lnTo>
                <a:lnTo>
                  <a:pt x="311" y="41"/>
                </a:lnTo>
                <a:lnTo>
                  <a:pt x="309" y="41"/>
                </a:lnTo>
                <a:lnTo>
                  <a:pt x="308" y="40"/>
                </a:lnTo>
                <a:lnTo>
                  <a:pt x="308" y="39"/>
                </a:lnTo>
                <a:lnTo>
                  <a:pt x="309" y="39"/>
                </a:lnTo>
                <a:lnTo>
                  <a:pt x="311" y="37"/>
                </a:lnTo>
                <a:lnTo>
                  <a:pt x="313" y="37"/>
                </a:lnTo>
                <a:lnTo>
                  <a:pt x="313" y="39"/>
                </a:lnTo>
                <a:lnTo>
                  <a:pt x="314" y="39"/>
                </a:lnTo>
                <a:lnTo>
                  <a:pt x="314" y="40"/>
                </a:lnTo>
                <a:lnTo>
                  <a:pt x="315" y="40"/>
                </a:lnTo>
                <a:lnTo>
                  <a:pt x="314" y="39"/>
                </a:lnTo>
                <a:lnTo>
                  <a:pt x="315" y="37"/>
                </a:lnTo>
                <a:lnTo>
                  <a:pt x="315" y="36"/>
                </a:lnTo>
                <a:lnTo>
                  <a:pt x="317" y="36"/>
                </a:lnTo>
                <a:lnTo>
                  <a:pt x="316" y="37"/>
                </a:lnTo>
                <a:lnTo>
                  <a:pt x="316" y="40"/>
                </a:lnTo>
                <a:lnTo>
                  <a:pt x="317" y="40"/>
                </a:lnTo>
                <a:lnTo>
                  <a:pt x="317" y="39"/>
                </a:lnTo>
                <a:lnTo>
                  <a:pt x="319" y="39"/>
                </a:lnTo>
                <a:lnTo>
                  <a:pt x="319" y="41"/>
                </a:lnTo>
                <a:lnTo>
                  <a:pt x="320" y="42"/>
                </a:lnTo>
                <a:lnTo>
                  <a:pt x="322" y="42"/>
                </a:lnTo>
                <a:lnTo>
                  <a:pt x="323" y="41"/>
                </a:lnTo>
                <a:lnTo>
                  <a:pt x="323" y="39"/>
                </a:lnTo>
                <a:lnTo>
                  <a:pt x="322" y="39"/>
                </a:lnTo>
                <a:lnTo>
                  <a:pt x="322" y="37"/>
                </a:lnTo>
                <a:lnTo>
                  <a:pt x="323" y="37"/>
                </a:lnTo>
                <a:lnTo>
                  <a:pt x="323" y="36"/>
                </a:lnTo>
                <a:lnTo>
                  <a:pt x="322" y="37"/>
                </a:lnTo>
                <a:lnTo>
                  <a:pt x="320" y="37"/>
                </a:lnTo>
                <a:lnTo>
                  <a:pt x="320" y="36"/>
                </a:lnTo>
                <a:lnTo>
                  <a:pt x="321" y="36"/>
                </a:lnTo>
                <a:lnTo>
                  <a:pt x="327" y="35"/>
                </a:lnTo>
                <a:close/>
                <a:moveTo>
                  <a:pt x="317" y="34"/>
                </a:moveTo>
                <a:lnTo>
                  <a:pt x="319" y="34"/>
                </a:lnTo>
                <a:lnTo>
                  <a:pt x="319" y="35"/>
                </a:lnTo>
                <a:lnTo>
                  <a:pt x="320" y="36"/>
                </a:lnTo>
                <a:lnTo>
                  <a:pt x="319" y="36"/>
                </a:lnTo>
                <a:lnTo>
                  <a:pt x="317" y="35"/>
                </a:lnTo>
                <a:lnTo>
                  <a:pt x="317" y="34"/>
                </a:lnTo>
                <a:close/>
                <a:moveTo>
                  <a:pt x="307" y="34"/>
                </a:moveTo>
                <a:lnTo>
                  <a:pt x="308" y="34"/>
                </a:lnTo>
                <a:lnTo>
                  <a:pt x="308" y="35"/>
                </a:lnTo>
                <a:lnTo>
                  <a:pt x="307" y="35"/>
                </a:lnTo>
                <a:lnTo>
                  <a:pt x="307" y="39"/>
                </a:lnTo>
                <a:lnTo>
                  <a:pt x="305" y="40"/>
                </a:lnTo>
                <a:lnTo>
                  <a:pt x="305" y="41"/>
                </a:lnTo>
                <a:lnTo>
                  <a:pt x="304" y="41"/>
                </a:lnTo>
                <a:lnTo>
                  <a:pt x="305" y="36"/>
                </a:lnTo>
                <a:lnTo>
                  <a:pt x="305" y="35"/>
                </a:lnTo>
                <a:lnTo>
                  <a:pt x="307" y="34"/>
                </a:lnTo>
                <a:close/>
                <a:moveTo>
                  <a:pt x="317" y="28"/>
                </a:moveTo>
                <a:lnTo>
                  <a:pt x="319" y="28"/>
                </a:lnTo>
                <a:lnTo>
                  <a:pt x="320" y="29"/>
                </a:lnTo>
                <a:lnTo>
                  <a:pt x="320" y="30"/>
                </a:lnTo>
                <a:lnTo>
                  <a:pt x="319" y="30"/>
                </a:lnTo>
                <a:lnTo>
                  <a:pt x="317" y="31"/>
                </a:lnTo>
                <a:lnTo>
                  <a:pt x="317" y="34"/>
                </a:lnTo>
                <a:lnTo>
                  <a:pt x="316" y="34"/>
                </a:lnTo>
                <a:lnTo>
                  <a:pt x="316" y="35"/>
                </a:lnTo>
                <a:lnTo>
                  <a:pt x="315" y="35"/>
                </a:lnTo>
                <a:lnTo>
                  <a:pt x="315" y="36"/>
                </a:lnTo>
                <a:lnTo>
                  <a:pt x="314" y="37"/>
                </a:lnTo>
                <a:lnTo>
                  <a:pt x="313" y="37"/>
                </a:lnTo>
                <a:lnTo>
                  <a:pt x="311" y="36"/>
                </a:lnTo>
                <a:lnTo>
                  <a:pt x="313" y="35"/>
                </a:lnTo>
                <a:lnTo>
                  <a:pt x="313" y="34"/>
                </a:lnTo>
                <a:lnTo>
                  <a:pt x="314" y="33"/>
                </a:lnTo>
                <a:lnTo>
                  <a:pt x="314" y="31"/>
                </a:lnTo>
                <a:lnTo>
                  <a:pt x="311" y="31"/>
                </a:lnTo>
                <a:lnTo>
                  <a:pt x="311" y="30"/>
                </a:lnTo>
                <a:lnTo>
                  <a:pt x="313" y="30"/>
                </a:lnTo>
                <a:lnTo>
                  <a:pt x="317" y="28"/>
                </a:lnTo>
                <a:close/>
                <a:moveTo>
                  <a:pt x="104" y="28"/>
                </a:moveTo>
                <a:lnTo>
                  <a:pt x="106" y="31"/>
                </a:lnTo>
                <a:lnTo>
                  <a:pt x="108" y="33"/>
                </a:lnTo>
                <a:lnTo>
                  <a:pt x="104" y="33"/>
                </a:lnTo>
                <a:lnTo>
                  <a:pt x="104" y="31"/>
                </a:lnTo>
                <a:lnTo>
                  <a:pt x="103" y="30"/>
                </a:lnTo>
                <a:lnTo>
                  <a:pt x="104" y="28"/>
                </a:lnTo>
                <a:close/>
                <a:moveTo>
                  <a:pt x="110" y="23"/>
                </a:moveTo>
                <a:lnTo>
                  <a:pt x="114" y="23"/>
                </a:lnTo>
                <a:lnTo>
                  <a:pt x="116" y="25"/>
                </a:lnTo>
                <a:lnTo>
                  <a:pt x="115" y="27"/>
                </a:lnTo>
                <a:lnTo>
                  <a:pt x="115" y="28"/>
                </a:lnTo>
                <a:lnTo>
                  <a:pt x="110" y="28"/>
                </a:lnTo>
                <a:lnTo>
                  <a:pt x="108" y="27"/>
                </a:lnTo>
                <a:lnTo>
                  <a:pt x="108" y="24"/>
                </a:lnTo>
                <a:lnTo>
                  <a:pt x="109" y="24"/>
                </a:lnTo>
                <a:lnTo>
                  <a:pt x="110" y="23"/>
                </a:lnTo>
                <a:close/>
                <a:moveTo>
                  <a:pt x="124" y="12"/>
                </a:moveTo>
                <a:lnTo>
                  <a:pt x="129" y="12"/>
                </a:lnTo>
                <a:lnTo>
                  <a:pt x="131" y="15"/>
                </a:lnTo>
                <a:lnTo>
                  <a:pt x="141" y="16"/>
                </a:lnTo>
                <a:lnTo>
                  <a:pt x="142" y="17"/>
                </a:lnTo>
                <a:lnTo>
                  <a:pt x="142" y="19"/>
                </a:lnTo>
                <a:lnTo>
                  <a:pt x="148" y="19"/>
                </a:lnTo>
                <a:lnTo>
                  <a:pt x="148" y="18"/>
                </a:lnTo>
                <a:lnTo>
                  <a:pt x="149" y="18"/>
                </a:lnTo>
                <a:lnTo>
                  <a:pt x="149" y="19"/>
                </a:lnTo>
                <a:lnTo>
                  <a:pt x="152" y="19"/>
                </a:lnTo>
                <a:lnTo>
                  <a:pt x="154" y="18"/>
                </a:lnTo>
                <a:lnTo>
                  <a:pt x="155" y="17"/>
                </a:lnTo>
                <a:lnTo>
                  <a:pt x="156" y="17"/>
                </a:lnTo>
                <a:lnTo>
                  <a:pt x="156" y="16"/>
                </a:lnTo>
                <a:lnTo>
                  <a:pt x="158" y="15"/>
                </a:lnTo>
                <a:lnTo>
                  <a:pt x="158" y="18"/>
                </a:lnTo>
                <a:lnTo>
                  <a:pt x="162" y="18"/>
                </a:lnTo>
                <a:lnTo>
                  <a:pt x="164" y="19"/>
                </a:lnTo>
                <a:lnTo>
                  <a:pt x="165" y="19"/>
                </a:lnTo>
                <a:lnTo>
                  <a:pt x="167" y="22"/>
                </a:lnTo>
                <a:lnTo>
                  <a:pt x="167" y="23"/>
                </a:lnTo>
                <a:lnTo>
                  <a:pt x="168" y="23"/>
                </a:lnTo>
                <a:lnTo>
                  <a:pt x="171" y="22"/>
                </a:lnTo>
                <a:lnTo>
                  <a:pt x="171" y="21"/>
                </a:lnTo>
                <a:lnTo>
                  <a:pt x="173" y="22"/>
                </a:lnTo>
                <a:lnTo>
                  <a:pt x="173" y="23"/>
                </a:lnTo>
                <a:lnTo>
                  <a:pt x="174" y="25"/>
                </a:lnTo>
                <a:lnTo>
                  <a:pt x="174" y="27"/>
                </a:lnTo>
                <a:lnTo>
                  <a:pt x="175" y="27"/>
                </a:lnTo>
                <a:lnTo>
                  <a:pt x="175" y="28"/>
                </a:lnTo>
                <a:lnTo>
                  <a:pt x="174" y="28"/>
                </a:lnTo>
                <a:lnTo>
                  <a:pt x="173" y="27"/>
                </a:lnTo>
                <a:lnTo>
                  <a:pt x="173" y="28"/>
                </a:lnTo>
                <a:lnTo>
                  <a:pt x="172" y="28"/>
                </a:lnTo>
                <a:lnTo>
                  <a:pt x="172" y="29"/>
                </a:lnTo>
                <a:lnTo>
                  <a:pt x="174" y="29"/>
                </a:lnTo>
                <a:lnTo>
                  <a:pt x="175" y="30"/>
                </a:lnTo>
                <a:lnTo>
                  <a:pt x="175" y="29"/>
                </a:lnTo>
                <a:lnTo>
                  <a:pt x="177" y="29"/>
                </a:lnTo>
                <a:lnTo>
                  <a:pt x="177" y="36"/>
                </a:lnTo>
                <a:lnTo>
                  <a:pt x="175" y="37"/>
                </a:lnTo>
                <a:lnTo>
                  <a:pt x="175" y="40"/>
                </a:lnTo>
                <a:lnTo>
                  <a:pt x="174" y="40"/>
                </a:lnTo>
                <a:lnTo>
                  <a:pt x="172" y="42"/>
                </a:lnTo>
                <a:lnTo>
                  <a:pt x="170" y="43"/>
                </a:lnTo>
                <a:lnTo>
                  <a:pt x="168" y="43"/>
                </a:lnTo>
                <a:lnTo>
                  <a:pt x="170" y="45"/>
                </a:lnTo>
                <a:lnTo>
                  <a:pt x="180" y="42"/>
                </a:lnTo>
                <a:lnTo>
                  <a:pt x="181" y="42"/>
                </a:lnTo>
                <a:lnTo>
                  <a:pt x="184" y="45"/>
                </a:lnTo>
                <a:lnTo>
                  <a:pt x="183" y="46"/>
                </a:lnTo>
                <a:lnTo>
                  <a:pt x="183" y="51"/>
                </a:lnTo>
                <a:lnTo>
                  <a:pt x="180" y="51"/>
                </a:lnTo>
                <a:lnTo>
                  <a:pt x="181" y="52"/>
                </a:lnTo>
                <a:lnTo>
                  <a:pt x="180" y="52"/>
                </a:lnTo>
                <a:lnTo>
                  <a:pt x="181" y="53"/>
                </a:lnTo>
                <a:lnTo>
                  <a:pt x="181" y="54"/>
                </a:lnTo>
                <a:lnTo>
                  <a:pt x="183" y="53"/>
                </a:lnTo>
                <a:lnTo>
                  <a:pt x="184" y="51"/>
                </a:lnTo>
                <a:lnTo>
                  <a:pt x="184" y="48"/>
                </a:lnTo>
                <a:lnTo>
                  <a:pt x="186" y="48"/>
                </a:lnTo>
                <a:lnTo>
                  <a:pt x="187" y="47"/>
                </a:lnTo>
                <a:lnTo>
                  <a:pt x="187" y="46"/>
                </a:lnTo>
                <a:lnTo>
                  <a:pt x="190" y="46"/>
                </a:lnTo>
                <a:lnTo>
                  <a:pt x="191" y="47"/>
                </a:lnTo>
                <a:lnTo>
                  <a:pt x="201" y="52"/>
                </a:lnTo>
                <a:lnTo>
                  <a:pt x="204" y="55"/>
                </a:lnTo>
                <a:lnTo>
                  <a:pt x="208" y="55"/>
                </a:lnTo>
                <a:lnTo>
                  <a:pt x="211" y="52"/>
                </a:lnTo>
                <a:lnTo>
                  <a:pt x="212" y="52"/>
                </a:lnTo>
                <a:lnTo>
                  <a:pt x="215" y="51"/>
                </a:lnTo>
                <a:lnTo>
                  <a:pt x="217" y="51"/>
                </a:lnTo>
                <a:lnTo>
                  <a:pt x="218" y="52"/>
                </a:lnTo>
                <a:lnTo>
                  <a:pt x="222" y="49"/>
                </a:lnTo>
                <a:lnTo>
                  <a:pt x="223" y="51"/>
                </a:lnTo>
                <a:lnTo>
                  <a:pt x="221" y="52"/>
                </a:lnTo>
                <a:lnTo>
                  <a:pt x="221" y="64"/>
                </a:lnTo>
                <a:lnTo>
                  <a:pt x="220" y="64"/>
                </a:lnTo>
                <a:lnTo>
                  <a:pt x="220" y="65"/>
                </a:lnTo>
                <a:lnTo>
                  <a:pt x="215" y="68"/>
                </a:lnTo>
                <a:lnTo>
                  <a:pt x="212" y="71"/>
                </a:lnTo>
                <a:lnTo>
                  <a:pt x="209" y="71"/>
                </a:lnTo>
                <a:lnTo>
                  <a:pt x="206" y="74"/>
                </a:lnTo>
                <a:lnTo>
                  <a:pt x="208" y="76"/>
                </a:lnTo>
                <a:lnTo>
                  <a:pt x="208" y="77"/>
                </a:lnTo>
                <a:lnTo>
                  <a:pt x="209" y="78"/>
                </a:lnTo>
                <a:lnTo>
                  <a:pt x="211" y="78"/>
                </a:lnTo>
                <a:lnTo>
                  <a:pt x="212" y="79"/>
                </a:lnTo>
                <a:lnTo>
                  <a:pt x="212" y="80"/>
                </a:lnTo>
                <a:lnTo>
                  <a:pt x="215" y="80"/>
                </a:lnTo>
                <a:lnTo>
                  <a:pt x="217" y="78"/>
                </a:lnTo>
                <a:lnTo>
                  <a:pt x="220" y="77"/>
                </a:lnTo>
                <a:lnTo>
                  <a:pt x="226" y="77"/>
                </a:lnTo>
                <a:lnTo>
                  <a:pt x="226" y="79"/>
                </a:lnTo>
                <a:lnTo>
                  <a:pt x="228" y="79"/>
                </a:lnTo>
                <a:lnTo>
                  <a:pt x="227" y="82"/>
                </a:lnTo>
                <a:lnTo>
                  <a:pt x="228" y="83"/>
                </a:lnTo>
                <a:lnTo>
                  <a:pt x="229" y="83"/>
                </a:lnTo>
                <a:lnTo>
                  <a:pt x="232" y="80"/>
                </a:lnTo>
                <a:lnTo>
                  <a:pt x="232" y="82"/>
                </a:lnTo>
                <a:lnTo>
                  <a:pt x="233" y="83"/>
                </a:lnTo>
                <a:lnTo>
                  <a:pt x="234" y="83"/>
                </a:lnTo>
                <a:lnTo>
                  <a:pt x="236" y="85"/>
                </a:lnTo>
                <a:lnTo>
                  <a:pt x="236" y="83"/>
                </a:lnTo>
                <a:lnTo>
                  <a:pt x="237" y="82"/>
                </a:lnTo>
                <a:lnTo>
                  <a:pt x="237" y="78"/>
                </a:lnTo>
                <a:lnTo>
                  <a:pt x="239" y="77"/>
                </a:lnTo>
                <a:lnTo>
                  <a:pt x="239" y="76"/>
                </a:lnTo>
                <a:lnTo>
                  <a:pt x="241" y="76"/>
                </a:lnTo>
                <a:lnTo>
                  <a:pt x="242" y="73"/>
                </a:lnTo>
                <a:lnTo>
                  <a:pt x="243" y="73"/>
                </a:lnTo>
                <a:lnTo>
                  <a:pt x="243" y="70"/>
                </a:lnTo>
                <a:lnTo>
                  <a:pt x="245" y="67"/>
                </a:lnTo>
                <a:lnTo>
                  <a:pt x="246" y="67"/>
                </a:lnTo>
                <a:lnTo>
                  <a:pt x="248" y="66"/>
                </a:lnTo>
                <a:lnTo>
                  <a:pt x="252" y="67"/>
                </a:lnTo>
                <a:lnTo>
                  <a:pt x="261" y="65"/>
                </a:lnTo>
                <a:lnTo>
                  <a:pt x="262" y="64"/>
                </a:lnTo>
                <a:lnTo>
                  <a:pt x="264" y="66"/>
                </a:lnTo>
                <a:lnTo>
                  <a:pt x="262" y="68"/>
                </a:lnTo>
                <a:lnTo>
                  <a:pt x="262" y="70"/>
                </a:lnTo>
                <a:lnTo>
                  <a:pt x="264" y="71"/>
                </a:lnTo>
                <a:lnTo>
                  <a:pt x="264" y="66"/>
                </a:lnTo>
                <a:lnTo>
                  <a:pt x="265" y="66"/>
                </a:lnTo>
                <a:lnTo>
                  <a:pt x="265" y="65"/>
                </a:lnTo>
                <a:lnTo>
                  <a:pt x="264" y="65"/>
                </a:lnTo>
                <a:lnTo>
                  <a:pt x="265" y="62"/>
                </a:lnTo>
                <a:lnTo>
                  <a:pt x="266" y="62"/>
                </a:lnTo>
                <a:lnTo>
                  <a:pt x="267" y="60"/>
                </a:lnTo>
                <a:lnTo>
                  <a:pt x="268" y="60"/>
                </a:lnTo>
                <a:lnTo>
                  <a:pt x="271" y="58"/>
                </a:lnTo>
                <a:lnTo>
                  <a:pt x="273" y="56"/>
                </a:lnTo>
                <a:lnTo>
                  <a:pt x="276" y="53"/>
                </a:lnTo>
                <a:lnTo>
                  <a:pt x="276" y="55"/>
                </a:lnTo>
                <a:lnTo>
                  <a:pt x="274" y="55"/>
                </a:lnTo>
                <a:lnTo>
                  <a:pt x="274" y="56"/>
                </a:lnTo>
                <a:lnTo>
                  <a:pt x="276" y="58"/>
                </a:lnTo>
                <a:lnTo>
                  <a:pt x="274" y="59"/>
                </a:lnTo>
                <a:lnTo>
                  <a:pt x="277" y="60"/>
                </a:lnTo>
                <a:lnTo>
                  <a:pt x="278" y="60"/>
                </a:lnTo>
                <a:lnTo>
                  <a:pt x="278" y="59"/>
                </a:lnTo>
                <a:lnTo>
                  <a:pt x="277" y="59"/>
                </a:lnTo>
                <a:lnTo>
                  <a:pt x="277" y="56"/>
                </a:lnTo>
                <a:lnTo>
                  <a:pt x="278" y="56"/>
                </a:lnTo>
                <a:lnTo>
                  <a:pt x="278" y="55"/>
                </a:lnTo>
                <a:lnTo>
                  <a:pt x="279" y="55"/>
                </a:lnTo>
                <a:lnTo>
                  <a:pt x="279" y="54"/>
                </a:lnTo>
                <a:lnTo>
                  <a:pt x="280" y="53"/>
                </a:lnTo>
                <a:lnTo>
                  <a:pt x="283" y="52"/>
                </a:lnTo>
                <a:lnTo>
                  <a:pt x="282" y="52"/>
                </a:lnTo>
                <a:lnTo>
                  <a:pt x="282" y="51"/>
                </a:lnTo>
                <a:lnTo>
                  <a:pt x="284" y="51"/>
                </a:lnTo>
                <a:lnTo>
                  <a:pt x="284" y="52"/>
                </a:lnTo>
                <a:lnTo>
                  <a:pt x="285" y="51"/>
                </a:lnTo>
                <a:lnTo>
                  <a:pt x="288" y="49"/>
                </a:lnTo>
                <a:lnTo>
                  <a:pt x="288" y="48"/>
                </a:lnTo>
                <a:lnTo>
                  <a:pt x="290" y="48"/>
                </a:lnTo>
                <a:lnTo>
                  <a:pt x="289" y="49"/>
                </a:lnTo>
                <a:lnTo>
                  <a:pt x="290" y="49"/>
                </a:lnTo>
                <a:lnTo>
                  <a:pt x="290" y="51"/>
                </a:lnTo>
                <a:lnTo>
                  <a:pt x="292" y="51"/>
                </a:lnTo>
                <a:lnTo>
                  <a:pt x="293" y="52"/>
                </a:lnTo>
                <a:lnTo>
                  <a:pt x="296" y="52"/>
                </a:lnTo>
                <a:lnTo>
                  <a:pt x="297" y="51"/>
                </a:lnTo>
                <a:lnTo>
                  <a:pt x="297" y="49"/>
                </a:lnTo>
                <a:lnTo>
                  <a:pt x="298" y="48"/>
                </a:lnTo>
                <a:lnTo>
                  <a:pt x="301" y="47"/>
                </a:lnTo>
                <a:lnTo>
                  <a:pt x="302" y="46"/>
                </a:lnTo>
                <a:lnTo>
                  <a:pt x="303" y="47"/>
                </a:lnTo>
                <a:lnTo>
                  <a:pt x="302" y="47"/>
                </a:lnTo>
                <a:lnTo>
                  <a:pt x="302" y="48"/>
                </a:lnTo>
                <a:lnTo>
                  <a:pt x="303" y="49"/>
                </a:lnTo>
                <a:lnTo>
                  <a:pt x="305" y="51"/>
                </a:lnTo>
                <a:lnTo>
                  <a:pt x="304" y="53"/>
                </a:lnTo>
                <a:lnTo>
                  <a:pt x="307" y="55"/>
                </a:lnTo>
                <a:lnTo>
                  <a:pt x="307" y="58"/>
                </a:lnTo>
                <a:lnTo>
                  <a:pt x="309" y="58"/>
                </a:lnTo>
                <a:lnTo>
                  <a:pt x="309" y="59"/>
                </a:lnTo>
                <a:lnTo>
                  <a:pt x="311" y="60"/>
                </a:lnTo>
                <a:lnTo>
                  <a:pt x="313" y="60"/>
                </a:lnTo>
                <a:lnTo>
                  <a:pt x="314" y="61"/>
                </a:lnTo>
                <a:lnTo>
                  <a:pt x="315" y="64"/>
                </a:lnTo>
                <a:lnTo>
                  <a:pt x="316" y="65"/>
                </a:lnTo>
                <a:lnTo>
                  <a:pt x="315" y="65"/>
                </a:lnTo>
                <a:lnTo>
                  <a:pt x="315" y="66"/>
                </a:lnTo>
                <a:lnTo>
                  <a:pt x="316" y="66"/>
                </a:lnTo>
                <a:lnTo>
                  <a:pt x="317" y="65"/>
                </a:lnTo>
                <a:lnTo>
                  <a:pt x="319" y="66"/>
                </a:lnTo>
                <a:lnTo>
                  <a:pt x="317" y="66"/>
                </a:lnTo>
                <a:lnTo>
                  <a:pt x="317" y="67"/>
                </a:lnTo>
                <a:lnTo>
                  <a:pt x="320" y="67"/>
                </a:lnTo>
                <a:lnTo>
                  <a:pt x="320" y="68"/>
                </a:lnTo>
                <a:lnTo>
                  <a:pt x="321" y="70"/>
                </a:lnTo>
                <a:lnTo>
                  <a:pt x="321" y="71"/>
                </a:lnTo>
                <a:lnTo>
                  <a:pt x="322" y="71"/>
                </a:lnTo>
                <a:lnTo>
                  <a:pt x="322" y="68"/>
                </a:lnTo>
                <a:lnTo>
                  <a:pt x="327" y="68"/>
                </a:lnTo>
                <a:lnTo>
                  <a:pt x="328" y="67"/>
                </a:lnTo>
                <a:lnTo>
                  <a:pt x="330" y="66"/>
                </a:lnTo>
                <a:lnTo>
                  <a:pt x="330" y="67"/>
                </a:lnTo>
                <a:lnTo>
                  <a:pt x="332" y="67"/>
                </a:lnTo>
                <a:lnTo>
                  <a:pt x="335" y="71"/>
                </a:lnTo>
                <a:lnTo>
                  <a:pt x="335" y="72"/>
                </a:lnTo>
                <a:lnTo>
                  <a:pt x="334" y="73"/>
                </a:lnTo>
                <a:lnTo>
                  <a:pt x="334" y="74"/>
                </a:lnTo>
                <a:lnTo>
                  <a:pt x="333" y="76"/>
                </a:lnTo>
                <a:lnTo>
                  <a:pt x="334" y="77"/>
                </a:lnTo>
                <a:lnTo>
                  <a:pt x="335" y="77"/>
                </a:lnTo>
                <a:lnTo>
                  <a:pt x="335" y="78"/>
                </a:lnTo>
                <a:lnTo>
                  <a:pt x="336" y="79"/>
                </a:lnTo>
                <a:lnTo>
                  <a:pt x="338" y="79"/>
                </a:lnTo>
                <a:lnTo>
                  <a:pt x="338" y="82"/>
                </a:lnTo>
                <a:lnTo>
                  <a:pt x="340" y="82"/>
                </a:lnTo>
                <a:lnTo>
                  <a:pt x="340" y="84"/>
                </a:lnTo>
                <a:lnTo>
                  <a:pt x="339" y="84"/>
                </a:lnTo>
                <a:lnTo>
                  <a:pt x="335" y="88"/>
                </a:lnTo>
                <a:lnTo>
                  <a:pt x="336" y="89"/>
                </a:lnTo>
                <a:lnTo>
                  <a:pt x="336" y="88"/>
                </a:lnTo>
                <a:lnTo>
                  <a:pt x="338" y="86"/>
                </a:lnTo>
                <a:lnTo>
                  <a:pt x="339" y="86"/>
                </a:lnTo>
                <a:lnTo>
                  <a:pt x="340" y="85"/>
                </a:lnTo>
                <a:lnTo>
                  <a:pt x="341" y="85"/>
                </a:lnTo>
                <a:lnTo>
                  <a:pt x="341" y="83"/>
                </a:lnTo>
                <a:lnTo>
                  <a:pt x="340" y="80"/>
                </a:lnTo>
                <a:lnTo>
                  <a:pt x="340" y="78"/>
                </a:lnTo>
                <a:lnTo>
                  <a:pt x="341" y="78"/>
                </a:lnTo>
                <a:lnTo>
                  <a:pt x="342" y="79"/>
                </a:lnTo>
                <a:lnTo>
                  <a:pt x="342" y="82"/>
                </a:lnTo>
                <a:lnTo>
                  <a:pt x="344" y="80"/>
                </a:lnTo>
                <a:lnTo>
                  <a:pt x="345" y="80"/>
                </a:lnTo>
                <a:lnTo>
                  <a:pt x="345" y="82"/>
                </a:lnTo>
                <a:lnTo>
                  <a:pt x="346" y="79"/>
                </a:lnTo>
                <a:lnTo>
                  <a:pt x="346" y="78"/>
                </a:lnTo>
                <a:lnTo>
                  <a:pt x="344" y="76"/>
                </a:lnTo>
                <a:lnTo>
                  <a:pt x="344" y="74"/>
                </a:lnTo>
                <a:lnTo>
                  <a:pt x="342" y="74"/>
                </a:lnTo>
                <a:lnTo>
                  <a:pt x="342" y="73"/>
                </a:lnTo>
                <a:lnTo>
                  <a:pt x="340" y="73"/>
                </a:lnTo>
                <a:lnTo>
                  <a:pt x="340" y="77"/>
                </a:lnTo>
                <a:lnTo>
                  <a:pt x="339" y="77"/>
                </a:lnTo>
                <a:lnTo>
                  <a:pt x="338" y="78"/>
                </a:lnTo>
                <a:lnTo>
                  <a:pt x="338" y="77"/>
                </a:lnTo>
                <a:lnTo>
                  <a:pt x="339" y="76"/>
                </a:lnTo>
                <a:lnTo>
                  <a:pt x="338" y="74"/>
                </a:lnTo>
                <a:lnTo>
                  <a:pt x="336" y="76"/>
                </a:lnTo>
                <a:lnTo>
                  <a:pt x="335" y="76"/>
                </a:lnTo>
                <a:lnTo>
                  <a:pt x="335" y="77"/>
                </a:lnTo>
                <a:lnTo>
                  <a:pt x="334" y="77"/>
                </a:lnTo>
                <a:lnTo>
                  <a:pt x="334" y="74"/>
                </a:lnTo>
                <a:lnTo>
                  <a:pt x="335" y="72"/>
                </a:lnTo>
                <a:lnTo>
                  <a:pt x="336" y="71"/>
                </a:lnTo>
                <a:lnTo>
                  <a:pt x="335" y="70"/>
                </a:lnTo>
                <a:lnTo>
                  <a:pt x="334" y="67"/>
                </a:lnTo>
                <a:lnTo>
                  <a:pt x="333" y="67"/>
                </a:lnTo>
                <a:lnTo>
                  <a:pt x="334" y="66"/>
                </a:lnTo>
                <a:lnTo>
                  <a:pt x="334" y="65"/>
                </a:lnTo>
                <a:lnTo>
                  <a:pt x="335" y="65"/>
                </a:lnTo>
                <a:lnTo>
                  <a:pt x="336" y="66"/>
                </a:lnTo>
                <a:lnTo>
                  <a:pt x="338" y="68"/>
                </a:lnTo>
                <a:lnTo>
                  <a:pt x="338" y="70"/>
                </a:lnTo>
                <a:lnTo>
                  <a:pt x="339" y="71"/>
                </a:lnTo>
                <a:lnTo>
                  <a:pt x="344" y="73"/>
                </a:lnTo>
                <a:lnTo>
                  <a:pt x="345" y="73"/>
                </a:lnTo>
                <a:lnTo>
                  <a:pt x="352" y="82"/>
                </a:lnTo>
                <a:lnTo>
                  <a:pt x="352" y="84"/>
                </a:lnTo>
                <a:lnTo>
                  <a:pt x="351" y="85"/>
                </a:lnTo>
                <a:lnTo>
                  <a:pt x="352" y="85"/>
                </a:lnTo>
                <a:lnTo>
                  <a:pt x="352" y="86"/>
                </a:lnTo>
                <a:lnTo>
                  <a:pt x="347" y="88"/>
                </a:lnTo>
                <a:lnTo>
                  <a:pt x="346" y="88"/>
                </a:lnTo>
                <a:lnTo>
                  <a:pt x="346" y="86"/>
                </a:lnTo>
                <a:lnTo>
                  <a:pt x="344" y="89"/>
                </a:lnTo>
                <a:lnTo>
                  <a:pt x="338" y="89"/>
                </a:lnTo>
                <a:lnTo>
                  <a:pt x="338" y="90"/>
                </a:lnTo>
                <a:lnTo>
                  <a:pt x="339" y="91"/>
                </a:lnTo>
                <a:lnTo>
                  <a:pt x="340" y="91"/>
                </a:lnTo>
                <a:lnTo>
                  <a:pt x="342" y="93"/>
                </a:lnTo>
                <a:lnTo>
                  <a:pt x="345" y="95"/>
                </a:lnTo>
                <a:lnTo>
                  <a:pt x="345" y="96"/>
                </a:lnTo>
                <a:lnTo>
                  <a:pt x="348" y="96"/>
                </a:lnTo>
                <a:lnTo>
                  <a:pt x="352" y="97"/>
                </a:lnTo>
                <a:lnTo>
                  <a:pt x="353" y="96"/>
                </a:lnTo>
                <a:lnTo>
                  <a:pt x="353" y="95"/>
                </a:lnTo>
                <a:lnTo>
                  <a:pt x="354" y="95"/>
                </a:lnTo>
                <a:lnTo>
                  <a:pt x="354" y="96"/>
                </a:lnTo>
                <a:lnTo>
                  <a:pt x="355" y="97"/>
                </a:lnTo>
                <a:lnTo>
                  <a:pt x="354" y="97"/>
                </a:lnTo>
                <a:lnTo>
                  <a:pt x="353" y="98"/>
                </a:lnTo>
                <a:lnTo>
                  <a:pt x="353" y="99"/>
                </a:lnTo>
                <a:lnTo>
                  <a:pt x="354" y="99"/>
                </a:lnTo>
                <a:lnTo>
                  <a:pt x="354" y="103"/>
                </a:lnTo>
                <a:lnTo>
                  <a:pt x="355" y="104"/>
                </a:lnTo>
                <a:lnTo>
                  <a:pt x="357" y="107"/>
                </a:lnTo>
                <a:lnTo>
                  <a:pt x="357" y="113"/>
                </a:lnTo>
                <a:lnTo>
                  <a:pt x="358" y="115"/>
                </a:lnTo>
                <a:lnTo>
                  <a:pt x="358" y="116"/>
                </a:lnTo>
                <a:lnTo>
                  <a:pt x="359" y="117"/>
                </a:lnTo>
                <a:lnTo>
                  <a:pt x="359" y="121"/>
                </a:lnTo>
                <a:lnTo>
                  <a:pt x="360" y="126"/>
                </a:lnTo>
                <a:lnTo>
                  <a:pt x="360" y="129"/>
                </a:lnTo>
                <a:lnTo>
                  <a:pt x="361" y="129"/>
                </a:lnTo>
                <a:lnTo>
                  <a:pt x="361" y="131"/>
                </a:lnTo>
                <a:lnTo>
                  <a:pt x="363" y="132"/>
                </a:lnTo>
                <a:lnTo>
                  <a:pt x="361" y="133"/>
                </a:lnTo>
                <a:lnTo>
                  <a:pt x="361" y="134"/>
                </a:lnTo>
                <a:lnTo>
                  <a:pt x="360" y="134"/>
                </a:lnTo>
                <a:lnTo>
                  <a:pt x="360" y="135"/>
                </a:lnTo>
                <a:lnTo>
                  <a:pt x="359" y="136"/>
                </a:lnTo>
                <a:lnTo>
                  <a:pt x="360" y="138"/>
                </a:lnTo>
                <a:lnTo>
                  <a:pt x="360" y="140"/>
                </a:lnTo>
                <a:lnTo>
                  <a:pt x="359" y="144"/>
                </a:lnTo>
                <a:lnTo>
                  <a:pt x="358" y="145"/>
                </a:lnTo>
                <a:lnTo>
                  <a:pt x="357" y="147"/>
                </a:lnTo>
                <a:lnTo>
                  <a:pt x="352" y="150"/>
                </a:lnTo>
                <a:lnTo>
                  <a:pt x="350" y="152"/>
                </a:lnTo>
                <a:lnTo>
                  <a:pt x="350" y="153"/>
                </a:lnTo>
                <a:lnTo>
                  <a:pt x="351" y="156"/>
                </a:lnTo>
                <a:lnTo>
                  <a:pt x="351" y="158"/>
                </a:lnTo>
                <a:lnTo>
                  <a:pt x="350" y="158"/>
                </a:lnTo>
                <a:lnTo>
                  <a:pt x="348" y="159"/>
                </a:lnTo>
                <a:lnTo>
                  <a:pt x="351" y="162"/>
                </a:lnTo>
                <a:lnTo>
                  <a:pt x="353" y="162"/>
                </a:lnTo>
                <a:lnTo>
                  <a:pt x="355" y="164"/>
                </a:lnTo>
                <a:lnTo>
                  <a:pt x="360" y="168"/>
                </a:lnTo>
                <a:lnTo>
                  <a:pt x="361" y="171"/>
                </a:lnTo>
                <a:lnTo>
                  <a:pt x="363" y="171"/>
                </a:lnTo>
                <a:lnTo>
                  <a:pt x="364" y="174"/>
                </a:lnTo>
                <a:lnTo>
                  <a:pt x="367" y="175"/>
                </a:lnTo>
                <a:lnTo>
                  <a:pt x="371" y="178"/>
                </a:lnTo>
                <a:lnTo>
                  <a:pt x="370" y="181"/>
                </a:lnTo>
                <a:lnTo>
                  <a:pt x="370" y="185"/>
                </a:lnTo>
                <a:lnTo>
                  <a:pt x="366" y="189"/>
                </a:lnTo>
                <a:lnTo>
                  <a:pt x="366" y="191"/>
                </a:lnTo>
                <a:lnTo>
                  <a:pt x="367" y="195"/>
                </a:lnTo>
                <a:lnTo>
                  <a:pt x="369" y="197"/>
                </a:lnTo>
                <a:lnTo>
                  <a:pt x="369" y="199"/>
                </a:lnTo>
                <a:lnTo>
                  <a:pt x="370" y="199"/>
                </a:lnTo>
                <a:lnTo>
                  <a:pt x="371" y="200"/>
                </a:lnTo>
                <a:lnTo>
                  <a:pt x="372" y="200"/>
                </a:lnTo>
                <a:lnTo>
                  <a:pt x="373" y="201"/>
                </a:lnTo>
                <a:lnTo>
                  <a:pt x="373" y="208"/>
                </a:lnTo>
                <a:lnTo>
                  <a:pt x="372" y="209"/>
                </a:lnTo>
                <a:lnTo>
                  <a:pt x="376" y="213"/>
                </a:lnTo>
                <a:lnTo>
                  <a:pt x="375" y="214"/>
                </a:lnTo>
                <a:lnTo>
                  <a:pt x="375" y="217"/>
                </a:lnTo>
                <a:lnTo>
                  <a:pt x="373" y="218"/>
                </a:lnTo>
                <a:lnTo>
                  <a:pt x="373" y="222"/>
                </a:lnTo>
                <a:lnTo>
                  <a:pt x="372" y="224"/>
                </a:lnTo>
                <a:lnTo>
                  <a:pt x="372" y="225"/>
                </a:lnTo>
                <a:lnTo>
                  <a:pt x="369" y="228"/>
                </a:lnTo>
                <a:lnTo>
                  <a:pt x="369" y="232"/>
                </a:lnTo>
                <a:lnTo>
                  <a:pt x="371" y="234"/>
                </a:lnTo>
                <a:lnTo>
                  <a:pt x="371" y="238"/>
                </a:lnTo>
                <a:lnTo>
                  <a:pt x="372" y="238"/>
                </a:lnTo>
                <a:lnTo>
                  <a:pt x="375" y="240"/>
                </a:lnTo>
                <a:lnTo>
                  <a:pt x="375" y="246"/>
                </a:lnTo>
                <a:lnTo>
                  <a:pt x="373" y="248"/>
                </a:lnTo>
                <a:lnTo>
                  <a:pt x="373" y="250"/>
                </a:lnTo>
                <a:lnTo>
                  <a:pt x="375" y="251"/>
                </a:lnTo>
                <a:lnTo>
                  <a:pt x="377" y="252"/>
                </a:lnTo>
                <a:lnTo>
                  <a:pt x="378" y="252"/>
                </a:lnTo>
                <a:lnTo>
                  <a:pt x="379" y="254"/>
                </a:lnTo>
                <a:lnTo>
                  <a:pt x="380" y="254"/>
                </a:lnTo>
                <a:lnTo>
                  <a:pt x="382" y="255"/>
                </a:lnTo>
                <a:lnTo>
                  <a:pt x="383" y="255"/>
                </a:lnTo>
                <a:lnTo>
                  <a:pt x="384" y="256"/>
                </a:lnTo>
                <a:lnTo>
                  <a:pt x="384" y="264"/>
                </a:lnTo>
                <a:lnTo>
                  <a:pt x="386" y="267"/>
                </a:lnTo>
                <a:lnTo>
                  <a:pt x="386" y="271"/>
                </a:lnTo>
                <a:lnTo>
                  <a:pt x="385" y="273"/>
                </a:lnTo>
                <a:lnTo>
                  <a:pt x="385" y="279"/>
                </a:lnTo>
                <a:lnTo>
                  <a:pt x="384" y="279"/>
                </a:lnTo>
                <a:lnTo>
                  <a:pt x="384" y="281"/>
                </a:lnTo>
                <a:lnTo>
                  <a:pt x="382" y="286"/>
                </a:lnTo>
                <a:lnTo>
                  <a:pt x="380" y="292"/>
                </a:lnTo>
                <a:lnTo>
                  <a:pt x="378" y="293"/>
                </a:lnTo>
                <a:lnTo>
                  <a:pt x="378" y="295"/>
                </a:lnTo>
                <a:lnTo>
                  <a:pt x="377" y="297"/>
                </a:lnTo>
                <a:lnTo>
                  <a:pt x="377" y="299"/>
                </a:lnTo>
                <a:lnTo>
                  <a:pt x="375" y="299"/>
                </a:lnTo>
                <a:lnTo>
                  <a:pt x="373" y="298"/>
                </a:lnTo>
                <a:lnTo>
                  <a:pt x="371" y="297"/>
                </a:lnTo>
                <a:lnTo>
                  <a:pt x="370" y="297"/>
                </a:lnTo>
                <a:lnTo>
                  <a:pt x="370" y="293"/>
                </a:lnTo>
                <a:lnTo>
                  <a:pt x="371" y="292"/>
                </a:lnTo>
                <a:lnTo>
                  <a:pt x="370" y="292"/>
                </a:lnTo>
                <a:lnTo>
                  <a:pt x="370" y="291"/>
                </a:lnTo>
                <a:lnTo>
                  <a:pt x="367" y="292"/>
                </a:lnTo>
                <a:lnTo>
                  <a:pt x="367" y="286"/>
                </a:lnTo>
                <a:lnTo>
                  <a:pt x="365" y="286"/>
                </a:lnTo>
                <a:lnTo>
                  <a:pt x="365" y="285"/>
                </a:lnTo>
                <a:lnTo>
                  <a:pt x="359" y="285"/>
                </a:lnTo>
                <a:lnTo>
                  <a:pt x="359" y="283"/>
                </a:lnTo>
                <a:lnTo>
                  <a:pt x="355" y="283"/>
                </a:lnTo>
                <a:lnTo>
                  <a:pt x="354" y="285"/>
                </a:lnTo>
                <a:lnTo>
                  <a:pt x="354" y="286"/>
                </a:lnTo>
                <a:lnTo>
                  <a:pt x="353" y="287"/>
                </a:lnTo>
                <a:lnTo>
                  <a:pt x="355" y="287"/>
                </a:lnTo>
                <a:lnTo>
                  <a:pt x="357" y="288"/>
                </a:lnTo>
                <a:lnTo>
                  <a:pt x="355" y="288"/>
                </a:lnTo>
                <a:lnTo>
                  <a:pt x="355" y="289"/>
                </a:lnTo>
                <a:lnTo>
                  <a:pt x="357" y="291"/>
                </a:lnTo>
                <a:lnTo>
                  <a:pt x="360" y="291"/>
                </a:lnTo>
                <a:lnTo>
                  <a:pt x="359" y="293"/>
                </a:lnTo>
                <a:lnTo>
                  <a:pt x="358" y="294"/>
                </a:lnTo>
                <a:lnTo>
                  <a:pt x="353" y="294"/>
                </a:lnTo>
                <a:lnTo>
                  <a:pt x="352" y="295"/>
                </a:lnTo>
                <a:lnTo>
                  <a:pt x="352" y="297"/>
                </a:lnTo>
                <a:lnTo>
                  <a:pt x="345" y="299"/>
                </a:lnTo>
                <a:lnTo>
                  <a:pt x="341" y="299"/>
                </a:lnTo>
                <a:lnTo>
                  <a:pt x="341" y="300"/>
                </a:lnTo>
                <a:lnTo>
                  <a:pt x="339" y="300"/>
                </a:lnTo>
                <a:lnTo>
                  <a:pt x="339" y="304"/>
                </a:lnTo>
                <a:lnTo>
                  <a:pt x="338" y="304"/>
                </a:lnTo>
                <a:lnTo>
                  <a:pt x="336" y="305"/>
                </a:lnTo>
                <a:lnTo>
                  <a:pt x="334" y="304"/>
                </a:lnTo>
                <a:lnTo>
                  <a:pt x="333" y="305"/>
                </a:lnTo>
                <a:lnTo>
                  <a:pt x="324" y="305"/>
                </a:lnTo>
                <a:lnTo>
                  <a:pt x="323" y="306"/>
                </a:lnTo>
                <a:lnTo>
                  <a:pt x="323" y="310"/>
                </a:lnTo>
                <a:lnTo>
                  <a:pt x="322" y="310"/>
                </a:lnTo>
                <a:lnTo>
                  <a:pt x="322" y="311"/>
                </a:lnTo>
                <a:lnTo>
                  <a:pt x="321" y="312"/>
                </a:lnTo>
                <a:lnTo>
                  <a:pt x="321" y="313"/>
                </a:lnTo>
                <a:lnTo>
                  <a:pt x="320" y="313"/>
                </a:lnTo>
                <a:lnTo>
                  <a:pt x="317" y="311"/>
                </a:lnTo>
                <a:lnTo>
                  <a:pt x="316" y="311"/>
                </a:lnTo>
                <a:lnTo>
                  <a:pt x="315" y="312"/>
                </a:lnTo>
                <a:lnTo>
                  <a:pt x="315" y="313"/>
                </a:lnTo>
                <a:lnTo>
                  <a:pt x="314" y="314"/>
                </a:lnTo>
                <a:lnTo>
                  <a:pt x="313" y="314"/>
                </a:lnTo>
                <a:lnTo>
                  <a:pt x="313" y="313"/>
                </a:lnTo>
                <a:lnTo>
                  <a:pt x="311" y="313"/>
                </a:lnTo>
                <a:lnTo>
                  <a:pt x="310" y="318"/>
                </a:lnTo>
                <a:lnTo>
                  <a:pt x="309" y="318"/>
                </a:lnTo>
                <a:lnTo>
                  <a:pt x="308" y="319"/>
                </a:lnTo>
                <a:lnTo>
                  <a:pt x="302" y="319"/>
                </a:lnTo>
                <a:lnTo>
                  <a:pt x="302" y="324"/>
                </a:lnTo>
                <a:lnTo>
                  <a:pt x="301" y="324"/>
                </a:lnTo>
                <a:lnTo>
                  <a:pt x="299" y="325"/>
                </a:lnTo>
                <a:lnTo>
                  <a:pt x="298" y="325"/>
                </a:lnTo>
                <a:lnTo>
                  <a:pt x="293" y="323"/>
                </a:lnTo>
                <a:lnTo>
                  <a:pt x="292" y="324"/>
                </a:lnTo>
                <a:lnTo>
                  <a:pt x="290" y="324"/>
                </a:lnTo>
                <a:lnTo>
                  <a:pt x="289" y="325"/>
                </a:lnTo>
                <a:lnTo>
                  <a:pt x="289" y="326"/>
                </a:lnTo>
                <a:lnTo>
                  <a:pt x="280" y="326"/>
                </a:lnTo>
                <a:lnTo>
                  <a:pt x="279" y="328"/>
                </a:lnTo>
                <a:lnTo>
                  <a:pt x="279" y="330"/>
                </a:lnTo>
                <a:lnTo>
                  <a:pt x="278" y="330"/>
                </a:lnTo>
                <a:lnTo>
                  <a:pt x="277" y="331"/>
                </a:lnTo>
                <a:lnTo>
                  <a:pt x="276" y="331"/>
                </a:lnTo>
                <a:lnTo>
                  <a:pt x="274" y="334"/>
                </a:lnTo>
                <a:lnTo>
                  <a:pt x="274" y="335"/>
                </a:lnTo>
                <a:lnTo>
                  <a:pt x="273" y="335"/>
                </a:lnTo>
                <a:lnTo>
                  <a:pt x="273" y="336"/>
                </a:lnTo>
                <a:lnTo>
                  <a:pt x="272" y="337"/>
                </a:lnTo>
                <a:lnTo>
                  <a:pt x="272" y="342"/>
                </a:lnTo>
                <a:lnTo>
                  <a:pt x="271" y="342"/>
                </a:lnTo>
                <a:lnTo>
                  <a:pt x="271" y="340"/>
                </a:lnTo>
                <a:lnTo>
                  <a:pt x="270" y="338"/>
                </a:lnTo>
                <a:lnTo>
                  <a:pt x="270" y="337"/>
                </a:lnTo>
                <a:lnTo>
                  <a:pt x="268" y="337"/>
                </a:lnTo>
                <a:lnTo>
                  <a:pt x="268" y="336"/>
                </a:lnTo>
                <a:lnTo>
                  <a:pt x="270" y="336"/>
                </a:lnTo>
                <a:lnTo>
                  <a:pt x="270" y="335"/>
                </a:lnTo>
                <a:lnTo>
                  <a:pt x="267" y="335"/>
                </a:lnTo>
                <a:lnTo>
                  <a:pt x="266" y="334"/>
                </a:lnTo>
                <a:lnTo>
                  <a:pt x="266" y="331"/>
                </a:lnTo>
                <a:lnTo>
                  <a:pt x="262" y="331"/>
                </a:lnTo>
                <a:lnTo>
                  <a:pt x="264" y="332"/>
                </a:lnTo>
                <a:lnTo>
                  <a:pt x="264" y="336"/>
                </a:lnTo>
                <a:lnTo>
                  <a:pt x="262" y="336"/>
                </a:lnTo>
                <a:lnTo>
                  <a:pt x="262" y="337"/>
                </a:lnTo>
                <a:lnTo>
                  <a:pt x="265" y="338"/>
                </a:lnTo>
                <a:lnTo>
                  <a:pt x="266" y="340"/>
                </a:lnTo>
                <a:lnTo>
                  <a:pt x="266" y="341"/>
                </a:lnTo>
                <a:lnTo>
                  <a:pt x="267" y="341"/>
                </a:lnTo>
                <a:lnTo>
                  <a:pt x="267" y="346"/>
                </a:lnTo>
                <a:lnTo>
                  <a:pt x="270" y="348"/>
                </a:lnTo>
                <a:lnTo>
                  <a:pt x="270" y="349"/>
                </a:lnTo>
                <a:lnTo>
                  <a:pt x="276" y="353"/>
                </a:lnTo>
                <a:lnTo>
                  <a:pt x="277" y="353"/>
                </a:lnTo>
                <a:lnTo>
                  <a:pt x="278" y="354"/>
                </a:lnTo>
                <a:lnTo>
                  <a:pt x="279" y="354"/>
                </a:lnTo>
                <a:lnTo>
                  <a:pt x="279" y="356"/>
                </a:lnTo>
                <a:lnTo>
                  <a:pt x="280" y="357"/>
                </a:lnTo>
                <a:lnTo>
                  <a:pt x="282" y="357"/>
                </a:lnTo>
                <a:lnTo>
                  <a:pt x="282" y="360"/>
                </a:lnTo>
                <a:lnTo>
                  <a:pt x="280" y="361"/>
                </a:lnTo>
                <a:lnTo>
                  <a:pt x="280" y="362"/>
                </a:lnTo>
                <a:lnTo>
                  <a:pt x="278" y="365"/>
                </a:lnTo>
                <a:lnTo>
                  <a:pt x="278" y="367"/>
                </a:lnTo>
                <a:lnTo>
                  <a:pt x="276" y="368"/>
                </a:lnTo>
                <a:lnTo>
                  <a:pt x="276" y="371"/>
                </a:lnTo>
                <a:lnTo>
                  <a:pt x="277" y="372"/>
                </a:lnTo>
                <a:lnTo>
                  <a:pt x="278" y="372"/>
                </a:lnTo>
                <a:lnTo>
                  <a:pt x="278" y="373"/>
                </a:lnTo>
                <a:lnTo>
                  <a:pt x="279" y="373"/>
                </a:lnTo>
                <a:lnTo>
                  <a:pt x="280" y="374"/>
                </a:lnTo>
                <a:lnTo>
                  <a:pt x="280" y="378"/>
                </a:lnTo>
                <a:lnTo>
                  <a:pt x="282" y="378"/>
                </a:lnTo>
                <a:lnTo>
                  <a:pt x="283" y="379"/>
                </a:lnTo>
                <a:lnTo>
                  <a:pt x="283" y="383"/>
                </a:lnTo>
                <a:lnTo>
                  <a:pt x="284" y="383"/>
                </a:lnTo>
                <a:lnTo>
                  <a:pt x="284" y="384"/>
                </a:lnTo>
                <a:lnTo>
                  <a:pt x="285" y="384"/>
                </a:lnTo>
                <a:lnTo>
                  <a:pt x="285" y="387"/>
                </a:lnTo>
                <a:lnTo>
                  <a:pt x="286" y="389"/>
                </a:lnTo>
                <a:lnTo>
                  <a:pt x="286" y="390"/>
                </a:lnTo>
                <a:lnTo>
                  <a:pt x="288" y="390"/>
                </a:lnTo>
                <a:lnTo>
                  <a:pt x="290" y="392"/>
                </a:lnTo>
                <a:lnTo>
                  <a:pt x="291" y="394"/>
                </a:lnTo>
                <a:lnTo>
                  <a:pt x="292" y="396"/>
                </a:lnTo>
                <a:lnTo>
                  <a:pt x="296" y="397"/>
                </a:lnTo>
                <a:lnTo>
                  <a:pt x="296" y="396"/>
                </a:lnTo>
                <a:lnTo>
                  <a:pt x="299" y="396"/>
                </a:lnTo>
                <a:lnTo>
                  <a:pt x="299" y="397"/>
                </a:lnTo>
                <a:lnTo>
                  <a:pt x="301" y="398"/>
                </a:lnTo>
                <a:lnTo>
                  <a:pt x="302" y="398"/>
                </a:lnTo>
                <a:lnTo>
                  <a:pt x="302" y="399"/>
                </a:lnTo>
                <a:lnTo>
                  <a:pt x="303" y="402"/>
                </a:lnTo>
                <a:lnTo>
                  <a:pt x="304" y="402"/>
                </a:lnTo>
                <a:lnTo>
                  <a:pt x="308" y="408"/>
                </a:lnTo>
                <a:lnTo>
                  <a:pt x="308" y="409"/>
                </a:lnTo>
                <a:lnTo>
                  <a:pt x="309" y="410"/>
                </a:lnTo>
                <a:lnTo>
                  <a:pt x="314" y="410"/>
                </a:lnTo>
                <a:lnTo>
                  <a:pt x="314" y="411"/>
                </a:lnTo>
                <a:lnTo>
                  <a:pt x="317" y="415"/>
                </a:lnTo>
                <a:lnTo>
                  <a:pt x="317" y="417"/>
                </a:lnTo>
                <a:lnTo>
                  <a:pt x="321" y="421"/>
                </a:lnTo>
                <a:lnTo>
                  <a:pt x="322" y="421"/>
                </a:lnTo>
                <a:lnTo>
                  <a:pt x="322" y="420"/>
                </a:lnTo>
                <a:lnTo>
                  <a:pt x="324" y="420"/>
                </a:lnTo>
                <a:lnTo>
                  <a:pt x="326" y="421"/>
                </a:lnTo>
                <a:lnTo>
                  <a:pt x="327" y="421"/>
                </a:lnTo>
                <a:lnTo>
                  <a:pt x="327" y="422"/>
                </a:lnTo>
                <a:lnTo>
                  <a:pt x="328" y="423"/>
                </a:lnTo>
                <a:lnTo>
                  <a:pt x="328" y="424"/>
                </a:lnTo>
                <a:lnTo>
                  <a:pt x="329" y="424"/>
                </a:lnTo>
                <a:lnTo>
                  <a:pt x="329" y="426"/>
                </a:lnTo>
                <a:lnTo>
                  <a:pt x="332" y="426"/>
                </a:lnTo>
                <a:lnTo>
                  <a:pt x="333" y="427"/>
                </a:lnTo>
                <a:lnTo>
                  <a:pt x="335" y="432"/>
                </a:lnTo>
                <a:lnTo>
                  <a:pt x="336" y="432"/>
                </a:lnTo>
                <a:lnTo>
                  <a:pt x="334" y="435"/>
                </a:lnTo>
                <a:lnTo>
                  <a:pt x="335" y="435"/>
                </a:lnTo>
                <a:lnTo>
                  <a:pt x="335" y="436"/>
                </a:lnTo>
                <a:lnTo>
                  <a:pt x="336" y="436"/>
                </a:lnTo>
                <a:lnTo>
                  <a:pt x="335" y="437"/>
                </a:lnTo>
                <a:lnTo>
                  <a:pt x="335" y="442"/>
                </a:lnTo>
                <a:lnTo>
                  <a:pt x="334" y="445"/>
                </a:lnTo>
                <a:lnTo>
                  <a:pt x="333" y="445"/>
                </a:lnTo>
                <a:lnTo>
                  <a:pt x="332" y="446"/>
                </a:lnTo>
                <a:lnTo>
                  <a:pt x="332" y="447"/>
                </a:lnTo>
                <a:lnTo>
                  <a:pt x="329" y="447"/>
                </a:lnTo>
                <a:lnTo>
                  <a:pt x="329" y="446"/>
                </a:lnTo>
                <a:lnTo>
                  <a:pt x="328" y="446"/>
                </a:lnTo>
                <a:lnTo>
                  <a:pt x="328" y="445"/>
                </a:lnTo>
                <a:lnTo>
                  <a:pt x="323" y="443"/>
                </a:lnTo>
                <a:lnTo>
                  <a:pt x="322" y="443"/>
                </a:lnTo>
                <a:lnTo>
                  <a:pt x="321" y="445"/>
                </a:lnTo>
                <a:lnTo>
                  <a:pt x="320" y="445"/>
                </a:lnTo>
                <a:lnTo>
                  <a:pt x="320" y="447"/>
                </a:lnTo>
                <a:lnTo>
                  <a:pt x="321" y="447"/>
                </a:lnTo>
                <a:lnTo>
                  <a:pt x="321" y="448"/>
                </a:lnTo>
                <a:lnTo>
                  <a:pt x="320" y="449"/>
                </a:lnTo>
                <a:lnTo>
                  <a:pt x="320" y="455"/>
                </a:lnTo>
                <a:lnTo>
                  <a:pt x="315" y="460"/>
                </a:lnTo>
                <a:lnTo>
                  <a:pt x="313" y="461"/>
                </a:lnTo>
                <a:lnTo>
                  <a:pt x="307" y="463"/>
                </a:lnTo>
                <a:lnTo>
                  <a:pt x="303" y="464"/>
                </a:lnTo>
                <a:lnTo>
                  <a:pt x="299" y="467"/>
                </a:lnTo>
                <a:lnTo>
                  <a:pt x="298" y="467"/>
                </a:lnTo>
                <a:lnTo>
                  <a:pt x="296" y="469"/>
                </a:lnTo>
                <a:lnTo>
                  <a:pt x="295" y="469"/>
                </a:lnTo>
                <a:lnTo>
                  <a:pt x="295" y="470"/>
                </a:lnTo>
                <a:lnTo>
                  <a:pt x="291" y="473"/>
                </a:lnTo>
                <a:lnTo>
                  <a:pt x="290" y="473"/>
                </a:lnTo>
                <a:lnTo>
                  <a:pt x="290" y="475"/>
                </a:lnTo>
                <a:lnTo>
                  <a:pt x="291" y="476"/>
                </a:lnTo>
                <a:lnTo>
                  <a:pt x="291" y="477"/>
                </a:lnTo>
                <a:lnTo>
                  <a:pt x="295" y="479"/>
                </a:lnTo>
                <a:lnTo>
                  <a:pt x="295" y="483"/>
                </a:lnTo>
                <a:lnTo>
                  <a:pt x="296" y="483"/>
                </a:lnTo>
                <a:lnTo>
                  <a:pt x="298" y="485"/>
                </a:lnTo>
                <a:lnTo>
                  <a:pt x="299" y="489"/>
                </a:lnTo>
                <a:lnTo>
                  <a:pt x="301" y="490"/>
                </a:lnTo>
                <a:lnTo>
                  <a:pt x="298" y="495"/>
                </a:lnTo>
                <a:lnTo>
                  <a:pt x="298" y="496"/>
                </a:lnTo>
                <a:lnTo>
                  <a:pt x="297" y="497"/>
                </a:lnTo>
                <a:lnTo>
                  <a:pt x="297" y="498"/>
                </a:lnTo>
                <a:lnTo>
                  <a:pt x="299" y="500"/>
                </a:lnTo>
                <a:lnTo>
                  <a:pt x="301" y="500"/>
                </a:lnTo>
                <a:lnTo>
                  <a:pt x="302" y="498"/>
                </a:lnTo>
                <a:lnTo>
                  <a:pt x="304" y="501"/>
                </a:lnTo>
                <a:lnTo>
                  <a:pt x="304" y="506"/>
                </a:lnTo>
                <a:lnTo>
                  <a:pt x="303" y="507"/>
                </a:lnTo>
                <a:lnTo>
                  <a:pt x="303" y="513"/>
                </a:lnTo>
                <a:lnTo>
                  <a:pt x="302" y="514"/>
                </a:lnTo>
                <a:lnTo>
                  <a:pt x="298" y="514"/>
                </a:lnTo>
                <a:lnTo>
                  <a:pt x="296" y="513"/>
                </a:lnTo>
                <a:lnTo>
                  <a:pt x="295" y="510"/>
                </a:lnTo>
                <a:lnTo>
                  <a:pt x="295" y="509"/>
                </a:lnTo>
                <a:lnTo>
                  <a:pt x="292" y="509"/>
                </a:lnTo>
                <a:lnTo>
                  <a:pt x="292" y="506"/>
                </a:lnTo>
                <a:lnTo>
                  <a:pt x="293" y="506"/>
                </a:lnTo>
                <a:lnTo>
                  <a:pt x="291" y="503"/>
                </a:lnTo>
                <a:lnTo>
                  <a:pt x="291" y="502"/>
                </a:lnTo>
                <a:lnTo>
                  <a:pt x="289" y="501"/>
                </a:lnTo>
                <a:lnTo>
                  <a:pt x="286" y="501"/>
                </a:lnTo>
                <a:lnTo>
                  <a:pt x="285" y="502"/>
                </a:lnTo>
                <a:lnTo>
                  <a:pt x="284" y="502"/>
                </a:lnTo>
                <a:lnTo>
                  <a:pt x="282" y="504"/>
                </a:lnTo>
                <a:lnTo>
                  <a:pt x="280" y="504"/>
                </a:lnTo>
                <a:lnTo>
                  <a:pt x="279" y="503"/>
                </a:lnTo>
                <a:lnTo>
                  <a:pt x="278" y="503"/>
                </a:lnTo>
                <a:lnTo>
                  <a:pt x="278" y="502"/>
                </a:lnTo>
                <a:lnTo>
                  <a:pt x="277" y="501"/>
                </a:lnTo>
                <a:lnTo>
                  <a:pt x="277" y="500"/>
                </a:lnTo>
                <a:lnTo>
                  <a:pt x="274" y="501"/>
                </a:lnTo>
                <a:lnTo>
                  <a:pt x="272" y="500"/>
                </a:lnTo>
                <a:lnTo>
                  <a:pt x="271" y="501"/>
                </a:lnTo>
                <a:lnTo>
                  <a:pt x="268" y="501"/>
                </a:lnTo>
                <a:lnTo>
                  <a:pt x="268" y="498"/>
                </a:lnTo>
                <a:lnTo>
                  <a:pt x="270" y="498"/>
                </a:lnTo>
                <a:lnTo>
                  <a:pt x="270" y="497"/>
                </a:lnTo>
                <a:lnTo>
                  <a:pt x="268" y="498"/>
                </a:lnTo>
                <a:lnTo>
                  <a:pt x="267" y="498"/>
                </a:lnTo>
                <a:lnTo>
                  <a:pt x="267" y="501"/>
                </a:lnTo>
                <a:lnTo>
                  <a:pt x="268" y="501"/>
                </a:lnTo>
                <a:lnTo>
                  <a:pt x="268" y="503"/>
                </a:lnTo>
                <a:lnTo>
                  <a:pt x="266" y="506"/>
                </a:lnTo>
                <a:lnTo>
                  <a:pt x="253" y="506"/>
                </a:lnTo>
                <a:lnTo>
                  <a:pt x="252" y="507"/>
                </a:lnTo>
                <a:lnTo>
                  <a:pt x="243" y="507"/>
                </a:lnTo>
                <a:lnTo>
                  <a:pt x="242" y="508"/>
                </a:lnTo>
                <a:lnTo>
                  <a:pt x="241" y="508"/>
                </a:lnTo>
                <a:lnTo>
                  <a:pt x="241" y="510"/>
                </a:lnTo>
                <a:lnTo>
                  <a:pt x="240" y="512"/>
                </a:lnTo>
                <a:lnTo>
                  <a:pt x="234" y="512"/>
                </a:lnTo>
                <a:lnTo>
                  <a:pt x="233" y="514"/>
                </a:lnTo>
                <a:lnTo>
                  <a:pt x="234" y="514"/>
                </a:lnTo>
                <a:lnTo>
                  <a:pt x="234" y="515"/>
                </a:lnTo>
                <a:lnTo>
                  <a:pt x="233" y="515"/>
                </a:lnTo>
                <a:lnTo>
                  <a:pt x="233" y="516"/>
                </a:lnTo>
                <a:lnTo>
                  <a:pt x="229" y="516"/>
                </a:lnTo>
                <a:lnTo>
                  <a:pt x="229" y="518"/>
                </a:lnTo>
                <a:lnTo>
                  <a:pt x="228" y="519"/>
                </a:lnTo>
                <a:lnTo>
                  <a:pt x="226" y="519"/>
                </a:lnTo>
                <a:lnTo>
                  <a:pt x="226" y="516"/>
                </a:lnTo>
                <a:lnTo>
                  <a:pt x="224" y="516"/>
                </a:lnTo>
                <a:lnTo>
                  <a:pt x="222" y="519"/>
                </a:lnTo>
                <a:lnTo>
                  <a:pt x="216" y="519"/>
                </a:lnTo>
                <a:lnTo>
                  <a:pt x="215" y="518"/>
                </a:lnTo>
                <a:lnTo>
                  <a:pt x="216" y="518"/>
                </a:lnTo>
                <a:lnTo>
                  <a:pt x="216" y="516"/>
                </a:lnTo>
                <a:lnTo>
                  <a:pt x="215" y="516"/>
                </a:lnTo>
                <a:lnTo>
                  <a:pt x="214" y="514"/>
                </a:lnTo>
                <a:lnTo>
                  <a:pt x="211" y="513"/>
                </a:lnTo>
                <a:lnTo>
                  <a:pt x="212" y="512"/>
                </a:lnTo>
                <a:lnTo>
                  <a:pt x="211" y="510"/>
                </a:lnTo>
                <a:lnTo>
                  <a:pt x="210" y="510"/>
                </a:lnTo>
                <a:lnTo>
                  <a:pt x="208" y="512"/>
                </a:lnTo>
                <a:lnTo>
                  <a:pt x="206" y="512"/>
                </a:lnTo>
                <a:lnTo>
                  <a:pt x="206" y="510"/>
                </a:lnTo>
                <a:lnTo>
                  <a:pt x="201" y="508"/>
                </a:lnTo>
                <a:lnTo>
                  <a:pt x="199" y="508"/>
                </a:lnTo>
                <a:lnTo>
                  <a:pt x="199" y="509"/>
                </a:lnTo>
                <a:lnTo>
                  <a:pt x="198" y="510"/>
                </a:lnTo>
                <a:lnTo>
                  <a:pt x="196" y="510"/>
                </a:lnTo>
                <a:lnTo>
                  <a:pt x="195" y="509"/>
                </a:lnTo>
                <a:lnTo>
                  <a:pt x="193" y="509"/>
                </a:lnTo>
                <a:lnTo>
                  <a:pt x="195" y="508"/>
                </a:lnTo>
                <a:lnTo>
                  <a:pt x="195" y="507"/>
                </a:lnTo>
                <a:lnTo>
                  <a:pt x="193" y="507"/>
                </a:lnTo>
                <a:lnTo>
                  <a:pt x="192" y="508"/>
                </a:lnTo>
                <a:lnTo>
                  <a:pt x="192" y="509"/>
                </a:lnTo>
                <a:lnTo>
                  <a:pt x="193" y="509"/>
                </a:lnTo>
                <a:lnTo>
                  <a:pt x="193" y="510"/>
                </a:lnTo>
                <a:lnTo>
                  <a:pt x="192" y="513"/>
                </a:lnTo>
                <a:lnTo>
                  <a:pt x="193" y="513"/>
                </a:lnTo>
                <a:lnTo>
                  <a:pt x="193" y="519"/>
                </a:lnTo>
                <a:lnTo>
                  <a:pt x="192" y="520"/>
                </a:lnTo>
                <a:lnTo>
                  <a:pt x="191" y="520"/>
                </a:lnTo>
                <a:lnTo>
                  <a:pt x="190" y="521"/>
                </a:lnTo>
                <a:lnTo>
                  <a:pt x="190" y="522"/>
                </a:lnTo>
                <a:lnTo>
                  <a:pt x="186" y="526"/>
                </a:lnTo>
                <a:lnTo>
                  <a:pt x="181" y="526"/>
                </a:lnTo>
                <a:lnTo>
                  <a:pt x="181" y="525"/>
                </a:lnTo>
                <a:lnTo>
                  <a:pt x="183" y="525"/>
                </a:lnTo>
                <a:lnTo>
                  <a:pt x="183" y="523"/>
                </a:lnTo>
                <a:lnTo>
                  <a:pt x="184" y="521"/>
                </a:lnTo>
                <a:lnTo>
                  <a:pt x="184" y="520"/>
                </a:lnTo>
                <a:lnTo>
                  <a:pt x="179" y="520"/>
                </a:lnTo>
                <a:lnTo>
                  <a:pt x="179" y="521"/>
                </a:lnTo>
                <a:lnTo>
                  <a:pt x="178" y="521"/>
                </a:lnTo>
                <a:lnTo>
                  <a:pt x="178" y="519"/>
                </a:lnTo>
                <a:lnTo>
                  <a:pt x="177" y="518"/>
                </a:lnTo>
                <a:lnTo>
                  <a:pt x="178" y="518"/>
                </a:lnTo>
                <a:lnTo>
                  <a:pt x="178" y="516"/>
                </a:lnTo>
                <a:lnTo>
                  <a:pt x="175" y="513"/>
                </a:lnTo>
                <a:lnTo>
                  <a:pt x="175" y="514"/>
                </a:lnTo>
                <a:lnTo>
                  <a:pt x="174" y="514"/>
                </a:lnTo>
                <a:lnTo>
                  <a:pt x="174" y="513"/>
                </a:lnTo>
                <a:lnTo>
                  <a:pt x="173" y="512"/>
                </a:lnTo>
                <a:lnTo>
                  <a:pt x="173" y="509"/>
                </a:lnTo>
                <a:lnTo>
                  <a:pt x="172" y="510"/>
                </a:lnTo>
                <a:lnTo>
                  <a:pt x="171" y="510"/>
                </a:lnTo>
                <a:lnTo>
                  <a:pt x="168" y="509"/>
                </a:lnTo>
                <a:lnTo>
                  <a:pt x="168" y="510"/>
                </a:lnTo>
                <a:lnTo>
                  <a:pt x="167" y="509"/>
                </a:lnTo>
                <a:lnTo>
                  <a:pt x="167" y="507"/>
                </a:lnTo>
                <a:lnTo>
                  <a:pt x="165" y="507"/>
                </a:lnTo>
                <a:lnTo>
                  <a:pt x="162" y="509"/>
                </a:lnTo>
                <a:lnTo>
                  <a:pt x="162" y="510"/>
                </a:lnTo>
                <a:lnTo>
                  <a:pt x="155" y="510"/>
                </a:lnTo>
                <a:lnTo>
                  <a:pt x="145" y="503"/>
                </a:lnTo>
                <a:lnTo>
                  <a:pt x="142" y="502"/>
                </a:lnTo>
                <a:lnTo>
                  <a:pt x="139" y="502"/>
                </a:lnTo>
                <a:lnTo>
                  <a:pt x="134" y="501"/>
                </a:lnTo>
                <a:lnTo>
                  <a:pt x="133" y="501"/>
                </a:lnTo>
                <a:lnTo>
                  <a:pt x="131" y="502"/>
                </a:lnTo>
                <a:lnTo>
                  <a:pt x="128" y="502"/>
                </a:lnTo>
                <a:lnTo>
                  <a:pt x="127" y="501"/>
                </a:lnTo>
                <a:lnTo>
                  <a:pt x="125" y="501"/>
                </a:lnTo>
                <a:lnTo>
                  <a:pt x="127" y="500"/>
                </a:lnTo>
                <a:lnTo>
                  <a:pt x="125" y="500"/>
                </a:lnTo>
                <a:lnTo>
                  <a:pt x="124" y="498"/>
                </a:lnTo>
                <a:lnTo>
                  <a:pt x="123" y="498"/>
                </a:lnTo>
                <a:lnTo>
                  <a:pt x="123" y="500"/>
                </a:lnTo>
                <a:lnTo>
                  <a:pt x="121" y="500"/>
                </a:lnTo>
                <a:lnTo>
                  <a:pt x="121" y="498"/>
                </a:lnTo>
                <a:lnTo>
                  <a:pt x="119" y="498"/>
                </a:lnTo>
                <a:lnTo>
                  <a:pt x="121" y="497"/>
                </a:lnTo>
                <a:lnTo>
                  <a:pt x="121" y="496"/>
                </a:lnTo>
                <a:lnTo>
                  <a:pt x="119" y="496"/>
                </a:lnTo>
                <a:lnTo>
                  <a:pt x="119" y="495"/>
                </a:lnTo>
                <a:lnTo>
                  <a:pt x="118" y="495"/>
                </a:lnTo>
                <a:lnTo>
                  <a:pt x="118" y="494"/>
                </a:lnTo>
                <a:lnTo>
                  <a:pt x="117" y="494"/>
                </a:lnTo>
                <a:lnTo>
                  <a:pt x="117" y="496"/>
                </a:lnTo>
                <a:lnTo>
                  <a:pt x="116" y="496"/>
                </a:lnTo>
                <a:lnTo>
                  <a:pt x="116" y="494"/>
                </a:lnTo>
                <a:lnTo>
                  <a:pt x="114" y="494"/>
                </a:lnTo>
                <a:lnTo>
                  <a:pt x="114" y="495"/>
                </a:lnTo>
                <a:lnTo>
                  <a:pt x="110" y="495"/>
                </a:lnTo>
                <a:lnTo>
                  <a:pt x="110" y="496"/>
                </a:lnTo>
                <a:lnTo>
                  <a:pt x="109" y="497"/>
                </a:lnTo>
                <a:lnTo>
                  <a:pt x="109" y="498"/>
                </a:lnTo>
                <a:lnTo>
                  <a:pt x="108" y="500"/>
                </a:lnTo>
                <a:lnTo>
                  <a:pt x="106" y="500"/>
                </a:lnTo>
                <a:lnTo>
                  <a:pt x="108" y="501"/>
                </a:lnTo>
                <a:lnTo>
                  <a:pt x="108" y="502"/>
                </a:lnTo>
                <a:lnTo>
                  <a:pt x="109" y="503"/>
                </a:lnTo>
                <a:lnTo>
                  <a:pt x="111" y="503"/>
                </a:lnTo>
                <a:lnTo>
                  <a:pt x="112" y="502"/>
                </a:lnTo>
                <a:lnTo>
                  <a:pt x="116" y="502"/>
                </a:lnTo>
                <a:lnTo>
                  <a:pt x="116" y="503"/>
                </a:lnTo>
                <a:lnTo>
                  <a:pt x="115" y="503"/>
                </a:lnTo>
                <a:lnTo>
                  <a:pt x="115" y="507"/>
                </a:lnTo>
                <a:lnTo>
                  <a:pt x="112" y="504"/>
                </a:lnTo>
                <a:lnTo>
                  <a:pt x="111" y="504"/>
                </a:lnTo>
                <a:lnTo>
                  <a:pt x="110" y="506"/>
                </a:lnTo>
                <a:lnTo>
                  <a:pt x="110" y="507"/>
                </a:lnTo>
                <a:lnTo>
                  <a:pt x="103" y="507"/>
                </a:lnTo>
                <a:lnTo>
                  <a:pt x="103" y="504"/>
                </a:lnTo>
                <a:lnTo>
                  <a:pt x="98" y="504"/>
                </a:lnTo>
                <a:lnTo>
                  <a:pt x="98" y="506"/>
                </a:lnTo>
                <a:lnTo>
                  <a:pt x="97" y="506"/>
                </a:lnTo>
                <a:lnTo>
                  <a:pt x="96" y="507"/>
                </a:lnTo>
                <a:lnTo>
                  <a:pt x="94" y="507"/>
                </a:lnTo>
                <a:lnTo>
                  <a:pt x="94" y="508"/>
                </a:lnTo>
                <a:lnTo>
                  <a:pt x="86" y="508"/>
                </a:lnTo>
                <a:lnTo>
                  <a:pt x="86" y="507"/>
                </a:lnTo>
                <a:lnTo>
                  <a:pt x="84" y="507"/>
                </a:lnTo>
                <a:lnTo>
                  <a:pt x="83" y="506"/>
                </a:lnTo>
                <a:lnTo>
                  <a:pt x="83" y="507"/>
                </a:lnTo>
                <a:lnTo>
                  <a:pt x="80" y="509"/>
                </a:lnTo>
                <a:lnTo>
                  <a:pt x="75" y="509"/>
                </a:lnTo>
                <a:lnTo>
                  <a:pt x="74" y="508"/>
                </a:lnTo>
                <a:lnTo>
                  <a:pt x="75" y="508"/>
                </a:lnTo>
                <a:lnTo>
                  <a:pt x="77" y="506"/>
                </a:lnTo>
                <a:lnTo>
                  <a:pt x="75" y="506"/>
                </a:lnTo>
                <a:lnTo>
                  <a:pt x="73" y="507"/>
                </a:lnTo>
                <a:lnTo>
                  <a:pt x="73" y="504"/>
                </a:lnTo>
                <a:lnTo>
                  <a:pt x="72" y="502"/>
                </a:lnTo>
                <a:lnTo>
                  <a:pt x="71" y="502"/>
                </a:lnTo>
                <a:lnTo>
                  <a:pt x="71" y="501"/>
                </a:lnTo>
                <a:lnTo>
                  <a:pt x="69" y="501"/>
                </a:lnTo>
                <a:lnTo>
                  <a:pt x="69" y="498"/>
                </a:lnTo>
                <a:lnTo>
                  <a:pt x="71" y="498"/>
                </a:lnTo>
                <a:lnTo>
                  <a:pt x="71" y="491"/>
                </a:lnTo>
                <a:lnTo>
                  <a:pt x="72" y="491"/>
                </a:lnTo>
                <a:lnTo>
                  <a:pt x="72" y="488"/>
                </a:lnTo>
                <a:lnTo>
                  <a:pt x="73" y="488"/>
                </a:lnTo>
                <a:lnTo>
                  <a:pt x="73" y="484"/>
                </a:lnTo>
                <a:lnTo>
                  <a:pt x="74" y="483"/>
                </a:lnTo>
                <a:lnTo>
                  <a:pt x="74" y="480"/>
                </a:lnTo>
                <a:lnTo>
                  <a:pt x="73" y="477"/>
                </a:lnTo>
                <a:lnTo>
                  <a:pt x="73" y="472"/>
                </a:lnTo>
                <a:lnTo>
                  <a:pt x="74" y="471"/>
                </a:lnTo>
                <a:lnTo>
                  <a:pt x="74" y="470"/>
                </a:lnTo>
                <a:lnTo>
                  <a:pt x="77" y="466"/>
                </a:lnTo>
                <a:lnTo>
                  <a:pt x="78" y="465"/>
                </a:lnTo>
                <a:lnTo>
                  <a:pt x="78" y="461"/>
                </a:lnTo>
                <a:lnTo>
                  <a:pt x="80" y="459"/>
                </a:lnTo>
                <a:lnTo>
                  <a:pt x="80" y="458"/>
                </a:lnTo>
                <a:lnTo>
                  <a:pt x="79" y="457"/>
                </a:lnTo>
                <a:lnTo>
                  <a:pt x="79" y="455"/>
                </a:lnTo>
                <a:lnTo>
                  <a:pt x="80" y="453"/>
                </a:lnTo>
                <a:lnTo>
                  <a:pt x="80" y="451"/>
                </a:lnTo>
                <a:lnTo>
                  <a:pt x="81" y="449"/>
                </a:lnTo>
                <a:lnTo>
                  <a:pt x="81" y="448"/>
                </a:lnTo>
                <a:lnTo>
                  <a:pt x="83" y="448"/>
                </a:lnTo>
                <a:lnTo>
                  <a:pt x="83" y="442"/>
                </a:lnTo>
                <a:lnTo>
                  <a:pt x="84" y="439"/>
                </a:lnTo>
                <a:lnTo>
                  <a:pt x="85" y="439"/>
                </a:lnTo>
                <a:lnTo>
                  <a:pt x="88" y="435"/>
                </a:lnTo>
                <a:lnTo>
                  <a:pt x="88" y="433"/>
                </a:lnTo>
                <a:lnTo>
                  <a:pt x="91" y="433"/>
                </a:lnTo>
                <a:lnTo>
                  <a:pt x="92" y="432"/>
                </a:lnTo>
                <a:lnTo>
                  <a:pt x="92" y="430"/>
                </a:lnTo>
                <a:lnTo>
                  <a:pt x="94" y="429"/>
                </a:lnTo>
                <a:lnTo>
                  <a:pt x="97" y="423"/>
                </a:lnTo>
                <a:lnTo>
                  <a:pt x="98" y="421"/>
                </a:lnTo>
                <a:lnTo>
                  <a:pt x="99" y="420"/>
                </a:lnTo>
                <a:lnTo>
                  <a:pt x="98" y="420"/>
                </a:lnTo>
                <a:lnTo>
                  <a:pt x="94" y="418"/>
                </a:lnTo>
                <a:lnTo>
                  <a:pt x="87" y="415"/>
                </a:lnTo>
                <a:lnTo>
                  <a:pt x="85" y="415"/>
                </a:lnTo>
                <a:lnTo>
                  <a:pt x="81" y="414"/>
                </a:lnTo>
                <a:lnTo>
                  <a:pt x="80" y="414"/>
                </a:lnTo>
                <a:lnTo>
                  <a:pt x="79" y="415"/>
                </a:lnTo>
                <a:lnTo>
                  <a:pt x="74" y="415"/>
                </a:lnTo>
                <a:lnTo>
                  <a:pt x="74" y="414"/>
                </a:lnTo>
                <a:lnTo>
                  <a:pt x="73" y="412"/>
                </a:lnTo>
                <a:lnTo>
                  <a:pt x="71" y="412"/>
                </a:lnTo>
                <a:lnTo>
                  <a:pt x="71" y="411"/>
                </a:lnTo>
                <a:lnTo>
                  <a:pt x="69" y="411"/>
                </a:lnTo>
                <a:lnTo>
                  <a:pt x="68" y="410"/>
                </a:lnTo>
                <a:lnTo>
                  <a:pt x="68" y="408"/>
                </a:lnTo>
                <a:lnTo>
                  <a:pt x="67" y="408"/>
                </a:lnTo>
                <a:lnTo>
                  <a:pt x="66" y="406"/>
                </a:lnTo>
                <a:lnTo>
                  <a:pt x="63" y="406"/>
                </a:lnTo>
                <a:lnTo>
                  <a:pt x="63" y="408"/>
                </a:lnTo>
                <a:lnTo>
                  <a:pt x="62" y="408"/>
                </a:lnTo>
                <a:lnTo>
                  <a:pt x="62" y="409"/>
                </a:lnTo>
                <a:lnTo>
                  <a:pt x="61" y="409"/>
                </a:lnTo>
                <a:lnTo>
                  <a:pt x="60" y="410"/>
                </a:lnTo>
                <a:lnTo>
                  <a:pt x="54" y="410"/>
                </a:lnTo>
                <a:lnTo>
                  <a:pt x="54" y="409"/>
                </a:lnTo>
                <a:lnTo>
                  <a:pt x="52" y="408"/>
                </a:lnTo>
                <a:lnTo>
                  <a:pt x="52" y="409"/>
                </a:lnTo>
                <a:lnTo>
                  <a:pt x="50" y="410"/>
                </a:lnTo>
                <a:lnTo>
                  <a:pt x="49" y="410"/>
                </a:lnTo>
                <a:lnTo>
                  <a:pt x="49" y="405"/>
                </a:lnTo>
                <a:lnTo>
                  <a:pt x="48" y="405"/>
                </a:lnTo>
                <a:lnTo>
                  <a:pt x="46" y="404"/>
                </a:lnTo>
                <a:lnTo>
                  <a:pt x="41" y="404"/>
                </a:lnTo>
                <a:lnTo>
                  <a:pt x="41" y="405"/>
                </a:lnTo>
                <a:lnTo>
                  <a:pt x="42" y="406"/>
                </a:lnTo>
                <a:lnTo>
                  <a:pt x="41" y="408"/>
                </a:lnTo>
                <a:lnTo>
                  <a:pt x="37" y="408"/>
                </a:lnTo>
                <a:lnTo>
                  <a:pt x="36" y="406"/>
                </a:lnTo>
                <a:lnTo>
                  <a:pt x="36" y="403"/>
                </a:lnTo>
                <a:lnTo>
                  <a:pt x="35" y="404"/>
                </a:lnTo>
                <a:lnTo>
                  <a:pt x="35" y="403"/>
                </a:lnTo>
                <a:lnTo>
                  <a:pt x="34" y="402"/>
                </a:lnTo>
                <a:lnTo>
                  <a:pt x="34" y="399"/>
                </a:lnTo>
                <a:lnTo>
                  <a:pt x="30" y="397"/>
                </a:lnTo>
                <a:lnTo>
                  <a:pt x="30" y="396"/>
                </a:lnTo>
                <a:lnTo>
                  <a:pt x="29" y="396"/>
                </a:lnTo>
                <a:lnTo>
                  <a:pt x="30" y="394"/>
                </a:lnTo>
                <a:lnTo>
                  <a:pt x="30" y="393"/>
                </a:lnTo>
                <a:lnTo>
                  <a:pt x="28" y="392"/>
                </a:lnTo>
                <a:lnTo>
                  <a:pt x="28" y="390"/>
                </a:lnTo>
                <a:lnTo>
                  <a:pt x="27" y="389"/>
                </a:lnTo>
                <a:lnTo>
                  <a:pt x="23" y="387"/>
                </a:lnTo>
                <a:lnTo>
                  <a:pt x="21" y="387"/>
                </a:lnTo>
                <a:lnTo>
                  <a:pt x="21" y="380"/>
                </a:lnTo>
                <a:lnTo>
                  <a:pt x="23" y="378"/>
                </a:lnTo>
                <a:lnTo>
                  <a:pt x="23" y="377"/>
                </a:lnTo>
                <a:lnTo>
                  <a:pt x="24" y="377"/>
                </a:lnTo>
                <a:lnTo>
                  <a:pt x="24" y="375"/>
                </a:lnTo>
                <a:lnTo>
                  <a:pt x="23" y="375"/>
                </a:lnTo>
                <a:lnTo>
                  <a:pt x="23" y="374"/>
                </a:lnTo>
                <a:lnTo>
                  <a:pt x="24" y="374"/>
                </a:lnTo>
                <a:lnTo>
                  <a:pt x="27" y="372"/>
                </a:lnTo>
                <a:lnTo>
                  <a:pt x="27" y="368"/>
                </a:lnTo>
                <a:lnTo>
                  <a:pt x="28" y="366"/>
                </a:lnTo>
                <a:lnTo>
                  <a:pt x="27" y="366"/>
                </a:lnTo>
                <a:lnTo>
                  <a:pt x="25" y="365"/>
                </a:lnTo>
                <a:lnTo>
                  <a:pt x="22" y="365"/>
                </a:lnTo>
                <a:lnTo>
                  <a:pt x="21" y="363"/>
                </a:lnTo>
                <a:lnTo>
                  <a:pt x="21" y="362"/>
                </a:lnTo>
                <a:lnTo>
                  <a:pt x="18" y="362"/>
                </a:lnTo>
                <a:lnTo>
                  <a:pt x="18" y="361"/>
                </a:lnTo>
                <a:lnTo>
                  <a:pt x="17" y="361"/>
                </a:lnTo>
                <a:lnTo>
                  <a:pt x="16" y="360"/>
                </a:lnTo>
                <a:lnTo>
                  <a:pt x="15" y="356"/>
                </a:lnTo>
                <a:lnTo>
                  <a:pt x="13" y="355"/>
                </a:lnTo>
                <a:lnTo>
                  <a:pt x="13" y="356"/>
                </a:lnTo>
                <a:lnTo>
                  <a:pt x="12" y="355"/>
                </a:lnTo>
                <a:lnTo>
                  <a:pt x="12" y="354"/>
                </a:lnTo>
                <a:lnTo>
                  <a:pt x="11" y="353"/>
                </a:lnTo>
                <a:lnTo>
                  <a:pt x="11" y="349"/>
                </a:lnTo>
                <a:lnTo>
                  <a:pt x="10" y="349"/>
                </a:lnTo>
                <a:lnTo>
                  <a:pt x="11" y="348"/>
                </a:lnTo>
                <a:lnTo>
                  <a:pt x="10" y="348"/>
                </a:lnTo>
                <a:lnTo>
                  <a:pt x="11" y="346"/>
                </a:lnTo>
                <a:lnTo>
                  <a:pt x="11" y="341"/>
                </a:lnTo>
                <a:lnTo>
                  <a:pt x="13" y="341"/>
                </a:lnTo>
                <a:lnTo>
                  <a:pt x="13" y="338"/>
                </a:lnTo>
                <a:lnTo>
                  <a:pt x="12" y="338"/>
                </a:lnTo>
                <a:lnTo>
                  <a:pt x="12" y="337"/>
                </a:lnTo>
                <a:lnTo>
                  <a:pt x="13" y="337"/>
                </a:lnTo>
                <a:lnTo>
                  <a:pt x="15" y="336"/>
                </a:lnTo>
                <a:lnTo>
                  <a:pt x="17" y="335"/>
                </a:lnTo>
                <a:lnTo>
                  <a:pt x="17" y="334"/>
                </a:lnTo>
                <a:lnTo>
                  <a:pt x="18" y="332"/>
                </a:lnTo>
                <a:lnTo>
                  <a:pt x="22" y="332"/>
                </a:lnTo>
                <a:lnTo>
                  <a:pt x="22" y="330"/>
                </a:lnTo>
                <a:lnTo>
                  <a:pt x="21" y="328"/>
                </a:lnTo>
                <a:lnTo>
                  <a:pt x="21" y="323"/>
                </a:lnTo>
                <a:lnTo>
                  <a:pt x="19" y="322"/>
                </a:lnTo>
                <a:lnTo>
                  <a:pt x="19" y="320"/>
                </a:lnTo>
                <a:lnTo>
                  <a:pt x="18" y="320"/>
                </a:lnTo>
                <a:lnTo>
                  <a:pt x="17" y="319"/>
                </a:lnTo>
                <a:lnTo>
                  <a:pt x="16" y="320"/>
                </a:lnTo>
                <a:lnTo>
                  <a:pt x="15" y="320"/>
                </a:lnTo>
                <a:lnTo>
                  <a:pt x="15" y="319"/>
                </a:lnTo>
                <a:lnTo>
                  <a:pt x="13" y="319"/>
                </a:lnTo>
                <a:lnTo>
                  <a:pt x="15" y="318"/>
                </a:lnTo>
                <a:lnTo>
                  <a:pt x="13" y="318"/>
                </a:lnTo>
                <a:lnTo>
                  <a:pt x="13" y="316"/>
                </a:lnTo>
                <a:lnTo>
                  <a:pt x="17" y="312"/>
                </a:lnTo>
                <a:lnTo>
                  <a:pt x="13" y="312"/>
                </a:lnTo>
                <a:lnTo>
                  <a:pt x="13" y="311"/>
                </a:lnTo>
                <a:lnTo>
                  <a:pt x="12" y="310"/>
                </a:lnTo>
                <a:lnTo>
                  <a:pt x="13" y="310"/>
                </a:lnTo>
                <a:lnTo>
                  <a:pt x="10" y="306"/>
                </a:lnTo>
                <a:lnTo>
                  <a:pt x="10" y="305"/>
                </a:lnTo>
                <a:lnTo>
                  <a:pt x="6" y="305"/>
                </a:lnTo>
                <a:lnTo>
                  <a:pt x="6" y="301"/>
                </a:lnTo>
                <a:lnTo>
                  <a:pt x="5" y="301"/>
                </a:lnTo>
                <a:lnTo>
                  <a:pt x="5" y="300"/>
                </a:lnTo>
                <a:lnTo>
                  <a:pt x="6" y="299"/>
                </a:lnTo>
                <a:lnTo>
                  <a:pt x="6" y="297"/>
                </a:lnTo>
                <a:lnTo>
                  <a:pt x="7" y="297"/>
                </a:lnTo>
                <a:lnTo>
                  <a:pt x="9" y="295"/>
                </a:lnTo>
                <a:lnTo>
                  <a:pt x="9" y="292"/>
                </a:lnTo>
                <a:lnTo>
                  <a:pt x="7" y="292"/>
                </a:lnTo>
                <a:lnTo>
                  <a:pt x="6" y="291"/>
                </a:lnTo>
                <a:lnTo>
                  <a:pt x="6" y="288"/>
                </a:lnTo>
                <a:lnTo>
                  <a:pt x="5" y="288"/>
                </a:lnTo>
                <a:lnTo>
                  <a:pt x="4" y="287"/>
                </a:lnTo>
                <a:lnTo>
                  <a:pt x="3" y="287"/>
                </a:lnTo>
                <a:lnTo>
                  <a:pt x="1" y="288"/>
                </a:lnTo>
                <a:lnTo>
                  <a:pt x="0" y="288"/>
                </a:lnTo>
                <a:lnTo>
                  <a:pt x="0" y="283"/>
                </a:lnTo>
                <a:lnTo>
                  <a:pt x="1" y="282"/>
                </a:lnTo>
                <a:lnTo>
                  <a:pt x="3" y="283"/>
                </a:lnTo>
                <a:lnTo>
                  <a:pt x="4" y="283"/>
                </a:lnTo>
                <a:lnTo>
                  <a:pt x="5" y="281"/>
                </a:lnTo>
                <a:lnTo>
                  <a:pt x="10" y="277"/>
                </a:lnTo>
                <a:lnTo>
                  <a:pt x="12" y="276"/>
                </a:lnTo>
                <a:lnTo>
                  <a:pt x="11" y="275"/>
                </a:lnTo>
                <a:lnTo>
                  <a:pt x="12" y="274"/>
                </a:lnTo>
                <a:lnTo>
                  <a:pt x="10" y="275"/>
                </a:lnTo>
                <a:lnTo>
                  <a:pt x="9" y="274"/>
                </a:lnTo>
                <a:lnTo>
                  <a:pt x="9" y="270"/>
                </a:lnTo>
                <a:lnTo>
                  <a:pt x="10" y="269"/>
                </a:lnTo>
                <a:lnTo>
                  <a:pt x="10" y="268"/>
                </a:lnTo>
                <a:lnTo>
                  <a:pt x="12" y="264"/>
                </a:lnTo>
                <a:lnTo>
                  <a:pt x="13" y="263"/>
                </a:lnTo>
                <a:lnTo>
                  <a:pt x="15" y="263"/>
                </a:lnTo>
                <a:lnTo>
                  <a:pt x="15" y="251"/>
                </a:lnTo>
                <a:lnTo>
                  <a:pt x="12" y="250"/>
                </a:lnTo>
                <a:lnTo>
                  <a:pt x="10" y="245"/>
                </a:lnTo>
                <a:lnTo>
                  <a:pt x="10" y="243"/>
                </a:lnTo>
                <a:lnTo>
                  <a:pt x="7" y="242"/>
                </a:lnTo>
                <a:lnTo>
                  <a:pt x="6" y="240"/>
                </a:lnTo>
                <a:lnTo>
                  <a:pt x="7" y="238"/>
                </a:lnTo>
                <a:lnTo>
                  <a:pt x="6" y="238"/>
                </a:lnTo>
                <a:lnTo>
                  <a:pt x="5" y="237"/>
                </a:lnTo>
                <a:lnTo>
                  <a:pt x="4" y="237"/>
                </a:lnTo>
                <a:lnTo>
                  <a:pt x="4" y="236"/>
                </a:lnTo>
                <a:lnTo>
                  <a:pt x="5" y="234"/>
                </a:lnTo>
                <a:lnTo>
                  <a:pt x="5" y="233"/>
                </a:lnTo>
                <a:lnTo>
                  <a:pt x="3" y="231"/>
                </a:lnTo>
                <a:lnTo>
                  <a:pt x="4" y="230"/>
                </a:lnTo>
                <a:lnTo>
                  <a:pt x="6" y="230"/>
                </a:lnTo>
                <a:lnTo>
                  <a:pt x="7" y="228"/>
                </a:lnTo>
                <a:lnTo>
                  <a:pt x="12" y="228"/>
                </a:lnTo>
                <a:lnTo>
                  <a:pt x="11" y="226"/>
                </a:lnTo>
                <a:lnTo>
                  <a:pt x="10" y="226"/>
                </a:lnTo>
                <a:lnTo>
                  <a:pt x="11" y="225"/>
                </a:lnTo>
                <a:lnTo>
                  <a:pt x="12" y="226"/>
                </a:lnTo>
                <a:lnTo>
                  <a:pt x="15" y="227"/>
                </a:lnTo>
                <a:lnTo>
                  <a:pt x="17" y="227"/>
                </a:lnTo>
                <a:lnTo>
                  <a:pt x="18" y="228"/>
                </a:lnTo>
                <a:lnTo>
                  <a:pt x="19" y="228"/>
                </a:lnTo>
                <a:lnTo>
                  <a:pt x="21" y="230"/>
                </a:lnTo>
                <a:lnTo>
                  <a:pt x="21" y="231"/>
                </a:lnTo>
                <a:lnTo>
                  <a:pt x="22" y="230"/>
                </a:lnTo>
                <a:lnTo>
                  <a:pt x="23" y="230"/>
                </a:lnTo>
                <a:lnTo>
                  <a:pt x="22" y="227"/>
                </a:lnTo>
                <a:lnTo>
                  <a:pt x="25" y="228"/>
                </a:lnTo>
                <a:lnTo>
                  <a:pt x="27" y="228"/>
                </a:lnTo>
                <a:lnTo>
                  <a:pt x="29" y="226"/>
                </a:lnTo>
                <a:lnTo>
                  <a:pt x="32" y="225"/>
                </a:lnTo>
                <a:lnTo>
                  <a:pt x="37" y="225"/>
                </a:lnTo>
                <a:lnTo>
                  <a:pt x="38" y="224"/>
                </a:lnTo>
                <a:lnTo>
                  <a:pt x="40" y="221"/>
                </a:lnTo>
                <a:lnTo>
                  <a:pt x="41" y="221"/>
                </a:lnTo>
                <a:lnTo>
                  <a:pt x="41" y="220"/>
                </a:lnTo>
                <a:lnTo>
                  <a:pt x="40" y="220"/>
                </a:lnTo>
                <a:lnTo>
                  <a:pt x="40" y="219"/>
                </a:lnTo>
                <a:lnTo>
                  <a:pt x="38" y="218"/>
                </a:lnTo>
                <a:lnTo>
                  <a:pt x="36" y="217"/>
                </a:lnTo>
                <a:lnTo>
                  <a:pt x="35" y="217"/>
                </a:lnTo>
                <a:lnTo>
                  <a:pt x="35" y="214"/>
                </a:lnTo>
                <a:lnTo>
                  <a:pt x="36" y="214"/>
                </a:lnTo>
                <a:lnTo>
                  <a:pt x="36" y="213"/>
                </a:lnTo>
                <a:lnTo>
                  <a:pt x="37" y="212"/>
                </a:lnTo>
                <a:lnTo>
                  <a:pt x="37" y="211"/>
                </a:lnTo>
                <a:lnTo>
                  <a:pt x="41" y="211"/>
                </a:lnTo>
                <a:lnTo>
                  <a:pt x="42" y="209"/>
                </a:lnTo>
                <a:lnTo>
                  <a:pt x="42" y="208"/>
                </a:lnTo>
                <a:lnTo>
                  <a:pt x="43" y="207"/>
                </a:lnTo>
                <a:lnTo>
                  <a:pt x="46" y="206"/>
                </a:lnTo>
                <a:lnTo>
                  <a:pt x="47" y="203"/>
                </a:lnTo>
                <a:lnTo>
                  <a:pt x="48" y="203"/>
                </a:lnTo>
                <a:lnTo>
                  <a:pt x="49" y="202"/>
                </a:lnTo>
                <a:lnTo>
                  <a:pt x="49" y="197"/>
                </a:lnTo>
                <a:lnTo>
                  <a:pt x="50" y="195"/>
                </a:lnTo>
                <a:lnTo>
                  <a:pt x="50" y="193"/>
                </a:lnTo>
                <a:lnTo>
                  <a:pt x="49" y="191"/>
                </a:lnTo>
                <a:lnTo>
                  <a:pt x="47" y="187"/>
                </a:lnTo>
                <a:lnTo>
                  <a:pt x="47" y="188"/>
                </a:lnTo>
                <a:lnTo>
                  <a:pt x="41" y="188"/>
                </a:lnTo>
                <a:lnTo>
                  <a:pt x="37" y="187"/>
                </a:lnTo>
                <a:lnTo>
                  <a:pt x="36" y="187"/>
                </a:lnTo>
                <a:lnTo>
                  <a:pt x="35" y="185"/>
                </a:lnTo>
                <a:lnTo>
                  <a:pt x="35" y="181"/>
                </a:lnTo>
                <a:lnTo>
                  <a:pt x="37" y="179"/>
                </a:lnTo>
                <a:lnTo>
                  <a:pt x="36" y="178"/>
                </a:lnTo>
                <a:lnTo>
                  <a:pt x="36" y="175"/>
                </a:lnTo>
                <a:lnTo>
                  <a:pt x="37" y="175"/>
                </a:lnTo>
                <a:lnTo>
                  <a:pt x="38" y="174"/>
                </a:lnTo>
                <a:lnTo>
                  <a:pt x="42" y="174"/>
                </a:lnTo>
                <a:lnTo>
                  <a:pt x="44" y="175"/>
                </a:lnTo>
                <a:lnTo>
                  <a:pt x="49" y="175"/>
                </a:lnTo>
                <a:lnTo>
                  <a:pt x="50" y="174"/>
                </a:lnTo>
                <a:lnTo>
                  <a:pt x="50" y="162"/>
                </a:lnTo>
                <a:lnTo>
                  <a:pt x="52" y="160"/>
                </a:lnTo>
                <a:lnTo>
                  <a:pt x="52" y="159"/>
                </a:lnTo>
                <a:lnTo>
                  <a:pt x="55" y="153"/>
                </a:lnTo>
                <a:lnTo>
                  <a:pt x="56" y="151"/>
                </a:lnTo>
                <a:lnTo>
                  <a:pt x="56" y="140"/>
                </a:lnTo>
                <a:lnTo>
                  <a:pt x="55" y="140"/>
                </a:lnTo>
                <a:lnTo>
                  <a:pt x="55" y="139"/>
                </a:lnTo>
                <a:lnTo>
                  <a:pt x="56" y="136"/>
                </a:lnTo>
                <a:lnTo>
                  <a:pt x="56" y="132"/>
                </a:lnTo>
                <a:lnTo>
                  <a:pt x="59" y="129"/>
                </a:lnTo>
                <a:lnTo>
                  <a:pt x="57" y="128"/>
                </a:lnTo>
                <a:lnTo>
                  <a:pt x="60" y="126"/>
                </a:lnTo>
                <a:lnTo>
                  <a:pt x="61" y="126"/>
                </a:lnTo>
                <a:lnTo>
                  <a:pt x="63" y="127"/>
                </a:lnTo>
                <a:lnTo>
                  <a:pt x="62" y="126"/>
                </a:lnTo>
                <a:lnTo>
                  <a:pt x="61" y="126"/>
                </a:lnTo>
                <a:lnTo>
                  <a:pt x="52" y="125"/>
                </a:lnTo>
                <a:lnTo>
                  <a:pt x="50" y="125"/>
                </a:lnTo>
                <a:lnTo>
                  <a:pt x="49" y="122"/>
                </a:lnTo>
                <a:lnTo>
                  <a:pt x="49" y="116"/>
                </a:lnTo>
                <a:lnTo>
                  <a:pt x="50" y="114"/>
                </a:lnTo>
                <a:lnTo>
                  <a:pt x="50" y="113"/>
                </a:lnTo>
                <a:lnTo>
                  <a:pt x="53" y="113"/>
                </a:lnTo>
                <a:lnTo>
                  <a:pt x="54" y="111"/>
                </a:lnTo>
                <a:lnTo>
                  <a:pt x="54" y="109"/>
                </a:lnTo>
                <a:lnTo>
                  <a:pt x="53" y="109"/>
                </a:lnTo>
                <a:lnTo>
                  <a:pt x="52" y="108"/>
                </a:lnTo>
                <a:lnTo>
                  <a:pt x="57" y="102"/>
                </a:lnTo>
                <a:lnTo>
                  <a:pt x="61" y="101"/>
                </a:lnTo>
                <a:lnTo>
                  <a:pt x="67" y="99"/>
                </a:lnTo>
                <a:lnTo>
                  <a:pt x="68" y="99"/>
                </a:lnTo>
                <a:lnTo>
                  <a:pt x="68" y="101"/>
                </a:lnTo>
                <a:lnTo>
                  <a:pt x="69" y="101"/>
                </a:lnTo>
                <a:lnTo>
                  <a:pt x="75" y="99"/>
                </a:lnTo>
                <a:lnTo>
                  <a:pt x="88" y="98"/>
                </a:lnTo>
                <a:lnTo>
                  <a:pt x="92" y="98"/>
                </a:lnTo>
                <a:lnTo>
                  <a:pt x="92" y="102"/>
                </a:lnTo>
                <a:lnTo>
                  <a:pt x="94" y="107"/>
                </a:lnTo>
                <a:lnTo>
                  <a:pt x="96" y="107"/>
                </a:lnTo>
                <a:lnTo>
                  <a:pt x="96" y="109"/>
                </a:lnTo>
                <a:lnTo>
                  <a:pt x="97" y="109"/>
                </a:lnTo>
                <a:lnTo>
                  <a:pt x="98" y="110"/>
                </a:lnTo>
                <a:lnTo>
                  <a:pt x="96" y="113"/>
                </a:lnTo>
                <a:lnTo>
                  <a:pt x="93" y="113"/>
                </a:lnTo>
                <a:lnTo>
                  <a:pt x="93" y="116"/>
                </a:lnTo>
                <a:lnTo>
                  <a:pt x="94" y="116"/>
                </a:lnTo>
                <a:lnTo>
                  <a:pt x="94" y="117"/>
                </a:lnTo>
                <a:lnTo>
                  <a:pt x="97" y="117"/>
                </a:lnTo>
                <a:lnTo>
                  <a:pt x="99" y="120"/>
                </a:lnTo>
                <a:lnTo>
                  <a:pt x="102" y="120"/>
                </a:lnTo>
                <a:lnTo>
                  <a:pt x="104" y="115"/>
                </a:lnTo>
                <a:lnTo>
                  <a:pt x="104" y="113"/>
                </a:lnTo>
                <a:lnTo>
                  <a:pt x="103" y="111"/>
                </a:lnTo>
                <a:lnTo>
                  <a:pt x="100" y="111"/>
                </a:lnTo>
                <a:lnTo>
                  <a:pt x="100" y="107"/>
                </a:lnTo>
                <a:lnTo>
                  <a:pt x="102" y="107"/>
                </a:lnTo>
                <a:lnTo>
                  <a:pt x="102" y="105"/>
                </a:lnTo>
                <a:lnTo>
                  <a:pt x="105" y="105"/>
                </a:lnTo>
                <a:lnTo>
                  <a:pt x="106" y="107"/>
                </a:lnTo>
                <a:lnTo>
                  <a:pt x="106" y="108"/>
                </a:lnTo>
                <a:lnTo>
                  <a:pt x="109" y="109"/>
                </a:lnTo>
                <a:lnTo>
                  <a:pt x="112" y="110"/>
                </a:lnTo>
                <a:lnTo>
                  <a:pt x="114" y="110"/>
                </a:lnTo>
                <a:lnTo>
                  <a:pt x="114" y="111"/>
                </a:lnTo>
                <a:lnTo>
                  <a:pt x="112" y="111"/>
                </a:lnTo>
                <a:lnTo>
                  <a:pt x="112" y="113"/>
                </a:lnTo>
                <a:lnTo>
                  <a:pt x="111" y="115"/>
                </a:lnTo>
                <a:lnTo>
                  <a:pt x="114" y="113"/>
                </a:lnTo>
                <a:lnTo>
                  <a:pt x="115" y="110"/>
                </a:lnTo>
                <a:lnTo>
                  <a:pt x="114" y="107"/>
                </a:lnTo>
                <a:lnTo>
                  <a:pt x="112" y="107"/>
                </a:lnTo>
                <a:lnTo>
                  <a:pt x="112" y="104"/>
                </a:lnTo>
                <a:lnTo>
                  <a:pt x="111" y="103"/>
                </a:lnTo>
                <a:lnTo>
                  <a:pt x="111" y="98"/>
                </a:lnTo>
                <a:lnTo>
                  <a:pt x="112" y="95"/>
                </a:lnTo>
                <a:lnTo>
                  <a:pt x="114" y="90"/>
                </a:lnTo>
                <a:lnTo>
                  <a:pt x="115" y="88"/>
                </a:lnTo>
                <a:lnTo>
                  <a:pt x="116" y="86"/>
                </a:lnTo>
                <a:lnTo>
                  <a:pt x="117" y="86"/>
                </a:lnTo>
                <a:lnTo>
                  <a:pt x="118" y="85"/>
                </a:lnTo>
                <a:lnTo>
                  <a:pt x="122" y="89"/>
                </a:lnTo>
                <a:lnTo>
                  <a:pt x="123" y="89"/>
                </a:lnTo>
                <a:lnTo>
                  <a:pt x="127" y="90"/>
                </a:lnTo>
                <a:lnTo>
                  <a:pt x="129" y="90"/>
                </a:lnTo>
                <a:lnTo>
                  <a:pt x="131" y="89"/>
                </a:lnTo>
                <a:lnTo>
                  <a:pt x="134" y="90"/>
                </a:lnTo>
                <a:lnTo>
                  <a:pt x="134" y="89"/>
                </a:lnTo>
                <a:lnTo>
                  <a:pt x="137" y="88"/>
                </a:lnTo>
                <a:lnTo>
                  <a:pt x="145" y="88"/>
                </a:lnTo>
                <a:lnTo>
                  <a:pt x="146" y="89"/>
                </a:lnTo>
                <a:lnTo>
                  <a:pt x="149" y="96"/>
                </a:lnTo>
                <a:lnTo>
                  <a:pt x="153" y="99"/>
                </a:lnTo>
                <a:lnTo>
                  <a:pt x="153" y="101"/>
                </a:lnTo>
                <a:lnTo>
                  <a:pt x="154" y="102"/>
                </a:lnTo>
                <a:lnTo>
                  <a:pt x="156" y="107"/>
                </a:lnTo>
                <a:lnTo>
                  <a:pt x="158" y="107"/>
                </a:lnTo>
                <a:lnTo>
                  <a:pt x="158" y="108"/>
                </a:lnTo>
                <a:lnTo>
                  <a:pt x="160" y="108"/>
                </a:lnTo>
                <a:lnTo>
                  <a:pt x="165" y="110"/>
                </a:lnTo>
                <a:lnTo>
                  <a:pt x="168" y="110"/>
                </a:lnTo>
                <a:lnTo>
                  <a:pt x="167" y="109"/>
                </a:lnTo>
                <a:lnTo>
                  <a:pt x="166" y="109"/>
                </a:lnTo>
                <a:lnTo>
                  <a:pt x="162" y="108"/>
                </a:lnTo>
                <a:lnTo>
                  <a:pt x="160" y="108"/>
                </a:lnTo>
                <a:lnTo>
                  <a:pt x="156" y="104"/>
                </a:lnTo>
                <a:lnTo>
                  <a:pt x="155" y="102"/>
                </a:lnTo>
                <a:lnTo>
                  <a:pt x="155" y="98"/>
                </a:lnTo>
                <a:lnTo>
                  <a:pt x="153" y="97"/>
                </a:lnTo>
                <a:lnTo>
                  <a:pt x="152" y="97"/>
                </a:lnTo>
                <a:lnTo>
                  <a:pt x="150" y="96"/>
                </a:lnTo>
                <a:lnTo>
                  <a:pt x="150" y="93"/>
                </a:lnTo>
                <a:lnTo>
                  <a:pt x="149" y="91"/>
                </a:lnTo>
                <a:lnTo>
                  <a:pt x="149" y="90"/>
                </a:lnTo>
                <a:lnTo>
                  <a:pt x="148" y="90"/>
                </a:lnTo>
                <a:lnTo>
                  <a:pt x="146" y="88"/>
                </a:lnTo>
                <a:lnTo>
                  <a:pt x="143" y="86"/>
                </a:lnTo>
                <a:lnTo>
                  <a:pt x="142" y="86"/>
                </a:lnTo>
                <a:lnTo>
                  <a:pt x="136" y="85"/>
                </a:lnTo>
                <a:lnTo>
                  <a:pt x="133" y="85"/>
                </a:lnTo>
                <a:lnTo>
                  <a:pt x="130" y="84"/>
                </a:lnTo>
                <a:lnTo>
                  <a:pt x="129" y="83"/>
                </a:lnTo>
                <a:lnTo>
                  <a:pt x="125" y="76"/>
                </a:lnTo>
                <a:lnTo>
                  <a:pt x="128" y="74"/>
                </a:lnTo>
                <a:lnTo>
                  <a:pt x="129" y="74"/>
                </a:lnTo>
                <a:lnTo>
                  <a:pt x="131" y="77"/>
                </a:lnTo>
                <a:lnTo>
                  <a:pt x="133" y="76"/>
                </a:lnTo>
                <a:lnTo>
                  <a:pt x="133" y="74"/>
                </a:lnTo>
                <a:lnTo>
                  <a:pt x="134" y="73"/>
                </a:lnTo>
                <a:lnTo>
                  <a:pt x="134" y="71"/>
                </a:lnTo>
                <a:lnTo>
                  <a:pt x="131" y="68"/>
                </a:lnTo>
                <a:lnTo>
                  <a:pt x="131" y="67"/>
                </a:lnTo>
                <a:lnTo>
                  <a:pt x="129" y="67"/>
                </a:lnTo>
                <a:lnTo>
                  <a:pt x="128" y="68"/>
                </a:lnTo>
                <a:lnTo>
                  <a:pt x="127" y="68"/>
                </a:lnTo>
                <a:lnTo>
                  <a:pt x="125" y="67"/>
                </a:lnTo>
                <a:lnTo>
                  <a:pt x="125" y="65"/>
                </a:lnTo>
                <a:lnTo>
                  <a:pt x="124" y="65"/>
                </a:lnTo>
                <a:lnTo>
                  <a:pt x="125" y="64"/>
                </a:lnTo>
                <a:lnTo>
                  <a:pt x="125" y="62"/>
                </a:lnTo>
                <a:lnTo>
                  <a:pt x="127" y="61"/>
                </a:lnTo>
                <a:lnTo>
                  <a:pt x="125" y="60"/>
                </a:lnTo>
                <a:lnTo>
                  <a:pt x="127" y="59"/>
                </a:lnTo>
                <a:lnTo>
                  <a:pt x="129" y="59"/>
                </a:lnTo>
                <a:lnTo>
                  <a:pt x="129" y="58"/>
                </a:lnTo>
                <a:lnTo>
                  <a:pt x="130" y="58"/>
                </a:lnTo>
                <a:lnTo>
                  <a:pt x="130" y="56"/>
                </a:lnTo>
                <a:lnTo>
                  <a:pt x="131" y="55"/>
                </a:lnTo>
                <a:lnTo>
                  <a:pt x="130" y="55"/>
                </a:lnTo>
                <a:lnTo>
                  <a:pt x="129" y="56"/>
                </a:lnTo>
                <a:lnTo>
                  <a:pt x="121" y="56"/>
                </a:lnTo>
                <a:lnTo>
                  <a:pt x="119" y="59"/>
                </a:lnTo>
                <a:lnTo>
                  <a:pt x="116" y="55"/>
                </a:lnTo>
                <a:lnTo>
                  <a:pt x="116" y="53"/>
                </a:lnTo>
                <a:lnTo>
                  <a:pt x="117" y="52"/>
                </a:lnTo>
                <a:lnTo>
                  <a:pt x="119" y="52"/>
                </a:lnTo>
                <a:lnTo>
                  <a:pt x="118" y="51"/>
                </a:lnTo>
                <a:lnTo>
                  <a:pt x="117" y="52"/>
                </a:lnTo>
                <a:lnTo>
                  <a:pt x="117" y="49"/>
                </a:lnTo>
                <a:lnTo>
                  <a:pt x="118" y="48"/>
                </a:lnTo>
                <a:lnTo>
                  <a:pt x="118" y="49"/>
                </a:lnTo>
                <a:lnTo>
                  <a:pt x="122" y="48"/>
                </a:lnTo>
                <a:lnTo>
                  <a:pt x="128" y="48"/>
                </a:lnTo>
                <a:lnTo>
                  <a:pt x="130" y="46"/>
                </a:lnTo>
                <a:lnTo>
                  <a:pt x="133" y="45"/>
                </a:lnTo>
                <a:lnTo>
                  <a:pt x="133" y="40"/>
                </a:lnTo>
                <a:lnTo>
                  <a:pt x="128" y="35"/>
                </a:lnTo>
                <a:lnTo>
                  <a:pt x="128" y="34"/>
                </a:lnTo>
                <a:lnTo>
                  <a:pt x="125" y="34"/>
                </a:lnTo>
                <a:lnTo>
                  <a:pt x="127" y="33"/>
                </a:lnTo>
                <a:lnTo>
                  <a:pt x="125" y="29"/>
                </a:lnTo>
                <a:lnTo>
                  <a:pt x="124" y="28"/>
                </a:lnTo>
                <a:lnTo>
                  <a:pt x="123" y="28"/>
                </a:lnTo>
                <a:lnTo>
                  <a:pt x="119" y="24"/>
                </a:lnTo>
                <a:lnTo>
                  <a:pt x="119" y="22"/>
                </a:lnTo>
                <a:lnTo>
                  <a:pt x="118" y="19"/>
                </a:lnTo>
                <a:lnTo>
                  <a:pt x="118" y="18"/>
                </a:lnTo>
                <a:lnTo>
                  <a:pt x="117" y="17"/>
                </a:lnTo>
                <a:lnTo>
                  <a:pt x="118" y="15"/>
                </a:lnTo>
                <a:lnTo>
                  <a:pt x="118" y="13"/>
                </a:lnTo>
                <a:lnTo>
                  <a:pt x="122" y="13"/>
                </a:lnTo>
                <a:lnTo>
                  <a:pt x="124" y="12"/>
                </a:lnTo>
                <a:close/>
                <a:moveTo>
                  <a:pt x="108" y="0"/>
                </a:moveTo>
                <a:lnTo>
                  <a:pt x="110" y="2"/>
                </a:lnTo>
                <a:lnTo>
                  <a:pt x="108" y="2"/>
                </a:lnTo>
                <a:lnTo>
                  <a:pt x="109" y="3"/>
                </a:lnTo>
                <a:lnTo>
                  <a:pt x="109" y="4"/>
                </a:lnTo>
                <a:lnTo>
                  <a:pt x="106" y="5"/>
                </a:lnTo>
                <a:lnTo>
                  <a:pt x="105" y="6"/>
                </a:lnTo>
                <a:lnTo>
                  <a:pt x="105" y="11"/>
                </a:lnTo>
                <a:lnTo>
                  <a:pt x="106" y="13"/>
                </a:lnTo>
                <a:lnTo>
                  <a:pt x="111" y="13"/>
                </a:lnTo>
                <a:lnTo>
                  <a:pt x="110" y="15"/>
                </a:lnTo>
                <a:lnTo>
                  <a:pt x="104" y="15"/>
                </a:lnTo>
                <a:lnTo>
                  <a:pt x="103" y="16"/>
                </a:lnTo>
                <a:lnTo>
                  <a:pt x="103" y="24"/>
                </a:lnTo>
                <a:lnTo>
                  <a:pt x="102" y="23"/>
                </a:lnTo>
                <a:lnTo>
                  <a:pt x="102" y="21"/>
                </a:lnTo>
                <a:lnTo>
                  <a:pt x="103" y="13"/>
                </a:lnTo>
                <a:lnTo>
                  <a:pt x="103" y="12"/>
                </a:lnTo>
                <a:lnTo>
                  <a:pt x="106" y="3"/>
                </a:lnTo>
                <a:lnTo>
                  <a:pt x="108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" name="Freeform 42">
            <a:extLst>
              <a:ext uri="{FF2B5EF4-FFF2-40B4-BE49-F238E27FC236}">
                <a16:creationId xmlns:a16="http://schemas.microsoft.com/office/drawing/2014/main" id="{9A8285C9-0463-43E6-A184-92AF3CC9016A}"/>
              </a:ext>
            </a:extLst>
          </p:cNvPr>
          <p:cNvSpPr>
            <a:spLocks/>
          </p:cNvSpPr>
          <p:nvPr/>
        </p:nvSpPr>
        <p:spPr bwMode="auto">
          <a:xfrm>
            <a:off x="3676058" y="5289933"/>
            <a:ext cx="410050" cy="210097"/>
          </a:xfrm>
          <a:custGeom>
            <a:avLst/>
            <a:gdLst/>
            <a:ahLst/>
            <a:cxnLst>
              <a:cxn ang="0">
                <a:pos x="26" y="2"/>
              </a:cxn>
              <a:cxn ang="0">
                <a:pos x="43" y="12"/>
              </a:cxn>
              <a:cxn ang="0">
                <a:pos x="60" y="17"/>
              </a:cxn>
              <a:cxn ang="0">
                <a:pos x="73" y="22"/>
              </a:cxn>
              <a:cxn ang="0">
                <a:pos x="103" y="20"/>
              </a:cxn>
              <a:cxn ang="0">
                <a:pos x="112" y="24"/>
              </a:cxn>
              <a:cxn ang="0">
                <a:pos x="126" y="30"/>
              </a:cxn>
              <a:cxn ang="0">
                <a:pos x="143" y="41"/>
              </a:cxn>
              <a:cxn ang="0">
                <a:pos x="161" y="48"/>
              </a:cxn>
              <a:cxn ang="0">
                <a:pos x="161" y="57"/>
              </a:cxn>
              <a:cxn ang="0">
                <a:pos x="169" y="56"/>
              </a:cxn>
              <a:cxn ang="0">
                <a:pos x="181" y="50"/>
              </a:cxn>
              <a:cxn ang="0">
                <a:pos x="200" y="51"/>
              </a:cxn>
              <a:cxn ang="0">
                <a:pos x="204" y="50"/>
              </a:cxn>
              <a:cxn ang="0">
                <a:pos x="217" y="50"/>
              </a:cxn>
              <a:cxn ang="0">
                <a:pos x="229" y="61"/>
              </a:cxn>
              <a:cxn ang="0">
                <a:pos x="237" y="78"/>
              </a:cxn>
              <a:cxn ang="0">
                <a:pos x="250" y="90"/>
              </a:cxn>
              <a:cxn ang="0">
                <a:pos x="256" y="91"/>
              </a:cxn>
              <a:cxn ang="0">
                <a:pos x="266" y="94"/>
              </a:cxn>
              <a:cxn ang="0">
                <a:pos x="266" y="105"/>
              </a:cxn>
              <a:cxn ang="0">
                <a:pos x="263" y="113"/>
              </a:cxn>
              <a:cxn ang="0">
                <a:pos x="269" y="121"/>
              </a:cxn>
              <a:cxn ang="0">
                <a:pos x="280" y="128"/>
              </a:cxn>
              <a:cxn ang="0">
                <a:pos x="280" y="141"/>
              </a:cxn>
              <a:cxn ang="0">
                <a:pos x="272" y="142"/>
              </a:cxn>
              <a:cxn ang="0">
                <a:pos x="253" y="137"/>
              </a:cxn>
              <a:cxn ang="0">
                <a:pos x="241" y="129"/>
              </a:cxn>
              <a:cxn ang="0">
                <a:pos x="228" y="123"/>
              </a:cxn>
              <a:cxn ang="0">
                <a:pos x="210" y="131"/>
              </a:cxn>
              <a:cxn ang="0">
                <a:pos x="205" y="134"/>
              </a:cxn>
              <a:cxn ang="0">
                <a:pos x="192" y="137"/>
              </a:cxn>
              <a:cxn ang="0">
                <a:pos x="187" y="137"/>
              </a:cxn>
              <a:cxn ang="0">
                <a:pos x="178" y="134"/>
              </a:cxn>
              <a:cxn ang="0">
                <a:pos x="170" y="137"/>
              </a:cxn>
              <a:cxn ang="0">
                <a:pos x="151" y="140"/>
              </a:cxn>
              <a:cxn ang="0">
                <a:pos x="141" y="136"/>
              </a:cxn>
              <a:cxn ang="0">
                <a:pos x="131" y="133"/>
              </a:cxn>
              <a:cxn ang="0">
                <a:pos x="130" y="128"/>
              </a:cxn>
              <a:cxn ang="0">
                <a:pos x="122" y="119"/>
              </a:cxn>
              <a:cxn ang="0">
                <a:pos x="118" y="117"/>
              </a:cxn>
              <a:cxn ang="0">
                <a:pos x="109" y="118"/>
              </a:cxn>
              <a:cxn ang="0">
                <a:pos x="93" y="119"/>
              </a:cxn>
              <a:cxn ang="0">
                <a:pos x="78" y="123"/>
              </a:cxn>
              <a:cxn ang="0">
                <a:pos x="72" y="119"/>
              </a:cxn>
              <a:cxn ang="0">
                <a:pos x="72" y="110"/>
              </a:cxn>
              <a:cxn ang="0">
                <a:pos x="73" y="87"/>
              </a:cxn>
              <a:cxn ang="0">
                <a:pos x="64" y="54"/>
              </a:cxn>
              <a:cxn ang="0">
                <a:pos x="49" y="45"/>
              </a:cxn>
              <a:cxn ang="0">
                <a:pos x="37" y="30"/>
              </a:cxn>
              <a:cxn ang="0">
                <a:pos x="16" y="24"/>
              </a:cxn>
              <a:cxn ang="0">
                <a:pos x="11" y="16"/>
              </a:cxn>
              <a:cxn ang="0">
                <a:pos x="1" y="11"/>
              </a:cxn>
              <a:cxn ang="0">
                <a:pos x="7" y="0"/>
              </a:cxn>
            </a:cxnLst>
            <a:rect l="0" t="0" r="r" b="b"/>
            <a:pathLst>
              <a:path w="283" h="145">
                <a:moveTo>
                  <a:pt x="7" y="0"/>
                </a:moveTo>
                <a:lnTo>
                  <a:pt x="11" y="0"/>
                </a:lnTo>
                <a:lnTo>
                  <a:pt x="20" y="4"/>
                </a:lnTo>
                <a:lnTo>
                  <a:pt x="23" y="5"/>
                </a:lnTo>
                <a:lnTo>
                  <a:pt x="24" y="4"/>
                </a:lnTo>
                <a:lnTo>
                  <a:pt x="26" y="2"/>
                </a:lnTo>
                <a:lnTo>
                  <a:pt x="29" y="2"/>
                </a:lnTo>
                <a:lnTo>
                  <a:pt x="30" y="4"/>
                </a:lnTo>
                <a:lnTo>
                  <a:pt x="32" y="5"/>
                </a:lnTo>
                <a:lnTo>
                  <a:pt x="36" y="6"/>
                </a:lnTo>
                <a:lnTo>
                  <a:pt x="37" y="7"/>
                </a:lnTo>
                <a:lnTo>
                  <a:pt x="43" y="12"/>
                </a:lnTo>
                <a:lnTo>
                  <a:pt x="50" y="12"/>
                </a:lnTo>
                <a:lnTo>
                  <a:pt x="51" y="13"/>
                </a:lnTo>
                <a:lnTo>
                  <a:pt x="53" y="13"/>
                </a:lnTo>
                <a:lnTo>
                  <a:pt x="55" y="14"/>
                </a:lnTo>
                <a:lnTo>
                  <a:pt x="60" y="14"/>
                </a:lnTo>
                <a:lnTo>
                  <a:pt x="60" y="17"/>
                </a:lnTo>
                <a:lnTo>
                  <a:pt x="61" y="17"/>
                </a:lnTo>
                <a:lnTo>
                  <a:pt x="63" y="18"/>
                </a:lnTo>
                <a:lnTo>
                  <a:pt x="67" y="22"/>
                </a:lnTo>
                <a:lnTo>
                  <a:pt x="69" y="22"/>
                </a:lnTo>
                <a:lnTo>
                  <a:pt x="72" y="20"/>
                </a:lnTo>
                <a:lnTo>
                  <a:pt x="73" y="22"/>
                </a:lnTo>
                <a:lnTo>
                  <a:pt x="82" y="22"/>
                </a:lnTo>
                <a:lnTo>
                  <a:pt x="85" y="23"/>
                </a:lnTo>
                <a:lnTo>
                  <a:pt x="88" y="23"/>
                </a:lnTo>
                <a:lnTo>
                  <a:pt x="92" y="22"/>
                </a:lnTo>
                <a:lnTo>
                  <a:pt x="93" y="20"/>
                </a:lnTo>
                <a:lnTo>
                  <a:pt x="103" y="20"/>
                </a:lnTo>
                <a:lnTo>
                  <a:pt x="105" y="22"/>
                </a:lnTo>
                <a:lnTo>
                  <a:pt x="107" y="24"/>
                </a:lnTo>
                <a:lnTo>
                  <a:pt x="110" y="25"/>
                </a:lnTo>
                <a:lnTo>
                  <a:pt x="111" y="26"/>
                </a:lnTo>
                <a:lnTo>
                  <a:pt x="112" y="25"/>
                </a:lnTo>
                <a:lnTo>
                  <a:pt x="112" y="24"/>
                </a:lnTo>
                <a:lnTo>
                  <a:pt x="120" y="24"/>
                </a:lnTo>
                <a:lnTo>
                  <a:pt x="123" y="26"/>
                </a:lnTo>
                <a:lnTo>
                  <a:pt x="124" y="26"/>
                </a:lnTo>
                <a:lnTo>
                  <a:pt x="128" y="27"/>
                </a:lnTo>
                <a:lnTo>
                  <a:pt x="128" y="29"/>
                </a:lnTo>
                <a:lnTo>
                  <a:pt x="126" y="30"/>
                </a:lnTo>
                <a:lnTo>
                  <a:pt x="126" y="31"/>
                </a:lnTo>
                <a:lnTo>
                  <a:pt x="128" y="31"/>
                </a:lnTo>
                <a:lnTo>
                  <a:pt x="134" y="37"/>
                </a:lnTo>
                <a:lnTo>
                  <a:pt x="135" y="37"/>
                </a:lnTo>
                <a:lnTo>
                  <a:pt x="136" y="38"/>
                </a:lnTo>
                <a:lnTo>
                  <a:pt x="143" y="41"/>
                </a:lnTo>
                <a:lnTo>
                  <a:pt x="148" y="42"/>
                </a:lnTo>
                <a:lnTo>
                  <a:pt x="149" y="42"/>
                </a:lnTo>
                <a:lnTo>
                  <a:pt x="151" y="43"/>
                </a:lnTo>
                <a:lnTo>
                  <a:pt x="155" y="47"/>
                </a:lnTo>
                <a:lnTo>
                  <a:pt x="159" y="48"/>
                </a:lnTo>
                <a:lnTo>
                  <a:pt x="161" y="48"/>
                </a:lnTo>
                <a:lnTo>
                  <a:pt x="161" y="51"/>
                </a:lnTo>
                <a:lnTo>
                  <a:pt x="159" y="53"/>
                </a:lnTo>
                <a:lnTo>
                  <a:pt x="157" y="54"/>
                </a:lnTo>
                <a:lnTo>
                  <a:pt x="157" y="55"/>
                </a:lnTo>
                <a:lnTo>
                  <a:pt x="159" y="56"/>
                </a:lnTo>
                <a:lnTo>
                  <a:pt x="161" y="57"/>
                </a:lnTo>
                <a:lnTo>
                  <a:pt x="165" y="57"/>
                </a:lnTo>
                <a:lnTo>
                  <a:pt x="167" y="60"/>
                </a:lnTo>
                <a:lnTo>
                  <a:pt x="168" y="60"/>
                </a:lnTo>
                <a:lnTo>
                  <a:pt x="168" y="59"/>
                </a:lnTo>
                <a:lnTo>
                  <a:pt x="169" y="57"/>
                </a:lnTo>
                <a:lnTo>
                  <a:pt x="169" y="56"/>
                </a:lnTo>
                <a:lnTo>
                  <a:pt x="172" y="56"/>
                </a:lnTo>
                <a:lnTo>
                  <a:pt x="175" y="55"/>
                </a:lnTo>
                <a:lnTo>
                  <a:pt x="178" y="55"/>
                </a:lnTo>
                <a:lnTo>
                  <a:pt x="179" y="54"/>
                </a:lnTo>
                <a:lnTo>
                  <a:pt x="180" y="51"/>
                </a:lnTo>
                <a:lnTo>
                  <a:pt x="181" y="50"/>
                </a:lnTo>
                <a:lnTo>
                  <a:pt x="186" y="50"/>
                </a:lnTo>
                <a:lnTo>
                  <a:pt x="190" y="48"/>
                </a:lnTo>
                <a:lnTo>
                  <a:pt x="194" y="48"/>
                </a:lnTo>
                <a:lnTo>
                  <a:pt x="197" y="49"/>
                </a:lnTo>
                <a:lnTo>
                  <a:pt x="198" y="49"/>
                </a:lnTo>
                <a:lnTo>
                  <a:pt x="200" y="51"/>
                </a:lnTo>
                <a:lnTo>
                  <a:pt x="200" y="53"/>
                </a:lnTo>
                <a:lnTo>
                  <a:pt x="201" y="55"/>
                </a:lnTo>
                <a:lnTo>
                  <a:pt x="201" y="56"/>
                </a:lnTo>
                <a:lnTo>
                  <a:pt x="203" y="56"/>
                </a:lnTo>
                <a:lnTo>
                  <a:pt x="203" y="53"/>
                </a:lnTo>
                <a:lnTo>
                  <a:pt x="204" y="50"/>
                </a:lnTo>
                <a:lnTo>
                  <a:pt x="205" y="49"/>
                </a:lnTo>
                <a:lnTo>
                  <a:pt x="205" y="48"/>
                </a:lnTo>
                <a:lnTo>
                  <a:pt x="207" y="48"/>
                </a:lnTo>
                <a:lnTo>
                  <a:pt x="212" y="51"/>
                </a:lnTo>
                <a:lnTo>
                  <a:pt x="216" y="51"/>
                </a:lnTo>
                <a:lnTo>
                  <a:pt x="217" y="50"/>
                </a:lnTo>
                <a:lnTo>
                  <a:pt x="219" y="53"/>
                </a:lnTo>
                <a:lnTo>
                  <a:pt x="223" y="57"/>
                </a:lnTo>
                <a:lnTo>
                  <a:pt x="224" y="59"/>
                </a:lnTo>
                <a:lnTo>
                  <a:pt x="224" y="60"/>
                </a:lnTo>
                <a:lnTo>
                  <a:pt x="225" y="61"/>
                </a:lnTo>
                <a:lnTo>
                  <a:pt x="229" y="61"/>
                </a:lnTo>
                <a:lnTo>
                  <a:pt x="231" y="60"/>
                </a:lnTo>
                <a:lnTo>
                  <a:pt x="234" y="60"/>
                </a:lnTo>
                <a:lnTo>
                  <a:pt x="241" y="62"/>
                </a:lnTo>
                <a:lnTo>
                  <a:pt x="243" y="65"/>
                </a:lnTo>
                <a:lnTo>
                  <a:pt x="242" y="66"/>
                </a:lnTo>
                <a:lnTo>
                  <a:pt x="237" y="78"/>
                </a:lnTo>
                <a:lnTo>
                  <a:pt x="241" y="81"/>
                </a:lnTo>
                <a:lnTo>
                  <a:pt x="246" y="84"/>
                </a:lnTo>
                <a:lnTo>
                  <a:pt x="249" y="85"/>
                </a:lnTo>
                <a:lnTo>
                  <a:pt x="249" y="86"/>
                </a:lnTo>
                <a:lnTo>
                  <a:pt x="250" y="88"/>
                </a:lnTo>
                <a:lnTo>
                  <a:pt x="250" y="90"/>
                </a:lnTo>
                <a:lnTo>
                  <a:pt x="253" y="90"/>
                </a:lnTo>
                <a:lnTo>
                  <a:pt x="253" y="88"/>
                </a:lnTo>
                <a:lnTo>
                  <a:pt x="254" y="88"/>
                </a:lnTo>
                <a:lnTo>
                  <a:pt x="254" y="90"/>
                </a:lnTo>
                <a:lnTo>
                  <a:pt x="256" y="90"/>
                </a:lnTo>
                <a:lnTo>
                  <a:pt x="256" y="91"/>
                </a:lnTo>
                <a:lnTo>
                  <a:pt x="258" y="92"/>
                </a:lnTo>
                <a:lnTo>
                  <a:pt x="259" y="92"/>
                </a:lnTo>
                <a:lnTo>
                  <a:pt x="261" y="91"/>
                </a:lnTo>
                <a:lnTo>
                  <a:pt x="263" y="91"/>
                </a:lnTo>
                <a:lnTo>
                  <a:pt x="265" y="92"/>
                </a:lnTo>
                <a:lnTo>
                  <a:pt x="266" y="94"/>
                </a:lnTo>
                <a:lnTo>
                  <a:pt x="267" y="94"/>
                </a:lnTo>
                <a:lnTo>
                  <a:pt x="269" y="96"/>
                </a:lnTo>
                <a:lnTo>
                  <a:pt x="271" y="96"/>
                </a:lnTo>
                <a:lnTo>
                  <a:pt x="272" y="97"/>
                </a:lnTo>
                <a:lnTo>
                  <a:pt x="271" y="100"/>
                </a:lnTo>
                <a:lnTo>
                  <a:pt x="266" y="105"/>
                </a:lnTo>
                <a:lnTo>
                  <a:pt x="263" y="104"/>
                </a:lnTo>
                <a:lnTo>
                  <a:pt x="262" y="105"/>
                </a:lnTo>
                <a:lnTo>
                  <a:pt x="261" y="108"/>
                </a:lnTo>
                <a:lnTo>
                  <a:pt x="261" y="110"/>
                </a:lnTo>
                <a:lnTo>
                  <a:pt x="262" y="112"/>
                </a:lnTo>
                <a:lnTo>
                  <a:pt x="263" y="113"/>
                </a:lnTo>
                <a:lnTo>
                  <a:pt x="263" y="112"/>
                </a:lnTo>
                <a:lnTo>
                  <a:pt x="265" y="112"/>
                </a:lnTo>
                <a:lnTo>
                  <a:pt x="266" y="115"/>
                </a:lnTo>
                <a:lnTo>
                  <a:pt x="266" y="118"/>
                </a:lnTo>
                <a:lnTo>
                  <a:pt x="267" y="119"/>
                </a:lnTo>
                <a:lnTo>
                  <a:pt x="269" y="121"/>
                </a:lnTo>
                <a:lnTo>
                  <a:pt x="271" y="122"/>
                </a:lnTo>
                <a:lnTo>
                  <a:pt x="273" y="123"/>
                </a:lnTo>
                <a:lnTo>
                  <a:pt x="277" y="125"/>
                </a:lnTo>
                <a:lnTo>
                  <a:pt x="279" y="127"/>
                </a:lnTo>
                <a:lnTo>
                  <a:pt x="279" y="128"/>
                </a:lnTo>
                <a:lnTo>
                  <a:pt x="280" y="128"/>
                </a:lnTo>
                <a:lnTo>
                  <a:pt x="281" y="129"/>
                </a:lnTo>
                <a:lnTo>
                  <a:pt x="283" y="131"/>
                </a:lnTo>
                <a:lnTo>
                  <a:pt x="283" y="134"/>
                </a:lnTo>
                <a:lnTo>
                  <a:pt x="281" y="135"/>
                </a:lnTo>
                <a:lnTo>
                  <a:pt x="280" y="137"/>
                </a:lnTo>
                <a:lnTo>
                  <a:pt x="280" y="141"/>
                </a:lnTo>
                <a:lnTo>
                  <a:pt x="279" y="142"/>
                </a:lnTo>
                <a:lnTo>
                  <a:pt x="275" y="142"/>
                </a:lnTo>
                <a:lnTo>
                  <a:pt x="275" y="143"/>
                </a:lnTo>
                <a:lnTo>
                  <a:pt x="274" y="145"/>
                </a:lnTo>
                <a:lnTo>
                  <a:pt x="273" y="145"/>
                </a:lnTo>
                <a:lnTo>
                  <a:pt x="272" y="142"/>
                </a:lnTo>
                <a:lnTo>
                  <a:pt x="271" y="142"/>
                </a:lnTo>
                <a:lnTo>
                  <a:pt x="268" y="141"/>
                </a:lnTo>
                <a:lnTo>
                  <a:pt x="263" y="136"/>
                </a:lnTo>
                <a:lnTo>
                  <a:pt x="258" y="136"/>
                </a:lnTo>
                <a:lnTo>
                  <a:pt x="256" y="137"/>
                </a:lnTo>
                <a:lnTo>
                  <a:pt x="253" y="137"/>
                </a:lnTo>
                <a:lnTo>
                  <a:pt x="246" y="135"/>
                </a:lnTo>
                <a:lnTo>
                  <a:pt x="244" y="134"/>
                </a:lnTo>
                <a:lnTo>
                  <a:pt x="243" y="134"/>
                </a:lnTo>
                <a:lnTo>
                  <a:pt x="242" y="133"/>
                </a:lnTo>
                <a:lnTo>
                  <a:pt x="241" y="130"/>
                </a:lnTo>
                <a:lnTo>
                  <a:pt x="241" y="129"/>
                </a:lnTo>
                <a:lnTo>
                  <a:pt x="243" y="129"/>
                </a:lnTo>
                <a:lnTo>
                  <a:pt x="243" y="128"/>
                </a:lnTo>
                <a:lnTo>
                  <a:pt x="240" y="128"/>
                </a:lnTo>
                <a:lnTo>
                  <a:pt x="234" y="125"/>
                </a:lnTo>
                <a:lnTo>
                  <a:pt x="231" y="123"/>
                </a:lnTo>
                <a:lnTo>
                  <a:pt x="228" y="123"/>
                </a:lnTo>
                <a:lnTo>
                  <a:pt x="225" y="122"/>
                </a:lnTo>
                <a:lnTo>
                  <a:pt x="222" y="122"/>
                </a:lnTo>
                <a:lnTo>
                  <a:pt x="216" y="128"/>
                </a:lnTo>
                <a:lnTo>
                  <a:pt x="212" y="130"/>
                </a:lnTo>
                <a:lnTo>
                  <a:pt x="211" y="131"/>
                </a:lnTo>
                <a:lnTo>
                  <a:pt x="210" y="131"/>
                </a:lnTo>
                <a:lnTo>
                  <a:pt x="210" y="133"/>
                </a:lnTo>
                <a:lnTo>
                  <a:pt x="207" y="133"/>
                </a:lnTo>
                <a:lnTo>
                  <a:pt x="204" y="131"/>
                </a:lnTo>
                <a:lnTo>
                  <a:pt x="203" y="133"/>
                </a:lnTo>
                <a:lnTo>
                  <a:pt x="204" y="134"/>
                </a:lnTo>
                <a:lnTo>
                  <a:pt x="205" y="134"/>
                </a:lnTo>
                <a:lnTo>
                  <a:pt x="205" y="135"/>
                </a:lnTo>
                <a:lnTo>
                  <a:pt x="194" y="135"/>
                </a:lnTo>
                <a:lnTo>
                  <a:pt x="194" y="136"/>
                </a:lnTo>
                <a:lnTo>
                  <a:pt x="193" y="136"/>
                </a:lnTo>
                <a:lnTo>
                  <a:pt x="193" y="137"/>
                </a:lnTo>
                <a:lnTo>
                  <a:pt x="192" y="137"/>
                </a:lnTo>
                <a:lnTo>
                  <a:pt x="192" y="136"/>
                </a:lnTo>
                <a:lnTo>
                  <a:pt x="191" y="135"/>
                </a:lnTo>
                <a:lnTo>
                  <a:pt x="191" y="136"/>
                </a:lnTo>
                <a:lnTo>
                  <a:pt x="190" y="136"/>
                </a:lnTo>
                <a:lnTo>
                  <a:pt x="188" y="137"/>
                </a:lnTo>
                <a:lnTo>
                  <a:pt x="187" y="137"/>
                </a:lnTo>
                <a:lnTo>
                  <a:pt x="187" y="136"/>
                </a:lnTo>
                <a:lnTo>
                  <a:pt x="185" y="135"/>
                </a:lnTo>
                <a:lnTo>
                  <a:pt x="184" y="135"/>
                </a:lnTo>
                <a:lnTo>
                  <a:pt x="182" y="136"/>
                </a:lnTo>
                <a:lnTo>
                  <a:pt x="180" y="136"/>
                </a:lnTo>
                <a:lnTo>
                  <a:pt x="178" y="134"/>
                </a:lnTo>
                <a:lnTo>
                  <a:pt x="176" y="134"/>
                </a:lnTo>
                <a:lnTo>
                  <a:pt x="176" y="136"/>
                </a:lnTo>
                <a:lnTo>
                  <a:pt x="175" y="136"/>
                </a:lnTo>
                <a:lnTo>
                  <a:pt x="174" y="137"/>
                </a:lnTo>
                <a:lnTo>
                  <a:pt x="172" y="136"/>
                </a:lnTo>
                <a:lnTo>
                  <a:pt x="170" y="137"/>
                </a:lnTo>
                <a:lnTo>
                  <a:pt x="168" y="137"/>
                </a:lnTo>
                <a:lnTo>
                  <a:pt x="167" y="139"/>
                </a:lnTo>
                <a:lnTo>
                  <a:pt x="162" y="139"/>
                </a:lnTo>
                <a:lnTo>
                  <a:pt x="160" y="141"/>
                </a:lnTo>
                <a:lnTo>
                  <a:pt x="157" y="141"/>
                </a:lnTo>
                <a:lnTo>
                  <a:pt x="151" y="140"/>
                </a:lnTo>
                <a:lnTo>
                  <a:pt x="149" y="140"/>
                </a:lnTo>
                <a:lnTo>
                  <a:pt x="147" y="141"/>
                </a:lnTo>
                <a:lnTo>
                  <a:pt x="145" y="141"/>
                </a:lnTo>
                <a:lnTo>
                  <a:pt x="147" y="140"/>
                </a:lnTo>
                <a:lnTo>
                  <a:pt x="143" y="136"/>
                </a:lnTo>
                <a:lnTo>
                  <a:pt x="141" y="136"/>
                </a:lnTo>
                <a:lnTo>
                  <a:pt x="137" y="137"/>
                </a:lnTo>
                <a:lnTo>
                  <a:pt x="136" y="137"/>
                </a:lnTo>
                <a:lnTo>
                  <a:pt x="135" y="135"/>
                </a:lnTo>
                <a:lnTo>
                  <a:pt x="135" y="134"/>
                </a:lnTo>
                <a:lnTo>
                  <a:pt x="132" y="134"/>
                </a:lnTo>
                <a:lnTo>
                  <a:pt x="131" y="133"/>
                </a:lnTo>
                <a:lnTo>
                  <a:pt x="134" y="131"/>
                </a:lnTo>
                <a:lnTo>
                  <a:pt x="135" y="131"/>
                </a:lnTo>
                <a:lnTo>
                  <a:pt x="135" y="130"/>
                </a:lnTo>
                <a:lnTo>
                  <a:pt x="134" y="130"/>
                </a:lnTo>
                <a:lnTo>
                  <a:pt x="132" y="129"/>
                </a:lnTo>
                <a:lnTo>
                  <a:pt x="130" y="128"/>
                </a:lnTo>
                <a:lnTo>
                  <a:pt x="128" y="125"/>
                </a:lnTo>
                <a:lnTo>
                  <a:pt x="126" y="125"/>
                </a:lnTo>
                <a:lnTo>
                  <a:pt x="125" y="123"/>
                </a:lnTo>
                <a:lnTo>
                  <a:pt x="125" y="122"/>
                </a:lnTo>
                <a:lnTo>
                  <a:pt x="124" y="122"/>
                </a:lnTo>
                <a:lnTo>
                  <a:pt x="122" y="119"/>
                </a:lnTo>
                <a:lnTo>
                  <a:pt x="120" y="119"/>
                </a:lnTo>
                <a:lnTo>
                  <a:pt x="120" y="121"/>
                </a:lnTo>
                <a:lnTo>
                  <a:pt x="119" y="121"/>
                </a:lnTo>
                <a:lnTo>
                  <a:pt x="117" y="118"/>
                </a:lnTo>
                <a:lnTo>
                  <a:pt x="118" y="118"/>
                </a:lnTo>
                <a:lnTo>
                  <a:pt x="118" y="117"/>
                </a:lnTo>
                <a:lnTo>
                  <a:pt x="119" y="117"/>
                </a:lnTo>
                <a:lnTo>
                  <a:pt x="119" y="115"/>
                </a:lnTo>
                <a:lnTo>
                  <a:pt x="113" y="113"/>
                </a:lnTo>
                <a:lnTo>
                  <a:pt x="111" y="115"/>
                </a:lnTo>
                <a:lnTo>
                  <a:pt x="109" y="115"/>
                </a:lnTo>
                <a:lnTo>
                  <a:pt x="109" y="118"/>
                </a:lnTo>
                <a:lnTo>
                  <a:pt x="105" y="122"/>
                </a:lnTo>
                <a:lnTo>
                  <a:pt x="105" y="123"/>
                </a:lnTo>
                <a:lnTo>
                  <a:pt x="104" y="123"/>
                </a:lnTo>
                <a:lnTo>
                  <a:pt x="97" y="119"/>
                </a:lnTo>
                <a:lnTo>
                  <a:pt x="94" y="121"/>
                </a:lnTo>
                <a:lnTo>
                  <a:pt x="93" y="119"/>
                </a:lnTo>
                <a:lnTo>
                  <a:pt x="86" y="119"/>
                </a:lnTo>
                <a:lnTo>
                  <a:pt x="82" y="118"/>
                </a:lnTo>
                <a:lnTo>
                  <a:pt x="81" y="119"/>
                </a:lnTo>
                <a:lnTo>
                  <a:pt x="80" y="119"/>
                </a:lnTo>
                <a:lnTo>
                  <a:pt x="79" y="122"/>
                </a:lnTo>
                <a:lnTo>
                  <a:pt x="78" y="123"/>
                </a:lnTo>
                <a:lnTo>
                  <a:pt x="76" y="123"/>
                </a:lnTo>
                <a:lnTo>
                  <a:pt x="75" y="122"/>
                </a:lnTo>
                <a:lnTo>
                  <a:pt x="74" y="122"/>
                </a:lnTo>
                <a:lnTo>
                  <a:pt x="73" y="121"/>
                </a:lnTo>
                <a:lnTo>
                  <a:pt x="73" y="119"/>
                </a:lnTo>
                <a:lnTo>
                  <a:pt x="72" y="119"/>
                </a:lnTo>
                <a:lnTo>
                  <a:pt x="72" y="121"/>
                </a:lnTo>
                <a:lnTo>
                  <a:pt x="69" y="121"/>
                </a:lnTo>
                <a:lnTo>
                  <a:pt x="64" y="118"/>
                </a:lnTo>
                <a:lnTo>
                  <a:pt x="68" y="113"/>
                </a:lnTo>
                <a:lnTo>
                  <a:pt x="69" y="111"/>
                </a:lnTo>
                <a:lnTo>
                  <a:pt x="72" y="110"/>
                </a:lnTo>
                <a:lnTo>
                  <a:pt x="72" y="109"/>
                </a:lnTo>
                <a:lnTo>
                  <a:pt x="74" y="105"/>
                </a:lnTo>
                <a:lnTo>
                  <a:pt x="74" y="103"/>
                </a:lnTo>
                <a:lnTo>
                  <a:pt x="75" y="102"/>
                </a:lnTo>
                <a:lnTo>
                  <a:pt x="75" y="91"/>
                </a:lnTo>
                <a:lnTo>
                  <a:pt x="73" y="87"/>
                </a:lnTo>
                <a:lnTo>
                  <a:pt x="72" y="85"/>
                </a:lnTo>
                <a:lnTo>
                  <a:pt x="70" y="85"/>
                </a:lnTo>
                <a:lnTo>
                  <a:pt x="70" y="79"/>
                </a:lnTo>
                <a:lnTo>
                  <a:pt x="68" y="70"/>
                </a:lnTo>
                <a:lnTo>
                  <a:pt x="66" y="68"/>
                </a:lnTo>
                <a:lnTo>
                  <a:pt x="64" y="54"/>
                </a:lnTo>
                <a:lnTo>
                  <a:pt x="63" y="51"/>
                </a:lnTo>
                <a:lnTo>
                  <a:pt x="61" y="49"/>
                </a:lnTo>
                <a:lnTo>
                  <a:pt x="56" y="47"/>
                </a:lnTo>
                <a:lnTo>
                  <a:pt x="55" y="47"/>
                </a:lnTo>
                <a:lnTo>
                  <a:pt x="55" y="45"/>
                </a:lnTo>
                <a:lnTo>
                  <a:pt x="49" y="45"/>
                </a:lnTo>
                <a:lnTo>
                  <a:pt x="48" y="43"/>
                </a:lnTo>
                <a:lnTo>
                  <a:pt x="47" y="39"/>
                </a:lnTo>
                <a:lnTo>
                  <a:pt x="44" y="36"/>
                </a:lnTo>
                <a:lnTo>
                  <a:pt x="44" y="35"/>
                </a:lnTo>
                <a:lnTo>
                  <a:pt x="39" y="35"/>
                </a:lnTo>
                <a:lnTo>
                  <a:pt x="37" y="30"/>
                </a:lnTo>
                <a:lnTo>
                  <a:pt x="33" y="29"/>
                </a:lnTo>
                <a:lnTo>
                  <a:pt x="25" y="29"/>
                </a:lnTo>
                <a:lnTo>
                  <a:pt x="23" y="26"/>
                </a:lnTo>
                <a:lnTo>
                  <a:pt x="20" y="26"/>
                </a:lnTo>
                <a:lnTo>
                  <a:pt x="18" y="24"/>
                </a:lnTo>
                <a:lnTo>
                  <a:pt x="16" y="24"/>
                </a:lnTo>
                <a:lnTo>
                  <a:pt x="14" y="25"/>
                </a:lnTo>
                <a:lnTo>
                  <a:pt x="13" y="24"/>
                </a:lnTo>
                <a:lnTo>
                  <a:pt x="13" y="23"/>
                </a:lnTo>
                <a:lnTo>
                  <a:pt x="12" y="22"/>
                </a:lnTo>
                <a:lnTo>
                  <a:pt x="12" y="18"/>
                </a:lnTo>
                <a:lnTo>
                  <a:pt x="11" y="16"/>
                </a:lnTo>
                <a:lnTo>
                  <a:pt x="10" y="16"/>
                </a:lnTo>
                <a:lnTo>
                  <a:pt x="8" y="14"/>
                </a:lnTo>
                <a:lnTo>
                  <a:pt x="6" y="14"/>
                </a:lnTo>
                <a:lnTo>
                  <a:pt x="5" y="12"/>
                </a:lnTo>
                <a:lnTo>
                  <a:pt x="2" y="12"/>
                </a:lnTo>
                <a:lnTo>
                  <a:pt x="1" y="11"/>
                </a:lnTo>
                <a:lnTo>
                  <a:pt x="0" y="11"/>
                </a:lnTo>
                <a:lnTo>
                  <a:pt x="0" y="10"/>
                </a:lnTo>
                <a:lnTo>
                  <a:pt x="4" y="2"/>
                </a:lnTo>
                <a:lnTo>
                  <a:pt x="4" y="1"/>
                </a:lnTo>
                <a:lnTo>
                  <a:pt x="5" y="1"/>
                </a:lnTo>
                <a:lnTo>
                  <a:pt x="7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2" name="Freeform 43">
            <a:extLst>
              <a:ext uri="{FF2B5EF4-FFF2-40B4-BE49-F238E27FC236}">
                <a16:creationId xmlns:a16="http://schemas.microsoft.com/office/drawing/2014/main" id="{871A75DB-23E5-4C7D-86AD-EC13C25304EF}"/>
              </a:ext>
            </a:extLst>
          </p:cNvPr>
          <p:cNvSpPr>
            <a:spLocks noEditPoints="1"/>
          </p:cNvSpPr>
          <p:nvPr/>
        </p:nvSpPr>
        <p:spPr bwMode="auto">
          <a:xfrm>
            <a:off x="918724" y="4611829"/>
            <a:ext cx="896894" cy="862120"/>
          </a:xfrm>
          <a:custGeom>
            <a:avLst/>
            <a:gdLst/>
            <a:ahLst/>
            <a:cxnLst>
              <a:cxn ang="0">
                <a:pos x="613" y="561"/>
              </a:cxn>
              <a:cxn ang="0">
                <a:pos x="600" y="590"/>
              </a:cxn>
              <a:cxn ang="0">
                <a:pos x="582" y="574"/>
              </a:cxn>
              <a:cxn ang="0">
                <a:pos x="585" y="555"/>
              </a:cxn>
              <a:cxn ang="0">
                <a:pos x="581" y="533"/>
              </a:cxn>
              <a:cxn ang="0">
                <a:pos x="610" y="501"/>
              </a:cxn>
              <a:cxn ang="0">
                <a:pos x="167" y="329"/>
              </a:cxn>
              <a:cxn ang="0">
                <a:pos x="151" y="309"/>
              </a:cxn>
              <a:cxn ang="0">
                <a:pos x="87" y="242"/>
              </a:cxn>
              <a:cxn ang="0">
                <a:pos x="3" y="172"/>
              </a:cxn>
              <a:cxn ang="0">
                <a:pos x="330" y="20"/>
              </a:cxn>
              <a:cxn ang="0">
                <a:pos x="363" y="40"/>
              </a:cxn>
              <a:cxn ang="0">
                <a:pos x="391" y="64"/>
              </a:cxn>
              <a:cxn ang="0">
                <a:pos x="422" y="77"/>
              </a:cxn>
              <a:cxn ang="0">
                <a:pos x="453" y="104"/>
              </a:cxn>
              <a:cxn ang="0">
                <a:pos x="493" y="116"/>
              </a:cxn>
              <a:cxn ang="0">
                <a:pos x="529" y="126"/>
              </a:cxn>
              <a:cxn ang="0">
                <a:pos x="546" y="162"/>
              </a:cxn>
              <a:cxn ang="0">
                <a:pos x="534" y="222"/>
              </a:cxn>
              <a:cxn ang="0">
                <a:pos x="509" y="236"/>
              </a:cxn>
              <a:cxn ang="0">
                <a:pos x="487" y="272"/>
              </a:cxn>
              <a:cxn ang="0">
                <a:pos x="468" y="316"/>
              </a:cxn>
              <a:cxn ang="0">
                <a:pos x="506" y="318"/>
              </a:cxn>
              <a:cxn ang="0">
                <a:pos x="518" y="362"/>
              </a:cxn>
              <a:cxn ang="0">
                <a:pos x="509" y="393"/>
              </a:cxn>
              <a:cxn ang="0">
                <a:pos x="524" y="435"/>
              </a:cxn>
              <a:cxn ang="0">
                <a:pos x="525" y="462"/>
              </a:cxn>
              <a:cxn ang="0">
                <a:pos x="497" y="484"/>
              </a:cxn>
              <a:cxn ang="0">
                <a:pos x="474" y="497"/>
              </a:cxn>
              <a:cxn ang="0">
                <a:pos x="442" y="487"/>
              </a:cxn>
              <a:cxn ang="0">
                <a:pos x="423" y="478"/>
              </a:cxn>
              <a:cxn ang="0">
                <a:pos x="385" y="469"/>
              </a:cxn>
              <a:cxn ang="0">
                <a:pos x="348" y="529"/>
              </a:cxn>
              <a:cxn ang="0">
                <a:pos x="305" y="537"/>
              </a:cxn>
              <a:cxn ang="0">
                <a:pos x="264" y="518"/>
              </a:cxn>
              <a:cxn ang="0">
                <a:pos x="219" y="518"/>
              </a:cxn>
              <a:cxn ang="0">
                <a:pos x="183" y="504"/>
              </a:cxn>
              <a:cxn ang="0">
                <a:pos x="155" y="487"/>
              </a:cxn>
              <a:cxn ang="0">
                <a:pos x="157" y="454"/>
              </a:cxn>
              <a:cxn ang="0">
                <a:pos x="183" y="365"/>
              </a:cxn>
              <a:cxn ang="0">
                <a:pos x="164" y="338"/>
              </a:cxn>
              <a:cxn ang="0">
                <a:pos x="169" y="316"/>
              </a:cxn>
              <a:cxn ang="0">
                <a:pos x="139" y="289"/>
              </a:cxn>
              <a:cxn ang="0">
                <a:pos x="122" y="253"/>
              </a:cxn>
              <a:cxn ang="0">
                <a:pos x="114" y="247"/>
              </a:cxn>
              <a:cxn ang="0">
                <a:pos x="103" y="230"/>
              </a:cxn>
              <a:cxn ang="0">
                <a:pos x="91" y="223"/>
              </a:cxn>
              <a:cxn ang="0">
                <a:pos x="81" y="222"/>
              </a:cxn>
              <a:cxn ang="0">
                <a:pos x="51" y="209"/>
              </a:cxn>
              <a:cxn ang="0">
                <a:pos x="20" y="199"/>
              </a:cxn>
              <a:cxn ang="0">
                <a:pos x="23" y="179"/>
              </a:cxn>
              <a:cxn ang="0">
                <a:pos x="20" y="179"/>
              </a:cxn>
              <a:cxn ang="0">
                <a:pos x="33" y="157"/>
              </a:cxn>
              <a:cxn ang="0">
                <a:pos x="60" y="156"/>
              </a:cxn>
              <a:cxn ang="0">
                <a:pos x="87" y="148"/>
              </a:cxn>
              <a:cxn ang="0">
                <a:pos x="118" y="157"/>
              </a:cxn>
              <a:cxn ang="0">
                <a:pos x="131" y="159"/>
              </a:cxn>
              <a:cxn ang="0">
                <a:pos x="150" y="135"/>
              </a:cxn>
              <a:cxn ang="0">
                <a:pos x="137" y="104"/>
              </a:cxn>
              <a:cxn ang="0">
                <a:pos x="161" y="101"/>
              </a:cxn>
              <a:cxn ang="0">
                <a:pos x="236" y="107"/>
              </a:cxn>
              <a:cxn ang="0">
                <a:pos x="279" y="60"/>
              </a:cxn>
              <a:cxn ang="0">
                <a:pos x="306" y="5"/>
              </a:cxn>
            </a:cxnLst>
            <a:rect l="0" t="0" r="r" b="b"/>
            <a:pathLst>
              <a:path w="619" h="595">
                <a:moveTo>
                  <a:pt x="299" y="531"/>
                </a:moveTo>
                <a:lnTo>
                  <a:pt x="298" y="533"/>
                </a:lnTo>
                <a:lnTo>
                  <a:pt x="299" y="534"/>
                </a:lnTo>
                <a:lnTo>
                  <a:pt x="300" y="534"/>
                </a:lnTo>
                <a:lnTo>
                  <a:pt x="300" y="533"/>
                </a:lnTo>
                <a:lnTo>
                  <a:pt x="299" y="531"/>
                </a:lnTo>
                <a:close/>
                <a:moveTo>
                  <a:pt x="613" y="500"/>
                </a:moveTo>
                <a:lnTo>
                  <a:pt x="613" y="501"/>
                </a:lnTo>
                <a:lnTo>
                  <a:pt x="615" y="501"/>
                </a:lnTo>
                <a:lnTo>
                  <a:pt x="615" y="504"/>
                </a:lnTo>
                <a:lnTo>
                  <a:pt x="616" y="505"/>
                </a:lnTo>
                <a:lnTo>
                  <a:pt x="616" y="513"/>
                </a:lnTo>
                <a:lnTo>
                  <a:pt x="615" y="518"/>
                </a:lnTo>
                <a:lnTo>
                  <a:pt x="615" y="524"/>
                </a:lnTo>
                <a:lnTo>
                  <a:pt x="616" y="524"/>
                </a:lnTo>
                <a:lnTo>
                  <a:pt x="616" y="527"/>
                </a:lnTo>
                <a:lnTo>
                  <a:pt x="617" y="527"/>
                </a:lnTo>
                <a:lnTo>
                  <a:pt x="617" y="525"/>
                </a:lnTo>
                <a:lnTo>
                  <a:pt x="618" y="527"/>
                </a:lnTo>
                <a:lnTo>
                  <a:pt x="618" y="538"/>
                </a:lnTo>
                <a:lnTo>
                  <a:pt x="619" y="541"/>
                </a:lnTo>
                <a:lnTo>
                  <a:pt x="619" y="553"/>
                </a:lnTo>
                <a:lnTo>
                  <a:pt x="618" y="553"/>
                </a:lnTo>
                <a:lnTo>
                  <a:pt x="617" y="554"/>
                </a:lnTo>
                <a:lnTo>
                  <a:pt x="617" y="555"/>
                </a:lnTo>
                <a:lnTo>
                  <a:pt x="616" y="556"/>
                </a:lnTo>
                <a:lnTo>
                  <a:pt x="613" y="560"/>
                </a:lnTo>
                <a:lnTo>
                  <a:pt x="613" y="561"/>
                </a:lnTo>
                <a:lnTo>
                  <a:pt x="612" y="561"/>
                </a:lnTo>
                <a:lnTo>
                  <a:pt x="612" y="577"/>
                </a:lnTo>
                <a:lnTo>
                  <a:pt x="611" y="578"/>
                </a:lnTo>
                <a:lnTo>
                  <a:pt x="611" y="579"/>
                </a:lnTo>
                <a:lnTo>
                  <a:pt x="610" y="579"/>
                </a:lnTo>
                <a:lnTo>
                  <a:pt x="610" y="580"/>
                </a:lnTo>
                <a:lnTo>
                  <a:pt x="608" y="580"/>
                </a:lnTo>
                <a:lnTo>
                  <a:pt x="608" y="581"/>
                </a:lnTo>
                <a:lnTo>
                  <a:pt x="611" y="581"/>
                </a:lnTo>
                <a:lnTo>
                  <a:pt x="610" y="583"/>
                </a:lnTo>
                <a:lnTo>
                  <a:pt x="610" y="584"/>
                </a:lnTo>
                <a:lnTo>
                  <a:pt x="609" y="584"/>
                </a:lnTo>
                <a:lnTo>
                  <a:pt x="608" y="585"/>
                </a:lnTo>
                <a:lnTo>
                  <a:pt x="608" y="586"/>
                </a:lnTo>
                <a:lnTo>
                  <a:pt x="606" y="586"/>
                </a:lnTo>
                <a:lnTo>
                  <a:pt x="608" y="587"/>
                </a:lnTo>
                <a:lnTo>
                  <a:pt x="605" y="590"/>
                </a:lnTo>
                <a:lnTo>
                  <a:pt x="605" y="591"/>
                </a:lnTo>
                <a:lnTo>
                  <a:pt x="606" y="591"/>
                </a:lnTo>
                <a:lnTo>
                  <a:pt x="606" y="592"/>
                </a:lnTo>
                <a:lnTo>
                  <a:pt x="605" y="593"/>
                </a:lnTo>
                <a:lnTo>
                  <a:pt x="605" y="595"/>
                </a:lnTo>
                <a:lnTo>
                  <a:pt x="604" y="595"/>
                </a:lnTo>
                <a:lnTo>
                  <a:pt x="603" y="593"/>
                </a:lnTo>
                <a:lnTo>
                  <a:pt x="600" y="593"/>
                </a:lnTo>
                <a:lnTo>
                  <a:pt x="599" y="592"/>
                </a:lnTo>
                <a:lnTo>
                  <a:pt x="600" y="591"/>
                </a:lnTo>
                <a:lnTo>
                  <a:pt x="600" y="590"/>
                </a:lnTo>
                <a:lnTo>
                  <a:pt x="599" y="590"/>
                </a:lnTo>
                <a:lnTo>
                  <a:pt x="598" y="589"/>
                </a:lnTo>
                <a:lnTo>
                  <a:pt x="599" y="589"/>
                </a:lnTo>
                <a:lnTo>
                  <a:pt x="599" y="587"/>
                </a:lnTo>
                <a:lnTo>
                  <a:pt x="598" y="589"/>
                </a:lnTo>
                <a:lnTo>
                  <a:pt x="596" y="589"/>
                </a:lnTo>
                <a:lnTo>
                  <a:pt x="596" y="587"/>
                </a:lnTo>
                <a:lnTo>
                  <a:pt x="592" y="587"/>
                </a:lnTo>
                <a:lnTo>
                  <a:pt x="592" y="586"/>
                </a:lnTo>
                <a:lnTo>
                  <a:pt x="591" y="586"/>
                </a:lnTo>
                <a:lnTo>
                  <a:pt x="591" y="585"/>
                </a:lnTo>
                <a:lnTo>
                  <a:pt x="590" y="585"/>
                </a:lnTo>
                <a:lnTo>
                  <a:pt x="588" y="584"/>
                </a:lnTo>
                <a:lnTo>
                  <a:pt x="587" y="584"/>
                </a:lnTo>
                <a:lnTo>
                  <a:pt x="587" y="581"/>
                </a:lnTo>
                <a:lnTo>
                  <a:pt x="586" y="581"/>
                </a:lnTo>
                <a:lnTo>
                  <a:pt x="587" y="580"/>
                </a:lnTo>
                <a:lnTo>
                  <a:pt x="587" y="579"/>
                </a:lnTo>
                <a:lnTo>
                  <a:pt x="588" y="579"/>
                </a:lnTo>
                <a:lnTo>
                  <a:pt x="591" y="578"/>
                </a:lnTo>
                <a:lnTo>
                  <a:pt x="591" y="577"/>
                </a:lnTo>
                <a:lnTo>
                  <a:pt x="592" y="577"/>
                </a:lnTo>
                <a:lnTo>
                  <a:pt x="592" y="576"/>
                </a:lnTo>
                <a:lnTo>
                  <a:pt x="587" y="576"/>
                </a:lnTo>
                <a:lnTo>
                  <a:pt x="586" y="574"/>
                </a:lnTo>
                <a:lnTo>
                  <a:pt x="586" y="573"/>
                </a:lnTo>
                <a:lnTo>
                  <a:pt x="584" y="574"/>
                </a:lnTo>
                <a:lnTo>
                  <a:pt x="582" y="574"/>
                </a:lnTo>
                <a:lnTo>
                  <a:pt x="584" y="573"/>
                </a:lnTo>
                <a:lnTo>
                  <a:pt x="581" y="573"/>
                </a:lnTo>
                <a:lnTo>
                  <a:pt x="582" y="572"/>
                </a:lnTo>
                <a:lnTo>
                  <a:pt x="584" y="572"/>
                </a:lnTo>
                <a:lnTo>
                  <a:pt x="584" y="570"/>
                </a:lnTo>
                <a:lnTo>
                  <a:pt x="585" y="570"/>
                </a:lnTo>
                <a:lnTo>
                  <a:pt x="586" y="568"/>
                </a:lnTo>
                <a:lnTo>
                  <a:pt x="586" y="567"/>
                </a:lnTo>
                <a:lnTo>
                  <a:pt x="587" y="567"/>
                </a:lnTo>
                <a:lnTo>
                  <a:pt x="586" y="566"/>
                </a:lnTo>
                <a:lnTo>
                  <a:pt x="587" y="565"/>
                </a:lnTo>
                <a:lnTo>
                  <a:pt x="587" y="564"/>
                </a:lnTo>
                <a:lnTo>
                  <a:pt x="586" y="564"/>
                </a:lnTo>
                <a:lnTo>
                  <a:pt x="586" y="562"/>
                </a:lnTo>
                <a:lnTo>
                  <a:pt x="585" y="562"/>
                </a:lnTo>
                <a:lnTo>
                  <a:pt x="584" y="564"/>
                </a:lnTo>
                <a:lnTo>
                  <a:pt x="580" y="564"/>
                </a:lnTo>
                <a:lnTo>
                  <a:pt x="579" y="565"/>
                </a:lnTo>
                <a:lnTo>
                  <a:pt x="579" y="564"/>
                </a:lnTo>
                <a:lnTo>
                  <a:pt x="580" y="562"/>
                </a:lnTo>
                <a:lnTo>
                  <a:pt x="579" y="562"/>
                </a:lnTo>
                <a:lnTo>
                  <a:pt x="578" y="560"/>
                </a:lnTo>
                <a:lnTo>
                  <a:pt x="581" y="560"/>
                </a:lnTo>
                <a:lnTo>
                  <a:pt x="581" y="558"/>
                </a:lnTo>
                <a:lnTo>
                  <a:pt x="584" y="558"/>
                </a:lnTo>
                <a:lnTo>
                  <a:pt x="584" y="556"/>
                </a:lnTo>
                <a:lnTo>
                  <a:pt x="585" y="556"/>
                </a:lnTo>
                <a:lnTo>
                  <a:pt x="585" y="555"/>
                </a:lnTo>
                <a:lnTo>
                  <a:pt x="584" y="555"/>
                </a:lnTo>
                <a:lnTo>
                  <a:pt x="584" y="553"/>
                </a:lnTo>
                <a:lnTo>
                  <a:pt x="581" y="553"/>
                </a:lnTo>
                <a:lnTo>
                  <a:pt x="581" y="552"/>
                </a:lnTo>
                <a:lnTo>
                  <a:pt x="578" y="552"/>
                </a:lnTo>
                <a:lnTo>
                  <a:pt x="579" y="550"/>
                </a:lnTo>
                <a:lnTo>
                  <a:pt x="578" y="550"/>
                </a:lnTo>
                <a:lnTo>
                  <a:pt x="578" y="546"/>
                </a:lnTo>
                <a:lnTo>
                  <a:pt x="577" y="546"/>
                </a:lnTo>
                <a:lnTo>
                  <a:pt x="577" y="544"/>
                </a:lnTo>
                <a:lnTo>
                  <a:pt x="581" y="544"/>
                </a:lnTo>
                <a:lnTo>
                  <a:pt x="581" y="543"/>
                </a:lnTo>
                <a:lnTo>
                  <a:pt x="582" y="543"/>
                </a:lnTo>
                <a:lnTo>
                  <a:pt x="582" y="542"/>
                </a:lnTo>
                <a:lnTo>
                  <a:pt x="581" y="542"/>
                </a:lnTo>
                <a:lnTo>
                  <a:pt x="580" y="541"/>
                </a:lnTo>
                <a:lnTo>
                  <a:pt x="579" y="541"/>
                </a:lnTo>
                <a:lnTo>
                  <a:pt x="579" y="540"/>
                </a:lnTo>
                <a:lnTo>
                  <a:pt x="580" y="540"/>
                </a:lnTo>
                <a:lnTo>
                  <a:pt x="579" y="538"/>
                </a:lnTo>
                <a:lnTo>
                  <a:pt x="577" y="540"/>
                </a:lnTo>
                <a:lnTo>
                  <a:pt x="577" y="537"/>
                </a:lnTo>
                <a:lnTo>
                  <a:pt x="578" y="537"/>
                </a:lnTo>
                <a:lnTo>
                  <a:pt x="578" y="536"/>
                </a:lnTo>
                <a:lnTo>
                  <a:pt x="579" y="537"/>
                </a:lnTo>
                <a:lnTo>
                  <a:pt x="579" y="535"/>
                </a:lnTo>
                <a:lnTo>
                  <a:pt x="581" y="535"/>
                </a:lnTo>
                <a:lnTo>
                  <a:pt x="581" y="533"/>
                </a:lnTo>
                <a:lnTo>
                  <a:pt x="582" y="531"/>
                </a:lnTo>
                <a:lnTo>
                  <a:pt x="581" y="531"/>
                </a:lnTo>
                <a:lnTo>
                  <a:pt x="581" y="530"/>
                </a:lnTo>
                <a:lnTo>
                  <a:pt x="582" y="529"/>
                </a:lnTo>
                <a:lnTo>
                  <a:pt x="584" y="529"/>
                </a:lnTo>
                <a:lnTo>
                  <a:pt x="584" y="527"/>
                </a:lnTo>
                <a:lnTo>
                  <a:pt x="587" y="527"/>
                </a:lnTo>
                <a:lnTo>
                  <a:pt x="587" y="524"/>
                </a:lnTo>
                <a:lnTo>
                  <a:pt x="588" y="524"/>
                </a:lnTo>
                <a:lnTo>
                  <a:pt x="592" y="523"/>
                </a:lnTo>
                <a:lnTo>
                  <a:pt x="597" y="522"/>
                </a:lnTo>
                <a:lnTo>
                  <a:pt x="598" y="521"/>
                </a:lnTo>
                <a:lnTo>
                  <a:pt x="598" y="519"/>
                </a:lnTo>
                <a:lnTo>
                  <a:pt x="600" y="517"/>
                </a:lnTo>
                <a:lnTo>
                  <a:pt x="605" y="517"/>
                </a:lnTo>
                <a:lnTo>
                  <a:pt x="606" y="518"/>
                </a:lnTo>
                <a:lnTo>
                  <a:pt x="608" y="518"/>
                </a:lnTo>
                <a:lnTo>
                  <a:pt x="608" y="521"/>
                </a:lnTo>
                <a:lnTo>
                  <a:pt x="610" y="518"/>
                </a:lnTo>
                <a:lnTo>
                  <a:pt x="610" y="512"/>
                </a:lnTo>
                <a:lnTo>
                  <a:pt x="609" y="512"/>
                </a:lnTo>
                <a:lnTo>
                  <a:pt x="609" y="511"/>
                </a:lnTo>
                <a:lnTo>
                  <a:pt x="610" y="510"/>
                </a:lnTo>
                <a:lnTo>
                  <a:pt x="610" y="506"/>
                </a:lnTo>
                <a:lnTo>
                  <a:pt x="611" y="506"/>
                </a:lnTo>
                <a:lnTo>
                  <a:pt x="611" y="505"/>
                </a:lnTo>
                <a:lnTo>
                  <a:pt x="610" y="504"/>
                </a:lnTo>
                <a:lnTo>
                  <a:pt x="610" y="501"/>
                </a:lnTo>
                <a:lnTo>
                  <a:pt x="612" y="501"/>
                </a:lnTo>
                <a:lnTo>
                  <a:pt x="613" y="500"/>
                </a:lnTo>
                <a:close/>
                <a:moveTo>
                  <a:pt x="478" y="500"/>
                </a:moveTo>
                <a:lnTo>
                  <a:pt x="480" y="500"/>
                </a:lnTo>
                <a:lnTo>
                  <a:pt x="480" y="501"/>
                </a:lnTo>
                <a:lnTo>
                  <a:pt x="479" y="501"/>
                </a:lnTo>
                <a:lnTo>
                  <a:pt x="479" y="503"/>
                </a:lnTo>
                <a:lnTo>
                  <a:pt x="478" y="503"/>
                </a:lnTo>
                <a:lnTo>
                  <a:pt x="476" y="501"/>
                </a:lnTo>
                <a:lnTo>
                  <a:pt x="478" y="501"/>
                </a:lnTo>
                <a:lnTo>
                  <a:pt x="478" y="500"/>
                </a:lnTo>
                <a:close/>
                <a:moveTo>
                  <a:pt x="473" y="499"/>
                </a:moveTo>
                <a:lnTo>
                  <a:pt x="475" y="499"/>
                </a:lnTo>
                <a:lnTo>
                  <a:pt x="473" y="500"/>
                </a:lnTo>
                <a:lnTo>
                  <a:pt x="473" y="499"/>
                </a:lnTo>
                <a:close/>
                <a:moveTo>
                  <a:pt x="414" y="468"/>
                </a:moveTo>
                <a:lnTo>
                  <a:pt x="416" y="470"/>
                </a:lnTo>
                <a:lnTo>
                  <a:pt x="416" y="469"/>
                </a:lnTo>
                <a:lnTo>
                  <a:pt x="414" y="468"/>
                </a:lnTo>
                <a:close/>
                <a:moveTo>
                  <a:pt x="163" y="405"/>
                </a:moveTo>
                <a:lnTo>
                  <a:pt x="163" y="407"/>
                </a:lnTo>
                <a:lnTo>
                  <a:pt x="163" y="405"/>
                </a:lnTo>
                <a:close/>
                <a:moveTo>
                  <a:pt x="157" y="321"/>
                </a:moveTo>
                <a:lnTo>
                  <a:pt x="158" y="321"/>
                </a:lnTo>
                <a:lnTo>
                  <a:pt x="162" y="325"/>
                </a:lnTo>
                <a:lnTo>
                  <a:pt x="164" y="325"/>
                </a:lnTo>
                <a:lnTo>
                  <a:pt x="164" y="328"/>
                </a:lnTo>
                <a:lnTo>
                  <a:pt x="167" y="329"/>
                </a:lnTo>
                <a:lnTo>
                  <a:pt x="167" y="333"/>
                </a:lnTo>
                <a:lnTo>
                  <a:pt x="165" y="334"/>
                </a:lnTo>
                <a:lnTo>
                  <a:pt x="165" y="335"/>
                </a:lnTo>
                <a:lnTo>
                  <a:pt x="164" y="335"/>
                </a:lnTo>
                <a:lnTo>
                  <a:pt x="164" y="333"/>
                </a:lnTo>
                <a:lnTo>
                  <a:pt x="163" y="332"/>
                </a:lnTo>
                <a:lnTo>
                  <a:pt x="161" y="328"/>
                </a:lnTo>
                <a:lnTo>
                  <a:pt x="159" y="328"/>
                </a:lnTo>
                <a:lnTo>
                  <a:pt x="158" y="327"/>
                </a:lnTo>
                <a:lnTo>
                  <a:pt x="158" y="323"/>
                </a:lnTo>
                <a:lnTo>
                  <a:pt x="157" y="321"/>
                </a:lnTo>
                <a:close/>
                <a:moveTo>
                  <a:pt x="152" y="308"/>
                </a:moveTo>
                <a:lnTo>
                  <a:pt x="153" y="308"/>
                </a:lnTo>
                <a:lnTo>
                  <a:pt x="153" y="309"/>
                </a:lnTo>
                <a:lnTo>
                  <a:pt x="155" y="309"/>
                </a:lnTo>
                <a:lnTo>
                  <a:pt x="153" y="310"/>
                </a:lnTo>
                <a:lnTo>
                  <a:pt x="156" y="310"/>
                </a:lnTo>
                <a:lnTo>
                  <a:pt x="157" y="312"/>
                </a:lnTo>
                <a:lnTo>
                  <a:pt x="161" y="312"/>
                </a:lnTo>
                <a:lnTo>
                  <a:pt x="162" y="313"/>
                </a:lnTo>
                <a:lnTo>
                  <a:pt x="163" y="313"/>
                </a:lnTo>
                <a:lnTo>
                  <a:pt x="163" y="314"/>
                </a:lnTo>
                <a:lnTo>
                  <a:pt x="162" y="315"/>
                </a:lnTo>
                <a:lnTo>
                  <a:pt x="162" y="314"/>
                </a:lnTo>
                <a:lnTo>
                  <a:pt x="159" y="314"/>
                </a:lnTo>
                <a:lnTo>
                  <a:pt x="156" y="312"/>
                </a:lnTo>
                <a:lnTo>
                  <a:pt x="152" y="312"/>
                </a:lnTo>
                <a:lnTo>
                  <a:pt x="151" y="309"/>
                </a:lnTo>
                <a:lnTo>
                  <a:pt x="150" y="309"/>
                </a:lnTo>
                <a:lnTo>
                  <a:pt x="152" y="308"/>
                </a:lnTo>
                <a:close/>
                <a:moveTo>
                  <a:pt x="115" y="279"/>
                </a:moveTo>
                <a:lnTo>
                  <a:pt x="118" y="279"/>
                </a:lnTo>
                <a:lnTo>
                  <a:pt x="119" y="280"/>
                </a:lnTo>
                <a:lnTo>
                  <a:pt x="120" y="280"/>
                </a:lnTo>
                <a:lnTo>
                  <a:pt x="120" y="282"/>
                </a:lnTo>
                <a:lnTo>
                  <a:pt x="116" y="282"/>
                </a:lnTo>
                <a:lnTo>
                  <a:pt x="115" y="280"/>
                </a:lnTo>
                <a:lnTo>
                  <a:pt x="115" y="279"/>
                </a:lnTo>
                <a:close/>
                <a:moveTo>
                  <a:pt x="124" y="265"/>
                </a:moveTo>
                <a:lnTo>
                  <a:pt x="125" y="265"/>
                </a:lnTo>
                <a:lnTo>
                  <a:pt x="126" y="266"/>
                </a:lnTo>
                <a:lnTo>
                  <a:pt x="126" y="269"/>
                </a:lnTo>
                <a:lnTo>
                  <a:pt x="125" y="269"/>
                </a:lnTo>
                <a:lnTo>
                  <a:pt x="125" y="267"/>
                </a:lnTo>
                <a:lnTo>
                  <a:pt x="124" y="265"/>
                </a:lnTo>
                <a:close/>
                <a:moveTo>
                  <a:pt x="120" y="261"/>
                </a:moveTo>
                <a:lnTo>
                  <a:pt x="124" y="261"/>
                </a:lnTo>
                <a:lnTo>
                  <a:pt x="124" y="265"/>
                </a:lnTo>
                <a:lnTo>
                  <a:pt x="121" y="265"/>
                </a:lnTo>
                <a:lnTo>
                  <a:pt x="120" y="264"/>
                </a:lnTo>
                <a:lnTo>
                  <a:pt x="120" y="261"/>
                </a:lnTo>
                <a:close/>
                <a:moveTo>
                  <a:pt x="78" y="239"/>
                </a:moveTo>
                <a:lnTo>
                  <a:pt x="80" y="239"/>
                </a:lnTo>
                <a:lnTo>
                  <a:pt x="82" y="240"/>
                </a:lnTo>
                <a:lnTo>
                  <a:pt x="84" y="242"/>
                </a:lnTo>
                <a:lnTo>
                  <a:pt x="87" y="242"/>
                </a:lnTo>
                <a:lnTo>
                  <a:pt x="87" y="245"/>
                </a:lnTo>
                <a:lnTo>
                  <a:pt x="82" y="245"/>
                </a:lnTo>
                <a:lnTo>
                  <a:pt x="80" y="243"/>
                </a:lnTo>
                <a:lnTo>
                  <a:pt x="80" y="241"/>
                </a:lnTo>
                <a:lnTo>
                  <a:pt x="78" y="240"/>
                </a:lnTo>
                <a:lnTo>
                  <a:pt x="78" y="239"/>
                </a:lnTo>
                <a:close/>
                <a:moveTo>
                  <a:pt x="84" y="229"/>
                </a:moveTo>
                <a:lnTo>
                  <a:pt x="84" y="234"/>
                </a:lnTo>
                <a:lnTo>
                  <a:pt x="83" y="232"/>
                </a:lnTo>
                <a:lnTo>
                  <a:pt x="83" y="230"/>
                </a:lnTo>
                <a:lnTo>
                  <a:pt x="84" y="229"/>
                </a:lnTo>
                <a:close/>
                <a:moveTo>
                  <a:pt x="99" y="224"/>
                </a:moveTo>
                <a:lnTo>
                  <a:pt x="101" y="224"/>
                </a:lnTo>
                <a:lnTo>
                  <a:pt x="102" y="226"/>
                </a:lnTo>
                <a:lnTo>
                  <a:pt x="101" y="226"/>
                </a:lnTo>
                <a:lnTo>
                  <a:pt x="99" y="224"/>
                </a:lnTo>
                <a:close/>
                <a:moveTo>
                  <a:pt x="41" y="206"/>
                </a:moveTo>
                <a:lnTo>
                  <a:pt x="41" y="208"/>
                </a:lnTo>
                <a:lnTo>
                  <a:pt x="43" y="208"/>
                </a:lnTo>
                <a:lnTo>
                  <a:pt x="41" y="206"/>
                </a:lnTo>
                <a:close/>
                <a:moveTo>
                  <a:pt x="38" y="180"/>
                </a:moveTo>
                <a:lnTo>
                  <a:pt x="35" y="183"/>
                </a:lnTo>
                <a:lnTo>
                  <a:pt x="39" y="181"/>
                </a:lnTo>
                <a:lnTo>
                  <a:pt x="38" y="181"/>
                </a:lnTo>
                <a:lnTo>
                  <a:pt x="38" y="180"/>
                </a:lnTo>
                <a:close/>
                <a:moveTo>
                  <a:pt x="2" y="169"/>
                </a:moveTo>
                <a:lnTo>
                  <a:pt x="3" y="171"/>
                </a:lnTo>
                <a:lnTo>
                  <a:pt x="3" y="172"/>
                </a:lnTo>
                <a:lnTo>
                  <a:pt x="0" y="172"/>
                </a:lnTo>
                <a:lnTo>
                  <a:pt x="2" y="169"/>
                </a:lnTo>
                <a:close/>
                <a:moveTo>
                  <a:pt x="85" y="149"/>
                </a:moveTo>
                <a:lnTo>
                  <a:pt x="84" y="150"/>
                </a:lnTo>
                <a:lnTo>
                  <a:pt x="84" y="153"/>
                </a:lnTo>
                <a:lnTo>
                  <a:pt x="84" y="150"/>
                </a:lnTo>
                <a:lnTo>
                  <a:pt x="85" y="150"/>
                </a:lnTo>
                <a:lnTo>
                  <a:pt x="85" y="149"/>
                </a:lnTo>
                <a:close/>
                <a:moveTo>
                  <a:pt x="88" y="148"/>
                </a:moveTo>
                <a:lnTo>
                  <a:pt x="89" y="148"/>
                </a:lnTo>
                <a:lnTo>
                  <a:pt x="89" y="149"/>
                </a:lnTo>
                <a:lnTo>
                  <a:pt x="88" y="149"/>
                </a:lnTo>
                <a:lnTo>
                  <a:pt x="88" y="148"/>
                </a:lnTo>
                <a:close/>
                <a:moveTo>
                  <a:pt x="323" y="0"/>
                </a:moveTo>
                <a:lnTo>
                  <a:pt x="323" y="1"/>
                </a:lnTo>
                <a:lnTo>
                  <a:pt x="324" y="5"/>
                </a:lnTo>
                <a:lnTo>
                  <a:pt x="324" y="6"/>
                </a:lnTo>
                <a:lnTo>
                  <a:pt x="326" y="8"/>
                </a:lnTo>
                <a:lnTo>
                  <a:pt x="326" y="11"/>
                </a:lnTo>
                <a:lnTo>
                  <a:pt x="325" y="12"/>
                </a:lnTo>
                <a:lnTo>
                  <a:pt x="325" y="17"/>
                </a:lnTo>
                <a:lnTo>
                  <a:pt x="326" y="17"/>
                </a:lnTo>
                <a:lnTo>
                  <a:pt x="326" y="18"/>
                </a:lnTo>
                <a:lnTo>
                  <a:pt x="327" y="19"/>
                </a:lnTo>
                <a:lnTo>
                  <a:pt x="329" y="18"/>
                </a:lnTo>
                <a:lnTo>
                  <a:pt x="329" y="19"/>
                </a:lnTo>
                <a:lnTo>
                  <a:pt x="330" y="19"/>
                </a:lnTo>
                <a:lnTo>
                  <a:pt x="330" y="20"/>
                </a:lnTo>
                <a:lnTo>
                  <a:pt x="332" y="21"/>
                </a:lnTo>
                <a:lnTo>
                  <a:pt x="332" y="24"/>
                </a:lnTo>
                <a:lnTo>
                  <a:pt x="333" y="25"/>
                </a:lnTo>
                <a:lnTo>
                  <a:pt x="337" y="26"/>
                </a:lnTo>
                <a:lnTo>
                  <a:pt x="338" y="26"/>
                </a:lnTo>
                <a:lnTo>
                  <a:pt x="339" y="24"/>
                </a:lnTo>
                <a:lnTo>
                  <a:pt x="341" y="23"/>
                </a:lnTo>
                <a:lnTo>
                  <a:pt x="342" y="23"/>
                </a:lnTo>
                <a:lnTo>
                  <a:pt x="346" y="20"/>
                </a:lnTo>
                <a:lnTo>
                  <a:pt x="348" y="20"/>
                </a:lnTo>
                <a:lnTo>
                  <a:pt x="349" y="21"/>
                </a:lnTo>
                <a:lnTo>
                  <a:pt x="349" y="23"/>
                </a:lnTo>
                <a:lnTo>
                  <a:pt x="350" y="24"/>
                </a:lnTo>
                <a:lnTo>
                  <a:pt x="350" y="25"/>
                </a:lnTo>
                <a:lnTo>
                  <a:pt x="351" y="25"/>
                </a:lnTo>
                <a:lnTo>
                  <a:pt x="352" y="26"/>
                </a:lnTo>
                <a:lnTo>
                  <a:pt x="352" y="31"/>
                </a:lnTo>
                <a:lnTo>
                  <a:pt x="354" y="34"/>
                </a:lnTo>
                <a:lnTo>
                  <a:pt x="354" y="37"/>
                </a:lnTo>
                <a:lnTo>
                  <a:pt x="355" y="38"/>
                </a:lnTo>
                <a:lnTo>
                  <a:pt x="355" y="39"/>
                </a:lnTo>
                <a:lnTo>
                  <a:pt x="357" y="39"/>
                </a:lnTo>
                <a:lnTo>
                  <a:pt x="357" y="40"/>
                </a:lnTo>
                <a:lnTo>
                  <a:pt x="358" y="39"/>
                </a:lnTo>
                <a:lnTo>
                  <a:pt x="361" y="39"/>
                </a:lnTo>
                <a:lnTo>
                  <a:pt x="361" y="38"/>
                </a:lnTo>
                <a:lnTo>
                  <a:pt x="363" y="38"/>
                </a:lnTo>
                <a:lnTo>
                  <a:pt x="363" y="40"/>
                </a:lnTo>
                <a:lnTo>
                  <a:pt x="368" y="40"/>
                </a:lnTo>
                <a:lnTo>
                  <a:pt x="369" y="42"/>
                </a:lnTo>
                <a:lnTo>
                  <a:pt x="369" y="43"/>
                </a:lnTo>
                <a:lnTo>
                  <a:pt x="370" y="45"/>
                </a:lnTo>
                <a:lnTo>
                  <a:pt x="370" y="51"/>
                </a:lnTo>
                <a:lnTo>
                  <a:pt x="372" y="52"/>
                </a:lnTo>
                <a:lnTo>
                  <a:pt x="373" y="52"/>
                </a:lnTo>
                <a:lnTo>
                  <a:pt x="373" y="51"/>
                </a:lnTo>
                <a:lnTo>
                  <a:pt x="374" y="50"/>
                </a:lnTo>
                <a:lnTo>
                  <a:pt x="374" y="49"/>
                </a:lnTo>
                <a:lnTo>
                  <a:pt x="376" y="49"/>
                </a:lnTo>
                <a:lnTo>
                  <a:pt x="377" y="50"/>
                </a:lnTo>
                <a:lnTo>
                  <a:pt x="380" y="50"/>
                </a:lnTo>
                <a:lnTo>
                  <a:pt x="380" y="51"/>
                </a:lnTo>
                <a:lnTo>
                  <a:pt x="381" y="51"/>
                </a:lnTo>
                <a:lnTo>
                  <a:pt x="383" y="50"/>
                </a:lnTo>
                <a:lnTo>
                  <a:pt x="386" y="50"/>
                </a:lnTo>
                <a:lnTo>
                  <a:pt x="388" y="52"/>
                </a:lnTo>
                <a:lnTo>
                  <a:pt x="389" y="52"/>
                </a:lnTo>
                <a:lnTo>
                  <a:pt x="389" y="55"/>
                </a:lnTo>
                <a:lnTo>
                  <a:pt x="391" y="56"/>
                </a:lnTo>
                <a:lnTo>
                  <a:pt x="391" y="55"/>
                </a:lnTo>
                <a:lnTo>
                  <a:pt x="393" y="55"/>
                </a:lnTo>
                <a:lnTo>
                  <a:pt x="393" y="57"/>
                </a:lnTo>
                <a:lnTo>
                  <a:pt x="392" y="57"/>
                </a:lnTo>
                <a:lnTo>
                  <a:pt x="392" y="58"/>
                </a:lnTo>
                <a:lnTo>
                  <a:pt x="391" y="58"/>
                </a:lnTo>
                <a:lnTo>
                  <a:pt x="391" y="64"/>
                </a:lnTo>
                <a:lnTo>
                  <a:pt x="392" y="63"/>
                </a:lnTo>
                <a:lnTo>
                  <a:pt x="392" y="64"/>
                </a:lnTo>
                <a:lnTo>
                  <a:pt x="393" y="67"/>
                </a:lnTo>
                <a:lnTo>
                  <a:pt x="394" y="68"/>
                </a:lnTo>
                <a:lnTo>
                  <a:pt x="393" y="68"/>
                </a:lnTo>
                <a:lnTo>
                  <a:pt x="393" y="69"/>
                </a:lnTo>
                <a:lnTo>
                  <a:pt x="392" y="69"/>
                </a:lnTo>
                <a:lnTo>
                  <a:pt x="391" y="70"/>
                </a:lnTo>
                <a:lnTo>
                  <a:pt x="391" y="74"/>
                </a:lnTo>
                <a:lnTo>
                  <a:pt x="393" y="75"/>
                </a:lnTo>
                <a:lnTo>
                  <a:pt x="397" y="75"/>
                </a:lnTo>
                <a:lnTo>
                  <a:pt x="403" y="76"/>
                </a:lnTo>
                <a:lnTo>
                  <a:pt x="405" y="76"/>
                </a:lnTo>
                <a:lnTo>
                  <a:pt x="412" y="73"/>
                </a:lnTo>
                <a:lnTo>
                  <a:pt x="413" y="73"/>
                </a:lnTo>
                <a:lnTo>
                  <a:pt x="413" y="67"/>
                </a:lnTo>
                <a:lnTo>
                  <a:pt x="418" y="62"/>
                </a:lnTo>
                <a:lnTo>
                  <a:pt x="419" y="62"/>
                </a:lnTo>
                <a:lnTo>
                  <a:pt x="419" y="63"/>
                </a:lnTo>
                <a:lnTo>
                  <a:pt x="422" y="62"/>
                </a:lnTo>
                <a:lnTo>
                  <a:pt x="422" y="67"/>
                </a:lnTo>
                <a:lnTo>
                  <a:pt x="420" y="67"/>
                </a:lnTo>
                <a:lnTo>
                  <a:pt x="419" y="68"/>
                </a:lnTo>
                <a:lnTo>
                  <a:pt x="419" y="70"/>
                </a:lnTo>
                <a:lnTo>
                  <a:pt x="418" y="74"/>
                </a:lnTo>
                <a:lnTo>
                  <a:pt x="418" y="76"/>
                </a:lnTo>
                <a:lnTo>
                  <a:pt x="420" y="76"/>
                </a:lnTo>
                <a:lnTo>
                  <a:pt x="422" y="77"/>
                </a:lnTo>
                <a:lnTo>
                  <a:pt x="422" y="79"/>
                </a:lnTo>
                <a:lnTo>
                  <a:pt x="420" y="80"/>
                </a:lnTo>
                <a:lnTo>
                  <a:pt x="420" y="86"/>
                </a:lnTo>
                <a:lnTo>
                  <a:pt x="426" y="86"/>
                </a:lnTo>
                <a:lnTo>
                  <a:pt x="429" y="88"/>
                </a:lnTo>
                <a:lnTo>
                  <a:pt x="430" y="88"/>
                </a:lnTo>
                <a:lnTo>
                  <a:pt x="431" y="89"/>
                </a:lnTo>
                <a:lnTo>
                  <a:pt x="432" y="92"/>
                </a:lnTo>
                <a:lnTo>
                  <a:pt x="433" y="92"/>
                </a:lnTo>
                <a:lnTo>
                  <a:pt x="433" y="93"/>
                </a:lnTo>
                <a:lnTo>
                  <a:pt x="435" y="93"/>
                </a:lnTo>
                <a:lnTo>
                  <a:pt x="437" y="92"/>
                </a:lnTo>
                <a:lnTo>
                  <a:pt x="438" y="92"/>
                </a:lnTo>
                <a:lnTo>
                  <a:pt x="438" y="93"/>
                </a:lnTo>
                <a:lnTo>
                  <a:pt x="439" y="94"/>
                </a:lnTo>
                <a:lnTo>
                  <a:pt x="439" y="98"/>
                </a:lnTo>
                <a:lnTo>
                  <a:pt x="441" y="98"/>
                </a:lnTo>
                <a:lnTo>
                  <a:pt x="441" y="97"/>
                </a:lnTo>
                <a:lnTo>
                  <a:pt x="442" y="97"/>
                </a:lnTo>
                <a:lnTo>
                  <a:pt x="443" y="98"/>
                </a:lnTo>
                <a:lnTo>
                  <a:pt x="444" y="98"/>
                </a:lnTo>
                <a:lnTo>
                  <a:pt x="445" y="101"/>
                </a:lnTo>
                <a:lnTo>
                  <a:pt x="447" y="103"/>
                </a:lnTo>
                <a:lnTo>
                  <a:pt x="445" y="104"/>
                </a:lnTo>
                <a:lnTo>
                  <a:pt x="447" y="105"/>
                </a:lnTo>
                <a:lnTo>
                  <a:pt x="448" y="105"/>
                </a:lnTo>
                <a:lnTo>
                  <a:pt x="449" y="104"/>
                </a:lnTo>
                <a:lnTo>
                  <a:pt x="453" y="104"/>
                </a:lnTo>
                <a:lnTo>
                  <a:pt x="453" y="103"/>
                </a:lnTo>
                <a:lnTo>
                  <a:pt x="454" y="101"/>
                </a:lnTo>
                <a:lnTo>
                  <a:pt x="455" y="103"/>
                </a:lnTo>
                <a:lnTo>
                  <a:pt x="457" y="103"/>
                </a:lnTo>
                <a:lnTo>
                  <a:pt x="457" y="101"/>
                </a:lnTo>
                <a:lnTo>
                  <a:pt x="459" y="101"/>
                </a:lnTo>
                <a:lnTo>
                  <a:pt x="460" y="103"/>
                </a:lnTo>
                <a:lnTo>
                  <a:pt x="462" y="104"/>
                </a:lnTo>
                <a:lnTo>
                  <a:pt x="462" y="105"/>
                </a:lnTo>
                <a:lnTo>
                  <a:pt x="463" y="105"/>
                </a:lnTo>
                <a:lnTo>
                  <a:pt x="466" y="106"/>
                </a:lnTo>
                <a:lnTo>
                  <a:pt x="467" y="107"/>
                </a:lnTo>
                <a:lnTo>
                  <a:pt x="467" y="109"/>
                </a:lnTo>
                <a:lnTo>
                  <a:pt x="472" y="109"/>
                </a:lnTo>
                <a:lnTo>
                  <a:pt x="473" y="107"/>
                </a:lnTo>
                <a:lnTo>
                  <a:pt x="473" y="106"/>
                </a:lnTo>
                <a:lnTo>
                  <a:pt x="475" y="106"/>
                </a:lnTo>
                <a:lnTo>
                  <a:pt x="475" y="105"/>
                </a:lnTo>
                <a:lnTo>
                  <a:pt x="480" y="105"/>
                </a:lnTo>
                <a:lnTo>
                  <a:pt x="481" y="107"/>
                </a:lnTo>
                <a:lnTo>
                  <a:pt x="486" y="107"/>
                </a:lnTo>
                <a:lnTo>
                  <a:pt x="490" y="109"/>
                </a:lnTo>
                <a:lnTo>
                  <a:pt x="491" y="110"/>
                </a:lnTo>
                <a:lnTo>
                  <a:pt x="491" y="112"/>
                </a:lnTo>
                <a:lnTo>
                  <a:pt x="493" y="113"/>
                </a:lnTo>
                <a:lnTo>
                  <a:pt x="493" y="114"/>
                </a:lnTo>
                <a:lnTo>
                  <a:pt x="492" y="116"/>
                </a:lnTo>
                <a:lnTo>
                  <a:pt x="493" y="116"/>
                </a:lnTo>
                <a:lnTo>
                  <a:pt x="493" y="117"/>
                </a:lnTo>
                <a:lnTo>
                  <a:pt x="497" y="119"/>
                </a:lnTo>
                <a:lnTo>
                  <a:pt x="497" y="122"/>
                </a:lnTo>
                <a:lnTo>
                  <a:pt x="498" y="123"/>
                </a:lnTo>
                <a:lnTo>
                  <a:pt x="498" y="124"/>
                </a:lnTo>
                <a:lnTo>
                  <a:pt x="499" y="123"/>
                </a:lnTo>
                <a:lnTo>
                  <a:pt x="499" y="126"/>
                </a:lnTo>
                <a:lnTo>
                  <a:pt x="500" y="128"/>
                </a:lnTo>
                <a:lnTo>
                  <a:pt x="504" y="128"/>
                </a:lnTo>
                <a:lnTo>
                  <a:pt x="505" y="126"/>
                </a:lnTo>
                <a:lnTo>
                  <a:pt x="504" y="125"/>
                </a:lnTo>
                <a:lnTo>
                  <a:pt x="504" y="124"/>
                </a:lnTo>
                <a:lnTo>
                  <a:pt x="509" y="124"/>
                </a:lnTo>
                <a:lnTo>
                  <a:pt x="511" y="125"/>
                </a:lnTo>
                <a:lnTo>
                  <a:pt x="512" y="125"/>
                </a:lnTo>
                <a:lnTo>
                  <a:pt x="512" y="130"/>
                </a:lnTo>
                <a:lnTo>
                  <a:pt x="513" y="130"/>
                </a:lnTo>
                <a:lnTo>
                  <a:pt x="515" y="129"/>
                </a:lnTo>
                <a:lnTo>
                  <a:pt x="515" y="128"/>
                </a:lnTo>
                <a:lnTo>
                  <a:pt x="517" y="129"/>
                </a:lnTo>
                <a:lnTo>
                  <a:pt x="517" y="130"/>
                </a:lnTo>
                <a:lnTo>
                  <a:pt x="523" y="130"/>
                </a:lnTo>
                <a:lnTo>
                  <a:pt x="524" y="129"/>
                </a:lnTo>
                <a:lnTo>
                  <a:pt x="525" y="129"/>
                </a:lnTo>
                <a:lnTo>
                  <a:pt x="525" y="128"/>
                </a:lnTo>
                <a:lnTo>
                  <a:pt x="526" y="128"/>
                </a:lnTo>
                <a:lnTo>
                  <a:pt x="526" y="126"/>
                </a:lnTo>
                <a:lnTo>
                  <a:pt x="529" y="126"/>
                </a:lnTo>
                <a:lnTo>
                  <a:pt x="530" y="128"/>
                </a:lnTo>
                <a:lnTo>
                  <a:pt x="531" y="128"/>
                </a:lnTo>
                <a:lnTo>
                  <a:pt x="531" y="130"/>
                </a:lnTo>
                <a:lnTo>
                  <a:pt x="532" y="131"/>
                </a:lnTo>
                <a:lnTo>
                  <a:pt x="534" y="131"/>
                </a:lnTo>
                <a:lnTo>
                  <a:pt x="534" y="132"/>
                </a:lnTo>
                <a:lnTo>
                  <a:pt x="536" y="132"/>
                </a:lnTo>
                <a:lnTo>
                  <a:pt x="537" y="134"/>
                </a:lnTo>
                <a:lnTo>
                  <a:pt x="537" y="135"/>
                </a:lnTo>
                <a:lnTo>
                  <a:pt x="542" y="135"/>
                </a:lnTo>
                <a:lnTo>
                  <a:pt x="543" y="134"/>
                </a:lnTo>
                <a:lnTo>
                  <a:pt x="544" y="134"/>
                </a:lnTo>
                <a:lnTo>
                  <a:pt x="548" y="135"/>
                </a:lnTo>
                <a:lnTo>
                  <a:pt x="550" y="135"/>
                </a:lnTo>
                <a:lnTo>
                  <a:pt x="557" y="138"/>
                </a:lnTo>
                <a:lnTo>
                  <a:pt x="561" y="140"/>
                </a:lnTo>
                <a:lnTo>
                  <a:pt x="562" y="140"/>
                </a:lnTo>
                <a:lnTo>
                  <a:pt x="561" y="141"/>
                </a:lnTo>
                <a:lnTo>
                  <a:pt x="560" y="143"/>
                </a:lnTo>
                <a:lnTo>
                  <a:pt x="557" y="149"/>
                </a:lnTo>
                <a:lnTo>
                  <a:pt x="555" y="150"/>
                </a:lnTo>
                <a:lnTo>
                  <a:pt x="555" y="152"/>
                </a:lnTo>
                <a:lnTo>
                  <a:pt x="554" y="153"/>
                </a:lnTo>
                <a:lnTo>
                  <a:pt x="551" y="153"/>
                </a:lnTo>
                <a:lnTo>
                  <a:pt x="551" y="155"/>
                </a:lnTo>
                <a:lnTo>
                  <a:pt x="548" y="159"/>
                </a:lnTo>
                <a:lnTo>
                  <a:pt x="547" y="159"/>
                </a:lnTo>
                <a:lnTo>
                  <a:pt x="546" y="162"/>
                </a:lnTo>
                <a:lnTo>
                  <a:pt x="546" y="168"/>
                </a:lnTo>
                <a:lnTo>
                  <a:pt x="544" y="168"/>
                </a:lnTo>
                <a:lnTo>
                  <a:pt x="544" y="169"/>
                </a:lnTo>
                <a:lnTo>
                  <a:pt x="543" y="171"/>
                </a:lnTo>
                <a:lnTo>
                  <a:pt x="543" y="173"/>
                </a:lnTo>
                <a:lnTo>
                  <a:pt x="542" y="175"/>
                </a:lnTo>
                <a:lnTo>
                  <a:pt x="542" y="177"/>
                </a:lnTo>
                <a:lnTo>
                  <a:pt x="543" y="178"/>
                </a:lnTo>
                <a:lnTo>
                  <a:pt x="543" y="179"/>
                </a:lnTo>
                <a:lnTo>
                  <a:pt x="541" y="181"/>
                </a:lnTo>
                <a:lnTo>
                  <a:pt x="541" y="185"/>
                </a:lnTo>
                <a:lnTo>
                  <a:pt x="540" y="186"/>
                </a:lnTo>
                <a:lnTo>
                  <a:pt x="537" y="190"/>
                </a:lnTo>
                <a:lnTo>
                  <a:pt x="537" y="191"/>
                </a:lnTo>
                <a:lnTo>
                  <a:pt x="536" y="192"/>
                </a:lnTo>
                <a:lnTo>
                  <a:pt x="536" y="197"/>
                </a:lnTo>
                <a:lnTo>
                  <a:pt x="537" y="200"/>
                </a:lnTo>
                <a:lnTo>
                  <a:pt x="537" y="203"/>
                </a:lnTo>
                <a:lnTo>
                  <a:pt x="536" y="204"/>
                </a:lnTo>
                <a:lnTo>
                  <a:pt x="536" y="208"/>
                </a:lnTo>
                <a:lnTo>
                  <a:pt x="535" y="208"/>
                </a:lnTo>
                <a:lnTo>
                  <a:pt x="535" y="211"/>
                </a:lnTo>
                <a:lnTo>
                  <a:pt x="534" y="211"/>
                </a:lnTo>
                <a:lnTo>
                  <a:pt x="534" y="218"/>
                </a:lnTo>
                <a:lnTo>
                  <a:pt x="532" y="218"/>
                </a:lnTo>
                <a:lnTo>
                  <a:pt x="532" y="221"/>
                </a:lnTo>
                <a:lnTo>
                  <a:pt x="534" y="221"/>
                </a:lnTo>
                <a:lnTo>
                  <a:pt x="534" y="222"/>
                </a:lnTo>
                <a:lnTo>
                  <a:pt x="535" y="222"/>
                </a:lnTo>
                <a:lnTo>
                  <a:pt x="536" y="224"/>
                </a:lnTo>
                <a:lnTo>
                  <a:pt x="536" y="227"/>
                </a:lnTo>
                <a:lnTo>
                  <a:pt x="535" y="227"/>
                </a:lnTo>
                <a:lnTo>
                  <a:pt x="534" y="228"/>
                </a:lnTo>
                <a:lnTo>
                  <a:pt x="531" y="229"/>
                </a:lnTo>
                <a:lnTo>
                  <a:pt x="532" y="230"/>
                </a:lnTo>
                <a:lnTo>
                  <a:pt x="532" y="232"/>
                </a:lnTo>
                <a:lnTo>
                  <a:pt x="531" y="232"/>
                </a:lnTo>
                <a:lnTo>
                  <a:pt x="531" y="233"/>
                </a:lnTo>
                <a:lnTo>
                  <a:pt x="529" y="233"/>
                </a:lnTo>
                <a:lnTo>
                  <a:pt x="529" y="236"/>
                </a:lnTo>
                <a:lnTo>
                  <a:pt x="523" y="236"/>
                </a:lnTo>
                <a:lnTo>
                  <a:pt x="522" y="238"/>
                </a:lnTo>
                <a:lnTo>
                  <a:pt x="520" y="238"/>
                </a:lnTo>
                <a:lnTo>
                  <a:pt x="520" y="236"/>
                </a:lnTo>
                <a:lnTo>
                  <a:pt x="519" y="236"/>
                </a:lnTo>
                <a:lnTo>
                  <a:pt x="518" y="235"/>
                </a:lnTo>
                <a:lnTo>
                  <a:pt x="519" y="233"/>
                </a:lnTo>
                <a:lnTo>
                  <a:pt x="512" y="233"/>
                </a:lnTo>
                <a:lnTo>
                  <a:pt x="512" y="232"/>
                </a:lnTo>
                <a:lnTo>
                  <a:pt x="511" y="233"/>
                </a:lnTo>
                <a:lnTo>
                  <a:pt x="510" y="233"/>
                </a:lnTo>
                <a:lnTo>
                  <a:pt x="510" y="234"/>
                </a:lnTo>
                <a:lnTo>
                  <a:pt x="511" y="234"/>
                </a:lnTo>
                <a:lnTo>
                  <a:pt x="511" y="235"/>
                </a:lnTo>
                <a:lnTo>
                  <a:pt x="510" y="236"/>
                </a:lnTo>
                <a:lnTo>
                  <a:pt x="509" y="236"/>
                </a:lnTo>
                <a:lnTo>
                  <a:pt x="509" y="238"/>
                </a:lnTo>
                <a:lnTo>
                  <a:pt x="506" y="240"/>
                </a:lnTo>
                <a:lnTo>
                  <a:pt x="506" y="241"/>
                </a:lnTo>
                <a:lnTo>
                  <a:pt x="511" y="241"/>
                </a:lnTo>
                <a:lnTo>
                  <a:pt x="511" y="240"/>
                </a:lnTo>
                <a:lnTo>
                  <a:pt x="513" y="242"/>
                </a:lnTo>
                <a:lnTo>
                  <a:pt x="512" y="243"/>
                </a:lnTo>
                <a:lnTo>
                  <a:pt x="511" y="243"/>
                </a:lnTo>
                <a:lnTo>
                  <a:pt x="511" y="245"/>
                </a:lnTo>
                <a:lnTo>
                  <a:pt x="510" y="245"/>
                </a:lnTo>
                <a:lnTo>
                  <a:pt x="510" y="248"/>
                </a:lnTo>
                <a:lnTo>
                  <a:pt x="506" y="249"/>
                </a:lnTo>
                <a:lnTo>
                  <a:pt x="505" y="252"/>
                </a:lnTo>
                <a:lnTo>
                  <a:pt x="505" y="253"/>
                </a:lnTo>
                <a:lnTo>
                  <a:pt x="501" y="255"/>
                </a:lnTo>
                <a:lnTo>
                  <a:pt x="500" y="255"/>
                </a:lnTo>
                <a:lnTo>
                  <a:pt x="500" y="257"/>
                </a:lnTo>
                <a:lnTo>
                  <a:pt x="499" y="258"/>
                </a:lnTo>
                <a:lnTo>
                  <a:pt x="498" y="258"/>
                </a:lnTo>
                <a:lnTo>
                  <a:pt x="498" y="260"/>
                </a:lnTo>
                <a:lnTo>
                  <a:pt x="494" y="264"/>
                </a:lnTo>
                <a:lnTo>
                  <a:pt x="490" y="265"/>
                </a:lnTo>
                <a:lnTo>
                  <a:pt x="488" y="266"/>
                </a:lnTo>
                <a:lnTo>
                  <a:pt x="487" y="269"/>
                </a:lnTo>
                <a:lnTo>
                  <a:pt x="487" y="270"/>
                </a:lnTo>
                <a:lnTo>
                  <a:pt x="488" y="270"/>
                </a:lnTo>
                <a:lnTo>
                  <a:pt x="488" y="272"/>
                </a:lnTo>
                <a:lnTo>
                  <a:pt x="487" y="272"/>
                </a:lnTo>
                <a:lnTo>
                  <a:pt x="487" y="278"/>
                </a:lnTo>
                <a:lnTo>
                  <a:pt x="486" y="279"/>
                </a:lnTo>
                <a:lnTo>
                  <a:pt x="485" y="279"/>
                </a:lnTo>
                <a:lnTo>
                  <a:pt x="484" y="280"/>
                </a:lnTo>
                <a:lnTo>
                  <a:pt x="484" y="282"/>
                </a:lnTo>
                <a:lnTo>
                  <a:pt x="480" y="283"/>
                </a:lnTo>
                <a:lnTo>
                  <a:pt x="474" y="289"/>
                </a:lnTo>
                <a:lnTo>
                  <a:pt x="474" y="290"/>
                </a:lnTo>
                <a:lnTo>
                  <a:pt x="475" y="291"/>
                </a:lnTo>
                <a:lnTo>
                  <a:pt x="474" y="292"/>
                </a:lnTo>
                <a:lnTo>
                  <a:pt x="473" y="295"/>
                </a:lnTo>
                <a:lnTo>
                  <a:pt x="472" y="296"/>
                </a:lnTo>
                <a:lnTo>
                  <a:pt x="472" y="298"/>
                </a:lnTo>
                <a:lnTo>
                  <a:pt x="474" y="300"/>
                </a:lnTo>
                <a:lnTo>
                  <a:pt x="474" y="301"/>
                </a:lnTo>
                <a:lnTo>
                  <a:pt x="475" y="302"/>
                </a:lnTo>
                <a:lnTo>
                  <a:pt x="474" y="304"/>
                </a:lnTo>
                <a:lnTo>
                  <a:pt x="474" y="306"/>
                </a:lnTo>
                <a:lnTo>
                  <a:pt x="473" y="306"/>
                </a:lnTo>
                <a:lnTo>
                  <a:pt x="473" y="309"/>
                </a:lnTo>
                <a:lnTo>
                  <a:pt x="470" y="309"/>
                </a:lnTo>
                <a:lnTo>
                  <a:pt x="468" y="310"/>
                </a:lnTo>
                <a:lnTo>
                  <a:pt x="467" y="312"/>
                </a:lnTo>
                <a:lnTo>
                  <a:pt x="467" y="313"/>
                </a:lnTo>
                <a:lnTo>
                  <a:pt x="468" y="313"/>
                </a:lnTo>
                <a:lnTo>
                  <a:pt x="468" y="315"/>
                </a:lnTo>
                <a:lnTo>
                  <a:pt x="467" y="316"/>
                </a:lnTo>
                <a:lnTo>
                  <a:pt x="468" y="316"/>
                </a:lnTo>
                <a:lnTo>
                  <a:pt x="470" y="315"/>
                </a:lnTo>
                <a:lnTo>
                  <a:pt x="472" y="315"/>
                </a:lnTo>
                <a:lnTo>
                  <a:pt x="474" y="316"/>
                </a:lnTo>
                <a:lnTo>
                  <a:pt x="481" y="309"/>
                </a:lnTo>
                <a:lnTo>
                  <a:pt x="481" y="308"/>
                </a:lnTo>
                <a:lnTo>
                  <a:pt x="479" y="308"/>
                </a:lnTo>
                <a:lnTo>
                  <a:pt x="479" y="306"/>
                </a:lnTo>
                <a:lnTo>
                  <a:pt x="478" y="306"/>
                </a:lnTo>
                <a:lnTo>
                  <a:pt x="479" y="304"/>
                </a:lnTo>
                <a:lnTo>
                  <a:pt x="479" y="303"/>
                </a:lnTo>
                <a:lnTo>
                  <a:pt x="480" y="302"/>
                </a:lnTo>
                <a:lnTo>
                  <a:pt x="482" y="301"/>
                </a:lnTo>
                <a:lnTo>
                  <a:pt x="484" y="300"/>
                </a:lnTo>
                <a:lnTo>
                  <a:pt x="486" y="300"/>
                </a:lnTo>
                <a:lnTo>
                  <a:pt x="490" y="297"/>
                </a:lnTo>
                <a:lnTo>
                  <a:pt x="492" y="296"/>
                </a:lnTo>
                <a:lnTo>
                  <a:pt x="495" y="296"/>
                </a:lnTo>
                <a:lnTo>
                  <a:pt x="501" y="298"/>
                </a:lnTo>
                <a:lnTo>
                  <a:pt x="503" y="300"/>
                </a:lnTo>
                <a:lnTo>
                  <a:pt x="503" y="301"/>
                </a:lnTo>
                <a:lnTo>
                  <a:pt x="500" y="303"/>
                </a:lnTo>
                <a:lnTo>
                  <a:pt x="501" y="304"/>
                </a:lnTo>
                <a:lnTo>
                  <a:pt x="503" y="307"/>
                </a:lnTo>
                <a:lnTo>
                  <a:pt x="504" y="308"/>
                </a:lnTo>
                <a:lnTo>
                  <a:pt x="501" y="313"/>
                </a:lnTo>
                <a:lnTo>
                  <a:pt x="501" y="316"/>
                </a:lnTo>
                <a:lnTo>
                  <a:pt x="505" y="316"/>
                </a:lnTo>
                <a:lnTo>
                  <a:pt x="506" y="318"/>
                </a:lnTo>
                <a:lnTo>
                  <a:pt x="505" y="319"/>
                </a:lnTo>
                <a:lnTo>
                  <a:pt x="505" y="321"/>
                </a:lnTo>
                <a:lnTo>
                  <a:pt x="507" y="321"/>
                </a:lnTo>
                <a:lnTo>
                  <a:pt x="511" y="325"/>
                </a:lnTo>
                <a:lnTo>
                  <a:pt x="511" y="327"/>
                </a:lnTo>
                <a:lnTo>
                  <a:pt x="512" y="328"/>
                </a:lnTo>
                <a:lnTo>
                  <a:pt x="512" y="329"/>
                </a:lnTo>
                <a:lnTo>
                  <a:pt x="511" y="329"/>
                </a:lnTo>
                <a:lnTo>
                  <a:pt x="511" y="331"/>
                </a:lnTo>
                <a:lnTo>
                  <a:pt x="507" y="334"/>
                </a:lnTo>
                <a:lnTo>
                  <a:pt x="506" y="334"/>
                </a:lnTo>
                <a:lnTo>
                  <a:pt x="505" y="333"/>
                </a:lnTo>
                <a:lnTo>
                  <a:pt x="505" y="334"/>
                </a:lnTo>
                <a:lnTo>
                  <a:pt x="503" y="334"/>
                </a:lnTo>
                <a:lnTo>
                  <a:pt x="503" y="341"/>
                </a:lnTo>
                <a:lnTo>
                  <a:pt x="505" y="344"/>
                </a:lnTo>
                <a:lnTo>
                  <a:pt x="506" y="344"/>
                </a:lnTo>
                <a:lnTo>
                  <a:pt x="507" y="345"/>
                </a:lnTo>
                <a:lnTo>
                  <a:pt x="510" y="346"/>
                </a:lnTo>
                <a:lnTo>
                  <a:pt x="510" y="353"/>
                </a:lnTo>
                <a:lnTo>
                  <a:pt x="511" y="353"/>
                </a:lnTo>
                <a:lnTo>
                  <a:pt x="512" y="355"/>
                </a:lnTo>
                <a:lnTo>
                  <a:pt x="515" y="356"/>
                </a:lnTo>
                <a:lnTo>
                  <a:pt x="515" y="358"/>
                </a:lnTo>
                <a:lnTo>
                  <a:pt x="516" y="358"/>
                </a:lnTo>
                <a:lnTo>
                  <a:pt x="516" y="359"/>
                </a:lnTo>
                <a:lnTo>
                  <a:pt x="518" y="359"/>
                </a:lnTo>
                <a:lnTo>
                  <a:pt x="518" y="362"/>
                </a:lnTo>
                <a:lnTo>
                  <a:pt x="517" y="363"/>
                </a:lnTo>
                <a:lnTo>
                  <a:pt x="516" y="365"/>
                </a:lnTo>
                <a:lnTo>
                  <a:pt x="516" y="369"/>
                </a:lnTo>
                <a:lnTo>
                  <a:pt x="513" y="371"/>
                </a:lnTo>
                <a:lnTo>
                  <a:pt x="511" y="371"/>
                </a:lnTo>
                <a:lnTo>
                  <a:pt x="510" y="372"/>
                </a:lnTo>
                <a:lnTo>
                  <a:pt x="509" y="372"/>
                </a:lnTo>
                <a:lnTo>
                  <a:pt x="509" y="374"/>
                </a:lnTo>
                <a:lnTo>
                  <a:pt x="507" y="375"/>
                </a:lnTo>
                <a:lnTo>
                  <a:pt x="506" y="375"/>
                </a:lnTo>
                <a:lnTo>
                  <a:pt x="506" y="376"/>
                </a:lnTo>
                <a:lnTo>
                  <a:pt x="505" y="377"/>
                </a:lnTo>
                <a:lnTo>
                  <a:pt x="503" y="376"/>
                </a:lnTo>
                <a:lnTo>
                  <a:pt x="501" y="375"/>
                </a:lnTo>
                <a:lnTo>
                  <a:pt x="500" y="375"/>
                </a:lnTo>
                <a:lnTo>
                  <a:pt x="499" y="376"/>
                </a:lnTo>
                <a:lnTo>
                  <a:pt x="497" y="376"/>
                </a:lnTo>
                <a:lnTo>
                  <a:pt x="494" y="378"/>
                </a:lnTo>
                <a:lnTo>
                  <a:pt x="495" y="380"/>
                </a:lnTo>
                <a:lnTo>
                  <a:pt x="495" y="381"/>
                </a:lnTo>
                <a:lnTo>
                  <a:pt x="497" y="382"/>
                </a:lnTo>
                <a:lnTo>
                  <a:pt x="497" y="383"/>
                </a:lnTo>
                <a:lnTo>
                  <a:pt x="499" y="383"/>
                </a:lnTo>
                <a:lnTo>
                  <a:pt x="500" y="386"/>
                </a:lnTo>
                <a:lnTo>
                  <a:pt x="500" y="390"/>
                </a:lnTo>
                <a:lnTo>
                  <a:pt x="501" y="392"/>
                </a:lnTo>
                <a:lnTo>
                  <a:pt x="505" y="393"/>
                </a:lnTo>
                <a:lnTo>
                  <a:pt x="509" y="393"/>
                </a:lnTo>
                <a:lnTo>
                  <a:pt x="511" y="394"/>
                </a:lnTo>
                <a:lnTo>
                  <a:pt x="511" y="396"/>
                </a:lnTo>
                <a:lnTo>
                  <a:pt x="512" y="398"/>
                </a:lnTo>
                <a:lnTo>
                  <a:pt x="512" y="400"/>
                </a:lnTo>
                <a:lnTo>
                  <a:pt x="513" y="402"/>
                </a:lnTo>
                <a:lnTo>
                  <a:pt x="513" y="404"/>
                </a:lnTo>
                <a:lnTo>
                  <a:pt x="511" y="402"/>
                </a:lnTo>
                <a:lnTo>
                  <a:pt x="509" y="405"/>
                </a:lnTo>
                <a:lnTo>
                  <a:pt x="509" y="407"/>
                </a:lnTo>
                <a:lnTo>
                  <a:pt x="507" y="409"/>
                </a:lnTo>
                <a:lnTo>
                  <a:pt x="505" y="412"/>
                </a:lnTo>
                <a:lnTo>
                  <a:pt x="504" y="412"/>
                </a:lnTo>
                <a:lnTo>
                  <a:pt x="505" y="414"/>
                </a:lnTo>
                <a:lnTo>
                  <a:pt x="505" y="415"/>
                </a:lnTo>
                <a:lnTo>
                  <a:pt x="507" y="418"/>
                </a:lnTo>
                <a:lnTo>
                  <a:pt x="506" y="419"/>
                </a:lnTo>
                <a:lnTo>
                  <a:pt x="506" y="423"/>
                </a:lnTo>
                <a:lnTo>
                  <a:pt x="507" y="424"/>
                </a:lnTo>
                <a:lnTo>
                  <a:pt x="507" y="426"/>
                </a:lnTo>
                <a:lnTo>
                  <a:pt x="509" y="426"/>
                </a:lnTo>
                <a:lnTo>
                  <a:pt x="510" y="427"/>
                </a:lnTo>
                <a:lnTo>
                  <a:pt x="510" y="429"/>
                </a:lnTo>
                <a:lnTo>
                  <a:pt x="511" y="430"/>
                </a:lnTo>
                <a:lnTo>
                  <a:pt x="513" y="430"/>
                </a:lnTo>
                <a:lnTo>
                  <a:pt x="516" y="431"/>
                </a:lnTo>
                <a:lnTo>
                  <a:pt x="517" y="431"/>
                </a:lnTo>
                <a:lnTo>
                  <a:pt x="522" y="435"/>
                </a:lnTo>
                <a:lnTo>
                  <a:pt x="524" y="435"/>
                </a:lnTo>
                <a:lnTo>
                  <a:pt x="524" y="436"/>
                </a:lnTo>
                <a:lnTo>
                  <a:pt x="528" y="436"/>
                </a:lnTo>
                <a:lnTo>
                  <a:pt x="535" y="435"/>
                </a:lnTo>
                <a:lnTo>
                  <a:pt x="536" y="435"/>
                </a:lnTo>
                <a:lnTo>
                  <a:pt x="537" y="433"/>
                </a:lnTo>
                <a:lnTo>
                  <a:pt x="538" y="433"/>
                </a:lnTo>
                <a:lnTo>
                  <a:pt x="538" y="436"/>
                </a:lnTo>
                <a:lnTo>
                  <a:pt x="541" y="438"/>
                </a:lnTo>
                <a:lnTo>
                  <a:pt x="541" y="439"/>
                </a:lnTo>
                <a:lnTo>
                  <a:pt x="538" y="442"/>
                </a:lnTo>
                <a:lnTo>
                  <a:pt x="538" y="444"/>
                </a:lnTo>
                <a:lnTo>
                  <a:pt x="537" y="445"/>
                </a:lnTo>
                <a:lnTo>
                  <a:pt x="535" y="447"/>
                </a:lnTo>
                <a:lnTo>
                  <a:pt x="534" y="448"/>
                </a:lnTo>
                <a:lnTo>
                  <a:pt x="532" y="450"/>
                </a:lnTo>
                <a:lnTo>
                  <a:pt x="531" y="451"/>
                </a:lnTo>
                <a:lnTo>
                  <a:pt x="531" y="452"/>
                </a:lnTo>
                <a:lnTo>
                  <a:pt x="532" y="456"/>
                </a:lnTo>
                <a:lnTo>
                  <a:pt x="531" y="456"/>
                </a:lnTo>
                <a:lnTo>
                  <a:pt x="531" y="457"/>
                </a:lnTo>
                <a:lnTo>
                  <a:pt x="530" y="457"/>
                </a:lnTo>
                <a:lnTo>
                  <a:pt x="530" y="458"/>
                </a:lnTo>
                <a:lnTo>
                  <a:pt x="529" y="457"/>
                </a:lnTo>
                <a:lnTo>
                  <a:pt x="528" y="457"/>
                </a:lnTo>
                <a:lnTo>
                  <a:pt x="526" y="458"/>
                </a:lnTo>
                <a:lnTo>
                  <a:pt x="526" y="460"/>
                </a:lnTo>
                <a:lnTo>
                  <a:pt x="525" y="461"/>
                </a:lnTo>
                <a:lnTo>
                  <a:pt x="525" y="462"/>
                </a:lnTo>
                <a:lnTo>
                  <a:pt x="524" y="462"/>
                </a:lnTo>
                <a:lnTo>
                  <a:pt x="523" y="461"/>
                </a:lnTo>
                <a:lnTo>
                  <a:pt x="522" y="462"/>
                </a:lnTo>
                <a:lnTo>
                  <a:pt x="520" y="462"/>
                </a:lnTo>
                <a:lnTo>
                  <a:pt x="520" y="464"/>
                </a:lnTo>
                <a:lnTo>
                  <a:pt x="519" y="464"/>
                </a:lnTo>
                <a:lnTo>
                  <a:pt x="519" y="463"/>
                </a:lnTo>
                <a:lnTo>
                  <a:pt x="518" y="463"/>
                </a:lnTo>
                <a:lnTo>
                  <a:pt x="517" y="464"/>
                </a:lnTo>
                <a:lnTo>
                  <a:pt x="517" y="470"/>
                </a:lnTo>
                <a:lnTo>
                  <a:pt x="516" y="469"/>
                </a:lnTo>
                <a:lnTo>
                  <a:pt x="513" y="469"/>
                </a:lnTo>
                <a:lnTo>
                  <a:pt x="513" y="470"/>
                </a:lnTo>
                <a:lnTo>
                  <a:pt x="510" y="470"/>
                </a:lnTo>
                <a:lnTo>
                  <a:pt x="509" y="472"/>
                </a:lnTo>
                <a:lnTo>
                  <a:pt x="509" y="473"/>
                </a:lnTo>
                <a:lnTo>
                  <a:pt x="510" y="473"/>
                </a:lnTo>
                <a:lnTo>
                  <a:pt x="507" y="475"/>
                </a:lnTo>
                <a:lnTo>
                  <a:pt x="507" y="476"/>
                </a:lnTo>
                <a:lnTo>
                  <a:pt x="505" y="476"/>
                </a:lnTo>
                <a:lnTo>
                  <a:pt x="505" y="478"/>
                </a:lnTo>
                <a:lnTo>
                  <a:pt x="500" y="478"/>
                </a:lnTo>
                <a:lnTo>
                  <a:pt x="500" y="480"/>
                </a:lnTo>
                <a:lnTo>
                  <a:pt x="499" y="480"/>
                </a:lnTo>
                <a:lnTo>
                  <a:pt x="499" y="481"/>
                </a:lnTo>
                <a:lnTo>
                  <a:pt x="498" y="481"/>
                </a:lnTo>
                <a:lnTo>
                  <a:pt x="497" y="482"/>
                </a:lnTo>
                <a:lnTo>
                  <a:pt x="497" y="484"/>
                </a:lnTo>
                <a:lnTo>
                  <a:pt x="495" y="485"/>
                </a:lnTo>
                <a:lnTo>
                  <a:pt x="494" y="485"/>
                </a:lnTo>
                <a:lnTo>
                  <a:pt x="494" y="486"/>
                </a:lnTo>
                <a:lnTo>
                  <a:pt x="499" y="486"/>
                </a:lnTo>
                <a:lnTo>
                  <a:pt x="498" y="487"/>
                </a:lnTo>
                <a:lnTo>
                  <a:pt x="498" y="488"/>
                </a:lnTo>
                <a:lnTo>
                  <a:pt x="497" y="488"/>
                </a:lnTo>
                <a:lnTo>
                  <a:pt x="498" y="490"/>
                </a:lnTo>
                <a:lnTo>
                  <a:pt x="497" y="491"/>
                </a:lnTo>
                <a:lnTo>
                  <a:pt x="495" y="491"/>
                </a:lnTo>
                <a:lnTo>
                  <a:pt x="494" y="492"/>
                </a:lnTo>
                <a:lnTo>
                  <a:pt x="494" y="491"/>
                </a:lnTo>
                <a:lnTo>
                  <a:pt x="492" y="491"/>
                </a:lnTo>
                <a:lnTo>
                  <a:pt x="492" y="492"/>
                </a:lnTo>
                <a:lnTo>
                  <a:pt x="491" y="493"/>
                </a:lnTo>
                <a:lnTo>
                  <a:pt x="486" y="493"/>
                </a:lnTo>
                <a:lnTo>
                  <a:pt x="485" y="494"/>
                </a:lnTo>
                <a:lnTo>
                  <a:pt x="485" y="497"/>
                </a:lnTo>
                <a:lnTo>
                  <a:pt x="484" y="497"/>
                </a:lnTo>
                <a:lnTo>
                  <a:pt x="481" y="494"/>
                </a:lnTo>
                <a:lnTo>
                  <a:pt x="479" y="494"/>
                </a:lnTo>
                <a:lnTo>
                  <a:pt x="478" y="495"/>
                </a:lnTo>
                <a:lnTo>
                  <a:pt x="476" y="495"/>
                </a:lnTo>
                <a:lnTo>
                  <a:pt x="476" y="497"/>
                </a:lnTo>
                <a:lnTo>
                  <a:pt x="475" y="498"/>
                </a:lnTo>
                <a:lnTo>
                  <a:pt x="475" y="499"/>
                </a:lnTo>
                <a:lnTo>
                  <a:pt x="474" y="498"/>
                </a:lnTo>
                <a:lnTo>
                  <a:pt x="474" y="497"/>
                </a:lnTo>
                <a:lnTo>
                  <a:pt x="470" y="497"/>
                </a:lnTo>
                <a:lnTo>
                  <a:pt x="469" y="495"/>
                </a:lnTo>
                <a:lnTo>
                  <a:pt x="467" y="495"/>
                </a:lnTo>
                <a:lnTo>
                  <a:pt x="467" y="494"/>
                </a:lnTo>
                <a:lnTo>
                  <a:pt x="464" y="494"/>
                </a:lnTo>
                <a:lnTo>
                  <a:pt x="464" y="495"/>
                </a:lnTo>
                <a:lnTo>
                  <a:pt x="466" y="497"/>
                </a:lnTo>
                <a:lnTo>
                  <a:pt x="467" y="497"/>
                </a:lnTo>
                <a:lnTo>
                  <a:pt x="467" y="498"/>
                </a:lnTo>
                <a:lnTo>
                  <a:pt x="463" y="498"/>
                </a:lnTo>
                <a:lnTo>
                  <a:pt x="463" y="499"/>
                </a:lnTo>
                <a:lnTo>
                  <a:pt x="461" y="499"/>
                </a:lnTo>
                <a:lnTo>
                  <a:pt x="460" y="498"/>
                </a:lnTo>
                <a:lnTo>
                  <a:pt x="460" y="497"/>
                </a:lnTo>
                <a:lnTo>
                  <a:pt x="461" y="497"/>
                </a:lnTo>
                <a:lnTo>
                  <a:pt x="461" y="495"/>
                </a:lnTo>
                <a:lnTo>
                  <a:pt x="460" y="495"/>
                </a:lnTo>
                <a:lnTo>
                  <a:pt x="460" y="494"/>
                </a:lnTo>
                <a:lnTo>
                  <a:pt x="459" y="494"/>
                </a:lnTo>
                <a:lnTo>
                  <a:pt x="456" y="493"/>
                </a:lnTo>
                <a:lnTo>
                  <a:pt x="456" y="492"/>
                </a:lnTo>
                <a:lnTo>
                  <a:pt x="455" y="491"/>
                </a:lnTo>
                <a:lnTo>
                  <a:pt x="454" y="491"/>
                </a:lnTo>
                <a:lnTo>
                  <a:pt x="454" y="492"/>
                </a:lnTo>
                <a:lnTo>
                  <a:pt x="451" y="492"/>
                </a:lnTo>
                <a:lnTo>
                  <a:pt x="449" y="490"/>
                </a:lnTo>
                <a:lnTo>
                  <a:pt x="442" y="490"/>
                </a:lnTo>
                <a:lnTo>
                  <a:pt x="442" y="487"/>
                </a:lnTo>
                <a:lnTo>
                  <a:pt x="443" y="486"/>
                </a:lnTo>
                <a:lnTo>
                  <a:pt x="442" y="486"/>
                </a:lnTo>
                <a:lnTo>
                  <a:pt x="442" y="485"/>
                </a:lnTo>
                <a:lnTo>
                  <a:pt x="441" y="482"/>
                </a:lnTo>
                <a:lnTo>
                  <a:pt x="439" y="481"/>
                </a:lnTo>
                <a:lnTo>
                  <a:pt x="437" y="482"/>
                </a:lnTo>
                <a:lnTo>
                  <a:pt x="429" y="482"/>
                </a:lnTo>
                <a:lnTo>
                  <a:pt x="428" y="481"/>
                </a:lnTo>
                <a:lnTo>
                  <a:pt x="428" y="478"/>
                </a:lnTo>
                <a:lnTo>
                  <a:pt x="433" y="478"/>
                </a:lnTo>
                <a:lnTo>
                  <a:pt x="436" y="475"/>
                </a:lnTo>
                <a:lnTo>
                  <a:pt x="436" y="473"/>
                </a:lnTo>
                <a:lnTo>
                  <a:pt x="435" y="473"/>
                </a:lnTo>
                <a:lnTo>
                  <a:pt x="433" y="474"/>
                </a:lnTo>
                <a:lnTo>
                  <a:pt x="432" y="474"/>
                </a:lnTo>
                <a:lnTo>
                  <a:pt x="432" y="473"/>
                </a:lnTo>
                <a:lnTo>
                  <a:pt x="431" y="472"/>
                </a:lnTo>
                <a:lnTo>
                  <a:pt x="431" y="470"/>
                </a:lnTo>
                <a:lnTo>
                  <a:pt x="429" y="470"/>
                </a:lnTo>
                <a:lnTo>
                  <a:pt x="429" y="469"/>
                </a:lnTo>
                <a:lnTo>
                  <a:pt x="428" y="469"/>
                </a:lnTo>
                <a:lnTo>
                  <a:pt x="428" y="473"/>
                </a:lnTo>
                <a:lnTo>
                  <a:pt x="430" y="475"/>
                </a:lnTo>
                <a:lnTo>
                  <a:pt x="428" y="478"/>
                </a:lnTo>
                <a:lnTo>
                  <a:pt x="426" y="478"/>
                </a:lnTo>
                <a:lnTo>
                  <a:pt x="424" y="476"/>
                </a:lnTo>
                <a:lnTo>
                  <a:pt x="423" y="476"/>
                </a:lnTo>
                <a:lnTo>
                  <a:pt x="423" y="478"/>
                </a:lnTo>
                <a:lnTo>
                  <a:pt x="420" y="478"/>
                </a:lnTo>
                <a:lnTo>
                  <a:pt x="420" y="479"/>
                </a:lnTo>
                <a:lnTo>
                  <a:pt x="422" y="480"/>
                </a:lnTo>
                <a:lnTo>
                  <a:pt x="423" y="480"/>
                </a:lnTo>
                <a:lnTo>
                  <a:pt x="420" y="482"/>
                </a:lnTo>
                <a:lnTo>
                  <a:pt x="420" y="480"/>
                </a:lnTo>
                <a:lnTo>
                  <a:pt x="418" y="479"/>
                </a:lnTo>
                <a:lnTo>
                  <a:pt x="417" y="478"/>
                </a:lnTo>
                <a:lnTo>
                  <a:pt x="416" y="475"/>
                </a:lnTo>
                <a:lnTo>
                  <a:pt x="416" y="478"/>
                </a:lnTo>
                <a:lnTo>
                  <a:pt x="417" y="479"/>
                </a:lnTo>
                <a:lnTo>
                  <a:pt x="418" y="479"/>
                </a:lnTo>
                <a:lnTo>
                  <a:pt x="419" y="480"/>
                </a:lnTo>
                <a:lnTo>
                  <a:pt x="419" y="481"/>
                </a:lnTo>
                <a:lnTo>
                  <a:pt x="410" y="481"/>
                </a:lnTo>
                <a:lnTo>
                  <a:pt x="408" y="480"/>
                </a:lnTo>
                <a:lnTo>
                  <a:pt x="408" y="479"/>
                </a:lnTo>
                <a:lnTo>
                  <a:pt x="410" y="479"/>
                </a:lnTo>
                <a:lnTo>
                  <a:pt x="410" y="476"/>
                </a:lnTo>
                <a:lnTo>
                  <a:pt x="408" y="476"/>
                </a:lnTo>
                <a:lnTo>
                  <a:pt x="406" y="475"/>
                </a:lnTo>
                <a:lnTo>
                  <a:pt x="392" y="475"/>
                </a:lnTo>
                <a:lnTo>
                  <a:pt x="392" y="474"/>
                </a:lnTo>
                <a:lnTo>
                  <a:pt x="391" y="474"/>
                </a:lnTo>
                <a:lnTo>
                  <a:pt x="389" y="472"/>
                </a:lnTo>
                <a:lnTo>
                  <a:pt x="391" y="470"/>
                </a:lnTo>
                <a:lnTo>
                  <a:pt x="389" y="469"/>
                </a:lnTo>
                <a:lnTo>
                  <a:pt x="385" y="469"/>
                </a:lnTo>
                <a:lnTo>
                  <a:pt x="382" y="470"/>
                </a:lnTo>
                <a:lnTo>
                  <a:pt x="374" y="478"/>
                </a:lnTo>
                <a:lnTo>
                  <a:pt x="369" y="480"/>
                </a:lnTo>
                <a:lnTo>
                  <a:pt x="368" y="481"/>
                </a:lnTo>
                <a:lnTo>
                  <a:pt x="364" y="486"/>
                </a:lnTo>
                <a:lnTo>
                  <a:pt x="363" y="486"/>
                </a:lnTo>
                <a:lnTo>
                  <a:pt x="362" y="485"/>
                </a:lnTo>
                <a:lnTo>
                  <a:pt x="358" y="485"/>
                </a:lnTo>
                <a:lnTo>
                  <a:pt x="356" y="486"/>
                </a:lnTo>
                <a:lnTo>
                  <a:pt x="351" y="491"/>
                </a:lnTo>
                <a:lnTo>
                  <a:pt x="351" y="492"/>
                </a:lnTo>
                <a:lnTo>
                  <a:pt x="350" y="492"/>
                </a:lnTo>
                <a:lnTo>
                  <a:pt x="350" y="493"/>
                </a:lnTo>
                <a:lnTo>
                  <a:pt x="349" y="494"/>
                </a:lnTo>
                <a:lnTo>
                  <a:pt x="348" y="494"/>
                </a:lnTo>
                <a:lnTo>
                  <a:pt x="348" y="495"/>
                </a:lnTo>
                <a:lnTo>
                  <a:pt x="346" y="497"/>
                </a:lnTo>
                <a:lnTo>
                  <a:pt x="346" y="499"/>
                </a:lnTo>
                <a:lnTo>
                  <a:pt x="345" y="500"/>
                </a:lnTo>
                <a:lnTo>
                  <a:pt x="345" y="501"/>
                </a:lnTo>
                <a:lnTo>
                  <a:pt x="344" y="504"/>
                </a:lnTo>
                <a:lnTo>
                  <a:pt x="344" y="505"/>
                </a:lnTo>
                <a:lnTo>
                  <a:pt x="345" y="506"/>
                </a:lnTo>
                <a:lnTo>
                  <a:pt x="345" y="507"/>
                </a:lnTo>
                <a:lnTo>
                  <a:pt x="344" y="510"/>
                </a:lnTo>
                <a:lnTo>
                  <a:pt x="344" y="528"/>
                </a:lnTo>
                <a:lnTo>
                  <a:pt x="346" y="528"/>
                </a:lnTo>
                <a:lnTo>
                  <a:pt x="348" y="529"/>
                </a:lnTo>
                <a:lnTo>
                  <a:pt x="349" y="529"/>
                </a:lnTo>
                <a:lnTo>
                  <a:pt x="349" y="531"/>
                </a:lnTo>
                <a:lnTo>
                  <a:pt x="350" y="533"/>
                </a:lnTo>
                <a:lnTo>
                  <a:pt x="350" y="534"/>
                </a:lnTo>
                <a:lnTo>
                  <a:pt x="349" y="535"/>
                </a:lnTo>
                <a:lnTo>
                  <a:pt x="346" y="535"/>
                </a:lnTo>
                <a:lnTo>
                  <a:pt x="345" y="534"/>
                </a:lnTo>
                <a:lnTo>
                  <a:pt x="344" y="534"/>
                </a:lnTo>
                <a:lnTo>
                  <a:pt x="344" y="533"/>
                </a:lnTo>
                <a:lnTo>
                  <a:pt x="338" y="533"/>
                </a:lnTo>
                <a:lnTo>
                  <a:pt x="338" y="534"/>
                </a:lnTo>
                <a:lnTo>
                  <a:pt x="336" y="534"/>
                </a:lnTo>
                <a:lnTo>
                  <a:pt x="335" y="535"/>
                </a:lnTo>
                <a:lnTo>
                  <a:pt x="330" y="535"/>
                </a:lnTo>
                <a:lnTo>
                  <a:pt x="330" y="536"/>
                </a:lnTo>
                <a:lnTo>
                  <a:pt x="327" y="537"/>
                </a:lnTo>
                <a:lnTo>
                  <a:pt x="327" y="538"/>
                </a:lnTo>
                <a:lnTo>
                  <a:pt x="329" y="540"/>
                </a:lnTo>
                <a:lnTo>
                  <a:pt x="326" y="540"/>
                </a:lnTo>
                <a:lnTo>
                  <a:pt x="324" y="538"/>
                </a:lnTo>
                <a:lnTo>
                  <a:pt x="323" y="538"/>
                </a:lnTo>
                <a:lnTo>
                  <a:pt x="323" y="540"/>
                </a:lnTo>
                <a:lnTo>
                  <a:pt x="320" y="540"/>
                </a:lnTo>
                <a:lnTo>
                  <a:pt x="317" y="536"/>
                </a:lnTo>
                <a:lnTo>
                  <a:pt x="313" y="535"/>
                </a:lnTo>
                <a:lnTo>
                  <a:pt x="306" y="535"/>
                </a:lnTo>
                <a:lnTo>
                  <a:pt x="305" y="536"/>
                </a:lnTo>
                <a:lnTo>
                  <a:pt x="305" y="537"/>
                </a:lnTo>
                <a:lnTo>
                  <a:pt x="304" y="537"/>
                </a:lnTo>
                <a:lnTo>
                  <a:pt x="304" y="538"/>
                </a:lnTo>
                <a:lnTo>
                  <a:pt x="300" y="538"/>
                </a:lnTo>
                <a:lnTo>
                  <a:pt x="299" y="537"/>
                </a:lnTo>
                <a:lnTo>
                  <a:pt x="298" y="535"/>
                </a:lnTo>
                <a:lnTo>
                  <a:pt x="298" y="534"/>
                </a:lnTo>
                <a:lnTo>
                  <a:pt x="295" y="534"/>
                </a:lnTo>
                <a:lnTo>
                  <a:pt x="293" y="531"/>
                </a:lnTo>
                <a:lnTo>
                  <a:pt x="289" y="531"/>
                </a:lnTo>
                <a:lnTo>
                  <a:pt x="288" y="530"/>
                </a:lnTo>
                <a:lnTo>
                  <a:pt x="288" y="528"/>
                </a:lnTo>
                <a:lnTo>
                  <a:pt x="289" y="527"/>
                </a:lnTo>
                <a:lnTo>
                  <a:pt x="290" y="527"/>
                </a:lnTo>
                <a:lnTo>
                  <a:pt x="290" y="525"/>
                </a:lnTo>
                <a:lnTo>
                  <a:pt x="288" y="525"/>
                </a:lnTo>
                <a:lnTo>
                  <a:pt x="288" y="524"/>
                </a:lnTo>
                <a:lnTo>
                  <a:pt x="283" y="523"/>
                </a:lnTo>
                <a:lnTo>
                  <a:pt x="281" y="522"/>
                </a:lnTo>
                <a:lnTo>
                  <a:pt x="277" y="522"/>
                </a:lnTo>
                <a:lnTo>
                  <a:pt x="277" y="524"/>
                </a:lnTo>
                <a:lnTo>
                  <a:pt x="276" y="525"/>
                </a:lnTo>
                <a:lnTo>
                  <a:pt x="276" y="524"/>
                </a:lnTo>
                <a:lnTo>
                  <a:pt x="275" y="522"/>
                </a:lnTo>
                <a:lnTo>
                  <a:pt x="274" y="521"/>
                </a:lnTo>
                <a:lnTo>
                  <a:pt x="274" y="519"/>
                </a:lnTo>
                <a:lnTo>
                  <a:pt x="273" y="519"/>
                </a:lnTo>
                <a:lnTo>
                  <a:pt x="273" y="518"/>
                </a:lnTo>
                <a:lnTo>
                  <a:pt x="264" y="518"/>
                </a:lnTo>
                <a:lnTo>
                  <a:pt x="263" y="517"/>
                </a:lnTo>
                <a:lnTo>
                  <a:pt x="263" y="516"/>
                </a:lnTo>
                <a:lnTo>
                  <a:pt x="262" y="515"/>
                </a:lnTo>
                <a:lnTo>
                  <a:pt x="257" y="515"/>
                </a:lnTo>
                <a:lnTo>
                  <a:pt x="256" y="513"/>
                </a:lnTo>
                <a:lnTo>
                  <a:pt x="254" y="513"/>
                </a:lnTo>
                <a:lnTo>
                  <a:pt x="252" y="512"/>
                </a:lnTo>
                <a:lnTo>
                  <a:pt x="250" y="511"/>
                </a:lnTo>
                <a:lnTo>
                  <a:pt x="244" y="511"/>
                </a:lnTo>
                <a:lnTo>
                  <a:pt x="244" y="513"/>
                </a:lnTo>
                <a:lnTo>
                  <a:pt x="243" y="515"/>
                </a:lnTo>
                <a:lnTo>
                  <a:pt x="244" y="516"/>
                </a:lnTo>
                <a:lnTo>
                  <a:pt x="243" y="516"/>
                </a:lnTo>
                <a:lnTo>
                  <a:pt x="243" y="517"/>
                </a:lnTo>
                <a:lnTo>
                  <a:pt x="244" y="517"/>
                </a:lnTo>
                <a:lnTo>
                  <a:pt x="244" y="519"/>
                </a:lnTo>
                <a:lnTo>
                  <a:pt x="232" y="519"/>
                </a:lnTo>
                <a:lnTo>
                  <a:pt x="231" y="518"/>
                </a:lnTo>
                <a:lnTo>
                  <a:pt x="230" y="518"/>
                </a:lnTo>
                <a:lnTo>
                  <a:pt x="230" y="519"/>
                </a:lnTo>
                <a:lnTo>
                  <a:pt x="228" y="521"/>
                </a:lnTo>
                <a:lnTo>
                  <a:pt x="227" y="521"/>
                </a:lnTo>
                <a:lnTo>
                  <a:pt x="227" y="519"/>
                </a:lnTo>
                <a:lnTo>
                  <a:pt x="226" y="518"/>
                </a:lnTo>
                <a:lnTo>
                  <a:pt x="225" y="518"/>
                </a:lnTo>
                <a:lnTo>
                  <a:pt x="223" y="517"/>
                </a:lnTo>
                <a:lnTo>
                  <a:pt x="221" y="518"/>
                </a:lnTo>
                <a:lnTo>
                  <a:pt x="219" y="518"/>
                </a:lnTo>
                <a:lnTo>
                  <a:pt x="215" y="519"/>
                </a:lnTo>
                <a:lnTo>
                  <a:pt x="212" y="519"/>
                </a:lnTo>
                <a:lnTo>
                  <a:pt x="212" y="518"/>
                </a:lnTo>
                <a:lnTo>
                  <a:pt x="211" y="518"/>
                </a:lnTo>
                <a:lnTo>
                  <a:pt x="211" y="517"/>
                </a:lnTo>
                <a:lnTo>
                  <a:pt x="209" y="516"/>
                </a:lnTo>
                <a:lnTo>
                  <a:pt x="209" y="513"/>
                </a:lnTo>
                <a:lnTo>
                  <a:pt x="208" y="513"/>
                </a:lnTo>
                <a:lnTo>
                  <a:pt x="207" y="515"/>
                </a:lnTo>
                <a:lnTo>
                  <a:pt x="203" y="511"/>
                </a:lnTo>
                <a:lnTo>
                  <a:pt x="202" y="511"/>
                </a:lnTo>
                <a:lnTo>
                  <a:pt x="202" y="512"/>
                </a:lnTo>
                <a:lnTo>
                  <a:pt x="201" y="512"/>
                </a:lnTo>
                <a:lnTo>
                  <a:pt x="201" y="511"/>
                </a:lnTo>
                <a:lnTo>
                  <a:pt x="199" y="513"/>
                </a:lnTo>
                <a:lnTo>
                  <a:pt x="196" y="513"/>
                </a:lnTo>
                <a:lnTo>
                  <a:pt x="194" y="512"/>
                </a:lnTo>
                <a:lnTo>
                  <a:pt x="193" y="515"/>
                </a:lnTo>
                <a:lnTo>
                  <a:pt x="192" y="515"/>
                </a:lnTo>
                <a:lnTo>
                  <a:pt x="192" y="513"/>
                </a:lnTo>
                <a:lnTo>
                  <a:pt x="190" y="513"/>
                </a:lnTo>
                <a:lnTo>
                  <a:pt x="190" y="512"/>
                </a:lnTo>
                <a:lnTo>
                  <a:pt x="189" y="510"/>
                </a:lnTo>
                <a:lnTo>
                  <a:pt x="188" y="510"/>
                </a:lnTo>
                <a:lnTo>
                  <a:pt x="187" y="509"/>
                </a:lnTo>
                <a:lnTo>
                  <a:pt x="184" y="509"/>
                </a:lnTo>
                <a:lnTo>
                  <a:pt x="184" y="505"/>
                </a:lnTo>
                <a:lnTo>
                  <a:pt x="183" y="504"/>
                </a:lnTo>
                <a:lnTo>
                  <a:pt x="180" y="505"/>
                </a:lnTo>
                <a:lnTo>
                  <a:pt x="176" y="505"/>
                </a:lnTo>
                <a:lnTo>
                  <a:pt x="175" y="504"/>
                </a:lnTo>
                <a:lnTo>
                  <a:pt x="172" y="503"/>
                </a:lnTo>
                <a:lnTo>
                  <a:pt x="171" y="503"/>
                </a:lnTo>
                <a:lnTo>
                  <a:pt x="170" y="501"/>
                </a:lnTo>
                <a:lnTo>
                  <a:pt x="168" y="501"/>
                </a:lnTo>
                <a:lnTo>
                  <a:pt x="167" y="500"/>
                </a:lnTo>
                <a:lnTo>
                  <a:pt x="164" y="499"/>
                </a:lnTo>
                <a:lnTo>
                  <a:pt x="162" y="499"/>
                </a:lnTo>
                <a:lnTo>
                  <a:pt x="162" y="498"/>
                </a:lnTo>
                <a:lnTo>
                  <a:pt x="161" y="498"/>
                </a:lnTo>
                <a:lnTo>
                  <a:pt x="161" y="495"/>
                </a:lnTo>
                <a:lnTo>
                  <a:pt x="159" y="495"/>
                </a:lnTo>
                <a:lnTo>
                  <a:pt x="159" y="497"/>
                </a:lnTo>
                <a:lnTo>
                  <a:pt x="158" y="498"/>
                </a:lnTo>
                <a:lnTo>
                  <a:pt x="158" y="500"/>
                </a:lnTo>
                <a:lnTo>
                  <a:pt x="157" y="500"/>
                </a:lnTo>
                <a:lnTo>
                  <a:pt x="156" y="499"/>
                </a:lnTo>
                <a:lnTo>
                  <a:pt x="155" y="499"/>
                </a:lnTo>
                <a:lnTo>
                  <a:pt x="153" y="498"/>
                </a:lnTo>
                <a:lnTo>
                  <a:pt x="153" y="497"/>
                </a:lnTo>
                <a:lnTo>
                  <a:pt x="156" y="494"/>
                </a:lnTo>
                <a:lnTo>
                  <a:pt x="157" y="492"/>
                </a:lnTo>
                <a:lnTo>
                  <a:pt x="157" y="487"/>
                </a:lnTo>
                <a:lnTo>
                  <a:pt x="156" y="486"/>
                </a:lnTo>
                <a:lnTo>
                  <a:pt x="155" y="486"/>
                </a:lnTo>
                <a:lnTo>
                  <a:pt x="155" y="487"/>
                </a:lnTo>
                <a:lnTo>
                  <a:pt x="152" y="486"/>
                </a:lnTo>
                <a:lnTo>
                  <a:pt x="151" y="485"/>
                </a:lnTo>
                <a:lnTo>
                  <a:pt x="150" y="485"/>
                </a:lnTo>
                <a:lnTo>
                  <a:pt x="150" y="486"/>
                </a:lnTo>
                <a:lnTo>
                  <a:pt x="149" y="487"/>
                </a:lnTo>
                <a:lnTo>
                  <a:pt x="146" y="487"/>
                </a:lnTo>
                <a:lnTo>
                  <a:pt x="146" y="485"/>
                </a:lnTo>
                <a:lnTo>
                  <a:pt x="145" y="484"/>
                </a:lnTo>
                <a:lnTo>
                  <a:pt x="144" y="485"/>
                </a:lnTo>
                <a:lnTo>
                  <a:pt x="141" y="485"/>
                </a:lnTo>
                <a:lnTo>
                  <a:pt x="141" y="482"/>
                </a:lnTo>
                <a:lnTo>
                  <a:pt x="140" y="482"/>
                </a:lnTo>
                <a:lnTo>
                  <a:pt x="140" y="480"/>
                </a:lnTo>
                <a:lnTo>
                  <a:pt x="141" y="480"/>
                </a:lnTo>
                <a:lnTo>
                  <a:pt x="143" y="479"/>
                </a:lnTo>
                <a:lnTo>
                  <a:pt x="146" y="479"/>
                </a:lnTo>
                <a:lnTo>
                  <a:pt x="146" y="478"/>
                </a:lnTo>
                <a:lnTo>
                  <a:pt x="147" y="476"/>
                </a:lnTo>
                <a:lnTo>
                  <a:pt x="149" y="476"/>
                </a:lnTo>
                <a:lnTo>
                  <a:pt x="149" y="475"/>
                </a:lnTo>
                <a:lnTo>
                  <a:pt x="150" y="474"/>
                </a:lnTo>
                <a:lnTo>
                  <a:pt x="150" y="473"/>
                </a:lnTo>
                <a:lnTo>
                  <a:pt x="152" y="470"/>
                </a:lnTo>
                <a:lnTo>
                  <a:pt x="152" y="469"/>
                </a:lnTo>
                <a:lnTo>
                  <a:pt x="153" y="468"/>
                </a:lnTo>
                <a:lnTo>
                  <a:pt x="153" y="466"/>
                </a:lnTo>
                <a:lnTo>
                  <a:pt x="155" y="463"/>
                </a:lnTo>
                <a:lnTo>
                  <a:pt x="157" y="454"/>
                </a:lnTo>
                <a:lnTo>
                  <a:pt x="158" y="450"/>
                </a:lnTo>
                <a:lnTo>
                  <a:pt x="159" y="443"/>
                </a:lnTo>
                <a:lnTo>
                  <a:pt x="163" y="418"/>
                </a:lnTo>
                <a:lnTo>
                  <a:pt x="163" y="411"/>
                </a:lnTo>
                <a:lnTo>
                  <a:pt x="164" y="409"/>
                </a:lnTo>
                <a:lnTo>
                  <a:pt x="164" y="408"/>
                </a:lnTo>
                <a:lnTo>
                  <a:pt x="165" y="406"/>
                </a:lnTo>
                <a:lnTo>
                  <a:pt x="165" y="405"/>
                </a:lnTo>
                <a:lnTo>
                  <a:pt x="171" y="405"/>
                </a:lnTo>
                <a:lnTo>
                  <a:pt x="171" y="401"/>
                </a:lnTo>
                <a:lnTo>
                  <a:pt x="168" y="399"/>
                </a:lnTo>
                <a:lnTo>
                  <a:pt x="168" y="398"/>
                </a:lnTo>
                <a:lnTo>
                  <a:pt x="167" y="398"/>
                </a:lnTo>
                <a:lnTo>
                  <a:pt x="167" y="399"/>
                </a:lnTo>
                <a:lnTo>
                  <a:pt x="165" y="399"/>
                </a:lnTo>
                <a:lnTo>
                  <a:pt x="164" y="402"/>
                </a:lnTo>
                <a:lnTo>
                  <a:pt x="163" y="405"/>
                </a:lnTo>
                <a:lnTo>
                  <a:pt x="165" y="377"/>
                </a:lnTo>
                <a:lnTo>
                  <a:pt x="167" y="368"/>
                </a:lnTo>
                <a:lnTo>
                  <a:pt x="168" y="355"/>
                </a:lnTo>
                <a:lnTo>
                  <a:pt x="170" y="351"/>
                </a:lnTo>
                <a:lnTo>
                  <a:pt x="170" y="350"/>
                </a:lnTo>
                <a:lnTo>
                  <a:pt x="171" y="350"/>
                </a:lnTo>
                <a:lnTo>
                  <a:pt x="171" y="353"/>
                </a:lnTo>
                <a:lnTo>
                  <a:pt x="172" y="355"/>
                </a:lnTo>
                <a:lnTo>
                  <a:pt x="177" y="357"/>
                </a:lnTo>
                <a:lnTo>
                  <a:pt x="182" y="363"/>
                </a:lnTo>
                <a:lnTo>
                  <a:pt x="183" y="365"/>
                </a:lnTo>
                <a:lnTo>
                  <a:pt x="184" y="366"/>
                </a:lnTo>
                <a:lnTo>
                  <a:pt x="184" y="370"/>
                </a:lnTo>
                <a:lnTo>
                  <a:pt x="186" y="376"/>
                </a:lnTo>
                <a:lnTo>
                  <a:pt x="187" y="380"/>
                </a:lnTo>
                <a:lnTo>
                  <a:pt x="193" y="386"/>
                </a:lnTo>
                <a:lnTo>
                  <a:pt x="193" y="384"/>
                </a:lnTo>
                <a:lnTo>
                  <a:pt x="192" y="383"/>
                </a:lnTo>
                <a:lnTo>
                  <a:pt x="194" y="383"/>
                </a:lnTo>
                <a:lnTo>
                  <a:pt x="193" y="382"/>
                </a:lnTo>
                <a:lnTo>
                  <a:pt x="190" y="381"/>
                </a:lnTo>
                <a:lnTo>
                  <a:pt x="188" y="378"/>
                </a:lnTo>
                <a:lnTo>
                  <a:pt x="188" y="376"/>
                </a:lnTo>
                <a:lnTo>
                  <a:pt x="186" y="365"/>
                </a:lnTo>
                <a:lnTo>
                  <a:pt x="186" y="363"/>
                </a:lnTo>
                <a:lnTo>
                  <a:pt x="184" y="359"/>
                </a:lnTo>
                <a:lnTo>
                  <a:pt x="183" y="357"/>
                </a:lnTo>
                <a:lnTo>
                  <a:pt x="182" y="356"/>
                </a:lnTo>
                <a:lnTo>
                  <a:pt x="181" y="353"/>
                </a:lnTo>
                <a:lnTo>
                  <a:pt x="175" y="350"/>
                </a:lnTo>
                <a:lnTo>
                  <a:pt x="175" y="349"/>
                </a:lnTo>
                <a:lnTo>
                  <a:pt x="174" y="347"/>
                </a:lnTo>
                <a:lnTo>
                  <a:pt x="172" y="347"/>
                </a:lnTo>
                <a:lnTo>
                  <a:pt x="169" y="344"/>
                </a:lnTo>
                <a:lnTo>
                  <a:pt x="168" y="344"/>
                </a:lnTo>
                <a:lnTo>
                  <a:pt x="165" y="341"/>
                </a:lnTo>
                <a:lnTo>
                  <a:pt x="164" y="343"/>
                </a:lnTo>
                <a:lnTo>
                  <a:pt x="163" y="341"/>
                </a:lnTo>
                <a:lnTo>
                  <a:pt x="164" y="338"/>
                </a:lnTo>
                <a:lnTo>
                  <a:pt x="164" y="337"/>
                </a:lnTo>
                <a:lnTo>
                  <a:pt x="167" y="335"/>
                </a:lnTo>
                <a:lnTo>
                  <a:pt x="170" y="339"/>
                </a:lnTo>
                <a:lnTo>
                  <a:pt x="171" y="339"/>
                </a:lnTo>
                <a:lnTo>
                  <a:pt x="171" y="340"/>
                </a:lnTo>
                <a:lnTo>
                  <a:pt x="175" y="341"/>
                </a:lnTo>
                <a:lnTo>
                  <a:pt x="174" y="340"/>
                </a:lnTo>
                <a:lnTo>
                  <a:pt x="170" y="338"/>
                </a:lnTo>
                <a:lnTo>
                  <a:pt x="169" y="335"/>
                </a:lnTo>
                <a:lnTo>
                  <a:pt x="168" y="335"/>
                </a:lnTo>
                <a:lnTo>
                  <a:pt x="168" y="332"/>
                </a:lnTo>
                <a:lnTo>
                  <a:pt x="169" y="332"/>
                </a:lnTo>
                <a:lnTo>
                  <a:pt x="169" y="331"/>
                </a:lnTo>
                <a:lnTo>
                  <a:pt x="170" y="331"/>
                </a:lnTo>
                <a:lnTo>
                  <a:pt x="171" y="329"/>
                </a:lnTo>
                <a:lnTo>
                  <a:pt x="171" y="328"/>
                </a:lnTo>
                <a:lnTo>
                  <a:pt x="170" y="328"/>
                </a:lnTo>
                <a:lnTo>
                  <a:pt x="170" y="327"/>
                </a:lnTo>
                <a:lnTo>
                  <a:pt x="171" y="326"/>
                </a:lnTo>
                <a:lnTo>
                  <a:pt x="170" y="326"/>
                </a:lnTo>
                <a:lnTo>
                  <a:pt x="170" y="325"/>
                </a:lnTo>
                <a:lnTo>
                  <a:pt x="169" y="323"/>
                </a:lnTo>
                <a:lnTo>
                  <a:pt x="171" y="323"/>
                </a:lnTo>
                <a:lnTo>
                  <a:pt x="171" y="321"/>
                </a:lnTo>
                <a:lnTo>
                  <a:pt x="170" y="321"/>
                </a:lnTo>
                <a:lnTo>
                  <a:pt x="170" y="318"/>
                </a:lnTo>
                <a:lnTo>
                  <a:pt x="168" y="318"/>
                </a:lnTo>
                <a:lnTo>
                  <a:pt x="169" y="316"/>
                </a:lnTo>
                <a:lnTo>
                  <a:pt x="168" y="316"/>
                </a:lnTo>
                <a:lnTo>
                  <a:pt x="168" y="315"/>
                </a:lnTo>
                <a:lnTo>
                  <a:pt x="165" y="315"/>
                </a:lnTo>
                <a:lnTo>
                  <a:pt x="165" y="313"/>
                </a:lnTo>
                <a:lnTo>
                  <a:pt x="167" y="313"/>
                </a:lnTo>
                <a:lnTo>
                  <a:pt x="165" y="312"/>
                </a:lnTo>
                <a:lnTo>
                  <a:pt x="169" y="308"/>
                </a:lnTo>
                <a:lnTo>
                  <a:pt x="169" y="306"/>
                </a:lnTo>
                <a:lnTo>
                  <a:pt x="168" y="304"/>
                </a:lnTo>
                <a:lnTo>
                  <a:pt x="167" y="304"/>
                </a:lnTo>
                <a:lnTo>
                  <a:pt x="164" y="306"/>
                </a:lnTo>
                <a:lnTo>
                  <a:pt x="165" y="307"/>
                </a:lnTo>
                <a:lnTo>
                  <a:pt x="164" y="307"/>
                </a:lnTo>
                <a:lnTo>
                  <a:pt x="162" y="304"/>
                </a:lnTo>
                <a:lnTo>
                  <a:pt x="159" y="304"/>
                </a:lnTo>
                <a:lnTo>
                  <a:pt x="158" y="303"/>
                </a:lnTo>
                <a:lnTo>
                  <a:pt x="155" y="303"/>
                </a:lnTo>
                <a:lnTo>
                  <a:pt x="155" y="301"/>
                </a:lnTo>
                <a:lnTo>
                  <a:pt x="152" y="298"/>
                </a:lnTo>
                <a:lnTo>
                  <a:pt x="147" y="298"/>
                </a:lnTo>
                <a:lnTo>
                  <a:pt x="147" y="297"/>
                </a:lnTo>
                <a:lnTo>
                  <a:pt x="145" y="296"/>
                </a:lnTo>
                <a:lnTo>
                  <a:pt x="144" y="295"/>
                </a:lnTo>
                <a:lnTo>
                  <a:pt x="141" y="295"/>
                </a:lnTo>
                <a:lnTo>
                  <a:pt x="141" y="294"/>
                </a:lnTo>
                <a:lnTo>
                  <a:pt x="140" y="292"/>
                </a:lnTo>
                <a:lnTo>
                  <a:pt x="140" y="294"/>
                </a:lnTo>
                <a:lnTo>
                  <a:pt x="139" y="289"/>
                </a:lnTo>
                <a:lnTo>
                  <a:pt x="139" y="288"/>
                </a:lnTo>
                <a:lnTo>
                  <a:pt x="138" y="288"/>
                </a:lnTo>
                <a:lnTo>
                  <a:pt x="138" y="285"/>
                </a:lnTo>
                <a:lnTo>
                  <a:pt x="137" y="285"/>
                </a:lnTo>
                <a:lnTo>
                  <a:pt x="137" y="284"/>
                </a:lnTo>
                <a:lnTo>
                  <a:pt x="136" y="284"/>
                </a:lnTo>
                <a:lnTo>
                  <a:pt x="136" y="282"/>
                </a:lnTo>
                <a:lnTo>
                  <a:pt x="133" y="282"/>
                </a:lnTo>
                <a:lnTo>
                  <a:pt x="133" y="280"/>
                </a:lnTo>
                <a:lnTo>
                  <a:pt x="132" y="278"/>
                </a:lnTo>
                <a:lnTo>
                  <a:pt x="128" y="275"/>
                </a:lnTo>
                <a:lnTo>
                  <a:pt x="126" y="275"/>
                </a:lnTo>
                <a:lnTo>
                  <a:pt x="126" y="269"/>
                </a:lnTo>
                <a:lnTo>
                  <a:pt x="127" y="269"/>
                </a:lnTo>
                <a:lnTo>
                  <a:pt x="127" y="267"/>
                </a:lnTo>
                <a:lnTo>
                  <a:pt x="128" y="266"/>
                </a:lnTo>
                <a:lnTo>
                  <a:pt x="130" y="266"/>
                </a:lnTo>
                <a:lnTo>
                  <a:pt x="130" y="265"/>
                </a:lnTo>
                <a:lnTo>
                  <a:pt x="131" y="263"/>
                </a:lnTo>
                <a:lnTo>
                  <a:pt x="131" y="261"/>
                </a:lnTo>
                <a:lnTo>
                  <a:pt x="132" y="261"/>
                </a:lnTo>
                <a:lnTo>
                  <a:pt x="132" y="259"/>
                </a:lnTo>
                <a:lnTo>
                  <a:pt x="131" y="258"/>
                </a:lnTo>
                <a:lnTo>
                  <a:pt x="127" y="255"/>
                </a:lnTo>
                <a:lnTo>
                  <a:pt x="122" y="255"/>
                </a:lnTo>
                <a:lnTo>
                  <a:pt x="121" y="254"/>
                </a:lnTo>
                <a:lnTo>
                  <a:pt x="122" y="254"/>
                </a:lnTo>
                <a:lnTo>
                  <a:pt x="122" y="253"/>
                </a:lnTo>
                <a:lnTo>
                  <a:pt x="125" y="253"/>
                </a:lnTo>
                <a:lnTo>
                  <a:pt x="125" y="246"/>
                </a:lnTo>
                <a:lnTo>
                  <a:pt x="126" y="246"/>
                </a:lnTo>
                <a:lnTo>
                  <a:pt x="130" y="245"/>
                </a:lnTo>
                <a:lnTo>
                  <a:pt x="132" y="245"/>
                </a:lnTo>
                <a:lnTo>
                  <a:pt x="134" y="246"/>
                </a:lnTo>
                <a:lnTo>
                  <a:pt x="136" y="246"/>
                </a:lnTo>
                <a:lnTo>
                  <a:pt x="136" y="247"/>
                </a:lnTo>
                <a:lnTo>
                  <a:pt x="137" y="248"/>
                </a:lnTo>
                <a:lnTo>
                  <a:pt x="139" y="248"/>
                </a:lnTo>
                <a:lnTo>
                  <a:pt x="140" y="249"/>
                </a:lnTo>
                <a:lnTo>
                  <a:pt x="140" y="248"/>
                </a:lnTo>
                <a:lnTo>
                  <a:pt x="138" y="247"/>
                </a:lnTo>
                <a:lnTo>
                  <a:pt x="136" y="245"/>
                </a:lnTo>
                <a:lnTo>
                  <a:pt x="133" y="245"/>
                </a:lnTo>
                <a:lnTo>
                  <a:pt x="133" y="243"/>
                </a:lnTo>
                <a:lnTo>
                  <a:pt x="125" y="243"/>
                </a:lnTo>
                <a:lnTo>
                  <a:pt x="124" y="245"/>
                </a:lnTo>
                <a:lnTo>
                  <a:pt x="124" y="246"/>
                </a:lnTo>
                <a:lnTo>
                  <a:pt x="122" y="246"/>
                </a:lnTo>
                <a:lnTo>
                  <a:pt x="121" y="247"/>
                </a:lnTo>
                <a:lnTo>
                  <a:pt x="120" y="247"/>
                </a:lnTo>
                <a:lnTo>
                  <a:pt x="120" y="248"/>
                </a:lnTo>
                <a:lnTo>
                  <a:pt x="119" y="248"/>
                </a:lnTo>
                <a:lnTo>
                  <a:pt x="115" y="245"/>
                </a:lnTo>
                <a:lnTo>
                  <a:pt x="115" y="246"/>
                </a:lnTo>
                <a:lnTo>
                  <a:pt x="114" y="246"/>
                </a:lnTo>
                <a:lnTo>
                  <a:pt x="114" y="247"/>
                </a:lnTo>
                <a:lnTo>
                  <a:pt x="113" y="247"/>
                </a:lnTo>
                <a:lnTo>
                  <a:pt x="108" y="245"/>
                </a:lnTo>
                <a:lnTo>
                  <a:pt x="108" y="243"/>
                </a:lnTo>
                <a:lnTo>
                  <a:pt x="109" y="245"/>
                </a:lnTo>
                <a:lnTo>
                  <a:pt x="113" y="245"/>
                </a:lnTo>
                <a:lnTo>
                  <a:pt x="113" y="243"/>
                </a:lnTo>
                <a:lnTo>
                  <a:pt x="112" y="242"/>
                </a:lnTo>
                <a:lnTo>
                  <a:pt x="112" y="241"/>
                </a:lnTo>
                <a:lnTo>
                  <a:pt x="110" y="241"/>
                </a:lnTo>
                <a:lnTo>
                  <a:pt x="109" y="240"/>
                </a:lnTo>
                <a:lnTo>
                  <a:pt x="108" y="240"/>
                </a:lnTo>
                <a:lnTo>
                  <a:pt x="112" y="238"/>
                </a:lnTo>
                <a:lnTo>
                  <a:pt x="115" y="238"/>
                </a:lnTo>
                <a:lnTo>
                  <a:pt x="115" y="236"/>
                </a:lnTo>
                <a:lnTo>
                  <a:pt x="113" y="236"/>
                </a:lnTo>
                <a:lnTo>
                  <a:pt x="113" y="235"/>
                </a:lnTo>
                <a:lnTo>
                  <a:pt x="110" y="235"/>
                </a:lnTo>
                <a:lnTo>
                  <a:pt x="112" y="234"/>
                </a:lnTo>
                <a:lnTo>
                  <a:pt x="110" y="233"/>
                </a:lnTo>
                <a:lnTo>
                  <a:pt x="112" y="233"/>
                </a:lnTo>
                <a:lnTo>
                  <a:pt x="114" y="232"/>
                </a:lnTo>
                <a:lnTo>
                  <a:pt x="110" y="230"/>
                </a:lnTo>
                <a:lnTo>
                  <a:pt x="106" y="230"/>
                </a:lnTo>
                <a:lnTo>
                  <a:pt x="107" y="229"/>
                </a:lnTo>
                <a:lnTo>
                  <a:pt x="106" y="229"/>
                </a:lnTo>
                <a:lnTo>
                  <a:pt x="106" y="232"/>
                </a:lnTo>
                <a:lnTo>
                  <a:pt x="105" y="230"/>
                </a:lnTo>
                <a:lnTo>
                  <a:pt x="103" y="230"/>
                </a:lnTo>
                <a:lnTo>
                  <a:pt x="103" y="232"/>
                </a:lnTo>
                <a:lnTo>
                  <a:pt x="99" y="232"/>
                </a:lnTo>
                <a:lnTo>
                  <a:pt x="97" y="233"/>
                </a:lnTo>
                <a:lnTo>
                  <a:pt x="97" y="232"/>
                </a:lnTo>
                <a:lnTo>
                  <a:pt x="96" y="232"/>
                </a:lnTo>
                <a:lnTo>
                  <a:pt x="95" y="230"/>
                </a:lnTo>
                <a:lnTo>
                  <a:pt x="95" y="229"/>
                </a:lnTo>
                <a:lnTo>
                  <a:pt x="94" y="229"/>
                </a:lnTo>
                <a:lnTo>
                  <a:pt x="93" y="228"/>
                </a:lnTo>
                <a:lnTo>
                  <a:pt x="95" y="228"/>
                </a:lnTo>
                <a:lnTo>
                  <a:pt x="96" y="229"/>
                </a:lnTo>
                <a:lnTo>
                  <a:pt x="97" y="229"/>
                </a:lnTo>
                <a:lnTo>
                  <a:pt x="97" y="228"/>
                </a:lnTo>
                <a:lnTo>
                  <a:pt x="99" y="229"/>
                </a:lnTo>
                <a:lnTo>
                  <a:pt x="100" y="229"/>
                </a:lnTo>
                <a:lnTo>
                  <a:pt x="101" y="228"/>
                </a:lnTo>
                <a:lnTo>
                  <a:pt x="102" y="226"/>
                </a:lnTo>
                <a:lnTo>
                  <a:pt x="102" y="224"/>
                </a:lnTo>
                <a:lnTo>
                  <a:pt x="101" y="224"/>
                </a:lnTo>
                <a:lnTo>
                  <a:pt x="100" y="223"/>
                </a:lnTo>
                <a:lnTo>
                  <a:pt x="99" y="223"/>
                </a:lnTo>
                <a:lnTo>
                  <a:pt x="97" y="224"/>
                </a:lnTo>
                <a:lnTo>
                  <a:pt x="95" y="224"/>
                </a:lnTo>
                <a:lnTo>
                  <a:pt x="95" y="226"/>
                </a:lnTo>
                <a:lnTo>
                  <a:pt x="91" y="226"/>
                </a:lnTo>
                <a:lnTo>
                  <a:pt x="91" y="224"/>
                </a:lnTo>
                <a:lnTo>
                  <a:pt x="93" y="223"/>
                </a:lnTo>
                <a:lnTo>
                  <a:pt x="91" y="223"/>
                </a:lnTo>
                <a:lnTo>
                  <a:pt x="90" y="222"/>
                </a:lnTo>
                <a:lnTo>
                  <a:pt x="90" y="226"/>
                </a:lnTo>
                <a:lnTo>
                  <a:pt x="91" y="226"/>
                </a:lnTo>
                <a:lnTo>
                  <a:pt x="91" y="227"/>
                </a:lnTo>
                <a:lnTo>
                  <a:pt x="93" y="228"/>
                </a:lnTo>
                <a:lnTo>
                  <a:pt x="91" y="228"/>
                </a:lnTo>
                <a:lnTo>
                  <a:pt x="90" y="227"/>
                </a:lnTo>
                <a:lnTo>
                  <a:pt x="89" y="227"/>
                </a:lnTo>
                <a:lnTo>
                  <a:pt x="89" y="226"/>
                </a:lnTo>
                <a:lnTo>
                  <a:pt x="88" y="226"/>
                </a:lnTo>
                <a:lnTo>
                  <a:pt x="89" y="227"/>
                </a:lnTo>
                <a:lnTo>
                  <a:pt x="85" y="227"/>
                </a:lnTo>
                <a:lnTo>
                  <a:pt x="84" y="226"/>
                </a:lnTo>
                <a:lnTo>
                  <a:pt x="84" y="227"/>
                </a:lnTo>
                <a:lnTo>
                  <a:pt x="81" y="223"/>
                </a:lnTo>
                <a:lnTo>
                  <a:pt x="81" y="222"/>
                </a:lnTo>
                <a:lnTo>
                  <a:pt x="82" y="221"/>
                </a:lnTo>
                <a:lnTo>
                  <a:pt x="84" y="220"/>
                </a:lnTo>
                <a:lnTo>
                  <a:pt x="84" y="218"/>
                </a:lnTo>
                <a:lnTo>
                  <a:pt x="83" y="218"/>
                </a:lnTo>
                <a:lnTo>
                  <a:pt x="83" y="217"/>
                </a:lnTo>
                <a:lnTo>
                  <a:pt x="82" y="217"/>
                </a:lnTo>
                <a:lnTo>
                  <a:pt x="82" y="216"/>
                </a:lnTo>
                <a:lnTo>
                  <a:pt x="81" y="217"/>
                </a:lnTo>
                <a:lnTo>
                  <a:pt x="82" y="217"/>
                </a:lnTo>
                <a:lnTo>
                  <a:pt x="82" y="220"/>
                </a:lnTo>
                <a:lnTo>
                  <a:pt x="81" y="220"/>
                </a:lnTo>
                <a:lnTo>
                  <a:pt x="81" y="222"/>
                </a:lnTo>
                <a:lnTo>
                  <a:pt x="80" y="222"/>
                </a:lnTo>
                <a:lnTo>
                  <a:pt x="78" y="221"/>
                </a:lnTo>
                <a:lnTo>
                  <a:pt x="77" y="221"/>
                </a:lnTo>
                <a:lnTo>
                  <a:pt x="75" y="218"/>
                </a:lnTo>
                <a:lnTo>
                  <a:pt x="75" y="217"/>
                </a:lnTo>
                <a:lnTo>
                  <a:pt x="76" y="217"/>
                </a:lnTo>
                <a:lnTo>
                  <a:pt x="76" y="216"/>
                </a:lnTo>
                <a:lnTo>
                  <a:pt x="77" y="215"/>
                </a:lnTo>
                <a:lnTo>
                  <a:pt x="77" y="214"/>
                </a:lnTo>
                <a:lnTo>
                  <a:pt x="76" y="215"/>
                </a:lnTo>
                <a:lnTo>
                  <a:pt x="76" y="216"/>
                </a:lnTo>
                <a:lnTo>
                  <a:pt x="74" y="217"/>
                </a:lnTo>
                <a:lnTo>
                  <a:pt x="74" y="218"/>
                </a:lnTo>
                <a:lnTo>
                  <a:pt x="70" y="220"/>
                </a:lnTo>
                <a:lnTo>
                  <a:pt x="70" y="218"/>
                </a:lnTo>
                <a:lnTo>
                  <a:pt x="68" y="216"/>
                </a:lnTo>
                <a:lnTo>
                  <a:pt x="68" y="215"/>
                </a:lnTo>
                <a:lnTo>
                  <a:pt x="63" y="215"/>
                </a:lnTo>
                <a:lnTo>
                  <a:pt x="62" y="214"/>
                </a:lnTo>
                <a:lnTo>
                  <a:pt x="59" y="214"/>
                </a:lnTo>
                <a:lnTo>
                  <a:pt x="59" y="212"/>
                </a:lnTo>
                <a:lnTo>
                  <a:pt x="57" y="214"/>
                </a:lnTo>
                <a:lnTo>
                  <a:pt x="53" y="214"/>
                </a:lnTo>
                <a:lnTo>
                  <a:pt x="53" y="212"/>
                </a:lnTo>
                <a:lnTo>
                  <a:pt x="52" y="211"/>
                </a:lnTo>
                <a:lnTo>
                  <a:pt x="52" y="210"/>
                </a:lnTo>
                <a:lnTo>
                  <a:pt x="51" y="210"/>
                </a:lnTo>
                <a:lnTo>
                  <a:pt x="51" y="209"/>
                </a:lnTo>
                <a:lnTo>
                  <a:pt x="49" y="206"/>
                </a:lnTo>
                <a:lnTo>
                  <a:pt x="47" y="206"/>
                </a:lnTo>
                <a:lnTo>
                  <a:pt x="49" y="208"/>
                </a:lnTo>
                <a:lnTo>
                  <a:pt x="47" y="209"/>
                </a:lnTo>
                <a:lnTo>
                  <a:pt x="46" y="209"/>
                </a:lnTo>
                <a:lnTo>
                  <a:pt x="46" y="210"/>
                </a:lnTo>
                <a:lnTo>
                  <a:pt x="45" y="209"/>
                </a:lnTo>
                <a:lnTo>
                  <a:pt x="41" y="209"/>
                </a:lnTo>
                <a:lnTo>
                  <a:pt x="40" y="210"/>
                </a:lnTo>
                <a:lnTo>
                  <a:pt x="40" y="209"/>
                </a:lnTo>
                <a:lnTo>
                  <a:pt x="39" y="209"/>
                </a:lnTo>
                <a:lnTo>
                  <a:pt x="40" y="210"/>
                </a:lnTo>
                <a:lnTo>
                  <a:pt x="39" y="210"/>
                </a:lnTo>
                <a:lnTo>
                  <a:pt x="39" y="211"/>
                </a:lnTo>
                <a:lnTo>
                  <a:pt x="40" y="211"/>
                </a:lnTo>
                <a:lnTo>
                  <a:pt x="38" y="214"/>
                </a:lnTo>
                <a:lnTo>
                  <a:pt x="32" y="212"/>
                </a:lnTo>
                <a:lnTo>
                  <a:pt x="32" y="211"/>
                </a:lnTo>
                <a:lnTo>
                  <a:pt x="33" y="211"/>
                </a:lnTo>
                <a:lnTo>
                  <a:pt x="33" y="209"/>
                </a:lnTo>
                <a:lnTo>
                  <a:pt x="32" y="208"/>
                </a:lnTo>
                <a:lnTo>
                  <a:pt x="32" y="206"/>
                </a:lnTo>
                <a:lnTo>
                  <a:pt x="31" y="205"/>
                </a:lnTo>
                <a:lnTo>
                  <a:pt x="28" y="202"/>
                </a:lnTo>
                <a:lnTo>
                  <a:pt x="25" y="199"/>
                </a:lnTo>
                <a:lnTo>
                  <a:pt x="23" y="200"/>
                </a:lnTo>
                <a:lnTo>
                  <a:pt x="22" y="199"/>
                </a:lnTo>
                <a:lnTo>
                  <a:pt x="20" y="199"/>
                </a:lnTo>
                <a:lnTo>
                  <a:pt x="16" y="198"/>
                </a:lnTo>
                <a:lnTo>
                  <a:pt x="18" y="197"/>
                </a:lnTo>
                <a:lnTo>
                  <a:pt x="19" y="197"/>
                </a:lnTo>
                <a:lnTo>
                  <a:pt x="32" y="193"/>
                </a:lnTo>
                <a:lnTo>
                  <a:pt x="34" y="195"/>
                </a:lnTo>
                <a:lnTo>
                  <a:pt x="35" y="193"/>
                </a:lnTo>
                <a:lnTo>
                  <a:pt x="35" y="191"/>
                </a:lnTo>
                <a:lnTo>
                  <a:pt x="34" y="190"/>
                </a:lnTo>
                <a:lnTo>
                  <a:pt x="34" y="187"/>
                </a:lnTo>
                <a:lnTo>
                  <a:pt x="32" y="187"/>
                </a:lnTo>
                <a:lnTo>
                  <a:pt x="32" y="186"/>
                </a:lnTo>
                <a:lnTo>
                  <a:pt x="31" y="186"/>
                </a:lnTo>
                <a:lnTo>
                  <a:pt x="28" y="185"/>
                </a:lnTo>
                <a:lnTo>
                  <a:pt x="27" y="185"/>
                </a:lnTo>
                <a:lnTo>
                  <a:pt x="26" y="186"/>
                </a:lnTo>
                <a:lnTo>
                  <a:pt x="26" y="189"/>
                </a:lnTo>
                <a:lnTo>
                  <a:pt x="25" y="190"/>
                </a:lnTo>
                <a:lnTo>
                  <a:pt x="23" y="190"/>
                </a:lnTo>
                <a:lnTo>
                  <a:pt x="23" y="189"/>
                </a:lnTo>
                <a:lnTo>
                  <a:pt x="25" y="187"/>
                </a:lnTo>
                <a:lnTo>
                  <a:pt x="23" y="187"/>
                </a:lnTo>
                <a:lnTo>
                  <a:pt x="23" y="184"/>
                </a:lnTo>
                <a:lnTo>
                  <a:pt x="21" y="184"/>
                </a:lnTo>
                <a:lnTo>
                  <a:pt x="21" y="183"/>
                </a:lnTo>
                <a:lnTo>
                  <a:pt x="23" y="183"/>
                </a:lnTo>
                <a:lnTo>
                  <a:pt x="23" y="181"/>
                </a:lnTo>
                <a:lnTo>
                  <a:pt x="22" y="181"/>
                </a:lnTo>
                <a:lnTo>
                  <a:pt x="23" y="179"/>
                </a:lnTo>
                <a:lnTo>
                  <a:pt x="25" y="179"/>
                </a:lnTo>
                <a:lnTo>
                  <a:pt x="25" y="181"/>
                </a:lnTo>
                <a:lnTo>
                  <a:pt x="26" y="183"/>
                </a:lnTo>
                <a:lnTo>
                  <a:pt x="29" y="181"/>
                </a:lnTo>
                <a:lnTo>
                  <a:pt x="29" y="183"/>
                </a:lnTo>
                <a:lnTo>
                  <a:pt x="32" y="183"/>
                </a:lnTo>
                <a:lnTo>
                  <a:pt x="33" y="181"/>
                </a:lnTo>
                <a:lnTo>
                  <a:pt x="35" y="181"/>
                </a:lnTo>
                <a:lnTo>
                  <a:pt x="35" y="180"/>
                </a:lnTo>
                <a:lnTo>
                  <a:pt x="34" y="180"/>
                </a:lnTo>
                <a:lnTo>
                  <a:pt x="34" y="179"/>
                </a:lnTo>
                <a:lnTo>
                  <a:pt x="35" y="179"/>
                </a:lnTo>
                <a:lnTo>
                  <a:pt x="35" y="178"/>
                </a:lnTo>
                <a:lnTo>
                  <a:pt x="34" y="179"/>
                </a:lnTo>
                <a:lnTo>
                  <a:pt x="28" y="179"/>
                </a:lnTo>
                <a:lnTo>
                  <a:pt x="31" y="177"/>
                </a:lnTo>
                <a:lnTo>
                  <a:pt x="31" y="175"/>
                </a:lnTo>
                <a:lnTo>
                  <a:pt x="33" y="174"/>
                </a:lnTo>
                <a:lnTo>
                  <a:pt x="34" y="174"/>
                </a:lnTo>
                <a:lnTo>
                  <a:pt x="35" y="173"/>
                </a:lnTo>
                <a:lnTo>
                  <a:pt x="33" y="174"/>
                </a:lnTo>
                <a:lnTo>
                  <a:pt x="32" y="174"/>
                </a:lnTo>
                <a:lnTo>
                  <a:pt x="29" y="175"/>
                </a:lnTo>
                <a:lnTo>
                  <a:pt x="28" y="175"/>
                </a:lnTo>
                <a:lnTo>
                  <a:pt x="25" y="178"/>
                </a:lnTo>
                <a:lnTo>
                  <a:pt x="23" y="178"/>
                </a:lnTo>
                <a:lnTo>
                  <a:pt x="22" y="179"/>
                </a:lnTo>
                <a:lnTo>
                  <a:pt x="20" y="179"/>
                </a:lnTo>
                <a:lnTo>
                  <a:pt x="19" y="178"/>
                </a:lnTo>
                <a:lnTo>
                  <a:pt x="18" y="178"/>
                </a:lnTo>
                <a:lnTo>
                  <a:pt x="18" y="179"/>
                </a:lnTo>
                <a:lnTo>
                  <a:pt x="15" y="179"/>
                </a:lnTo>
                <a:lnTo>
                  <a:pt x="14" y="178"/>
                </a:lnTo>
                <a:lnTo>
                  <a:pt x="14" y="177"/>
                </a:lnTo>
                <a:lnTo>
                  <a:pt x="15" y="177"/>
                </a:lnTo>
                <a:lnTo>
                  <a:pt x="14" y="174"/>
                </a:lnTo>
                <a:lnTo>
                  <a:pt x="14" y="172"/>
                </a:lnTo>
                <a:lnTo>
                  <a:pt x="15" y="171"/>
                </a:lnTo>
                <a:lnTo>
                  <a:pt x="14" y="169"/>
                </a:lnTo>
                <a:lnTo>
                  <a:pt x="15" y="168"/>
                </a:lnTo>
                <a:lnTo>
                  <a:pt x="16" y="166"/>
                </a:lnTo>
                <a:lnTo>
                  <a:pt x="16" y="165"/>
                </a:lnTo>
                <a:lnTo>
                  <a:pt x="18" y="165"/>
                </a:lnTo>
                <a:lnTo>
                  <a:pt x="19" y="163"/>
                </a:lnTo>
                <a:lnTo>
                  <a:pt x="20" y="163"/>
                </a:lnTo>
                <a:lnTo>
                  <a:pt x="21" y="165"/>
                </a:lnTo>
                <a:lnTo>
                  <a:pt x="22" y="165"/>
                </a:lnTo>
                <a:lnTo>
                  <a:pt x="22" y="163"/>
                </a:lnTo>
                <a:lnTo>
                  <a:pt x="21" y="162"/>
                </a:lnTo>
                <a:lnTo>
                  <a:pt x="23" y="162"/>
                </a:lnTo>
                <a:lnTo>
                  <a:pt x="23" y="161"/>
                </a:lnTo>
                <a:lnTo>
                  <a:pt x="27" y="161"/>
                </a:lnTo>
                <a:lnTo>
                  <a:pt x="29" y="160"/>
                </a:lnTo>
                <a:lnTo>
                  <a:pt x="29" y="159"/>
                </a:lnTo>
                <a:lnTo>
                  <a:pt x="32" y="159"/>
                </a:lnTo>
                <a:lnTo>
                  <a:pt x="33" y="157"/>
                </a:lnTo>
                <a:lnTo>
                  <a:pt x="34" y="157"/>
                </a:lnTo>
                <a:lnTo>
                  <a:pt x="34" y="160"/>
                </a:lnTo>
                <a:lnTo>
                  <a:pt x="35" y="160"/>
                </a:lnTo>
                <a:lnTo>
                  <a:pt x="37" y="159"/>
                </a:lnTo>
                <a:lnTo>
                  <a:pt x="38" y="159"/>
                </a:lnTo>
                <a:lnTo>
                  <a:pt x="39" y="160"/>
                </a:lnTo>
                <a:lnTo>
                  <a:pt x="39" y="157"/>
                </a:lnTo>
                <a:lnTo>
                  <a:pt x="40" y="156"/>
                </a:lnTo>
                <a:lnTo>
                  <a:pt x="44" y="156"/>
                </a:lnTo>
                <a:lnTo>
                  <a:pt x="44" y="157"/>
                </a:lnTo>
                <a:lnTo>
                  <a:pt x="45" y="157"/>
                </a:lnTo>
                <a:lnTo>
                  <a:pt x="45" y="155"/>
                </a:lnTo>
                <a:lnTo>
                  <a:pt x="47" y="155"/>
                </a:lnTo>
                <a:lnTo>
                  <a:pt x="49" y="154"/>
                </a:lnTo>
                <a:lnTo>
                  <a:pt x="49" y="157"/>
                </a:lnTo>
                <a:lnTo>
                  <a:pt x="50" y="157"/>
                </a:lnTo>
                <a:lnTo>
                  <a:pt x="49" y="159"/>
                </a:lnTo>
                <a:lnTo>
                  <a:pt x="50" y="159"/>
                </a:lnTo>
                <a:lnTo>
                  <a:pt x="50" y="157"/>
                </a:lnTo>
                <a:lnTo>
                  <a:pt x="52" y="157"/>
                </a:lnTo>
                <a:lnTo>
                  <a:pt x="51" y="159"/>
                </a:lnTo>
                <a:lnTo>
                  <a:pt x="52" y="159"/>
                </a:lnTo>
                <a:lnTo>
                  <a:pt x="53" y="160"/>
                </a:lnTo>
                <a:lnTo>
                  <a:pt x="53" y="157"/>
                </a:lnTo>
                <a:lnTo>
                  <a:pt x="54" y="159"/>
                </a:lnTo>
                <a:lnTo>
                  <a:pt x="54" y="155"/>
                </a:lnTo>
                <a:lnTo>
                  <a:pt x="59" y="155"/>
                </a:lnTo>
                <a:lnTo>
                  <a:pt x="60" y="156"/>
                </a:lnTo>
                <a:lnTo>
                  <a:pt x="63" y="156"/>
                </a:lnTo>
                <a:lnTo>
                  <a:pt x="63" y="157"/>
                </a:lnTo>
                <a:lnTo>
                  <a:pt x="65" y="157"/>
                </a:lnTo>
                <a:lnTo>
                  <a:pt x="65" y="154"/>
                </a:lnTo>
                <a:lnTo>
                  <a:pt x="66" y="154"/>
                </a:lnTo>
                <a:lnTo>
                  <a:pt x="65" y="152"/>
                </a:lnTo>
                <a:lnTo>
                  <a:pt x="65" y="150"/>
                </a:lnTo>
                <a:lnTo>
                  <a:pt x="68" y="148"/>
                </a:lnTo>
                <a:lnTo>
                  <a:pt x="68" y="147"/>
                </a:lnTo>
                <a:lnTo>
                  <a:pt x="69" y="148"/>
                </a:lnTo>
                <a:lnTo>
                  <a:pt x="71" y="148"/>
                </a:lnTo>
                <a:lnTo>
                  <a:pt x="71" y="149"/>
                </a:lnTo>
                <a:lnTo>
                  <a:pt x="74" y="149"/>
                </a:lnTo>
                <a:lnTo>
                  <a:pt x="74" y="148"/>
                </a:lnTo>
                <a:lnTo>
                  <a:pt x="77" y="147"/>
                </a:lnTo>
                <a:lnTo>
                  <a:pt x="78" y="147"/>
                </a:lnTo>
                <a:lnTo>
                  <a:pt x="80" y="146"/>
                </a:lnTo>
                <a:lnTo>
                  <a:pt x="81" y="146"/>
                </a:lnTo>
                <a:lnTo>
                  <a:pt x="81" y="149"/>
                </a:lnTo>
                <a:lnTo>
                  <a:pt x="80" y="149"/>
                </a:lnTo>
                <a:lnTo>
                  <a:pt x="80" y="150"/>
                </a:lnTo>
                <a:lnTo>
                  <a:pt x="81" y="149"/>
                </a:lnTo>
                <a:lnTo>
                  <a:pt x="82" y="147"/>
                </a:lnTo>
                <a:lnTo>
                  <a:pt x="83" y="147"/>
                </a:lnTo>
                <a:lnTo>
                  <a:pt x="83" y="146"/>
                </a:lnTo>
                <a:lnTo>
                  <a:pt x="85" y="146"/>
                </a:lnTo>
                <a:lnTo>
                  <a:pt x="85" y="148"/>
                </a:lnTo>
                <a:lnTo>
                  <a:pt x="87" y="148"/>
                </a:lnTo>
                <a:lnTo>
                  <a:pt x="88" y="149"/>
                </a:lnTo>
                <a:lnTo>
                  <a:pt x="88" y="152"/>
                </a:lnTo>
                <a:lnTo>
                  <a:pt x="93" y="152"/>
                </a:lnTo>
                <a:lnTo>
                  <a:pt x="93" y="154"/>
                </a:lnTo>
                <a:lnTo>
                  <a:pt x="91" y="154"/>
                </a:lnTo>
                <a:lnTo>
                  <a:pt x="96" y="159"/>
                </a:lnTo>
                <a:lnTo>
                  <a:pt x="97" y="161"/>
                </a:lnTo>
                <a:lnTo>
                  <a:pt x="97" y="163"/>
                </a:lnTo>
                <a:lnTo>
                  <a:pt x="99" y="163"/>
                </a:lnTo>
                <a:lnTo>
                  <a:pt x="101" y="165"/>
                </a:lnTo>
                <a:lnTo>
                  <a:pt x="101" y="167"/>
                </a:lnTo>
                <a:lnTo>
                  <a:pt x="102" y="167"/>
                </a:lnTo>
                <a:lnTo>
                  <a:pt x="102" y="168"/>
                </a:lnTo>
                <a:lnTo>
                  <a:pt x="103" y="168"/>
                </a:lnTo>
                <a:lnTo>
                  <a:pt x="103" y="167"/>
                </a:lnTo>
                <a:lnTo>
                  <a:pt x="105" y="167"/>
                </a:lnTo>
                <a:lnTo>
                  <a:pt x="106" y="166"/>
                </a:lnTo>
                <a:lnTo>
                  <a:pt x="107" y="163"/>
                </a:lnTo>
                <a:lnTo>
                  <a:pt x="108" y="163"/>
                </a:lnTo>
                <a:lnTo>
                  <a:pt x="109" y="162"/>
                </a:lnTo>
                <a:lnTo>
                  <a:pt x="112" y="161"/>
                </a:lnTo>
                <a:lnTo>
                  <a:pt x="112" y="160"/>
                </a:lnTo>
                <a:lnTo>
                  <a:pt x="110" y="160"/>
                </a:lnTo>
                <a:lnTo>
                  <a:pt x="113" y="159"/>
                </a:lnTo>
                <a:lnTo>
                  <a:pt x="114" y="159"/>
                </a:lnTo>
                <a:lnTo>
                  <a:pt x="114" y="160"/>
                </a:lnTo>
                <a:lnTo>
                  <a:pt x="115" y="160"/>
                </a:lnTo>
                <a:lnTo>
                  <a:pt x="118" y="157"/>
                </a:lnTo>
                <a:lnTo>
                  <a:pt x="118" y="156"/>
                </a:lnTo>
                <a:lnTo>
                  <a:pt x="119" y="157"/>
                </a:lnTo>
                <a:lnTo>
                  <a:pt x="120" y="157"/>
                </a:lnTo>
                <a:lnTo>
                  <a:pt x="120" y="159"/>
                </a:lnTo>
                <a:lnTo>
                  <a:pt x="119" y="159"/>
                </a:lnTo>
                <a:lnTo>
                  <a:pt x="119" y="160"/>
                </a:lnTo>
                <a:lnTo>
                  <a:pt x="118" y="161"/>
                </a:lnTo>
                <a:lnTo>
                  <a:pt x="119" y="161"/>
                </a:lnTo>
                <a:lnTo>
                  <a:pt x="120" y="160"/>
                </a:lnTo>
                <a:lnTo>
                  <a:pt x="121" y="160"/>
                </a:lnTo>
                <a:lnTo>
                  <a:pt x="121" y="161"/>
                </a:lnTo>
                <a:lnTo>
                  <a:pt x="122" y="162"/>
                </a:lnTo>
                <a:lnTo>
                  <a:pt x="122" y="163"/>
                </a:lnTo>
                <a:lnTo>
                  <a:pt x="125" y="163"/>
                </a:lnTo>
                <a:lnTo>
                  <a:pt x="125" y="161"/>
                </a:lnTo>
                <a:lnTo>
                  <a:pt x="126" y="161"/>
                </a:lnTo>
                <a:lnTo>
                  <a:pt x="126" y="160"/>
                </a:lnTo>
                <a:lnTo>
                  <a:pt x="130" y="160"/>
                </a:lnTo>
                <a:lnTo>
                  <a:pt x="131" y="161"/>
                </a:lnTo>
                <a:lnTo>
                  <a:pt x="131" y="165"/>
                </a:lnTo>
                <a:lnTo>
                  <a:pt x="132" y="166"/>
                </a:lnTo>
                <a:lnTo>
                  <a:pt x="132" y="168"/>
                </a:lnTo>
                <a:lnTo>
                  <a:pt x="133" y="168"/>
                </a:lnTo>
                <a:lnTo>
                  <a:pt x="134" y="167"/>
                </a:lnTo>
                <a:lnTo>
                  <a:pt x="132" y="165"/>
                </a:lnTo>
                <a:lnTo>
                  <a:pt x="132" y="162"/>
                </a:lnTo>
                <a:lnTo>
                  <a:pt x="131" y="161"/>
                </a:lnTo>
                <a:lnTo>
                  <a:pt x="131" y="159"/>
                </a:lnTo>
                <a:lnTo>
                  <a:pt x="132" y="159"/>
                </a:lnTo>
                <a:lnTo>
                  <a:pt x="132" y="156"/>
                </a:lnTo>
                <a:lnTo>
                  <a:pt x="134" y="156"/>
                </a:lnTo>
                <a:lnTo>
                  <a:pt x="138" y="155"/>
                </a:lnTo>
                <a:lnTo>
                  <a:pt x="138" y="161"/>
                </a:lnTo>
                <a:lnTo>
                  <a:pt x="140" y="161"/>
                </a:lnTo>
                <a:lnTo>
                  <a:pt x="143" y="162"/>
                </a:lnTo>
                <a:lnTo>
                  <a:pt x="146" y="161"/>
                </a:lnTo>
                <a:lnTo>
                  <a:pt x="149" y="160"/>
                </a:lnTo>
                <a:lnTo>
                  <a:pt x="158" y="160"/>
                </a:lnTo>
                <a:lnTo>
                  <a:pt x="158" y="159"/>
                </a:lnTo>
                <a:lnTo>
                  <a:pt x="155" y="159"/>
                </a:lnTo>
                <a:lnTo>
                  <a:pt x="155" y="157"/>
                </a:lnTo>
                <a:lnTo>
                  <a:pt x="153" y="157"/>
                </a:lnTo>
                <a:lnTo>
                  <a:pt x="152" y="156"/>
                </a:lnTo>
                <a:lnTo>
                  <a:pt x="152" y="155"/>
                </a:lnTo>
                <a:lnTo>
                  <a:pt x="150" y="153"/>
                </a:lnTo>
                <a:lnTo>
                  <a:pt x="150" y="148"/>
                </a:lnTo>
                <a:lnTo>
                  <a:pt x="149" y="147"/>
                </a:lnTo>
                <a:lnTo>
                  <a:pt x="150" y="146"/>
                </a:lnTo>
                <a:lnTo>
                  <a:pt x="150" y="142"/>
                </a:lnTo>
                <a:lnTo>
                  <a:pt x="151" y="142"/>
                </a:lnTo>
                <a:lnTo>
                  <a:pt x="151" y="141"/>
                </a:lnTo>
                <a:lnTo>
                  <a:pt x="150" y="141"/>
                </a:lnTo>
                <a:lnTo>
                  <a:pt x="150" y="140"/>
                </a:lnTo>
                <a:lnTo>
                  <a:pt x="151" y="136"/>
                </a:lnTo>
                <a:lnTo>
                  <a:pt x="151" y="135"/>
                </a:lnTo>
                <a:lnTo>
                  <a:pt x="150" y="135"/>
                </a:lnTo>
                <a:lnTo>
                  <a:pt x="150" y="136"/>
                </a:lnTo>
                <a:lnTo>
                  <a:pt x="149" y="136"/>
                </a:lnTo>
                <a:lnTo>
                  <a:pt x="149" y="129"/>
                </a:lnTo>
                <a:lnTo>
                  <a:pt x="150" y="128"/>
                </a:lnTo>
                <a:lnTo>
                  <a:pt x="149" y="128"/>
                </a:lnTo>
                <a:lnTo>
                  <a:pt x="149" y="124"/>
                </a:lnTo>
                <a:lnTo>
                  <a:pt x="147" y="123"/>
                </a:lnTo>
                <a:lnTo>
                  <a:pt x="150" y="123"/>
                </a:lnTo>
                <a:lnTo>
                  <a:pt x="149" y="122"/>
                </a:lnTo>
                <a:lnTo>
                  <a:pt x="147" y="122"/>
                </a:lnTo>
                <a:lnTo>
                  <a:pt x="147" y="123"/>
                </a:lnTo>
                <a:lnTo>
                  <a:pt x="146" y="122"/>
                </a:lnTo>
                <a:lnTo>
                  <a:pt x="146" y="118"/>
                </a:lnTo>
                <a:lnTo>
                  <a:pt x="145" y="118"/>
                </a:lnTo>
                <a:lnTo>
                  <a:pt x="144" y="117"/>
                </a:lnTo>
                <a:lnTo>
                  <a:pt x="144" y="116"/>
                </a:lnTo>
                <a:lnTo>
                  <a:pt x="145" y="116"/>
                </a:lnTo>
                <a:lnTo>
                  <a:pt x="144" y="114"/>
                </a:lnTo>
                <a:lnTo>
                  <a:pt x="144" y="116"/>
                </a:lnTo>
                <a:lnTo>
                  <a:pt x="141" y="113"/>
                </a:lnTo>
                <a:lnTo>
                  <a:pt x="141" y="112"/>
                </a:lnTo>
                <a:lnTo>
                  <a:pt x="140" y="112"/>
                </a:lnTo>
                <a:lnTo>
                  <a:pt x="140" y="113"/>
                </a:lnTo>
                <a:lnTo>
                  <a:pt x="139" y="113"/>
                </a:lnTo>
                <a:lnTo>
                  <a:pt x="139" y="107"/>
                </a:lnTo>
                <a:lnTo>
                  <a:pt x="138" y="106"/>
                </a:lnTo>
                <a:lnTo>
                  <a:pt x="138" y="105"/>
                </a:lnTo>
                <a:lnTo>
                  <a:pt x="137" y="104"/>
                </a:lnTo>
                <a:lnTo>
                  <a:pt x="137" y="101"/>
                </a:lnTo>
                <a:lnTo>
                  <a:pt x="138" y="101"/>
                </a:lnTo>
                <a:lnTo>
                  <a:pt x="138" y="94"/>
                </a:lnTo>
                <a:lnTo>
                  <a:pt x="136" y="94"/>
                </a:lnTo>
                <a:lnTo>
                  <a:pt x="134" y="93"/>
                </a:lnTo>
                <a:lnTo>
                  <a:pt x="134" y="91"/>
                </a:lnTo>
                <a:lnTo>
                  <a:pt x="139" y="91"/>
                </a:lnTo>
                <a:lnTo>
                  <a:pt x="139" y="92"/>
                </a:lnTo>
                <a:lnTo>
                  <a:pt x="140" y="92"/>
                </a:lnTo>
                <a:lnTo>
                  <a:pt x="141" y="93"/>
                </a:lnTo>
                <a:lnTo>
                  <a:pt x="144" y="93"/>
                </a:lnTo>
                <a:lnTo>
                  <a:pt x="147" y="94"/>
                </a:lnTo>
                <a:lnTo>
                  <a:pt x="147" y="95"/>
                </a:lnTo>
                <a:lnTo>
                  <a:pt x="149" y="95"/>
                </a:lnTo>
                <a:lnTo>
                  <a:pt x="149" y="94"/>
                </a:lnTo>
                <a:lnTo>
                  <a:pt x="153" y="94"/>
                </a:lnTo>
                <a:lnTo>
                  <a:pt x="153" y="92"/>
                </a:lnTo>
                <a:lnTo>
                  <a:pt x="155" y="92"/>
                </a:lnTo>
                <a:lnTo>
                  <a:pt x="157" y="91"/>
                </a:lnTo>
                <a:lnTo>
                  <a:pt x="162" y="92"/>
                </a:lnTo>
                <a:lnTo>
                  <a:pt x="163" y="92"/>
                </a:lnTo>
                <a:lnTo>
                  <a:pt x="163" y="94"/>
                </a:lnTo>
                <a:lnTo>
                  <a:pt x="164" y="95"/>
                </a:lnTo>
                <a:lnTo>
                  <a:pt x="164" y="97"/>
                </a:lnTo>
                <a:lnTo>
                  <a:pt x="163" y="98"/>
                </a:lnTo>
                <a:lnTo>
                  <a:pt x="163" y="99"/>
                </a:lnTo>
                <a:lnTo>
                  <a:pt x="161" y="99"/>
                </a:lnTo>
                <a:lnTo>
                  <a:pt x="161" y="101"/>
                </a:lnTo>
                <a:lnTo>
                  <a:pt x="162" y="103"/>
                </a:lnTo>
                <a:lnTo>
                  <a:pt x="162" y="104"/>
                </a:lnTo>
                <a:lnTo>
                  <a:pt x="163" y="105"/>
                </a:lnTo>
                <a:lnTo>
                  <a:pt x="167" y="110"/>
                </a:lnTo>
                <a:lnTo>
                  <a:pt x="167" y="113"/>
                </a:lnTo>
                <a:lnTo>
                  <a:pt x="168" y="113"/>
                </a:lnTo>
                <a:lnTo>
                  <a:pt x="168" y="114"/>
                </a:lnTo>
                <a:lnTo>
                  <a:pt x="169" y="114"/>
                </a:lnTo>
                <a:lnTo>
                  <a:pt x="169" y="112"/>
                </a:lnTo>
                <a:lnTo>
                  <a:pt x="170" y="112"/>
                </a:lnTo>
                <a:lnTo>
                  <a:pt x="171" y="111"/>
                </a:lnTo>
                <a:lnTo>
                  <a:pt x="181" y="113"/>
                </a:lnTo>
                <a:lnTo>
                  <a:pt x="188" y="114"/>
                </a:lnTo>
                <a:lnTo>
                  <a:pt x="199" y="114"/>
                </a:lnTo>
                <a:lnTo>
                  <a:pt x="200" y="116"/>
                </a:lnTo>
                <a:lnTo>
                  <a:pt x="201" y="116"/>
                </a:lnTo>
                <a:lnTo>
                  <a:pt x="202" y="117"/>
                </a:lnTo>
                <a:lnTo>
                  <a:pt x="207" y="119"/>
                </a:lnTo>
                <a:lnTo>
                  <a:pt x="208" y="118"/>
                </a:lnTo>
                <a:lnTo>
                  <a:pt x="214" y="117"/>
                </a:lnTo>
                <a:lnTo>
                  <a:pt x="217" y="116"/>
                </a:lnTo>
                <a:lnTo>
                  <a:pt x="218" y="114"/>
                </a:lnTo>
                <a:lnTo>
                  <a:pt x="219" y="114"/>
                </a:lnTo>
                <a:lnTo>
                  <a:pt x="220" y="112"/>
                </a:lnTo>
                <a:lnTo>
                  <a:pt x="223" y="110"/>
                </a:lnTo>
                <a:lnTo>
                  <a:pt x="228" y="109"/>
                </a:lnTo>
                <a:lnTo>
                  <a:pt x="233" y="107"/>
                </a:lnTo>
                <a:lnTo>
                  <a:pt x="236" y="107"/>
                </a:lnTo>
                <a:lnTo>
                  <a:pt x="236" y="106"/>
                </a:lnTo>
                <a:lnTo>
                  <a:pt x="237" y="105"/>
                </a:lnTo>
                <a:lnTo>
                  <a:pt x="233" y="107"/>
                </a:lnTo>
                <a:lnTo>
                  <a:pt x="227" y="107"/>
                </a:lnTo>
                <a:lnTo>
                  <a:pt x="224" y="106"/>
                </a:lnTo>
                <a:lnTo>
                  <a:pt x="221" y="106"/>
                </a:lnTo>
                <a:lnTo>
                  <a:pt x="220" y="105"/>
                </a:lnTo>
                <a:lnTo>
                  <a:pt x="220" y="104"/>
                </a:lnTo>
                <a:lnTo>
                  <a:pt x="219" y="104"/>
                </a:lnTo>
                <a:lnTo>
                  <a:pt x="219" y="103"/>
                </a:lnTo>
                <a:lnTo>
                  <a:pt x="221" y="98"/>
                </a:lnTo>
                <a:lnTo>
                  <a:pt x="224" y="92"/>
                </a:lnTo>
                <a:lnTo>
                  <a:pt x="226" y="89"/>
                </a:lnTo>
                <a:lnTo>
                  <a:pt x="227" y="89"/>
                </a:lnTo>
                <a:lnTo>
                  <a:pt x="232" y="87"/>
                </a:lnTo>
                <a:lnTo>
                  <a:pt x="233" y="86"/>
                </a:lnTo>
                <a:lnTo>
                  <a:pt x="238" y="83"/>
                </a:lnTo>
                <a:lnTo>
                  <a:pt x="239" y="82"/>
                </a:lnTo>
                <a:lnTo>
                  <a:pt x="244" y="80"/>
                </a:lnTo>
                <a:lnTo>
                  <a:pt x="248" y="80"/>
                </a:lnTo>
                <a:lnTo>
                  <a:pt x="265" y="75"/>
                </a:lnTo>
                <a:lnTo>
                  <a:pt x="267" y="74"/>
                </a:lnTo>
                <a:lnTo>
                  <a:pt x="268" y="74"/>
                </a:lnTo>
                <a:lnTo>
                  <a:pt x="269" y="71"/>
                </a:lnTo>
                <a:lnTo>
                  <a:pt x="275" y="67"/>
                </a:lnTo>
                <a:lnTo>
                  <a:pt x="277" y="64"/>
                </a:lnTo>
                <a:lnTo>
                  <a:pt x="277" y="63"/>
                </a:lnTo>
                <a:lnTo>
                  <a:pt x="279" y="60"/>
                </a:lnTo>
                <a:lnTo>
                  <a:pt x="280" y="58"/>
                </a:lnTo>
                <a:lnTo>
                  <a:pt x="282" y="58"/>
                </a:lnTo>
                <a:lnTo>
                  <a:pt x="286" y="60"/>
                </a:lnTo>
                <a:lnTo>
                  <a:pt x="286" y="57"/>
                </a:lnTo>
                <a:lnTo>
                  <a:pt x="283" y="57"/>
                </a:lnTo>
                <a:lnTo>
                  <a:pt x="283" y="55"/>
                </a:lnTo>
                <a:lnTo>
                  <a:pt x="281" y="55"/>
                </a:lnTo>
                <a:lnTo>
                  <a:pt x="281" y="49"/>
                </a:lnTo>
                <a:lnTo>
                  <a:pt x="282" y="48"/>
                </a:lnTo>
                <a:lnTo>
                  <a:pt x="283" y="48"/>
                </a:lnTo>
                <a:lnTo>
                  <a:pt x="282" y="45"/>
                </a:lnTo>
                <a:lnTo>
                  <a:pt x="282" y="37"/>
                </a:lnTo>
                <a:lnTo>
                  <a:pt x="283" y="36"/>
                </a:lnTo>
                <a:lnTo>
                  <a:pt x="283" y="34"/>
                </a:lnTo>
                <a:lnTo>
                  <a:pt x="282" y="33"/>
                </a:lnTo>
                <a:lnTo>
                  <a:pt x="282" y="25"/>
                </a:lnTo>
                <a:lnTo>
                  <a:pt x="283" y="23"/>
                </a:lnTo>
                <a:lnTo>
                  <a:pt x="283" y="15"/>
                </a:lnTo>
                <a:lnTo>
                  <a:pt x="282" y="15"/>
                </a:lnTo>
                <a:lnTo>
                  <a:pt x="282" y="14"/>
                </a:lnTo>
                <a:lnTo>
                  <a:pt x="285" y="14"/>
                </a:lnTo>
                <a:lnTo>
                  <a:pt x="286" y="13"/>
                </a:lnTo>
                <a:lnTo>
                  <a:pt x="287" y="13"/>
                </a:lnTo>
                <a:lnTo>
                  <a:pt x="288" y="11"/>
                </a:lnTo>
                <a:lnTo>
                  <a:pt x="289" y="9"/>
                </a:lnTo>
                <a:lnTo>
                  <a:pt x="296" y="6"/>
                </a:lnTo>
                <a:lnTo>
                  <a:pt x="299" y="6"/>
                </a:lnTo>
                <a:lnTo>
                  <a:pt x="306" y="5"/>
                </a:lnTo>
                <a:lnTo>
                  <a:pt x="313" y="2"/>
                </a:lnTo>
                <a:lnTo>
                  <a:pt x="317" y="2"/>
                </a:lnTo>
                <a:lnTo>
                  <a:pt x="320" y="1"/>
                </a:lnTo>
                <a:lnTo>
                  <a:pt x="321" y="1"/>
                </a:lnTo>
                <a:lnTo>
                  <a:pt x="323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3" name="Freeform 44">
            <a:extLst>
              <a:ext uri="{FF2B5EF4-FFF2-40B4-BE49-F238E27FC236}">
                <a16:creationId xmlns:a16="http://schemas.microsoft.com/office/drawing/2014/main" id="{C75B863F-FADD-45BD-B7F7-BE893F92016A}"/>
              </a:ext>
            </a:extLst>
          </p:cNvPr>
          <p:cNvSpPr>
            <a:spLocks noEditPoints="1"/>
          </p:cNvSpPr>
          <p:nvPr/>
        </p:nvSpPr>
        <p:spPr bwMode="auto">
          <a:xfrm>
            <a:off x="2424174" y="2163120"/>
            <a:ext cx="737511" cy="1504000"/>
          </a:xfrm>
          <a:custGeom>
            <a:avLst/>
            <a:gdLst/>
            <a:ahLst/>
            <a:cxnLst>
              <a:cxn ang="0">
                <a:pos x="39" y="1022"/>
              </a:cxn>
              <a:cxn ang="0">
                <a:pos x="40" y="1019"/>
              </a:cxn>
              <a:cxn ang="0">
                <a:pos x="27" y="1022"/>
              </a:cxn>
              <a:cxn ang="0">
                <a:pos x="32" y="1013"/>
              </a:cxn>
              <a:cxn ang="0">
                <a:pos x="98" y="1009"/>
              </a:cxn>
              <a:cxn ang="0">
                <a:pos x="77" y="1007"/>
              </a:cxn>
              <a:cxn ang="0">
                <a:pos x="89" y="1001"/>
              </a:cxn>
              <a:cxn ang="0">
                <a:pos x="259" y="1004"/>
              </a:cxn>
              <a:cxn ang="0">
                <a:pos x="125" y="1022"/>
              </a:cxn>
              <a:cxn ang="0">
                <a:pos x="111" y="995"/>
              </a:cxn>
              <a:cxn ang="0">
                <a:pos x="51" y="995"/>
              </a:cxn>
              <a:cxn ang="0">
                <a:pos x="26" y="994"/>
              </a:cxn>
              <a:cxn ang="0">
                <a:pos x="21" y="1003"/>
              </a:cxn>
              <a:cxn ang="0">
                <a:pos x="11" y="996"/>
              </a:cxn>
              <a:cxn ang="0">
                <a:pos x="296" y="989"/>
              </a:cxn>
              <a:cxn ang="0">
                <a:pos x="66" y="982"/>
              </a:cxn>
              <a:cxn ang="0">
                <a:pos x="74" y="977"/>
              </a:cxn>
              <a:cxn ang="0">
                <a:pos x="76" y="939"/>
              </a:cxn>
              <a:cxn ang="0">
                <a:pos x="69" y="731"/>
              </a:cxn>
              <a:cxn ang="0">
                <a:pos x="104" y="730"/>
              </a:cxn>
              <a:cxn ang="0">
                <a:pos x="73" y="725"/>
              </a:cxn>
              <a:cxn ang="0">
                <a:pos x="234" y="558"/>
              </a:cxn>
              <a:cxn ang="0">
                <a:pos x="379" y="36"/>
              </a:cxn>
              <a:cxn ang="0">
                <a:pos x="428" y="265"/>
              </a:cxn>
              <a:cxn ang="0">
                <a:pos x="443" y="470"/>
              </a:cxn>
              <a:cxn ang="0">
                <a:pos x="430" y="579"/>
              </a:cxn>
              <a:cxn ang="0">
                <a:pos x="466" y="647"/>
              </a:cxn>
              <a:cxn ang="0">
                <a:pos x="502" y="780"/>
              </a:cxn>
              <a:cxn ang="0">
                <a:pos x="412" y="909"/>
              </a:cxn>
              <a:cxn ang="0">
                <a:pos x="343" y="979"/>
              </a:cxn>
              <a:cxn ang="0">
                <a:pos x="317" y="978"/>
              </a:cxn>
              <a:cxn ang="0">
                <a:pos x="306" y="973"/>
              </a:cxn>
              <a:cxn ang="0">
                <a:pos x="279" y="994"/>
              </a:cxn>
              <a:cxn ang="0">
                <a:pos x="260" y="994"/>
              </a:cxn>
              <a:cxn ang="0">
                <a:pos x="230" y="1009"/>
              </a:cxn>
              <a:cxn ang="0">
                <a:pos x="205" y="1020"/>
              </a:cxn>
              <a:cxn ang="0">
                <a:pos x="166" y="1026"/>
              </a:cxn>
              <a:cxn ang="0">
                <a:pos x="161" y="1020"/>
              </a:cxn>
              <a:cxn ang="0">
                <a:pos x="142" y="1007"/>
              </a:cxn>
              <a:cxn ang="0">
                <a:pos x="125" y="988"/>
              </a:cxn>
              <a:cxn ang="0">
                <a:pos x="89" y="980"/>
              </a:cxn>
              <a:cxn ang="0">
                <a:pos x="77" y="945"/>
              </a:cxn>
              <a:cxn ang="0">
                <a:pos x="85" y="911"/>
              </a:cxn>
              <a:cxn ang="0">
                <a:pos x="82" y="869"/>
              </a:cxn>
              <a:cxn ang="0">
                <a:pos x="75" y="817"/>
              </a:cxn>
              <a:cxn ang="0">
                <a:pos x="70" y="776"/>
              </a:cxn>
              <a:cxn ang="0">
                <a:pos x="85" y="738"/>
              </a:cxn>
              <a:cxn ang="0">
                <a:pos x="118" y="731"/>
              </a:cxn>
              <a:cxn ang="0">
                <a:pos x="127" y="696"/>
              </a:cxn>
              <a:cxn ang="0">
                <a:pos x="148" y="683"/>
              </a:cxn>
              <a:cxn ang="0">
                <a:pos x="186" y="636"/>
              </a:cxn>
              <a:cxn ang="0">
                <a:pos x="212" y="583"/>
              </a:cxn>
              <a:cxn ang="0">
                <a:pos x="250" y="568"/>
              </a:cxn>
              <a:cxn ang="0">
                <a:pos x="236" y="505"/>
              </a:cxn>
              <a:cxn ang="0">
                <a:pos x="203" y="482"/>
              </a:cxn>
              <a:cxn ang="0">
                <a:pos x="181" y="406"/>
              </a:cxn>
              <a:cxn ang="0">
                <a:pos x="179" y="315"/>
              </a:cxn>
              <a:cxn ang="0">
                <a:pos x="151" y="216"/>
              </a:cxn>
              <a:cxn ang="0">
                <a:pos x="82" y="166"/>
              </a:cxn>
              <a:cxn ang="0">
                <a:pos x="112" y="135"/>
              </a:cxn>
              <a:cxn ang="0">
                <a:pos x="231" y="175"/>
              </a:cxn>
              <a:cxn ang="0">
                <a:pos x="267" y="80"/>
              </a:cxn>
              <a:cxn ang="0">
                <a:pos x="329" y="18"/>
              </a:cxn>
            </a:cxnLst>
            <a:rect l="0" t="0" r="r" b="b"/>
            <a:pathLst>
              <a:path w="509" h="1038">
                <a:moveTo>
                  <a:pt x="126" y="1032"/>
                </a:moveTo>
                <a:lnTo>
                  <a:pt x="126" y="1033"/>
                </a:lnTo>
                <a:lnTo>
                  <a:pt x="124" y="1034"/>
                </a:lnTo>
                <a:lnTo>
                  <a:pt x="123" y="1034"/>
                </a:lnTo>
                <a:lnTo>
                  <a:pt x="123" y="1033"/>
                </a:lnTo>
                <a:lnTo>
                  <a:pt x="125" y="1033"/>
                </a:lnTo>
                <a:lnTo>
                  <a:pt x="126" y="1032"/>
                </a:lnTo>
                <a:close/>
                <a:moveTo>
                  <a:pt x="57" y="1027"/>
                </a:moveTo>
                <a:lnTo>
                  <a:pt x="60" y="1027"/>
                </a:lnTo>
                <a:lnTo>
                  <a:pt x="60" y="1029"/>
                </a:lnTo>
                <a:lnTo>
                  <a:pt x="57" y="1029"/>
                </a:lnTo>
                <a:lnTo>
                  <a:pt x="57" y="1027"/>
                </a:lnTo>
                <a:close/>
                <a:moveTo>
                  <a:pt x="60" y="1026"/>
                </a:moveTo>
                <a:lnTo>
                  <a:pt x="63" y="1026"/>
                </a:lnTo>
                <a:lnTo>
                  <a:pt x="63" y="1027"/>
                </a:lnTo>
                <a:lnTo>
                  <a:pt x="62" y="1027"/>
                </a:lnTo>
                <a:lnTo>
                  <a:pt x="63" y="1028"/>
                </a:lnTo>
                <a:lnTo>
                  <a:pt x="62" y="1028"/>
                </a:lnTo>
                <a:lnTo>
                  <a:pt x="60" y="1027"/>
                </a:lnTo>
                <a:lnTo>
                  <a:pt x="60" y="1026"/>
                </a:lnTo>
                <a:close/>
                <a:moveTo>
                  <a:pt x="185" y="1023"/>
                </a:moveTo>
                <a:lnTo>
                  <a:pt x="186" y="1025"/>
                </a:lnTo>
                <a:lnTo>
                  <a:pt x="186" y="1026"/>
                </a:lnTo>
                <a:lnTo>
                  <a:pt x="184" y="1026"/>
                </a:lnTo>
                <a:lnTo>
                  <a:pt x="184" y="1025"/>
                </a:lnTo>
                <a:lnTo>
                  <a:pt x="185" y="1023"/>
                </a:lnTo>
                <a:close/>
                <a:moveTo>
                  <a:pt x="131" y="1022"/>
                </a:moveTo>
                <a:lnTo>
                  <a:pt x="131" y="1023"/>
                </a:lnTo>
                <a:lnTo>
                  <a:pt x="130" y="1023"/>
                </a:lnTo>
                <a:lnTo>
                  <a:pt x="131" y="1022"/>
                </a:lnTo>
                <a:close/>
                <a:moveTo>
                  <a:pt x="35" y="1020"/>
                </a:moveTo>
                <a:lnTo>
                  <a:pt x="36" y="1020"/>
                </a:lnTo>
                <a:lnTo>
                  <a:pt x="38" y="1021"/>
                </a:lnTo>
                <a:lnTo>
                  <a:pt x="39" y="1021"/>
                </a:lnTo>
                <a:lnTo>
                  <a:pt x="39" y="1022"/>
                </a:lnTo>
                <a:lnTo>
                  <a:pt x="38" y="1023"/>
                </a:lnTo>
                <a:lnTo>
                  <a:pt x="35" y="1023"/>
                </a:lnTo>
                <a:lnTo>
                  <a:pt x="35" y="1025"/>
                </a:lnTo>
                <a:lnTo>
                  <a:pt x="33" y="1026"/>
                </a:lnTo>
                <a:lnTo>
                  <a:pt x="32" y="1026"/>
                </a:lnTo>
                <a:lnTo>
                  <a:pt x="32" y="1023"/>
                </a:lnTo>
                <a:lnTo>
                  <a:pt x="33" y="1022"/>
                </a:lnTo>
                <a:lnTo>
                  <a:pt x="35" y="1020"/>
                </a:lnTo>
                <a:close/>
                <a:moveTo>
                  <a:pt x="142" y="1019"/>
                </a:moveTo>
                <a:lnTo>
                  <a:pt x="143" y="1019"/>
                </a:lnTo>
                <a:lnTo>
                  <a:pt x="143" y="1020"/>
                </a:lnTo>
                <a:lnTo>
                  <a:pt x="142" y="1021"/>
                </a:lnTo>
                <a:lnTo>
                  <a:pt x="141" y="1020"/>
                </a:lnTo>
                <a:lnTo>
                  <a:pt x="142" y="1019"/>
                </a:lnTo>
                <a:close/>
                <a:moveTo>
                  <a:pt x="43" y="1017"/>
                </a:moveTo>
                <a:lnTo>
                  <a:pt x="46" y="1017"/>
                </a:lnTo>
                <a:lnTo>
                  <a:pt x="46" y="1021"/>
                </a:lnTo>
                <a:lnTo>
                  <a:pt x="45" y="1021"/>
                </a:lnTo>
                <a:lnTo>
                  <a:pt x="44" y="1020"/>
                </a:lnTo>
                <a:lnTo>
                  <a:pt x="44" y="1021"/>
                </a:lnTo>
                <a:lnTo>
                  <a:pt x="42" y="1021"/>
                </a:lnTo>
                <a:lnTo>
                  <a:pt x="42" y="1020"/>
                </a:lnTo>
                <a:lnTo>
                  <a:pt x="43" y="1019"/>
                </a:lnTo>
                <a:lnTo>
                  <a:pt x="43" y="1017"/>
                </a:lnTo>
                <a:close/>
                <a:moveTo>
                  <a:pt x="142" y="1016"/>
                </a:moveTo>
                <a:lnTo>
                  <a:pt x="144" y="1016"/>
                </a:lnTo>
                <a:lnTo>
                  <a:pt x="144" y="1017"/>
                </a:lnTo>
                <a:lnTo>
                  <a:pt x="143" y="1019"/>
                </a:lnTo>
                <a:lnTo>
                  <a:pt x="143" y="1017"/>
                </a:lnTo>
                <a:lnTo>
                  <a:pt x="142" y="1017"/>
                </a:lnTo>
                <a:lnTo>
                  <a:pt x="142" y="1016"/>
                </a:lnTo>
                <a:close/>
                <a:moveTo>
                  <a:pt x="42" y="1016"/>
                </a:moveTo>
                <a:lnTo>
                  <a:pt x="43" y="1016"/>
                </a:lnTo>
                <a:lnTo>
                  <a:pt x="43" y="1019"/>
                </a:lnTo>
                <a:lnTo>
                  <a:pt x="40" y="1019"/>
                </a:lnTo>
                <a:lnTo>
                  <a:pt x="40" y="1017"/>
                </a:lnTo>
                <a:lnTo>
                  <a:pt x="42" y="1016"/>
                </a:lnTo>
                <a:close/>
                <a:moveTo>
                  <a:pt x="39" y="1016"/>
                </a:moveTo>
                <a:lnTo>
                  <a:pt x="40" y="1016"/>
                </a:lnTo>
                <a:lnTo>
                  <a:pt x="39" y="1019"/>
                </a:lnTo>
                <a:lnTo>
                  <a:pt x="39" y="1020"/>
                </a:lnTo>
                <a:lnTo>
                  <a:pt x="37" y="1020"/>
                </a:lnTo>
                <a:lnTo>
                  <a:pt x="38" y="1019"/>
                </a:lnTo>
                <a:lnTo>
                  <a:pt x="38" y="1017"/>
                </a:lnTo>
                <a:lnTo>
                  <a:pt x="39" y="1016"/>
                </a:lnTo>
                <a:close/>
                <a:moveTo>
                  <a:pt x="120" y="1015"/>
                </a:moveTo>
                <a:lnTo>
                  <a:pt x="122" y="1015"/>
                </a:lnTo>
                <a:lnTo>
                  <a:pt x="122" y="1017"/>
                </a:lnTo>
                <a:lnTo>
                  <a:pt x="123" y="1017"/>
                </a:lnTo>
                <a:lnTo>
                  <a:pt x="122" y="1015"/>
                </a:lnTo>
                <a:lnTo>
                  <a:pt x="123" y="1015"/>
                </a:lnTo>
                <a:lnTo>
                  <a:pt x="124" y="1016"/>
                </a:lnTo>
                <a:lnTo>
                  <a:pt x="124" y="1022"/>
                </a:lnTo>
                <a:lnTo>
                  <a:pt x="123" y="1021"/>
                </a:lnTo>
                <a:lnTo>
                  <a:pt x="122" y="1021"/>
                </a:lnTo>
                <a:lnTo>
                  <a:pt x="122" y="1022"/>
                </a:lnTo>
                <a:lnTo>
                  <a:pt x="120" y="1021"/>
                </a:lnTo>
                <a:lnTo>
                  <a:pt x="120" y="1015"/>
                </a:lnTo>
                <a:close/>
                <a:moveTo>
                  <a:pt x="214" y="1014"/>
                </a:moveTo>
                <a:lnTo>
                  <a:pt x="216" y="1014"/>
                </a:lnTo>
                <a:lnTo>
                  <a:pt x="214" y="1014"/>
                </a:lnTo>
                <a:close/>
                <a:moveTo>
                  <a:pt x="25" y="1014"/>
                </a:moveTo>
                <a:lnTo>
                  <a:pt x="26" y="1015"/>
                </a:lnTo>
                <a:lnTo>
                  <a:pt x="27" y="1015"/>
                </a:lnTo>
                <a:lnTo>
                  <a:pt x="29" y="1016"/>
                </a:lnTo>
                <a:lnTo>
                  <a:pt x="30" y="1019"/>
                </a:lnTo>
                <a:lnTo>
                  <a:pt x="30" y="1022"/>
                </a:lnTo>
                <a:lnTo>
                  <a:pt x="29" y="1023"/>
                </a:lnTo>
                <a:lnTo>
                  <a:pt x="29" y="1022"/>
                </a:lnTo>
                <a:lnTo>
                  <a:pt x="27" y="1022"/>
                </a:lnTo>
                <a:lnTo>
                  <a:pt x="26" y="1023"/>
                </a:lnTo>
                <a:lnTo>
                  <a:pt x="25" y="1022"/>
                </a:lnTo>
                <a:lnTo>
                  <a:pt x="26" y="1021"/>
                </a:lnTo>
                <a:lnTo>
                  <a:pt x="25" y="1020"/>
                </a:lnTo>
                <a:lnTo>
                  <a:pt x="24" y="1020"/>
                </a:lnTo>
                <a:lnTo>
                  <a:pt x="24" y="1019"/>
                </a:lnTo>
                <a:lnTo>
                  <a:pt x="21" y="1019"/>
                </a:lnTo>
                <a:lnTo>
                  <a:pt x="23" y="1016"/>
                </a:lnTo>
                <a:lnTo>
                  <a:pt x="24" y="1016"/>
                </a:lnTo>
                <a:lnTo>
                  <a:pt x="25" y="1014"/>
                </a:lnTo>
                <a:close/>
                <a:moveTo>
                  <a:pt x="143" y="1011"/>
                </a:moveTo>
                <a:lnTo>
                  <a:pt x="145" y="1011"/>
                </a:lnTo>
                <a:lnTo>
                  <a:pt x="145" y="1015"/>
                </a:lnTo>
                <a:lnTo>
                  <a:pt x="141" y="1015"/>
                </a:lnTo>
                <a:lnTo>
                  <a:pt x="142" y="1014"/>
                </a:lnTo>
                <a:lnTo>
                  <a:pt x="142" y="1013"/>
                </a:lnTo>
                <a:lnTo>
                  <a:pt x="143" y="1011"/>
                </a:lnTo>
                <a:close/>
                <a:moveTo>
                  <a:pt x="102" y="1010"/>
                </a:moveTo>
                <a:lnTo>
                  <a:pt x="104" y="1010"/>
                </a:lnTo>
                <a:lnTo>
                  <a:pt x="105" y="1011"/>
                </a:lnTo>
                <a:lnTo>
                  <a:pt x="106" y="1011"/>
                </a:lnTo>
                <a:lnTo>
                  <a:pt x="106" y="1013"/>
                </a:lnTo>
                <a:lnTo>
                  <a:pt x="102" y="1013"/>
                </a:lnTo>
                <a:lnTo>
                  <a:pt x="102" y="1010"/>
                </a:lnTo>
                <a:close/>
                <a:moveTo>
                  <a:pt x="48" y="1009"/>
                </a:moveTo>
                <a:lnTo>
                  <a:pt x="49" y="1009"/>
                </a:lnTo>
                <a:lnTo>
                  <a:pt x="49" y="1010"/>
                </a:lnTo>
                <a:lnTo>
                  <a:pt x="50" y="1010"/>
                </a:lnTo>
                <a:lnTo>
                  <a:pt x="50" y="1013"/>
                </a:lnTo>
                <a:lnTo>
                  <a:pt x="49" y="1013"/>
                </a:lnTo>
                <a:lnTo>
                  <a:pt x="48" y="1010"/>
                </a:lnTo>
                <a:lnTo>
                  <a:pt x="48" y="1009"/>
                </a:lnTo>
                <a:close/>
                <a:moveTo>
                  <a:pt x="30" y="1009"/>
                </a:moveTo>
                <a:lnTo>
                  <a:pt x="31" y="1011"/>
                </a:lnTo>
                <a:lnTo>
                  <a:pt x="32" y="1013"/>
                </a:lnTo>
                <a:lnTo>
                  <a:pt x="32" y="1011"/>
                </a:lnTo>
                <a:lnTo>
                  <a:pt x="31" y="1010"/>
                </a:lnTo>
                <a:lnTo>
                  <a:pt x="31" y="1009"/>
                </a:lnTo>
                <a:lnTo>
                  <a:pt x="33" y="1011"/>
                </a:lnTo>
                <a:lnTo>
                  <a:pt x="33" y="1013"/>
                </a:lnTo>
                <a:lnTo>
                  <a:pt x="32" y="1015"/>
                </a:lnTo>
                <a:lnTo>
                  <a:pt x="32" y="1016"/>
                </a:lnTo>
                <a:lnTo>
                  <a:pt x="31" y="1016"/>
                </a:lnTo>
                <a:lnTo>
                  <a:pt x="31" y="1015"/>
                </a:lnTo>
                <a:lnTo>
                  <a:pt x="30" y="1015"/>
                </a:lnTo>
                <a:lnTo>
                  <a:pt x="29" y="1013"/>
                </a:lnTo>
                <a:lnTo>
                  <a:pt x="30" y="1011"/>
                </a:lnTo>
                <a:lnTo>
                  <a:pt x="30" y="1009"/>
                </a:lnTo>
                <a:close/>
                <a:moveTo>
                  <a:pt x="86" y="1008"/>
                </a:moveTo>
                <a:lnTo>
                  <a:pt x="89" y="1008"/>
                </a:lnTo>
                <a:lnTo>
                  <a:pt x="91" y="1009"/>
                </a:lnTo>
                <a:lnTo>
                  <a:pt x="89" y="1010"/>
                </a:lnTo>
                <a:lnTo>
                  <a:pt x="89" y="1013"/>
                </a:lnTo>
                <a:lnTo>
                  <a:pt x="87" y="1013"/>
                </a:lnTo>
                <a:lnTo>
                  <a:pt x="86" y="1014"/>
                </a:lnTo>
                <a:lnTo>
                  <a:pt x="85" y="1014"/>
                </a:lnTo>
                <a:lnTo>
                  <a:pt x="85" y="1013"/>
                </a:lnTo>
                <a:lnTo>
                  <a:pt x="83" y="1013"/>
                </a:lnTo>
                <a:lnTo>
                  <a:pt x="85" y="1011"/>
                </a:lnTo>
                <a:lnTo>
                  <a:pt x="87" y="1011"/>
                </a:lnTo>
                <a:lnTo>
                  <a:pt x="86" y="1010"/>
                </a:lnTo>
                <a:lnTo>
                  <a:pt x="83" y="1010"/>
                </a:lnTo>
                <a:lnTo>
                  <a:pt x="86" y="1008"/>
                </a:lnTo>
                <a:close/>
                <a:moveTo>
                  <a:pt x="94" y="1005"/>
                </a:moveTo>
                <a:lnTo>
                  <a:pt x="99" y="1005"/>
                </a:lnTo>
                <a:lnTo>
                  <a:pt x="100" y="1007"/>
                </a:lnTo>
                <a:lnTo>
                  <a:pt x="99" y="1007"/>
                </a:lnTo>
                <a:lnTo>
                  <a:pt x="99" y="1008"/>
                </a:lnTo>
                <a:lnTo>
                  <a:pt x="100" y="1009"/>
                </a:lnTo>
                <a:lnTo>
                  <a:pt x="98" y="1009"/>
                </a:lnTo>
                <a:lnTo>
                  <a:pt x="96" y="1010"/>
                </a:lnTo>
                <a:lnTo>
                  <a:pt x="96" y="1011"/>
                </a:lnTo>
                <a:lnTo>
                  <a:pt x="94" y="1013"/>
                </a:lnTo>
                <a:lnTo>
                  <a:pt x="93" y="1013"/>
                </a:lnTo>
                <a:lnTo>
                  <a:pt x="92" y="1011"/>
                </a:lnTo>
                <a:lnTo>
                  <a:pt x="93" y="1011"/>
                </a:lnTo>
                <a:lnTo>
                  <a:pt x="93" y="1007"/>
                </a:lnTo>
                <a:lnTo>
                  <a:pt x="94" y="1005"/>
                </a:lnTo>
                <a:close/>
                <a:moveTo>
                  <a:pt x="122" y="1004"/>
                </a:moveTo>
                <a:lnTo>
                  <a:pt x="122" y="1005"/>
                </a:lnTo>
                <a:lnTo>
                  <a:pt x="119" y="1008"/>
                </a:lnTo>
                <a:lnTo>
                  <a:pt x="119" y="1009"/>
                </a:lnTo>
                <a:lnTo>
                  <a:pt x="118" y="1009"/>
                </a:lnTo>
                <a:lnTo>
                  <a:pt x="118" y="1005"/>
                </a:lnTo>
                <a:lnTo>
                  <a:pt x="122" y="1004"/>
                </a:lnTo>
                <a:close/>
                <a:moveTo>
                  <a:pt x="106" y="1004"/>
                </a:moveTo>
                <a:lnTo>
                  <a:pt x="107" y="1004"/>
                </a:lnTo>
                <a:lnTo>
                  <a:pt x="108" y="1005"/>
                </a:lnTo>
                <a:lnTo>
                  <a:pt x="106" y="1008"/>
                </a:lnTo>
                <a:lnTo>
                  <a:pt x="107" y="1009"/>
                </a:lnTo>
                <a:lnTo>
                  <a:pt x="106" y="1010"/>
                </a:lnTo>
                <a:lnTo>
                  <a:pt x="104" y="1010"/>
                </a:lnTo>
                <a:lnTo>
                  <a:pt x="102" y="1009"/>
                </a:lnTo>
                <a:lnTo>
                  <a:pt x="102" y="1007"/>
                </a:lnTo>
                <a:lnTo>
                  <a:pt x="105" y="1005"/>
                </a:lnTo>
                <a:lnTo>
                  <a:pt x="106" y="1004"/>
                </a:lnTo>
                <a:close/>
                <a:moveTo>
                  <a:pt x="75" y="1004"/>
                </a:moveTo>
                <a:lnTo>
                  <a:pt x="77" y="1004"/>
                </a:lnTo>
                <a:lnTo>
                  <a:pt x="79" y="1005"/>
                </a:lnTo>
                <a:lnTo>
                  <a:pt x="82" y="1005"/>
                </a:lnTo>
                <a:lnTo>
                  <a:pt x="82" y="1007"/>
                </a:lnTo>
                <a:lnTo>
                  <a:pt x="80" y="1007"/>
                </a:lnTo>
                <a:lnTo>
                  <a:pt x="80" y="1008"/>
                </a:lnTo>
                <a:lnTo>
                  <a:pt x="79" y="1008"/>
                </a:lnTo>
                <a:lnTo>
                  <a:pt x="77" y="1007"/>
                </a:lnTo>
                <a:lnTo>
                  <a:pt x="75" y="1007"/>
                </a:lnTo>
                <a:lnTo>
                  <a:pt x="75" y="1005"/>
                </a:lnTo>
                <a:lnTo>
                  <a:pt x="74" y="1005"/>
                </a:lnTo>
                <a:lnTo>
                  <a:pt x="75" y="1004"/>
                </a:lnTo>
                <a:close/>
                <a:moveTo>
                  <a:pt x="267" y="1003"/>
                </a:moveTo>
                <a:lnTo>
                  <a:pt x="268" y="1003"/>
                </a:lnTo>
                <a:lnTo>
                  <a:pt x="268" y="1005"/>
                </a:lnTo>
                <a:lnTo>
                  <a:pt x="266" y="1005"/>
                </a:lnTo>
                <a:lnTo>
                  <a:pt x="266" y="1004"/>
                </a:lnTo>
                <a:lnTo>
                  <a:pt x="267" y="1003"/>
                </a:lnTo>
                <a:close/>
                <a:moveTo>
                  <a:pt x="124" y="1003"/>
                </a:moveTo>
                <a:lnTo>
                  <a:pt x="125" y="1003"/>
                </a:lnTo>
                <a:lnTo>
                  <a:pt x="124" y="1005"/>
                </a:lnTo>
                <a:lnTo>
                  <a:pt x="124" y="1003"/>
                </a:lnTo>
                <a:close/>
                <a:moveTo>
                  <a:pt x="24" y="1003"/>
                </a:moveTo>
                <a:lnTo>
                  <a:pt x="24" y="1005"/>
                </a:lnTo>
                <a:lnTo>
                  <a:pt x="23" y="1005"/>
                </a:lnTo>
                <a:lnTo>
                  <a:pt x="24" y="1003"/>
                </a:lnTo>
                <a:close/>
                <a:moveTo>
                  <a:pt x="50" y="1002"/>
                </a:moveTo>
                <a:lnTo>
                  <a:pt x="50" y="1003"/>
                </a:lnTo>
                <a:lnTo>
                  <a:pt x="51" y="1004"/>
                </a:lnTo>
                <a:lnTo>
                  <a:pt x="51" y="1005"/>
                </a:lnTo>
                <a:lnTo>
                  <a:pt x="49" y="1005"/>
                </a:lnTo>
                <a:lnTo>
                  <a:pt x="49" y="1003"/>
                </a:lnTo>
                <a:lnTo>
                  <a:pt x="50" y="1002"/>
                </a:lnTo>
                <a:close/>
                <a:moveTo>
                  <a:pt x="116" y="1001"/>
                </a:moveTo>
                <a:lnTo>
                  <a:pt x="118" y="1001"/>
                </a:lnTo>
                <a:lnTo>
                  <a:pt x="118" y="1003"/>
                </a:lnTo>
                <a:lnTo>
                  <a:pt x="117" y="1005"/>
                </a:lnTo>
                <a:lnTo>
                  <a:pt x="114" y="1007"/>
                </a:lnTo>
                <a:lnTo>
                  <a:pt x="114" y="1003"/>
                </a:lnTo>
                <a:lnTo>
                  <a:pt x="116" y="1001"/>
                </a:lnTo>
                <a:close/>
                <a:moveTo>
                  <a:pt x="88" y="999"/>
                </a:moveTo>
                <a:lnTo>
                  <a:pt x="88" y="1001"/>
                </a:lnTo>
                <a:lnTo>
                  <a:pt x="89" y="1001"/>
                </a:lnTo>
                <a:lnTo>
                  <a:pt x="88" y="1002"/>
                </a:lnTo>
                <a:lnTo>
                  <a:pt x="88" y="1003"/>
                </a:lnTo>
                <a:lnTo>
                  <a:pt x="87" y="1003"/>
                </a:lnTo>
                <a:lnTo>
                  <a:pt x="87" y="1001"/>
                </a:lnTo>
                <a:lnTo>
                  <a:pt x="88" y="999"/>
                </a:lnTo>
                <a:close/>
                <a:moveTo>
                  <a:pt x="36" y="999"/>
                </a:moveTo>
                <a:lnTo>
                  <a:pt x="39" y="999"/>
                </a:lnTo>
                <a:lnTo>
                  <a:pt x="39" y="1001"/>
                </a:lnTo>
                <a:lnTo>
                  <a:pt x="37" y="1005"/>
                </a:lnTo>
                <a:lnTo>
                  <a:pt x="37" y="1002"/>
                </a:lnTo>
                <a:lnTo>
                  <a:pt x="36" y="1003"/>
                </a:lnTo>
                <a:lnTo>
                  <a:pt x="36" y="999"/>
                </a:lnTo>
                <a:close/>
                <a:moveTo>
                  <a:pt x="4" y="999"/>
                </a:moveTo>
                <a:lnTo>
                  <a:pt x="6" y="1002"/>
                </a:lnTo>
                <a:lnTo>
                  <a:pt x="6" y="1004"/>
                </a:lnTo>
                <a:lnTo>
                  <a:pt x="7" y="1005"/>
                </a:lnTo>
                <a:lnTo>
                  <a:pt x="7" y="1009"/>
                </a:lnTo>
                <a:lnTo>
                  <a:pt x="6" y="1009"/>
                </a:lnTo>
                <a:lnTo>
                  <a:pt x="5" y="1008"/>
                </a:lnTo>
                <a:lnTo>
                  <a:pt x="5" y="1005"/>
                </a:lnTo>
                <a:lnTo>
                  <a:pt x="4" y="1005"/>
                </a:lnTo>
                <a:lnTo>
                  <a:pt x="4" y="1010"/>
                </a:lnTo>
                <a:lnTo>
                  <a:pt x="2" y="1011"/>
                </a:lnTo>
                <a:lnTo>
                  <a:pt x="1" y="1010"/>
                </a:lnTo>
                <a:lnTo>
                  <a:pt x="1" y="1009"/>
                </a:lnTo>
                <a:lnTo>
                  <a:pt x="0" y="1008"/>
                </a:lnTo>
                <a:lnTo>
                  <a:pt x="0" y="1005"/>
                </a:lnTo>
                <a:lnTo>
                  <a:pt x="1" y="1005"/>
                </a:lnTo>
                <a:lnTo>
                  <a:pt x="1" y="1002"/>
                </a:lnTo>
                <a:lnTo>
                  <a:pt x="4" y="999"/>
                </a:lnTo>
                <a:close/>
                <a:moveTo>
                  <a:pt x="256" y="997"/>
                </a:moveTo>
                <a:lnTo>
                  <a:pt x="257" y="997"/>
                </a:lnTo>
                <a:lnTo>
                  <a:pt x="261" y="1001"/>
                </a:lnTo>
                <a:lnTo>
                  <a:pt x="259" y="1003"/>
                </a:lnTo>
                <a:lnTo>
                  <a:pt x="259" y="1004"/>
                </a:lnTo>
                <a:lnTo>
                  <a:pt x="257" y="1004"/>
                </a:lnTo>
                <a:lnTo>
                  <a:pt x="257" y="1002"/>
                </a:lnTo>
                <a:lnTo>
                  <a:pt x="256" y="1002"/>
                </a:lnTo>
                <a:lnTo>
                  <a:pt x="256" y="999"/>
                </a:lnTo>
                <a:lnTo>
                  <a:pt x="255" y="998"/>
                </a:lnTo>
                <a:lnTo>
                  <a:pt x="256" y="997"/>
                </a:lnTo>
                <a:close/>
                <a:moveTo>
                  <a:pt x="143" y="997"/>
                </a:moveTo>
                <a:lnTo>
                  <a:pt x="145" y="997"/>
                </a:lnTo>
                <a:lnTo>
                  <a:pt x="145" y="999"/>
                </a:lnTo>
                <a:lnTo>
                  <a:pt x="144" y="999"/>
                </a:lnTo>
                <a:lnTo>
                  <a:pt x="143" y="1001"/>
                </a:lnTo>
                <a:lnTo>
                  <a:pt x="143" y="1002"/>
                </a:lnTo>
                <a:lnTo>
                  <a:pt x="142" y="1003"/>
                </a:lnTo>
                <a:lnTo>
                  <a:pt x="142" y="1004"/>
                </a:lnTo>
                <a:lnTo>
                  <a:pt x="141" y="1004"/>
                </a:lnTo>
                <a:lnTo>
                  <a:pt x="141" y="1008"/>
                </a:lnTo>
                <a:lnTo>
                  <a:pt x="139" y="1008"/>
                </a:lnTo>
                <a:lnTo>
                  <a:pt x="141" y="1009"/>
                </a:lnTo>
                <a:lnTo>
                  <a:pt x="141" y="1013"/>
                </a:lnTo>
                <a:lnTo>
                  <a:pt x="139" y="1015"/>
                </a:lnTo>
                <a:lnTo>
                  <a:pt x="136" y="1017"/>
                </a:lnTo>
                <a:lnTo>
                  <a:pt x="136" y="1019"/>
                </a:lnTo>
                <a:lnTo>
                  <a:pt x="137" y="1019"/>
                </a:lnTo>
                <a:lnTo>
                  <a:pt x="137" y="1020"/>
                </a:lnTo>
                <a:lnTo>
                  <a:pt x="136" y="1021"/>
                </a:lnTo>
                <a:lnTo>
                  <a:pt x="135" y="1021"/>
                </a:lnTo>
                <a:lnTo>
                  <a:pt x="133" y="1022"/>
                </a:lnTo>
                <a:lnTo>
                  <a:pt x="133" y="1021"/>
                </a:lnTo>
                <a:lnTo>
                  <a:pt x="132" y="1019"/>
                </a:lnTo>
                <a:lnTo>
                  <a:pt x="132" y="1020"/>
                </a:lnTo>
                <a:lnTo>
                  <a:pt x="131" y="1022"/>
                </a:lnTo>
                <a:lnTo>
                  <a:pt x="130" y="1021"/>
                </a:lnTo>
                <a:lnTo>
                  <a:pt x="130" y="1019"/>
                </a:lnTo>
                <a:lnTo>
                  <a:pt x="127" y="1021"/>
                </a:lnTo>
                <a:lnTo>
                  <a:pt x="125" y="1022"/>
                </a:lnTo>
                <a:lnTo>
                  <a:pt x="125" y="1014"/>
                </a:lnTo>
                <a:lnTo>
                  <a:pt x="124" y="1013"/>
                </a:lnTo>
                <a:lnTo>
                  <a:pt x="123" y="1013"/>
                </a:lnTo>
                <a:lnTo>
                  <a:pt x="125" y="1010"/>
                </a:lnTo>
                <a:lnTo>
                  <a:pt x="130" y="1010"/>
                </a:lnTo>
                <a:lnTo>
                  <a:pt x="123" y="1009"/>
                </a:lnTo>
                <a:lnTo>
                  <a:pt x="123" y="1008"/>
                </a:lnTo>
                <a:lnTo>
                  <a:pt x="124" y="1005"/>
                </a:lnTo>
                <a:lnTo>
                  <a:pt x="125" y="1007"/>
                </a:lnTo>
                <a:lnTo>
                  <a:pt x="129" y="1005"/>
                </a:lnTo>
                <a:lnTo>
                  <a:pt x="131" y="1004"/>
                </a:lnTo>
                <a:lnTo>
                  <a:pt x="139" y="1003"/>
                </a:lnTo>
                <a:lnTo>
                  <a:pt x="141" y="1002"/>
                </a:lnTo>
                <a:lnTo>
                  <a:pt x="143" y="997"/>
                </a:lnTo>
                <a:close/>
                <a:moveTo>
                  <a:pt x="54" y="997"/>
                </a:moveTo>
                <a:lnTo>
                  <a:pt x="55" y="997"/>
                </a:lnTo>
                <a:lnTo>
                  <a:pt x="55" y="998"/>
                </a:lnTo>
                <a:lnTo>
                  <a:pt x="56" y="999"/>
                </a:lnTo>
                <a:lnTo>
                  <a:pt x="57" y="999"/>
                </a:lnTo>
                <a:lnTo>
                  <a:pt x="57" y="1001"/>
                </a:lnTo>
                <a:lnTo>
                  <a:pt x="55" y="1001"/>
                </a:lnTo>
                <a:lnTo>
                  <a:pt x="55" y="1002"/>
                </a:lnTo>
                <a:lnTo>
                  <a:pt x="54" y="1002"/>
                </a:lnTo>
                <a:lnTo>
                  <a:pt x="54" y="997"/>
                </a:lnTo>
                <a:close/>
                <a:moveTo>
                  <a:pt x="100" y="996"/>
                </a:moveTo>
                <a:lnTo>
                  <a:pt x="104" y="996"/>
                </a:lnTo>
                <a:lnTo>
                  <a:pt x="104" y="997"/>
                </a:lnTo>
                <a:lnTo>
                  <a:pt x="105" y="997"/>
                </a:lnTo>
                <a:lnTo>
                  <a:pt x="104" y="998"/>
                </a:lnTo>
                <a:lnTo>
                  <a:pt x="101" y="998"/>
                </a:lnTo>
                <a:lnTo>
                  <a:pt x="101" y="997"/>
                </a:lnTo>
                <a:lnTo>
                  <a:pt x="100" y="997"/>
                </a:lnTo>
                <a:lnTo>
                  <a:pt x="100" y="996"/>
                </a:lnTo>
                <a:close/>
                <a:moveTo>
                  <a:pt x="110" y="995"/>
                </a:moveTo>
                <a:lnTo>
                  <a:pt x="111" y="995"/>
                </a:lnTo>
                <a:lnTo>
                  <a:pt x="116" y="996"/>
                </a:lnTo>
                <a:lnTo>
                  <a:pt x="119" y="997"/>
                </a:lnTo>
                <a:lnTo>
                  <a:pt x="119" y="999"/>
                </a:lnTo>
                <a:lnTo>
                  <a:pt x="118" y="999"/>
                </a:lnTo>
                <a:lnTo>
                  <a:pt x="118" y="998"/>
                </a:lnTo>
                <a:lnTo>
                  <a:pt x="117" y="999"/>
                </a:lnTo>
                <a:lnTo>
                  <a:pt x="116" y="999"/>
                </a:lnTo>
                <a:lnTo>
                  <a:pt x="114" y="1001"/>
                </a:lnTo>
                <a:lnTo>
                  <a:pt x="113" y="1001"/>
                </a:lnTo>
                <a:lnTo>
                  <a:pt x="114" y="999"/>
                </a:lnTo>
                <a:lnTo>
                  <a:pt x="113" y="998"/>
                </a:lnTo>
                <a:lnTo>
                  <a:pt x="112" y="999"/>
                </a:lnTo>
                <a:lnTo>
                  <a:pt x="111" y="999"/>
                </a:lnTo>
                <a:lnTo>
                  <a:pt x="110" y="998"/>
                </a:lnTo>
                <a:lnTo>
                  <a:pt x="108" y="999"/>
                </a:lnTo>
                <a:lnTo>
                  <a:pt x="108" y="996"/>
                </a:lnTo>
                <a:lnTo>
                  <a:pt x="110" y="995"/>
                </a:lnTo>
                <a:close/>
                <a:moveTo>
                  <a:pt x="122" y="991"/>
                </a:moveTo>
                <a:lnTo>
                  <a:pt x="122" y="992"/>
                </a:lnTo>
                <a:lnTo>
                  <a:pt x="123" y="994"/>
                </a:lnTo>
                <a:lnTo>
                  <a:pt x="125" y="994"/>
                </a:lnTo>
                <a:lnTo>
                  <a:pt x="125" y="995"/>
                </a:lnTo>
                <a:lnTo>
                  <a:pt x="124" y="996"/>
                </a:lnTo>
                <a:lnTo>
                  <a:pt x="123" y="996"/>
                </a:lnTo>
                <a:lnTo>
                  <a:pt x="122" y="997"/>
                </a:lnTo>
                <a:lnTo>
                  <a:pt x="120" y="997"/>
                </a:lnTo>
                <a:lnTo>
                  <a:pt x="122" y="996"/>
                </a:lnTo>
                <a:lnTo>
                  <a:pt x="122" y="995"/>
                </a:lnTo>
                <a:lnTo>
                  <a:pt x="118" y="995"/>
                </a:lnTo>
                <a:lnTo>
                  <a:pt x="122" y="991"/>
                </a:lnTo>
                <a:close/>
                <a:moveTo>
                  <a:pt x="52" y="991"/>
                </a:moveTo>
                <a:lnTo>
                  <a:pt x="54" y="991"/>
                </a:lnTo>
                <a:lnTo>
                  <a:pt x="54" y="995"/>
                </a:lnTo>
                <a:lnTo>
                  <a:pt x="52" y="996"/>
                </a:lnTo>
                <a:lnTo>
                  <a:pt x="51" y="995"/>
                </a:lnTo>
                <a:lnTo>
                  <a:pt x="51" y="994"/>
                </a:lnTo>
                <a:lnTo>
                  <a:pt x="52" y="992"/>
                </a:lnTo>
                <a:lnTo>
                  <a:pt x="52" y="991"/>
                </a:lnTo>
                <a:close/>
                <a:moveTo>
                  <a:pt x="116" y="990"/>
                </a:moveTo>
                <a:lnTo>
                  <a:pt x="117" y="990"/>
                </a:lnTo>
                <a:lnTo>
                  <a:pt x="118" y="991"/>
                </a:lnTo>
                <a:lnTo>
                  <a:pt x="117" y="991"/>
                </a:lnTo>
                <a:lnTo>
                  <a:pt x="113" y="992"/>
                </a:lnTo>
                <a:lnTo>
                  <a:pt x="112" y="992"/>
                </a:lnTo>
                <a:lnTo>
                  <a:pt x="112" y="991"/>
                </a:lnTo>
                <a:lnTo>
                  <a:pt x="116" y="990"/>
                </a:lnTo>
                <a:close/>
                <a:moveTo>
                  <a:pt x="111" y="990"/>
                </a:moveTo>
                <a:lnTo>
                  <a:pt x="114" y="990"/>
                </a:lnTo>
                <a:lnTo>
                  <a:pt x="110" y="992"/>
                </a:lnTo>
                <a:lnTo>
                  <a:pt x="111" y="990"/>
                </a:lnTo>
                <a:close/>
                <a:moveTo>
                  <a:pt x="76" y="989"/>
                </a:moveTo>
                <a:lnTo>
                  <a:pt x="77" y="989"/>
                </a:lnTo>
                <a:lnTo>
                  <a:pt x="77" y="991"/>
                </a:lnTo>
                <a:lnTo>
                  <a:pt x="76" y="991"/>
                </a:lnTo>
                <a:lnTo>
                  <a:pt x="75" y="990"/>
                </a:lnTo>
                <a:lnTo>
                  <a:pt x="76" y="989"/>
                </a:lnTo>
                <a:close/>
                <a:moveTo>
                  <a:pt x="14" y="988"/>
                </a:moveTo>
                <a:lnTo>
                  <a:pt x="17" y="988"/>
                </a:lnTo>
                <a:lnTo>
                  <a:pt x="17" y="989"/>
                </a:lnTo>
                <a:lnTo>
                  <a:pt x="18" y="990"/>
                </a:lnTo>
                <a:lnTo>
                  <a:pt x="18" y="991"/>
                </a:lnTo>
                <a:lnTo>
                  <a:pt x="20" y="991"/>
                </a:lnTo>
                <a:lnTo>
                  <a:pt x="23" y="994"/>
                </a:lnTo>
                <a:lnTo>
                  <a:pt x="21" y="992"/>
                </a:lnTo>
                <a:lnTo>
                  <a:pt x="21" y="991"/>
                </a:lnTo>
                <a:lnTo>
                  <a:pt x="23" y="991"/>
                </a:lnTo>
                <a:lnTo>
                  <a:pt x="24" y="992"/>
                </a:lnTo>
                <a:lnTo>
                  <a:pt x="25" y="991"/>
                </a:lnTo>
                <a:lnTo>
                  <a:pt x="25" y="992"/>
                </a:lnTo>
                <a:lnTo>
                  <a:pt x="26" y="994"/>
                </a:lnTo>
                <a:lnTo>
                  <a:pt x="29" y="995"/>
                </a:lnTo>
                <a:lnTo>
                  <a:pt x="29" y="997"/>
                </a:lnTo>
                <a:lnTo>
                  <a:pt x="30" y="997"/>
                </a:lnTo>
                <a:lnTo>
                  <a:pt x="31" y="998"/>
                </a:lnTo>
                <a:lnTo>
                  <a:pt x="32" y="998"/>
                </a:lnTo>
                <a:lnTo>
                  <a:pt x="31" y="1001"/>
                </a:lnTo>
                <a:lnTo>
                  <a:pt x="31" y="1002"/>
                </a:lnTo>
                <a:lnTo>
                  <a:pt x="30" y="1003"/>
                </a:lnTo>
                <a:lnTo>
                  <a:pt x="30" y="1005"/>
                </a:lnTo>
                <a:lnTo>
                  <a:pt x="29" y="1005"/>
                </a:lnTo>
                <a:lnTo>
                  <a:pt x="29" y="1008"/>
                </a:lnTo>
                <a:lnTo>
                  <a:pt x="27" y="1008"/>
                </a:lnTo>
                <a:lnTo>
                  <a:pt x="27" y="1007"/>
                </a:lnTo>
                <a:lnTo>
                  <a:pt x="25" y="1007"/>
                </a:lnTo>
                <a:lnTo>
                  <a:pt x="25" y="1003"/>
                </a:lnTo>
                <a:lnTo>
                  <a:pt x="26" y="1002"/>
                </a:lnTo>
                <a:lnTo>
                  <a:pt x="29" y="1002"/>
                </a:lnTo>
                <a:lnTo>
                  <a:pt x="29" y="1001"/>
                </a:lnTo>
                <a:lnTo>
                  <a:pt x="27" y="1001"/>
                </a:lnTo>
                <a:lnTo>
                  <a:pt x="25" y="1002"/>
                </a:lnTo>
                <a:lnTo>
                  <a:pt x="24" y="1003"/>
                </a:lnTo>
                <a:lnTo>
                  <a:pt x="23" y="1003"/>
                </a:lnTo>
                <a:lnTo>
                  <a:pt x="23" y="1002"/>
                </a:lnTo>
                <a:lnTo>
                  <a:pt x="21" y="1001"/>
                </a:lnTo>
                <a:lnTo>
                  <a:pt x="23" y="998"/>
                </a:lnTo>
                <a:lnTo>
                  <a:pt x="23" y="997"/>
                </a:lnTo>
                <a:lnTo>
                  <a:pt x="24" y="996"/>
                </a:lnTo>
                <a:lnTo>
                  <a:pt x="21" y="995"/>
                </a:lnTo>
                <a:lnTo>
                  <a:pt x="21" y="996"/>
                </a:lnTo>
                <a:lnTo>
                  <a:pt x="23" y="997"/>
                </a:lnTo>
                <a:lnTo>
                  <a:pt x="21" y="998"/>
                </a:lnTo>
                <a:lnTo>
                  <a:pt x="21" y="999"/>
                </a:lnTo>
                <a:lnTo>
                  <a:pt x="20" y="998"/>
                </a:lnTo>
                <a:lnTo>
                  <a:pt x="20" y="1002"/>
                </a:lnTo>
                <a:lnTo>
                  <a:pt x="21" y="1003"/>
                </a:lnTo>
                <a:lnTo>
                  <a:pt x="23" y="1003"/>
                </a:lnTo>
                <a:lnTo>
                  <a:pt x="21" y="1004"/>
                </a:lnTo>
                <a:lnTo>
                  <a:pt x="21" y="1007"/>
                </a:lnTo>
                <a:lnTo>
                  <a:pt x="19" y="1005"/>
                </a:lnTo>
                <a:lnTo>
                  <a:pt x="19" y="1003"/>
                </a:lnTo>
                <a:lnTo>
                  <a:pt x="17" y="1003"/>
                </a:lnTo>
                <a:lnTo>
                  <a:pt x="18" y="1004"/>
                </a:lnTo>
                <a:lnTo>
                  <a:pt x="18" y="1007"/>
                </a:lnTo>
                <a:lnTo>
                  <a:pt x="20" y="1007"/>
                </a:lnTo>
                <a:lnTo>
                  <a:pt x="20" y="1008"/>
                </a:lnTo>
                <a:lnTo>
                  <a:pt x="23" y="1008"/>
                </a:lnTo>
                <a:lnTo>
                  <a:pt x="23" y="1015"/>
                </a:lnTo>
                <a:lnTo>
                  <a:pt x="21" y="1014"/>
                </a:lnTo>
                <a:lnTo>
                  <a:pt x="19" y="1014"/>
                </a:lnTo>
                <a:lnTo>
                  <a:pt x="19" y="1017"/>
                </a:lnTo>
                <a:lnTo>
                  <a:pt x="18" y="1017"/>
                </a:lnTo>
                <a:lnTo>
                  <a:pt x="18" y="1014"/>
                </a:lnTo>
                <a:lnTo>
                  <a:pt x="15" y="1014"/>
                </a:lnTo>
                <a:lnTo>
                  <a:pt x="15" y="1015"/>
                </a:lnTo>
                <a:lnTo>
                  <a:pt x="13" y="1015"/>
                </a:lnTo>
                <a:lnTo>
                  <a:pt x="13" y="1014"/>
                </a:lnTo>
                <a:lnTo>
                  <a:pt x="12" y="1014"/>
                </a:lnTo>
                <a:lnTo>
                  <a:pt x="11" y="1015"/>
                </a:lnTo>
                <a:lnTo>
                  <a:pt x="11" y="1014"/>
                </a:lnTo>
                <a:lnTo>
                  <a:pt x="8" y="1009"/>
                </a:lnTo>
                <a:lnTo>
                  <a:pt x="8" y="1008"/>
                </a:lnTo>
                <a:lnTo>
                  <a:pt x="7" y="1005"/>
                </a:lnTo>
                <a:lnTo>
                  <a:pt x="7" y="1003"/>
                </a:lnTo>
                <a:lnTo>
                  <a:pt x="6" y="999"/>
                </a:lnTo>
                <a:lnTo>
                  <a:pt x="7" y="999"/>
                </a:lnTo>
                <a:lnTo>
                  <a:pt x="8" y="1001"/>
                </a:lnTo>
                <a:lnTo>
                  <a:pt x="8" y="998"/>
                </a:lnTo>
                <a:lnTo>
                  <a:pt x="9" y="998"/>
                </a:lnTo>
                <a:lnTo>
                  <a:pt x="11" y="997"/>
                </a:lnTo>
                <a:lnTo>
                  <a:pt x="11" y="996"/>
                </a:lnTo>
                <a:lnTo>
                  <a:pt x="12" y="996"/>
                </a:lnTo>
                <a:lnTo>
                  <a:pt x="12" y="998"/>
                </a:lnTo>
                <a:lnTo>
                  <a:pt x="11" y="1001"/>
                </a:lnTo>
                <a:lnTo>
                  <a:pt x="11" y="1002"/>
                </a:lnTo>
                <a:lnTo>
                  <a:pt x="12" y="1002"/>
                </a:lnTo>
                <a:lnTo>
                  <a:pt x="12" y="1005"/>
                </a:lnTo>
                <a:lnTo>
                  <a:pt x="13" y="1005"/>
                </a:lnTo>
                <a:lnTo>
                  <a:pt x="13" y="1002"/>
                </a:lnTo>
                <a:lnTo>
                  <a:pt x="14" y="1003"/>
                </a:lnTo>
                <a:lnTo>
                  <a:pt x="14" y="1001"/>
                </a:lnTo>
                <a:lnTo>
                  <a:pt x="15" y="999"/>
                </a:lnTo>
                <a:lnTo>
                  <a:pt x="15" y="997"/>
                </a:lnTo>
                <a:lnTo>
                  <a:pt x="17" y="996"/>
                </a:lnTo>
                <a:lnTo>
                  <a:pt x="17" y="998"/>
                </a:lnTo>
                <a:lnTo>
                  <a:pt x="18" y="998"/>
                </a:lnTo>
                <a:lnTo>
                  <a:pt x="18" y="995"/>
                </a:lnTo>
                <a:lnTo>
                  <a:pt x="17" y="995"/>
                </a:lnTo>
                <a:lnTo>
                  <a:pt x="17" y="992"/>
                </a:lnTo>
                <a:lnTo>
                  <a:pt x="15" y="992"/>
                </a:lnTo>
                <a:lnTo>
                  <a:pt x="15" y="995"/>
                </a:lnTo>
                <a:lnTo>
                  <a:pt x="14" y="995"/>
                </a:lnTo>
                <a:lnTo>
                  <a:pt x="14" y="994"/>
                </a:lnTo>
                <a:lnTo>
                  <a:pt x="13" y="992"/>
                </a:lnTo>
                <a:lnTo>
                  <a:pt x="12" y="992"/>
                </a:lnTo>
                <a:lnTo>
                  <a:pt x="12" y="991"/>
                </a:lnTo>
                <a:lnTo>
                  <a:pt x="13" y="990"/>
                </a:lnTo>
                <a:lnTo>
                  <a:pt x="13" y="989"/>
                </a:lnTo>
                <a:lnTo>
                  <a:pt x="14" y="988"/>
                </a:lnTo>
                <a:close/>
                <a:moveTo>
                  <a:pt x="299" y="984"/>
                </a:moveTo>
                <a:lnTo>
                  <a:pt x="301" y="985"/>
                </a:lnTo>
                <a:lnTo>
                  <a:pt x="301" y="986"/>
                </a:lnTo>
                <a:lnTo>
                  <a:pt x="300" y="986"/>
                </a:lnTo>
                <a:lnTo>
                  <a:pt x="298" y="988"/>
                </a:lnTo>
                <a:lnTo>
                  <a:pt x="297" y="990"/>
                </a:lnTo>
                <a:lnTo>
                  <a:pt x="296" y="989"/>
                </a:lnTo>
                <a:lnTo>
                  <a:pt x="296" y="986"/>
                </a:lnTo>
                <a:lnTo>
                  <a:pt x="298" y="986"/>
                </a:lnTo>
                <a:lnTo>
                  <a:pt x="298" y="985"/>
                </a:lnTo>
                <a:lnTo>
                  <a:pt x="299" y="984"/>
                </a:lnTo>
                <a:close/>
                <a:moveTo>
                  <a:pt x="98" y="982"/>
                </a:moveTo>
                <a:lnTo>
                  <a:pt x="100" y="984"/>
                </a:lnTo>
                <a:lnTo>
                  <a:pt x="101" y="984"/>
                </a:lnTo>
                <a:lnTo>
                  <a:pt x="101" y="985"/>
                </a:lnTo>
                <a:lnTo>
                  <a:pt x="102" y="986"/>
                </a:lnTo>
                <a:lnTo>
                  <a:pt x="102" y="989"/>
                </a:lnTo>
                <a:lnTo>
                  <a:pt x="101" y="988"/>
                </a:lnTo>
                <a:lnTo>
                  <a:pt x="101" y="989"/>
                </a:lnTo>
                <a:lnTo>
                  <a:pt x="102" y="990"/>
                </a:lnTo>
                <a:lnTo>
                  <a:pt x="102" y="991"/>
                </a:lnTo>
                <a:lnTo>
                  <a:pt x="104" y="990"/>
                </a:lnTo>
                <a:lnTo>
                  <a:pt x="105" y="991"/>
                </a:lnTo>
                <a:lnTo>
                  <a:pt x="104" y="992"/>
                </a:lnTo>
                <a:lnTo>
                  <a:pt x="105" y="992"/>
                </a:lnTo>
                <a:lnTo>
                  <a:pt x="105" y="994"/>
                </a:lnTo>
                <a:lnTo>
                  <a:pt x="101" y="994"/>
                </a:lnTo>
                <a:lnTo>
                  <a:pt x="101" y="992"/>
                </a:lnTo>
                <a:lnTo>
                  <a:pt x="100" y="992"/>
                </a:lnTo>
                <a:lnTo>
                  <a:pt x="98" y="991"/>
                </a:lnTo>
                <a:lnTo>
                  <a:pt x="96" y="990"/>
                </a:lnTo>
                <a:lnTo>
                  <a:pt x="96" y="988"/>
                </a:lnTo>
                <a:lnTo>
                  <a:pt x="99" y="988"/>
                </a:lnTo>
                <a:lnTo>
                  <a:pt x="99" y="986"/>
                </a:lnTo>
                <a:lnTo>
                  <a:pt x="96" y="984"/>
                </a:lnTo>
                <a:lnTo>
                  <a:pt x="96" y="983"/>
                </a:lnTo>
                <a:lnTo>
                  <a:pt x="98" y="982"/>
                </a:lnTo>
                <a:close/>
                <a:moveTo>
                  <a:pt x="66" y="982"/>
                </a:moveTo>
                <a:lnTo>
                  <a:pt x="67" y="982"/>
                </a:lnTo>
                <a:lnTo>
                  <a:pt x="67" y="984"/>
                </a:lnTo>
                <a:lnTo>
                  <a:pt x="66" y="983"/>
                </a:lnTo>
                <a:lnTo>
                  <a:pt x="66" y="982"/>
                </a:lnTo>
                <a:close/>
                <a:moveTo>
                  <a:pt x="94" y="977"/>
                </a:moveTo>
                <a:lnTo>
                  <a:pt x="95" y="977"/>
                </a:lnTo>
                <a:lnTo>
                  <a:pt x="95" y="978"/>
                </a:lnTo>
                <a:lnTo>
                  <a:pt x="94" y="979"/>
                </a:lnTo>
                <a:lnTo>
                  <a:pt x="94" y="980"/>
                </a:lnTo>
                <a:lnTo>
                  <a:pt x="93" y="982"/>
                </a:lnTo>
                <a:lnTo>
                  <a:pt x="93" y="983"/>
                </a:lnTo>
                <a:lnTo>
                  <a:pt x="92" y="983"/>
                </a:lnTo>
                <a:lnTo>
                  <a:pt x="92" y="980"/>
                </a:lnTo>
                <a:lnTo>
                  <a:pt x="93" y="979"/>
                </a:lnTo>
                <a:lnTo>
                  <a:pt x="94" y="977"/>
                </a:lnTo>
                <a:close/>
                <a:moveTo>
                  <a:pt x="77" y="974"/>
                </a:moveTo>
                <a:lnTo>
                  <a:pt x="80" y="974"/>
                </a:lnTo>
                <a:lnTo>
                  <a:pt x="80" y="976"/>
                </a:lnTo>
                <a:lnTo>
                  <a:pt x="82" y="976"/>
                </a:lnTo>
                <a:lnTo>
                  <a:pt x="83" y="977"/>
                </a:lnTo>
                <a:lnTo>
                  <a:pt x="82" y="977"/>
                </a:lnTo>
                <a:lnTo>
                  <a:pt x="82" y="980"/>
                </a:lnTo>
                <a:lnTo>
                  <a:pt x="81" y="980"/>
                </a:lnTo>
                <a:lnTo>
                  <a:pt x="82" y="982"/>
                </a:lnTo>
                <a:lnTo>
                  <a:pt x="81" y="982"/>
                </a:lnTo>
                <a:lnTo>
                  <a:pt x="79" y="979"/>
                </a:lnTo>
                <a:lnTo>
                  <a:pt x="79" y="977"/>
                </a:lnTo>
                <a:lnTo>
                  <a:pt x="77" y="977"/>
                </a:lnTo>
                <a:lnTo>
                  <a:pt x="77" y="978"/>
                </a:lnTo>
                <a:lnTo>
                  <a:pt x="76" y="977"/>
                </a:lnTo>
                <a:lnTo>
                  <a:pt x="76" y="976"/>
                </a:lnTo>
                <a:lnTo>
                  <a:pt x="77" y="974"/>
                </a:lnTo>
                <a:close/>
                <a:moveTo>
                  <a:pt x="73" y="974"/>
                </a:moveTo>
                <a:lnTo>
                  <a:pt x="74" y="974"/>
                </a:lnTo>
                <a:lnTo>
                  <a:pt x="75" y="976"/>
                </a:lnTo>
                <a:lnTo>
                  <a:pt x="76" y="978"/>
                </a:lnTo>
                <a:lnTo>
                  <a:pt x="76" y="980"/>
                </a:lnTo>
                <a:lnTo>
                  <a:pt x="74" y="980"/>
                </a:lnTo>
                <a:lnTo>
                  <a:pt x="74" y="977"/>
                </a:lnTo>
                <a:lnTo>
                  <a:pt x="73" y="976"/>
                </a:lnTo>
                <a:lnTo>
                  <a:pt x="73" y="974"/>
                </a:lnTo>
                <a:close/>
                <a:moveTo>
                  <a:pt x="86" y="973"/>
                </a:moveTo>
                <a:lnTo>
                  <a:pt x="87" y="974"/>
                </a:lnTo>
                <a:lnTo>
                  <a:pt x="87" y="973"/>
                </a:lnTo>
                <a:lnTo>
                  <a:pt x="86" y="973"/>
                </a:lnTo>
                <a:close/>
                <a:moveTo>
                  <a:pt x="74" y="967"/>
                </a:moveTo>
                <a:lnTo>
                  <a:pt x="75" y="968"/>
                </a:lnTo>
                <a:lnTo>
                  <a:pt x="75" y="973"/>
                </a:lnTo>
                <a:lnTo>
                  <a:pt x="74" y="972"/>
                </a:lnTo>
                <a:lnTo>
                  <a:pt x="73" y="972"/>
                </a:lnTo>
                <a:lnTo>
                  <a:pt x="73" y="971"/>
                </a:lnTo>
                <a:lnTo>
                  <a:pt x="71" y="970"/>
                </a:lnTo>
                <a:lnTo>
                  <a:pt x="74" y="967"/>
                </a:lnTo>
                <a:close/>
                <a:moveTo>
                  <a:pt x="70" y="948"/>
                </a:moveTo>
                <a:lnTo>
                  <a:pt x="73" y="948"/>
                </a:lnTo>
                <a:lnTo>
                  <a:pt x="73" y="949"/>
                </a:lnTo>
                <a:lnTo>
                  <a:pt x="74" y="949"/>
                </a:lnTo>
                <a:lnTo>
                  <a:pt x="74" y="951"/>
                </a:lnTo>
                <a:lnTo>
                  <a:pt x="71" y="949"/>
                </a:lnTo>
                <a:lnTo>
                  <a:pt x="70" y="948"/>
                </a:lnTo>
                <a:close/>
                <a:moveTo>
                  <a:pt x="73" y="945"/>
                </a:moveTo>
                <a:lnTo>
                  <a:pt x="75" y="946"/>
                </a:lnTo>
                <a:lnTo>
                  <a:pt x="74" y="947"/>
                </a:lnTo>
                <a:lnTo>
                  <a:pt x="73" y="947"/>
                </a:lnTo>
                <a:lnTo>
                  <a:pt x="73" y="946"/>
                </a:lnTo>
                <a:lnTo>
                  <a:pt x="71" y="946"/>
                </a:lnTo>
                <a:lnTo>
                  <a:pt x="73" y="945"/>
                </a:lnTo>
                <a:close/>
                <a:moveTo>
                  <a:pt x="75" y="943"/>
                </a:moveTo>
                <a:lnTo>
                  <a:pt x="76" y="943"/>
                </a:lnTo>
                <a:lnTo>
                  <a:pt x="76" y="947"/>
                </a:lnTo>
                <a:lnTo>
                  <a:pt x="75" y="947"/>
                </a:lnTo>
                <a:lnTo>
                  <a:pt x="75" y="943"/>
                </a:lnTo>
                <a:close/>
                <a:moveTo>
                  <a:pt x="74" y="939"/>
                </a:moveTo>
                <a:lnTo>
                  <a:pt x="76" y="939"/>
                </a:lnTo>
                <a:lnTo>
                  <a:pt x="76" y="940"/>
                </a:lnTo>
                <a:lnTo>
                  <a:pt x="79" y="942"/>
                </a:lnTo>
                <a:lnTo>
                  <a:pt x="77" y="943"/>
                </a:lnTo>
                <a:lnTo>
                  <a:pt x="76" y="943"/>
                </a:lnTo>
                <a:lnTo>
                  <a:pt x="75" y="941"/>
                </a:lnTo>
                <a:lnTo>
                  <a:pt x="73" y="941"/>
                </a:lnTo>
                <a:lnTo>
                  <a:pt x="74" y="939"/>
                </a:lnTo>
                <a:close/>
                <a:moveTo>
                  <a:pt x="77" y="918"/>
                </a:moveTo>
                <a:lnTo>
                  <a:pt x="79" y="918"/>
                </a:lnTo>
                <a:lnTo>
                  <a:pt x="81" y="921"/>
                </a:lnTo>
                <a:lnTo>
                  <a:pt x="77" y="921"/>
                </a:lnTo>
                <a:lnTo>
                  <a:pt x="77" y="918"/>
                </a:lnTo>
                <a:close/>
                <a:moveTo>
                  <a:pt x="79" y="917"/>
                </a:moveTo>
                <a:lnTo>
                  <a:pt x="80" y="918"/>
                </a:lnTo>
                <a:lnTo>
                  <a:pt x="79" y="918"/>
                </a:lnTo>
                <a:lnTo>
                  <a:pt x="79" y="917"/>
                </a:lnTo>
                <a:close/>
                <a:moveTo>
                  <a:pt x="83" y="880"/>
                </a:moveTo>
                <a:lnTo>
                  <a:pt x="85" y="880"/>
                </a:lnTo>
                <a:lnTo>
                  <a:pt x="85" y="881"/>
                </a:lnTo>
                <a:lnTo>
                  <a:pt x="83" y="881"/>
                </a:lnTo>
                <a:lnTo>
                  <a:pt x="83" y="880"/>
                </a:lnTo>
                <a:close/>
                <a:moveTo>
                  <a:pt x="68" y="756"/>
                </a:moveTo>
                <a:lnTo>
                  <a:pt x="70" y="756"/>
                </a:lnTo>
                <a:lnTo>
                  <a:pt x="71" y="757"/>
                </a:lnTo>
                <a:lnTo>
                  <a:pt x="71" y="758"/>
                </a:lnTo>
                <a:lnTo>
                  <a:pt x="73" y="759"/>
                </a:lnTo>
                <a:lnTo>
                  <a:pt x="73" y="761"/>
                </a:lnTo>
                <a:lnTo>
                  <a:pt x="70" y="761"/>
                </a:lnTo>
                <a:lnTo>
                  <a:pt x="70" y="762"/>
                </a:lnTo>
                <a:lnTo>
                  <a:pt x="69" y="761"/>
                </a:lnTo>
                <a:lnTo>
                  <a:pt x="69" y="757"/>
                </a:lnTo>
                <a:lnTo>
                  <a:pt x="68" y="756"/>
                </a:lnTo>
                <a:close/>
                <a:moveTo>
                  <a:pt x="67" y="730"/>
                </a:moveTo>
                <a:lnTo>
                  <a:pt x="68" y="731"/>
                </a:lnTo>
                <a:lnTo>
                  <a:pt x="69" y="731"/>
                </a:lnTo>
                <a:lnTo>
                  <a:pt x="71" y="730"/>
                </a:lnTo>
                <a:lnTo>
                  <a:pt x="73" y="730"/>
                </a:lnTo>
                <a:lnTo>
                  <a:pt x="73" y="731"/>
                </a:lnTo>
                <a:lnTo>
                  <a:pt x="71" y="732"/>
                </a:lnTo>
                <a:lnTo>
                  <a:pt x="71" y="736"/>
                </a:lnTo>
                <a:lnTo>
                  <a:pt x="74" y="736"/>
                </a:lnTo>
                <a:lnTo>
                  <a:pt x="75" y="737"/>
                </a:lnTo>
                <a:lnTo>
                  <a:pt x="75" y="734"/>
                </a:lnTo>
                <a:lnTo>
                  <a:pt x="77" y="732"/>
                </a:lnTo>
                <a:lnTo>
                  <a:pt x="80" y="732"/>
                </a:lnTo>
                <a:lnTo>
                  <a:pt x="81" y="733"/>
                </a:lnTo>
                <a:lnTo>
                  <a:pt x="81" y="738"/>
                </a:lnTo>
                <a:lnTo>
                  <a:pt x="79" y="738"/>
                </a:lnTo>
                <a:lnTo>
                  <a:pt x="79" y="737"/>
                </a:lnTo>
                <a:lnTo>
                  <a:pt x="75" y="739"/>
                </a:lnTo>
                <a:lnTo>
                  <a:pt x="75" y="740"/>
                </a:lnTo>
                <a:lnTo>
                  <a:pt x="76" y="740"/>
                </a:lnTo>
                <a:lnTo>
                  <a:pt x="76" y="741"/>
                </a:lnTo>
                <a:lnTo>
                  <a:pt x="75" y="741"/>
                </a:lnTo>
                <a:lnTo>
                  <a:pt x="73" y="743"/>
                </a:lnTo>
                <a:lnTo>
                  <a:pt x="73" y="740"/>
                </a:lnTo>
                <a:lnTo>
                  <a:pt x="71" y="739"/>
                </a:lnTo>
                <a:lnTo>
                  <a:pt x="71" y="738"/>
                </a:lnTo>
                <a:lnTo>
                  <a:pt x="70" y="739"/>
                </a:lnTo>
                <a:lnTo>
                  <a:pt x="69" y="739"/>
                </a:lnTo>
                <a:lnTo>
                  <a:pt x="69" y="737"/>
                </a:lnTo>
                <a:lnTo>
                  <a:pt x="67" y="734"/>
                </a:lnTo>
                <a:lnTo>
                  <a:pt x="67" y="730"/>
                </a:lnTo>
                <a:close/>
                <a:moveTo>
                  <a:pt x="106" y="726"/>
                </a:moveTo>
                <a:lnTo>
                  <a:pt x="107" y="728"/>
                </a:lnTo>
                <a:lnTo>
                  <a:pt x="107" y="730"/>
                </a:lnTo>
                <a:lnTo>
                  <a:pt x="106" y="731"/>
                </a:lnTo>
                <a:lnTo>
                  <a:pt x="105" y="730"/>
                </a:lnTo>
                <a:lnTo>
                  <a:pt x="105" y="731"/>
                </a:lnTo>
                <a:lnTo>
                  <a:pt x="104" y="730"/>
                </a:lnTo>
                <a:lnTo>
                  <a:pt x="104" y="728"/>
                </a:lnTo>
                <a:lnTo>
                  <a:pt x="105" y="727"/>
                </a:lnTo>
                <a:lnTo>
                  <a:pt x="106" y="727"/>
                </a:lnTo>
                <a:lnTo>
                  <a:pt x="106" y="726"/>
                </a:lnTo>
                <a:close/>
                <a:moveTo>
                  <a:pt x="114" y="725"/>
                </a:moveTo>
                <a:lnTo>
                  <a:pt x="116" y="725"/>
                </a:lnTo>
                <a:lnTo>
                  <a:pt x="116" y="728"/>
                </a:lnTo>
                <a:lnTo>
                  <a:pt x="114" y="730"/>
                </a:lnTo>
                <a:lnTo>
                  <a:pt x="114" y="731"/>
                </a:lnTo>
                <a:lnTo>
                  <a:pt x="113" y="731"/>
                </a:lnTo>
                <a:lnTo>
                  <a:pt x="112" y="730"/>
                </a:lnTo>
                <a:lnTo>
                  <a:pt x="111" y="730"/>
                </a:lnTo>
                <a:lnTo>
                  <a:pt x="112" y="731"/>
                </a:lnTo>
                <a:lnTo>
                  <a:pt x="112" y="732"/>
                </a:lnTo>
                <a:lnTo>
                  <a:pt x="111" y="732"/>
                </a:lnTo>
                <a:lnTo>
                  <a:pt x="111" y="733"/>
                </a:lnTo>
                <a:lnTo>
                  <a:pt x="108" y="732"/>
                </a:lnTo>
                <a:lnTo>
                  <a:pt x="108" y="726"/>
                </a:lnTo>
                <a:lnTo>
                  <a:pt x="111" y="726"/>
                </a:lnTo>
                <a:lnTo>
                  <a:pt x="111" y="727"/>
                </a:lnTo>
                <a:lnTo>
                  <a:pt x="112" y="727"/>
                </a:lnTo>
                <a:lnTo>
                  <a:pt x="112" y="726"/>
                </a:lnTo>
                <a:lnTo>
                  <a:pt x="113" y="726"/>
                </a:lnTo>
                <a:lnTo>
                  <a:pt x="113" y="727"/>
                </a:lnTo>
                <a:lnTo>
                  <a:pt x="114" y="726"/>
                </a:lnTo>
                <a:lnTo>
                  <a:pt x="114" y="725"/>
                </a:lnTo>
                <a:close/>
                <a:moveTo>
                  <a:pt x="76" y="722"/>
                </a:moveTo>
                <a:lnTo>
                  <a:pt x="77" y="722"/>
                </a:lnTo>
                <a:lnTo>
                  <a:pt x="79" y="724"/>
                </a:lnTo>
                <a:lnTo>
                  <a:pt x="79" y="727"/>
                </a:lnTo>
                <a:lnTo>
                  <a:pt x="76" y="730"/>
                </a:lnTo>
                <a:lnTo>
                  <a:pt x="76" y="727"/>
                </a:lnTo>
                <a:lnTo>
                  <a:pt x="75" y="728"/>
                </a:lnTo>
                <a:lnTo>
                  <a:pt x="73" y="726"/>
                </a:lnTo>
                <a:lnTo>
                  <a:pt x="73" y="725"/>
                </a:lnTo>
                <a:lnTo>
                  <a:pt x="75" y="725"/>
                </a:lnTo>
                <a:lnTo>
                  <a:pt x="76" y="722"/>
                </a:lnTo>
                <a:close/>
                <a:moveTo>
                  <a:pt x="105" y="720"/>
                </a:moveTo>
                <a:lnTo>
                  <a:pt x="110" y="720"/>
                </a:lnTo>
                <a:lnTo>
                  <a:pt x="110" y="721"/>
                </a:lnTo>
                <a:lnTo>
                  <a:pt x="108" y="721"/>
                </a:lnTo>
                <a:lnTo>
                  <a:pt x="108" y="722"/>
                </a:lnTo>
                <a:lnTo>
                  <a:pt x="106" y="722"/>
                </a:lnTo>
                <a:lnTo>
                  <a:pt x="105" y="724"/>
                </a:lnTo>
                <a:lnTo>
                  <a:pt x="105" y="725"/>
                </a:lnTo>
                <a:lnTo>
                  <a:pt x="102" y="725"/>
                </a:lnTo>
                <a:lnTo>
                  <a:pt x="104" y="724"/>
                </a:lnTo>
                <a:lnTo>
                  <a:pt x="104" y="721"/>
                </a:lnTo>
                <a:lnTo>
                  <a:pt x="105" y="721"/>
                </a:lnTo>
                <a:lnTo>
                  <a:pt x="105" y="720"/>
                </a:lnTo>
                <a:close/>
                <a:moveTo>
                  <a:pt x="136" y="682"/>
                </a:moveTo>
                <a:lnTo>
                  <a:pt x="138" y="682"/>
                </a:lnTo>
                <a:lnTo>
                  <a:pt x="138" y="683"/>
                </a:lnTo>
                <a:lnTo>
                  <a:pt x="139" y="683"/>
                </a:lnTo>
                <a:lnTo>
                  <a:pt x="139" y="687"/>
                </a:lnTo>
                <a:lnTo>
                  <a:pt x="138" y="687"/>
                </a:lnTo>
                <a:lnTo>
                  <a:pt x="138" y="688"/>
                </a:lnTo>
                <a:lnTo>
                  <a:pt x="136" y="688"/>
                </a:lnTo>
                <a:lnTo>
                  <a:pt x="135" y="687"/>
                </a:lnTo>
                <a:lnTo>
                  <a:pt x="135" y="685"/>
                </a:lnTo>
                <a:lnTo>
                  <a:pt x="133" y="684"/>
                </a:lnTo>
                <a:lnTo>
                  <a:pt x="135" y="684"/>
                </a:lnTo>
                <a:lnTo>
                  <a:pt x="135" y="683"/>
                </a:lnTo>
                <a:lnTo>
                  <a:pt x="136" y="683"/>
                </a:lnTo>
                <a:lnTo>
                  <a:pt x="136" y="682"/>
                </a:lnTo>
                <a:close/>
                <a:moveTo>
                  <a:pt x="225" y="554"/>
                </a:moveTo>
                <a:lnTo>
                  <a:pt x="228" y="556"/>
                </a:lnTo>
                <a:lnTo>
                  <a:pt x="226" y="556"/>
                </a:lnTo>
                <a:lnTo>
                  <a:pt x="226" y="558"/>
                </a:lnTo>
                <a:lnTo>
                  <a:pt x="234" y="558"/>
                </a:lnTo>
                <a:lnTo>
                  <a:pt x="235" y="559"/>
                </a:lnTo>
                <a:lnTo>
                  <a:pt x="232" y="560"/>
                </a:lnTo>
                <a:lnTo>
                  <a:pt x="230" y="560"/>
                </a:lnTo>
                <a:lnTo>
                  <a:pt x="226" y="559"/>
                </a:lnTo>
                <a:lnTo>
                  <a:pt x="224" y="559"/>
                </a:lnTo>
                <a:lnTo>
                  <a:pt x="223" y="561"/>
                </a:lnTo>
                <a:lnTo>
                  <a:pt x="220" y="564"/>
                </a:lnTo>
                <a:lnTo>
                  <a:pt x="222" y="566"/>
                </a:lnTo>
                <a:lnTo>
                  <a:pt x="224" y="566"/>
                </a:lnTo>
                <a:lnTo>
                  <a:pt x="224" y="567"/>
                </a:lnTo>
                <a:lnTo>
                  <a:pt x="222" y="567"/>
                </a:lnTo>
                <a:lnTo>
                  <a:pt x="222" y="568"/>
                </a:lnTo>
                <a:lnTo>
                  <a:pt x="219" y="568"/>
                </a:lnTo>
                <a:lnTo>
                  <a:pt x="219" y="565"/>
                </a:lnTo>
                <a:lnTo>
                  <a:pt x="218" y="564"/>
                </a:lnTo>
                <a:lnTo>
                  <a:pt x="217" y="566"/>
                </a:lnTo>
                <a:lnTo>
                  <a:pt x="216" y="567"/>
                </a:lnTo>
                <a:lnTo>
                  <a:pt x="214" y="565"/>
                </a:lnTo>
                <a:lnTo>
                  <a:pt x="214" y="562"/>
                </a:lnTo>
                <a:lnTo>
                  <a:pt x="213" y="561"/>
                </a:lnTo>
                <a:lnTo>
                  <a:pt x="213" y="560"/>
                </a:lnTo>
                <a:lnTo>
                  <a:pt x="214" y="559"/>
                </a:lnTo>
                <a:lnTo>
                  <a:pt x="217" y="555"/>
                </a:lnTo>
                <a:lnTo>
                  <a:pt x="220" y="555"/>
                </a:lnTo>
                <a:lnTo>
                  <a:pt x="225" y="554"/>
                </a:lnTo>
                <a:close/>
                <a:moveTo>
                  <a:pt x="353" y="0"/>
                </a:moveTo>
                <a:lnTo>
                  <a:pt x="355" y="2"/>
                </a:lnTo>
                <a:lnTo>
                  <a:pt x="358" y="8"/>
                </a:lnTo>
                <a:lnTo>
                  <a:pt x="366" y="22"/>
                </a:lnTo>
                <a:lnTo>
                  <a:pt x="366" y="24"/>
                </a:lnTo>
                <a:lnTo>
                  <a:pt x="374" y="27"/>
                </a:lnTo>
                <a:lnTo>
                  <a:pt x="374" y="31"/>
                </a:lnTo>
                <a:lnTo>
                  <a:pt x="375" y="33"/>
                </a:lnTo>
                <a:lnTo>
                  <a:pt x="377" y="34"/>
                </a:lnTo>
                <a:lnTo>
                  <a:pt x="379" y="36"/>
                </a:lnTo>
                <a:lnTo>
                  <a:pt x="392" y="43"/>
                </a:lnTo>
                <a:lnTo>
                  <a:pt x="406" y="49"/>
                </a:lnTo>
                <a:lnTo>
                  <a:pt x="406" y="50"/>
                </a:lnTo>
                <a:lnTo>
                  <a:pt x="409" y="60"/>
                </a:lnTo>
                <a:lnTo>
                  <a:pt x="415" y="75"/>
                </a:lnTo>
                <a:lnTo>
                  <a:pt x="410" y="86"/>
                </a:lnTo>
                <a:lnTo>
                  <a:pt x="394" y="105"/>
                </a:lnTo>
                <a:lnTo>
                  <a:pt x="394" y="108"/>
                </a:lnTo>
                <a:lnTo>
                  <a:pt x="393" y="117"/>
                </a:lnTo>
                <a:lnTo>
                  <a:pt x="393" y="120"/>
                </a:lnTo>
                <a:lnTo>
                  <a:pt x="398" y="126"/>
                </a:lnTo>
                <a:lnTo>
                  <a:pt x="393" y="132"/>
                </a:lnTo>
                <a:lnTo>
                  <a:pt x="389" y="134"/>
                </a:lnTo>
                <a:lnTo>
                  <a:pt x="378" y="142"/>
                </a:lnTo>
                <a:lnTo>
                  <a:pt x="375" y="142"/>
                </a:lnTo>
                <a:lnTo>
                  <a:pt x="375" y="144"/>
                </a:lnTo>
                <a:lnTo>
                  <a:pt x="377" y="145"/>
                </a:lnTo>
                <a:lnTo>
                  <a:pt x="389" y="145"/>
                </a:lnTo>
                <a:lnTo>
                  <a:pt x="392" y="149"/>
                </a:lnTo>
                <a:lnTo>
                  <a:pt x="390" y="159"/>
                </a:lnTo>
                <a:lnTo>
                  <a:pt x="389" y="162"/>
                </a:lnTo>
                <a:lnTo>
                  <a:pt x="378" y="184"/>
                </a:lnTo>
                <a:lnTo>
                  <a:pt x="377" y="185"/>
                </a:lnTo>
                <a:lnTo>
                  <a:pt x="377" y="186"/>
                </a:lnTo>
                <a:lnTo>
                  <a:pt x="378" y="190"/>
                </a:lnTo>
                <a:lnTo>
                  <a:pt x="379" y="192"/>
                </a:lnTo>
                <a:lnTo>
                  <a:pt x="386" y="222"/>
                </a:lnTo>
                <a:lnTo>
                  <a:pt x="387" y="224"/>
                </a:lnTo>
                <a:lnTo>
                  <a:pt x="389" y="226"/>
                </a:lnTo>
                <a:lnTo>
                  <a:pt x="400" y="230"/>
                </a:lnTo>
                <a:lnTo>
                  <a:pt x="414" y="236"/>
                </a:lnTo>
                <a:lnTo>
                  <a:pt x="416" y="239"/>
                </a:lnTo>
                <a:lnTo>
                  <a:pt x="419" y="246"/>
                </a:lnTo>
                <a:lnTo>
                  <a:pt x="421" y="249"/>
                </a:lnTo>
                <a:lnTo>
                  <a:pt x="428" y="265"/>
                </a:lnTo>
                <a:lnTo>
                  <a:pt x="430" y="269"/>
                </a:lnTo>
                <a:lnTo>
                  <a:pt x="443" y="280"/>
                </a:lnTo>
                <a:lnTo>
                  <a:pt x="442" y="282"/>
                </a:lnTo>
                <a:lnTo>
                  <a:pt x="442" y="283"/>
                </a:lnTo>
                <a:lnTo>
                  <a:pt x="441" y="284"/>
                </a:lnTo>
                <a:lnTo>
                  <a:pt x="441" y="294"/>
                </a:lnTo>
                <a:lnTo>
                  <a:pt x="440" y="298"/>
                </a:lnTo>
                <a:lnTo>
                  <a:pt x="439" y="300"/>
                </a:lnTo>
                <a:lnTo>
                  <a:pt x="422" y="323"/>
                </a:lnTo>
                <a:lnTo>
                  <a:pt x="422" y="326"/>
                </a:lnTo>
                <a:lnTo>
                  <a:pt x="421" y="327"/>
                </a:lnTo>
                <a:lnTo>
                  <a:pt x="421" y="328"/>
                </a:lnTo>
                <a:lnTo>
                  <a:pt x="418" y="331"/>
                </a:lnTo>
                <a:lnTo>
                  <a:pt x="405" y="357"/>
                </a:lnTo>
                <a:lnTo>
                  <a:pt x="403" y="365"/>
                </a:lnTo>
                <a:lnTo>
                  <a:pt x="404" y="374"/>
                </a:lnTo>
                <a:lnTo>
                  <a:pt x="414" y="390"/>
                </a:lnTo>
                <a:lnTo>
                  <a:pt x="416" y="396"/>
                </a:lnTo>
                <a:lnTo>
                  <a:pt x="417" y="398"/>
                </a:lnTo>
                <a:lnTo>
                  <a:pt x="417" y="401"/>
                </a:lnTo>
                <a:lnTo>
                  <a:pt x="418" y="402"/>
                </a:lnTo>
                <a:lnTo>
                  <a:pt x="423" y="411"/>
                </a:lnTo>
                <a:lnTo>
                  <a:pt x="423" y="417"/>
                </a:lnTo>
                <a:lnTo>
                  <a:pt x="424" y="418"/>
                </a:lnTo>
                <a:lnTo>
                  <a:pt x="424" y="423"/>
                </a:lnTo>
                <a:lnTo>
                  <a:pt x="425" y="425"/>
                </a:lnTo>
                <a:lnTo>
                  <a:pt x="428" y="431"/>
                </a:lnTo>
                <a:lnTo>
                  <a:pt x="434" y="443"/>
                </a:lnTo>
                <a:lnTo>
                  <a:pt x="437" y="448"/>
                </a:lnTo>
                <a:lnTo>
                  <a:pt x="439" y="450"/>
                </a:lnTo>
                <a:lnTo>
                  <a:pt x="440" y="455"/>
                </a:lnTo>
                <a:lnTo>
                  <a:pt x="441" y="462"/>
                </a:lnTo>
                <a:lnTo>
                  <a:pt x="441" y="464"/>
                </a:lnTo>
                <a:lnTo>
                  <a:pt x="442" y="469"/>
                </a:lnTo>
                <a:lnTo>
                  <a:pt x="443" y="470"/>
                </a:lnTo>
                <a:lnTo>
                  <a:pt x="446" y="480"/>
                </a:lnTo>
                <a:lnTo>
                  <a:pt x="446" y="482"/>
                </a:lnTo>
                <a:lnTo>
                  <a:pt x="447" y="492"/>
                </a:lnTo>
                <a:lnTo>
                  <a:pt x="448" y="494"/>
                </a:lnTo>
                <a:lnTo>
                  <a:pt x="447" y="497"/>
                </a:lnTo>
                <a:lnTo>
                  <a:pt x="446" y="497"/>
                </a:lnTo>
                <a:lnTo>
                  <a:pt x="443" y="494"/>
                </a:lnTo>
                <a:lnTo>
                  <a:pt x="433" y="498"/>
                </a:lnTo>
                <a:lnTo>
                  <a:pt x="430" y="500"/>
                </a:lnTo>
                <a:lnTo>
                  <a:pt x="431" y="501"/>
                </a:lnTo>
                <a:lnTo>
                  <a:pt x="435" y="504"/>
                </a:lnTo>
                <a:lnTo>
                  <a:pt x="436" y="506"/>
                </a:lnTo>
                <a:lnTo>
                  <a:pt x="435" y="507"/>
                </a:lnTo>
                <a:lnTo>
                  <a:pt x="431" y="512"/>
                </a:lnTo>
                <a:lnTo>
                  <a:pt x="431" y="513"/>
                </a:lnTo>
                <a:lnTo>
                  <a:pt x="430" y="518"/>
                </a:lnTo>
                <a:lnTo>
                  <a:pt x="431" y="527"/>
                </a:lnTo>
                <a:lnTo>
                  <a:pt x="431" y="530"/>
                </a:lnTo>
                <a:lnTo>
                  <a:pt x="427" y="536"/>
                </a:lnTo>
                <a:lnTo>
                  <a:pt x="425" y="540"/>
                </a:lnTo>
                <a:lnTo>
                  <a:pt x="427" y="542"/>
                </a:lnTo>
                <a:lnTo>
                  <a:pt x="433" y="542"/>
                </a:lnTo>
                <a:lnTo>
                  <a:pt x="436" y="543"/>
                </a:lnTo>
                <a:lnTo>
                  <a:pt x="436" y="547"/>
                </a:lnTo>
                <a:lnTo>
                  <a:pt x="435" y="548"/>
                </a:lnTo>
                <a:lnTo>
                  <a:pt x="435" y="550"/>
                </a:lnTo>
                <a:lnTo>
                  <a:pt x="436" y="550"/>
                </a:lnTo>
                <a:lnTo>
                  <a:pt x="436" y="553"/>
                </a:lnTo>
                <a:lnTo>
                  <a:pt x="435" y="554"/>
                </a:lnTo>
                <a:lnTo>
                  <a:pt x="429" y="555"/>
                </a:lnTo>
                <a:lnTo>
                  <a:pt x="427" y="558"/>
                </a:lnTo>
                <a:lnTo>
                  <a:pt x="425" y="560"/>
                </a:lnTo>
                <a:lnTo>
                  <a:pt x="425" y="565"/>
                </a:lnTo>
                <a:lnTo>
                  <a:pt x="427" y="573"/>
                </a:lnTo>
                <a:lnTo>
                  <a:pt x="430" y="579"/>
                </a:lnTo>
                <a:lnTo>
                  <a:pt x="434" y="584"/>
                </a:lnTo>
                <a:lnTo>
                  <a:pt x="437" y="585"/>
                </a:lnTo>
                <a:lnTo>
                  <a:pt x="446" y="585"/>
                </a:lnTo>
                <a:lnTo>
                  <a:pt x="447" y="586"/>
                </a:lnTo>
                <a:lnTo>
                  <a:pt x="448" y="586"/>
                </a:lnTo>
                <a:lnTo>
                  <a:pt x="448" y="587"/>
                </a:lnTo>
                <a:lnTo>
                  <a:pt x="447" y="589"/>
                </a:lnTo>
                <a:lnTo>
                  <a:pt x="447" y="591"/>
                </a:lnTo>
                <a:lnTo>
                  <a:pt x="448" y="592"/>
                </a:lnTo>
                <a:lnTo>
                  <a:pt x="448" y="593"/>
                </a:lnTo>
                <a:lnTo>
                  <a:pt x="449" y="595"/>
                </a:lnTo>
                <a:lnTo>
                  <a:pt x="450" y="597"/>
                </a:lnTo>
                <a:lnTo>
                  <a:pt x="450" y="599"/>
                </a:lnTo>
                <a:lnTo>
                  <a:pt x="448" y="602"/>
                </a:lnTo>
                <a:lnTo>
                  <a:pt x="441" y="605"/>
                </a:lnTo>
                <a:lnTo>
                  <a:pt x="441" y="609"/>
                </a:lnTo>
                <a:lnTo>
                  <a:pt x="442" y="609"/>
                </a:lnTo>
                <a:lnTo>
                  <a:pt x="442" y="612"/>
                </a:lnTo>
                <a:lnTo>
                  <a:pt x="445" y="614"/>
                </a:lnTo>
                <a:lnTo>
                  <a:pt x="446" y="616"/>
                </a:lnTo>
                <a:lnTo>
                  <a:pt x="446" y="618"/>
                </a:lnTo>
                <a:lnTo>
                  <a:pt x="445" y="621"/>
                </a:lnTo>
                <a:lnTo>
                  <a:pt x="445" y="624"/>
                </a:lnTo>
                <a:lnTo>
                  <a:pt x="447" y="627"/>
                </a:lnTo>
                <a:lnTo>
                  <a:pt x="449" y="628"/>
                </a:lnTo>
                <a:lnTo>
                  <a:pt x="456" y="630"/>
                </a:lnTo>
                <a:lnTo>
                  <a:pt x="460" y="634"/>
                </a:lnTo>
                <a:lnTo>
                  <a:pt x="460" y="636"/>
                </a:lnTo>
                <a:lnTo>
                  <a:pt x="461" y="638"/>
                </a:lnTo>
                <a:lnTo>
                  <a:pt x="464" y="638"/>
                </a:lnTo>
                <a:lnTo>
                  <a:pt x="466" y="640"/>
                </a:lnTo>
                <a:lnTo>
                  <a:pt x="466" y="642"/>
                </a:lnTo>
                <a:lnTo>
                  <a:pt x="465" y="645"/>
                </a:lnTo>
                <a:lnTo>
                  <a:pt x="465" y="646"/>
                </a:lnTo>
                <a:lnTo>
                  <a:pt x="466" y="647"/>
                </a:lnTo>
                <a:lnTo>
                  <a:pt x="466" y="650"/>
                </a:lnTo>
                <a:lnTo>
                  <a:pt x="467" y="653"/>
                </a:lnTo>
                <a:lnTo>
                  <a:pt x="467" y="657"/>
                </a:lnTo>
                <a:lnTo>
                  <a:pt x="466" y="659"/>
                </a:lnTo>
                <a:lnTo>
                  <a:pt x="464" y="663"/>
                </a:lnTo>
                <a:lnTo>
                  <a:pt x="456" y="671"/>
                </a:lnTo>
                <a:lnTo>
                  <a:pt x="454" y="678"/>
                </a:lnTo>
                <a:lnTo>
                  <a:pt x="452" y="682"/>
                </a:lnTo>
                <a:lnTo>
                  <a:pt x="445" y="684"/>
                </a:lnTo>
                <a:lnTo>
                  <a:pt x="442" y="685"/>
                </a:lnTo>
                <a:lnTo>
                  <a:pt x="442" y="689"/>
                </a:lnTo>
                <a:lnTo>
                  <a:pt x="453" y="702"/>
                </a:lnTo>
                <a:lnTo>
                  <a:pt x="459" y="706"/>
                </a:lnTo>
                <a:lnTo>
                  <a:pt x="461" y="710"/>
                </a:lnTo>
                <a:lnTo>
                  <a:pt x="464" y="713"/>
                </a:lnTo>
                <a:lnTo>
                  <a:pt x="477" y="721"/>
                </a:lnTo>
                <a:lnTo>
                  <a:pt x="484" y="730"/>
                </a:lnTo>
                <a:lnTo>
                  <a:pt x="492" y="736"/>
                </a:lnTo>
                <a:lnTo>
                  <a:pt x="495" y="738"/>
                </a:lnTo>
                <a:lnTo>
                  <a:pt x="495" y="744"/>
                </a:lnTo>
                <a:lnTo>
                  <a:pt x="496" y="745"/>
                </a:lnTo>
                <a:lnTo>
                  <a:pt x="496" y="746"/>
                </a:lnTo>
                <a:lnTo>
                  <a:pt x="497" y="749"/>
                </a:lnTo>
                <a:lnTo>
                  <a:pt x="499" y="750"/>
                </a:lnTo>
                <a:lnTo>
                  <a:pt x="501" y="752"/>
                </a:lnTo>
                <a:lnTo>
                  <a:pt x="504" y="756"/>
                </a:lnTo>
                <a:lnTo>
                  <a:pt x="504" y="757"/>
                </a:lnTo>
                <a:lnTo>
                  <a:pt x="505" y="757"/>
                </a:lnTo>
                <a:lnTo>
                  <a:pt x="507" y="759"/>
                </a:lnTo>
                <a:lnTo>
                  <a:pt x="507" y="762"/>
                </a:lnTo>
                <a:lnTo>
                  <a:pt x="508" y="764"/>
                </a:lnTo>
                <a:lnTo>
                  <a:pt x="509" y="765"/>
                </a:lnTo>
                <a:lnTo>
                  <a:pt x="505" y="773"/>
                </a:lnTo>
                <a:lnTo>
                  <a:pt x="503" y="776"/>
                </a:lnTo>
                <a:lnTo>
                  <a:pt x="502" y="780"/>
                </a:lnTo>
                <a:lnTo>
                  <a:pt x="501" y="788"/>
                </a:lnTo>
                <a:lnTo>
                  <a:pt x="499" y="790"/>
                </a:lnTo>
                <a:lnTo>
                  <a:pt x="498" y="794"/>
                </a:lnTo>
                <a:lnTo>
                  <a:pt x="497" y="795"/>
                </a:lnTo>
                <a:lnTo>
                  <a:pt x="496" y="800"/>
                </a:lnTo>
                <a:lnTo>
                  <a:pt x="495" y="802"/>
                </a:lnTo>
                <a:lnTo>
                  <a:pt x="495" y="804"/>
                </a:lnTo>
                <a:lnTo>
                  <a:pt x="492" y="805"/>
                </a:lnTo>
                <a:lnTo>
                  <a:pt x="491" y="805"/>
                </a:lnTo>
                <a:lnTo>
                  <a:pt x="491" y="806"/>
                </a:lnTo>
                <a:lnTo>
                  <a:pt x="490" y="808"/>
                </a:lnTo>
                <a:lnTo>
                  <a:pt x="484" y="816"/>
                </a:lnTo>
                <a:lnTo>
                  <a:pt x="484" y="817"/>
                </a:lnTo>
                <a:lnTo>
                  <a:pt x="483" y="819"/>
                </a:lnTo>
                <a:lnTo>
                  <a:pt x="481" y="820"/>
                </a:lnTo>
                <a:lnTo>
                  <a:pt x="481" y="822"/>
                </a:lnTo>
                <a:lnTo>
                  <a:pt x="472" y="829"/>
                </a:lnTo>
                <a:lnTo>
                  <a:pt x="471" y="830"/>
                </a:lnTo>
                <a:lnTo>
                  <a:pt x="470" y="830"/>
                </a:lnTo>
                <a:lnTo>
                  <a:pt x="470" y="831"/>
                </a:lnTo>
                <a:lnTo>
                  <a:pt x="468" y="833"/>
                </a:lnTo>
                <a:lnTo>
                  <a:pt x="462" y="842"/>
                </a:lnTo>
                <a:lnTo>
                  <a:pt x="456" y="848"/>
                </a:lnTo>
                <a:lnTo>
                  <a:pt x="449" y="861"/>
                </a:lnTo>
                <a:lnTo>
                  <a:pt x="442" y="872"/>
                </a:lnTo>
                <a:lnTo>
                  <a:pt x="435" y="879"/>
                </a:lnTo>
                <a:lnTo>
                  <a:pt x="434" y="882"/>
                </a:lnTo>
                <a:lnTo>
                  <a:pt x="434" y="884"/>
                </a:lnTo>
                <a:lnTo>
                  <a:pt x="428" y="891"/>
                </a:lnTo>
                <a:lnTo>
                  <a:pt x="423" y="893"/>
                </a:lnTo>
                <a:lnTo>
                  <a:pt x="422" y="894"/>
                </a:lnTo>
                <a:lnTo>
                  <a:pt x="422" y="896"/>
                </a:lnTo>
                <a:lnTo>
                  <a:pt x="419" y="900"/>
                </a:lnTo>
                <a:lnTo>
                  <a:pt x="414" y="906"/>
                </a:lnTo>
                <a:lnTo>
                  <a:pt x="412" y="909"/>
                </a:lnTo>
                <a:lnTo>
                  <a:pt x="412" y="910"/>
                </a:lnTo>
                <a:lnTo>
                  <a:pt x="411" y="911"/>
                </a:lnTo>
                <a:lnTo>
                  <a:pt x="409" y="915"/>
                </a:lnTo>
                <a:lnTo>
                  <a:pt x="406" y="917"/>
                </a:lnTo>
                <a:lnTo>
                  <a:pt x="399" y="922"/>
                </a:lnTo>
                <a:lnTo>
                  <a:pt x="397" y="923"/>
                </a:lnTo>
                <a:lnTo>
                  <a:pt x="394" y="927"/>
                </a:lnTo>
                <a:lnTo>
                  <a:pt x="392" y="928"/>
                </a:lnTo>
                <a:lnTo>
                  <a:pt x="390" y="930"/>
                </a:lnTo>
                <a:lnTo>
                  <a:pt x="387" y="934"/>
                </a:lnTo>
                <a:lnTo>
                  <a:pt x="386" y="935"/>
                </a:lnTo>
                <a:lnTo>
                  <a:pt x="386" y="937"/>
                </a:lnTo>
                <a:lnTo>
                  <a:pt x="384" y="940"/>
                </a:lnTo>
                <a:lnTo>
                  <a:pt x="380" y="941"/>
                </a:lnTo>
                <a:lnTo>
                  <a:pt x="373" y="948"/>
                </a:lnTo>
                <a:lnTo>
                  <a:pt x="368" y="954"/>
                </a:lnTo>
                <a:lnTo>
                  <a:pt x="365" y="958"/>
                </a:lnTo>
                <a:lnTo>
                  <a:pt x="359" y="965"/>
                </a:lnTo>
                <a:lnTo>
                  <a:pt x="358" y="966"/>
                </a:lnTo>
                <a:lnTo>
                  <a:pt x="354" y="971"/>
                </a:lnTo>
                <a:lnTo>
                  <a:pt x="350" y="974"/>
                </a:lnTo>
                <a:lnTo>
                  <a:pt x="349" y="974"/>
                </a:lnTo>
                <a:lnTo>
                  <a:pt x="349" y="973"/>
                </a:lnTo>
                <a:lnTo>
                  <a:pt x="348" y="972"/>
                </a:lnTo>
                <a:lnTo>
                  <a:pt x="347" y="973"/>
                </a:lnTo>
                <a:lnTo>
                  <a:pt x="348" y="973"/>
                </a:lnTo>
                <a:lnTo>
                  <a:pt x="348" y="974"/>
                </a:lnTo>
                <a:lnTo>
                  <a:pt x="347" y="974"/>
                </a:lnTo>
                <a:lnTo>
                  <a:pt x="347" y="977"/>
                </a:lnTo>
                <a:lnTo>
                  <a:pt x="348" y="978"/>
                </a:lnTo>
                <a:lnTo>
                  <a:pt x="347" y="978"/>
                </a:lnTo>
                <a:lnTo>
                  <a:pt x="348" y="979"/>
                </a:lnTo>
                <a:lnTo>
                  <a:pt x="347" y="980"/>
                </a:lnTo>
                <a:lnTo>
                  <a:pt x="343" y="980"/>
                </a:lnTo>
                <a:lnTo>
                  <a:pt x="343" y="979"/>
                </a:lnTo>
                <a:lnTo>
                  <a:pt x="344" y="978"/>
                </a:lnTo>
                <a:lnTo>
                  <a:pt x="346" y="978"/>
                </a:lnTo>
                <a:lnTo>
                  <a:pt x="343" y="977"/>
                </a:lnTo>
                <a:lnTo>
                  <a:pt x="343" y="978"/>
                </a:lnTo>
                <a:lnTo>
                  <a:pt x="342" y="978"/>
                </a:lnTo>
                <a:lnTo>
                  <a:pt x="342" y="980"/>
                </a:lnTo>
                <a:lnTo>
                  <a:pt x="343" y="982"/>
                </a:lnTo>
                <a:lnTo>
                  <a:pt x="341" y="982"/>
                </a:lnTo>
                <a:lnTo>
                  <a:pt x="337" y="978"/>
                </a:lnTo>
                <a:lnTo>
                  <a:pt x="336" y="979"/>
                </a:lnTo>
                <a:lnTo>
                  <a:pt x="337" y="980"/>
                </a:lnTo>
                <a:lnTo>
                  <a:pt x="336" y="980"/>
                </a:lnTo>
                <a:lnTo>
                  <a:pt x="336" y="982"/>
                </a:lnTo>
                <a:lnTo>
                  <a:pt x="337" y="982"/>
                </a:lnTo>
                <a:lnTo>
                  <a:pt x="337" y="983"/>
                </a:lnTo>
                <a:lnTo>
                  <a:pt x="335" y="983"/>
                </a:lnTo>
                <a:lnTo>
                  <a:pt x="331" y="979"/>
                </a:lnTo>
                <a:lnTo>
                  <a:pt x="327" y="979"/>
                </a:lnTo>
                <a:lnTo>
                  <a:pt x="325" y="978"/>
                </a:lnTo>
                <a:lnTo>
                  <a:pt x="325" y="977"/>
                </a:lnTo>
                <a:lnTo>
                  <a:pt x="329" y="977"/>
                </a:lnTo>
                <a:lnTo>
                  <a:pt x="328" y="976"/>
                </a:lnTo>
                <a:lnTo>
                  <a:pt x="325" y="974"/>
                </a:lnTo>
                <a:lnTo>
                  <a:pt x="325" y="972"/>
                </a:lnTo>
                <a:lnTo>
                  <a:pt x="324" y="972"/>
                </a:lnTo>
                <a:lnTo>
                  <a:pt x="324" y="978"/>
                </a:lnTo>
                <a:lnTo>
                  <a:pt x="323" y="977"/>
                </a:lnTo>
                <a:lnTo>
                  <a:pt x="322" y="977"/>
                </a:lnTo>
                <a:lnTo>
                  <a:pt x="322" y="976"/>
                </a:lnTo>
                <a:lnTo>
                  <a:pt x="321" y="976"/>
                </a:lnTo>
                <a:lnTo>
                  <a:pt x="321" y="977"/>
                </a:lnTo>
                <a:lnTo>
                  <a:pt x="319" y="977"/>
                </a:lnTo>
                <a:lnTo>
                  <a:pt x="318" y="976"/>
                </a:lnTo>
                <a:lnTo>
                  <a:pt x="317" y="976"/>
                </a:lnTo>
                <a:lnTo>
                  <a:pt x="317" y="978"/>
                </a:lnTo>
                <a:lnTo>
                  <a:pt x="316" y="980"/>
                </a:lnTo>
                <a:lnTo>
                  <a:pt x="313" y="980"/>
                </a:lnTo>
                <a:lnTo>
                  <a:pt x="315" y="982"/>
                </a:lnTo>
                <a:lnTo>
                  <a:pt x="315" y="984"/>
                </a:lnTo>
                <a:lnTo>
                  <a:pt x="313" y="982"/>
                </a:lnTo>
                <a:lnTo>
                  <a:pt x="312" y="982"/>
                </a:lnTo>
                <a:lnTo>
                  <a:pt x="309" y="983"/>
                </a:lnTo>
                <a:lnTo>
                  <a:pt x="307" y="983"/>
                </a:lnTo>
                <a:lnTo>
                  <a:pt x="307" y="982"/>
                </a:lnTo>
                <a:lnTo>
                  <a:pt x="309" y="980"/>
                </a:lnTo>
                <a:lnTo>
                  <a:pt x="306" y="980"/>
                </a:lnTo>
                <a:lnTo>
                  <a:pt x="306" y="982"/>
                </a:lnTo>
                <a:lnTo>
                  <a:pt x="305" y="982"/>
                </a:lnTo>
                <a:lnTo>
                  <a:pt x="305" y="985"/>
                </a:lnTo>
                <a:lnTo>
                  <a:pt x="304" y="985"/>
                </a:lnTo>
                <a:lnTo>
                  <a:pt x="304" y="986"/>
                </a:lnTo>
                <a:lnTo>
                  <a:pt x="303" y="986"/>
                </a:lnTo>
                <a:lnTo>
                  <a:pt x="303" y="985"/>
                </a:lnTo>
                <a:lnTo>
                  <a:pt x="301" y="984"/>
                </a:lnTo>
                <a:lnTo>
                  <a:pt x="300" y="984"/>
                </a:lnTo>
                <a:lnTo>
                  <a:pt x="300" y="983"/>
                </a:lnTo>
                <a:lnTo>
                  <a:pt x="299" y="984"/>
                </a:lnTo>
                <a:lnTo>
                  <a:pt x="298" y="984"/>
                </a:lnTo>
                <a:lnTo>
                  <a:pt x="298" y="985"/>
                </a:lnTo>
                <a:lnTo>
                  <a:pt x="297" y="985"/>
                </a:lnTo>
                <a:lnTo>
                  <a:pt x="297" y="984"/>
                </a:lnTo>
                <a:lnTo>
                  <a:pt x="294" y="982"/>
                </a:lnTo>
                <a:lnTo>
                  <a:pt x="294" y="979"/>
                </a:lnTo>
                <a:lnTo>
                  <a:pt x="296" y="979"/>
                </a:lnTo>
                <a:lnTo>
                  <a:pt x="297" y="978"/>
                </a:lnTo>
                <a:lnTo>
                  <a:pt x="298" y="976"/>
                </a:lnTo>
                <a:lnTo>
                  <a:pt x="298" y="972"/>
                </a:lnTo>
                <a:lnTo>
                  <a:pt x="300" y="970"/>
                </a:lnTo>
                <a:lnTo>
                  <a:pt x="301" y="970"/>
                </a:lnTo>
                <a:lnTo>
                  <a:pt x="306" y="973"/>
                </a:lnTo>
                <a:lnTo>
                  <a:pt x="305" y="970"/>
                </a:lnTo>
                <a:lnTo>
                  <a:pt x="304" y="967"/>
                </a:lnTo>
                <a:lnTo>
                  <a:pt x="301" y="966"/>
                </a:lnTo>
                <a:lnTo>
                  <a:pt x="299" y="968"/>
                </a:lnTo>
                <a:lnTo>
                  <a:pt x="297" y="972"/>
                </a:lnTo>
                <a:lnTo>
                  <a:pt x="293" y="979"/>
                </a:lnTo>
                <a:lnTo>
                  <a:pt x="293" y="982"/>
                </a:lnTo>
                <a:lnTo>
                  <a:pt x="294" y="984"/>
                </a:lnTo>
                <a:lnTo>
                  <a:pt x="293" y="985"/>
                </a:lnTo>
                <a:lnTo>
                  <a:pt x="293" y="986"/>
                </a:lnTo>
                <a:lnTo>
                  <a:pt x="292" y="986"/>
                </a:lnTo>
                <a:lnTo>
                  <a:pt x="292" y="989"/>
                </a:lnTo>
                <a:lnTo>
                  <a:pt x="290" y="986"/>
                </a:lnTo>
                <a:lnTo>
                  <a:pt x="290" y="989"/>
                </a:lnTo>
                <a:lnTo>
                  <a:pt x="288" y="989"/>
                </a:lnTo>
                <a:lnTo>
                  <a:pt x="288" y="990"/>
                </a:lnTo>
                <a:lnTo>
                  <a:pt x="287" y="989"/>
                </a:lnTo>
                <a:lnTo>
                  <a:pt x="287" y="988"/>
                </a:lnTo>
                <a:lnTo>
                  <a:pt x="286" y="986"/>
                </a:lnTo>
                <a:lnTo>
                  <a:pt x="286" y="985"/>
                </a:lnTo>
                <a:lnTo>
                  <a:pt x="285" y="984"/>
                </a:lnTo>
                <a:lnTo>
                  <a:pt x="284" y="984"/>
                </a:lnTo>
                <a:lnTo>
                  <a:pt x="284" y="986"/>
                </a:lnTo>
                <a:lnTo>
                  <a:pt x="286" y="988"/>
                </a:lnTo>
                <a:lnTo>
                  <a:pt x="280" y="988"/>
                </a:lnTo>
                <a:lnTo>
                  <a:pt x="278" y="986"/>
                </a:lnTo>
                <a:lnTo>
                  <a:pt x="272" y="980"/>
                </a:lnTo>
                <a:lnTo>
                  <a:pt x="271" y="980"/>
                </a:lnTo>
                <a:lnTo>
                  <a:pt x="271" y="982"/>
                </a:lnTo>
                <a:lnTo>
                  <a:pt x="273" y="983"/>
                </a:lnTo>
                <a:lnTo>
                  <a:pt x="275" y="985"/>
                </a:lnTo>
                <a:lnTo>
                  <a:pt x="275" y="988"/>
                </a:lnTo>
                <a:lnTo>
                  <a:pt x="274" y="988"/>
                </a:lnTo>
                <a:lnTo>
                  <a:pt x="274" y="989"/>
                </a:lnTo>
                <a:lnTo>
                  <a:pt x="279" y="994"/>
                </a:lnTo>
                <a:lnTo>
                  <a:pt x="279" y="995"/>
                </a:lnTo>
                <a:lnTo>
                  <a:pt x="278" y="996"/>
                </a:lnTo>
                <a:lnTo>
                  <a:pt x="275" y="996"/>
                </a:lnTo>
                <a:lnTo>
                  <a:pt x="275" y="995"/>
                </a:lnTo>
                <a:lnTo>
                  <a:pt x="274" y="992"/>
                </a:lnTo>
                <a:lnTo>
                  <a:pt x="274" y="991"/>
                </a:lnTo>
                <a:lnTo>
                  <a:pt x="272" y="991"/>
                </a:lnTo>
                <a:lnTo>
                  <a:pt x="268" y="988"/>
                </a:lnTo>
                <a:lnTo>
                  <a:pt x="267" y="988"/>
                </a:lnTo>
                <a:lnTo>
                  <a:pt x="269" y="990"/>
                </a:lnTo>
                <a:lnTo>
                  <a:pt x="269" y="991"/>
                </a:lnTo>
                <a:lnTo>
                  <a:pt x="271" y="991"/>
                </a:lnTo>
                <a:lnTo>
                  <a:pt x="271" y="994"/>
                </a:lnTo>
                <a:lnTo>
                  <a:pt x="269" y="995"/>
                </a:lnTo>
                <a:lnTo>
                  <a:pt x="269" y="997"/>
                </a:lnTo>
                <a:lnTo>
                  <a:pt x="271" y="999"/>
                </a:lnTo>
                <a:lnTo>
                  <a:pt x="271" y="1001"/>
                </a:lnTo>
                <a:lnTo>
                  <a:pt x="269" y="1001"/>
                </a:lnTo>
                <a:lnTo>
                  <a:pt x="268" y="999"/>
                </a:lnTo>
                <a:lnTo>
                  <a:pt x="268" y="998"/>
                </a:lnTo>
                <a:lnTo>
                  <a:pt x="267" y="997"/>
                </a:lnTo>
                <a:lnTo>
                  <a:pt x="266" y="997"/>
                </a:lnTo>
                <a:lnTo>
                  <a:pt x="265" y="995"/>
                </a:lnTo>
                <a:lnTo>
                  <a:pt x="263" y="995"/>
                </a:lnTo>
                <a:lnTo>
                  <a:pt x="263" y="997"/>
                </a:lnTo>
                <a:lnTo>
                  <a:pt x="265" y="998"/>
                </a:lnTo>
                <a:lnTo>
                  <a:pt x="267" y="999"/>
                </a:lnTo>
                <a:lnTo>
                  <a:pt x="265" y="1001"/>
                </a:lnTo>
                <a:lnTo>
                  <a:pt x="263" y="1002"/>
                </a:lnTo>
                <a:lnTo>
                  <a:pt x="262" y="1001"/>
                </a:lnTo>
                <a:lnTo>
                  <a:pt x="260" y="997"/>
                </a:lnTo>
                <a:lnTo>
                  <a:pt x="259" y="996"/>
                </a:lnTo>
                <a:lnTo>
                  <a:pt x="259" y="995"/>
                </a:lnTo>
                <a:lnTo>
                  <a:pt x="260" y="995"/>
                </a:lnTo>
                <a:lnTo>
                  <a:pt x="260" y="994"/>
                </a:lnTo>
                <a:lnTo>
                  <a:pt x="259" y="994"/>
                </a:lnTo>
                <a:lnTo>
                  <a:pt x="259" y="992"/>
                </a:lnTo>
                <a:lnTo>
                  <a:pt x="261" y="992"/>
                </a:lnTo>
                <a:lnTo>
                  <a:pt x="261" y="991"/>
                </a:lnTo>
                <a:lnTo>
                  <a:pt x="259" y="991"/>
                </a:lnTo>
                <a:lnTo>
                  <a:pt x="259" y="992"/>
                </a:lnTo>
                <a:lnTo>
                  <a:pt x="257" y="994"/>
                </a:lnTo>
                <a:lnTo>
                  <a:pt x="254" y="994"/>
                </a:lnTo>
                <a:lnTo>
                  <a:pt x="254" y="995"/>
                </a:lnTo>
                <a:lnTo>
                  <a:pt x="255" y="995"/>
                </a:lnTo>
                <a:lnTo>
                  <a:pt x="255" y="998"/>
                </a:lnTo>
                <a:lnTo>
                  <a:pt x="254" y="998"/>
                </a:lnTo>
                <a:lnTo>
                  <a:pt x="254" y="1001"/>
                </a:lnTo>
                <a:lnTo>
                  <a:pt x="247" y="1001"/>
                </a:lnTo>
                <a:lnTo>
                  <a:pt x="247" y="999"/>
                </a:lnTo>
                <a:lnTo>
                  <a:pt x="245" y="998"/>
                </a:lnTo>
                <a:lnTo>
                  <a:pt x="245" y="1001"/>
                </a:lnTo>
                <a:lnTo>
                  <a:pt x="240" y="1001"/>
                </a:lnTo>
                <a:lnTo>
                  <a:pt x="240" y="1003"/>
                </a:lnTo>
                <a:lnTo>
                  <a:pt x="238" y="1002"/>
                </a:lnTo>
                <a:lnTo>
                  <a:pt x="238" y="1003"/>
                </a:lnTo>
                <a:lnTo>
                  <a:pt x="240" y="1004"/>
                </a:lnTo>
                <a:lnTo>
                  <a:pt x="240" y="1007"/>
                </a:lnTo>
                <a:lnTo>
                  <a:pt x="236" y="1007"/>
                </a:lnTo>
                <a:lnTo>
                  <a:pt x="236" y="1005"/>
                </a:lnTo>
                <a:lnTo>
                  <a:pt x="234" y="1008"/>
                </a:lnTo>
                <a:lnTo>
                  <a:pt x="235" y="1008"/>
                </a:lnTo>
                <a:lnTo>
                  <a:pt x="235" y="1009"/>
                </a:lnTo>
                <a:lnTo>
                  <a:pt x="232" y="1009"/>
                </a:lnTo>
                <a:lnTo>
                  <a:pt x="231" y="1008"/>
                </a:lnTo>
                <a:lnTo>
                  <a:pt x="232" y="1008"/>
                </a:lnTo>
                <a:lnTo>
                  <a:pt x="232" y="1004"/>
                </a:lnTo>
                <a:lnTo>
                  <a:pt x="231" y="1004"/>
                </a:lnTo>
                <a:lnTo>
                  <a:pt x="231" y="1005"/>
                </a:lnTo>
                <a:lnTo>
                  <a:pt x="230" y="1009"/>
                </a:lnTo>
                <a:lnTo>
                  <a:pt x="230" y="1010"/>
                </a:lnTo>
                <a:lnTo>
                  <a:pt x="225" y="1010"/>
                </a:lnTo>
                <a:lnTo>
                  <a:pt x="225" y="1009"/>
                </a:lnTo>
                <a:lnTo>
                  <a:pt x="226" y="1008"/>
                </a:lnTo>
                <a:lnTo>
                  <a:pt x="226" y="1007"/>
                </a:lnTo>
                <a:lnTo>
                  <a:pt x="225" y="1005"/>
                </a:lnTo>
                <a:lnTo>
                  <a:pt x="224" y="1005"/>
                </a:lnTo>
                <a:lnTo>
                  <a:pt x="224" y="1009"/>
                </a:lnTo>
                <a:lnTo>
                  <a:pt x="223" y="1009"/>
                </a:lnTo>
                <a:lnTo>
                  <a:pt x="222" y="1010"/>
                </a:lnTo>
                <a:lnTo>
                  <a:pt x="218" y="1010"/>
                </a:lnTo>
                <a:lnTo>
                  <a:pt x="218" y="1014"/>
                </a:lnTo>
                <a:lnTo>
                  <a:pt x="217" y="1014"/>
                </a:lnTo>
                <a:lnTo>
                  <a:pt x="217" y="1011"/>
                </a:lnTo>
                <a:lnTo>
                  <a:pt x="216" y="1010"/>
                </a:lnTo>
                <a:lnTo>
                  <a:pt x="213" y="1009"/>
                </a:lnTo>
                <a:lnTo>
                  <a:pt x="212" y="1009"/>
                </a:lnTo>
                <a:lnTo>
                  <a:pt x="213" y="1010"/>
                </a:lnTo>
                <a:lnTo>
                  <a:pt x="214" y="1010"/>
                </a:lnTo>
                <a:lnTo>
                  <a:pt x="214" y="1013"/>
                </a:lnTo>
                <a:lnTo>
                  <a:pt x="213" y="1013"/>
                </a:lnTo>
                <a:lnTo>
                  <a:pt x="212" y="1014"/>
                </a:lnTo>
                <a:lnTo>
                  <a:pt x="212" y="1015"/>
                </a:lnTo>
                <a:lnTo>
                  <a:pt x="214" y="1014"/>
                </a:lnTo>
                <a:lnTo>
                  <a:pt x="214" y="1015"/>
                </a:lnTo>
                <a:lnTo>
                  <a:pt x="213" y="1015"/>
                </a:lnTo>
                <a:lnTo>
                  <a:pt x="214" y="1016"/>
                </a:lnTo>
                <a:lnTo>
                  <a:pt x="210" y="1021"/>
                </a:lnTo>
                <a:lnTo>
                  <a:pt x="210" y="1022"/>
                </a:lnTo>
                <a:lnTo>
                  <a:pt x="207" y="1022"/>
                </a:lnTo>
                <a:lnTo>
                  <a:pt x="207" y="1021"/>
                </a:lnTo>
                <a:lnTo>
                  <a:pt x="209" y="1019"/>
                </a:lnTo>
                <a:lnTo>
                  <a:pt x="209" y="1017"/>
                </a:lnTo>
                <a:lnTo>
                  <a:pt x="205" y="1021"/>
                </a:lnTo>
                <a:lnTo>
                  <a:pt x="205" y="1020"/>
                </a:lnTo>
                <a:lnTo>
                  <a:pt x="203" y="1022"/>
                </a:lnTo>
                <a:lnTo>
                  <a:pt x="203" y="1021"/>
                </a:lnTo>
                <a:lnTo>
                  <a:pt x="205" y="1019"/>
                </a:lnTo>
                <a:lnTo>
                  <a:pt x="205" y="1015"/>
                </a:lnTo>
                <a:lnTo>
                  <a:pt x="203" y="1015"/>
                </a:lnTo>
                <a:lnTo>
                  <a:pt x="203" y="1016"/>
                </a:lnTo>
                <a:lnTo>
                  <a:pt x="201" y="1016"/>
                </a:lnTo>
                <a:lnTo>
                  <a:pt x="201" y="1017"/>
                </a:lnTo>
                <a:lnTo>
                  <a:pt x="200" y="1019"/>
                </a:lnTo>
                <a:lnTo>
                  <a:pt x="198" y="1017"/>
                </a:lnTo>
                <a:lnTo>
                  <a:pt x="197" y="1017"/>
                </a:lnTo>
                <a:lnTo>
                  <a:pt x="197" y="1019"/>
                </a:lnTo>
                <a:lnTo>
                  <a:pt x="198" y="1020"/>
                </a:lnTo>
                <a:lnTo>
                  <a:pt x="195" y="1020"/>
                </a:lnTo>
                <a:lnTo>
                  <a:pt x="194" y="1019"/>
                </a:lnTo>
                <a:lnTo>
                  <a:pt x="192" y="1020"/>
                </a:lnTo>
                <a:lnTo>
                  <a:pt x="191" y="1021"/>
                </a:lnTo>
                <a:lnTo>
                  <a:pt x="189" y="1021"/>
                </a:lnTo>
                <a:lnTo>
                  <a:pt x="189" y="1020"/>
                </a:lnTo>
                <a:lnTo>
                  <a:pt x="191" y="1019"/>
                </a:lnTo>
                <a:lnTo>
                  <a:pt x="189" y="1019"/>
                </a:lnTo>
                <a:lnTo>
                  <a:pt x="188" y="1020"/>
                </a:lnTo>
                <a:lnTo>
                  <a:pt x="188" y="1021"/>
                </a:lnTo>
                <a:lnTo>
                  <a:pt x="187" y="1021"/>
                </a:lnTo>
                <a:lnTo>
                  <a:pt x="187" y="1022"/>
                </a:lnTo>
                <a:lnTo>
                  <a:pt x="185" y="1022"/>
                </a:lnTo>
                <a:lnTo>
                  <a:pt x="181" y="1026"/>
                </a:lnTo>
                <a:lnTo>
                  <a:pt x="180" y="1025"/>
                </a:lnTo>
                <a:lnTo>
                  <a:pt x="173" y="1026"/>
                </a:lnTo>
                <a:lnTo>
                  <a:pt x="173" y="1025"/>
                </a:lnTo>
                <a:lnTo>
                  <a:pt x="172" y="1025"/>
                </a:lnTo>
                <a:lnTo>
                  <a:pt x="172" y="1023"/>
                </a:lnTo>
                <a:lnTo>
                  <a:pt x="168" y="1025"/>
                </a:lnTo>
                <a:lnTo>
                  <a:pt x="167" y="1026"/>
                </a:lnTo>
                <a:lnTo>
                  <a:pt x="166" y="1026"/>
                </a:lnTo>
                <a:lnTo>
                  <a:pt x="166" y="1025"/>
                </a:lnTo>
                <a:lnTo>
                  <a:pt x="168" y="1021"/>
                </a:lnTo>
                <a:lnTo>
                  <a:pt x="168" y="1020"/>
                </a:lnTo>
                <a:lnTo>
                  <a:pt x="170" y="1020"/>
                </a:lnTo>
                <a:lnTo>
                  <a:pt x="170" y="1015"/>
                </a:lnTo>
                <a:lnTo>
                  <a:pt x="169" y="1016"/>
                </a:lnTo>
                <a:lnTo>
                  <a:pt x="168" y="1016"/>
                </a:lnTo>
                <a:lnTo>
                  <a:pt x="168" y="1019"/>
                </a:lnTo>
                <a:lnTo>
                  <a:pt x="167" y="1019"/>
                </a:lnTo>
                <a:lnTo>
                  <a:pt x="167" y="1020"/>
                </a:lnTo>
                <a:lnTo>
                  <a:pt x="166" y="1021"/>
                </a:lnTo>
                <a:lnTo>
                  <a:pt x="166" y="1023"/>
                </a:lnTo>
                <a:lnTo>
                  <a:pt x="164" y="1023"/>
                </a:lnTo>
                <a:lnTo>
                  <a:pt x="164" y="1025"/>
                </a:lnTo>
                <a:lnTo>
                  <a:pt x="163" y="1027"/>
                </a:lnTo>
                <a:lnTo>
                  <a:pt x="161" y="1028"/>
                </a:lnTo>
                <a:lnTo>
                  <a:pt x="157" y="1031"/>
                </a:lnTo>
                <a:lnTo>
                  <a:pt x="157" y="1034"/>
                </a:lnTo>
                <a:lnTo>
                  <a:pt x="158" y="1034"/>
                </a:lnTo>
                <a:lnTo>
                  <a:pt x="158" y="1035"/>
                </a:lnTo>
                <a:lnTo>
                  <a:pt x="150" y="1036"/>
                </a:lnTo>
                <a:lnTo>
                  <a:pt x="147" y="1036"/>
                </a:lnTo>
                <a:lnTo>
                  <a:pt x="145" y="1038"/>
                </a:lnTo>
                <a:lnTo>
                  <a:pt x="143" y="1038"/>
                </a:lnTo>
                <a:lnTo>
                  <a:pt x="143" y="1036"/>
                </a:lnTo>
                <a:lnTo>
                  <a:pt x="145" y="1034"/>
                </a:lnTo>
                <a:lnTo>
                  <a:pt x="147" y="1034"/>
                </a:lnTo>
                <a:lnTo>
                  <a:pt x="153" y="1032"/>
                </a:lnTo>
                <a:lnTo>
                  <a:pt x="155" y="1032"/>
                </a:lnTo>
                <a:lnTo>
                  <a:pt x="154" y="1029"/>
                </a:lnTo>
                <a:lnTo>
                  <a:pt x="157" y="1029"/>
                </a:lnTo>
                <a:lnTo>
                  <a:pt x="157" y="1028"/>
                </a:lnTo>
                <a:lnTo>
                  <a:pt x="160" y="1026"/>
                </a:lnTo>
                <a:lnTo>
                  <a:pt x="161" y="1023"/>
                </a:lnTo>
                <a:lnTo>
                  <a:pt x="161" y="1020"/>
                </a:lnTo>
                <a:lnTo>
                  <a:pt x="157" y="1026"/>
                </a:lnTo>
                <a:lnTo>
                  <a:pt x="157" y="1028"/>
                </a:lnTo>
                <a:lnTo>
                  <a:pt x="156" y="1028"/>
                </a:lnTo>
                <a:lnTo>
                  <a:pt x="156" y="1026"/>
                </a:lnTo>
                <a:lnTo>
                  <a:pt x="155" y="1026"/>
                </a:lnTo>
                <a:lnTo>
                  <a:pt x="155" y="1027"/>
                </a:lnTo>
                <a:lnTo>
                  <a:pt x="153" y="1027"/>
                </a:lnTo>
                <a:lnTo>
                  <a:pt x="153" y="1028"/>
                </a:lnTo>
                <a:lnTo>
                  <a:pt x="151" y="1028"/>
                </a:lnTo>
                <a:lnTo>
                  <a:pt x="151" y="1027"/>
                </a:lnTo>
                <a:lnTo>
                  <a:pt x="153" y="1025"/>
                </a:lnTo>
                <a:lnTo>
                  <a:pt x="153" y="1023"/>
                </a:lnTo>
                <a:lnTo>
                  <a:pt x="156" y="1022"/>
                </a:lnTo>
                <a:lnTo>
                  <a:pt x="156" y="1021"/>
                </a:lnTo>
                <a:lnTo>
                  <a:pt x="157" y="1019"/>
                </a:lnTo>
                <a:lnTo>
                  <a:pt x="158" y="1019"/>
                </a:lnTo>
                <a:lnTo>
                  <a:pt x="156" y="1017"/>
                </a:lnTo>
                <a:lnTo>
                  <a:pt x="151" y="1019"/>
                </a:lnTo>
                <a:lnTo>
                  <a:pt x="149" y="1019"/>
                </a:lnTo>
                <a:lnTo>
                  <a:pt x="148" y="1017"/>
                </a:lnTo>
                <a:lnTo>
                  <a:pt x="148" y="1016"/>
                </a:lnTo>
                <a:lnTo>
                  <a:pt x="147" y="1015"/>
                </a:lnTo>
                <a:lnTo>
                  <a:pt x="148" y="1014"/>
                </a:lnTo>
                <a:lnTo>
                  <a:pt x="149" y="1011"/>
                </a:lnTo>
                <a:lnTo>
                  <a:pt x="149" y="1010"/>
                </a:lnTo>
                <a:lnTo>
                  <a:pt x="148" y="1011"/>
                </a:lnTo>
                <a:lnTo>
                  <a:pt x="148" y="1013"/>
                </a:lnTo>
                <a:lnTo>
                  <a:pt x="147" y="1014"/>
                </a:lnTo>
                <a:lnTo>
                  <a:pt x="147" y="1013"/>
                </a:lnTo>
                <a:lnTo>
                  <a:pt x="145" y="1011"/>
                </a:lnTo>
                <a:lnTo>
                  <a:pt x="143" y="1010"/>
                </a:lnTo>
                <a:lnTo>
                  <a:pt x="143" y="1009"/>
                </a:lnTo>
                <a:lnTo>
                  <a:pt x="142" y="1009"/>
                </a:lnTo>
                <a:lnTo>
                  <a:pt x="143" y="1008"/>
                </a:lnTo>
                <a:lnTo>
                  <a:pt x="142" y="1007"/>
                </a:lnTo>
                <a:lnTo>
                  <a:pt x="144" y="1002"/>
                </a:lnTo>
                <a:lnTo>
                  <a:pt x="149" y="997"/>
                </a:lnTo>
                <a:lnTo>
                  <a:pt x="149" y="994"/>
                </a:lnTo>
                <a:lnTo>
                  <a:pt x="150" y="994"/>
                </a:lnTo>
                <a:lnTo>
                  <a:pt x="151" y="992"/>
                </a:lnTo>
                <a:lnTo>
                  <a:pt x="150" y="991"/>
                </a:lnTo>
                <a:lnTo>
                  <a:pt x="149" y="992"/>
                </a:lnTo>
                <a:lnTo>
                  <a:pt x="148" y="995"/>
                </a:lnTo>
                <a:lnTo>
                  <a:pt x="148" y="996"/>
                </a:lnTo>
                <a:lnTo>
                  <a:pt x="145" y="995"/>
                </a:lnTo>
                <a:lnTo>
                  <a:pt x="142" y="996"/>
                </a:lnTo>
                <a:lnTo>
                  <a:pt x="136" y="1002"/>
                </a:lnTo>
                <a:lnTo>
                  <a:pt x="131" y="1003"/>
                </a:lnTo>
                <a:lnTo>
                  <a:pt x="129" y="1004"/>
                </a:lnTo>
                <a:lnTo>
                  <a:pt x="127" y="1004"/>
                </a:lnTo>
                <a:lnTo>
                  <a:pt x="130" y="1002"/>
                </a:lnTo>
                <a:lnTo>
                  <a:pt x="129" y="1002"/>
                </a:lnTo>
                <a:lnTo>
                  <a:pt x="130" y="999"/>
                </a:lnTo>
                <a:lnTo>
                  <a:pt x="131" y="999"/>
                </a:lnTo>
                <a:lnTo>
                  <a:pt x="132" y="998"/>
                </a:lnTo>
                <a:lnTo>
                  <a:pt x="130" y="998"/>
                </a:lnTo>
                <a:lnTo>
                  <a:pt x="130" y="999"/>
                </a:lnTo>
                <a:lnTo>
                  <a:pt x="127" y="1001"/>
                </a:lnTo>
                <a:lnTo>
                  <a:pt x="124" y="1001"/>
                </a:lnTo>
                <a:lnTo>
                  <a:pt x="125" y="999"/>
                </a:lnTo>
                <a:lnTo>
                  <a:pt x="125" y="998"/>
                </a:lnTo>
                <a:lnTo>
                  <a:pt x="126" y="997"/>
                </a:lnTo>
                <a:lnTo>
                  <a:pt x="126" y="996"/>
                </a:lnTo>
                <a:lnTo>
                  <a:pt x="129" y="994"/>
                </a:lnTo>
                <a:lnTo>
                  <a:pt x="130" y="991"/>
                </a:lnTo>
                <a:lnTo>
                  <a:pt x="132" y="989"/>
                </a:lnTo>
                <a:lnTo>
                  <a:pt x="131" y="988"/>
                </a:lnTo>
                <a:lnTo>
                  <a:pt x="130" y="990"/>
                </a:lnTo>
                <a:lnTo>
                  <a:pt x="125" y="990"/>
                </a:lnTo>
                <a:lnTo>
                  <a:pt x="125" y="988"/>
                </a:lnTo>
                <a:lnTo>
                  <a:pt x="119" y="990"/>
                </a:lnTo>
                <a:lnTo>
                  <a:pt x="118" y="990"/>
                </a:lnTo>
                <a:lnTo>
                  <a:pt x="113" y="985"/>
                </a:lnTo>
                <a:lnTo>
                  <a:pt x="110" y="985"/>
                </a:lnTo>
                <a:lnTo>
                  <a:pt x="110" y="983"/>
                </a:lnTo>
                <a:lnTo>
                  <a:pt x="108" y="984"/>
                </a:lnTo>
                <a:lnTo>
                  <a:pt x="108" y="985"/>
                </a:lnTo>
                <a:lnTo>
                  <a:pt x="107" y="985"/>
                </a:lnTo>
                <a:lnTo>
                  <a:pt x="106" y="983"/>
                </a:lnTo>
                <a:lnTo>
                  <a:pt x="106" y="982"/>
                </a:lnTo>
                <a:lnTo>
                  <a:pt x="105" y="982"/>
                </a:lnTo>
                <a:lnTo>
                  <a:pt x="105" y="980"/>
                </a:lnTo>
                <a:lnTo>
                  <a:pt x="102" y="980"/>
                </a:lnTo>
                <a:lnTo>
                  <a:pt x="102" y="977"/>
                </a:lnTo>
                <a:lnTo>
                  <a:pt x="99" y="977"/>
                </a:lnTo>
                <a:lnTo>
                  <a:pt x="99" y="979"/>
                </a:lnTo>
                <a:lnTo>
                  <a:pt x="100" y="982"/>
                </a:lnTo>
                <a:lnTo>
                  <a:pt x="98" y="980"/>
                </a:lnTo>
                <a:lnTo>
                  <a:pt x="96" y="980"/>
                </a:lnTo>
                <a:lnTo>
                  <a:pt x="96" y="973"/>
                </a:lnTo>
                <a:lnTo>
                  <a:pt x="98" y="972"/>
                </a:lnTo>
                <a:lnTo>
                  <a:pt x="99" y="972"/>
                </a:lnTo>
                <a:lnTo>
                  <a:pt x="98" y="971"/>
                </a:lnTo>
                <a:lnTo>
                  <a:pt x="98" y="970"/>
                </a:lnTo>
                <a:lnTo>
                  <a:pt x="99" y="968"/>
                </a:lnTo>
                <a:lnTo>
                  <a:pt x="95" y="971"/>
                </a:lnTo>
                <a:lnTo>
                  <a:pt x="95" y="972"/>
                </a:lnTo>
                <a:lnTo>
                  <a:pt x="94" y="972"/>
                </a:lnTo>
                <a:lnTo>
                  <a:pt x="92" y="973"/>
                </a:lnTo>
                <a:lnTo>
                  <a:pt x="91" y="973"/>
                </a:lnTo>
                <a:lnTo>
                  <a:pt x="91" y="974"/>
                </a:lnTo>
                <a:lnTo>
                  <a:pt x="92" y="976"/>
                </a:lnTo>
                <a:lnTo>
                  <a:pt x="91" y="977"/>
                </a:lnTo>
                <a:lnTo>
                  <a:pt x="91" y="979"/>
                </a:lnTo>
                <a:lnTo>
                  <a:pt x="89" y="980"/>
                </a:lnTo>
                <a:lnTo>
                  <a:pt x="87" y="980"/>
                </a:lnTo>
                <a:lnTo>
                  <a:pt x="88" y="979"/>
                </a:lnTo>
                <a:lnTo>
                  <a:pt x="87" y="977"/>
                </a:lnTo>
                <a:lnTo>
                  <a:pt x="85" y="973"/>
                </a:lnTo>
                <a:lnTo>
                  <a:pt x="81" y="973"/>
                </a:lnTo>
                <a:lnTo>
                  <a:pt x="81" y="970"/>
                </a:lnTo>
                <a:lnTo>
                  <a:pt x="82" y="971"/>
                </a:lnTo>
                <a:lnTo>
                  <a:pt x="82" y="970"/>
                </a:lnTo>
                <a:lnTo>
                  <a:pt x="80" y="967"/>
                </a:lnTo>
                <a:lnTo>
                  <a:pt x="79" y="967"/>
                </a:lnTo>
                <a:lnTo>
                  <a:pt x="79" y="965"/>
                </a:lnTo>
                <a:lnTo>
                  <a:pt x="77" y="964"/>
                </a:lnTo>
                <a:lnTo>
                  <a:pt x="77" y="962"/>
                </a:lnTo>
                <a:lnTo>
                  <a:pt x="81" y="964"/>
                </a:lnTo>
                <a:lnTo>
                  <a:pt x="82" y="962"/>
                </a:lnTo>
                <a:lnTo>
                  <a:pt x="81" y="962"/>
                </a:lnTo>
                <a:lnTo>
                  <a:pt x="81" y="960"/>
                </a:lnTo>
                <a:lnTo>
                  <a:pt x="82" y="960"/>
                </a:lnTo>
                <a:lnTo>
                  <a:pt x="82" y="959"/>
                </a:lnTo>
                <a:lnTo>
                  <a:pt x="80" y="959"/>
                </a:lnTo>
                <a:lnTo>
                  <a:pt x="80" y="956"/>
                </a:lnTo>
                <a:lnTo>
                  <a:pt x="81" y="956"/>
                </a:lnTo>
                <a:lnTo>
                  <a:pt x="80" y="955"/>
                </a:lnTo>
                <a:lnTo>
                  <a:pt x="79" y="955"/>
                </a:lnTo>
                <a:lnTo>
                  <a:pt x="79" y="952"/>
                </a:lnTo>
                <a:lnTo>
                  <a:pt x="77" y="953"/>
                </a:lnTo>
                <a:lnTo>
                  <a:pt x="77" y="952"/>
                </a:lnTo>
                <a:lnTo>
                  <a:pt x="76" y="951"/>
                </a:lnTo>
                <a:lnTo>
                  <a:pt x="77" y="949"/>
                </a:lnTo>
                <a:lnTo>
                  <a:pt x="76" y="948"/>
                </a:lnTo>
                <a:lnTo>
                  <a:pt x="80" y="948"/>
                </a:lnTo>
                <a:lnTo>
                  <a:pt x="81" y="947"/>
                </a:lnTo>
                <a:lnTo>
                  <a:pt x="79" y="947"/>
                </a:lnTo>
                <a:lnTo>
                  <a:pt x="79" y="946"/>
                </a:lnTo>
                <a:lnTo>
                  <a:pt x="77" y="945"/>
                </a:lnTo>
                <a:lnTo>
                  <a:pt x="79" y="945"/>
                </a:lnTo>
                <a:lnTo>
                  <a:pt x="79" y="943"/>
                </a:lnTo>
                <a:lnTo>
                  <a:pt x="80" y="943"/>
                </a:lnTo>
                <a:lnTo>
                  <a:pt x="80" y="945"/>
                </a:lnTo>
                <a:lnTo>
                  <a:pt x="81" y="945"/>
                </a:lnTo>
                <a:lnTo>
                  <a:pt x="81" y="942"/>
                </a:lnTo>
                <a:lnTo>
                  <a:pt x="80" y="942"/>
                </a:lnTo>
                <a:lnTo>
                  <a:pt x="80" y="941"/>
                </a:lnTo>
                <a:lnTo>
                  <a:pt x="79" y="941"/>
                </a:lnTo>
                <a:lnTo>
                  <a:pt x="79" y="940"/>
                </a:lnTo>
                <a:lnTo>
                  <a:pt x="77" y="936"/>
                </a:lnTo>
                <a:lnTo>
                  <a:pt x="76" y="935"/>
                </a:lnTo>
                <a:lnTo>
                  <a:pt x="77" y="934"/>
                </a:lnTo>
                <a:lnTo>
                  <a:pt x="75" y="931"/>
                </a:lnTo>
                <a:lnTo>
                  <a:pt x="76" y="931"/>
                </a:lnTo>
                <a:lnTo>
                  <a:pt x="79" y="933"/>
                </a:lnTo>
                <a:lnTo>
                  <a:pt x="80" y="933"/>
                </a:lnTo>
                <a:lnTo>
                  <a:pt x="80" y="931"/>
                </a:lnTo>
                <a:lnTo>
                  <a:pt x="79" y="931"/>
                </a:lnTo>
                <a:lnTo>
                  <a:pt x="80" y="930"/>
                </a:lnTo>
                <a:lnTo>
                  <a:pt x="82" y="931"/>
                </a:lnTo>
                <a:lnTo>
                  <a:pt x="83" y="931"/>
                </a:lnTo>
                <a:lnTo>
                  <a:pt x="82" y="930"/>
                </a:lnTo>
                <a:lnTo>
                  <a:pt x="82" y="921"/>
                </a:lnTo>
                <a:lnTo>
                  <a:pt x="85" y="921"/>
                </a:lnTo>
                <a:lnTo>
                  <a:pt x="85" y="919"/>
                </a:lnTo>
                <a:lnTo>
                  <a:pt x="83" y="919"/>
                </a:lnTo>
                <a:lnTo>
                  <a:pt x="85" y="918"/>
                </a:lnTo>
                <a:lnTo>
                  <a:pt x="87" y="918"/>
                </a:lnTo>
                <a:lnTo>
                  <a:pt x="86" y="916"/>
                </a:lnTo>
                <a:lnTo>
                  <a:pt x="85" y="916"/>
                </a:lnTo>
                <a:lnTo>
                  <a:pt x="83" y="915"/>
                </a:lnTo>
                <a:lnTo>
                  <a:pt x="83" y="913"/>
                </a:lnTo>
                <a:lnTo>
                  <a:pt x="85" y="913"/>
                </a:lnTo>
                <a:lnTo>
                  <a:pt x="85" y="911"/>
                </a:lnTo>
                <a:lnTo>
                  <a:pt x="86" y="911"/>
                </a:lnTo>
                <a:lnTo>
                  <a:pt x="86" y="905"/>
                </a:lnTo>
                <a:lnTo>
                  <a:pt x="85" y="903"/>
                </a:lnTo>
                <a:lnTo>
                  <a:pt x="85" y="902"/>
                </a:lnTo>
                <a:lnTo>
                  <a:pt x="82" y="902"/>
                </a:lnTo>
                <a:lnTo>
                  <a:pt x="82" y="900"/>
                </a:lnTo>
                <a:lnTo>
                  <a:pt x="86" y="900"/>
                </a:lnTo>
                <a:lnTo>
                  <a:pt x="87" y="899"/>
                </a:lnTo>
                <a:lnTo>
                  <a:pt x="87" y="898"/>
                </a:lnTo>
                <a:lnTo>
                  <a:pt x="85" y="896"/>
                </a:lnTo>
                <a:lnTo>
                  <a:pt x="81" y="894"/>
                </a:lnTo>
                <a:lnTo>
                  <a:pt x="81" y="893"/>
                </a:lnTo>
                <a:lnTo>
                  <a:pt x="87" y="894"/>
                </a:lnTo>
                <a:lnTo>
                  <a:pt x="88" y="893"/>
                </a:lnTo>
                <a:lnTo>
                  <a:pt x="87" y="891"/>
                </a:lnTo>
                <a:lnTo>
                  <a:pt x="85" y="891"/>
                </a:lnTo>
                <a:lnTo>
                  <a:pt x="82" y="888"/>
                </a:lnTo>
                <a:lnTo>
                  <a:pt x="82" y="886"/>
                </a:lnTo>
                <a:lnTo>
                  <a:pt x="85" y="886"/>
                </a:lnTo>
                <a:lnTo>
                  <a:pt x="92" y="890"/>
                </a:lnTo>
                <a:lnTo>
                  <a:pt x="93" y="891"/>
                </a:lnTo>
                <a:lnTo>
                  <a:pt x="93" y="890"/>
                </a:lnTo>
                <a:lnTo>
                  <a:pt x="91" y="887"/>
                </a:lnTo>
                <a:lnTo>
                  <a:pt x="89" y="885"/>
                </a:lnTo>
                <a:lnTo>
                  <a:pt x="88" y="881"/>
                </a:lnTo>
                <a:lnTo>
                  <a:pt x="87" y="880"/>
                </a:lnTo>
                <a:lnTo>
                  <a:pt x="86" y="880"/>
                </a:lnTo>
                <a:lnTo>
                  <a:pt x="86" y="876"/>
                </a:lnTo>
                <a:lnTo>
                  <a:pt x="85" y="874"/>
                </a:lnTo>
                <a:lnTo>
                  <a:pt x="86" y="874"/>
                </a:lnTo>
                <a:lnTo>
                  <a:pt x="87" y="875"/>
                </a:lnTo>
                <a:lnTo>
                  <a:pt x="88" y="875"/>
                </a:lnTo>
                <a:lnTo>
                  <a:pt x="87" y="873"/>
                </a:lnTo>
                <a:lnTo>
                  <a:pt x="83" y="872"/>
                </a:lnTo>
                <a:lnTo>
                  <a:pt x="82" y="869"/>
                </a:lnTo>
                <a:lnTo>
                  <a:pt x="83" y="868"/>
                </a:lnTo>
                <a:lnTo>
                  <a:pt x="83" y="865"/>
                </a:lnTo>
                <a:lnTo>
                  <a:pt x="82" y="863"/>
                </a:lnTo>
                <a:lnTo>
                  <a:pt x="82" y="862"/>
                </a:lnTo>
                <a:lnTo>
                  <a:pt x="81" y="860"/>
                </a:lnTo>
                <a:lnTo>
                  <a:pt x="80" y="859"/>
                </a:lnTo>
                <a:lnTo>
                  <a:pt x="80" y="856"/>
                </a:lnTo>
                <a:lnTo>
                  <a:pt x="81" y="856"/>
                </a:lnTo>
                <a:lnTo>
                  <a:pt x="80" y="855"/>
                </a:lnTo>
                <a:lnTo>
                  <a:pt x="80" y="854"/>
                </a:lnTo>
                <a:lnTo>
                  <a:pt x="79" y="854"/>
                </a:lnTo>
                <a:lnTo>
                  <a:pt x="79" y="853"/>
                </a:lnTo>
                <a:lnTo>
                  <a:pt x="76" y="854"/>
                </a:lnTo>
                <a:lnTo>
                  <a:pt x="76" y="853"/>
                </a:lnTo>
                <a:lnTo>
                  <a:pt x="75" y="853"/>
                </a:lnTo>
                <a:lnTo>
                  <a:pt x="75" y="849"/>
                </a:lnTo>
                <a:lnTo>
                  <a:pt x="73" y="849"/>
                </a:lnTo>
                <a:lnTo>
                  <a:pt x="75" y="843"/>
                </a:lnTo>
                <a:lnTo>
                  <a:pt x="75" y="836"/>
                </a:lnTo>
                <a:lnTo>
                  <a:pt x="76" y="838"/>
                </a:lnTo>
                <a:lnTo>
                  <a:pt x="76" y="835"/>
                </a:lnTo>
                <a:lnTo>
                  <a:pt x="77" y="833"/>
                </a:lnTo>
                <a:lnTo>
                  <a:pt x="76" y="833"/>
                </a:lnTo>
                <a:lnTo>
                  <a:pt x="79" y="831"/>
                </a:lnTo>
                <a:lnTo>
                  <a:pt x="79" y="830"/>
                </a:lnTo>
                <a:lnTo>
                  <a:pt x="80" y="829"/>
                </a:lnTo>
                <a:lnTo>
                  <a:pt x="77" y="826"/>
                </a:lnTo>
                <a:lnTo>
                  <a:pt x="79" y="824"/>
                </a:lnTo>
                <a:lnTo>
                  <a:pt x="77" y="824"/>
                </a:lnTo>
                <a:lnTo>
                  <a:pt x="77" y="826"/>
                </a:lnTo>
                <a:lnTo>
                  <a:pt x="76" y="826"/>
                </a:lnTo>
                <a:lnTo>
                  <a:pt x="76" y="823"/>
                </a:lnTo>
                <a:lnTo>
                  <a:pt x="77" y="822"/>
                </a:lnTo>
                <a:lnTo>
                  <a:pt x="77" y="816"/>
                </a:lnTo>
                <a:lnTo>
                  <a:pt x="75" y="817"/>
                </a:lnTo>
                <a:lnTo>
                  <a:pt x="74" y="816"/>
                </a:lnTo>
                <a:lnTo>
                  <a:pt x="74" y="813"/>
                </a:lnTo>
                <a:lnTo>
                  <a:pt x="75" y="812"/>
                </a:lnTo>
                <a:lnTo>
                  <a:pt x="74" y="811"/>
                </a:lnTo>
                <a:lnTo>
                  <a:pt x="71" y="816"/>
                </a:lnTo>
                <a:lnTo>
                  <a:pt x="71" y="812"/>
                </a:lnTo>
                <a:lnTo>
                  <a:pt x="70" y="812"/>
                </a:lnTo>
                <a:lnTo>
                  <a:pt x="71" y="811"/>
                </a:lnTo>
                <a:lnTo>
                  <a:pt x="71" y="810"/>
                </a:lnTo>
                <a:lnTo>
                  <a:pt x="70" y="810"/>
                </a:lnTo>
                <a:lnTo>
                  <a:pt x="69" y="811"/>
                </a:lnTo>
                <a:lnTo>
                  <a:pt x="68" y="810"/>
                </a:lnTo>
                <a:lnTo>
                  <a:pt x="69" y="807"/>
                </a:lnTo>
                <a:lnTo>
                  <a:pt x="69" y="806"/>
                </a:lnTo>
                <a:lnTo>
                  <a:pt x="68" y="806"/>
                </a:lnTo>
                <a:lnTo>
                  <a:pt x="68" y="801"/>
                </a:lnTo>
                <a:lnTo>
                  <a:pt x="69" y="800"/>
                </a:lnTo>
                <a:lnTo>
                  <a:pt x="69" y="799"/>
                </a:lnTo>
                <a:lnTo>
                  <a:pt x="68" y="798"/>
                </a:lnTo>
                <a:lnTo>
                  <a:pt x="71" y="794"/>
                </a:lnTo>
                <a:lnTo>
                  <a:pt x="71" y="793"/>
                </a:lnTo>
                <a:lnTo>
                  <a:pt x="68" y="793"/>
                </a:lnTo>
                <a:lnTo>
                  <a:pt x="68" y="790"/>
                </a:lnTo>
                <a:lnTo>
                  <a:pt x="67" y="792"/>
                </a:lnTo>
                <a:lnTo>
                  <a:pt x="66" y="794"/>
                </a:lnTo>
                <a:lnTo>
                  <a:pt x="66" y="792"/>
                </a:lnTo>
                <a:lnTo>
                  <a:pt x="67" y="788"/>
                </a:lnTo>
                <a:lnTo>
                  <a:pt x="67" y="786"/>
                </a:lnTo>
                <a:lnTo>
                  <a:pt x="70" y="782"/>
                </a:lnTo>
                <a:lnTo>
                  <a:pt x="70" y="781"/>
                </a:lnTo>
                <a:lnTo>
                  <a:pt x="69" y="781"/>
                </a:lnTo>
                <a:lnTo>
                  <a:pt x="68" y="780"/>
                </a:lnTo>
                <a:lnTo>
                  <a:pt x="68" y="776"/>
                </a:lnTo>
                <a:lnTo>
                  <a:pt x="69" y="775"/>
                </a:lnTo>
                <a:lnTo>
                  <a:pt x="70" y="776"/>
                </a:lnTo>
                <a:lnTo>
                  <a:pt x="71" y="776"/>
                </a:lnTo>
                <a:lnTo>
                  <a:pt x="71" y="774"/>
                </a:lnTo>
                <a:lnTo>
                  <a:pt x="73" y="771"/>
                </a:lnTo>
                <a:lnTo>
                  <a:pt x="73" y="768"/>
                </a:lnTo>
                <a:lnTo>
                  <a:pt x="74" y="768"/>
                </a:lnTo>
                <a:lnTo>
                  <a:pt x="77" y="770"/>
                </a:lnTo>
                <a:lnTo>
                  <a:pt x="77" y="769"/>
                </a:lnTo>
                <a:lnTo>
                  <a:pt x="79" y="769"/>
                </a:lnTo>
                <a:lnTo>
                  <a:pt x="79" y="768"/>
                </a:lnTo>
                <a:lnTo>
                  <a:pt x="80" y="768"/>
                </a:lnTo>
                <a:lnTo>
                  <a:pt x="80" y="764"/>
                </a:lnTo>
                <a:lnTo>
                  <a:pt x="81" y="762"/>
                </a:lnTo>
                <a:lnTo>
                  <a:pt x="82" y="761"/>
                </a:lnTo>
                <a:lnTo>
                  <a:pt x="82" y="753"/>
                </a:lnTo>
                <a:lnTo>
                  <a:pt x="81" y="753"/>
                </a:lnTo>
                <a:lnTo>
                  <a:pt x="81" y="752"/>
                </a:lnTo>
                <a:lnTo>
                  <a:pt x="83" y="752"/>
                </a:lnTo>
                <a:lnTo>
                  <a:pt x="83" y="750"/>
                </a:lnTo>
                <a:lnTo>
                  <a:pt x="85" y="750"/>
                </a:lnTo>
                <a:lnTo>
                  <a:pt x="88" y="753"/>
                </a:lnTo>
                <a:lnTo>
                  <a:pt x="89" y="753"/>
                </a:lnTo>
                <a:lnTo>
                  <a:pt x="91" y="755"/>
                </a:lnTo>
                <a:lnTo>
                  <a:pt x="92" y="753"/>
                </a:lnTo>
                <a:lnTo>
                  <a:pt x="91" y="751"/>
                </a:lnTo>
                <a:lnTo>
                  <a:pt x="87" y="749"/>
                </a:lnTo>
                <a:lnTo>
                  <a:pt x="87" y="747"/>
                </a:lnTo>
                <a:lnTo>
                  <a:pt x="86" y="746"/>
                </a:lnTo>
                <a:lnTo>
                  <a:pt x="87" y="745"/>
                </a:lnTo>
                <a:lnTo>
                  <a:pt x="86" y="745"/>
                </a:lnTo>
                <a:lnTo>
                  <a:pt x="85" y="744"/>
                </a:lnTo>
                <a:lnTo>
                  <a:pt x="85" y="740"/>
                </a:lnTo>
                <a:lnTo>
                  <a:pt x="86" y="740"/>
                </a:lnTo>
                <a:lnTo>
                  <a:pt x="86" y="739"/>
                </a:lnTo>
                <a:lnTo>
                  <a:pt x="85" y="739"/>
                </a:lnTo>
                <a:lnTo>
                  <a:pt x="85" y="738"/>
                </a:lnTo>
                <a:lnTo>
                  <a:pt x="83" y="737"/>
                </a:lnTo>
                <a:lnTo>
                  <a:pt x="86" y="734"/>
                </a:lnTo>
                <a:lnTo>
                  <a:pt x="87" y="734"/>
                </a:lnTo>
                <a:lnTo>
                  <a:pt x="91" y="738"/>
                </a:lnTo>
                <a:lnTo>
                  <a:pt x="91" y="736"/>
                </a:lnTo>
                <a:lnTo>
                  <a:pt x="92" y="737"/>
                </a:lnTo>
                <a:lnTo>
                  <a:pt x="93" y="737"/>
                </a:lnTo>
                <a:lnTo>
                  <a:pt x="94" y="738"/>
                </a:lnTo>
                <a:lnTo>
                  <a:pt x="95" y="737"/>
                </a:lnTo>
                <a:lnTo>
                  <a:pt x="94" y="737"/>
                </a:lnTo>
                <a:lnTo>
                  <a:pt x="93" y="736"/>
                </a:lnTo>
                <a:lnTo>
                  <a:pt x="95" y="733"/>
                </a:lnTo>
                <a:lnTo>
                  <a:pt x="96" y="734"/>
                </a:lnTo>
                <a:lnTo>
                  <a:pt x="98" y="733"/>
                </a:lnTo>
                <a:lnTo>
                  <a:pt x="100" y="732"/>
                </a:lnTo>
                <a:lnTo>
                  <a:pt x="101" y="732"/>
                </a:lnTo>
                <a:lnTo>
                  <a:pt x="100" y="733"/>
                </a:lnTo>
                <a:lnTo>
                  <a:pt x="100" y="739"/>
                </a:lnTo>
                <a:lnTo>
                  <a:pt x="101" y="740"/>
                </a:lnTo>
                <a:lnTo>
                  <a:pt x="105" y="743"/>
                </a:lnTo>
                <a:lnTo>
                  <a:pt x="104" y="740"/>
                </a:lnTo>
                <a:lnTo>
                  <a:pt x="104" y="739"/>
                </a:lnTo>
                <a:lnTo>
                  <a:pt x="105" y="738"/>
                </a:lnTo>
                <a:lnTo>
                  <a:pt x="105" y="737"/>
                </a:lnTo>
                <a:lnTo>
                  <a:pt x="106" y="736"/>
                </a:lnTo>
                <a:lnTo>
                  <a:pt x="106" y="734"/>
                </a:lnTo>
                <a:lnTo>
                  <a:pt x="107" y="733"/>
                </a:lnTo>
                <a:lnTo>
                  <a:pt x="107" y="734"/>
                </a:lnTo>
                <a:lnTo>
                  <a:pt x="108" y="736"/>
                </a:lnTo>
                <a:lnTo>
                  <a:pt x="110" y="734"/>
                </a:lnTo>
                <a:lnTo>
                  <a:pt x="113" y="734"/>
                </a:lnTo>
                <a:lnTo>
                  <a:pt x="116" y="731"/>
                </a:lnTo>
                <a:lnTo>
                  <a:pt x="117" y="730"/>
                </a:lnTo>
                <a:lnTo>
                  <a:pt x="117" y="728"/>
                </a:lnTo>
                <a:lnTo>
                  <a:pt x="118" y="731"/>
                </a:lnTo>
                <a:lnTo>
                  <a:pt x="119" y="730"/>
                </a:lnTo>
                <a:lnTo>
                  <a:pt x="120" y="727"/>
                </a:lnTo>
                <a:lnTo>
                  <a:pt x="120" y="724"/>
                </a:lnTo>
                <a:lnTo>
                  <a:pt x="118" y="721"/>
                </a:lnTo>
                <a:lnTo>
                  <a:pt x="116" y="718"/>
                </a:lnTo>
                <a:lnTo>
                  <a:pt x="114" y="718"/>
                </a:lnTo>
                <a:lnTo>
                  <a:pt x="114" y="716"/>
                </a:lnTo>
                <a:lnTo>
                  <a:pt x="113" y="715"/>
                </a:lnTo>
                <a:lnTo>
                  <a:pt x="113" y="713"/>
                </a:lnTo>
                <a:lnTo>
                  <a:pt x="114" y="712"/>
                </a:lnTo>
                <a:lnTo>
                  <a:pt x="116" y="712"/>
                </a:lnTo>
                <a:lnTo>
                  <a:pt x="117" y="714"/>
                </a:lnTo>
                <a:lnTo>
                  <a:pt x="119" y="716"/>
                </a:lnTo>
                <a:lnTo>
                  <a:pt x="120" y="716"/>
                </a:lnTo>
                <a:lnTo>
                  <a:pt x="122" y="718"/>
                </a:lnTo>
                <a:lnTo>
                  <a:pt x="119" y="713"/>
                </a:lnTo>
                <a:lnTo>
                  <a:pt x="117" y="710"/>
                </a:lnTo>
                <a:lnTo>
                  <a:pt x="117" y="707"/>
                </a:lnTo>
                <a:lnTo>
                  <a:pt x="119" y="707"/>
                </a:lnTo>
                <a:lnTo>
                  <a:pt x="119" y="710"/>
                </a:lnTo>
                <a:lnTo>
                  <a:pt x="122" y="710"/>
                </a:lnTo>
                <a:lnTo>
                  <a:pt x="122" y="714"/>
                </a:lnTo>
                <a:lnTo>
                  <a:pt x="124" y="712"/>
                </a:lnTo>
                <a:lnTo>
                  <a:pt x="123" y="710"/>
                </a:lnTo>
                <a:lnTo>
                  <a:pt x="124" y="709"/>
                </a:lnTo>
                <a:lnTo>
                  <a:pt x="124" y="708"/>
                </a:lnTo>
                <a:lnTo>
                  <a:pt x="125" y="704"/>
                </a:lnTo>
                <a:lnTo>
                  <a:pt x="125" y="703"/>
                </a:lnTo>
                <a:lnTo>
                  <a:pt x="126" y="702"/>
                </a:lnTo>
                <a:lnTo>
                  <a:pt x="126" y="701"/>
                </a:lnTo>
                <a:lnTo>
                  <a:pt x="129" y="702"/>
                </a:lnTo>
                <a:lnTo>
                  <a:pt x="127" y="701"/>
                </a:lnTo>
                <a:lnTo>
                  <a:pt x="126" y="697"/>
                </a:lnTo>
                <a:lnTo>
                  <a:pt x="126" y="696"/>
                </a:lnTo>
                <a:lnTo>
                  <a:pt x="127" y="696"/>
                </a:lnTo>
                <a:lnTo>
                  <a:pt x="127" y="695"/>
                </a:lnTo>
                <a:lnTo>
                  <a:pt x="130" y="695"/>
                </a:lnTo>
                <a:lnTo>
                  <a:pt x="130" y="690"/>
                </a:lnTo>
                <a:lnTo>
                  <a:pt x="131" y="690"/>
                </a:lnTo>
                <a:lnTo>
                  <a:pt x="131" y="691"/>
                </a:lnTo>
                <a:lnTo>
                  <a:pt x="132" y="691"/>
                </a:lnTo>
                <a:lnTo>
                  <a:pt x="132" y="690"/>
                </a:lnTo>
                <a:lnTo>
                  <a:pt x="133" y="690"/>
                </a:lnTo>
                <a:lnTo>
                  <a:pt x="135" y="691"/>
                </a:lnTo>
                <a:lnTo>
                  <a:pt x="135" y="695"/>
                </a:lnTo>
                <a:lnTo>
                  <a:pt x="136" y="697"/>
                </a:lnTo>
                <a:lnTo>
                  <a:pt x="138" y="697"/>
                </a:lnTo>
                <a:lnTo>
                  <a:pt x="138" y="696"/>
                </a:lnTo>
                <a:lnTo>
                  <a:pt x="139" y="696"/>
                </a:lnTo>
                <a:lnTo>
                  <a:pt x="141" y="695"/>
                </a:lnTo>
                <a:lnTo>
                  <a:pt x="141" y="693"/>
                </a:lnTo>
                <a:lnTo>
                  <a:pt x="142" y="691"/>
                </a:lnTo>
                <a:lnTo>
                  <a:pt x="143" y="691"/>
                </a:lnTo>
                <a:lnTo>
                  <a:pt x="143" y="689"/>
                </a:lnTo>
                <a:lnTo>
                  <a:pt x="141" y="688"/>
                </a:lnTo>
                <a:lnTo>
                  <a:pt x="143" y="688"/>
                </a:lnTo>
                <a:lnTo>
                  <a:pt x="142" y="687"/>
                </a:lnTo>
                <a:lnTo>
                  <a:pt x="142" y="685"/>
                </a:lnTo>
                <a:lnTo>
                  <a:pt x="143" y="687"/>
                </a:lnTo>
                <a:lnTo>
                  <a:pt x="144" y="687"/>
                </a:lnTo>
                <a:lnTo>
                  <a:pt x="144" y="684"/>
                </a:lnTo>
                <a:lnTo>
                  <a:pt x="143" y="683"/>
                </a:lnTo>
                <a:lnTo>
                  <a:pt x="143" y="682"/>
                </a:lnTo>
                <a:lnTo>
                  <a:pt x="144" y="681"/>
                </a:lnTo>
                <a:lnTo>
                  <a:pt x="145" y="681"/>
                </a:lnTo>
                <a:lnTo>
                  <a:pt x="145" y="682"/>
                </a:lnTo>
                <a:lnTo>
                  <a:pt x="147" y="683"/>
                </a:lnTo>
                <a:lnTo>
                  <a:pt x="147" y="684"/>
                </a:lnTo>
                <a:lnTo>
                  <a:pt x="148" y="684"/>
                </a:lnTo>
                <a:lnTo>
                  <a:pt x="148" y="683"/>
                </a:lnTo>
                <a:lnTo>
                  <a:pt x="147" y="682"/>
                </a:lnTo>
                <a:lnTo>
                  <a:pt x="147" y="679"/>
                </a:lnTo>
                <a:lnTo>
                  <a:pt x="150" y="676"/>
                </a:lnTo>
                <a:lnTo>
                  <a:pt x="153" y="676"/>
                </a:lnTo>
                <a:lnTo>
                  <a:pt x="154" y="675"/>
                </a:lnTo>
                <a:lnTo>
                  <a:pt x="154" y="672"/>
                </a:lnTo>
                <a:lnTo>
                  <a:pt x="160" y="672"/>
                </a:lnTo>
                <a:lnTo>
                  <a:pt x="161" y="670"/>
                </a:lnTo>
                <a:lnTo>
                  <a:pt x="162" y="671"/>
                </a:lnTo>
                <a:lnTo>
                  <a:pt x="163" y="671"/>
                </a:lnTo>
                <a:lnTo>
                  <a:pt x="164" y="670"/>
                </a:lnTo>
                <a:lnTo>
                  <a:pt x="164" y="669"/>
                </a:lnTo>
                <a:lnTo>
                  <a:pt x="163" y="667"/>
                </a:lnTo>
                <a:lnTo>
                  <a:pt x="163" y="657"/>
                </a:lnTo>
                <a:lnTo>
                  <a:pt x="167" y="657"/>
                </a:lnTo>
                <a:lnTo>
                  <a:pt x="167" y="658"/>
                </a:lnTo>
                <a:lnTo>
                  <a:pt x="170" y="658"/>
                </a:lnTo>
                <a:lnTo>
                  <a:pt x="173" y="659"/>
                </a:lnTo>
                <a:lnTo>
                  <a:pt x="174" y="658"/>
                </a:lnTo>
                <a:lnTo>
                  <a:pt x="172" y="653"/>
                </a:lnTo>
                <a:lnTo>
                  <a:pt x="172" y="651"/>
                </a:lnTo>
                <a:lnTo>
                  <a:pt x="173" y="652"/>
                </a:lnTo>
                <a:lnTo>
                  <a:pt x="174" y="651"/>
                </a:lnTo>
                <a:lnTo>
                  <a:pt x="174" y="650"/>
                </a:lnTo>
                <a:lnTo>
                  <a:pt x="175" y="650"/>
                </a:lnTo>
                <a:lnTo>
                  <a:pt x="175" y="647"/>
                </a:lnTo>
                <a:lnTo>
                  <a:pt x="176" y="647"/>
                </a:lnTo>
                <a:lnTo>
                  <a:pt x="178" y="646"/>
                </a:lnTo>
                <a:lnTo>
                  <a:pt x="178" y="641"/>
                </a:lnTo>
                <a:lnTo>
                  <a:pt x="180" y="641"/>
                </a:lnTo>
                <a:lnTo>
                  <a:pt x="182" y="640"/>
                </a:lnTo>
                <a:lnTo>
                  <a:pt x="182" y="639"/>
                </a:lnTo>
                <a:lnTo>
                  <a:pt x="184" y="635"/>
                </a:lnTo>
                <a:lnTo>
                  <a:pt x="185" y="636"/>
                </a:lnTo>
                <a:lnTo>
                  <a:pt x="186" y="636"/>
                </a:lnTo>
                <a:lnTo>
                  <a:pt x="187" y="638"/>
                </a:lnTo>
                <a:lnTo>
                  <a:pt x="187" y="636"/>
                </a:lnTo>
                <a:lnTo>
                  <a:pt x="186" y="635"/>
                </a:lnTo>
                <a:lnTo>
                  <a:pt x="186" y="634"/>
                </a:lnTo>
                <a:lnTo>
                  <a:pt x="187" y="633"/>
                </a:lnTo>
                <a:lnTo>
                  <a:pt x="187" y="630"/>
                </a:lnTo>
                <a:lnTo>
                  <a:pt x="188" y="629"/>
                </a:lnTo>
                <a:lnTo>
                  <a:pt x="188" y="628"/>
                </a:lnTo>
                <a:lnTo>
                  <a:pt x="189" y="624"/>
                </a:lnTo>
                <a:lnTo>
                  <a:pt x="189" y="623"/>
                </a:lnTo>
                <a:lnTo>
                  <a:pt x="191" y="623"/>
                </a:lnTo>
                <a:lnTo>
                  <a:pt x="193" y="621"/>
                </a:lnTo>
                <a:lnTo>
                  <a:pt x="193" y="620"/>
                </a:lnTo>
                <a:lnTo>
                  <a:pt x="194" y="620"/>
                </a:lnTo>
                <a:lnTo>
                  <a:pt x="194" y="618"/>
                </a:lnTo>
                <a:lnTo>
                  <a:pt x="195" y="618"/>
                </a:lnTo>
                <a:lnTo>
                  <a:pt x="197" y="617"/>
                </a:lnTo>
                <a:lnTo>
                  <a:pt x="199" y="617"/>
                </a:lnTo>
                <a:lnTo>
                  <a:pt x="198" y="616"/>
                </a:lnTo>
                <a:lnTo>
                  <a:pt x="199" y="615"/>
                </a:lnTo>
                <a:lnTo>
                  <a:pt x="199" y="614"/>
                </a:lnTo>
                <a:lnTo>
                  <a:pt x="200" y="615"/>
                </a:lnTo>
                <a:lnTo>
                  <a:pt x="201" y="614"/>
                </a:lnTo>
                <a:lnTo>
                  <a:pt x="201" y="611"/>
                </a:lnTo>
                <a:lnTo>
                  <a:pt x="203" y="611"/>
                </a:lnTo>
                <a:lnTo>
                  <a:pt x="204" y="610"/>
                </a:lnTo>
                <a:lnTo>
                  <a:pt x="205" y="608"/>
                </a:lnTo>
                <a:lnTo>
                  <a:pt x="205" y="602"/>
                </a:lnTo>
                <a:lnTo>
                  <a:pt x="206" y="601"/>
                </a:lnTo>
                <a:lnTo>
                  <a:pt x="207" y="598"/>
                </a:lnTo>
                <a:lnTo>
                  <a:pt x="207" y="596"/>
                </a:lnTo>
                <a:lnTo>
                  <a:pt x="212" y="591"/>
                </a:lnTo>
                <a:lnTo>
                  <a:pt x="212" y="587"/>
                </a:lnTo>
                <a:lnTo>
                  <a:pt x="214" y="585"/>
                </a:lnTo>
                <a:lnTo>
                  <a:pt x="212" y="583"/>
                </a:lnTo>
                <a:lnTo>
                  <a:pt x="214" y="583"/>
                </a:lnTo>
                <a:lnTo>
                  <a:pt x="217" y="585"/>
                </a:lnTo>
                <a:lnTo>
                  <a:pt x="218" y="585"/>
                </a:lnTo>
                <a:lnTo>
                  <a:pt x="218" y="580"/>
                </a:lnTo>
                <a:lnTo>
                  <a:pt x="220" y="580"/>
                </a:lnTo>
                <a:lnTo>
                  <a:pt x="220" y="578"/>
                </a:lnTo>
                <a:lnTo>
                  <a:pt x="222" y="577"/>
                </a:lnTo>
                <a:lnTo>
                  <a:pt x="228" y="577"/>
                </a:lnTo>
                <a:lnTo>
                  <a:pt x="235" y="572"/>
                </a:lnTo>
                <a:lnTo>
                  <a:pt x="236" y="572"/>
                </a:lnTo>
                <a:lnTo>
                  <a:pt x="237" y="573"/>
                </a:lnTo>
                <a:lnTo>
                  <a:pt x="237" y="574"/>
                </a:lnTo>
                <a:lnTo>
                  <a:pt x="238" y="575"/>
                </a:lnTo>
                <a:lnTo>
                  <a:pt x="238" y="574"/>
                </a:lnTo>
                <a:lnTo>
                  <a:pt x="240" y="575"/>
                </a:lnTo>
                <a:lnTo>
                  <a:pt x="240" y="578"/>
                </a:lnTo>
                <a:lnTo>
                  <a:pt x="242" y="580"/>
                </a:lnTo>
                <a:lnTo>
                  <a:pt x="241" y="581"/>
                </a:lnTo>
                <a:lnTo>
                  <a:pt x="243" y="581"/>
                </a:lnTo>
                <a:lnTo>
                  <a:pt x="247" y="580"/>
                </a:lnTo>
                <a:lnTo>
                  <a:pt x="247" y="572"/>
                </a:lnTo>
                <a:lnTo>
                  <a:pt x="245" y="573"/>
                </a:lnTo>
                <a:lnTo>
                  <a:pt x="244" y="573"/>
                </a:lnTo>
                <a:lnTo>
                  <a:pt x="243" y="571"/>
                </a:lnTo>
                <a:lnTo>
                  <a:pt x="242" y="571"/>
                </a:lnTo>
                <a:lnTo>
                  <a:pt x="241" y="570"/>
                </a:lnTo>
                <a:lnTo>
                  <a:pt x="240" y="567"/>
                </a:lnTo>
                <a:lnTo>
                  <a:pt x="240" y="566"/>
                </a:lnTo>
                <a:lnTo>
                  <a:pt x="241" y="566"/>
                </a:lnTo>
                <a:lnTo>
                  <a:pt x="241" y="565"/>
                </a:lnTo>
                <a:lnTo>
                  <a:pt x="245" y="565"/>
                </a:lnTo>
                <a:lnTo>
                  <a:pt x="245" y="566"/>
                </a:lnTo>
                <a:lnTo>
                  <a:pt x="248" y="567"/>
                </a:lnTo>
                <a:lnTo>
                  <a:pt x="249" y="568"/>
                </a:lnTo>
                <a:lnTo>
                  <a:pt x="250" y="568"/>
                </a:lnTo>
                <a:lnTo>
                  <a:pt x="250" y="566"/>
                </a:lnTo>
                <a:lnTo>
                  <a:pt x="249" y="565"/>
                </a:lnTo>
                <a:lnTo>
                  <a:pt x="249" y="560"/>
                </a:lnTo>
                <a:lnTo>
                  <a:pt x="248" y="559"/>
                </a:lnTo>
                <a:lnTo>
                  <a:pt x="248" y="555"/>
                </a:lnTo>
                <a:lnTo>
                  <a:pt x="245" y="553"/>
                </a:lnTo>
                <a:lnTo>
                  <a:pt x="241" y="552"/>
                </a:lnTo>
                <a:lnTo>
                  <a:pt x="241" y="548"/>
                </a:lnTo>
                <a:lnTo>
                  <a:pt x="243" y="546"/>
                </a:lnTo>
                <a:lnTo>
                  <a:pt x="243" y="544"/>
                </a:lnTo>
                <a:lnTo>
                  <a:pt x="244" y="543"/>
                </a:lnTo>
                <a:lnTo>
                  <a:pt x="243" y="541"/>
                </a:lnTo>
                <a:lnTo>
                  <a:pt x="244" y="542"/>
                </a:lnTo>
                <a:lnTo>
                  <a:pt x="244" y="541"/>
                </a:lnTo>
                <a:lnTo>
                  <a:pt x="245" y="541"/>
                </a:lnTo>
                <a:lnTo>
                  <a:pt x="244" y="540"/>
                </a:lnTo>
                <a:lnTo>
                  <a:pt x="244" y="538"/>
                </a:lnTo>
                <a:lnTo>
                  <a:pt x="245" y="538"/>
                </a:lnTo>
                <a:lnTo>
                  <a:pt x="244" y="537"/>
                </a:lnTo>
                <a:lnTo>
                  <a:pt x="243" y="537"/>
                </a:lnTo>
                <a:lnTo>
                  <a:pt x="244" y="536"/>
                </a:lnTo>
                <a:lnTo>
                  <a:pt x="244" y="534"/>
                </a:lnTo>
                <a:lnTo>
                  <a:pt x="245" y="531"/>
                </a:lnTo>
                <a:lnTo>
                  <a:pt x="244" y="530"/>
                </a:lnTo>
                <a:lnTo>
                  <a:pt x="245" y="530"/>
                </a:lnTo>
                <a:lnTo>
                  <a:pt x="245" y="529"/>
                </a:lnTo>
                <a:lnTo>
                  <a:pt x="243" y="525"/>
                </a:lnTo>
                <a:lnTo>
                  <a:pt x="244" y="525"/>
                </a:lnTo>
                <a:lnTo>
                  <a:pt x="247" y="523"/>
                </a:lnTo>
                <a:lnTo>
                  <a:pt x="247" y="515"/>
                </a:lnTo>
                <a:lnTo>
                  <a:pt x="245" y="512"/>
                </a:lnTo>
                <a:lnTo>
                  <a:pt x="240" y="506"/>
                </a:lnTo>
                <a:lnTo>
                  <a:pt x="238" y="506"/>
                </a:lnTo>
                <a:lnTo>
                  <a:pt x="238" y="507"/>
                </a:lnTo>
                <a:lnTo>
                  <a:pt x="236" y="505"/>
                </a:lnTo>
                <a:lnTo>
                  <a:pt x="236" y="504"/>
                </a:lnTo>
                <a:lnTo>
                  <a:pt x="235" y="503"/>
                </a:lnTo>
                <a:lnTo>
                  <a:pt x="235" y="501"/>
                </a:lnTo>
                <a:lnTo>
                  <a:pt x="234" y="501"/>
                </a:lnTo>
                <a:lnTo>
                  <a:pt x="232" y="500"/>
                </a:lnTo>
                <a:lnTo>
                  <a:pt x="229" y="500"/>
                </a:lnTo>
                <a:lnTo>
                  <a:pt x="228" y="498"/>
                </a:lnTo>
                <a:lnTo>
                  <a:pt x="225" y="497"/>
                </a:lnTo>
                <a:lnTo>
                  <a:pt x="223" y="497"/>
                </a:lnTo>
                <a:lnTo>
                  <a:pt x="220" y="498"/>
                </a:lnTo>
                <a:lnTo>
                  <a:pt x="219" y="499"/>
                </a:lnTo>
                <a:lnTo>
                  <a:pt x="218" y="499"/>
                </a:lnTo>
                <a:lnTo>
                  <a:pt x="218" y="493"/>
                </a:lnTo>
                <a:lnTo>
                  <a:pt x="217" y="493"/>
                </a:lnTo>
                <a:lnTo>
                  <a:pt x="214" y="492"/>
                </a:lnTo>
                <a:lnTo>
                  <a:pt x="214" y="491"/>
                </a:lnTo>
                <a:lnTo>
                  <a:pt x="213" y="489"/>
                </a:lnTo>
                <a:lnTo>
                  <a:pt x="213" y="481"/>
                </a:lnTo>
                <a:lnTo>
                  <a:pt x="217" y="474"/>
                </a:lnTo>
                <a:lnTo>
                  <a:pt x="218" y="473"/>
                </a:lnTo>
                <a:lnTo>
                  <a:pt x="219" y="473"/>
                </a:lnTo>
                <a:lnTo>
                  <a:pt x="219" y="472"/>
                </a:lnTo>
                <a:lnTo>
                  <a:pt x="217" y="473"/>
                </a:lnTo>
                <a:lnTo>
                  <a:pt x="216" y="473"/>
                </a:lnTo>
                <a:lnTo>
                  <a:pt x="216" y="475"/>
                </a:lnTo>
                <a:lnTo>
                  <a:pt x="214" y="476"/>
                </a:lnTo>
                <a:lnTo>
                  <a:pt x="212" y="481"/>
                </a:lnTo>
                <a:lnTo>
                  <a:pt x="211" y="482"/>
                </a:lnTo>
                <a:lnTo>
                  <a:pt x="209" y="482"/>
                </a:lnTo>
                <a:lnTo>
                  <a:pt x="207" y="484"/>
                </a:lnTo>
                <a:lnTo>
                  <a:pt x="207" y="485"/>
                </a:lnTo>
                <a:lnTo>
                  <a:pt x="206" y="486"/>
                </a:lnTo>
                <a:lnTo>
                  <a:pt x="205" y="485"/>
                </a:lnTo>
                <a:lnTo>
                  <a:pt x="204" y="482"/>
                </a:lnTo>
                <a:lnTo>
                  <a:pt x="203" y="482"/>
                </a:lnTo>
                <a:lnTo>
                  <a:pt x="201" y="481"/>
                </a:lnTo>
                <a:lnTo>
                  <a:pt x="199" y="480"/>
                </a:lnTo>
                <a:lnTo>
                  <a:pt x="200" y="481"/>
                </a:lnTo>
                <a:lnTo>
                  <a:pt x="200" y="485"/>
                </a:lnTo>
                <a:lnTo>
                  <a:pt x="198" y="485"/>
                </a:lnTo>
                <a:lnTo>
                  <a:pt x="198" y="484"/>
                </a:lnTo>
                <a:lnTo>
                  <a:pt x="197" y="482"/>
                </a:lnTo>
                <a:lnTo>
                  <a:pt x="197" y="478"/>
                </a:lnTo>
                <a:lnTo>
                  <a:pt x="194" y="475"/>
                </a:lnTo>
                <a:lnTo>
                  <a:pt x="194" y="472"/>
                </a:lnTo>
                <a:lnTo>
                  <a:pt x="192" y="467"/>
                </a:lnTo>
                <a:lnTo>
                  <a:pt x="192" y="463"/>
                </a:lnTo>
                <a:lnTo>
                  <a:pt x="191" y="458"/>
                </a:lnTo>
                <a:lnTo>
                  <a:pt x="191" y="456"/>
                </a:lnTo>
                <a:lnTo>
                  <a:pt x="189" y="456"/>
                </a:lnTo>
                <a:lnTo>
                  <a:pt x="189" y="455"/>
                </a:lnTo>
                <a:lnTo>
                  <a:pt x="188" y="454"/>
                </a:lnTo>
                <a:lnTo>
                  <a:pt x="186" y="446"/>
                </a:lnTo>
                <a:lnTo>
                  <a:pt x="185" y="445"/>
                </a:lnTo>
                <a:lnTo>
                  <a:pt x="180" y="443"/>
                </a:lnTo>
                <a:lnTo>
                  <a:pt x="178" y="441"/>
                </a:lnTo>
                <a:lnTo>
                  <a:pt x="176" y="435"/>
                </a:lnTo>
                <a:lnTo>
                  <a:pt x="176" y="432"/>
                </a:lnTo>
                <a:lnTo>
                  <a:pt x="175" y="430"/>
                </a:lnTo>
                <a:lnTo>
                  <a:pt x="175" y="426"/>
                </a:lnTo>
                <a:lnTo>
                  <a:pt x="176" y="425"/>
                </a:lnTo>
                <a:lnTo>
                  <a:pt x="176" y="424"/>
                </a:lnTo>
                <a:lnTo>
                  <a:pt x="175" y="421"/>
                </a:lnTo>
                <a:lnTo>
                  <a:pt x="175" y="417"/>
                </a:lnTo>
                <a:lnTo>
                  <a:pt x="174" y="415"/>
                </a:lnTo>
                <a:lnTo>
                  <a:pt x="175" y="413"/>
                </a:lnTo>
                <a:lnTo>
                  <a:pt x="178" y="411"/>
                </a:lnTo>
                <a:lnTo>
                  <a:pt x="179" y="411"/>
                </a:lnTo>
                <a:lnTo>
                  <a:pt x="179" y="408"/>
                </a:lnTo>
                <a:lnTo>
                  <a:pt x="181" y="406"/>
                </a:lnTo>
                <a:lnTo>
                  <a:pt x="181" y="405"/>
                </a:lnTo>
                <a:lnTo>
                  <a:pt x="184" y="403"/>
                </a:lnTo>
                <a:lnTo>
                  <a:pt x="185" y="402"/>
                </a:lnTo>
                <a:lnTo>
                  <a:pt x="185" y="392"/>
                </a:lnTo>
                <a:lnTo>
                  <a:pt x="186" y="389"/>
                </a:lnTo>
                <a:lnTo>
                  <a:pt x="186" y="387"/>
                </a:lnTo>
                <a:lnTo>
                  <a:pt x="185" y="383"/>
                </a:lnTo>
                <a:lnTo>
                  <a:pt x="185" y="382"/>
                </a:lnTo>
                <a:lnTo>
                  <a:pt x="186" y="380"/>
                </a:lnTo>
                <a:lnTo>
                  <a:pt x="187" y="378"/>
                </a:lnTo>
                <a:lnTo>
                  <a:pt x="188" y="378"/>
                </a:lnTo>
                <a:lnTo>
                  <a:pt x="189" y="377"/>
                </a:lnTo>
                <a:lnTo>
                  <a:pt x="189" y="376"/>
                </a:lnTo>
                <a:lnTo>
                  <a:pt x="188" y="370"/>
                </a:lnTo>
                <a:lnTo>
                  <a:pt x="187" y="368"/>
                </a:lnTo>
                <a:lnTo>
                  <a:pt x="186" y="366"/>
                </a:lnTo>
                <a:lnTo>
                  <a:pt x="185" y="364"/>
                </a:lnTo>
                <a:lnTo>
                  <a:pt x="182" y="358"/>
                </a:lnTo>
                <a:lnTo>
                  <a:pt x="180" y="356"/>
                </a:lnTo>
                <a:lnTo>
                  <a:pt x="179" y="356"/>
                </a:lnTo>
                <a:lnTo>
                  <a:pt x="178" y="353"/>
                </a:lnTo>
                <a:lnTo>
                  <a:pt x="176" y="350"/>
                </a:lnTo>
                <a:lnTo>
                  <a:pt x="175" y="349"/>
                </a:lnTo>
                <a:lnTo>
                  <a:pt x="175" y="344"/>
                </a:lnTo>
                <a:lnTo>
                  <a:pt x="174" y="341"/>
                </a:lnTo>
                <a:lnTo>
                  <a:pt x="172" y="339"/>
                </a:lnTo>
                <a:lnTo>
                  <a:pt x="172" y="337"/>
                </a:lnTo>
                <a:lnTo>
                  <a:pt x="173" y="335"/>
                </a:lnTo>
                <a:lnTo>
                  <a:pt x="173" y="327"/>
                </a:lnTo>
                <a:lnTo>
                  <a:pt x="174" y="326"/>
                </a:lnTo>
                <a:lnTo>
                  <a:pt x="179" y="325"/>
                </a:lnTo>
                <a:lnTo>
                  <a:pt x="180" y="322"/>
                </a:lnTo>
                <a:lnTo>
                  <a:pt x="180" y="319"/>
                </a:lnTo>
                <a:lnTo>
                  <a:pt x="179" y="317"/>
                </a:lnTo>
                <a:lnTo>
                  <a:pt x="179" y="315"/>
                </a:lnTo>
                <a:lnTo>
                  <a:pt x="180" y="313"/>
                </a:lnTo>
                <a:lnTo>
                  <a:pt x="180" y="310"/>
                </a:lnTo>
                <a:lnTo>
                  <a:pt x="179" y="309"/>
                </a:lnTo>
                <a:lnTo>
                  <a:pt x="175" y="308"/>
                </a:lnTo>
                <a:lnTo>
                  <a:pt x="173" y="307"/>
                </a:lnTo>
                <a:lnTo>
                  <a:pt x="168" y="307"/>
                </a:lnTo>
                <a:lnTo>
                  <a:pt x="166" y="306"/>
                </a:lnTo>
                <a:lnTo>
                  <a:pt x="166" y="301"/>
                </a:lnTo>
                <a:lnTo>
                  <a:pt x="168" y="296"/>
                </a:lnTo>
                <a:lnTo>
                  <a:pt x="167" y="295"/>
                </a:lnTo>
                <a:lnTo>
                  <a:pt x="168" y="294"/>
                </a:lnTo>
                <a:lnTo>
                  <a:pt x="170" y="292"/>
                </a:lnTo>
                <a:lnTo>
                  <a:pt x="170" y="288"/>
                </a:lnTo>
                <a:lnTo>
                  <a:pt x="169" y="284"/>
                </a:lnTo>
                <a:lnTo>
                  <a:pt x="169" y="283"/>
                </a:lnTo>
                <a:lnTo>
                  <a:pt x="168" y="278"/>
                </a:lnTo>
                <a:lnTo>
                  <a:pt x="168" y="259"/>
                </a:lnTo>
                <a:lnTo>
                  <a:pt x="169" y="258"/>
                </a:lnTo>
                <a:lnTo>
                  <a:pt x="173" y="257"/>
                </a:lnTo>
                <a:lnTo>
                  <a:pt x="174" y="255"/>
                </a:lnTo>
                <a:lnTo>
                  <a:pt x="175" y="253"/>
                </a:lnTo>
                <a:lnTo>
                  <a:pt x="175" y="251"/>
                </a:lnTo>
                <a:lnTo>
                  <a:pt x="174" y="249"/>
                </a:lnTo>
                <a:lnTo>
                  <a:pt x="172" y="248"/>
                </a:lnTo>
                <a:lnTo>
                  <a:pt x="168" y="243"/>
                </a:lnTo>
                <a:lnTo>
                  <a:pt x="167" y="242"/>
                </a:lnTo>
                <a:lnTo>
                  <a:pt x="163" y="240"/>
                </a:lnTo>
                <a:lnTo>
                  <a:pt x="163" y="237"/>
                </a:lnTo>
                <a:lnTo>
                  <a:pt x="161" y="230"/>
                </a:lnTo>
                <a:lnTo>
                  <a:pt x="161" y="229"/>
                </a:lnTo>
                <a:lnTo>
                  <a:pt x="158" y="229"/>
                </a:lnTo>
                <a:lnTo>
                  <a:pt x="155" y="231"/>
                </a:lnTo>
                <a:lnTo>
                  <a:pt x="154" y="230"/>
                </a:lnTo>
                <a:lnTo>
                  <a:pt x="154" y="218"/>
                </a:lnTo>
                <a:lnTo>
                  <a:pt x="151" y="216"/>
                </a:lnTo>
                <a:lnTo>
                  <a:pt x="151" y="215"/>
                </a:lnTo>
                <a:lnTo>
                  <a:pt x="150" y="215"/>
                </a:lnTo>
                <a:lnTo>
                  <a:pt x="150" y="212"/>
                </a:lnTo>
                <a:lnTo>
                  <a:pt x="149" y="211"/>
                </a:lnTo>
                <a:lnTo>
                  <a:pt x="143" y="208"/>
                </a:lnTo>
                <a:lnTo>
                  <a:pt x="142" y="205"/>
                </a:lnTo>
                <a:lnTo>
                  <a:pt x="141" y="202"/>
                </a:lnTo>
                <a:lnTo>
                  <a:pt x="139" y="200"/>
                </a:lnTo>
                <a:lnTo>
                  <a:pt x="137" y="202"/>
                </a:lnTo>
                <a:lnTo>
                  <a:pt x="136" y="200"/>
                </a:lnTo>
                <a:lnTo>
                  <a:pt x="135" y="198"/>
                </a:lnTo>
                <a:lnTo>
                  <a:pt x="133" y="197"/>
                </a:lnTo>
                <a:lnTo>
                  <a:pt x="131" y="197"/>
                </a:lnTo>
                <a:lnTo>
                  <a:pt x="129" y="196"/>
                </a:lnTo>
                <a:lnTo>
                  <a:pt x="127" y="196"/>
                </a:lnTo>
                <a:lnTo>
                  <a:pt x="124" y="193"/>
                </a:lnTo>
                <a:lnTo>
                  <a:pt x="120" y="193"/>
                </a:lnTo>
                <a:lnTo>
                  <a:pt x="122" y="192"/>
                </a:lnTo>
                <a:lnTo>
                  <a:pt x="120" y="192"/>
                </a:lnTo>
                <a:lnTo>
                  <a:pt x="118" y="191"/>
                </a:lnTo>
                <a:lnTo>
                  <a:pt x="108" y="191"/>
                </a:lnTo>
                <a:lnTo>
                  <a:pt x="107" y="190"/>
                </a:lnTo>
                <a:lnTo>
                  <a:pt x="107" y="187"/>
                </a:lnTo>
                <a:lnTo>
                  <a:pt x="106" y="187"/>
                </a:lnTo>
                <a:lnTo>
                  <a:pt x="106" y="186"/>
                </a:lnTo>
                <a:lnTo>
                  <a:pt x="104" y="184"/>
                </a:lnTo>
                <a:lnTo>
                  <a:pt x="104" y="183"/>
                </a:lnTo>
                <a:lnTo>
                  <a:pt x="101" y="180"/>
                </a:lnTo>
                <a:lnTo>
                  <a:pt x="94" y="178"/>
                </a:lnTo>
                <a:lnTo>
                  <a:pt x="93" y="174"/>
                </a:lnTo>
                <a:lnTo>
                  <a:pt x="91" y="173"/>
                </a:lnTo>
                <a:lnTo>
                  <a:pt x="87" y="169"/>
                </a:lnTo>
                <a:lnTo>
                  <a:pt x="83" y="168"/>
                </a:lnTo>
                <a:lnTo>
                  <a:pt x="82" y="167"/>
                </a:lnTo>
                <a:lnTo>
                  <a:pt x="82" y="166"/>
                </a:lnTo>
                <a:lnTo>
                  <a:pt x="81" y="162"/>
                </a:lnTo>
                <a:lnTo>
                  <a:pt x="81" y="161"/>
                </a:lnTo>
                <a:lnTo>
                  <a:pt x="80" y="160"/>
                </a:lnTo>
                <a:lnTo>
                  <a:pt x="80" y="159"/>
                </a:lnTo>
                <a:lnTo>
                  <a:pt x="75" y="159"/>
                </a:lnTo>
                <a:lnTo>
                  <a:pt x="75" y="156"/>
                </a:lnTo>
                <a:lnTo>
                  <a:pt x="73" y="151"/>
                </a:lnTo>
                <a:lnTo>
                  <a:pt x="69" y="149"/>
                </a:lnTo>
                <a:lnTo>
                  <a:pt x="66" y="145"/>
                </a:lnTo>
                <a:lnTo>
                  <a:pt x="60" y="142"/>
                </a:lnTo>
                <a:lnTo>
                  <a:pt x="58" y="141"/>
                </a:lnTo>
                <a:lnTo>
                  <a:pt x="58" y="138"/>
                </a:lnTo>
                <a:lnTo>
                  <a:pt x="60" y="138"/>
                </a:lnTo>
                <a:lnTo>
                  <a:pt x="61" y="136"/>
                </a:lnTo>
                <a:lnTo>
                  <a:pt x="61" y="134"/>
                </a:lnTo>
                <a:lnTo>
                  <a:pt x="60" y="132"/>
                </a:lnTo>
                <a:lnTo>
                  <a:pt x="57" y="131"/>
                </a:lnTo>
                <a:lnTo>
                  <a:pt x="55" y="129"/>
                </a:lnTo>
                <a:lnTo>
                  <a:pt x="49" y="128"/>
                </a:lnTo>
                <a:lnTo>
                  <a:pt x="48" y="125"/>
                </a:lnTo>
                <a:lnTo>
                  <a:pt x="51" y="118"/>
                </a:lnTo>
                <a:lnTo>
                  <a:pt x="52" y="118"/>
                </a:lnTo>
                <a:lnTo>
                  <a:pt x="64" y="125"/>
                </a:lnTo>
                <a:lnTo>
                  <a:pt x="67" y="125"/>
                </a:lnTo>
                <a:lnTo>
                  <a:pt x="69" y="119"/>
                </a:lnTo>
                <a:lnTo>
                  <a:pt x="64" y="108"/>
                </a:lnTo>
                <a:lnTo>
                  <a:pt x="66" y="105"/>
                </a:lnTo>
                <a:lnTo>
                  <a:pt x="67" y="103"/>
                </a:lnTo>
                <a:lnTo>
                  <a:pt x="67" y="101"/>
                </a:lnTo>
                <a:lnTo>
                  <a:pt x="76" y="95"/>
                </a:lnTo>
                <a:lnTo>
                  <a:pt x="89" y="98"/>
                </a:lnTo>
                <a:lnTo>
                  <a:pt x="91" y="99"/>
                </a:lnTo>
                <a:lnTo>
                  <a:pt x="102" y="123"/>
                </a:lnTo>
                <a:lnTo>
                  <a:pt x="106" y="129"/>
                </a:lnTo>
                <a:lnTo>
                  <a:pt x="112" y="135"/>
                </a:lnTo>
                <a:lnTo>
                  <a:pt x="112" y="137"/>
                </a:lnTo>
                <a:lnTo>
                  <a:pt x="113" y="140"/>
                </a:lnTo>
                <a:lnTo>
                  <a:pt x="113" y="141"/>
                </a:lnTo>
                <a:lnTo>
                  <a:pt x="117" y="147"/>
                </a:lnTo>
                <a:lnTo>
                  <a:pt x="120" y="149"/>
                </a:lnTo>
                <a:lnTo>
                  <a:pt x="120" y="150"/>
                </a:lnTo>
                <a:lnTo>
                  <a:pt x="122" y="161"/>
                </a:lnTo>
                <a:lnTo>
                  <a:pt x="123" y="163"/>
                </a:lnTo>
                <a:lnTo>
                  <a:pt x="127" y="162"/>
                </a:lnTo>
                <a:lnTo>
                  <a:pt x="130" y="162"/>
                </a:lnTo>
                <a:lnTo>
                  <a:pt x="141" y="168"/>
                </a:lnTo>
                <a:lnTo>
                  <a:pt x="148" y="167"/>
                </a:lnTo>
                <a:lnTo>
                  <a:pt x="150" y="167"/>
                </a:lnTo>
                <a:lnTo>
                  <a:pt x="151" y="168"/>
                </a:lnTo>
                <a:lnTo>
                  <a:pt x="155" y="174"/>
                </a:lnTo>
                <a:lnTo>
                  <a:pt x="156" y="174"/>
                </a:lnTo>
                <a:lnTo>
                  <a:pt x="168" y="167"/>
                </a:lnTo>
                <a:lnTo>
                  <a:pt x="174" y="166"/>
                </a:lnTo>
                <a:lnTo>
                  <a:pt x="179" y="163"/>
                </a:lnTo>
                <a:lnTo>
                  <a:pt x="181" y="154"/>
                </a:lnTo>
                <a:lnTo>
                  <a:pt x="184" y="151"/>
                </a:lnTo>
                <a:lnTo>
                  <a:pt x="187" y="151"/>
                </a:lnTo>
                <a:lnTo>
                  <a:pt x="195" y="156"/>
                </a:lnTo>
                <a:lnTo>
                  <a:pt x="197" y="159"/>
                </a:lnTo>
                <a:lnTo>
                  <a:pt x="198" y="160"/>
                </a:lnTo>
                <a:lnTo>
                  <a:pt x="204" y="165"/>
                </a:lnTo>
                <a:lnTo>
                  <a:pt x="210" y="166"/>
                </a:lnTo>
                <a:lnTo>
                  <a:pt x="218" y="169"/>
                </a:lnTo>
                <a:lnTo>
                  <a:pt x="222" y="172"/>
                </a:lnTo>
                <a:lnTo>
                  <a:pt x="224" y="178"/>
                </a:lnTo>
                <a:lnTo>
                  <a:pt x="226" y="181"/>
                </a:lnTo>
                <a:lnTo>
                  <a:pt x="226" y="183"/>
                </a:lnTo>
                <a:lnTo>
                  <a:pt x="229" y="180"/>
                </a:lnTo>
                <a:lnTo>
                  <a:pt x="229" y="178"/>
                </a:lnTo>
                <a:lnTo>
                  <a:pt x="231" y="175"/>
                </a:lnTo>
                <a:lnTo>
                  <a:pt x="232" y="175"/>
                </a:lnTo>
                <a:lnTo>
                  <a:pt x="235" y="173"/>
                </a:lnTo>
                <a:lnTo>
                  <a:pt x="236" y="173"/>
                </a:lnTo>
                <a:lnTo>
                  <a:pt x="237" y="172"/>
                </a:lnTo>
                <a:lnTo>
                  <a:pt x="238" y="169"/>
                </a:lnTo>
                <a:lnTo>
                  <a:pt x="237" y="168"/>
                </a:lnTo>
                <a:lnTo>
                  <a:pt x="237" y="167"/>
                </a:lnTo>
                <a:lnTo>
                  <a:pt x="238" y="166"/>
                </a:lnTo>
                <a:lnTo>
                  <a:pt x="238" y="155"/>
                </a:lnTo>
                <a:lnTo>
                  <a:pt x="241" y="151"/>
                </a:lnTo>
                <a:lnTo>
                  <a:pt x="248" y="144"/>
                </a:lnTo>
                <a:lnTo>
                  <a:pt x="250" y="143"/>
                </a:lnTo>
                <a:lnTo>
                  <a:pt x="251" y="143"/>
                </a:lnTo>
                <a:lnTo>
                  <a:pt x="257" y="145"/>
                </a:lnTo>
                <a:lnTo>
                  <a:pt x="260" y="143"/>
                </a:lnTo>
                <a:lnTo>
                  <a:pt x="260" y="141"/>
                </a:lnTo>
                <a:lnTo>
                  <a:pt x="261" y="138"/>
                </a:lnTo>
                <a:lnTo>
                  <a:pt x="263" y="136"/>
                </a:lnTo>
                <a:lnTo>
                  <a:pt x="263" y="132"/>
                </a:lnTo>
                <a:lnTo>
                  <a:pt x="266" y="131"/>
                </a:lnTo>
                <a:lnTo>
                  <a:pt x="266" y="128"/>
                </a:lnTo>
                <a:lnTo>
                  <a:pt x="265" y="128"/>
                </a:lnTo>
                <a:lnTo>
                  <a:pt x="265" y="125"/>
                </a:lnTo>
                <a:lnTo>
                  <a:pt x="263" y="123"/>
                </a:lnTo>
                <a:lnTo>
                  <a:pt x="263" y="116"/>
                </a:lnTo>
                <a:lnTo>
                  <a:pt x="265" y="116"/>
                </a:lnTo>
                <a:lnTo>
                  <a:pt x="265" y="113"/>
                </a:lnTo>
                <a:lnTo>
                  <a:pt x="263" y="111"/>
                </a:lnTo>
                <a:lnTo>
                  <a:pt x="262" y="107"/>
                </a:lnTo>
                <a:lnTo>
                  <a:pt x="263" y="104"/>
                </a:lnTo>
                <a:lnTo>
                  <a:pt x="265" y="94"/>
                </a:lnTo>
                <a:lnTo>
                  <a:pt x="265" y="93"/>
                </a:lnTo>
                <a:lnTo>
                  <a:pt x="268" y="86"/>
                </a:lnTo>
                <a:lnTo>
                  <a:pt x="268" y="85"/>
                </a:lnTo>
                <a:lnTo>
                  <a:pt x="267" y="80"/>
                </a:lnTo>
                <a:lnTo>
                  <a:pt x="268" y="77"/>
                </a:lnTo>
                <a:lnTo>
                  <a:pt x="269" y="76"/>
                </a:lnTo>
                <a:lnTo>
                  <a:pt x="269" y="71"/>
                </a:lnTo>
                <a:lnTo>
                  <a:pt x="271" y="70"/>
                </a:lnTo>
                <a:lnTo>
                  <a:pt x="269" y="69"/>
                </a:lnTo>
                <a:lnTo>
                  <a:pt x="269" y="67"/>
                </a:lnTo>
                <a:lnTo>
                  <a:pt x="272" y="64"/>
                </a:lnTo>
                <a:lnTo>
                  <a:pt x="274" y="60"/>
                </a:lnTo>
                <a:lnTo>
                  <a:pt x="274" y="57"/>
                </a:lnTo>
                <a:lnTo>
                  <a:pt x="273" y="55"/>
                </a:lnTo>
                <a:lnTo>
                  <a:pt x="273" y="54"/>
                </a:lnTo>
                <a:lnTo>
                  <a:pt x="272" y="52"/>
                </a:lnTo>
                <a:lnTo>
                  <a:pt x="273" y="51"/>
                </a:lnTo>
                <a:lnTo>
                  <a:pt x="273" y="49"/>
                </a:lnTo>
                <a:lnTo>
                  <a:pt x="275" y="46"/>
                </a:lnTo>
                <a:lnTo>
                  <a:pt x="281" y="45"/>
                </a:lnTo>
                <a:lnTo>
                  <a:pt x="282" y="44"/>
                </a:lnTo>
                <a:lnTo>
                  <a:pt x="282" y="43"/>
                </a:lnTo>
                <a:lnTo>
                  <a:pt x="284" y="43"/>
                </a:lnTo>
                <a:lnTo>
                  <a:pt x="285" y="39"/>
                </a:lnTo>
                <a:lnTo>
                  <a:pt x="287" y="34"/>
                </a:lnTo>
                <a:lnTo>
                  <a:pt x="292" y="30"/>
                </a:lnTo>
                <a:lnTo>
                  <a:pt x="293" y="27"/>
                </a:lnTo>
                <a:lnTo>
                  <a:pt x="292" y="25"/>
                </a:lnTo>
                <a:lnTo>
                  <a:pt x="293" y="24"/>
                </a:lnTo>
                <a:lnTo>
                  <a:pt x="296" y="19"/>
                </a:lnTo>
                <a:lnTo>
                  <a:pt x="297" y="19"/>
                </a:lnTo>
                <a:lnTo>
                  <a:pt x="304" y="18"/>
                </a:lnTo>
                <a:lnTo>
                  <a:pt x="306" y="18"/>
                </a:lnTo>
                <a:lnTo>
                  <a:pt x="310" y="17"/>
                </a:lnTo>
                <a:lnTo>
                  <a:pt x="315" y="19"/>
                </a:lnTo>
                <a:lnTo>
                  <a:pt x="317" y="19"/>
                </a:lnTo>
                <a:lnTo>
                  <a:pt x="319" y="21"/>
                </a:lnTo>
                <a:lnTo>
                  <a:pt x="321" y="21"/>
                </a:lnTo>
                <a:lnTo>
                  <a:pt x="329" y="18"/>
                </a:lnTo>
                <a:lnTo>
                  <a:pt x="331" y="15"/>
                </a:lnTo>
                <a:lnTo>
                  <a:pt x="330" y="15"/>
                </a:lnTo>
                <a:lnTo>
                  <a:pt x="330" y="13"/>
                </a:lnTo>
                <a:lnTo>
                  <a:pt x="332" y="13"/>
                </a:lnTo>
                <a:lnTo>
                  <a:pt x="335" y="9"/>
                </a:lnTo>
                <a:lnTo>
                  <a:pt x="340" y="7"/>
                </a:lnTo>
                <a:lnTo>
                  <a:pt x="340" y="5"/>
                </a:lnTo>
                <a:lnTo>
                  <a:pt x="342" y="2"/>
                </a:lnTo>
                <a:lnTo>
                  <a:pt x="344" y="1"/>
                </a:lnTo>
                <a:lnTo>
                  <a:pt x="349" y="2"/>
                </a:lnTo>
                <a:lnTo>
                  <a:pt x="353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4" name="Freeform 45">
            <a:extLst>
              <a:ext uri="{FF2B5EF4-FFF2-40B4-BE49-F238E27FC236}">
                <a16:creationId xmlns:a16="http://schemas.microsoft.com/office/drawing/2014/main" id="{D4F951AD-B866-47BF-96B2-26D62EB9B7CB}"/>
              </a:ext>
            </a:extLst>
          </p:cNvPr>
          <p:cNvSpPr>
            <a:spLocks noEditPoints="1"/>
          </p:cNvSpPr>
          <p:nvPr/>
        </p:nvSpPr>
        <p:spPr bwMode="auto">
          <a:xfrm>
            <a:off x="765137" y="3339659"/>
            <a:ext cx="82590" cy="130405"/>
          </a:xfrm>
          <a:custGeom>
            <a:avLst/>
            <a:gdLst/>
            <a:ahLst/>
            <a:cxnLst>
              <a:cxn ang="0">
                <a:pos x="41" y="90"/>
              </a:cxn>
              <a:cxn ang="0">
                <a:pos x="38" y="85"/>
              </a:cxn>
              <a:cxn ang="0">
                <a:pos x="35" y="84"/>
              </a:cxn>
              <a:cxn ang="0">
                <a:pos x="32" y="69"/>
              </a:cxn>
              <a:cxn ang="0">
                <a:pos x="39" y="74"/>
              </a:cxn>
              <a:cxn ang="0">
                <a:pos x="37" y="76"/>
              </a:cxn>
              <a:cxn ang="0">
                <a:pos x="40" y="82"/>
              </a:cxn>
              <a:cxn ang="0">
                <a:pos x="32" y="80"/>
              </a:cxn>
              <a:cxn ang="0">
                <a:pos x="28" y="70"/>
              </a:cxn>
              <a:cxn ang="0">
                <a:pos x="31" y="67"/>
              </a:cxn>
              <a:cxn ang="0">
                <a:pos x="37" y="45"/>
              </a:cxn>
              <a:cxn ang="0">
                <a:pos x="41" y="50"/>
              </a:cxn>
              <a:cxn ang="0">
                <a:pos x="40" y="58"/>
              </a:cxn>
              <a:cxn ang="0">
                <a:pos x="32" y="50"/>
              </a:cxn>
              <a:cxn ang="0">
                <a:pos x="2" y="25"/>
              </a:cxn>
              <a:cxn ang="0">
                <a:pos x="1" y="25"/>
              </a:cxn>
              <a:cxn ang="0">
                <a:pos x="21" y="25"/>
              </a:cxn>
              <a:cxn ang="0">
                <a:pos x="20" y="31"/>
              </a:cxn>
              <a:cxn ang="0">
                <a:pos x="17" y="30"/>
              </a:cxn>
              <a:cxn ang="0">
                <a:pos x="10" y="30"/>
              </a:cxn>
              <a:cxn ang="0">
                <a:pos x="9" y="26"/>
              </a:cxn>
              <a:cxn ang="0">
                <a:pos x="13" y="24"/>
              </a:cxn>
              <a:cxn ang="0">
                <a:pos x="57" y="8"/>
              </a:cxn>
              <a:cxn ang="0">
                <a:pos x="52" y="11"/>
              </a:cxn>
              <a:cxn ang="0">
                <a:pos x="22" y="8"/>
              </a:cxn>
              <a:cxn ang="0">
                <a:pos x="28" y="19"/>
              </a:cxn>
              <a:cxn ang="0">
                <a:pos x="34" y="26"/>
              </a:cxn>
              <a:cxn ang="0">
                <a:pos x="38" y="31"/>
              </a:cxn>
              <a:cxn ang="0">
                <a:pos x="39" y="41"/>
              </a:cxn>
              <a:cxn ang="0">
                <a:pos x="29" y="31"/>
              </a:cxn>
              <a:cxn ang="0">
                <a:pos x="26" y="25"/>
              </a:cxn>
              <a:cxn ang="0">
                <a:pos x="19" y="23"/>
              </a:cxn>
              <a:cxn ang="0">
                <a:pos x="17" y="18"/>
              </a:cxn>
              <a:cxn ang="0">
                <a:pos x="19" y="7"/>
              </a:cxn>
              <a:cxn ang="0">
                <a:pos x="31" y="8"/>
              </a:cxn>
              <a:cxn ang="0">
                <a:pos x="33" y="10"/>
              </a:cxn>
              <a:cxn ang="0">
                <a:pos x="38" y="13"/>
              </a:cxn>
              <a:cxn ang="0">
                <a:pos x="38" y="18"/>
              </a:cxn>
              <a:cxn ang="0">
                <a:pos x="41" y="23"/>
              </a:cxn>
              <a:cxn ang="0">
                <a:pos x="39" y="27"/>
              </a:cxn>
              <a:cxn ang="0">
                <a:pos x="34" y="18"/>
              </a:cxn>
              <a:cxn ang="0">
                <a:pos x="33" y="21"/>
              </a:cxn>
              <a:cxn ang="0">
                <a:pos x="26" y="14"/>
              </a:cxn>
              <a:cxn ang="0">
                <a:pos x="27" y="6"/>
              </a:cxn>
              <a:cxn ang="0">
                <a:pos x="52" y="12"/>
              </a:cxn>
              <a:cxn ang="0">
                <a:pos x="47" y="13"/>
              </a:cxn>
              <a:cxn ang="0">
                <a:pos x="51" y="19"/>
              </a:cxn>
              <a:cxn ang="0">
                <a:pos x="47" y="18"/>
              </a:cxn>
              <a:cxn ang="0">
                <a:pos x="45" y="13"/>
              </a:cxn>
              <a:cxn ang="0">
                <a:pos x="46" y="2"/>
              </a:cxn>
              <a:cxn ang="0">
                <a:pos x="44" y="10"/>
              </a:cxn>
              <a:cxn ang="0">
                <a:pos x="41" y="10"/>
              </a:cxn>
              <a:cxn ang="0">
                <a:pos x="38" y="6"/>
              </a:cxn>
              <a:cxn ang="0">
                <a:pos x="39" y="12"/>
              </a:cxn>
              <a:cxn ang="0">
                <a:pos x="35" y="4"/>
              </a:cxn>
              <a:cxn ang="0">
                <a:pos x="48" y="4"/>
              </a:cxn>
              <a:cxn ang="0">
                <a:pos x="52" y="6"/>
              </a:cxn>
              <a:cxn ang="0">
                <a:pos x="46" y="2"/>
              </a:cxn>
            </a:cxnLst>
            <a:rect l="0" t="0" r="r" b="b"/>
            <a:pathLst>
              <a:path w="57" h="90">
                <a:moveTo>
                  <a:pt x="38" y="84"/>
                </a:moveTo>
                <a:lnTo>
                  <a:pt x="40" y="84"/>
                </a:lnTo>
                <a:lnTo>
                  <a:pt x="40" y="86"/>
                </a:lnTo>
                <a:lnTo>
                  <a:pt x="41" y="87"/>
                </a:lnTo>
                <a:lnTo>
                  <a:pt x="41" y="90"/>
                </a:lnTo>
                <a:lnTo>
                  <a:pt x="40" y="90"/>
                </a:lnTo>
                <a:lnTo>
                  <a:pt x="39" y="88"/>
                </a:lnTo>
                <a:lnTo>
                  <a:pt x="38" y="86"/>
                </a:lnTo>
                <a:lnTo>
                  <a:pt x="37" y="85"/>
                </a:lnTo>
                <a:lnTo>
                  <a:pt x="38" y="85"/>
                </a:lnTo>
                <a:lnTo>
                  <a:pt x="38" y="84"/>
                </a:lnTo>
                <a:close/>
                <a:moveTo>
                  <a:pt x="35" y="84"/>
                </a:moveTo>
                <a:lnTo>
                  <a:pt x="37" y="84"/>
                </a:lnTo>
                <a:lnTo>
                  <a:pt x="37" y="85"/>
                </a:lnTo>
                <a:lnTo>
                  <a:pt x="35" y="84"/>
                </a:lnTo>
                <a:close/>
                <a:moveTo>
                  <a:pt x="31" y="67"/>
                </a:moveTo>
                <a:lnTo>
                  <a:pt x="32" y="68"/>
                </a:lnTo>
                <a:lnTo>
                  <a:pt x="31" y="68"/>
                </a:lnTo>
                <a:lnTo>
                  <a:pt x="31" y="69"/>
                </a:lnTo>
                <a:lnTo>
                  <a:pt x="32" y="69"/>
                </a:lnTo>
                <a:lnTo>
                  <a:pt x="31" y="72"/>
                </a:lnTo>
                <a:lnTo>
                  <a:pt x="34" y="72"/>
                </a:lnTo>
                <a:lnTo>
                  <a:pt x="35" y="73"/>
                </a:lnTo>
                <a:lnTo>
                  <a:pt x="38" y="73"/>
                </a:lnTo>
                <a:lnTo>
                  <a:pt x="39" y="74"/>
                </a:lnTo>
                <a:lnTo>
                  <a:pt x="39" y="75"/>
                </a:lnTo>
                <a:lnTo>
                  <a:pt x="38" y="76"/>
                </a:lnTo>
                <a:lnTo>
                  <a:pt x="37" y="75"/>
                </a:lnTo>
                <a:lnTo>
                  <a:pt x="35" y="75"/>
                </a:lnTo>
                <a:lnTo>
                  <a:pt x="37" y="76"/>
                </a:lnTo>
                <a:lnTo>
                  <a:pt x="37" y="78"/>
                </a:lnTo>
                <a:lnTo>
                  <a:pt x="39" y="78"/>
                </a:lnTo>
                <a:lnTo>
                  <a:pt x="39" y="80"/>
                </a:lnTo>
                <a:lnTo>
                  <a:pt x="40" y="81"/>
                </a:lnTo>
                <a:lnTo>
                  <a:pt x="40" y="82"/>
                </a:lnTo>
                <a:lnTo>
                  <a:pt x="38" y="82"/>
                </a:lnTo>
                <a:lnTo>
                  <a:pt x="37" y="84"/>
                </a:lnTo>
                <a:lnTo>
                  <a:pt x="35" y="82"/>
                </a:lnTo>
                <a:lnTo>
                  <a:pt x="35" y="84"/>
                </a:lnTo>
                <a:lnTo>
                  <a:pt x="32" y="80"/>
                </a:lnTo>
                <a:lnTo>
                  <a:pt x="32" y="78"/>
                </a:lnTo>
                <a:lnTo>
                  <a:pt x="31" y="76"/>
                </a:lnTo>
                <a:lnTo>
                  <a:pt x="29" y="74"/>
                </a:lnTo>
                <a:lnTo>
                  <a:pt x="29" y="72"/>
                </a:lnTo>
                <a:lnTo>
                  <a:pt x="28" y="70"/>
                </a:lnTo>
                <a:lnTo>
                  <a:pt x="28" y="69"/>
                </a:lnTo>
                <a:lnTo>
                  <a:pt x="29" y="69"/>
                </a:lnTo>
                <a:lnTo>
                  <a:pt x="29" y="68"/>
                </a:lnTo>
                <a:lnTo>
                  <a:pt x="28" y="68"/>
                </a:lnTo>
                <a:lnTo>
                  <a:pt x="31" y="67"/>
                </a:lnTo>
                <a:close/>
                <a:moveTo>
                  <a:pt x="31" y="44"/>
                </a:moveTo>
                <a:lnTo>
                  <a:pt x="33" y="44"/>
                </a:lnTo>
                <a:lnTo>
                  <a:pt x="34" y="45"/>
                </a:lnTo>
                <a:lnTo>
                  <a:pt x="35" y="44"/>
                </a:lnTo>
                <a:lnTo>
                  <a:pt x="37" y="45"/>
                </a:lnTo>
                <a:lnTo>
                  <a:pt x="37" y="47"/>
                </a:lnTo>
                <a:lnTo>
                  <a:pt x="38" y="47"/>
                </a:lnTo>
                <a:lnTo>
                  <a:pt x="40" y="48"/>
                </a:lnTo>
                <a:lnTo>
                  <a:pt x="41" y="48"/>
                </a:lnTo>
                <a:lnTo>
                  <a:pt x="41" y="50"/>
                </a:lnTo>
                <a:lnTo>
                  <a:pt x="42" y="51"/>
                </a:lnTo>
                <a:lnTo>
                  <a:pt x="42" y="57"/>
                </a:lnTo>
                <a:lnTo>
                  <a:pt x="41" y="57"/>
                </a:lnTo>
                <a:lnTo>
                  <a:pt x="41" y="58"/>
                </a:lnTo>
                <a:lnTo>
                  <a:pt x="40" y="58"/>
                </a:lnTo>
                <a:lnTo>
                  <a:pt x="38" y="53"/>
                </a:lnTo>
                <a:lnTo>
                  <a:pt x="38" y="51"/>
                </a:lnTo>
                <a:lnTo>
                  <a:pt x="33" y="51"/>
                </a:lnTo>
                <a:lnTo>
                  <a:pt x="33" y="50"/>
                </a:lnTo>
                <a:lnTo>
                  <a:pt x="32" y="50"/>
                </a:lnTo>
                <a:lnTo>
                  <a:pt x="32" y="48"/>
                </a:lnTo>
                <a:lnTo>
                  <a:pt x="31" y="45"/>
                </a:lnTo>
                <a:lnTo>
                  <a:pt x="31" y="44"/>
                </a:lnTo>
                <a:close/>
                <a:moveTo>
                  <a:pt x="1" y="25"/>
                </a:moveTo>
                <a:lnTo>
                  <a:pt x="2" y="25"/>
                </a:lnTo>
                <a:lnTo>
                  <a:pt x="3" y="26"/>
                </a:lnTo>
                <a:lnTo>
                  <a:pt x="4" y="26"/>
                </a:lnTo>
                <a:lnTo>
                  <a:pt x="3" y="27"/>
                </a:lnTo>
                <a:lnTo>
                  <a:pt x="0" y="26"/>
                </a:lnTo>
                <a:lnTo>
                  <a:pt x="1" y="25"/>
                </a:lnTo>
                <a:close/>
                <a:moveTo>
                  <a:pt x="15" y="21"/>
                </a:moveTo>
                <a:lnTo>
                  <a:pt x="17" y="21"/>
                </a:lnTo>
                <a:lnTo>
                  <a:pt x="17" y="23"/>
                </a:lnTo>
                <a:lnTo>
                  <a:pt x="19" y="23"/>
                </a:lnTo>
                <a:lnTo>
                  <a:pt x="21" y="25"/>
                </a:lnTo>
                <a:lnTo>
                  <a:pt x="21" y="26"/>
                </a:lnTo>
                <a:lnTo>
                  <a:pt x="25" y="26"/>
                </a:lnTo>
                <a:lnTo>
                  <a:pt x="25" y="30"/>
                </a:lnTo>
                <a:lnTo>
                  <a:pt x="23" y="31"/>
                </a:lnTo>
                <a:lnTo>
                  <a:pt x="20" y="31"/>
                </a:lnTo>
                <a:lnTo>
                  <a:pt x="20" y="32"/>
                </a:lnTo>
                <a:lnTo>
                  <a:pt x="21" y="32"/>
                </a:lnTo>
                <a:lnTo>
                  <a:pt x="19" y="33"/>
                </a:lnTo>
                <a:lnTo>
                  <a:pt x="19" y="31"/>
                </a:lnTo>
                <a:lnTo>
                  <a:pt x="17" y="30"/>
                </a:lnTo>
                <a:lnTo>
                  <a:pt x="17" y="32"/>
                </a:lnTo>
                <a:lnTo>
                  <a:pt x="15" y="31"/>
                </a:lnTo>
                <a:lnTo>
                  <a:pt x="13" y="31"/>
                </a:lnTo>
                <a:lnTo>
                  <a:pt x="11" y="30"/>
                </a:lnTo>
                <a:lnTo>
                  <a:pt x="10" y="30"/>
                </a:lnTo>
                <a:lnTo>
                  <a:pt x="10" y="29"/>
                </a:lnTo>
                <a:lnTo>
                  <a:pt x="14" y="29"/>
                </a:lnTo>
                <a:lnTo>
                  <a:pt x="13" y="27"/>
                </a:lnTo>
                <a:lnTo>
                  <a:pt x="10" y="27"/>
                </a:lnTo>
                <a:lnTo>
                  <a:pt x="9" y="26"/>
                </a:lnTo>
                <a:lnTo>
                  <a:pt x="8" y="24"/>
                </a:lnTo>
                <a:lnTo>
                  <a:pt x="8" y="23"/>
                </a:lnTo>
                <a:lnTo>
                  <a:pt x="9" y="23"/>
                </a:lnTo>
                <a:lnTo>
                  <a:pt x="10" y="24"/>
                </a:lnTo>
                <a:lnTo>
                  <a:pt x="13" y="24"/>
                </a:lnTo>
                <a:lnTo>
                  <a:pt x="13" y="23"/>
                </a:lnTo>
                <a:lnTo>
                  <a:pt x="14" y="23"/>
                </a:lnTo>
                <a:lnTo>
                  <a:pt x="15" y="21"/>
                </a:lnTo>
                <a:close/>
                <a:moveTo>
                  <a:pt x="56" y="8"/>
                </a:moveTo>
                <a:lnTo>
                  <a:pt x="57" y="8"/>
                </a:lnTo>
                <a:lnTo>
                  <a:pt x="56" y="11"/>
                </a:lnTo>
                <a:lnTo>
                  <a:pt x="56" y="13"/>
                </a:lnTo>
                <a:lnTo>
                  <a:pt x="53" y="13"/>
                </a:lnTo>
                <a:lnTo>
                  <a:pt x="53" y="12"/>
                </a:lnTo>
                <a:lnTo>
                  <a:pt x="52" y="11"/>
                </a:lnTo>
                <a:lnTo>
                  <a:pt x="53" y="10"/>
                </a:lnTo>
                <a:lnTo>
                  <a:pt x="56" y="8"/>
                </a:lnTo>
                <a:close/>
                <a:moveTo>
                  <a:pt x="19" y="7"/>
                </a:moveTo>
                <a:lnTo>
                  <a:pt x="19" y="8"/>
                </a:lnTo>
                <a:lnTo>
                  <a:pt x="22" y="8"/>
                </a:lnTo>
                <a:lnTo>
                  <a:pt x="25" y="11"/>
                </a:lnTo>
                <a:lnTo>
                  <a:pt x="25" y="13"/>
                </a:lnTo>
                <a:lnTo>
                  <a:pt x="27" y="17"/>
                </a:lnTo>
                <a:lnTo>
                  <a:pt x="27" y="19"/>
                </a:lnTo>
                <a:lnTo>
                  <a:pt x="28" y="19"/>
                </a:lnTo>
                <a:lnTo>
                  <a:pt x="31" y="21"/>
                </a:lnTo>
                <a:lnTo>
                  <a:pt x="33" y="23"/>
                </a:lnTo>
                <a:lnTo>
                  <a:pt x="33" y="25"/>
                </a:lnTo>
                <a:lnTo>
                  <a:pt x="32" y="26"/>
                </a:lnTo>
                <a:lnTo>
                  <a:pt x="34" y="26"/>
                </a:lnTo>
                <a:lnTo>
                  <a:pt x="35" y="27"/>
                </a:lnTo>
                <a:lnTo>
                  <a:pt x="35" y="30"/>
                </a:lnTo>
                <a:lnTo>
                  <a:pt x="33" y="30"/>
                </a:lnTo>
                <a:lnTo>
                  <a:pt x="33" y="31"/>
                </a:lnTo>
                <a:lnTo>
                  <a:pt x="38" y="31"/>
                </a:lnTo>
                <a:lnTo>
                  <a:pt x="39" y="32"/>
                </a:lnTo>
                <a:lnTo>
                  <a:pt x="38" y="33"/>
                </a:lnTo>
                <a:lnTo>
                  <a:pt x="38" y="37"/>
                </a:lnTo>
                <a:lnTo>
                  <a:pt x="39" y="37"/>
                </a:lnTo>
                <a:lnTo>
                  <a:pt x="39" y="41"/>
                </a:lnTo>
                <a:lnTo>
                  <a:pt x="38" y="42"/>
                </a:lnTo>
                <a:lnTo>
                  <a:pt x="37" y="39"/>
                </a:lnTo>
                <a:lnTo>
                  <a:pt x="33" y="36"/>
                </a:lnTo>
                <a:lnTo>
                  <a:pt x="31" y="32"/>
                </a:lnTo>
                <a:lnTo>
                  <a:pt x="29" y="31"/>
                </a:lnTo>
                <a:lnTo>
                  <a:pt x="28" y="31"/>
                </a:lnTo>
                <a:lnTo>
                  <a:pt x="28" y="27"/>
                </a:lnTo>
                <a:lnTo>
                  <a:pt x="27" y="27"/>
                </a:lnTo>
                <a:lnTo>
                  <a:pt x="27" y="26"/>
                </a:lnTo>
                <a:lnTo>
                  <a:pt x="26" y="25"/>
                </a:lnTo>
                <a:lnTo>
                  <a:pt x="22" y="25"/>
                </a:lnTo>
                <a:lnTo>
                  <a:pt x="21" y="24"/>
                </a:lnTo>
                <a:lnTo>
                  <a:pt x="21" y="21"/>
                </a:lnTo>
                <a:lnTo>
                  <a:pt x="20" y="21"/>
                </a:lnTo>
                <a:lnTo>
                  <a:pt x="19" y="23"/>
                </a:lnTo>
                <a:lnTo>
                  <a:pt x="19" y="21"/>
                </a:lnTo>
                <a:lnTo>
                  <a:pt x="17" y="20"/>
                </a:lnTo>
                <a:lnTo>
                  <a:pt x="16" y="20"/>
                </a:lnTo>
                <a:lnTo>
                  <a:pt x="16" y="18"/>
                </a:lnTo>
                <a:lnTo>
                  <a:pt x="17" y="18"/>
                </a:lnTo>
                <a:lnTo>
                  <a:pt x="17" y="14"/>
                </a:lnTo>
                <a:lnTo>
                  <a:pt x="19" y="14"/>
                </a:lnTo>
                <a:lnTo>
                  <a:pt x="17" y="13"/>
                </a:lnTo>
                <a:lnTo>
                  <a:pt x="17" y="11"/>
                </a:lnTo>
                <a:lnTo>
                  <a:pt x="19" y="7"/>
                </a:lnTo>
                <a:close/>
                <a:moveTo>
                  <a:pt x="29" y="5"/>
                </a:moveTo>
                <a:lnTo>
                  <a:pt x="29" y="6"/>
                </a:lnTo>
                <a:lnTo>
                  <a:pt x="31" y="6"/>
                </a:lnTo>
                <a:lnTo>
                  <a:pt x="32" y="7"/>
                </a:lnTo>
                <a:lnTo>
                  <a:pt x="31" y="8"/>
                </a:lnTo>
                <a:lnTo>
                  <a:pt x="29" y="8"/>
                </a:lnTo>
                <a:lnTo>
                  <a:pt x="29" y="13"/>
                </a:lnTo>
                <a:lnTo>
                  <a:pt x="31" y="14"/>
                </a:lnTo>
                <a:lnTo>
                  <a:pt x="31" y="11"/>
                </a:lnTo>
                <a:lnTo>
                  <a:pt x="33" y="10"/>
                </a:lnTo>
                <a:lnTo>
                  <a:pt x="34" y="10"/>
                </a:lnTo>
                <a:lnTo>
                  <a:pt x="35" y="11"/>
                </a:lnTo>
                <a:lnTo>
                  <a:pt x="34" y="11"/>
                </a:lnTo>
                <a:lnTo>
                  <a:pt x="38" y="12"/>
                </a:lnTo>
                <a:lnTo>
                  <a:pt x="38" y="13"/>
                </a:lnTo>
                <a:lnTo>
                  <a:pt x="37" y="14"/>
                </a:lnTo>
                <a:lnTo>
                  <a:pt x="37" y="15"/>
                </a:lnTo>
                <a:lnTo>
                  <a:pt x="39" y="15"/>
                </a:lnTo>
                <a:lnTo>
                  <a:pt x="44" y="18"/>
                </a:lnTo>
                <a:lnTo>
                  <a:pt x="38" y="18"/>
                </a:lnTo>
                <a:lnTo>
                  <a:pt x="38" y="19"/>
                </a:lnTo>
                <a:lnTo>
                  <a:pt x="44" y="21"/>
                </a:lnTo>
                <a:lnTo>
                  <a:pt x="45" y="24"/>
                </a:lnTo>
                <a:lnTo>
                  <a:pt x="42" y="23"/>
                </a:lnTo>
                <a:lnTo>
                  <a:pt x="41" y="23"/>
                </a:lnTo>
                <a:lnTo>
                  <a:pt x="44" y="25"/>
                </a:lnTo>
                <a:lnTo>
                  <a:pt x="44" y="26"/>
                </a:lnTo>
                <a:lnTo>
                  <a:pt x="41" y="26"/>
                </a:lnTo>
                <a:lnTo>
                  <a:pt x="41" y="30"/>
                </a:lnTo>
                <a:lnTo>
                  <a:pt x="39" y="27"/>
                </a:lnTo>
                <a:lnTo>
                  <a:pt x="39" y="23"/>
                </a:lnTo>
                <a:lnTo>
                  <a:pt x="38" y="21"/>
                </a:lnTo>
                <a:lnTo>
                  <a:pt x="37" y="19"/>
                </a:lnTo>
                <a:lnTo>
                  <a:pt x="35" y="18"/>
                </a:lnTo>
                <a:lnTo>
                  <a:pt x="34" y="18"/>
                </a:lnTo>
                <a:lnTo>
                  <a:pt x="37" y="20"/>
                </a:lnTo>
                <a:lnTo>
                  <a:pt x="38" y="23"/>
                </a:lnTo>
                <a:lnTo>
                  <a:pt x="38" y="26"/>
                </a:lnTo>
                <a:lnTo>
                  <a:pt x="35" y="25"/>
                </a:lnTo>
                <a:lnTo>
                  <a:pt x="33" y="21"/>
                </a:lnTo>
                <a:lnTo>
                  <a:pt x="31" y="21"/>
                </a:lnTo>
                <a:lnTo>
                  <a:pt x="31" y="20"/>
                </a:lnTo>
                <a:lnTo>
                  <a:pt x="29" y="19"/>
                </a:lnTo>
                <a:lnTo>
                  <a:pt x="28" y="19"/>
                </a:lnTo>
                <a:lnTo>
                  <a:pt x="26" y="14"/>
                </a:lnTo>
                <a:lnTo>
                  <a:pt x="25" y="10"/>
                </a:lnTo>
                <a:lnTo>
                  <a:pt x="23" y="8"/>
                </a:lnTo>
                <a:lnTo>
                  <a:pt x="23" y="7"/>
                </a:lnTo>
                <a:lnTo>
                  <a:pt x="26" y="7"/>
                </a:lnTo>
                <a:lnTo>
                  <a:pt x="27" y="6"/>
                </a:lnTo>
                <a:lnTo>
                  <a:pt x="29" y="5"/>
                </a:lnTo>
                <a:close/>
                <a:moveTo>
                  <a:pt x="46" y="2"/>
                </a:moveTo>
                <a:lnTo>
                  <a:pt x="48" y="10"/>
                </a:lnTo>
                <a:lnTo>
                  <a:pt x="50" y="11"/>
                </a:lnTo>
                <a:lnTo>
                  <a:pt x="52" y="12"/>
                </a:lnTo>
                <a:lnTo>
                  <a:pt x="52" y="13"/>
                </a:lnTo>
                <a:lnTo>
                  <a:pt x="51" y="14"/>
                </a:lnTo>
                <a:lnTo>
                  <a:pt x="48" y="13"/>
                </a:lnTo>
                <a:lnTo>
                  <a:pt x="48" y="12"/>
                </a:lnTo>
                <a:lnTo>
                  <a:pt x="47" y="13"/>
                </a:lnTo>
                <a:lnTo>
                  <a:pt x="50" y="15"/>
                </a:lnTo>
                <a:lnTo>
                  <a:pt x="51" y="15"/>
                </a:lnTo>
                <a:lnTo>
                  <a:pt x="51" y="18"/>
                </a:lnTo>
                <a:lnTo>
                  <a:pt x="52" y="18"/>
                </a:lnTo>
                <a:lnTo>
                  <a:pt x="51" y="19"/>
                </a:lnTo>
                <a:lnTo>
                  <a:pt x="50" y="19"/>
                </a:lnTo>
                <a:lnTo>
                  <a:pt x="48" y="18"/>
                </a:lnTo>
                <a:lnTo>
                  <a:pt x="47" y="15"/>
                </a:lnTo>
                <a:lnTo>
                  <a:pt x="46" y="15"/>
                </a:lnTo>
                <a:lnTo>
                  <a:pt x="47" y="18"/>
                </a:lnTo>
                <a:lnTo>
                  <a:pt x="47" y="20"/>
                </a:lnTo>
                <a:lnTo>
                  <a:pt x="46" y="19"/>
                </a:lnTo>
                <a:lnTo>
                  <a:pt x="46" y="18"/>
                </a:lnTo>
                <a:lnTo>
                  <a:pt x="44" y="15"/>
                </a:lnTo>
                <a:lnTo>
                  <a:pt x="45" y="13"/>
                </a:lnTo>
                <a:lnTo>
                  <a:pt x="46" y="13"/>
                </a:lnTo>
                <a:lnTo>
                  <a:pt x="46" y="8"/>
                </a:lnTo>
                <a:lnTo>
                  <a:pt x="45" y="6"/>
                </a:lnTo>
                <a:lnTo>
                  <a:pt x="45" y="4"/>
                </a:lnTo>
                <a:lnTo>
                  <a:pt x="46" y="2"/>
                </a:lnTo>
                <a:close/>
                <a:moveTo>
                  <a:pt x="40" y="2"/>
                </a:moveTo>
                <a:lnTo>
                  <a:pt x="41" y="2"/>
                </a:lnTo>
                <a:lnTo>
                  <a:pt x="41" y="4"/>
                </a:lnTo>
                <a:lnTo>
                  <a:pt x="44" y="8"/>
                </a:lnTo>
                <a:lnTo>
                  <a:pt x="44" y="10"/>
                </a:lnTo>
                <a:lnTo>
                  <a:pt x="45" y="11"/>
                </a:lnTo>
                <a:lnTo>
                  <a:pt x="45" y="12"/>
                </a:lnTo>
                <a:lnTo>
                  <a:pt x="42" y="12"/>
                </a:lnTo>
                <a:lnTo>
                  <a:pt x="42" y="11"/>
                </a:lnTo>
                <a:lnTo>
                  <a:pt x="41" y="10"/>
                </a:lnTo>
                <a:lnTo>
                  <a:pt x="40" y="7"/>
                </a:lnTo>
                <a:lnTo>
                  <a:pt x="40" y="2"/>
                </a:lnTo>
                <a:close/>
                <a:moveTo>
                  <a:pt x="35" y="1"/>
                </a:moveTo>
                <a:lnTo>
                  <a:pt x="37" y="2"/>
                </a:lnTo>
                <a:lnTo>
                  <a:pt x="38" y="6"/>
                </a:lnTo>
                <a:lnTo>
                  <a:pt x="41" y="12"/>
                </a:lnTo>
                <a:lnTo>
                  <a:pt x="41" y="14"/>
                </a:lnTo>
                <a:lnTo>
                  <a:pt x="40" y="14"/>
                </a:lnTo>
                <a:lnTo>
                  <a:pt x="40" y="13"/>
                </a:lnTo>
                <a:lnTo>
                  <a:pt x="39" y="12"/>
                </a:lnTo>
                <a:lnTo>
                  <a:pt x="39" y="10"/>
                </a:lnTo>
                <a:lnTo>
                  <a:pt x="38" y="8"/>
                </a:lnTo>
                <a:lnTo>
                  <a:pt x="37" y="6"/>
                </a:lnTo>
                <a:lnTo>
                  <a:pt x="37" y="5"/>
                </a:lnTo>
                <a:lnTo>
                  <a:pt x="35" y="4"/>
                </a:lnTo>
                <a:lnTo>
                  <a:pt x="35" y="1"/>
                </a:lnTo>
                <a:close/>
                <a:moveTo>
                  <a:pt x="45" y="0"/>
                </a:moveTo>
                <a:lnTo>
                  <a:pt x="47" y="0"/>
                </a:lnTo>
                <a:lnTo>
                  <a:pt x="48" y="1"/>
                </a:lnTo>
                <a:lnTo>
                  <a:pt x="48" y="4"/>
                </a:lnTo>
                <a:lnTo>
                  <a:pt x="50" y="5"/>
                </a:lnTo>
                <a:lnTo>
                  <a:pt x="50" y="7"/>
                </a:lnTo>
                <a:lnTo>
                  <a:pt x="51" y="7"/>
                </a:lnTo>
                <a:lnTo>
                  <a:pt x="51" y="6"/>
                </a:lnTo>
                <a:lnTo>
                  <a:pt x="52" y="6"/>
                </a:lnTo>
                <a:lnTo>
                  <a:pt x="52" y="10"/>
                </a:lnTo>
                <a:lnTo>
                  <a:pt x="51" y="10"/>
                </a:lnTo>
                <a:lnTo>
                  <a:pt x="47" y="6"/>
                </a:lnTo>
                <a:lnTo>
                  <a:pt x="47" y="5"/>
                </a:lnTo>
                <a:lnTo>
                  <a:pt x="46" y="2"/>
                </a:lnTo>
                <a:lnTo>
                  <a:pt x="46" y="1"/>
                </a:lnTo>
                <a:lnTo>
                  <a:pt x="45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5" name="Freeform 46">
            <a:extLst>
              <a:ext uri="{FF2B5EF4-FFF2-40B4-BE49-F238E27FC236}">
                <a16:creationId xmlns:a16="http://schemas.microsoft.com/office/drawing/2014/main" id="{F795624E-BF54-48A4-BBA9-077FACBEFA86}"/>
              </a:ext>
            </a:extLst>
          </p:cNvPr>
          <p:cNvSpPr>
            <a:spLocks noEditPoints="1"/>
          </p:cNvSpPr>
          <p:nvPr/>
        </p:nvSpPr>
        <p:spPr bwMode="auto">
          <a:xfrm>
            <a:off x="2566170" y="3684507"/>
            <a:ext cx="389765" cy="253565"/>
          </a:xfrm>
          <a:custGeom>
            <a:avLst/>
            <a:gdLst/>
            <a:ahLst/>
            <a:cxnLst>
              <a:cxn ang="0">
                <a:pos x="91" y="127"/>
              </a:cxn>
              <a:cxn ang="0">
                <a:pos x="34" y="89"/>
              </a:cxn>
              <a:cxn ang="0">
                <a:pos x="55" y="93"/>
              </a:cxn>
              <a:cxn ang="0">
                <a:pos x="58" y="100"/>
              </a:cxn>
              <a:cxn ang="0">
                <a:pos x="53" y="105"/>
              </a:cxn>
              <a:cxn ang="0">
                <a:pos x="41" y="114"/>
              </a:cxn>
              <a:cxn ang="0">
                <a:pos x="31" y="115"/>
              </a:cxn>
              <a:cxn ang="0">
                <a:pos x="18" y="129"/>
              </a:cxn>
              <a:cxn ang="0">
                <a:pos x="6" y="137"/>
              </a:cxn>
              <a:cxn ang="0">
                <a:pos x="15" y="124"/>
              </a:cxn>
              <a:cxn ang="0">
                <a:pos x="3" y="111"/>
              </a:cxn>
              <a:cxn ang="0">
                <a:pos x="4" y="101"/>
              </a:cxn>
              <a:cxn ang="0">
                <a:pos x="10" y="99"/>
              </a:cxn>
              <a:cxn ang="0">
                <a:pos x="21" y="89"/>
              </a:cxn>
              <a:cxn ang="0">
                <a:pos x="66" y="92"/>
              </a:cxn>
              <a:cxn ang="0">
                <a:pos x="55" y="86"/>
              </a:cxn>
              <a:cxn ang="0">
                <a:pos x="65" y="52"/>
              </a:cxn>
              <a:cxn ang="0">
                <a:pos x="56" y="57"/>
              </a:cxn>
              <a:cxn ang="0">
                <a:pos x="35" y="49"/>
              </a:cxn>
              <a:cxn ang="0">
                <a:pos x="49" y="62"/>
              </a:cxn>
              <a:cxn ang="0">
                <a:pos x="46" y="68"/>
              </a:cxn>
              <a:cxn ang="0">
                <a:pos x="40" y="71"/>
              </a:cxn>
              <a:cxn ang="0">
                <a:pos x="28" y="80"/>
              </a:cxn>
              <a:cxn ang="0">
                <a:pos x="22" y="64"/>
              </a:cxn>
              <a:cxn ang="0">
                <a:pos x="28" y="53"/>
              </a:cxn>
              <a:cxn ang="0">
                <a:pos x="112" y="7"/>
              </a:cxn>
              <a:cxn ang="0">
                <a:pos x="165" y="4"/>
              </a:cxn>
              <a:cxn ang="0">
                <a:pos x="171" y="4"/>
              </a:cxn>
              <a:cxn ang="0">
                <a:pos x="192" y="8"/>
              </a:cxn>
              <a:cxn ang="0">
                <a:pos x="214" y="18"/>
              </a:cxn>
              <a:cxn ang="0">
                <a:pos x="261" y="20"/>
              </a:cxn>
              <a:cxn ang="0">
                <a:pos x="268" y="27"/>
              </a:cxn>
              <a:cxn ang="0">
                <a:pos x="257" y="35"/>
              </a:cxn>
              <a:cxn ang="0">
                <a:pos x="237" y="80"/>
              </a:cxn>
              <a:cxn ang="0">
                <a:pos x="245" y="138"/>
              </a:cxn>
              <a:cxn ang="0">
                <a:pos x="239" y="154"/>
              </a:cxn>
              <a:cxn ang="0">
                <a:pos x="232" y="168"/>
              </a:cxn>
              <a:cxn ang="0">
                <a:pos x="214" y="167"/>
              </a:cxn>
              <a:cxn ang="0">
                <a:pos x="200" y="174"/>
              </a:cxn>
              <a:cxn ang="0">
                <a:pos x="181" y="157"/>
              </a:cxn>
              <a:cxn ang="0">
                <a:pos x="164" y="144"/>
              </a:cxn>
              <a:cxn ang="0">
                <a:pos x="150" y="133"/>
              </a:cxn>
              <a:cxn ang="0">
                <a:pos x="143" y="137"/>
              </a:cxn>
              <a:cxn ang="0">
                <a:pos x="126" y="137"/>
              </a:cxn>
              <a:cxn ang="0">
                <a:pos x="107" y="145"/>
              </a:cxn>
              <a:cxn ang="0">
                <a:pos x="112" y="113"/>
              </a:cxn>
              <a:cxn ang="0">
                <a:pos x="103" y="110"/>
              </a:cxn>
              <a:cxn ang="0">
                <a:pos x="95" y="114"/>
              </a:cxn>
              <a:cxn ang="0">
                <a:pos x="80" y="102"/>
              </a:cxn>
              <a:cxn ang="0">
                <a:pos x="72" y="88"/>
              </a:cxn>
              <a:cxn ang="0">
                <a:pos x="72" y="77"/>
              </a:cxn>
              <a:cxn ang="0">
                <a:pos x="83" y="74"/>
              </a:cxn>
              <a:cxn ang="0">
                <a:pos x="74" y="70"/>
              </a:cxn>
              <a:cxn ang="0">
                <a:pos x="68" y="59"/>
              </a:cxn>
              <a:cxn ang="0">
                <a:pos x="74" y="56"/>
              </a:cxn>
              <a:cxn ang="0">
                <a:pos x="72" y="47"/>
              </a:cxn>
              <a:cxn ang="0">
                <a:pos x="82" y="34"/>
              </a:cxn>
              <a:cxn ang="0">
                <a:pos x="96" y="32"/>
              </a:cxn>
              <a:cxn ang="0">
                <a:pos x="101" y="20"/>
              </a:cxn>
              <a:cxn ang="0">
                <a:pos x="116" y="16"/>
              </a:cxn>
              <a:cxn ang="0">
                <a:pos x="124" y="18"/>
              </a:cxn>
              <a:cxn ang="0">
                <a:pos x="132" y="13"/>
              </a:cxn>
              <a:cxn ang="0">
                <a:pos x="153" y="10"/>
              </a:cxn>
            </a:cxnLst>
            <a:rect l="0" t="0" r="r" b="b"/>
            <a:pathLst>
              <a:path w="269" h="175">
                <a:moveTo>
                  <a:pt x="58" y="150"/>
                </a:moveTo>
                <a:lnTo>
                  <a:pt x="60" y="150"/>
                </a:lnTo>
                <a:lnTo>
                  <a:pt x="60" y="153"/>
                </a:lnTo>
                <a:lnTo>
                  <a:pt x="59" y="153"/>
                </a:lnTo>
                <a:lnTo>
                  <a:pt x="58" y="151"/>
                </a:lnTo>
                <a:lnTo>
                  <a:pt x="58" y="150"/>
                </a:lnTo>
                <a:close/>
                <a:moveTo>
                  <a:pt x="90" y="123"/>
                </a:moveTo>
                <a:lnTo>
                  <a:pt x="93" y="124"/>
                </a:lnTo>
                <a:lnTo>
                  <a:pt x="93" y="125"/>
                </a:lnTo>
                <a:lnTo>
                  <a:pt x="91" y="127"/>
                </a:lnTo>
                <a:lnTo>
                  <a:pt x="90" y="127"/>
                </a:lnTo>
                <a:lnTo>
                  <a:pt x="89" y="126"/>
                </a:lnTo>
                <a:lnTo>
                  <a:pt x="89" y="124"/>
                </a:lnTo>
                <a:lnTo>
                  <a:pt x="90" y="123"/>
                </a:lnTo>
                <a:close/>
                <a:moveTo>
                  <a:pt x="32" y="84"/>
                </a:moveTo>
                <a:lnTo>
                  <a:pt x="32" y="86"/>
                </a:lnTo>
                <a:lnTo>
                  <a:pt x="33" y="87"/>
                </a:lnTo>
                <a:lnTo>
                  <a:pt x="33" y="88"/>
                </a:lnTo>
                <a:lnTo>
                  <a:pt x="34" y="88"/>
                </a:lnTo>
                <a:lnTo>
                  <a:pt x="34" y="89"/>
                </a:lnTo>
                <a:lnTo>
                  <a:pt x="35" y="88"/>
                </a:lnTo>
                <a:lnTo>
                  <a:pt x="39" y="88"/>
                </a:lnTo>
                <a:lnTo>
                  <a:pt x="41" y="86"/>
                </a:lnTo>
                <a:lnTo>
                  <a:pt x="43" y="87"/>
                </a:lnTo>
                <a:lnTo>
                  <a:pt x="45" y="86"/>
                </a:lnTo>
                <a:lnTo>
                  <a:pt x="46" y="86"/>
                </a:lnTo>
                <a:lnTo>
                  <a:pt x="49" y="88"/>
                </a:lnTo>
                <a:lnTo>
                  <a:pt x="53" y="90"/>
                </a:lnTo>
                <a:lnTo>
                  <a:pt x="55" y="92"/>
                </a:lnTo>
                <a:lnTo>
                  <a:pt x="55" y="93"/>
                </a:lnTo>
                <a:lnTo>
                  <a:pt x="57" y="95"/>
                </a:lnTo>
                <a:lnTo>
                  <a:pt x="60" y="95"/>
                </a:lnTo>
                <a:lnTo>
                  <a:pt x="63" y="98"/>
                </a:lnTo>
                <a:lnTo>
                  <a:pt x="63" y="100"/>
                </a:lnTo>
                <a:lnTo>
                  <a:pt x="60" y="99"/>
                </a:lnTo>
                <a:lnTo>
                  <a:pt x="59" y="99"/>
                </a:lnTo>
                <a:lnTo>
                  <a:pt x="60" y="100"/>
                </a:lnTo>
                <a:lnTo>
                  <a:pt x="60" y="101"/>
                </a:lnTo>
                <a:lnTo>
                  <a:pt x="59" y="100"/>
                </a:lnTo>
                <a:lnTo>
                  <a:pt x="58" y="100"/>
                </a:lnTo>
                <a:lnTo>
                  <a:pt x="58" y="99"/>
                </a:lnTo>
                <a:lnTo>
                  <a:pt x="57" y="99"/>
                </a:lnTo>
                <a:lnTo>
                  <a:pt x="57" y="98"/>
                </a:lnTo>
                <a:lnTo>
                  <a:pt x="56" y="98"/>
                </a:lnTo>
                <a:lnTo>
                  <a:pt x="56" y="100"/>
                </a:lnTo>
                <a:lnTo>
                  <a:pt x="55" y="101"/>
                </a:lnTo>
                <a:lnTo>
                  <a:pt x="53" y="101"/>
                </a:lnTo>
                <a:lnTo>
                  <a:pt x="52" y="102"/>
                </a:lnTo>
                <a:lnTo>
                  <a:pt x="53" y="102"/>
                </a:lnTo>
                <a:lnTo>
                  <a:pt x="53" y="105"/>
                </a:lnTo>
                <a:lnTo>
                  <a:pt x="52" y="105"/>
                </a:lnTo>
                <a:lnTo>
                  <a:pt x="50" y="107"/>
                </a:lnTo>
                <a:lnTo>
                  <a:pt x="49" y="105"/>
                </a:lnTo>
                <a:lnTo>
                  <a:pt x="47" y="105"/>
                </a:lnTo>
                <a:lnTo>
                  <a:pt x="47" y="106"/>
                </a:lnTo>
                <a:lnTo>
                  <a:pt x="49" y="107"/>
                </a:lnTo>
                <a:lnTo>
                  <a:pt x="44" y="112"/>
                </a:lnTo>
                <a:lnTo>
                  <a:pt x="43" y="112"/>
                </a:lnTo>
                <a:lnTo>
                  <a:pt x="41" y="113"/>
                </a:lnTo>
                <a:lnTo>
                  <a:pt x="41" y="114"/>
                </a:lnTo>
                <a:lnTo>
                  <a:pt x="38" y="114"/>
                </a:lnTo>
                <a:lnTo>
                  <a:pt x="37" y="115"/>
                </a:lnTo>
                <a:lnTo>
                  <a:pt x="39" y="117"/>
                </a:lnTo>
                <a:lnTo>
                  <a:pt x="38" y="118"/>
                </a:lnTo>
                <a:lnTo>
                  <a:pt x="35" y="118"/>
                </a:lnTo>
                <a:lnTo>
                  <a:pt x="34" y="117"/>
                </a:lnTo>
                <a:lnTo>
                  <a:pt x="34" y="115"/>
                </a:lnTo>
                <a:lnTo>
                  <a:pt x="32" y="115"/>
                </a:lnTo>
                <a:lnTo>
                  <a:pt x="31" y="117"/>
                </a:lnTo>
                <a:lnTo>
                  <a:pt x="31" y="115"/>
                </a:lnTo>
                <a:lnTo>
                  <a:pt x="29" y="115"/>
                </a:lnTo>
                <a:lnTo>
                  <a:pt x="29" y="118"/>
                </a:lnTo>
                <a:lnTo>
                  <a:pt x="28" y="118"/>
                </a:lnTo>
                <a:lnTo>
                  <a:pt x="28" y="117"/>
                </a:lnTo>
                <a:lnTo>
                  <a:pt x="26" y="117"/>
                </a:lnTo>
                <a:lnTo>
                  <a:pt x="26" y="118"/>
                </a:lnTo>
                <a:lnTo>
                  <a:pt x="22" y="118"/>
                </a:lnTo>
                <a:lnTo>
                  <a:pt x="19" y="121"/>
                </a:lnTo>
                <a:lnTo>
                  <a:pt x="19" y="126"/>
                </a:lnTo>
                <a:lnTo>
                  <a:pt x="18" y="129"/>
                </a:lnTo>
                <a:lnTo>
                  <a:pt x="16" y="132"/>
                </a:lnTo>
                <a:lnTo>
                  <a:pt x="16" y="133"/>
                </a:lnTo>
                <a:lnTo>
                  <a:pt x="15" y="133"/>
                </a:lnTo>
                <a:lnTo>
                  <a:pt x="15" y="137"/>
                </a:lnTo>
                <a:lnTo>
                  <a:pt x="9" y="143"/>
                </a:lnTo>
                <a:lnTo>
                  <a:pt x="8" y="143"/>
                </a:lnTo>
                <a:lnTo>
                  <a:pt x="7" y="141"/>
                </a:lnTo>
                <a:lnTo>
                  <a:pt x="7" y="138"/>
                </a:lnTo>
                <a:lnTo>
                  <a:pt x="6" y="138"/>
                </a:lnTo>
                <a:lnTo>
                  <a:pt x="6" y="137"/>
                </a:lnTo>
                <a:lnTo>
                  <a:pt x="7" y="137"/>
                </a:lnTo>
                <a:lnTo>
                  <a:pt x="8" y="135"/>
                </a:lnTo>
                <a:lnTo>
                  <a:pt x="9" y="131"/>
                </a:lnTo>
                <a:lnTo>
                  <a:pt x="10" y="130"/>
                </a:lnTo>
                <a:lnTo>
                  <a:pt x="10" y="129"/>
                </a:lnTo>
                <a:lnTo>
                  <a:pt x="12" y="129"/>
                </a:lnTo>
                <a:lnTo>
                  <a:pt x="13" y="130"/>
                </a:lnTo>
                <a:lnTo>
                  <a:pt x="14" y="129"/>
                </a:lnTo>
                <a:lnTo>
                  <a:pt x="14" y="126"/>
                </a:lnTo>
                <a:lnTo>
                  <a:pt x="15" y="124"/>
                </a:lnTo>
                <a:lnTo>
                  <a:pt x="15" y="123"/>
                </a:lnTo>
                <a:lnTo>
                  <a:pt x="13" y="123"/>
                </a:lnTo>
                <a:lnTo>
                  <a:pt x="10" y="121"/>
                </a:lnTo>
                <a:lnTo>
                  <a:pt x="9" y="121"/>
                </a:lnTo>
                <a:lnTo>
                  <a:pt x="8" y="117"/>
                </a:lnTo>
                <a:lnTo>
                  <a:pt x="4" y="117"/>
                </a:lnTo>
                <a:lnTo>
                  <a:pt x="1" y="113"/>
                </a:lnTo>
                <a:lnTo>
                  <a:pt x="1" y="111"/>
                </a:lnTo>
                <a:lnTo>
                  <a:pt x="3" y="112"/>
                </a:lnTo>
                <a:lnTo>
                  <a:pt x="3" y="111"/>
                </a:lnTo>
                <a:lnTo>
                  <a:pt x="2" y="110"/>
                </a:lnTo>
                <a:lnTo>
                  <a:pt x="2" y="108"/>
                </a:lnTo>
                <a:lnTo>
                  <a:pt x="3" y="108"/>
                </a:lnTo>
                <a:lnTo>
                  <a:pt x="4" y="110"/>
                </a:lnTo>
                <a:lnTo>
                  <a:pt x="4" y="111"/>
                </a:lnTo>
                <a:lnTo>
                  <a:pt x="6" y="110"/>
                </a:lnTo>
                <a:lnTo>
                  <a:pt x="6" y="107"/>
                </a:lnTo>
                <a:lnTo>
                  <a:pt x="7" y="107"/>
                </a:lnTo>
                <a:lnTo>
                  <a:pt x="7" y="105"/>
                </a:lnTo>
                <a:lnTo>
                  <a:pt x="4" y="101"/>
                </a:lnTo>
                <a:lnTo>
                  <a:pt x="4" y="100"/>
                </a:lnTo>
                <a:lnTo>
                  <a:pt x="0" y="95"/>
                </a:lnTo>
                <a:lnTo>
                  <a:pt x="2" y="96"/>
                </a:lnTo>
                <a:lnTo>
                  <a:pt x="3" y="96"/>
                </a:lnTo>
                <a:lnTo>
                  <a:pt x="3" y="95"/>
                </a:lnTo>
                <a:lnTo>
                  <a:pt x="4" y="94"/>
                </a:lnTo>
                <a:lnTo>
                  <a:pt x="6" y="94"/>
                </a:lnTo>
                <a:lnTo>
                  <a:pt x="7" y="95"/>
                </a:lnTo>
                <a:lnTo>
                  <a:pt x="8" y="95"/>
                </a:lnTo>
                <a:lnTo>
                  <a:pt x="10" y="99"/>
                </a:lnTo>
                <a:lnTo>
                  <a:pt x="10" y="102"/>
                </a:lnTo>
                <a:lnTo>
                  <a:pt x="12" y="101"/>
                </a:lnTo>
                <a:lnTo>
                  <a:pt x="12" y="96"/>
                </a:lnTo>
                <a:lnTo>
                  <a:pt x="15" y="93"/>
                </a:lnTo>
                <a:lnTo>
                  <a:pt x="15" y="92"/>
                </a:lnTo>
                <a:lnTo>
                  <a:pt x="16" y="92"/>
                </a:lnTo>
                <a:lnTo>
                  <a:pt x="16" y="95"/>
                </a:lnTo>
                <a:lnTo>
                  <a:pt x="19" y="95"/>
                </a:lnTo>
                <a:lnTo>
                  <a:pt x="19" y="90"/>
                </a:lnTo>
                <a:lnTo>
                  <a:pt x="21" y="89"/>
                </a:lnTo>
                <a:lnTo>
                  <a:pt x="27" y="88"/>
                </a:lnTo>
                <a:lnTo>
                  <a:pt x="31" y="86"/>
                </a:lnTo>
                <a:lnTo>
                  <a:pt x="32" y="84"/>
                </a:lnTo>
                <a:close/>
                <a:moveTo>
                  <a:pt x="56" y="81"/>
                </a:moveTo>
                <a:lnTo>
                  <a:pt x="58" y="81"/>
                </a:lnTo>
                <a:lnTo>
                  <a:pt x="62" y="82"/>
                </a:lnTo>
                <a:lnTo>
                  <a:pt x="64" y="84"/>
                </a:lnTo>
                <a:lnTo>
                  <a:pt x="64" y="88"/>
                </a:lnTo>
                <a:lnTo>
                  <a:pt x="66" y="90"/>
                </a:lnTo>
                <a:lnTo>
                  <a:pt x="66" y="92"/>
                </a:lnTo>
                <a:lnTo>
                  <a:pt x="65" y="92"/>
                </a:lnTo>
                <a:lnTo>
                  <a:pt x="65" y="93"/>
                </a:lnTo>
                <a:lnTo>
                  <a:pt x="63" y="93"/>
                </a:lnTo>
                <a:lnTo>
                  <a:pt x="63" y="92"/>
                </a:lnTo>
                <a:lnTo>
                  <a:pt x="60" y="92"/>
                </a:lnTo>
                <a:lnTo>
                  <a:pt x="59" y="93"/>
                </a:lnTo>
                <a:lnTo>
                  <a:pt x="55" y="89"/>
                </a:lnTo>
                <a:lnTo>
                  <a:pt x="52" y="87"/>
                </a:lnTo>
                <a:lnTo>
                  <a:pt x="52" y="86"/>
                </a:lnTo>
                <a:lnTo>
                  <a:pt x="55" y="86"/>
                </a:lnTo>
                <a:lnTo>
                  <a:pt x="55" y="82"/>
                </a:lnTo>
                <a:lnTo>
                  <a:pt x="56" y="81"/>
                </a:lnTo>
                <a:close/>
                <a:moveTo>
                  <a:pt x="26" y="56"/>
                </a:moveTo>
                <a:lnTo>
                  <a:pt x="27" y="57"/>
                </a:lnTo>
                <a:lnTo>
                  <a:pt x="26" y="57"/>
                </a:lnTo>
                <a:lnTo>
                  <a:pt x="26" y="56"/>
                </a:lnTo>
                <a:close/>
                <a:moveTo>
                  <a:pt x="56" y="51"/>
                </a:moveTo>
                <a:lnTo>
                  <a:pt x="58" y="51"/>
                </a:lnTo>
                <a:lnTo>
                  <a:pt x="60" y="52"/>
                </a:lnTo>
                <a:lnTo>
                  <a:pt x="65" y="52"/>
                </a:lnTo>
                <a:lnTo>
                  <a:pt x="65" y="55"/>
                </a:lnTo>
                <a:lnTo>
                  <a:pt x="66" y="56"/>
                </a:lnTo>
                <a:lnTo>
                  <a:pt x="65" y="57"/>
                </a:lnTo>
                <a:lnTo>
                  <a:pt x="64" y="57"/>
                </a:lnTo>
                <a:lnTo>
                  <a:pt x="64" y="56"/>
                </a:lnTo>
                <a:lnTo>
                  <a:pt x="63" y="57"/>
                </a:lnTo>
                <a:lnTo>
                  <a:pt x="59" y="57"/>
                </a:lnTo>
                <a:lnTo>
                  <a:pt x="59" y="56"/>
                </a:lnTo>
                <a:lnTo>
                  <a:pt x="57" y="58"/>
                </a:lnTo>
                <a:lnTo>
                  <a:pt x="56" y="57"/>
                </a:lnTo>
                <a:lnTo>
                  <a:pt x="55" y="53"/>
                </a:lnTo>
                <a:lnTo>
                  <a:pt x="55" y="52"/>
                </a:lnTo>
                <a:lnTo>
                  <a:pt x="56" y="51"/>
                </a:lnTo>
                <a:close/>
                <a:moveTo>
                  <a:pt x="74" y="49"/>
                </a:moveTo>
                <a:lnTo>
                  <a:pt x="74" y="50"/>
                </a:lnTo>
                <a:lnTo>
                  <a:pt x="76" y="51"/>
                </a:lnTo>
                <a:lnTo>
                  <a:pt x="74" y="49"/>
                </a:lnTo>
                <a:close/>
                <a:moveTo>
                  <a:pt x="32" y="47"/>
                </a:moveTo>
                <a:lnTo>
                  <a:pt x="34" y="47"/>
                </a:lnTo>
                <a:lnTo>
                  <a:pt x="35" y="49"/>
                </a:lnTo>
                <a:lnTo>
                  <a:pt x="37" y="49"/>
                </a:lnTo>
                <a:lnTo>
                  <a:pt x="38" y="50"/>
                </a:lnTo>
                <a:lnTo>
                  <a:pt x="37" y="52"/>
                </a:lnTo>
                <a:lnTo>
                  <a:pt x="37" y="53"/>
                </a:lnTo>
                <a:lnTo>
                  <a:pt x="38" y="55"/>
                </a:lnTo>
                <a:lnTo>
                  <a:pt x="43" y="55"/>
                </a:lnTo>
                <a:lnTo>
                  <a:pt x="46" y="56"/>
                </a:lnTo>
                <a:lnTo>
                  <a:pt x="47" y="57"/>
                </a:lnTo>
                <a:lnTo>
                  <a:pt x="47" y="61"/>
                </a:lnTo>
                <a:lnTo>
                  <a:pt x="49" y="62"/>
                </a:lnTo>
                <a:lnTo>
                  <a:pt x="49" y="63"/>
                </a:lnTo>
                <a:lnTo>
                  <a:pt x="50" y="63"/>
                </a:lnTo>
                <a:lnTo>
                  <a:pt x="50" y="67"/>
                </a:lnTo>
                <a:lnTo>
                  <a:pt x="51" y="67"/>
                </a:lnTo>
                <a:lnTo>
                  <a:pt x="51" y="69"/>
                </a:lnTo>
                <a:lnTo>
                  <a:pt x="50" y="69"/>
                </a:lnTo>
                <a:lnTo>
                  <a:pt x="49" y="68"/>
                </a:lnTo>
                <a:lnTo>
                  <a:pt x="47" y="68"/>
                </a:lnTo>
                <a:lnTo>
                  <a:pt x="47" y="69"/>
                </a:lnTo>
                <a:lnTo>
                  <a:pt x="46" y="68"/>
                </a:lnTo>
                <a:lnTo>
                  <a:pt x="46" y="69"/>
                </a:lnTo>
                <a:lnTo>
                  <a:pt x="44" y="69"/>
                </a:lnTo>
                <a:lnTo>
                  <a:pt x="44" y="70"/>
                </a:lnTo>
                <a:lnTo>
                  <a:pt x="45" y="70"/>
                </a:lnTo>
                <a:lnTo>
                  <a:pt x="45" y="72"/>
                </a:lnTo>
                <a:lnTo>
                  <a:pt x="44" y="72"/>
                </a:lnTo>
                <a:lnTo>
                  <a:pt x="43" y="74"/>
                </a:lnTo>
                <a:lnTo>
                  <a:pt x="41" y="74"/>
                </a:lnTo>
                <a:lnTo>
                  <a:pt x="40" y="72"/>
                </a:lnTo>
                <a:lnTo>
                  <a:pt x="40" y="71"/>
                </a:lnTo>
                <a:lnTo>
                  <a:pt x="41" y="70"/>
                </a:lnTo>
                <a:lnTo>
                  <a:pt x="43" y="70"/>
                </a:lnTo>
                <a:lnTo>
                  <a:pt x="41" y="69"/>
                </a:lnTo>
                <a:lnTo>
                  <a:pt x="40" y="69"/>
                </a:lnTo>
                <a:lnTo>
                  <a:pt x="38" y="71"/>
                </a:lnTo>
                <a:lnTo>
                  <a:pt x="38" y="72"/>
                </a:lnTo>
                <a:lnTo>
                  <a:pt x="34" y="80"/>
                </a:lnTo>
                <a:lnTo>
                  <a:pt x="33" y="81"/>
                </a:lnTo>
                <a:lnTo>
                  <a:pt x="31" y="81"/>
                </a:lnTo>
                <a:lnTo>
                  <a:pt x="28" y="80"/>
                </a:lnTo>
                <a:lnTo>
                  <a:pt x="27" y="78"/>
                </a:lnTo>
                <a:lnTo>
                  <a:pt x="27" y="77"/>
                </a:lnTo>
                <a:lnTo>
                  <a:pt x="28" y="76"/>
                </a:lnTo>
                <a:lnTo>
                  <a:pt x="27" y="76"/>
                </a:lnTo>
                <a:lnTo>
                  <a:pt x="27" y="74"/>
                </a:lnTo>
                <a:lnTo>
                  <a:pt x="26" y="72"/>
                </a:lnTo>
                <a:lnTo>
                  <a:pt x="26" y="68"/>
                </a:lnTo>
                <a:lnTo>
                  <a:pt x="25" y="67"/>
                </a:lnTo>
                <a:lnTo>
                  <a:pt x="24" y="64"/>
                </a:lnTo>
                <a:lnTo>
                  <a:pt x="22" y="64"/>
                </a:lnTo>
                <a:lnTo>
                  <a:pt x="21" y="63"/>
                </a:lnTo>
                <a:lnTo>
                  <a:pt x="20" y="64"/>
                </a:lnTo>
                <a:lnTo>
                  <a:pt x="15" y="64"/>
                </a:lnTo>
                <a:lnTo>
                  <a:pt x="9" y="61"/>
                </a:lnTo>
                <a:lnTo>
                  <a:pt x="9" y="59"/>
                </a:lnTo>
                <a:lnTo>
                  <a:pt x="12" y="58"/>
                </a:lnTo>
                <a:lnTo>
                  <a:pt x="14" y="59"/>
                </a:lnTo>
                <a:lnTo>
                  <a:pt x="27" y="57"/>
                </a:lnTo>
                <a:lnTo>
                  <a:pt x="28" y="57"/>
                </a:lnTo>
                <a:lnTo>
                  <a:pt x="28" y="53"/>
                </a:lnTo>
                <a:lnTo>
                  <a:pt x="29" y="53"/>
                </a:lnTo>
                <a:lnTo>
                  <a:pt x="32" y="51"/>
                </a:lnTo>
                <a:lnTo>
                  <a:pt x="32" y="47"/>
                </a:lnTo>
                <a:close/>
                <a:moveTo>
                  <a:pt x="113" y="6"/>
                </a:moveTo>
                <a:lnTo>
                  <a:pt x="114" y="7"/>
                </a:lnTo>
                <a:lnTo>
                  <a:pt x="115" y="9"/>
                </a:lnTo>
                <a:lnTo>
                  <a:pt x="114" y="9"/>
                </a:lnTo>
                <a:lnTo>
                  <a:pt x="113" y="10"/>
                </a:lnTo>
                <a:lnTo>
                  <a:pt x="112" y="9"/>
                </a:lnTo>
                <a:lnTo>
                  <a:pt x="112" y="7"/>
                </a:lnTo>
                <a:lnTo>
                  <a:pt x="113" y="6"/>
                </a:lnTo>
                <a:close/>
                <a:moveTo>
                  <a:pt x="156" y="0"/>
                </a:moveTo>
                <a:lnTo>
                  <a:pt x="157" y="0"/>
                </a:lnTo>
                <a:lnTo>
                  <a:pt x="158" y="3"/>
                </a:lnTo>
                <a:lnTo>
                  <a:pt x="159" y="4"/>
                </a:lnTo>
                <a:lnTo>
                  <a:pt x="161" y="4"/>
                </a:lnTo>
                <a:lnTo>
                  <a:pt x="162" y="7"/>
                </a:lnTo>
                <a:lnTo>
                  <a:pt x="163" y="8"/>
                </a:lnTo>
                <a:lnTo>
                  <a:pt x="165" y="8"/>
                </a:lnTo>
                <a:lnTo>
                  <a:pt x="165" y="4"/>
                </a:lnTo>
                <a:lnTo>
                  <a:pt x="164" y="4"/>
                </a:lnTo>
                <a:lnTo>
                  <a:pt x="164" y="0"/>
                </a:lnTo>
                <a:lnTo>
                  <a:pt x="165" y="0"/>
                </a:lnTo>
                <a:lnTo>
                  <a:pt x="168" y="2"/>
                </a:lnTo>
                <a:lnTo>
                  <a:pt x="168" y="3"/>
                </a:lnTo>
                <a:lnTo>
                  <a:pt x="169" y="4"/>
                </a:lnTo>
                <a:lnTo>
                  <a:pt x="169" y="7"/>
                </a:lnTo>
                <a:lnTo>
                  <a:pt x="170" y="8"/>
                </a:lnTo>
                <a:lnTo>
                  <a:pt x="173" y="6"/>
                </a:lnTo>
                <a:lnTo>
                  <a:pt x="171" y="4"/>
                </a:lnTo>
                <a:lnTo>
                  <a:pt x="173" y="3"/>
                </a:lnTo>
                <a:lnTo>
                  <a:pt x="174" y="3"/>
                </a:lnTo>
                <a:lnTo>
                  <a:pt x="175" y="6"/>
                </a:lnTo>
                <a:lnTo>
                  <a:pt x="176" y="6"/>
                </a:lnTo>
                <a:lnTo>
                  <a:pt x="176" y="3"/>
                </a:lnTo>
                <a:lnTo>
                  <a:pt x="178" y="3"/>
                </a:lnTo>
                <a:lnTo>
                  <a:pt x="181" y="6"/>
                </a:lnTo>
                <a:lnTo>
                  <a:pt x="181" y="7"/>
                </a:lnTo>
                <a:lnTo>
                  <a:pt x="190" y="7"/>
                </a:lnTo>
                <a:lnTo>
                  <a:pt x="192" y="8"/>
                </a:lnTo>
                <a:lnTo>
                  <a:pt x="196" y="10"/>
                </a:lnTo>
                <a:lnTo>
                  <a:pt x="199" y="10"/>
                </a:lnTo>
                <a:lnTo>
                  <a:pt x="199" y="12"/>
                </a:lnTo>
                <a:lnTo>
                  <a:pt x="201" y="9"/>
                </a:lnTo>
                <a:lnTo>
                  <a:pt x="203" y="9"/>
                </a:lnTo>
                <a:lnTo>
                  <a:pt x="206" y="10"/>
                </a:lnTo>
                <a:lnTo>
                  <a:pt x="208" y="13"/>
                </a:lnTo>
                <a:lnTo>
                  <a:pt x="211" y="14"/>
                </a:lnTo>
                <a:lnTo>
                  <a:pt x="212" y="16"/>
                </a:lnTo>
                <a:lnTo>
                  <a:pt x="214" y="18"/>
                </a:lnTo>
                <a:lnTo>
                  <a:pt x="215" y="19"/>
                </a:lnTo>
                <a:lnTo>
                  <a:pt x="217" y="19"/>
                </a:lnTo>
                <a:lnTo>
                  <a:pt x="224" y="20"/>
                </a:lnTo>
                <a:lnTo>
                  <a:pt x="231" y="19"/>
                </a:lnTo>
                <a:lnTo>
                  <a:pt x="237" y="19"/>
                </a:lnTo>
                <a:lnTo>
                  <a:pt x="243" y="21"/>
                </a:lnTo>
                <a:lnTo>
                  <a:pt x="250" y="21"/>
                </a:lnTo>
                <a:lnTo>
                  <a:pt x="256" y="24"/>
                </a:lnTo>
                <a:lnTo>
                  <a:pt x="258" y="22"/>
                </a:lnTo>
                <a:lnTo>
                  <a:pt x="261" y="20"/>
                </a:lnTo>
                <a:lnTo>
                  <a:pt x="262" y="18"/>
                </a:lnTo>
                <a:lnTo>
                  <a:pt x="263" y="19"/>
                </a:lnTo>
                <a:lnTo>
                  <a:pt x="265" y="20"/>
                </a:lnTo>
                <a:lnTo>
                  <a:pt x="265" y="21"/>
                </a:lnTo>
                <a:lnTo>
                  <a:pt x="267" y="24"/>
                </a:lnTo>
                <a:lnTo>
                  <a:pt x="268" y="24"/>
                </a:lnTo>
                <a:lnTo>
                  <a:pt x="268" y="25"/>
                </a:lnTo>
                <a:lnTo>
                  <a:pt x="269" y="26"/>
                </a:lnTo>
                <a:lnTo>
                  <a:pt x="269" y="27"/>
                </a:lnTo>
                <a:lnTo>
                  <a:pt x="268" y="27"/>
                </a:lnTo>
                <a:lnTo>
                  <a:pt x="267" y="28"/>
                </a:lnTo>
                <a:lnTo>
                  <a:pt x="263" y="28"/>
                </a:lnTo>
                <a:lnTo>
                  <a:pt x="262" y="29"/>
                </a:lnTo>
                <a:lnTo>
                  <a:pt x="264" y="31"/>
                </a:lnTo>
                <a:lnTo>
                  <a:pt x="265" y="31"/>
                </a:lnTo>
                <a:lnTo>
                  <a:pt x="264" y="32"/>
                </a:lnTo>
                <a:lnTo>
                  <a:pt x="260" y="32"/>
                </a:lnTo>
                <a:lnTo>
                  <a:pt x="257" y="33"/>
                </a:lnTo>
                <a:lnTo>
                  <a:pt x="256" y="34"/>
                </a:lnTo>
                <a:lnTo>
                  <a:pt x="257" y="35"/>
                </a:lnTo>
                <a:lnTo>
                  <a:pt x="256" y="37"/>
                </a:lnTo>
                <a:lnTo>
                  <a:pt x="255" y="44"/>
                </a:lnTo>
                <a:lnTo>
                  <a:pt x="252" y="50"/>
                </a:lnTo>
                <a:lnTo>
                  <a:pt x="251" y="52"/>
                </a:lnTo>
                <a:lnTo>
                  <a:pt x="249" y="56"/>
                </a:lnTo>
                <a:lnTo>
                  <a:pt x="249" y="57"/>
                </a:lnTo>
                <a:lnTo>
                  <a:pt x="244" y="62"/>
                </a:lnTo>
                <a:lnTo>
                  <a:pt x="238" y="67"/>
                </a:lnTo>
                <a:lnTo>
                  <a:pt x="236" y="76"/>
                </a:lnTo>
                <a:lnTo>
                  <a:pt x="237" y="80"/>
                </a:lnTo>
                <a:lnTo>
                  <a:pt x="237" y="84"/>
                </a:lnTo>
                <a:lnTo>
                  <a:pt x="239" y="94"/>
                </a:lnTo>
                <a:lnTo>
                  <a:pt x="242" y="106"/>
                </a:lnTo>
                <a:lnTo>
                  <a:pt x="238" y="112"/>
                </a:lnTo>
                <a:lnTo>
                  <a:pt x="238" y="119"/>
                </a:lnTo>
                <a:lnTo>
                  <a:pt x="240" y="124"/>
                </a:lnTo>
                <a:lnTo>
                  <a:pt x="242" y="127"/>
                </a:lnTo>
                <a:lnTo>
                  <a:pt x="244" y="130"/>
                </a:lnTo>
                <a:lnTo>
                  <a:pt x="244" y="137"/>
                </a:lnTo>
                <a:lnTo>
                  <a:pt x="245" y="138"/>
                </a:lnTo>
                <a:lnTo>
                  <a:pt x="245" y="144"/>
                </a:lnTo>
                <a:lnTo>
                  <a:pt x="250" y="147"/>
                </a:lnTo>
                <a:lnTo>
                  <a:pt x="251" y="149"/>
                </a:lnTo>
                <a:lnTo>
                  <a:pt x="250" y="149"/>
                </a:lnTo>
                <a:lnTo>
                  <a:pt x="249" y="150"/>
                </a:lnTo>
                <a:lnTo>
                  <a:pt x="246" y="151"/>
                </a:lnTo>
                <a:lnTo>
                  <a:pt x="240" y="153"/>
                </a:lnTo>
                <a:lnTo>
                  <a:pt x="239" y="153"/>
                </a:lnTo>
                <a:lnTo>
                  <a:pt x="240" y="154"/>
                </a:lnTo>
                <a:lnTo>
                  <a:pt x="239" y="154"/>
                </a:lnTo>
                <a:lnTo>
                  <a:pt x="238" y="155"/>
                </a:lnTo>
                <a:lnTo>
                  <a:pt x="238" y="160"/>
                </a:lnTo>
                <a:lnTo>
                  <a:pt x="237" y="161"/>
                </a:lnTo>
                <a:lnTo>
                  <a:pt x="233" y="162"/>
                </a:lnTo>
                <a:lnTo>
                  <a:pt x="233" y="163"/>
                </a:lnTo>
                <a:lnTo>
                  <a:pt x="232" y="163"/>
                </a:lnTo>
                <a:lnTo>
                  <a:pt x="232" y="164"/>
                </a:lnTo>
                <a:lnTo>
                  <a:pt x="233" y="166"/>
                </a:lnTo>
                <a:lnTo>
                  <a:pt x="233" y="168"/>
                </a:lnTo>
                <a:lnTo>
                  <a:pt x="232" y="168"/>
                </a:lnTo>
                <a:lnTo>
                  <a:pt x="232" y="169"/>
                </a:lnTo>
                <a:lnTo>
                  <a:pt x="231" y="169"/>
                </a:lnTo>
                <a:lnTo>
                  <a:pt x="231" y="174"/>
                </a:lnTo>
                <a:lnTo>
                  <a:pt x="230" y="175"/>
                </a:lnTo>
                <a:lnTo>
                  <a:pt x="224" y="173"/>
                </a:lnTo>
                <a:lnTo>
                  <a:pt x="220" y="173"/>
                </a:lnTo>
                <a:lnTo>
                  <a:pt x="218" y="170"/>
                </a:lnTo>
                <a:lnTo>
                  <a:pt x="217" y="168"/>
                </a:lnTo>
                <a:lnTo>
                  <a:pt x="215" y="168"/>
                </a:lnTo>
                <a:lnTo>
                  <a:pt x="214" y="167"/>
                </a:lnTo>
                <a:lnTo>
                  <a:pt x="212" y="167"/>
                </a:lnTo>
                <a:lnTo>
                  <a:pt x="211" y="166"/>
                </a:lnTo>
                <a:lnTo>
                  <a:pt x="211" y="167"/>
                </a:lnTo>
                <a:lnTo>
                  <a:pt x="209" y="168"/>
                </a:lnTo>
                <a:lnTo>
                  <a:pt x="209" y="169"/>
                </a:lnTo>
                <a:lnTo>
                  <a:pt x="208" y="169"/>
                </a:lnTo>
                <a:lnTo>
                  <a:pt x="208" y="170"/>
                </a:lnTo>
                <a:lnTo>
                  <a:pt x="202" y="170"/>
                </a:lnTo>
                <a:lnTo>
                  <a:pt x="200" y="173"/>
                </a:lnTo>
                <a:lnTo>
                  <a:pt x="200" y="174"/>
                </a:lnTo>
                <a:lnTo>
                  <a:pt x="196" y="174"/>
                </a:lnTo>
                <a:lnTo>
                  <a:pt x="195" y="175"/>
                </a:lnTo>
                <a:lnTo>
                  <a:pt x="194" y="174"/>
                </a:lnTo>
                <a:lnTo>
                  <a:pt x="193" y="172"/>
                </a:lnTo>
                <a:lnTo>
                  <a:pt x="193" y="170"/>
                </a:lnTo>
                <a:lnTo>
                  <a:pt x="189" y="169"/>
                </a:lnTo>
                <a:lnTo>
                  <a:pt x="187" y="168"/>
                </a:lnTo>
                <a:lnTo>
                  <a:pt x="186" y="166"/>
                </a:lnTo>
                <a:lnTo>
                  <a:pt x="182" y="160"/>
                </a:lnTo>
                <a:lnTo>
                  <a:pt x="181" y="157"/>
                </a:lnTo>
                <a:lnTo>
                  <a:pt x="176" y="154"/>
                </a:lnTo>
                <a:lnTo>
                  <a:pt x="175" y="153"/>
                </a:lnTo>
                <a:lnTo>
                  <a:pt x="175" y="150"/>
                </a:lnTo>
                <a:lnTo>
                  <a:pt x="176" y="150"/>
                </a:lnTo>
                <a:lnTo>
                  <a:pt x="176" y="149"/>
                </a:lnTo>
                <a:lnTo>
                  <a:pt x="175" y="149"/>
                </a:lnTo>
                <a:lnTo>
                  <a:pt x="175" y="148"/>
                </a:lnTo>
                <a:lnTo>
                  <a:pt x="167" y="148"/>
                </a:lnTo>
                <a:lnTo>
                  <a:pt x="165" y="147"/>
                </a:lnTo>
                <a:lnTo>
                  <a:pt x="164" y="144"/>
                </a:lnTo>
                <a:lnTo>
                  <a:pt x="164" y="143"/>
                </a:lnTo>
                <a:lnTo>
                  <a:pt x="163" y="142"/>
                </a:lnTo>
                <a:lnTo>
                  <a:pt x="162" y="142"/>
                </a:lnTo>
                <a:lnTo>
                  <a:pt x="161" y="143"/>
                </a:lnTo>
                <a:lnTo>
                  <a:pt x="158" y="143"/>
                </a:lnTo>
                <a:lnTo>
                  <a:pt x="156" y="141"/>
                </a:lnTo>
                <a:lnTo>
                  <a:pt x="156" y="138"/>
                </a:lnTo>
                <a:lnTo>
                  <a:pt x="153" y="138"/>
                </a:lnTo>
                <a:lnTo>
                  <a:pt x="152" y="137"/>
                </a:lnTo>
                <a:lnTo>
                  <a:pt x="150" y="133"/>
                </a:lnTo>
                <a:lnTo>
                  <a:pt x="147" y="132"/>
                </a:lnTo>
                <a:lnTo>
                  <a:pt x="147" y="133"/>
                </a:lnTo>
                <a:lnTo>
                  <a:pt x="146" y="132"/>
                </a:lnTo>
                <a:lnTo>
                  <a:pt x="146" y="131"/>
                </a:lnTo>
                <a:lnTo>
                  <a:pt x="145" y="130"/>
                </a:lnTo>
                <a:lnTo>
                  <a:pt x="144" y="130"/>
                </a:lnTo>
                <a:lnTo>
                  <a:pt x="144" y="131"/>
                </a:lnTo>
                <a:lnTo>
                  <a:pt x="145" y="133"/>
                </a:lnTo>
                <a:lnTo>
                  <a:pt x="145" y="135"/>
                </a:lnTo>
                <a:lnTo>
                  <a:pt x="143" y="137"/>
                </a:lnTo>
                <a:lnTo>
                  <a:pt x="142" y="137"/>
                </a:lnTo>
                <a:lnTo>
                  <a:pt x="142" y="136"/>
                </a:lnTo>
                <a:lnTo>
                  <a:pt x="140" y="135"/>
                </a:lnTo>
                <a:lnTo>
                  <a:pt x="140" y="131"/>
                </a:lnTo>
                <a:lnTo>
                  <a:pt x="139" y="130"/>
                </a:lnTo>
                <a:lnTo>
                  <a:pt x="136" y="130"/>
                </a:lnTo>
                <a:lnTo>
                  <a:pt x="131" y="135"/>
                </a:lnTo>
                <a:lnTo>
                  <a:pt x="127" y="135"/>
                </a:lnTo>
                <a:lnTo>
                  <a:pt x="126" y="136"/>
                </a:lnTo>
                <a:lnTo>
                  <a:pt x="126" y="137"/>
                </a:lnTo>
                <a:lnTo>
                  <a:pt x="124" y="137"/>
                </a:lnTo>
                <a:lnTo>
                  <a:pt x="122" y="136"/>
                </a:lnTo>
                <a:lnTo>
                  <a:pt x="121" y="136"/>
                </a:lnTo>
                <a:lnTo>
                  <a:pt x="120" y="138"/>
                </a:lnTo>
                <a:lnTo>
                  <a:pt x="119" y="139"/>
                </a:lnTo>
                <a:lnTo>
                  <a:pt x="113" y="139"/>
                </a:lnTo>
                <a:lnTo>
                  <a:pt x="111" y="141"/>
                </a:lnTo>
                <a:lnTo>
                  <a:pt x="108" y="143"/>
                </a:lnTo>
                <a:lnTo>
                  <a:pt x="108" y="144"/>
                </a:lnTo>
                <a:lnTo>
                  <a:pt x="107" y="145"/>
                </a:lnTo>
                <a:lnTo>
                  <a:pt x="103" y="145"/>
                </a:lnTo>
                <a:lnTo>
                  <a:pt x="103" y="144"/>
                </a:lnTo>
                <a:lnTo>
                  <a:pt x="105" y="144"/>
                </a:lnTo>
                <a:lnTo>
                  <a:pt x="105" y="141"/>
                </a:lnTo>
                <a:lnTo>
                  <a:pt x="107" y="136"/>
                </a:lnTo>
                <a:lnTo>
                  <a:pt x="107" y="133"/>
                </a:lnTo>
                <a:lnTo>
                  <a:pt x="109" y="130"/>
                </a:lnTo>
                <a:lnTo>
                  <a:pt x="111" y="129"/>
                </a:lnTo>
                <a:lnTo>
                  <a:pt x="111" y="114"/>
                </a:lnTo>
                <a:lnTo>
                  <a:pt x="112" y="113"/>
                </a:lnTo>
                <a:lnTo>
                  <a:pt x="113" y="113"/>
                </a:lnTo>
                <a:lnTo>
                  <a:pt x="114" y="112"/>
                </a:lnTo>
                <a:lnTo>
                  <a:pt x="115" y="110"/>
                </a:lnTo>
                <a:lnTo>
                  <a:pt x="109" y="104"/>
                </a:lnTo>
                <a:lnTo>
                  <a:pt x="108" y="104"/>
                </a:lnTo>
                <a:lnTo>
                  <a:pt x="107" y="102"/>
                </a:lnTo>
                <a:lnTo>
                  <a:pt x="105" y="104"/>
                </a:lnTo>
                <a:lnTo>
                  <a:pt x="105" y="105"/>
                </a:lnTo>
                <a:lnTo>
                  <a:pt x="103" y="106"/>
                </a:lnTo>
                <a:lnTo>
                  <a:pt x="103" y="110"/>
                </a:lnTo>
                <a:lnTo>
                  <a:pt x="102" y="112"/>
                </a:lnTo>
                <a:lnTo>
                  <a:pt x="101" y="112"/>
                </a:lnTo>
                <a:lnTo>
                  <a:pt x="101" y="113"/>
                </a:lnTo>
                <a:lnTo>
                  <a:pt x="100" y="113"/>
                </a:lnTo>
                <a:lnTo>
                  <a:pt x="99" y="112"/>
                </a:lnTo>
                <a:lnTo>
                  <a:pt x="97" y="112"/>
                </a:lnTo>
                <a:lnTo>
                  <a:pt x="97" y="113"/>
                </a:lnTo>
                <a:lnTo>
                  <a:pt x="96" y="114"/>
                </a:lnTo>
                <a:lnTo>
                  <a:pt x="96" y="115"/>
                </a:lnTo>
                <a:lnTo>
                  <a:pt x="95" y="114"/>
                </a:lnTo>
                <a:lnTo>
                  <a:pt x="94" y="112"/>
                </a:lnTo>
                <a:lnTo>
                  <a:pt x="91" y="111"/>
                </a:lnTo>
                <a:lnTo>
                  <a:pt x="90" y="108"/>
                </a:lnTo>
                <a:lnTo>
                  <a:pt x="88" y="107"/>
                </a:lnTo>
                <a:lnTo>
                  <a:pt x="84" y="107"/>
                </a:lnTo>
                <a:lnTo>
                  <a:pt x="84" y="106"/>
                </a:lnTo>
                <a:lnTo>
                  <a:pt x="82" y="106"/>
                </a:lnTo>
                <a:lnTo>
                  <a:pt x="81" y="107"/>
                </a:lnTo>
                <a:lnTo>
                  <a:pt x="80" y="106"/>
                </a:lnTo>
                <a:lnTo>
                  <a:pt x="80" y="102"/>
                </a:lnTo>
                <a:lnTo>
                  <a:pt x="78" y="101"/>
                </a:lnTo>
                <a:lnTo>
                  <a:pt x="78" y="100"/>
                </a:lnTo>
                <a:lnTo>
                  <a:pt x="77" y="99"/>
                </a:lnTo>
                <a:lnTo>
                  <a:pt x="78" y="96"/>
                </a:lnTo>
                <a:lnTo>
                  <a:pt x="78" y="92"/>
                </a:lnTo>
                <a:lnTo>
                  <a:pt x="75" y="92"/>
                </a:lnTo>
                <a:lnTo>
                  <a:pt x="74" y="90"/>
                </a:lnTo>
                <a:lnTo>
                  <a:pt x="74" y="88"/>
                </a:lnTo>
                <a:lnTo>
                  <a:pt x="72" y="87"/>
                </a:lnTo>
                <a:lnTo>
                  <a:pt x="72" y="88"/>
                </a:lnTo>
                <a:lnTo>
                  <a:pt x="71" y="88"/>
                </a:lnTo>
                <a:lnTo>
                  <a:pt x="71" y="89"/>
                </a:lnTo>
                <a:lnTo>
                  <a:pt x="70" y="89"/>
                </a:lnTo>
                <a:lnTo>
                  <a:pt x="70" y="87"/>
                </a:lnTo>
                <a:lnTo>
                  <a:pt x="71" y="87"/>
                </a:lnTo>
                <a:lnTo>
                  <a:pt x="71" y="84"/>
                </a:lnTo>
                <a:lnTo>
                  <a:pt x="70" y="82"/>
                </a:lnTo>
                <a:lnTo>
                  <a:pt x="70" y="78"/>
                </a:lnTo>
                <a:lnTo>
                  <a:pt x="71" y="77"/>
                </a:lnTo>
                <a:lnTo>
                  <a:pt x="72" y="77"/>
                </a:lnTo>
                <a:lnTo>
                  <a:pt x="72" y="76"/>
                </a:lnTo>
                <a:lnTo>
                  <a:pt x="71" y="75"/>
                </a:lnTo>
                <a:lnTo>
                  <a:pt x="72" y="74"/>
                </a:lnTo>
                <a:lnTo>
                  <a:pt x="75" y="75"/>
                </a:lnTo>
                <a:lnTo>
                  <a:pt x="76" y="75"/>
                </a:lnTo>
                <a:lnTo>
                  <a:pt x="77" y="74"/>
                </a:lnTo>
                <a:lnTo>
                  <a:pt x="80" y="74"/>
                </a:lnTo>
                <a:lnTo>
                  <a:pt x="82" y="75"/>
                </a:lnTo>
                <a:lnTo>
                  <a:pt x="83" y="75"/>
                </a:lnTo>
                <a:lnTo>
                  <a:pt x="83" y="74"/>
                </a:lnTo>
                <a:lnTo>
                  <a:pt x="82" y="72"/>
                </a:lnTo>
                <a:lnTo>
                  <a:pt x="83" y="71"/>
                </a:lnTo>
                <a:lnTo>
                  <a:pt x="84" y="71"/>
                </a:lnTo>
                <a:lnTo>
                  <a:pt x="86" y="72"/>
                </a:lnTo>
                <a:lnTo>
                  <a:pt x="87" y="72"/>
                </a:lnTo>
                <a:lnTo>
                  <a:pt x="84" y="70"/>
                </a:lnTo>
                <a:lnTo>
                  <a:pt x="83" y="70"/>
                </a:lnTo>
                <a:lnTo>
                  <a:pt x="82" y="71"/>
                </a:lnTo>
                <a:lnTo>
                  <a:pt x="81" y="70"/>
                </a:lnTo>
                <a:lnTo>
                  <a:pt x="74" y="70"/>
                </a:lnTo>
                <a:lnTo>
                  <a:pt x="74" y="71"/>
                </a:lnTo>
                <a:lnTo>
                  <a:pt x="70" y="71"/>
                </a:lnTo>
                <a:lnTo>
                  <a:pt x="68" y="72"/>
                </a:lnTo>
                <a:lnTo>
                  <a:pt x="69" y="69"/>
                </a:lnTo>
                <a:lnTo>
                  <a:pt x="71" y="69"/>
                </a:lnTo>
                <a:lnTo>
                  <a:pt x="72" y="68"/>
                </a:lnTo>
                <a:lnTo>
                  <a:pt x="69" y="64"/>
                </a:lnTo>
                <a:lnTo>
                  <a:pt x="69" y="63"/>
                </a:lnTo>
                <a:lnTo>
                  <a:pt x="68" y="61"/>
                </a:lnTo>
                <a:lnTo>
                  <a:pt x="68" y="59"/>
                </a:lnTo>
                <a:lnTo>
                  <a:pt x="69" y="58"/>
                </a:lnTo>
                <a:lnTo>
                  <a:pt x="71" y="58"/>
                </a:lnTo>
                <a:lnTo>
                  <a:pt x="72" y="57"/>
                </a:lnTo>
                <a:lnTo>
                  <a:pt x="75" y="57"/>
                </a:lnTo>
                <a:lnTo>
                  <a:pt x="76" y="56"/>
                </a:lnTo>
                <a:lnTo>
                  <a:pt x="76" y="52"/>
                </a:lnTo>
                <a:lnTo>
                  <a:pt x="75" y="52"/>
                </a:lnTo>
                <a:lnTo>
                  <a:pt x="75" y="53"/>
                </a:lnTo>
                <a:lnTo>
                  <a:pt x="74" y="53"/>
                </a:lnTo>
                <a:lnTo>
                  <a:pt x="74" y="56"/>
                </a:lnTo>
                <a:lnTo>
                  <a:pt x="72" y="56"/>
                </a:lnTo>
                <a:lnTo>
                  <a:pt x="72" y="55"/>
                </a:lnTo>
                <a:lnTo>
                  <a:pt x="69" y="53"/>
                </a:lnTo>
                <a:lnTo>
                  <a:pt x="68" y="51"/>
                </a:lnTo>
                <a:lnTo>
                  <a:pt x="69" y="51"/>
                </a:lnTo>
                <a:lnTo>
                  <a:pt x="68" y="50"/>
                </a:lnTo>
                <a:lnTo>
                  <a:pt x="69" y="49"/>
                </a:lnTo>
                <a:lnTo>
                  <a:pt x="70" y="46"/>
                </a:lnTo>
                <a:lnTo>
                  <a:pt x="71" y="46"/>
                </a:lnTo>
                <a:lnTo>
                  <a:pt x="72" y="47"/>
                </a:lnTo>
                <a:lnTo>
                  <a:pt x="72" y="43"/>
                </a:lnTo>
                <a:lnTo>
                  <a:pt x="70" y="35"/>
                </a:lnTo>
                <a:lnTo>
                  <a:pt x="72" y="34"/>
                </a:lnTo>
                <a:lnTo>
                  <a:pt x="75" y="34"/>
                </a:lnTo>
                <a:lnTo>
                  <a:pt x="76" y="33"/>
                </a:lnTo>
                <a:lnTo>
                  <a:pt x="77" y="33"/>
                </a:lnTo>
                <a:lnTo>
                  <a:pt x="77" y="32"/>
                </a:lnTo>
                <a:lnTo>
                  <a:pt x="78" y="32"/>
                </a:lnTo>
                <a:lnTo>
                  <a:pt x="81" y="34"/>
                </a:lnTo>
                <a:lnTo>
                  <a:pt x="82" y="34"/>
                </a:lnTo>
                <a:lnTo>
                  <a:pt x="82" y="32"/>
                </a:lnTo>
                <a:lnTo>
                  <a:pt x="81" y="32"/>
                </a:lnTo>
                <a:lnTo>
                  <a:pt x="82" y="31"/>
                </a:lnTo>
                <a:lnTo>
                  <a:pt x="82" y="29"/>
                </a:lnTo>
                <a:lnTo>
                  <a:pt x="86" y="29"/>
                </a:lnTo>
                <a:lnTo>
                  <a:pt x="88" y="31"/>
                </a:lnTo>
                <a:lnTo>
                  <a:pt x="90" y="31"/>
                </a:lnTo>
                <a:lnTo>
                  <a:pt x="91" y="29"/>
                </a:lnTo>
                <a:lnTo>
                  <a:pt x="94" y="29"/>
                </a:lnTo>
                <a:lnTo>
                  <a:pt x="96" y="32"/>
                </a:lnTo>
                <a:lnTo>
                  <a:pt x="96" y="28"/>
                </a:lnTo>
                <a:lnTo>
                  <a:pt x="94" y="25"/>
                </a:lnTo>
                <a:lnTo>
                  <a:pt x="94" y="21"/>
                </a:lnTo>
                <a:lnTo>
                  <a:pt x="96" y="21"/>
                </a:lnTo>
                <a:lnTo>
                  <a:pt x="100" y="25"/>
                </a:lnTo>
                <a:lnTo>
                  <a:pt x="102" y="25"/>
                </a:lnTo>
                <a:lnTo>
                  <a:pt x="102" y="24"/>
                </a:lnTo>
                <a:lnTo>
                  <a:pt x="101" y="21"/>
                </a:lnTo>
                <a:lnTo>
                  <a:pt x="100" y="21"/>
                </a:lnTo>
                <a:lnTo>
                  <a:pt x="101" y="20"/>
                </a:lnTo>
                <a:lnTo>
                  <a:pt x="105" y="20"/>
                </a:lnTo>
                <a:lnTo>
                  <a:pt x="106" y="19"/>
                </a:lnTo>
                <a:lnTo>
                  <a:pt x="107" y="15"/>
                </a:lnTo>
                <a:lnTo>
                  <a:pt x="109" y="14"/>
                </a:lnTo>
                <a:lnTo>
                  <a:pt x="111" y="14"/>
                </a:lnTo>
                <a:lnTo>
                  <a:pt x="112" y="15"/>
                </a:lnTo>
                <a:lnTo>
                  <a:pt x="113" y="18"/>
                </a:lnTo>
                <a:lnTo>
                  <a:pt x="114" y="18"/>
                </a:lnTo>
                <a:lnTo>
                  <a:pt x="115" y="16"/>
                </a:lnTo>
                <a:lnTo>
                  <a:pt x="116" y="16"/>
                </a:lnTo>
                <a:lnTo>
                  <a:pt x="119" y="18"/>
                </a:lnTo>
                <a:lnTo>
                  <a:pt x="120" y="18"/>
                </a:lnTo>
                <a:lnTo>
                  <a:pt x="120" y="16"/>
                </a:lnTo>
                <a:lnTo>
                  <a:pt x="119" y="16"/>
                </a:lnTo>
                <a:lnTo>
                  <a:pt x="119" y="15"/>
                </a:lnTo>
                <a:lnTo>
                  <a:pt x="120" y="15"/>
                </a:lnTo>
                <a:lnTo>
                  <a:pt x="121" y="14"/>
                </a:lnTo>
                <a:lnTo>
                  <a:pt x="121" y="13"/>
                </a:lnTo>
                <a:lnTo>
                  <a:pt x="124" y="15"/>
                </a:lnTo>
                <a:lnTo>
                  <a:pt x="124" y="18"/>
                </a:lnTo>
                <a:lnTo>
                  <a:pt x="125" y="18"/>
                </a:lnTo>
                <a:lnTo>
                  <a:pt x="126" y="16"/>
                </a:lnTo>
                <a:lnTo>
                  <a:pt x="127" y="14"/>
                </a:lnTo>
                <a:lnTo>
                  <a:pt x="127" y="12"/>
                </a:lnTo>
                <a:lnTo>
                  <a:pt x="126" y="12"/>
                </a:lnTo>
                <a:lnTo>
                  <a:pt x="126" y="8"/>
                </a:lnTo>
                <a:lnTo>
                  <a:pt x="127" y="7"/>
                </a:lnTo>
                <a:lnTo>
                  <a:pt x="128" y="8"/>
                </a:lnTo>
                <a:lnTo>
                  <a:pt x="131" y="12"/>
                </a:lnTo>
                <a:lnTo>
                  <a:pt x="132" y="13"/>
                </a:lnTo>
                <a:lnTo>
                  <a:pt x="136" y="12"/>
                </a:lnTo>
                <a:lnTo>
                  <a:pt x="137" y="12"/>
                </a:lnTo>
                <a:lnTo>
                  <a:pt x="138" y="13"/>
                </a:lnTo>
                <a:lnTo>
                  <a:pt x="140" y="13"/>
                </a:lnTo>
                <a:lnTo>
                  <a:pt x="139" y="10"/>
                </a:lnTo>
                <a:lnTo>
                  <a:pt x="142" y="10"/>
                </a:lnTo>
                <a:lnTo>
                  <a:pt x="143" y="12"/>
                </a:lnTo>
                <a:lnTo>
                  <a:pt x="152" y="14"/>
                </a:lnTo>
                <a:lnTo>
                  <a:pt x="152" y="12"/>
                </a:lnTo>
                <a:lnTo>
                  <a:pt x="153" y="10"/>
                </a:lnTo>
                <a:lnTo>
                  <a:pt x="158" y="10"/>
                </a:lnTo>
                <a:lnTo>
                  <a:pt x="158" y="9"/>
                </a:lnTo>
                <a:lnTo>
                  <a:pt x="157" y="9"/>
                </a:lnTo>
                <a:lnTo>
                  <a:pt x="156" y="8"/>
                </a:lnTo>
                <a:lnTo>
                  <a:pt x="156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6" name="Freeform 47">
            <a:extLst>
              <a:ext uri="{FF2B5EF4-FFF2-40B4-BE49-F238E27FC236}">
                <a16:creationId xmlns:a16="http://schemas.microsoft.com/office/drawing/2014/main" id="{45794A82-CC3E-45CF-A32A-8EFEEF4481D4}"/>
              </a:ext>
            </a:extLst>
          </p:cNvPr>
          <p:cNvSpPr>
            <a:spLocks noEditPoints="1"/>
          </p:cNvSpPr>
          <p:nvPr/>
        </p:nvSpPr>
        <p:spPr bwMode="auto">
          <a:xfrm>
            <a:off x="1725785" y="3910542"/>
            <a:ext cx="431784" cy="349195"/>
          </a:xfrm>
          <a:custGeom>
            <a:avLst/>
            <a:gdLst/>
            <a:ahLst/>
            <a:cxnLst>
              <a:cxn ang="0">
                <a:pos x="101" y="217"/>
              </a:cxn>
              <a:cxn ang="0">
                <a:pos x="186" y="213"/>
              </a:cxn>
              <a:cxn ang="0">
                <a:pos x="176" y="204"/>
              </a:cxn>
              <a:cxn ang="0">
                <a:pos x="71" y="210"/>
              </a:cxn>
              <a:cxn ang="0">
                <a:pos x="23" y="198"/>
              </a:cxn>
              <a:cxn ang="0">
                <a:pos x="117" y="206"/>
              </a:cxn>
              <a:cxn ang="0">
                <a:pos x="20" y="203"/>
              </a:cxn>
              <a:cxn ang="0">
                <a:pos x="296" y="206"/>
              </a:cxn>
              <a:cxn ang="0">
                <a:pos x="68" y="176"/>
              </a:cxn>
              <a:cxn ang="0">
                <a:pos x="102" y="169"/>
              </a:cxn>
              <a:cxn ang="0">
                <a:pos x="111" y="171"/>
              </a:cxn>
              <a:cxn ang="0">
                <a:pos x="115" y="196"/>
              </a:cxn>
              <a:cxn ang="0">
                <a:pos x="87" y="198"/>
              </a:cxn>
              <a:cxn ang="0">
                <a:pos x="73" y="180"/>
              </a:cxn>
              <a:cxn ang="0">
                <a:pos x="190" y="167"/>
              </a:cxn>
              <a:cxn ang="0">
                <a:pos x="108" y="151"/>
              </a:cxn>
              <a:cxn ang="0">
                <a:pos x="183" y="127"/>
              </a:cxn>
              <a:cxn ang="0">
                <a:pos x="186" y="163"/>
              </a:cxn>
              <a:cxn ang="0">
                <a:pos x="170" y="197"/>
              </a:cxn>
              <a:cxn ang="0">
                <a:pos x="163" y="209"/>
              </a:cxn>
              <a:cxn ang="0">
                <a:pos x="164" y="240"/>
              </a:cxn>
              <a:cxn ang="0">
                <a:pos x="142" y="237"/>
              </a:cxn>
              <a:cxn ang="0">
                <a:pos x="140" y="219"/>
              </a:cxn>
              <a:cxn ang="0">
                <a:pos x="153" y="213"/>
              </a:cxn>
              <a:cxn ang="0">
                <a:pos x="153" y="194"/>
              </a:cxn>
              <a:cxn ang="0">
                <a:pos x="132" y="184"/>
              </a:cxn>
              <a:cxn ang="0">
                <a:pos x="127" y="163"/>
              </a:cxn>
              <a:cxn ang="0">
                <a:pos x="139" y="153"/>
              </a:cxn>
              <a:cxn ang="0">
                <a:pos x="153" y="142"/>
              </a:cxn>
              <a:cxn ang="0">
                <a:pos x="155" y="160"/>
              </a:cxn>
              <a:cxn ang="0">
                <a:pos x="161" y="160"/>
              </a:cxn>
              <a:cxn ang="0">
                <a:pos x="45" y="85"/>
              </a:cxn>
              <a:cxn ang="0">
                <a:pos x="147" y="83"/>
              </a:cxn>
              <a:cxn ang="0">
                <a:pos x="33" y="69"/>
              </a:cxn>
              <a:cxn ang="0">
                <a:pos x="20" y="74"/>
              </a:cxn>
              <a:cxn ang="0">
                <a:pos x="79" y="54"/>
              </a:cxn>
              <a:cxn ang="0">
                <a:pos x="127" y="38"/>
              </a:cxn>
              <a:cxn ang="0">
                <a:pos x="99" y="13"/>
              </a:cxn>
              <a:cxn ang="0">
                <a:pos x="95" y="81"/>
              </a:cxn>
              <a:cxn ang="0">
                <a:pos x="96" y="90"/>
              </a:cxn>
              <a:cxn ang="0">
                <a:pos x="109" y="117"/>
              </a:cxn>
              <a:cxn ang="0">
                <a:pos x="101" y="114"/>
              </a:cxn>
              <a:cxn ang="0">
                <a:pos x="89" y="143"/>
              </a:cxn>
              <a:cxn ang="0">
                <a:pos x="76" y="158"/>
              </a:cxn>
              <a:cxn ang="0">
                <a:pos x="60" y="173"/>
              </a:cxn>
              <a:cxn ang="0">
                <a:pos x="61" y="196"/>
              </a:cxn>
              <a:cxn ang="0">
                <a:pos x="70" y="210"/>
              </a:cxn>
              <a:cxn ang="0">
                <a:pos x="60" y="219"/>
              </a:cxn>
              <a:cxn ang="0">
                <a:pos x="24" y="203"/>
              </a:cxn>
              <a:cxn ang="0">
                <a:pos x="8" y="171"/>
              </a:cxn>
              <a:cxn ang="0">
                <a:pos x="9" y="146"/>
              </a:cxn>
              <a:cxn ang="0">
                <a:pos x="5" y="85"/>
              </a:cxn>
              <a:cxn ang="0">
                <a:pos x="28" y="92"/>
              </a:cxn>
              <a:cxn ang="0">
                <a:pos x="43" y="77"/>
              </a:cxn>
              <a:cxn ang="0">
                <a:pos x="49" y="92"/>
              </a:cxn>
              <a:cxn ang="0">
                <a:pos x="48" y="80"/>
              </a:cxn>
              <a:cxn ang="0">
                <a:pos x="64" y="61"/>
              </a:cxn>
              <a:cxn ang="0">
                <a:pos x="48" y="57"/>
              </a:cxn>
              <a:cxn ang="0">
                <a:pos x="25" y="62"/>
              </a:cxn>
              <a:cxn ang="0">
                <a:pos x="17" y="84"/>
              </a:cxn>
              <a:cxn ang="0">
                <a:pos x="16" y="57"/>
              </a:cxn>
              <a:cxn ang="0">
                <a:pos x="79" y="12"/>
              </a:cxn>
            </a:cxnLst>
            <a:rect l="0" t="0" r="r" b="b"/>
            <a:pathLst>
              <a:path w="298" h="241">
                <a:moveTo>
                  <a:pt x="77" y="216"/>
                </a:moveTo>
                <a:lnTo>
                  <a:pt x="79" y="219"/>
                </a:lnTo>
                <a:lnTo>
                  <a:pt x="80" y="219"/>
                </a:lnTo>
                <a:lnTo>
                  <a:pt x="79" y="220"/>
                </a:lnTo>
                <a:lnTo>
                  <a:pt x="78" y="219"/>
                </a:lnTo>
                <a:lnTo>
                  <a:pt x="77" y="219"/>
                </a:lnTo>
                <a:lnTo>
                  <a:pt x="76" y="217"/>
                </a:lnTo>
                <a:lnTo>
                  <a:pt x="77" y="216"/>
                </a:lnTo>
                <a:close/>
                <a:moveTo>
                  <a:pt x="89" y="212"/>
                </a:moveTo>
                <a:lnTo>
                  <a:pt x="90" y="212"/>
                </a:lnTo>
                <a:lnTo>
                  <a:pt x="93" y="214"/>
                </a:lnTo>
                <a:lnTo>
                  <a:pt x="95" y="215"/>
                </a:lnTo>
                <a:lnTo>
                  <a:pt x="95" y="216"/>
                </a:lnTo>
                <a:lnTo>
                  <a:pt x="96" y="216"/>
                </a:lnTo>
                <a:lnTo>
                  <a:pt x="96" y="217"/>
                </a:lnTo>
                <a:lnTo>
                  <a:pt x="97" y="217"/>
                </a:lnTo>
                <a:lnTo>
                  <a:pt x="97" y="215"/>
                </a:lnTo>
                <a:lnTo>
                  <a:pt x="98" y="216"/>
                </a:lnTo>
                <a:lnTo>
                  <a:pt x="98" y="219"/>
                </a:lnTo>
                <a:lnTo>
                  <a:pt x="101" y="219"/>
                </a:lnTo>
                <a:lnTo>
                  <a:pt x="101" y="217"/>
                </a:lnTo>
                <a:lnTo>
                  <a:pt x="102" y="217"/>
                </a:lnTo>
                <a:lnTo>
                  <a:pt x="102" y="220"/>
                </a:lnTo>
                <a:lnTo>
                  <a:pt x="103" y="220"/>
                </a:lnTo>
                <a:lnTo>
                  <a:pt x="99" y="221"/>
                </a:lnTo>
                <a:lnTo>
                  <a:pt x="98" y="222"/>
                </a:lnTo>
                <a:lnTo>
                  <a:pt x="97" y="222"/>
                </a:lnTo>
                <a:lnTo>
                  <a:pt x="90" y="214"/>
                </a:lnTo>
                <a:lnTo>
                  <a:pt x="89" y="212"/>
                </a:lnTo>
                <a:close/>
                <a:moveTo>
                  <a:pt x="154" y="204"/>
                </a:moveTo>
                <a:lnTo>
                  <a:pt x="155" y="206"/>
                </a:lnTo>
                <a:lnTo>
                  <a:pt x="154" y="206"/>
                </a:lnTo>
                <a:lnTo>
                  <a:pt x="154" y="204"/>
                </a:lnTo>
                <a:close/>
                <a:moveTo>
                  <a:pt x="176" y="204"/>
                </a:moveTo>
                <a:lnTo>
                  <a:pt x="177" y="204"/>
                </a:lnTo>
                <a:lnTo>
                  <a:pt x="178" y="207"/>
                </a:lnTo>
                <a:lnTo>
                  <a:pt x="183" y="207"/>
                </a:lnTo>
                <a:lnTo>
                  <a:pt x="186" y="208"/>
                </a:lnTo>
                <a:lnTo>
                  <a:pt x="188" y="209"/>
                </a:lnTo>
                <a:lnTo>
                  <a:pt x="189" y="212"/>
                </a:lnTo>
                <a:lnTo>
                  <a:pt x="189" y="213"/>
                </a:lnTo>
                <a:lnTo>
                  <a:pt x="186" y="213"/>
                </a:lnTo>
                <a:lnTo>
                  <a:pt x="182" y="212"/>
                </a:lnTo>
                <a:lnTo>
                  <a:pt x="180" y="213"/>
                </a:lnTo>
                <a:lnTo>
                  <a:pt x="178" y="213"/>
                </a:lnTo>
                <a:lnTo>
                  <a:pt x="177" y="214"/>
                </a:lnTo>
                <a:lnTo>
                  <a:pt x="174" y="217"/>
                </a:lnTo>
                <a:lnTo>
                  <a:pt x="173" y="217"/>
                </a:lnTo>
                <a:lnTo>
                  <a:pt x="170" y="216"/>
                </a:lnTo>
                <a:lnTo>
                  <a:pt x="170" y="215"/>
                </a:lnTo>
                <a:lnTo>
                  <a:pt x="171" y="215"/>
                </a:lnTo>
                <a:lnTo>
                  <a:pt x="171" y="213"/>
                </a:lnTo>
                <a:lnTo>
                  <a:pt x="172" y="212"/>
                </a:lnTo>
                <a:lnTo>
                  <a:pt x="173" y="212"/>
                </a:lnTo>
                <a:lnTo>
                  <a:pt x="173" y="210"/>
                </a:lnTo>
                <a:lnTo>
                  <a:pt x="174" y="210"/>
                </a:lnTo>
                <a:lnTo>
                  <a:pt x="174" y="212"/>
                </a:lnTo>
                <a:lnTo>
                  <a:pt x="176" y="212"/>
                </a:lnTo>
                <a:lnTo>
                  <a:pt x="177" y="210"/>
                </a:lnTo>
                <a:lnTo>
                  <a:pt x="177" y="208"/>
                </a:lnTo>
                <a:lnTo>
                  <a:pt x="178" y="208"/>
                </a:lnTo>
                <a:lnTo>
                  <a:pt x="176" y="206"/>
                </a:lnTo>
                <a:lnTo>
                  <a:pt x="176" y="204"/>
                </a:lnTo>
                <a:close/>
                <a:moveTo>
                  <a:pt x="153" y="204"/>
                </a:moveTo>
                <a:lnTo>
                  <a:pt x="154" y="204"/>
                </a:lnTo>
                <a:lnTo>
                  <a:pt x="153" y="204"/>
                </a:lnTo>
                <a:close/>
                <a:moveTo>
                  <a:pt x="68" y="203"/>
                </a:moveTo>
                <a:lnTo>
                  <a:pt x="72" y="203"/>
                </a:lnTo>
                <a:lnTo>
                  <a:pt x="74" y="207"/>
                </a:lnTo>
                <a:lnTo>
                  <a:pt x="76" y="207"/>
                </a:lnTo>
                <a:lnTo>
                  <a:pt x="78" y="208"/>
                </a:lnTo>
                <a:lnTo>
                  <a:pt x="79" y="208"/>
                </a:lnTo>
                <a:lnTo>
                  <a:pt x="80" y="209"/>
                </a:lnTo>
                <a:lnTo>
                  <a:pt x="81" y="212"/>
                </a:lnTo>
                <a:lnTo>
                  <a:pt x="81" y="213"/>
                </a:lnTo>
                <a:lnTo>
                  <a:pt x="84" y="217"/>
                </a:lnTo>
                <a:lnTo>
                  <a:pt x="83" y="219"/>
                </a:lnTo>
                <a:lnTo>
                  <a:pt x="80" y="219"/>
                </a:lnTo>
                <a:lnTo>
                  <a:pt x="77" y="215"/>
                </a:lnTo>
                <a:lnTo>
                  <a:pt x="76" y="215"/>
                </a:lnTo>
                <a:lnTo>
                  <a:pt x="76" y="216"/>
                </a:lnTo>
                <a:lnTo>
                  <a:pt x="73" y="216"/>
                </a:lnTo>
                <a:lnTo>
                  <a:pt x="71" y="214"/>
                </a:lnTo>
                <a:lnTo>
                  <a:pt x="71" y="210"/>
                </a:lnTo>
                <a:lnTo>
                  <a:pt x="73" y="213"/>
                </a:lnTo>
                <a:lnTo>
                  <a:pt x="74" y="213"/>
                </a:lnTo>
                <a:lnTo>
                  <a:pt x="74" y="212"/>
                </a:lnTo>
                <a:lnTo>
                  <a:pt x="72" y="210"/>
                </a:lnTo>
                <a:lnTo>
                  <a:pt x="72" y="208"/>
                </a:lnTo>
                <a:lnTo>
                  <a:pt x="67" y="208"/>
                </a:lnTo>
                <a:lnTo>
                  <a:pt x="67" y="207"/>
                </a:lnTo>
                <a:lnTo>
                  <a:pt x="68" y="206"/>
                </a:lnTo>
                <a:lnTo>
                  <a:pt x="65" y="206"/>
                </a:lnTo>
                <a:lnTo>
                  <a:pt x="68" y="203"/>
                </a:lnTo>
                <a:close/>
                <a:moveTo>
                  <a:pt x="149" y="202"/>
                </a:moveTo>
                <a:lnTo>
                  <a:pt x="152" y="203"/>
                </a:lnTo>
                <a:lnTo>
                  <a:pt x="153" y="204"/>
                </a:lnTo>
                <a:lnTo>
                  <a:pt x="151" y="204"/>
                </a:lnTo>
                <a:lnTo>
                  <a:pt x="149" y="203"/>
                </a:lnTo>
                <a:lnTo>
                  <a:pt x="149" y="202"/>
                </a:lnTo>
                <a:close/>
                <a:moveTo>
                  <a:pt x="23" y="198"/>
                </a:moveTo>
                <a:lnTo>
                  <a:pt x="24" y="200"/>
                </a:lnTo>
                <a:lnTo>
                  <a:pt x="23" y="198"/>
                </a:lnTo>
                <a:close/>
                <a:moveTo>
                  <a:pt x="21" y="198"/>
                </a:moveTo>
                <a:lnTo>
                  <a:pt x="23" y="198"/>
                </a:lnTo>
                <a:lnTo>
                  <a:pt x="21" y="198"/>
                </a:lnTo>
                <a:close/>
                <a:moveTo>
                  <a:pt x="121" y="197"/>
                </a:moveTo>
                <a:lnTo>
                  <a:pt x="121" y="198"/>
                </a:lnTo>
                <a:lnTo>
                  <a:pt x="120" y="207"/>
                </a:lnTo>
                <a:lnTo>
                  <a:pt x="116" y="214"/>
                </a:lnTo>
                <a:lnTo>
                  <a:pt x="112" y="227"/>
                </a:lnTo>
                <a:lnTo>
                  <a:pt x="111" y="228"/>
                </a:lnTo>
                <a:lnTo>
                  <a:pt x="110" y="228"/>
                </a:lnTo>
                <a:lnTo>
                  <a:pt x="109" y="223"/>
                </a:lnTo>
                <a:lnTo>
                  <a:pt x="108" y="223"/>
                </a:lnTo>
                <a:lnTo>
                  <a:pt x="108" y="222"/>
                </a:lnTo>
                <a:lnTo>
                  <a:pt x="107" y="221"/>
                </a:lnTo>
                <a:lnTo>
                  <a:pt x="108" y="221"/>
                </a:lnTo>
                <a:lnTo>
                  <a:pt x="109" y="220"/>
                </a:lnTo>
                <a:lnTo>
                  <a:pt x="109" y="217"/>
                </a:lnTo>
                <a:lnTo>
                  <a:pt x="111" y="217"/>
                </a:lnTo>
                <a:lnTo>
                  <a:pt x="111" y="216"/>
                </a:lnTo>
                <a:lnTo>
                  <a:pt x="110" y="216"/>
                </a:lnTo>
                <a:lnTo>
                  <a:pt x="110" y="214"/>
                </a:lnTo>
                <a:lnTo>
                  <a:pt x="115" y="209"/>
                </a:lnTo>
                <a:lnTo>
                  <a:pt x="117" y="206"/>
                </a:lnTo>
                <a:lnTo>
                  <a:pt x="117" y="204"/>
                </a:lnTo>
                <a:lnTo>
                  <a:pt x="118" y="201"/>
                </a:lnTo>
                <a:lnTo>
                  <a:pt x="121" y="197"/>
                </a:lnTo>
                <a:close/>
                <a:moveTo>
                  <a:pt x="80" y="196"/>
                </a:moveTo>
                <a:lnTo>
                  <a:pt x="81" y="198"/>
                </a:lnTo>
                <a:lnTo>
                  <a:pt x="81" y="200"/>
                </a:lnTo>
                <a:lnTo>
                  <a:pt x="80" y="200"/>
                </a:lnTo>
                <a:lnTo>
                  <a:pt x="80" y="196"/>
                </a:lnTo>
                <a:close/>
                <a:moveTo>
                  <a:pt x="80" y="195"/>
                </a:moveTo>
                <a:lnTo>
                  <a:pt x="80" y="196"/>
                </a:lnTo>
                <a:lnTo>
                  <a:pt x="79" y="196"/>
                </a:lnTo>
                <a:lnTo>
                  <a:pt x="80" y="195"/>
                </a:lnTo>
                <a:close/>
                <a:moveTo>
                  <a:pt x="17" y="195"/>
                </a:moveTo>
                <a:lnTo>
                  <a:pt x="21" y="195"/>
                </a:lnTo>
                <a:lnTo>
                  <a:pt x="22" y="196"/>
                </a:lnTo>
                <a:lnTo>
                  <a:pt x="21" y="196"/>
                </a:lnTo>
                <a:lnTo>
                  <a:pt x="20" y="197"/>
                </a:lnTo>
                <a:lnTo>
                  <a:pt x="20" y="198"/>
                </a:lnTo>
                <a:lnTo>
                  <a:pt x="21" y="198"/>
                </a:lnTo>
                <a:lnTo>
                  <a:pt x="20" y="200"/>
                </a:lnTo>
                <a:lnTo>
                  <a:pt x="20" y="203"/>
                </a:lnTo>
                <a:lnTo>
                  <a:pt x="18" y="203"/>
                </a:lnTo>
                <a:lnTo>
                  <a:pt x="18" y="204"/>
                </a:lnTo>
                <a:lnTo>
                  <a:pt x="17" y="204"/>
                </a:lnTo>
                <a:lnTo>
                  <a:pt x="16" y="203"/>
                </a:lnTo>
                <a:lnTo>
                  <a:pt x="16" y="196"/>
                </a:lnTo>
                <a:lnTo>
                  <a:pt x="17" y="195"/>
                </a:lnTo>
                <a:close/>
                <a:moveTo>
                  <a:pt x="282" y="186"/>
                </a:moveTo>
                <a:lnTo>
                  <a:pt x="284" y="189"/>
                </a:lnTo>
                <a:lnTo>
                  <a:pt x="284" y="190"/>
                </a:lnTo>
                <a:lnTo>
                  <a:pt x="285" y="191"/>
                </a:lnTo>
                <a:lnTo>
                  <a:pt x="288" y="192"/>
                </a:lnTo>
                <a:lnTo>
                  <a:pt x="289" y="194"/>
                </a:lnTo>
                <a:lnTo>
                  <a:pt x="291" y="194"/>
                </a:lnTo>
                <a:lnTo>
                  <a:pt x="291" y="195"/>
                </a:lnTo>
                <a:lnTo>
                  <a:pt x="295" y="198"/>
                </a:lnTo>
                <a:lnTo>
                  <a:pt x="297" y="198"/>
                </a:lnTo>
                <a:lnTo>
                  <a:pt x="298" y="200"/>
                </a:lnTo>
                <a:lnTo>
                  <a:pt x="297" y="201"/>
                </a:lnTo>
                <a:lnTo>
                  <a:pt x="298" y="202"/>
                </a:lnTo>
                <a:lnTo>
                  <a:pt x="298" y="203"/>
                </a:lnTo>
                <a:lnTo>
                  <a:pt x="296" y="206"/>
                </a:lnTo>
                <a:lnTo>
                  <a:pt x="296" y="209"/>
                </a:lnTo>
                <a:lnTo>
                  <a:pt x="295" y="210"/>
                </a:lnTo>
                <a:lnTo>
                  <a:pt x="292" y="209"/>
                </a:lnTo>
                <a:lnTo>
                  <a:pt x="291" y="209"/>
                </a:lnTo>
                <a:lnTo>
                  <a:pt x="289" y="208"/>
                </a:lnTo>
                <a:lnTo>
                  <a:pt x="285" y="207"/>
                </a:lnTo>
                <a:lnTo>
                  <a:pt x="283" y="206"/>
                </a:lnTo>
                <a:lnTo>
                  <a:pt x="279" y="203"/>
                </a:lnTo>
                <a:lnTo>
                  <a:pt x="278" y="202"/>
                </a:lnTo>
                <a:lnTo>
                  <a:pt x="279" y="201"/>
                </a:lnTo>
                <a:lnTo>
                  <a:pt x="279" y="191"/>
                </a:lnTo>
                <a:lnTo>
                  <a:pt x="281" y="190"/>
                </a:lnTo>
                <a:lnTo>
                  <a:pt x="281" y="189"/>
                </a:lnTo>
                <a:lnTo>
                  <a:pt x="282" y="188"/>
                </a:lnTo>
                <a:lnTo>
                  <a:pt x="282" y="186"/>
                </a:lnTo>
                <a:close/>
                <a:moveTo>
                  <a:pt x="68" y="174"/>
                </a:moveTo>
                <a:lnTo>
                  <a:pt x="70" y="176"/>
                </a:lnTo>
                <a:lnTo>
                  <a:pt x="71" y="176"/>
                </a:lnTo>
                <a:lnTo>
                  <a:pt x="72" y="177"/>
                </a:lnTo>
                <a:lnTo>
                  <a:pt x="70" y="177"/>
                </a:lnTo>
                <a:lnTo>
                  <a:pt x="68" y="176"/>
                </a:lnTo>
                <a:lnTo>
                  <a:pt x="68" y="174"/>
                </a:lnTo>
                <a:close/>
                <a:moveTo>
                  <a:pt x="12" y="174"/>
                </a:moveTo>
                <a:lnTo>
                  <a:pt x="14" y="174"/>
                </a:lnTo>
                <a:lnTo>
                  <a:pt x="14" y="177"/>
                </a:lnTo>
                <a:lnTo>
                  <a:pt x="16" y="177"/>
                </a:lnTo>
                <a:lnTo>
                  <a:pt x="16" y="183"/>
                </a:lnTo>
                <a:lnTo>
                  <a:pt x="17" y="184"/>
                </a:lnTo>
                <a:lnTo>
                  <a:pt x="16" y="184"/>
                </a:lnTo>
                <a:lnTo>
                  <a:pt x="14" y="182"/>
                </a:lnTo>
                <a:lnTo>
                  <a:pt x="12" y="177"/>
                </a:lnTo>
                <a:lnTo>
                  <a:pt x="12" y="174"/>
                </a:lnTo>
                <a:close/>
                <a:moveTo>
                  <a:pt x="92" y="164"/>
                </a:moveTo>
                <a:lnTo>
                  <a:pt x="92" y="166"/>
                </a:lnTo>
                <a:lnTo>
                  <a:pt x="93" y="166"/>
                </a:lnTo>
                <a:lnTo>
                  <a:pt x="93" y="164"/>
                </a:lnTo>
                <a:lnTo>
                  <a:pt x="95" y="164"/>
                </a:lnTo>
                <a:lnTo>
                  <a:pt x="98" y="166"/>
                </a:lnTo>
                <a:lnTo>
                  <a:pt x="98" y="167"/>
                </a:lnTo>
                <a:lnTo>
                  <a:pt x="99" y="167"/>
                </a:lnTo>
                <a:lnTo>
                  <a:pt x="99" y="169"/>
                </a:lnTo>
                <a:lnTo>
                  <a:pt x="102" y="169"/>
                </a:lnTo>
                <a:lnTo>
                  <a:pt x="103" y="170"/>
                </a:lnTo>
                <a:lnTo>
                  <a:pt x="101" y="170"/>
                </a:lnTo>
                <a:lnTo>
                  <a:pt x="101" y="171"/>
                </a:lnTo>
                <a:lnTo>
                  <a:pt x="102" y="172"/>
                </a:lnTo>
                <a:lnTo>
                  <a:pt x="98" y="176"/>
                </a:lnTo>
                <a:lnTo>
                  <a:pt x="99" y="177"/>
                </a:lnTo>
                <a:lnTo>
                  <a:pt x="101" y="177"/>
                </a:lnTo>
                <a:lnTo>
                  <a:pt x="102" y="174"/>
                </a:lnTo>
                <a:lnTo>
                  <a:pt x="105" y="173"/>
                </a:lnTo>
                <a:lnTo>
                  <a:pt x="107" y="173"/>
                </a:lnTo>
                <a:lnTo>
                  <a:pt x="107" y="172"/>
                </a:lnTo>
                <a:lnTo>
                  <a:pt x="105" y="171"/>
                </a:lnTo>
                <a:lnTo>
                  <a:pt x="105" y="170"/>
                </a:lnTo>
                <a:lnTo>
                  <a:pt x="107" y="171"/>
                </a:lnTo>
                <a:lnTo>
                  <a:pt x="107" y="164"/>
                </a:lnTo>
                <a:lnTo>
                  <a:pt x="108" y="164"/>
                </a:lnTo>
                <a:lnTo>
                  <a:pt x="109" y="165"/>
                </a:lnTo>
                <a:lnTo>
                  <a:pt x="110" y="169"/>
                </a:lnTo>
                <a:lnTo>
                  <a:pt x="110" y="170"/>
                </a:lnTo>
                <a:lnTo>
                  <a:pt x="111" y="170"/>
                </a:lnTo>
                <a:lnTo>
                  <a:pt x="111" y="171"/>
                </a:lnTo>
                <a:lnTo>
                  <a:pt x="112" y="172"/>
                </a:lnTo>
                <a:lnTo>
                  <a:pt x="112" y="173"/>
                </a:lnTo>
                <a:lnTo>
                  <a:pt x="111" y="173"/>
                </a:lnTo>
                <a:lnTo>
                  <a:pt x="109" y="176"/>
                </a:lnTo>
                <a:lnTo>
                  <a:pt x="105" y="174"/>
                </a:lnTo>
                <a:lnTo>
                  <a:pt x="105" y="176"/>
                </a:lnTo>
                <a:lnTo>
                  <a:pt x="104" y="176"/>
                </a:lnTo>
                <a:lnTo>
                  <a:pt x="104" y="177"/>
                </a:lnTo>
                <a:lnTo>
                  <a:pt x="105" y="177"/>
                </a:lnTo>
                <a:lnTo>
                  <a:pt x="105" y="176"/>
                </a:lnTo>
                <a:lnTo>
                  <a:pt x="110" y="176"/>
                </a:lnTo>
                <a:lnTo>
                  <a:pt x="110" y="177"/>
                </a:lnTo>
                <a:lnTo>
                  <a:pt x="115" y="183"/>
                </a:lnTo>
                <a:lnTo>
                  <a:pt x="116" y="186"/>
                </a:lnTo>
                <a:lnTo>
                  <a:pt x="116" y="188"/>
                </a:lnTo>
                <a:lnTo>
                  <a:pt x="115" y="188"/>
                </a:lnTo>
                <a:lnTo>
                  <a:pt x="115" y="186"/>
                </a:lnTo>
                <a:lnTo>
                  <a:pt x="114" y="186"/>
                </a:lnTo>
                <a:lnTo>
                  <a:pt x="114" y="189"/>
                </a:lnTo>
                <a:lnTo>
                  <a:pt x="115" y="191"/>
                </a:lnTo>
                <a:lnTo>
                  <a:pt x="115" y="196"/>
                </a:lnTo>
                <a:lnTo>
                  <a:pt x="114" y="197"/>
                </a:lnTo>
                <a:lnTo>
                  <a:pt x="114" y="200"/>
                </a:lnTo>
                <a:lnTo>
                  <a:pt x="112" y="202"/>
                </a:lnTo>
                <a:lnTo>
                  <a:pt x="112" y="203"/>
                </a:lnTo>
                <a:lnTo>
                  <a:pt x="111" y="204"/>
                </a:lnTo>
                <a:lnTo>
                  <a:pt x="107" y="204"/>
                </a:lnTo>
                <a:lnTo>
                  <a:pt x="104" y="207"/>
                </a:lnTo>
                <a:lnTo>
                  <a:pt x="103" y="207"/>
                </a:lnTo>
                <a:lnTo>
                  <a:pt x="101" y="206"/>
                </a:lnTo>
                <a:lnTo>
                  <a:pt x="97" y="206"/>
                </a:lnTo>
                <a:lnTo>
                  <a:pt x="97" y="204"/>
                </a:lnTo>
                <a:lnTo>
                  <a:pt x="95" y="204"/>
                </a:lnTo>
                <a:lnTo>
                  <a:pt x="91" y="202"/>
                </a:lnTo>
                <a:lnTo>
                  <a:pt x="90" y="202"/>
                </a:lnTo>
                <a:lnTo>
                  <a:pt x="89" y="203"/>
                </a:lnTo>
                <a:lnTo>
                  <a:pt x="89" y="204"/>
                </a:lnTo>
                <a:lnTo>
                  <a:pt x="86" y="202"/>
                </a:lnTo>
                <a:lnTo>
                  <a:pt x="84" y="203"/>
                </a:lnTo>
                <a:lnTo>
                  <a:pt x="84" y="202"/>
                </a:lnTo>
                <a:lnTo>
                  <a:pt x="87" y="200"/>
                </a:lnTo>
                <a:lnTo>
                  <a:pt x="87" y="198"/>
                </a:lnTo>
                <a:lnTo>
                  <a:pt x="86" y="198"/>
                </a:lnTo>
                <a:lnTo>
                  <a:pt x="86" y="197"/>
                </a:lnTo>
                <a:lnTo>
                  <a:pt x="85" y="196"/>
                </a:lnTo>
                <a:lnTo>
                  <a:pt x="85" y="195"/>
                </a:lnTo>
                <a:lnTo>
                  <a:pt x="84" y="196"/>
                </a:lnTo>
                <a:lnTo>
                  <a:pt x="83" y="196"/>
                </a:lnTo>
                <a:lnTo>
                  <a:pt x="81" y="195"/>
                </a:lnTo>
                <a:lnTo>
                  <a:pt x="80" y="195"/>
                </a:lnTo>
                <a:lnTo>
                  <a:pt x="80" y="194"/>
                </a:lnTo>
                <a:lnTo>
                  <a:pt x="79" y="194"/>
                </a:lnTo>
                <a:lnTo>
                  <a:pt x="78" y="192"/>
                </a:lnTo>
                <a:lnTo>
                  <a:pt x="77" y="192"/>
                </a:lnTo>
                <a:lnTo>
                  <a:pt x="77" y="191"/>
                </a:lnTo>
                <a:lnTo>
                  <a:pt x="76" y="190"/>
                </a:lnTo>
                <a:lnTo>
                  <a:pt x="77" y="189"/>
                </a:lnTo>
                <a:lnTo>
                  <a:pt x="77" y="188"/>
                </a:lnTo>
                <a:lnTo>
                  <a:pt x="76" y="186"/>
                </a:lnTo>
                <a:lnTo>
                  <a:pt x="76" y="183"/>
                </a:lnTo>
                <a:lnTo>
                  <a:pt x="72" y="183"/>
                </a:lnTo>
                <a:lnTo>
                  <a:pt x="72" y="180"/>
                </a:lnTo>
                <a:lnTo>
                  <a:pt x="73" y="180"/>
                </a:lnTo>
                <a:lnTo>
                  <a:pt x="74" y="179"/>
                </a:lnTo>
                <a:lnTo>
                  <a:pt x="73" y="179"/>
                </a:lnTo>
                <a:lnTo>
                  <a:pt x="73" y="177"/>
                </a:lnTo>
                <a:lnTo>
                  <a:pt x="68" y="173"/>
                </a:lnTo>
                <a:lnTo>
                  <a:pt x="67" y="172"/>
                </a:lnTo>
                <a:lnTo>
                  <a:pt x="68" y="172"/>
                </a:lnTo>
                <a:lnTo>
                  <a:pt x="68" y="171"/>
                </a:lnTo>
                <a:lnTo>
                  <a:pt x="71" y="169"/>
                </a:lnTo>
                <a:lnTo>
                  <a:pt x="73" y="169"/>
                </a:lnTo>
                <a:lnTo>
                  <a:pt x="73" y="170"/>
                </a:lnTo>
                <a:lnTo>
                  <a:pt x="76" y="172"/>
                </a:lnTo>
                <a:lnTo>
                  <a:pt x="90" y="165"/>
                </a:lnTo>
                <a:lnTo>
                  <a:pt x="91" y="165"/>
                </a:lnTo>
                <a:lnTo>
                  <a:pt x="92" y="164"/>
                </a:lnTo>
                <a:close/>
                <a:moveTo>
                  <a:pt x="190" y="158"/>
                </a:moveTo>
                <a:lnTo>
                  <a:pt x="191" y="158"/>
                </a:lnTo>
                <a:lnTo>
                  <a:pt x="194" y="165"/>
                </a:lnTo>
                <a:lnTo>
                  <a:pt x="192" y="166"/>
                </a:lnTo>
                <a:lnTo>
                  <a:pt x="191" y="166"/>
                </a:lnTo>
                <a:lnTo>
                  <a:pt x="191" y="167"/>
                </a:lnTo>
                <a:lnTo>
                  <a:pt x="190" y="167"/>
                </a:lnTo>
                <a:lnTo>
                  <a:pt x="190" y="169"/>
                </a:lnTo>
                <a:lnTo>
                  <a:pt x="189" y="169"/>
                </a:lnTo>
                <a:lnTo>
                  <a:pt x="188" y="167"/>
                </a:lnTo>
                <a:lnTo>
                  <a:pt x="188" y="163"/>
                </a:lnTo>
                <a:lnTo>
                  <a:pt x="190" y="160"/>
                </a:lnTo>
                <a:lnTo>
                  <a:pt x="190" y="158"/>
                </a:lnTo>
                <a:close/>
                <a:moveTo>
                  <a:pt x="165" y="158"/>
                </a:moveTo>
                <a:lnTo>
                  <a:pt x="166" y="158"/>
                </a:lnTo>
                <a:lnTo>
                  <a:pt x="167" y="159"/>
                </a:lnTo>
                <a:lnTo>
                  <a:pt x="165" y="159"/>
                </a:lnTo>
                <a:lnTo>
                  <a:pt x="165" y="158"/>
                </a:lnTo>
                <a:close/>
                <a:moveTo>
                  <a:pt x="105" y="140"/>
                </a:moveTo>
                <a:lnTo>
                  <a:pt x="107" y="140"/>
                </a:lnTo>
                <a:lnTo>
                  <a:pt x="108" y="141"/>
                </a:lnTo>
                <a:lnTo>
                  <a:pt x="107" y="141"/>
                </a:lnTo>
                <a:lnTo>
                  <a:pt x="107" y="143"/>
                </a:lnTo>
                <a:lnTo>
                  <a:pt x="108" y="145"/>
                </a:lnTo>
                <a:lnTo>
                  <a:pt x="109" y="143"/>
                </a:lnTo>
                <a:lnTo>
                  <a:pt x="109" y="145"/>
                </a:lnTo>
                <a:lnTo>
                  <a:pt x="108" y="146"/>
                </a:lnTo>
                <a:lnTo>
                  <a:pt x="108" y="151"/>
                </a:lnTo>
                <a:lnTo>
                  <a:pt x="105" y="153"/>
                </a:lnTo>
                <a:lnTo>
                  <a:pt x="104" y="153"/>
                </a:lnTo>
                <a:lnTo>
                  <a:pt x="103" y="151"/>
                </a:lnTo>
                <a:lnTo>
                  <a:pt x="103" y="146"/>
                </a:lnTo>
                <a:lnTo>
                  <a:pt x="104" y="146"/>
                </a:lnTo>
                <a:lnTo>
                  <a:pt x="104" y="145"/>
                </a:lnTo>
                <a:lnTo>
                  <a:pt x="105" y="143"/>
                </a:lnTo>
                <a:lnTo>
                  <a:pt x="105" y="140"/>
                </a:lnTo>
                <a:close/>
                <a:moveTo>
                  <a:pt x="103" y="135"/>
                </a:moveTo>
                <a:lnTo>
                  <a:pt x="104" y="135"/>
                </a:lnTo>
                <a:lnTo>
                  <a:pt x="104" y="139"/>
                </a:lnTo>
                <a:lnTo>
                  <a:pt x="105" y="140"/>
                </a:lnTo>
                <a:lnTo>
                  <a:pt x="103" y="140"/>
                </a:lnTo>
                <a:lnTo>
                  <a:pt x="103" y="135"/>
                </a:lnTo>
                <a:close/>
                <a:moveTo>
                  <a:pt x="2" y="134"/>
                </a:moveTo>
                <a:lnTo>
                  <a:pt x="3" y="135"/>
                </a:lnTo>
                <a:lnTo>
                  <a:pt x="2" y="135"/>
                </a:lnTo>
                <a:lnTo>
                  <a:pt x="2" y="134"/>
                </a:lnTo>
                <a:close/>
                <a:moveTo>
                  <a:pt x="176" y="126"/>
                </a:moveTo>
                <a:lnTo>
                  <a:pt x="179" y="126"/>
                </a:lnTo>
                <a:lnTo>
                  <a:pt x="183" y="127"/>
                </a:lnTo>
                <a:lnTo>
                  <a:pt x="185" y="127"/>
                </a:lnTo>
                <a:lnTo>
                  <a:pt x="188" y="129"/>
                </a:lnTo>
                <a:lnTo>
                  <a:pt x="189" y="129"/>
                </a:lnTo>
                <a:lnTo>
                  <a:pt x="191" y="131"/>
                </a:lnTo>
                <a:lnTo>
                  <a:pt x="191" y="133"/>
                </a:lnTo>
                <a:lnTo>
                  <a:pt x="189" y="135"/>
                </a:lnTo>
                <a:lnTo>
                  <a:pt x="189" y="136"/>
                </a:lnTo>
                <a:lnTo>
                  <a:pt x="188" y="140"/>
                </a:lnTo>
                <a:lnTo>
                  <a:pt x="186" y="140"/>
                </a:lnTo>
                <a:lnTo>
                  <a:pt x="186" y="141"/>
                </a:lnTo>
                <a:lnTo>
                  <a:pt x="189" y="143"/>
                </a:lnTo>
                <a:lnTo>
                  <a:pt x="189" y="146"/>
                </a:lnTo>
                <a:lnTo>
                  <a:pt x="190" y="148"/>
                </a:lnTo>
                <a:lnTo>
                  <a:pt x="190" y="149"/>
                </a:lnTo>
                <a:lnTo>
                  <a:pt x="191" y="151"/>
                </a:lnTo>
                <a:lnTo>
                  <a:pt x="190" y="151"/>
                </a:lnTo>
                <a:lnTo>
                  <a:pt x="190" y="155"/>
                </a:lnTo>
                <a:lnTo>
                  <a:pt x="191" y="157"/>
                </a:lnTo>
                <a:lnTo>
                  <a:pt x="190" y="158"/>
                </a:lnTo>
                <a:lnTo>
                  <a:pt x="188" y="161"/>
                </a:lnTo>
                <a:lnTo>
                  <a:pt x="186" y="163"/>
                </a:lnTo>
                <a:lnTo>
                  <a:pt x="186" y="164"/>
                </a:lnTo>
                <a:lnTo>
                  <a:pt x="185" y="164"/>
                </a:lnTo>
                <a:lnTo>
                  <a:pt x="185" y="165"/>
                </a:lnTo>
                <a:lnTo>
                  <a:pt x="184" y="164"/>
                </a:lnTo>
                <a:lnTo>
                  <a:pt x="183" y="164"/>
                </a:lnTo>
                <a:lnTo>
                  <a:pt x="179" y="165"/>
                </a:lnTo>
                <a:lnTo>
                  <a:pt x="176" y="169"/>
                </a:lnTo>
                <a:lnTo>
                  <a:pt x="173" y="173"/>
                </a:lnTo>
                <a:lnTo>
                  <a:pt x="174" y="177"/>
                </a:lnTo>
                <a:lnTo>
                  <a:pt x="177" y="179"/>
                </a:lnTo>
                <a:lnTo>
                  <a:pt x="180" y="179"/>
                </a:lnTo>
                <a:lnTo>
                  <a:pt x="184" y="183"/>
                </a:lnTo>
                <a:lnTo>
                  <a:pt x="184" y="186"/>
                </a:lnTo>
                <a:lnTo>
                  <a:pt x="185" y="188"/>
                </a:lnTo>
                <a:lnTo>
                  <a:pt x="184" y="189"/>
                </a:lnTo>
                <a:lnTo>
                  <a:pt x="182" y="190"/>
                </a:lnTo>
                <a:lnTo>
                  <a:pt x="173" y="192"/>
                </a:lnTo>
                <a:lnTo>
                  <a:pt x="172" y="194"/>
                </a:lnTo>
                <a:lnTo>
                  <a:pt x="171" y="194"/>
                </a:lnTo>
                <a:lnTo>
                  <a:pt x="171" y="195"/>
                </a:lnTo>
                <a:lnTo>
                  <a:pt x="170" y="197"/>
                </a:lnTo>
                <a:lnTo>
                  <a:pt x="170" y="198"/>
                </a:lnTo>
                <a:lnTo>
                  <a:pt x="168" y="198"/>
                </a:lnTo>
                <a:lnTo>
                  <a:pt x="168" y="196"/>
                </a:lnTo>
                <a:lnTo>
                  <a:pt x="166" y="196"/>
                </a:lnTo>
                <a:lnTo>
                  <a:pt x="166" y="198"/>
                </a:lnTo>
                <a:lnTo>
                  <a:pt x="167" y="198"/>
                </a:lnTo>
                <a:lnTo>
                  <a:pt x="171" y="200"/>
                </a:lnTo>
                <a:lnTo>
                  <a:pt x="172" y="200"/>
                </a:lnTo>
                <a:lnTo>
                  <a:pt x="173" y="202"/>
                </a:lnTo>
                <a:lnTo>
                  <a:pt x="172" y="202"/>
                </a:lnTo>
                <a:lnTo>
                  <a:pt x="172" y="203"/>
                </a:lnTo>
                <a:lnTo>
                  <a:pt x="171" y="203"/>
                </a:lnTo>
                <a:lnTo>
                  <a:pt x="170" y="204"/>
                </a:lnTo>
                <a:lnTo>
                  <a:pt x="171" y="204"/>
                </a:lnTo>
                <a:lnTo>
                  <a:pt x="172" y="208"/>
                </a:lnTo>
                <a:lnTo>
                  <a:pt x="172" y="209"/>
                </a:lnTo>
                <a:lnTo>
                  <a:pt x="171" y="210"/>
                </a:lnTo>
                <a:lnTo>
                  <a:pt x="168" y="210"/>
                </a:lnTo>
                <a:lnTo>
                  <a:pt x="167" y="212"/>
                </a:lnTo>
                <a:lnTo>
                  <a:pt x="165" y="212"/>
                </a:lnTo>
                <a:lnTo>
                  <a:pt x="163" y="209"/>
                </a:lnTo>
                <a:lnTo>
                  <a:pt x="161" y="209"/>
                </a:lnTo>
                <a:lnTo>
                  <a:pt x="161" y="212"/>
                </a:lnTo>
                <a:lnTo>
                  <a:pt x="160" y="213"/>
                </a:lnTo>
                <a:lnTo>
                  <a:pt x="160" y="214"/>
                </a:lnTo>
                <a:lnTo>
                  <a:pt x="161" y="215"/>
                </a:lnTo>
                <a:lnTo>
                  <a:pt x="163" y="215"/>
                </a:lnTo>
                <a:lnTo>
                  <a:pt x="163" y="214"/>
                </a:lnTo>
                <a:lnTo>
                  <a:pt x="164" y="213"/>
                </a:lnTo>
                <a:lnTo>
                  <a:pt x="164" y="214"/>
                </a:lnTo>
                <a:lnTo>
                  <a:pt x="167" y="217"/>
                </a:lnTo>
                <a:lnTo>
                  <a:pt x="168" y="216"/>
                </a:lnTo>
                <a:lnTo>
                  <a:pt x="170" y="216"/>
                </a:lnTo>
                <a:lnTo>
                  <a:pt x="170" y="217"/>
                </a:lnTo>
                <a:lnTo>
                  <a:pt x="171" y="219"/>
                </a:lnTo>
                <a:lnTo>
                  <a:pt x="172" y="221"/>
                </a:lnTo>
                <a:lnTo>
                  <a:pt x="168" y="225"/>
                </a:lnTo>
                <a:lnTo>
                  <a:pt x="166" y="228"/>
                </a:lnTo>
                <a:lnTo>
                  <a:pt x="166" y="229"/>
                </a:lnTo>
                <a:lnTo>
                  <a:pt x="165" y="231"/>
                </a:lnTo>
                <a:lnTo>
                  <a:pt x="164" y="231"/>
                </a:lnTo>
                <a:lnTo>
                  <a:pt x="164" y="240"/>
                </a:lnTo>
                <a:lnTo>
                  <a:pt x="163" y="241"/>
                </a:lnTo>
                <a:lnTo>
                  <a:pt x="163" y="239"/>
                </a:lnTo>
                <a:lnTo>
                  <a:pt x="161" y="238"/>
                </a:lnTo>
                <a:lnTo>
                  <a:pt x="160" y="235"/>
                </a:lnTo>
                <a:lnTo>
                  <a:pt x="160" y="232"/>
                </a:lnTo>
                <a:lnTo>
                  <a:pt x="161" y="229"/>
                </a:lnTo>
                <a:lnTo>
                  <a:pt x="160" y="229"/>
                </a:lnTo>
                <a:lnTo>
                  <a:pt x="160" y="227"/>
                </a:lnTo>
                <a:lnTo>
                  <a:pt x="159" y="227"/>
                </a:lnTo>
                <a:lnTo>
                  <a:pt x="159" y="229"/>
                </a:lnTo>
                <a:lnTo>
                  <a:pt x="158" y="229"/>
                </a:lnTo>
                <a:lnTo>
                  <a:pt x="157" y="231"/>
                </a:lnTo>
                <a:lnTo>
                  <a:pt x="159" y="232"/>
                </a:lnTo>
                <a:lnTo>
                  <a:pt x="159" y="233"/>
                </a:lnTo>
                <a:lnTo>
                  <a:pt x="158" y="234"/>
                </a:lnTo>
                <a:lnTo>
                  <a:pt x="155" y="235"/>
                </a:lnTo>
                <a:lnTo>
                  <a:pt x="148" y="234"/>
                </a:lnTo>
                <a:lnTo>
                  <a:pt x="147" y="234"/>
                </a:lnTo>
                <a:lnTo>
                  <a:pt x="145" y="235"/>
                </a:lnTo>
                <a:lnTo>
                  <a:pt x="143" y="237"/>
                </a:lnTo>
                <a:lnTo>
                  <a:pt x="142" y="237"/>
                </a:lnTo>
                <a:lnTo>
                  <a:pt x="135" y="232"/>
                </a:lnTo>
                <a:lnTo>
                  <a:pt x="130" y="229"/>
                </a:lnTo>
                <a:lnTo>
                  <a:pt x="129" y="228"/>
                </a:lnTo>
                <a:lnTo>
                  <a:pt x="127" y="227"/>
                </a:lnTo>
                <a:lnTo>
                  <a:pt x="124" y="227"/>
                </a:lnTo>
                <a:lnTo>
                  <a:pt x="123" y="226"/>
                </a:lnTo>
                <a:lnTo>
                  <a:pt x="123" y="223"/>
                </a:lnTo>
                <a:lnTo>
                  <a:pt x="127" y="223"/>
                </a:lnTo>
                <a:lnTo>
                  <a:pt x="128" y="221"/>
                </a:lnTo>
                <a:lnTo>
                  <a:pt x="127" y="221"/>
                </a:lnTo>
                <a:lnTo>
                  <a:pt x="124" y="219"/>
                </a:lnTo>
                <a:lnTo>
                  <a:pt x="124" y="215"/>
                </a:lnTo>
                <a:lnTo>
                  <a:pt x="126" y="213"/>
                </a:lnTo>
                <a:lnTo>
                  <a:pt x="127" y="214"/>
                </a:lnTo>
                <a:lnTo>
                  <a:pt x="133" y="213"/>
                </a:lnTo>
                <a:lnTo>
                  <a:pt x="134" y="213"/>
                </a:lnTo>
                <a:lnTo>
                  <a:pt x="136" y="214"/>
                </a:lnTo>
                <a:lnTo>
                  <a:pt x="136" y="215"/>
                </a:lnTo>
                <a:lnTo>
                  <a:pt x="138" y="215"/>
                </a:lnTo>
                <a:lnTo>
                  <a:pt x="139" y="217"/>
                </a:lnTo>
                <a:lnTo>
                  <a:pt x="140" y="219"/>
                </a:lnTo>
                <a:lnTo>
                  <a:pt x="141" y="219"/>
                </a:lnTo>
                <a:lnTo>
                  <a:pt x="148" y="223"/>
                </a:lnTo>
                <a:lnTo>
                  <a:pt x="148" y="222"/>
                </a:lnTo>
                <a:lnTo>
                  <a:pt x="147" y="221"/>
                </a:lnTo>
                <a:lnTo>
                  <a:pt x="147" y="220"/>
                </a:lnTo>
                <a:lnTo>
                  <a:pt x="149" y="220"/>
                </a:lnTo>
                <a:lnTo>
                  <a:pt x="151" y="219"/>
                </a:lnTo>
                <a:lnTo>
                  <a:pt x="151" y="215"/>
                </a:lnTo>
                <a:lnTo>
                  <a:pt x="154" y="219"/>
                </a:lnTo>
                <a:lnTo>
                  <a:pt x="154" y="220"/>
                </a:lnTo>
                <a:lnTo>
                  <a:pt x="155" y="221"/>
                </a:lnTo>
                <a:lnTo>
                  <a:pt x="157" y="221"/>
                </a:lnTo>
                <a:lnTo>
                  <a:pt x="155" y="222"/>
                </a:lnTo>
                <a:lnTo>
                  <a:pt x="159" y="226"/>
                </a:lnTo>
                <a:lnTo>
                  <a:pt x="159" y="225"/>
                </a:lnTo>
                <a:lnTo>
                  <a:pt x="157" y="223"/>
                </a:lnTo>
                <a:lnTo>
                  <a:pt x="157" y="221"/>
                </a:lnTo>
                <a:lnTo>
                  <a:pt x="154" y="219"/>
                </a:lnTo>
                <a:lnTo>
                  <a:pt x="154" y="214"/>
                </a:lnTo>
                <a:lnTo>
                  <a:pt x="153" y="214"/>
                </a:lnTo>
                <a:lnTo>
                  <a:pt x="153" y="213"/>
                </a:lnTo>
                <a:lnTo>
                  <a:pt x="154" y="212"/>
                </a:lnTo>
                <a:lnTo>
                  <a:pt x="155" y="212"/>
                </a:lnTo>
                <a:lnTo>
                  <a:pt x="157" y="213"/>
                </a:lnTo>
                <a:lnTo>
                  <a:pt x="158" y="213"/>
                </a:lnTo>
                <a:lnTo>
                  <a:pt x="159" y="212"/>
                </a:lnTo>
                <a:lnTo>
                  <a:pt x="160" y="212"/>
                </a:lnTo>
                <a:lnTo>
                  <a:pt x="160" y="210"/>
                </a:lnTo>
                <a:lnTo>
                  <a:pt x="159" y="208"/>
                </a:lnTo>
                <a:lnTo>
                  <a:pt x="159" y="207"/>
                </a:lnTo>
                <a:lnTo>
                  <a:pt x="155" y="206"/>
                </a:lnTo>
                <a:lnTo>
                  <a:pt x="158" y="206"/>
                </a:lnTo>
                <a:lnTo>
                  <a:pt x="154" y="202"/>
                </a:lnTo>
                <a:lnTo>
                  <a:pt x="153" y="200"/>
                </a:lnTo>
                <a:lnTo>
                  <a:pt x="158" y="200"/>
                </a:lnTo>
                <a:lnTo>
                  <a:pt x="157" y="198"/>
                </a:lnTo>
                <a:lnTo>
                  <a:pt x="157" y="197"/>
                </a:lnTo>
                <a:lnTo>
                  <a:pt x="154" y="198"/>
                </a:lnTo>
                <a:lnTo>
                  <a:pt x="153" y="197"/>
                </a:lnTo>
                <a:lnTo>
                  <a:pt x="154" y="196"/>
                </a:lnTo>
                <a:lnTo>
                  <a:pt x="154" y="195"/>
                </a:lnTo>
                <a:lnTo>
                  <a:pt x="153" y="194"/>
                </a:lnTo>
                <a:lnTo>
                  <a:pt x="152" y="194"/>
                </a:lnTo>
                <a:lnTo>
                  <a:pt x="152" y="195"/>
                </a:lnTo>
                <a:lnTo>
                  <a:pt x="151" y="196"/>
                </a:lnTo>
                <a:lnTo>
                  <a:pt x="149" y="196"/>
                </a:lnTo>
                <a:lnTo>
                  <a:pt x="148" y="195"/>
                </a:lnTo>
                <a:lnTo>
                  <a:pt x="145" y="195"/>
                </a:lnTo>
                <a:lnTo>
                  <a:pt x="145" y="194"/>
                </a:lnTo>
                <a:lnTo>
                  <a:pt x="143" y="195"/>
                </a:lnTo>
                <a:lnTo>
                  <a:pt x="141" y="192"/>
                </a:lnTo>
                <a:lnTo>
                  <a:pt x="140" y="194"/>
                </a:lnTo>
                <a:lnTo>
                  <a:pt x="135" y="194"/>
                </a:lnTo>
                <a:lnTo>
                  <a:pt x="135" y="195"/>
                </a:lnTo>
                <a:lnTo>
                  <a:pt x="134" y="195"/>
                </a:lnTo>
                <a:lnTo>
                  <a:pt x="134" y="194"/>
                </a:lnTo>
                <a:lnTo>
                  <a:pt x="133" y="191"/>
                </a:lnTo>
                <a:lnTo>
                  <a:pt x="134" y="192"/>
                </a:lnTo>
                <a:lnTo>
                  <a:pt x="135" y="191"/>
                </a:lnTo>
                <a:lnTo>
                  <a:pt x="133" y="191"/>
                </a:lnTo>
                <a:lnTo>
                  <a:pt x="133" y="188"/>
                </a:lnTo>
                <a:lnTo>
                  <a:pt x="130" y="185"/>
                </a:lnTo>
                <a:lnTo>
                  <a:pt x="132" y="184"/>
                </a:lnTo>
                <a:lnTo>
                  <a:pt x="130" y="183"/>
                </a:lnTo>
                <a:lnTo>
                  <a:pt x="129" y="183"/>
                </a:lnTo>
                <a:lnTo>
                  <a:pt x="129" y="184"/>
                </a:lnTo>
                <a:lnTo>
                  <a:pt x="128" y="184"/>
                </a:lnTo>
                <a:lnTo>
                  <a:pt x="128" y="185"/>
                </a:lnTo>
                <a:lnTo>
                  <a:pt x="127" y="184"/>
                </a:lnTo>
                <a:lnTo>
                  <a:pt x="127" y="182"/>
                </a:lnTo>
                <a:lnTo>
                  <a:pt x="128" y="183"/>
                </a:lnTo>
                <a:lnTo>
                  <a:pt x="130" y="180"/>
                </a:lnTo>
                <a:lnTo>
                  <a:pt x="132" y="180"/>
                </a:lnTo>
                <a:lnTo>
                  <a:pt x="132" y="176"/>
                </a:lnTo>
                <a:lnTo>
                  <a:pt x="130" y="173"/>
                </a:lnTo>
                <a:lnTo>
                  <a:pt x="130" y="172"/>
                </a:lnTo>
                <a:lnTo>
                  <a:pt x="129" y="171"/>
                </a:lnTo>
                <a:lnTo>
                  <a:pt x="128" y="171"/>
                </a:lnTo>
                <a:lnTo>
                  <a:pt x="127" y="172"/>
                </a:lnTo>
                <a:lnTo>
                  <a:pt x="127" y="170"/>
                </a:lnTo>
                <a:lnTo>
                  <a:pt x="128" y="170"/>
                </a:lnTo>
                <a:lnTo>
                  <a:pt x="129" y="169"/>
                </a:lnTo>
                <a:lnTo>
                  <a:pt x="129" y="165"/>
                </a:lnTo>
                <a:lnTo>
                  <a:pt x="127" y="163"/>
                </a:lnTo>
                <a:lnTo>
                  <a:pt x="124" y="161"/>
                </a:lnTo>
                <a:lnTo>
                  <a:pt x="120" y="160"/>
                </a:lnTo>
                <a:lnTo>
                  <a:pt x="127" y="160"/>
                </a:lnTo>
                <a:lnTo>
                  <a:pt x="126" y="159"/>
                </a:lnTo>
                <a:lnTo>
                  <a:pt x="123" y="158"/>
                </a:lnTo>
                <a:lnTo>
                  <a:pt x="122" y="158"/>
                </a:lnTo>
                <a:lnTo>
                  <a:pt x="122" y="155"/>
                </a:lnTo>
                <a:lnTo>
                  <a:pt x="118" y="155"/>
                </a:lnTo>
                <a:lnTo>
                  <a:pt x="117" y="154"/>
                </a:lnTo>
                <a:lnTo>
                  <a:pt x="124" y="155"/>
                </a:lnTo>
                <a:lnTo>
                  <a:pt x="126" y="155"/>
                </a:lnTo>
                <a:lnTo>
                  <a:pt x="128" y="154"/>
                </a:lnTo>
                <a:lnTo>
                  <a:pt x="132" y="158"/>
                </a:lnTo>
                <a:lnTo>
                  <a:pt x="133" y="157"/>
                </a:lnTo>
                <a:lnTo>
                  <a:pt x="130" y="155"/>
                </a:lnTo>
                <a:lnTo>
                  <a:pt x="132" y="154"/>
                </a:lnTo>
                <a:lnTo>
                  <a:pt x="132" y="155"/>
                </a:lnTo>
                <a:lnTo>
                  <a:pt x="134" y="155"/>
                </a:lnTo>
                <a:lnTo>
                  <a:pt x="136" y="154"/>
                </a:lnTo>
                <a:lnTo>
                  <a:pt x="138" y="153"/>
                </a:lnTo>
                <a:lnTo>
                  <a:pt x="139" y="153"/>
                </a:lnTo>
                <a:lnTo>
                  <a:pt x="139" y="148"/>
                </a:lnTo>
                <a:lnTo>
                  <a:pt x="140" y="148"/>
                </a:lnTo>
                <a:lnTo>
                  <a:pt x="142" y="146"/>
                </a:lnTo>
                <a:lnTo>
                  <a:pt x="143" y="147"/>
                </a:lnTo>
                <a:lnTo>
                  <a:pt x="145" y="145"/>
                </a:lnTo>
                <a:lnTo>
                  <a:pt x="145" y="142"/>
                </a:lnTo>
                <a:lnTo>
                  <a:pt x="143" y="139"/>
                </a:lnTo>
                <a:lnTo>
                  <a:pt x="139" y="139"/>
                </a:lnTo>
                <a:lnTo>
                  <a:pt x="136" y="137"/>
                </a:lnTo>
                <a:lnTo>
                  <a:pt x="135" y="136"/>
                </a:lnTo>
                <a:lnTo>
                  <a:pt x="135" y="135"/>
                </a:lnTo>
                <a:lnTo>
                  <a:pt x="140" y="137"/>
                </a:lnTo>
                <a:lnTo>
                  <a:pt x="141" y="137"/>
                </a:lnTo>
                <a:lnTo>
                  <a:pt x="147" y="139"/>
                </a:lnTo>
                <a:lnTo>
                  <a:pt x="153" y="139"/>
                </a:lnTo>
                <a:lnTo>
                  <a:pt x="154" y="137"/>
                </a:lnTo>
                <a:lnTo>
                  <a:pt x="155" y="137"/>
                </a:lnTo>
                <a:lnTo>
                  <a:pt x="155" y="139"/>
                </a:lnTo>
                <a:lnTo>
                  <a:pt x="154" y="140"/>
                </a:lnTo>
                <a:lnTo>
                  <a:pt x="154" y="142"/>
                </a:lnTo>
                <a:lnTo>
                  <a:pt x="153" y="142"/>
                </a:lnTo>
                <a:lnTo>
                  <a:pt x="153" y="141"/>
                </a:lnTo>
                <a:lnTo>
                  <a:pt x="152" y="141"/>
                </a:lnTo>
                <a:lnTo>
                  <a:pt x="151" y="142"/>
                </a:lnTo>
                <a:lnTo>
                  <a:pt x="153" y="146"/>
                </a:lnTo>
                <a:lnTo>
                  <a:pt x="154" y="147"/>
                </a:lnTo>
                <a:lnTo>
                  <a:pt x="153" y="149"/>
                </a:lnTo>
                <a:lnTo>
                  <a:pt x="152" y="148"/>
                </a:lnTo>
                <a:lnTo>
                  <a:pt x="149" y="151"/>
                </a:lnTo>
                <a:lnTo>
                  <a:pt x="148" y="151"/>
                </a:lnTo>
                <a:lnTo>
                  <a:pt x="149" y="152"/>
                </a:lnTo>
                <a:lnTo>
                  <a:pt x="152" y="151"/>
                </a:lnTo>
                <a:lnTo>
                  <a:pt x="153" y="151"/>
                </a:lnTo>
                <a:lnTo>
                  <a:pt x="153" y="149"/>
                </a:lnTo>
                <a:lnTo>
                  <a:pt x="155" y="152"/>
                </a:lnTo>
                <a:lnTo>
                  <a:pt x="155" y="154"/>
                </a:lnTo>
                <a:lnTo>
                  <a:pt x="151" y="154"/>
                </a:lnTo>
                <a:lnTo>
                  <a:pt x="151" y="155"/>
                </a:lnTo>
                <a:lnTo>
                  <a:pt x="155" y="155"/>
                </a:lnTo>
                <a:lnTo>
                  <a:pt x="157" y="158"/>
                </a:lnTo>
                <a:lnTo>
                  <a:pt x="157" y="159"/>
                </a:lnTo>
                <a:lnTo>
                  <a:pt x="155" y="160"/>
                </a:lnTo>
                <a:lnTo>
                  <a:pt x="157" y="160"/>
                </a:lnTo>
                <a:lnTo>
                  <a:pt x="158" y="159"/>
                </a:lnTo>
                <a:lnTo>
                  <a:pt x="159" y="155"/>
                </a:lnTo>
                <a:lnTo>
                  <a:pt x="159" y="151"/>
                </a:lnTo>
                <a:lnTo>
                  <a:pt x="161" y="148"/>
                </a:lnTo>
                <a:lnTo>
                  <a:pt x="163" y="148"/>
                </a:lnTo>
                <a:lnTo>
                  <a:pt x="164" y="146"/>
                </a:lnTo>
                <a:lnTo>
                  <a:pt x="161" y="141"/>
                </a:lnTo>
                <a:lnTo>
                  <a:pt x="161" y="140"/>
                </a:lnTo>
                <a:lnTo>
                  <a:pt x="163" y="140"/>
                </a:lnTo>
                <a:lnTo>
                  <a:pt x="165" y="142"/>
                </a:lnTo>
                <a:lnTo>
                  <a:pt x="165" y="146"/>
                </a:lnTo>
                <a:lnTo>
                  <a:pt x="166" y="146"/>
                </a:lnTo>
                <a:lnTo>
                  <a:pt x="166" y="148"/>
                </a:lnTo>
                <a:lnTo>
                  <a:pt x="167" y="152"/>
                </a:lnTo>
                <a:lnTo>
                  <a:pt x="167" y="154"/>
                </a:lnTo>
                <a:lnTo>
                  <a:pt x="166" y="157"/>
                </a:lnTo>
                <a:lnTo>
                  <a:pt x="165" y="155"/>
                </a:lnTo>
                <a:lnTo>
                  <a:pt x="164" y="155"/>
                </a:lnTo>
                <a:lnTo>
                  <a:pt x="164" y="158"/>
                </a:lnTo>
                <a:lnTo>
                  <a:pt x="161" y="160"/>
                </a:lnTo>
                <a:lnTo>
                  <a:pt x="164" y="160"/>
                </a:lnTo>
                <a:lnTo>
                  <a:pt x="165" y="159"/>
                </a:lnTo>
                <a:lnTo>
                  <a:pt x="167" y="161"/>
                </a:lnTo>
                <a:lnTo>
                  <a:pt x="170" y="157"/>
                </a:lnTo>
                <a:lnTo>
                  <a:pt x="170" y="155"/>
                </a:lnTo>
                <a:lnTo>
                  <a:pt x="167" y="147"/>
                </a:lnTo>
                <a:lnTo>
                  <a:pt x="167" y="143"/>
                </a:lnTo>
                <a:lnTo>
                  <a:pt x="166" y="139"/>
                </a:lnTo>
                <a:lnTo>
                  <a:pt x="165" y="137"/>
                </a:lnTo>
                <a:lnTo>
                  <a:pt x="164" y="137"/>
                </a:lnTo>
                <a:lnTo>
                  <a:pt x="159" y="140"/>
                </a:lnTo>
                <a:lnTo>
                  <a:pt x="159" y="136"/>
                </a:lnTo>
                <a:lnTo>
                  <a:pt x="166" y="133"/>
                </a:lnTo>
                <a:lnTo>
                  <a:pt x="172" y="127"/>
                </a:lnTo>
                <a:lnTo>
                  <a:pt x="176" y="126"/>
                </a:lnTo>
                <a:close/>
                <a:moveTo>
                  <a:pt x="89" y="98"/>
                </a:moveTo>
                <a:lnTo>
                  <a:pt x="89" y="99"/>
                </a:lnTo>
                <a:lnTo>
                  <a:pt x="90" y="99"/>
                </a:lnTo>
                <a:lnTo>
                  <a:pt x="90" y="98"/>
                </a:lnTo>
                <a:lnTo>
                  <a:pt x="89" y="98"/>
                </a:lnTo>
                <a:close/>
                <a:moveTo>
                  <a:pt x="45" y="85"/>
                </a:moveTo>
                <a:lnTo>
                  <a:pt x="46" y="85"/>
                </a:lnTo>
                <a:lnTo>
                  <a:pt x="45" y="86"/>
                </a:lnTo>
                <a:lnTo>
                  <a:pt x="45" y="85"/>
                </a:lnTo>
                <a:close/>
                <a:moveTo>
                  <a:pt x="86" y="80"/>
                </a:moveTo>
                <a:lnTo>
                  <a:pt x="85" y="81"/>
                </a:lnTo>
                <a:lnTo>
                  <a:pt x="84" y="81"/>
                </a:lnTo>
                <a:lnTo>
                  <a:pt x="81" y="83"/>
                </a:lnTo>
                <a:lnTo>
                  <a:pt x="79" y="85"/>
                </a:lnTo>
                <a:lnTo>
                  <a:pt x="73" y="86"/>
                </a:lnTo>
                <a:lnTo>
                  <a:pt x="74" y="86"/>
                </a:lnTo>
                <a:lnTo>
                  <a:pt x="81" y="85"/>
                </a:lnTo>
                <a:lnTo>
                  <a:pt x="83" y="84"/>
                </a:lnTo>
                <a:lnTo>
                  <a:pt x="83" y="83"/>
                </a:lnTo>
                <a:lnTo>
                  <a:pt x="86" y="83"/>
                </a:lnTo>
                <a:lnTo>
                  <a:pt x="86" y="80"/>
                </a:lnTo>
                <a:close/>
                <a:moveTo>
                  <a:pt x="151" y="79"/>
                </a:moveTo>
                <a:lnTo>
                  <a:pt x="151" y="80"/>
                </a:lnTo>
                <a:lnTo>
                  <a:pt x="149" y="80"/>
                </a:lnTo>
                <a:lnTo>
                  <a:pt x="148" y="81"/>
                </a:lnTo>
                <a:lnTo>
                  <a:pt x="148" y="83"/>
                </a:lnTo>
                <a:lnTo>
                  <a:pt x="147" y="83"/>
                </a:lnTo>
                <a:lnTo>
                  <a:pt x="147" y="84"/>
                </a:lnTo>
                <a:lnTo>
                  <a:pt x="146" y="84"/>
                </a:lnTo>
                <a:lnTo>
                  <a:pt x="145" y="83"/>
                </a:lnTo>
                <a:lnTo>
                  <a:pt x="145" y="80"/>
                </a:lnTo>
                <a:lnTo>
                  <a:pt x="148" y="80"/>
                </a:lnTo>
                <a:lnTo>
                  <a:pt x="151" y="79"/>
                </a:lnTo>
                <a:close/>
                <a:moveTo>
                  <a:pt x="6" y="75"/>
                </a:moveTo>
                <a:lnTo>
                  <a:pt x="8" y="79"/>
                </a:lnTo>
                <a:lnTo>
                  <a:pt x="8" y="81"/>
                </a:lnTo>
                <a:lnTo>
                  <a:pt x="6" y="81"/>
                </a:lnTo>
                <a:lnTo>
                  <a:pt x="6" y="75"/>
                </a:lnTo>
                <a:close/>
                <a:moveTo>
                  <a:pt x="33" y="61"/>
                </a:moveTo>
                <a:lnTo>
                  <a:pt x="34" y="62"/>
                </a:lnTo>
                <a:lnTo>
                  <a:pt x="35" y="61"/>
                </a:lnTo>
                <a:lnTo>
                  <a:pt x="35" y="68"/>
                </a:lnTo>
                <a:lnTo>
                  <a:pt x="34" y="68"/>
                </a:lnTo>
                <a:lnTo>
                  <a:pt x="34" y="67"/>
                </a:lnTo>
                <a:lnTo>
                  <a:pt x="33" y="67"/>
                </a:lnTo>
                <a:lnTo>
                  <a:pt x="31" y="68"/>
                </a:lnTo>
                <a:lnTo>
                  <a:pt x="31" y="69"/>
                </a:lnTo>
                <a:lnTo>
                  <a:pt x="33" y="69"/>
                </a:lnTo>
                <a:lnTo>
                  <a:pt x="33" y="73"/>
                </a:lnTo>
                <a:lnTo>
                  <a:pt x="34" y="73"/>
                </a:lnTo>
                <a:lnTo>
                  <a:pt x="34" y="74"/>
                </a:lnTo>
                <a:lnTo>
                  <a:pt x="33" y="74"/>
                </a:lnTo>
                <a:lnTo>
                  <a:pt x="33" y="75"/>
                </a:lnTo>
                <a:lnTo>
                  <a:pt x="31" y="77"/>
                </a:lnTo>
                <a:lnTo>
                  <a:pt x="31" y="78"/>
                </a:lnTo>
                <a:lnTo>
                  <a:pt x="29" y="80"/>
                </a:lnTo>
                <a:lnTo>
                  <a:pt x="29" y="81"/>
                </a:lnTo>
                <a:lnTo>
                  <a:pt x="25" y="83"/>
                </a:lnTo>
                <a:lnTo>
                  <a:pt x="24" y="84"/>
                </a:lnTo>
                <a:lnTo>
                  <a:pt x="24" y="83"/>
                </a:lnTo>
                <a:lnTo>
                  <a:pt x="23" y="80"/>
                </a:lnTo>
                <a:lnTo>
                  <a:pt x="22" y="80"/>
                </a:lnTo>
                <a:lnTo>
                  <a:pt x="21" y="79"/>
                </a:lnTo>
                <a:lnTo>
                  <a:pt x="21" y="78"/>
                </a:lnTo>
                <a:lnTo>
                  <a:pt x="20" y="78"/>
                </a:lnTo>
                <a:lnTo>
                  <a:pt x="18" y="79"/>
                </a:lnTo>
                <a:lnTo>
                  <a:pt x="18" y="77"/>
                </a:lnTo>
                <a:lnTo>
                  <a:pt x="20" y="77"/>
                </a:lnTo>
                <a:lnTo>
                  <a:pt x="20" y="74"/>
                </a:lnTo>
                <a:lnTo>
                  <a:pt x="21" y="74"/>
                </a:lnTo>
                <a:lnTo>
                  <a:pt x="23" y="73"/>
                </a:lnTo>
                <a:lnTo>
                  <a:pt x="24" y="72"/>
                </a:lnTo>
                <a:lnTo>
                  <a:pt x="23" y="72"/>
                </a:lnTo>
                <a:lnTo>
                  <a:pt x="23" y="71"/>
                </a:lnTo>
                <a:lnTo>
                  <a:pt x="24" y="69"/>
                </a:lnTo>
                <a:lnTo>
                  <a:pt x="24" y="67"/>
                </a:lnTo>
                <a:lnTo>
                  <a:pt x="25" y="67"/>
                </a:lnTo>
                <a:lnTo>
                  <a:pt x="27" y="66"/>
                </a:lnTo>
                <a:lnTo>
                  <a:pt x="29" y="66"/>
                </a:lnTo>
                <a:lnTo>
                  <a:pt x="30" y="65"/>
                </a:lnTo>
                <a:lnTo>
                  <a:pt x="30" y="66"/>
                </a:lnTo>
                <a:lnTo>
                  <a:pt x="31" y="65"/>
                </a:lnTo>
                <a:lnTo>
                  <a:pt x="33" y="61"/>
                </a:lnTo>
                <a:close/>
                <a:moveTo>
                  <a:pt x="35" y="60"/>
                </a:moveTo>
                <a:lnTo>
                  <a:pt x="36" y="60"/>
                </a:lnTo>
                <a:lnTo>
                  <a:pt x="35" y="61"/>
                </a:lnTo>
                <a:lnTo>
                  <a:pt x="35" y="60"/>
                </a:lnTo>
                <a:close/>
                <a:moveTo>
                  <a:pt x="80" y="51"/>
                </a:moveTo>
                <a:lnTo>
                  <a:pt x="79" y="53"/>
                </a:lnTo>
                <a:lnTo>
                  <a:pt x="79" y="54"/>
                </a:lnTo>
                <a:lnTo>
                  <a:pt x="79" y="53"/>
                </a:lnTo>
                <a:lnTo>
                  <a:pt x="80" y="53"/>
                </a:lnTo>
                <a:lnTo>
                  <a:pt x="81" y="51"/>
                </a:lnTo>
                <a:lnTo>
                  <a:pt x="81" y="53"/>
                </a:lnTo>
                <a:lnTo>
                  <a:pt x="86" y="56"/>
                </a:lnTo>
                <a:lnTo>
                  <a:pt x="89" y="59"/>
                </a:lnTo>
                <a:lnTo>
                  <a:pt x="91" y="59"/>
                </a:lnTo>
                <a:lnTo>
                  <a:pt x="87" y="56"/>
                </a:lnTo>
                <a:lnTo>
                  <a:pt x="85" y="54"/>
                </a:lnTo>
                <a:lnTo>
                  <a:pt x="83" y="53"/>
                </a:lnTo>
                <a:lnTo>
                  <a:pt x="81" y="51"/>
                </a:lnTo>
                <a:lnTo>
                  <a:pt x="80" y="51"/>
                </a:lnTo>
                <a:close/>
                <a:moveTo>
                  <a:pt x="129" y="32"/>
                </a:moveTo>
                <a:lnTo>
                  <a:pt x="130" y="32"/>
                </a:lnTo>
                <a:lnTo>
                  <a:pt x="132" y="34"/>
                </a:lnTo>
                <a:lnTo>
                  <a:pt x="132" y="36"/>
                </a:lnTo>
                <a:lnTo>
                  <a:pt x="130" y="35"/>
                </a:lnTo>
                <a:lnTo>
                  <a:pt x="129" y="35"/>
                </a:lnTo>
                <a:lnTo>
                  <a:pt x="126" y="36"/>
                </a:lnTo>
                <a:lnTo>
                  <a:pt x="127" y="36"/>
                </a:lnTo>
                <a:lnTo>
                  <a:pt x="127" y="38"/>
                </a:lnTo>
                <a:lnTo>
                  <a:pt x="126" y="40"/>
                </a:lnTo>
                <a:lnTo>
                  <a:pt x="126" y="41"/>
                </a:lnTo>
                <a:lnTo>
                  <a:pt x="124" y="42"/>
                </a:lnTo>
                <a:lnTo>
                  <a:pt x="124" y="43"/>
                </a:lnTo>
                <a:lnTo>
                  <a:pt x="123" y="43"/>
                </a:lnTo>
                <a:lnTo>
                  <a:pt x="120" y="40"/>
                </a:lnTo>
                <a:lnTo>
                  <a:pt x="118" y="40"/>
                </a:lnTo>
                <a:lnTo>
                  <a:pt x="117" y="38"/>
                </a:lnTo>
                <a:lnTo>
                  <a:pt x="117" y="37"/>
                </a:lnTo>
                <a:lnTo>
                  <a:pt x="118" y="37"/>
                </a:lnTo>
                <a:lnTo>
                  <a:pt x="121" y="35"/>
                </a:lnTo>
                <a:lnTo>
                  <a:pt x="123" y="35"/>
                </a:lnTo>
                <a:lnTo>
                  <a:pt x="124" y="34"/>
                </a:lnTo>
                <a:lnTo>
                  <a:pt x="127" y="34"/>
                </a:lnTo>
                <a:lnTo>
                  <a:pt x="129" y="32"/>
                </a:lnTo>
                <a:close/>
                <a:moveTo>
                  <a:pt x="104" y="0"/>
                </a:moveTo>
                <a:lnTo>
                  <a:pt x="108" y="0"/>
                </a:lnTo>
                <a:lnTo>
                  <a:pt x="105" y="1"/>
                </a:lnTo>
                <a:lnTo>
                  <a:pt x="104" y="4"/>
                </a:lnTo>
                <a:lnTo>
                  <a:pt x="101" y="8"/>
                </a:lnTo>
                <a:lnTo>
                  <a:pt x="99" y="13"/>
                </a:lnTo>
                <a:lnTo>
                  <a:pt x="102" y="20"/>
                </a:lnTo>
                <a:lnTo>
                  <a:pt x="104" y="24"/>
                </a:lnTo>
                <a:lnTo>
                  <a:pt x="103" y="28"/>
                </a:lnTo>
                <a:lnTo>
                  <a:pt x="103" y="32"/>
                </a:lnTo>
                <a:lnTo>
                  <a:pt x="104" y="40"/>
                </a:lnTo>
                <a:lnTo>
                  <a:pt x="99" y="44"/>
                </a:lnTo>
                <a:lnTo>
                  <a:pt x="97" y="49"/>
                </a:lnTo>
                <a:lnTo>
                  <a:pt x="97" y="53"/>
                </a:lnTo>
                <a:lnTo>
                  <a:pt x="96" y="56"/>
                </a:lnTo>
                <a:lnTo>
                  <a:pt x="96" y="57"/>
                </a:lnTo>
                <a:lnTo>
                  <a:pt x="95" y="59"/>
                </a:lnTo>
                <a:lnTo>
                  <a:pt x="93" y="59"/>
                </a:lnTo>
                <a:lnTo>
                  <a:pt x="95" y="60"/>
                </a:lnTo>
                <a:lnTo>
                  <a:pt x="92" y="62"/>
                </a:lnTo>
                <a:lnTo>
                  <a:pt x="92" y="67"/>
                </a:lnTo>
                <a:lnTo>
                  <a:pt x="93" y="71"/>
                </a:lnTo>
                <a:lnTo>
                  <a:pt x="93" y="75"/>
                </a:lnTo>
                <a:lnTo>
                  <a:pt x="95" y="79"/>
                </a:lnTo>
                <a:lnTo>
                  <a:pt x="95" y="80"/>
                </a:lnTo>
                <a:lnTo>
                  <a:pt x="96" y="80"/>
                </a:lnTo>
                <a:lnTo>
                  <a:pt x="95" y="81"/>
                </a:lnTo>
                <a:lnTo>
                  <a:pt x="93" y="80"/>
                </a:lnTo>
                <a:lnTo>
                  <a:pt x="90" y="80"/>
                </a:lnTo>
                <a:lnTo>
                  <a:pt x="90" y="81"/>
                </a:lnTo>
                <a:lnTo>
                  <a:pt x="89" y="80"/>
                </a:lnTo>
                <a:lnTo>
                  <a:pt x="87" y="80"/>
                </a:lnTo>
                <a:lnTo>
                  <a:pt x="89" y="81"/>
                </a:lnTo>
                <a:lnTo>
                  <a:pt x="89" y="83"/>
                </a:lnTo>
                <a:lnTo>
                  <a:pt x="92" y="83"/>
                </a:lnTo>
                <a:lnTo>
                  <a:pt x="93" y="81"/>
                </a:lnTo>
                <a:lnTo>
                  <a:pt x="95" y="81"/>
                </a:lnTo>
                <a:lnTo>
                  <a:pt x="96" y="83"/>
                </a:lnTo>
                <a:lnTo>
                  <a:pt x="96" y="87"/>
                </a:lnTo>
                <a:lnTo>
                  <a:pt x="92" y="90"/>
                </a:lnTo>
                <a:lnTo>
                  <a:pt x="90" y="92"/>
                </a:lnTo>
                <a:lnTo>
                  <a:pt x="90" y="96"/>
                </a:lnTo>
                <a:lnTo>
                  <a:pt x="91" y="93"/>
                </a:lnTo>
                <a:lnTo>
                  <a:pt x="91" y="92"/>
                </a:lnTo>
                <a:lnTo>
                  <a:pt x="92" y="91"/>
                </a:lnTo>
                <a:lnTo>
                  <a:pt x="95" y="90"/>
                </a:lnTo>
                <a:lnTo>
                  <a:pt x="95" y="88"/>
                </a:lnTo>
                <a:lnTo>
                  <a:pt x="96" y="90"/>
                </a:lnTo>
                <a:lnTo>
                  <a:pt x="96" y="92"/>
                </a:lnTo>
                <a:lnTo>
                  <a:pt x="97" y="93"/>
                </a:lnTo>
                <a:lnTo>
                  <a:pt x="101" y="96"/>
                </a:lnTo>
                <a:lnTo>
                  <a:pt x="104" y="96"/>
                </a:lnTo>
                <a:lnTo>
                  <a:pt x="114" y="94"/>
                </a:lnTo>
                <a:lnTo>
                  <a:pt x="117" y="94"/>
                </a:lnTo>
                <a:lnTo>
                  <a:pt x="117" y="96"/>
                </a:lnTo>
                <a:lnTo>
                  <a:pt x="118" y="98"/>
                </a:lnTo>
                <a:lnTo>
                  <a:pt x="122" y="100"/>
                </a:lnTo>
                <a:lnTo>
                  <a:pt x="122" y="102"/>
                </a:lnTo>
                <a:lnTo>
                  <a:pt x="121" y="102"/>
                </a:lnTo>
                <a:lnTo>
                  <a:pt x="120" y="104"/>
                </a:lnTo>
                <a:lnTo>
                  <a:pt x="120" y="110"/>
                </a:lnTo>
                <a:lnTo>
                  <a:pt x="112" y="117"/>
                </a:lnTo>
                <a:lnTo>
                  <a:pt x="112" y="123"/>
                </a:lnTo>
                <a:lnTo>
                  <a:pt x="110" y="123"/>
                </a:lnTo>
                <a:lnTo>
                  <a:pt x="108" y="121"/>
                </a:lnTo>
                <a:lnTo>
                  <a:pt x="109" y="121"/>
                </a:lnTo>
                <a:lnTo>
                  <a:pt x="110" y="120"/>
                </a:lnTo>
                <a:lnTo>
                  <a:pt x="110" y="118"/>
                </a:lnTo>
                <a:lnTo>
                  <a:pt x="109" y="117"/>
                </a:lnTo>
                <a:lnTo>
                  <a:pt x="108" y="117"/>
                </a:lnTo>
                <a:lnTo>
                  <a:pt x="104" y="121"/>
                </a:lnTo>
                <a:lnTo>
                  <a:pt x="104" y="123"/>
                </a:lnTo>
                <a:lnTo>
                  <a:pt x="105" y="126"/>
                </a:lnTo>
                <a:lnTo>
                  <a:pt x="105" y="127"/>
                </a:lnTo>
                <a:lnTo>
                  <a:pt x="102" y="127"/>
                </a:lnTo>
                <a:lnTo>
                  <a:pt x="102" y="124"/>
                </a:lnTo>
                <a:lnTo>
                  <a:pt x="103" y="123"/>
                </a:lnTo>
                <a:lnTo>
                  <a:pt x="103" y="122"/>
                </a:lnTo>
                <a:lnTo>
                  <a:pt x="97" y="122"/>
                </a:lnTo>
                <a:lnTo>
                  <a:pt x="97" y="121"/>
                </a:lnTo>
                <a:lnTo>
                  <a:pt x="96" y="120"/>
                </a:lnTo>
                <a:lnTo>
                  <a:pt x="97" y="120"/>
                </a:lnTo>
                <a:lnTo>
                  <a:pt x="98" y="118"/>
                </a:lnTo>
                <a:lnTo>
                  <a:pt x="99" y="118"/>
                </a:lnTo>
                <a:lnTo>
                  <a:pt x="101" y="120"/>
                </a:lnTo>
                <a:lnTo>
                  <a:pt x="102" y="118"/>
                </a:lnTo>
                <a:lnTo>
                  <a:pt x="101" y="117"/>
                </a:lnTo>
                <a:lnTo>
                  <a:pt x="101" y="116"/>
                </a:lnTo>
                <a:lnTo>
                  <a:pt x="102" y="114"/>
                </a:lnTo>
                <a:lnTo>
                  <a:pt x="101" y="114"/>
                </a:lnTo>
                <a:lnTo>
                  <a:pt x="101" y="112"/>
                </a:lnTo>
                <a:lnTo>
                  <a:pt x="98" y="112"/>
                </a:lnTo>
                <a:lnTo>
                  <a:pt x="98" y="114"/>
                </a:lnTo>
                <a:lnTo>
                  <a:pt x="97" y="114"/>
                </a:lnTo>
                <a:lnTo>
                  <a:pt x="97" y="115"/>
                </a:lnTo>
                <a:lnTo>
                  <a:pt x="96" y="115"/>
                </a:lnTo>
                <a:lnTo>
                  <a:pt x="95" y="117"/>
                </a:lnTo>
                <a:lnTo>
                  <a:pt x="95" y="118"/>
                </a:lnTo>
                <a:lnTo>
                  <a:pt x="90" y="123"/>
                </a:lnTo>
                <a:lnTo>
                  <a:pt x="90" y="124"/>
                </a:lnTo>
                <a:lnTo>
                  <a:pt x="92" y="127"/>
                </a:lnTo>
                <a:lnTo>
                  <a:pt x="92" y="130"/>
                </a:lnTo>
                <a:lnTo>
                  <a:pt x="91" y="131"/>
                </a:lnTo>
                <a:lnTo>
                  <a:pt x="91" y="133"/>
                </a:lnTo>
                <a:lnTo>
                  <a:pt x="92" y="133"/>
                </a:lnTo>
                <a:lnTo>
                  <a:pt x="92" y="134"/>
                </a:lnTo>
                <a:lnTo>
                  <a:pt x="91" y="136"/>
                </a:lnTo>
                <a:lnTo>
                  <a:pt x="91" y="141"/>
                </a:lnTo>
                <a:lnTo>
                  <a:pt x="90" y="142"/>
                </a:lnTo>
                <a:lnTo>
                  <a:pt x="90" y="143"/>
                </a:lnTo>
                <a:lnTo>
                  <a:pt x="89" y="143"/>
                </a:lnTo>
                <a:lnTo>
                  <a:pt x="89" y="146"/>
                </a:lnTo>
                <a:lnTo>
                  <a:pt x="90" y="146"/>
                </a:lnTo>
                <a:lnTo>
                  <a:pt x="89" y="147"/>
                </a:lnTo>
                <a:lnTo>
                  <a:pt x="87" y="147"/>
                </a:lnTo>
                <a:lnTo>
                  <a:pt x="86" y="146"/>
                </a:lnTo>
                <a:lnTo>
                  <a:pt x="86" y="143"/>
                </a:lnTo>
                <a:lnTo>
                  <a:pt x="80" y="143"/>
                </a:lnTo>
                <a:lnTo>
                  <a:pt x="80" y="145"/>
                </a:lnTo>
                <a:lnTo>
                  <a:pt x="79" y="146"/>
                </a:lnTo>
                <a:lnTo>
                  <a:pt x="76" y="146"/>
                </a:lnTo>
                <a:lnTo>
                  <a:pt x="77" y="147"/>
                </a:lnTo>
                <a:lnTo>
                  <a:pt x="83" y="148"/>
                </a:lnTo>
                <a:lnTo>
                  <a:pt x="83" y="149"/>
                </a:lnTo>
                <a:lnTo>
                  <a:pt x="81" y="151"/>
                </a:lnTo>
                <a:lnTo>
                  <a:pt x="81" y="153"/>
                </a:lnTo>
                <a:lnTo>
                  <a:pt x="84" y="153"/>
                </a:lnTo>
                <a:lnTo>
                  <a:pt x="84" y="154"/>
                </a:lnTo>
                <a:lnTo>
                  <a:pt x="81" y="154"/>
                </a:lnTo>
                <a:lnTo>
                  <a:pt x="81" y="158"/>
                </a:lnTo>
                <a:lnTo>
                  <a:pt x="80" y="157"/>
                </a:lnTo>
                <a:lnTo>
                  <a:pt x="76" y="158"/>
                </a:lnTo>
                <a:lnTo>
                  <a:pt x="73" y="159"/>
                </a:lnTo>
                <a:lnTo>
                  <a:pt x="72" y="159"/>
                </a:lnTo>
                <a:lnTo>
                  <a:pt x="70" y="158"/>
                </a:lnTo>
                <a:lnTo>
                  <a:pt x="68" y="157"/>
                </a:lnTo>
                <a:lnTo>
                  <a:pt x="62" y="157"/>
                </a:lnTo>
                <a:lnTo>
                  <a:pt x="62" y="158"/>
                </a:lnTo>
                <a:lnTo>
                  <a:pt x="66" y="158"/>
                </a:lnTo>
                <a:lnTo>
                  <a:pt x="70" y="161"/>
                </a:lnTo>
                <a:lnTo>
                  <a:pt x="70" y="163"/>
                </a:lnTo>
                <a:lnTo>
                  <a:pt x="74" y="163"/>
                </a:lnTo>
                <a:lnTo>
                  <a:pt x="74" y="164"/>
                </a:lnTo>
                <a:lnTo>
                  <a:pt x="72" y="165"/>
                </a:lnTo>
                <a:lnTo>
                  <a:pt x="71" y="167"/>
                </a:lnTo>
                <a:lnTo>
                  <a:pt x="68" y="167"/>
                </a:lnTo>
                <a:lnTo>
                  <a:pt x="68" y="170"/>
                </a:lnTo>
                <a:lnTo>
                  <a:pt x="66" y="170"/>
                </a:lnTo>
                <a:lnTo>
                  <a:pt x="65" y="171"/>
                </a:lnTo>
                <a:lnTo>
                  <a:pt x="62" y="171"/>
                </a:lnTo>
                <a:lnTo>
                  <a:pt x="62" y="172"/>
                </a:lnTo>
                <a:lnTo>
                  <a:pt x="60" y="172"/>
                </a:lnTo>
                <a:lnTo>
                  <a:pt x="60" y="173"/>
                </a:lnTo>
                <a:lnTo>
                  <a:pt x="64" y="173"/>
                </a:lnTo>
                <a:lnTo>
                  <a:pt x="64" y="172"/>
                </a:lnTo>
                <a:lnTo>
                  <a:pt x="66" y="174"/>
                </a:lnTo>
                <a:lnTo>
                  <a:pt x="67" y="174"/>
                </a:lnTo>
                <a:lnTo>
                  <a:pt x="66" y="176"/>
                </a:lnTo>
                <a:lnTo>
                  <a:pt x="66" y="177"/>
                </a:lnTo>
                <a:lnTo>
                  <a:pt x="64" y="177"/>
                </a:lnTo>
                <a:lnTo>
                  <a:pt x="64" y="179"/>
                </a:lnTo>
                <a:lnTo>
                  <a:pt x="65" y="180"/>
                </a:lnTo>
                <a:lnTo>
                  <a:pt x="64" y="180"/>
                </a:lnTo>
                <a:lnTo>
                  <a:pt x="64" y="182"/>
                </a:lnTo>
                <a:lnTo>
                  <a:pt x="66" y="184"/>
                </a:lnTo>
                <a:lnTo>
                  <a:pt x="66" y="186"/>
                </a:lnTo>
                <a:lnTo>
                  <a:pt x="67" y="189"/>
                </a:lnTo>
                <a:lnTo>
                  <a:pt x="68" y="189"/>
                </a:lnTo>
                <a:lnTo>
                  <a:pt x="68" y="192"/>
                </a:lnTo>
                <a:lnTo>
                  <a:pt x="67" y="194"/>
                </a:lnTo>
                <a:lnTo>
                  <a:pt x="67" y="195"/>
                </a:lnTo>
                <a:lnTo>
                  <a:pt x="62" y="195"/>
                </a:lnTo>
                <a:lnTo>
                  <a:pt x="62" y="196"/>
                </a:lnTo>
                <a:lnTo>
                  <a:pt x="61" y="196"/>
                </a:lnTo>
                <a:lnTo>
                  <a:pt x="61" y="197"/>
                </a:lnTo>
                <a:lnTo>
                  <a:pt x="59" y="197"/>
                </a:lnTo>
                <a:lnTo>
                  <a:pt x="59" y="198"/>
                </a:lnTo>
                <a:lnTo>
                  <a:pt x="60" y="198"/>
                </a:lnTo>
                <a:lnTo>
                  <a:pt x="60" y="200"/>
                </a:lnTo>
                <a:lnTo>
                  <a:pt x="58" y="200"/>
                </a:lnTo>
                <a:lnTo>
                  <a:pt x="59" y="201"/>
                </a:lnTo>
                <a:lnTo>
                  <a:pt x="61" y="201"/>
                </a:lnTo>
                <a:lnTo>
                  <a:pt x="61" y="202"/>
                </a:lnTo>
                <a:lnTo>
                  <a:pt x="62" y="203"/>
                </a:lnTo>
                <a:lnTo>
                  <a:pt x="60" y="206"/>
                </a:lnTo>
                <a:lnTo>
                  <a:pt x="58" y="206"/>
                </a:lnTo>
                <a:lnTo>
                  <a:pt x="56" y="207"/>
                </a:lnTo>
                <a:lnTo>
                  <a:pt x="58" y="208"/>
                </a:lnTo>
                <a:lnTo>
                  <a:pt x="60" y="207"/>
                </a:lnTo>
                <a:lnTo>
                  <a:pt x="62" y="207"/>
                </a:lnTo>
                <a:lnTo>
                  <a:pt x="62" y="206"/>
                </a:lnTo>
                <a:lnTo>
                  <a:pt x="64" y="206"/>
                </a:lnTo>
                <a:lnTo>
                  <a:pt x="67" y="209"/>
                </a:lnTo>
                <a:lnTo>
                  <a:pt x="70" y="209"/>
                </a:lnTo>
                <a:lnTo>
                  <a:pt x="70" y="210"/>
                </a:lnTo>
                <a:lnTo>
                  <a:pt x="71" y="216"/>
                </a:lnTo>
                <a:lnTo>
                  <a:pt x="71" y="217"/>
                </a:lnTo>
                <a:lnTo>
                  <a:pt x="70" y="217"/>
                </a:lnTo>
                <a:lnTo>
                  <a:pt x="70" y="216"/>
                </a:lnTo>
                <a:lnTo>
                  <a:pt x="68" y="216"/>
                </a:lnTo>
                <a:lnTo>
                  <a:pt x="68" y="217"/>
                </a:lnTo>
                <a:lnTo>
                  <a:pt x="71" y="220"/>
                </a:lnTo>
                <a:lnTo>
                  <a:pt x="71" y="221"/>
                </a:lnTo>
                <a:lnTo>
                  <a:pt x="70" y="221"/>
                </a:lnTo>
                <a:lnTo>
                  <a:pt x="68" y="220"/>
                </a:lnTo>
                <a:lnTo>
                  <a:pt x="66" y="220"/>
                </a:lnTo>
                <a:lnTo>
                  <a:pt x="65" y="219"/>
                </a:lnTo>
                <a:lnTo>
                  <a:pt x="66" y="219"/>
                </a:lnTo>
                <a:lnTo>
                  <a:pt x="65" y="217"/>
                </a:lnTo>
                <a:lnTo>
                  <a:pt x="65" y="216"/>
                </a:lnTo>
                <a:lnTo>
                  <a:pt x="66" y="215"/>
                </a:lnTo>
                <a:lnTo>
                  <a:pt x="65" y="214"/>
                </a:lnTo>
                <a:lnTo>
                  <a:pt x="62" y="216"/>
                </a:lnTo>
                <a:lnTo>
                  <a:pt x="62" y="217"/>
                </a:lnTo>
                <a:lnTo>
                  <a:pt x="61" y="219"/>
                </a:lnTo>
                <a:lnTo>
                  <a:pt x="60" y="219"/>
                </a:lnTo>
                <a:lnTo>
                  <a:pt x="58" y="221"/>
                </a:lnTo>
                <a:lnTo>
                  <a:pt x="58" y="223"/>
                </a:lnTo>
                <a:lnTo>
                  <a:pt x="55" y="223"/>
                </a:lnTo>
                <a:lnTo>
                  <a:pt x="55" y="222"/>
                </a:lnTo>
                <a:lnTo>
                  <a:pt x="54" y="222"/>
                </a:lnTo>
                <a:lnTo>
                  <a:pt x="54" y="223"/>
                </a:lnTo>
                <a:lnTo>
                  <a:pt x="48" y="223"/>
                </a:lnTo>
                <a:lnTo>
                  <a:pt x="48" y="221"/>
                </a:lnTo>
                <a:lnTo>
                  <a:pt x="47" y="220"/>
                </a:lnTo>
                <a:lnTo>
                  <a:pt x="37" y="219"/>
                </a:lnTo>
                <a:lnTo>
                  <a:pt x="35" y="216"/>
                </a:lnTo>
                <a:lnTo>
                  <a:pt x="30" y="216"/>
                </a:lnTo>
                <a:lnTo>
                  <a:pt x="28" y="217"/>
                </a:lnTo>
                <a:lnTo>
                  <a:pt x="24" y="217"/>
                </a:lnTo>
                <a:lnTo>
                  <a:pt x="24" y="215"/>
                </a:lnTo>
                <a:lnTo>
                  <a:pt x="25" y="213"/>
                </a:lnTo>
                <a:lnTo>
                  <a:pt x="24" y="212"/>
                </a:lnTo>
                <a:lnTo>
                  <a:pt x="24" y="209"/>
                </a:lnTo>
                <a:lnTo>
                  <a:pt x="23" y="208"/>
                </a:lnTo>
                <a:lnTo>
                  <a:pt x="23" y="206"/>
                </a:lnTo>
                <a:lnTo>
                  <a:pt x="24" y="203"/>
                </a:lnTo>
                <a:lnTo>
                  <a:pt x="24" y="202"/>
                </a:lnTo>
                <a:lnTo>
                  <a:pt x="25" y="200"/>
                </a:lnTo>
                <a:lnTo>
                  <a:pt x="24" y="200"/>
                </a:lnTo>
                <a:lnTo>
                  <a:pt x="25" y="198"/>
                </a:lnTo>
                <a:lnTo>
                  <a:pt x="25" y="197"/>
                </a:lnTo>
                <a:lnTo>
                  <a:pt x="24" y="195"/>
                </a:lnTo>
                <a:lnTo>
                  <a:pt x="24" y="183"/>
                </a:lnTo>
                <a:lnTo>
                  <a:pt x="23" y="180"/>
                </a:lnTo>
                <a:lnTo>
                  <a:pt x="23" y="177"/>
                </a:lnTo>
                <a:lnTo>
                  <a:pt x="22" y="176"/>
                </a:lnTo>
                <a:lnTo>
                  <a:pt x="17" y="176"/>
                </a:lnTo>
                <a:lnTo>
                  <a:pt x="15" y="174"/>
                </a:lnTo>
                <a:lnTo>
                  <a:pt x="14" y="173"/>
                </a:lnTo>
                <a:lnTo>
                  <a:pt x="10" y="167"/>
                </a:lnTo>
                <a:lnTo>
                  <a:pt x="10" y="166"/>
                </a:lnTo>
                <a:lnTo>
                  <a:pt x="8" y="166"/>
                </a:lnTo>
                <a:lnTo>
                  <a:pt x="8" y="167"/>
                </a:lnTo>
                <a:lnTo>
                  <a:pt x="6" y="169"/>
                </a:lnTo>
                <a:lnTo>
                  <a:pt x="8" y="170"/>
                </a:lnTo>
                <a:lnTo>
                  <a:pt x="6" y="171"/>
                </a:lnTo>
                <a:lnTo>
                  <a:pt x="8" y="171"/>
                </a:lnTo>
                <a:lnTo>
                  <a:pt x="10" y="173"/>
                </a:lnTo>
                <a:lnTo>
                  <a:pt x="10" y="174"/>
                </a:lnTo>
                <a:lnTo>
                  <a:pt x="5" y="171"/>
                </a:lnTo>
                <a:lnTo>
                  <a:pt x="4" y="170"/>
                </a:lnTo>
                <a:lnTo>
                  <a:pt x="2" y="170"/>
                </a:lnTo>
                <a:lnTo>
                  <a:pt x="0" y="169"/>
                </a:lnTo>
                <a:lnTo>
                  <a:pt x="0" y="167"/>
                </a:lnTo>
                <a:lnTo>
                  <a:pt x="3" y="161"/>
                </a:lnTo>
                <a:lnTo>
                  <a:pt x="4" y="158"/>
                </a:lnTo>
                <a:lnTo>
                  <a:pt x="4" y="152"/>
                </a:lnTo>
                <a:lnTo>
                  <a:pt x="2" y="137"/>
                </a:lnTo>
                <a:lnTo>
                  <a:pt x="2" y="135"/>
                </a:lnTo>
                <a:lnTo>
                  <a:pt x="3" y="136"/>
                </a:lnTo>
                <a:lnTo>
                  <a:pt x="4" y="142"/>
                </a:lnTo>
                <a:lnTo>
                  <a:pt x="4" y="145"/>
                </a:lnTo>
                <a:lnTo>
                  <a:pt x="5" y="145"/>
                </a:lnTo>
                <a:lnTo>
                  <a:pt x="5" y="146"/>
                </a:lnTo>
                <a:lnTo>
                  <a:pt x="4" y="147"/>
                </a:lnTo>
                <a:lnTo>
                  <a:pt x="4" y="148"/>
                </a:lnTo>
                <a:lnTo>
                  <a:pt x="5" y="149"/>
                </a:lnTo>
                <a:lnTo>
                  <a:pt x="9" y="146"/>
                </a:lnTo>
                <a:lnTo>
                  <a:pt x="10" y="146"/>
                </a:lnTo>
                <a:lnTo>
                  <a:pt x="12" y="143"/>
                </a:lnTo>
                <a:lnTo>
                  <a:pt x="14" y="141"/>
                </a:lnTo>
                <a:lnTo>
                  <a:pt x="12" y="140"/>
                </a:lnTo>
                <a:lnTo>
                  <a:pt x="12" y="139"/>
                </a:lnTo>
                <a:lnTo>
                  <a:pt x="10" y="136"/>
                </a:lnTo>
                <a:lnTo>
                  <a:pt x="10" y="130"/>
                </a:lnTo>
                <a:lnTo>
                  <a:pt x="9" y="129"/>
                </a:lnTo>
                <a:lnTo>
                  <a:pt x="4" y="127"/>
                </a:lnTo>
                <a:lnTo>
                  <a:pt x="3" y="127"/>
                </a:lnTo>
                <a:lnTo>
                  <a:pt x="3" y="131"/>
                </a:lnTo>
                <a:lnTo>
                  <a:pt x="2" y="134"/>
                </a:lnTo>
                <a:lnTo>
                  <a:pt x="0" y="133"/>
                </a:lnTo>
                <a:lnTo>
                  <a:pt x="0" y="126"/>
                </a:lnTo>
                <a:lnTo>
                  <a:pt x="2" y="121"/>
                </a:lnTo>
                <a:lnTo>
                  <a:pt x="2" y="90"/>
                </a:lnTo>
                <a:lnTo>
                  <a:pt x="4" y="84"/>
                </a:lnTo>
                <a:lnTo>
                  <a:pt x="5" y="81"/>
                </a:lnTo>
                <a:lnTo>
                  <a:pt x="6" y="81"/>
                </a:lnTo>
                <a:lnTo>
                  <a:pt x="6" y="83"/>
                </a:lnTo>
                <a:lnTo>
                  <a:pt x="5" y="85"/>
                </a:lnTo>
                <a:lnTo>
                  <a:pt x="5" y="86"/>
                </a:lnTo>
                <a:lnTo>
                  <a:pt x="6" y="86"/>
                </a:lnTo>
                <a:lnTo>
                  <a:pt x="6" y="88"/>
                </a:lnTo>
                <a:lnTo>
                  <a:pt x="9" y="88"/>
                </a:lnTo>
                <a:lnTo>
                  <a:pt x="9" y="92"/>
                </a:lnTo>
                <a:lnTo>
                  <a:pt x="10" y="92"/>
                </a:lnTo>
                <a:lnTo>
                  <a:pt x="10" y="91"/>
                </a:lnTo>
                <a:lnTo>
                  <a:pt x="15" y="91"/>
                </a:lnTo>
                <a:lnTo>
                  <a:pt x="16" y="92"/>
                </a:lnTo>
                <a:lnTo>
                  <a:pt x="18" y="93"/>
                </a:lnTo>
                <a:lnTo>
                  <a:pt x="20" y="92"/>
                </a:lnTo>
                <a:lnTo>
                  <a:pt x="20" y="91"/>
                </a:lnTo>
                <a:lnTo>
                  <a:pt x="21" y="91"/>
                </a:lnTo>
                <a:lnTo>
                  <a:pt x="22" y="94"/>
                </a:lnTo>
                <a:lnTo>
                  <a:pt x="22" y="97"/>
                </a:lnTo>
                <a:lnTo>
                  <a:pt x="23" y="97"/>
                </a:lnTo>
                <a:lnTo>
                  <a:pt x="23" y="98"/>
                </a:lnTo>
                <a:lnTo>
                  <a:pt x="24" y="99"/>
                </a:lnTo>
                <a:lnTo>
                  <a:pt x="27" y="98"/>
                </a:lnTo>
                <a:lnTo>
                  <a:pt x="28" y="98"/>
                </a:lnTo>
                <a:lnTo>
                  <a:pt x="28" y="92"/>
                </a:lnTo>
                <a:lnTo>
                  <a:pt x="29" y="92"/>
                </a:lnTo>
                <a:lnTo>
                  <a:pt x="27" y="90"/>
                </a:lnTo>
                <a:lnTo>
                  <a:pt x="27" y="88"/>
                </a:lnTo>
                <a:lnTo>
                  <a:pt x="25" y="88"/>
                </a:lnTo>
                <a:lnTo>
                  <a:pt x="25" y="86"/>
                </a:lnTo>
                <a:lnTo>
                  <a:pt x="28" y="86"/>
                </a:lnTo>
                <a:lnTo>
                  <a:pt x="30" y="81"/>
                </a:lnTo>
                <a:lnTo>
                  <a:pt x="35" y="81"/>
                </a:lnTo>
                <a:lnTo>
                  <a:pt x="35" y="80"/>
                </a:lnTo>
                <a:lnTo>
                  <a:pt x="31" y="80"/>
                </a:lnTo>
                <a:lnTo>
                  <a:pt x="33" y="79"/>
                </a:lnTo>
                <a:lnTo>
                  <a:pt x="33" y="78"/>
                </a:lnTo>
                <a:lnTo>
                  <a:pt x="35" y="75"/>
                </a:lnTo>
                <a:lnTo>
                  <a:pt x="36" y="73"/>
                </a:lnTo>
                <a:lnTo>
                  <a:pt x="39" y="73"/>
                </a:lnTo>
                <a:lnTo>
                  <a:pt x="39" y="74"/>
                </a:lnTo>
                <a:lnTo>
                  <a:pt x="40" y="74"/>
                </a:lnTo>
                <a:lnTo>
                  <a:pt x="40" y="73"/>
                </a:lnTo>
                <a:lnTo>
                  <a:pt x="42" y="73"/>
                </a:lnTo>
                <a:lnTo>
                  <a:pt x="43" y="74"/>
                </a:lnTo>
                <a:lnTo>
                  <a:pt x="43" y="77"/>
                </a:lnTo>
                <a:lnTo>
                  <a:pt x="46" y="79"/>
                </a:lnTo>
                <a:lnTo>
                  <a:pt x="46" y="81"/>
                </a:lnTo>
                <a:lnTo>
                  <a:pt x="45" y="81"/>
                </a:lnTo>
                <a:lnTo>
                  <a:pt x="42" y="84"/>
                </a:lnTo>
                <a:lnTo>
                  <a:pt x="43" y="85"/>
                </a:lnTo>
                <a:lnTo>
                  <a:pt x="42" y="85"/>
                </a:lnTo>
                <a:lnTo>
                  <a:pt x="41" y="86"/>
                </a:lnTo>
                <a:lnTo>
                  <a:pt x="41" y="92"/>
                </a:lnTo>
                <a:lnTo>
                  <a:pt x="42" y="92"/>
                </a:lnTo>
                <a:lnTo>
                  <a:pt x="42" y="91"/>
                </a:lnTo>
                <a:lnTo>
                  <a:pt x="43" y="88"/>
                </a:lnTo>
                <a:lnTo>
                  <a:pt x="46" y="88"/>
                </a:lnTo>
                <a:lnTo>
                  <a:pt x="45" y="87"/>
                </a:lnTo>
                <a:lnTo>
                  <a:pt x="45" y="86"/>
                </a:lnTo>
                <a:lnTo>
                  <a:pt x="48" y="86"/>
                </a:lnTo>
                <a:lnTo>
                  <a:pt x="49" y="87"/>
                </a:lnTo>
                <a:lnTo>
                  <a:pt x="49" y="86"/>
                </a:lnTo>
                <a:lnTo>
                  <a:pt x="51" y="86"/>
                </a:lnTo>
                <a:lnTo>
                  <a:pt x="51" y="88"/>
                </a:lnTo>
                <a:lnTo>
                  <a:pt x="49" y="90"/>
                </a:lnTo>
                <a:lnTo>
                  <a:pt x="49" y="92"/>
                </a:lnTo>
                <a:lnTo>
                  <a:pt x="51" y="92"/>
                </a:lnTo>
                <a:lnTo>
                  <a:pt x="51" y="93"/>
                </a:lnTo>
                <a:lnTo>
                  <a:pt x="52" y="93"/>
                </a:lnTo>
                <a:lnTo>
                  <a:pt x="52" y="94"/>
                </a:lnTo>
                <a:lnTo>
                  <a:pt x="53" y="94"/>
                </a:lnTo>
                <a:lnTo>
                  <a:pt x="53" y="93"/>
                </a:lnTo>
                <a:lnTo>
                  <a:pt x="54" y="93"/>
                </a:lnTo>
                <a:lnTo>
                  <a:pt x="54" y="92"/>
                </a:lnTo>
                <a:lnTo>
                  <a:pt x="53" y="91"/>
                </a:lnTo>
                <a:lnTo>
                  <a:pt x="52" y="92"/>
                </a:lnTo>
                <a:lnTo>
                  <a:pt x="51" y="92"/>
                </a:lnTo>
                <a:lnTo>
                  <a:pt x="52" y="91"/>
                </a:lnTo>
                <a:lnTo>
                  <a:pt x="52" y="86"/>
                </a:lnTo>
                <a:lnTo>
                  <a:pt x="53" y="84"/>
                </a:lnTo>
                <a:lnTo>
                  <a:pt x="52" y="81"/>
                </a:lnTo>
                <a:lnTo>
                  <a:pt x="51" y="81"/>
                </a:lnTo>
                <a:lnTo>
                  <a:pt x="48" y="83"/>
                </a:lnTo>
                <a:lnTo>
                  <a:pt x="47" y="84"/>
                </a:lnTo>
                <a:lnTo>
                  <a:pt x="46" y="84"/>
                </a:lnTo>
                <a:lnTo>
                  <a:pt x="46" y="81"/>
                </a:lnTo>
                <a:lnTo>
                  <a:pt x="48" y="80"/>
                </a:lnTo>
                <a:lnTo>
                  <a:pt x="48" y="79"/>
                </a:lnTo>
                <a:lnTo>
                  <a:pt x="49" y="78"/>
                </a:lnTo>
                <a:lnTo>
                  <a:pt x="48" y="77"/>
                </a:lnTo>
                <a:lnTo>
                  <a:pt x="47" y="77"/>
                </a:lnTo>
                <a:lnTo>
                  <a:pt x="47" y="75"/>
                </a:lnTo>
                <a:lnTo>
                  <a:pt x="46" y="74"/>
                </a:lnTo>
                <a:lnTo>
                  <a:pt x="46" y="72"/>
                </a:lnTo>
                <a:lnTo>
                  <a:pt x="48" y="69"/>
                </a:lnTo>
                <a:lnTo>
                  <a:pt x="47" y="68"/>
                </a:lnTo>
                <a:lnTo>
                  <a:pt x="47" y="67"/>
                </a:lnTo>
                <a:lnTo>
                  <a:pt x="46" y="67"/>
                </a:lnTo>
                <a:lnTo>
                  <a:pt x="46" y="65"/>
                </a:lnTo>
                <a:lnTo>
                  <a:pt x="49" y="61"/>
                </a:lnTo>
                <a:lnTo>
                  <a:pt x="49" y="60"/>
                </a:lnTo>
                <a:lnTo>
                  <a:pt x="51" y="60"/>
                </a:lnTo>
                <a:lnTo>
                  <a:pt x="51" y="59"/>
                </a:lnTo>
                <a:lnTo>
                  <a:pt x="58" y="56"/>
                </a:lnTo>
                <a:lnTo>
                  <a:pt x="59" y="56"/>
                </a:lnTo>
                <a:lnTo>
                  <a:pt x="64" y="59"/>
                </a:lnTo>
                <a:lnTo>
                  <a:pt x="62" y="60"/>
                </a:lnTo>
                <a:lnTo>
                  <a:pt x="64" y="61"/>
                </a:lnTo>
                <a:lnTo>
                  <a:pt x="65" y="61"/>
                </a:lnTo>
                <a:lnTo>
                  <a:pt x="65" y="60"/>
                </a:lnTo>
                <a:lnTo>
                  <a:pt x="66" y="57"/>
                </a:lnTo>
                <a:lnTo>
                  <a:pt x="67" y="56"/>
                </a:lnTo>
                <a:lnTo>
                  <a:pt x="67" y="55"/>
                </a:lnTo>
                <a:lnTo>
                  <a:pt x="70" y="55"/>
                </a:lnTo>
                <a:lnTo>
                  <a:pt x="71" y="54"/>
                </a:lnTo>
                <a:lnTo>
                  <a:pt x="77" y="54"/>
                </a:lnTo>
                <a:lnTo>
                  <a:pt x="74" y="51"/>
                </a:lnTo>
                <a:lnTo>
                  <a:pt x="73" y="51"/>
                </a:lnTo>
                <a:lnTo>
                  <a:pt x="73" y="50"/>
                </a:lnTo>
                <a:lnTo>
                  <a:pt x="72" y="50"/>
                </a:lnTo>
                <a:lnTo>
                  <a:pt x="71" y="53"/>
                </a:lnTo>
                <a:lnTo>
                  <a:pt x="70" y="53"/>
                </a:lnTo>
                <a:lnTo>
                  <a:pt x="68" y="54"/>
                </a:lnTo>
                <a:lnTo>
                  <a:pt x="68" y="53"/>
                </a:lnTo>
                <a:lnTo>
                  <a:pt x="66" y="53"/>
                </a:lnTo>
                <a:lnTo>
                  <a:pt x="64" y="55"/>
                </a:lnTo>
                <a:lnTo>
                  <a:pt x="60" y="55"/>
                </a:lnTo>
                <a:lnTo>
                  <a:pt x="49" y="59"/>
                </a:lnTo>
                <a:lnTo>
                  <a:pt x="48" y="57"/>
                </a:lnTo>
                <a:lnTo>
                  <a:pt x="43" y="54"/>
                </a:lnTo>
                <a:lnTo>
                  <a:pt x="43" y="55"/>
                </a:lnTo>
                <a:lnTo>
                  <a:pt x="42" y="56"/>
                </a:lnTo>
                <a:lnTo>
                  <a:pt x="41" y="56"/>
                </a:lnTo>
                <a:lnTo>
                  <a:pt x="41" y="57"/>
                </a:lnTo>
                <a:lnTo>
                  <a:pt x="40" y="57"/>
                </a:lnTo>
                <a:lnTo>
                  <a:pt x="40" y="56"/>
                </a:lnTo>
                <a:lnTo>
                  <a:pt x="37" y="56"/>
                </a:lnTo>
                <a:lnTo>
                  <a:pt x="37" y="57"/>
                </a:lnTo>
                <a:lnTo>
                  <a:pt x="36" y="57"/>
                </a:lnTo>
                <a:lnTo>
                  <a:pt x="35" y="59"/>
                </a:lnTo>
                <a:lnTo>
                  <a:pt x="35" y="60"/>
                </a:lnTo>
                <a:lnTo>
                  <a:pt x="34" y="59"/>
                </a:lnTo>
                <a:lnTo>
                  <a:pt x="34" y="57"/>
                </a:lnTo>
                <a:lnTo>
                  <a:pt x="33" y="59"/>
                </a:lnTo>
                <a:lnTo>
                  <a:pt x="31" y="59"/>
                </a:lnTo>
                <a:lnTo>
                  <a:pt x="33" y="60"/>
                </a:lnTo>
                <a:lnTo>
                  <a:pt x="30" y="61"/>
                </a:lnTo>
                <a:lnTo>
                  <a:pt x="29" y="62"/>
                </a:lnTo>
                <a:lnTo>
                  <a:pt x="27" y="61"/>
                </a:lnTo>
                <a:lnTo>
                  <a:pt x="25" y="62"/>
                </a:lnTo>
                <a:lnTo>
                  <a:pt x="24" y="62"/>
                </a:lnTo>
                <a:lnTo>
                  <a:pt x="24" y="65"/>
                </a:lnTo>
                <a:lnTo>
                  <a:pt x="23" y="66"/>
                </a:lnTo>
                <a:lnTo>
                  <a:pt x="23" y="67"/>
                </a:lnTo>
                <a:lnTo>
                  <a:pt x="22" y="68"/>
                </a:lnTo>
                <a:lnTo>
                  <a:pt x="22" y="71"/>
                </a:lnTo>
                <a:lnTo>
                  <a:pt x="21" y="73"/>
                </a:lnTo>
                <a:lnTo>
                  <a:pt x="18" y="73"/>
                </a:lnTo>
                <a:lnTo>
                  <a:pt x="18" y="74"/>
                </a:lnTo>
                <a:lnTo>
                  <a:pt x="17" y="74"/>
                </a:lnTo>
                <a:lnTo>
                  <a:pt x="17" y="80"/>
                </a:lnTo>
                <a:lnTo>
                  <a:pt x="18" y="80"/>
                </a:lnTo>
                <a:lnTo>
                  <a:pt x="20" y="81"/>
                </a:lnTo>
                <a:lnTo>
                  <a:pt x="18" y="81"/>
                </a:lnTo>
                <a:lnTo>
                  <a:pt x="18" y="83"/>
                </a:lnTo>
                <a:lnTo>
                  <a:pt x="17" y="83"/>
                </a:lnTo>
                <a:lnTo>
                  <a:pt x="16" y="81"/>
                </a:lnTo>
                <a:lnTo>
                  <a:pt x="15" y="81"/>
                </a:lnTo>
                <a:lnTo>
                  <a:pt x="15" y="83"/>
                </a:lnTo>
                <a:lnTo>
                  <a:pt x="16" y="83"/>
                </a:lnTo>
                <a:lnTo>
                  <a:pt x="17" y="84"/>
                </a:lnTo>
                <a:lnTo>
                  <a:pt x="21" y="83"/>
                </a:lnTo>
                <a:lnTo>
                  <a:pt x="22" y="83"/>
                </a:lnTo>
                <a:lnTo>
                  <a:pt x="21" y="85"/>
                </a:lnTo>
                <a:lnTo>
                  <a:pt x="22" y="86"/>
                </a:lnTo>
                <a:lnTo>
                  <a:pt x="22" y="88"/>
                </a:lnTo>
                <a:lnTo>
                  <a:pt x="20" y="88"/>
                </a:lnTo>
                <a:lnTo>
                  <a:pt x="20" y="90"/>
                </a:lnTo>
                <a:lnTo>
                  <a:pt x="17" y="87"/>
                </a:lnTo>
                <a:lnTo>
                  <a:pt x="17" y="86"/>
                </a:lnTo>
                <a:lnTo>
                  <a:pt x="15" y="84"/>
                </a:lnTo>
                <a:lnTo>
                  <a:pt x="14" y="84"/>
                </a:lnTo>
                <a:lnTo>
                  <a:pt x="12" y="83"/>
                </a:lnTo>
                <a:lnTo>
                  <a:pt x="11" y="83"/>
                </a:lnTo>
                <a:lnTo>
                  <a:pt x="10" y="81"/>
                </a:lnTo>
                <a:lnTo>
                  <a:pt x="10" y="77"/>
                </a:lnTo>
                <a:lnTo>
                  <a:pt x="9" y="77"/>
                </a:lnTo>
                <a:lnTo>
                  <a:pt x="8" y="75"/>
                </a:lnTo>
                <a:lnTo>
                  <a:pt x="6" y="75"/>
                </a:lnTo>
                <a:lnTo>
                  <a:pt x="6" y="73"/>
                </a:lnTo>
                <a:lnTo>
                  <a:pt x="8" y="71"/>
                </a:lnTo>
                <a:lnTo>
                  <a:pt x="16" y="57"/>
                </a:lnTo>
                <a:lnTo>
                  <a:pt x="17" y="56"/>
                </a:lnTo>
                <a:lnTo>
                  <a:pt x="21" y="50"/>
                </a:lnTo>
                <a:lnTo>
                  <a:pt x="23" y="49"/>
                </a:lnTo>
                <a:lnTo>
                  <a:pt x="24" y="49"/>
                </a:lnTo>
                <a:lnTo>
                  <a:pt x="28" y="50"/>
                </a:lnTo>
                <a:lnTo>
                  <a:pt x="29" y="50"/>
                </a:lnTo>
                <a:lnTo>
                  <a:pt x="34" y="49"/>
                </a:lnTo>
                <a:lnTo>
                  <a:pt x="35" y="48"/>
                </a:lnTo>
                <a:lnTo>
                  <a:pt x="37" y="47"/>
                </a:lnTo>
                <a:lnTo>
                  <a:pt x="37" y="45"/>
                </a:lnTo>
                <a:lnTo>
                  <a:pt x="48" y="48"/>
                </a:lnTo>
                <a:lnTo>
                  <a:pt x="52" y="47"/>
                </a:lnTo>
                <a:lnTo>
                  <a:pt x="56" y="45"/>
                </a:lnTo>
                <a:lnTo>
                  <a:pt x="60" y="43"/>
                </a:lnTo>
                <a:lnTo>
                  <a:pt x="62" y="40"/>
                </a:lnTo>
                <a:lnTo>
                  <a:pt x="72" y="23"/>
                </a:lnTo>
                <a:lnTo>
                  <a:pt x="73" y="20"/>
                </a:lnTo>
                <a:lnTo>
                  <a:pt x="77" y="17"/>
                </a:lnTo>
                <a:lnTo>
                  <a:pt x="78" y="14"/>
                </a:lnTo>
                <a:lnTo>
                  <a:pt x="78" y="13"/>
                </a:lnTo>
                <a:lnTo>
                  <a:pt x="79" y="12"/>
                </a:lnTo>
                <a:lnTo>
                  <a:pt x="85" y="12"/>
                </a:lnTo>
                <a:lnTo>
                  <a:pt x="92" y="10"/>
                </a:lnTo>
                <a:lnTo>
                  <a:pt x="96" y="7"/>
                </a:lnTo>
                <a:lnTo>
                  <a:pt x="101" y="2"/>
                </a:lnTo>
                <a:lnTo>
                  <a:pt x="104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7" name="Freeform 48">
            <a:extLst>
              <a:ext uri="{FF2B5EF4-FFF2-40B4-BE49-F238E27FC236}">
                <a16:creationId xmlns:a16="http://schemas.microsoft.com/office/drawing/2014/main" id="{18C5A5A6-BDE7-40A7-97B7-E1A51C85A5DB}"/>
              </a:ext>
            </a:extLst>
          </p:cNvPr>
          <p:cNvSpPr>
            <a:spLocks/>
          </p:cNvSpPr>
          <p:nvPr/>
        </p:nvSpPr>
        <p:spPr bwMode="auto">
          <a:xfrm>
            <a:off x="1969206" y="4616176"/>
            <a:ext cx="412948" cy="236178"/>
          </a:xfrm>
          <a:custGeom>
            <a:avLst/>
            <a:gdLst/>
            <a:ahLst/>
            <a:cxnLst>
              <a:cxn ang="0">
                <a:pos x="108" y="8"/>
              </a:cxn>
              <a:cxn ang="0">
                <a:pos x="115" y="16"/>
              </a:cxn>
              <a:cxn ang="0">
                <a:pos x="123" y="2"/>
              </a:cxn>
              <a:cxn ang="0">
                <a:pos x="130" y="4"/>
              </a:cxn>
              <a:cxn ang="0">
                <a:pos x="136" y="14"/>
              </a:cxn>
              <a:cxn ang="0">
                <a:pos x="152" y="20"/>
              </a:cxn>
              <a:cxn ang="0">
                <a:pos x="164" y="24"/>
              </a:cxn>
              <a:cxn ang="0">
                <a:pos x="170" y="27"/>
              </a:cxn>
              <a:cxn ang="0">
                <a:pos x="184" y="31"/>
              </a:cxn>
              <a:cxn ang="0">
                <a:pos x="176" y="39"/>
              </a:cxn>
              <a:cxn ang="0">
                <a:pos x="182" y="48"/>
              </a:cxn>
              <a:cxn ang="0">
                <a:pos x="192" y="63"/>
              </a:cxn>
              <a:cxn ang="0">
                <a:pos x="207" y="54"/>
              </a:cxn>
              <a:cxn ang="0">
                <a:pos x="205" y="49"/>
              </a:cxn>
              <a:cxn ang="0">
                <a:pos x="208" y="42"/>
              </a:cxn>
              <a:cxn ang="0">
                <a:pos x="222" y="48"/>
              </a:cxn>
              <a:cxn ang="0">
                <a:pos x="235" y="52"/>
              </a:cxn>
              <a:cxn ang="0">
                <a:pos x="239" y="57"/>
              </a:cxn>
              <a:cxn ang="0">
                <a:pos x="240" y="65"/>
              </a:cxn>
              <a:cxn ang="0">
                <a:pos x="251" y="67"/>
              </a:cxn>
              <a:cxn ang="0">
                <a:pos x="260" y="72"/>
              </a:cxn>
              <a:cxn ang="0">
                <a:pos x="266" y="73"/>
              </a:cxn>
              <a:cxn ang="0">
                <a:pos x="276" y="79"/>
              </a:cxn>
              <a:cxn ang="0">
                <a:pos x="281" y="90"/>
              </a:cxn>
              <a:cxn ang="0">
                <a:pos x="285" y="101"/>
              </a:cxn>
              <a:cxn ang="0">
                <a:pos x="272" y="103"/>
              </a:cxn>
              <a:cxn ang="0">
                <a:pos x="256" y="121"/>
              </a:cxn>
              <a:cxn ang="0">
                <a:pos x="245" y="139"/>
              </a:cxn>
              <a:cxn ang="0">
                <a:pos x="226" y="145"/>
              </a:cxn>
              <a:cxn ang="0">
                <a:pos x="210" y="149"/>
              </a:cxn>
              <a:cxn ang="0">
                <a:pos x="201" y="152"/>
              </a:cxn>
              <a:cxn ang="0">
                <a:pos x="189" y="146"/>
              </a:cxn>
              <a:cxn ang="0">
                <a:pos x="167" y="150"/>
              </a:cxn>
              <a:cxn ang="0">
                <a:pos x="155" y="144"/>
              </a:cxn>
              <a:cxn ang="0">
                <a:pos x="139" y="135"/>
              </a:cxn>
              <a:cxn ang="0">
                <a:pos x="127" y="134"/>
              </a:cxn>
              <a:cxn ang="0">
                <a:pos x="122" y="149"/>
              </a:cxn>
              <a:cxn ang="0">
                <a:pos x="110" y="162"/>
              </a:cxn>
              <a:cxn ang="0">
                <a:pos x="99" y="160"/>
              </a:cxn>
              <a:cxn ang="0">
                <a:pos x="83" y="159"/>
              </a:cxn>
              <a:cxn ang="0">
                <a:pos x="80" y="153"/>
              </a:cxn>
              <a:cxn ang="0">
                <a:pos x="70" y="143"/>
              </a:cxn>
              <a:cxn ang="0">
                <a:pos x="62" y="137"/>
              </a:cxn>
              <a:cxn ang="0">
                <a:pos x="47" y="127"/>
              </a:cxn>
              <a:cxn ang="0">
                <a:pos x="37" y="114"/>
              </a:cxn>
              <a:cxn ang="0">
                <a:pos x="24" y="107"/>
              </a:cxn>
              <a:cxn ang="0">
                <a:pos x="20" y="95"/>
              </a:cxn>
              <a:cxn ang="0">
                <a:pos x="14" y="85"/>
              </a:cxn>
              <a:cxn ang="0">
                <a:pos x="17" y="73"/>
              </a:cxn>
              <a:cxn ang="0">
                <a:pos x="5" y="58"/>
              </a:cxn>
              <a:cxn ang="0">
                <a:pos x="0" y="48"/>
              </a:cxn>
              <a:cxn ang="0">
                <a:pos x="8" y="54"/>
              </a:cxn>
              <a:cxn ang="0">
                <a:pos x="12" y="52"/>
              </a:cxn>
              <a:cxn ang="0">
                <a:pos x="27" y="43"/>
              </a:cxn>
              <a:cxn ang="0">
                <a:pos x="40" y="41"/>
              </a:cxn>
              <a:cxn ang="0">
                <a:pos x="52" y="31"/>
              </a:cxn>
              <a:cxn ang="0">
                <a:pos x="60" y="28"/>
              </a:cxn>
              <a:cxn ang="0">
                <a:pos x="76" y="21"/>
              </a:cxn>
              <a:cxn ang="0">
                <a:pos x="91" y="11"/>
              </a:cxn>
              <a:cxn ang="0">
                <a:pos x="93" y="4"/>
              </a:cxn>
            </a:cxnLst>
            <a:rect l="0" t="0" r="r" b="b"/>
            <a:pathLst>
              <a:path w="285" h="163">
                <a:moveTo>
                  <a:pt x="93" y="0"/>
                </a:moveTo>
                <a:lnTo>
                  <a:pt x="97" y="0"/>
                </a:lnTo>
                <a:lnTo>
                  <a:pt x="97" y="2"/>
                </a:lnTo>
                <a:lnTo>
                  <a:pt x="103" y="2"/>
                </a:lnTo>
                <a:lnTo>
                  <a:pt x="103" y="3"/>
                </a:lnTo>
                <a:lnTo>
                  <a:pt x="105" y="3"/>
                </a:lnTo>
                <a:lnTo>
                  <a:pt x="105" y="9"/>
                </a:lnTo>
                <a:lnTo>
                  <a:pt x="108" y="8"/>
                </a:lnTo>
                <a:lnTo>
                  <a:pt x="108" y="9"/>
                </a:lnTo>
                <a:lnTo>
                  <a:pt x="109" y="9"/>
                </a:lnTo>
                <a:lnTo>
                  <a:pt x="108" y="10"/>
                </a:lnTo>
                <a:lnTo>
                  <a:pt x="108" y="14"/>
                </a:lnTo>
                <a:lnTo>
                  <a:pt x="109" y="14"/>
                </a:lnTo>
                <a:lnTo>
                  <a:pt x="111" y="15"/>
                </a:lnTo>
                <a:lnTo>
                  <a:pt x="113" y="16"/>
                </a:lnTo>
                <a:lnTo>
                  <a:pt x="115" y="16"/>
                </a:lnTo>
                <a:lnTo>
                  <a:pt x="115" y="14"/>
                </a:lnTo>
                <a:lnTo>
                  <a:pt x="116" y="12"/>
                </a:lnTo>
                <a:lnTo>
                  <a:pt x="123" y="12"/>
                </a:lnTo>
                <a:lnTo>
                  <a:pt x="123" y="5"/>
                </a:lnTo>
                <a:lnTo>
                  <a:pt x="122" y="4"/>
                </a:lnTo>
                <a:lnTo>
                  <a:pt x="122" y="3"/>
                </a:lnTo>
                <a:lnTo>
                  <a:pt x="123" y="3"/>
                </a:lnTo>
                <a:lnTo>
                  <a:pt x="123" y="2"/>
                </a:lnTo>
                <a:lnTo>
                  <a:pt x="124" y="2"/>
                </a:lnTo>
                <a:lnTo>
                  <a:pt x="124" y="3"/>
                </a:lnTo>
                <a:lnTo>
                  <a:pt x="127" y="3"/>
                </a:lnTo>
                <a:lnTo>
                  <a:pt x="128" y="4"/>
                </a:lnTo>
                <a:lnTo>
                  <a:pt x="129" y="4"/>
                </a:lnTo>
                <a:lnTo>
                  <a:pt x="129" y="3"/>
                </a:lnTo>
                <a:lnTo>
                  <a:pt x="130" y="2"/>
                </a:lnTo>
                <a:lnTo>
                  <a:pt x="130" y="4"/>
                </a:lnTo>
                <a:lnTo>
                  <a:pt x="133" y="4"/>
                </a:lnTo>
                <a:lnTo>
                  <a:pt x="135" y="6"/>
                </a:lnTo>
                <a:lnTo>
                  <a:pt x="135" y="8"/>
                </a:lnTo>
                <a:lnTo>
                  <a:pt x="134" y="9"/>
                </a:lnTo>
                <a:lnTo>
                  <a:pt x="135" y="10"/>
                </a:lnTo>
                <a:lnTo>
                  <a:pt x="135" y="12"/>
                </a:lnTo>
                <a:lnTo>
                  <a:pt x="136" y="12"/>
                </a:lnTo>
                <a:lnTo>
                  <a:pt x="136" y="14"/>
                </a:lnTo>
                <a:lnTo>
                  <a:pt x="139" y="14"/>
                </a:lnTo>
                <a:lnTo>
                  <a:pt x="139" y="18"/>
                </a:lnTo>
                <a:lnTo>
                  <a:pt x="140" y="18"/>
                </a:lnTo>
                <a:lnTo>
                  <a:pt x="140" y="17"/>
                </a:lnTo>
                <a:lnTo>
                  <a:pt x="141" y="16"/>
                </a:lnTo>
                <a:lnTo>
                  <a:pt x="142" y="16"/>
                </a:lnTo>
                <a:lnTo>
                  <a:pt x="151" y="20"/>
                </a:lnTo>
                <a:lnTo>
                  <a:pt x="152" y="20"/>
                </a:lnTo>
                <a:lnTo>
                  <a:pt x="152" y="21"/>
                </a:lnTo>
                <a:lnTo>
                  <a:pt x="153" y="21"/>
                </a:lnTo>
                <a:lnTo>
                  <a:pt x="157" y="20"/>
                </a:lnTo>
                <a:lnTo>
                  <a:pt x="158" y="21"/>
                </a:lnTo>
                <a:lnTo>
                  <a:pt x="159" y="24"/>
                </a:lnTo>
                <a:lnTo>
                  <a:pt x="161" y="24"/>
                </a:lnTo>
                <a:lnTo>
                  <a:pt x="164" y="23"/>
                </a:lnTo>
                <a:lnTo>
                  <a:pt x="164" y="24"/>
                </a:lnTo>
                <a:lnTo>
                  <a:pt x="165" y="24"/>
                </a:lnTo>
                <a:lnTo>
                  <a:pt x="165" y="25"/>
                </a:lnTo>
                <a:lnTo>
                  <a:pt x="166" y="27"/>
                </a:lnTo>
                <a:lnTo>
                  <a:pt x="166" y="28"/>
                </a:lnTo>
                <a:lnTo>
                  <a:pt x="165" y="28"/>
                </a:lnTo>
                <a:lnTo>
                  <a:pt x="165" y="29"/>
                </a:lnTo>
                <a:lnTo>
                  <a:pt x="167" y="29"/>
                </a:lnTo>
                <a:lnTo>
                  <a:pt x="170" y="27"/>
                </a:lnTo>
                <a:lnTo>
                  <a:pt x="171" y="27"/>
                </a:lnTo>
                <a:lnTo>
                  <a:pt x="173" y="28"/>
                </a:lnTo>
                <a:lnTo>
                  <a:pt x="175" y="28"/>
                </a:lnTo>
                <a:lnTo>
                  <a:pt x="175" y="27"/>
                </a:lnTo>
                <a:lnTo>
                  <a:pt x="176" y="25"/>
                </a:lnTo>
                <a:lnTo>
                  <a:pt x="179" y="25"/>
                </a:lnTo>
                <a:lnTo>
                  <a:pt x="184" y="30"/>
                </a:lnTo>
                <a:lnTo>
                  <a:pt x="184" y="31"/>
                </a:lnTo>
                <a:lnTo>
                  <a:pt x="183" y="33"/>
                </a:lnTo>
                <a:lnTo>
                  <a:pt x="183" y="35"/>
                </a:lnTo>
                <a:lnTo>
                  <a:pt x="182" y="35"/>
                </a:lnTo>
                <a:lnTo>
                  <a:pt x="182" y="36"/>
                </a:lnTo>
                <a:lnTo>
                  <a:pt x="178" y="36"/>
                </a:lnTo>
                <a:lnTo>
                  <a:pt x="178" y="37"/>
                </a:lnTo>
                <a:lnTo>
                  <a:pt x="177" y="39"/>
                </a:lnTo>
                <a:lnTo>
                  <a:pt x="176" y="39"/>
                </a:lnTo>
                <a:lnTo>
                  <a:pt x="176" y="40"/>
                </a:lnTo>
                <a:lnTo>
                  <a:pt x="175" y="40"/>
                </a:lnTo>
                <a:lnTo>
                  <a:pt x="175" y="42"/>
                </a:lnTo>
                <a:lnTo>
                  <a:pt x="176" y="42"/>
                </a:lnTo>
                <a:lnTo>
                  <a:pt x="177" y="45"/>
                </a:lnTo>
                <a:lnTo>
                  <a:pt x="180" y="45"/>
                </a:lnTo>
                <a:lnTo>
                  <a:pt x="180" y="47"/>
                </a:lnTo>
                <a:lnTo>
                  <a:pt x="182" y="48"/>
                </a:lnTo>
                <a:lnTo>
                  <a:pt x="184" y="49"/>
                </a:lnTo>
                <a:lnTo>
                  <a:pt x="185" y="51"/>
                </a:lnTo>
                <a:lnTo>
                  <a:pt x="186" y="53"/>
                </a:lnTo>
                <a:lnTo>
                  <a:pt x="189" y="55"/>
                </a:lnTo>
                <a:lnTo>
                  <a:pt x="189" y="57"/>
                </a:lnTo>
                <a:lnTo>
                  <a:pt x="190" y="59"/>
                </a:lnTo>
                <a:lnTo>
                  <a:pt x="190" y="60"/>
                </a:lnTo>
                <a:lnTo>
                  <a:pt x="192" y="63"/>
                </a:lnTo>
                <a:lnTo>
                  <a:pt x="196" y="63"/>
                </a:lnTo>
                <a:lnTo>
                  <a:pt x="198" y="60"/>
                </a:lnTo>
                <a:lnTo>
                  <a:pt x="198" y="59"/>
                </a:lnTo>
                <a:lnTo>
                  <a:pt x="201" y="57"/>
                </a:lnTo>
                <a:lnTo>
                  <a:pt x="203" y="57"/>
                </a:lnTo>
                <a:lnTo>
                  <a:pt x="204" y="55"/>
                </a:lnTo>
                <a:lnTo>
                  <a:pt x="207" y="55"/>
                </a:lnTo>
                <a:lnTo>
                  <a:pt x="207" y="54"/>
                </a:lnTo>
                <a:lnTo>
                  <a:pt x="208" y="54"/>
                </a:lnTo>
                <a:lnTo>
                  <a:pt x="208" y="55"/>
                </a:lnTo>
                <a:lnTo>
                  <a:pt x="209" y="55"/>
                </a:lnTo>
                <a:lnTo>
                  <a:pt x="209" y="54"/>
                </a:lnTo>
                <a:lnTo>
                  <a:pt x="208" y="53"/>
                </a:lnTo>
                <a:lnTo>
                  <a:pt x="208" y="51"/>
                </a:lnTo>
                <a:lnTo>
                  <a:pt x="207" y="49"/>
                </a:lnTo>
                <a:lnTo>
                  <a:pt x="205" y="49"/>
                </a:lnTo>
                <a:lnTo>
                  <a:pt x="205" y="48"/>
                </a:lnTo>
                <a:lnTo>
                  <a:pt x="204" y="47"/>
                </a:lnTo>
                <a:lnTo>
                  <a:pt x="204" y="45"/>
                </a:lnTo>
                <a:lnTo>
                  <a:pt x="203" y="42"/>
                </a:lnTo>
                <a:lnTo>
                  <a:pt x="202" y="41"/>
                </a:lnTo>
                <a:lnTo>
                  <a:pt x="205" y="41"/>
                </a:lnTo>
                <a:lnTo>
                  <a:pt x="207" y="42"/>
                </a:lnTo>
                <a:lnTo>
                  <a:pt x="208" y="42"/>
                </a:lnTo>
                <a:lnTo>
                  <a:pt x="211" y="43"/>
                </a:lnTo>
                <a:lnTo>
                  <a:pt x="213" y="43"/>
                </a:lnTo>
                <a:lnTo>
                  <a:pt x="213" y="45"/>
                </a:lnTo>
                <a:lnTo>
                  <a:pt x="216" y="45"/>
                </a:lnTo>
                <a:lnTo>
                  <a:pt x="216" y="47"/>
                </a:lnTo>
                <a:lnTo>
                  <a:pt x="217" y="47"/>
                </a:lnTo>
                <a:lnTo>
                  <a:pt x="219" y="48"/>
                </a:lnTo>
                <a:lnTo>
                  <a:pt x="222" y="48"/>
                </a:lnTo>
                <a:lnTo>
                  <a:pt x="222" y="52"/>
                </a:lnTo>
                <a:lnTo>
                  <a:pt x="223" y="53"/>
                </a:lnTo>
                <a:lnTo>
                  <a:pt x="223" y="52"/>
                </a:lnTo>
                <a:lnTo>
                  <a:pt x="226" y="52"/>
                </a:lnTo>
                <a:lnTo>
                  <a:pt x="226" y="53"/>
                </a:lnTo>
                <a:lnTo>
                  <a:pt x="227" y="53"/>
                </a:lnTo>
                <a:lnTo>
                  <a:pt x="228" y="52"/>
                </a:lnTo>
                <a:lnTo>
                  <a:pt x="235" y="52"/>
                </a:lnTo>
                <a:lnTo>
                  <a:pt x="236" y="49"/>
                </a:lnTo>
                <a:lnTo>
                  <a:pt x="236" y="48"/>
                </a:lnTo>
                <a:lnTo>
                  <a:pt x="238" y="48"/>
                </a:lnTo>
                <a:lnTo>
                  <a:pt x="239" y="49"/>
                </a:lnTo>
                <a:lnTo>
                  <a:pt x="239" y="54"/>
                </a:lnTo>
                <a:lnTo>
                  <a:pt x="240" y="55"/>
                </a:lnTo>
                <a:lnTo>
                  <a:pt x="239" y="55"/>
                </a:lnTo>
                <a:lnTo>
                  <a:pt x="239" y="57"/>
                </a:lnTo>
                <a:lnTo>
                  <a:pt x="236" y="58"/>
                </a:lnTo>
                <a:lnTo>
                  <a:pt x="234" y="58"/>
                </a:lnTo>
                <a:lnTo>
                  <a:pt x="233" y="59"/>
                </a:lnTo>
                <a:lnTo>
                  <a:pt x="233" y="60"/>
                </a:lnTo>
                <a:lnTo>
                  <a:pt x="235" y="63"/>
                </a:lnTo>
                <a:lnTo>
                  <a:pt x="239" y="63"/>
                </a:lnTo>
                <a:lnTo>
                  <a:pt x="239" y="65"/>
                </a:lnTo>
                <a:lnTo>
                  <a:pt x="240" y="65"/>
                </a:lnTo>
                <a:lnTo>
                  <a:pt x="240" y="67"/>
                </a:lnTo>
                <a:lnTo>
                  <a:pt x="244" y="71"/>
                </a:lnTo>
                <a:lnTo>
                  <a:pt x="247" y="71"/>
                </a:lnTo>
                <a:lnTo>
                  <a:pt x="248" y="70"/>
                </a:lnTo>
                <a:lnTo>
                  <a:pt x="251" y="70"/>
                </a:lnTo>
                <a:lnTo>
                  <a:pt x="252" y="68"/>
                </a:lnTo>
                <a:lnTo>
                  <a:pt x="252" y="67"/>
                </a:lnTo>
                <a:lnTo>
                  <a:pt x="251" y="67"/>
                </a:lnTo>
                <a:lnTo>
                  <a:pt x="251" y="66"/>
                </a:lnTo>
                <a:lnTo>
                  <a:pt x="252" y="66"/>
                </a:lnTo>
                <a:lnTo>
                  <a:pt x="254" y="68"/>
                </a:lnTo>
                <a:lnTo>
                  <a:pt x="254" y="70"/>
                </a:lnTo>
                <a:lnTo>
                  <a:pt x="257" y="71"/>
                </a:lnTo>
                <a:lnTo>
                  <a:pt x="258" y="71"/>
                </a:lnTo>
                <a:lnTo>
                  <a:pt x="259" y="72"/>
                </a:lnTo>
                <a:lnTo>
                  <a:pt x="260" y="72"/>
                </a:lnTo>
                <a:lnTo>
                  <a:pt x="262" y="73"/>
                </a:lnTo>
                <a:lnTo>
                  <a:pt x="262" y="74"/>
                </a:lnTo>
                <a:lnTo>
                  <a:pt x="263" y="76"/>
                </a:lnTo>
                <a:lnTo>
                  <a:pt x="264" y="76"/>
                </a:lnTo>
                <a:lnTo>
                  <a:pt x="265" y="74"/>
                </a:lnTo>
                <a:lnTo>
                  <a:pt x="264" y="74"/>
                </a:lnTo>
                <a:lnTo>
                  <a:pt x="264" y="73"/>
                </a:lnTo>
                <a:lnTo>
                  <a:pt x="266" y="73"/>
                </a:lnTo>
                <a:lnTo>
                  <a:pt x="267" y="74"/>
                </a:lnTo>
                <a:lnTo>
                  <a:pt x="271" y="76"/>
                </a:lnTo>
                <a:lnTo>
                  <a:pt x="272" y="76"/>
                </a:lnTo>
                <a:lnTo>
                  <a:pt x="273" y="74"/>
                </a:lnTo>
                <a:lnTo>
                  <a:pt x="273" y="76"/>
                </a:lnTo>
                <a:lnTo>
                  <a:pt x="275" y="77"/>
                </a:lnTo>
                <a:lnTo>
                  <a:pt x="275" y="78"/>
                </a:lnTo>
                <a:lnTo>
                  <a:pt x="276" y="79"/>
                </a:lnTo>
                <a:lnTo>
                  <a:pt x="275" y="80"/>
                </a:lnTo>
                <a:lnTo>
                  <a:pt x="275" y="84"/>
                </a:lnTo>
                <a:lnTo>
                  <a:pt x="276" y="86"/>
                </a:lnTo>
                <a:lnTo>
                  <a:pt x="277" y="88"/>
                </a:lnTo>
                <a:lnTo>
                  <a:pt x="277" y="89"/>
                </a:lnTo>
                <a:lnTo>
                  <a:pt x="279" y="89"/>
                </a:lnTo>
                <a:lnTo>
                  <a:pt x="279" y="90"/>
                </a:lnTo>
                <a:lnTo>
                  <a:pt x="281" y="90"/>
                </a:lnTo>
                <a:lnTo>
                  <a:pt x="281" y="91"/>
                </a:lnTo>
                <a:lnTo>
                  <a:pt x="282" y="91"/>
                </a:lnTo>
                <a:lnTo>
                  <a:pt x="282" y="90"/>
                </a:lnTo>
                <a:lnTo>
                  <a:pt x="283" y="90"/>
                </a:lnTo>
                <a:lnTo>
                  <a:pt x="284" y="91"/>
                </a:lnTo>
                <a:lnTo>
                  <a:pt x="284" y="95"/>
                </a:lnTo>
                <a:lnTo>
                  <a:pt x="285" y="95"/>
                </a:lnTo>
                <a:lnTo>
                  <a:pt x="285" y="101"/>
                </a:lnTo>
                <a:lnTo>
                  <a:pt x="284" y="101"/>
                </a:lnTo>
                <a:lnTo>
                  <a:pt x="282" y="103"/>
                </a:lnTo>
                <a:lnTo>
                  <a:pt x="279" y="103"/>
                </a:lnTo>
                <a:lnTo>
                  <a:pt x="277" y="102"/>
                </a:lnTo>
                <a:lnTo>
                  <a:pt x="276" y="103"/>
                </a:lnTo>
                <a:lnTo>
                  <a:pt x="273" y="102"/>
                </a:lnTo>
                <a:lnTo>
                  <a:pt x="273" y="103"/>
                </a:lnTo>
                <a:lnTo>
                  <a:pt x="272" y="103"/>
                </a:lnTo>
                <a:lnTo>
                  <a:pt x="272" y="106"/>
                </a:lnTo>
                <a:lnTo>
                  <a:pt x="269" y="109"/>
                </a:lnTo>
                <a:lnTo>
                  <a:pt x="266" y="109"/>
                </a:lnTo>
                <a:lnTo>
                  <a:pt x="266" y="111"/>
                </a:lnTo>
                <a:lnTo>
                  <a:pt x="264" y="114"/>
                </a:lnTo>
                <a:lnTo>
                  <a:pt x="258" y="116"/>
                </a:lnTo>
                <a:lnTo>
                  <a:pt x="256" y="119"/>
                </a:lnTo>
                <a:lnTo>
                  <a:pt x="256" y="121"/>
                </a:lnTo>
                <a:lnTo>
                  <a:pt x="254" y="123"/>
                </a:lnTo>
                <a:lnTo>
                  <a:pt x="254" y="129"/>
                </a:lnTo>
                <a:lnTo>
                  <a:pt x="251" y="133"/>
                </a:lnTo>
                <a:lnTo>
                  <a:pt x="247" y="133"/>
                </a:lnTo>
                <a:lnTo>
                  <a:pt x="246" y="134"/>
                </a:lnTo>
                <a:lnTo>
                  <a:pt x="246" y="138"/>
                </a:lnTo>
                <a:lnTo>
                  <a:pt x="245" y="138"/>
                </a:lnTo>
                <a:lnTo>
                  <a:pt x="245" y="139"/>
                </a:lnTo>
                <a:lnTo>
                  <a:pt x="241" y="139"/>
                </a:lnTo>
                <a:lnTo>
                  <a:pt x="241" y="140"/>
                </a:lnTo>
                <a:lnTo>
                  <a:pt x="240" y="143"/>
                </a:lnTo>
                <a:lnTo>
                  <a:pt x="239" y="143"/>
                </a:lnTo>
                <a:lnTo>
                  <a:pt x="231" y="146"/>
                </a:lnTo>
                <a:lnTo>
                  <a:pt x="229" y="146"/>
                </a:lnTo>
                <a:lnTo>
                  <a:pt x="227" y="144"/>
                </a:lnTo>
                <a:lnTo>
                  <a:pt x="226" y="145"/>
                </a:lnTo>
                <a:lnTo>
                  <a:pt x="225" y="145"/>
                </a:lnTo>
                <a:lnTo>
                  <a:pt x="223" y="146"/>
                </a:lnTo>
                <a:lnTo>
                  <a:pt x="219" y="144"/>
                </a:lnTo>
                <a:lnTo>
                  <a:pt x="217" y="143"/>
                </a:lnTo>
                <a:lnTo>
                  <a:pt x="215" y="143"/>
                </a:lnTo>
                <a:lnTo>
                  <a:pt x="213" y="145"/>
                </a:lnTo>
                <a:lnTo>
                  <a:pt x="213" y="146"/>
                </a:lnTo>
                <a:lnTo>
                  <a:pt x="210" y="149"/>
                </a:lnTo>
                <a:lnTo>
                  <a:pt x="209" y="151"/>
                </a:lnTo>
                <a:lnTo>
                  <a:pt x="207" y="157"/>
                </a:lnTo>
                <a:lnTo>
                  <a:pt x="205" y="158"/>
                </a:lnTo>
                <a:lnTo>
                  <a:pt x="205" y="159"/>
                </a:lnTo>
                <a:lnTo>
                  <a:pt x="204" y="158"/>
                </a:lnTo>
                <a:lnTo>
                  <a:pt x="204" y="153"/>
                </a:lnTo>
                <a:lnTo>
                  <a:pt x="203" y="152"/>
                </a:lnTo>
                <a:lnTo>
                  <a:pt x="201" y="152"/>
                </a:lnTo>
                <a:lnTo>
                  <a:pt x="200" y="153"/>
                </a:lnTo>
                <a:lnTo>
                  <a:pt x="197" y="151"/>
                </a:lnTo>
                <a:lnTo>
                  <a:pt x="194" y="151"/>
                </a:lnTo>
                <a:lnTo>
                  <a:pt x="194" y="149"/>
                </a:lnTo>
                <a:lnTo>
                  <a:pt x="192" y="149"/>
                </a:lnTo>
                <a:lnTo>
                  <a:pt x="191" y="147"/>
                </a:lnTo>
                <a:lnTo>
                  <a:pt x="189" y="147"/>
                </a:lnTo>
                <a:lnTo>
                  <a:pt x="189" y="146"/>
                </a:lnTo>
                <a:lnTo>
                  <a:pt x="188" y="146"/>
                </a:lnTo>
                <a:lnTo>
                  <a:pt x="186" y="147"/>
                </a:lnTo>
                <a:lnTo>
                  <a:pt x="184" y="147"/>
                </a:lnTo>
                <a:lnTo>
                  <a:pt x="182" y="151"/>
                </a:lnTo>
                <a:lnTo>
                  <a:pt x="182" y="152"/>
                </a:lnTo>
                <a:lnTo>
                  <a:pt x="180" y="151"/>
                </a:lnTo>
                <a:lnTo>
                  <a:pt x="170" y="151"/>
                </a:lnTo>
                <a:lnTo>
                  <a:pt x="167" y="150"/>
                </a:lnTo>
                <a:lnTo>
                  <a:pt x="163" y="146"/>
                </a:lnTo>
                <a:lnTo>
                  <a:pt x="163" y="145"/>
                </a:lnTo>
                <a:lnTo>
                  <a:pt x="160" y="145"/>
                </a:lnTo>
                <a:lnTo>
                  <a:pt x="161" y="144"/>
                </a:lnTo>
                <a:lnTo>
                  <a:pt x="159" y="144"/>
                </a:lnTo>
                <a:lnTo>
                  <a:pt x="159" y="143"/>
                </a:lnTo>
                <a:lnTo>
                  <a:pt x="157" y="143"/>
                </a:lnTo>
                <a:lnTo>
                  <a:pt x="155" y="144"/>
                </a:lnTo>
                <a:lnTo>
                  <a:pt x="153" y="144"/>
                </a:lnTo>
                <a:lnTo>
                  <a:pt x="149" y="141"/>
                </a:lnTo>
                <a:lnTo>
                  <a:pt x="147" y="140"/>
                </a:lnTo>
                <a:lnTo>
                  <a:pt x="146" y="140"/>
                </a:lnTo>
                <a:lnTo>
                  <a:pt x="144" y="138"/>
                </a:lnTo>
                <a:lnTo>
                  <a:pt x="142" y="138"/>
                </a:lnTo>
                <a:lnTo>
                  <a:pt x="141" y="137"/>
                </a:lnTo>
                <a:lnTo>
                  <a:pt x="139" y="135"/>
                </a:lnTo>
                <a:lnTo>
                  <a:pt x="135" y="135"/>
                </a:lnTo>
                <a:lnTo>
                  <a:pt x="135" y="137"/>
                </a:lnTo>
                <a:lnTo>
                  <a:pt x="134" y="137"/>
                </a:lnTo>
                <a:lnTo>
                  <a:pt x="134" y="138"/>
                </a:lnTo>
                <a:lnTo>
                  <a:pt x="130" y="138"/>
                </a:lnTo>
                <a:lnTo>
                  <a:pt x="130" y="135"/>
                </a:lnTo>
                <a:lnTo>
                  <a:pt x="129" y="134"/>
                </a:lnTo>
                <a:lnTo>
                  <a:pt x="127" y="134"/>
                </a:lnTo>
                <a:lnTo>
                  <a:pt x="124" y="133"/>
                </a:lnTo>
                <a:lnTo>
                  <a:pt x="123" y="133"/>
                </a:lnTo>
                <a:lnTo>
                  <a:pt x="123" y="134"/>
                </a:lnTo>
                <a:lnTo>
                  <a:pt x="122" y="135"/>
                </a:lnTo>
                <a:lnTo>
                  <a:pt x="122" y="145"/>
                </a:lnTo>
                <a:lnTo>
                  <a:pt x="121" y="146"/>
                </a:lnTo>
                <a:lnTo>
                  <a:pt x="121" y="147"/>
                </a:lnTo>
                <a:lnTo>
                  <a:pt x="122" y="149"/>
                </a:lnTo>
                <a:lnTo>
                  <a:pt x="121" y="150"/>
                </a:lnTo>
                <a:lnTo>
                  <a:pt x="118" y="149"/>
                </a:lnTo>
                <a:lnTo>
                  <a:pt x="115" y="149"/>
                </a:lnTo>
                <a:lnTo>
                  <a:pt x="115" y="152"/>
                </a:lnTo>
                <a:lnTo>
                  <a:pt x="113" y="153"/>
                </a:lnTo>
                <a:lnTo>
                  <a:pt x="111" y="154"/>
                </a:lnTo>
                <a:lnTo>
                  <a:pt x="111" y="160"/>
                </a:lnTo>
                <a:lnTo>
                  <a:pt x="110" y="162"/>
                </a:lnTo>
                <a:lnTo>
                  <a:pt x="109" y="162"/>
                </a:lnTo>
                <a:lnTo>
                  <a:pt x="109" y="159"/>
                </a:lnTo>
                <a:lnTo>
                  <a:pt x="107" y="159"/>
                </a:lnTo>
                <a:lnTo>
                  <a:pt x="107" y="158"/>
                </a:lnTo>
                <a:lnTo>
                  <a:pt x="104" y="159"/>
                </a:lnTo>
                <a:lnTo>
                  <a:pt x="102" y="158"/>
                </a:lnTo>
                <a:lnTo>
                  <a:pt x="101" y="157"/>
                </a:lnTo>
                <a:lnTo>
                  <a:pt x="99" y="160"/>
                </a:lnTo>
                <a:lnTo>
                  <a:pt x="98" y="160"/>
                </a:lnTo>
                <a:lnTo>
                  <a:pt x="97" y="162"/>
                </a:lnTo>
                <a:lnTo>
                  <a:pt x="96" y="162"/>
                </a:lnTo>
                <a:lnTo>
                  <a:pt x="96" y="163"/>
                </a:lnTo>
                <a:lnTo>
                  <a:pt x="95" y="163"/>
                </a:lnTo>
                <a:lnTo>
                  <a:pt x="91" y="160"/>
                </a:lnTo>
                <a:lnTo>
                  <a:pt x="85" y="160"/>
                </a:lnTo>
                <a:lnTo>
                  <a:pt x="83" y="159"/>
                </a:lnTo>
                <a:lnTo>
                  <a:pt x="83" y="158"/>
                </a:lnTo>
                <a:lnTo>
                  <a:pt x="82" y="158"/>
                </a:lnTo>
                <a:lnTo>
                  <a:pt x="82" y="157"/>
                </a:lnTo>
                <a:lnTo>
                  <a:pt x="83" y="157"/>
                </a:lnTo>
                <a:lnTo>
                  <a:pt x="83" y="154"/>
                </a:lnTo>
                <a:lnTo>
                  <a:pt x="82" y="154"/>
                </a:lnTo>
                <a:lnTo>
                  <a:pt x="82" y="153"/>
                </a:lnTo>
                <a:lnTo>
                  <a:pt x="80" y="153"/>
                </a:lnTo>
                <a:lnTo>
                  <a:pt x="78" y="151"/>
                </a:lnTo>
                <a:lnTo>
                  <a:pt x="77" y="151"/>
                </a:lnTo>
                <a:lnTo>
                  <a:pt x="77" y="150"/>
                </a:lnTo>
                <a:lnTo>
                  <a:pt x="76" y="150"/>
                </a:lnTo>
                <a:lnTo>
                  <a:pt x="74" y="149"/>
                </a:lnTo>
                <a:lnTo>
                  <a:pt x="73" y="149"/>
                </a:lnTo>
                <a:lnTo>
                  <a:pt x="71" y="144"/>
                </a:lnTo>
                <a:lnTo>
                  <a:pt x="70" y="143"/>
                </a:lnTo>
                <a:lnTo>
                  <a:pt x="67" y="143"/>
                </a:lnTo>
                <a:lnTo>
                  <a:pt x="67" y="141"/>
                </a:lnTo>
                <a:lnTo>
                  <a:pt x="66" y="141"/>
                </a:lnTo>
                <a:lnTo>
                  <a:pt x="66" y="140"/>
                </a:lnTo>
                <a:lnTo>
                  <a:pt x="65" y="139"/>
                </a:lnTo>
                <a:lnTo>
                  <a:pt x="65" y="138"/>
                </a:lnTo>
                <a:lnTo>
                  <a:pt x="64" y="138"/>
                </a:lnTo>
                <a:lnTo>
                  <a:pt x="62" y="137"/>
                </a:lnTo>
                <a:lnTo>
                  <a:pt x="60" y="137"/>
                </a:lnTo>
                <a:lnTo>
                  <a:pt x="60" y="138"/>
                </a:lnTo>
                <a:lnTo>
                  <a:pt x="59" y="138"/>
                </a:lnTo>
                <a:lnTo>
                  <a:pt x="55" y="134"/>
                </a:lnTo>
                <a:lnTo>
                  <a:pt x="55" y="132"/>
                </a:lnTo>
                <a:lnTo>
                  <a:pt x="52" y="128"/>
                </a:lnTo>
                <a:lnTo>
                  <a:pt x="52" y="127"/>
                </a:lnTo>
                <a:lnTo>
                  <a:pt x="47" y="127"/>
                </a:lnTo>
                <a:lnTo>
                  <a:pt x="46" y="126"/>
                </a:lnTo>
                <a:lnTo>
                  <a:pt x="46" y="125"/>
                </a:lnTo>
                <a:lnTo>
                  <a:pt x="42" y="119"/>
                </a:lnTo>
                <a:lnTo>
                  <a:pt x="41" y="119"/>
                </a:lnTo>
                <a:lnTo>
                  <a:pt x="40" y="116"/>
                </a:lnTo>
                <a:lnTo>
                  <a:pt x="40" y="115"/>
                </a:lnTo>
                <a:lnTo>
                  <a:pt x="39" y="115"/>
                </a:lnTo>
                <a:lnTo>
                  <a:pt x="37" y="114"/>
                </a:lnTo>
                <a:lnTo>
                  <a:pt x="37" y="113"/>
                </a:lnTo>
                <a:lnTo>
                  <a:pt x="34" y="113"/>
                </a:lnTo>
                <a:lnTo>
                  <a:pt x="34" y="114"/>
                </a:lnTo>
                <a:lnTo>
                  <a:pt x="30" y="113"/>
                </a:lnTo>
                <a:lnTo>
                  <a:pt x="29" y="111"/>
                </a:lnTo>
                <a:lnTo>
                  <a:pt x="28" y="109"/>
                </a:lnTo>
                <a:lnTo>
                  <a:pt x="26" y="107"/>
                </a:lnTo>
                <a:lnTo>
                  <a:pt x="24" y="107"/>
                </a:lnTo>
                <a:lnTo>
                  <a:pt x="24" y="106"/>
                </a:lnTo>
                <a:lnTo>
                  <a:pt x="23" y="104"/>
                </a:lnTo>
                <a:lnTo>
                  <a:pt x="23" y="101"/>
                </a:lnTo>
                <a:lnTo>
                  <a:pt x="22" y="101"/>
                </a:lnTo>
                <a:lnTo>
                  <a:pt x="22" y="100"/>
                </a:lnTo>
                <a:lnTo>
                  <a:pt x="21" y="100"/>
                </a:lnTo>
                <a:lnTo>
                  <a:pt x="21" y="96"/>
                </a:lnTo>
                <a:lnTo>
                  <a:pt x="20" y="95"/>
                </a:lnTo>
                <a:lnTo>
                  <a:pt x="18" y="95"/>
                </a:lnTo>
                <a:lnTo>
                  <a:pt x="18" y="91"/>
                </a:lnTo>
                <a:lnTo>
                  <a:pt x="17" y="90"/>
                </a:lnTo>
                <a:lnTo>
                  <a:pt x="16" y="90"/>
                </a:lnTo>
                <a:lnTo>
                  <a:pt x="16" y="89"/>
                </a:lnTo>
                <a:lnTo>
                  <a:pt x="15" y="89"/>
                </a:lnTo>
                <a:lnTo>
                  <a:pt x="14" y="88"/>
                </a:lnTo>
                <a:lnTo>
                  <a:pt x="14" y="85"/>
                </a:lnTo>
                <a:lnTo>
                  <a:pt x="16" y="84"/>
                </a:lnTo>
                <a:lnTo>
                  <a:pt x="16" y="82"/>
                </a:lnTo>
                <a:lnTo>
                  <a:pt x="18" y="79"/>
                </a:lnTo>
                <a:lnTo>
                  <a:pt x="18" y="78"/>
                </a:lnTo>
                <a:lnTo>
                  <a:pt x="20" y="77"/>
                </a:lnTo>
                <a:lnTo>
                  <a:pt x="20" y="74"/>
                </a:lnTo>
                <a:lnTo>
                  <a:pt x="18" y="74"/>
                </a:lnTo>
                <a:lnTo>
                  <a:pt x="17" y="73"/>
                </a:lnTo>
                <a:lnTo>
                  <a:pt x="17" y="71"/>
                </a:lnTo>
                <a:lnTo>
                  <a:pt x="16" y="71"/>
                </a:lnTo>
                <a:lnTo>
                  <a:pt x="15" y="70"/>
                </a:lnTo>
                <a:lnTo>
                  <a:pt x="14" y="70"/>
                </a:lnTo>
                <a:lnTo>
                  <a:pt x="8" y="66"/>
                </a:lnTo>
                <a:lnTo>
                  <a:pt x="8" y="65"/>
                </a:lnTo>
                <a:lnTo>
                  <a:pt x="5" y="63"/>
                </a:lnTo>
                <a:lnTo>
                  <a:pt x="5" y="58"/>
                </a:lnTo>
                <a:lnTo>
                  <a:pt x="4" y="58"/>
                </a:lnTo>
                <a:lnTo>
                  <a:pt x="4" y="57"/>
                </a:lnTo>
                <a:lnTo>
                  <a:pt x="3" y="55"/>
                </a:lnTo>
                <a:lnTo>
                  <a:pt x="0" y="54"/>
                </a:lnTo>
                <a:lnTo>
                  <a:pt x="0" y="53"/>
                </a:lnTo>
                <a:lnTo>
                  <a:pt x="2" y="53"/>
                </a:lnTo>
                <a:lnTo>
                  <a:pt x="2" y="49"/>
                </a:lnTo>
                <a:lnTo>
                  <a:pt x="0" y="48"/>
                </a:lnTo>
                <a:lnTo>
                  <a:pt x="4" y="48"/>
                </a:lnTo>
                <a:lnTo>
                  <a:pt x="4" y="51"/>
                </a:lnTo>
                <a:lnTo>
                  <a:pt x="5" y="52"/>
                </a:lnTo>
                <a:lnTo>
                  <a:pt x="8" y="52"/>
                </a:lnTo>
                <a:lnTo>
                  <a:pt x="8" y="53"/>
                </a:lnTo>
                <a:lnTo>
                  <a:pt x="6" y="53"/>
                </a:lnTo>
                <a:lnTo>
                  <a:pt x="6" y="54"/>
                </a:lnTo>
                <a:lnTo>
                  <a:pt x="8" y="54"/>
                </a:lnTo>
                <a:lnTo>
                  <a:pt x="8" y="55"/>
                </a:lnTo>
                <a:lnTo>
                  <a:pt x="9" y="57"/>
                </a:lnTo>
                <a:lnTo>
                  <a:pt x="9" y="59"/>
                </a:lnTo>
                <a:lnTo>
                  <a:pt x="10" y="59"/>
                </a:lnTo>
                <a:lnTo>
                  <a:pt x="10" y="54"/>
                </a:lnTo>
                <a:lnTo>
                  <a:pt x="11" y="53"/>
                </a:lnTo>
                <a:lnTo>
                  <a:pt x="11" y="52"/>
                </a:lnTo>
                <a:lnTo>
                  <a:pt x="12" y="52"/>
                </a:lnTo>
                <a:lnTo>
                  <a:pt x="12" y="51"/>
                </a:lnTo>
                <a:lnTo>
                  <a:pt x="14" y="48"/>
                </a:lnTo>
                <a:lnTo>
                  <a:pt x="15" y="48"/>
                </a:lnTo>
                <a:lnTo>
                  <a:pt x="16" y="47"/>
                </a:lnTo>
                <a:lnTo>
                  <a:pt x="17" y="47"/>
                </a:lnTo>
                <a:lnTo>
                  <a:pt x="17" y="45"/>
                </a:lnTo>
                <a:lnTo>
                  <a:pt x="18" y="43"/>
                </a:lnTo>
                <a:lnTo>
                  <a:pt x="27" y="43"/>
                </a:lnTo>
                <a:lnTo>
                  <a:pt x="27" y="42"/>
                </a:lnTo>
                <a:lnTo>
                  <a:pt x="28" y="41"/>
                </a:lnTo>
                <a:lnTo>
                  <a:pt x="30" y="41"/>
                </a:lnTo>
                <a:lnTo>
                  <a:pt x="31" y="40"/>
                </a:lnTo>
                <a:lnTo>
                  <a:pt x="36" y="42"/>
                </a:lnTo>
                <a:lnTo>
                  <a:pt x="37" y="42"/>
                </a:lnTo>
                <a:lnTo>
                  <a:pt x="39" y="41"/>
                </a:lnTo>
                <a:lnTo>
                  <a:pt x="40" y="41"/>
                </a:lnTo>
                <a:lnTo>
                  <a:pt x="40" y="36"/>
                </a:lnTo>
                <a:lnTo>
                  <a:pt x="46" y="36"/>
                </a:lnTo>
                <a:lnTo>
                  <a:pt x="47" y="35"/>
                </a:lnTo>
                <a:lnTo>
                  <a:pt x="48" y="35"/>
                </a:lnTo>
                <a:lnTo>
                  <a:pt x="49" y="30"/>
                </a:lnTo>
                <a:lnTo>
                  <a:pt x="51" y="30"/>
                </a:lnTo>
                <a:lnTo>
                  <a:pt x="51" y="31"/>
                </a:lnTo>
                <a:lnTo>
                  <a:pt x="52" y="31"/>
                </a:lnTo>
                <a:lnTo>
                  <a:pt x="53" y="30"/>
                </a:lnTo>
                <a:lnTo>
                  <a:pt x="53" y="29"/>
                </a:lnTo>
                <a:lnTo>
                  <a:pt x="54" y="28"/>
                </a:lnTo>
                <a:lnTo>
                  <a:pt x="55" y="28"/>
                </a:lnTo>
                <a:lnTo>
                  <a:pt x="58" y="30"/>
                </a:lnTo>
                <a:lnTo>
                  <a:pt x="59" y="30"/>
                </a:lnTo>
                <a:lnTo>
                  <a:pt x="59" y="29"/>
                </a:lnTo>
                <a:lnTo>
                  <a:pt x="60" y="28"/>
                </a:lnTo>
                <a:lnTo>
                  <a:pt x="60" y="27"/>
                </a:lnTo>
                <a:lnTo>
                  <a:pt x="61" y="27"/>
                </a:lnTo>
                <a:lnTo>
                  <a:pt x="61" y="23"/>
                </a:lnTo>
                <a:lnTo>
                  <a:pt x="62" y="22"/>
                </a:lnTo>
                <a:lnTo>
                  <a:pt x="71" y="22"/>
                </a:lnTo>
                <a:lnTo>
                  <a:pt x="72" y="21"/>
                </a:lnTo>
                <a:lnTo>
                  <a:pt x="74" y="22"/>
                </a:lnTo>
                <a:lnTo>
                  <a:pt x="76" y="21"/>
                </a:lnTo>
                <a:lnTo>
                  <a:pt x="77" y="21"/>
                </a:lnTo>
                <a:lnTo>
                  <a:pt x="77" y="17"/>
                </a:lnTo>
                <a:lnTo>
                  <a:pt x="79" y="17"/>
                </a:lnTo>
                <a:lnTo>
                  <a:pt x="79" y="16"/>
                </a:lnTo>
                <a:lnTo>
                  <a:pt x="83" y="16"/>
                </a:lnTo>
                <a:lnTo>
                  <a:pt x="90" y="14"/>
                </a:lnTo>
                <a:lnTo>
                  <a:pt x="90" y="12"/>
                </a:lnTo>
                <a:lnTo>
                  <a:pt x="91" y="11"/>
                </a:lnTo>
                <a:lnTo>
                  <a:pt x="96" y="11"/>
                </a:lnTo>
                <a:lnTo>
                  <a:pt x="97" y="10"/>
                </a:lnTo>
                <a:lnTo>
                  <a:pt x="98" y="8"/>
                </a:lnTo>
                <a:lnTo>
                  <a:pt x="95" y="8"/>
                </a:lnTo>
                <a:lnTo>
                  <a:pt x="93" y="6"/>
                </a:lnTo>
                <a:lnTo>
                  <a:pt x="93" y="5"/>
                </a:lnTo>
                <a:lnTo>
                  <a:pt x="95" y="5"/>
                </a:lnTo>
                <a:lnTo>
                  <a:pt x="93" y="4"/>
                </a:lnTo>
                <a:lnTo>
                  <a:pt x="91" y="4"/>
                </a:lnTo>
                <a:lnTo>
                  <a:pt x="92" y="3"/>
                </a:lnTo>
                <a:lnTo>
                  <a:pt x="92" y="2"/>
                </a:lnTo>
                <a:lnTo>
                  <a:pt x="93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8" name="Freeform 49">
            <a:extLst>
              <a:ext uri="{FF2B5EF4-FFF2-40B4-BE49-F238E27FC236}">
                <a16:creationId xmlns:a16="http://schemas.microsoft.com/office/drawing/2014/main" id="{78599F48-2E15-403E-B052-2910CAC8A525}"/>
              </a:ext>
            </a:extLst>
          </p:cNvPr>
          <p:cNvSpPr>
            <a:spLocks/>
          </p:cNvSpPr>
          <p:nvPr/>
        </p:nvSpPr>
        <p:spPr bwMode="auto">
          <a:xfrm>
            <a:off x="3205152" y="5915875"/>
            <a:ext cx="140548" cy="84039"/>
          </a:xfrm>
          <a:custGeom>
            <a:avLst/>
            <a:gdLst/>
            <a:ahLst/>
            <a:cxnLst>
              <a:cxn ang="0">
                <a:pos x="97" y="0"/>
              </a:cxn>
              <a:cxn ang="0">
                <a:pos x="95" y="3"/>
              </a:cxn>
              <a:cxn ang="0">
                <a:pos x="88" y="9"/>
              </a:cxn>
              <a:cxn ang="0">
                <a:pos x="75" y="18"/>
              </a:cxn>
              <a:cxn ang="0">
                <a:pos x="70" y="19"/>
              </a:cxn>
              <a:cxn ang="0">
                <a:pos x="69" y="23"/>
              </a:cxn>
              <a:cxn ang="0">
                <a:pos x="69" y="28"/>
              </a:cxn>
              <a:cxn ang="0">
                <a:pos x="71" y="31"/>
              </a:cxn>
              <a:cxn ang="0">
                <a:pos x="74" y="33"/>
              </a:cxn>
              <a:cxn ang="0">
                <a:pos x="75" y="34"/>
              </a:cxn>
              <a:cxn ang="0">
                <a:pos x="76" y="36"/>
              </a:cxn>
              <a:cxn ang="0">
                <a:pos x="74" y="37"/>
              </a:cxn>
              <a:cxn ang="0">
                <a:pos x="72" y="36"/>
              </a:cxn>
              <a:cxn ang="0">
                <a:pos x="68" y="37"/>
              </a:cxn>
              <a:cxn ang="0">
                <a:pos x="66" y="39"/>
              </a:cxn>
              <a:cxn ang="0">
                <a:pos x="59" y="37"/>
              </a:cxn>
              <a:cxn ang="0">
                <a:pos x="58" y="40"/>
              </a:cxn>
              <a:cxn ang="0">
                <a:pos x="57" y="43"/>
              </a:cxn>
              <a:cxn ang="0">
                <a:pos x="56" y="46"/>
              </a:cxn>
              <a:cxn ang="0">
                <a:pos x="52" y="47"/>
              </a:cxn>
              <a:cxn ang="0">
                <a:pos x="49" y="48"/>
              </a:cxn>
              <a:cxn ang="0">
                <a:pos x="47" y="49"/>
              </a:cxn>
              <a:cxn ang="0">
                <a:pos x="43" y="51"/>
              </a:cxn>
              <a:cxn ang="0">
                <a:pos x="41" y="52"/>
              </a:cxn>
              <a:cxn ang="0">
                <a:pos x="38" y="51"/>
              </a:cxn>
              <a:cxn ang="0">
                <a:pos x="33" y="52"/>
              </a:cxn>
              <a:cxn ang="0">
                <a:pos x="31" y="54"/>
              </a:cxn>
              <a:cxn ang="0">
                <a:pos x="32" y="58"/>
              </a:cxn>
              <a:cxn ang="0">
                <a:pos x="28" y="57"/>
              </a:cxn>
              <a:cxn ang="0">
                <a:pos x="27" y="53"/>
              </a:cxn>
              <a:cxn ang="0">
                <a:pos x="20" y="54"/>
              </a:cxn>
              <a:cxn ang="0">
                <a:pos x="14" y="53"/>
              </a:cxn>
              <a:cxn ang="0">
                <a:pos x="12" y="52"/>
              </a:cxn>
              <a:cxn ang="0">
                <a:pos x="7" y="51"/>
              </a:cxn>
              <a:cxn ang="0">
                <a:pos x="6" y="47"/>
              </a:cxn>
              <a:cxn ang="0">
                <a:pos x="4" y="43"/>
              </a:cxn>
              <a:cxn ang="0">
                <a:pos x="3" y="42"/>
              </a:cxn>
              <a:cxn ang="0">
                <a:pos x="2" y="40"/>
              </a:cxn>
              <a:cxn ang="0">
                <a:pos x="1" y="36"/>
              </a:cxn>
              <a:cxn ang="0">
                <a:pos x="0" y="31"/>
              </a:cxn>
              <a:cxn ang="0">
                <a:pos x="3" y="34"/>
              </a:cxn>
              <a:cxn ang="0">
                <a:pos x="10" y="29"/>
              </a:cxn>
              <a:cxn ang="0">
                <a:pos x="12" y="27"/>
              </a:cxn>
              <a:cxn ang="0">
                <a:pos x="22" y="28"/>
              </a:cxn>
              <a:cxn ang="0">
                <a:pos x="27" y="25"/>
              </a:cxn>
              <a:cxn ang="0">
                <a:pos x="28" y="16"/>
              </a:cxn>
              <a:cxn ang="0">
                <a:pos x="37" y="17"/>
              </a:cxn>
              <a:cxn ang="0">
                <a:pos x="43" y="18"/>
              </a:cxn>
              <a:cxn ang="0">
                <a:pos x="58" y="17"/>
              </a:cxn>
              <a:cxn ang="0">
                <a:pos x="63" y="15"/>
              </a:cxn>
              <a:cxn ang="0">
                <a:pos x="68" y="14"/>
              </a:cxn>
              <a:cxn ang="0">
                <a:pos x="76" y="10"/>
              </a:cxn>
              <a:cxn ang="0">
                <a:pos x="80" y="8"/>
              </a:cxn>
              <a:cxn ang="0">
                <a:pos x="84" y="6"/>
              </a:cxn>
              <a:cxn ang="0">
                <a:pos x="95" y="0"/>
              </a:cxn>
            </a:cxnLst>
            <a:rect l="0" t="0" r="r" b="b"/>
            <a:pathLst>
              <a:path w="97" h="58">
                <a:moveTo>
                  <a:pt x="95" y="0"/>
                </a:moveTo>
                <a:lnTo>
                  <a:pt x="97" y="0"/>
                </a:lnTo>
                <a:lnTo>
                  <a:pt x="96" y="3"/>
                </a:lnTo>
                <a:lnTo>
                  <a:pt x="95" y="3"/>
                </a:lnTo>
                <a:lnTo>
                  <a:pt x="91" y="6"/>
                </a:lnTo>
                <a:lnTo>
                  <a:pt x="88" y="9"/>
                </a:lnTo>
                <a:lnTo>
                  <a:pt x="78" y="15"/>
                </a:lnTo>
                <a:lnTo>
                  <a:pt x="75" y="18"/>
                </a:lnTo>
                <a:lnTo>
                  <a:pt x="75" y="19"/>
                </a:lnTo>
                <a:lnTo>
                  <a:pt x="70" y="19"/>
                </a:lnTo>
                <a:lnTo>
                  <a:pt x="69" y="22"/>
                </a:lnTo>
                <a:lnTo>
                  <a:pt x="69" y="23"/>
                </a:lnTo>
                <a:lnTo>
                  <a:pt x="68" y="28"/>
                </a:lnTo>
                <a:lnTo>
                  <a:pt x="69" y="28"/>
                </a:lnTo>
                <a:lnTo>
                  <a:pt x="71" y="30"/>
                </a:lnTo>
                <a:lnTo>
                  <a:pt x="71" y="31"/>
                </a:lnTo>
                <a:lnTo>
                  <a:pt x="72" y="33"/>
                </a:lnTo>
                <a:lnTo>
                  <a:pt x="74" y="33"/>
                </a:lnTo>
                <a:lnTo>
                  <a:pt x="74" y="34"/>
                </a:lnTo>
                <a:lnTo>
                  <a:pt x="75" y="34"/>
                </a:lnTo>
                <a:lnTo>
                  <a:pt x="75" y="35"/>
                </a:lnTo>
                <a:lnTo>
                  <a:pt x="76" y="36"/>
                </a:lnTo>
                <a:lnTo>
                  <a:pt x="76" y="37"/>
                </a:lnTo>
                <a:lnTo>
                  <a:pt x="74" y="37"/>
                </a:lnTo>
                <a:lnTo>
                  <a:pt x="74" y="36"/>
                </a:lnTo>
                <a:lnTo>
                  <a:pt x="72" y="36"/>
                </a:lnTo>
                <a:lnTo>
                  <a:pt x="71" y="37"/>
                </a:lnTo>
                <a:lnTo>
                  <a:pt x="68" y="37"/>
                </a:lnTo>
                <a:lnTo>
                  <a:pt x="68" y="39"/>
                </a:lnTo>
                <a:lnTo>
                  <a:pt x="66" y="39"/>
                </a:lnTo>
                <a:lnTo>
                  <a:pt x="65" y="37"/>
                </a:lnTo>
                <a:lnTo>
                  <a:pt x="59" y="37"/>
                </a:lnTo>
                <a:lnTo>
                  <a:pt x="58" y="39"/>
                </a:lnTo>
                <a:lnTo>
                  <a:pt x="58" y="40"/>
                </a:lnTo>
                <a:lnTo>
                  <a:pt x="57" y="40"/>
                </a:lnTo>
                <a:lnTo>
                  <a:pt x="57" y="43"/>
                </a:lnTo>
                <a:lnTo>
                  <a:pt x="56" y="43"/>
                </a:lnTo>
                <a:lnTo>
                  <a:pt x="56" y="46"/>
                </a:lnTo>
                <a:lnTo>
                  <a:pt x="53" y="46"/>
                </a:lnTo>
                <a:lnTo>
                  <a:pt x="52" y="47"/>
                </a:lnTo>
                <a:lnTo>
                  <a:pt x="50" y="47"/>
                </a:lnTo>
                <a:lnTo>
                  <a:pt x="49" y="48"/>
                </a:lnTo>
                <a:lnTo>
                  <a:pt x="47" y="48"/>
                </a:lnTo>
                <a:lnTo>
                  <a:pt x="47" y="49"/>
                </a:lnTo>
                <a:lnTo>
                  <a:pt x="46" y="49"/>
                </a:lnTo>
                <a:lnTo>
                  <a:pt x="43" y="51"/>
                </a:lnTo>
                <a:lnTo>
                  <a:pt x="41" y="51"/>
                </a:lnTo>
                <a:lnTo>
                  <a:pt x="41" y="52"/>
                </a:lnTo>
                <a:lnTo>
                  <a:pt x="40" y="52"/>
                </a:lnTo>
                <a:lnTo>
                  <a:pt x="38" y="51"/>
                </a:lnTo>
                <a:lnTo>
                  <a:pt x="34" y="52"/>
                </a:lnTo>
                <a:lnTo>
                  <a:pt x="33" y="52"/>
                </a:lnTo>
                <a:lnTo>
                  <a:pt x="32" y="54"/>
                </a:lnTo>
                <a:lnTo>
                  <a:pt x="31" y="54"/>
                </a:lnTo>
                <a:lnTo>
                  <a:pt x="31" y="57"/>
                </a:lnTo>
                <a:lnTo>
                  <a:pt x="32" y="58"/>
                </a:lnTo>
                <a:lnTo>
                  <a:pt x="28" y="58"/>
                </a:lnTo>
                <a:lnTo>
                  <a:pt x="28" y="57"/>
                </a:lnTo>
                <a:lnTo>
                  <a:pt x="27" y="54"/>
                </a:lnTo>
                <a:lnTo>
                  <a:pt x="27" y="53"/>
                </a:lnTo>
                <a:lnTo>
                  <a:pt x="22" y="53"/>
                </a:lnTo>
                <a:lnTo>
                  <a:pt x="20" y="54"/>
                </a:lnTo>
                <a:lnTo>
                  <a:pt x="16" y="54"/>
                </a:lnTo>
                <a:lnTo>
                  <a:pt x="14" y="53"/>
                </a:lnTo>
                <a:lnTo>
                  <a:pt x="13" y="52"/>
                </a:lnTo>
                <a:lnTo>
                  <a:pt x="12" y="52"/>
                </a:lnTo>
                <a:lnTo>
                  <a:pt x="10" y="51"/>
                </a:lnTo>
                <a:lnTo>
                  <a:pt x="7" y="51"/>
                </a:lnTo>
                <a:lnTo>
                  <a:pt x="6" y="49"/>
                </a:lnTo>
                <a:lnTo>
                  <a:pt x="6" y="47"/>
                </a:lnTo>
                <a:lnTo>
                  <a:pt x="4" y="46"/>
                </a:lnTo>
                <a:lnTo>
                  <a:pt x="4" y="43"/>
                </a:lnTo>
                <a:lnTo>
                  <a:pt x="3" y="43"/>
                </a:lnTo>
                <a:lnTo>
                  <a:pt x="3" y="42"/>
                </a:lnTo>
                <a:lnTo>
                  <a:pt x="2" y="42"/>
                </a:lnTo>
                <a:lnTo>
                  <a:pt x="2" y="40"/>
                </a:lnTo>
                <a:lnTo>
                  <a:pt x="1" y="39"/>
                </a:lnTo>
                <a:lnTo>
                  <a:pt x="1" y="36"/>
                </a:lnTo>
                <a:lnTo>
                  <a:pt x="0" y="34"/>
                </a:lnTo>
                <a:lnTo>
                  <a:pt x="0" y="31"/>
                </a:lnTo>
                <a:lnTo>
                  <a:pt x="1" y="31"/>
                </a:lnTo>
                <a:lnTo>
                  <a:pt x="3" y="34"/>
                </a:lnTo>
                <a:lnTo>
                  <a:pt x="6" y="34"/>
                </a:lnTo>
                <a:lnTo>
                  <a:pt x="10" y="29"/>
                </a:lnTo>
                <a:lnTo>
                  <a:pt x="10" y="28"/>
                </a:lnTo>
                <a:lnTo>
                  <a:pt x="12" y="27"/>
                </a:lnTo>
                <a:lnTo>
                  <a:pt x="21" y="27"/>
                </a:lnTo>
                <a:lnTo>
                  <a:pt x="22" y="28"/>
                </a:lnTo>
                <a:lnTo>
                  <a:pt x="25" y="28"/>
                </a:lnTo>
                <a:lnTo>
                  <a:pt x="27" y="25"/>
                </a:lnTo>
                <a:lnTo>
                  <a:pt x="27" y="16"/>
                </a:lnTo>
                <a:lnTo>
                  <a:pt x="28" y="16"/>
                </a:lnTo>
                <a:lnTo>
                  <a:pt x="29" y="17"/>
                </a:lnTo>
                <a:lnTo>
                  <a:pt x="37" y="17"/>
                </a:lnTo>
                <a:lnTo>
                  <a:pt x="41" y="18"/>
                </a:lnTo>
                <a:lnTo>
                  <a:pt x="43" y="18"/>
                </a:lnTo>
                <a:lnTo>
                  <a:pt x="49" y="19"/>
                </a:lnTo>
                <a:lnTo>
                  <a:pt x="58" y="17"/>
                </a:lnTo>
                <a:lnTo>
                  <a:pt x="62" y="16"/>
                </a:lnTo>
                <a:lnTo>
                  <a:pt x="63" y="15"/>
                </a:lnTo>
                <a:lnTo>
                  <a:pt x="65" y="15"/>
                </a:lnTo>
                <a:lnTo>
                  <a:pt x="68" y="14"/>
                </a:lnTo>
                <a:lnTo>
                  <a:pt x="74" y="11"/>
                </a:lnTo>
                <a:lnTo>
                  <a:pt x="76" y="10"/>
                </a:lnTo>
                <a:lnTo>
                  <a:pt x="78" y="10"/>
                </a:lnTo>
                <a:lnTo>
                  <a:pt x="80" y="8"/>
                </a:lnTo>
                <a:lnTo>
                  <a:pt x="81" y="8"/>
                </a:lnTo>
                <a:lnTo>
                  <a:pt x="84" y="6"/>
                </a:lnTo>
                <a:lnTo>
                  <a:pt x="85" y="5"/>
                </a:lnTo>
                <a:lnTo>
                  <a:pt x="95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9" name="Freeform 50">
            <a:extLst>
              <a:ext uri="{FF2B5EF4-FFF2-40B4-BE49-F238E27FC236}">
                <a16:creationId xmlns:a16="http://schemas.microsoft.com/office/drawing/2014/main" id="{8A587548-9836-400B-8367-492169A79BBA}"/>
              </a:ext>
            </a:extLst>
          </p:cNvPr>
          <p:cNvSpPr>
            <a:spLocks noEditPoints="1"/>
          </p:cNvSpPr>
          <p:nvPr/>
        </p:nvSpPr>
        <p:spPr bwMode="auto">
          <a:xfrm>
            <a:off x="2056143" y="5033471"/>
            <a:ext cx="360787" cy="353541"/>
          </a:xfrm>
          <a:custGeom>
            <a:avLst/>
            <a:gdLst/>
            <a:ahLst/>
            <a:cxnLst>
              <a:cxn ang="0">
                <a:pos x="190" y="226"/>
              </a:cxn>
              <a:cxn ang="0">
                <a:pos x="198" y="232"/>
              </a:cxn>
              <a:cxn ang="0">
                <a:pos x="165" y="224"/>
              </a:cxn>
              <a:cxn ang="0">
                <a:pos x="144" y="216"/>
              </a:cxn>
              <a:cxn ang="0">
                <a:pos x="172" y="215"/>
              </a:cxn>
              <a:cxn ang="0">
                <a:pos x="185" y="221"/>
              </a:cxn>
              <a:cxn ang="0">
                <a:pos x="160" y="213"/>
              </a:cxn>
              <a:cxn ang="0">
                <a:pos x="109" y="208"/>
              </a:cxn>
              <a:cxn ang="0">
                <a:pos x="135" y="203"/>
              </a:cxn>
              <a:cxn ang="0">
                <a:pos x="126" y="189"/>
              </a:cxn>
              <a:cxn ang="0">
                <a:pos x="124" y="189"/>
              </a:cxn>
              <a:cxn ang="0">
                <a:pos x="122" y="183"/>
              </a:cxn>
              <a:cxn ang="0">
                <a:pos x="79" y="165"/>
              </a:cxn>
              <a:cxn ang="0">
                <a:pos x="69" y="158"/>
              </a:cxn>
              <a:cxn ang="0">
                <a:pos x="73" y="158"/>
              </a:cxn>
              <a:cxn ang="0">
                <a:pos x="69" y="147"/>
              </a:cxn>
              <a:cxn ang="0">
                <a:pos x="58" y="144"/>
              </a:cxn>
              <a:cxn ang="0">
                <a:pos x="72" y="132"/>
              </a:cxn>
              <a:cxn ang="0">
                <a:pos x="41" y="120"/>
              </a:cxn>
              <a:cxn ang="0">
                <a:pos x="60" y="116"/>
              </a:cxn>
              <a:cxn ang="0">
                <a:pos x="67" y="128"/>
              </a:cxn>
              <a:cxn ang="0">
                <a:pos x="69" y="134"/>
              </a:cxn>
              <a:cxn ang="0">
                <a:pos x="38" y="116"/>
              </a:cxn>
              <a:cxn ang="0">
                <a:pos x="18" y="105"/>
              </a:cxn>
              <a:cxn ang="0">
                <a:pos x="53" y="102"/>
              </a:cxn>
              <a:cxn ang="0">
                <a:pos x="37" y="84"/>
              </a:cxn>
              <a:cxn ang="0">
                <a:pos x="42" y="116"/>
              </a:cxn>
              <a:cxn ang="0">
                <a:pos x="39" y="96"/>
              </a:cxn>
              <a:cxn ang="0">
                <a:pos x="50" y="89"/>
              </a:cxn>
              <a:cxn ang="0">
                <a:pos x="39" y="87"/>
              </a:cxn>
              <a:cxn ang="0">
                <a:pos x="128" y="3"/>
              </a:cxn>
              <a:cxn ang="0">
                <a:pos x="150" y="23"/>
              </a:cxn>
              <a:cxn ang="0">
                <a:pos x="182" y="44"/>
              </a:cxn>
              <a:cxn ang="0">
                <a:pos x="219" y="38"/>
              </a:cxn>
              <a:cxn ang="0">
                <a:pos x="229" y="60"/>
              </a:cxn>
              <a:cxn ang="0">
                <a:pos x="236" y="74"/>
              </a:cxn>
              <a:cxn ang="0">
                <a:pos x="235" y="86"/>
              </a:cxn>
              <a:cxn ang="0">
                <a:pos x="221" y="92"/>
              </a:cxn>
              <a:cxn ang="0">
                <a:pos x="190" y="85"/>
              </a:cxn>
              <a:cxn ang="0">
                <a:pos x="156" y="85"/>
              </a:cxn>
              <a:cxn ang="0">
                <a:pos x="129" y="80"/>
              </a:cxn>
              <a:cxn ang="0">
                <a:pos x="107" y="80"/>
              </a:cxn>
              <a:cxn ang="0">
                <a:pos x="100" y="111"/>
              </a:cxn>
              <a:cxn ang="0">
                <a:pos x="112" y="127"/>
              </a:cxn>
              <a:cxn ang="0">
                <a:pos x="124" y="152"/>
              </a:cxn>
              <a:cxn ang="0">
                <a:pos x="160" y="190"/>
              </a:cxn>
              <a:cxn ang="0">
                <a:pos x="168" y="209"/>
              </a:cxn>
              <a:cxn ang="0">
                <a:pos x="149" y="194"/>
              </a:cxn>
              <a:cxn ang="0">
                <a:pos x="116" y="181"/>
              </a:cxn>
              <a:cxn ang="0">
                <a:pos x="104" y="171"/>
              </a:cxn>
              <a:cxn ang="0">
                <a:pos x="85" y="158"/>
              </a:cxn>
              <a:cxn ang="0">
                <a:pos x="73" y="136"/>
              </a:cxn>
              <a:cxn ang="0">
                <a:pos x="67" y="121"/>
              </a:cxn>
              <a:cxn ang="0">
                <a:pos x="54" y="85"/>
              </a:cxn>
              <a:cxn ang="0">
                <a:pos x="32" y="83"/>
              </a:cxn>
              <a:cxn ang="0">
                <a:pos x="22" y="99"/>
              </a:cxn>
              <a:cxn ang="0">
                <a:pos x="6" y="86"/>
              </a:cxn>
              <a:cxn ang="0">
                <a:pos x="6" y="66"/>
              </a:cxn>
              <a:cxn ang="0">
                <a:pos x="42" y="62"/>
              </a:cxn>
              <a:cxn ang="0">
                <a:pos x="63" y="64"/>
              </a:cxn>
              <a:cxn ang="0">
                <a:pos x="75" y="52"/>
              </a:cxn>
              <a:cxn ang="0">
                <a:pos x="89" y="23"/>
              </a:cxn>
              <a:cxn ang="0">
                <a:pos x="118" y="11"/>
              </a:cxn>
            </a:cxnLst>
            <a:rect l="0" t="0" r="r" b="b"/>
            <a:pathLst>
              <a:path w="249" h="244">
                <a:moveTo>
                  <a:pt x="210" y="243"/>
                </a:moveTo>
                <a:lnTo>
                  <a:pt x="211" y="243"/>
                </a:lnTo>
                <a:lnTo>
                  <a:pt x="211" y="244"/>
                </a:lnTo>
                <a:lnTo>
                  <a:pt x="210" y="243"/>
                </a:lnTo>
                <a:close/>
                <a:moveTo>
                  <a:pt x="141" y="224"/>
                </a:moveTo>
                <a:lnTo>
                  <a:pt x="145" y="224"/>
                </a:lnTo>
                <a:lnTo>
                  <a:pt x="145" y="226"/>
                </a:lnTo>
                <a:lnTo>
                  <a:pt x="143" y="226"/>
                </a:lnTo>
                <a:lnTo>
                  <a:pt x="142" y="225"/>
                </a:lnTo>
                <a:lnTo>
                  <a:pt x="142" y="226"/>
                </a:lnTo>
                <a:lnTo>
                  <a:pt x="141" y="226"/>
                </a:lnTo>
                <a:lnTo>
                  <a:pt x="141" y="225"/>
                </a:lnTo>
                <a:lnTo>
                  <a:pt x="140" y="225"/>
                </a:lnTo>
                <a:lnTo>
                  <a:pt x="141" y="224"/>
                </a:lnTo>
                <a:close/>
                <a:moveTo>
                  <a:pt x="186" y="222"/>
                </a:moveTo>
                <a:lnTo>
                  <a:pt x="187" y="222"/>
                </a:lnTo>
                <a:lnTo>
                  <a:pt x="190" y="225"/>
                </a:lnTo>
                <a:lnTo>
                  <a:pt x="190" y="226"/>
                </a:lnTo>
                <a:lnTo>
                  <a:pt x="192" y="227"/>
                </a:lnTo>
                <a:lnTo>
                  <a:pt x="200" y="232"/>
                </a:lnTo>
                <a:lnTo>
                  <a:pt x="202" y="233"/>
                </a:lnTo>
                <a:lnTo>
                  <a:pt x="205" y="233"/>
                </a:lnTo>
                <a:lnTo>
                  <a:pt x="205" y="234"/>
                </a:lnTo>
                <a:lnTo>
                  <a:pt x="206" y="236"/>
                </a:lnTo>
                <a:lnTo>
                  <a:pt x="209" y="236"/>
                </a:lnTo>
                <a:lnTo>
                  <a:pt x="209" y="240"/>
                </a:lnTo>
                <a:lnTo>
                  <a:pt x="210" y="242"/>
                </a:lnTo>
                <a:lnTo>
                  <a:pt x="210" y="243"/>
                </a:lnTo>
                <a:lnTo>
                  <a:pt x="209" y="242"/>
                </a:lnTo>
                <a:lnTo>
                  <a:pt x="207" y="242"/>
                </a:lnTo>
                <a:lnTo>
                  <a:pt x="207" y="240"/>
                </a:lnTo>
                <a:lnTo>
                  <a:pt x="200" y="236"/>
                </a:lnTo>
                <a:lnTo>
                  <a:pt x="199" y="234"/>
                </a:lnTo>
                <a:lnTo>
                  <a:pt x="200" y="233"/>
                </a:lnTo>
                <a:lnTo>
                  <a:pt x="199" y="232"/>
                </a:lnTo>
                <a:lnTo>
                  <a:pt x="198" y="232"/>
                </a:lnTo>
                <a:lnTo>
                  <a:pt x="196" y="231"/>
                </a:lnTo>
                <a:lnTo>
                  <a:pt x="193" y="231"/>
                </a:lnTo>
                <a:lnTo>
                  <a:pt x="193" y="228"/>
                </a:lnTo>
                <a:lnTo>
                  <a:pt x="191" y="228"/>
                </a:lnTo>
                <a:lnTo>
                  <a:pt x="188" y="226"/>
                </a:lnTo>
                <a:lnTo>
                  <a:pt x="186" y="225"/>
                </a:lnTo>
                <a:lnTo>
                  <a:pt x="185" y="224"/>
                </a:lnTo>
                <a:lnTo>
                  <a:pt x="186" y="222"/>
                </a:lnTo>
                <a:close/>
                <a:moveTo>
                  <a:pt x="162" y="222"/>
                </a:moveTo>
                <a:lnTo>
                  <a:pt x="166" y="222"/>
                </a:lnTo>
                <a:lnTo>
                  <a:pt x="167" y="224"/>
                </a:lnTo>
                <a:lnTo>
                  <a:pt x="171" y="224"/>
                </a:lnTo>
                <a:lnTo>
                  <a:pt x="175" y="226"/>
                </a:lnTo>
                <a:lnTo>
                  <a:pt x="176" y="225"/>
                </a:lnTo>
                <a:lnTo>
                  <a:pt x="176" y="226"/>
                </a:lnTo>
                <a:lnTo>
                  <a:pt x="179" y="227"/>
                </a:lnTo>
                <a:lnTo>
                  <a:pt x="180" y="228"/>
                </a:lnTo>
                <a:lnTo>
                  <a:pt x="165" y="224"/>
                </a:lnTo>
                <a:lnTo>
                  <a:pt x="163" y="225"/>
                </a:lnTo>
                <a:lnTo>
                  <a:pt x="163" y="224"/>
                </a:lnTo>
                <a:lnTo>
                  <a:pt x="162" y="224"/>
                </a:lnTo>
                <a:lnTo>
                  <a:pt x="162" y="222"/>
                </a:lnTo>
                <a:close/>
                <a:moveTo>
                  <a:pt x="134" y="210"/>
                </a:moveTo>
                <a:lnTo>
                  <a:pt x="135" y="210"/>
                </a:lnTo>
                <a:lnTo>
                  <a:pt x="136" y="212"/>
                </a:lnTo>
                <a:lnTo>
                  <a:pt x="138" y="212"/>
                </a:lnTo>
                <a:lnTo>
                  <a:pt x="141" y="213"/>
                </a:lnTo>
                <a:lnTo>
                  <a:pt x="143" y="213"/>
                </a:lnTo>
                <a:lnTo>
                  <a:pt x="144" y="212"/>
                </a:lnTo>
                <a:lnTo>
                  <a:pt x="149" y="212"/>
                </a:lnTo>
                <a:lnTo>
                  <a:pt x="153" y="213"/>
                </a:lnTo>
                <a:lnTo>
                  <a:pt x="155" y="213"/>
                </a:lnTo>
                <a:lnTo>
                  <a:pt x="155" y="214"/>
                </a:lnTo>
                <a:lnTo>
                  <a:pt x="156" y="215"/>
                </a:lnTo>
                <a:lnTo>
                  <a:pt x="147" y="215"/>
                </a:lnTo>
                <a:lnTo>
                  <a:pt x="144" y="216"/>
                </a:lnTo>
                <a:lnTo>
                  <a:pt x="142" y="216"/>
                </a:lnTo>
                <a:lnTo>
                  <a:pt x="137" y="215"/>
                </a:lnTo>
                <a:lnTo>
                  <a:pt x="134" y="215"/>
                </a:lnTo>
                <a:lnTo>
                  <a:pt x="132" y="214"/>
                </a:lnTo>
                <a:lnTo>
                  <a:pt x="136" y="213"/>
                </a:lnTo>
                <a:lnTo>
                  <a:pt x="135" y="212"/>
                </a:lnTo>
                <a:lnTo>
                  <a:pt x="132" y="212"/>
                </a:lnTo>
                <a:lnTo>
                  <a:pt x="134" y="210"/>
                </a:lnTo>
                <a:close/>
                <a:moveTo>
                  <a:pt x="149" y="208"/>
                </a:moveTo>
                <a:lnTo>
                  <a:pt x="150" y="209"/>
                </a:lnTo>
                <a:lnTo>
                  <a:pt x="159" y="209"/>
                </a:lnTo>
                <a:lnTo>
                  <a:pt x="165" y="212"/>
                </a:lnTo>
                <a:lnTo>
                  <a:pt x="167" y="214"/>
                </a:lnTo>
                <a:lnTo>
                  <a:pt x="167" y="215"/>
                </a:lnTo>
                <a:lnTo>
                  <a:pt x="169" y="215"/>
                </a:lnTo>
                <a:lnTo>
                  <a:pt x="171" y="216"/>
                </a:lnTo>
                <a:lnTo>
                  <a:pt x="171" y="215"/>
                </a:lnTo>
                <a:lnTo>
                  <a:pt x="172" y="215"/>
                </a:lnTo>
                <a:lnTo>
                  <a:pt x="173" y="216"/>
                </a:lnTo>
                <a:lnTo>
                  <a:pt x="174" y="216"/>
                </a:lnTo>
                <a:lnTo>
                  <a:pt x="175" y="218"/>
                </a:lnTo>
                <a:lnTo>
                  <a:pt x="176" y="218"/>
                </a:lnTo>
                <a:lnTo>
                  <a:pt x="179" y="220"/>
                </a:lnTo>
                <a:lnTo>
                  <a:pt x="178" y="219"/>
                </a:lnTo>
                <a:lnTo>
                  <a:pt x="178" y="218"/>
                </a:lnTo>
                <a:lnTo>
                  <a:pt x="176" y="218"/>
                </a:lnTo>
                <a:lnTo>
                  <a:pt x="175" y="216"/>
                </a:lnTo>
                <a:lnTo>
                  <a:pt x="176" y="216"/>
                </a:lnTo>
                <a:lnTo>
                  <a:pt x="176" y="215"/>
                </a:lnTo>
                <a:lnTo>
                  <a:pt x="179" y="215"/>
                </a:lnTo>
                <a:lnTo>
                  <a:pt x="180" y="216"/>
                </a:lnTo>
                <a:lnTo>
                  <a:pt x="181" y="216"/>
                </a:lnTo>
                <a:lnTo>
                  <a:pt x="182" y="215"/>
                </a:lnTo>
                <a:lnTo>
                  <a:pt x="182" y="219"/>
                </a:lnTo>
                <a:lnTo>
                  <a:pt x="184" y="219"/>
                </a:lnTo>
                <a:lnTo>
                  <a:pt x="185" y="221"/>
                </a:lnTo>
                <a:lnTo>
                  <a:pt x="186" y="222"/>
                </a:lnTo>
                <a:lnTo>
                  <a:pt x="185" y="222"/>
                </a:lnTo>
                <a:lnTo>
                  <a:pt x="184" y="221"/>
                </a:lnTo>
                <a:lnTo>
                  <a:pt x="181" y="221"/>
                </a:lnTo>
                <a:lnTo>
                  <a:pt x="181" y="222"/>
                </a:lnTo>
                <a:lnTo>
                  <a:pt x="180" y="222"/>
                </a:lnTo>
                <a:lnTo>
                  <a:pt x="180" y="221"/>
                </a:lnTo>
                <a:lnTo>
                  <a:pt x="179" y="221"/>
                </a:lnTo>
                <a:lnTo>
                  <a:pt x="180" y="222"/>
                </a:lnTo>
                <a:lnTo>
                  <a:pt x="179" y="222"/>
                </a:lnTo>
                <a:lnTo>
                  <a:pt x="176" y="221"/>
                </a:lnTo>
                <a:lnTo>
                  <a:pt x="175" y="221"/>
                </a:lnTo>
                <a:lnTo>
                  <a:pt x="171" y="219"/>
                </a:lnTo>
                <a:lnTo>
                  <a:pt x="167" y="218"/>
                </a:lnTo>
                <a:lnTo>
                  <a:pt x="167" y="216"/>
                </a:lnTo>
                <a:lnTo>
                  <a:pt x="166" y="215"/>
                </a:lnTo>
                <a:lnTo>
                  <a:pt x="163" y="215"/>
                </a:lnTo>
                <a:lnTo>
                  <a:pt x="160" y="213"/>
                </a:lnTo>
                <a:lnTo>
                  <a:pt x="159" y="213"/>
                </a:lnTo>
                <a:lnTo>
                  <a:pt x="157" y="212"/>
                </a:lnTo>
                <a:lnTo>
                  <a:pt x="150" y="212"/>
                </a:lnTo>
                <a:lnTo>
                  <a:pt x="150" y="210"/>
                </a:lnTo>
                <a:lnTo>
                  <a:pt x="149" y="210"/>
                </a:lnTo>
                <a:lnTo>
                  <a:pt x="149" y="208"/>
                </a:lnTo>
                <a:close/>
                <a:moveTo>
                  <a:pt x="110" y="206"/>
                </a:moveTo>
                <a:lnTo>
                  <a:pt x="116" y="206"/>
                </a:lnTo>
                <a:lnTo>
                  <a:pt x="116" y="207"/>
                </a:lnTo>
                <a:lnTo>
                  <a:pt x="117" y="206"/>
                </a:lnTo>
                <a:lnTo>
                  <a:pt x="117" y="207"/>
                </a:lnTo>
                <a:lnTo>
                  <a:pt x="115" y="209"/>
                </a:lnTo>
                <a:lnTo>
                  <a:pt x="111" y="209"/>
                </a:lnTo>
                <a:lnTo>
                  <a:pt x="110" y="210"/>
                </a:lnTo>
                <a:lnTo>
                  <a:pt x="109" y="209"/>
                </a:lnTo>
                <a:lnTo>
                  <a:pt x="110" y="209"/>
                </a:lnTo>
                <a:lnTo>
                  <a:pt x="110" y="208"/>
                </a:lnTo>
                <a:lnTo>
                  <a:pt x="109" y="208"/>
                </a:lnTo>
                <a:lnTo>
                  <a:pt x="109" y="207"/>
                </a:lnTo>
                <a:lnTo>
                  <a:pt x="110" y="206"/>
                </a:lnTo>
                <a:close/>
                <a:moveTo>
                  <a:pt x="122" y="199"/>
                </a:moveTo>
                <a:lnTo>
                  <a:pt x="123" y="199"/>
                </a:lnTo>
                <a:lnTo>
                  <a:pt x="123" y="200"/>
                </a:lnTo>
                <a:lnTo>
                  <a:pt x="122" y="200"/>
                </a:lnTo>
                <a:lnTo>
                  <a:pt x="122" y="199"/>
                </a:lnTo>
                <a:close/>
                <a:moveTo>
                  <a:pt x="131" y="197"/>
                </a:moveTo>
                <a:lnTo>
                  <a:pt x="134" y="197"/>
                </a:lnTo>
                <a:lnTo>
                  <a:pt x="134" y="199"/>
                </a:lnTo>
                <a:lnTo>
                  <a:pt x="135" y="199"/>
                </a:lnTo>
                <a:lnTo>
                  <a:pt x="135" y="200"/>
                </a:lnTo>
                <a:lnTo>
                  <a:pt x="136" y="201"/>
                </a:lnTo>
                <a:lnTo>
                  <a:pt x="143" y="201"/>
                </a:lnTo>
                <a:lnTo>
                  <a:pt x="144" y="202"/>
                </a:lnTo>
                <a:lnTo>
                  <a:pt x="155" y="202"/>
                </a:lnTo>
                <a:lnTo>
                  <a:pt x="156" y="203"/>
                </a:lnTo>
                <a:lnTo>
                  <a:pt x="135" y="203"/>
                </a:lnTo>
                <a:lnTo>
                  <a:pt x="130" y="202"/>
                </a:lnTo>
                <a:lnTo>
                  <a:pt x="126" y="201"/>
                </a:lnTo>
                <a:lnTo>
                  <a:pt x="125" y="201"/>
                </a:lnTo>
                <a:lnTo>
                  <a:pt x="124" y="200"/>
                </a:lnTo>
                <a:lnTo>
                  <a:pt x="124" y="199"/>
                </a:lnTo>
                <a:lnTo>
                  <a:pt x="129" y="199"/>
                </a:lnTo>
                <a:lnTo>
                  <a:pt x="129" y="200"/>
                </a:lnTo>
                <a:lnTo>
                  <a:pt x="130" y="200"/>
                </a:lnTo>
                <a:lnTo>
                  <a:pt x="130" y="199"/>
                </a:lnTo>
                <a:lnTo>
                  <a:pt x="131" y="199"/>
                </a:lnTo>
                <a:lnTo>
                  <a:pt x="131" y="197"/>
                </a:lnTo>
                <a:close/>
                <a:moveTo>
                  <a:pt x="129" y="197"/>
                </a:moveTo>
                <a:lnTo>
                  <a:pt x="130" y="197"/>
                </a:lnTo>
                <a:lnTo>
                  <a:pt x="130" y="199"/>
                </a:lnTo>
                <a:lnTo>
                  <a:pt x="129" y="197"/>
                </a:lnTo>
                <a:close/>
                <a:moveTo>
                  <a:pt x="124" y="188"/>
                </a:moveTo>
                <a:lnTo>
                  <a:pt x="125" y="188"/>
                </a:lnTo>
                <a:lnTo>
                  <a:pt x="126" y="189"/>
                </a:lnTo>
                <a:lnTo>
                  <a:pt x="135" y="189"/>
                </a:lnTo>
                <a:lnTo>
                  <a:pt x="141" y="190"/>
                </a:lnTo>
                <a:lnTo>
                  <a:pt x="140" y="190"/>
                </a:lnTo>
                <a:lnTo>
                  <a:pt x="140" y="191"/>
                </a:lnTo>
                <a:lnTo>
                  <a:pt x="141" y="191"/>
                </a:lnTo>
                <a:lnTo>
                  <a:pt x="141" y="190"/>
                </a:lnTo>
                <a:lnTo>
                  <a:pt x="143" y="193"/>
                </a:lnTo>
                <a:lnTo>
                  <a:pt x="143" y="194"/>
                </a:lnTo>
                <a:lnTo>
                  <a:pt x="142" y="194"/>
                </a:lnTo>
                <a:lnTo>
                  <a:pt x="142" y="195"/>
                </a:lnTo>
                <a:lnTo>
                  <a:pt x="130" y="195"/>
                </a:lnTo>
                <a:lnTo>
                  <a:pt x="128" y="194"/>
                </a:lnTo>
                <a:lnTo>
                  <a:pt x="124" y="193"/>
                </a:lnTo>
                <a:lnTo>
                  <a:pt x="123" y="191"/>
                </a:lnTo>
                <a:lnTo>
                  <a:pt x="124" y="191"/>
                </a:lnTo>
                <a:lnTo>
                  <a:pt x="124" y="190"/>
                </a:lnTo>
                <a:lnTo>
                  <a:pt x="125" y="190"/>
                </a:lnTo>
                <a:lnTo>
                  <a:pt x="124" y="189"/>
                </a:lnTo>
                <a:lnTo>
                  <a:pt x="124" y="188"/>
                </a:lnTo>
                <a:close/>
                <a:moveTo>
                  <a:pt x="115" y="187"/>
                </a:moveTo>
                <a:lnTo>
                  <a:pt x="118" y="187"/>
                </a:lnTo>
                <a:lnTo>
                  <a:pt x="118" y="188"/>
                </a:lnTo>
                <a:lnTo>
                  <a:pt x="120" y="188"/>
                </a:lnTo>
                <a:lnTo>
                  <a:pt x="120" y="189"/>
                </a:lnTo>
                <a:lnTo>
                  <a:pt x="122" y="190"/>
                </a:lnTo>
                <a:lnTo>
                  <a:pt x="123" y="190"/>
                </a:lnTo>
                <a:lnTo>
                  <a:pt x="122" y="191"/>
                </a:lnTo>
                <a:lnTo>
                  <a:pt x="120" y="191"/>
                </a:lnTo>
                <a:lnTo>
                  <a:pt x="118" y="189"/>
                </a:lnTo>
                <a:lnTo>
                  <a:pt x="116" y="189"/>
                </a:lnTo>
                <a:lnTo>
                  <a:pt x="115" y="188"/>
                </a:lnTo>
                <a:lnTo>
                  <a:pt x="115" y="187"/>
                </a:lnTo>
                <a:close/>
                <a:moveTo>
                  <a:pt x="117" y="181"/>
                </a:moveTo>
                <a:lnTo>
                  <a:pt x="119" y="182"/>
                </a:lnTo>
                <a:lnTo>
                  <a:pt x="122" y="182"/>
                </a:lnTo>
                <a:lnTo>
                  <a:pt x="122" y="183"/>
                </a:lnTo>
                <a:lnTo>
                  <a:pt x="120" y="183"/>
                </a:lnTo>
                <a:lnTo>
                  <a:pt x="118" y="182"/>
                </a:lnTo>
                <a:lnTo>
                  <a:pt x="117" y="183"/>
                </a:lnTo>
                <a:lnTo>
                  <a:pt x="116" y="183"/>
                </a:lnTo>
                <a:lnTo>
                  <a:pt x="115" y="182"/>
                </a:lnTo>
                <a:lnTo>
                  <a:pt x="117" y="182"/>
                </a:lnTo>
                <a:lnTo>
                  <a:pt x="117" y="181"/>
                </a:lnTo>
                <a:close/>
                <a:moveTo>
                  <a:pt x="92" y="173"/>
                </a:moveTo>
                <a:lnTo>
                  <a:pt x="93" y="173"/>
                </a:lnTo>
                <a:lnTo>
                  <a:pt x="95" y="175"/>
                </a:lnTo>
                <a:lnTo>
                  <a:pt x="92" y="173"/>
                </a:lnTo>
                <a:close/>
                <a:moveTo>
                  <a:pt x="89" y="171"/>
                </a:moveTo>
                <a:lnTo>
                  <a:pt x="91" y="171"/>
                </a:lnTo>
                <a:lnTo>
                  <a:pt x="92" y="172"/>
                </a:lnTo>
                <a:lnTo>
                  <a:pt x="92" y="173"/>
                </a:lnTo>
                <a:lnTo>
                  <a:pt x="89" y="172"/>
                </a:lnTo>
                <a:lnTo>
                  <a:pt x="89" y="171"/>
                </a:lnTo>
                <a:close/>
                <a:moveTo>
                  <a:pt x="79" y="165"/>
                </a:moveTo>
                <a:lnTo>
                  <a:pt x="80" y="165"/>
                </a:lnTo>
                <a:lnTo>
                  <a:pt x="80" y="166"/>
                </a:lnTo>
                <a:lnTo>
                  <a:pt x="79" y="165"/>
                </a:lnTo>
                <a:close/>
                <a:moveTo>
                  <a:pt x="74" y="159"/>
                </a:moveTo>
                <a:lnTo>
                  <a:pt x="79" y="164"/>
                </a:lnTo>
                <a:lnTo>
                  <a:pt x="79" y="165"/>
                </a:lnTo>
                <a:lnTo>
                  <a:pt x="76" y="164"/>
                </a:lnTo>
                <a:lnTo>
                  <a:pt x="76" y="163"/>
                </a:lnTo>
                <a:lnTo>
                  <a:pt x="75" y="161"/>
                </a:lnTo>
                <a:lnTo>
                  <a:pt x="74" y="161"/>
                </a:lnTo>
                <a:lnTo>
                  <a:pt x="74" y="159"/>
                </a:lnTo>
                <a:close/>
                <a:moveTo>
                  <a:pt x="70" y="159"/>
                </a:moveTo>
                <a:lnTo>
                  <a:pt x="72" y="159"/>
                </a:lnTo>
                <a:lnTo>
                  <a:pt x="70" y="159"/>
                </a:lnTo>
                <a:close/>
                <a:moveTo>
                  <a:pt x="69" y="158"/>
                </a:moveTo>
                <a:lnTo>
                  <a:pt x="70" y="158"/>
                </a:lnTo>
                <a:lnTo>
                  <a:pt x="70" y="159"/>
                </a:lnTo>
                <a:lnTo>
                  <a:pt x="69" y="158"/>
                </a:lnTo>
                <a:close/>
                <a:moveTo>
                  <a:pt x="75" y="152"/>
                </a:moveTo>
                <a:lnTo>
                  <a:pt x="76" y="152"/>
                </a:lnTo>
                <a:lnTo>
                  <a:pt x="79" y="154"/>
                </a:lnTo>
                <a:lnTo>
                  <a:pt x="80" y="154"/>
                </a:lnTo>
                <a:lnTo>
                  <a:pt x="80" y="156"/>
                </a:lnTo>
                <a:lnTo>
                  <a:pt x="81" y="157"/>
                </a:lnTo>
                <a:lnTo>
                  <a:pt x="82" y="157"/>
                </a:lnTo>
                <a:lnTo>
                  <a:pt x="82" y="159"/>
                </a:lnTo>
                <a:lnTo>
                  <a:pt x="81" y="159"/>
                </a:lnTo>
                <a:lnTo>
                  <a:pt x="81" y="158"/>
                </a:lnTo>
                <a:lnTo>
                  <a:pt x="80" y="158"/>
                </a:lnTo>
                <a:lnTo>
                  <a:pt x="79" y="157"/>
                </a:lnTo>
                <a:lnTo>
                  <a:pt x="79" y="156"/>
                </a:lnTo>
                <a:lnTo>
                  <a:pt x="76" y="156"/>
                </a:lnTo>
                <a:lnTo>
                  <a:pt x="76" y="154"/>
                </a:lnTo>
                <a:lnTo>
                  <a:pt x="75" y="152"/>
                </a:lnTo>
                <a:close/>
                <a:moveTo>
                  <a:pt x="64" y="150"/>
                </a:moveTo>
                <a:lnTo>
                  <a:pt x="73" y="158"/>
                </a:lnTo>
                <a:lnTo>
                  <a:pt x="72" y="159"/>
                </a:lnTo>
                <a:lnTo>
                  <a:pt x="70" y="157"/>
                </a:lnTo>
                <a:lnTo>
                  <a:pt x="69" y="157"/>
                </a:lnTo>
                <a:lnTo>
                  <a:pt x="69" y="158"/>
                </a:lnTo>
                <a:lnTo>
                  <a:pt x="68" y="157"/>
                </a:lnTo>
                <a:lnTo>
                  <a:pt x="67" y="154"/>
                </a:lnTo>
                <a:lnTo>
                  <a:pt x="66" y="153"/>
                </a:lnTo>
                <a:lnTo>
                  <a:pt x="64" y="150"/>
                </a:lnTo>
                <a:close/>
                <a:moveTo>
                  <a:pt x="63" y="148"/>
                </a:moveTo>
                <a:lnTo>
                  <a:pt x="64" y="148"/>
                </a:lnTo>
                <a:lnTo>
                  <a:pt x="64" y="150"/>
                </a:lnTo>
                <a:lnTo>
                  <a:pt x="63" y="148"/>
                </a:lnTo>
                <a:close/>
                <a:moveTo>
                  <a:pt x="67" y="144"/>
                </a:moveTo>
                <a:lnTo>
                  <a:pt x="73" y="148"/>
                </a:lnTo>
                <a:lnTo>
                  <a:pt x="74" y="150"/>
                </a:lnTo>
                <a:lnTo>
                  <a:pt x="70" y="150"/>
                </a:lnTo>
                <a:lnTo>
                  <a:pt x="70" y="148"/>
                </a:lnTo>
                <a:lnTo>
                  <a:pt x="69" y="147"/>
                </a:lnTo>
                <a:lnTo>
                  <a:pt x="68" y="145"/>
                </a:lnTo>
                <a:lnTo>
                  <a:pt x="67" y="145"/>
                </a:lnTo>
                <a:lnTo>
                  <a:pt x="67" y="144"/>
                </a:lnTo>
                <a:close/>
                <a:moveTo>
                  <a:pt x="56" y="144"/>
                </a:moveTo>
                <a:lnTo>
                  <a:pt x="58" y="144"/>
                </a:lnTo>
                <a:lnTo>
                  <a:pt x="61" y="145"/>
                </a:lnTo>
                <a:lnTo>
                  <a:pt x="61" y="146"/>
                </a:lnTo>
                <a:lnTo>
                  <a:pt x="62" y="146"/>
                </a:lnTo>
                <a:lnTo>
                  <a:pt x="62" y="147"/>
                </a:lnTo>
                <a:lnTo>
                  <a:pt x="64" y="147"/>
                </a:lnTo>
                <a:lnTo>
                  <a:pt x="63" y="148"/>
                </a:lnTo>
                <a:lnTo>
                  <a:pt x="62" y="148"/>
                </a:lnTo>
                <a:lnTo>
                  <a:pt x="58" y="145"/>
                </a:lnTo>
                <a:lnTo>
                  <a:pt x="57" y="145"/>
                </a:lnTo>
                <a:lnTo>
                  <a:pt x="56" y="144"/>
                </a:lnTo>
                <a:close/>
                <a:moveTo>
                  <a:pt x="57" y="142"/>
                </a:moveTo>
                <a:lnTo>
                  <a:pt x="58" y="142"/>
                </a:lnTo>
                <a:lnTo>
                  <a:pt x="58" y="144"/>
                </a:lnTo>
                <a:lnTo>
                  <a:pt x="57" y="142"/>
                </a:lnTo>
                <a:close/>
                <a:moveTo>
                  <a:pt x="53" y="136"/>
                </a:moveTo>
                <a:lnTo>
                  <a:pt x="54" y="136"/>
                </a:lnTo>
                <a:lnTo>
                  <a:pt x="54" y="138"/>
                </a:lnTo>
                <a:lnTo>
                  <a:pt x="53" y="136"/>
                </a:lnTo>
                <a:close/>
                <a:moveTo>
                  <a:pt x="54" y="135"/>
                </a:moveTo>
                <a:lnTo>
                  <a:pt x="55" y="136"/>
                </a:lnTo>
                <a:lnTo>
                  <a:pt x="54" y="136"/>
                </a:lnTo>
                <a:lnTo>
                  <a:pt x="54" y="135"/>
                </a:lnTo>
                <a:close/>
                <a:moveTo>
                  <a:pt x="47" y="132"/>
                </a:moveTo>
                <a:lnTo>
                  <a:pt x="48" y="133"/>
                </a:lnTo>
                <a:lnTo>
                  <a:pt x="49" y="133"/>
                </a:lnTo>
                <a:lnTo>
                  <a:pt x="49" y="134"/>
                </a:lnTo>
                <a:lnTo>
                  <a:pt x="47" y="133"/>
                </a:lnTo>
                <a:lnTo>
                  <a:pt x="47" y="132"/>
                </a:lnTo>
                <a:close/>
                <a:moveTo>
                  <a:pt x="70" y="130"/>
                </a:moveTo>
                <a:lnTo>
                  <a:pt x="70" y="132"/>
                </a:lnTo>
                <a:lnTo>
                  <a:pt x="72" y="132"/>
                </a:lnTo>
                <a:lnTo>
                  <a:pt x="70" y="130"/>
                </a:lnTo>
                <a:close/>
                <a:moveTo>
                  <a:pt x="54" y="128"/>
                </a:moveTo>
                <a:lnTo>
                  <a:pt x="55" y="128"/>
                </a:lnTo>
                <a:lnTo>
                  <a:pt x="55" y="130"/>
                </a:lnTo>
                <a:lnTo>
                  <a:pt x="56" y="130"/>
                </a:lnTo>
                <a:lnTo>
                  <a:pt x="56" y="132"/>
                </a:lnTo>
                <a:lnTo>
                  <a:pt x="55" y="133"/>
                </a:lnTo>
                <a:lnTo>
                  <a:pt x="55" y="132"/>
                </a:lnTo>
                <a:lnTo>
                  <a:pt x="54" y="132"/>
                </a:lnTo>
                <a:lnTo>
                  <a:pt x="54" y="128"/>
                </a:lnTo>
                <a:close/>
                <a:moveTo>
                  <a:pt x="41" y="121"/>
                </a:moveTo>
                <a:lnTo>
                  <a:pt x="42" y="121"/>
                </a:lnTo>
                <a:lnTo>
                  <a:pt x="44" y="123"/>
                </a:lnTo>
                <a:lnTo>
                  <a:pt x="44" y="124"/>
                </a:lnTo>
                <a:lnTo>
                  <a:pt x="43" y="124"/>
                </a:lnTo>
                <a:lnTo>
                  <a:pt x="42" y="123"/>
                </a:lnTo>
                <a:lnTo>
                  <a:pt x="41" y="121"/>
                </a:lnTo>
                <a:close/>
                <a:moveTo>
                  <a:pt x="41" y="120"/>
                </a:moveTo>
                <a:lnTo>
                  <a:pt x="42" y="121"/>
                </a:lnTo>
                <a:lnTo>
                  <a:pt x="41" y="120"/>
                </a:lnTo>
                <a:close/>
                <a:moveTo>
                  <a:pt x="32" y="114"/>
                </a:moveTo>
                <a:lnTo>
                  <a:pt x="32" y="116"/>
                </a:lnTo>
                <a:lnTo>
                  <a:pt x="31" y="116"/>
                </a:lnTo>
                <a:lnTo>
                  <a:pt x="31" y="115"/>
                </a:lnTo>
                <a:lnTo>
                  <a:pt x="32" y="114"/>
                </a:lnTo>
                <a:close/>
                <a:moveTo>
                  <a:pt x="32" y="113"/>
                </a:moveTo>
                <a:lnTo>
                  <a:pt x="33" y="113"/>
                </a:lnTo>
                <a:lnTo>
                  <a:pt x="33" y="114"/>
                </a:lnTo>
                <a:lnTo>
                  <a:pt x="32" y="114"/>
                </a:lnTo>
                <a:lnTo>
                  <a:pt x="32" y="113"/>
                </a:lnTo>
                <a:close/>
                <a:moveTo>
                  <a:pt x="53" y="111"/>
                </a:moveTo>
                <a:lnTo>
                  <a:pt x="55" y="113"/>
                </a:lnTo>
                <a:lnTo>
                  <a:pt x="57" y="117"/>
                </a:lnTo>
                <a:lnTo>
                  <a:pt x="58" y="118"/>
                </a:lnTo>
                <a:lnTo>
                  <a:pt x="58" y="116"/>
                </a:lnTo>
                <a:lnTo>
                  <a:pt x="60" y="116"/>
                </a:lnTo>
                <a:lnTo>
                  <a:pt x="62" y="118"/>
                </a:lnTo>
                <a:lnTo>
                  <a:pt x="63" y="121"/>
                </a:lnTo>
                <a:lnTo>
                  <a:pt x="64" y="121"/>
                </a:lnTo>
                <a:lnTo>
                  <a:pt x="67" y="123"/>
                </a:lnTo>
                <a:lnTo>
                  <a:pt x="67" y="124"/>
                </a:lnTo>
                <a:lnTo>
                  <a:pt x="66" y="124"/>
                </a:lnTo>
                <a:lnTo>
                  <a:pt x="64" y="123"/>
                </a:lnTo>
                <a:lnTo>
                  <a:pt x="64" y="122"/>
                </a:lnTo>
                <a:lnTo>
                  <a:pt x="62" y="121"/>
                </a:lnTo>
                <a:lnTo>
                  <a:pt x="61" y="121"/>
                </a:lnTo>
                <a:lnTo>
                  <a:pt x="61" y="120"/>
                </a:lnTo>
                <a:lnTo>
                  <a:pt x="60" y="120"/>
                </a:lnTo>
                <a:lnTo>
                  <a:pt x="60" y="121"/>
                </a:lnTo>
                <a:lnTo>
                  <a:pt x="62" y="122"/>
                </a:lnTo>
                <a:lnTo>
                  <a:pt x="66" y="127"/>
                </a:lnTo>
                <a:lnTo>
                  <a:pt x="67" y="128"/>
                </a:lnTo>
                <a:lnTo>
                  <a:pt x="68" y="128"/>
                </a:lnTo>
                <a:lnTo>
                  <a:pt x="67" y="128"/>
                </a:lnTo>
                <a:lnTo>
                  <a:pt x="67" y="127"/>
                </a:lnTo>
                <a:lnTo>
                  <a:pt x="66" y="126"/>
                </a:lnTo>
                <a:lnTo>
                  <a:pt x="66" y="124"/>
                </a:lnTo>
                <a:lnTo>
                  <a:pt x="67" y="126"/>
                </a:lnTo>
                <a:lnTo>
                  <a:pt x="72" y="129"/>
                </a:lnTo>
                <a:lnTo>
                  <a:pt x="72" y="130"/>
                </a:lnTo>
                <a:lnTo>
                  <a:pt x="73" y="130"/>
                </a:lnTo>
                <a:lnTo>
                  <a:pt x="74" y="132"/>
                </a:lnTo>
                <a:lnTo>
                  <a:pt x="74" y="133"/>
                </a:lnTo>
                <a:lnTo>
                  <a:pt x="73" y="132"/>
                </a:lnTo>
                <a:lnTo>
                  <a:pt x="73" y="134"/>
                </a:lnTo>
                <a:lnTo>
                  <a:pt x="72" y="134"/>
                </a:lnTo>
                <a:lnTo>
                  <a:pt x="70" y="133"/>
                </a:lnTo>
                <a:lnTo>
                  <a:pt x="69" y="133"/>
                </a:lnTo>
                <a:lnTo>
                  <a:pt x="72" y="134"/>
                </a:lnTo>
                <a:lnTo>
                  <a:pt x="72" y="135"/>
                </a:lnTo>
                <a:lnTo>
                  <a:pt x="70" y="135"/>
                </a:lnTo>
                <a:lnTo>
                  <a:pt x="69" y="134"/>
                </a:lnTo>
                <a:lnTo>
                  <a:pt x="68" y="134"/>
                </a:lnTo>
                <a:lnTo>
                  <a:pt x="68" y="130"/>
                </a:lnTo>
                <a:lnTo>
                  <a:pt x="69" y="129"/>
                </a:lnTo>
                <a:lnTo>
                  <a:pt x="66" y="129"/>
                </a:lnTo>
                <a:lnTo>
                  <a:pt x="64" y="127"/>
                </a:lnTo>
                <a:lnTo>
                  <a:pt x="62" y="126"/>
                </a:lnTo>
                <a:lnTo>
                  <a:pt x="62" y="124"/>
                </a:lnTo>
                <a:lnTo>
                  <a:pt x="60" y="123"/>
                </a:lnTo>
                <a:lnTo>
                  <a:pt x="61" y="123"/>
                </a:lnTo>
                <a:lnTo>
                  <a:pt x="60" y="122"/>
                </a:lnTo>
                <a:lnTo>
                  <a:pt x="58" y="120"/>
                </a:lnTo>
                <a:lnTo>
                  <a:pt x="54" y="114"/>
                </a:lnTo>
                <a:lnTo>
                  <a:pt x="53" y="113"/>
                </a:lnTo>
                <a:lnTo>
                  <a:pt x="53" y="111"/>
                </a:lnTo>
                <a:close/>
                <a:moveTo>
                  <a:pt x="36" y="110"/>
                </a:moveTo>
                <a:lnTo>
                  <a:pt x="37" y="111"/>
                </a:lnTo>
                <a:lnTo>
                  <a:pt x="38" y="111"/>
                </a:lnTo>
                <a:lnTo>
                  <a:pt x="38" y="116"/>
                </a:lnTo>
                <a:lnTo>
                  <a:pt x="39" y="117"/>
                </a:lnTo>
                <a:lnTo>
                  <a:pt x="41" y="120"/>
                </a:lnTo>
                <a:lnTo>
                  <a:pt x="39" y="118"/>
                </a:lnTo>
                <a:lnTo>
                  <a:pt x="38" y="118"/>
                </a:lnTo>
                <a:lnTo>
                  <a:pt x="38" y="120"/>
                </a:lnTo>
                <a:lnTo>
                  <a:pt x="37" y="120"/>
                </a:lnTo>
                <a:lnTo>
                  <a:pt x="37" y="118"/>
                </a:lnTo>
                <a:lnTo>
                  <a:pt x="38" y="117"/>
                </a:lnTo>
                <a:lnTo>
                  <a:pt x="37" y="116"/>
                </a:lnTo>
                <a:lnTo>
                  <a:pt x="36" y="114"/>
                </a:lnTo>
                <a:lnTo>
                  <a:pt x="36" y="110"/>
                </a:lnTo>
                <a:close/>
                <a:moveTo>
                  <a:pt x="18" y="105"/>
                </a:moveTo>
                <a:lnTo>
                  <a:pt x="18" y="107"/>
                </a:lnTo>
                <a:lnTo>
                  <a:pt x="17" y="107"/>
                </a:lnTo>
                <a:lnTo>
                  <a:pt x="18" y="105"/>
                </a:lnTo>
                <a:close/>
                <a:moveTo>
                  <a:pt x="17" y="104"/>
                </a:moveTo>
                <a:lnTo>
                  <a:pt x="18" y="104"/>
                </a:lnTo>
                <a:lnTo>
                  <a:pt x="18" y="105"/>
                </a:lnTo>
                <a:lnTo>
                  <a:pt x="17" y="104"/>
                </a:lnTo>
                <a:close/>
                <a:moveTo>
                  <a:pt x="53" y="102"/>
                </a:moveTo>
                <a:lnTo>
                  <a:pt x="54" y="103"/>
                </a:lnTo>
                <a:lnTo>
                  <a:pt x="53" y="104"/>
                </a:lnTo>
                <a:lnTo>
                  <a:pt x="54" y="104"/>
                </a:lnTo>
                <a:lnTo>
                  <a:pt x="55" y="107"/>
                </a:lnTo>
                <a:lnTo>
                  <a:pt x="56" y="107"/>
                </a:lnTo>
                <a:lnTo>
                  <a:pt x="57" y="109"/>
                </a:lnTo>
                <a:lnTo>
                  <a:pt x="57" y="111"/>
                </a:lnTo>
                <a:lnTo>
                  <a:pt x="53" y="107"/>
                </a:lnTo>
                <a:lnTo>
                  <a:pt x="53" y="108"/>
                </a:lnTo>
                <a:lnTo>
                  <a:pt x="51" y="108"/>
                </a:lnTo>
                <a:lnTo>
                  <a:pt x="49" y="105"/>
                </a:lnTo>
                <a:lnTo>
                  <a:pt x="53" y="105"/>
                </a:lnTo>
                <a:lnTo>
                  <a:pt x="51" y="104"/>
                </a:lnTo>
                <a:lnTo>
                  <a:pt x="51" y="103"/>
                </a:lnTo>
                <a:lnTo>
                  <a:pt x="53" y="103"/>
                </a:lnTo>
                <a:lnTo>
                  <a:pt x="53" y="102"/>
                </a:lnTo>
                <a:close/>
                <a:moveTo>
                  <a:pt x="13" y="101"/>
                </a:moveTo>
                <a:lnTo>
                  <a:pt x="14" y="102"/>
                </a:lnTo>
                <a:lnTo>
                  <a:pt x="13" y="102"/>
                </a:lnTo>
                <a:lnTo>
                  <a:pt x="13" y="101"/>
                </a:lnTo>
                <a:close/>
                <a:moveTo>
                  <a:pt x="25" y="96"/>
                </a:moveTo>
                <a:lnTo>
                  <a:pt x="25" y="97"/>
                </a:lnTo>
                <a:lnTo>
                  <a:pt x="24" y="97"/>
                </a:lnTo>
                <a:lnTo>
                  <a:pt x="25" y="96"/>
                </a:lnTo>
                <a:close/>
                <a:moveTo>
                  <a:pt x="23" y="91"/>
                </a:moveTo>
                <a:lnTo>
                  <a:pt x="24" y="92"/>
                </a:lnTo>
                <a:lnTo>
                  <a:pt x="23" y="93"/>
                </a:lnTo>
                <a:lnTo>
                  <a:pt x="25" y="93"/>
                </a:lnTo>
                <a:lnTo>
                  <a:pt x="24" y="92"/>
                </a:lnTo>
                <a:lnTo>
                  <a:pt x="24" y="91"/>
                </a:lnTo>
                <a:lnTo>
                  <a:pt x="23" y="91"/>
                </a:lnTo>
                <a:close/>
                <a:moveTo>
                  <a:pt x="35" y="83"/>
                </a:moveTo>
                <a:lnTo>
                  <a:pt x="36" y="83"/>
                </a:lnTo>
                <a:lnTo>
                  <a:pt x="37" y="84"/>
                </a:lnTo>
                <a:lnTo>
                  <a:pt x="37" y="89"/>
                </a:lnTo>
                <a:lnTo>
                  <a:pt x="39" y="93"/>
                </a:lnTo>
                <a:lnTo>
                  <a:pt x="39" y="95"/>
                </a:lnTo>
                <a:lnTo>
                  <a:pt x="42" y="95"/>
                </a:lnTo>
                <a:lnTo>
                  <a:pt x="42" y="96"/>
                </a:lnTo>
                <a:lnTo>
                  <a:pt x="41" y="97"/>
                </a:lnTo>
                <a:lnTo>
                  <a:pt x="41" y="102"/>
                </a:lnTo>
                <a:lnTo>
                  <a:pt x="42" y="104"/>
                </a:lnTo>
                <a:lnTo>
                  <a:pt x="42" y="105"/>
                </a:lnTo>
                <a:lnTo>
                  <a:pt x="41" y="105"/>
                </a:lnTo>
                <a:lnTo>
                  <a:pt x="41" y="107"/>
                </a:lnTo>
                <a:lnTo>
                  <a:pt x="42" y="107"/>
                </a:lnTo>
                <a:lnTo>
                  <a:pt x="42" y="111"/>
                </a:lnTo>
                <a:lnTo>
                  <a:pt x="43" y="113"/>
                </a:lnTo>
                <a:lnTo>
                  <a:pt x="43" y="115"/>
                </a:lnTo>
                <a:lnTo>
                  <a:pt x="44" y="115"/>
                </a:lnTo>
                <a:lnTo>
                  <a:pt x="44" y="116"/>
                </a:lnTo>
                <a:lnTo>
                  <a:pt x="42" y="116"/>
                </a:lnTo>
                <a:lnTo>
                  <a:pt x="39" y="114"/>
                </a:lnTo>
                <a:lnTo>
                  <a:pt x="38" y="111"/>
                </a:lnTo>
                <a:lnTo>
                  <a:pt x="38" y="108"/>
                </a:lnTo>
                <a:lnTo>
                  <a:pt x="37" y="108"/>
                </a:lnTo>
                <a:lnTo>
                  <a:pt x="37" y="104"/>
                </a:lnTo>
                <a:lnTo>
                  <a:pt x="36" y="104"/>
                </a:lnTo>
                <a:lnTo>
                  <a:pt x="36" y="103"/>
                </a:lnTo>
                <a:lnTo>
                  <a:pt x="35" y="99"/>
                </a:lnTo>
                <a:lnTo>
                  <a:pt x="33" y="99"/>
                </a:lnTo>
                <a:lnTo>
                  <a:pt x="33" y="98"/>
                </a:lnTo>
                <a:lnTo>
                  <a:pt x="35" y="98"/>
                </a:lnTo>
                <a:lnTo>
                  <a:pt x="33" y="97"/>
                </a:lnTo>
                <a:lnTo>
                  <a:pt x="36" y="97"/>
                </a:lnTo>
                <a:lnTo>
                  <a:pt x="36" y="98"/>
                </a:lnTo>
                <a:lnTo>
                  <a:pt x="37" y="99"/>
                </a:lnTo>
                <a:lnTo>
                  <a:pt x="38" y="99"/>
                </a:lnTo>
                <a:lnTo>
                  <a:pt x="38" y="97"/>
                </a:lnTo>
                <a:lnTo>
                  <a:pt x="39" y="96"/>
                </a:lnTo>
                <a:lnTo>
                  <a:pt x="38" y="96"/>
                </a:lnTo>
                <a:lnTo>
                  <a:pt x="37" y="95"/>
                </a:lnTo>
                <a:lnTo>
                  <a:pt x="36" y="91"/>
                </a:lnTo>
                <a:lnTo>
                  <a:pt x="36" y="90"/>
                </a:lnTo>
                <a:lnTo>
                  <a:pt x="33" y="87"/>
                </a:lnTo>
                <a:lnTo>
                  <a:pt x="33" y="85"/>
                </a:lnTo>
                <a:lnTo>
                  <a:pt x="35" y="84"/>
                </a:lnTo>
                <a:lnTo>
                  <a:pt x="35" y="83"/>
                </a:lnTo>
                <a:close/>
                <a:moveTo>
                  <a:pt x="44" y="79"/>
                </a:moveTo>
                <a:lnTo>
                  <a:pt x="47" y="79"/>
                </a:lnTo>
                <a:lnTo>
                  <a:pt x="47" y="80"/>
                </a:lnTo>
                <a:lnTo>
                  <a:pt x="48" y="81"/>
                </a:lnTo>
                <a:lnTo>
                  <a:pt x="48" y="83"/>
                </a:lnTo>
                <a:lnTo>
                  <a:pt x="47" y="84"/>
                </a:lnTo>
                <a:lnTo>
                  <a:pt x="50" y="84"/>
                </a:lnTo>
                <a:lnTo>
                  <a:pt x="50" y="85"/>
                </a:lnTo>
                <a:lnTo>
                  <a:pt x="49" y="87"/>
                </a:lnTo>
                <a:lnTo>
                  <a:pt x="50" y="89"/>
                </a:lnTo>
                <a:lnTo>
                  <a:pt x="53" y="89"/>
                </a:lnTo>
                <a:lnTo>
                  <a:pt x="53" y="91"/>
                </a:lnTo>
                <a:lnTo>
                  <a:pt x="56" y="95"/>
                </a:lnTo>
                <a:lnTo>
                  <a:pt x="55" y="95"/>
                </a:lnTo>
                <a:lnTo>
                  <a:pt x="55" y="96"/>
                </a:lnTo>
                <a:lnTo>
                  <a:pt x="54" y="95"/>
                </a:lnTo>
                <a:lnTo>
                  <a:pt x="54" y="97"/>
                </a:lnTo>
                <a:lnTo>
                  <a:pt x="51" y="97"/>
                </a:lnTo>
                <a:lnTo>
                  <a:pt x="49" y="96"/>
                </a:lnTo>
                <a:lnTo>
                  <a:pt x="48" y="95"/>
                </a:lnTo>
                <a:lnTo>
                  <a:pt x="48" y="91"/>
                </a:lnTo>
                <a:lnTo>
                  <a:pt x="47" y="91"/>
                </a:lnTo>
                <a:lnTo>
                  <a:pt x="48" y="92"/>
                </a:lnTo>
                <a:lnTo>
                  <a:pt x="47" y="92"/>
                </a:lnTo>
                <a:lnTo>
                  <a:pt x="43" y="91"/>
                </a:lnTo>
                <a:lnTo>
                  <a:pt x="42" y="91"/>
                </a:lnTo>
                <a:lnTo>
                  <a:pt x="39" y="89"/>
                </a:lnTo>
                <a:lnTo>
                  <a:pt x="39" y="87"/>
                </a:lnTo>
                <a:lnTo>
                  <a:pt x="42" y="87"/>
                </a:lnTo>
                <a:lnTo>
                  <a:pt x="42" y="86"/>
                </a:lnTo>
                <a:lnTo>
                  <a:pt x="43" y="86"/>
                </a:lnTo>
                <a:lnTo>
                  <a:pt x="44" y="85"/>
                </a:lnTo>
                <a:lnTo>
                  <a:pt x="44" y="81"/>
                </a:lnTo>
                <a:lnTo>
                  <a:pt x="45" y="80"/>
                </a:lnTo>
                <a:lnTo>
                  <a:pt x="44" y="80"/>
                </a:lnTo>
                <a:lnTo>
                  <a:pt x="44" y="79"/>
                </a:lnTo>
                <a:close/>
                <a:moveTo>
                  <a:pt x="228" y="37"/>
                </a:moveTo>
                <a:lnTo>
                  <a:pt x="229" y="37"/>
                </a:lnTo>
                <a:lnTo>
                  <a:pt x="229" y="38"/>
                </a:lnTo>
                <a:lnTo>
                  <a:pt x="228" y="38"/>
                </a:lnTo>
                <a:lnTo>
                  <a:pt x="228" y="37"/>
                </a:lnTo>
                <a:close/>
                <a:moveTo>
                  <a:pt x="120" y="0"/>
                </a:moveTo>
                <a:lnTo>
                  <a:pt x="124" y="0"/>
                </a:lnTo>
                <a:lnTo>
                  <a:pt x="124" y="1"/>
                </a:lnTo>
                <a:lnTo>
                  <a:pt x="126" y="1"/>
                </a:lnTo>
                <a:lnTo>
                  <a:pt x="128" y="3"/>
                </a:lnTo>
                <a:lnTo>
                  <a:pt x="130" y="4"/>
                </a:lnTo>
                <a:lnTo>
                  <a:pt x="130" y="5"/>
                </a:lnTo>
                <a:lnTo>
                  <a:pt x="131" y="5"/>
                </a:lnTo>
                <a:lnTo>
                  <a:pt x="131" y="4"/>
                </a:lnTo>
                <a:lnTo>
                  <a:pt x="132" y="4"/>
                </a:lnTo>
                <a:lnTo>
                  <a:pt x="135" y="6"/>
                </a:lnTo>
                <a:lnTo>
                  <a:pt x="135" y="7"/>
                </a:lnTo>
                <a:lnTo>
                  <a:pt x="136" y="9"/>
                </a:lnTo>
                <a:lnTo>
                  <a:pt x="137" y="9"/>
                </a:lnTo>
                <a:lnTo>
                  <a:pt x="138" y="10"/>
                </a:lnTo>
                <a:lnTo>
                  <a:pt x="142" y="10"/>
                </a:lnTo>
                <a:lnTo>
                  <a:pt x="142" y="11"/>
                </a:lnTo>
                <a:lnTo>
                  <a:pt x="143" y="12"/>
                </a:lnTo>
                <a:lnTo>
                  <a:pt x="143" y="16"/>
                </a:lnTo>
                <a:lnTo>
                  <a:pt x="144" y="16"/>
                </a:lnTo>
                <a:lnTo>
                  <a:pt x="147" y="21"/>
                </a:lnTo>
                <a:lnTo>
                  <a:pt x="149" y="23"/>
                </a:lnTo>
                <a:lnTo>
                  <a:pt x="150" y="23"/>
                </a:lnTo>
                <a:lnTo>
                  <a:pt x="150" y="24"/>
                </a:lnTo>
                <a:lnTo>
                  <a:pt x="153" y="25"/>
                </a:lnTo>
                <a:lnTo>
                  <a:pt x="156" y="27"/>
                </a:lnTo>
                <a:lnTo>
                  <a:pt x="157" y="27"/>
                </a:lnTo>
                <a:lnTo>
                  <a:pt x="160" y="31"/>
                </a:lnTo>
                <a:lnTo>
                  <a:pt x="160" y="32"/>
                </a:lnTo>
                <a:lnTo>
                  <a:pt x="161" y="32"/>
                </a:lnTo>
                <a:lnTo>
                  <a:pt x="161" y="35"/>
                </a:lnTo>
                <a:lnTo>
                  <a:pt x="162" y="35"/>
                </a:lnTo>
                <a:lnTo>
                  <a:pt x="162" y="36"/>
                </a:lnTo>
                <a:lnTo>
                  <a:pt x="165" y="36"/>
                </a:lnTo>
                <a:lnTo>
                  <a:pt x="166" y="37"/>
                </a:lnTo>
                <a:lnTo>
                  <a:pt x="166" y="36"/>
                </a:lnTo>
                <a:lnTo>
                  <a:pt x="172" y="36"/>
                </a:lnTo>
                <a:lnTo>
                  <a:pt x="175" y="40"/>
                </a:lnTo>
                <a:lnTo>
                  <a:pt x="175" y="43"/>
                </a:lnTo>
                <a:lnTo>
                  <a:pt x="178" y="43"/>
                </a:lnTo>
                <a:lnTo>
                  <a:pt x="182" y="44"/>
                </a:lnTo>
                <a:lnTo>
                  <a:pt x="185" y="47"/>
                </a:lnTo>
                <a:lnTo>
                  <a:pt x="185" y="46"/>
                </a:lnTo>
                <a:lnTo>
                  <a:pt x="190" y="46"/>
                </a:lnTo>
                <a:lnTo>
                  <a:pt x="193" y="47"/>
                </a:lnTo>
                <a:lnTo>
                  <a:pt x="200" y="47"/>
                </a:lnTo>
                <a:lnTo>
                  <a:pt x="202" y="48"/>
                </a:lnTo>
                <a:lnTo>
                  <a:pt x="206" y="48"/>
                </a:lnTo>
                <a:lnTo>
                  <a:pt x="206" y="49"/>
                </a:lnTo>
                <a:lnTo>
                  <a:pt x="207" y="49"/>
                </a:lnTo>
                <a:lnTo>
                  <a:pt x="211" y="46"/>
                </a:lnTo>
                <a:lnTo>
                  <a:pt x="211" y="47"/>
                </a:lnTo>
                <a:lnTo>
                  <a:pt x="212" y="46"/>
                </a:lnTo>
                <a:lnTo>
                  <a:pt x="215" y="44"/>
                </a:lnTo>
                <a:lnTo>
                  <a:pt x="215" y="43"/>
                </a:lnTo>
                <a:lnTo>
                  <a:pt x="217" y="41"/>
                </a:lnTo>
                <a:lnTo>
                  <a:pt x="217" y="40"/>
                </a:lnTo>
                <a:lnTo>
                  <a:pt x="218" y="38"/>
                </a:lnTo>
                <a:lnTo>
                  <a:pt x="219" y="38"/>
                </a:lnTo>
                <a:lnTo>
                  <a:pt x="221" y="40"/>
                </a:lnTo>
                <a:lnTo>
                  <a:pt x="223" y="41"/>
                </a:lnTo>
                <a:lnTo>
                  <a:pt x="223" y="40"/>
                </a:lnTo>
                <a:lnTo>
                  <a:pt x="224" y="40"/>
                </a:lnTo>
                <a:lnTo>
                  <a:pt x="224" y="38"/>
                </a:lnTo>
                <a:lnTo>
                  <a:pt x="228" y="38"/>
                </a:lnTo>
                <a:lnTo>
                  <a:pt x="228" y="41"/>
                </a:lnTo>
                <a:lnTo>
                  <a:pt x="229" y="41"/>
                </a:lnTo>
                <a:lnTo>
                  <a:pt x="228" y="42"/>
                </a:lnTo>
                <a:lnTo>
                  <a:pt x="227" y="42"/>
                </a:lnTo>
                <a:lnTo>
                  <a:pt x="227" y="46"/>
                </a:lnTo>
                <a:lnTo>
                  <a:pt x="229" y="48"/>
                </a:lnTo>
                <a:lnTo>
                  <a:pt x="229" y="52"/>
                </a:lnTo>
                <a:lnTo>
                  <a:pt x="230" y="52"/>
                </a:lnTo>
                <a:lnTo>
                  <a:pt x="231" y="53"/>
                </a:lnTo>
                <a:lnTo>
                  <a:pt x="231" y="54"/>
                </a:lnTo>
                <a:lnTo>
                  <a:pt x="229" y="56"/>
                </a:lnTo>
                <a:lnTo>
                  <a:pt x="229" y="60"/>
                </a:lnTo>
                <a:lnTo>
                  <a:pt x="230" y="61"/>
                </a:lnTo>
                <a:lnTo>
                  <a:pt x="231" y="61"/>
                </a:lnTo>
                <a:lnTo>
                  <a:pt x="231" y="60"/>
                </a:lnTo>
                <a:lnTo>
                  <a:pt x="234" y="60"/>
                </a:lnTo>
                <a:lnTo>
                  <a:pt x="234" y="61"/>
                </a:lnTo>
                <a:lnTo>
                  <a:pt x="236" y="61"/>
                </a:lnTo>
                <a:lnTo>
                  <a:pt x="236" y="62"/>
                </a:lnTo>
                <a:lnTo>
                  <a:pt x="237" y="62"/>
                </a:lnTo>
                <a:lnTo>
                  <a:pt x="236" y="64"/>
                </a:lnTo>
                <a:lnTo>
                  <a:pt x="233" y="64"/>
                </a:lnTo>
                <a:lnTo>
                  <a:pt x="233" y="67"/>
                </a:lnTo>
                <a:lnTo>
                  <a:pt x="234" y="67"/>
                </a:lnTo>
                <a:lnTo>
                  <a:pt x="234" y="68"/>
                </a:lnTo>
                <a:lnTo>
                  <a:pt x="231" y="70"/>
                </a:lnTo>
                <a:lnTo>
                  <a:pt x="233" y="71"/>
                </a:lnTo>
                <a:lnTo>
                  <a:pt x="233" y="72"/>
                </a:lnTo>
                <a:lnTo>
                  <a:pt x="236" y="72"/>
                </a:lnTo>
                <a:lnTo>
                  <a:pt x="236" y="74"/>
                </a:lnTo>
                <a:lnTo>
                  <a:pt x="237" y="74"/>
                </a:lnTo>
                <a:lnTo>
                  <a:pt x="237" y="75"/>
                </a:lnTo>
                <a:lnTo>
                  <a:pt x="240" y="77"/>
                </a:lnTo>
                <a:lnTo>
                  <a:pt x="248" y="79"/>
                </a:lnTo>
                <a:lnTo>
                  <a:pt x="248" y="80"/>
                </a:lnTo>
                <a:lnTo>
                  <a:pt x="249" y="80"/>
                </a:lnTo>
                <a:lnTo>
                  <a:pt x="249" y="84"/>
                </a:lnTo>
                <a:lnTo>
                  <a:pt x="246" y="84"/>
                </a:lnTo>
                <a:lnTo>
                  <a:pt x="244" y="83"/>
                </a:lnTo>
                <a:lnTo>
                  <a:pt x="244" y="84"/>
                </a:lnTo>
                <a:lnTo>
                  <a:pt x="241" y="84"/>
                </a:lnTo>
                <a:lnTo>
                  <a:pt x="240" y="83"/>
                </a:lnTo>
                <a:lnTo>
                  <a:pt x="240" y="81"/>
                </a:lnTo>
                <a:lnTo>
                  <a:pt x="237" y="81"/>
                </a:lnTo>
                <a:lnTo>
                  <a:pt x="238" y="83"/>
                </a:lnTo>
                <a:lnTo>
                  <a:pt x="238" y="85"/>
                </a:lnTo>
                <a:lnTo>
                  <a:pt x="235" y="85"/>
                </a:lnTo>
                <a:lnTo>
                  <a:pt x="235" y="86"/>
                </a:lnTo>
                <a:lnTo>
                  <a:pt x="236" y="87"/>
                </a:lnTo>
                <a:lnTo>
                  <a:pt x="236" y="95"/>
                </a:lnTo>
                <a:lnTo>
                  <a:pt x="237" y="96"/>
                </a:lnTo>
                <a:lnTo>
                  <a:pt x="237" y="95"/>
                </a:lnTo>
                <a:lnTo>
                  <a:pt x="238" y="96"/>
                </a:lnTo>
                <a:lnTo>
                  <a:pt x="235" y="99"/>
                </a:lnTo>
                <a:lnTo>
                  <a:pt x="234" y="98"/>
                </a:lnTo>
                <a:lnTo>
                  <a:pt x="233" y="98"/>
                </a:lnTo>
                <a:lnTo>
                  <a:pt x="233" y="99"/>
                </a:lnTo>
                <a:lnTo>
                  <a:pt x="234" y="102"/>
                </a:lnTo>
                <a:lnTo>
                  <a:pt x="227" y="102"/>
                </a:lnTo>
                <a:lnTo>
                  <a:pt x="223" y="98"/>
                </a:lnTo>
                <a:lnTo>
                  <a:pt x="223" y="96"/>
                </a:lnTo>
                <a:lnTo>
                  <a:pt x="224" y="96"/>
                </a:lnTo>
                <a:lnTo>
                  <a:pt x="224" y="93"/>
                </a:lnTo>
                <a:lnTo>
                  <a:pt x="223" y="93"/>
                </a:lnTo>
                <a:lnTo>
                  <a:pt x="222" y="92"/>
                </a:lnTo>
                <a:lnTo>
                  <a:pt x="221" y="92"/>
                </a:lnTo>
                <a:lnTo>
                  <a:pt x="219" y="89"/>
                </a:lnTo>
                <a:lnTo>
                  <a:pt x="218" y="89"/>
                </a:lnTo>
                <a:lnTo>
                  <a:pt x="218" y="90"/>
                </a:lnTo>
                <a:lnTo>
                  <a:pt x="217" y="90"/>
                </a:lnTo>
                <a:lnTo>
                  <a:pt x="217" y="87"/>
                </a:lnTo>
                <a:lnTo>
                  <a:pt x="213" y="87"/>
                </a:lnTo>
                <a:lnTo>
                  <a:pt x="213" y="90"/>
                </a:lnTo>
                <a:lnTo>
                  <a:pt x="211" y="90"/>
                </a:lnTo>
                <a:lnTo>
                  <a:pt x="207" y="86"/>
                </a:lnTo>
                <a:lnTo>
                  <a:pt x="204" y="86"/>
                </a:lnTo>
                <a:lnTo>
                  <a:pt x="202" y="85"/>
                </a:lnTo>
                <a:lnTo>
                  <a:pt x="200" y="84"/>
                </a:lnTo>
                <a:lnTo>
                  <a:pt x="199" y="84"/>
                </a:lnTo>
                <a:lnTo>
                  <a:pt x="199" y="86"/>
                </a:lnTo>
                <a:lnTo>
                  <a:pt x="198" y="87"/>
                </a:lnTo>
                <a:lnTo>
                  <a:pt x="194" y="87"/>
                </a:lnTo>
                <a:lnTo>
                  <a:pt x="192" y="85"/>
                </a:lnTo>
                <a:lnTo>
                  <a:pt x="190" y="85"/>
                </a:lnTo>
                <a:lnTo>
                  <a:pt x="187" y="87"/>
                </a:lnTo>
                <a:lnTo>
                  <a:pt x="187" y="89"/>
                </a:lnTo>
                <a:lnTo>
                  <a:pt x="185" y="89"/>
                </a:lnTo>
                <a:lnTo>
                  <a:pt x="184" y="90"/>
                </a:lnTo>
                <a:lnTo>
                  <a:pt x="182" y="90"/>
                </a:lnTo>
                <a:lnTo>
                  <a:pt x="181" y="89"/>
                </a:lnTo>
                <a:lnTo>
                  <a:pt x="179" y="85"/>
                </a:lnTo>
                <a:lnTo>
                  <a:pt x="179" y="84"/>
                </a:lnTo>
                <a:lnTo>
                  <a:pt x="175" y="84"/>
                </a:lnTo>
                <a:lnTo>
                  <a:pt x="173" y="86"/>
                </a:lnTo>
                <a:lnTo>
                  <a:pt x="168" y="86"/>
                </a:lnTo>
                <a:lnTo>
                  <a:pt x="169" y="85"/>
                </a:lnTo>
                <a:lnTo>
                  <a:pt x="163" y="85"/>
                </a:lnTo>
                <a:lnTo>
                  <a:pt x="161" y="83"/>
                </a:lnTo>
                <a:lnTo>
                  <a:pt x="160" y="83"/>
                </a:lnTo>
                <a:lnTo>
                  <a:pt x="159" y="84"/>
                </a:lnTo>
                <a:lnTo>
                  <a:pt x="156" y="84"/>
                </a:lnTo>
                <a:lnTo>
                  <a:pt x="156" y="85"/>
                </a:lnTo>
                <a:lnTo>
                  <a:pt x="154" y="84"/>
                </a:lnTo>
                <a:lnTo>
                  <a:pt x="153" y="83"/>
                </a:lnTo>
                <a:lnTo>
                  <a:pt x="150" y="81"/>
                </a:lnTo>
                <a:lnTo>
                  <a:pt x="150" y="80"/>
                </a:lnTo>
                <a:lnTo>
                  <a:pt x="149" y="80"/>
                </a:lnTo>
                <a:lnTo>
                  <a:pt x="149" y="79"/>
                </a:lnTo>
                <a:lnTo>
                  <a:pt x="145" y="79"/>
                </a:lnTo>
                <a:lnTo>
                  <a:pt x="145" y="77"/>
                </a:lnTo>
                <a:lnTo>
                  <a:pt x="144" y="78"/>
                </a:lnTo>
                <a:lnTo>
                  <a:pt x="143" y="78"/>
                </a:lnTo>
                <a:lnTo>
                  <a:pt x="143" y="79"/>
                </a:lnTo>
                <a:lnTo>
                  <a:pt x="142" y="79"/>
                </a:lnTo>
                <a:lnTo>
                  <a:pt x="142" y="80"/>
                </a:lnTo>
                <a:lnTo>
                  <a:pt x="141" y="80"/>
                </a:lnTo>
                <a:lnTo>
                  <a:pt x="141" y="83"/>
                </a:lnTo>
                <a:lnTo>
                  <a:pt x="140" y="83"/>
                </a:lnTo>
                <a:lnTo>
                  <a:pt x="131" y="80"/>
                </a:lnTo>
                <a:lnTo>
                  <a:pt x="129" y="80"/>
                </a:lnTo>
                <a:lnTo>
                  <a:pt x="126" y="81"/>
                </a:lnTo>
                <a:lnTo>
                  <a:pt x="125" y="85"/>
                </a:lnTo>
                <a:lnTo>
                  <a:pt x="124" y="85"/>
                </a:lnTo>
                <a:lnTo>
                  <a:pt x="124" y="86"/>
                </a:lnTo>
                <a:lnTo>
                  <a:pt x="123" y="86"/>
                </a:lnTo>
                <a:lnTo>
                  <a:pt x="122" y="87"/>
                </a:lnTo>
                <a:lnTo>
                  <a:pt x="122" y="89"/>
                </a:lnTo>
                <a:lnTo>
                  <a:pt x="120" y="91"/>
                </a:lnTo>
                <a:lnTo>
                  <a:pt x="120" y="93"/>
                </a:lnTo>
                <a:lnTo>
                  <a:pt x="118" y="93"/>
                </a:lnTo>
                <a:lnTo>
                  <a:pt x="116" y="92"/>
                </a:lnTo>
                <a:lnTo>
                  <a:pt x="111" y="87"/>
                </a:lnTo>
                <a:lnTo>
                  <a:pt x="111" y="86"/>
                </a:lnTo>
                <a:lnTo>
                  <a:pt x="110" y="84"/>
                </a:lnTo>
                <a:lnTo>
                  <a:pt x="109" y="84"/>
                </a:lnTo>
                <a:lnTo>
                  <a:pt x="109" y="83"/>
                </a:lnTo>
                <a:lnTo>
                  <a:pt x="107" y="83"/>
                </a:lnTo>
                <a:lnTo>
                  <a:pt x="107" y="80"/>
                </a:lnTo>
                <a:lnTo>
                  <a:pt x="99" y="80"/>
                </a:lnTo>
                <a:lnTo>
                  <a:pt x="97" y="83"/>
                </a:lnTo>
                <a:lnTo>
                  <a:pt x="97" y="89"/>
                </a:lnTo>
                <a:lnTo>
                  <a:pt x="95" y="91"/>
                </a:lnTo>
                <a:lnTo>
                  <a:pt x="95" y="92"/>
                </a:lnTo>
                <a:lnTo>
                  <a:pt x="97" y="93"/>
                </a:lnTo>
                <a:lnTo>
                  <a:pt x="95" y="95"/>
                </a:lnTo>
                <a:lnTo>
                  <a:pt x="95" y="97"/>
                </a:lnTo>
                <a:lnTo>
                  <a:pt x="94" y="97"/>
                </a:lnTo>
                <a:lnTo>
                  <a:pt x="94" y="99"/>
                </a:lnTo>
                <a:lnTo>
                  <a:pt x="95" y="101"/>
                </a:lnTo>
                <a:lnTo>
                  <a:pt x="95" y="102"/>
                </a:lnTo>
                <a:lnTo>
                  <a:pt x="97" y="103"/>
                </a:lnTo>
                <a:lnTo>
                  <a:pt x="97" y="104"/>
                </a:lnTo>
                <a:lnTo>
                  <a:pt x="94" y="104"/>
                </a:lnTo>
                <a:lnTo>
                  <a:pt x="94" y="108"/>
                </a:lnTo>
                <a:lnTo>
                  <a:pt x="98" y="111"/>
                </a:lnTo>
                <a:lnTo>
                  <a:pt x="100" y="111"/>
                </a:lnTo>
                <a:lnTo>
                  <a:pt x="100" y="110"/>
                </a:lnTo>
                <a:lnTo>
                  <a:pt x="101" y="110"/>
                </a:lnTo>
                <a:lnTo>
                  <a:pt x="101" y="111"/>
                </a:lnTo>
                <a:lnTo>
                  <a:pt x="103" y="111"/>
                </a:lnTo>
                <a:lnTo>
                  <a:pt x="104" y="113"/>
                </a:lnTo>
                <a:lnTo>
                  <a:pt x="104" y="114"/>
                </a:lnTo>
                <a:lnTo>
                  <a:pt x="105" y="115"/>
                </a:lnTo>
                <a:lnTo>
                  <a:pt x="106" y="115"/>
                </a:lnTo>
                <a:lnTo>
                  <a:pt x="107" y="116"/>
                </a:lnTo>
                <a:lnTo>
                  <a:pt x="107" y="118"/>
                </a:lnTo>
                <a:lnTo>
                  <a:pt x="106" y="120"/>
                </a:lnTo>
                <a:lnTo>
                  <a:pt x="106" y="121"/>
                </a:lnTo>
                <a:lnTo>
                  <a:pt x="107" y="122"/>
                </a:lnTo>
                <a:lnTo>
                  <a:pt x="109" y="122"/>
                </a:lnTo>
                <a:lnTo>
                  <a:pt x="110" y="121"/>
                </a:lnTo>
                <a:lnTo>
                  <a:pt x="111" y="121"/>
                </a:lnTo>
                <a:lnTo>
                  <a:pt x="111" y="124"/>
                </a:lnTo>
                <a:lnTo>
                  <a:pt x="112" y="127"/>
                </a:lnTo>
                <a:lnTo>
                  <a:pt x="113" y="128"/>
                </a:lnTo>
                <a:lnTo>
                  <a:pt x="113" y="129"/>
                </a:lnTo>
                <a:lnTo>
                  <a:pt x="112" y="129"/>
                </a:lnTo>
                <a:lnTo>
                  <a:pt x="112" y="130"/>
                </a:lnTo>
                <a:lnTo>
                  <a:pt x="115" y="130"/>
                </a:lnTo>
                <a:lnTo>
                  <a:pt x="115" y="134"/>
                </a:lnTo>
                <a:lnTo>
                  <a:pt x="113" y="135"/>
                </a:lnTo>
                <a:lnTo>
                  <a:pt x="113" y="136"/>
                </a:lnTo>
                <a:lnTo>
                  <a:pt x="115" y="138"/>
                </a:lnTo>
                <a:lnTo>
                  <a:pt x="115" y="140"/>
                </a:lnTo>
                <a:lnTo>
                  <a:pt x="118" y="144"/>
                </a:lnTo>
                <a:lnTo>
                  <a:pt x="118" y="145"/>
                </a:lnTo>
                <a:lnTo>
                  <a:pt x="119" y="147"/>
                </a:lnTo>
                <a:lnTo>
                  <a:pt x="120" y="148"/>
                </a:lnTo>
                <a:lnTo>
                  <a:pt x="122" y="148"/>
                </a:lnTo>
                <a:lnTo>
                  <a:pt x="122" y="150"/>
                </a:lnTo>
                <a:lnTo>
                  <a:pt x="124" y="150"/>
                </a:lnTo>
                <a:lnTo>
                  <a:pt x="124" y="152"/>
                </a:lnTo>
                <a:lnTo>
                  <a:pt x="126" y="152"/>
                </a:lnTo>
                <a:lnTo>
                  <a:pt x="129" y="154"/>
                </a:lnTo>
                <a:lnTo>
                  <a:pt x="130" y="157"/>
                </a:lnTo>
                <a:lnTo>
                  <a:pt x="131" y="158"/>
                </a:lnTo>
                <a:lnTo>
                  <a:pt x="132" y="160"/>
                </a:lnTo>
                <a:lnTo>
                  <a:pt x="135" y="161"/>
                </a:lnTo>
                <a:lnTo>
                  <a:pt x="135" y="164"/>
                </a:lnTo>
                <a:lnTo>
                  <a:pt x="136" y="165"/>
                </a:lnTo>
                <a:lnTo>
                  <a:pt x="136" y="166"/>
                </a:lnTo>
                <a:lnTo>
                  <a:pt x="141" y="170"/>
                </a:lnTo>
                <a:lnTo>
                  <a:pt x="148" y="177"/>
                </a:lnTo>
                <a:lnTo>
                  <a:pt x="149" y="179"/>
                </a:lnTo>
                <a:lnTo>
                  <a:pt x="150" y="181"/>
                </a:lnTo>
                <a:lnTo>
                  <a:pt x="151" y="181"/>
                </a:lnTo>
                <a:lnTo>
                  <a:pt x="154" y="182"/>
                </a:lnTo>
                <a:lnTo>
                  <a:pt x="159" y="183"/>
                </a:lnTo>
                <a:lnTo>
                  <a:pt x="160" y="184"/>
                </a:lnTo>
                <a:lnTo>
                  <a:pt x="160" y="190"/>
                </a:lnTo>
                <a:lnTo>
                  <a:pt x="161" y="193"/>
                </a:lnTo>
                <a:lnTo>
                  <a:pt x="162" y="196"/>
                </a:lnTo>
                <a:lnTo>
                  <a:pt x="163" y="197"/>
                </a:lnTo>
                <a:lnTo>
                  <a:pt x="165" y="197"/>
                </a:lnTo>
                <a:lnTo>
                  <a:pt x="165" y="199"/>
                </a:lnTo>
                <a:lnTo>
                  <a:pt x="166" y="199"/>
                </a:lnTo>
                <a:lnTo>
                  <a:pt x="166" y="201"/>
                </a:lnTo>
                <a:lnTo>
                  <a:pt x="167" y="202"/>
                </a:lnTo>
                <a:lnTo>
                  <a:pt x="173" y="206"/>
                </a:lnTo>
                <a:lnTo>
                  <a:pt x="173" y="207"/>
                </a:lnTo>
                <a:lnTo>
                  <a:pt x="176" y="210"/>
                </a:lnTo>
                <a:lnTo>
                  <a:pt x="176" y="213"/>
                </a:lnTo>
                <a:lnTo>
                  <a:pt x="175" y="214"/>
                </a:lnTo>
                <a:lnTo>
                  <a:pt x="173" y="214"/>
                </a:lnTo>
                <a:lnTo>
                  <a:pt x="172" y="213"/>
                </a:lnTo>
                <a:lnTo>
                  <a:pt x="171" y="213"/>
                </a:lnTo>
                <a:lnTo>
                  <a:pt x="168" y="210"/>
                </a:lnTo>
                <a:lnTo>
                  <a:pt x="168" y="209"/>
                </a:lnTo>
                <a:lnTo>
                  <a:pt x="169" y="209"/>
                </a:lnTo>
                <a:lnTo>
                  <a:pt x="169" y="208"/>
                </a:lnTo>
                <a:lnTo>
                  <a:pt x="168" y="209"/>
                </a:lnTo>
                <a:lnTo>
                  <a:pt x="167" y="209"/>
                </a:lnTo>
                <a:lnTo>
                  <a:pt x="167" y="208"/>
                </a:lnTo>
                <a:lnTo>
                  <a:pt x="166" y="207"/>
                </a:lnTo>
                <a:lnTo>
                  <a:pt x="166" y="208"/>
                </a:lnTo>
                <a:lnTo>
                  <a:pt x="163" y="207"/>
                </a:lnTo>
                <a:lnTo>
                  <a:pt x="161" y="203"/>
                </a:lnTo>
                <a:lnTo>
                  <a:pt x="155" y="200"/>
                </a:lnTo>
                <a:lnTo>
                  <a:pt x="154" y="199"/>
                </a:lnTo>
                <a:lnTo>
                  <a:pt x="153" y="199"/>
                </a:lnTo>
                <a:lnTo>
                  <a:pt x="153" y="197"/>
                </a:lnTo>
                <a:lnTo>
                  <a:pt x="151" y="197"/>
                </a:lnTo>
                <a:lnTo>
                  <a:pt x="151" y="196"/>
                </a:lnTo>
                <a:lnTo>
                  <a:pt x="150" y="196"/>
                </a:lnTo>
                <a:lnTo>
                  <a:pt x="150" y="195"/>
                </a:lnTo>
                <a:lnTo>
                  <a:pt x="149" y="194"/>
                </a:lnTo>
                <a:lnTo>
                  <a:pt x="145" y="189"/>
                </a:lnTo>
                <a:lnTo>
                  <a:pt x="144" y="188"/>
                </a:lnTo>
                <a:lnTo>
                  <a:pt x="143" y="188"/>
                </a:lnTo>
                <a:lnTo>
                  <a:pt x="143" y="187"/>
                </a:lnTo>
                <a:lnTo>
                  <a:pt x="137" y="187"/>
                </a:lnTo>
                <a:lnTo>
                  <a:pt x="132" y="184"/>
                </a:lnTo>
                <a:lnTo>
                  <a:pt x="129" y="182"/>
                </a:lnTo>
                <a:lnTo>
                  <a:pt x="129" y="181"/>
                </a:lnTo>
                <a:lnTo>
                  <a:pt x="128" y="181"/>
                </a:lnTo>
                <a:lnTo>
                  <a:pt x="128" y="182"/>
                </a:lnTo>
                <a:lnTo>
                  <a:pt x="125" y="181"/>
                </a:lnTo>
                <a:lnTo>
                  <a:pt x="124" y="181"/>
                </a:lnTo>
                <a:lnTo>
                  <a:pt x="125" y="179"/>
                </a:lnTo>
                <a:lnTo>
                  <a:pt x="124" y="178"/>
                </a:lnTo>
                <a:lnTo>
                  <a:pt x="120" y="178"/>
                </a:lnTo>
                <a:lnTo>
                  <a:pt x="119" y="179"/>
                </a:lnTo>
                <a:lnTo>
                  <a:pt x="118" y="179"/>
                </a:lnTo>
                <a:lnTo>
                  <a:pt x="116" y="181"/>
                </a:lnTo>
                <a:lnTo>
                  <a:pt x="112" y="181"/>
                </a:lnTo>
                <a:lnTo>
                  <a:pt x="113" y="182"/>
                </a:lnTo>
                <a:lnTo>
                  <a:pt x="111" y="182"/>
                </a:lnTo>
                <a:lnTo>
                  <a:pt x="111" y="183"/>
                </a:lnTo>
                <a:lnTo>
                  <a:pt x="110" y="183"/>
                </a:lnTo>
                <a:lnTo>
                  <a:pt x="109" y="182"/>
                </a:lnTo>
                <a:lnTo>
                  <a:pt x="104" y="182"/>
                </a:lnTo>
                <a:lnTo>
                  <a:pt x="104" y="181"/>
                </a:lnTo>
                <a:lnTo>
                  <a:pt x="105" y="181"/>
                </a:lnTo>
                <a:lnTo>
                  <a:pt x="105" y="179"/>
                </a:lnTo>
                <a:lnTo>
                  <a:pt x="104" y="179"/>
                </a:lnTo>
                <a:lnTo>
                  <a:pt x="104" y="177"/>
                </a:lnTo>
                <a:lnTo>
                  <a:pt x="103" y="177"/>
                </a:lnTo>
                <a:lnTo>
                  <a:pt x="103" y="173"/>
                </a:lnTo>
                <a:lnTo>
                  <a:pt x="101" y="173"/>
                </a:lnTo>
                <a:lnTo>
                  <a:pt x="103" y="172"/>
                </a:lnTo>
                <a:lnTo>
                  <a:pt x="104" y="173"/>
                </a:lnTo>
                <a:lnTo>
                  <a:pt x="104" y="171"/>
                </a:lnTo>
                <a:lnTo>
                  <a:pt x="103" y="171"/>
                </a:lnTo>
                <a:lnTo>
                  <a:pt x="101" y="170"/>
                </a:lnTo>
                <a:lnTo>
                  <a:pt x="100" y="170"/>
                </a:lnTo>
                <a:lnTo>
                  <a:pt x="100" y="169"/>
                </a:lnTo>
                <a:lnTo>
                  <a:pt x="99" y="169"/>
                </a:lnTo>
                <a:lnTo>
                  <a:pt x="98" y="167"/>
                </a:lnTo>
                <a:lnTo>
                  <a:pt x="97" y="167"/>
                </a:lnTo>
                <a:lnTo>
                  <a:pt x="97" y="166"/>
                </a:lnTo>
                <a:lnTo>
                  <a:pt x="93" y="166"/>
                </a:lnTo>
                <a:lnTo>
                  <a:pt x="93" y="164"/>
                </a:lnTo>
                <a:lnTo>
                  <a:pt x="92" y="164"/>
                </a:lnTo>
                <a:lnTo>
                  <a:pt x="92" y="163"/>
                </a:lnTo>
                <a:lnTo>
                  <a:pt x="91" y="163"/>
                </a:lnTo>
                <a:lnTo>
                  <a:pt x="88" y="160"/>
                </a:lnTo>
                <a:lnTo>
                  <a:pt x="87" y="160"/>
                </a:lnTo>
                <a:lnTo>
                  <a:pt x="87" y="159"/>
                </a:lnTo>
                <a:lnTo>
                  <a:pt x="86" y="158"/>
                </a:lnTo>
                <a:lnTo>
                  <a:pt x="85" y="158"/>
                </a:lnTo>
                <a:lnTo>
                  <a:pt x="84" y="157"/>
                </a:lnTo>
                <a:lnTo>
                  <a:pt x="82" y="157"/>
                </a:lnTo>
                <a:lnTo>
                  <a:pt x="82" y="156"/>
                </a:lnTo>
                <a:lnTo>
                  <a:pt x="80" y="153"/>
                </a:lnTo>
                <a:lnTo>
                  <a:pt x="79" y="151"/>
                </a:lnTo>
                <a:lnTo>
                  <a:pt x="76" y="151"/>
                </a:lnTo>
                <a:lnTo>
                  <a:pt x="76" y="150"/>
                </a:lnTo>
                <a:lnTo>
                  <a:pt x="75" y="147"/>
                </a:lnTo>
                <a:lnTo>
                  <a:pt x="73" y="145"/>
                </a:lnTo>
                <a:lnTo>
                  <a:pt x="73" y="144"/>
                </a:lnTo>
                <a:lnTo>
                  <a:pt x="72" y="144"/>
                </a:lnTo>
                <a:lnTo>
                  <a:pt x="70" y="141"/>
                </a:lnTo>
                <a:lnTo>
                  <a:pt x="70" y="139"/>
                </a:lnTo>
                <a:lnTo>
                  <a:pt x="68" y="136"/>
                </a:lnTo>
                <a:lnTo>
                  <a:pt x="70" y="136"/>
                </a:lnTo>
                <a:lnTo>
                  <a:pt x="70" y="138"/>
                </a:lnTo>
                <a:lnTo>
                  <a:pt x="72" y="138"/>
                </a:lnTo>
                <a:lnTo>
                  <a:pt x="73" y="136"/>
                </a:lnTo>
                <a:lnTo>
                  <a:pt x="72" y="135"/>
                </a:lnTo>
                <a:lnTo>
                  <a:pt x="74" y="136"/>
                </a:lnTo>
                <a:lnTo>
                  <a:pt x="75" y="138"/>
                </a:lnTo>
                <a:lnTo>
                  <a:pt x="76" y="138"/>
                </a:lnTo>
                <a:lnTo>
                  <a:pt x="75" y="135"/>
                </a:lnTo>
                <a:lnTo>
                  <a:pt x="76" y="135"/>
                </a:lnTo>
                <a:lnTo>
                  <a:pt x="75" y="134"/>
                </a:lnTo>
                <a:lnTo>
                  <a:pt x="75" y="133"/>
                </a:lnTo>
                <a:lnTo>
                  <a:pt x="76" y="135"/>
                </a:lnTo>
                <a:lnTo>
                  <a:pt x="85" y="138"/>
                </a:lnTo>
                <a:lnTo>
                  <a:pt x="86" y="138"/>
                </a:lnTo>
                <a:lnTo>
                  <a:pt x="86" y="136"/>
                </a:lnTo>
                <a:lnTo>
                  <a:pt x="82" y="135"/>
                </a:lnTo>
                <a:lnTo>
                  <a:pt x="81" y="134"/>
                </a:lnTo>
                <a:lnTo>
                  <a:pt x="76" y="132"/>
                </a:lnTo>
                <a:lnTo>
                  <a:pt x="70" y="126"/>
                </a:lnTo>
                <a:lnTo>
                  <a:pt x="68" y="122"/>
                </a:lnTo>
                <a:lnTo>
                  <a:pt x="67" y="121"/>
                </a:lnTo>
                <a:lnTo>
                  <a:pt x="66" y="121"/>
                </a:lnTo>
                <a:lnTo>
                  <a:pt x="66" y="120"/>
                </a:lnTo>
                <a:lnTo>
                  <a:pt x="64" y="118"/>
                </a:lnTo>
                <a:lnTo>
                  <a:pt x="63" y="118"/>
                </a:lnTo>
                <a:lnTo>
                  <a:pt x="60" y="111"/>
                </a:lnTo>
                <a:lnTo>
                  <a:pt x="58" y="110"/>
                </a:lnTo>
                <a:lnTo>
                  <a:pt x="60" y="109"/>
                </a:lnTo>
                <a:lnTo>
                  <a:pt x="60" y="108"/>
                </a:lnTo>
                <a:lnTo>
                  <a:pt x="58" y="108"/>
                </a:lnTo>
                <a:lnTo>
                  <a:pt x="58" y="102"/>
                </a:lnTo>
                <a:lnTo>
                  <a:pt x="60" y="98"/>
                </a:lnTo>
                <a:lnTo>
                  <a:pt x="60" y="97"/>
                </a:lnTo>
                <a:lnTo>
                  <a:pt x="61" y="96"/>
                </a:lnTo>
                <a:lnTo>
                  <a:pt x="60" y="95"/>
                </a:lnTo>
                <a:lnTo>
                  <a:pt x="57" y="89"/>
                </a:lnTo>
                <a:lnTo>
                  <a:pt x="57" y="87"/>
                </a:lnTo>
                <a:lnTo>
                  <a:pt x="56" y="86"/>
                </a:lnTo>
                <a:lnTo>
                  <a:pt x="54" y="85"/>
                </a:lnTo>
                <a:lnTo>
                  <a:pt x="49" y="81"/>
                </a:lnTo>
                <a:lnTo>
                  <a:pt x="48" y="79"/>
                </a:lnTo>
                <a:lnTo>
                  <a:pt x="47" y="79"/>
                </a:lnTo>
                <a:lnTo>
                  <a:pt x="45" y="78"/>
                </a:lnTo>
                <a:lnTo>
                  <a:pt x="45" y="77"/>
                </a:lnTo>
                <a:lnTo>
                  <a:pt x="47" y="77"/>
                </a:lnTo>
                <a:lnTo>
                  <a:pt x="44" y="74"/>
                </a:lnTo>
                <a:lnTo>
                  <a:pt x="45" y="75"/>
                </a:lnTo>
                <a:lnTo>
                  <a:pt x="45" y="77"/>
                </a:lnTo>
                <a:lnTo>
                  <a:pt x="44" y="77"/>
                </a:lnTo>
                <a:lnTo>
                  <a:pt x="43" y="75"/>
                </a:lnTo>
                <a:lnTo>
                  <a:pt x="38" y="73"/>
                </a:lnTo>
                <a:lnTo>
                  <a:pt x="37" y="73"/>
                </a:lnTo>
                <a:lnTo>
                  <a:pt x="36" y="72"/>
                </a:lnTo>
                <a:lnTo>
                  <a:pt x="33" y="74"/>
                </a:lnTo>
                <a:lnTo>
                  <a:pt x="33" y="77"/>
                </a:lnTo>
                <a:lnTo>
                  <a:pt x="32" y="78"/>
                </a:lnTo>
                <a:lnTo>
                  <a:pt x="32" y="83"/>
                </a:lnTo>
                <a:lnTo>
                  <a:pt x="31" y="84"/>
                </a:lnTo>
                <a:lnTo>
                  <a:pt x="31" y="85"/>
                </a:lnTo>
                <a:lnTo>
                  <a:pt x="30" y="86"/>
                </a:lnTo>
                <a:lnTo>
                  <a:pt x="30" y="87"/>
                </a:lnTo>
                <a:lnTo>
                  <a:pt x="29" y="87"/>
                </a:lnTo>
                <a:lnTo>
                  <a:pt x="29" y="90"/>
                </a:lnTo>
                <a:lnTo>
                  <a:pt x="28" y="90"/>
                </a:lnTo>
                <a:lnTo>
                  <a:pt x="29" y="91"/>
                </a:lnTo>
                <a:lnTo>
                  <a:pt x="29" y="93"/>
                </a:lnTo>
                <a:lnTo>
                  <a:pt x="28" y="95"/>
                </a:lnTo>
                <a:lnTo>
                  <a:pt x="26" y="95"/>
                </a:lnTo>
                <a:lnTo>
                  <a:pt x="25" y="96"/>
                </a:lnTo>
                <a:lnTo>
                  <a:pt x="25" y="95"/>
                </a:lnTo>
                <a:lnTo>
                  <a:pt x="24" y="95"/>
                </a:lnTo>
                <a:lnTo>
                  <a:pt x="24" y="96"/>
                </a:lnTo>
                <a:lnTo>
                  <a:pt x="23" y="96"/>
                </a:lnTo>
                <a:lnTo>
                  <a:pt x="23" y="99"/>
                </a:lnTo>
                <a:lnTo>
                  <a:pt x="22" y="99"/>
                </a:lnTo>
                <a:lnTo>
                  <a:pt x="22" y="102"/>
                </a:lnTo>
                <a:lnTo>
                  <a:pt x="20" y="102"/>
                </a:lnTo>
                <a:lnTo>
                  <a:pt x="20" y="104"/>
                </a:lnTo>
                <a:lnTo>
                  <a:pt x="18" y="104"/>
                </a:lnTo>
                <a:lnTo>
                  <a:pt x="18" y="103"/>
                </a:lnTo>
                <a:lnTo>
                  <a:pt x="17" y="104"/>
                </a:lnTo>
                <a:lnTo>
                  <a:pt x="16" y="104"/>
                </a:lnTo>
                <a:lnTo>
                  <a:pt x="16" y="103"/>
                </a:lnTo>
                <a:lnTo>
                  <a:pt x="14" y="102"/>
                </a:lnTo>
                <a:lnTo>
                  <a:pt x="14" y="101"/>
                </a:lnTo>
                <a:lnTo>
                  <a:pt x="13" y="101"/>
                </a:lnTo>
                <a:lnTo>
                  <a:pt x="13" y="98"/>
                </a:lnTo>
                <a:lnTo>
                  <a:pt x="11" y="93"/>
                </a:lnTo>
                <a:lnTo>
                  <a:pt x="7" y="90"/>
                </a:lnTo>
                <a:lnTo>
                  <a:pt x="6" y="90"/>
                </a:lnTo>
                <a:lnTo>
                  <a:pt x="6" y="87"/>
                </a:lnTo>
                <a:lnTo>
                  <a:pt x="5" y="86"/>
                </a:lnTo>
                <a:lnTo>
                  <a:pt x="6" y="86"/>
                </a:lnTo>
                <a:lnTo>
                  <a:pt x="10" y="85"/>
                </a:lnTo>
                <a:lnTo>
                  <a:pt x="5" y="85"/>
                </a:lnTo>
                <a:lnTo>
                  <a:pt x="5" y="78"/>
                </a:lnTo>
                <a:lnTo>
                  <a:pt x="4" y="78"/>
                </a:lnTo>
                <a:lnTo>
                  <a:pt x="4" y="77"/>
                </a:lnTo>
                <a:lnTo>
                  <a:pt x="5" y="77"/>
                </a:lnTo>
                <a:lnTo>
                  <a:pt x="4" y="75"/>
                </a:lnTo>
                <a:lnTo>
                  <a:pt x="5" y="74"/>
                </a:lnTo>
                <a:lnTo>
                  <a:pt x="4" y="74"/>
                </a:lnTo>
                <a:lnTo>
                  <a:pt x="2" y="73"/>
                </a:lnTo>
                <a:lnTo>
                  <a:pt x="2" y="71"/>
                </a:lnTo>
                <a:lnTo>
                  <a:pt x="1" y="67"/>
                </a:lnTo>
                <a:lnTo>
                  <a:pt x="1" y="65"/>
                </a:lnTo>
                <a:lnTo>
                  <a:pt x="0" y="64"/>
                </a:lnTo>
                <a:lnTo>
                  <a:pt x="1" y="62"/>
                </a:lnTo>
                <a:lnTo>
                  <a:pt x="1" y="64"/>
                </a:lnTo>
                <a:lnTo>
                  <a:pt x="4" y="64"/>
                </a:lnTo>
                <a:lnTo>
                  <a:pt x="6" y="66"/>
                </a:lnTo>
                <a:lnTo>
                  <a:pt x="12" y="66"/>
                </a:lnTo>
                <a:lnTo>
                  <a:pt x="13" y="67"/>
                </a:lnTo>
                <a:lnTo>
                  <a:pt x="14" y="67"/>
                </a:lnTo>
                <a:lnTo>
                  <a:pt x="14" y="68"/>
                </a:lnTo>
                <a:lnTo>
                  <a:pt x="17" y="68"/>
                </a:lnTo>
                <a:lnTo>
                  <a:pt x="18" y="67"/>
                </a:lnTo>
                <a:lnTo>
                  <a:pt x="20" y="66"/>
                </a:lnTo>
                <a:lnTo>
                  <a:pt x="20" y="62"/>
                </a:lnTo>
                <a:lnTo>
                  <a:pt x="22" y="62"/>
                </a:lnTo>
                <a:lnTo>
                  <a:pt x="23" y="64"/>
                </a:lnTo>
                <a:lnTo>
                  <a:pt x="24" y="64"/>
                </a:lnTo>
                <a:lnTo>
                  <a:pt x="24" y="65"/>
                </a:lnTo>
                <a:lnTo>
                  <a:pt x="28" y="65"/>
                </a:lnTo>
                <a:lnTo>
                  <a:pt x="30" y="64"/>
                </a:lnTo>
                <a:lnTo>
                  <a:pt x="32" y="64"/>
                </a:lnTo>
                <a:lnTo>
                  <a:pt x="33" y="65"/>
                </a:lnTo>
                <a:lnTo>
                  <a:pt x="37" y="65"/>
                </a:lnTo>
                <a:lnTo>
                  <a:pt x="42" y="62"/>
                </a:lnTo>
                <a:lnTo>
                  <a:pt x="42" y="59"/>
                </a:lnTo>
                <a:lnTo>
                  <a:pt x="44" y="56"/>
                </a:lnTo>
                <a:lnTo>
                  <a:pt x="44" y="55"/>
                </a:lnTo>
                <a:lnTo>
                  <a:pt x="45" y="54"/>
                </a:lnTo>
                <a:lnTo>
                  <a:pt x="47" y="54"/>
                </a:lnTo>
                <a:lnTo>
                  <a:pt x="47" y="58"/>
                </a:lnTo>
                <a:lnTo>
                  <a:pt x="48" y="58"/>
                </a:lnTo>
                <a:lnTo>
                  <a:pt x="49" y="59"/>
                </a:lnTo>
                <a:lnTo>
                  <a:pt x="50" y="59"/>
                </a:lnTo>
                <a:lnTo>
                  <a:pt x="50" y="62"/>
                </a:lnTo>
                <a:lnTo>
                  <a:pt x="55" y="64"/>
                </a:lnTo>
                <a:lnTo>
                  <a:pt x="55" y="66"/>
                </a:lnTo>
                <a:lnTo>
                  <a:pt x="57" y="66"/>
                </a:lnTo>
                <a:lnTo>
                  <a:pt x="60" y="64"/>
                </a:lnTo>
                <a:lnTo>
                  <a:pt x="60" y="62"/>
                </a:lnTo>
                <a:lnTo>
                  <a:pt x="61" y="62"/>
                </a:lnTo>
                <a:lnTo>
                  <a:pt x="62" y="64"/>
                </a:lnTo>
                <a:lnTo>
                  <a:pt x="63" y="64"/>
                </a:lnTo>
                <a:lnTo>
                  <a:pt x="63" y="65"/>
                </a:lnTo>
                <a:lnTo>
                  <a:pt x="67" y="65"/>
                </a:lnTo>
                <a:lnTo>
                  <a:pt x="69" y="67"/>
                </a:lnTo>
                <a:lnTo>
                  <a:pt x="72" y="68"/>
                </a:lnTo>
                <a:lnTo>
                  <a:pt x="73" y="67"/>
                </a:lnTo>
                <a:lnTo>
                  <a:pt x="75" y="66"/>
                </a:lnTo>
                <a:lnTo>
                  <a:pt x="76" y="66"/>
                </a:lnTo>
                <a:lnTo>
                  <a:pt x="79" y="65"/>
                </a:lnTo>
                <a:lnTo>
                  <a:pt x="76" y="64"/>
                </a:lnTo>
                <a:lnTo>
                  <a:pt x="76" y="61"/>
                </a:lnTo>
                <a:lnTo>
                  <a:pt x="75" y="59"/>
                </a:lnTo>
                <a:lnTo>
                  <a:pt x="75" y="58"/>
                </a:lnTo>
                <a:lnTo>
                  <a:pt x="76" y="55"/>
                </a:lnTo>
                <a:lnTo>
                  <a:pt x="80" y="55"/>
                </a:lnTo>
                <a:lnTo>
                  <a:pt x="79" y="54"/>
                </a:lnTo>
                <a:lnTo>
                  <a:pt x="79" y="53"/>
                </a:lnTo>
                <a:lnTo>
                  <a:pt x="75" y="53"/>
                </a:lnTo>
                <a:lnTo>
                  <a:pt x="75" y="52"/>
                </a:lnTo>
                <a:lnTo>
                  <a:pt x="74" y="50"/>
                </a:lnTo>
                <a:lnTo>
                  <a:pt x="75" y="49"/>
                </a:lnTo>
                <a:lnTo>
                  <a:pt x="76" y="49"/>
                </a:lnTo>
                <a:lnTo>
                  <a:pt x="76" y="48"/>
                </a:lnTo>
                <a:lnTo>
                  <a:pt x="82" y="47"/>
                </a:lnTo>
                <a:lnTo>
                  <a:pt x="82" y="44"/>
                </a:lnTo>
                <a:lnTo>
                  <a:pt x="86" y="44"/>
                </a:lnTo>
                <a:lnTo>
                  <a:pt x="86" y="43"/>
                </a:lnTo>
                <a:lnTo>
                  <a:pt x="87" y="44"/>
                </a:lnTo>
                <a:lnTo>
                  <a:pt x="91" y="44"/>
                </a:lnTo>
                <a:lnTo>
                  <a:pt x="92" y="43"/>
                </a:lnTo>
                <a:lnTo>
                  <a:pt x="92" y="34"/>
                </a:lnTo>
                <a:lnTo>
                  <a:pt x="93" y="32"/>
                </a:lnTo>
                <a:lnTo>
                  <a:pt x="93" y="30"/>
                </a:lnTo>
                <a:lnTo>
                  <a:pt x="92" y="30"/>
                </a:lnTo>
                <a:lnTo>
                  <a:pt x="88" y="27"/>
                </a:lnTo>
                <a:lnTo>
                  <a:pt x="88" y="25"/>
                </a:lnTo>
                <a:lnTo>
                  <a:pt x="89" y="23"/>
                </a:lnTo>
                <a:lnTo>
                  <a:pt x="91" y="22"/>
                </a:lnTo>
                <a:lnTo>
                  <a:pt x="91" y="21"/>
                </a:lnTo>
                <a:lnTo>
                  <a:pt x="97" y="21"/>
                </a:lnTo>
                <a:lnTo>
                  <a:pt x="97" y="18"/>
                </a:lnTo>
                <a:lnTo>
                  <a:pt x="99" y="18"/>
                </a:lnTo>
                <a:lnTo>
                  <a:pt x="101" y="17"/>
                </a:lnTo>
                <a:lnTo>
                  <a:pt x="103" y="17"/>
                </a:lnTo>
                <a:lnTo>
                  <a:pt x="104" y="16"/>
                </a:lnTo>
                <a:lnTo>
                  <a:pt x="106" y="16"/>
                </a:lnTo>
                <a:lnTo>
                  <a:pt x="107" y="15"/>
                </a:lnTo>
                <a:lnTo>
                  <a:pt x="109" y="15"/>
                </a:lnTo>
                <a:lnTo>
                  <a:pt x="109" y="10"/>
                </a:lnTo>
                <a:lnTo>
                  <a:pt x="110" y="11"/>
                </a:lnTo>
                <a:lnTo>
                  <a:pt x="111" y="11"/>
                </a:lnTo>
                <a:lnTo>
                  <a:pt x="111" y="10"/>
                </a:lnTo>
                <a:lnTo>
                  <a:pt x="112" y="10"/>
                </a:lnTo>
                <a:lnTo>
                  <a:pt x="113" y="11"/>
                </a:lnTo>
                <a:lnTo>
                  <a:pt x="118" y="11"/>
                </a:lnTo>
                <a:lnTo>
                  <a:pt x="118" y="10"/>
                </a:lnTo>
                <a:lnTo>
                  <a:pt x="117" y="9"/>
                </a:lnTo>
                <a:lnTo>
                  <a:pt x="117" y="6"/>
                </a:lnTo>
                <a:lnTo>
                  <a:pt x="116" y="5"/>
                </a:lnTo>
                <a:lnTo>
                  <a:pt x="116" y="4"/>
                </a:lnTo>
                <a:lnTo>
                  <a:pt x="117" y="1"/>
                </a:lnTo>
                <a:lnTo>
                  <a:pt x="119" y="1"/>
                </a:lnTo>
                <a:lnTo>
                  <a:pt x="12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0" name="Freeform 51">
            <a:extLst>
              <a:ext uri="{FF2B5EF4-FFF2-40B4-BE49-F238E27FC236}">
                <a16:creationId xmlns:a16="http://schemas.microsoft.com/office/drawing/2014/main" id="{2CB6B376-6FD7-4C0A-A1C7-A047FA8A5FFB}"/>
              </a:ext>
            </a:extLst>
          </p:cNvPr>
          <p:cNvSpPr>
            <a:spLocks/>
          </p:cNvSpPr>
          <p:nvPr/>
        </p:nvSpPr>
        <p:spPr bwMode="auto">
          <a:xfrm>
            <a:off x="2596597" y="5234873"/>
            <a:ext cx="383970" cy="249218"/>
          </a:xfrm>
          <a:custGeom>
            <a:avLst/>
            <a:gdLst/>
            <a:ahLst/>
            <a:cxnLst>
              <a:cxn ang="0">
                <a:pos x="30" y="9"/>
              </a:cxn>
              <a:cxn ang="0">
                <a:pos x="22" y="21"/>
              </a:cxn>
              <a:cxn ang="0">
                <a:pos x="38" y="21"/>
              </a:cxn>
              <a:cxn ang="0">
                <a:pos x="62" y="24"/>
              </a:cxn>
              <a:cxn ang="0">
                <a:pos x="98" y="27"/>
              </a:cxn>
              <a:cxn ang="0">
                <a:pos x="126" y="33"/>
              </a:cxn>
              <a:cxn ang="0">
                <a:pos x="140" y="31"/>
              </a:cxn>
              <a:cxn ang="0">
                <a:pos x="153" y="21"/>
              </a:cxn>
              <a:cxn ang="0">
                <a:pos x="181" y="8"/>
              </a:cxn>
              <a:cxn ang="0">
                <a:pos x="202" y="5"/>
              </a:cxn>
              <a:cxn ang="0">
                <a:pos x="211" y="11"/>
              </a:cxn>
              <a:cxn ang="0">
                <a:pos x="228" y="17"/>
              </a:cxn>
              <a:cxn ang="0">
                <a:pos x="248" y="27"/>
              </a:cxn>
              <a:cxn ang="0">
                <a:pos x="262" y="45"/>
              </a:cxn>
              <a:cxn ang="0">
                <a:pos x="255" y="48"/>
              </a:cxn>
              <a:cxn ang="0">
                <a:pos x="240" y="58"/>
              </a:cxn>
              <a:cxn ang="0">
                <a:pos x="236" y="65"/>
              </a:cxn>
              <a:cxn ang="0">
                <a:pos x="224" y="92"/>
              </a:cxn>
              <a:cxn ang="0">
                <a:pos x="217" y="101"/>
              </a:cxn>
              <a:cxn ang="0">
                <a:pos x="222" y="103"/>
              </a:cxn>
              <a:cxn ang="0">
                <a:pos x="227" y="106"/>
              </a:cxn>
              <a:cxn ang="0">
                <a:pos x="230" y="111"/>
              </a:cxn>
              <a:cxn ang="0">
                <a:pos x="233" y="119"/>
              </a:cxn>
              <a:cxn ang="0">
                <a:pos x="239" y="125"/>
              </a:cxn>
              <a:cxn ang="0">
                <a:pos x="230" y="132"/>
              </a:cxn>
              <a:cxn ang="0">
                <a:pos x="218" y="132"/>
              </a:cxn>
              <a:cxn ang="0">
                <a:pos x="206" y="123"/>
              </a:cxn>
              <a:cxn ang="0">
                <a:pos x="194" y="129"/>
              </a:cxn>
              <a:cxn ang="0">
                <a:pos x="186" y="131"/>
              </a:cxn>
              <a:cxn ang="0">
                <a:pos x="179" y="135"/>
              </a:cxn>
              <a:cxn ang="0">
                <a:pos x="168" y="144"/>
              </a:cxn>
              <a:cxn ang="0">
                <a:pos x="163" y="144"/>
              </a:cxn>
              <a:cxn ang="0">
                <a:pos x="160" y="150"/>
              </a:cxn>
              <a:cxn ang="0">
                <a:pos x="161" y="159"/>
              </a:cxn>
              <a:cxn ang="0">
                <a:pos x="155" y="166"/>
              </a:cxn>
              <a:cxn ang="0">
                <a:pos x="144" y="167"/>
              </a:cxn>
              <a:cxn ang="0">
                <a:pos x="131" y="169"/>
              </a:cxn>
              <a:cxn ang="0">
                <a:pos x="117" y="167"/>
              </a:cxn>
              <a:cxn ang="0">
                <a:pos x="104" y="166"/>
              </a:cxn>
              <a:cxn ang="0">
                <a:pos x="95" y="161"/>
              </a:cxn>
              <a:cxn ang="0">
                <a:pos x="90" y="155"/>
              </a:cxn>
              <a:cxn ang="0">
                <a:pos x="78" y="155"/>
              </a:cxn>
              <a:cxn ang="0">
                <a:pos x="70" y="159"/>
              </a:cxn>
              <a:cxn ang="0">
                <a:pos x="61" y="161"/>
              </a:cxn>
              <a:cxn ang="0">
                <a:pos x="45" y="163"/>
              </a:cxn>
              <a:cxn ang="0">
                <a:pos x="39" y="162"/>
              </a:cxn>
              <a:cxn ang="0">
                <a:pos x="26" y="163"/>
              </a:cxn>
              <a:cxn ang="0">
                <a:pos x="28" y="147"/>
              </a:cxn>
              <a:cxn ang="0">
                <a:pos x="23" y="136"/>
              </a:cxn>
              <a:cxn ang="0">
                <a:pos x="16" y="125"/>
              </a:cxn>
              <a:cxn ang="0">
                <a:pos x="0" y="111"/>
              </a:cxn>
              <a:cxn ang="0">
                <a:pos x="8" y="105"/>
              </a:cxn>
              <a:cxn ang="0">
                <a:pos x="6" y="88"/>
              </a:cxn>
              <a:cxn ang="0">
                <a:pos x="7" y="80"/>
              </a:cxn>
              <a:cxn ang="0">
                <a:pos x="20" y="73"/>
              </a:cxn>
              <a:cxn ang="0">
                <a:pos x="26" y="60"/>
              </a:cxn>
              <a:cxn ang="0">
                <a:pos x="13" y="46"/>
              </a:cxn>
              <a:cxn ang="0">
                <a:pos x="6" y="39"/>
              </a:cxn>
              <a:cxn ang="0">
                <a:pos x="1" y="26"/>
              </a:cxn>
              <a:cxn ang="0">
                <a:pos x="10" y="9"/>
              </a:cxn>
              <a:cxn ang="0">
                <a:pos x="13" y="1"/>
              </a:cxn>
            </a:cxnLst>
            <a:rect l="0" t="0" r="r" b="b"/>
            <a:pathLst>
              <a:path w="265" h="172">
                <a:moveTo>
                  <a:pt x="16" y="0"/>
                </a:moveTo>
                <a:lnTo>
                  <a:pt x="24" y="6"/>
                </a:lnTo>
                <a:lnTo>
                  <a:pt x="26" y="7"/>
                </a:lnTo>
                <a:lnTo>
                  <a:pt x="28" y="7"/>
                </a:lnTo>
                <a:lnTo>
                  <a:pt x="29" y="8"/>
                </a:lnTo>
                <a:lnTo>
                  <a:pt x="30" y="8"/>
                </a:lnTo>
                <a:lnTo>
                  <a:pt x="30" y="9"/>
                </a:lnTo>
                <a:lnTo>
                  <a:pt x="29" y="12"/>
                </a:lnTo>
                <a:lnTo>
                  <a:pt x="28" y="13"/>
                </a:lnTo>
                <a:lnTo>
                  <a:pt x="24" y="13"/>
                </a:lnTo>
                <a:lnTo>
                  <a:pt x="24" y="14"/>
                </a:lnTo>
                <a:lnTo>
                  <a:pt x="23" y="15"/>
                </a:lnTo>
                <a:lnTo>
                  <a:pt x="22" y="20"/>
                </a:lnTo>
                <a:lnTo>
                  <a:pt x="22" y="21"/>
                </a:lnTo>
                <a:lnTo>
                  <a:pt x="23" y="22"/>
                </a:lnTo>
                <a:lnTo>
                  <a:pt x="24" y="22"/>
                </a:lnTo>
                <a:lnTo>
                  <a:pt x="25" y="24"/>
                </a:lnTo>
                <a:lnTo>
                  <a:pt x="31" y="22"/>
                </a:lnTo>
                <a:lnTo>
                  <a:pt x="34" y="22"/>
                </a:lnTo>
                <a:lnTo>
                  <a:pt x="35" y="21"/>
                </a:lnTo>
                <a:lnTo>
                  <a:pt x="38" y="21"/>
                </a:lnTo>
                <a:lnTo>
                  <a:pt x="42" y="20"/>
                </a:lnTo>
                <a:lnTo>
                  <a:pt x="49" y="20"/>
                </a:lnTo>
                <a:lnTo>
                  <a:pt x="54" y="22"/>
                </a:lnTo>
                <a:lnTo>
                  <a:pt x="55" y="24"/>
                </a:lnTo>
                <a:lnTo>
                  <a:pt x="59" y="22"/>
                </a:lnTo>
                <a:lnTo>
                  <a:pt x="60" y="22"/>
                </a:lnTo>
                <a:lnTo>
                  <a:pt x="62" y="24"/>
                </a:lnTo>
                <a:lnTo>
                  <a:pt x="76" y="27"/>
                </a:lnTo>
                <a:lnTo>
                  <a:pt x="78" y="28"/>
                </a:lnTo>
                <a:lnTo>
                  <a:pt x="85" y="27"/>
                </a:lnTo>
                <a:lnTo>
                  <a:pt x="86" y="27"/>
                </a:lnTo>
                <a:lnTo>
                  <a:pt x="91" y="25"/>
                </a:lnTo>
                <a:lnTo>
                  <a:pt x="92" y="25"/>
                </a:lnTo>
                <a:lnTo>
                  <a:pt x="98" y="27"/>
                </a:lnTo>
                <a:lnTo>
                  <a:pt x="100" y="28"/>
                </a:lnTo>
                <a:lnTo>
                  <a:pt x="111" y="28"/>
                </a:lnTo>
                <a:lnTo>
                  <a:pt x="116" y="30"/>
                </a:lnTo>
                <a:lnTo>
                  <a:pt x="122" y="31"/>
                </a:lnTo>
                <a:lnTo>
                  <a:pt x="123" y="31"/>
                </a:lnTo>
                <a:lnTo>
                  <a:pt x="125" y="32"/>
                </a:lnTo>
                <a:lnTo>
                  <a:pt x="126" y="33"/>
                </a:lnTo>
                <a:lnTo>
                  <a:pt x="128" y="33"/>
                </a:lnTo>
                <a:lnTo>
                  <a:pt x="130" y="34"/>
                </a:lnTo>
                <a:lnTo>
                  <a:pt x="131" y="33"/>
                </a:lnTo>
                <a:lnTo>
                  <a:pt x="136" y="33"/>
                </a:lnTo>
                <a:lnTo>
                  <a:pt x="137" y="32"/>
                </a:lnTo>
                <a:lnTo>
                  <a:pt x="138" y="32"/>
                </a:lnTo>
                <a:lnTo>
                  <a:pt x="140" y="31"/>
                </a:lnTo>
                <a:lnTo>
                  <a:pt x="141" y="31"/>
                </a:lnTo>
                <a:lnTo>
                  <a:pt x="141" y="30"/>
                </a:lnTo>
                <a:lnTo>
                  <a:pt x="146" y="30"/>
                </a:lnTo>
                <a:lnTo>
                  <a:pt x="147" y="27"/>
                </a:lnTo>
                <a:lnTo>
                  <a:pt x="152" y="22"/>
                </a:lnTo>
                <a:lnTo>
                  <a:pt x="152" y="21"/>
                </a:lnTo>
                <a:lnTo>
                  <a:pt x="153" y="21"/>
                </a:lnTo>
                <a:lnTo>
                  <a:pt x="157" y="18"/>
                </a:lnTo>
                <a:lnTo>
                  <a:pt x="157" y="17"/>
                </a:lnTo>
                <a:lnTo>
                  <a:pt x="161" y="13"/>
                </a:lnTo>
                <a:lnTo>
                  <a:pt x="168" y="11"/>
                </a:lnTo>
                <a:lnTo>
                  <a:pt x="169" y="11"/>
                </a:lnTo>
                <a:lnTo>
                  <a:pt x="173" y="9"/>
                </a:lnTo>
                <a:lnTo>
                  <a:pt x="181" y="8"/>
                </a:lnTo>
                <a:lnTo>
                  <a:pt x="184" y="8"/>
                </a:lnTo>
                <a:lnTo>
                  <a:pt x="185" y="7"/>
                </a:lnTo>
                <a:lnTo>
                  <a:pt x="188" y="7"/>
                </a:lnTo>
                <a:lnTo>
                  <a:pt x="192" y="5"/>
                </a:lnTo>
                <a:lnTo>
                  <a:pt x="197" y="3"/>
                </a:lnTo>
                <a:lnTo>
                  <a:pt x="198" y="3"/>
                </a:lnTo>
                <a:lnTo>
                  <a:pt x="202" y="5"/>
                </a:lnTo>
                <a:lnTo>
                  <a:pt x="206" y="6"/>
                </a:lnTo>
                <a:lnTo>
                  <a:pt x="206" y="7"/>
                </a:lnTo>
                <a:lnTo>
                  <a:pt x="208" y="6"/>
                </a:lnTo>
                <a:lnTo>
                  <a:pt x="208" y="7"/>
                </a:lnTo>
                <a:lnTo>
                  <a:pt x="209" y="7"/>
                </a:lnTo>
                <a:lnTo>
                  <a:pt x="209" y="9"/>
                </a:lnTo>
                <a:lnTo>
                  <a:pt x="211" y="11"/>
                </a:lnTo>
                <a:lnTo>
                  <a:pt x="212" y="11"/>
                </a:lnTo>
                <a:lnTo>
                  <a:pt x="212" y="12"/>
                </a:lnTo>
                <a:lnTo>
                  <a:pt x="213" y="13"/>
                </a:lnTo>
                <a:lnTo>
                  <a:pt x="222" y="13"/>
                </a:lnTo>
                <a:lnTo>
                  <a:pt x="224" y="12"/>
                </a:lnTo>
                <a:lnTo>
                  <a:pt x="225" y="14"/>
                </a:lnTo>
                <a:lnTo>
                  <a:pt x="228" y="17"/>
                </a:lnTo>
                <a:lnTo>
                  <a:pt x="230" y="15"/>
                </a:lnTo>
                <a:lnTo>
                  <a:pt x="234" y="14"/>
                </a:lnTo>
                <a:lnTo>
                  <a:pt x="236" y="14"/>
                </a:lnTo>
                <a:lnTo>
                  <a:pt x="236" y="15"/>
                </a:lnTo>
                <a:lnTo>
                  <a:pt x="239" y="22"/>
                </a:lnTo>
                <a:lnTo>
                  <a:pt x="240" y="24"/>
                </a:lnTo>
                <a:lnTo>
                  <a:pt x="248" y="27"/>
                </a:lnTo>
                <a:lnTo>
                  <a:pt x="258" y="28"/>
                </a:lnTo>
                <a:lnTo>
                  <a:pt x="264" y="28"/>
                </a:lnTo>
                <a:lnTo>
                  <a:pt x="264" y="38"/>
                </a:lnTo>
                <a:lnTo>
                  <a:pt x="265" y="39"/>
                </a:lnTo>
                <a:lnTo>
                  <a:pt x="265" y="42"/>
                </a:lnTo>
                <a:lnTo>
                  <a:pt x="264" y="44"/>
                </a:lnTo>
                <a:lnTo>
                  <a:pt x="262" y="45"/>
                </a:lnTo>
                <a:lnTo>
                  <a:pt x="262" y="46"/>
                </a:lnTo>
                <a:lnTo>
                  <a:pt x="260" y="48"/>
                </a:lnTo>
                <a:lnTo>
                  <a:pt x="260" y="49"/>
                </a:lnTo>
                <a:lnTo>
                  <a:pt x="259" y="50"/>
                </a:lnTo>
                <a:lnTo>
                  <a:pt x="256" y="49"/>
                </a:lnTo>
                <a:lnTo>
                  <a:pt x="256" y="48"/>
                </a:lnTo>
                <a:lnTo>
                  <a:pt x="255" y="48"/>
                </a:lnTo>
                <a:lnTo>
                  <a:pt x="253" y="46"/>
                </a:lnTo>
                <a:lnTo>
                  <a:pt x="252" y="48"/>
                </a:lnTo>
                <a:lnTo>
                  <a:pt x="246" y="48"/>
                </a:lnTo>
                <a:lnTo>
                  <a:pt x="244" y="49"/>
                </a:lnTo>
                <a:lnTo>
                  <a:pt x="243" y="51"/>
                </a:lnTo>
                <a:lnTo>
                  <a:pt x="241" y="57"/>
                </a:lnTo>
                <a:lnTo>
                  <a:pt x="240" y="58"/>
                </a:lnTo>
                <a:lnTo>
                  <a:pt x="236" y="60"/>
                </a:lnTo>
                <a:lnTo>
                  <a:pt x="235" y="60"/>
                </a:lnTo>
                <a:lnTo>
                  <a:pt x="235" y="61"/>
                </a:lnTo>
                <a:lnTo>
                  <a:pt x="236" y="62"/>
                </a:lnTo>
                <a:lnTo>
                  <a:pt x="237" y="62"/>
                </a:lnTo>
                <a:lnTo>
                  <a:pt x="237" y="63"/>
                </a:lnTo>
                <a:lnTo>
                  <a:pt x="236" y="65"/>
                </a:lnTo>
                <a:lnTo>
                  <a:pt x="236" y="68"/>
                </a:lnTo>
                <a:lnTo>
                  <a:pt x="235" y="68"/>
                </a:lnTo>
                <a:lnTo>
                  <a:pt x="235" y="88"/>
                </a:lnTo>
                <a:lnTo>
                  <a:pt x="228" y="88"/>
                </a:lnTo>
                <a:lnTo>
                  <a:pt x="228" y="91"/>
                </a:lnTo>
                <a:lnTo>
                  <a:pt x="227" y="92"/>
                </a:lnTo>
                <a:lnTo>
                  <a:pt x="224" y="92"/>
                </a:lnTo>
                <a:lnTo>
                  <a:pt x="223" y="93"/>
                </a:lnTo>
                <a:lnTo>
                  <a:pt x="224" y="94"/>
                </a:lnTo>
                <a:lnTo>
                  <a:pt x="224" y="97"/>
                </a:lnTo>
                <a:lnTo>
                  <a:pt x="219" y="97"/>
                </a:lnTo>
                <a:lnTo>
                  <a:pt x="218" y="98"/>
                </a:lnTo>
                <a:lnTo>
                  <a:pt x="218" y="100"/>
                </a:lnTo>
                <a:lnTo>
                  <a:pt x="217" y="101"/>
                </a:lnTo>
                <a:lnTo>
                  <a:pt x="216" y="101"/>
                </a:lnTo>
                <a:lnTo>
                  <a:pt x="216" y="103"/>
                </a:lnTo>
                <a:lnTo>
                  <a:pt x="217" y="103"/>
                </a:lnTo>
                <a:lnTo>
                  <a:pt x="218" y="104"/>
                </a:lnTo>
                <a:lnTo>
                  <a:pt x="219" y="104"/>
                </a:lnTo>
                <a:lnTo>
                  <a:pt x="219" y="103"/>
                </a:lnTo>
                <a:lnTo>
                  <a:pt x="222" y="103"/>
                </a:lnTo>
                <a:lnTo>
                  <a:pt x="222" y="104"/>
                </a:lnTo>
                <a:lnTo>
                  <a:pt x="223" y="103"/>
                </a:lnTo>
                <a:lnTo>
                  <a:pt x="224" y="103"/>
                </a:lnTo>
                <a:lnTo>
                  <a:pt x="224" y="105"/>
                </a:lnTo>
                <a:lnTo>
                  <a:pt x="228" y="105"/>
                </a:lnTo>
                <a:lnTo>
                  <a:pt x="228" y="106"/>
                </a:lnTo>
                <a:lnTo>
                  <a:pt x="227" y="106"/>
                </a:lnTo>
                <a:lnTo>
                  <a:pt x="228" y="107"/>
                </a:lnTo>
                <a:lnTo>
                  <a:pt x="227" y="107"/>
                </a:lnTo>
                <a:lnTo>
                  <a:pt x="227" y="108"/>
                </a:lnTo>
                <a:lnTo>
                  <a:pt x="228" y="108"/>
                </a:lnTo>
                <a:lnTo>
                  <a:pt x="228" y="110"/>
                </a:lnTo>
                <a:lnTo>
                  <a:pt x="230" y="110"/>
                </a:lnTo>
                <a:lnTo>
                  <a:pt x="230" y="111"/>
                </a:lnTo>
                <a:lnTo>
                  <a:pt x="229" y="112"/>
                </a:lnTo>
                <a:lnTo>
                  <a:pt x="229" y="114"/>
                </a:lnTo>
                <a:lnTo>
                  <a:pt x="230" y="114"/>
                </a:lnTo>
                <a:lnTo>
                  <a:pt x="230" y="116"/>
                </a:lnTo>
                <a:lnTo>
                  <a:pt x="233" y="118"/>
                </a:lnTo>
                <a:lnTo>
                  <a:pt x="234" y="118"/>
                </a:lnTo>
                <a:lnTo>
                  <a:pt x="233" y="119"/>
                </a:lnTo>
                <a:lnTo>
                  <a:pt x="234" y="120"/>
                </a:lnTo>
                <a:lnTo>
                  <a:pt x="235" y="120"/>
                </a:lnTo>
                <a:lnTo>
                  <a:pt x="235" y="122"/>
                </a:lnTo>
                <a:lnTo>
                  <a:pt x="237" y="123"/>
                </a:lnTo>
                <a:lnTo>
                  <a:pt x="237" y="124"/>
                </a:lnTo>
                <a:lnTo>
                  <a:pt x="239" y="124"/>
                </a:lnTo>
                <a:lnTo>
                  <a:pt x="239" y="125"/>
                </a:lnTo>
                <a:lnTo>
                  <a:pt x="240" y="126"/>
                </a:lnTo>
                <a:lnTo>
                  <a:pt x="240" y="130"/>
                </a:lnTo>
                <a:lnTo>
                  <a:pt x="235" y="130"/>
                </a:lnTo>
                <a:lnTo>
                  <a:pt x="234" y="129"/>
                </a:lnTo>
                <a:lnTo>
                  <a:pt x="231" y="129"/>
                </a:lnTo>
                <a:lnTo>
                  <a:pt x="231" y="132"/>
                </a:lnTo>
                <a:lnTo>
                  <a:pt x="230" y="132"/>
                </a:lnTo>
                <a:lnTo>
                  <a:pt x="228" y="130"/>
                </a:lnTo>
                <a:lnTo>
                  <a:pt x="227" y="130"/>
                </a:lnTo>
                <a:lnTo>
                  <a:pt x="223" y="131"/>
                </a:lnTo>
                <a:lnTo>
                  <a:pt x="223" y="132"/>
                </a:lnTo>
                <a:lnTo>
                  <a:pt x="221" y="132"/>
                </a:lnTo>
                <a:lnTo>
                  <a:pt x="221" y="135"/>
                </a:lnTo>
                <a:lnTo>
                  <a:pt x="218" y="132"/>
                </a:lnTo>
                <a:lnTo>
                  <a:pt x="215" y="130"/>
                </a:lnTo>
                <a:lnTo>
                  <a:pt x="213" y="129"/>
                </a:lnTo>
                <a:lnTo>
                  <a:pt x="211" y="125"/>
                </a:lnTo>
                <a:lnTo>
                  <a:pt x="210" y="124"/>
                </a:lnTo>
                <a:lnTo>
                  <a:pt x="209" y="124"/>
                </a:lnTo>
                <a:lnTo>
                  <a:pt x="208" y="123"/>
                </a:lnTo>
                <a:lnTo>
                  <a:pt x="206" y="123"/>
                </a:lnTo>
                <a:lnTo>
                  <a:pt x="205" y="124"/>
                </a:lnTo>
                <a:lnTo>
                  <a:pt x="205" y="125"/>
                </a:lnTo>
                <a:lnTo>
                  <a:pt x="202" y="125"/>
                </a:lnTo>
                <a:lnTo>
                  <a:pt x="200" y="124"/>
                </a:lnTo>
                <a:lnTo>
                  <a:pt x="198" y="124"/>
                </a:lnTo>
                <a:lnTo>
                  <a:pt x="197" y="126"/>
                </a:lnTo>
                <a:lnTo>
                  <a:pt x="194" y="129"/>
                </a:lnTo>
                <a:lnTo>
                  <a:pt x="193" y="129"/>
                </a:lnTo>
                <a:lnTo>
                  <a:pt x="192" y="130"/>
                </a:lnTo>
                <a:lnTo>
                  <a:pt x="190" y="130"/>
                </a:lnTo>
                <a:lnTo>
                  <a:pt x="190" y="131"/>
                </a:lnTo>
                <a:lnTo>
                  <a:pt x="188" y="130"/>
                </a:lnTo>
                <a:lnTo>
                  <a:pt x="187" y="130"/>
                </a:lnTo>
                <a:lnTo>
                  <a:pt x="186" y="131"/>
                </a:lnTo>
                <a:lnTo>
                  <a:pt x="185" y="131"/>
                </a:lnTo>
                <a:lnTo>
                  <a:pt x="181" y="130"/>
                </a:lnTo>
                <a:lnTo>
                  <a:pt x="179" y="132"/>
                </a:lnTo>
                <a:lnTo>
                  <a:pt x="178" y="132"/>
                </a:lnTo>
                <a:lnTo>
                  <a:pt x="178" y="134"/>
                </a:lnTo>
                <a:lnTo>
                  <a:pt x="179" y="134"/>
                </a:lnTo>
                <a:lnTo>
                  <a:pt x="179" y="135"/>
                </a:lnTo>
                <a:lnTo>
                  <a:pt x="178" y="135"/>
                </a:lnTo>
                <a:lnTo>
                  <a:pt x="178" y="138"/>
                </a:lnTo>
                <a:lnTo>
                  <a:pt x="177" y="138"/>
                </a:lnTo>
                <a:lnTo>
                  <a:pt x="175" y="140"/>
                </a:lnTo>
                <a:lnTo>
                  <a:pt x="171" y="140"/>
                </a:lnTo>
                <a:lnTo>
                  <a:pt x="168" y="142"/>
                </a:lnTo>
                <a:lnTo>
                  <a:pt x="168" y="144"/>
                </a:lnTo>
                <a:lnTo>
                  <a:pt x="169" y="146"/>
                </a:lnTo>
                <a:lnTo>
                  <a:pt x="167" y="146"/>
                </a:lnTo>
                <a:lnTo>
                  <a:pt x="167" y="144"/>
                </a:lnTo>
                <a:lnTo>
                  <a:pt x="166" y="144"/>
                </a:lnTo>
                <a:lnTo>
                  <a:pt x="165" y="143"/>
                </a:lnTo>
                <a:lnTo>
                  <a:pt x="163" y="143"/>
                </a:lnTo>
                <a:lnTo>
                  <a:pt x="163" y="144"/>
                </a:lnTo>
                <a:lnTo>
                  <a:pt x="160" y="144"/>
                </a:lnTo>
                <a:lnTo>
                  <a:pt x="159" y="146"/>
                </a:lnTo>
                <a:lnTo>
                  <a:pt x="157" y="146"/>
                </a:lnTo>
                <a:lnTo>
                  <a:pt x="157" y="149"/>
                </a:lnTo>
                <a:lnTo>
                  <a:pt x="159" y="149"/>
                </a:lnTo>
                <a:lnTo>
                  <a:pt x="159" y="150"/>
                </a:lnTo>
                <a:lnTo>
                  <a:pt x="160" y="150"/>
                </a:lnTo>
                <a:lnTo>
                  <a:pt x="160" y="154"/>
                </a:lnTo>
                <a:lnTo>
                  <a:pt x="161" y="154"/>
                </a:lnTo>
                <a:lnTo>
                  <a:pt x="161" y="155"/>
                </a:lnTo>
                <a:lnTo>
                  <a:pt x="162" y="155"/>
                </a:lnTo>
                <a:lnTo>
                  <a:pt x="162" y="156"/>
                </a:lnTo>
                <a:lnTo>
                  <a:pt x="161" y="157"/>
                </a:lnTo>
                <a:lnTo>
                  <a:pt x="161" y="159"/>
                </a:lnTo>
                <a:lnTo>
                  <a:pt x="162" y="160"/>
                </a:lnTo>
                <a:lnTo>
                  <a:pt x="162" y="161"/>
                </a:lnTo>
                <a:lnTo>
                  <a:pt x="161" y="161"/>
                </a:lnTo>
                <a:lnTo>
                  <a:pt x="161" y="165"/>
                </a:lnTo>
                <a:lnTo>
                  <a:pt x="160" y="165"/>
                </a:lnTo>
                <a:lnTo>
                  <a:pt x="156" y="166"/>
                </a:lnTo>
                <a:lnTo>
                  <a:pt x="155" y="166"/>
                </a:lnTo>
                <a:lnTo>
                  <a:pt x="154" y="167"/>
                </a:lnTo>
                <a:lnTo>
                  <a:pt x="152" y="167"/>
                </a:lnTo>
                <a:lnTo>
                  <a:pt x="150" y="168"/>
                </a:lnTo>
                <a:lnTo>
                  <a:pt x="149" y="168"/>
                </a:lnTo>
                <a:lnTo>
                  <a:pt x="148" y="166"/>
                </a:lnTo>
                <a:lnTo>
                  <a:pt x="147" y="166"/>
                </a:lnTo>
                <a:lnTo>
                  <a:pt x="144" y="167"/>
                </a:lnTo>
                <a:lnTo>
                  <a:pt x="143" y="167"/>
                </a:lnTo>
                <a:lnTo>
                  <a:pt x="142" y="168"/>
                </a:lnTo>
                <a:lnTo>
                  <a:pt x="140" y="168"/>
                </a:lnTo>
                <a:lnTo>
                  <a:pt x="140" y="167"/>
                </a:lnTo>
                <a:lnTo>
                  <a:pt x="135" y="167"/>
                </a:lnTo>
                <a:lnTo>
                  <a:pt x="135" y="169"/>
                </a:lnTo>
                <a:lnTo>
                  <a:pt x="131" y="169"/>
                </a:lnTo>
                <a:lnTo>
                  <a:pt x="125" y="172"/>
                </a:lnTo>
                <a:lnTo>
                  <a:pt x="123" y="172"/>
                </a:lnTo>
                <a:lnTo>
                  <a:pt x="122" y="171"/>
                </a:lnTo>
                <a:lnTo>
                  <a:pt x="121" y="168"/>
                </a:lnTo>
                <a:lnTo>
                  <a:pt x="119" y="168"/>
                </a:lnTo>
                <a:lnTo>
                  <a:pt x="118" y="167"/>
                </a:lnTo>
                <a:lnTo>
                  <a:pt x="117" y="167"/>
                </a:lnTo>
                <a:lnTo>
                  <a:pt x="117" y="166"/>
                </a:lnTo>
                <a:lnTo>
                  <a:pt x="116" y="166"/>
                </a:lnTo>
                <a:lnTo>
                  <a:pt x="110" y="163"/>
                </a:lnTo>
                <a:lnTo>
                  <a:pt x="107" y="162"/>
                </a:lnTo>
                <a:lnTo>
                  <a:pt x="106" y="163"/>
                </a:lnTo>
                <a:lnTo>
                  <a:pt x="104" y="163"/>
                </a:lnTo>
                <a:lnTo>
                  <a:pt x="104" y="166"/>
                </a:lnTo>
                <a:lnTo>
                  <a:pt x="103" y="166"/>
                </a:lnTo>
                <a:lnTo>
                  <a:pt x="103" y="165"/>
                </a:lnTo>
                <a:lnTo>
                  <a:pt x="100" y="163"/>
                </a:lnTo>
                <a:lnTo>
                  <a:pt x="100" y="162"/>
                </a:lnTo>
                <a:lnTo>
                  <a:pt x="99" y="162"/>
                </a:lnTo>
                <a:lnTo>
                  <a:pt x="98" y="161"/>
                </a:lnTo>
                <a:lnTo>
                  <a:pt x="95" y="161"/>
                </a:lnTo>
                <a:lnTo>
                  <a:pt x="95" y="159"/>
                </a:lnTo>
                <a:lnTo>
                  <a:pt x="94" y="159"/>
                </a:lnTo>
                <a:lnTo>
                  <a:pt x="94" y="157"/>
                </a:lnTo>
                <a:lnTo>
                  <a:pt x="93" y="157"/>
                </a:lnTo>
                <a:lnTo>
                  <a:pt x="93" y="154"/>
                </a:lnTo>
                <a:lnTo>
                  <a:pt x="90" y="154"/>
                </a:lnTo>
                <a:lnTo>
                  <a:pt x="90" y="155"/>
                </a:lnTo>
                <a:lnTo>
                  <a:pt x="87" y="155"/>
                </a:lnTo>
                <a:lnTo>
                  <a:pt x="86" y="156"/>
                </a:lnTo>
                <a:lnTo>
                  <a:pt x="82" y="156"/>
                </a:lnTo>
                <a:lnTo>
                  <a:pt x="82" y="155"/>
                </a:lnTo>
                <a:lnTo>
                  <a:pt x="81" y="154"/>
                </a:lnTo>
                <a:lnTo>
                  <a:pt x="79" y="154"/>
                </a:lnTo>
                <a:lnTo>
                  <a:pt x="78" y="155"/>
                </a:lnTo>
                <a:lnTo>
                  <a:pt x="78" y="156"/>
                </a:lnTo>
                <a:lnTo>
                  <a:pt x="76" y="156"/>
                </a:lnTo>
                <a:lnTo>
                  <a:pt x="76" y="155"/>
                </a:lnTo>
                <a:lnTo>
                  <a:pt x="73" y="155"/>
                </a:lnTo>
                <a:lnTo>
                  <a:pt x="73" y="160"/>
                </a:lnTo>
                <a:lnTo>
                  <a:pt x="72" y="160"/>
                </a:lnTo>
                <a:lnTo>
                  <a:pt x="70" y="159"/>
                </a:lnTo>
                <a:lnTo>
                  <a:pt x="70" y="160"/>
                </a:lnTo>
                <a:lnTo>
                  <a:pt x="69" y="160"/>
                </a:lnTo>
                <a:lnTo>
                  <a:pt x="68" y="161"/>
                </a:lnTo>
                <a:lnTo>
                  <a:pt x="67" y="159"/>
                </a:lnTo>
                <a:lnTo>
                  <a:pt x="66" y="159"/>
                </a:lnTo>
                <a:lnTo>
                  <a:pt x="63" y="161"/>
                </a:lnTo>
                <a:lnTo>
                  <a:pt x="61" y="161"/>
                </a:lnTo>
                <a:lnTo>
                  <a:pt x="60" y="162"/>
                </a:lnTo>
                <a:lnTo>
                  <a:pt x="56" y="162"/>
                </a:lnTo>
                <a:lnTo>
                  <a:pt x="54" y="165"/>
                </a:lnTo>
                <a:lnTo>
                  <a:pt x="53" y="165"/>
                </a:lnTo>
                <a:lnTo>
                  <a:pt x="50" y="162"/>
                </a:lnTo>
                <a:lnTo>
                  <a:pt x="45" y="162"/>
                </a:lnTo>
                <a:lnTo>
                  <a:pt x="45" y="163"/>
                </a:lnTo>
                <a:lnTo>
                  <a:pt x="44" y="163"/>
                </a:lnTo>
                <a:lnTo>
                  <a:pt x="43" y="165"/>
                </a:lnTo>
                <a:lnTo>
                  <a:pt x="42" y="165"/>
                </a:lnTo>
                <a:lnTo>
                  <a:pt x="42" y="163"/>
                </a:lnTo>
                <a:lnTo>
                  <a:pt x="41" y="163"/>
                </a:lnTo>
                <a:lnTo>
                  <a:pt x="41" y="162"/>
                </a:lnTo>
                <a:lnTo>
                  <a:pt x="39" y="162"/>
                </a:lnTo>
                <a:lnTo>
                  <a:pt x="37" y="165"/>
                </a:lnTo>
                <a:lnTo>
                  <a:pt x="37" y="166"/>
                </a:lnTo>
                <a:lnTo>
                  <a:pt x="36" y="167"/>
                </a:lnTo>
                <a:lnTo>
                  <a:pt x="34" y="167"/>
                </a:lnTo>
                <a:lnTo>
                  <a:pt x="25" y="166"/>
                </a:lnTo>
                <a:lnTo>
                  <a:pt x="26" y="166"/>
                </a:lnTo>
                <a:lnTo>
                  <a:pt x="26" y="163"/>
                </a:lnTo>
                <a:lnTo>
                  <a:pt x="25" y="162"/>
                </a:lnTo>
                <a:lnTo>
                  <a:pt x="26" y="162"/>
                </a:lnTo>
                <a:lnTo>
                  <a:pt x="26" y="153"/>
                </a:lnTo>
                <a:lnTo>
                  <a:pt x="25" y="153"/>
                </a:lnTo>
                <a:lnTo>
                  <a:pt x="25" y="150"/>
                </a:lnTo>
                <a:lnTo>
                  <a:pt x="28" y="148"/>
                </a:lnTo>
                <a:lnTo>
                  <a:pt x="28" y="147"/>
                </a:lnTo>
                <a:lnTo>
                  <a:pt x="29" y="146"/>
                </a:lnTo>
                <a:lnTo>
                  <a:pt x="29" y="143"/>
                </a:lnTo>
                <a:lnTo>
                  <a:pt x="28" y="142"/>
                </a:lnTo>
                <a:lnTo>
                  <a:pt x="26" y="142"/>
                </a:lnTo>
                <a:lnTo>
                  <a:pt x="24" y="137"/>
                </a:lnTo>
                <a:lnTo>
                  <a:pt x="24" y="136"/>
                </a:lnTo>
                <a:lnTo>
                  <a:pt x="23" y="136"/>
                </a:lnTo>
                <a:lnTo>
                  <a:pt x="23" y="130"/>
                </a:lnTo>
                <a:lnTo>
                  <a:pt x="22" y="129"/>
                </a:lnTo>
                <a:lnTo>
                  <a:pt x="22" y="128"/>
                </a:lnTo>
                <a:lnTo>
                  <a:pt x="19" y="128"/>
                </a:lnTo>
                <a:lnTo>
                  <a:pt x="19" y="126"/>
                </a:lnTo>
                <a:lnTo>
                  <a:pt x="17" y="126"/>
                </a:lnTo>
                <a:lnTo>
                  <a:pt x="16" y="125"/>
                </a:lnTo>
                <a:lnTo>
                  <a:pt x="14" y="125"/>
                </a:lnTo>
                <a:lnTo>
                  <a:pt x="12" y="124"/>
                </a:lnTo>
                <a:lnTo>
                  <a:pt x="8" y="122"/>
                </a:lnTo>
                <a:lnTo>
                  <a:pt x="7" y="120"/>
                </a:lnTo>
                <a:lnTo>
                  <a:pt x="7" y="119"/>
                </a:lnTo>
                <a:lnTo>
                  <a:pt x="5" y="117"/>
                </a:lnTo>
                <a:lnTo>
                  <a:pt x="0" y="111"/>
                </a:lnTo>
                <a:lnTo>
                  <a:pt x="4" y="111"/>
                </a:lnTo>
                <a:lnTo>
                  <a:pt x="4" y="110"/>
                </a:lnTo>
                <a:lnTo>
                  <a:pt x="5" y="110"/>
                </a:lnTo>
                <a:lnTo>
                  <a:pt x="5" y="107"/>
                </a:lnTo>
                <a:lnTo>
                  <a:pt x="6" y="106"/>
                </a:lnTo>
                <a:lnTo>
                  <a:pt x="7" y="106"/>
                </a:lnTo>
                <a:lnTo>
                  <a:pt x="8" y="105"/>
                </a:lnTo>
                <a:lnTo>
                  <a:pt x="8" y="100"/>
                </a:lnTo>
                <a:lnTo>
                  <a:pt x="6" y="98"/>
                </a:lnTo>
                <a:lnTo>
                  <a:pt x="4" y="97"/>
                </a:lnTo>
                <a:lnTo>
                  <a:pt x="4" y="95"/>
                </a:lnTo>
                <a:lnTo>
                  <a:pt x="5" y="93"/>
                </a:lnTo>
                <a:lnTo>
                  <a:pt x="5" y="89"/>
                </a:lnTo>
                <a:lnTo>
                  <a:pt x="6" y="88"/>
                </a:lnTo>
                <a:lnTo>
                  <a:pt x="6" y="86"/>
                </a:lnTo>
                <a:lnTo>
                  <a:pt x="5" y="85"/>
                </a:lnTo>
                <a:lnTo>
                  <a:pt x="4" y="82"/>
                </a:lnTo>
                <a:lnTo>
                  <a:pt x="5" y="82"/>
                </a:lnTo>
                <a:lnTo>
                  <a:pt x="5" y="81"/>
                </a:lnTo>
                <a:lnTo>
                  <a:pt x="6" y="81"/>
                </a:lnTo>
                <a:lnTo>
                  <a:pt x="7" y="80"/>
                </a:lnTo>
                <a:lnTo>
                  <a:pt x="7" y="79"/>
                </a:lnTo>
                <a:lnTo>
                  <a:pt x="17" y="79"/>
                </a:lnTo>
                <a:lnTo>
                  <a:pt x="17" y="77"/>
                </a:lnTo>
                <a:lnTo>
                  <a:pt x="18" y="76"/>
                </a:lnTo>
                <a:lnTo>
                  <a:pt x="18" y="74"/>
                </a:lnTo>
                <a:lnTo>
                  <a:pt x="19" y="73"/>
                </a:lnTo>
                <a:lnTo>
                  <a:pt x="20" y="73"/>
                </a:lnTo>
                <a:lnTo>
                  <a:pt x="24" y="69"/>
                </a:lnTo>
                <a:lnTo>
                  <a:pt x="24" y="67"/>
                </a:lnTo>
                <a:lnTo>
                  <a:pt x="25" y="67"/>
                </a:lnTo>
                <a:lnTo>
                  <a:pt x="26" y="65"/>
                </a:lnTo>
                <a:lnTo>
                  <a:pt x="28" y="63"/>
                </a:lnTo>
                <a:lnTo>
                  <a:pt x="28" y="61"/>
                </a:lnTo>
                <a:lnTo>
                  <a:pt x="26" y="60"/>
                </a:lnTo>
                <a:lnTo>
                  <a:pt x="25" y="60"/>
                </a:lnTo>
                <a:lnTo>
                  <a:pt x="20" y="55"/>
                </a:lnTo>
                <a:lnTo>
                  <a:pt x="20" y="52"/>
                </a:lnTo>
                <a:lnTo>
                  <a:pt x="17" y="50"/>
                </a:lnTo>
                <a:lnTo>
                  <a:pt x="17" y="49"/>
                </a:lnTo>
                <a:lnTo>
                  <a:pt x="13" y="49"/>
                </a:lnTo>
                <a:lnTo>
                  <a:pt x="13" y="46"/>
                </a:lnTo>
                <a:lnTo>
                  <a:pt x="11" y="46"/>
                </a:lnTo>
                <a:lnTo>
                  <a:pt x="11" y="45"/>
                </a:lnTo>
                <a:lnTo>
                  <a:pt x="8" y="45"/>
                </a:lnTo>
                <a:lnTo>
                  <a:pt x="8" y="44"/>
                </a:lnTo>
                <a:lnTo>
                  <a:pt x="7" y="43"/>
                </a:lnTo>
                <a:lnTo>
                  <a:pt x="7" y="40"/>
                </a:lnTo>
                <a:lnTo>
                  <a:pt x="6" y="39"/>
                </a:lnTo>
                <a:lnTo>
                  <a:pt x="6" y="34"/>
                </a:lnTo>
                <a:lnTo>
                  <a:pt x="5" y="33"/>
                </a:lnTo>
                <a:lnTo>
                  <a:pt x="4" y="33"/>
                </a:lnTo>
                <a:lnTo>
                  <a:pt x="4" y="32"/>
                </a:lnTo>
                <a:lnTo>
                  <a:pt x="3" y="31"/>
                </a:lnTo>
                <a:lnTo>
                  <a:pt x="3" y="27"/>
                </a:lnTo>
                <a:lnTo>
                  <a:pt x="1" y="26"/>
                </a:lnTo>
                <a:lnTo>
                  <a:pt x="1" y="22"/>
                </a:lnTo>
                <a:lnTo>
                  <a:pt x="3" y="20"/>
                </a:lnTo>
                <a:lnTo>
                  <a:pt x="3" y="14"/>
                </a:lnTo>
                <a:lnTo>
                  <a:pt x="4" y="13"/>
                </a:lnTo>
                <a:lnTo>
                  <a:pt x="7" y="13"/>
                </a:lnTo>
                <a:lnTo>
                  <a:pt x="7" y="12"/>
                </a:lnTo>
                <a:lnTo>
                  <a:pt x="10" y="9"/>
                </a:lnTo>
                <a:lnTo>
                  <a:pt x="12" y="9"/>
                </a:lnTo>
                <a:lnTo>
                  <a:pt x="12" y="8"/>
                </a:lnTo>
                <a:lnTo>
                  <a:pt x="11" y="7"/>
                </a:lnTo>
                <a:lnTo>
                  <a:pt x="11" y="6"/>
                </a:lnTo>
                <a:lnTo>
                  <a:pt x="12" y="5"/>
                </a:lnTo>
                <a:lnTo>
                  <a:pt x="12" y="2"/>
                </a:lnTo>
                <a:lnTo>
                  <a:pt x="13" y="1"/>
                </a:lnTo>
                <a:lnTo>
                  <a:pt x="16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1" name="Freeform 52">
            <a:extLst>
              <a:ext uri="{FF2B5EF4-FFF2-40B4-BE49-F238E27FC236}">
                <a16:creationId xmlns:a16="http://schemas.microsoft.com/office/drawing/2014/main" id="{8E5B393C-4BA4-436F-BF4D-307A2990D598}"/>
              </a:ext>
            </a:extLst>
          </p:cNvPr>
          <p:cNvSpPr>
            <a:spLocks/>
          </p:cNvSpPr>
          <p:nvPr/>
        </p:nvSpPr>
        <p:spPr bwMode="auto">
          <a:xfrm>
            <a:off x="2192343" y="5145039"/>
            <a:ext cx="239076" cy="230382"/>
          </a:xfrm>
          <a:custGeom>
            <a:avLst/>
            <a:gdLst/>
            <a:ahLst/>
            <a:cxnLst>
              <a:cxn ang="0">
                <a:pos x="56" y="3"/>
              </a:cxn>
              <a:cxn ang="0">
                <a:pos x="62" y="7"/>
              </a:cxn>
              <a:cxn ang="0">
                <a:pos x="75" y="8"/>
              </a:cxn>
              <a:cxn ang="0">
                <a:pos x="85" y="8"/>
              </a:cxn>
              <a:cxn ang="0">
                <a:pos x="93" y="12"/>
              </a:cxn>
              <a:cxn ang="0">
                <a:pos x="104" y="10"/>
              </a:cxn>
              <a:cxn ang="0">
                <a:pos x="110" y="9"/>
              </a:cxn>
              <a:cxn ang="0">
                <a:pos x="123" y="10"/>
              </a:cxn>
              <a:cxn ang="0">
                <a:pos x="127" y="15"/>
              </a:cxn>
              <a:cxn ang="0">
                <a:pos x="129" y="19"/>
              </a:cxn>
              <a:cxn ang="0">
                <a:pos x="142" y="24"/>
              </a:cxn>
              <a:cxn ang="0">
                <a:pos x="148" y="21"/>
              </a:cxn>
              <a:cxn ang="0">
                <a:pos x="154" y="22"/>
              </a:cxn>
              <a:cxn ang="0">
                <a:pos x="150" y="34"/>
              </a:cxn>
              <a:cxn ang="0">
                <a:pos x="146" y="44"/>
              </a:cxn>
              <a:cxn ang="0">
                <a:pos x="143" y="56"/>
              </a:cxn>
              <a:cxn ang="0">
                <a:pos x="154" y="64"/>
              </a:cxn>
              <a:cxn ang="0">
                <a:pos x="160" y="70"/>
              </a:cxn>
              <a:cxn ang="0">
                <a:pos x="164" y="71"/>
              </a:cxn>
              <a:cxn ang="0">
                <a:pos x="160" y="77"/>
              </a:cxn>
              <a:cxn ang="0">
                <a:pos x="149" y="75"/>
              </a:cxn>
              <a:cxn ang="0">
                <a:pos x="152" y="81"/>
              </a:cxn>
              <a:cxn ang="0">
                <a:pos x="159" y="98"/>
              </a:cxn>
              <a:cxn ang="0">
                <a:pos x="155" y="101"/>
              </a:cxn>
              <a:cxn ang="0">
                <a:pos x="150" y="100"/>
              </a:cxn>
              <a:cxn ang="0">
                <a:pos x="143" y="102"/>
              </a:cxn>
              <a:cxn ang="0">
                <a:pos x="140" y="102"/>
              </a:cxn>
              <a:cxn ang="0">
                <a:pos x="136" y="106"/>
              </a:cxn>
              <a:cxn ang="0">
                <a:pos x="140" y="113"/>
              </a:cxn>
              <a:cxn ang="0">
                <a:pos x="139" y="118"/>
              </a:cxn>
              <a:cxn ang="0">
                <a:pos x="131" y="113"/>
              </a:cxn>
              <a:cxn ang="0">
                <a:pos x="125" y="120"/>
              </a:cxn>
              <a:cxn ang="0">
                <a:pos x="115" y="136"/>
              </a:cxn>
              <a:cxn ang="0">
                <a:pos x="115" y="144"/>
              </a:cxn>
              <a:cxn ang="0">
                <a:pos x="119" y="155"/>
              </a:cxn>
              <a:cxn ang="0">
                <a:pos x="111" y="156"/>
              </a:cxn>
              <a:cxn ang="0">
                <a:pos x="96" y="148"/>
              </a:cxn>
              <a:cxn ang="0">
                <a:pos x="88" y="142"/>
              </a:cxn>
              <a:cxn ang="0">
                <a:pos x="82" y="138"/>
              </a:cxn>
              <a:cxn ang="0">
                <a:pos x="80" y="138"/>
              </a:cxn>
              <a:cxn ang="0">
                <a:pos x="79" y="130"/>
              </a:cxn>
              <a:cxn ang="0">
                <a:pos x="71" y="122"/>
              </a:cxn>
              <a:cxn ang="0">
                <a:pos x="66" y="113"/>
              </a:cxn>
              <a:cxn ang="0">
                <a:pos x="56" y="104"/>
              </a:cxn>
              <a:cxn ang="0">
                <a:pos x="42" y="88"/>
              </a:cxn>
              <a:cxn ang="0">
                <a:pos x="36" y="80"/>
              </a:cxn>
              <a:cxn ang="0">
                <a:pos x="28" y="73"/>
              </a:cxn>
              <a:cxn ang="0">
                <a:pos x="24" y="67"/>
              </a:cxn>
              <a:cxn ang="0">
                <a:pos x="21" y="57"/>
              </a:cxn>
              <a:cxn ang="0">
                <a:pos x="19" y="51"/>
              </a:cxn>
              <a:cxn ang="0">
                <a:pos x="15" y="45"/>
              </a:cxn>
              <a:cxn ang="0">
                <a:pos x="13" y="39"/>
              </a:cxn>
              <a:cxn ang="0">
                <a:pos x="9" y="34"/>
              </a:cxn>
              <a:cxn ang="0">
                <a:pos x="4" y="34"/>
              </a:cxn>
              <a:cxn ang="0">
                <a:pos x="1" y="25"/>
              </a:cxn>
              <a:cxn ang="0">
                <a:pos x="1" y="18"/>
              </a:cxn>
              <a:cxn ang="0">
                <a:pos x="3" y="6"/>
              </a:cxn>
              <a:cxn ang="0">
                <a:pos x="15" y="7"/>
              </a:cxn>
              <a:cxn ang="0">
                <a:pos x="24" y="16"/>
              </a:cxn>
              <a:cxn ang="0">
                <a:pos x="29" y="9"/>
              </a:cxn>
              <a:cxn ang="0">
                <a:pos x="35" y="3"/>
              </a:cxn>
              <a:cxn ang="0">
                <a:pos x="48" y="3"/>
              </a:cxn>
              <a:cxn ang="0">
                <a:pos x="51" y="0"/>
              </a:cxn>
            </a:cxnLst>
            <a:rect l="0" t="0" r="r" b="b"/>
            <a:pathLst>
              <a:path w="165" h="159">
                <a:moveTo>
                  <a:pt x="51" y="0"/>
                </a:moveTo>
                <a:lnTo>
                  <a:pt x="51" y="2"/>
                </a:lnTo>
                <a:lnTo>
                  <a:pt x="55" y="2"/>
                </a:lnTo>
                <a:lnTo>
                  <a:pt x="55" y="3"/>
                </a:lnTo>
                <a:lnTo>
                  <a:pt x="56" y="3"/>
                </a:lnTo>
                <a:lnTo>
                  <a:pt x="56" y="4"/>
                </a:lnTo>
                <a:lnTo>
                  <a:pt x="59" y="6"/>
                </a:lnTo>
                <a:lnTo>
                  <a:pt x="60" y="7"/>
                </a:lnTo>
                <a:lnTo>
                  <a:pt x="62" y="8"/>
                </a:lnTo>
                <a:lnTo>
                  <a:pt x="62" y="7"/>
                </a:lnTo>
                <a:lnTo>
                  <a:pt x="65" y="7"/>
                </a:lnTo>
                <a:lnTo>
                  <a:pt x="66" y="6"/>
                </a:lnTo>
                <a:lnTo>
                  <a:pt x="67" y="6"/>
                </a:lnTo>
                <a:lnTo>
                  <a:pt x="69" y="8"/>
                </a:lnTo>
                <a:lnTo>
                  <a:pt x="75" y="8"/>
                </a:lnTo>
                <a:lnTo>
                  <a:pt x="74" y="9"/>
                </a:lnTo>
                <a:lnTo>
                  <a:pt x="79" y="9"/>
                </a:lnTo>
                <a:lnTo>
                  <a:pt x="81" y="7"/>
                </a:lnTo>
                <a:lnTo>
                  <a:pt x="85" y="7"/>
                </a:lnTo>
                <a:lnTo>
                  <a:pt x="85" y="8"/>
                </a:lnTo>
                <a:lnTo>
                  <a:pt x="87" y="12"/>
                </a:lnTo>
                <a:lnTo>
                  <a:pt x="88" y="13"/>
                </a:lnTo>
                <a:lnTo>
                  <a:pt x="90" y="13"/>
                </a:lnTo>
                <a:lnTo>
                  <a:pt x="91" y="12"/>
                </a:lnTo>
                <a:lnTo>
                  <a:pt x="93" y="12"/>
                </a:lnTo>
                <a:lnTo>
                  <a:pt x="93" y="10"/>
                </a:lnTo>
                <a:lnTo>
                  <a:pt x="96" y="8"/>
                </a:lnTo>
                <a:lnTo>
                  <a:pt x="98" y="8"/>
                </a:lnTo>
                <a:lnTo>
                  <a:pt x="100" y="10"/>
                </a:lnTo>
                <a:lnTo>
                  <a:pt x="104" y="10"/>
                </a:lnTo>
                <a:lnTo>
                  <a:pt x="105" y="9"/>
                </a:lnTo>
                <a:lnTo>
                  <a:pt x="105" y="7"/>
                </a:lnTo>
                <a:lnTo>
                  <a:pt x="106" y="7"/>
                </a:lnTo>
                <a:lnTo>
                  <a:pt x="108" y="8"/>
                </a:lnTo>
                <a:lnTo>
                  <a:pt x="110" y="9"/>
                </a:lnTo>
                <a:lnTo>
                  <a:pt x="113" y="9"/>
                </a:lnTo>
                <a:lnTo>
                  <a:pt x="117" y="13"/>
                </a:lnTo>
                <a:lnTo>
                  <a:pt x="119" y="13"/>
                </a:lnTo>
                <a:lnTo>
                  <a:pt x="119" y="10"/>
                </a:lnTo>
                <a:lnTo>
                  <a:pt x="123" y="10"/>
                </a:lnTo>
                <a:lnTo>
                  <a:pt x="123" y="13"/>
                </a:lnTo>
                <a:lnTo>
                  <a:pt x="124" y="13"/>
                </a:lnTo>
                <a:lnTo>
                  <a:pt x="124" y="12"/>
                </a:lnTo>
                <a:lnTo>
                  <a:pt x="125" y="12"/>
                </a:lnTo>
                <a:lnTo>
                  <a:pt x="127" y="15"/>
                </a:lnTo>
                <a:lnTo>
                  <a:pt x="128" y="15"/>
                </a:lnTo>
                <a:lnTo>
                  <a:pt x="129" y="16"/>
                </a:lnTo>
                <a:lnTo>
                  <a:pt x="130" y="16"/>
                </a:lnTo>
                <a:lnTo>
                  <a:pt x="130" y="19"/>
                </a:lnTo>
                <a:lnTo>
                  <a:pt x="129" y="19"/>
                </a:lnTo>
                <a:lnTo>
                  <a:pt x="129" y="21"/>
                </a:lnTo>
                <a:lnTo>
                  <a:pt x="133" y="25"/>
                </a:lnTo>
                <a:lnTo>
                  <a:pt x="140" y="25"/>
                </a:lnTo>
                <a:lnTo>
                  <a:pt x="141" y="24"/>
                </a:lnTo>
                <a:lnTo>
                  <a:pt x="142" y="24"/>
                </a:lnTo>
                <a:lnTo>
                  <a:pt x="146" y="21"/>
                </a:lnTo>
                <a:lnTo>
                  <a:pt x="147" y="21"/>
                </a:lnTo>
                <a:lnTo>
                  <a:pt x="147" y="22"/>
                </a:lnTo>
                <a:lnTo>
                  <a:pt x="148" y="22"/>
                </a:lnTo>
                <a:lnTo>
                  <a:pt x="148" y="21"/>
                </a:lnTo>
                <a:lnTo>
                  <a:pt x="149" y="21"/>
                </a:lnTo>
                <a:lnTo>
                  <a:pt x="150" y="22"/>
                </a:lnTo>
                <a:lnTo>
                  <a:pt x="152" y="21"/>
                </a:lnTo>
                <a:lnTo>
                  <a:pt x="153" y="22"/>
                </a:lnTo>
                <a:lnTo>
                  <a:pt x="154" y="22"/>
                </a:lnTo>
                <a:lnTo>
                  <a:pt x="154" y="25"/>
                </a:lnTo>
                <a:lnTo>
                  <a:pt x="153" y="32"/>
                </a:lnTo>
                <a:lnTo>
                  <a:pt x="152" y="33"/>
                </a:lnTo>
                <a:lnTo>
                  <a:pt x="152" y="34"/>
                </a:lnTo>
                <a:lnTo>
                  <a:pt x="150" y="34"/>
                </a:lnTo>
                <a:lnTo>
                  <a:pt x="150" y="36"/>
                </a:lnTo>
                <a:lnTo>
                  <a:pt x="149" y="38"/>
                </a:lnTo>
                <a:lnTo>
                  <a:pt x="147" y="40"/>
                </a:lnTo>
                <a:lnTo>
                  <a:pt x="147" y="44"/>
                </a:lnTo>
                <a:lnTo>
                  <a:pt x="146" y="44"/>
                </a:lnTo>
                <a:lnTo>
                  <a:pt x="146" y="45"/>
                </a:lnTo>
                <a:lnTo>
                  <a:pt x="144" y="45"/>
                </a:lnTo>
                <a:lnTo>
                  <a:pt x="144" y="51"/>
                </a:lnTo>
                <a:lnTo>
                  <a:pt x="143" y="52"/>
                </a:lnTo>
                <a:lnTo>
                  <a:pt x="143" y="56"/>
                </a:lnTo>
                <a:lnTo>
                  <a:pt x="146" y="58"/>
                </a:lnTo>
                <a:lnTo>
                  <a:pt x="148" y="59"/>
                </a:lnTo>
                <a:lnTo>
                  <a:pt x="152" y="59"/>
                </a:lnTo>
                <a:lnTo>
                  <a:pt x="154" y="62"/>
                </a:lnTo>
                <a:lnTo>
                  <a:pt x="154" y="64"/>
                </a:lnTo>
                <a:lnTo>
                  <a:pt x="156" y="67"/>
                </a:lnTo>
                <a:lnTo>
                  <a:pt x="159" y="67"/>
                </a:lnTo>
                <a:lnTo>
                  <a:pt x="159" y="69"/>
                </a:lnTo>
                <a:lnTo>
                  <a:pt x="160" y="69"/>
                </a:lnTo>
                <a:lnTo>
                  <a:pt x="160" y="70"/>
                </a:lnTo>
                <a:lnTo>
                  <a:pt x="161" y="70"/>
                </a:lnTo>
                <a:lnTo>
                  <a:pt x="162" y="71"/>
                </a:lnTo>
                <a:lnTo>
                  <a:pt x="162" y="73"/>
                </a:lnTo>
                <a:lnTo>
                  <a:pt x="164" y="73"/>
                </a:lnTo>
                <a:lnTo>
                  <a:pt x="164" y="71"/>
                </a:lnTo>
                <a:lnTo>
                  <a:pt x="165" y="73"/>
                </a:lnTo>
                <a:lnTo>
                  <a:pt x="165" y="75"/>
                </a:lnTo>
                <a:lnTo>
                  <a:pt x="164" y="75"/>
                </a:lnTo>
                <a:lnTo>
                  <a:pt x="161" y="77"/>
                </a:lnTo>
                <a:lnTo>
                  <a:pt x="160" y="77"/>
                </a:lnTo>
                <a:lnTo>
                  <a:pt x="158" y="76"/>
                </a:lnTo>
                <a:lnTo>
                  <a:pt x="155" y="77"/>
                </a:lnTo>
                <a:lnTo>
                  <a:pt x="154" y="77"/>
                </a:lnTo>
                <a:lnTo>
                  <a:pt x="152" y="75"/>
                </a:lnTo>
                <a:lnTo>
                  <a:pt x="149" y="75"/>
                </a:lnTo>
                <a:lnTo>
                  <a:pt x="148" y="76"/>
                </a:lnTo>
                <a:lnTo>
                  <a:pt x="149" y="77"/>
                </a:lnTo>
                <a:lnTo>
                  <a:pt x="148" y="79"/>
                </a:lnTo>
                <a:lnTo>
                  <a:pt x="149" y="79"/>
                </a:lnTo>
                <a:lnTo>
                  <a:pt x="152" y="81"/>
                </a:lnTo>
                <a:lnTo>
                  <a:pt x="154" y="84"/>
                </a:lnTo>
                <a:lnTo>
                  <a:pt x="158" y="89"/>
                </a:lnTo>
                <a:lnTo>
                  <a:pt x="160" y="94"/>
                </a:lnTo>
                <a:lnTo>
                  <a:pt x="160" y="96"/>
                </a:lnTo>
                <a:lnTo>
                  <a:pt x="159" y="98"/>
                </a:lnTo>
                <a:lnTo>
                  <a:pt x="159" y="101"/>
                </a:lnTo>
                <a:lnTo>
                  <a:pt x="158" y="100"/>
                </a:lnTo>
                <a:lnTo>
                  <a:pt x="156" y="100"/>
                </a:lnTo>
                <a:lnTo>
                  <a:pt x="156" y="102"/>
                </a:lnTo>
                <a:lnTo>
                  <a:pt x="155" y="101"/>
                </a:lnTo>
                <a:lnTo>
                  <a:pt x="155" y="100"/>
                </a:lnTo>
                <a:lnTo>
                  <a:pt x="154" y="99"/>
                </a:lnTo>
                <a:lnTo>
                  <a:pt x="152" y="99"/>
                </a:lnTo>
                <a:lnTo>
                  <a:pt x="152" y="100"/>
                </a:lnTo>
                <a:lnTo>
                  <a:pt x="150" y="100"/>
                </a:lnTo>
                <a:lnTo>
                  <a:pt x="149" y="99"/>
                </a:lnTo>
                <a:lnTo>
                  <a:pt x="149" y="100"/>
                </a:lnTo>
                <a:lnTo>
                  <a:pt x="148" y="101"/>
                </a:lnTo>
                <a:lnTo>
                  <a:pt x="148" y="102"/>
                </a:lnTo>
                <a:lnTo>
                  <a:pt x="143" y="102"/>
                </a:lnTo>
                <a:lnTo>
                  <a:pt x="142" y="104"/>
                </a:lnTo>
                <a:lnTo>
                  <a:pt x="142" y="105"/>
                </a:lnTo>
                <a:lnTo>
                  <a:pt x="141" y="105"/>
                </a:lnTo>
                <a:lnTo>
                  <a:pt x="140" y="104"/>
                </a:lnTo>
                <a:lnTo>
                  <a:pt x="140" y="102"/>
                </a:lnTo>
                <a:lnTo>
                  <a:pt x="137" y="102"/>
                </a:lnTo>
                <a:lnTo>
                  <a:pt x="136" y="104"/>
                </a:lnTo>
                <a:lnTo>
                  <a:pt x="135" y="104"/>
                </a:lnTo>
                <a:lnTo>
                  <a:pt x="135" y="106"/>
                </a:lnTo>
                <a:lnTo>
                  <a:pt x="136" y="106"/>
                </a:lnTo>
                <a:lnTo>
                  <a:pt x="136" y="108"/>
                </a:lnTo>
                <a:lnTo>
                  <a:pt x="137" y="107"/>
                </a:lnTo>
                <a:lnTo>
                  <a:pt x="137" y="108"/>
                </a:lnTo>
                <a:lnTo>
                  <a:pt x="139" y="110"/>
                </a:lnTo>
                <a:lnTo>
                  <a:pt x="140" y="113"/>
                </a:lnTo>
                <a:lnTo>
                  <a:pt x="142" y="116"/>
                </a:lnTo>
                <a:lnTo>
                  <a:pt x="140" y="116"/>
                </a:lnTo>
                <a:lnTo>
                  <a:pt x="140" y="117"/>
                </a:lnTo>
                <a:lnTo>
                  <a:pt x="139" y="117"/>
                </a:lnTo>
                <a:lnTo>
                  <a:pt x="139" y="118"/>
                </a:lnTo>
                <a:lnTo>
                  <a:pt x="137" y="117"/>
                </a:lnTo>
                <a:lnTo>
                  <a:pt x="137" y="114"/>
                </a:lnTo>
                <a:lnTo>
                  <a:pt x="136" y="114"/>
                </a:lnTo>
                <a:lnTo>
                  <a:pt x="135" y="113"/>
                </a:lnTo>
                <a:lnTo>
                  <a:pt x="131" y="113"/>
                </a:lnTo>
                <a:lnTo>
                  <a:pt x="131" y="114"/>
                </a:lnTo>
                <a:lnTo>
                  <a:pt x="130" y="116"/>
                </a:lnTo>
                <a:lnTo>
                  <a:pt x="125" y="119"/>
                </a:lnTo>
                <a:lnTo>
                  <a:pt x="124" y="120"/>
                </a:lnTo>
                <a:lnTo>
                  <a:pt x="125" y="120"/>
                </a:lnTo>
                <a:lnTo>
                  <a:pt x="123" y="123"/>
                </a:lnTo>
                <a:lnTo>
                  <a:pt x="123" y="132"/>
                </a:lnTo>
                <a:lnTo>
                  <a:pt x="117" y="132"/>
                </a:lnTo>
                <a:lnTo>
                  <a:pt x="116" y="133"/>
                </a:lnTo>
                <a:lnTo>
                  <a:pt x="115" y="136"/>
                </a:lnTo>
                <a:lnTo>
                  <a:pt x="115" y="138"/>
                </a:lnTo>
                <a:lnTo>
                  <a:pt x="116" y="141"/>
                </a:lnTo>
                <a:lnTo>
                  <a:pt x="116" y="143"/>
                </a:lnTo>
                <a:lnTo>
                  <a:pt x="115" y="143"/>
                </a:lnTo>
                <a:lnTo>
                  <a:pt x="115" y="144"/>
                </a:lnTo>
                <a:lnTo>
                  <a:pt x="116" y="145"/>
                </a:lnTo>
                <a:lnTo>
                  <a:pt x="116" y="147"/>
                </a:lnTo>
                <a:lnTo>
                  <a:pt x="117" y="149"/>
                </a:lnTo>
                <a:lnTo>
                  <a:pt x="119" y="151"/>
                </a:lnTo>
                <a:lnTo>
                  <a:pt x="119" y="155"/>
                </a:lnTo>
                <a:lnTo>
                  <a:pt x="117" y="157"/>
                </a:lnTo>
                <a:lnTo>
                  <a:pt x="117" y="159"/>
                </a:lnTo>
                <a:lnTo>
                  <a:pt x="112" y="159"/>
                </a:lnTo>
                <a:lnTo>
                  <a:pt x="111" y="157"/>
                </a:lnTo>
                <a:lnTo>
                  <a:pt x="111" y="156"/>
                </a:lnTo>
                <a:lnTo>
                  <a:pt x="108" y="156"/>
                </a:lnTo>
                <a:lnTo>
                  <a:pt x="106" y="155"/>
                </a:lnTo>
                <a:lnTo>
                  <a:pt x="98" y="150"/>
                </a:lnTo>
                <a:lnTo>
                  <a:pt x="96" y="149"/>
                </a:lnTo>
                <a:lnTo>
                  <a:pt x="96" y="148"/>
                </a:lnTo>
                <a:lnTo>
                  <a:pt x="93" y="145"/>
                </a:lnTo>
                <a:lnTo>
                  <a:pt x="92" y="145"/>
                </a:lnTo>
                <a:lnTo>
                  <a:pt x="91" y="144"/>
                </a:lnTo>
                <a:lnTo>
                  <a:pt x="90" y="142"/>
                </a:lnTo>
                <a:lnTo>
                  <a:pt x="88" y="142"/>
                </a:lnTo>
                <a:lnTo>
                  <a:pt x="88" y="138"/>
                </a:lnTo>
                <a:lnTo>
                  <a:pt x="87" y="139"/>
                </a:lnTo>
                <a:lnTo>
                  <a:pt x="86" y="139"/>
                </a:lnTo>
                <a:lnTo>
                  <a:pt x="85" y="138"/>
                </a:lnTo>
                <a:lnTo>
                  <a:pt x="82" y="138"/>
                </a:lnTo>
                <a:lnTo>
                  <a:pt x="82" y="139"/>
                </a:lnTo>
                <a:lnTo>
                  <a:pt x="81" y="139"/>
                </a:lnTo>
                <a:lnTo>
                  <a:pt x="78" y="137"/>
                </a:lnTo>
                <a:lnTo>
                  <a:pt x="79" y="137"/>
                </a:lnTo>
                <a:lnTo>
                  <a:pt x="80" y="138"/>
                </a:lnTo>
                <a:lnTo>
                  <a:pt x="80" y="137"/>
                </a:lnTo>
                <a:lnTo>
                  <a:pt x="81" y="137"/>
                </a:lnTo>
                <a:lnTo>
                  <a:pt x="82" y="136"/>
                </a:lnTo>
                <a:lnTo>
                  <a:pt x="82" y="133"/>
                </a:lnTo>
                <a:lnTo>
                  <a:pt x="79" y="130"/>
                </a:lnTo>
                <a:lnTo>
                  <a:pt x="79" y="129"/>
                </a:lnTo>
                <a:lnTo>
                  <a:pt x="73" y="125"/>
                </a:lnTo>
                <a:lnTo>
                  <a:pt x="72" y="124"/>
                </a:lnTo>
                <a:lnTo>
                  <a:pt x="72" y="122"/>
                </a:lnTo>
                <a:lnTo>
                  <a:pt x="71" y="122"/>
                </a:lnTo>
                <a:lnTo>
                  <a:pt x="71" y="120"/>
                </a:lnTo>
                <a:lnTo>
                  <a:pt x="69" y="120"/>
                </a:lnTo>
                <a:lnTo>
                  <a:pt x="68" y="119"/>
                </a:lnTo>
                <a:lnTo>
                  <a:pt x="67" y="116"/>
                </a:lnTo>
                <a:lnTo>
                  <a:pt x="66" y="113"/>
                </a:lnTo>
                <a:lnTo>
                  <a:pt x="66" y="107"/>
                </a:lnTo>
                <a:lnTo>
                  <a:pt x="65" y="106"/>
                </a:lnTo>
                <a:lnTo>
                  <a:pt x="60" y="105"/>
                </a:lnTo>
                <a:lnTo>
                  <a:pt x="57" y="104"/>
                </a:lnTo>
                <a:lnTo>
                  <a:pt x="56" y="104"/>
                </a:lnTo>
                <a:lnTo>
                  <a:pt x="55" y="102"/>
                </a:lnTo>
                <a:lnTo>
                  <a:pt x="54" y="100"/>
                </a:lnTo>
                <a:lnTo>
                  <a:pt x="47" y="93"/>
                </a:lnTo>
                <a:lnTo>
                  <a:pt x="42" y="89"/>
                </a:lnTo>
                <a:lnTo>
                  <a:pt x="42" y="88"/>
                </a:lnTo>
                <a:lnTo>
                  <a:pt x="41" y="87"/>
                </a:lnTo>
                <a:lnTo>
                  <a:pt x="41" y="84"/>
                </a:lnTo>
                <a:lnTo>
                  <a:pt x="38" y="83"/>
                </a:lnTo>
                <a:lnTo>
                  <a:pt x="37" y="81"/>
                </a:lnTo>
                <a:lnTo>
                  <a:pt x="36" y="80"/>
                </a:lnTo>
                <a:lnTo>
                  <a:pt x="35" y="77"/>
                </a:lnTo>
                <a:lnTo>
                  <a:pt x="32" y="75"/>
                </a:lnTo>
                <a:lnTo>
                  <a:pt x="30" y="75"/>
                </a:lnTo>
                <a:lnTo>
                  <a:pt x="30" y="73"/>
                </a:lnTo>
                <a:lnTo>
                  <a:pt x="28" y="73"/>
                </a:lnTo>
                <a:lnTo>
                  <a:pt x="28" y="71"/>
                </a:lnTo>
                <a:lnTo>
                  <a:pt x="26" y="71"/>
                </a:lnTo>
                <a:lnTo>
                  <a:pt x="25" y="70"/>
                </a:lnTo>
                <a:lnTo>
                  <a:pt x="24" y="68"/>
                </a:lnTo>
                <a:lnTo>
                  <a:pt x="24" y="67"/>
                </a:lnTo>
                <a:lnTo>
                  <a:pt x="21" y="63"/>
                </a:lnTo>
                <a:lnTo>
                  <a:pt x="21" y="61"/>
                </a:lnTo>
                <a:lnTo>
                  <a:pt x="19" y="59"/>
                </a:lnTo>
                <a:lnTo>
                  <a:pt x="19" y="58"/>
                </a:lnTo>
                <a:lnTo>
                  <a:pt x="21" y="57"/>
                </a:lnTo>
                <a:lnTo>
                  <a:pt x="21" y="53"/>
                </a:lnTo>
                <a:lnTo>
                  <a:pt x="18" y="53"/>
                </a:lnTo>
                <a:lnTo>
                  <a:pt x="18" y="52"/>
                </a:lnTo>
                <a:lnTo>
                  <a:pt x="19" y="52"/>
                </a:lnTo>
                <a:lnTo>
                  <a:pt x="19" y="51"/>
                </a:lnTo>
                <a:lnTo>
                  <a:pt x="18" y="50"/>
                </a:lnTo>
                <a:lnTo>
                  <a:pt x="17" y="47"/>
                </a:lnTo>
                <a:lnTo>
                  <a:pt x="17" y="44"/>
                </a:lnTo>
                <a:lnTo>
                  <a:pt x="16" y="44"/>
                </a:lnTo>
                <a:lnTo>
                  <a:pt x="15" y="45"/>
                </a:lnTo>
                <a:lnTo>
                  <a:pt x="13" y="45"/>
                </a:lnTo>
                <a:lnTo>
                  <a:pt x="12" y="44"/>
                </a:lnTo>
                <a:lnTo>
                  <a:pt x="12" y="43"/>
                </a:lnTo>
                <a:lnTo>
                  <a:pt x="13" y="41"/>
                </a:lnTo>
                <a:lnTo>
                  <a:pt x="13" y="39"/>
                </a:lnTo>
                <a:lnTo>
                  <a:pt x="12" y="38"/>
                </a:lnTo>
                <a:lnTo>
                  <a:pt x="11" y="38"/>
                </a:lnTo>
                <a:lnTo>
                  <a:pt x="10" y="37"/>
                </a:lnTo>
                <a:lnTo>
                  <a:pt x="10" y="36"/>
                </a:lnTo>
                <a:lnTo>
                  <a:pt x="9" y="34"/>
                </a:lnTo>
                <a:lnTo>
                  <a:pt x="7" y="34"/>
                </a:lnTo>
                <a:lnTo>
                  <a:pt x="7" y="33"/>
                </a:lnTo>
                <a:lnTo>
                  <a:pt x="6" y="33"/>
                </a:lnTo>
                <a:lnTo>
                  <a:pt x="6" y="34"/>
                </a:lnTo>
                <a:lnTo>
                  <a:pt x="4" y="34"/>
                </a:lnTo>
                <a:lnTo>
                  <a:pt x="0" y="31"/>
                </a:lnTo>
                <a:lnTo>
                  <a:pt x="0" y="27"/>
                </a:lnTo>
                <a:lnTo>
                  <a:pt x="3" y="27"/>
                </a:lnTo>
                <a:lnTo>
                  <a:pt x="3" y="26"/>
                </a:lnTo>
                <a:lnTo>
                  <a:pt x="1" y="25"/>
                </a:lnTo>
                <a:lnTo>
                  <a:pt x="1" y="24"/>
                </a:lnTo>
                <a:lnTo>
                  <a:pt x="0" y="22"/>
                </a:lnTo>
                <a:lnTo>
                  <a:pt x="0" y="20"/>
                </a:lnTo>
                <a:lnTo>
                  <a:pt x="1" y="20"/>
                </a:lnTo>
                <a:lnTo>
                  <a:pt x="1" y="18"/>
                </a:lnTo>
                <a:lnTo>
                  <a:pt x="3" y="16"/>
                </a:lnTo>
                <a:lnTo>
                  <a:pt x="1" y="15"/>
                </a:lnTo>
                <a:lnTo>
                  <a:pt x="1" y="14"/>
                </a:lnTo>
                <a:lnTo>
                  <a:pt x="3" y="12"/>
                </a:lnTo>
                <a:lnTo>
                  <a:pt x="3" y="6"/>
                </a:lnTo>
                <a:lnTo>
                  <a:pt x="5" y="3"/>
                </a:lnTo>
                <a:lnTo>
                  <a:pt x="13" y="3"/>
                </a:lnTo>
                <a:lnTo>
                  <a:pt x="13" y="6"/>
                </a:lnTo>
                <a:lnTo>
                  <a:pt x="15" y="6"/>
                </a:lnTo>
                <a:lnTo>
                  <a:pt x="15" y="7"/>
                </a:lnTo>
                <a:lnTo>
                  <a:pt x="16" y="7"/>
                </a:lnTo>
                <a:lnTo>
                  <a:pt x="17" y="9"/>
                </a:lnTo>
                <a:lnTo>
                  <a:pt x="17" y="10"/>
                </a:lnTo>
                <a:lnTo>
                  <a:pt x="22" y="15"/>
                </a:lnTo>
                <a:lnTo>
                  <a:pt x="24" y="16"/>
                </a:lnTo>
                <a:lnTo>
                  <a:pt x="26" y="16"/>
                </a:lnTo>
                <a:lnTo>
                  <a:pt x="26" y="14"/>
                </a:lnTo>
                <a:lnTo>
                  <a:pt x="28" y="12"/>
                </a:lnTo>
                <a:lnTo>
                  <a:pt x="28" y="10"/>
                </a:lnTo>
                <a:lnTo>
                  <a:pt x="29" y="9"/>
                </a:lnTo>
                <a:lnTo>
                  <a:pt x="30" y="9"/>
                </a:lnTo>
                <a:lnTo>
                  <a:pt x="30" y="8"/>
                </a:lnTo>
                <a:lnTo>
                  <a:pt x="31" y="8"/>
                </a:lnTo>
                <a:lnTo>
                  <a:pt x="32" y="4"/>
                </a:lnTo>
                <a:lnTo>
                  <a:pt x="35" y="3"/>
                </a:lnTo>
                <a:lnTo>
                  <a:pt x="37" y="3"/>
                </a:lnTo>
                <a:lnTo>
                  <a:pt x="46" y="6"/>
                </a:lnTo>
                <a:lnTo>
                  <a:pt x="47" y="6"/>
                </a:lnTo>
                <a:lnTo>
                  <a:pt x="47" y="3"/>
                </a:lnTo>
                <a:lnTo>
                  <a:pt x="48" y="3"/>
                </a:lnTo>
                <a:lnTo>
                  <a:pt x="48" y="2"/>
                </a:lnTo>
                <a:lnTo>
                  <a:pt x="49" y="2"/>
                </a:lnTo>
                <a:lnTo>
                  <a:pt x="49" y="1"/>
                </a:lnTo>
                <a:lnTo>
                  <a:pt x="50" y="1"/>
                </a:lnTo>
                <a:lnTo>
                  <a:pt x="51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2" name="Freeform 53">
            <a:extLst>
              <a:ext uri="{FF2B5EF4-FFF2-40B4-BE49-F238E27FC236}">
                <a16:creationId xmlns:a16="http://schemas.microsoft.com/office/drawing/2014/main" id="{B36F91F1-9AE9-4040-B9D4-30CC93A9CD62}"/>
              </a:ext>
            </a:extLst>
          </p:cNvPr>
          <p:cNvSpPr>
            <a:spLocks noEditPoints="1"/>
          </p:cNvSpPr>
          <p:nvPr/>
        </p:nvSpPr>
        <p:spPr bwMode="auto">
          <a:xfrm>
            <a:off x="1386733" y="4571259"/>
            <a:ext cx="234728" cy="192710"/>
          </a:xfrm>
          <a:custGeom>
            <a:avLst/>
            <a:gdLst/>
            <a:ahLst/>
            <a:cxnLst>
              <a:cxn ang="0">
                <a:pos x="94" y="0"/>
              </a:cxn>
              <a:cxn ang="0">
                <a:pos x="94" y="5"/>
              </a:cxn>
              <a:cxn ang="0">
                <a:pos x="103" y="5"/>
              </a:cxn>
              <a:cxn ang="0">
                <a:pos x="107" y="3"/>
              </a:cxn>
              <a:cxn ang="0">
                <a:pos x="109" y="13"/>
              </a:cxn>
              <a:cxn ang="0">
                <a:pos x="120" y="17"/>
              </a:cxn>
              <a:cxn ang="0">
                <a:pos x="127" y="19"/>
              </a:cxn>
              <a:cxn ang="0">
                <a:pos x="137" y="23"/>
              </a:cxn>
              <a:cxn ang="0">
                <a:pos x="137" y="30"/>
              </a:cxn>
              <a:cxn ang="0">
                <a:pos x="134" y="39"/>
              </a:cxn>
              <a:cxn ang="0">
                <a:pos x="132" y="47"/>
              </a:cxn>
              <a:cxn ang="0">
                <a:pos x="137" y="51"/>
              </a:cxn>
              <a:cxn ang="0">
                <a:pos x="153" y="58"/>
              </a:cxn>
              <a:cxn ang="0">
                <a:pos x="153" y="64"/>
              </a:cxn>
              <a:cxn ang="0">
                <a:pos x="155" y="68"/>
              </a:cxn>
              <a:cxn ang="0">
                <a:pos x="159" y="70"/>
              </a:cxn>
              <a:cxn ang="0">
                <a:pos x="158" y="80"/>
              </a:cxn>
              <a:cxn ang="0">
                <a:pos x="152" y="85"/>
              </a:cxn>
              <a:cxn ang="0">
                <a:pos x="151" y="92"/>
              </a:cxn>
              <a:cxn ang="0">
                <a:pos x="144" y="89"/>
              </a:cxn>
              <a:cxn ang="0">
                <a:pos x="140" y="96"/>
              </a:cxn>
              <a:cxn ang="0">
                <a:pos x="136" y="103"/>
              </a:cxn>
              <a:cxn ang="0">
                <a:pos x="134" y="110"/>
              </a:cxn>
              <a:cxn ang="0">
                <a:pos x="137" y="115"/>
              </a:cxn>
              <a:cxn ang="0">
                <a:pos x="139" y="121"/>
              </a:cxn>
              <a:cxn ang="0">
                <a:pos x="140" y="126"/>
              </a:cxn>
              <a:cxn ang="0">
                <a:pos x="136" y="129"/>
              </a:cxn>
              <a:cxn ang="0">
                <a:pos x="130" y="131"/>
              </a:cxn>
              <a:cxn ang="0">
                <a:pos x="122" y="132"/>
              </a:cxn>
              <a:cxn ang="0">
                <a:pos x="119" y="125"/>
              </a:cxn>
              <a:cxn ang="0">
                <a:pos x="115" y="121"/>
              </a:cxn>
              <a:cxn ang="0">
                <a:pos x="110" y="120"/>
              </a:cxn>
              <a:cxn ang="0">
                <a:pos x="103" y="114"/>
              </a:cxn>
              <a:cxn ang="0">
                <a:pos x="97" y="104"/>
              </a:cxn>
              <a:cxn ang="0">
                <a:pos x="97" y="95"/>
              </a:cxn>
              <a:cxn ang="0">
                <a:pos x="95" y="90"/>
              </a:cxn>
              <a:cxn ang="0">
                <a:pos x="80" y="104"/>
              </a:cxn>
              <a:cxn ang="0">
                <a:pos x="69" y="97"/>
              </a:cxn>
              <a:cxn ang="0">
                <a:pos x="69" y="92"/>
              </a:cxn>
              <a:cxn ang="0">
                <a:pos x="69" y="85"/>
              </a:cxn>
              <a:cxn ang="0">
                <a:pos x="66" y="83"/>
              </a:cxn>
              <a:cxn ang="0">
                <a:pos x="58" y="79"/>
              </a:cxn>
              <a:cxn ang="0">
                <a:pos x="51" y="77"/>
              </a:cxn>
              <a:cxn ang="0">
                <a:pos x="47" y="79"/>
              </a:cxn>
              <a:cxn ang="0">
                <a:pos x="40" y="68"/>
              </a:cxn>
              <a:cxn ang="0">
                <a:pos x="34" y="68"/>
              </a:cxn>
              <a:cxn ang="0">
                <a:pos x="31" y="62"/>
              </a:cxn>
              <a:cxn ang="0">
                <a:pos x="27" y="52"/>
              </a:cxn>
              <a:cxn ang="0">
                <a:pos x="19" y="51"/>
              </a:cxn>
              <a:cxn ang="0">
                <a:pos x="10" y="53"/>
              </a:cxn>
              <a:cxn ang="0">
                <a:pos x="6" y="47"/>
              </a:cxn>
              <a:cxn ang="0">
                <a:pos x="2" y="45"/>
              </a:cxn>
              <a:cxn ang="0">
                <a:pos x="1" y="33"/>
              </a:cxn>
              <a:cxn ang="0">
                <a:pos x="25" y="11"/>
              </a:cxn>
              <a:cxn ang="0">
                <a:pos x="41" y="17"/>
              </a:cxn>
              <a:cxn ang="0">
                <a:pos x="52" y="17"/>
              </a:cxn>
              <a:cxn ang="0">
                <a:pos x="59" y="19"/>
              </a:cxn>
              <a:cxn ang="0">
                <a:pos x="71" y="9"/>
              </a:cxn>
              <a:cxn ang="0">
                <a:pos x="72" y="9"/>
              </a:cxn>
              <a:cxn ang="0">
                <a:pos x="78" y="6"/>
              </a:cxn>
              <a:cxn ang="0">
                <a:pos x="84" y="5"/>
              </a:cxn>
              <a:cxn ang="0">
                <a:pos x="94" y="0"/>
              </a:cxn>
            </a:cxnLst>
            <a:rect l="0" t="0" r="r" b="b"/>
            <a:pathLst>
              <a:path w="162" h="133">
                <a:moveTo>
                  <a:pt x="75" y="13"/>
                </a:moveTo>
                <a:lnTo>
                  <a:pt x="75" y="15"/>
                </a:lnTo>
                <a:lnTo>
                  <a:pt x="76" y="13"/>
                </a:lnTo>
                <a:lnTo>
                  <a:pt x="75" y="13"/>
                </a:lnTo>
                <a:close/>
                <a:moveTo>
                  <a:pt x="94" y="0"/>
                </a:moveTo>
                <a:lnTo>
                  <a:pt x="95" y="0"/>
                </a:lnTo>
                <a:lnTo>
                  <a:pt x="96" y="2"/>
                </a:lnTo>
                <a:lnTo>
                  <a:pt x="96" y="6"/>
                </a:lnTo>
                <a:lnTo>
                  <a:pt x="95" y="5"/>
                </a:lnTo>
                <a:lnTo>
                  <a:pt x="94" y="5"/>
                </a:lnTo>
                <a:lnTo>
                  <a:pt x="94" y="6"/>
                </a:lnTo>
                <a:lnTo>
                  <a:pt x="99" y="6"/>
                </a:lnTo>
                <a:lnTo>
                  <a:pt x="100" y="8"/>
                </a:lnTo>
                <a:lnTo>
                  <a:pt x="101" y="8"/>
                </a:lnTo>
                <a:lnTo>
                  <a:pt x="103" y="5"/>
                </a:lnTo>
                <a:lnTo>
                  <a:pt x="103" y="4"/>
                </a:lnTo>
                <a:lnTo>
                  <a:pt x="105" y="3"/>
                </a:lnTo>
                <a:lnTo>
                  <a:pt x="105" y="2"/>
                </a:lnTo>
                <a:lnTo>
                  <a:pt x="106" y="2"/>
                </a:lnTo>
                <a:lnTo>
                  <a:pt x="107" y="3"/>
                </a:lnTo>
                <a:lnTo>
                  <a:pt x="107" y="9"/>
                </a:lnTo>
                <a:lnTo>
                  <a:pt x="108" y="10"/>
                </a:lnTo>
                <a:lnTo>
                  <a:pt x="108" y="11"/>
                </a:lnTo>
                <a:lnTo>
                  <a:pt x="109" y="12"/>
                </a:lnTo>
                <a:lnTo>
                  <a:pt x="109" y="13"/>
                </a:lnTo>
                <a:lnTo>
                  <a:pt x="113" y="13"/>
                </a:lnTo>
                <a:lnTo>
                  <a:pt x="113" y="16"/>
                </a:lnTo>
                <a:lnTo>
                  <a:pt x="114" y="17"/>
                </a:lnTo>
                <a:lnTo>
                  <a:pt x="115" y="16"/>
                </a:lnTo>
                <a:lnTo>
                  <a:pt x="120" y="17"/>
                </a:lnTo>
                <a:lnTo>
                  <a:pt x="122" y="15"/>
                </a:lnTo>
                <a:lnTo>
                  <a:pt x="126" y="15"/>
                </a:lnTo>
                <a:lnTo>
                  <a:pt x="126" y="16"/>
                </a:lnTo>
                <a:lnTo>
                  <a:pt x="127" y="17"/>
                </a:lnTo>
                <a:lnTo>
                  <a:pt x="127" y="19"/>
                </a:lnTo>
                <a:lnTo>
                  <a:pt x="128" y="19"/>
                </a:lnTo>
                <a:lnTo>
                  <a:pt x="131" y="21"/>
                </a:lnTo>
                <a:lnTo>
                  <a:pt x="131" y="22"/>
                </a:lnTo>
                <a:lnTo>
                  <a:pt x="136" y="22"/>
                </a:lnTo>
                <a:lnTo>
                  <a:pt x="137" y="23"/>
                </a:lnTo>
                <a:lnTo>
                  <a:pt x="139" y="23"/>
                </a:lnTo>
                <a:lnTo>
                  <a:pt x="139" y="28"/>
                </a:lnTo>
                <a:lnTo>
                  <a:pt x="138" y="28"/>
                </a:lnTo>
                <a:lnTo>
                  <a:pt x="138" y="30"/>
                </a:lnTo>
                <a:lnTo>
                  <a:pt x="137" y="30"/>
                </a:lnTo>
                <a:lnTo>
                  <a:pt x="137" y="33"/>
                </a:lnTo>
                <a:lnTo>
                  <a:pt x="136" y="34"/>
                </a:lnTo>
                <a:lnTo>
                  <a:pt x="134" y="36"/>
                </a:lnTo>
                <a:lnTo>
                  <a:pt x="137" y="36"/>
                </a:lnTo>
                <a:lnTo>
                  <a:pt x="134" y="39"/>
                </a:lnTo>
                <a:lnTo>
                  <a:pt x="134" y="40"/>
                </a:lnTo>
                <a:lnTo>
                  <a:pt x="133" y="40"/>
                </a:lnTo>
                <a:lnTo>
                  <a:pt x="130" y="43"/>
                </a:lnTo>
                <a:lnTo>
                  <a:pt x="131" y="46"/>
                </a:lnTo>
                <a:lnTo>
                  <a:pt x="132" y="47"/>
                </a:lnTo>
                <a:lnTo>
                  <a:pt x="133" y="47"/>
                </a:lnTo>
                <a:lnTo>
                  <a:pt x="133" y="51"/>
                </a:lnTo>
                <a:lnTo>
                  <a:pt x="134" y="51"/>
                </a:lnTo>
                <a:lnTo>
                  <a:pt x="136" y="49"/>
                </a:lnTo>
                <a:lnTo>
                  <a:pt x="137" y="51"/>
                </a:lnTo>
                <a:lnTo>
                  <a:pt x="146" y="51"/>
                </a:lnTo>
                <a:lnTo>
                  <a:pt x="146" y="53"/>
                </a:lnTo>
                <a:lnTo>
                  <a:pt x="150" y="53"/>
                </a:lnTo>
                <a:lnTo>
                  <a:pt x="150" y="54"/>
                </a:lnTo>
                <a:lnTo>
                  <a:pt x="153" y="58"/>
                </a:lnTo>
                <a:lnTo>
                  <a:pt x="152" y="58"/>
                </a:lnTo>
                <a:lnTo>
                  <a:pt x="153" y="59"/>
                </a:lnTo>
                <a:lnTo>
                  <a:pt x="153" y="60"/>
                </a:lnTo>
                <a:lnTo>
                  <a:pt x="157" y="60"/>
                </a:lnTo>
                <a:lnTo>
                  <a:pt x="153" y="64"/>
                </a:lnTo>
                <a:lnTo>
                  <a:pt x="153" y="66"/>
                </a:lnTo>
                <a:lnTo>
                  <a:pt x="155" y="66"/>
                </a:lnTo>
                <a:lnTo>
                  <a:pt x="153" y="67"/>
                </a:lnTo>
                <a:lnTo>
                  <a:pt x="155" y="67"/>
                </a:lnTo>
                <a:lnTo>
                  <a:pt x="155" y="68"/>
                </a:lnTo>
                <a:lnTo>
                  <a:pt x="156" y="68"/>
                </a:lnTo>
                <a:lnTo>
                  <a:pt x="157" y="67"/>
                </a:lnTo>
                <a:lnTo>
                  <a:pt x="158" y="68"/>
                </a:lnTo>
                <a:lnTo>
                  <a:pt x="159" y="68"/>
                </a:lnTo>
                <a:lnTo>
                  <a:pt x="159" y="70"/>
                </a:lnTo>
                <a:lnTo>
                  <a:pt x="161" y="71"/>
                </a:lnTo>
                <a:lnTo>
                  <a:pt x="161" y="76"/>
                </a:lnTo>
                <a:lnTo>
                  <a:pt x="162" y="78"/>
                </a:lnTo>
                <a:lnTo>
                  <a:pt x="162" y="80"/>
                </a:lnTo>
                <a:lnTo>
                  <a:pt x="158" y="80"/>
                </a:lnTo>
                <a:lnTo>
                  <a:pt x="157" y="82"/>
                </a:lnTo>
                <a:lnTo>
                  <a:pt x="157" y="83"/>
                </a:lnTo>
                <a:lnTo>
                  <a:pt x="155" y="84"/>
                </a:lnTo>
                <a:lnTo>
                  <a:pt x="153" y="85"/>
                </a:lnTo>
                <a:lnTo>
                  <a:pt x="152" y="85"/>
                </a:lnTo>
                <a:lnTo>
                  <a:pt x="152" y="86"/>
                </a:lnTo>
                <a:lnTo>
                  <a:pt x="153" y="86"/>
                </a:lnTo>
                <a:lnTo>
                  <a:pt x="153" y="89"/>
                </a:lnTo>
                <a:lnTo>
                  <a:pt x="151" y="89"/>
                </a:lnTo>
                <a:lnTo>
                  <a:pt x="151" y="92"/>
                </a:lnTo>
                <a:lnTo>
                  <a:pt x="150" y="92"/>
                </a:lnTo>
                <a:lnTo>
                  <a:pt x="150" y="90"/>
                </a:lnTo>
                <a:lnTo>
                  <a:pt x="146" y="90"/>
                </a:lnTo>
                <a:lnTo>
                  <a:pt x="146" y="89"/>
                </a:lnTo>
                <a:lnTo>
                  <a:pt x="144" y="89"/>
                </a:lnTo>
                <a:lnTo>
                  <a:pt x="144" y="92"/>
                </a:lnTo>
                <a:lnTo>
                  <a:pt x="143" y="92"/>
                </a:lnTo>
                <a:lnTo>
                  <a:pt x="141" y="94"/>
                </a:lnTo>
                <a:lnTo>
                  <a:pt x="140" y="94"/>
                </a:lnTo>
                <a:lnTo>
                  <a:pt x="140" y="96"/>
                </a:lnTo>
                <a:lnTo>
                  <a:pt x="139" y="97"/>
                </a:lnTo>
                <a:lnTo>
                  <a:pt x="139" y="99"/>
                </a:lnTo>
                <a:lnTo>
                  <a:pt x="138" y="99"/>
                </a:lnTo>
                <a:lnTo>
                  <a:pt x="138" y="103"/>
                </a:lnTo>
                <a:lnTo>
                  <a:pt x="136" y="103"/>
                </a:lnTo>
                <a:lnTo>
                  <a:pt x="136" y="104"/>
                </a:lnTo>
                <a:lnTo>
                  <a:pt x="134" y="108"/>
                </a:lnTo>
                <a:lnTo>
                  <a:pt x="136" y="109"/>
                </a:lnTo>
                <a:lnTo>
                  <a:pt x="134" y="109"/>
                </a:lnTo>
                <a:lnTo>
                  <a:pt x="134" y="110"/>
                </a:lnTo>
                <a:lnTo>
                  <a:pt x="136" y="110"/>
                </a:lnTo>
                <a:lnTo>
                  <a:pt x="134" y="111"/>
                </a:lnTo>
                <a:lnTo>
                  <a:pt x="134" y="114"/>
                </a:lnTo>
                <a:lnTo>
                  <a:pt x="136" y="114"/>
                </a:lnTo>
                <a:lnTo>
                  <a:pt x="137" y="115"/>
                </a:lnTo>
                <a:lnTo>
                  <a:pt x="138" y="117"/>
                </a:lnTo>
                <a:lnTo>
                  <a:pt x="138" y="119"/>
                </a:lnTo>
                <a:lnTo>
                  <a:pt x="140" y="119"/>
                </a:lnTo>
                <a:lnTo>
                  <a:pt x="140" y="120"/>
                </a:lnTo>
                <a:lnTo>
                  <a:pt x="139" y="121"/>
                </a:lnTo>
                <a:lnTo>
                  <a:pt x="139" y="122"/>
                </a:lnTo>
                <a:lnTo>
                  <a:pt x="141" y="122"/>
                </a:lnTo>
                <a:lnTo>
                  <a:pt x="141" y="125"/>
                </a:lnTo>
                <a:lnTo>
                  <a:pt x="140" y="125"/>
                </a:lnTo>
                <a:lnTo>
                  <a:pt x="140" y="126"/>
                </a:lnTo>
                <a:lnTo>
                  <a:pt x="139" y="127"/>
                </a:lnTo>
                <a:lnTo>
                  <a:pt x="139" y="129"/>
                </a:lnTo>
                <a:lnTo>
                  <a:pt x="138" y="129"/>
                </a:lnTo>
                <a:lnTo>
                  <a:pt x="137" y="131"/>
                </a:lnTo>
                <a:lnTo>
                  <a:pt x="136" y="129"/>
                </a:lnTo>
                <a:lnTo>
                  <a:pt x="134" y="129"/>
                </a:lnTo>
                <a:lnTo>
                  <a:pt x="134" y="131"/>
                </a:lnTo>
                <a:lnTo>
                  <a:pt x="132" y="131"/>
                </a:lnTo>
                <a:lnTo>
                  <a:pt x="131" y="129"/>
                </a:lnTo>
                <a:lnTo>
                  <a:pt x="130" y="131"/>
                </a:lnTo>
                <a:lnTo>
                  <a:pt x="130" y="132"/>
                </a:lnTo>
                <a:lnTo>
                  <a:pt x="126" y="132"/>
                </a:lnTo>
                <a:lnTo>
                  <a:pt x="125" y="133"/>
                </a:lnTo>
                <a:lnTo>
                  <a:pt x="124" y="133"/>
                </a:lnTo>
                <a:lnTo>
                  <a:pt x="122" y="132"/>
                </a:lnTo>
                <a:lnTo>
                  <a:pt x="124" y="131"/>
                </a:lnTo>
                <a:lnTo>
                  <a:pt x="122" y="129"/>
                </a:lnTo>
                <a:lnTo>
                  <a:pt x="121" y="126"/>
                </a:lnTo>
                <a:lnTo>
                  <a:pt x="120" y="126"/>
                </a:lnTo>
                <a:lnTo>
                  <a:pt x="119" y="125"/>
                </a:lnTo>
                <a:lnTo>
                  <a:pt x="118" y="125"/>
                </a:lnTo>
                <a:lnTo>
                  <a:pt x="118" y="126"/>
                </a:lnTo>
                <a:lnTo>
                  <a:pt x="116" y="126"/>
                </a:lnTo>
                <a:lnTo>
                  <a:pt x="116" y="122"/>
                </a:lnTo>
                <a:lnTo>
                  <a:pt x="115" y="121"/>
                </a:lnTo>
                <a:lnTo>
                  <a:pt x="115" y="120"/>
                </a:lnTo>
                <a:lnTo>
                  <a:pt x="114" y="120"/>
                </a:lnTo>
                <a:lnTo>
                  <a:pt x="112" y="121"/>
                </a:lnTo>
                <a:lnTo>
                  <a:pt x="110" y="121"/>
                </a:lnTo>
                <a:lnTo>
                  <a:pt x="110" y="120"/>
                </a:lnTo>
                <a:lnTo>
                  <a:pt x="109" y="120"/>
                </a:lnTo>
                <a:lnTo>
                  <a:pt x="108" y="117"/>
                </a:lnTo>
                <a:lnTo>
                  <a:pt x="107" y="116"/>
                </a:lnTo>
                <a:lnTo>
                  <a:pt x="106" y="116"/>
                </a:lnTo>
                <a:lnTo>
                  <a:pt x="103" y="114"/>
                </a:lnTo>
                <a:lnTo>
                  <a:pt x="97" y="114"/>
                </a:lnTo>
                <a:lnTo>
                  <a:pt x="97" y="108"/>
                </a:lnTo>
                <a:lnTo>
                  <a:pt x="99" y="107"/>
                </a:lnTo>
                <a:lnTo>
                  <a:pt x="99" y="105"/>
                </a:lnTo>
                <a:lnTo>
                  <a:pt x="97" y="104"/>
                </a:lnTo>
                <a:lnTo>
                  <a:pt x="95" y="104"/>
                </a:lnTo>
                <a:lnTo>
                  <a:pt x="95" y="102"/>
                </a:lnTo>
                <a:lnTo>
                  <a:pt x="96" y="98"/>
                </a:lnTo>
                <a:lnTo>
                  <a:pt x="96" y="96"/>
                </a:lnTo>
                <a:lnTo>
                  <a:pt x="97" y="95"/>
                </a:lnTo>
                <a:lnTo>
                  <a:pt x="99" y="95"/>
                </a:lnTo>
                <a:lnTo>
                  <a:pt x="99" y="90"/>
                </a:lnTo>
                <a:lnTo>
                  <a:pt x="96" y="91"/>
                </a:lnTo>
                <a:lnTo>
                  <a:pt x="96" y="90"/>
                </a:lnTo>
                <a:lnTo>
                  <a:pt x="95" y="90"/>
                </a:lnTo>
                <a:lnTo>
                  <a:pt x="90" y="95"/>
                </a:lnTo>
                <a:lnTo>
                  <a:pt x="90" y="101"/>
                </a:lnTo>
                <a:lnTo>
                  <a:pt x="89" y="101"/>
                </a:lnTo>
                <a:lnTo>
                  <a:pt x="82" y="104"/>
                </a:lnTo>
                <a:lnTo>
                  <a:pt x="80" y="104"/>
                </a:lnTo>
                <a:lnTo>
                  <a:pt x="74" y="103"/>
                </a:lnTo>
                <a:lnTo>
                  <a:pt x="70" y="103"/>
                </a:lnTo>
                <a:lnTo>
                  <a:pt x="68" y="102"/>
                </a:lnTo>
                <a:lnTo>
                  <a:pt x="68" y="98"/>
                </a:lnTo>
                <a:lnTo>
                  <a:pt x="69" y="97"/>
                </a:lnTo>
                <a:lnTo>
                  <a:pt x="70" y="97"/>
                </a:lnTo>
                <a:lnTo>
                  <a:pt x="70" y="96"/>
                </a:lnTo>
                <a:lnTo>
                  <a:pt x="71" y="96"/>
                </a:lnTo>
                <a:lnTo>
                  <a:pt x="70" y="95"/>
                </a:lnTo>
                <a:lnTo>
                  <a:pt x="69" y="92"/>
                </a:lnTo>
                <a:lnTo>
                  <a:pt x="69" y="91"/>
                </a:lnTo>
                <a:lnTo>
                  <a:pt x="68" y="92"/>
                </a:lnTo>
                <a:lnTo>
                  <a:pt x="68" y="86"/>
                </a:lnTo>
                <a:lnTo>
                  <a:pt x="69" y="86"/>
                </a:lnTo>
                <a:lnTo>
                  <a:pt x="69" y="85"/>
                </a:lnTo>
                <a:lnTo>
                  <a:pt x="70" y="85"/>
                </a:lnTo>
                <a:lnTo>
                  <a:pt x="70" y="83"/>
                </a:lnTo>
                <a:lnTo>
                  <a:pt x="68" y="83"/>
                </a:lnTo>
                <a:lnTo>
                  <a:pt x="68" y="84"/>
                </a:lnTo>
                <a:lnTo>
                  <a:pt x="66" y="83"/>
                </a:lnTo>
                <a:lnTo>
                  <a:pt x="66" y="80"/>
                </a:lnTo>
                <a:lnTo>
                  <a:pt x="65" y="80"/>
                </a:lnTo>
                <a:lnTo>
                  <a:pt x="63" y="78"/>
                </a:lnTo>
                <a:lnTo>
                  <a:pt x="60" y="78"/>
                </a:lnTo>
                <a:lnTo>
                  <a:pt x="58" y="79"/>
                </a:lnTo>
                <a:lnTo>
                  <a:pt x="57" y="79"/>
                </a:lnTo>
                <a:lnTo>
                  <a:pt x="57" y="78"/>
                </a:lnTo>
                <a:lnTo>
                  <a:pt x="54" y="78"/>
                </a:lnTo>
                <a:lnTo>
                  <a:pt x="53" y="77"/>
                </a:lnTo>
                <a:lnTo>
                  <a:pt x="51" y="77"/>
                </a:lnTo>
                <a:lnTo>
                  <a:pt x="51" y="78"/>
                </a:lnTo>
                <a:lnTo>
                  <a:pt x="50" y="79"/>
                </a:lnTo>
                <a:lnTo>
                  <a:pt x="50" y="80"/>
                </a:lnTo>
                <a:lnTo>
                  <a:pt x="49" y="80"/>
                </a:lnTo>
                <a:lnTo>
                  <a:pt x="47" y="79"/>
                </a:lnTo>
                <a:lnTo>
                  <a:pt x="47" y="73"/>
                </a:lnTo>
                <a:lnTo>
                  <a:pt x="46" y="71"/>
                </a:lnTo>
                <a:lnTo>
                  <a:pt x="46" y="70"/>
                </a:lnTo>
                <a:lnTo>
                  <a:pt x="45" y="68"/>
                </a:lnTo>
                <a:lnTo>
                  <a:pt x="40" y="68"/>
                </a:lnTo>
                <a:lnTo>
                  <a:pt x="40" y="66"/>
                </a:lnTo>
                <a:lnTo>
                  <a:pt x="38" y="66"/>
                </a:lnTo>
                <a:lnTo>
                  <a:pt x="38" y="67"/>
                </a:lnTo>
                <a:lnTo>
                  <a:pt x="35" y="67"/>
                </a:lnTo>
                <a:lnTo>
                  <a:pt x="34" y="68"/>
                </a:lnTo>
                <a:lnTo>
                  <a:pt x="34" y="67"/>
                </a:lnTo>
                <a:lnTo>
                  <a:pt x="32" y="67"/>
                </a:lnTo>
                <a:lnTo>
                  <a:pt x="32" y="66"/>
                </a:lnTo>
                <a:lnTo>
                  <a:pt x="31" y="65"/>
                </a:lnTo>
                <a:lnTo>
                  <a:pt x="31" y="62"/>
                </a:lnTo>
                <a:lnTo>
                  <a:pt x="29" y="59"/>
                </a:lnTo>
                <a:lnTo>
                  <a:pt x="29" y="54"/>
                </a:lnTo>
                <a:lnTo>
                  <a:pt x="28" y="53"/>
                </a:lnTo>
                <a:lnTo>
                  <a:pt x="27" y="53"/>
                </a:lnTo>
                <a:lnTo>
                  <a:pt x="27" y="52"/>
                </a:lnTo>
                <a:lnTo>
                  <a:pt x="26" y="51"/>
                </a:lnTo>
                <a:lnTo>
                  <a:pt x="26" y="49"/>
                </a:lnTo>
                <a:lnTo>
                  <a:pt x="25" y="48"/>
                </a:lnTo>
                <a:lnTo>
                  <a:pt x="23" y="48"/>
                </a:lnTo>
                <a:lnTo>
                  <a:pt x="19" y="51"/>
                </a:lnTo>
                <a:lnTo>
                  <a:pt x="18" y="51"/>
                </a:lnTo>
                <a:lnTo>
                  <a:pt x="16" y="52"/>
                </a:lnTo>
                <a:lnTo>
                  <a:pt x="15" y="54"/>
                </a:lnTo>
                <a:lnTo>
                  <a:pt x="14" y="54"/>
                </a:lnTo>
                <a:lnTo>
                  <a:pt x="10" y="53"/>
                </a:lnTo>
                <a:lnTo>
                  <a:pt x="9" y="52"/>
                </a:lnTo>
                <a:lnTo>
                  <a:pt x="9" y="49"/>
                </a:lnTo>
                <a:lnTo>
                  <a:pt x="7" y="48"/>
                </a:lnTo>
                <a:lnTo>
                  <a:pt x="7" y="47"/>
                </a:lnTo>
                <a:lnTo>
                  <a:pt x="6" y="47"/>
                </a:lnTo>
                <a:lnTo>
                  <a:pt x="6" y="46"/>
                </a:lnTo>
                <a:lnTo>
                  <a:pt x="4" y="47"/>
                </a:lnTo>
                <a:lnTo>
                  <a:pt x="3" y="46"/>
                </a:lnTo>
                <a:lnTo>
                  <a:pt x="3" y="45"/>
                </a:lnTo>
                <a:lnTo>
                  <a:pt x="2" y="45"/>
                </a:lnTo>
                <a:lnTo>
                  <a:pt x="2" y="40"/>
                </a:lnTo>
                <a:lnTo>
                  <a:pt x="3" y="39"/>
                </a:lnTo>
                <a:lnTo>
                  <a:pt x="3" y="36"/>
                </a:lnTo>
                <a:lnTo>
                  <a:pt x="1" y="34"/>
                </a:lnTo>
                <a:lnTo>
                  <a:pt x="1" y="33"/>
                </a:lnTo>
                <a:lnTo>
                  <a:pt x="0" y="29"/>
                </a:lnTo>
                <a:lnTo>
                  <a:pt x="0" y="28"/>
                </a:lnTo>
                <a:lnTo>
                  <a:pt x="2" y="27"/>
                </a:lnTo>
                <a:lnTo>
                  <a:pt x="8" y="23"/>
                </a:lnTo>
                <a:lnTo>
                  <a:pt x="25" y="11"/>
                </a:lnTo>
                <a:lnTo>
                  <a:pt x="34" y="9"/>
                </a:lnTo>
                <a:lnTo>
                  <a:pt x="34" y="15"/>
                </a:lnTo>
                <a:lnTo>
                  <a:pt x="38" y="18"/>
                </a:lnTo>
                <a:lnTo>
                  <a:pt x="40" y="18"/>
                </a:lnTo>
                <a:lnTo>
                  <a:pt x="41" y="17"/>
                </a:lnTo>
                <a:lnTo>
                  <a:pt x="40" y="16"/>
                </a:lnTo>
                <a:lnTo>
                  <a:pt x="41" y="15"/>
                </a:lnTo>
                <a:lnTo>
                  <a:pt x="46" y="15"/>
                </a:lnTo>
                <a:lnTo>
                  <a:pt x="51" y="16"/>
                </a:lnTo>
                <a:lnTo>
                  <a:pt x="52" y="17"/>
                </a:lnTo>
                <a:lnTo>
                  <a:pt x="52" y="19"/>
                </a:lnTo>
                <a:lnTo>
                  <a:pt x="53" y="19"/>
                </a:lnTo>
                <a:lnTo>
                  <a:pt x="53" y="21"/>
                </a:lnTo>
                <a:lnTo>
                  <a:pt x="58" y="19"/>
                </a:lnTo>
                <a:lnTo>
                  <a:pt x="59" y="19"/>
                </a:lnTo>
                <a:lnTo>
                  <a:pt x="66" y="16"/>
                </a:lnTo>
                <a:lnTo>
                  <a:pt x="69" y="13"/>
                </a:lnTo>
                <a:lnTo>
                  <a:pt x="70" y="11"/>
                </a:lnTo>
                <a:lnTo>
                  <a:pt x="71" y="11"/>
                </a:lnTo>
                <a:lnTo>
                  <a:pt x="71" y="9"/>
                </a:lnTo>
                <a:lnTo>
                  <a:pt x="72" y="10"/>
                </a:lnTo>
                <a:lnTo>
                  <a:pt x="72" y="12"/>
                </a:lnTo>
                <a:lnTo>
                  <a:pt x="74" y="12"/>
                </a:lnTo>
                <a:lnTo>
                  <a:pt x="74" y="10"/>
                </a:lnTo>
                <a:lnTo>
                  <a:pt x="72" y="9"/>
                </a:lnTo>
                <a:lnTo>
                  <a:pt x="74" y="9"/>
                </a:lnTo>
                <a:lnTo>
                  <a:pt x="76" y="10"/>
                </a:lnTo>
                <a:lnTo>
                  <a:pt x="80" y="10"/>
                </a:lnTo>
                <a:lnTo>
                  <a:pt x="80" y="8"/>
                </a:lnTo>
                <a:lnTo>
                  <a:pt x="78" y="6"/>
                </a:lnTo>
                <a:lnTo>
                  <a:pt x="78" y="5"/>
                </a:lnTo>
                <a:lnTo>
                  <a:pt x="77" y="4"/>
                </a:lnTo>
                <a:lnTo>
                  <a:pt x="82" y="2"/>
                </a:lnTo>
                <a:lnTo>
                  <a:pt x="84" y="2"/>
                </a:lnTo>
                <a:lnTo>
                  <a:pt x="84" y="5"/>
                </a:lnTo>
                <a:lnTo>
                  <a:pt x="87" y="5"/>
                </a:lnTo>
                <a:lnTo>
                  <a:pt x="88" y="6"/>
                </a:lnTo>
                <a:lnTo>
                  <a:pt x="88" y="5"/>
                </a:lnTo>
                <a:lnTo>
                  <a:pt x="89" y="5"/>
                </a:lnTo>
                <a:lnTo>
                  <a:pt x="94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3" name="Freeform 54">
            <a:extLst>
              <a:ext uri="{FF2B5EF4-FFF2-40B4-BE49-F238E27FC236}">
                <a16:creationId xmlns:a16="http://schemas.microsoft.com/office/drawing/2014/main" id="{20E84D1B-B8C3-42B3-8E43-1CB876D733D4}"/>
              </a:ext>
            </a:extLst>
          </p:cNvPr>
          <p:cNvSpPr>
            <a:spLocks/>
          </p:cNvSpPr>
          <p:nvPr/>
        </p:nvSpPr>
        <p:spPr bwMode="auto">
          <a:xfrm>
            <a:off x="2648759" y="4088762"/>
            <a:ext cx="583923" cy="508579"/>
          </a:xfrm>
          <a:custGeom>
            <a:avLst/>
            <a:gdLst/>
            <a:ahLst/>
            <a:cxnLst>
              <a:cxn ang="0">
                <a:pos x="230" y="7"/>
              </a:cxn>
              <a:cxn ang="0">
                <a:pos x="255" y="13"/>
              </a:cxn>
              <a:cxn ang="0">
                <a:pos x="260" y="26"/>
              </a:cxn>
              <a:cxn ang="0">
                <a:pos x="282" y="24"/>
              </a:cxn>
              <a:cxn ang="0">
                <a:pos x="307" y="30"/>
              </a:cxn>
              <a:cxn ang="0">
                <a:pos x="326" y="43"/>
              </a:cxn>
              <a:cxn ang="0">
                <a:pos x="323" y="67"/>
              </a:cxn>
              <a:cxn ang="0">
                <a:pos x="326" y="87"/>
              </a:cxn>
              <a:cxn ang="0">
                <a:pos x="319" y="100"/>
              </a:cxn>
              <a:cxn ang="0">
                <a:pos x="334" y="121"/>
              </a:cxn>
              <a:cxn ang="0">
                <a:pos x="343" y="141"/>
              </a:cxn>
              <a:cxn ang="0">
                <a:pos x="365" y="155"/>
              </a:cxn>
              <a:cxn ang="0">
                <a:pos x="379" y="174"/>
              </a:cxn>
              <a:cxn ang="0">
                <a:pos x="390" y="189"/>
              </a:cxn>
              <a:cxn ang="0">
                <a:pos x="403" y="198"/>
              </a:cxn>
              <a:cxn ang="0">
                <a:pos x="392" y="210"/>
              </a:cxn>
              <a:cxn ang="0">
                <a:pos x="377" y="225"/>
              </a:cxn>
              <a:cxn ang="0">
                <a:pos x="354" y="215"/>
              </a:cxn>
              <a:cxn ang="0">
                <a:pos x="349" y="240"/>
              </a:cxn>
              <a:cxn ang="0">
                <a:pos x="356" y="260"/>
              </a:cxn>
              <a:cxn ang="0">
                <a:pos x="354" y="277"/>
              </a:cxn>
              <a:cxn ang="0">
                <a:pos x="343" y="293"/>
              </a:cxn>
              <a:cxn ang="0">
                <a:pos x="326" y="299"/>
              </a:cxn>
              <a:cxn ang="0">
                <a:pos x="317" y="308"/>
              </a:cxn>
              <a:cxn ang="0">
                <a:pos x="312" y="323"/>
              </a:cxn>
              <a:cxn ang="0">
                <a:pos x="311" y="332"/>
              </a:cxn>
              <a:cxn ang="0">
                <a:pos x="312" y="346"/>
              </a:cxn>
              <a:cxn ang="0">
                <a:pos x="301" y="344"/>
              </a:cxn>
              <a:cxn ang="0">
                <a:pos x="281" y="338"/>
              </a:cxn>
              <a:cxn ang="0">
                <a:pos x="267" y="337"/>
              </a:cxn>
              <a:cxn ang="0">
                <a:pos x="255" y="336"/>
              </a:cxn>
              <a:cxn ang="0">
                <a:pos x="244" y="329"/>
              </a:cxn>
              <a:cxn ang="0">
                <a:pos x="231" y="337"/>
              </a:cxn>
              <a:cxn ang="0">
                <a:pos x="216" y="327"/>
              </a:cxn>
              <a:cxn ang="0">
                <a:pos x="201" y="329"/>
              </a:cxn>
              <a:cxn ang="0">
                <a:pos x="189" y="333"/>
              </a:cxn>
              <a:cxn ang="0">
                <a:pos x="173" y="327"/>
              </a:cxn>
              <a:cxn ang="0">
                <a:pos x="146" y="313"/>
              </a:cxn>
              <a:cxn ang="0">
                <a:pos x="82" y="302"/>
              </a:cxn>
              <a:cxn ang="0">
                <a:pos x="33" y="327"/>
              </a:cxn>
              <a:cxn ang="0">
                <a:pos x="17" y="331"/>
              </a:cxn>
              <a:cxn ang="0">
                <a:pos x="19" y="312"/>
              </a:cxn>
              <a:cxn ang="0">
                <a:pos x="20" y="296"/>
              </a:cxn>
              <a:cxn ang="0">
                <a:pos x="8" y="286"/>
              </a:cxn>
              <a:cxn ang="0">
                <a:pos x="13" y="260"/>
              </a:cxn>
              <a:cxn ang="0">
                <a:pos x="27" y="214"/>
              </a:cxn>
              <a:cxn ang="0">
                <a:pos x="13" y="167"/>
              </a:cxn>
              <a:cxn ang="0">
                <a:pos x="31" y="163"/>
              </a:cxn>
              <a:cxn ang="0">
                <a:pos x="52" y="166"/>
              </a:cxn>
              <a:cxn ang="0">
                <a:pos x="69" y="151"/>
              </a:cxn>
              <a:cxn ang="0">
                <a:pos x="89" y="141"/>
              </a:cxn>
              <a:cxn ang="0">
                <a:pos x="98" y="146"/>
              </a:cxn>
              <a:cxn ang="0">
                <a:pos x="106" y="137"/>
              </a:cxn>
              <a:cxn ang="0">
                <a:pos x="104" y="122"/>
              </a:cxn>
              <a:cxn ang="0">
                <a:pos x="111" y="94"/>
              </a:cxn>
              <a:cxn ang="0">
                <a:pos x="126" y="86"/>
              </a:cxn>
              <a:cxn ang="0">
                <a:pos x="145" y="77"/>
              </a:cxn>
              <a:cxn ang="0">
                <a:pos x="144" y="63"/>
              </a:cxn>
              <a:cxn ang="0">
                <a:pos x="145" y="35"/>
              </a:cxn>
              <a:cxn ang="0">
                <a:pos x="172" y="28"/>
              </a:cxn>
              <a:cxn ang="0">
                <a:pos x="194" y="12"/>
              </a:cxn>
            </a:cxnLst>
            <a:rect l="0" t="0" r="r" b="b"/>
            <a:pathLst>
              <a:path w="403" h="351">
                <a:moveTo>
                  <a:pt x="206" y="0"/>
                </a:moveTo>
                <a:lnTo>
                  <a:pt x="208" y="0"/>
                </a:lnTo>
                <a:lnTo>
                  <a:pt x="211" y="3"/>
                </a:lnTo>
                <a:lnTo>
                  <a:pt x="213" y="6"/>
                </a:lnTo>
                <a:lnTo>
                  <a:pt x="216" y="8"/>
                </a:lnTo>
                <a:lnTo>
                  <a:pt x="217" y="8"/>
                </a:lnTo>
                <a:lnTo>
                  <a:pt x="219" y="6"/>
                </a:lnTo>
                <a:lnTo>
                  <a:pt x="219" y="5"/>
                </a:lnTo>
                <a:lnTo>
                  <a:pt x="229" y="5"/>
                </a:lnTo>
                <a:lnTo>
                  <a:pt x="230" y="6"/>
                </a:lnTo>
                <a:lnTo>
                  <a:pt x="230" y="7"/>
                </a:lnTo>
                <a:lnTo>
                  <a:pt x="232" y="10"/>
                </a:lnTo>
                <a:lnTo>
                  <a:pt x="232" y="13"/>
                </a:lnTo>
                <a:lnTo>
                  <a:pt x="235" y="16"/>
                </a:lnTo>
                <a:lnTo>
                  <a:pt x="237" y="17"/>
                </a:lnTo>
                <a:lnTo>
                  <a:pt x="238" y="17"/>
                </a:lnTo>
                <a:lnTo>
                  <a:pt x="238" y="14"/>
                </a:lnTo>
                <a:lnTo>
                  <a:pt x="239" y="13"/>
                </a:lnTo>
                <a:lnTo>
                  <a:pt x="247" y="10"/>
                </a:lnTo>
                <a:lnTo>
                  <a:pt x="249" y="10"/>
                </a:lnTo>
                <a:lnTo>
                  <a:pt x="254" y="12"/>
                </a:lnTo>
                <a:lnTo>
                  <a:pt x="255" y="13"/>
                </a:lnTo>
                <a:lnTo>
                  <a:pt x="261" y="16"/>
                </a:lnTo>
                <a:lnTo>
                  <a:pt x="262" y="16"/>
                </a:lnTo>
                <a:lnTo>
                  <a:pt x="263" y="17"/>
                </a:lnTo>
                <a:lnTo>
                  <a:pt x="263" y="18"/>
                </a:lnTo>
                <a:lnTo>
                  <a:pt x="264" y="18"/>
                </a:lnTo>
                <a:lnTo>
                  <a:pt x="264" y="19"/>
                </a:lnTo>
                <a:lnTo>
                  <a:pt x="262" y="19"/>
                </a:lnTo>
                <a:lnTo>
                  <a:pt x="262" y="22"/>
                </a:lnTo>
                <a:lnTo>
                  <a:pt x="261" y="23"/>
                </a:lnTo>
                <a:lnTo>
                  <a:pt x="261" y="24"/>
                </a:lnTo>
                <a:lnTo>
                  <a:pt x="260" y="26"/>
                </a:lnTo>
                <a:lnTo>
                  <a:pt x="260" y="29"/>
                </a:lnTo>
                <a:lnTo>
                  <a:pt x="263" y="32"/>
                </a:lnTo>
                <a:lnTo>
                  <a:pt x="264" y="35"/>
                </a:lnTo>
                <a:lnTo>
                  <a:pt x="266" y="36"/>
                </a:lnTo>
                <a:lnTo>
                  <a:pt x="267" y="36"/>
                </a:lnTo>
                <a:lnTo>
                  <a:pt x="270" y="31"/>
                </a:lnTo>
                <a:lnTo>
                  <a:pt x="274" y="29"/>
                </a:lnTo>
                <a:lnTo>
                  <a:pt x="275" y="29"/>
                </a:lnTo>
                <a:lnTo>
                  <a:pt x="279" y="30"/>
                </a:lnTo>
                <a:lnTo>
                  <a:pt x="280" y="29"/>
                </a:lnTo>
                <a:lnTo>
                  <a:pt x="282" y="24"/>
                </a:lnTo>
                <a:lnTo>
                  <a:pt x="284" y="24"/>
                </a:lnTo>
                <a:lnTo>
                  <a:pt x="286" y="23"/>
                </a:lnTo>
                <a:lnTo>
                  <a:pt x="287" y="23"/>
                </a:lnTo>
                <a:lnTo>
                  <a:pt x="292" y="25"/>
                </a:lnTo>
                <a:lnTo>
                  <a:pt x="293" y="25"/>
                </a:lnTo>
                <a:lnTo>
                  <a:pt x="295" y="23"/>
                </a:lnTo>
                <a:lnTo>
                  <a:pt x="297" y="23"/>
                </a:lnTo>
                <a:lnTo>
                  <a:pt x="298" y="24"/>
                </a:lnTo>
                <a:lnTo>
                  <a:pt x="299" y="24"/>
                </a:lnTo>
                <a:lnTo>
                  <a:pt x="307" y="28"/>
                </a:lnTo>
                <a:lnTo>
                  <a:pt x="307" y="30"/>
                </a:lnTo>
                <a:lnTo>
                  <a:pt x="312" y="32"/>
                </a:lnTo>
                <a:lnTo>
                  <a:pt x="312" y="36"/>
                </a:lnTo>
                <a:lnTo>
                  <a:pt x="313" y="37"/>
                </a:lnTo>
                <a:lnTo>
                  <a:pt x="317" y="37"/>
                </a:lnTo>
                <a:lnTo>
                  <a:pt x="317" y="38"/>
                </a:lnTo>
                <a:lnTo>
                  <a:pt x="318" y="40"/>
                </a:lnTo>
                <a:lnTo>
                  <a:pt x="319" y="42"/>
                </a:lnTo>
                <a:lnTo>
                  <a:pt x="322" y="42"/>
                </a:lnTo>
                <a:lnTo>
                  <a:pt x="323" y="41"/>
                </a:lnTo>
                <a:lnTo>
                  <a:pt x="325" y="42"/>
                </a:lnTo>
                <a:lnTo>
                  <a:pt x="326" y="43"/>
                </a:lnTo>
                <a:lnTo>
                  <a:pt x="326" y="47"/>
                </a:lnTo>
                <a:lnTo>
                  <a:pt x="325" y="49"/>
                </a:lnTo>
                <a:lnTo>
                  <a:pt x="326" y="50"/>
                </a:lnTo>
                <a:lnTo>
                  <a:pt x="325" y="51"/>
                </a:lnTo>
                <a:lnTo>
                  <a:pt x="325" y="55"/>
                </a:lnTo>
                <a:lnTo>
                  <a:pt x="326" y="56"/>
                </a:lnTo>
                <a:lnTo>
                  <a:pt x="326" y="59"/>
                </a:lnTo>
                <a:lnTo>
                  <a:pt x="323" y="60"/>
                </a:lnTo>
                <a:lnTo>
                  <a:pt x="322" y="62"/>
                </a:lnTo>
                <a:lnTo>
                  <a:pt x="322" y="66"/>
                </a:lnTo>
                <a:lnTo>
                  <a:pt x="323" y="67"/>
                </a:lnTo>
                <a:lnTo>
                  <a:pt x="324" y="67"/>
                </a:lnTo>
                <a:lnTo>
                  <a:pt x="324" y="68"/>
                </a:lnTo>
                <a:lnTo>
                  <a:pt x="325" y="72"/>
                </a:lnTo>
                <a:lnTo>
                  <a:pt x="328" y="74"/>
                </a:lnTo>
                <a:lnTo>
                  <a:pt x="328" y="75"/>
                </a:lnTo>
                <a:lnTo>
                  <a:pt x="329" y="75"/>
                </a:lnTo>
                <a:lnTo>
                  <a:pt x="329" y="80"/>
                </a:lnTo>
                <a:lnTo>
                  <a:pt x="330" y="81"/>
                </a:lnTo>
                <a:lnTo>
                  <a:pt x="330" y="85"/>
                </a:lnTo>
                <a:lnTo>
                  <a:pt x="326" y="85"/>
                </a:lnTo>
                <a:lnTo>
                  <a:pt x="326" y="87"/>
                </a:lnTo>
                <a:lnTo>
                  <a:pt x="328" y="89"/>
                </a:lnTo>
                <a:lnTo>
                  <a:pt x="326" y="90"/>
                </a:lnTo>
                <a:lnTo>
                  <a:pt x="325" y="90"/>
                </a:lnTo>
                <a:lnTo>
                  <a:pt x="323" y="91"/>
                </a:lnTo>
                <a:lnTo>
                  <a:pt x="322" y="92"/>
                </a:lnTo>
                <a:lnTo>
                  <a:pt x="323" y="93"/>
                </a:lnTo>
                <a:lnTo>
                  <a:pt x="323" y="96"/>
                </a:lnTo>
                <a:lnTo>
                  <a:pt x="322" y="97"/>
                </a:lnTo>
                <a:lnTo>
                  <a:pt x="321" y="97"/>
                </a:lnTo>
                <a:lnTo>
                  <a:pt x="321" y="99"/>
                </a:lnTo>
                <a:lnTo>
                  <a:pt x="319" y="100"/>
                </a:lnTo>
                <a:lnTo>
                  <a:pt x="321" y="102"/>
                </a:lnTo>
                <a:lnTo>
                  <a:pt x="321" y="103"/>
                </a:lnTo>
                <a:lnTo>
                  <a:pt x="323" y="103"/>
                </a:lnTo>
                <a:lnTo>
                  <a:pt x="329" y="108"/>
                </a:lnTo>
                <a:lnTo>
                  <a:pt x="330" y="109"/>
                </a:lnTo>
                <a:lnTo>
                  <a:pt x="330" y="110"/>
                </a:lnTo>
                <a:lnTo>
                  <a:pt x="335" y="110"/>
                </a:lnTo>
                <a:lnTo>
                  <a:pt x="335" y="112"/>
                </a:lnTo>
                <a:lnTo>
                  <a:pt x="337" y="114"/>
                </a:lnTo>
                <a:lnTo>
                  <a:pt x="336" y="117"/>
                </a:lnTo>
                <a:lnTo>
                  <a:pt x="334" y="121"/>
                </a:lnTo>
                <a:lnTo>
                  <a:pt x="332" y="123"/>
                </a:lnTo>
                <a:lnTo>
                  <a:pt x="334" y="124"/>
                </a:lnTo>
                <a:lnTo>
                  <a:pt x="337" y="126"/>
                </a:lnTo>
                <a:lnTo>
                  <a:pt x="337" y="127"/>
                </a:lnTo>
                <a:lnTo>
                  <a:pt x="338" y="127"/>
                </a:lnTo>
                <a:lnTo>
                  <a:pt x="340" y="128"/>
                </a:lnTo>
                <a:lnTo>
                  <a:pt x="341" y="132"/>
                </a:lnTo>
                <a:lnTo>
                  <a:pt x="341" y="133"/>
                </a:lnTo>
                <a:lnTo>
                  <a:pt x="342" y="133"/>
                </a:lnTo>
                <a:lnTo>
                  <a:pt x="342" y="140"/>
                </a:lnTo>
                <a:lnTo>
                  <a:pt x="343" y="141"/>
                </a:lnTo>
                <a:lnTo>
                  <a:pt x="343" y="142"/>
                </a:lnTo>
                <a:lnTo>
                  <a:pt x="350" y="148"/>
                </a:lnTo>
                <a:lnTo>
                  <a:pt x="352" y="148"/>
                </a:lnTo>
                <a:lnTo>
                  <a:pt x="353" y="149"/>
                </a:lnTo>
                <a:lnTo>
                  <a:pt x="354" y="149"/>
                </a:lnTo>
                <a:lnTo>
                  <a:pt x="357" y="152"/>
                </a:lnTo>
                <a:lnTo>
                  <a:pt x="361" y="152"/>
                </a:lnTo>
                <a:lnTo>
                  <a:pt x="361" y="153"/>
                </a:lnTo>
                <a:lnTo>
                  <a:pt x="362" y="153"/>
                </a:lnTo>
                <a:lnTo>
                  <a:pt x="362" y="155"/>
                </a:lnTo>
                <a:lnTo>
                  <a:pt x="365" y="155"/>
                </a:lnTo>
                <a:lnTo>
                  <a:pt x="366" y="159"/>
                </a:lnTo>
                <a:lnTo>
                  <a:pt x="366" y="161"/>
                </a:lnTo>
                <a:lnTo>
                  <a:pt x="365" y="161"/>
                </a:lnTo>
                <a:lnTo>
                  <a:pt x="365" y="167"/>
                </a:lnTo>
                <a:lnTo>
                  <a:pt x="362" y="172"/>
                </a:lnTo>
                <a:lnTo>
                  <a:pt x="361" y="173"/>
                </a:lnTo>
                <a:lnTo>
                  <a:pt x="363" y="173"/>
                </a:lnTo>
                <a:lnTo>
                  <a:pt x="367" y="174"/>
                </a:lnTo>
                <a:lnTo>
                  <a:pt x="375" y="172"/>
                </a:lnTo>
                <a:lnTo>
                  <a:pt x="377" y="173"/>
                </a:lnTo>
                <a:lnTo>
                  <a:pt x="379" y="174"/>
                </a:lnTo>
                <a:lnTo>
                  <a:pt x="385" y="176"/>
                </a:lnTo>
                <a:lnTo>
                  <a:pt x="386" y="177"/>
                </a:lnTo>
                <a:lnTo>
                  <a:pt x="387" y="179"/>
                </a:lnTo>
                <a:lnTo>
                  <a:pt x="391" y="179"/>
                </a:lnTo>
                <a:lnTo>
                  <a:pt x="393" y="182"/>
                </a:lnTo>
                <a:lnTo>
                  <a:pt x="393" y="183"/>
                </a:lnTo>
                <a:lnTo>
                  <a:pt x="392" y="183"/>
                </a:lnTo>
                <a:lnTo>
                  <a:pt x="390" y="185"/>
                </a:lnTo>
                <a:lnTo>
                  <a:pt x="388" y="185"/>
                </a:lnTo>
                <a:lnTo>
                  <a:pt x="388" y="186"/>
                </a:lnTo>
                <a:lnTo>
                  <a:pt x="390" y="189"/>
                </a:lnTo>
                <a:lnTo>
                  <a:pt x="390" y="190"/>
                </a:lnTo>
                <a:lnTo>
                  <a:pt x="392" y="192"/>
                </a:lnTo>
                <a:lnTo>
                  <a:pt x="394" y="194"/>
                </a:lnTo>
                <a:lnTo>
                  <a:pt x="396" y="194"/>
                </a:lnTo>
                <a:lnTo>
                  <a:pt x="396" y="195"/>
                </a:lnTo>
                <a:lnTo>
                  <a:pt x="397" y="196"/>
                </a:lnTo>
                <a:lnTo>
                  <a:pt x="397" y="195"/>
                </a:lnTo>
                <a:lnTo>
                  <a:pt x="399" y="195"/>
                </a:lnTo>
                <a:lnTo>
                  <a:pt x="399" y="197"/>
                </a:lnTo>
                <a:lnTo>
                  <a:pt x="402" y="197"/>
                </a:lnTo>
                <a:lnTo>
                  <a:pt x="403" y="198"/>
                </a:lnTo>
                <a:lnTo>
                  <a:pt x="403" y="200"/>
                </a:lnTo>
                <a:lnTo>
                  <a:pt x="402" y="204"/>
                </a:lnTo>
                <a:lnTo>
                  <a:pt x="403" y="207"/>
                </a:lnTo>
                <a:lnTo>
                  <a:pt x="397" y="207"/>
                </a:lnTo>
                <a:lnTo>
                  <a:pt x="397" y="208"/>
                </a:lnTo>
                <a:lnTo>
                  <a:pt x="396" y="209"/>
                </a:lnTo>
                <a:lnTo>
                  <a:pt x="393" y="209"/>
                </a:lnTo>
                <a:lnTo>
                  <a:pt x="392" y="208"/>
                </a:lnTo>
                <a:lnTo>
                  <a:pt x="391" y="209"/>
                </a:lnTo>
                <a:lnTo>
                  <a:pt x="391" y="210"/>
                </a:lnTo>
                <a:lnTo>
                  <a:pt x="392" y="210"/>
                </a:lnTo>
                <a:lnTo>
                  <a:pt x="392" y="212"/>
                </a:lnTo>
                <a:lnTo>
                  <a:pt x="391" y="213"/>
                </a:lnTo>
                <a:lnTo>
                  <a:pt x="390" y="215"/>
                </a:lnTo>
                <a:lnTo>
                  <a:pt x="390" y="216"/>
                </a:lnTo>
                <a:lnTo>
                  <a:pt x="388" y="216"/>
                </a:lnTo>
                <a:lnTo>
                  <a:pt x="384" y="221"/>
                </a:lnTo>
                <a:lnTo>
                  <a:pt x="381" y="221"/>
                </a:lnTo>
                <a:lnTo>
                  <a:pt x="381" y="222"/>
                </a:lnTo>
                <a:lnTo>
                  <a:pt x="380" y="223"/>
                </a:lnTo>
                <a:lnTo>
                  <a:pt x="378" y="223"/>
                </a:lnTo>
                <a:lnTo>
                  <a:pt x="377" y="225"/>
                </a:lnTo>
                <a:lnTo>
                  <a:pt x="375" y="225"/>
                </a:lnTo>
                <a:lnTo>
                  <a:pt x="373" y="222"/>
                </a:lnTo>
                <a:lnTo>
                  <a:pt x="372" y="223"/>
                </a:lnTo>
                <a:lnTo>
                  <a:pt x="368" y="223"/>
                </a:lnTo>
                <a:lnTo>
                  <a:pt x="366" y="222"/>
                </a:lnTo>
                <a:lnTo>
                  <a:pt x="363" y="222"/>
                </a:lnTo>
                <a:lnTo>
                  <a:pt x="362" y="221"/>
                </a:lnTo>
                <a:lnTo>
                  <a:pt x="362" y="216"/>
                </a:lnTo>
                <a:lnTo>
                  <a:pt x="359" y="216"/>
                </a:lnTo>
                <a:lnTo>
                  <a:pt x="356" y="215"/>
                </a:lnTo>
                <a:lnTo>
                  <a:pt x="354" y="215"/>
                </a:lnTo>
                <a:lnTo>
                  <a:pt x="353" y="216"/>
                </a:lnTo>
                <a:lnTo>
                  <a:pt x="348" y="216"/>
                </a:lnTo>
                <a:lnTo>
                  <a:pt x="346" y="217"/>
                </a:lnTo>
                <a:lnTo>
                  <a:pt x="346" y="223"/>
                </a:lnTo>
                <a:lnTo>
                  <a:pt x="344" y="225"/>
                </a:lnTo>
                <a:lnTo>
                  <a:pt x="343" y="225"/>
                </a:lnTo>
                <a:lnTo>
                  <a:pt x="341" y="228"/>
                </a:lnTo>
                <a:lnTo>
                  <a:pt x="343" y="232"/>
                </a:lnTo>
                <a:lnTo>
                  <a:pt x="344" y="233"/>
                </a:lnTo>
                <a:lnTo>
                  <a:pt x="346" y="237"/>
                </a:lnTo>
                <a:lnTo>
                  <a:pt x="349" y="240"/>
                </a:lnTo>
                <a:lnTo>
                  <a:pt x="352" y="240"/>
                </a:lnTo>
                <a:lnTo>
                  <a:pt x="352" y="243"/>
                </a:lnTo>
                <a:lnTo>
                  <a:pt x="354" y="245"/>
                </a:lnTo>
                <a:lnTo>
                  <a:pt x="354" y="249"/>
                </a:lnTo>
                <a:lnTo>
                  <a:pt x="353" y="251"/>
                </a:lnTo>
                <a:lnTo>
                  <a:pt x="350" y="252"/>
                </a:lnTo>
                <a:lnTo>
                  <a:pt x="350" y="253"/>
                </a:lnTo>
                <a:lnTo>
                  <a:pt x="353" y="256"/>
                </a:lnTo>
                <a:lnTo>
                  <a:pt x="354" y="258"/>
                </a:lnTo>
                <a:lnTo>
                  <a:pt x="354" y="259"/>
                </a:lnTo>
                <a:lnTo>
                  <a:pt x="356" y="260"/>
                </a:lnTo>
                <a:lnTo>
                  <a:pt x="356" y="262"/>
                </a:lnTo>
                <a:lnTo>
                  <a:pt x="354" y="262"/>
                </a:lnTo>
                <a:lnTo>
                  <a:pt x="354" y="263"/>
                </a:lnTo>
                <a:lnTo>
                  <a:pt x="353" y="264"/>
                </a:lnTo>
                <a:lnTo>
                  <a:pt x="355" y="266"/>
                </a:lnTo>
                <a:lnTo>
                  <a:pt x="355" y="268"/>
                </a:lnTo>
                <a:lnTo>
                  <a:pt x="354" y="270"/>
                </a:lnTo>
                <a:lnTo>
                  <a:pt x="354" y="271"/>
                </a:lnTo>
                <a:lnTo>
                  <a:pt x="355" y="272"/>
                </a:lnTo>
                <a:lnTo>
                  <a:pt x="355" y="276"/>
                </a:lnTo>
                <a:lnTo>
                  <a:pt x="354" y="277"/>
                </a:lnTo>
                <a:lnTo>
                  <a:pt x="355" y="280"/>
                </a:lnTo>
                <a:lnTo>
                  <a:pt x="356" y="281"/>
                </a:lnTo>
                <a:lnTo>
                  <a:pt x="357" y="281"/>
                </a:lnTo>
                <a:lnTo>
                  <a:pt x="359" y="282"/>
                </a:lnTo>
                <a:lnTo>
                  <a:pt x="359" y="286"/>
                </a:lnTo>
                <a:lnTo>
                  <a:pt x="362" y="289"/>
                </a:lnTo>
                <a:lnTo>
                  <a:pt x="362" y="293"/>
                </a:lnTo>
                <a:lnTo>
                  <a:pt x="357" y="293"/>
                </a:lnTo>
                <a:lnTo>
                  <a:pt x="350" y="292"/>
                </a:lnTo>
                <a:lnTo>
                  <a:pt x="346" y="292"/>
                </a:lnTo>
                <a:lnTo>
                  <a:pt x="343" y="293"/>
                </a:lnTo>
                <a:lnTo>
                  <a:pt x="341" y="295"/>
                </a:lnTo>
                <a:lnTo>
                  <a:pt x="341" y="296"/>
                </a:lnTo>
                <a:lnTo>
                  <a:pt x="338" y="296"/>
                </a:lnTo>
                <a:lnTo>
                  <a:pt x="336" y="294"/>
                </a:lnTo>
                <a:lnTo>
                  <a:pt x="328" y="294"/>
                </a:lnTo>
                <a:lnTo>
                  <a:pt x="326" y="295"/>
                </a:lnTo>
                <a:lnTo>
                  <a:pt x="326" y="298"/>
                </a:lnTo>
                <a:lnTo>
                  <a:pt x="328" y="298"/>
                </a:lnTo>
                <a:lnTo>
                  <a:pt x="328" y="300"/>
                </a:lnTo>
                <a:lnTo>
                  <a:pt x="326" y="300"/>
                </a:lnTo>
                <a:lnTo>
                  <a:pt x="326" y="299"/>
                </a:lnTo>
                <a:lnTo>
                  <a:pt x="325" y="299"/>
                </a:lnTo>
                <a:lnTo>
                  <a:pt x="325" y="301"/>
                </a:lnTo>
                <a:lnTo>
                  <a:pt x="324" y="301"/>
                </a:lnTo>
                <a:lnTo>
                  <a:pt x="324" y="302"/>
                </a:lnTo>
                <a:lnTo>
                  <a:pt x="323" y="302"/>
                </a:lnTo>
                <a:lnTo>
                  <a:pt x="322" y="303"/>
                </a:lnTo>
                <a:lnTo>
                  <a:pt x="322" y="306"/>
                </a:lnTo>
                <a:lnTo>
                  <a:pt x="319" y="306"/>
                </a:lnTo>
                <a:lnTo>
                  <a:pt x="319" y="307"/>
                </a:lnTo>
                <a:lnTo>
                  <a:pt x="318" y="308"/>
                </a:lnTo>
                <a:lnTo>
                  <a:pt x="317" y="308"/>
                </a:lnTo>
                <a:lnTo>
                  <a:pt x="317" y="309"/>
                </a:lnTo>
                <a:lnTo>
                  <a:pt x="316" y="311"/>
                </a:lnTo>
                <a:lnTo>
                  <a:pt x="316" y="314"/>
                </a:lnTo>
                <a:lnTo>
                  <a:pt x="315" y="314"/>
                </a:lnTo>
                <a:lnTo>
                  <a:pt x="313" y="315"/>
                </a:lnTo>
                <a:lnTo>
                  <a:pt x="315" y="315"/>
                </a:lnTo>
                <a:lnTo>
                  <a:pt x="315" y="319"/>
                </a:lnTo>
                <a:lnTo>
                  <a:pt x="312" y="319"/>
                </a:lnTo>
                <a:lnTo>
                  <a:pt x="312" y="320"/>
                </a:lnTo>
                <a:lnTo>
                  <a:pt x="311" y="321"/>
                </a:lnTo>
                <a:lnTo>
                  <a:pt x="312" y="323"/>
                </a:lnTo>
                <a:lnTo>
                  <a:pt x="311" y="323"/>
                </a:lnTo>
                <a:lnTo>
                  <a:pt x="311" y="325"/>
                </a:lnTo>
                <a:lnTo>
                  <a:pt x="310" y="326"/>
                </a:lnTo>
                <a:lnTo>
                  <a:pt x="310" y="327"/>
                </a:lnTo>
                <a:lnTo>
                  <a:pt x="311" y="327"/>
                </a:lnTo>
                <a:lnTo>
                  <a:pt x="311" y="329"/>
                </a:lnTo>
                <a:lnTo>
                  <a:pt x="310" y="329"/>
                </a:lnTo>
                <a:lnTo>
                  <a:pt x="310" y="330"/>
                </a:lnTo>
                <a:lnTo>
                  <a:pt x="312" y="330"/>
                </a:lnTo>
                <a:lnTo>
                  <a:pt x="312" y="331"/>
                </a:lnTo>
                <a:lnTo>
                  <a:pt x="311" y="332"/>
                </a:lnTo>
                <a:lnTo>
                  <a:pt x="312" y="332"/>
                </a:lnTo>
                <a:lnTo>
                  <a:pt x="312" y="335"/>
                </a:lnTo>
                <a:lnTo>
                  <a:pt x="313" y="335"/>
                </a:lnTo>
                <a:lnTo>
                  <a:pt x="313" y="336"/>
                </a:lnTo>
                <a:lnTo>
                  <a:pt x="312" y="336"/>
                </a:lnTo>
                <a:lnTo>
                  <a:pt x="312" y="338"/>
                </a:lnTo>
                <a:lnTo>
                  <a:pt x="313" y="338"/>
                </a:lnTo>
                <a:lnTo>
                  <a:pt x="313" y="339"/>
                </a:lnTo>
                <a:lnTo>
                  <a:pt x="315" y="341"/>
                </a:lnTo>
                <a:lnTo>
                  <a:pt x="315" y="344"/>
                </a:lnTo>
                <a:lnTo>
                  <a:pt x="312" y="346"/>
                </a:lnTo>
                <a:lnTo>
                  <a:pt x="312" y="348"/>
                </a:lnTo>
                <a:lnTo>
                  <a:pt x="311" y="349"/>
                </a:lnTo>
                <a:lnTo>
                  <a:pt x="311" y="351"/>
                </a:lnTo>
                <a:lnTo>
                  <a:pt x="310" y="350"/>
                </a:lnTo>
                <a:lnTo>
                  <a:pt x="309" y="350"/>
                </a:lnTo>
                <a:lnTo>
                  <a:pt x="309" y="349"/>
                </a:lnTo>
                <a:lnTo>
                  <a:pt x="307" y="349"/>
                </a:lnTo>
                <a:lnTo>
                  <a:pt x="306" y="348"/>
                </a:lnTo>
                <a:lnTo>
                  <a:pt x="304" y="348"/>
                </a:lnTo>
                <a:lnTo>
                  <a:pt x="303" y="346"/>
                </a:lnTo>
                <a:lnTo>
                  <a:pt x="301" y="344"/>
                </a:lnTo>
                <a:lnTo>
                  <a:pt x="301" y="339"/>
                </a:lnTo>
                <a:lnTo>
                  <a:pt x="300" y="339"/>
                </a:lnTo>
                <a:lnTo>
                  <a:pt x="299" y="338"/>
                </a:lnTo>
                <a:lnTo>
                  <a:pt x="298" y="338"/>
                </a:lnTo>
                <a:lnTo>
                  <a:pt x="297" y="336"/>
                </a:lnTo>
                <a:lnTo>
                  <a:pt x="295" y="335"/>
                </a:lnTo>
                <a:lnTo>
                  <a:pt x="287" y="335"/>
                </a:lnTo>
                <a:lnTo>
                  <a:pt x="285" y="336"/>
                </a:lnTo>
                <a:lnTo>
                  <a:pt x="282" y="336"/>
                </a:lnTo>
                <a:lnTo>
                  <a:pt x="281" y="337"/>
                </a:lnTo>
                <a:lnTo>
                  <a:pt x="281" y="338"/>
                </a:lnTo>
                <a:lnTo>
                  <a:pt x="280" y="338"/>
                </a:lnTo>
                <a:lnTo>
                  <a:pt x="276" y="337"/>
                </a:lnTo>
                <a:lnTo>
                  <a:pt x="275" y="336"/>
                </a:lnTo>
                <a:lnTo>
                  <a:pt x="275" y="335"/>
                </a:lnTo>
                <a:lnTo>
                  <a:pt x="274" y="333"/>
                </a:lnTo>
                <a:lnTo>
                  <a:pt x="273" y="333"/>
                </a:lnTo>
                <a:lnTo>
                  <a:pt x="272" y="335"/>
                </a:lnTo>
                <a:lnTo>
                  <a:pt x="270" y="335"/>
                </a:lnTo>
                <a:lnTo>
                  <a:pt x="270" y="336"/>
                </a:lnTo>
                <a:lnTo>
                  <a:pt x="269" y="337"/>
                </a:lnTo>
                <a:lnTo>
                  <a:pt x="267" y="337"/>
                </a:lnTo>
                <a:lnTo>
                  <a:pt x="267" y="338"/>
                </a:lnTo>
                <a:lnTo>
                  <a:pt x="266" y="339"/>
                </a:lnTo>
                <a:lnTo>
                  <a:pt x="266" y="341"/>
                </a:lnTo>
                <a:lnTo>
                  <a:pt x="261" y="341"/>
                </a:lnTo>
                <a:lnTo>
                  <a:pt x="261" y="342"/>
                </a:lnTo>
                <a:lnTo>
                  <a:pt x="259" y="342"/>
                </a:lnTo>
                <a:lnTo>
                  <a:pt x="257" y="341"/>
                </a:lnTo>
                <a:lnTo>
                  <a:pt x="257" y="339"/>
                </a:lnTo>
                <a:lnTo>
                  <a:pt x="256" y="338"/>
                </a:lnTo>
                <a:lnTo>
                  <a:pt x="256" y="337"/>
                </a:lnTo>
                <a:lnTo>
                  <a:pt x="255" y="336"/>
                </a:lnTo>
                <a:lnTo>
                  <a:pt x="255" y="331"/>
                </a:lnTo>
                <a:lnTo>
                  <a:pt x="253" y="329"/>
                </a:lnTo>
                <a:lnTo>
                  <a:pt x="253" y="326"/>
                </a:lnTo>
                <a:lnTo>
                  <a:pt x="251" y="325"/>
                </a:lnTo>
                <a:lnTo>
                  <a:pt x="250" y="325"/>
                </a:lnTo>
                <a:lnTo>
                  <a:pt x="249" y="324"/>
                </a:lnTo>
                <a:lnTo>
                  <a:pt x="248" y="324"/>
                </a:lnTo>
                <a:lnTo>
                  <a:pt x="248" y="325"/>
                </a:lnTo>
                <a:lnTo>
                  <a:pt x="247" y="325"/>
                </a:lnTo>
                <a:lnTo>
                  <a:pt x="245" y="327"/>
                </a:lnTo>
                <a:lnTo>
                  <a:pt x="244" y="329"/>
                </a:lnTo>
                <a:lnTo>
                  <a:pt x="241" y="329"/>
                </a:lnTo>
                <a:lnTo>
                  <a:pt x="239" y="330"/>
                </a:lnTo>
                <a:lnTo>
                  <a:pt x="238" y="330"/>
                </a:lnTo>
                <a:lnTo>
                  <a:pt x="236" y="332"/>
                </a:lnTo>
                <a:lnTo>
                  <a:pt x="235" y="335"/>
                </a:lnTo>
                <a:lnTo>
                  <a:pt x="235" y="339"/>
                </a:lnTo>
                <a:lnTo>
                  <a:pt x="234" y="339"/>
                </a:lnTo>
                <a:lnTo>
                  <a:pt x="234" y="337"/>
                </a:lnTo>
                <a:lnTo>
                  <a:pt x="232" y="337"/>
                </a:lnTo>
                <a:lnTo>
                  <a:pt x="231" y="338"/>
                </a:lnTo>
                <a:lnTo>
                  <a:pt x="231" y="337"/>
                </a:lnTo>
                <a:lnTo>
                  <a:pt x="230" y="337"/>
                </a:lnTo>
                <a:lnTo>
                  <a:pt x="230" y="336"/>
                </a:lnTo>
                <a:lnTo>
                  <a:pt x="229" y="332"/>
                </a:lnTo>
                <a:lnTo>
                  <a:pt x="229" y="330"/>
                </a:lnTo>
                <a:lnTo>
                  <a:pt x="228" y="329"/>
                </a:lnTo>
                <a:lnTo>
                  <a:pt x="222" y="329"/>
                </a:lnTo>
                <a:lnTo>
                  <a:pt x="219" y="330"/>
                </a:lnTo>
                <a:lnTo>
                  <a:pt x="218" y="331"/>
                </a:lnTo>
                <a:lnTo>
                  <a:pt x="217" y="331"/>
                </a:lnTo>
                <a:lnTo>
                  <a:pt x="217" y="329"/>
                </a:lnTo>
                <a:lnTo>
                  <a:pt x="216" y="327"/>
                </a:lnTo>
                <a:lnTo>
                  <a:pt x="214" y="327"/>
                </a:lnTo>
                <a:lnTo>
                  <a:pt x="214" y="326"/>
                </a:lnTo>
                <a:lnTo>
                  <a:pt x="213" y="325"/>
                </a:lnTo>
                <a:lnTo>
                  <a:pt x="213" y="323"/>
                </a:lnTo>
                <a:lnTo>
                  <a:pt x="212" y="323"/>
                </a:lnTo>
                <a:lnTo>
                  <a:pt x="210" y="325"/>
                </a:lnTo>
                <a:lnTo>
                  <a:pt x="208" y="329"/>
                </a:lnTo>
                <a:lnTo>
                  <a:pt x="207" y="329"/>
                </a:lnTo>
                <a:lnTo>
                  <a:pt x="206" y="330"/>
                </a:lnTo>
                <a:lnTo>
                  <a:pt x="203" y="330"/>
                </a:lnTo>
                <a:lnTo>
                  <a:pt x="201" y="329"/>
                </a:lnTo>
                <a:lnTo>
                  <a:pt x="200" y="329"/>
                </a:lnTo>
                <a:lnTo>
                  <a:pt x="197" y="325"/>
                </a:lnTo>
                <a:lnTo>
                  <a:pt x="195" y="326"/>
                </a:lnTo>
                <a:lnTo>
                  <a:pt x="195" y="327"/>
                </a:lnTo>
                <a:lnTo>
                  <a:pt x="194" y="329"/>
                </a:lnTo>
                <a:lnTo>
                  <a:pt x="194" y="332"/>
                </a:lnTo>
                <a:lnTo>
                  <a:pt x="192" y="335"/>
                </a:lnTo>
                <a:lnTo>
                  <a:pt x="192" y="336"/>
                </a:lnTo>
                <a:lnTo>
                  <a:pt x="191" y="336"/>
                </a:lnTo>
                <a:lnTo>
                  <a:pt x="189" y="335"/>
                </a:lnTo>
                <a:lnTo>
                  <a:pt x="189" y="333"/>
                </a:lnTo>
                <a:lnTo>
                  <a:pt x="191" y="330"/>
                </a:lnTo>
                <a:lnTo>
                  <a:pt x="191" y="327"/>
                </a:lnTo>
                <a:lnTo>
                  <a:pt x="189" y="326"/>
                </a:lnTo>
                <a:lnTo>
                  <a:pt x="187" y="326"/>
                </a:lnTo>
                <a:lnTo>
                  <a:pt x="182" y="325"/>
                </a:lnTo>
                <a:lnTo>
                  <a:pt x="180" y="325"/>
                </a:lnTo>
                <a:lnTo>
                  <a:pt x="179" y="326"/>
                </a:lnTo>
                <a:lnTo>
                  <a:pt x="179" y="327"/>
                </a:lnTo>
                <a:lnTo>
                  <a:pt x="177" y="327"/>
                </a:lnTo>
                <a:lnTo>
                  <a:pt x="175" y="326"/>
                </a:lnTo>
                <a:lnTo>
                  <a:pt x="173" y="327"/>
                </a:lnTo>
                <a:lnTo>
                  <a:pt x="172" y="326"/>
                </a:lnTo>
                <a:lnTo>
                  <a:pt x="172" y="325"/>
                </a:lnTo>
                <a:lnTo>
                  <a:pt x="173" y="324"/>
                </a:lnTo>
                <a:lnTo>
                  <a:pt x="173" y="323"/>
                </a:lnTo>
                <a:lnTo>
                  <a:pt x="169" y="323"/>
                </a:lnTo>
                <a:lnTo>
                  <a:pt x="169" y="317"/>
                </a:lnTo>
                <a:lnTo>
                  <a:pt x="168" y="315"/>
                </a:lnTo>
                <a:lnTo>
                  <a:pt x="162" y="315"/>
                </a:lnTo>
                <a:lnTo>
                  <a:pt x="157" y="317"/>
                </a:lnTo>
                <a:lnTo>
                  <a:pt x="155" y="317"/>
                </a:lnTo>
                <a:lnTo>
                  <a:pt x="146" y="313"/>
                </a:lnTo>
                <a:lnTo>
                  <a:pt x="138" y="312"/>
                </a:lnTo>
                <a:lnTo>
                  <a:pt x="137" y="312"/>
                </a:lnTo>
                <a:lnTo>
                  <a:pt x="137" y="309"/>
                </a:lnTo>
                <a:lnTo>
                  <a:pt x="126" y="309"/>
                </a:lnTo>
                <a:lnTo>
                  <a:pt x="123" y="306"/>
                </a:lnTo>
                <a:lnTo>
                  <a:pt x="118" y="306"/>
                </a:lnTo>
                <a:lnTo>
                  <a:pt x="110" y="303"/>
                </a:lnTo>
                <a:lnTo>
                  <a:pt x="106" y="305"/>
                </a:lnTo>
                <a:lnTo>
                  <a:pt x="92" y="305"/>
                </a:lnTo>
                <a:lnTo>
                  <a:pt x="85" y="302"/>
                </a:lnTo>
                <a:lnTo>
                  <a:pt x="82" y="302"/>
                </a:lnTo>
                <a:lnTo>
                  <a:pt x="81" y="303"/>
                </a:lnTo>
                <a:lnTo>
                  <a:pt x="77" y="305"/>
                </a:lnTo>
                <a:lnTo>
                  <a:pt x="65" y="307"/>
                </a:lnTo>
                <a:lnTo>
                  <a:pt x="50" y="307"/>
                </a:lnTo>
                <a:lnTo>
                  <a:pt x="49" y="308"/>
                </a:lnTo>
                <a:lnTo>
                  <a:pt x="48" y="311"/>
                </a:lnTo>
                <a:lnTo>
                  <a:pt x="48" y="312"/>
                </a:lnTo>
                <a:lnTo>
                  <a:pt x="46" y="317"/>
                </a:lnTo>
                <a:lnTo>
                  <a:pt x="45" y="318"/>
                </a:lnTo>
                <a:lnTo>
                  <a:pt x="40" y="321"/>
                </a:lnTo>
                <a:lnTo>
                  <a:pt x="33" y="327"/>
                </a:lnTo>
                <a:lnTo>
                  <a:pt x="32" y="327"/>
                </a:lnTo>
                <a:lnTo>
                  <a:pt x="29" y="324"/>
                </a:lnTo>
                <a:lnTo>
                  <a:pt x="23" y="324"/>
                </a:lnTo>
                <a:lnTo>
                  <a:pt x="19" y="325"/>
                </a:lnTo>
                <a:lnTo>
                  <a:pt x="18" y="325"/>
                </a:lnTo>
                <a:lnTo>
                  <a:pt x="18" y="327"/>
                </a:lnTo>
                <a:lnTo>
                  <a:pt x="19" y="331"/>
                </a:lnTo>
                <a:lnTo>
                  <a:pt x="19" y="332"/>
                </a:lnTo>
                <a:lnTo>
                  <a:pt x="18" y="332"/>
                </a:lnTo>
                <a:lnTo>
                  <a:pt x="18" y="331"/>
                </a:lnTo>
                <a:lnTo>
                  <a:pt x="17" y="331"/>
                </a:lnTo>
                <a:lnTo>
                  <a:pt x="15" y="330"/>
                </a:lnTo>
                <a:lnTo>
                  <a:pt x="17" y="330"/>
                </a:lnTo>
                <a:lnTo>
                  <a:pt x="15" y="327"/>
                </a:lnTo>
                <a:lnTo>
                  <a:pt x="15" y="324"/>
                </a:lnTo>
                <a:lnTo>
                  <a:pt x="14" y="323"/>
                </a:lnTo>
                <a:lnTo>
                  <a:pt x="15" y="323"/>
                </a:lnTo>
                <a:lnTo>
                  <a:pt x="15" y="315"/>
                </a:lnTo>
                <a:lnTo>
                  <a:pt x="17" y="315"/>
                </a:lnTo>
                <a:lnTo>
                  <a:pt x="18" y="314"/>
                </a:lnTo>
                <a:lnTo>
                  <a:pt x="19" y="314"/>
                </a:lnTo>
                <a:lnTo>
                  <a:pt x="19" y="312"/>
                </a:lnTo>
                <a:lnTo>
                  <a:pt x="18" y="311"/>
                </a:lnTo>
                <a:lnTo>
                  <a:pt x="18" y="308"/>
                </a:lnTo>
                <a:lnTo>
                  <a:pt x="19" y="307"/>
                </a:lnTo>
                <a:lnTo>
                  <a:pt x="18" y="307"/>
                </a:lnTo>
                <a:lnTo>
                  <a:pt x="19" y="306"/>
                </a:lnTo>
                <a:lnTo>
                  <a:pt x="19" y="302"/>
                </a:lnTo>
                <a:lnTo>
                  <a:pt x="20" y="301"/>
                </a:lnTo>
                <a:lnTo>
                  <a:pt x="20" y="300"/>
                </a:lnTo>
                <a:lnTo>
                  <a:pt x="21" y="300"/>
                </a:lnTo>
                <a:lnTo>
                  <a:pt x="20" y="299"/>
                </a:lnTo>
                <a:lnTo>
                  <a:pt x="20" y="296"/>
                </a:lnTo>
                <a:lnTo>
                  <a:pt x="19" y="295"/>
                </a:lnTo>
                <a:lnTo>
                  <a:pt x="19" y="293"/>
                </a:lnTo>
                <a:lnTo>
                  <a:pt x="18" y="293"/>
                </a:lnTo>
                <a:lnTo>
                  <a:pt x="18" y="292"/>
                </a:lnTo>
                <a:lnTo>
                  <a:pt x="17" y="290"/>
                </a:lnTo>
                <a:lnTo>
                  <a:pt x="14" y="290"/>
                </a:lnTo>
                <a:lnTo>
                  <a:pt x="13" y="288"/>
                </a:lnTo>
                <a:lnTo>
                  <a:pt x="13" y="287"/>
                </a:lnTo>
                <a:lnTo>
                  <a:pt x="8" y="287"/>
                </a:lnTo>
                <a:lnTo>
                  <a:pt x="9" y="286"/>
                </a:lnTo>
                <a:lnTo>
                  <a:pt x="8" y="286"/>
                </a:lnTo>
                <a:lnTo>
                  <a:pt x="6" y="284"/>
                </a:lnTo>
                <a:lnTo>
                  <a:pt x="5" y="283"/>
                </a:lnTo>
                <a:lnTo>
                  <a:pt x="5" y="284"/>
                </a:lnTo>
                <a:lnTo>
                  <a:pt x="1" y="283"/>
                </a:lnTo>
                <a:lnTo>
                  <a:pt x="0" y="283"/>
                </a:lnTo>
                <a:lnTo>
                  <a:pt x="1" y="281"/>
                </a:lnTo>
                <a:lnTo>
                  <a:pt x="0" y="280"/>
                </a:lnTo>
                <a:lnTo>
                  <a:pt x="1" y="275"/>
                </a:lnTo>
                <a:lnTo>
                  <a:pt x="3" y="272"/>
                </a:lnTo>
                <a:lnTo>
                  <a:pt x="9" y="264"/>
                </a:lnTo>
                <a:lnTo>
                  <a:pt x="13" y="260"/>
                </a:lnTo>
                <a:lnTo>
                  <a:pt x="24" y="257"/>
                </a:lnTo>
                <a:lnTo>
                  <a:pt x="29" y="253"/>
                </a:lnTo>
                <a:lnTo>
                  <a:pt x="31" y="251"/>
                </a:lnTo>
                <a:lnTo>
                  <a:pt x="31" y="229"/>
                </a:lnTo>
                <a:lnTo>
                  <a:pt x="30" y="228"/>
                </a:lnTo>
                <a:lnTo>
                  <a:pt x="29" y="226"/>
                </a:lnTo>
                <a:lnTo>
                  <a:pt x="29" y="222"/>
                </a:lnTo>
                <a:lnTo>
                  <a:pt x="30" y="222"/>
                </a:lnTo>
                <a:lnTo>
                  <a:pt x="30" y="219"/>
                </a:lnTo>
                <a:lnTo>
                  <a:pt x="27" y="216"/>
                </a:lnTo>
                <a:lnTo>
                  <a:pt x="27" y="214"/>
                </a:lnTo>
                <a:lnTo>
                  <a:pt x="26" y="213"/>
                </a:lnTo>
                <a:lnTo>
                  <a:pt x="25" y="210"/>
                </a:lnTo>
                <a:lnTo>
                  <a:pt x="24" y="204"/>
                </a:lnTo>
                <a:lnTo>
                  <a:pt x="23" y="202"/>
                </a:lnTo>
                <a:lnTo>
                  <a:pt x="21" y="197"/>
                </a:lnTo>
                <a:lnTo>
                  <a:pt x="18" y="186"/>
                </a:lnTo>
                <a:lnTo>
                  <a:pt x="17" y="182"/>
                </a:lnTo>
                <a:lnTo>
                  <a:pt x="17" y="177"/>
                </a:lnTo>
                <a:lnTo>
                  <a:pt x="14" y="174"/>
                </a:lnTo>
                <a:lnTo>
                  <a:pt x="14" y="169"/>
                </a:lnTo>
                <a:lnTo>
                  <a:pt x="13" y="167"/>
                </a:lnTo>
                <a:lnTo>
                  <a:pt x="13" y="164"/>
                </a:lnTo>
                <a:lnTo>
                  <a:pt x="14" y="164"/>
                </a:lnTo>
                <a:lnTo>
                  <a:pt x="18" y="166"/>
                </a:lnTo>
                <a:lnTo>
                  <a:pt x="19" y="166"/>
                </a:lnTo>
                <a:lnTo>
                  <a:pt x="21" y="165"/>
                </a:lnTo>
                <a:lnTo>
                  <a:pt x="24" y="165"/>
                </a:lnTo>
                <a:lnTo>
                  <a:pt x="25" y="164"/>
                </a:lnTo>
                <a:lnTo>
                  <a:pt x="26" y="164"/>
                </a:lnTo>
                <a:lnTo>
                  <a:pt x="26" y="165"/>
                </a:lnTo>
                <a:lnTo>
                  <a:pt x="27" y="165"/>
                </a:lnTo>
                <a:lnTo>
                  <a:pt x="31" y="163"/>
                </a:lnTo>
                <a:lnTo>
                  <a:pt x="32" y="163"/>
                </a:lnTo>
                <a:lnTo>
                  <a:pt x="33" y="164"/>
                </a:lnTo>
                <a:lnTo>
                  <a:pt x="38" y="164"/>
                </a:lnTo>
                <a:lnTo>
                  <a:pt x="40" y="163"/>
                </a:lnTo>
                <a:lnTo>
                  <a:pt x="42" y="161"/>
                </a:lnTo>
                <a:lnTo>
                  <a:pt x="44" y="164"/>
                </a:lnTo>
                <a:lnTo>
                  <a:pt x="45" y="166"/>
                </a:lnTo>
                <a:lnTo>
                  <a:pt x="48" y="166"/>
                </a:lnTo>
                <a:lnTo>
                  <a:pt x="49" y="167"/>
                </a:lnTo>
                <a:lnTo>
                  <a:pt x="50" y="167"/>
                </a:lnTo>
                <a:lnTo>
                  <a:pt x="52" y="166"/>
                </a:lnTo>
                <a:lnTo>
                  <a:pt x="57" y="161"/>
                </a:lnTo>
                <a:lnTo>
                  <a:pt x="59" y="160"/>
                </a:lnTo>
                <a:lnTo>
                  <a:pt x="62" y="160"/>
                </a:lnTo>
                <a:lnTo>
                  <a:pt x="63" y="159"/>
                </a:lnTo>
                <a:lnTo>
                  <a:pt x="64" y="161"/>
                </a:lnTo>
                <a:lnTo>
                  <a:pt x="68" y="161"/>
                </a:lnTo>
                <a:lnTo>
                  <a:pt x="69" y="160"/>
                </a:lnTo>
                <a:lnTo>
                  <a:pt x="69" y="157"/>
                </a:lnTo>
                <a:lnTo>
                  <a:pt x="68" y="155"/>
                </a:lnTo>
                <a:lnTo>
                  <a:pt x="68" y="152"/>
                </a:lnTo>
                <a:lnTo>
                  <a:pt x="69" y="151"/>
                </a:lnTo>
                <a:lnTo>
                  <a:pt x="69" y="149"/>
                </a:lnTo>
                <a:lnTo>
                  <a:pt x="70" y="148"/>
                </a:lnTo>
                <a:lnTo>
                  <a:pt x="75" y="148"/>
                </a:lnTo>
                <a:lnTo>
                  <a:pt x="77" y="149"/>
                </a:lnTo>
                <a:lnTo>
                  <a:pt x="80" y="149"/>
                </a:lnTo>
                <a:lnTo>
                  <a:pt x="82" y="148"/>
                </a:lnTo>
                <a:lnTo>
                  <a:pt x="83" y="146"/>
                </a:lnTo>
                <a:lnTo>
                  <a:pt x="85" y="145"/>
                </a:lnTo>
                <a:lnTo>
                  <a:pt x="85" y="141"/>
                </a:lnTo>
                <a:lnTo>
                  <a:pt x="86" y="140"/>
                </a:lnTo>
                <a:lnTo>
                  <a:pt x="89" y="141"/>
                </a:lnTo>
                <a:lnTo>
                  <a:pt x="93" y="141"/>
                </a:lnTo>
                <a:lnTo>
                  <a:pt x="93" y="140"/>
                </a:lnTo>
                <a:lnTo>
                  <a:pt x="95" y="137"/>
                </a:lnTo>
                <a:lnTo>
                  <a:pt x="96" y="137"/>
                </a:lnTo>
                <a:lnTo>
                  <a:pt x="98" y="139"/>
                </a:lnTo>
                <a:lnTo>
                  <a:pt x="100" y="142"/>
                </a:lnTo>
                <a:lnTo>
                  <a:pt x="99" y="142"/>
                </a:lnTo>
                <a:lnTo>
                  <a:pt x="98" y="143"/>
                </a:lnTo>
                <a:lnTo>
                  <a:pt x="99" y="145"/>
                </a:lnTo>
                <a:lnTo>
                  <a:pt x="99" y="146"/>
                </a:lnTo>
                <a:lnTo>
                  <a:pt x="98" y="146"/>
                </a:lnTo>
                <a:lnTo>
                  <a:pt x="98" y="147"/>
                </a:lnTo>
                <a:lnTo>
                  <a:pt x="100" y="149"/>
                </a:lnTo>
                <a:lnTo>
                  <a:pt x="105" y="149"/>
                </a:lnTo>
                <a:lnTo>
                  <a:pt x="106" y="148"/>
                </a:lnTo>
                <a:lnTo>
                  <a:pt x="108" y="148"/>
                </a:lnTo>
                <a:lnTo>
                  <a:pt x="110" y="147"/>
                </a:lnTo>
                <a:lnTo>
                  <a:pt x="110" y="140"/>
                </a:lnTo>
                <a:lnTo>
                  <a:pt x="108" y="140"/>
                </a:lnTo>
                <a:lnTo>
                  <a:pt x="108" y="139"/>
                </a:lnTo>
                <a:lnTo>
                  <a:pt x="107" y="139"/>
                </a:lnTo>
                <a:lnTo>
                  <a:pt x="106" y="137"/>
                </a:lnTo>
                <a:lnTo>
                  <a:pt x="106" y="135"/>
                </a:lnTo>
                <a:lnTo>
                  <a:pt x="105" y="135"/>
                </a:lnTo>
                <a:lnTo>
                  <a:pt x="102" y="137"/>
                </a:lnTo>
                <a:lnTo>
                  <a:pt x="100" y="137"/>
                </a:lnTo>
                <a:lnTo>
                  <a:pt x="100" y="136"/>
                </a:lnTo>
                <a:lnTo>
                  <a:pt x="99" y="136"/>
                </a:lnTo>
                <a:lnTo>
                  <a:pt x="99" y="134"/>
                </a:lnTo>
                <a:lnTo>
                  <a:pt x="100" y="133"/>
                </a:lnTo>
                <a:lnTo>
                  <a:pt x="102" y="128"/>
                </a:lnTo>
                <a:lnTo>
                  <a:pt x="102" y="123"/>
                </a:lnTo>
                <a:lnTo>
                  <a:pt x="104" y="122"/>
                </a:lnTo>
                <a:lnTo>
                  <a:pt x="104" y="121"/>
                </a:lnTo>
                <a:lnTo>
                  <a:pt x="106" y="120"/>
                </a:lnTo>
                <a:lnTo>
                  <a:pt x="107" y="120"/>
                </a:lnTo>
                <a:lnTo>
                  <a:pt x="108" y="118"/>
                </a:lnTo>
                <a:lnTo>
                  <a:pt x="108" y="115"/>
                </a:lnTo>
                <a:lnTo>
                  <a:pt x="107" y="112"/>
                </a:lnTo>
                <a:lnTo>
                  <a:pt x="107" y="102"/>
                </a:lnTo>
                <a:lnTo>
                  <a:pt x="108" y="100"/>
                </a:lnTo>
                <a:lnTo>
                  <a:pt x="110" y="100"/>
                </a:lnTo>
                <a:lnTo>
                  <a:pt x="110" y="96"/>
                </a:lnTo>
                <a:lnTo>
                  <a:pt x="111" y="94"/>
                </a:lnTo>
                <a:lnTo>
                  <a:pt x="112" y="94"/>
                </a:lnTo>
                <a:lnTo>
                  <a:pt x="112" y="93"/>
                </a:lnTo>
                <a:lnTo>
                  <a:pt x="113" y="92"/>
                </a:lnTo>
                <a:lnTo>
                  <a:pt x="113" y="91"/>
                </a:lnTo>
                <a:lnTo>
                  <a:pt x="116" y="90"/>
                </a:lnTo>
                <a:lnTo>
                  <a:pt x="118" y="91"/>
                </a:lnTo>
                <a:lnTo>
                  <a:pt x="123" y="90"/>
                </a:lnTo>
                <a:lnTo>
                  <a:pt x="125" y="89"/>
                </a:lnTo>
                <a:lnTo>
                  <a:pt x="125" y="87"/>
                </a:lnTo>
                <a:lnTo>
                  <a:pt x="126" y="87"/>
                </a:lnTo>
                <a:lnTo>
                  <a:pt x="126" y="86"/>
                </a:lnTo>
                <a:lnTo>
                  <a:pt x="129" y="83"/>
                </a:lnTo>
                <a:lnTo>
                  <a:pt x="129" y="78"/>
                </a:lnTo>
                <a:lnTo>
                  <a:pt x="130" y="75"/>
                </a:lnTo>
                <a:lnTo>
                  <a:pt x="132" y="75"/>
                </a:lnTo>
                <a:lnTo>
                  <a:pt x="137" y="77"/>
                </a:lnTo>
                <a:lnTo>
                  <a:pt x="138" y="77"/>
                </a:lnTo>
                <a:lnTo>
                  <a:pt x="138" y="75"/>
                </a:lnTo>
                <a:lnTo>
                  <a:pt x="139" y="75"/>
                </a:lnTo>
                <a:lnTo>
                  <a:pt x="143" y="78"/>
                </a:lnTo>
                <a:lnTo>
                  <a:pt x="144" y="78"/>
                </a:lnTo>
                <a:lnTo>
                  <a:pt x="145" y="77"/>
                </a:lnTo>
                <a:lnTo>
                  <a:pt x="145" y="72"/>
                </a:lnTo>
                <a:lnTo>
                  <a:pt x="146" y="72"/>
                </a:lnTo>
                <a:lnTo>
                  <a:pt x="146" y="71"/>
                </a:lnTo>
                <a:lnTo>
                  <a:pt x="148" y="69"/>
                </a:lnTo>
                <a:lnTo>
                  <a:pt x="149" y="69"/>
                </a:lnTo>
                <a:lnTo>
                  <a:pt x="150" y="68"/>
                </a:lnTo>
                <a:lnTo>
                  <a:pt x="151" y="68"/>
                </a:lnTo>
                <a:lnTo>
                  <a:pt x="152" y="67"/>
                </a:lnTo>
                <a:lnTo>
                  <a:pt x="152" y="65"/>
                </a:lnTo>
                <a:lnTo>
                  <a:pt x="151" y="65"/>
                </a:lnTo>
                <a:lnTo>
                  <a:pt x="144" y="63"/>
                </a:lnTo>
                <a:lnTo>
                  <a:pt x="141" y="63"/>
                </a:lnTo>
                <a:lnTo>
                  <a:pt x="138" y="62"/>
                </a:lnTo>
                <a:lnTo>
                  <a:pt x="138" y="60"/>
                </a:lnTo>
                <a:lnTo>
                  <a:pt x="139" y="59"/>
                </a:lnTo>
                <a:lnTo>
                  <a:pt x="139" y="57"/>
                </a:lnTo>
                <a:lnTo>
                  <a:pt x="141" y="54"/>
                </a:lnTo>
                <a:lnTo>
                  <a:pt x="142" y="53"/>
                </a:lnTo>
                <a:lnTo>
                  <a:pt x="142" y="47"/>
                </a:lnTo>
                <a:lnTo>
                  <a:pt x="144" y="44"/>
                </a:lnTo>
                <a:lnTo>
                  <a:pt x="144" y="37"/>
                </a:lnTo>
                <a:lnTo>
                  <a:pt x="145" y="35"/>
                </a:lnTo>
                <a:lnTo>
                  <a:pt x="146" y="35"/>
                </a:lnTo>
                <a:lnTo>
                  <a:pt x="149" y="36"/>
                </a:lnTo>
                <a:lnTo>
                  <a:pt x="150" y="36"/>
                </a:lnTo>
                <a:lnTo>
                  <a:pt x="154" y="34"/>
                </a:lnTo>
                <a:lnTo>
                  <a:pt x="155" y="32"/>
                </a:lnTo>
                <a:lnTo>
                  <a:pt x="160" y="25"/>
                </a:lnTo>
                <a:lnTo>
                  <a:pt x="161" y="25"/>
                </a:lnTo>
                <a:lnTo>
                  <a:pt x="166" y="24"/>
                </a:lnTo>
                <a:lnTo>
                  <a:pt x="168" y="24"/>
                </a:lnTo>
                <a:lnTo>
                  <a:pt x="168" y="25"/>
                </a:lnTo>
                <a:lnTo>
                  <a:pt x="172" y="28"/>
                </a:lnTo>
                <a:lnTo>
                  <a:pt x="173" y="28"/>
                </a:lnTo>
                <a:lnTo>
                  <a:pt x="176" y="24"/>
                </a:lnTo>
                <a:lnTo>
                  <a:pt x="179" y="26"/>
                </a:lnTo>
                <a:lnTo>
                  <a:pt x="180" y="26"/>
                </a:lnTo>
                <a:lnTo>
                  <a:pt x="185" y="28"/>
                </a:lnTo>
                <a:lnTo>
                  <a:pt x="186" y="28"/>
                </a:lnTo>
                <a:lnTo>
                  <a:pt x="187" y="26"/>
                </a:lnTo>
                <a:lnTo>
                  <a:pt x="187" y="20"/>
                </a:lnTo>
                <a:lnTo>
                  <a:pt x="188" y="18"/>
                </a:lnTo>
                <a:lnTo>
                  <a:pt x="193" y="14"/>
                </a:lnTo>
                <a:lnTo>
                  <a:pt x="194" y="12"/>
                </a:lnTo>
                <a:lnTo>
                  <a:pt x="194" y="11"/>
                </a:lnTo>
                <a:lnTo>
                  <a:pt x="199" y="6"/>
                </a:lnTo>
                <a:lnTo>
                  <a:pt x="199" y="5"/>
                </a:lnTo>
                <a:lnTo>
                  <a:pt x="200" y="4"/>
                </a:lnTo>
                <a:lnTo>
                  <a:pt x="201" y="4"/>
                </a:lnTo>
                <a:lnTo>
                  <a:pt x="203" y="3"/>
                </a:lnTo>
                <a:lnTo>
                  <a:pt x="204" y="3"/>
                </a:lnTo>
                <a:lnTo>
                  <a:pt x="206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4" name="Freeform 55">
            <a:extLst>
              <a:ext uri="{FF2B5EF4-FFF2-40B4-BE49-F238E27FC236}">
                <a16:creationId xmlns:a16="http://schemas.microsoft.com/office/drawing/2014/main" id="{C7C93541-2C68-478B-A180-1F994864C635}"/>
              </a:ext>
            </a:extLst>
          </p:cNvPr>
          <p:cNvSpPr>
            <a:spLocks noEditPoints="1"/>
          </p:cNvSpPr>
          <p:nvPr/>
        </p:nvSpPr>
        <p:spPr bwMode="auto">
          <a:xfrm>
            <a:off x="3967294" y="5430481"/>
            <a:ext cx="359337" cy="279646"/>
          </a:xfrm>
          <a:custGeom>
            <a:avLst/>
            <a:gdLst/>
            <a:ahLst/>
            <a:cxnLst>
              <a:cxn ang="0">
                <a:pos x="17" y="124"/>
              </a:cxn>
              <a:cxn ang="0">
                <a:pos x="28" y="134"/>
              </a:cxn>
              <a:cxn ang="0">
                <a:pos x="43" y="138"/>
              </a:cxn>
              <a:cxn ang="0">
                <a:pos x="52" y="145"/>
              </a:cxn>
              <a:cxn ang="0">
                <a:pos x="55" y="167"/>
              </a:cxn>
              <a:cxn ang="0">
                <a:pos x="27" y="154"/>
              </a:cxn>
              <a:cxn ang="0">
                <a:pos x="16" y="144"/>
              </a:cxn>
              <a:cxn ang="0">
                <a:pos x="9" y="136"/>
              </a:cxn>
              <a:cxn ang="0">
                <a:pos x="2" y="123"/>
              </a:cxn>
              <a:cxn ang="0">
                <a:pos x="248" y="88"/>
              </a:cxn>
              <a:cxn ang="0">
                <a:pos x="238" y="81"/>
              </a:cxn>
              <a:cxn ang="0">
                <a:pos x="34" y="71"/>
              </a:cxn>
              <a:cxn ang="0">
                <a:pos x="11" y="46"/>
              </a:cxn>
              <a:cxn ang="0">
                <a:pos x="76" y="1"/>
              </a:cxn>
              <a:cxn ang="0">
                <a:pos x="87" y="9"/>
              </a:cxn>
              <a:cxn ang="0">
                <a:pos x="98" y="18"/>
              </a:cxn>
              <a:cxn ang="0">
                <a:pos x="107" y="33"/>
              </a:cxn>
              <a:cxn ang="0">
                <a:pos x="126" y="39"/>
              </a:cxn>
              <a:cxn ang="0">
                <a:pos x="136" y="31"/>
              </a:cxn>
              <a:cxn ang="0">
                <a:pos x="154" y="16"/>
              </a:cxn>
              <a:cxn ang="0">
                <a:pos x="171" y="14"/>
              </a:cxn>
              <a:cxn ang="0">
                <a:pos x="185" y="34"/>
              </a:cxn>
              <a:cxn ang="0">
                <a:pos x="196" y="58"/>
              </a:cxn>
              <a:cxn ang="0">
                <a:pos x="202" y="69"/>
              </a:cxn>
              <a:cxn ang="0">
                <a:pos x="226" y="75"/>
              </a:cxn>
              <a:cxn ang="0">
                <a:pos x="235" y="82"/>
              </a:cxn>
              <a:cxn ang="0">
                <a:pos x="232" y="87"/>
              </a:cxn>
              <a:cxn ang="0">
                <a:pos x="215" y="88"/>
              </a:cxn>
              <a:cxn ang="0">
                <a:pos x="200" y="98"/>
              </a:cxn>
              <a:cxn ang="0">
                <a:pos x="197" y="107"/>
              </a:cxn>
              <a:cxn ang="0">
                <a:pos x="197" y="122"/>
              </a:cxn>
              <a:cxn ang="0">
                <a:pos x="196" y="142"/>
              </a:cxn>
              <a:cxn ang="0">
                <a:pos x="183" y="162"/>
              </a:cxn>
              <a:cxn ang="0">
                <a:pos x="178" y="151"/>
              </a:cxn>
              <a:cxn ang="0">
                <a:pos x="173" y="181"/>
              </a:cxn>
              <a:cxn ang="0">
                <a:pos x="160" y="188"/>
              </a:cxn>
              <a:cxn ang="0">
                <a:pos x="147" y="175"/>
              </a:cxn>
              <a:cxn ang="0">
                <a:pos x="147" y="161"/>
              </a:cxn>
              <a:cxn ang="0">
                <a:pos x="147" y="142"/>
              </a:cxn>
              <a:cxn ang="0">
                <a:pos x="134" y="123"/>
              </a:cxn>
              <a:cxn ang="0">
                <a:pos x="110" y="135"/>
              </a:cxn>
              <a:cxn ang="0">
                <a:pos x="97" y="149"/>
              </a:cxn>
              <a:cxn ang="0">
                <a:pos x="86" y="154"/>
              </a:cxn>
              <a:cxn ang="0">
                <a:pos x="78" y="163"/>
              </a:cxn>
              <a:cxn ang="0">
                <a:pos x="70" y="149"/>
              </a:cxn>
              <a:cxn ang="0">
                <a:pos x="74" y="143"/>
              </a:cxn>
              <a:cxn ang="0">
                <a:pos x="74" y="129"/>
              </a:cxn>
              <a:cxn ang="0">
                <a:pos x="54" y="123"/>
              </a:cxn>
              <a:cxn ang="0">
                <a:pos x="42" y="108"/>
              </a:cxn>
              <a:cxn ang="0">
                <a:pos x="49" y="101"/>
              </a:cxn>
              <a:cxn ang="0">
                <a:pos x="33" y="81"/>
              </a:cxn>
              <a:cxn ang="0">
                <a:pos x="27" y="68"/>
              </a:cxn>
              <a:cxn ang="0">
                <a:pos x="33" y="56"/>
              </a:cxn>
              <a:cxn ang="0">
                <a:pos x="20" y="49"/>
              </a:cxn>
              <a:cxn ang="0">
                <a:pos x="20" y="42"/>
              </a:cxn>
              <a:cxn ang="0">
                <a:pos x="24" y="25"/>
              </a:cxn>
              <a:cxn ang="0">
                <a:pos x="41" y="36"/>
              </a:cxn>
              <a:cxn ang="0">
                <a:pos x="70" y="45"/>
              </a:cxn>
              <a:cxn ang="0">
                <a:pos x="80" y="38"/>
              </a:cxn>
              <a:cxn ang="0">
                <a:pos x="70" y="25"/>
              </a:cxn>
              <a:cxn ang="0">
                <a:pos x="60" y="13"/>
              </a:cxn>
            </a:cxnLst>
            <a:rect l="0" t="0" r="r" b="b"/>
            <a:pathLst>
              <a:path w="248" h="193">
                <a:moveTo>
                  <a:pt x="195" y="143"/>
                </a:moveTo>
                <a:lnTo>
                  <a:pt x="196" y="143"/>
                </a:lnTo>
                <a:lnTo>
                  <a:pt x="196" y="144"/>
                </a:lnTo>
                <a:lnTo>
                  <a:pt x="195" y="143"/>
                </a:lnTo>
                <a:close/>
                <a:moveTo>
                  <a:pt x="10" y="118"/>
                </a:moveTo>
                <a:lnTo>
                  <a:pt x="12" y="118"/>
                </a:lnTo>
                <a:lnTo>
                  <a:pt x="14" y="119"/>
                </a:lnTo>
                <a:lnTo>
                  <a:pt x="16" y="123"/>
                </a:lnTo>
                <a:lnTo>
                  <a:pt x="17" y="124"/>
                </a:lnTo>
                <a:lnTo>
                  <a:pt x="17" y="129"/>
                </a:lnTo>
                <a:lnTo>
                  <a:pt x="20" y="129"/>
                </a:lnTo>
                <a:lnTo>
                  <a:pt x="21" y="128"/>
                </a:lnTo>
                <a:lnTo>
                  <a:pt x="22" y="128"/>
                </a:lnTo>
                <a:lnTo>
                  <a:pt x="23" y="129"/>
                </a:lnTo>
                <a:lnTo>
                  <a:pt x="23" y="130"/>
                </a:lnTo>
                <a:lnTo>
                  <a:pt x="24" y="131"/>
                </a:lnTo>
                <a:lnTo>
                  <a:pt x="27" y="131"/>
                </a:lnTo>
                <a:lnTo>
                  <a:pt x="28" y="134"/>
                </a:lnTo>
                <a:lnTo>
                  <a:pt x="30" y="134"/>
                </a:lnTo>
                <a:lnTo>
                  <a:pt x="30" y="132"/>
                </a:lnTo>
                <a:lnTo>
                  <a:pt x="34" y="131"/>
                </a:lnTo>
                <a:lnTo>
                  <a:pt x="35" y="130"/>
                </a:lnTo>
                <a:lnTo>
                  <a:pt x="41" y="129"/>
                </a:lnTo>
                <a:lnTo>
                  <a:pt x="42" y="129"/>
                </a:lnTo>
                <a:lnTo>
                  <a:pt x="45" y="131"/>
                </a:lnTo>
                <a:lnTo>
                  <a:pt x="45" y="136"/>
                </a:lnTo>
                <a:lnTo>
                  <a:pt x="43" y="138"/>
                </a:lnTo>
                <a:lnTo>
                  <a:pt x="42" y="140"/>
                </a:lnTo>
                <a:lnTo>
                  <a:pt x="42" y="141"/>
                </a:lnTo>
                <a:lnTo>
                  <a:pt x="43" y="141"/>
                </a:lnTo>
                <a:lnTo>
                  <a:pt x="46" y="142"/>
                </a:lnTo>
                <a:lnTo>
                  <a:pt x="47" y="143"/>
                </a:lnTo>
                <a:lnTo>
                  <a:pt x="48" y="143"/>
                </a:lnTo>
                <a:lnTo>
                  <a:pt x="48" y="144"/>
                </a:lnTo>
                <a:lnTo>
                  <a:pt x="51" y="145"/>
                </a:lnTo>
                <a:lnTo>
                  <a:pt x="52" y="145"/>
                </a:lnTo>
                <a:lnTo>
                  <a:pt x="52" y="148"/>
                </a:lnTo>
                <a:lnTo>
                  <a:pt x="51" y="149"/>
                </a:lnTo>
                <a:lnTo>
                  <a:pt x="51" y="151"/>
                </a:lnTo>
                <a:lnTo>
                  <a:pt x="52" y="153"/>
                </a:lnTo>
                <a:lnTo>
                  <a:pt x="53" y="155"/>
                </a:lnTo>
                <a:lnTo>
                  <a:pt x="54" y="156"/>
                </a:lnTo>
                <a:lnTo>
                  <a:pt x="57" y="162"/>
                </a:lnTo>
                <a:lnTo>
                  <a:pt x="59" y="167"/>
                </a:lnTo>
                <a:lnTo>
                  <a:pt x="55" y="167"/>
                </a:lnTo>
                <a:lnTo>
                  <a:pt x="53" y="166"/>
                </a:lnTo>
                <a:lnTo>
                  <a:pt x="43" y="163"/>
                </a:lnTo>
                <a:lnTo>
                  <a:pt x="41" y="162"/>
                </a:lnTo>
                <a:lnTo>
                  <a:pt x="33" y="162"/>
                </a:lnTo>
                <a:lnTo>
                  <a:pt x="30" y="160"/>
                </a:lnTo>
                <a:lnTo>
                  <a:pt x="29" y="160"/>
                </a:lnTo>
                <a:lnTo>
                  <a:pt x="29" y="156"/>
                </a:lnTo>
                <a:lnTo>
                  <a:pt x="27" y="156"/>
                </a:lnTo>
                <a:lnTo>
                  <a:pt x="27" y="154"/>
                </a:lnTo>
                <a:lnTo>
                  <a:pt x="26" y="154"/>
                </a:lnTo>
                <a:lnTo>
                  <a:pt x="26" y="151"/>
                </a:lnTo>
                <a:lnTo>
                  <a:pt x="24" y="150"/>
                </a:lnTo>
                <a:lnTo>
                  <a:pt x="23" y="150"/>
                </a:lnTo>
                <a:lnTo>
                  <a:pt x="24" y="149"/>
                </a:lnTo>
                <a:lnTo>
                  <a:pt x="22" y="149"/>
                </a:lnTo>
                <a:lnTo>
                  <a:pt x="18" y="148"/>
                </a:lnTo>
                <a:lnTo>
                  <a:pt x="17" y="148"/>
                </a:lnTo>
                <a:lnTo>
                  <a:pt x="16" y="144"/>
                </a:lnTo>
                <a:lnTo>
                  <a:pt x="15" y="143"/>
                </a:lnTo>
                <a:lnTo>
                  <a:pt x="15" y="141"/>
                </a:lnTo>
                <a:lnTo>
                  <a:pt x="14" y="141"/>
                </a:lnTo>
                <a:lnTo>
                  <a:pt x="14" y="140"/>
                </a:lnTo>
                <a:lnTo>
                  <a:pt x="12" y="140"/>
                </a:lnTo>
                <a:lnTo>
                  <a:pt x="11" y="138"/>
                </a:lnTo>
                <a:lnTo>
                  <a:pt x="11" y="137"/>
                </a:lnTo>
                <a:lnTo>
                  <a:pt x="10" y="137"/>
                </a:lnTo>
                <a:lnTo>
                  <a:pt x="9" y="136"/>
                </a:lnTo>
                <a:lnTo>
                  <a:pt x="9" y="135"/>
                </a:lnTo>
                <a:lnTo>
                  <a:pt x="8" y="135"/>
                </a:lnTo>
                <a:lnTo>
                  <a:pt x="8" y="134"/>
                </a:lnTo>
                <a:lnTo>
                  <a:pt x="6" y="128"/>
                </a:lnTo>
                <a:lnTo>
                  <a:pt x="5" y="128"/>
                </a:lnTo>
                <a:lnTo>
                  <a:pt x="5" y="126"/>
                </a:lnTo>
                <a:lnTo>
                  <a:pt x="4" y="126"/>
                </a:lnTo>
                <a:lnTo>
                  <a:pt x="2" y="124"/>
                </a:lnTo>
                <a:lnTo>
                  <a:pt x="2" y="123"/>
                </a:lnTo>
                <a:lnTo>
                  <a:pt x="0" y="122"/>
                </a:lnTo>
                <a:lnTo>
                  <a:pt x="2" y="122"/>
                </a:lnTo>
                <a:lnTo>
                  <a:pt x="4" y="120"/>
                </a:lnTo>
                <a:lnTo>
                  <a:pt x="9" y="120"/>
                </a:lnTo>
                <a:lnTo>
                  <a:pt x="9" y="119"/>
                </a:lnTo>
                <a:lnTo>
                  <a:pt x="10" y="118"/>
                </a:lnTo>
                <a:close/>
                <a:moveTo>
                  <a:pt x="245" y="87"/>
                </a:moveTo>
                <a:lnTo>
                  <a:pt x="247" y="87"/>
                </a:lnTo>
                <a:lnTo>
                  <a:pt x="248" y="88"/>
                </a:lnTo>
                <a:lnTo>
                  <a:pt x="247" y="89"/>
                </a:lnTo>
                <a:lnTo>
                  <a:pt x="247" y="88"/>
                </a:lnTo>
                <a:lnTo>
                  <a:pt x="246" y="89"/>
                </a:lnTo>
                <a:lnTo>
                  <a:pt x="246" y="88"/>
                </a:lnTo>
                <a:lnTo>
                  <a:pt x="245" y="87"/>
                </a:lnTo>
                <a:close/>
                <a:moveTo>
                  <a:pt x="235" y="79"/>
                </a:moveTo>
                <a:lnTo>
                  <a:pt x="236" y="79"/>
                </a:lnTo>
                <a:lnTo>
                  <a:pt x="236" y="80"/>
                </a:lnTo>
                <a:lnTo>
                  <a:pt x="238" y="81"/>
                </a:lnTo>
                <a:lnTo>
                  <a:pt x="238" y="83"/>
                </a:lnTo>
                <a:lnTo>
                  <a:pt x="236" y="83"/>
                </a:lnTo>
                <a:lnTo>
                  <a:pt x="236" y="82"/>
                </a:lnTo>
                <a:lnTo>
                  <a:pt x="235" y="80"/>
                </a:lnTo>
                <a:lnTo>
                  <a:pt x="235" y="79"/>
                </a:lnTo>
                <a:close/>
                <a:moveTo>
                  <a:pt x="30" y="69"/>
                </a:moveTo>
                <a:lnTo>
                  <a:pt x="30" y="71"/>
                </a:lnTo>
                <a:lnTo>
                  <a:pt x="33" y="73"/>
                </a:lnTo>
                <a:lnTo>
                  <a:pt x="34" y="71"/>
                </a:lnTo>
                <a:lnTo>
                  <a:pt x="34" y="69"/>
                </a:lnTo>
                <a:lnTo>
                  <a:pt x="30" y="69"/>
                </a:lnTo>
                <a:close/>
                <a:moveTo>
                  <a:pt x="18" y="50"/>
                </a:moveTo>
                <a:lnTo>
                  <a:pt x="20" y="51"/>
                </a:lnTo>
                <a:lnTo>
                  <a:pt x="20" y="52"/>
                </a:lnTo>
                <a:lnTo>
                  <a:pt x="18" y="51"/>
                </a:lnTo>
                <a:lnTo>
                  <a:pt x="18" y="50"/>
                </a:lnTo>
                <a:close/>
                <a:moveTo>
                  <a:pt x="10" y="45"/>
                </a:moveTo>
                <a:lnTo>
                  <a:pt x="11" y="46"/>
                </a:lnTo>
                <a:lnTo>
                  <a:pt x="11" y="49"/>
                </a:lnTo>
                <a:lnTo>
                  <a:pt x="10" y="49"/>
                </a:lnTo>
                <a:lnTo>
                  <a:pt x="9" y="48"/>
                </a:lnTo>
                <a:lnTo>
                  <a:pt x="9" y="46"/>
                </a:lnTo>
                <a:lnTo>
                  <a:pt x="10" y="45"/>
                </a:lnTo>
                <a:close/>
                <a:moveTo>
                  <a:pt x="71" y="0"/>
                </a:moveTo>
                <a:lnTo>
                  <a:pt x="73" y="0"/>
                </a:lnTo>
                <a:lnTo>
                  <a:pt x="74" y="1"/>
                </a:lnTo>
                <a:lnTo>
                  <a:pt x="76" y="1"/>
                </a:lnTo>
                <a:lnTo>
                  <a:pt x="76" y="6"/>
                </a:lnTo>
                <a:lnTo>
                  <a:pt x="78" y="6"/>
                </a:lnTo>
                <a:lnTo>
                  <a:pt x="80" y="3"/>
                </a:lnTo>
                <a:lnTo>
                  <a:pt x="83" y="3"/>
                </a:lnTo>
                <a:lnTo>
                  <a:pt x="84" y="2"/>
                </a:lnTo>
                <a:lnTo>
                  <a:pt x="84" y="3"/>
                </a:lnTo>
                <a:lnTo>
                  <a:pt x="85" y="5"/>
                </a:lnTo>
                <a:lnTo>
                  <a:pt x="85" y="7"/>
                </a:lnTo>
                <a:lnTo>
                  <a:pt x="87" y="9"/>
                </a:lnTo>
                <a:lnTo>
                  <a:pt x="90" y="9"/>
                </a:lnTo>
                <a:lnTo>
                  <a:pt x="91" y="11"/>
                </a:lnTo>
                <a:lnTo>
                  <a:pt x="91" y="12"/>
                </a:lnTo>
                <a:lnTo>
                  <a:pt x="93" y="14"/>
                </a:lnTo>
                <a:lnTo>
                  <a:pt x="95" y="16"/>
                </a:lnTo>
                <a:lnTo>
                  <a:pt x="96" y="18"/>
                </a:lnTo>
                <a:lnTo>
                  <a:pt x="96" y="19"/>
                </a:lnTo>
                <a:lnTo>
                  <a:pt x="98" y="19"/>
                </a:lnTo>
                <a:lnTo>
                  <a:pt x="98" y="18"/>
                </a:lnTo>
                <a:lnTo>
                  <a:pt x="101" y="18"/>
                </a:lnTo>
                <a:lnTo>
                  <a:pt x="101" y="20"/>
                </a:lnTo>
                <a:lnTo>
                  <a:pt x="102" y="21"/>
                </a:lnTo>
                <a:lnTo>
                  <a:pt x="102" y="22"/>
                </a:lnTo>
                <a:lnTo>
                  <a:pt x="103" y="22"/>
                </a:lnTo>
                <a:lnTo>
                  <a:pt x="103" y="25"/>
                </a:lnTo>
                <a:lnTo>
                  <a:pt x="105" y="27"/>
                </a:lnTo>
                <a:lnTo>
                  <a:pt x="105" y="32"/>
                </a:lnTo>
                <a:lnTo>
                  <a:pt x="107" y="33"/>
                </a:lnTo>
                <a:lnTo>
                  <a:pt x="109" y="34"/>
                </a:lnTo>
                <a:lnTo>
                  <a:pt x="110" y="36"/>
                </a:lnTo>
                <a:lnTo>
                  <a:pt x="115" y="36"/>
                </a:lnTo>
                <a:lnTo>
                  <a:pt x="117" y="38"/>
                </a:lnTo>
                <a:lnTo>
                  <a:pt x="121" y="38"/>
                </a:lnTo>
                <a:lnTo>
                  <a:pt x="121" y="37"/>
                </a:lnTo>
                <a:lnTo>
                  <a:pt x="122" y="37"/>
                </a:lnTo>
                <a:lnTo>
                  <a:pt x="124" y="38"/>
                </a:lnTo>
                <a:lnTo>
                  <a:pt x="126" y="39"/>
                </a:lnTo>
                <a:lnTo>
                  <a:pt x="130" y="39"/>
                </a:lnTo>
                <a:lnTo>
                  <a:pt x="132" y="38"/>
                </a:lnTo>
                <a:lnTo>
                  <a:pt x="133" y="38"/>
                </a:lnTo>
                <a:lnTo>
                  <a:pt x="133" y="33"/>
                </a:lnTo>
                <a:lnTo>
                  <a:pt x="134" y="33"/>
                </a:lnTo>
                <a:lnTo>
                  <a:pt x="134" y="32"/>
                </a:lnTo>
                <a:lnTo>
                  <a:pt x="135" y="31"/>
                </a:lnTo>
                <a:lnTo>
                  <a:pt x="135" y="30"/>
                </a:lnTo>
                <a:lnTo>
                  <a:pt x="136" y="31"/>
                </a:lnTo>
                <a:lnTo>
                  <a:pt x="138" y="30"/>
                </a:lnTo>
                <a:lnTo>
                  <a:pt x="139" y="26"/>
                </a:lnTo>
                <a:lnTo>
                  <a:pt x="140" y="24"/>
                </a:lnTo>
                <a:lnTo>
                  <a:pt x="141" y="24"/>
                </a:lnTo>
                <a:lnTo>
                  <a:pt x="146" y="22"/>
                </a:lnTo>
                <a:lnTo>
                  <a:pt x="147" y="21"/>
                </a:lnTo>
                <a:lnTo>
                  <a:pt x="149" y="20"/>
                </a:lnTo>
                <a:lnTo>
                  <a:pt x="153" y="18"/>
                </a:lnTo>
                <a:lnTo>
                  <a:pt x="154" y="16"/>
                </a:lnTo>
                <a:lnTo>
                  <a:pt x="154" y="15"/>
                </a:lnTo>
                <a:lnTo>
                  <a:pt x="157" y="9"/>
                </a:lnTo>
                <a:lnTo>
                  <a:pt x="161" y="2"/>
                </a:lnTo>
                <a:lnTo>
                  <a:pt x="161" y="3"/>
                </a:lnTo>
                <a:lnTo>
                  <a:pt x="164" y="3"/>
                </a:lnTo>
                <a:lnTo>
                  <a:pt x="165" y="5"/>
                </a:lnTo>
                <a:lnTo>
                  <a:pt x="169" y="11"/>
                </a:lnTo>
                <a:lnTo>
                  <a:pt x="171" y="13"/>
                </a:lnTo>
                <a:lnTo>
                  <a:pt x="171" y="14"/>
                </a:lnTo>
                <a:lnTo>
                  <a:pt x="173" y="18"/>
                </a:lnTo>
                <a:lnTo>
                  <a:pt x="176" y="20"/>
                </a:lnTo>
                <a:lnTo>
                  <a:pt x="176" y="21"/>
                </a:lnTo>
                <a:lnTo>
                  <a:pt x="177" y="21"/>
                </a:lnTo>
                <a:lnTo>
                  <a:pt x="177" y="22"/>
                </a:lnTo>
                <a:lnTo>
                  <a:pt x="182" y="27"/>
                </a:lnTo>
                <a:lnTo>
                  <a:pt x="183" y="30"/>
                </a:lnTo>
                <a:lnTo>
                  <a:pt x="184" y="33"/>
                </a:lnTo>
                <a:lnTo>
                  <a:pt x="185" y="34"/>
                </a:lnTo>
                <a:lnTo>
                  <a:pt x="185" y="40"/>
                </a:lnTo>
                <a:lnTo>
                  <a:pt x="186" y="42"/>
                </a:lnTo>
                <a:lnTo>
                  <a:pt x="186" y="43"/>
                </a:lnTo>
                <a:lnTo>
                  <a:pt x="188" y="46"/>
                </a:lnTo>
                <a:lnTo>
                  <a:pt x="190" y="50"/>
                </a:lnTo>
                <a:lnTo>
                  <a:pt x="195" y="56"/>
                </a:lnTo>
                <a:lnTo>
                  <a:pt x="195" y="57"/>
                </a:lnTo>
                <a:lnTo>
                  <a:pt x="196" y="57"/>
                </a:lnTo>
                <a:lnTo>
                  <a:pt x="196" y="58"/>
                </a:lnTo>
                <a:lnTo>
                  <a:pt x="198" y="59"/>
                </a:lnTo>
                <a:lnTo>
                  <a:pt x="200" y="59"/>
                </a:lnTo>
                <a:lnTo>
                  <a:pt x="201" y="61"/>
                </a:lnTo>
                <a:lnTo>
                  <a:pt x="202" y="61"/>
                </a:lnTo>
                <a:lnTo>
                  <a:pt x="202" y="63"/>
                </a:lnTo>
                <a:lnTo>
                  <a:pt x="201" y="65"/>
                </a:lnTo>
                <a:lnTo>
                  <a:pt x="201" y="68"/>
                </a:lnTo>
                <a:lnTo>
                  <a:pt x="202" y="68"/>
                </a:lnTo>
                <a:lnTo>
                  <a:pt x="202" y="69"/>
                </a:lnTo>
                <a:lnTo>
                  <a:pt x="204" y="71"/>
                </a:lnTo>
                <a:lnTo>
                  <a:pt x="208" y="71"/>
                </a:lnTo>
                <a:lnTo>
                  <a:pt x="210" y="74"/>
                </a:lnTo>
                <a:lnTo>
                  <a:pt x="215" y="74"/>
                </a:lnTo>
                <a:lnTo>
                  <a:pt x="217" y="73"/>
                </a:lnTo>
                <a:lnTo>
                  <a:pt x="223" y="73"/>
                </a:lnTo>
                <a:lnTo>
                  <a:pt x="225" y="74"/>
                </a:lnTo>
                <a:lnTo>
                  <a:pt x="225" y="75"/>
                </a:lnTo>
                <a:lnTo>
                  <a:pt x="226" y="75"/>
                </a:lnTo>
                <a:lnTo>
                  <a:pt x="226" y="76"/>
                </a:lnTo>
                <a:lnTo>
                  <a:pt x="227" y="76"/>
                </a:lnTo>
                <a:lnTo>
                  <a:pt x="231" y="77"/>
                </a:lnTo>
                <a:lnTo>
                  <a:pt x="232" y="77"/>
                </a:lnTo>
                <a:lnTo>
                  <a:pt x="232" y="79"/>
                </a:lnTo>
                <a:lnTo>
                  <a:pt x="233" y="80"/>
                </a:lnTo>
                <a:lnTo>
                  <a:pt x="233" y="81"/>
                </a:lnTo>
                <a:lnTo>
                  <a:pt x="234" y="82"/>
                </a:lnTo>
                <a:lnTo>
                  <a:pt x="235" y="82"/>
                </a:lnTo>
                <a:lnTo>
                  <a:pt x="235" y="83"/>
                </a:lnTo>
                <a:lnTo>
                  <a:pt x="236" y="85"/>
                </a:lnTo>
                <a:lnTo>
                  <a:pt x="236" y="86"/>
                </a:lnTo>
                <a:lnTo>
                  <a:pt x="238" y="89"/>
                </a:lnTo>
                <a:lnTo>
                  <a:pt x="238" y="93"/>
                </a:lnTo>
                <a:lnTo>
                  <a:pt x="236" y="92"/>
                </a:lnTo>
                <a:lnTo>
                  <a:pt x="236" y="91"/>
                </a:lnTo>
                <a:lnTo>
                  <a:pt x="233" y="87"/>
                </a:lnTo>
                <a:lnTo>
                  <a:pt x="232" y="87"/>
                </a:lnTo>
                <a:lnTo>
                  <a:pt x="229" y="86"/>
                </a:lnTo>
                <a:lnTo>
                  <a:pt x="223" y="86"/>
                </a:lnTo>
                <a:lnTo>
                  <a:pt x="222" y="87"/>
                </a:lnTo>
                <a:lnTo>
                  <a:pt x="220" y="87"/>
                </a:lnTo>
                <a:lnTo>
                  <a:pt x="220" y="86"/>
                </a:lnTo>
                <a:lnTo>
                  <a:pt x="219" y="86"/>
                </a:lnTo>
                <a:lnTo>
                  <a:pt x="217" y="85"/>
                </a:lnTo>
                <a:lnTo>
                  <a:pt x="215" y="87"/>
                </a:lnTo>
                <a:lnTo>
                  <a:pt x="215" y="88"/>
                </a:lnTo>
                <a:lnTo>
                  <a:pt x="213" y="91"/>
                </a:lnTo>
                <a:lnTo>
                  <a:pt x="209" y="91"/>
                </a:lnTo>
                <a:lnTo>
                  <a:pt x="207" y="92"/>
                </a:lnTo>
                <a:lnTo>
                  <a:pt x="203" y="93"/>
                </a:lnTo>
                <a:lnTo>
                  <a:pt x="203" y="94"/>
                </a:lnTo>
                <a:lnTo>
                  <a:pt x="201" y="95"/>
                </a:lnTo>
                <a:lnTo>
                  <a:pt x="201" y="97"/>
                </a:lnTo>
                <a:lnTo>
                  <a:pt x="200" y="97"/>
                </a:lnTo>
                <a:lnTo>
                  <a:pt x="200" y="98"/>
                </a:lnTo>
                <a:lnTo>
                  <a:pt x="201" y="100"/>
                </a:lnTo>
                <a:lnTo>
                  <a:pt x="198" y="101"/>
                </a:lnTo>
                <a:lnTo>
                  <a:pt x="197" y="102"/>
                </a:lnTo>
                <a:lnTo>
                  <a:pt x="198" y="104"/>
                </a:lnTo>
                <a:lnTo>
                  <a:pt x="198" y="105"/>
                </a:lnTo>
                <a:lnTo>
                  <a:pt x="200" y="105"/>
                </a:lnTo>
                <a:lnTo>
                  <a:pt x="200" y="106"/>
                </a:lnTo>
                <a:lnTo>
                  <a:pt x="198" y="107"/>
                </a:lnTo>
                <a:lnTo>
                  <a:pt x="197" y="107"/>
                </a:lnTo>
                <a:lnTo>
                  <a:pt x="197" y="111"/>
                </a:lnTo>
                <a:lnTo>
                  <a:pt x="198" y="112"/>
                </a:lnTo>
                <a:lnTo>
                  <a:pt x="198" y="113"/>
                </a:lnTo>
                <a:lnTo>
                  <a:pt x="197" y="113"/>
                </a:lnTo>
                <a:lnTo>
                  <a:pt x="197" y="116"/>
                </a:lnTo>
                <a:lnTo>
                  <a:pt x="196" y="117"/>
                </a:lnTo>
                <a:lnTo>
                  <a:pt x="196" y="119"/>
                </a:lnTo>
                <a:lnTo>
                  <a:pt x="197" y="120"/>
                </a:lnTo>
                <a:lnTo>
                  <a:pt x="197" y="122"/>
                </a:lnTo>
                <a:lnTo>
                  <a:pt x="192" y="126"/>
                </a:lnTo>
                <a:lnTo>
                  <a:pt x="192" y="129"/>
                </a:lnTo>
                <a:lnTo>
                  <a:pt x="191" y="130"/>
                </a:lnTo>
                <a:lnTo>
                  <a:pt x="191" y="134"/>
                </a:lnTo>
                <a:lnTo>
                  <a:pt x="196" y="137"/>
                </a:lnTo>
                <a:lnTo>
                  <a:pt x="196" y="138"/>
                </a:lnTo>
                <a:lnTo>
                  <a:pt x="197" y="140"/>
                </a:lnTo>
                <a:lnTo>
                  <a:pt x="196" y="140"/>
                </a:lnTo>
                <a:lnTo>
                  <a:pt x="196" y="142"/>
                </a:lnTo>
                <a:lnTo>
                  <a:pt x="195" y="142"/>
                </a:lnTo>
                <a:lnTo>
                  <a:pt x="195" y="143"/>
                </a:lnTo>
                <a:lnTo>
                  <a:pt x="192" y="141"/>
                </a:lnTo>
                <a:lnTo>
                  <a:pt x="189" y="144"/>
                </a:lnTo>
                <a:lnTo>
                  <a:pt x="189" y="154"/>
                </a:lnTo>
                <a:lnTo>
                  <a:pt x="188" y="155"/>
                </a:lnTo>
                <a:lnTo>
                  <a:pt x="188" y="159"/>
                </a:lnTo>
                <a:lnTo>
                  <a:pt x="184" y="161"/>
                </a:lnTo>
                <a:lnTo>
                  <a:pt x="183" y="162"/>
                </a:lnTo>
                <a:lnTo>
                  <a:pt x="182" y="161"/>
                </a:lnTo>
                <a:lnTo>
                  <a:pt x="182" y="159"/>
                </a:lnTo>
                <a:lnTo>
                  <a:pt x="184" y="159"/>
                </a:lnTo>
                <a:lnTo>
                  <a:pt x="185" y="157"/>
                </a:lnTo>
                <a:lnTo>
                  <a:pt x="185" y="154"/>
                </a:lnTo>
                <a:lnTo>
                  <a:pt x="182" y="154"/>
                </a:lnTo>
                <a:lnTo>
                  <a:pt x="182" y="150"/>
                </a:lnTo>
                <a:lnTo>
                  <a:pt x="178" y="150"/>
                </a:lnTo>
                <a:lnTo>
                  <a:pt x="178" y="151"/>
                </a:lnTo>
                <a:lnTo>
                  <a:pt x="177" y="151"/>
                </a:lnTo>
                <a:lnTo>
                  <a:pt x="177" y="160"/>
                </a:lnTo>
                <a:lnTo>
                  <a:pt x="176" y="163"/>
                </a:lnTo>
                <a:lnTo>
                  <a:pt x="174" y="166"/>
                </a:lnTo>
                <a:lnTo>
                  <a:pt x="173" y="167"/>
                </a:lnTo>
                <a:lnTo>
                  <a:pt x="172" y="167"/>
                </a:lnTo>
                <a:lnTo>
                  <a:pt x="172" y="171"/>
                </a:lnTo>
                <a:lnTo>
                  <a:pt x="173" y="173"/>
                </a:lnTo>
                <a:lnTo>
                  <a:pt x="173" y="181"/>
                </a:lnTo>
                <a:lnTo>
                  <a:pt x="174" y="191"/>
                </a:lnTo>
                <a:lnTo>
                  <a:pt x="171" y="190"/>
                </a:lnTo>
                <a:lnTo>
                  <a:pt x="170" y="190"/>
                </a:lnTo>
                <a:lnTo>
                  <a:pt x="167" y="192"/>
                </a:lnTo>
                <a:lnTo>
                  <a:pt x="166" y="192"/>
                </a:lnTo>
                <a:lnTo>
                  <a:pt x="165" y="193"/>
                </a:lnTo>
                <a:lnTo>
                  <a:pt x="163" y="192"/>
                </a:lnTo>
                <a:lnTo>
                  <a:pt x="160" y="190"/>
                </a:lnTo>
                <a:lnTo>
                  <a:pt x="160" y="188"/>
                </a:lnTo>
                <a:lnTo>
                  <a:pt x="155" y="184"/>
                </a:lnTo>
                <a:lnTo>
                  <a:pt x="155" y="181"/>
                </a:lnTo>
                <a:lnTo>
                  <a:pt x="154" y="180"/>
                </a:lnTo>
                <a:lnTo>
                  <a:pt x="153" y="180"/>
                </a:lnTo>
                <a:lnTo>
                  <a:pt x="152" y="181"/>
                </a:lnTo>
                <a:lnTo>
                  <a:pt x="149" y="181"/>
                </a:lnTo>
                <a:lnTo>
                  <a:pt x="148" y="180"/>
                </a:lnTo>
                <a:lnTo>
                  <a:pt x="147" y="178"/>
                </a:lnTo>
                <a:lnTo>
                  <a:pt x="147" y="175"/>
                </a:lnTo>
                <a:lnTo>
                  <a:pt x="146" y="174"/>
                </a:lnTo>
                <a:lnTo>
                  <a:pt x="140" y="172"/>
                </a:lnTo>
                <a:lnTo>
                  <a:pt x="136" y="168"/>
                </a:lnTo>
                <a:lnTo>
                  <a:pt x="136" y="166"/>
                </a:lnTo>
                <a:lnTo>
                  <a:pt x="138" y="166"/>
                </a:lnTo>
                <a:lnTo>
                  <a:pt x="139" y="163"/>
                </a:lnTo>
                <a:lnTo>
                  <a:pt x="140" y="163"/>
                </a:lnTo>
                <a:lnTo>
                  <a:pt x="140" y="162"/>
                </a:lnTo>
                <a:lnTo>
                  <a:pt x="147" y="161"/>
                </a:lnTo>
                <a:lnTo>
                  <a:pt x="149" y="160"/>
                </a:lnTo>
                <a:lnTo>
                  <a:pt x="149" y="156"/>
                </a:lnTo>
                <a:lnTo>
                  <a:pt x="148" y="154"/>
                </a:lnTo>
                <a:lnTo>
                  <a:pt x="146" y="153"/>
                </a:lnTo>
                <a:lnTo>
                  <a:pt x="142" y="149"/>
                </a:lnTo>
                <a:lnTo>
                  <a:pt x="141" y="147"/>
                </a:lnTo>
                <a:lnTo>
                  <a:pt x="141" y="145"/>
                </a:lnTo>
                <a:lnTo>
                  <a:pt x="145" y="142"/>
                </a:lnTo>
                <a:lnTo>
                  <a:pt x="147" y="142"/>
                </a:lnTo>
                <a:lnTo>
                  <a:pt x="149" y="140"/>
                </a:lnTo>
                <a:lnTo>
                  <a:pt x="152" y="140"/>
                </a:lnTo>
                <a:lnTo>
                  <a:pt x="151" y="137"/>
                </a:lnTo>
                <a:lnTo>
                  <a:pt x="149" y="136"/>
                </a:lnTo>
                <a:lnTo>
                  <a:pt x="146" y="134"/>
                </a:lnTo>
                <a:lnTo>
                  <a:pt x="139" y="124"/>
                </a:lnTo>
                <a:lnTo>
                  <a:pt x="136" y="122"/>
                </a:lnTo>
                <a:lnTo>
                  <a:pt x="135" y="122"/>
                </a:lnTo>
                <a:lnTo>
                  <a:pt x="134" y="123"/>
                </a:lnTo>
                <a:lnTo>
                  <a:pt x="129" y="123"/>
                </a:lnTo>
                <a:lnTo>
                  <a:pt x="129" y="124"/>
                </a:lnTo>
                <a:lnTo>
                  <a:pt x="128" y="124"/>
                </a:lnTo>
                <a:lnTo>
                  <a:pt x="127" y="126"/>
                </a:lnTo>
                <a:lnTo>
                  <a:pt x="121" y="129"/>
                </a:lnTo>
                <a:lnTo>
                  <a:pt x="117" y="132"/>
                </a:lnTo>
                <a:lnTo>
                  <a:pt x="114" y="134"/>
                </a:lnTo>
                <a:lnTo>
                  <a:pt x="113" y="134"/>
                </a:lnTo>
                <a:lnTo>
                  <a:pt x="110" y="135"/>
                </a:lnTo>
                <a:lnTo>
                  <a:pt x="109" y="138"/>
                </a:lnTo>
                <a:lnTo>
                  <a:pt x="108" y="140"/>
                </a:lnTo>
                <a:lnTo>
                  <a:pt x="105" y="140"/>
                </a:lnTo>
                <a:lnTo>
                  <a:pt x="105" y="141"/>
                </a:lnTo>
                <a:lnTo>
                  <a:pt x="102" y="142"/>
                </a:lnTo>
                <a:lnTo>
                  <a:pt x="99" y="143"/>
                </a:lnTo>
                <a:lnTo>
                  <a:pt x="98" y="144"/>
                </a:lnTo>
                <a:lnTo>
                  <a:pt x="97" y="147"/>
                </a:lnTo>
                <a:lnTo>
                  <a:pt x="97" y="149"/>
                </a:lnTo>
                <a:lnTo>
                  <a:pt x="96" y="149"/>
                </a:lnTo>
                <a:lnTo>
                  <a:pt x="96" y="150"/>
                </a:lnTo>
                <a:lnTo>
                  <a:pt x="93" y="151"/>
                </a:lnTo>
                <a:lnTo>
                  <a:pt x="92" y="151"/>
                </a:lnTo>
                <a:lnTo>
                  <a:pt x="91" y="150"/>
                </a:lnTo>
                <a:lnTo>
                  <a:pt x="90" y="150"/>
                </a:lnTo>
                <a:lnTo>
                  <a:pt x="87" y="153"/>
                </a:lnTo>
                <a:lnTo>
                  <a:pt x="87" y="154"/>
                </a:lnTo>
                <a:lnTo>
                  <a:pt x="86" y="154"/>
                </a:lnTo>
                <a:lnTo>
                  <a:pt x="86" y="155"/>
                </a:lnTo>
                <a:lnTo>
                  <a:pt x="85" y="155"/>
                </a:lnTo>
                <a:lnTo>
                  <a:pt x="85" y="156"/>
                </a:lnTo>
                <a:lnTo>
                  <a:pt x="84" y="157"/>
                </a:lnTo>
                <a:lnTo>
                  <a:pt x="84" y="159"/>
                </a:lnTo>
                <a:lnTo>
                  <a:pt x="82" y="160"/>
                </a:lnTo>
                <a:lnTo>
                  <a:pt x="80" y="160"/>
                </a:lnTo>
                <a:lnTo>
                  <a:pt x="79" y="161"/>
                </a:lnTo>
                <a:lnTo>
                  <a:pt x="78" y="163"/>
                </a:lnTo>
                <a:lnTo>
                  <a:pt x="78" y="165"/>
                </a:lnTo>
                <a:lnTo>
                  <a:pt x="77" y="166"/>
                </a:lnTo>
                <a:lnTo>
                  <a:pt x="74" y="166"/>
                </a:lnTo>
                <a:lnTo>
                  <a:pt x="73" y="163"/>
                </a:lnTo>
                <a:lnTo>
                  <a:pt x="73" y="154"/>
                </a:lnTo>
                <a:lnTo>
                  <a:pt x="72" y="153"/>
                </a:lnTo>
                <a:lnTo>
                  <a:pt x="71" y="153"/>
                </a:lnTo>
                <a:lnTo>
                  <a:pt x="70" y="151"/>
                </a:lnTo>
                <a:lnTo>
                  <a:pt x="70" y="149"/>
                </a:lnTo>
                <a:lnTo>
                  <a:pt x="71" y="148"/>
                </a:lnTo>
                <a:lnTo>
                  <a:pt x="72" y="149"/>
                </a:lnTo>
                <a:lnTo>
                  <a:pt x="74" y="150"/>
                </a:lnTo>
                <a:lnTo>
                  <a:pt x="77" y="149"/>
                </a:lnTo>
                <a:lnTo>
                  <a:pt x="78" y="148"/>
                </a:lnTo>
                <a:lnTo>
                  <a:pt x="78" y="147"/>
                </a:lnTo>
                <a:lnTo>
                  <a:pt x="76" y="145"/>
                </a:lnTo>
                <a:lnTo>
                  <a:pt x="74" y="144"/>
                </a:lnTo>
                <a:lnTo>
                  <a:pt x="74" y="143"/>
                </a:lnTo>
                <a:lnTo>
                  <a:pt x="73" y="142"/>
                </a:lnTo>
                <a:lnTo>
                  <a:pt x="70" y="141"/>
                </a:lnTo>
                <a:lnTo>
                  <a:pt x="68" y="140"/>
                </a:lnTo>
                <a:lnTo>
                  <a:pt x="68" y="136"/>
                </a:lnTo>
                <a:lnTo>
                  <a:pt x="70" y="136"/>
                </a:lnTo>
                <a:lnTo>
                  <a:pt x="73" y="135"/>
                </a:lnTo>
                <a:lnTo>
                  <a:pt x="73" y="132"/>
                </a:lnTo>
                <a:lnTo>
                  <a:pt x="74" y="132"/>
                </a:lnTo>
                <a:lnTo>
                  <a:pt x="74" y="129"/>
                </a:lnTo>
                <a:lnTo>
                  <a:pt x="70" y="129"/>
                </a:lnTo>
                <a:lnTo>
                  <a:pt x="67" y="126"/>
                </a:lnTo>
                <a:lnTo>
                  <a:pt x="66" y="126"/>
                </a:lnTo>
                <a:lnTo>
                  <a:pt x="62" y="128"/>
                </a:lnTo>
                <a:lnTo>
                  <a:pt x="60" y="128"/>
                </a:lnTo>
                <a:lnTo>
                  <a:pt x="59" y="125"/>
                </a:lnTo>
                <a:lnTo>
                  <a:pt x="58" y="124"/>
                </a:lnTo>
                <a:lnTo>
                  <a:pt x="57" y="124"/>
                </a:lnTo>
                <a:lnTo>
                  <a:pt x="54" y="123"/>
                </a:lnTo>
                <a:lnTo>
                  <a:pt x="53" y="119"/>
                </a:lnTo>
                <a:lnTo>
                  <a:pt x="52" y="118"/>
                </a:lnTo>
                <a:lnTo>
                  <a:pt x="49" y="117"/>
                </a:lnTo>
                <a:lnTo>
                  <a:pt x="48" y="117"/>
                </a:lnTo>
                <a:lnTo>
                  <a:pt x="47" y="116"/>
                </a:lnTo>
                <a:lnTo>
                  <a:pt x="45" y="114"/>
                </a:lnTo>
                <a:lnTo>
                  <a:pt x="45" y="113"/>
                </a:lnTo>
                <a:lnTo>
                  <a:pt x="42" y="110"/>
                </a:lnTo>
                <a:lnTo>
                  <a:pt x="42" y="108"/>
                </a:lnTo>
                <a:lnTo>
                  <a:pt x="41" y="108"/>
                </a:lnTo>
                <a:lnTo>
                  <a:pt x="36" y="107"/>
                </a:lnTo>
                <a:lnTo>
                  <a:pt x="35" y="107"/>
                </a:lnTo>
                <a:lnTo>
                  <a:pt x="35" y="106"/>
                </a:lnTo>
                <a:lnTo>
                  <a:pt x="37" y="104"/>
                </a:lnTo>
                <a:lnTo>
                  <a:pt x="45" y="105"/>
                </a:lnTo>
                <a:lnTo>
                  <a:pt x="48" y="105"/>
                </a:lnTo>
                <a:lnTo>
                  <a:pt x="48" y="101"/>
                </a:lnTo>
                <a:lnTo>
                  <a:pt x="49" y="101"/>
                </a:lnTo>
                <a:lnTo>
                  <a:pt x="49" y="100"/>
                </a:lnTo>
                <a:lnTo>
                  <a:pt x="52" y="98"/>
                </a:lnTo>
                <a:lnTo>
                  <a:pt x="52" y="93"/>
                </a:lnTo>
                <a:lnTo>
                  <a:pt x="51" y="92"/>
                </a:lnTo>
                <a:lnTo>
                  <a:pt x="51" y="91"/>
                </a:lnTo>
                <a:lnTo>
                  <a:pt x="47" y="91"/>
                </a:lnTo>
                <a:lnTo>
                  <a:pt x="45" y="89"/>
                </a:lnTo>
                <a:lnTo>
                  <a:pt x="35" y="83"/>
                </a:lnTo>
                <a:lnTo>
                  <a:pt x="33" y="81"/>
                </a:lnTo>
                <a:lnTo>
                  <a:pt x="31" y="79"/>
                </a:lnTo>
                <a:lnTo>
                  <a:pt x="31" y="77"/>
                </a:lnTo>
                <a:lnTo>
                  <a:pt x="30" y="77"/>
                </a:lnTo>
                <a:lnTo>
                  <a:pt x="30" y="76"/>
                </a:lnTo>
                <a:lnTo>
                  <a:pt x="29" y="76"/>
                </a:lnTo>
                <a:lnTo>
                  <a:pt x="29" y="73"/>
                </a:lnTo>
                <a:lnTo>
                  <a:pt x="28" y="73"/>
                </a:lnTo>
                <a:lnTo>
                  <a:pt x="27" y="71"/>
                </a:lnTo>
                <a:lnTo>
                  <a:pt x="27" y="68"/>
                </a:lnTo>
                <a:lnTo>
                  <a:pt x="28" y="67"/>
                </a:lnTo>
                <a:lnTo>
                  <a:pt x="29" y="64"/>
                </a:lnTo>
                <a:lnTo>
                  <a:pt x="30" y="64"/>
                </a:lnTo>
                <a:lnTo>
                  <a:pt x="34" y="62"/>
                </a:lnTo>
                <a:lnTo>
                  <a:pt x="35" y="61"/>
                </a:lnTo>
                <a:lnTo>
                  <a:pt x="36" y="58"/>
                </a:lnTo>
                <a:lnTo>
                  <a:pt x="36" y="57"/>
                </a:lnTo>
                <a:lnTo>
                  <a:pt x="33" y="57"/>
                </a:lnTo>
                <a:lnTo>
                  <a:pt x="33" y="56"/>
                </a:lnTo>
                <a:lnTo>
                  <a:pt x="30" y="54"/>
                </a:lnTo>
                <a:lnTo>
                  <a:pt x="29" y="54"/>
                </a:lnTo>
                <a:lnTo>
                  <a:pt x="29" y="52"/>
                </a:lnTo>
                <a:lnTo>
                  <a:pt x="28" y="52"/>
                </a:lnTo>
                <a:lnTo>
                  <a:pt x="28" y="49"/>
                </a:lnTo>
                <a:lnTo>
                  <a:pt x="27" y="49"/>
                </a:lnTo>
                <a:lnTo>
                  <a:pt x="27" y="50"/>
                </a:lnTo>
                <a:lnTo>
                  <a:pt x="22" y="50"/>
                </a:lnTo>
                <a:lnTo>
                  <a:pt x="20" y="49"/>
                </a:lnTo>
                <a:lnTo>
                  <a:pt x="18" y="48"/>
                </a:lnTo>
                <a:lnTo>
                  <a:pt x="17" y="48"/>
                </a:lnTo>
                <a:lnTo>
                  <a:pt x="16" y="46"/>
                </a:lnTo>
                <a:lnTo>
                  <a:pt x="15" y="48"/>
                </a:lnTo>
                <a:lnTo>
                  <a:pt x="12" y="45"/>
                </a:lnTo>
                <a:lnTo>
                  <a:pt x="14" y="44"/>
                </a:lnTo>
                <a:lnTo>
                  <a:pt x="17" y="44"/>
                </a:lnTo>
                <a:lnTo>
                  <a:pt x="20" y="43"/>
                </a:lnTo>
                <a:lnTo>
                  <a:pt x="20" y="42"/>
                </a:lnTo>
                <a:lnTo>
                  <a:pt x="18" y="42"/>
                </a:lnTo>
                <a:lnTo>
                  <a:pt x="16" y="39"/>
                </a:lnTo>
                <a:lnTo>
                  <a:pt x="12" y="39"/>
                </a:lnTo>
                <a:lnTo>
                  <a:pt x="11" y="38"/>
                </a:lnTo>
                <a:lnTo>
                  <a:pt x="12" y="37"/>
                </a:lnTo>
                <a:lnTo>
                  <a:pt x="11" y="33"/>
                </a:lnTo>
                <a:lnTo>
                  <a:pt x="15" y="31"/>
                </a:lnTo>
                <a:lnTo>
                  <a:pt x="21" y="25"/>
                </a:lnTo>
                <a:lnTo>
                  <a:pt x="24" y="25"/>
                </a:lnTo>
                <a:lnTo>
                  <a:pt x="27" y="26"/>
                </a:lnTo>
                <a:lnTo>
                  <a:pt x="30" y="26"/>
                </a:lnTo>
                <a:lnTo>
                  <a:pt x="33" y="28"/>
                </a:lnTo>
                <a:lnTo>
                  <a:pt x="39" y="31"/>
                </a:lnTo>
                <a:lnTo>
                  <a:pt x="42" y="31"/>
                </a:lnTo>
                <a:lnTo>
                  <a:pt x="42" y="32"/>
                </a:lnTo>
                <a:lnTo>
                  <a:pt x="40" y="32"/>
                </a:lnTo>
                <a:lnTo>
                  <a:pt x="40" y="33"/>
                </a:lnTo>
                <a:lnTo>
                  <a:pt x="41" y="36"/>
                </a:lnTo>
                <a:lnTo>
                  <a:pt x="42" y="37"/>
                </a:lnTo>
                <a:lnTo>
                  <a:pt x="43" y="37"/>
                </a:lnTo>
                <a:lnTo>
                  <a:pt x="45" y="38"/>
                </a:lnTo>
                <a:lnTo>
                  <a:pt x="52" y="40"/>
                </a:lnTo>
                <a:lnTo>
                  <a:pt x="55" y="40"/>
                </a:lnTo>
                <a:lnTo>
                  <a:pt x="57" y="39"/>
                </a:lnTo>
                <a:lnTo>
                  <a:pt x="62" y="39"/>
                </a:lnTo>
                <a:lnTo>
                  <a:pt x="67" y="44"/>
                </a:lnTo>
                <a:lnTo>
                  <a:pt x="70" y="45"/>
                </a:lnTo>
                <a:lnTo>
                  <a:pt x="71" y="45"/>
                </a:lnTo>
                <a:lnTo>
                  <a:pt x="72" y="48"/>
                </a:lnTo>
                <a:lnTo>
                  <a:pt x="73" y="48"/>
                </a:lnTo>
                <a:lnTo>
                  <a:pt x="74" y="46"/>
                </a:lnTo>
                <a:lnTo>
                  <a:pt x="74" y="45"/>
                </a:lnTo>
                <a:lnTo>
                  <a:pt x="78" y="45"/>
                </a:lnTo>
                <a:lnTo>
                  <a:pt x="79" y="44"/>
                </a:lnTo>
                <a:lnTo>
                  <a:pt x="79" y="40"/>
                </a:lnTo>
                <a:lnTo>
                  <a:pt x="80" y="38"/>
                </a:lnTo>
                <a:lnTo>
                  <a:pt x="82" y="37"/>
                </a:lnTo>
                <a:lnTo>
                  <a:pt x="82" y="34"/>
                </a:lnTo>
                <a:lnTo>
                  <a:pt x="80" y="32"/>
                </a:lnTo>
                <a:lnTo>
                  <a:pt x="79" y="31"/>
                </a:lnTo>
                <a:lnTo>
                  <a:pt x="78" y="31"/>
                </a:lnTo>
                <a:lnTo>
                  <a:pt x="78" y="30"/>
                </a:lnTo>
                <a:lnTo>
                  <a:pt x="76" y="28"/>
                </a:lnTo>
                <a:lnTo>
                  <a:pt x="72" y="26"/>
                </a:lnTo>
                <a:lnTo>
                  <a:pt x="70" y="25"/>
                </a:lnTo>
                <a:lnTo>
                  <a:pt x="68" y="24"/>
                </a:lnTo>
                <a:lnTo>
                  <a:pt x="66" y="22"/>
                </a:lnTo>
                <a:lnTo>
                  <a:pt x="65" y="21"/>
                </a:lnTo>
                <a:lnTo>
                  <a:pt x="65" y="18"/>
                </a:lnTo>
                <a:lnTo>
                  <a:pt x="64" y="15"/>
                </a:lnTo>
                <a:lnTo>
                  <a:pt x="62" y="15"/>
                </a:lnTo>
                <a:lnTo>
                  <a:pt x="62" y="16"/>
                </a:lnTo>
                <a:lnTo>
                  <a:pt x="61" y="15"/>
                </a:lnTo>
                <a:lnTo>
                  <a:pt x="60" y="13"/>
                </a:lnTo>
                <a:lnTo>
                  <a:pt x="60" y="11"/>
                </a:lnTo>
                <a:lnTo>
                  <a:pt x="61" y="8"/>
                </a:lnTo>
                <a:lnTo>
                  <a:pt x="62" y="7"/>
                </a:lnTo>
                <a:lnTo>
                  <a:pt x="65" y="8"/>
                </a:lnTo>
                <a:lnTo>
                  <a:pt x="70" y="3"/>
                </a:lnTo>
                <a:lnTo>
                  <a:pt x="71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5" name="Freeform 56">
            <a:extLst>
              <a:ext uri="{FF2B5EF4-FFF2-40B4-BE49-F238E27FC236}">
                <a16:creationId xmlns:a16="http://schemas.microsoft.com/office/drawing/2014/main" id="{225AAFB0-E535-4910-AC7C-9773F2CDF0D1}"/>
              </a:ext>
            </a:extLst>
          </p:cNvPr>
          <p:cNvSpPr>
            <a:spLocks noEditPoints="1"/>
          </p:cNvSpPr>
          <p:nvPr/>
        </p:nvSpPr>
        <p:spPr bwMode="auto">
          <a:xfrm>
            <a:off x="1814169" y="4808885"/>
            <a:ext cx="465110" cy="239076"/>
          </a:xfrm>
          <a:custGeom>
            <a:avLst/>
            <a:gdLst/>
            <a:ahLst/>
            <a:cxnLst>
              <a:cxn ang="0">
                <a:pos x="113" y="82"/>
              </a:cxn>
              <a:cxn ang="0">
                <a:pos x="231" y="0"/>
              </a:cxn>
              <a:cxn ang="0">
                <a:pos x="246" y="2"/>
              </a:cxn>
              <a:cxn ang="0">
                <a:pos x="264" y="10"/>
              </a:cxn>
              <a:cxn ang="0">
                <a:pos x="287" y="18"/>
              </a:cxn>
              <a:cxn ang="0">
                <a:pos x="299" y="16"/>
              </a:cxn>
              <a:cxn ang="0">
                <a:pos x="312" y="26"/>
              </a:cxn>
              <a:cxn ang="0">
                <a:pos x="310" y="43"/>
              </a:cxn>
              <a:cxn ang="0">
                <a:pos x="317" y="57"/>
              </a:cxn>
              <a:cxn ang="0">
                <a:pos x="318" y="67"/>
              </a:cxn>
              <a:cxn ang="0">
                <a:pos x="316" y="75"/>
              </a:cxn>
              <a:cxn ang="0">
                <a:pos x="308" y="84"/>
              </a:cxn>
              <a:cxn ang="0">
                <a:pos x="295" y="81"/>
              </a:cxn>
              <a:cxn ang="0">
                <a:pos x="295" y="87"/>
              </a:cxn>
              <a:cxn ang="0">
                <a:pos x="301" y="99"/>
              </a:cxn>
              <a:cxn ang="0">
                <a:pos x="291" y="112"/>
              </a:cxn>
              <a:cxn ang="0">
                <a:pos x="292" y="121"/>
              </a:cxn>
              <a:cxn ang="0">
                <a:pos x="290" y="127"/>
              </a:cxn>
              <a:cxn ang="0">
                <a:pos x="278" y="135"/>
              </a:cxn>
              <a:cxn ang="0">
                <a:pos x="271" y="146"/>
              </a:cxn>
              <a:cxn ang="0">
                <a:pos x="253" y="148"/>
              </a:cxn>
              <a:cxn ang="0">
                <a:pos x="228" y="150"/>
              </a:cxn>
              <a:cxn ang="0">
                <a:pos x="220" y="159"/>
              </a:cxn>
              <a:cxn ang="0">
                <a:pos x="211" y="165"/>
              </a:cxn>
              <a:cxn ang="0">
                <a:pos x="192" y="159"/>
              </a:cxn>
              <a:cxn ang="0">
                <a:pos x="167" y="155"/>
              </a:cxn>
              <a:cxn ang="0">
                <a:pos x="137" y="149"/>
              </a:cxn>
              <a:cxn ang="0">
                <a:pos x="118" y="142"/>
              </a:cxn>
              <a:cxn ang="0">
                <a:pos x="110" y="129"/>
              </a:cxn>
              <a:cxn ang="0">
                <a:pos x="98" y="127"/>
              </a:cxn>
              <a:cxn ang="0">
                <a:pos x="85" y="128"/>
              </a:cxn>
              <a:cxn ang="0">
                <a:pos x="69" y="129"/>
              </a:cxn>
              <a:cxn ang="0">
                <a:pos x="56" y="142"/>
              </a:cxn>
              <a:cxn ang="0">
                <a:pos x="47" y="136"/>
              </a:cxn>
              <a:cxn ang="0">
                <a:pos x="32" y="131"/>
              </a:cxn>
              <a:cxn ang="0">
                <a:pos x="15" y="127"/>
              </a:cxn>
              <a:cxn ang="0">
                <a:pos x="3" y="117"/>
              </a:cxn>
              <a:cxn ang="0">
                <a:pos x="0" y="94"/>
              </a:cxn>
              <a:cxn ang="0">
                <a:pos x="17" y="94"/>
              </a:cxn>
              <a:cxn ang="0">
                <a:pos x="22" y="102"/>
              </a:cxn>
              <a:cxn ang="0">
                <a:pos x="26" y="109"/>
              </a:cxn>
              <a:cxn ang="0">
                <a:pos x="37" y="97"/>
              </a:cxn>
              <a:cxn ang="0">
                <a:pos x="51" y="94"/>
              </a:cxn>
              <a:cxn ang="0">
                <a:pos x="61" y="100"/>
              </a:cxn>
              <a:cxn ang="0">
                <a:pos x="74" y="102"/>
              </a:cxn>
              <a:cxn ang="0">
                <a:pos x="86" y="94"/>
              </a:cxn>
              <a:cxn ang="0">
                <a:pos x="116" y="85"/>
              </a:cxn>
              <a:cxn ang="0">
                <a:pos x="127" y="88"/>
              </a:cxn>
              <a:cxn ang="0">
                <a:pos x="137" y="93"/>
              </a:cxn>
              <a:cxn ang="0">
                <a:pos x="149" y="85"/>
              </a:cxn>
              <a:cxn ang="0">
                <a:pos x="144" y="73"/>
              </a:cxn>
              <a:cxn ang="0">
                <a:pos x="136" y="57"/>
              </a:cxn>
              <a:cxn ang="0">
                <a:pos x="160" y="44"/>
              </a:cxn>
              <a:cxn ang="0">
                <a:pos x="168" y="27"/>
              </a:cxn>
              <a:cxn ang="0">
                <a:pos x="180" y="26"/>
              </a:cxn>
              <a:cxn ang="0">
                <a:pos x="184" y="18"/>
              </a:cxn>
              <a:cxn ang="0">
                <a:pos x="190" y="25"/>
              </a:cxn>
              <a:cxn ang="0">
                <a:pos x="206" y="27"/>
              </a:cxn>
              <a:cxn ang="0">
                <a:pos x="218" y="27"/>
              </a:cxn>
              <a:cxn ang="0">
                <a:pos x="228" y="13"/>
              </a:cxn>
            </a:cxnLst>
            <a:rect l="0" t="0" r="r" b="b"/>
            <a:pathLst>
              <a:path w="321" h="165">
                <a:moveTo>
                  <a:pt x="38" y="91"/>
                </a:moveTo>
                <a:lnTo>
                  <a:pt x="40" y="91"/>
                </a:lnTo>
                <a:lnTo>
                  <a:pt x="40" y="92"/>
                </a:lnTo>
                <a:lnTo>
                  <a:pt x="38" y="93"/>
                </a:lnTo>
                <a:lnTo>
                  <a:pt x="37" y="93"/>
                </a:lnTo>
                <a:lnTo>
                  <a:pt x="37" y="92"/>
                </a:lnTo>
                <a:lnTo>
                  <a:pt x="38" y="91"/>
                </a:lnTo>
                <a:close/>
                <a:moveTo>
                  <a:pt x="112" y="82"/>
                </a:moveTo>
                <a:lnTo>
                  <a:pt x="113" y="82"/>
                </a:lnTo>
                <a:lnTo>
                  <a:pt x="113" y="85"/>
                </a:lnTo>
                <a:lnTo>
                  <a:pt x="112" y="85"/>
                </a:lnTo>
                <a:lnTo>
                  <a:pt x="112" y="82"/>
                </a:lnTo>
                <a:close/>
                <a:moveTo>
                  <a:pt x="115" y="81"/>
                </a:moveTo>
                <a:lnTo>
                  <a:pt x="115" y="82"/>
                </a:lnTo>
                <a:lnTo>
                  <a:pt x="113" y="82"/>
                </a:lnTo>
                <a:lnTo>
                  <a:pt x="115" y="81"/>
                </a:lnTo>
                <a:close/>
                <a:moveTo>
                  <a:pt x="230" y="0"/>
                </a:moveTo>
                <a:lnTo>
                  <a:pt x="231" y="0"/>
                </a:lnTo>
                <a:lnTo>
                  <a:pt x="234" y="1"/>
                </a:lnTo>
                <a:lnTo>
                  <a:pt x="236" y="1"/>
                </a:lnTo>
                <a:lnTo>
                  <a:pt x="237" y="2"/>
                </a:lnTo>
                <a:lnTo>
                  <a:pt x="237" y="5"/>
                </a:lnTo>
                <a:lnTo>
                  <a:pt x="241" y="5"/>
                </a:lnTo>
                <a:lnTo>
                  <a:pt x="241" y="4"/>
                </a:lnTo>
                <a:lnTo>
                  <a:pt x="242" y="4"/>
                </a:lnTo>
                <a:lnTo>
                  <a:pt x="242" y="2"/>
                </a:lnTo>
                <a:lnTo>
                  <a:pt x="246" y="2"/>
                </a:lnTo>
                <a:lnTo>
                  <a:pt x="248" y="4"/>
                </a:lnTo>
                <a:lnTo>
                  <a:pt x="249" y="5"/>
                </a:lnTo>
                <a:lnTo>
                  <a:pt x="251" y="5"/>
                </a:lnTo>
                <a:lnTo>
                  <a:pt x="253" y="7"/>
                </a:lnTo>
                <a:lnTo>
                  <a:pt x="254" y="7"/>
                </a:lnTo>
                <a:lnTo>
                  <a:pt x="256" y="8"/>
                </a:lnTo>
                <a:lnTo>
                  <a:pt x="260" y="11"/>
                </a:lnTo>
                <a:lnTo>
                  <a:pt x="262" y="11"/>
                </a:lnTo>
                <a:lnTo>
                  <a:pt x="264" y="10"/>
                </a:lnTo>
                <a:lnTo>
                  <a:pt x="266" y="10"/>
                </a:lnTo>
                <a:lnTo>
                  <a:pt x="266" y="11"/>
                </a:lnTo>
                <a:lnTo>
                  <a:pt x="268" y="11"/>
                </a:lnTo>
                <a:lnTo>
                  <a:pt x="267" y="12"/>
                </a:lnTo>
                <a:lnTo>
                  <a:pt x="270" y="12"/>
                </a:lnTo>
                <a:lnTo>
                  <a:pt x="270" y="13"/>
                </a:lnTo>
                <a:lnTo>
                  <a:pt x="274" y="17"/>
                </a:lnTo>
                <a:lnTo>
                  <a:pt x="277" y="18"/>
                </a:lnTo>
                <a:lnTo>
                  <a:pt x="287" y="18"/>
                </a:lnTo>
                <a:lnTo>
                  <a:pt x="289" y="19"/>
                </a:lnTo>
                <a:lnTo>
                  <a:pt x="289" y="18"/>
                </a:lnTo>
                <a:lnTo>
                  <a:pt x="291" y="14"/>
                </a:lnTo>
                <a:lnTo>
                  <a:pt x="293" y="14"/>
                </a:lnTo>
                <a:lnTo>
                  <a:pt x="295" y="13"/>
                </a:lnTo>
                <a:lnTo>
                  <a:pt x="296" y="13"/>
                </a:lnTo>
                <a:lnTo>
                  <a:pt x="296" y="14"/>
                </a:lnTo>
                <a:lnTo>
                  <a:pt x="298" y="14"/>
                </a:lnTo>
                <a:lnTo>
                  <a:pt x="299" y="16"/>
                </a:lnTo>
                <a:lnTo>
                  <a:pt x="301" y="16"/>
                </a:lnTo>
                <a:lnTo>
                  <a:pt x="301" y="18"/>
                </a:lnTo>
                <a:lnTo>
                  <a:pt x="304" y="18"/>
                </a:lnTo>
                <a:lnTo>
                  <a:pt x="307" y="20"/>
                </a:lnTo>
                <a:lnTo>
                  <a:pt x="308" y="19"/>
                </a:lnTo>
                <a:lnTo>
                  <a:pt x="310" y="19"/>
                </a:lnTo>
                <a:lnTo>
                  <a:pt x="311" y="20"/>
                </a:lnTo>
                <a:lnTo>
                  <a:pt x="311" y="25"/>
                </a:lnTo>
                <a:lnTo>
                  <a:pt x="312" y="26"/>
                </a:lnTo>
                <a:lnTo>
                  <a:pt x="314" y="30"/>
                </a:lnTo>
                <a:lnTo>
                  <a:pt x="312" y="30"/>
                </a:lnTo>
                <a:lnTo>
                  <a:pt x="312" y="31"/>
                </a:lnTo>
                <a:lnTo>
                  <a:pt x="311" y="32"/>
                </a:lnTo>
                <a:lnTo>
                  <a:pt x="311" y="33"/>
                </a:lnTo>
                <a:lnTo>
                  <a:pt x="309" y="36"/>
                </a:lnTo>
                <a:lnTo>
                  <a:pt x="309" y="42"/>
                </a:lnTo>
                <a:lnTo>
                  <a:pt x="310" y="42"/>
                </a:lnTo>
                <a:lnTo>
                  <a:pt x="310" y="43"/>
                </a:lnTo>
                <a:lnTo>
                  <a:pt x="311" y="43"/>
                </a:lnTo>
                <a:lnTo>
                  <a:pt x="311" y="47"/>
                </a:lnTo>
                <a:lnTo>
                  <a:pt x="312" y="47"/>
                </a:lnTo>
                <a:lnTo>
                  <a:pt x="312" y="48"/>
                </a:lnTo>
                <a:lnTo>
                  <a:pt x="314" y="48"/>
                </a:lnTo>
                <a:lnTo>
                  <a:pt x="314" y="54"/>
                </a:lnTo>
                <a:lnTo>
                  <a:pt x="316" y="56"/>
                </a:lnTo>
                <a:lnTo>
                  <a:pt x="317" y="56"/>
                </a:lnTo>
                <a:lnTo>
                  <a:pt x="317" y="57"/>
                </a:lnTo>
                <a:lnTo>
                  <a:pt x="318" y="59"/>
                </a:lnTo>
                <a:lnTo>
                  <a:pt x="318" y="60"/>
                </a:lnTo>
                <a:lnTo>
                  <a:pt x="317" y="61"/>
                </a:lnTo>
                <a:lnTo>
                  <a:pt x="318" y="61"/>
                </a:lnTo>
                <a:lnTo>
                  <a:pt x="318" y="62"/>
                </a:lnTo>
                <a:lnTo>
                  <a:pt x="320" y="63"/>
                </a:lnTo>
                <a:lnTo>
                  <a:pt x="321" y="63"/>
                </a:lnTo>
                <a:lnTo>
                  <a:pt x="321" y="64"/>
                </a:lnTo>
                <a:lnTo>
                  <a:pt x="318" y="67"/>
                </a:lnTo>
                <a:lnTo>
                  <a:pt x="320" y="67"/>
                </a:lnTo>
                <a:lnTo>
                  <a:pt x="320" y="68"/>
                </a:lnTo>
                <a:lnTo>
                  <a:pt x="318" y="68"/>
                </a:lnTo>
                <a:lnTo>
                  <a:pt x="318" y="72"/>
                </a:lnTo>
                <a:lnTo>
                  <a:pt x="317" y="73"/>
                </a:lnTo>
                <a:lnTo>
                  <a:pt x="315" y="73"/>
                </a:lnTo>
                <a:lnTo>
                  <a:pt x="315" y="74"/>
                </a:lnTo>
                <a:lnTo>
                  <a:pt x="316" y="74"/>
                </a:lnTo>
                <a:lnTo>
                  <a:pt x="316" y="75"/>
                </a:lnTo>
                <a:lnTo>
                  <a:pt x="317" y="75"/>
                </a:lnTo>
                <a:lnTo>
                  <a:pt x="317" y="82"/>
                </a:lnTo>
                <a:lnTo>
                  <a:pt x="318" y="82"/>
                </a:lnTo>
                <a:lnTo>
                  <a:pt x="318" y="84"/>
                </a:lnTo>
                <a:lnTo>
                  <a:pt x="315" y="84"/>
                </a:lnTo>
                <a:lnTo>
                  <a:pt x="311" y="85"/>
                </a:lnTo>
                <a:lnTo>
                  <a:pt x="309" y="85"/>
                </a:lnTo>
                <a:lnTo>
                  <a:pt x="309" y="82"/>
                </a:lnTo>
                <a:lnTo>
                  <a:pt x="308" y="84"/>
                </a:lnTo>
                <a:lnTo>
                  <a:pt x="308" y="85"/>
                </a:lnTo>
                <a:lnTo>
                  <a:pt x="304" y="85"/>
                </a:lnTo>
                <a:lnTo>
                  <a:pt x="303" y="84"/>
                </a:lnTo>
                <a:lnTo>
                  <a:pt x="303" y="82"/>
                </a:lnTo>
                <a:lnTo>
                  <a:pt x="302" y="81"/>
                </a:lnTo>
                <a:lnTo>
                  <a:pt x="298" y="80"/>
                </a:lnTo>
                <a:lnTo>
                  <a:pt x="297" y="80"/>
                </a:lnTo>
                <a:lnTo>
                  <a:pt x="296" y="81"/>
                </a:lnTo>
                <a:lnTo>
                  <a:pt x="295" y="81"/>
                </a:lnTo>
                <a:lnTo>
                  <a:pt x="296" y="82"/>
                </a:lnTo>
                <a:lnTo>
                  <a:pt x="295" y="82"/>
                </a:lnTo>
                <a:lnTo>
                  <a:pt x="295" y="84"/>
                </a:lnTo>
                <a:lnTo>
                  <a:pt x="293" y="84"/>
                </a:lnTo>
                <a:lnTo>
                  <a:pt x="292" y="85"/>
                </a:lnTo>
                <a:lnTo>
                  <a:pt x="291" y="84"/>
                </a:lnTo>
                <a:lnTo>
                  <a:pt x="291" y="86"/>
                </a:lnTo>
                <a:lnTo>
                  <a:pt x="293" y="87"/>
                </a:lnTo>
                <a:lnTo>
                  <a:pt x="295" y="87"/>
                </a:lnTo>
                <a:lnTo>
                  <a:pt x="297" y="88"/>
                </a:lnTo>
                <a:lnTo>
                  <a:pt x="299" y="88"/>
                </a:lnTo>
                <a:lnTo>
                  <a:pt x="301" y="90"/>
                </a:lnTo>
                <a:lnTo>
                  <a:pt x="301" y="92"/>
                </a:lnTo>
                <a:lnTo>
                  <a:pt x="302" y="93"/>
                </a:lnTo>
                <a:lnTo>
                  <a:pt x="302" y="96"/>
                </a:lnTo>
                <a:lnTo>
                  <a:pt x="301" y="96"/>
                </a:lnTo>
                <a:lnTo>
                  <a:pt x="299" y="97"/>
                </a:lnTo>
                <a:lnTo>
                  <a:pt x="301" y="99"/>
                </a:lnTo>
                <a:lnTo>
                  <a:pt x="299" y="99"/>
                </a:lnTo>
                <a:lnTo>
                  <a:pt x="298" y="100"/>
                </a:lnTo>
                <a:lnTo>
                  <a:pt x="293" y="103"/>
                </a:lnTo>
                <a:lnTo>
                  <a:pt x="292" y="102"/>
                </a:lnTo>
                <a:lnTo>
                  <a:pt x="291" y="103"/>
                </a:lnTo>
                <a:lnTo>
                  <a:pt x="291" y="106"/>
                </a:lnTo>
                <a:lnTo>
                  <a:pt x="292" y="109"/>
                </a:lnTo>
                <a:lnTo>
                  <a:pt x="293" y="110"/>
                </a:lnTo>
                <a:lnTo>
                  <a:pt x="291" y="112"/>
                </a:lnTo>
                <a:lnTo>
                  <a:pt x="291" y="113"/>
                </a:lnTo>
                <a:lnTo>
                  <a:pt x="290" y="115"/>
                </a:lnTo>
                <a:lnTo>
                  <a:pt x="290" y="116"/>
                </a:lnTo>
                <a:lnTo>
                  <a:pt x="291" y="116"/>
                </a:lnTo>
                <a:lnTo>
                  <a:pt x="291" y="118"/>
                </a:lnTo>
                <a:lnTo>
                  <a:pt x="295" y="118"/>
                </a:lnTo>
                <a:lnTo>
                  <a:pt x="295" y="119"/>
                </a:lnTo>
                <a:lnTo>
                  <a:pt x="293" y="121"/>
                </a:lnTo>
                <a:lnTo>
                  <a:pt x="292" y="121"/>
                </a:lnTo>
                <a:lnTo>
                  <a:pt x="292" y="123"/>
                </a:lnTo>
                <a:lnTo>
                  <a:pt x="293" y="123"/>
                </a:lnTo>
                <a:lnTo>
                  <a:pt x="293" y="124"/>
                </a:lnTo>
                <a:lnTo>
                  <a:pt x="291" y="125"/>
                </a:lnTo>
                <a:lnTo>
                  <a:pt x="292" y="125"/>
                </a:lnTo>
                <a:lnTo>
                  <a:pt x="293" y="127"/>
                </a:lnTo>
                <a:lnTo>
                  <a:pt x="292" y="128"/>
                </a:lnTo>
                <a:lnTo>
                  <a:pt x="290" y="128"/>
                </a:lnTo>
                <a:lnTo>
                  <a:pt x="290" y="127"/>
                </a:lnTo>
                <a:lnTo>
                  <a:pt x="285" y="127"/>
                </a:lnTo>
                <a:lnTo>
                  <a:pt x="284" y="128"/>
                </a:lnTo>
                <a:lnTo>
                  <a:pt x="284" y="129"/>
                </a:lnTo>
                <a:lnTo>
                  <a:pt x="283" y="129"/>
                </a:lnTo>
                <a:lnTo>
                  <a:pt x="283" y="131"/>
                </a:lnTo>
                <a:lnTo>
                  <a:pt x="282" y="131"/>
                </a:lnTo>
                <a:lnTo>
                  <a:pt x="280" y="133"/>
                </a:lnTo>
                <a:lnTo>
                  <a:pt x="279" y="133"/>
                </a:lnTo>
                <a:lnTo>
                  <a:pt x="278" y="135"/>
                </a:lnTo>
                <a:lnTo>
                  <a:pt x="277" y="136"/>
                </a:lnTo>
                <a:lnTo>
                  <a:pt x="276" y="136"/>
                </a:lnTo>
                <a:lnTo>
                  <a:pt x="274" y="137"/>
                </a:lnTo>
                <a:lnTo>
                  <a:pt x="272" y="137"/>
                </a:lnTo>
                <a:lnTo>
                  <a:pt x="272" y="144"/>
                </a:lnTo>
                <a:lnTo>
                  <a:pt x="273" y="144"/>
                </a:lnTo>
                <a:lnTo>
                  <a:pt x="273" y="147"/>
                </a:lnTo>
                <a:lnTo>
                  <a:pt x="272" y="146"/>
                </a:lnTo>
                <a:lnTo>
                  <a:pt x="271" y="146"/>
                </a:lnTo>
                <a:lnTo>
                  <a:pt x="268" y="144"/>
                </a:lnTo>
                <a:lnTo>
                  <a:pt x="264" y="144"/>
                </a:lnTo>
                <a:lnTo>
                  <a:pt x="262" y="146"/>
                </a:lnTo>
                <a:lnTo>
                  <a:pt x="261" y="146"/>
                </a:lnTo>
                <a:lnTo>
                  <a:pt x="259" y="144"/>
                </a:lnTo>
                <a:lnTo>
                  <a:pt x="258" y="144"/>
                </a:lnTo>
                <a:lnTo>
                  <a:pt x="258" y="147"/>
                </a:lnTo>
                <a:lnTo>
                  <a:pt x="254" y="147"/>
                </a:lnTo>
                <a:lnTo>
                  <a:pt x="253" y="148"/>
                </a:lnTo>
                <a:lnTo>
                  <a:pt x="253" y="150"/>
                </a:lnTo>
                <a:lnTo>
                  <a:pt x="249" y="150"/>
                </a:lnTo>
                <a:lnTo>
                  <a:pt x="248" y="149"/>
                </a:lnTo>
                <a:lnTo>
                  <a:pt x="234" y="149"/>
                </a:lnTo>
                <a:lnTo>
                  <a:pt x="234" y="148"/>
                </a:lnTo>
                <a:lnTo>
                  <a:pt x="231" y="149"/>
                </a:lnTo>
                <a:lnTo>
                  <a:pt x="229" y="152"/>
                </a:lnTo>
                <a:lnTo>
                  <a:pt x="229" y="150"/>
                </a:lnTo>
                <a:lnTo>
                  <a:pt x="228" y="150"/>
                </a:lnTo>
                <a:lnTo>
                  <a:pt x="227" y="152"/>
                </a:lnTo>
                <a:lnTo>
                  <a:pt x="224" y="152"/>
                </a:lnTo>
                <a:lnTo>
                  <a:pt x="224" y="153"/>
                </a:lnTo>
                <a:lnTo>
                  <a:pt x="223" y="154"/>
                </a:lnTo>
                <a:lnTo>
                  <a:pt x="223" y="155"/>
                </a:lnTo>
                <a:lnTo>
                  <a:pt x="222" y="156"/>
                </a:lnTo>
                <a:lnTo>
                  <a:pt x="222" y="158"/>
                </a:lnTo>
                <a:lnTo>
                  <a:pt x="221" y="158"/>
                </a:lnTo>
                <a:lnTo>
                  <a:pt x="220" y="159"/>
                </a:lnTo>
                <a:lnTo>
                  <a:pt x="220" y="158"/>
                </a:lnTo>
                <a:lnTo>
                  <a:pt x="217" y="160"/>
                </a:lnTo>
                <a:lnTo>
                  <a:pt x="216" y="160"/>
                </a:lnTo>
                <a:lnTo>
                  <a:pt x="216" y="161"/>
                </a:lnTo>
                <a:lnTo>
                  <a:pt x="214" y="161"/>
                </a:lnTo>
                <a:lnTo>
                  <a:pt x="214" y="162"/>
                </a:lnTo>
                <a:lnTo>
                  <a:pt x="212" y="162"/>
                </a:lnTo>
                <a:lnTo>
                  <a:pt x="212" y="165"/>
                </a:lnTo>
                <a:lnTo>
                  <a:pt x="211" y="165"/>
                </a:lnTo>
                <a:lnTo>
                  <a:pt x="210" y="164"/>
                </a:lnTo>
                <a:lnTo>
                  <a:pt x="210" y="162"/>
                </a:lnTo>
                <a:lnTo>
                  <a:pt x="209" y="164"/>
                </a:lnTo>
                <a:lnTo>
                  <a:pt x="208" y="164"/>
                </a:lnTo>
                <a:lnTo>
                  <a:pt x="208" y="162"/>
                </a:lnTo>
                <a:lnTo>
                  <a:pt x="206" y="162"/>
                </a:lnTo>
                <a:lnTo>
                  <a:pt x="205" y="161"/>
                </a:lnTo>
                <a:lnTo>
                  <a:pt x="195" y="161"/>
                </a:lnTo>
                <a:lnTo>
                  <a:pt x="192" y="159"/>
                </a:lnTo>
                <a:lnTo>
                  <a:pt x="187" y="159"/>
                </a:lnTo>
                <a:lnTo>
                  <a:pt x="184" y="158"/>
                </a:lnTo>
                <a:lnTo>
                  <a:pt x="183" y="156"/>
                </a:lnTo>
                <a:lnTo>
                  <a:pt x="180" y="158"/>
                </a:lnTo>
                <a:lnTo>
                  <a:pt x="179" y="158"/>
                </a:lnTo>
                <a:lnTo>
                  <a:pt x="177" y="156"/>
                </a:lnTo>
                <a:lnTo>
                  <a:pt x="174" y="156"/>
                </a:lnTo>
                <a:lnTo>
                  <a:pt x="169" y="155"/>
                </a:lnTo>
                <a:lnTo>
                  <a:pt x="167" y="155"/>
                </a:lnTo>
                <a:lnTo>
                  <a:pt x="167" y="154"/>
                </a:lnTo>
                <a:lnTo>
                  <a:pt x="162" y="154"/>
                </a:lnTo>
                <a:lnTo>
                  <a:pt x="158" y="155"/>
                </a:lnTo>
                <a:lnTo>
                  <a:pt x="156" y="154"/>
                </a:lnTo>
                <a:lnTo>
                  <a:pt x="155" y="154"/>
                </a:lnTo>
                <a:lnTo>
                  <a:pt x="153" y="153"/>
                </a:lnTo>
                <a:lnTo>
                  <a:pt x="149" y="152"/>
                </a:lnTo>
                <a:lnTo>
                  <a:pt x="140" y="152"/>
                </a:lnTo>
                <a:lnTo>
                  <a:pt x="137" y="149"/>
                </a:lnTo>
                <a:lnTo>
                  <a:pt x="134" y="149"/>
                </a:lnTo>
                <a:lnTo>
                  <a:pt x="133" y="148"/>
                </a:lnTo>
                <a:lnTo>
                  <a:pt x="127" y="148"/>
                </a:lnTo>
                <a:lnTo>
                  <a:pt x="125" y="147"/>
                </a:lnTo>
                <a:lnTo>
                  <a:pt x="123" y="147"/>
                </a:lnTo>
                <a:lnTo>
                  <a:pt x="122" y="146"/>
                </a:lnTo>
                <a:lnTo>
                  <a:pt x="119" y="144"/>
                </a:lnTo>
                <a:lnTo>
                  <a:pt x="119" y="143"/>
                </a:lnTo>
                <a:lnTo>
                  <a:pt x="118" y="142"/>
                </a:lnTo>
                <a:lnTo>
                  <a:pt x="118" y="141"/>
                </a:lnTo>
                <a:lnTo>
                  <a:pt x="116" y="141"/>
                </a:lnTo>
                <a:lnTo>
                  <a:pt x="116" y="135"/>
                </a:lnTo>
                <a:lnTo>
                  <a:pt x="112" y="135"/>
                </a:lnTo>
                <a:lnTo>
                  <a:pt x="112" y="134"/>
                </a:lnTo>
                <a:lnTo>
                  <a:pt x="111" y="134"/>
                </a:lnTo>
                <a:lnTo>
                  <a:pt x="111" y="133"/>
                </a:lnTo>
                <a:lnTo>
                  <a:pt x="110" y="133"/>
                </a:lnTo>
                <a:lnTo>
                  <a:pt x="110" y="129"/>
                </a:lnTo>
                <a:lnTo>
                  <a:pt x="109" y="128"/>
                </a:lnTo>
                <a:lnTo>
                  <a:pt x="110" y="127"/>
                </a:lnTo>
                <a:lnTo>
                  <a:pt x="112" y="125"/>
                </a:lnTo>
                <a:lnTo>
                  <a:pt x="112" y="122"/>
                </a:lnTo>
                <a:lnTo>
                  <a:pt x="109" y="122"/>
                </a:lnTo>
                <a:lnTo>
                  <a:pt x="105" y="124"/>
                </a:lnTo>
                <a:lnTo>
                  <a:pt x="102" y="124"/>
                </a:lnTo>
                <a:lnTo>
                  <a:pt x="100" y="125"/>
                </a:lnTo>
                <a:lnTo>
                  <a:pt x="98" y="127"/>
                </a:lnTo>
                <a:lnTo>
                  <a:pt x="97" y="128"/>
                </a:lnTo>
                <a:lnTo>
                  <a:pt x="94" y="128"/>
                </a:lnTo>
                <a:lnTo>
                  <a:pt x="93" y="129"/>
                </a:lnTo>
                <a:lnTo>
                  <a:pt x="92" y="129"/>
                </a:lnTo>
                <a:lnTo>
                  <a:pt x="91" y="128"/>
                </a:lnTo>
                <a:lnTo>
                  <a:pt x="90" y="128"/>
                </a:lnTo>
                <a:lnTo>
                  <a:pt x="87" y="127"/>
                </a:lnTo>
                <a:lnTo>
                  <a:pt x="86" y="127"/>
                </a:lnTo>
                <a:lnTo>
                  <a:pt x="85" y="128"/>
                </a:lnTo>
                <a:lnTo>
                  <a:pt x="84" y="128"/>
                </a:lnTo>
                <a:lnTo>
                  <a:pt x="82" y="127"/>
                </a:lnTo>
                <a:lnTo>
                  <a:pt x="81" y="127"/>
                </a:lnTo>
                <a:lnTo>
                  <a:pt x="81" y="128"/>
                </a:lnTo>
                <a:lnTo>
                  <a:pt x="79" y="129"/>
                </a:lnTo>
                <a:lnTo>
                  <a:pt x="78" y="129"/>
                </a:lnTo>
                <a:lnTo>
                  <a:pt x="77" y="128"/>
                </a:lnTo>
                <a:lnTo>
                  <a:pt x="72" y="128"/>
                </a:lnTo>
                <a:lnTo>
                  <a:pt x="69" y="129"/>
                </a:lnTo>
                <a:lnTo>
                  <a:pt x="66" y="133"/>
                </a:lnTo>
                <a:lnTo>
                  <a:pt x="66" y="134"/>
                </a:lnTo>
                <a:lnTo>
                  <a:pt x="65" y="135"/>
                </a:lnTo>
                <a:lnTo>
                  <a:pt x="65" y="139"/>
                </a:lnTo>
                <a:lnTo>
                  <a:pt x="63" y="139"/>
                </a:lnTo>
                <a:lnTo>
                  <a:pt x="62" y="141"/>
                </a:lnTo>
                <a:lnTo>
                  <a:pt x="59" y="141"/>
                </a:lnTo>
                <a:lnTo>
                  <a:pt x="57" y="142"/>
                </a:lnTo>
                <a:lnTo>
                  <a:pt x="56" y="142"/>
                </a:lnTo>
                <a:lnTo>
                  <a:pt x="56" y="141"/>
                </a:lnTo>
                <a:lnTo>
                  <a:pt x="54" y="141"/>
                </a:lnTo>
                <a:lnTo>
                  <a:pt x="53" y="140"/>
                </a:lnTo>
                <a:lnTo>
                  <a:pt x="50" y="140"/>
                </a:lnTo>
                <a:lnTo>
                  <a:pt x="51" y="139"/>
                </a:lnTo>
                <a:lnTo>
                  <a:pt x="51" y="137"/>
                </a:lnTo>
                <a:lnTo>
                  <a:pt x="48" y="136"/>
                </a:lnTo>
                <a:lnTo>
                  <a:pt x="47" y="135"/>
                </a:lnTo>
                <a:lnTo>
                  <a:pt x="47" y="136"/>
                </a:lnTo>
                <a:lnTo>
                  <a:pt x="42" y="137"/>
                </a:lnTo>
                <a:lnTo>
                  <a:pt x="38" y="134"/>
                </a:lnTo>
                <a:lnTo>
                  <a:pt x="40" y="133"/>
                </a:lnTo>
                <a:lnTo>
                  <a:pt x="40" y="131"/>
                </a:lnTo>
                <a:lnTo>
                  <a:pt x="36" y="128"/>
                </a:lnTo>
                <a:lnTo>
                  <a:pt x="34" y="128"/>
                </a:lnTo>
                <a:lnTo>
                  <a:pt x="34" y="129"/>
                </a:lnTo>
                <a:lnTo>
                  <a:pt x="32" y="130"/>
                </a:lnTo>
                <a:lnTo>
                  <a:pt x="32" y="131"/>
                </a:lnTo>
                <a:lnTo>
                  <a:pt x="30" y="131"/>
                </a:lnTo>
                <a:lnTo>
                  <a:pt x="29" y="133"/>
                </a:lnTo>
                <a:lnTo>
                  <a:pt x="29" y="135"/>
                </a:lnTo>
                <a:lnTo>
                  <a:pt x="26" y="136"/>
                </a:lnTo>
                <a:lnTo>
                  <a:pt x="23" y="136"/>
                </a:lnTo>
                <a:lnTo>
                  <a:pt x="20" y="134"/>
                </a:lnTo>
                <a:lnTo>
                  <a:pt x="16" y="133"/>
                </a:lnTo>
                <a:lnTo>
                  <a:pt x="15" y="131"/>
                </a:lnTo>
                <a:lnTo>
                  <a:pt x="15" y="127"/>
                </a:lnTo>
                <a:lnTo>
                  <a:pt x="13" y="127"/>
                </a:lnTo>
                <a:lnTo>
                  <a:pt x="6" y="124"/>
                </a:lnTo>
                <a:lnTo>
                  <a:pt x="5" y="123"/>
                </a:lnTo>
                <a:lnTo>
                  <a:pt x="3" y="124"/>
                </a:lnTo>
                <a:lnTo>
                  <a:pt x="3" y="123"/>
                </a:lnTo>
                <a:lnTo>
                  <a:pt x="4" y="122"/>
                </a:lnTo>
                <a:lnTo>
                  <a:pt x="4" y="121"/>
                </a:lnTo>
                <a:lnTo>
                  <a:pt x="3" y="119"/>
                </a:lnTo>
                <a:lnTo>
                  <a:pt x="3" y="117"/>
                </a:lnTo>
                <a:lnTo>
                  <a:pt x="1" y="117"/>
                </a:lnTo>
                <a:lnTo>
                  <a:pt x="1" y="113"/>
                </a:lnTo>
                <a:lnTo>
                  <a:pt x="0" y="113"/>
                </a:lnTo>
                <a:lnTo>
                  <a:pt x="0" y="111"/>
                </a:lnTo>
                <a:lnTo>
                  <a:pt x="3" y="106"/>
                </a:lnTo>
                <a:lnTo>
                  <a:pt x="3" y="105"/>
                </a:lnTo>
                <a:lnTo>
                  <a:pt x="5" y="103"/>
                </a:lnTo>
                <a:lnTo>
                  <a:pt x="5" y="99"/>
                </a:lnTo>
                <a:lnTo>
                  <a:pt x="0" y="94"/>
                </a:lnTo>
                <a:lnTo>
                  <a:pt x="7" y="94"/>
                </a:lnTo>
                <a:lnTo>
                  <a:pt x="7" y="93"/>
                </a:lnTo>
                <a:lnTo>
                  <a:pt x="10" y="91"/>
                </a:lnTo>
                <a:lnTo>
                  <a:pt x="12" y="91"/>
                </a:lnTo>
                <a:lnTo>
                  <a:pt x="12" y="93"/>
                </a:lnTo>
                <a:lnTo>
                  <a:pt x="13" y="94"/>
                </a:lnTo>
                <a:lnTo>
                  <a:pt x="13" y="93"/>
                </a:lnTo>
                <a:lnTo>
                  <a:pt x="16" y="94"/>
                </a:lnTo>
                <a:lnTo>
                  <a:pt x="17" y="94"/>
                </a:lnTo>
                <a:lnTo>
                  <a:pt x="18" y="93"/>
                </a:lnTo>
                <a:lnTo>
                  <a:pt x="18" y="96"/>
                </a:lnTo>
                <a:lnTo>
                  <a:pt x="19" y="97"/>
                </a:lnTo>
                <a:lnTo>
                  <a:pt x="19" y="98"/>
                </a:lnTo>
                <a:lnTo>
                  <a:pt x="20" y="98"/>
                </a:lnTo>
                <a:lnTo>
                  <a:pt x="20" y="97"/>
                </a:lnTo>
                <a:lnTo>
                  <a:pt x="23" y="100"/>
                </a:lnTo>
                <a:lnTo>
                  <a:pt x="23" y="102"/>
                </a:lnTo>
                <a:lnTo>
                  <a:pt x="22" y="102"/>
                </a:lnTo>
                <a:lnTo>
                  <a:pt x="23" y="103"/>
                </a:lnTo>
                <a:lnTo>
                  <a:pt x="23" y="105"/>
                </a:lnTo>
                <a:lnTo>
                  <a:pt x="24" y="105"/>
                </a:lnTo>
                <a:lnTo>
                  <a:pt x="24" y="104"/>
                </a:lnTo>
                <a:lnTo>
                  <a:pt x="29" y="104"/>
                </a:lnTo>
                <a:lnTo>
                  <a:pt x="29" y="105"/>
                </a:lnTo>
                <a:lnTo>
                  <a:pt x="28" y="107"/>
                </a:lnTo>
                <a:lnTo>
                  <a:pt x="28" y="109"/>
                </a:lnTo>
                <a:lnTo>
                  <a:pt x="26" y="109"/>
                </a:lnTo>
                <a:lnTo>
                  <a:pt x="26" y="110"/>
                </a:lnTo>
                <a:lnTo>
                  <a:pt x="31" y="110"/>
                </a:lnTo>
                <a:lnTo>
                  <a:pt x="35" y="106"/>
                </a:lnTo>
                <a:lnTo>
                  <a:pt x="35" y="105"/>
                </a:lnTo>
                <a:lnTo>
                  <a:pt x="36" y="104"/>
                </a:lnTo>
                <a:lnTo>
                  <a:pt x="37" y="104"/>
                </a:lnTo>
                <a:lnTo>
                  <a:pt x="38" y="103"/>
                </a:lnTo>
                <a:lnTo>
                  <a:pt x="38" y="97"/>
                </a:lnTo>
                <a:lnTo>
                  <a:pt x="37" y="97"/>
                </a:lnTo>
                <a:lnTo>
                  <a:pt x="38" y="94"/>
                </a:lnTo>
                <a:lnTo>
                  <a:pt x="38" y="93"/>
                </a:lnTo>
                <a:lnTo>
                  <a:pt x="40" y="93"/>
                </a:lnTo>
                <a:lnTo>
                  <a:pt x="41" y="94"/>
                </a:lnTo>
                <a:lnTo>
                  <a:pt x="43" y="94"/>
                </a:lnTo>
                <a:lnTo>
                  <a:pt x="44" y="93"/>
                </a:lnTo>
                <a:lnTo>
                  <a:pt x="44" y="92"/>
                </a:lnTo>
                <a:lnTo>
                  <a:pt x="46" y="92"/>
                </a:lnTo>
                <a:lnTo>
                  <a:pt x="51" y="94"/>
                </a:lnTo>
                <a:lnTo>
                  <a:pt x="51" y="96"/>
                </a:lnTo>
                <a:lnTo>
                  <a:pt x="53" y="96"/>
                </a:lnTo>
                <a:lnTo>
                  <a:pt x="55" y="94"/>
                </a:lnTo>
                <a:lnTo>
                  <a:pt x="56" y="94"/>
                </a:lnTo>
                <a:lnTo>
                  <a:pt x="57" y="96"/>
                </a:lnTo>
                <a:lnTo>
                  <a:pt x="56" y="97"/>
                </a:lnTo>
                <a:lnTo>
                  <a:pt x="59" y="98"/>
                </a:lnTo>
                <a:lnTo>
                  <a:pt x="60" y="100"/>
                </a:lnTo>
                <a:lnTo>
                  <a:pt x="61" y="100"/>
                </a:lnTo>
                <a:lnTo>
                  <a:pt x="61" y="102"/>
                </a:lnTo>
                <a:lnTo>
                  <a:pt x="60" y="102"/>
                </a:lnTo>
                <a:lnTo>
                  <a:pt x="61" y="103"/>
                </a:lnTo>
                <a:lnTo>
                  <a:pt x="67" y="103"/>
                </a:lnTo>
                <a:lnTo>
                  <a:pt x="69" y="100"/>
                </a:lnTo>
                <a:lnTo>
                  <a:pt x="71" y="100"/>
                </a:lnTo>
                <a:lnTo>
                  <a:pt x="71" y="103"/>
                </a:lnTo>
                <a:lnTo>
                  <a:pt x="73" y="103"/>
                </a:lnTo>
                <a:lnTo>
                  <a:pt x="74" y="102"/>
                </a:lnTo>
                <a:lnTo>
                  <a:pt x="74" y="100"/>
                </a:lnTo>
                <a:lnTo>
                  <a:pt x="78" y="100"/>
                </a:lnTo>
                <a:lnTo>
                  <a:pt x="78" y="99"/>
                </a:lnTo>
                <a:lnTo>
                  <a:pt x="79" y="99"/>
                </a:lnTo>
                <a:lnTo>
                  <a:pt x="79" y="98"/>
                </a:lnTo>
                <a:lnTo>
                  <a:pt x="78" y="98"/>
                </a:lnTo>
                <a:lnTo>
                  <a:pt x="79" y="96"/>
                </a:lnTo>
                <a:lnTo>
                  <a:pt x="85" y="96"/>
                </a:lnTo>
                <a:lnTo>
                  <a:pt x="86" y="94"/>
                </a:lnTo>
                <a:lnTo>
                  <a:pt x="86" y="92"/>
                </a:lnTo>
                <a:lnTo>
                  <a:pt x="87" y="92"/>
                </a:lnTo>
                <a:lnTo>
                  <a:pt x="88" y="91"/>
                </a:lnTo>
                <a:lnTo>
                  <a:pt x="97" y="91"/>
                </a:lnTo>
                <a:lnTo>
                  <a:pt x="98" y="90"/>
                </a:lnTo>
                <a:lnTo>
                  <a:pt x="111" y="90"/>
                </a:lnTo>
                <a:lnTo>
                  <a:pt x="113" y="87"/>
                </a:lnTo>
                <a:lnTo>
                  <a:pt x="113" y="85"/>
                </a:lnTo>
                <a:lnTo>
                  <a:pt x="116" y="85"/>
                </a:lnTo>
                <a:lnTo>
                  <a:pt x="117" y="84"/>
                </a:lnTo>
                <a:lnTo>
                  <a:pt x="119" y="85"/>
                </a:lnTo>
                <a:lnTo>
                  <a:pt x="122" y="84"/>
                </a:lnTo>
                <a:lnTo>
                  <a:pt x="122" y="85"/>
                </a:lnTo>
                <a:lnTo>
                  <a:pt x="123" y="86"/>
                </a:lnTo>
                <a:lnTo>
                  <a:pt x="123" y="87"/>
                </a:lnTo>
                <a:lnTo>
                  <a:pt x="124" y="87"/>
                </a:lnTo>
                <a:lnTo>
                  <a:pt x="125" y="88"/>
                </a:lnTo>
                <a:lnTo>
                  <a:pt x="127" y="88"/>
                </a:lnTo>
                <a:lnTo>
                  <a:pt x="129" y="86"/>
                </a:lnTo>
                <a:lnTo>
                  <a:pt x="130" y="86"/>
                </a:lnTo>
                <a:lnTo>
                  <a:pt x="131" y="85"/>
                </a:lnTo>
                <a:lnTo>
                  <a:pt x="134" y="85"/>
                </a:lnTo>
                <a:lnTo>
                  <a:pt x="136" y="86"/>
                </a:lnTo>
                <a:lnTo>
                  <a:pt x="136" y="87"/>
                </a:lnTo>
                <a:lnTo>
                  <a:pt x="138" y="90"/>
                </a:lnTo>
                <a:lnTo>
                  <a:pt x="137" y="90"/>
                </a:lnTo>
                <a:lnTo>
                  <a:pt x="137" y="93"/>
                </a:lnTo>
                <a:lnTo>
                  <a:pt x="140" y="93"/>
                </a:lnTo>
                <a:lnTo>
                  <a:pt x="140" y="94"/>
                </a:lnTo>
                <a:lnTo>
                  <a:pt x="141" y="97"/>
                </a:lnTo>
                <a:lnTo>
                  <a:pt x="143" y="98"/>
                </a:lnTo>
                <a:lnTo>
                  <a:pt x="147" y="98"/>
                </a:lnTo>
                <a:lnTo>
                  <a:pt x="148" y="97"/>
                </a:lnTo>
                <a:lnTo>
                  <a:pt x="148" y="91"/>
                </a:lnTo>
                <a:lnTo>
                  <a:pt x="149" y="90"/>
                </a:lnTo>
                <a:lnTo>
                  <a:pt x="149" y="85"/>
                </a:lnTo>
                <a:lnTo>
                  <a:pt x="147" y="82"/>
                </a:lnTo>
                <a:lnTo>
                  <a:pt x="146" y="84"/>
                </a:lnTo>
                <a:lnTo>
                  <a:pt x="144" y="84"/>
                </a:lnTo>
                <a:lnTo>
                  <a:pt x="142" y="82"/>
                </a:lnTo>
                <a:lnTo>
                  <a:pt x="142" y="81"/>
                </a:lnTo>
                <a:lnTo>
                  <a:pt x="143" y="80"/>
                </a:lnTo>
                <a:lnTo>
                  <a:pt x="143" y="79"/>
                </a:lnTo>
                <a:lnTo>
                  <a:pt x="146" y="74"/>
                </a:lnTo>
                <a:lnTo>
                  <a:pt x="144" y="73"/>
                </a:lnTo>
                <a:lnTo>
                  <a:pt x="143" y="69"/>
                </a:lnTo>
                <a:lnTo>
                  <a:pt x="141" y="67"/>
                </a:lnTo>
                <a:lnTo>
                  <a:pt x="140" y="67"/>
                </a:lnTo>
                <a:lnTo>
                  <a:pt x="140" y="63"/>
                </a:lnTo>
                <a:lnTo>
                  <a:pt x="136" y="61"/>
                </a:lnTo>
                <a:lnTo>
                  <a:pt x="136" y="60"/>
                </a:lnTo>
                <a:lnTo>
                  <a:pt x="135" y="59"/>
                </a:lnTo>
                <a:lnTo>
                  <a:pt x="135" y="57"/>
                </a:lnTo>
                <a:lnTo>
                  <a:pt x="136" y="57"/>
                </a:lnTo>
                <a:lnTo>
                  <a:pt x="140" y="54"/>
                </a:lnTo>
                <a:lnTo>
                  <a:pt x="140" y="53"/>
                </a:lnTo>
                <a:lnTo>
                  <a:pt x="141" y="53"/>
                </a:lnTo>
                <a:lnTo>
                  <a:pt x="143" y="51"/>
                </a:lnTo>
                <a:lnTo>
                  <a:pt x="144" y="51"/>
                </a:lnTo>
                <a:lnTo>
                  <a:pt x="148" y="48"/>
                </a:lnTo>
                <a:lnTo>
                  <a:pt x="152" y="47"/>
                </a:lnTo>
                <a:lnTo>
                  <a:pt x="158" y="45"/>
                </a:lnTo>
                <a:lnTo>
                  <a:pt x="160" y="44"/>
                </a:lnTo>
                <a:lnTo>
                  <a:pt x="165" y="39"/>
                </a:lnTo>
                <a:lnTo>
                  <a:pt x="165" y="33"/>
                </a:lnTo>
                <a:lnTo>
                  <a:pt x="166" y="32"/>
                </a:lnTo>
                <a:lnTo>
                  <a:pt x="166" y="31"/>
                </a:lnTo>
                <a:lnTo>
                  <a:pt x="165" y="31"/>
                </a:lnTo>
                <a:lnTo>
                  <a:pt x="165" y="29"/>
                </a:lnTo>
                <a:lnTo>
                  <a:pt x="166" y="29"/>
                </a:lnTo>
                <a:lnTo>
                  <a:pt x="167" y="27"/>
                </a:lnTo>
                <a:lnTo>
                  <a:pt x="168" y="27"/>
                </a:lnTo>
                <a:lnTo>
                  <a:pt x="173" y="29"/>
                </a:lnTo>
                <a:lnTo>
                  <a:pt x="173" y="30"/>
                </a:lnTo>
                <a:lnTo>
                  <a:pt x="174" y="30"/>
                </a:lnTo>
                <a:lnTo>
                  <a:pt x="174" y="31"/>
                </a:lnTo>
                <a:lnTo>
                  <a:pt x="177" y="31"/>
                </a:lnTo>
                <a:lnTo>
                  <a:pt x="177" y="30"/>
                </a:lnTo>
                <a:lnTo>
                  <a:pt x="178" y="29"/>
                </a:lnTo>
                <a:lnTo>
                  <a:pt x="179" y="29"/>
                </a:lnTo>
                <a:lnTo>
                  <a:pt x="180" y="26"/>
                </a:lnTo>
                <a:lnTo>
                  <a:pt x="180" y="21"/>
                </a:lnTo>
                <a:lnTo>
                  <a:pt x="181" y="20"/>
                </a:lnTo>
                <a:lnTo>
                  <a:pt x="180" y="20"/>
                </a:lnTo>
                <a:lnTo>
                  <a:pt x="180" y="19"/>
                </a:lnTo>
                <a:lnTo>
                  <a:pt x="179" y="19"/>
                </a:lnTo>
                <a:lnTo>
                  <a:pt x="181" y="16"/>
                </a:lnTo>
                <a:lnTo>
                  <a:pt x="183" y="17"/>
                </a:lnTo>
                <a:lnTo>
                  <a:pt x="184" y="17"/>
                </a:lnTo>
                <a:lnTo>
                  <a:pt x="184" y="18"/>
                </a:lnTo>
                <a:lnTo>
                  <a:pt x="185" y="18"/>
                </a:lnTo>
                <a:lnTo>
                  <a:pt x="187" y="20"/>
                </a:lnTo>
                <a:lnTo>
                  <a:pt x="189" y="20"/>
                </a:lnTo>
                <a:lnTo>
                  <a:pt x="189" y="21"/>
                </a:lnTo>
                <a:lnTo>
                  <a:pt x="190" y="21"/>
                </a:lnTo>
                <a:lnTo>
                  <a:pt x="190" y="24"/>
                </a:lnTo>
                <a:lnTo>
                  <a:pt x="189" y="24"/>
                </a:lnTo>
                <a:lnTo>
                  <a:pt x="189" y="25"/>
                </a:lnTo>
                <a:lnTo>
                  <a:pt x="190" y="25"/>
                </a:lnTo>
                <a:lnTo>
                  <a:pt x="190" y="26"/>
                </a:lnTo>
                <a:lnTo>
                  <a:pt x="192" y="27"/>
                </a:lnTo>
                <a:lnTo>
                  <a:pt x="198" y="27"/>
                </a:lnTo>
                <a:lnTo>
                  <a:pt x="202" y="30"/>
                </a:lnTo>
                <a:lnTo>
                  <a:pt x="203" y="30"/>
                </a:lnTo>
                <a:lnTo>
                  <a:pt x="203" y="29"/>
                </a:lnTo>
                <a:lnTo>
                  <a:pt x="204" y="29"/>
                </a:lnTo>
                <a:lnTo>
                  <a:pt x="205" y="27"/>
                </a:lnTo>
                <a:lnTo>
                  <a:pt x="206" y="27"/>
                </a:lnTo>
                <a:lnTo>
                  <a:pt x="208" y="24"/>
                </a:lnTo>
                <a:lnTo>
                  <a:pt x="209" y="25"/>
                </a:lnTo>
                <a:lnTo>
                  <a:pt x="211" y="26"/>
                </a:lnTo>
                <a:lnTo>
                  <a:pt x="214" y="25"/>
                </a:lnTo>
                <a:lnTo>
                  <a:pt x="214" y="26"/>
                </a:lnTo>
                <a:lnTo>
                  <a:pt x="216" y="26"/>
                </a:lnTo>
                <a:lnTo>
                  <a:pt x="216" y="29"/>
                </a:lnTo>
                <a:lnTo>
                  <a:pt x="217" y="29"/>
                </a:lnTo>
                <a:lnTo>
                  <a:pt x="218" y="27"/>
                </a:lnTo>
                <a:lnTo>
                  <a:pt x="218" y="21"/>
                </a:lnTo>
                <a:lnTo>
                  <a:pt x="220" y="20"/>
                </a:lnTo>
                <a:lnTo>
                  <a:pt x="222" y="19"/>
                </a:lnTo>
                <a:lnTo>
                  <a:pt x="222" y="16"/>
                </a:lnTo>
                <a:lnTo>
                  <a:pt x="225" y="16"/>
                </a:lnTo>
                <a:lnTo>
                  <a:pt x="228" y="17"/>
                </a:lnTo>
                <a:lnTo>
                  <a:pt x="229" y="16"/>
                </a:lnTo>
                <a:lnTo>
                  <a:pt x="228" y="14"/>
                </a:lnTo>
                <a:lnTo>
                  <a:pt x="228" y="13"/>
                </a:lnTo>
                <a:lnTo>
                  <a:pt x="229" y="12"/>
                </a:lnTo>
                <a:lnTo>
                  <a:pt x="229" y="2"/>
                </a:lnTo>
                <a:lnTo>
                  <a:pt x="230" y="1"/>
                </a:lnTo>
                <a:lnTo>
                  <a:pt x="23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6" name="Freeform 57">
            <a:extLst>
              <a:ext uri="{FF2B5EF4-FFF2-40B4-BE49-F238E27FC236}">
                <a16:creationId xmlns:a16="http://schemas.microsoft.com/office/drawing/2014/main" id="{9F356E90-EEEB-4B71-A19A-D4E2F85FE521}"/>
              </a:ext>
            </a:extLst>
          </p:cNvPr>
          <p:cNvSpPr>
            <a:spLocks noEditPoints="1"/>
          </p:cNvSpPr>
          <p:nvPr/>
        </p:nvSpPr>
        <p:spPr bwMode="auto">
          <a:xfrm>
            <a:off x="3886154" y="5478295"/>
            <a:ext cx="194158" cy="194158"/>
          </a:xfrm>
          <a:custGeom>
            <a:avLst/>
            <a:gdLst/>
            <a:ahLst/>
            <a:cxnLst>
              <a:cxn ang="0">
                <a:pos x="86" y="38"/>
              </a:cxn>
              <a:cxn ang="0">
                <a:pos x="76" y="18"/>
              </a:cxn>
              <a:cxn ang="0">
                <a:pos x="66" y="16"/>
              </a:cxn>
              <a:cxn ang="0">
                <a:pos x="68" y="4"/>
              </a:cxn>
              <a:cxn ang="0">
                <a:pos x="76" y="9"/>
              </a:cxn>
              <a:cxn ang="0">
                <a:pos x="71" y="15"/>
              </a:cxn>
              <a:cxn ang="0">
                <a:pos x="78" y="17"/>
              </a:cxn>
              <a:cxn ang="0">
                <a:pos x="85" y="19"/>
              </a:cxn>
              <a:cxn ang="0">
                <a:pos x="92" y="24"/>
              </a:cxn>
              <a:cxn ang="0">
                <a:pos x="85" y="31"/>
              </a:cxn>
              <a:cxn ang="0">
                <a:pos x="85" y="40"/>
              </a:cxn>
              <a:cxn ang="0">
                <a:pos x="87" y="46"/>
              </a:cxn>
              <a:cxn ang="0">
                <a:pos x="107" y="58"/>
              </a:cxn>
              <a:cxn ang="0">
                <a:pos x="105" y="68"/>
              </a:cxn>
              <a:cxn ang="0">
                <a:pos x="91" y="73"/>
              </a:cxn>
              <a:cxn ang="0">
                <a:pos x="98" y="77"/>
              </a:cxn>
              <a:cxn ang="0">
                <a:pos x="105" y="84"/>
              </a:cxn>
              <a:cxn ang="0">
                <a:pos x="114" y="91"/>
              </a:cxn>
              <a:cxn ang="0">
                <a:pos x="123" y="93"/>
              </a:cxn>
              <a:cxn ang="0">
                <a:pos x="129" y="102"/>
              </a:cxn>
              <a:cxn ang="0">
                <a:pos x="129" y="109"/>
              </a:cxn>
              <a:cxn ang="0">
                <a:pos x="134" y="115"/>
              </a:cxn>
              <a:cxn ang="0">
                <a:pos x="126" y="116"/>
              </a:cxn>
              <a:cxn ang="0">
                <a:pos x="129" y="130"/>
              </a:cxn>
              <a:cxn ang="0">
                <a:pos x="118" y="134"/>
              </a:cxn>
              <a:cxn ang="0">
                <a:pos x="108" y="120"/>
              </a:cxn>
              <a:cxn ang="0">
                <a:pos x="107" y="112"/>
              </a:cxn>
              <a:cxn ang="0">
                <a:pos x="99" y="108"/>
              </a:cxn>
              <a:cxn ang="0">
                <a:pos x="101" y="98"/>
              </a:cxn>
              <a:cxn ang="0">
                <a:pos x="86" y="99"/>
              </a:cxn>
              <a:cxn ang="0">
                <a:pos x="79" y="97"/>
              </a:cxn>
              <a:cxn ang="0">
                <a:pos x="73" y="96"/>
              </a:cxn>
              <a:cxn ang="0">
                <a:pos x="66" y="85"/>
              </a:cxn>
              <a:cxn ang="0">
                <a:pos x="56" y="89"/>
              </a:cxn>
              <a:cxn ang="0">
                <a:pos x="49" y="81"/>
              </a:cxn>
              <a:cxn ang="0">
                <a:pos x="47" y="75"/>
              </a:cxn>
              <a:cxn ang="0">
                <a:pos x="33" y="71"/>
              </a:cxn>
              <a:cxn ang="0">
                <a:pos x="16" y="68"/>
              </a:cxn>
              <a:cxn ang="0">
                <a:pos x="12" y="62"/>
              </a:cxn>
              <a:cxn ang="0">
                <a:pos x="8" y="52"/>
              </a:cxn>
              <a:cxn ang="0">
                <a:pos x="8" y="44"/>
              </a:cxn>
              <a:cxn ang="0">
                <a:pos x="11" y="37"/>
              </a:cxn>
              <a:cxn ang="0">
                <a:pos x="6" y="18"/>
              </a:cxn>
              <a:cxn ang="0">
                <a:pos x="2" y="11"/>
              </a:cxn>
              <a:cxn ang="0">
                <a:pos x="17" y="9"/>
              </a:cxn>
              <a:cxn ang="0">
                <a:pos x="29" y="7"/>
              </a:cxn>
              <a:cxn ang="0">
                <a:pos x="35" y="6"/>
              </a:cxn>
              <a:cxn ang="0">
                <a:pos x="42" y="7"/>
              </a:cxn>
              <a:cxn ang="0">
                <a:pos x="47" y="6"/>
              </a:cxn>
              <a:cxn ang="0">
                <a:pos x="49" y="5"/>
              </a:cxn>
              <a:cxn ang="0">
                <a:pos x="59" y="1"/>
              </a:cxn>
              <a:cxn ang="0">
                <a:pos x="67" y="0"/>
              </a:cxn>
            </a:cxnLst>
            <a:rect l="0" t="0" r="r" b="b"/>
            <a:pathLst>
              <a:path w="134" h="134">
                <a:moveTo>
                  <a:pt x="86" y="36"/>
                </a:moveTo>
                <a:lnTo>
                  <a:pt x="90" y="36"/>
                </a:lnTo>
                <a:lnTo>
                  <a:pt x="90" y="38"/>
                </a:lnTo>
                <a:lnTo>
                  <a:pt x="89" y="40"/>
                </a:lnTo>
                <a:lnTo>
                  <a:pt x="86" y="38"/>
                </a:lnTo>
                <a:lnTo>
                  <a:pt x="86" y="36"/>
                </a:lnTo>
                <a:close/>
                <a:moveTo>
                  <a:pt x="74" y="17"/>
                </a:moveTo>
                <a:lnTo>
                  <a:pt x="74" y="18"/>
                </a:lnTo>
                <a:lnTo>
                  <a:pt x="76" y="19"/>
                </a:lnTo>
                <a:lnTo>
                  <a:pt x="76" y="18"/>
                </a:lnTo>
                <a:lnTo>
                  <a:pt x="74" y="17"/>
                </a:lnTo>
                <a:close/>
                <a:moveTo>
                  <a:pt x="66" y="12"/>
                </a:moveTo>
                <a:lnTo>
                  <a:pt x="65" y="13"/>
                </a:lnTo>
                <a:lnTo>
                  <a:pt x="65" y="15"/>
                </a:lnTo>
                <a:lnTo>
                  <a:pt x="66" y="16"/>
                </a:lnTo>
                <a:lnTo>
                  <a:pt x="67" y="16"/>
                </a:lnTo>
                <a:lnTo>
                  <a:pt x="67" y="13"/>
                </a:lnTo>
                <a:lnTo>
                  <a:pt x="66" y="12"/>
                </a:lnTo>
                <a:close/>
                <a:moveTo>
                  <a:pt x="67" y="0"/>
                </a:moveTo>
                <a:lnTo>
                  <a:pt x="68" y="4"/>
                </a:lnTo>
                <a:lnTo>
                  <a:pt x="67" y="5"/>
                </a:lnTo>
                <a:lnTo>
                  <a:pt x="68" y="6"/>
                </a:lnTo>
                <a:lnTo>
                  <a:pt x="72" y="6"/>
                </a:lnTo>
                <a:lnTo>
                  <a:pt x="74" y="9"/>
                </a:lnTo>
                <a:lnTo>
                  <a:pt x="76" y="9"/>
                </a:lnTo>
                <a:lnTo>
                  <a:pt x="76" y="10"/>
                </a:lnTo>
                <a:lnTo>
                  <a:pt x="73" y="11"/>
                </a:lnTo>
                <a:lnTo>
                  <a:pt x="70" y="11"/>
                </a:lnTo>
                <a:lnTo>
                  <a:pt x="68" y="12"/>
                </a:lnTo>
                <a:lnTo>
                  <a:pt x="71" y="15"/>
                </a:lnTo>
                <a:lnTo>
                  <a:pt x="72" y="13"/>
                </a:lnTo>
                <a:lnTo>
                  <a:pt x="73" y="15"/>
                </a:lnTo>
                <a:lnTo>
                  <a:pt x="74" y="15"/>
                </a:lnTo>
                <a:lnTo>
                  <a:pt x="76" y="16"/>
                </a:lnTo>
                <a:lnTo>
                  <a:pt x="78" y="17"/>
                </a:lnTo>
                <a:lnTo>
                  <a:pt x="83" y="17"/>
                </a:lnTo>
                <a:lnTo>
                  <a:pt x="83" y="16"/>
                </a:lnTo>
                <a:lnTo>
                  <a:pt x="84" y="16"/>
                </a:lnTo>
                <a:lnTo>
                  <a:pt x="84" y="19"/>
                </a:lnTo>
                <a:lnTo>
                  <a:pt x="85" y="19"/>
                </a:lnTo>
                <a:lnTo>
                  <a:pt x="85" y="21"/>
                </a:lnTo>
                <a:lnTo>
                  <a:pt x="86" y="21"/>
                </a:lnTo>
                <a:lnTo>
                  <a:pt x="89" y="23"/>
                </a:lnTo>
                <a:lnTo>
                  <a:pt x="89" y="24"/>
                </a:lnTo>
                <a:lnTo>
                  <a:pt x="92" y="24"/>
                </a:lnTo>
                <a:lnTo>
                  <a:pt x="92" y="25"/>
                </a:lnTo>
                <a:lnTo>
                  <a:pt x="91" y="28"/>
                </a:lnTo>
                <a:lnTo>
                  <a:pt x="90" y="29"/>
                </a:lnTo>
                <a:lnTo>
                  <a:pt x="86" y="31"/>
                </a:lnTo>
                <a:lnTo>
                  <a:pt x="85" y="31"/>
                </a:lnTo>
                <a:lnTo>
                  <a:pt x="84" y="34"/>
                </a:lnTo>
                <a:lnTo>
                  <a:pt x="83" y="35"/>
                </a:lnTo>
                <a:lnTo>
                  <a:pt x="83" y="38"/>
                </a:lnTo>
                <a:lnTo>
                  <a:pt x="84" y="40"/>
                </a:lnTo>
                <a:lnTo>
                  <a:pt x="85" y="40"/>
                </a:lnTo>
                <a:lnTo>
                  <a:pt x="85" y="43"/>
                </a:lnTo>
                <a:lnTo>
                  <a:pt x="86" y="43"/>
                </a:lnTo>
                <a:lnTo>
                  <a:pt x="86" y="44"/>
                </a:lnTo>
                <a:lnTo>
                  <a:pt x="87" y="44"/>
                </a:lnTo>
                <a:lnTo>
                  <a:pt x="87" y="46"/>
                </a:lnTo>
                <a:lnTo>
                  <a:pt x="89" y="48"/>
                </a:lnTo>
                <a:lnTo>
                  <a:pt x="91" y="50"/>
                </a:lnTo>
                <a:lnTo>
                  <a:pt x="101" y="56"/>
                </a:lnTo>
                <a:lnTo>
                  <a:pt x="103" y="58"/>
                </a:lnTo>
                <a:lnTo>
                  <a:pt x="107" y="58"/>
                </a:lnTo>
                <a:lnTo>
                  <a:pt x="107" y="59"/>
                </a:lnTo>
                <a:lnTo>
                  <a:pt x="108" y="60"/>
                </a:lnTo>
                <a:lnTo>
                  <a:pt x="108" y="65"/>
                </a:lnTo>
                <a:lnTo>
                  <a:pt x="105" y="67"/>
                </a:lnTo>
                <a:lnTo>
                  <a:pt x="105" y="68"/>
                </a:lnTo>
                <a:lnTo>
                  <a:pt x="104" y="68"/>
                </a:lnTo>
                <a:lnTo>
                  <a:pt x="104" y="72"/>
                </a:lnTo>
                <a:lnTo>
                  <a:pt x="101" y="72"/>
                </a:lnTo>
                <a:lnTo>
                  <a:pt x="93" y="71"/>
                </a:lnTo>
                <a:lnTo>
                  <a:pt x="91" y="73"/>
                </a:lnTo>
                <a:lnTo>
                  <a:pt x="91" y="74"/>
                </a:lnTo>
                <a:lnTo>
                  <a:pt x="92" y="74"/>
                </a:lnTo>
                <a:lnTo>
                  <a:pt x="97" y="75"/>
                </a:lnTo>
                <a:lnTo>
                  <a:pt x="98" y="75"/>
                </a:lnTo>
                <a:lnTo>
                  <a:pt x="98" y="77"/>
                </a:lnTo>
                <a:lnTo>
                  <a:pt x="101" y="80"/>
                </a:lnTo>
                <a:lnTo>
                  <a:pt x="101" y="81"/>
                </a:lnTo>
                <a:lnTo>
                  <a:pt x="103" y="83"/>
                </a:lnTo>
                <a:lnTo>
                  <a:pt x="104" y="84"/>
                </a:lnTo>
                <a:lnTo>
                  <a:pt x="105" y="84"/>
                </a:lnTo>
                <a:lnTo>
                  <a:pt x="108" y="85"/>
                </a:lnTo>
                <a:lnTo>
                  <a:pt x="109" y="86"/>
                </a:lnTo>
                <a:lnTo>
                  <a:pt x="110" y="90"/>
                </a:lnTo>
                <a:lnTo>
                  <a:pt x="113" y="91"/>
                </a:lnTo>
                <a:lnTo>
                  <a:pt x="114" y="91"/>
                </a:lnTo>
                <a:lnTo>
                  <a:pt x="115" y="92"/>
                </a:lnTo>
                <a:lnTo>
                  <a:pt x="116" y="95"/>
                </a:lnTo>
                <a:lnTo>
                  <a:pt x="118" y="95"/>
                </a:lnTo>
                <a:lnTo>
                  <a:pt x="122" y="93"/>
                </a:lnTo>
                <a:lnTo>
                  <a:pt x="123" y="93"/>
                </a:lnTo>
                <a:lnTo>
                  <a:pt x="126" y="96"/>
                </a:lnTo>
                <a:lnTo>
                  <a:pt x="130" y="96"/>
                </a:lnTo>
                <a:lnTo>
                  <a:pt x="130" y="99"/>
                </a:lnTo>
                <a:lnTo>
                  <a:pt x="129" y="99"/>
                </a:lnTo>
                <a:lnTo>
                  <a:pt x="129" y="102"/>
                </a:lnTo>
                <a:lnTo>
                  <a:pt x="126" y="103"/>
                </a:lnTo>
                <a:lnTo>
                  <a:pt x="124" y="103"/>
                </a:lnTo>
                <a:lnTo>
                  <a:pt x="124" y="107"/>
                </a:lnTo>
                <a:lnTo>
                  <a:pt x="126" y="108"/>
                </a:lnTo>
                <a:lnTo>
                  <a:pt x="129" y="109"/>
                </a:lnTo>
                <a:lnTo>
                  <a:pt x="130" y="110"/>
                </a:lnTo>
                <a:lnTo>
                  <a:pt x="130" y="111"/>
                </a:lnTo>
                <a:lnTo>
                  <a:pt x="132" y="112"/>
                </a:lnTo>
                <a:lnTo>
                  <a:pt x="134" y="114"/>
                </a:lnTo>
                <a:lnTo>
                  <a:pt x="134" y="115"/>
                </a:lnTo>
                <a:lnTo>
                  <a:pt x="133" y="116"/>
                </a:lnTo>
                <a:lnTo>
                  <a:pt x="130" y="117"/>
                </a:lnTo>
                <a:lnTo>
                  <a:pt x="128" y="116"/>
                </a:lnTo>
                <a:lnTo>
                  <a:pt x="127" y="115"/>
                </a:lnTo>
                <a:lnTo>
                  <a:pt x="126" y="116"/>
                </a:lnTo>
                <a:lnTo>
                  <a:pt x="126" y="118"/>
                </a:lnTo>
                <a:lnTo>
                  <a:pt x="127" y="120"/>
                </a:lnTo>
                <a:lnTo>
                  <a:pt x="128" y="120"/>
                </a:lnTo>
                <a:lnTo>
                  <a:pt x="129" y="121"/>
                </a:lnTo>
                <a:lnTo>
                  <a:pt x="129" y="130"/>
                </a:lnTo>
                <a:lnTo>
                  <a:pt x="130" y="133"/>
                </a:lnTo>
                <a:lnTo>
                  <a:pt x="129" y="133"/>
                </a:lnTo>
                <a:lnTo>
                  <a:pt x="126" y="132"/>
                </a:lnTo>
                <a:lnTo>
                  <a:pt x="120" y="132"/>
                </a:lnTo>
                <a:lnTo>
                  <a:pt x="118" y="134"/>
                </a:lnTo>
                <a:lnTo>
                  <a:pt x="115" y="134"/>
                </a:lnTo>
                <a:lnTo>
                  <a:pt x="113" y="129"/>
                </a:lnTo>
                <a:lnTo>
                  <a:pt x="110" y="123"/>
                </a:lnTo>
                <a:lnTo>
                  <a:pt x="109" y="122"/>
                </a:lnTo>
                <a:lnTo>
                  <a:pt x="108" y="120"/>
                </a:lnTo>
                <a:lnTo>
                  <a:pt x="107" y="118"/>
                </a:lnTo>
                <a:lnTo>
                  <a:pt x="107" y="116"/>
                </a:lnTo>
                <a:lnTo>
                  <a:pt x="108" y="115"/>
                </a:lnTo>
                <a:lnTo>
                  <a:pt x="108" y="112"/>
                </a:lnTo>
                <a:lnTo>
                  <a:pt x="107" y="112"/>
                </a:lnTo>
                <a:lnTo>
                  <a:pt x="104" y="111"/>
                </a:lnTo>
                <a:lnTo>
                  <a:pt x="104" y="110"/>
                </a:lnTo>
                <a:lnTo>
                  <a:pt x="103" y="110"/>
                </a:lnTo>
                <a:lnTo>
                  <a:pt x="102" y="109"/>
                </a:lnTo>
                <a:lnTo>
                  <a:pt x="99" y="108"/>
                </a:lnTo>
                <a:lnTo>
                  <a:pt x="98" y="108"/>
                </a:lnTo>
                <a:lnTo>
                  <a:pt x="98" y="107"/>
                </a:lnTo>
                <a:lnTo>
                  <a:pt x="99" y="105"/>
                </a:lnTo>
                <a:lnTo>
                  <a:pt x="101" y="103"/>
                </a:lnTo>
                <a:lnTo>
                  <a:pt x="101" y="98"/>
                </a:lnTo>
                <a:lnTo>
                  <a:pt x="98" y="96"/>
                </a:lnTo>
                <a:lnTo>
                  <a:pt x="97" y="96"/>
                </a:lnTo>
                <a:lnTo>
                  <a:pt x="91" y="97"/>
                </a:lnTo>
                <a:lnTo>
                  <a:pt x="90" y="98"/>
                </a:lnTo>
                <a:lnTo>
                  <a:pt x="86" y="99"/>
                </a:lnTo>
                <a:lnTo>
                  <a:pt x="86" y="101"/>
                </a:lnTo>
                <a:lnTo>
                  <a:pt x="84" y="101"/>
                </a:lnTo>
                <a:lnTo>
                  <a:pt x="83" y="98"/>
                </a:lnTo>
                <a:lnTo>
                  <a:pt x="80" y="98"/>
                </a:lnTo>
                <a:lnTo>
                  <a:pt x="79" y="97"/>
                </a:lnTo>
                <a:lnTo>
                  <a:pt x="79" y="96"/>
                </a:lnTo>
                <a:lnTo>
                  <a:pt x="78" y="95"/>
                </a:lnTo>
                <a:lnTo>
                  <a:pt x="77" y="95"/>
                </a:lnTo>
                <a:lnTo>
                  <a:pt x="76" y="96"/>
                </a:lnTo>
                <a:lnTo>
                  <a:pt x="73" y="96"/>
                </a:lnTo>
                <a:lnTo>
                  <a:pt x="73" y="91"/>
                </a:lnTo>
                <a:lnTo>
                  <a:pt x="72" y="90"/>
                </a:lnTo>
                <a:lnTo>
                  <a:pt x="70" y="86"/>
                </a:lnTo>
                <a:lnTo>
                  <a:pt x="68" y="85"/>
                </a:lnTo>
                <a:lnTo>
                  <a:pt x="66" y="85"/>
                </a:lnTo>
                <a:lnTo>
                  <a:pt x="65" y="86"/>
                </a:lnTo>
                <a:lnTo>
                  <a:pt x="65" y="87"/>
                </a:lnTo>
                <a:lnTo>
                  <a:pt x="60" y="87"/>
                </a:lnTo>
                <a:lnTo>
                  <a:pt x="58" y="89"/>
                </a:lnTo>
                <a:lnTo>
                  <a:pt x="56" y="89"/>
                </a:lnTo>
                <a:lnTo>
                  <a:pt x="56" y="87"/>
                </a:lnTo>
                <a:lnTo>
                  <a:pt x="54" y="84"/>
                </a:lnTo>
                <a:lnTo>
                  <a:pt x="53" y="84"/>
                </a:lnTo>
                <a:lnTo>
                  <a:pt x="51" y="81"/>
                </a:lnTo>
                <a:lnTo>
                  <a:pt x="49" y="81"/>
                </a:lnTo>
                <a:lnTo>
                  <a:pt x="49" y="80"/>
                </a:lnTo>
                <a:lnTo>
                  <a:pt x="48" y="80"/>
                </a:lnTo>
                <a:lnTo>
                  <a:pt x="48" y="78"/>
                </a:lnTo>
                <a:lnTo>
                  <a:pt x="47" y="77"/>
                </a:lnTo>
                <a:lnTo>
                  <a:pt x="47" y="75"/>
                </a:lnTo>
                <a:lnTo>
                  <a:pt x="43" y="74"/>
                </a:lnTo>
                <a:lnTo>
                  <a:pt x="41" y="72"/>
                </a:lnTo>
                <a:lnTo>
                  <a:pt x="36" y="69"/>
                </a:lnTo>
                <a:lnTo>
                  <a:pt x="35" y="69"/>
                </a:lnTo>
                <a:lnTo>
                  <a:pt x="33" y="71"/>
                </a:lnTo>
                <a:lnTo>
                  <a:pt x="28" y="71"/>
                </a:lnTo>
                <a:lnTo>
                  <a:pt x="27" y="72"/>
                </a:lnTo>
                <a:lnTo>
                  <a:pt x="25" y="72"/>
                </a:lnTo>
                <a:lnTo>
                  <a:pt x="21" y="71"/>
                </a:lnTo>
                <a:lnTo>
                  <a:pt x="16" y="68"/>
                </a:lnTo>
                <a:lnTo>
                  <a:pt x="12" y="67"/>
                </a:lnTo>
                <a:lnTo>
                  <a:pt x="10" y="66"/>
                </a:lnTo>
                <a:lnTo>
                  <a:pt x="10" y="65"/>
                </a:lnTo>
                <a:lnTo>
                  <a:pt x="12" y="64"/>
                </a:lnTo>
                <a:lnTo>
                  <a:pt x="12" y="62"/>
                </a:lnTo>
                <a:lnTo>
                  <a:pt x="10" y="60"/>
                </a:lnTo>
                <a:lnTo>
                  <a:pt x="11" y="59"/>
                </a:lnTo>
                <a:lnTo>
                  <a:pt x="11" y="58"/>
                </a:lnTo>
                <a:lnTo>
                  <a:pt x="8" y="54"/>
                </a:lnTo>
                <a:lnTo>
                  <a:pt x="8" y="52"/>
                </a:lnTo>
                <a:lnTo>
                  <a:pt x="9" y="49"/>
                </a:lnTo>
                <a:lnTo>
                  <a:pt x="6" y="48"/>
                </a:lnTo>
                <a:lnTo>
                  <a:pt x="6" y="47"/>
                </a:lnTo>
                <a:lnTo>
                  <a:pt x="5" y="46"/>
                </a:lnTo>
                <a:lnTo>
                  <a:pt x="8" y="44"/>
                </a:lnTo>
                <a:lnTo>
                  <a:pt x="8" y="43"/>
                </a:lnTo>
                <a:lnTo>
                  <a:pt x="10" y="43"/>
                </a:lnTo>
                <a:lnTo>
                  <a:pt x="10" y="41"/>
                </a:lnTo>
                <a:lnTo>
                  <a:pt x="12" y="38"/>
                </a:lnTo>
                <a:lnTo>
                  <a:pt x="11" y="37"/>
                </a:lnTo>
                <a:lnTo>
                  <a:pt x="12" y="37"/>
                </a:lnTo>
                <a:lnTo>
                  <a:pt x="12" y="29"/>
                </a:lnTo>
                <a:lnTo>
                  <a:pt x="10" y="26"/>
                </a:lnTo>
                <a:lnTo>
                  <a:pt x="10" y="22"/>
                </a:lnTo>
                <a:lnTo>
                  <a:pt x="6" y="18"/>
                </a:lnTo>
                <a:lnTo>
                  <a:pt x="4" y="17"/>
                </a:lnTo>
                <a:lnTo>
                  <a:pt x="3" y="17"/>
                </a:lnTo>
                <a:lnTo>
                  <a:pt x="0" y="15"/>
                </a:lnTo>
                <a:lnTo>
                  <a:pt x="0" y="11"/>
                </a:lnTo>
                <a:lnTo>
                  <a:pt x="2" y="11"/>
                </a:lnTo>
                <a:lnTo>
                  <a:pt x="4" y="10"/>
                </a:lnTo>
                <a:lnTo>
                  <a:pt x="6" y="10"/>
                </a:lnTo>
                <a:lnTo>
                  <a:pt x="12" y="11"/>
                </a:lnTo>
                <a:lnTo>
                  <a:pt x="15" y="11"/>
                </a:lnTo>
                <a:lnTo>
                  <a:pt x="17" y="9"/>
                </a:lnTo>
                <a:lnTo>
                  <a:pt x="22" y="9"/>
                </a:lnTo>
                <a:lnTo>
                  <a:pt x="23" y="7"/>
                </a:lnTo>
                <a:lnTo>
                  <a:pt x="25" y="7"/>
                </a:lnTo>
                <a:lnTo>
                  <a:pt x="27" y="6"/>
                </a:lnTo>
                <a:lnTo>
                  <a:pt x="29" y="7"/>
                </a:lnTo>
                <a:lnTo>
                  <a:pt x="30" y="6"/>
                </a:lnTo>
                <a:lnTo>
                  <a:pt x="31" y="6"/>
                </a:lnTo>
                <a:lnTo>
                  <a:pt x="31" y="4"/>
                </a:lnTo>
                <a:lnTo>
                  <a:pt x="33" y="4"/>
                </a:lnTo>
                <a:lnTo>
                  <a:pt x="35" y="6"/>
                </a:lnTo>
                <a:lnTo>
                  <a:pt x="37" y="6"/>
                </a:lnTo>
                <a:lnTo>
                  <a:pt x="39" y="5"/>
                </a:lnTo>
                <a:lnTo>
                  <a:pt x="40" y="5"/>
                </a:lnTo>
                <a:lnTo>
                  <a:pt x="42" y="6"/>
                </a:lnTo>
                <a:lnTo>
                  <a:pt x="42" y="7"/>
                </a:lnTo>
                <a:lnTo>
                  <a:pt x="43" y="7"/>
                </a:lnTo>
                <a:lnTo>
                  <a:pt x="45" y="6"/>
                </a:lnTo>
                <a:lnTo>
                  <a:pt x="46" y="6"/>
                </a:lnTo>
                <a:lnTo>
                  <a:pt x="46" y="5"/>
                </a:lnTo>
                <a:lnTo>
                  <a:pt x="47" y="6"/>
                </a:lnTo>
                <a:lnTo>
                  <a:pt x="47" y="7"/>
                </a:lnTo>
                <a:lnTo>
                  <a:pt x="48" y="7"/>
                </a:lnTo>
                <a:lnTo>
                  <a:pt x="48" y="6"/>
                </a:lnTo>
                <a:lnTo>
                  <a:pt x="49" y="6"/>
                </a:lnTo>
                <a:lnTo>
                  <a:pt x="49" y="5"/>
                </a:lnTo>
                <a:lnTo>
                  <a:pt x="60" y="5"/>
                </a:lnTo>
                <a:lnTo>
                  <a:pt x="60" y="4"/>
                </a:lnTo>
                <a:lnTo>
                  <a:pt x="59" y="4"/>
                </a:lnTo>
                <a:lnTo>
                  <a:pt x="58" y="3"/>
                </a:lnTo>
                <a:lnTo>
                  <a:pt x="59" y="1"/>
                </a:lnTo>
                <a:lnTo>
                  <a:pt x="62" y="3"/>
                </a:lnTo>
                <a:lnTo>
                  <a:pt x="65" y="3"/>
                </a:lnTo>
                <a:lnTo>
                  <a:pt x="65" y="1"/>
                </a:lnTo>
                <a:lnTo>
                  <a:pt x="66" y="1"/>
                </a:lnTo>
                <a:lnTo>
                  <a:pt x="67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7" name="Freeform 58">
            <a:extLst>
              <a:ext uri="{FF2B5EF4-FFF2-40B4-BE49-F238E27FC236}">
                <a16:creationId xmlns:a16="http://schemas.microsoft.com/office/drawing/2014/main" id="{80093DD1-8699-4C3B-8951-4544B089B260}"/>
              </a:ext>
            </a:extLst>
          </p:cNvPr>
          <p:cNvSpPr>
            <a:spLocks/>
          </p:cNvSpPr>
          <p:nvPr/>
        </p:nvSpPr>
        <p:spPr bwMode="auto">
          <a:xfrm>
            <a:off x="1317183" y="5368176"/>
            <a:ext cx="21735" cy="18837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6" y="0"/>
              </a:cxn>
              <a:cxn ang="0">
                <a:pos x="8" y="1"/>
              </a:cxn>
              <a:cxn ang="0">
                <a:pos x="13" y="2"/>
              </a:cxn>
              <a:cxn ang="0">
                <a:pos x="13" y="3"/>
              </a:cxn>
              <a:cxn ang="0">
                <a:pos x="15" y="3"/>
              </a:cxn>
              <a:cxn ang="0">
                <a:pos x="15" y="5"/>
              </a:cxn>
              <a:cxn ang="0">
                <a:pos x="14" y="5"/>
              </a:cxn>
              <a:cxn ang="0">
                <a:pos x="13" y="6"/>
              </a:cxn>
              <a:cxn ang="0">
                <a:pos x="13" y="8"/>
              </a:cxn>
              <a:cxn ang="0">
                <a:pos x="12" y="9"/>
              </a:cxn>
              <a:cxn ang="0">
                <a:pos x="11" y="8"/>
              </a:cxn>
              <a:cxn ang="0">
                <a:pos x="10" y="11"/>
              </a:cxn>
              <a:cxn ang="0">
                <a:pos x="8" y="11"/>
              </a:cxn>
              <a:cxn ang="0">
                <a:pos x="6" y="12"/>
              </a:cxn>
              <a:cxn ang="0">
                <a:pos x="5" y="13"/>
              </a:cxn>
              <a:cxn ang="0">
                <a:pos x="2" y="12"/>
              </a:cxn>
              <a:cxn ang="0">
                <a:pos x="1" y="12"/>
              </a:cxn>
              <a:cxn ang="0">
                <a:pos x="1" y="11"/>
              </a:cxn>
              <a:cxn ang="0">
                <a:pos x="0" y="9"/>
              </a:cxn>
              <a:cxn ang="0">
                <a:pos x="1" y="8"/>
              </a:cxn>
              <a:cxn ang="0">
                <a:pos x="2" y="8"/>
              </a:cxn>
              <a:cxn ang="0">
                <a:pos x="2" y="7"/>
              </a:cxn>
              <a:cxn ang="0">
                <a:pos x="0" y="7"/>
              </a:cxn>
              <a:cxn ang="0">
                <a:pos x="0" y="6"/>
              </a:cxn>
              <a:cxn ang="0">
                <a:pos x="1" y="5"/>
              </a:cxn>
              <a:cxn ang="0">
                <a:pos x="1" y="3"/>
              </a:cxn>
              <a:cxn ang="0">
                <a:pos x="2" y="2"/>
              </a:cxn>
              <a:cxn ang="0">
                <a:pos x="2" y="0"/>
              </a:cxn>
            </a:cxnLst>
            <a:rect l="0" t="0" r="r" b="b"/>
            <a:pathLst>
              <a:path w="15" h="13">
                <a:moveTo>
                  <a:pt x="2" y="0"/>
                </a:moveTo>
                <a:lnTo>
                  <a:pt x="6" y="0"/>
                </a:lnTo>
                <a:lnTo>
                  <a:pt x="8" y="1"/>
                </a:lnTo>
                <a:lnTo>
                  <a:pt x="13" y="2"/>
                </a:lnTo>
                <a:lnTo>
                  <a:pt x="13" y="3"/>
                </a:lnTo>
                <a:lnTo>
                  <a:pt x="15" y="3"/>
                </a:lnTo>
                <a:lnTo>
                  <a:pt x="15" y="5"/>
                </a:lnTo>
                <a:lnTo>
                  <a:pt x="14" y="5"/>
                </a:lnTo>
                <a:lnTo>
                  <a:pt x="13" y="6"/>
                </a:lnTo>
                <a:lnTo>
                  <a:pt x="13" y="8"/>
                </a:lnTo>
                <a:lnTo>
                  <a:pt x="12" y="9"/>
                </a:lnTo>
                <a:lnTo>
                  <a:pt x="11" y="8"/>
                </a:lnTo>
                <a:lnTo>
                  <a:pt x="10" y="11"/>
                </a:lnTo>
                <a:lnTo>
                  <a:pt x="8" y="11"/>
                </a:lnTo>
                <a:lnTo>
                  <a:pt x="6" y="12"/>
                </a:lnTo>
                <a:lnTo>
                  <a:pt x="5" y="13"/>
                </a:lnTo>
                <a:lnTo>
                  <a:pt x="2" y="12"/>
                </a:lnTo>
                <a:lnTo>
                  <a:pt x="1" y="12"/>
                </a:lnTo>
                <a:lnTo>
                  <a:pt x="1" y="11"/>
                </a:lnTo>
                <a:lnTo>
                  <a:pt x="0" y="9"/>
                </a:lnTo>
                <a:lnTo>
                  <a:pt x="1" y="8"/>
                </a:lnTo>
                <a:lnTo>
                  <a:pt x="2" y="8"/>
                </a:lnTo>
                <a:lnTo>
                  <a:pt x="2" y="7"/>
                </a:lnTo>
                <a:lnTo>
                  <a:pt x="0" y="7"/>
                </a:lnTo>
                <a:lnTo>
                  <a:pt x="0" y="6"/>
                </a:lnTo>
                <a:lnTo>
                  <a:pt x="1" y="5"/>
                </a:lnTo>
                <a:lnTo>
                  <a:pt x="1" y="3"/>
                </a:lnTo>
                <a:lnTo>
                  <a:pt x="2" y="2"/>
                </a:lnTo>
                <a:lnTo>
                  <a:pt x="2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8" name="Freeform 59">
            <a:extLst>
              <a:ext uri="{FF2B5EF4-FFF2-40B4-BE49-F238E27FC236}">
                <a16:creationId xmlns:a16="http://schemas.microsoft.com/office/drawing/2014/main" id="{F5C40103-36F2-4FCF-8176-BCBAAC9166E2}"/>
              </a:ext>
            </a:extLst>
          </p:cNvPr>
          <p:cNvSpPr>
            <a:spLocks noEditPoints="1"/>
          </p:cNvSpPr>
          <p:nvPr/>
        </p:nvSpPr>
        <p:spPr bwMode="auto">
          <a:xfrm>
            <a:off x="2409684" y="5368176"/>
            <a:ext cx="107222" cy="243422"/>
          </a:xfrm>
          <a:custGeom>
            <a:avLst/>
            <a:gdLst/>
            <a:ahLst/>
            <a:cxnLst>
              <a:cxn ang="0">
                <a:pos x="6" y="97"/>
              </a:cxn>
              <a:cxn ang="0">
                <a:pos x="17" y="0"/>
              </a:cxn>
              <a:cxn ang="0">
                <a:pos x="24" y="11"/>
              </a:cxn>
              <a:cxn ang="0">
                <a:pos x="33" y="5"/>
              </a:cxn>
              <a:cxn ang="0">
                <a:pos x="39" y="12"/>
              </a:cxn>
              <a:cxn ang="0">
                <a:pos x="40" y="18"/>
              </a:cxn>
              <a:cxn ang="0">
                <a:pos x="50" y="24"/>
              </a:cxn>
              <a:cxn ang="0">
                <a:pos x="55" y="37"/>
              </a:cxn>
              <a:cxn ang="0">
                <a:pos x="54" y="43"/>
              </a:cxn>
              <a:cxn ang="0">
                <a:pos x="52" y="56"/>
              </a:cxn>
              <a:cxn ang="0">
                <a:pos x="49" y="65"/>
              </a:cxn>
              <a:cxn ang="0">
                <a:pos x="53" y="69"/>
              </a:cxn>
              <a:cxn ang="0">
                <a:pos x="53" y="74"/>
              </a:cxn>
              <a:cxn ang="0">
                <a:pos x="53" y="81"/>
              </a:cxn>
              <a:cxn ang="0">
                <a:pos x="58" y="88"/>
              </a:cxn>
              <a:cxn ang="0">
                <a:pos x="61" y="99"/>
              </a:cxn>
              <a:cxn ang="0">
                <a:pos x="72" y="100"/>
              </a:cxn>
              <a:cxn ang="0">
                <a:pos x="74" y="110"/>
              </a:cxn>
              <a:cxn ang="0">
                <a:pos x="71" y="120"/>
              </a:cxn>
              <a:cxn ang="0">
                <a:pos x="62" y="130"/>
              </a:cxn>
              <a:cxn ang="0">
                <a:pos x="59" y="138"/>
              </a:cxn>
              <a:cxn ang="0">
                <a:pos x="50" y="145"/>
              </a:cxn>
              <a:cxn ang="0">
                <a:pos x="45" y="153"/>
              </a:cxn>
              <a:cxn ang="0">
                <a:pos x="45" y="160"/>
              </a:cxn>
              <a:cxn ang="0">
                <a:pos x="42" y="161"/>
              </a:cxn>
              <a:cxn ang="0">
                <a:pos x="41" y="167"/>
              </a:cxn>
              <a:cxn ang="0">
                <a:pos x="33" y="166"/>
              </a:cxn>
              <a:cxn ang="0">
                <a:pos x="30" y="162"/>
              </a:cxn>
              <a:cxn ang="0">
                <a:pos x="29" y="155"/>
              </a:cxn>
              <a:cxn ang="0">
                <a:pos x="28" y="151"/>
              </a:cxn>
              <a:cxn ang="0">
                <a:pos x="21" y="144"/>
              </a:cxn>
              <a:cxn ang="0">
                <a:pos x="14" y="140"/>
              </a:cxn>
              <a:cxn ang="0">
                <a:pos x="4" y="131"/>
              </a:cxn>
              <a:cxn ang="0">
                <a:pos x="0" y="125"/>
              </a:cxn>
              <a:cxn ang="0">
                <a:pos x="5" y="129"/>
              </a:cxn>
              <a:cxn ang="0">
                <a:pos x="8" y="123"/>
              </a:cxn>
              <a:cxn ang="0">
                <a:pos x="8" y="120"/>
              </a:cxn>
              <a:cxn ang="0">
                <a:pos x="4" y="117"/>
              </a:cxn>
              <a:cxn ang="0">
                <a:pos x="4" y="110"/>
              </a:cxn>
              <a:cxn ang="0">
                <a:pos x="10" y="98"/>
              </a:cxn>
              <a:cxn ang="0">
                <a:pos x="9" y="94"/>
              </a:cxn>
              <a:cxn ang="0">
                <a:pos x="9" y="82"/>
              </a:cxn>
              <a:cxn ang="0">
                <a:pos x="6" y="75"/>
              </a:cxn>
              <a:cxn ang="0">
                <a:pos x="10" y="65"/>
              </a:cxn>
              <a:cxn ang="0">
                <a:pos x="12" y="61"/>
              </a:cxn>
              <a:cxn ang="0">
                <a:pos x="12" y="56"/>
              </a:cxn>
              <a:cxn ang="0">
                <a:pos x="14" y="48"/>
              </a:cxn>
              <a:cxn ang="0">
                <a:pos x="4" y="43"/>
              </a:cxn>
              <a:cxn ang="0">
                <a:pos x="4" y="39"/>
              </a:cxn>
              <a:cxn ang="0">
                <a:pos x="2" y="28"/>
              </a:cxn>
              <a:cxn ang="0">
                <a:pos x="5" y="16"/>
              </a:cxn>
              <a:cxn ang="0">
                <a:pos x="11" y="9"/>
              </a:cxn>
              <a:cxn ang="0">
                <a:pos x="17" y="0"/>
              </a:cxn>
            </a:cxnLst>
            <a:rect l="0" t="0" r="r" b="b"/>
            <a:pathLst>
              <a:path w="74" h="168">
                <a:moveTo>
                  <a:pt x="6" y="97"/>
                </a:moveTo>
                <a:lnTo>
                  <a:pt x="6" y="100"/>
                </a:lnTo>
                <a:lnTo>
                  <a:pt x="5" y="100"/>
                </a:lnTo>
                <a:lnTo>
                  <a:pt x="5" y="98"/>
                </a:lnTo>
                <a:lnTo>
                  <a:pt x="6" y="97"/>
                </a:lnTo>
                <a:close/>
                <a:moveTo>
                  <a:pt x="9" y="95"/>
                </a:moveTo>
                <a:lnTo>
                  <a:pt x="8" y="98"/>
                </a:lnTo>
                <a:lnTo>
                  <a:pt x="8" y="97"/>
                </a:lnTo>
                <a:lnTo>
                  <a:pt x="9" y="95"/>
                </a:lnTo>
                <a:close/>
                <a:moveTo>
                  <a:pt x="17" y="0"/>
                </a:moveTo>
                <a:lnTo>
                  <a:pt x="19" y="0"/>
                </a:lnTo>
                <a:lnTo>
                  <a:pt x="19" y="7"/>
                </a:lnTo>
                <a:lnTo>
                  <a:pt x="22" y="9"/>
                </a:lnTo>
                <a:lnTo>
                  <a:pt x="22" y="11"/>
                </a:lnTo>
                <a:lnTo>
                  <a:pt x="24" y="11"/>
                </a:lnTo>
                <a:lnTo>
                  <a:pt x="25" y="9"/>
                </a:lnTo>
                <a:lnTo>
                  <a:pt x="25" y="8"/>
                </a:lnTo>
                <a:lnTo>
                  <a:pt x="30" y="8"/>
                </a:lnTo>
                <a:lnTo>
                  <a:pt x="31" y="6"/>
                </a:lnTo>
                <a:lnTo>
                  <a:pt x="33" y="5"/>
                </a:lnTo>
                <a:lnTo>
                  <a:pt x="34" y="6"/>
                </a:lnTo>
                <a:lnTo>
                  <a:pt x="34" y="7"/>
                </a:lnTo>
                <a:lnTo>
                  <a:pt x="36" y="8"/>
                </a:lnTo>
                <a:lnTo>
                  <a:pt x="37" y="8"/>
                </a:lnTo>
                <a:lnTo>
                  <a:pt x="39" y="12"/>
                </a:lnTo>
                <a:lnTo>
                  <a:pt x="40" y="13"/>
                </a:lnTo>
                <a:lnTo>
                  <a:pt x="39" y="14"/>
                </a:lnTo>
                <a:lnTo>
                  <a:pt x="39" y="15"/>
                </a:lnTo>
                <a:lnTo>
                  <a:pt x="40" y="15"/>
                </a:lnTo>
                <a:lnTo>
                  <a:pt x="40" y="18"/>
                </a:lnTo>
                <a:lnTo>
                  <a:pt x="41" y="18"/>
                </a:lnTo>
                <a:lnTo>
                  <a:pt x="41" y="19"/>
                </a:lnTo>
                <a:lnTo>
                  <a:pt x="45" y="19"/>
                </a:lnTo>
                <a:lnTo>
                  <a:pt x="50" y="22"/>
                </a:lnTo>
                <a:lnTo>
                  <a:pt x="50" y="24"/>
                </a:lnTo>
                <a:lnTo>
                  <a:pt x="52" y="24"/>
                </a:lnTo>
                <a:lnTo>
                  <a:pt x="52" y="25"/>
                </a:lnTo>
                <a:lnTo>
                  <a:pt x="54" y="28"/>
                </a:lnTo>
                <a:lnTo>
                  <a:pt x="54" y="33"/>
                </a:lnTo>
                <a:lnTo>
                  <a:pt x="55" y="37"/>
                </a:lnTo>
                <a:lnTo>
                  <a:pt x="55" y="38"/>
                </a:lnTo>
                <a:lnTo>
                  <a:pt x="56" y="39"/>
                </a:lnTo>
                <a:lnTo>
                  <a:pt x="55" y="40"/>
                </a:lnTo>
                <a:lnTo>
                  <a:pt x="55" y="42"/>
                </a:lnTo>
                <a:lnTo>
                  <a:pt x="54" y="43"/>
                </a:lnTo>
                <a:lnTo>
                  <a:pt x="55" y="44"/>
                </a:lnTo>
                <a:lnTo>
                  <a:pt x="54" y="45"/>
                </a:lnTo>
                <a:lnTo>
                  <a:pt x="54" y="49"/>
                </a:lnTo>
                <a:lnTo>
                  <a:pt x="52" y="51"/>
                </a:lnTo>
                <a:lnTo>
                  <a:pt x="52" y="56"/>
                </a:lnTo>
                <a:lnTo>
                  <a:pt x="53" y="57"/>
                </a:lnTo>
                <a:lnTo>
                  <a:pt x="53" y="61"/>
                </a:lnTo>
                <a:lnTo>
                  <a:pt x="52" y="62"/>
                </a:lnTo>
                <a:lnTo>
                  <a:pt x="49" y="62"/>
                </a:lnTo>
                <a:lnTo>
                  <a:pt x="49" y="65"/>
                </a:lnTo>
                <a:lnTo>
                  <a:pt x="50" y="65"/>
                </a:lnTo>
                <a:lnTo>
                  <a:pt x="50" y="67"/>
                </a:lnTo>
                <a:lnTo>
                  <a:pt x="52" y="67"/>
                </a:lnTo>
                <a:lnTo>
                  <a:pt x="52" y="69"/>
                </a:lnTo>
                <a:lnTo>
                  <a:pt x="53" y="69"/>
                </a:lnTo>
                <a:lnTo>
                  <a:pt x="53" y="70"/>
                </a:lnTo>
                <a:lnTo>
                  <a:pt x="54" y="70"/>
                </a:lnTo>
                <a:lnTo>
                  <a:pt x="54" y="71"/>
                </a:lnTo>
                <a:lnTo>
                  <a:pt x="53" y="73"/>
                </a:lnTo>
                <a:lnTo>
                  <a:pt x="53" y="74"/>
                </a:lnTo>
                <a:lnTo>
                  <a:pt x="52" y="74"/>
                </a:lnTo>
                <a:lnTo>
                  <a:pt x="50" y="75"/>
                </a:lnTo>
                <a:lnTo>
                  <a:pt x="52" y="76"/>
                </a:lnTo>
                <a:lnTo>
                  <a:pt x="52" y="80"/>
                </a:lnTo>
                <a:lnTo>
                  <a:pt x="53" y="81"/>
                </a:lnTo>
                <a:lnTo>
                  <a:pt x="54" y="83"/>
                </a:lnTo>
                <a:lnTo>
                  <a:pt x="54" y="85"/>
                </a:lnTo>
                <a:lnTo>
                  <a:pt x="55" y="86"/>
                </a:lnTo>
                <a:lnTo>
                  <a:pt x="55" y="88"/>
                </a:lnTo>
                <a:lnTo>
                  <a:pt x="58" y="88"/>
                </a:lnTo>
                <a:lnTo>
                  <a:pt x="59" y="89"/>
                </a:lnTo>
                <a:lnTo>
                  <a:pt x="60" y="93"/>
                </a:lnTo>
                <a:lnTo>
                  <a:pt x="60" y="97"/>
                </a:lnTo>
                <a:lnTo>
                  <a:pt x="61" y="98"/>
                </a:lnTo>
                <a:lnTo>
                  <a:pt x="61" y="99"/>
                </a:lnTo>
                <a:lnTo>
                  <a:pt x="64" y="99"/>
                </a:lnTo>
                <a:lnTo>
                  <a:pt x="65" y="98"/>
                </a:lnTo>
                <a:lnTo>
                  <a:pt x="71" y="98"/>
                </a:lnTo>
                <a:lnTo>
                  <a:pt x="71" y="99"/>
                </a:lnTo>
                <a:lnTo>
                  <a:pt x="72" y="100"/>
                </a:lnTo>
                <a:lnTo>
                  <a:pt x="72" y="104"/>
                </a:lnTo>
                <a:lnTo>
                  <a:pt x="71" y="105"/>
                </a:lnTo>
                <a:lnTo>
                  <a:pt x="71" y="107"/>
                </a:lnTo>
                <a:lnTo>
                  <a:pt x="72" y="107"/>
                </a:lnTo>
                <a:lnTo>
                  <a:pt x="74" y="110"/>
                </a:lnTo>
                <a:lnTo>
                  <a:pt x="74" y="118"/>
                </a:lnTo>
                <a:lnTo>
                  <a:pt x="73" y="118"/>
                </a:lnTo>
                <a:lnTo>
                  <a:pt x="73" y="119"/>
                </a:lnTo>
                <a:lnTo>
                  <a:pt x="72" y="119"/>
                </a:lnTo>
                <a:lnTo>
                  <a:pt x="71" y="120"/>
                </a:lnTo>
                <a:lnTo>
                  <a:pt x="71" y="123"/>
                </a:lnTo>
                <a:lnTo>
                  <a:pt x="66" y="123"/>
                </a:lnTo>
                <a:lnTo>
                  <a:pt x="64" y="125"/>
                </a:lnTo>
                <a:lnTo>
                  <a:pt x="64" y="129"/>
                </a:lnTo>
                <a:lnTo>
                  <a:pt x="62" y="130"/>
                </a:lnTo>
                <a:lnTo>
                  <a:pt x="62" y="131"/>
                </a:lnTo>
                <a:lnTo>
                  <a:pt x="61" y="132"/>
                </a:lnTo>
                <a:lnTo>
                  <a:pt x="60" y="132"/>
                </a:lnTo>
                <a:lnTo>
                  <a:pt x="60" y="138"/>
                </a:lnTo>
                <a:lnTo>
                  <a:pt x="59" y="138"/>
                </a:lnTo>
                <a:lnTo>
                  <a:pt x="59" y="143"/>
                </a:lnTo>
                <a:lnTo>
                  <a:pt x="58" y="143"/>
                </a:lnTo>
                <a:lnTo>
                  <a:pt x="56" y="144"/>
                </a:lnTo>
                <a:lnTo>
                  <a:pt x="52" y="144"/>
                </a:lnTo>
                <a:lnTo>
                  <a:pt x="50" y="145"/>
                </a:lnTo>
                <a:lnTo>
                  <a:pt x="49" y="144"/>
                </a:lnTo>
                <a:lnTo>
                  <a:pt x="47" y="147"/>
                </a:lnTo>
                <a:lnTo>
                  <a:pt x="47" y="149"/>
                </a:lnTo>
                <a:lnTo>
                  <a:pt x="43" y="149"/>
                </a:lnTo>
                <a:lnTo>
                  <a:pt x="45" y="153"/>
                </a:lnTo>
                <a:lnTo>
                  <a:pt x="46" y="154"/>
                </a:lnTo>
                <a:lnTo>
                  <a:pt x="47" y="157"/>
                </a:lnTo>
                <a:lnTo>
                  <a:pt x="48" y="159"/>
                </a:lnTo>
                <a:lnTo>
                  <a:pt x="47" y="160"/>
                </a:lnTo>
                <a:lnTo>
                  <a:pt x="45" y="160"/>
                </a:lnTo>
                <a:lnTo>
                  <a:pt x="43" y="159"/>
                </a:lnTo>
                <a:lnTo>
                  <a:pt x="42" y="159"/>
                </a:lnTo>
                <a:lnTo>
                  <a:pt x="42" y="160"/>
                </a:lnTo>
                <a:lnTo>
                  <a:pt x="43" y="161"/>
                </a:lnTo>
                <a:lnTo>
                  <a:pt x="42" y="161"/>
                </a:lnTo>
                <a:lnTo>
                  <a:pt x="42" y="162"/>
                </a:lnTo>
                <a:lnTo>
                  <a:pt x="43" y="162"/>
                </a:lnTo>
                <a:lnTo>
                  <a:pt x="43" y="163"/>
                </a:lnTo>
                <a:lnTo>
                  <a:pt x="41" y="166"/>
                </a:lnTo>
                <a:lnTo>
                  <a:pt x="41" y="167"/>
                </a:lnTo>
                <a:lnTo>
                  <a:pt x="40" y="167"/>
                </a:lnTo>
                <a:lnTo>
                  <a:pt x="40" y="168"/>
                </a:lnTo>
                <a:lnTo>
                  <a:pt x="37" y="168"/>
                </a:lnTo>
                <a:lnTo>
                  <a:pt x="35" y="166"/>
                </a:lnTo>
                <a:lnTo>
                  <a:pt x="33" y="166"/>
                </a:lnTo>
                <a:lnTo>
                  <a:pt x="31" y="165"/>
                </a:lnTo>
                <a:lnTo>
                  <a:pt x="30" y="166"/>
                </a:lnTo>
                <a:lnTo>
                  <a:pt x="30" y="163"/>
                </a:lnTo>
                <a:lnTo>
                  <a:pt x="31" y="162"/>
                </a:lnTo>
                <a:lnTo>
                  <a:pt x="30" y="162"/>
                </a:lnTo>
                <a:lnTo>
                  <a:pt x="30" y="160"/>
                </a:lnTo>
                <a:lnTo>
                  <a:pt x="31" y="157"/>
                </a:lnTo>
                <a:lnTo>
                  <a:pt x="31" y="156"/>
                </a:lnTo>
                <a:lnTo>
                  <a:pt x="30" y="155"/>
                </a:lnTo>
                <a:lnTo>
                  <a:pt x="29" y="155"/>
                </a:lnTo>
                <a:lnTo>
                  <a:pt x="29" y="154"/>
                </a:lnTo>
                <a:lnTo>
                  <a:pt x="27" y="154"/>
                </a:lnTo>
                <a:lnTo>
                  <a:pt x="27" y="153"/>
                </a:lnTo>
                <a:lnTo>
                  <a:pt x="28" y="153"/>
                </a:lnTo>
                <a:lnTo>
                  <a:pt x="28" y="151"/>
                </a:lnTo>
                <a:lnTo>
                  <a:pt x="25" y="147"/>
                </a:lnTo>
                <a:lnTo>
                  <a:pt x="25" y="145"/>
                </a:lnTo>
                <a:lnTo>
                  <a:pt x="22" y="145"/>
                </a:lnTo>
                <a:lnTo>
                  <a:pt x="23" y="144"/>
                </a:lnTo>
                <a:lnTo>
                  <a:pt x="21" y="144"/>
                </a:lnTo>
                <a:lnTo>
                  <a:pt x="21" y="143"/>
                </a:lnTo>
                <a:lnTo>
                  <a:pt x="19" y="143"/>
                </a:lnTo>
                <a:lnTo>
                  <a:pt x="19" y="142"/>
                </a:lnTo>
                <a:lnTo>
                  <a:pt x="18" y="142"/>
                </a:lnTo>
                <a:lnTo>
                  <a:pt x="14" y="140"/>
                </a:lnTo>
                <a:lnTo>
                  <a:pt x="12" y="138"/>
                </a:lnTo>
                <a:lnTo>
                  <a:pt x="10" y="137"/>
                </a:lnTo>
                <a:lnTo>
                  <a:pt x="9" y="137"/>
                </a:lnTo>
                <a:lnTo>
                  <a:pt x="5" y="132"/>
                </a:lnTo>
                <a:lnTo>
                  <a:pt x="4" y="131"/>
                </a:lnTo>
                <a:lnTo>
                  <a:pt x="3" y="129"/>
                </a:lnTo>
                <a:lnTo>
                  <a:pt x="3" y="128"/>
                </a:lnTo>
                <a:lnTo>
                  <a:pt x="2" y="126"/>
                </a:lnTo>
                <a:lnTo>
                  <a:pt x="2" y="125"/>
                </a:lnTo>
                <a:lnTo>
                  <a:pt x="0" y="125"/>
                </a:lnTo>
                <a:lnTo>
                  <a:pt x="2" y="124"/>
                </a:lnTo>
                <a:lnTo>
                  <a:pt x="3" y="124"/>
                </a:lnTo>
                <a:lnTo>
                  <a:pt x="3" y="125"/>
                </a:lnTo>
                <a:lnTo>
                  <a:pt x="5" y="126"/>
                </a:lnTo>
                <a:lnTo>
                  <a:pt x="5" y="129"/>
                </a:lnTo>
                <a:lnTo>
                  <a:pt x="6" y="129"/>
                </a:lnTo>
                <a:lnTo>
                  <a:pt x="6" y="130"/>
                </a:lnTo>
                <a:lnTo>
                  <a:pt x="9" y="130"/>
                </a:lnTo>
                <a:lnTo>
                  <a:pt x="9" y="123"/>
                </a:lnTo>
                <a:lnTo>
                  <a:pt x="8" y="123"/>
                </a:lnTo>
                <a:lnTo>
                  <a:pt x="6" y="122"/>
                </a:lnTo>
                <a:lnTo>
                  <a:pt x="5" y="119"/>
                </a:lnTo>
                <a:lnTo>
                  <a:pt x="6" y="119"/>
                </a:lnTo>
                <a:lnTo>
                  <a:pt x="6" y="120"/>
                </a:lnTo>
                <a:lnTo>
                  <a:pt x="8" y="120"/>
                </a:lnTo>
                <a:lnTo>
                  <a:pt x="8" y="117"/>
                </a:lnTo>
                <a:lnTo>
                  <a:pt x="6" y="116"/>
                </a:lnTo>
                <a:lnTo>
                  <a:pt x="5" y="117"/>
                </a:lnTo>
                <a:lnTo>
                  <a:pt x="5" y="118"/>
                </a:lnTo>
                <a:lnTo>
                  <a:pt x="4" y="117"/>
                </a:lnTo>
                <a:lnTo>
                  <a:pt x="2" y="113"/>
                </a:lnTo>
                <a:lnTo>
                  <a:pt x="2" y="111"/>
                </a:lnTo>
                <a:lnTo>
                  <a:pt x="3" y="111"/>
                </a:lnTo>
                <a:lnTo>
                  <a:pt x="3" y="110"/>
                </a:lnTo>
                <a:lnTo>
                  <a:pt x="4" y="110"/>
                </a:lnTo>
                <a:lnTo>
                  <a:pt x="4" y="104"/>
                </a:lnTo>
                <a:lnTo>
                  <a:pt x="5" y="104"/>
                </a:lnTo>
                <a:lnTo>
                  <a:pt x="5" y="101"/>
                </a:lnTo>
                <a:lnTo>
                  <a:pt x="8" y="99"/>
                </a:lnTo>
                <a:lnTo>
                  <a:pt x="10" y="98"/>
                </a:lnTo>
                <a:lnTo>
                  <a:pt x="11" y="98"/>
                </a:lnTo>
                <a:lnTo>
                  <a:pt x="11" y="97"/>
                </a:lnTo>
                <a:lnTo>
                  <a:pt x="10" y="95"/>
                </a:lnTo>
                <a:lnTo>
                  <a:pt x="10" y="93"/>
                </a:lnTo>
                <a:lnTo>
                  <a:pt x="9" y="94"/>
                </a:lnTo>
                <a:lnTo>
                  <a:pt x="9" y="93"/>
                </a:lnTo>
                <a:lnTo>
                  <a:pt x="8" y="93"/>
                </a:lnTo>
                <a:lnTo>
                  <a:pt x="8" y="85"/>
                </a:lnTo>
                <a:lnTo>
                  <a:pt x="9" y="83"/>
                </a:lnTo>
                <a:lnTo>
                  <a:pt x="9" y="82"/>
                </a:lnTo>
                <a:lnTo>
                  <a:pt x="10" y="80"/>
                </a:lnTo>
                <a:lnTo>
                  <a:pt x="10" y="76"/>
                </a:lnTo>
                <a:lnTo>
                  <a:pt x="9" y="76"/>
                </a:lnTo>
                <a:lnTo>
                  <a:pt x="9" y="75"/>
                </a:lnTo>
                <a:lnTo>
                  <a:pt x="6" y="75"/>
                </a:lnTo>
                <a:lnTo>
                  <a:pt x="6" y="71"/>
                </a:lnTo>
                <a:lnTo>
                  <a:pt x="5" y="70"/>
                </a:lnTo>
                <a:lnTo>
                  <a:pt x="8" y="70"/>
                </a:lnTo>
                <a:lnTo>
                  <a:pt x="8" y="68"/>
                </a:lnTo>
                <a:lnTo>
                  <a:pt x="10" y="65"/>
                </a:lnTo>
                <a:lnTo>
                  <a:pt x="10" y="63"/>
                </a:lnTo>
                <a:lnTo>
                  <a:pt x="9" y="63"/>
                </a:lnTo>
                <a:lnTo>
                  <a:pt x="9" y="62"/>
                </a:lnTo>
                <a:lnTo>
                  <a:pt x="8" y="61"/>
                </a:lnTo>
                <a:lnTo>
                  <a:pt x="12" y="61"/>
                </a:lnTo>
                <a:lnTo>
                  <a:pt x="14" y="58"/>
                </a:lnTo>
                <a:lnTo>
                  <a:pt x="14" y="59"/>
                </a:lnTo>
                <a:lnTo>
                  <a:pt x="15" y="59"/>
                </a:lnTo>
                <a:lnTo>
                  <a:pt x="14" y="57"/>
                </a:lnTo>
                <a:lnTo>
                  <a:pt x="12" y="56"/>
                </a:lnTo>
                <a:lnTo>
                  <a:pt x="14" y="55"/>
                </a:lnTo>
                <a:lnTo>
                  <a:pt x="12" y="52"/>
                </a:lnTo>
                <a:lnTo>
                  <a:pt x="12" y="50"/>
                </a:lnTo>
                <a:lnTo>
                  <a:pt x="14" y="50"/>
                </a:lnTo>
                <a:lnTo>
                  <a:pt x="14" y="48"/>
                </a:lnTo>
                <a:lnTo>
                  <a:pt x="9" y="45"/>
                </a:lnTo>
                <a:lnTo>
                  <a:pt x="8" y="44"/>
                </a:lnTo>
                <a:lnTo>
                  <a:pt x="6" y="44"/>
                </a:lnTo>
                <a:lnTo>
                  <a:pt x="4" y="45"/>
                </a:lnTo>
                <a:lnTo>
                  <a:pt x="4" y="43"/>
                </a:lnTo>
                <a:lnTo>
                  <a:pt x="3" y="42"/>
                </a:lnTo>
                <a:lnTo>
                  <a:pt x="3" y="40"/>
                </a:lnTo>
                <a:lnTo>
                  <a:pt x="4" y="40"/>
                </a:lnTo>
                <a:lnTo>
                  <a:pt x="3" y="39"/>
                </a:lnTo>
                <a:lnTo>
                  <a:pt x="4" y="39"/>
                </a:lnTo>
                <a:lnTo>
                  <a:pt x="4" y="37"/>
                </a:lnTo>
                <a:lnTo>
                  <a:pt x="3" y="36"/>
                </a:lnTo>
                <a:lnTo>
                  <a:pt x="4" y="34"/>
                </a:lnTo>
                <a:lnTo>
                  <a:pt x="4" y="30"/>
                </a:lnTo>
                <a:lnTo>
                  <a:pt x="2" y="28"/>
                </a:lnTo>
                <a:lnTo>
                  <a:pt x="0" y="27"/>
                </a:lnTo>
                <a:lnTo>
                  <a:pt x="0" y="26"/>
                </a:lnTo>
                <a:lnTo>
                  <a:pt x="2" y="25"/>
                </a:lnTo>
                <a:lnTo>
                  <a:pt x="5" y="18"/>
                </a:lnTo>
                <a:lnTo>
                  <a:pt x="5" y="16"/>
                </a:lnTo>
                <a:lnTo>
                  <a:pt x="9" y="13"/>
                </a:lnTo>
                <a:lnTo>
                  <a:pt x="9" y="12"/>
                </a:lnTo>
                <a:lnTo>
                  <a:pt x="10" y="12"/>
                </a:lnTo>
                <a:lnTo>
                  <a:pt x="10" y="11"/>
                </a:lnTo>
                <a:lnTo>
                  <a:pt x="11" y="9"/>
                </a:lnTo>
                <a:lnTo>
                  <a:pt x="11" y="8"/>
                </a:lnTo>
                <a:lnTo>
                  <a:pt x="12" y="7"/>
                </a:lnTo>
                <a:lnTo>
                  <a:pt x="14" y="7"/>
                </a:lnTo>
                <a:lnTo>
                  <a:pt x="14" y="3"/>
                </a:lnTo>
                <a:lnTo>
                  <a:pt x="17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9" name="Freeform 13">
            <a:extLst>
              <a:ext uri="{FF2B5EF4-FFF2-40B4-BE49-F238E27FC236}">
                <a16:creationId xmlns:a16="http://schemas.microsoft.com/office/drawing/2014/main" id="{954C1EB8-D837-43A2-A0A7-A5D40692F416}"/>
              </a:ext>
            </a:extLst>
          </p:cNvPr>
          <p:cNvSpPr>
            <a:spLocks noEditPoints="1"/>
          </p:cNvSpPr>
          <p:nvPr/>
        </p:nvSpPr>
        <p:spPr bwMode="auto">
          <a:xfrm>
            <a:off x="113840" y="5288125"/>
            <a:ext cx="1376493" cy="1220008"/>
          </a:xfrm>
          <a:custGeom>
            <a:avLst/>
            <a:gdLst/>
            <a:ahLst/>
            <a:cxnLst>
              <a:cxn ang="0">
                <a:pos x="117" y="817"/>
              </a:cxn>
              <a:cxn ang="0">
                <a:pos x="99" y="828"/>
              </a:cxn>
              <a:cxn ang="0">
                <a:pos x="87" y="800"/>
              </a:cxn>
              <a:cxn ang="0">
                <a:pos x="57" y="816"/>
              </a:cxn>
              <a:cxn ang="0">
                <a:pos x="184" y="792"/>
              </a:cxn>
              <a:cxn ang="0">
                <a:pos x="168" y="813"/>
              </a:cxn>
              <a:cxn ang="0">
                <a:pos x="16" y="803"/>
              </a:cxn>
              <a:cxn ang="0">
                <a:pos x="188" y="782"/>
              </a:cxn>
              <a:cxn ang="0">
                <a:pos x="195" y="767"/>
              </a:cxn>
              <a:cxn ang="0">
                <a:pos x="501" y="380"/>
              </a:cxn>
              <a:cxn ang="0">
                <a:pos x="828" y="263"/>
              </a:cxn>
              <a:cxn ang="0">
                <a:pos x="822" y="271"/>
              </a:cxn>
              <a:cxn ang="0">
                <a:pos x="897" y="221"/>
              </a:cxn>
              <a:cxn ang="0">
                <a:pos x="902" y="250"/>
              </a:cxn>
              <a:cxn ang="0">
                <a:pos x="872" y="244"/>
              </a:cxn>
              <a:cxn ang="0">
                <a:pos x="942" y="211"/>
              </a:cxn>
              <a:cxn ang="0">
                <a:pos x="928" y="211"/>
              </a:cxn>
              <a:cxn ang="0">
                <a:pos x="391" y="75"/>
              </a:cxn>
              <a:cxn ang="0">
                <a:pos x="471" y="13"/>
              </a:cxn>
              <a:cxn ang="0">
                <a:pos x="511" y="12"/>
              </a:cxn>
              <a:cxn ang="0">
                <a:pos x="558" y="19"/>
              </a:cxn>
              <a:cxn ang="0">
                <a:pos x="608" y="18"/>
              </a:cxn>
              <a:cxn ang="0">
                <a:pos x="621" y="22"/>
              </a:cxn>
              <a:cxn ang="0">
                <a:pos x="656" y="22"/>
              </a:cxn>
              <a:cxn ang="0">
                <a:pos x="697" y="31"/>
              </a:cxn>
              <a:cxn ang="0">
                <a:pos x="715" y="43"/>
              </a:cxn>
              <a:cxn ang="0">
                <a:pos x="753" y="56"/>
              </a:cxn>
              <a:cxn ang="0">
                <a:pos x="795" y="61"/>
              </a:cxn>
              <a:cxn ang="0">
                <a:pos x="828" y="73"/>
              </a:cxn>
              <a:cxn ang="0">
                <a:pos x="857" y="79"/>
              </a:cxn>
              <a:cxn ang="0">
                <a:pos x="906" y="84"/>
              </a:cxn>
              <a:cxn ang="0">
                <a:pos x="887" y="120"/>
              </a:cxn>
              <a:cxn ang="0">
                <a:pos x="809" y="157"/>
              </a:cxn>
              <a:cxn ang="0">
                <a:pos x="782" y="198"/>
              </a:cxn>
              <a:cxn ang="0">
                <a:pos x="757" y="263"/>
              </a:cxn>
              <a:cxn ang="0">
                <a:pos x="759" y="294"/>
              </a:cxn>
              <a:cxn ang="0">
                <a:pos x="735" y="333"/>
              </a:cxn>
              <a:cxn ang="0">
                <a:pos x="714" y="346"/>
              </a:cxn>
              <a:cxn ang="0">
                <a:pos x="682" y="385"/>
              </a:cxn>
              <a:cxn ang="0">
                <a:pos x="652" y="392"/>
              </a:cxn>
              <a:cxn ang="0">
                <a:pos x="595" y="389"/>
              </a:cxn>
              <a:cxn ang="0">
                <a:pos x="544" y="416"/>
              </a:cxn>
              <a:cxn ang="0">
                <a:pos x="501" y="400"/>
              </a:cxn>
              <a:cxn ang="0">
                <a:pos x="480" y="369"/>
              </a:cxn>
              <a:cxn ang="0">
                <a:pos x="452" y="354"/>
              </a:cxn>
              <a:cxn ang="0">
                <a:pos x="472" y="317"/>
              </a:cxn>
              <a:cxn ang="0">
                <a:pos x="468" y="277"/>
              </a:cxn>
              <a:cxn ang="0">
                <a:pos x="458" y="244"/>
              </a:cxn>
              <a:cxn ang="0">
                <a:pos x="470" y="206"/>
              </a:cxn>
              <a:cxn ang="0">
                <a:pos x="478" y="166"/>
              </a:cxn>
              <a:cxn ang="0">
                <a:pos x="502" y="131"/>
              </a:cxn>
              <a:cxn ang="0">
                <a:pos x="474" y="106"/>
              </a:cxn>
              <a:cxn ang="0">
                <a:pos x="435" y="110"/>
              </a:cxn>
              <a:cxn ang="0">
                <a:pos x="416" y="97"/>
              </a:cxn>
              <a:cxn ang="0">
                <a:pos x="395" y="92"/>
              </a:cxn>
              <a:cxn ang="0">
                <a:pos x="398" y="79"/>
              </a:cxn>
              <a:cxn ang="0">
                <a:pos x="386" y="73"/>
              </a:cxn>
              <a:cxn ang="0">
                <a:pos x="380" y="50"/>
              </a:cxn>
              <a:cxn ang="0">
                <a:pos x="385" y="35"/>
              </a:cxn>
              <a:cxn ang="0">
                <a:pos x="414" y="25"/>
              </a:cxn>
              <a:cxn ang="0">
                <a:pos x="416" y="13"/>
              </a:cxn>
              <a:cxn ang="0">
                <a:pos x="442" y="0"/>
              </a:cxn>
            </a:cxnLst>
            <a:rect l="0" t="0" r="r" b="b"/>
            <a:pathLst>
              <a:path w="950" h="842">
                <a:moveTo>
                  <a:pt x="11" y="833"/>
                </a:moveTo>
                <a:lnTo>
                  <a:pt x="13" y="835"/>
                </a:lnTo>
                <a:lnTo>
                  <a:pt x="12" y="835"/>
                </a:lnTo>
                <a:lnTo>
                  <a:pt x="11" y="837"/>
                </a:lnTo>
                <a:lnTo>
                  <a:pt x="11" y="840"/>
                </a:lnTo>
                <a:lnTo>
                  <a:pt x="10" y="840"/>
                </a:lnTo>
                <a:lnTo>
                  <a:pt x="10" y="841"/>
                </a:lnTo>
                <a:lnTo>
                  <a:pt x="8" y="841"/>
                </a:lnTo>
                <a:lnTo>
                  <a:pt x="8" y="842"/>
                </a:lnTo>
                <a:lnTo>
                  <a:pt x="7" y="842"/>
                </a:lnTo>
                <a:lnTo>
                  <a:pt x="6" y="841"/>
                </a:lnTo>
                <a:lnTo>
                  <a:pt x="5" y="841"/>
                </a:lnTo>
                <a:lnTo>
                  <a:pt x="2" y="840"/>
                </a:lnTo>
                <a:lnTo>
                  <a:pt x="1" y="840"/>
                </a:lnTo>
                <a:lnTo>
                  <a:pt x="1" y="839"/>
                </a:lnTo>
                <a:lnTo>
                  <a:pt x="0" y="837"/>
                </a:lnTo>
                <a:lnTo>
                  <a:pt x="1" y="836"/>
                </a:lnTo>
                <a:lnTo>
                  <a:pt x="4" y="837"/>
                </a:lnTo>
                <a:lnTo>
                  <a:pt x="6" y="837"/>
                </a:lnTo>
                <a:lnTo>
                  <a:pt x="7" y="835"/>
                </a:lnTo>
                <a:lnTo>
                  <a:pt x="7" y="834"/>
                </a:lnTo>
                <a:lnTo>
                  <a:pt x="8" y="834"/>
                </a:lnTo>
                <a:lnTo>
                  <a:pt x="11" y="833"/>
                </a:lnTo>
                <a:close/>
                <a:moveTo>
                  <a:pt x="116" y="817"/>
                </a:moveTo>
                <a:lnTo>
                  <a:pt x="117" y="817"/>
                </a:lnTo>
                <a:lnTo>
                  <a:pt x="117" y="824"/>
                </a:lnTo>
                <a:lnTo>
                  <a:pt x="118" y="824"/>
                </a:lnTo>
                <a:lnTo>
                  <a:pt x="118" y="825"/>
                </a:lnTo>
                <a:lnTo>
                  <a:pt x="119" y="825"/>
                </a:lnTo>
                <a:lnTo>
                  <a:pt x="119" y="827"/>
                </a:lnTo>
                <a:lnTo>
                  <a:pt x="118" y="827"/>
                </a:lnTo>
                <a:lnTo>
                  <a:pt x="118" y="828"/>
                </a:lnTo>
                <a:lnTo>
                  <a:pt x="119" y="829"/>
                </a:lnTo>
                <a:lnTo>
                  <a:pt x="118" y="829"/>
                </a:lnTo>
                <a:lnTo>
                  <a:pt x="118" y="833"/>
                </a:lnTo>
                <a:lnTo>
                  <a:pt x="114" y="836"/>
                </a:lnTo>
                <a:lnTo>
                  <a:pt x="112" y="836"/>
                </a:lnTo>
                <a:lnTo>
                  <a:pt x="112" y="837"/>
                </a:lnTo>
                <a:lnTo>
                  <a:pt x="111" y="837"/>
                </a:lnTo>
                <a:lnTo>
                  <a:pt x="110" y="839"/>
                </a:lnTo>
                <a:lnTo>
                  <a:pt x="108" y="837"/>
                </a:lnTo>
                <a:lnTo>
                  <a:pt x="105" y="837"/>
                </a:lnTo>
                <a:lnTo>
                  <a:pt x="103" y="835"/>
                </a:lnTo>
                <a:lnTo>
                  <a:pt x="103" y="834"/>
                </a:lnTo>
                <a:lnTo>
                  <a:pt x="101" y="834"/>
                </a:lnTo>
                <a:lnTo>
                  <a:pt x="101" y="833"/>
                </a:lnTo>
                <a:lnTo>
                  <a:pt x="100" y="830"/>
                </a:lnTo>
                <a:lnTo>
                  <a:pt x="99" y="829"/>
                </a:lnTo>
                <a:lnTo>
                  <a:pt x="100" y="829"/>
                </a:lnTo>
                <a:lnTo>
                  <a:pt x="99" y="828"/>
                </a:lnTo>
                <a:lnTo>
                  <a:pt x="99" y="827"/>
                </a:lnTo>
                <a:lnTo>
                  <a:pt x="101" y="824"/>
                </a:lnTo>
                <a:lnTo>
                  <a:pt x="103" y="824"/>
                </a:lnTo>
                <a:lnTo>
                  <a:pt x="104" y="823"/>
                </a:lnTo>
                <a:lnTo>
                  <a:pt x="104" y="821"/>
                </a:lnTo>
                <a:lnTo>
                  <a:pt x="105" y="821"/>
                </a:lnTo>
                <a:lnTo>
                  <a:pt x="105" y="818"/>
                </a:lnTo>
                <a:lnTo>
                  <a:pt x="112" y="818"/>
                </a:lnTo>
                <a:lnTo>
                  <a:pt x="114" y="819"/>
                </a:lnTo>
                <a:lnTo>
                  <a:pt x="116" y="819"/>
                </a:lnTo>
                <a:lnTo>
                  <a:pt x="116" y="817"/>
                </a:lnTo>
                <a:close/>
                <a:moveTo>
                  <a:pt x="37" y="816"/>
                </a:moveTo>
                <a:lnTo>
                  <a:pt x="41" y="816"/>
                </a:lnTo>
                <a:lnTo>
                  <a:pt x="45" y="818"/>
                </a:lnTo>
                <a:lnTo>
                  <a:pt x="45" y="822"/>
                </a:lnTo>
                <a:lnTo>
                  <a:pt x="44" y="822"/>
                </a:lnTo>
                <a:lnTo>
                  <a:pt x="42" y="824"/>
                </a:lnTo>
                <a:lnTo>
                  <a:pt x="39" y="824"/>
                </a:lnTo>
                <a:lnTo>
                  <a:pt x="37" y="823"/>
                </a:lnTo>
                <a:lnTo>
                  <a:pt x="36" y="821"/>
                </a:lnTo>
                <a:lnTo>
                  <a:pt x="36" y="817"/>
                </a:lnTo>
                <a:lnTo>
                  <a:pt x="37" y="816"/>
                </a:lnTo>
                <a:close/>
                <a:moveTo>
                  <a:pt x="86" y="798"/>
                </a:moveTo>
                <a:lnTo>
                  <a:pt x="87" y="798"/>
                </a:lnTo>
                <a:lnTo>
                  <a:pt x="87" y="800"/>
                </a:lnTo>
                <a:lnTo>
                  <a:pt x="86" y="800"/>
                </a:lnTo>
                <a:lnTo>
                  <a:pt x="82" y="803"/>
                </a:lnTo>
                <a:lnTo>
                  <a:pt x="81" y="804"/>
                </a:lnTo>
                <a:lnTo>
                  <a:pt x="81" y="805"/>
                </a:lnTo>
                <a:lnTo>
                  <a:pt x="80" y="806"/>
                </a:lnTo>
                <a:lnTo>
                  <a:pt x="79" y="806"/>
                </a:lnTo>
                <a:lnTo>
                  <a:pt x="77" y="807"/>
                </a:lnTo>
                <a:lnTo>
                  <a:pt x="76" y="807"/>
                </a:lnTo>
                <a:lnTo>
                  <a:pt x="76" y="812"/>
                </a:lnTo>
                <a:lnTo>
                  <a:pt x="75" y="813"/>
                </a:lnTo>
                <a:lnTo>
                  <a:pt x="74" y="816"/>
                </a:lnTo>
                <a:lnTo>
                  <a:pt x="74" y="818"/>
                </a:lnTo>
                <a:lnTo>
                  <a:pt x="73" y="819"/>
                </a:lnTo>
                <a:lnTo>
                  <a:pt x="73" y="821"/>
                </a:lnTo>
                <a:lnTo>
                  <a:pt x="69" y="824"/>
                </a:lnTo>
                <a:lnTo>
                  <a:pt x="68" y="824"/>
                </a:lnTo>
                <a:lnTo>
                  <a:pt x="66" y="825"/>
                </a:lnTo>
                <a:lnTo>
                  <a:pt x="62" y="825"/>
                </a:lnTo>
                <a:lnTo>
                  <a:pt x="62" y="823"/>
                </a:lnTo>
                <a:lnTo>
                  <a:pt x="61" y="823"/>
                </a:lnTo>
                <a:lnTo>
                  <a:pt x="61" y="822"/>
                </a:lnTo>
                <a:lnTo>
                  <a:pt x="58" y="819"/>
                </a:lnTo>
                <a:lnTo>
                  <a:pt x="58" y="818"/>
                </a:lnTo>
                <a:lnTo>
                  <a:pt x="57" y="817"/>
                </a:lnTo>
                <a:lnTo>
                  <a:pt x="57" y="816"/>
                </a:lnTo>
                <a:lnTo>
                  <a:pt x="56" y="816"/>
                </a:lnTo>
                <a:lnTo>
                  <a:pt x="56" y="812"/>
                </a:lnTo>
                <a:lnTo>
                  <a:pt x="54" y="810"/>
                </a:lnTo>
                <a:lnTo>
                  <a:pt x="54" y="809"/>
                </a:lnTo>
                <a:lnTo>
                  <a:pt x="55" y="809"/>
                </a:lnTo>
                <a:lnTo>
                  <a:pt x="56" y="807"/>
                </a:lnTo>
                <a:lnTo>
                  <a:pt x="57" y="807"/>
                </a:lnTo>
                <a:lnTo>
                  <a:pt x="58" y="809"/>
                </a:lnTo>
                <a:lnTo>
                  <a:pt x="60" y="809"/>
                </a:lnTo>
                <a:lnTo>
                  <a:pt x="61" y="807"/>
                </a:lnTo>
                <a:lnTo>
                  <a:pt x="63" y="807"/>
                </a:lnTo>
                <a:lnTo>
                  <a:pt x="64" y="806"/>
                </a:lnTo>
                <a:lnTo>
                  <a:pt x="69" y="806"/>
                </a:lnTo>
                <a:lnTo>
                  <a:pt x="69" y="805"/>
                </a:lnTo>
                <a:lnTo>
                  <a:pt x="72" y="805"/>
                </a:lnTo>
                <a:lnTo>
                  <a:pt x="74" y="803"/>
                </a:lnTo>
                <a:lnTo>
                  <a:pt x="74" y="801"/>
                </a:lnTo>
                <a:lnTo>
                  <a:pt x="75" y="800"/>
                </a:lnTo>
                <a:lnTo>
                  <a:pt x="76" y="800"/>
                </a:lnTo>
                <a:lnTo>
                  <a:pt x="77" y="799"/>
                </a:lnTo>
                <a:lnTo>
                  <a:pt x="83" y="799"/>
                </a:lnTo>
                <a:lnTo>
                  <a:pt x="86" y="798"/>
                </a:lnTo>
                <a:close/>
                <a:moveTo>
                  <a:pt x="179" y="790"/>
                </a:moveTo>
                <a:lnTo>
                  <a:pt x="182" y="790"/>
                </a:lnTo>
                <a:lnTo>
                  <a:pt x="184" y="792"/>
                </a:lnTo>
                <a:lnTo>
                  <a:pt x="184" y="800"/>
                </a:lnTo>
                <a:lnTo>
                  <a:pt x="182" y="803"/>
                </a:lnTo>
                <a:lnTo>
                  <a:pt x="182" y="807"/>
                </a:lnTo>
                <a:lnTo>
                  <a:pt x="181" y="807"/>
                </a:lnTo>
                <a:lnTo>
                  <a:pt x="181" y="810"/>
                </a:lnTo>
                <a:lnTo>
                  <a:pt x="180" y="811"/>
                </a:lnTo>
                <a:lnTo>
                  <a:pt x="180" y="812"/>
                </a:lnTo>
                <a:lnTo>
                  <a:pt x="179" y="815"/>
                </a:lnTo>
                <a:lnTo>
                  <a:pt x="178" y="815"/>
                </a:lnTo>
                <a:lnTo>
                  <a:pt x="173" y="816"/>
                </a:lnTo>
                <a:lnTo>
                  <a:pt x="172" y="816"/>
                </a:lnTo>
                <a:lnTo>
                  <a:pt x="169" y="817"/>
                </a:lnTo>
                <a:lnTo>
                  <a:pt x="168" y="817"/>
                </a:lnTo>
                <a:lnTo>
                  <a:pt x="164" y="821"/>
                </a:lnTo>
                <a:lnTo>
                  <a:pt x="163" y="823"/>
                </a:lnTo>
                <a:lnTo>
                  <a:pt x="159" y="823"/>
                </a:lnTo>
                <a:lnTo>
                  <a:pt x="159" y="822"/>
                </a:lnTo>
                <a:lnTo>
                  <a:pt x="155" y="823"/>
                </a:lnTo>
                <a:lnTo>
                  <a:pt x="155" y="821"/>
                </a:lnTo>
                <a:lnTo>
                  <a:pt x="160" y="821"/>
                </a:lnTo>
                <a:lnTo>
                  <a:pt x="162" y="819"/>
                </a:lnTo>
                <a:lnTo>
                  <a:pt x="166" y="816"/>
                </a:lnTo>
                <a:lnTo>
                  <a:pt x="167" y="816"/>
                </a:lnTo>
                <a:lnTo>
                  <a:pt x="167" y="815"/>
                </a:lnTo>
                <a:lnTo>
                  <a:pt x="168" y="813"/>
                </a:lnTo>
                <a:lnTo>
                  <a:pt x="168" y="810"/>
                </a:lnTo>
                <a:lnTo>
                  <a:pt x="169" y="809"/>
                </a:lnTo>
                <a:lnTo>
                  <a:pt x="170" y="805"/>
                </a:lnTo>
                <a:lnTo>
                  <a:pt x="173" y="800"/>
                </a:lnTo>
                <a:lnTo>
                  <a:pt x="175" y="798"/>
                </a:lnTo>
                <a:lnTo>
                  <a:pt x="175" y="796"/>
                </a:lnTo>
                <a:lnTo>
                  <a:pt x="176" y="794"/>
                </a:lnTo>
                <a:lnTo>
                  <a:pt x="176" y="791"/>
                </a:lnTo>
                <a:lnTo>
                  <a:pt x="178" y="791"/>
                </a:lnTo>
                <a:lnTo>
                  <a:pt x="179" y="790"/>
                </a:lnTo>
                <a:close/>
                <a:moveTo>
                  <a:pt x="11" y="785"/>
                </a:moveTo>
                <a:lnTo>
                  <a:pt x="12" y="785"/>
                </a:lnTo>
                <a:lnTo>
                  <a:pt x="13" y="786"/>
                </a:lnTo>
                <a:lnTo>
                  <a:pt x="14" y="786"/>
                </a:lnTo>
                <a:lnTo>
                  <a:pt x="16" y="785"/>
                </a:lnTo>
                <a:lnTo>
                  <a:pt x="17" y="786"/>
                </a:lnTo>
                <a:lnTo>
                  <a:pt x="18" y="786"/>
                </a:lnTo>
                <a:lnTo>
                  <a:pt x="18" y="790"/>
                </a:lnTo>
                <a:lnTo>
                  <a:pt x="19" y="790"/>
                </a:lnTo>
                <a:lnTo>
                  <a:pt x="19" y="791"/>
                </a:lnTo>
                <a:lnTo>
                  <a:pt x="18" y="792"/>
                </a:lnTo>
                <a:lnTo>
                  <a:pt x="18" y="798"/>
                </a:lnTo>
                <a:lnTo>
                  <a:pt x="17" y="799"/>
                </a:lnTo>
                <a:lnTo>
                  <a:pt x="16" y="801"/>
                </a:lnTo>
                <a:lnTo>
                  <a:pt x="16" y="803"/>
                </a:lnTo>
                <a:lnTo>
                  <a:pt x="14" y="804"/>
                </a:lnTo>
                <a:lnTo>
                  <a:pt x="13" y="803"/>
                </a:lnTo>
                <a:lnTo>
                  <a:pt x="13" y="800"/>
                </a:lnTo>
                <a:lnTo>
                  <a:pt x="12" y="799"/>
                </a:lnTo>
                <a:lnTo>
                  <a:pt x="12" y="798"/>
                </a:lnTo>
                <a:lnTo>
                  <a:pt x="11" y="797"/>
                </a:lnTo>
                <a:lnTo>
                  <a:pt x="10" y="793"/>
                </a:lnTo>
                <a:lnTo>
                  <a:pt x="8" y="792"/>
                </a:lnTo>
                <a:lnTo>
                  <a:pt x="8" y="791"/>
                </a:lnTo>
                <a:lnTo>
                  <a:pt x="7" y="790"/>
                </a:lnTo>
                <a:lnTo>
                  <a:pt x="7" y="788"/>
                </a:lnTo>
                <a:lnTo>
                  <a:pt x="8" y="787"/>
                </a:lnTo>
                <a:lnTo>
                  <a:pt x="11" y="786"/>
                </a:lnTo>
                <a:lnTo>
                  <a:pt x="11" y="785"/>
                </a:lnTo>
                <a:close/>
                <a:moveTo>
                  <a:pt x="199" y="766"/>
                </a:moveTo>
                <a:lnTo>
                  <a:pt x="199" y="767"/>
                </a:lnTo>
                <a:lnTo>
                  <a:pt x="200" y="768"/>
                </a:lnTo>
                <a:lnTo>
                  <a:pt x="200" y="770"/>
                </a:lnTo>
                <a:lnTo>
                  <a:pt x="199" y="770"/>
                </a:lnTo>
                <a:lnTo>
                  <a:pt x="199" y="776"/>
                </a:lnTo>
                <a:lnTo>
                  <a:pt x="195" y="780"/>
                </a:lnTo>
                <a:lnTo>
                  <a:pt x="193" y="780"/>
                </a:lnTo>
                <a:lnTo>
                  <a:pt x="193" y="781"/>
                </a:lnTo>
                <a:lnTo>
                  <a:pt x="190" y="781"/>
                </a:lnTo>
                <a:lnTo>
                  <a:pt x="188" y="782"/>
                </a:lnTo>
                <a:lnTo>
                  <a:pt x="187" y="782"/>
                </a:lnTo>
                <a:lnTo>
                  <a:pt x="186" y="784"/>
                </a:lnTo>
                <a:lnTo>
                  <a:pt x="186" y="786"/>
                </a:lnTo>
                <a:lnTo>
                  <a:pt x="185" y="785"/>
                </a:lnTo>
                <a:lnTo>
                  <a:pt x="182" y="785"/>
                </a:lnTo>
                <a:lnTo>
                  <a:pt x="181" y="784"/>
                </a:lnTo>
                <a:lnTo>
                  <a:pt x="181" y="782"/>
                </a:lnTo>
                <a:lnTo>
                  <a:pt x="182" y="782"/>
                </a:lnTo>
                <a:lnTo>
                  <a:pt x="182" y="781"/>
                </a:lnTo>
                <a:lnTo>
                  <a:pt x="184" y="781"/>
                </a:lnTo>
                <a:lnTo>
                  <a:pt x="184" y="778"/>
                </a:lnTo>
                <a:lnTo>
                  <a:pt x="185" y="775"/>
                </a:lnTo>
                <a:lnTo>
                  <a:pt x="186" y="775"/>
                </a:lnTo>
                <a:lnTo>
                  <a:pt x="186" y="774"/>
                </a:lnTo>
                <a:lnTo>
                  <a:pt x="190" y="774"/>
                </a:lnTo>
                <a:lnTo>
                  <a:pt x="192" y="772"/>
                </a:lnTo>
                <a:lnTo>
                  <a:pt x="195" y="772"/>
                </a:lnTo>
                <a:lnTo>
                  <a:pt x="197" y="770"/>
                </a:lnTo>
                <a:lnTo>
                  <a:pt x="197" y="768"/>
                </a:lnTo>
                <a:lnTo>
                  <a:pt x="199" y="766"/>
                </a:lnTo>
                <a:close/>
                <a:moveTo>
                  <a:pt x="197" y="764"/>
                </a:moveTo>
                <a:lnTo>
                  <a:pt x="198" y="764"/>
                </a:lnTo>
                <a:lnTo>
                  <a:pt x="198" y="766"/>
                </a:lnTo>
                <a:lnTo>
                  <a:pt x="197" y="767"/>
                </a:lnTo>
                <a:lnTo>
                  <a:pt x="195" y="767"/>
                </a:lnTo>
                <a:lnTo>
                  <a:pt x="197" y="766"/>
                </a:lnTo>
                <a:lnTo>
                  <a:pt x="197" y="764"/>
                </a:lnTo>
                <a:close/>
                <a:moveTo>
                  <a:pt x="641" y="463"/>
                </a:moveTo>
                <a:lnTo>
                  <a:pt x="642" y="463"/>
                </a:lnTo>
                <a:lnTo>
                  <a:pt x="644" y="465"/>
                </a:lnTo>
                <a:lnTo>
                  <a:pt x="644" y="466"/>
                </a:lnTo>
                <a:lnTo>
                  <a:pt x="642" y="466"/>
                </a:lnTo>
                <a:lnTo>
                  <a:pt x="642" y="465"/>
                </a:lnTo>
                <a:lnTo>
                  <a:pt x="641" y="463"/>
                </a:lnTo>
                <a:close/>
                <a:moveTo>
                  <a:pt x="539" y="432"/>
                </a:moveTo>
                <a:lnTo>
                  <a:pt x="541" y="432"/>
                </a:lnTo>
                <a:lnTo>
                  <a:pt x="542" y="434"/>
                </a:lnTo>
                <a:lnTo>
                  <a:pt x="544" y="434"/>
                </a:lnTo>
                <a:lnTo>
                  <a:pt x="541" y="436"/>
                </a:lnTo>
                <a:lnTo>
                  <a:pt x="541" y="435"/>
                </a:lnTo>
                <a:lnTo>
                  <a:pt x="540" y="435"/>
                </a:lnTo>
                <a:lnTo>
                  <a:pt x="540" y="434"/>
                </a:lnTo>
                <a:lnTo>
                  <a:pt x="539" y="432"/>
                </a:lnTo>
                <a:close/>
                <a:moveTo>
                  <a:pt x="501" y="380"/>
                </a:moveTo>
                <a:lnTo>
                  <a:pt x="499" y="381"/>
                </a:lnTo>
                <a:lnTo>
                  <a:pt x="499" y="382"/>
                </a:lnTo>
                <a:lnTo>
                  <a:pt x="501" y="381"/>
                </a:lnTo>
                <a:lnTo>
                  <a:pt x="504" y="381"/>
                </a:lnTo>
                <a:lnTo>
                  <a:pt x="505" y="380"/>
                </a:lnTo>
                <a:lnTo>
                  <a:pt x="501" y="380"/>
                </a:lnTo>
                <a:close/>
                <a:moveTo>
                  <a:pt x="735" y="338"/>
                </a:moveTo>
                <a:lnTo>
                  <a:pt x="737" y="340"/>
                </a:lnTo>
                <a:lnTo>
                  <a:pt x="735" y="339"/>
                </a:lnTo>
                <a:lnTo>
                  <a:pt x="735" y="338"/>
                </a:lnTo>
                <a:close/>
                <a:moveTo>
                  <a:pt x="735" y="336"/>
                </a:moveTo>
                <a:lnTo>
                  <a:pt x="737" y="336"/>
                </a:lnTo>
                <a:lnTo>
                  <a:pt x="735" y="337"/>
                </a:lnTo>
                <a:lnTo>
                  <a:pt x="735" y="336"/>
                </a:lnTo>
                <a:close/>
                <a:moveTo>
                  <a:pt x="827" y="282"/>
                </a:moveTo>
                <a:lnTo>
                  <a:pt x="830" y="286"/>
                </a:lnTo>
                <a:lnTo>
                  <a:pt x="831" y="287"/>
                </a:lnTo>
                <a:lnTo>
                  <a:pt x="833" y="286"/>
                </a:lnTo>
                <a:lnTo>
                  <a:pt x="833" y="288"/>
                </a:lnTo>
                <a:lnTo>
                  <a:pt x="831" y="288"/>
                </a:lnTo>
                <a:lnTo>
                  <a:pt x="830" y="287"/>
                </a:lnTo>
                <a:lnTo>
                  <a:pt x="827" y="287"/>
                </a:lnTo>
                <a:lnTo>
                  <a:pt x="826" y="288"/>
                </a:lnTo>
                <a:lnTo>
                  <a:pt x="825" y="288"/>
                </a:lnTo>
                <a:lnTo>
                  <a:pt x="826" y="287"/>
                </a:lnTo>
                <a:lnTo>
                  <a:pt x="825" y="287"/>
                </a:lnTo>
                <a:lnTo>
                  <a:pt x="826" y="286"/>
                </a:lnTo>
                <a:lnTo>
                  <a:pt x="826" y="284"/>
                </a:lnTo>
                <a:lnTo>
                  <a:pt x="827" y="283"/>
                </a:lnTo>
                <a:lnTo>
                  <a:pt x="827" y="282"/>
                </a:lnTo>
                <a:close/>
                <a:moveTo>
                  <a:pt x="828" y="263"/>
                </a:moveTo>
                <a:lnTo>
                  <a:pt x="834" y="263"/>
                </a:lnTo>
                <a:lnTo>
                  <a:pt x="834" y="265"/>
                </a:lnTo>
                <a:lnTo>
                  <a:pt x="836" y="268"/>
                </a:lnTo>
                <a:lnTo>
                  <a:pt x="834" y="268"/>
                </a:lnTo>
                <a:lnTo>
                  <a:pt x="834" y="269"/>
                </a:lnTo>
                <a:lnTo>
                  <a:pt x="833" y="269"/>
                </a:lnTo>
                <a:lnTo>
                  <a:pt x="833" y="270"/>
                </a:lnTo>
                <a:lnTo>
                  <a:pt x="830" y="274"/>
                </a:lnTo>
                <a:lnTo>
                  <a:pt x="828" y="274"/>
                </a:lnTo>
                <a:lnTo>
                  <a:pt x="827" y="275"/>
                </a:lnTo>
                <a:lnTo>
                  <a:pt x="826" y="277"/>
                </a:lnTo>
                <a:lnTo>
                  <a:pt x="826" y="278"/>
                </a:lnTo>
                <a:lnTo>
                  <a:pt x="825" y="278"/>
                </a:lnTo>
                <a:lnTo>
                  <a:pt x="825" y="277"/>
                </a:lnTo>
                <a:lnTo>
                  <a:pt x="824" y="276"/>
                </a:lnTo>
                <a:lnTo>
                  <a:pt x="822" y="277"/>
                </a:lnTo>
                <a:lnTo>
                  <a:pt x="821" y="276"/>
                </a:lnTo>
                <a:lnTo>
                  <a:pt x="820" y="276"/>
                </a:lnTo>
                <a:lnTo>
                  <a:pt x="820" y="277"/>
                </a:lnTo>
                <a:lnTo>
                  <a:pt x="819" y="276"/>
                </a:lnTo>
                <a:lnTo>
                  <a:pt x="819" y="275"/>
                </a:lnTo>
                <a:lnTo>
                  <a:pt x="818" y="275"/>
                </a:lnTo>
                <a:lnTo>
                  <a:pt x="819" y="272"/>
                </a:lnTo>
                <a:lnTo>
                  <a:pt x="819" y="271"/>
                </a:lnTo>
                <a:lnTo>
                  <a:pt x="822" y="271"/>
                </a:lnTo>
                <a:lnTo>
                  <a:pt x="821" y="269"/>
                </a:lnTo>
                <a:lnTo>
                  <a:pt x="821" y="268"/>
                </a:lnTo>
                <a:lnTo>
                  <a:pt x="822" y="266"/>
                </a:lnTo>
                <a:lnTo>
                  <a:pt x="824" y="266"/>
                </a:lnTo>
                <a:lnTo>
                  <a:pt x="824" y="265"/>
                </a:lnTo>
                <a:lnTo>
                  <a:pt x="825" y="265"/>
                </a:lnTo>
                <a:lnTo>
                  <a:pt x="826" y="264"/>
                </a:lnTo>
                <a:lnTo>
                  <a:pt x="826" y="265"/>
                </a:lnTo>
                <a:lnTo>
                  <a:pt x="828" y="263"/>
                </a:lnTo>
                <a:close/>
                <a:moveTo>
                  <a:pt x="892" y="259"/>
                </a:moveTo>
                <a:lnTo>
                  <a:pt x="893" y="259"/>
                </a:lnTo>
                <a:lnTo>
                  <a:pt x="893" y="262"/>
                </a:lnTo>
                <a:lnTo>
                  <a:pt x="892" y="263"/>
                </a:lnTo>
                <a:lnTo>
                  <a:pt x="890" y="263"/>
                </a:lnTo>
                <a:lnTo>
                  <a:pt x="890" y="260"/>
                </a:lnTo>
                <a:lnTo>
                  <a:pt x="892" y="259"/>
                </a:lnTo>
                <a:close/>
                <a:moveTo>
                  <a:pt x="901" y="216"/>
                </a:moveTo>
                <a:lnTo>
                  <a:pt x="902" y="216"/>
                </a:lnTo>
                <a:lnTo>
                  <a:pt x="902" y="217"/>
                </a:lnTo>
                <a:lnTo>
                  <a:pt x="900" y="217"/>
                </a:lnTo>
                <a:lnTo>
                  <a:pt x="900" y="219"/>
                </a:lnTo>
                <a:lnTo>
                  <a:pt x="899" y="219"/>
                </a:lnTo>
                <a:lnTo>
                  <a:pt x="899" y="220"/>
                </a:lnTo>
                <a:lnTo>
                  <a:pt x="897" y="219"/>
                </a:lnTo>
                <a:lnTo>
                  <a:pt x="897" y="221"/>
                </a:lnTo>
                <a:lnTo>
                  <a:pt x="899" y="221"/>
                </a:lnTo>
                <a:lnTo>
                  <a:pt x="902" y="220"/>
                </a:lnTo>
                <a:lnTo>
                  <a:pt x="902" y="222"/>
                </a:lnTo>
                <a:lnTo>
                  <a:pt x="901" y="222"/>
                </a:lnTo>
                <a:lnTo>
                  <a:pt x="901" y="223"/>
                </a:lnTo>
                <a:lnTo>
                  <a:pt x="899" y="223"/>
                </a:lnTo>
                <a:lnTo>
                  <a:pt x="899" y="226"/>
                </a:lnTo>
                <a:lnTo>
                  <a:pt x="900" y="227"/>
                </a:lnTo>
                <a:lnTo>
                  <a:pt x="902" y="228"/>
                </a:lnTo>
                <a:lnTo>
                  <a:pt x="907" y="228"/>
                </a:lnTo>
                <a:lnTo>
                  <a:pt x="908" y="227"/>
                </a:lnTo>
                <a:lnTo>
                  <a:pt x="908" y="226"/>
                </a:lnTo>
                <a:lnTo>
                  <a:pt x="909" y="227"/>
                </a:lnTo>
                <a:lnTo>
                  <a:pt x="912" y="228"/>
                </a:lnTo>
                <a:lnTo>
                  <a:pt x="913" y="228"/>
                </a:lnTo>
                <a:lnTo>
                  <a:pt x="913" y="233"/>
                </a:lnTo>
                <a:lnTo>
                  <a:pt x="912" y="234"/>
                </a:lnTo>
                <a:lnTo>
                  <a:pt x="911" y="234"/>
                </a:lnTo>
                <a:lnTo>
                  <a:pt x="911" y="237"/>
                </a:lnTo>
                <a:lnTo>
                  <a:pt x="907" y="240"/>
                </a:lnTo>
                <a:lnTo>
                  <a:pt x="906" y="243"/>
                </a:lnTo>
                <a:lnTo>
                  <a:pt x="906" y="246"/>
                </a:lnTo>
                <a:lnTo>
                  <a:pt x="905" y="246"/>
                </a:lnTo>
                <a:lnTo>
                  <a:pt x="905" y="249"/>
                </a:lnTo>
                <a:lnTo>
                  <a:pt x="902" y="250"/>
                </a:lnTo>
                <a:lnTo>
                  <a:pt x="899" y="252"/>
                </a:lnTo>
                <a:lnTo>
                  <a:pt x="896" y="254"/>
                </a:lnTo>
                <a:lnTo>
                  <a:pt x="895" y="252"/>
                </a:lnTo>
                <a:lnTo>
                  <a:pt x="894" y="252"/>
                </a:lnTo>
                <a:lnTo>
                  <a:pt x="894" y="251"/>
                </a:lnTo>
                <a:lnTo>
                  <a:pt x="893" y="251"/>
                </a:lnTo>
                <a:lnTo>
                  <a:pt x="893" y="250"/>
                </a:lnTo>
                <a:lnTo>
                  <a:pt x="892" y="250"/>
                </a:lnTo>
                <a:lnTo>
                  <a:pt x="892" y="249"/>
                </a:lnTo>
                <a:lnTo>
                  <a:pt x="890" y="250"/>
                </a:lnTo>
                <a:lnTo>
                  <a:pt x="886" y="250"/>
                </a:lnTo>
                <a:lnTo>
                  <a:pt x="883" y="247"/>
                </a:lnTo>
                <a:lnTo>
                  <a:pt x="883" y="244"/>
                </a:lnTo>
                <a:lnTo>
                  <a:pt x="882" y="244"/>
                </a:lnTo>
                <a:lnTo>
                  <a:pt x="882" y="243"/>
                </a:lnTo>
                <a:lnTo>
                  <a:pt x="883" y="241"/>
                </a:lnTo>
                <a:lnTo>
                  <a:pt x="883" y="240"/>
                </a:lnTo>
                <a:lnTo>
                  <a:pt x="882" y="239"/>
                </a:lnTo>
                <a:lnTo>
                  <a:pt x="880" y="239"/>
                </a:lnTo>
                <a:lnTo>
                  <a:pt x="878" y="238"/>
                </a:lnTo>
                <a:lnTo>
                  <a:pt x="878" y="239"/>
                </a:lnTo>
                <a:lnTo>
                  <a:pt x="875" y="240"/>
                </a:lnTo>
                <a:lnTo>
                  <a:pt x="875" y="243"/>
                </a:lnTo>
                <a:lnTo>
                  <a:pt x="874" y="244"/>
                </a:lnTo>
                <a:lnTo>
                  <a:pt x="872" y="244"/>
                </a:lnTo>
                <a:lnTo>
                  <a:pt x="871" y="243"/>
                </a:lnTo>
                <a:lnTo>
                  <a:pt x="871" y="241"/>
                </a:lnTo>
                <a:lnTo>
                  <a:pt x="870" y="240"/>
                </a:lnTo>
                <a:lnTo>
                  <a:pt x="868" y="240"/>
                </a:lnTo>
                <a:lnTo>
                  <a:pt x="866" y="239"/>
                </a:lnTo>
                <a:lnTo>
                  <a:pt x="866" y="235"/>
                </a:lnTo>
                <a:lnTo>
                  <a:pt x="869" y="234"/>
                </a:lnTo>
                <a:lnTo>
                  <a:pt x="870" y="233"/>
                </a:lnTo>
                <a:lnTo>
                  <a:pt x="871" y="233"/>
                </a:lnTo>
                <a:lnTo>
                  <a:pt x="874" y="231"/>
                </a:lnTo>
                <a:lnTo>
                  <a:pt x="875" y="231"/>
                </a:lnTo>
                <a:lnTo>
                  <a:pt x="881" y="225"/>
                </a:lnTo>
                <a:lnTo>
                  <a:pt x="882" y="225"/>
                </a:lnTo>
                <a:lnTo>
                  <a:pt x="884" y="222"/>
                </a:lnTo>
                <a:lnTo>
                  <a:pt x="886" y="222"/>
                </a:lnTo>
                <a:lnTo>
                  <a:pt x="886" y="221"/>
                </a:lnTo>
                <a:lnTo>
                  <a:pt x="888" y="221"/>
                </a:lnTo>
                <a:lnTo>
                  <a:pt x="890" y="219"/>
                </a:lnTo>
                <a:lnTo>
                  <a:pt x="894" y="219"/>
                </a:lnTo>
                <a:lnTo>
                  <a:pt x="896" y="217"/>
                </a:lnTo>
                <a:lnTo>
                  <a:pt x="901" y="216"/>
                </a:lnTo>
                <a:close/>
                <a:moveTo>
                  <a:pt x="939" y="210"/>
                </a:moveTo>
                <a:lnTo>
                  <a:pt x="940" y="210"/>
                </a:lnTo>
                <a:lnTo>
                  <a:pt x="940" y="211"/>
                </a:lnTo>
                <a:lnTo>
                  <a:pt x="942" y="211"/>
                </a:lnTo>
                <a:lnTo>
                  <a:pt x="942" y="213"/>
                </a:lnTo>
                <a:lnTo>
                  <a:pt x="944" y="213"/>
                </a:lnTo>
                <a:lnTo>
                  <a:pt x="945" y="214"/>
                </a:lnTo>
                <a:lnTo>
                  <a:pt x="946" y="214"/>
                </a:lnTo>
                <a:lnTo>
                  <a:pt x="946" y="215"/>
                </a:lnTo>
                <a:lnTo>
                  <a:pt x="948" y="216"/>
                </a:lnTo>
                <a:lnTo>
                  <a:pt x="946" y="217"/>
                </a:lnTo>
                <a:lnTo>
                  <a:pt x="949" y="217"/>
                </a:lnTo>
                <a:lnTo>
                  <a:pt x="949" y="220"/>
                </a:lnTo>
                <a:lnTo>
                  <a:pt x="950" y="221"/>
                </a:lnTo>
                <a:lnTo>
                  <a:pt x="949" y="221"/>
                </a:lnTo>
                <a:lnTo>
                  <a:pt x="949" y="225"/>
                </a:lnTo>
                <a:lnTo>
                  <a:pt x="946" y="225"/>
                </a:lnTo>
                <a:lnTo>
                  <a:pt x="943" y="223"/>
                </a:lnTo>
                <a:lnTo>
                  <a:pt x="937" y="219"/>
                </a:lnTo>
                <a:lnTo>
                  <a:pt x="934" y="217"/>
                </a:lnTo>
                <a:lnTo>
                  <a:pt x="933" y="217"/>
                </a:lnTo>
                <a:lnTo>
                  <a:pt x="930" y="219"/>
                </a:lnTo>
                <a:lnTo>
                  <a:pt x="928" y="217"/>
                </a:lnTo>
                <a:lnTo>
                  <a:pt x="928" y="216"/>
                </a:lnTo>
                <a:lnTo>
                  <a:pt x="930" y="215"/>
                </a:lnTo>
                <a:lnTo>
                  <a:pt x="928" y="215"/>
                </a:lnTo>
                <a:lnTo>
                  <a:pt x="927" y="214"/>
                </a:lnTo>
                <a:lnTo>
                  <a:pt x="927" y="213"/>
                </a:lnTo>
                <a:lnTo>
                  <a:pt x="928" y="211"/>
                </a:lnTo>
                <a:lnTo>
                  <a:pt x="938" y="211"/>
                </a:lnTo>
                <a:lnTo>
                  <a:pt x="939" y="210"/>
                </a:lnTo>
                <a:close/>
                <a:moveTo>
                  <a:pt x="794" y="182"/>
                </a:moveTo>
                <a:lnTo>
                  <a:pt x="795" y="183"/>
                </a:lnTo>
                <a:lnTo>
                  <a:pt x="794" y="184"/>
                </a:lnTo>
                <a:lnTo>
                  <a:pt x="793" y="184"/>
                </a:lnTo>
                <a:lnTo>
                  <a:pt x="791" y="183"/>
                </a:lnTo>
                <a:lnTo>
                  <a:pt x="794" y="182"/>
                </a:lnTo>
                <a:close/>
                <a:moveTo>
                  <a:pt x="799" y="171"/>
                </a:moveTo>
                <a:lnTo>
                  <a:pt x="800" y="171"/>
                </a:lnTo>
                <a:lnTo>
                  <a:pt x="800" y="172"/>
                </a:lnTo>
                <a:lnTo>
                  <a:pt x="799" y="171"/>
                </a:lnTo>
                <a:close/>
                <a:moveTo>
                  <a:pt x="850" y="75"/>
                </a:moveTo>
                <a:lnTo>
                  <a:pt x="851" y="77"/>
                </a:lnTo>
                <a:lnTo>
                  <a:pt x="851" y="78"/>
                </a:lnTo>
                <a:lnTo>
                  <a:pt x="850" y="78"/>
                </a:lnTo>
                <a:lnTo>
                  <a:pt x="849" y="77"/>
                </a:lnTo>
                <a:lnTo>
                  <a:pt x="850" y="75"/>
                </a:lnTo>
                <a:close/>
                <a:moveTo>
                  <a:pt x="392" y="74"/>
                </a:moveTo>
                <a:lnTo>
                  <a:pt x="393" y="74"/>
                </a:lnTo>
                <a:lnTo>
                  <a:pt x="393" y="75"/>
                </a:lnTo>
                <a:lnTo>
                  <a:pt x="392" y="77"/>
                </a:lnTo>
                <a:lnTo>
                  <a:pt x="390" y="77"/>
                </a:lnTo>
                <a:lnTo>
                  <a:pt x="390" y="75"/>
                </a:lnTo>
                <a:lnTo>
                  <a:pt x="391" y="75"/>
                </a:lnTo>
                <a:lnTo>
                  <a:pt x="392" y="74"/>
                </a:lnTo>
                <a:close/>
                <a:moveTo>
                  <a:pt x="435" y="4"/>
                </a:moveTo>
                <a:lnTo>
                  <a:pt x="436" y="4"/>
                </a:lnTo>
                <a:lnTo>
                  <a:pt x="436" y="5"/>
                </a:lnTo>
                <a:lnTo>
                  <a:pt x="435" y="4"/>
                </a:lnTo>
                <a:close/>
                <a:moveTo>
                  <a:pt x="442" y="0"/>
                </a:moveTo>
                <a:lnTo>
                  <a:pt x="443" y="0"/>
                </a:lnTo>
                <a:lnTo>
                  <a:pt x="443" y="1"/>
                </a:lnTo>
                <a:lnTo>
                  <a:pt x="442" y="2"/>
                </a:lnTo>
                <a:lnTo>
                  <a:pt x="442" y="4"/>
                </a:lnTo>
                <a:lnTo>
                  <a:pt x="443" y="4"/>
                </a:lnTo>
                <a:lnTo>
                  <a:pt x="443" y="2"/>
                </a:lnTo>
                <a:lnTo>
                  <a:pt x="445" y="2"/>
                </a:lnTo>
                <a:lnTo>
                  <a:pt x="446" y="5"/>
                </a:lnTo>
                <a:lnTo>
                  <a:pt x="446" y="6"/>
                </a:lnTo>
                <a:lnTo>
                  <a:pt x="447" y="5"/>
                </a:lnTo>
                <a:lnTo>
                  <a:pt x="447" y="4"/>
                </a:lnTo>
                <a:lnTo>
                  <a:pt x="451" y="4"/>
                </a:lnTo>
                <a:lnTo>
                  <a:pt x="454" y="6"/>
                </a:lnTo>
                <a:lnTo>
                  <a:pt x="456" y="6"/>
                </a:lnTo>
                <a:lnTo>
                  <a:pt x="459" y="11"/>
                </a:lnTo>
                <a:lnTo>
                  <a:pt x="461" y="12"/>
                </a:lnTo>
                <a:lnTo>
                  <a:pt x="460" y="12"/>
                </a:lnTo>
                <a:lnTo>
                  <a:pt x="460" y="13"/>
                </a:lnTo>
                <a:lnTo>
                  <a:pt x="471" y="13"/>
                </a:lnTo>
                <a:lnTo>
                  <a:pt x="471" y="14"/>
                </a:lnTo>
                <a:lnTo>
                  <a:pt x="470" y="16"/>
                </a:lnTo>
                <a:lnTo>
                  <a:pt x="470" y="18"/>
                </a:lnTo>
                <a:lnTo>
                  <a:pt x="471" y="17"/>
                </a:lnTo>
                <a:lnTo>
                  <a:pt x="471" y="14"/>
                </a:lnTo>
                <a:lnTo>
                  <a:pt x="472" y="13"/>
                </a:lnTo>
                <a:lnTo>
                  <a:pt x="484" y="13"/>
                </a:lnTo>
                <a:lnTo>
                  <a:pt x="486" y="12"/>
                </a:lnTo>
                <a:lnTo>
                  <a:pt x="489" y="12"/>
                </a:lnTo>
                <a:lnTo>
                  <a:pt x="491" y="13"/>
                </a:lnTo>
                <a:lnTo>
                  <a:pt x="492" y="14"/>
                </a:lnTo>
                <a:lnTo>
                  <a:pt x="492" y="13"/>
                </a:lnTo>
                <a:lnTo>
                  <a:pt x="495" y="13"/>
                </a:lnTo>
                <a:lnTo>
                  <a:pt x="495" y="12"/>
                </a:lnTo>
                <a:lnTo>
                  <a:pt x="496" y="13"/>
                </a:lnTo>
                <a:lnTo>
                  <a:pt x="501" y="13"/>
                </a:lnTo>
                <a:lnTo>
                  <a:pt x="501" y="12"/>
                </a:lnTo>
                <a:lnTo>
                  <a:pt x="503" y="12"/>
                </a:lnTo>
                <a:lnTo>
                  <a:pt x="504" y="11"/>
                </a:lnTo>
                <a:lnTo>
                  <a:pt x="505" y="12"/>
                </a:lnTo>
                <a:lnTo>
                  <a:pt x="507" y="12"/>
                </a:lnTo>
                <a:lnTo>
                  <a:pt x="510" y="13"/>
                </a:lnTo>
                <a:lnTo>
                  <a:pt x="510" y="12"/>
                </a:lnTo>
                <a:lnTo>
                  <a:pt x="511" y="13"/>
                </a:lnTo>
                <a:lnTo>
                  <a:pt x="511" y="12"/>
                </a:lnTo>
                <a:lnTo>
                  <a:pt x="517" y="12"/>
                </a:lnTo>
                <a:lnTo>
                  <a:pt x="518" y="11"/>
                </a:lnTo>
                <a:lnTo>
                  <a:pt x="517" y="11"/>
                </a:lnTo>
                <a:lnTo>
                  <a:pt x="517" y="10"/>
                </a:lnTo>
                <a:lnTo>
                  <a:pt x="518" y="10"/>
                </a:lnTo>
                <a:lnTo>
                  <a:pt x="517" y="8"/>
                </a:lnTo>
                <a:lnTo>
                  <a:pt x="520" y="8"/>
                </a:lnTo>
                <a:lnTo>
                  <a:pt x="520" y="7"/>
                </a:lnTo>
                <a:lnTo>
                  <a:pt x="521" y="7"/>
                </a:lnTo>
                <a:lnTo>
                  <a:pt x="522" y="8"/>
                </a:lnTo>
                <a:lnTo>
                  <a:pt x="523" y="8"/>
                </a:lnTo>
                <a:lnTo>
                  <a:pt x="526" y="12"/>
                </a:lnTo>
                <a:lnTo>
                  <a:pt x="526" y="13"/>
                </a:lnTo>
                <a:lnTo>
                  <a:pt x="540" y="13"/>
                </a:lnTo>
                <a:lnTo>
                  <a:pt x="540" y="14"/>
                </a:lnTo>
                <a:lnTo>
                  <a:pt x="539" y="16"/>
                </a:lnTo>
                <a:lnTo>
                  <a:pt x="541" y="16"/>
                </a:lnTo>
                <a:lnTo>
                  <a:pt x="541" y="14"/>
                </a:lnTo>
                <a:lnTo>
                  <a:pt x="544" y="14"/>
                </a:lnTo>
                <a:lnTo>
                  <a:pt x="547" y="17"/>
                </a:lnTo>
                <a:lnTo>
                  <a:pt x="548" y="17"/>
                </a:lnTo>
                <a:lnTo>
                  <a:pt x="552" y="18"/>
                </a:lnTo>
                <a:lnTo>
                  <a:pt x="554" y="18"/>
                </a:lnTo>
                <a:lnTo>
                  <a:pt x="557" y="19"/>
                </a:lnTo>
                <a:lnTo>
                  <a:pt x="558" y="19"/>
                </a:lnTo>
                <a:lnTo>
                  <a:pt x="558" y="18"/>
                </a:lnTo>
                <a:lnTo>
                  <a:pt x="559" y="18"/>
                </a:lnTo>
                <a:lnTo>
                  <a:pt x="560" y="19"/>
                </a:lnTo>
                <a:lnTo>
                  <a:pt x="563" y="19"/>
                </a:lnTo>
                <a:lnTo>
                  <a:pt x="566" y="22"/>
                </a:lnTo>
                <a:lnTo>
                  <a:pt x="567" y="22"/>
                </a:lnTo>
                <a:lnTo>
                  <a:pt x="577" y="23"/>
                </a:lnTo>
                <a:lnTo>
                  <a:pt x="578" y="24"/>
                </a:lnTo>
                <a:lnTo>
                  <a:pt x="579" y="23"/>
                </a:lnTo>
                <a:lnTo>
                  <a:pt x="582" y="23"/>
                </a:lnTo>
                <a:lnTo>
                  <a:pt x="582" y="24"/>
                </a:lnTo>
                <a:lnTo>
                  <a:pt x="583" y="23"/>
                </a:lnTo>
                <a:lnTo>
                  <a:pt x="590" y="23"/>
                </a:lnTo>
                <a:lnTo>
                  <a:pt x="591" y="22"/>
                </a:lnTo>
                <a:lnTo>
                  <a:pt x="594" y="20"/>
                </a:lnTo>
                <a:lnTo>
                  <a:pt x="597" y="20"/>
                </a:lnTo>
                <a:lnTo>
                  <a:pt x="597" y="19"/>
                </a:lnTo>
                <a:lnTo>
                  <a:pt x="598" y="19"/>
                </a:lnTo>
                <a:lnTo>
                  <a:pt x="600" y="20"/>
                </a:lnTo>
                <a:lnTo>
                  <a:pt x="600" y="19"/>
                </a:lnTo>
                <a:lnTo>
                  <a:pt x="601" y="18"/>
                </a:lnTo>
                <a:lnTo>
                  <a:pt x="603" y="18"/>
                </a:lnTo>
                <a:lnTo>
                  <a:pt x="604" y="17"/>
                </a:lnTo>
                <a:lnTo>
                  <a:pt x="607" y="17"/>
                </a:lnTo>
                <a:lnTo>
                  <a:pt x="608" y="18"/>
                </a:lnTo>
                <a:lnTo>
                  <a:pt x="605" y="19"/>
                </a:lnTo>
                <a:lnTo>
                  <a:pt x="604" y="20"/>
                </a:lnTo>
                <a:lnTo>
                  <a:pt x="605" y="20"/>
                </a:lnTo>
                <a:lnTo>
                  <a:pt x="605" y="22"/>
                </a:lnTo>
                <a:lnTo>
                  <a:pt x="607" y="22"/>
                </a:lnTo>
                <a:lnTo>
                  <a:pt x="607" y="20"/>
                </a:lnTo>
                <a:lnTo>
                  <a:pt x="608" y="19"/>
                </a:lnTo>
                <a:lnTo>
                  <a:pt x="609" y="20"/>
                </a:lnTo>
                <a:lnTo>
                  <a:pt x="609" y="19"/>
                </a:lnTo>
                <a:lnTo>
                  <a:pt x="610" y="18"/>
                </a:lnTo>
                <a:lnTo>
                  <a:pt x="611" y="18"/>
                </a:lnTo>
                <a:lnTo>
                  <a:pt x="611" y="17"/>
                </a:lnTo>
                <a:lnTo>
                  <a:pt x="613" y="17"/>
                </a:lnTo>
                <a:lnTo>
                  <a:pt x="616" y="16"/>
                </a:lnTo>
                <a:lnTo>
                  <a:pt x="617" y="16"/>
                </a:lnTo>
                <a:lnTo>
                  <a:pt x="617" y="17"/>
                </a:lnTo>
                <a:lnTo>
                  <a:pt x="619" y="17"/>
                </a:lnTo>
                <a:lnTo>
                  <a:pt x="619" y="18"/>
                </a:lnTo>
                <a:lnTo>
                  <a:pt x="622" y="18"/>
                </a:lnTo>
                <a:lnTo>
                  <a:pt x="622" y="20"/>
                </a:lnTo>
                <a:lnTo>
                  <a:pt x="621" y="20"/>
                </a:lnTo>
                <a:lnTo>
                  <a:pt x="621" y="19"/>
                </a:lnTo>
                <a:lnTo>
                  <a:pt x="620" y="19"/>
                </a:lnTo>
                <a:lnTo>
                  <a:pt x="620" y="20"/>
                </a:lnTo>
                <a:lnTo>
                  <a:pt x="621" y="22"/>
                </a:lnTo>
                <a:lnTo>
                  <a:pt x="621" y="20"/>
                </a:lnTo>
                <a:lnTo>
                  <a:pt x="622" y="22"/>
                </a:lnTo>
                <a:lnTo>
                  <a:pt x="627" y="22"/>
                </a:lnTo>
                <a:lnTo>
                  <a:pt x="629" y="23"/>
                </a:lnTo>
                <a:lnTo>
                  <a:pt x="632" y="23"/>
                </a:lnTo>
                <a:lnTo>
                  <a:pt x="634" y="25"/>
                </a:lnTo>
                <a:lnTo>
                  <a:pt x="635" y="25"/>
                </a:lnTo>
                <a:lnTo>
                  <a:pt x="636" y="24"/>
                </a:lnTo>
                <a:lnTo>
                  <a:pt x="640" y="28"/>
                </a:lnTo>
                <a:lnTo>
                  <a:pt x="640" y="25"/>
                </a:lnTo>
                <a:lnTo>
                  <a:pt x="639" y="24"/>
                </a:lnTo>
                <a:lnTo>
                  <a:pt x="640" y="24"/>
                </a:lnTo>
                <a:lnTo>
                  <a:pt x="640" y="23"/>
                </a:lnTo>
                <a:lnTo>
                  <a:pt x="642" y="22"/>
                </a:lnTo>
                <a:lnTo>
                  <a:pt x="642" y="20"/>
                </a:lnTo>
                <a:lnTo>
                  <a:pt x="648" y="20"/>
                </a:lnTo>
                <a:lnTo>
                  <a:pt x="650" y="19"/>
                </a:lnTo>
                <a:lnTo>
                  <a:pt x="651" y="19"/>
                </a:lnTo>
                <a:lnTo>
                  <a:pt x="652" y="20"/>
                </a:lnTo>
                <a:lnTo>
                  <a:pt x="652" y="22"/>
                </a:lnTo>
                <a:lnTo>
                  <a:pt x="653" y="22"/>
                </a:lnTo>
                <a:lnTo>
                  <a:pt x="653" y="24"/>
                </a:lnTo>
                <a:lnTo>
                  <a:pt x="654" y="23"/>
                </a:lnTo>
                <a:lnTo>
                  <a:pt x="654" y="22"/>
                </a:lnTo>
                <a:lnTo>
                  <a:pt x="656" y="22"/>
                </a:lnTo>
                <a:lnTo>
                  <a:pt x="657" y="23"/>
                </a:lnTo>
                <a:lnTo>
                  <a:pt x="659" y="24"/>
                </a:lnTo>
                <a:lnTo>
                  <a:pt x="663" y="24"/>
                </a:lnTo>
                <a:lnTo>
                  <a:pt x="663" y="25"/>
                </a:lnTo>
                <a:lnTo>
                  <a:pt x="667" y="28"/>
                </a:lnTo>
                <a:lnTo>
                  <a:pt x="675" y="28"/>
                </a:lnTo>
                <a:lnTo>
                  <a:pt x="675" y="29"/>
                </a:lnTo>
                <a:lnTo>
                  <a:pt x="677" y="29"/>
                </a:lnTo>
                <a:lnTo>
                  <a:pt x="678" y="28"/>
                </a:lnTo>
                <a:lnTo>
                  <a:pt x="679" y="28"/>
                </a:lnTo>
                <a:lnTo>
                  <a:pt x="683" y="26"/>
                </a:lnTo>
                <a:lnTo>
                  <a:pt x="685" y="26"/>
                </a:lnTo>
                <a:lnTo>
                  <a:pt x="687" y="28"/>
                </a:lnTo>
                <a:lnTo>
                  <a:pt x="687" y="26"/>
                </a:lnTo>
                <a:lnTo>
                  <a:pt x="685" y="26"/>
                </a:lnTo>
                <a:lnTo>
                  <a:pt x="688" y="25"/>
                </a:lnTo>
                <a:lnTo>
                  <a:pt x="690" y="23"/>
                </a:lnTo>
                <a:lnTo>
                  <a:pt x="691" y="23"/>
                </a:lnTo>
                <a:lnTo>
                  <a:pt x="691" y="26"/>
                </a:lnTo>
                <a:lnTo>
                  <a:pt x="692" y="26"/>
                </a:lnTo>
                <a:lnTo>
                  <a:pt x="692" y="29"/>
                </a:lnTo>
                <a:lnTo>
                  <a:pt x="695" y="29"/>
                </a:lnTo>
                <a:lnTo>
                  <a:pt x="696" y="28"/>
                </a:lnTo>
                <a:lnTo>
                  <a:pt x="697" y="29"/>
                </a:lnTo>
                <a:lnTo>
                  <a:pt x="697" y="31"/>
                </a:lnTo>
                <a:lnTo>
                  <a:pt x="700" y="31"/>
                </a:lnTo>
                <a:lnTo>
                  <a:pt x="701" y="30"/>
                </a:lnTo>
                <a:lnTo>
                  <a:pt x="701" y="29"/>
                </a:lnTo>
                <a:lnTo>
                  <a:pt x="702" y="29"/>
                </a:lnTo>
                <a:lnTo>
                  <a:pt x="703" y="30"/>
                </a:lnTo>
                <a:lnTo>
                  <a:pt x="706" y="31"/>
                </a:lnTo>
                <a:lnTo>
                  <a:pt x="706" y="30"/>
                </a:lnTo>
                <a:lnTo>
                  <a:pt x="707" y="30"/>
                </a:lnTo>
                <a:lnTo>
                  <a:pt x="708" y="31"/>
                </a:lnTo>
                <a:lnTo>
                  <a:pt x="708" y="36"/>
                </a:lnTo>
                <a:lnTo>
                  <a:pt x="707" y="38"/>
                </a:lnTo>
                <a:lnTo>
                  <a:pt x="704" y="41"/>
                </a:lnTo>
                <a:lnTo>
                  <a:pt x="704" y="42"/>
                </a:lnTo>
                <a:lnTo>
                  <a:pt x="706" y="43"/>
                </a:lnTo>
                <a:lnTo>
                  <a:pt x="707" y="43"/>
                </a:lnTo>
                <a:lnTo>
                  <a:pt x="708" y="44"/>
                </a:lnTo>
                <a:lnTo>
                  <a:pt x="709" y="44"/>
                </a:lnTo>
                <a:lnTo>
                  <a:pt x="709" y="42"/>
                </a:lnTo>
                <a:lnTo>
                  <a:pt x="710" y="41"/>
                </a:lnTo>
                <a:lnTo>
                  <a:pt x="710" y="39"/>
                </a:lnTo>
                <a:lnTo>
                  <a:pt x="712" y="39"/>
                </a:lnTo>
                <a:lnTo>
                  <a:pt x="712" y="42"/>
                </a:lnTo>
                <a:lnTo>
                  <a:pt x="713" y="42"/>
                </a:lnTo>
                <a:lnTo>
                  <a:pt x="713" y="43"/>
                </a:lnTo>
                <a:lnTo>
                  <a:pt x="715" y="43"/>
                </a:lnTo>
                <a:lnTo>
                  <a:pt x="718" y="44"/>
                </a:lnTo>
                <a:lnTo>
                  <a:pt x="719" y="45"/>
                </a:lnTo>
                <a:lnTo>
                  <a:pt x="721" y="45"/>
                </a:lnTo>
                <a:lnTo>
                  <a:pt x="722" y="47"/>
                </a:lnTo>
                <a:lnTo>
                  <a:pt x="723" y="47"/>
                </a:lnTo>
                <a:lnTo>
                  <a:pt x="726" y="48"/>
                </a:lnTo>
                <a:lnTo>
                  <a:pt x="727" y="49"/>
                </a:lnTo>
                <a:lnTo>
                  <a:pt x="731" y="49"/>
                </a:lnTo>
                <a:lnTo>
                  <a:pt x="734" y="48"/>
                </a:lnTo>
                <a:lnTo>
                  <a:pt x="735" y="49"/>
                </a:lnTo>
                <a:lnTo>
                  <a:pt x="735" y="53"/>
                </a:lnTo>
                <a:lnTo>
                  <a:pt x="738" y="53"/>
                </a:lnTo>
                <a:lnTo>
                  <a:pt x="739" y="54"/>
                </a:lnTo>
                <a:lnTo>
                  <a:pt x="740" y="54"/>
                </a:lnTo>
                <a:lnTo>
                  <a:pt x="741" y="56"/>
                </a:lnTo>
                <a:lnTo>
                  <a:pt x="741" y="57"/>
                </a:lnTo>
                <a:lnTo>
                  <a:pt x="743" y="57"/>
                </a:lnTo>
                <a:lnTo>
                  <a:pt x="743" y="59"/>
                </a:lnTo>
                <a:lnTo>
                  <a:pt x="744" y="59"/>
                </a:lnTo>
                <a:lnTo>
                  <a:pt x="745" y="56"/>
                </a:lnTo>
                <a:lnTo>
                  <a:pt x="747" y="57"/>
                </a:lnTo>
                <a:lnTo>
                  <a:pt x="750" y="57"/>
                </a:lnTo>
                <a:lnTo>
                  <a:pt x="752" y="55"/>
                </a:lnTo>
                <a:lnTo>
                  <a:pt x="752" y="56"/>
                </a:lnTo>
                <a:lnTo>
                  <a:pt x="753" y="56"/>
                </a:lnTo>
                <a:lnTo>
                  <a:pt x="753" y="55"/>
                </a:lnTo>
                <a:lnTo>
                  <a:pt x="754" y="55"/>
                </a:lnTo>
                <a:lnTo>
                  <a:pt x="758" y="59"/>
                </a:lnTo>
                <a:lnTo>
                  <a:pt x="759" y="57"/>
                </a:lnTo>
                <a:lnTo>
                  <a:pt x="760" y="57"/>
                </a:lnTo>
                <a:lnTo>
                  <a:pt x="760" y="60"/>
                </a:lnTo>
                <a:lnTo>
                  <a:pt x="762" y="61"/>
                </a:lnTo>
                <a:lnTo>
                  <a:pt x="762" y="62"/>
                </a:lnTo>
                <a:lnTo>
                  <a:pt x="763" y="62"/>
                </a:lnTo>
                <a:lnTo>
                  <a:pt x="763" y="63"/>
                </a:lnTo>
                <a:lnTo>
                  <a:pt x="766" y="63"/>
                </a:lnTo>
                <a:lnTo>
                  <a:pt x="770" y="62"/>
                </a:lnTo>
                <a:lnTo>
                  <a:pt x="772" y="62"/>
                </a:lnTo>
                <a:lnTo>
                  <a:pt x="774" y="61"/>
                </a:lnTo>
                <a:lnTo>
                  <a:pt x="776" y="62"/>
                </a:lnTo>
                <a:lnTo>
                  <a:pt x="777" y="62"/>
                </a:lnTo>
                <a:lnTo>
                  <a:pt x="778" y="63"/>
                </a:lnTo>
                <a:lnTo>
                  <a:pt x="778" y="65"/>
                </a:lnTo>
                <a:lnTo>
                  <a:pt x="779" y="65"/>
                </a:lnTo>
                <a:lnTo>
                  <a:pt x="781" y="63"/>
                </a:lnTo>
                <a:lnTo>
                  <a:pt x="781" y="62"/>
                </a:lnTo>
                <a:lnTo>
                  <a:pt x="782" y="62"/>
                </a:lnTo>
                <a:lnTo>
                  <a:pt x="783" y="63"/>
                </a:lnTo>
                <a:lnTo>
                  <a:pt x="795" y="63"/>
                </a:lnTo>
                <a:lnTo>
                  <a:pt x="795" y="61"/>
                </a:lnTo>
                <a:lnTo>
                  <a:pt x="794" y="61"/>
                </a:lnTo>
                <a:lnTo>
                  <a:pt x="794" y="60"/>
                </a:lnTo>
                <a:lnTo>
                  <a:pt x="795" y="60"/>
                </a:lnTo>
                <a:lnTo>
                  <a:pt x="794" y="59"/>
                </a:lnTo>
                <a:lnTo>
                  <a:pt x="795" y="57"/>
                </a:lnTo>
                <a:lnTo>
                  <a:pt x="795" y="55"/>
                </a:lnTo>
                <a:lnTo>
                  <a:pt x="801" y="55"/>
                </a:lnTo>
                <a:lnTo>
                  <a:pt x="803" y="56"/>
                </a:lnTo>
                <a:lnTo>
                  <a:pt x="805" y="57"/>
                </a:lnTo>
                <a:lnTo>
                  <a:pt x="807" y="57"/>
                </a:lnTo>
                <a:lnTo>
                  <a:pt x="808" y="59"/>
                </a:lnTo>
                <a:lnTo>
                  <a:pt x="813" y="59"/>
                </a:lnTo>
                <a:lnTo>
                  <a:pt x="814" y="60"/>
                </a:lnTo>
                <a:lnTo>
                  <a:pt x="814" y="61"/>
                </a:lnTo>
                <a:lnTo>
                  <a:pt x="815" y="62"/>
                </a:lnTo>
                <a:lnTo>
                  <a:pt x="824" y="62"/>
                </a:lnTo>
                <a:lnTo>
                  <a:pt x="824" y="63"/>
                </a:lnTo>
                <a:lnTo>
                  <a:pt x="825" y="63"/>
                </a:lnTo>
                <a:lnTo>
                  <a:pt x="825" y="65"/>
                </a:lnTo>
                <a:lnTo>
                  <a:pt x="826" y="66"/>
                </a:lnTo>
                <a:lnTo>
                  <a:pt x="827" y="68"/>
                </a:lnTo>
                <a:lnTo>
                  <a:pt x="827" y="71"/>
                </a:lnTo>
                <a:lnTo>
                  <a:pt x="826" y="72"/>
                </a:lnTo>
                <a:lnTo>
                  <a:pt x="826" y="73"/>
                </a:lnTo>
                <a:lnTo>
                  <a:pt x="828" y="73"/>
                </a:lnTo>
                <a:lnTo>
                  <a:pt x="828" y="74"/>
                </a:lnTo>
                <a:lnTo>
                  <a:pt x="827" y="74"/>
                </a:lnTo>
                <a:lnTo>
                  <a:pt x="826" y="75"/>
                </a:lnTo>
                <a:lnTo>
                  <a:pt x="827" y="77"/>
                </a:lnTo>
                <a:lnTo>
                  <a:pt x="827" y="78"/>
                </a:lnTo>
                <a:lnTo>
                  <a:pt x="828" y="78"/>
                </a:lnTo>
                <a:lnTo>
                  <a:pt x="831" y="79"/>
                </a:lnTo>
                <a:lnTo>
                  <a:pt x="832" y="78"/>
                </a:lnTo>
                <a:lnTo>
                  <a:pt x="834" y="77"/>
                </a:lnTo>
                <a:lnTo>
                  <a:pt x="836" y="77"/>
                </a:lnTo>
                <a:lnTo>
                  <a:pt x="837" y="74"/>
                </a:lnTo>
                <a:lnTo>
                  <a:pt x="838" y="75"/>
                </a:lnTo>
                <a:lnTo>
                  <a:pt x="839" y="74"/>
                </a:lnTo>
                <a:lnTo>
                  <a:pt x="840" y="75"/>
                </a:lnTo>
                <a:lnTo>
                  <a:pt x="844" y="75"/>
                </a:lnTo>
                <a:lnTo>
                  <a:pt x="846" y="78"/>
                </a:lnTo>
                <a:lnTo>
                  <a:pt x="849" y="78"/>
                </a:lnTo>
                <a:lnTo>
                  <a:pt x="849" y="79"/>
                </a:lnTo>
                <a:lnTo>
                  <a:pt x="850" y="81"/>
                </a:lnTo>
                <a:lnTo>
                  <a:pt x="851" y="82"/>
                </a:lnTo>
                <a:lnTo>
                  <a:pt x="855" y="82"/>
                </a:lnTo>
                <a:lnTo>
                  <a:pt x="855" y="81"/>
                </a:lnTo>
                <a:lnTo>
                  <a:pt x="856" y="81"/>
                </a:lnTo>
                <a:lnTo>
                  <a:pt x="856" y="80"/>
                </a:lnTo>
                <a:lnTo>
                  <a:pt x="857" y="79"/>
                </a:lnTo>
                <a:lnTo>
                  <a:pt x="864" y="79"/>
                </a:lnTo>
                <a:lnTo>
                  <a:pt x="868" y="80"/>
                </a:lnTo>
                <a:lnTo>
                  <a:pt x="871" y="84"/>
                </a:lnTo>
                <a:lnTo>
                  <a:pt x="874" y="84"/>
                </a:lnTo>
                <a:lnTo>
                  <a:pt x="874" y="82"/>
                </a:lnTo>
                <a:lnTo>
                  <a:pt x="875" y="82"/>
                </a:lnTo>
                <a:lnTo>
                  <a:pt x="877" y="84"/>
                </a:lnTo>
                <a:lnTo>
                  <a:pt x="880" y="84"/>
                </a:lnTo>
                <a:lnTo>
                  <a:pt x="878" y="82"/>
                </a:lnTo>
                <a:lnTo>
                  <a:pt x="878" y="81"/>
                </a:lnTo>
                <a:lnTo>
                  <a:pt x="881" y="80"/>
                </a:lnTo>
                <a:lnTo>
                  <a:pt x="881" y="79"/>
                </a:lnTo>
                <a:lnTo>
                  <a:pt x="886" y="79"/>
                </a:lnTo>
                <a:lnTo>
                  <a:pt x="887" y="78"/>
                </a:lnTo>
                <a:lnTo>
                  <a:pt x="889" y="78"/>
                </a:lnTo>
                <a:lnTo>
                  <a:pt x="889" y="77"/>
                </a:lnTo>
                <a:lnTo>
                  <a:pt x="895" y="77"/>
                </a:lnTo>
                <a:lnTo>
                  <a:pt x="895" y="78"/>
                </a:lnTo>
                <a:lnTo>
                  <a:pt x="896" y="78"/>
                </a:lnTo>
                <a:lnTo>
                  <a:pt x="897" y="79"/>
                </a:lnTo>
                <a:lnTo>
                  <a:pt x="900" y="79"/>
                </a:lnTo>
                <a:lnTo>
                  <a:pt x="901" y="78"/>
                </a:lnTo>
                <a:lnTo>
                  <a:pt x="901" y="82"/>
                </a:lnTo>
                <a:lnTo>
                  <a:pt x="902" y="84"/>
                </a:lnTo>
                <a:lnTo>
                  <a:pt x="906" y="84"/>
                </a:lnTo>
                <a:lnTo>
                  <a:pt x="907" y="85"/>
                </a:lnTo>
                <a:lnTo>
                  <a:pt x="906" y="86"/>
                </a:lnTo>
                <a:lnTo>
                  <a:pt x="906" y="88"/>
                </a:lnTo>
                <a:lnTo>
                  <a:pt x="905" y="88"/>
                </a:lnTo>
                <a:lnTo>
                  <a:pt x="905" y="90"/>
                </a:lnTo>
                <a:lnTo>
                  <a:pt x="903" y="88"/>
                </a:lnTo>
                <a:lnTo>
                  <a:pt x="902" y="90"/>
                </a:lnTo>
                <a:lnTo>
                  <a:pt x="901" y="88"/>
                </a:lnTo>
                <a:lnTo>
                  <a:pt x="900" y="88"/>
                </a:lnTo>
                <a:lnTo>
                  <a:pt x="899" y="90"/>
                </a:lnTo>
                <a:lnTo>
                  <a:pt x="899" y="94"/>
                </a:lnTo>
                <a:lnTo>
                  <a:pt x="901" y="97"/>
                </a:lnTo>
                <a:lnTo>
                  <a:pt x="901" y="98"/>
                </a:lnTo>
                <a:lnTo>
                  <a:pt x="902" y="99"/>
                </a:lnTo>
                <a:lnTo>
                  <a:pt x="902" y="104"/>
                </a:lnTo>
                <a:lnTo>
                  <a:pt x="903" y="104"/>
                </a:lnTo>
                <a:lnTo>
                  <a:pt x="903" y="106"/>
                </a:lnTo>
                <a:lnTo>
                  <a:pt x="902" y="108"/>
                </a:lnTo>
                <a:lnTo>
                  <a:pt x="902" y="109"/>
                </a:lnTo>
                <a:lnTo>
                  <a:pt x="900" y="111"/>
                </a:lnTo>
                <a:lnTo>
                  <a:pt x="899" y="111"/>
                </a:lnTo>
                <a:lnTo>
                  <a:pt x="896" y="112"/>
                </a:lnTo>
                <a:lnTo>
                  <a:pt x="896" y="114"/>
                </a:lnTo>
                <a:lnTo>
                  <a:pt x="890" y="120"/>
                </a:lnTo>
                <a:lnTo>
                  <a:pt x="887" y="120"/>
                </a:lnTo>
                <a:lnTo>
                  <a:pt x="887" y="121"/>
                </a:lnTo>
                <a:lnTo>
                  <a:pt x="886" y="121"/>
                </a:lnTo>
                <a:lnTo>
                  <a:pt x="886" y="122"/>
                </a:lnTo>
                <a:lnTo>
                  <a:pt x="884" y="122"/>
                </a:lnTo>
                <a:lnTo>
                  <a:pt x="884" y="123"/>
                </a:lnTo>
                <a:lnTo>
                  <a:pt x="878" y="125"/>
                </a:lnTo>
                <a:lnTo>
                  <a:pt x="870" y="129"/>
                </a:lnTo>
                <a:lnTo>
                  <a:pt x="869" y="130"/>
                </a:lnTo>
                <a:lnTo>
                  <a:pt x="864" y="133"/>
                </a:lnTo>
                <a:lnTo>
                  <a:pt x="862" y="135"/>
                </a:lnTo>
                <a:lnTo>
                  <a:pt x="859" y="139"/>
                </a:lnTo>
                <a:lnTo>
                  <a:pt x="858" y="141"/>
                </a:lnTo>
                <a:lnTo>
                  <a:pt x="857" y="142"/>
                </a:lnTo>
                <a:lnTo>
                  <a:pt x="853" y="143"/>
                </a:lnTo>
                <a:lnTo>
                  <a:pt x="852" y="145"/>
                </a:lnTo>
                <a:lnTo>
                  <a:pt x="846" y="145"/>
                </a:lnTo>
                <a:lnTo>
                  <a:pt x="845" y="146"/>
                </a:lnTo>
                <a:lnTo>
                  <a:pt x="844" y="146"/>
                </a:lnTo>
                <a:lnTo>
                  <a:pt x="836" y="148"/>
                </a:lnTo>
                <a:lnTo>
                  <a:pt x="832" y="148"/>
                </a:lnTo>
                <a:lnTo>
                  <a:pt x="821" y="153"/>
                </a:lnTo>
                <a:lnTo>
                  <a:pt x="818" y="153"/>
                </a:lnTo>
                <a:lnTo>
                  <a:pt x="818" y="155"/>
                </a:lnTo>
                <a:lnTo>
                  <a:pt x="812" y="155"/>
                </a:lnTo>
                <a:lnTo>
                  <a:pt x="809" y="157"/>
                </a:lnTo>
                <a:lnTo>
                  <a:pt x="805" y="161"/>
                </a:lnTo>
                <a:lnTo>
                  <a:pt x="802" y="165"/>
                </a:lnTo>
                <a:lnTo>
                  <a:pt x="796" y="171"/>
                </a:lnTo>
                <a:lnTo>
                  <a:pt x="797" y="172"/>
                </a:lnTo>
                <a:lnTo>
                  <a:pt x="800" y="172"/>
                </a:lnTo>
                <a:lnTo>
                  <a:pt x="802" y="174"/>
                </a:lnTo>
                <a:lnTo>
                  <a:pt x="803" y="173"/>
                </a:lnTo>
                <a:lnTo>
                  <a:pt x="803" y="177"/>
                </a:lnTo>
                <a:lnTo>
                  <a:pt x="802" y="177"/>
                </a:lnTo>
                <a:lnTo>
                  <a:pt x="800" y="178"/>
                </a:lnTo>
                <a:lnTo>
                  <a:pt x="796" y="182"/>
                </a:lnTo>
                <a:lnTo>
                  <a:pt x="797" y="179"/>
                </a:lnTo>
                <a:lnTo>
                  <a:pt x="796" y="179"/>
                </a:lnTo>
                <a:lnTo>
                  <a:pt x="793" y="180"/>
                </a:lnTo>
                <a:lnTo>
                  <a:pt x="791" y="182"/>
                </a:lnTo>
                <a:lnTo>
                  <a:pt x="790" y="182"/>
                </a:lnTo>
                <a:lnTo>
                  <a:pt x="790" y="183"/>
                </a:lnTo>
                <a:lnTo>
                  <a:pt x="789" y="186"/>
                </a:lnTo>
                <a:lnTo>
                  <a:pt x="788" y="188"/>
                </a:lnTo>
                <a:lnTo>
                  <a:pt x="788" y="189"/>
                </a:lnTo>
                <a:lnTo>
                  <a:pt x="787" y="190"/>
                </a:lnTo>
                <a:lnTo>
                  <a:pt x="785" y="190"/>
                </a:lnTo>
                <a:lnTo>
                  <a:pt x="785" y="192"/>
                </a:lnTo>
                <a:lnTo>
                  <a:pt x="784" y="192"/>
                </a:lnTo>
                <a:lnTo>
                  <a:pt x="782" y="198"/>
                </a:lnTo>
                <a:lnTo>
                  <a:pt x="781" y="200"/>
                </a:lnTo>
                <a:lnTo>
                  <a:pt x="781" y="201"/>
                </a:lnTo>
                <a:lnTo>
                  <a:pt x="779" y="201"/>
                </a:lnTo>
                <a:lnTo>
                  <a:pt x="778" y="203"/>
                </a:lnTo>
                <a:lnTo>
                  <a:pt x="776" y="206"/>
                </a:lnTo>
                <a:lnTo>
                  <a:pt x="774" y="210"/>
                </a:lnTo>
                <a:lnTo>
                  <a:pt x="772" y="211"/>
                </a:lnTo>
                <a:lnTo>
                  <a:pt x="770" y="213"/>
                </a:lnTo>
                <a:lnTo>
                  <a:pt x="769" y="214"/>
                </a:lnTo>
                <a:lnTo>
                  <a:pt x="766" y="219"/>
                </a:lnTo>
                <a:lnTo>
                  <a:pt x="763" y="222"/>
                </a:lnTo>
                <a:lnTo>
                  <a:pt x="759" y="229"/>
                </a:lnTo>
                <a:lnTo>
                  <a:pt x="758" y="231"/>
                </a:lnTo>
                <a:lnTo>
                  <a:pt x="758" y="233"/>
                </a:lnTo>
                <a:lnTo>
                  <a:pt x="756" y="235"/>
                </a:lnTo>
                <a:lnTo>
                  <a:pt x="756" y="238"/>
                </a:lnTo>
                <a:lnTo>
                  <a:pt x="754" y="238"/>
                </a:lnTo>
                <a:lnTo>
                  <a:pt x="753" y="240"/>
                </a:lnTo>
                <a:lnTo>
                  <a:pt x="753" y="247"/>
                </a:lnTo>
                <a:lnTo>
                  <a:pt x="754" y="251"/>
                </a:lnTo>
                <a:lnTo>
                  <a:pt x="757" y="257"/>
                </a:lnTo>
                <a:lnTo>
                  <a:pt x="757" y="258"/>
                </a:lnTo>
                <a:lnTo>
                  <a:pt x="758" y="259"/>
                </a:lnTo>
                <a:lnTo>
                  <a:pt x="757" y="259"/>
                </a:lnTo>
                <a:lnTo>
                  <a:pt x="757" y="263"/>
                </a:lnTo>
                <a:lnTo>
                  <a:pt x="758" y="265"/>
                </a:lnTo>
                <a:lnTo>
                  <a:pt x="759" y="266"/>
                </a:lnTo>
                <a:lnTo>
                  <a:pt x="762" y="271"/>
                </a:lnTo>
                <a:lnTo>
                  <a:pt x="766" y="276"/>
                </a:lnTo>
                <a:lnTo>
                  <a:pt x="770" y="276"/>
                </a:lnTo>
                <a:lnTo>
                  <a:pt x="771" y="277"/>
                </a:lnTo>
                <a:lnTo>
                  <a:pt x="774" y="278"/>
                </a:lnTo>
                <a:lnTo>
                  <a:pt x="775" y="280"/>
                </a:lnTo>
                <a:lnTo>
                  <a:pt x="775" y="281"/>
                </a:lnTo>
                <a:lnTo>
                  <a:pt x="776" y="282"/>
                </a:lnTo>
                <a:lnTo>
                  <a:pt x="777" y="282"/>
                </a:lnTo>
                <a:lnTo>
                  <a:pt x="777" y="283"/>
                </a:lnTo>
                <a:lnTo>
                  <a:pt x="775" y="283"/>
                </a:lnTo>
                <a:lnTo>
                  <a:pt x="775" y="284"/>
                </a:lnTo>
                <a:lnTo>
                  <a:pt x="774" y="284"/>
                </a:lnTo>
                <a:lnTo>
                  <a:pt x="774" y="286"/>
                </a:lnTo>
                <a:lnTo>
                  <a:pt x="772" y="286"/>
                </a:lnTo>
                <a:lnTo>
                  <a:pt x="771" y="287"/>
                </a:lnTo>
                <a:lnTo>
                  <a:pt x="770" y="287"/>
                </a:lnTo>
                <a:lnTo>
                  <a:pt x="770" y="289"/>
                </a:lnTo>
                <a:lnTo>
                  <a:pt x="765" y="289"/>
                </a:lnTo>
                <a:lnTo>
                  <a:pt x="765" y="293"/>
                </a:lnTo>
                <a:lnTo>
                  <a:pt x="764" y="293"/>
                </a:lnTo>
                <a:lnTo>
                  <a:pt x="764" y="294"/>
                </a:lnTo>
                <a:lnTo>
                  <a:pt x="759" y="294"/>
                </a:lnTo>
                <a:lnTo>
                  <a:pt x="757" y="296"/>
                </a:lnTo>
                <a:lnTo>
                  <a:pt x="753" y="297"/>
                </a:lnTo>
                <a:lnTo>
                  <a:pt x="752" y="297"/>
                </a:lnTo>
                <a:lnTo>
                  <a:pt x="752" y="299"/>
                </a:lnTo>
                <a:lnTo>
                  <a:pt x="750" y="301"/>
                </a:lnTo>
                <a:lnTo>
                  <a:pt x="750" y="303"/>
                </a:lnTo>
                <a:lnTo>
                  <a:pt x="747" y="303"/>
                </a:lnTo>
                <a:lnTo>
                  <a:pt x="747" y="305"/>
                </a:lnTo>
                <a:lnTo>
                  <a:pt x="745" y="305"/>
                </a:lnTo>
                <a:lnTo>
                  <a:pt x="745" y="307"/>
                </a:lnTo>
                <a:lnTo>
                  <a:pt x="746" y="312"/>
                </a:lnTo>
                <a:lnTo>
                  <a:pt x="745" y="312"/>
                </a:lnTo>
                <a:lnTo>
                  <a:pt x="745" y="313"/>
                </a:lnTo>
                <a:lnTo>
                  <a:pt x="743" y="312"/>
                </a:lnTo>
                <a:lnTo>
                  <a:pt x="743" y="313"/>
                </a:lnTo>
                <a:lnTo>
                  <a:pt x="741" y="313"/>
                </a:lnTo>
                <a:lnTo>
                  <a:pt x="740" y="314"/>
                </a:lnTo>
                <a:lnTo>
                  <a:pt x="740" y="319"/>
                </a:lnTo>
                <a:lnTo>
                  <a:pt x="739" y="323"/>
                </a:lnTo>
                <a:lnTo>
                  <a:pt x="739" y="324"/>
                </a:lnTo>
                <a:lnTo>
                  <a:pt x="738" y="324"/>
                </a:lnTo>
                <a:lnTo>
                  <a:pt x="737" y="325"/>
                </a:lnTo>
                <a:lnTo>
                  <a:pt x="737" y="326"/>
                </a:lnTo>
                <a:lnTo>
                  <a:pt x="735" y="330"/>
                </a:lnTo>
                <a:lnTo>
                  <a:pt x="735" y="333"/>
                </a:lnTo>
                <a:lnTo>
                  <a:pt x="734" y="332"/>
                </a:lnTo>
                <a:lnTo>
                  <a:pt x="733" y="334"/>
                </a:lnTo>
                <a:lnTo>
                  <a:pt x="732" y="336"/>
                </a:lnTo>
                <a:lnTo>
                  <a:pt x="731" y="336"/>
                </a:lnTo>
                <a:lnTo>
                  <a:pt x="731" y="337"/>
                </a:lnTo>
                <a:lnTo>
                  <a:pt x="732" y="340"/>
                </a:lnTo>
                <a:lnTo>
                  <a:pt x="733" y="340"/>
                </a:lnTo>
                <a:lnTo>
                  <a:pt x="734" y="342"/>
                </a:lnTo>
                <a:lnTo>
                  <a:pt x="737" y="342"/>
                </a:lnTo>
                <a:lnTo>
                  <a:pt x="738" y="343"/>
                </a:lnTo>
                <a:lnTo>
                  <a:pt x="737" y="343"/>
                </a:lnTo>
                <a:lnTo>
                  <a:pt x="737" y="344"/>
                </a:lnTo>
                <a:lnTo>
                  <a:pt x="733" y="344"/>
                </a:lnTo>
                <a:lnTo>
                  <a:pt x="733" y="345"/>
                </a:lnTo>
                <a:lnTo>
                  <a:pt x="729" y="345"/>
                </a:lnTo>
                <a:lnTo>
                  <a:pt x="728" y="346"/>
                </a:lnTo>
                <a:lnTo>
                  <a:pt x="727" y="346"/>
                </a:lnTo>
                <a:lnTo>
                  <a:pt x="726" y="345"/>
                </a:lnTo>
                <a:lnTo>
                  <a:pt x="720" y="345"/>
                </a:lnTo>
                <a:lnTo>
                  <a:pt x="720" y="348"/>
                </a:lnTo>
                <a:lnTo>
                  <a:pt x="718" y="348"/>
                </a:lnTo>
                <a:lnTo>
                  <a:pt x="718" y="346"/>
                </a:lnTo>
                <a:lnTo>
                  <a:pt x="716" y="345"/>
                </a:lnTo>
                <a:lnTo>
                  <a:pt x="714" y="345"/>
                </a:lnTo>
                <a:lnTo>
                  <a:pt x="714" y="346"/>
                </a:lnTo>
                <a:lnTo>
                  <a:pt x="710" y="346"/>
                </a:lnTo>
                <a:lnTo>
                  <a:pt x="709" y="348"/>
                </a:lnTo>
                <a:lnTo>
                  <a:pt x="707" y="349"/>
                </a:lnTo>
                <a:lnTo>
                  <a:pt x="707" y="350"/>
                </a:lnTo>
                <a:lnTo>
                  <a:pt x="704" y="350"/>
                </a:lnTo>
                <a:lnTo>
                  <a:pt x="704" y="352"/>
                </a:lnTo>
                <a:lnTo>
                  <a:pt x="703" y="354"/>
                </a:lnTo>
                <a:lnTo>
                  <a:pt x="701" y="354"/>
                </a:lnTo>
                <a:lnTo>
                  <a:pt x="698" y="355"/>
                </a:lnTo>
                <a:lnTo>
                  <a:pt x="697" y="356"/>
                </a:lnTo>
                <a:lnTo>
                  <a:pt x="697" y="357"/>
                </a:lnTo>
                <a:lnTo>
                  <a:pt x="696" y="357"/>
                </a:lnTo>
                <a:lnTo>
                  <a:pt x="696" y="358"/>
                </a:lnTo>
                <a:lnTo>
                  <a:pt x="690" y="364"/>
                </a:lnTo>
                <a:lnTo>
                  <a:pt x="690" y="367"/>
                </a:lnTo>
                <a:lnTo>
                  <a:pt x="689" y="369"/>
                </a:lnTo>
                <a:lnTo>
                  <a:pt x="689" y="372"/>
                </a:lnTo>
                <a:lnTo>
                  <a:pt x="688" y="375"/>
                </a:lnTo>
                <a:lnTo>
                  <a:pt x="687" y="376"/>
                </a:lnTo>
                <a:lnTo>
                  <a:pt x="687" y="380"/>
                </a:lnTo>
                <a:lnTo>
                  <a:pt x="684" y="380"/>
                </a:lnTo>
                <a:lnTo>
                  <a:pt x="683" y="381"/>
                </a:lnTo>
                <a:lnTo>
                  <a:pt x="683" y="382"/>
                </a:lnTo>
                <a:lnTo>
                  <a:pt x="682" y="383"/>
                </a:lnTo>
                <a:lnTo>
                  <a:pt x="682" y="385"/>
                </a:lnTo>
                <a:lnTo>
                  <a:pt x="681" y="385"/>
                </a:lnTo>
                <a:lnTo>
                  <a:pt x="681" y="386"/>
                </a:lnTo>
                <a:lnTo>
                  <a:pt x="679" y="387"/>
                </a:lnTo>
                <a:lnTo>
                  <a:pt x="679" y="388"/>
                </a:lnTo>
                <a:lnTo>
                  <a:pt x="678" y="388"/>
                </a:lnTo>
                <a:lnTo>
                  <a:pt x="678" y="389"/>
                </a:lnTo>
                <a:lnTo>
                  <a:pt x="676" y="389"/>
                </a:lnTo>
                <a:lnTo>
                  <a:pt x="676" y="391"/>
                </a:lnTo>
                <a:lnTo>
                  <a:pt x="673" y="389"/>
                </a:lnTo>
                <a:lnTo>
                  <a:pt x="672" y="388"/>
                </a:lnTo>
                <a:lnTo>
                  <a:pt x="672" y="387"/>
                </a:lnTo>
                <a:lnTo>
                  <a:pt x="671" y="386"/>
                </a:lnTo>
                <a:lnTo>
                  <a:pt x="669" y="385"/>
                </a:lnTo>
                <a:lnTo>
                  <a:pt x="666" y="385"/>
                </a:lnTo>
                <a:lnTo>
                  <a:pt x="665" y="386"/>
                </a:lnTo>
                <a:lnTo>
                  <a:pt x="664" y="386"/>
                </a:lnTo>
                <a:lnTo>
                  <a:pt x="663" y="385"/>
                </a:lnTo>
                <a:lnTo>
                  <a:pt x="659" y="386"/>
                </a:lnTo>
                <a:lnTo>
                  <a:pt x="658" y="386"/>
                </a:lnTo>
                <a:lnTo>
                  <a:pt x="658" y="388"/>
                </a:lnTo>
                <a:lnTo>
                  <a:pt x="657" y="391"/>
                </a:lnTo>
                <a:lnTo>
                  <a:pt x="656" y="392"/>
                </a:lnTo>
                <a:lnTo>
                  <a:pt x="653" y="392"/>
                </a:lnTo>
                <a:lnTo>
                  <a:pt x="652" y="393"/>
                </a:lnTo>
                <a:lnTo>
                  <a:pt x="652" y="392"/>
                </a:lnTo>
                <a:lnTo>
                  <a:pt x="651" y="393"/>
                </a:lnTo>
                <a:lnTo>
                  <a:pt x="648" y="391"/>
                </a:lnTo>
                <a:lnTo>
                  <a:pt x="647" y="391"/>
                </a:lnTo>
                <a:lnTo>
                  <a:pt x="647" y="392"/>
                </a:lnTo>
                <a:lnTo>
                  <a:pt x="646" y="392"/>
                </a:lnTo>
                <a:lnTo>
                  <a:pt x="645" y="389"/>
                </a:lnTo>
                <a:lnTo>
                  <a:pt x="634" y="389"/>
                </a:lnTo>
                <a:lnTo>
                  <a:pt x="631" y="388"/>
                </a:lnTo>
                <a:lnTo>
                  <a:pt x="627" y="389"/>
                </a:lnTo>
                <a:lnTo>
                  <a:pt x="626" y="389"/>
                </a:lnTo>
                <a:lnTo>
                  <a:pt x="626" y="391"/>
                </a:lnTo>
                <a:lnTo>
                  <a:pt x="625" y="391"/>
                </a:lnTo>
                <a:lnTo>
                  <a:pt x="623" y="392"/>
                </a:lnTo>
                <a:lnTo>
                  <a:pt x="620" y="392"/>
                </a:lnTo>
                <a:lnTo>
                  <a:pt x="619" y="391"/>
                </a:lnTo>
                <a:lnTo>
                  <a:pt x="616" y="391"/>
                </a:lnTo>
                <a:lnTo>
                  <a:pt x="615" y="389"/>
                </a:lnTo>
                <a:lnTo>
                  <a:pt x="613" y="389"/>
                </a:lnTo>
                <a:lnTo>
                  <a:pt x="611" y="391"/>
                </a:lnTo>
                <a:lnTo>
                  <a:pt x="609" y="391"/>
                </a:lnTo>
                <a:lnTo>
                  <a:pt x="607" y="389"/>
                </a:lnTo>
                <a:lnTo>
                  <a:pt x="603" y="389"/>
                </a:lnTo>
                <a:lnTo>
                  <a:pt x="600" y="391"/>
                </a:lnTo>
                <a:lnTo>
                  <a:pt x="596" y="389"/>
                </a:lnTo>
                <a:lnTo>
                  <a:pt x="595" y="389"/>
                </a:lnTo>
                <a:lnTo>
                  <a:pt x="594" y="391"/>
                </a:lnTo>
                <a:lnTo>
                  <a:pt x="580" y="391"/>
                </a:lnTo>
                <a:lnTo>
                  <a:pt x="579" y="393"/>
                </a:lnTo>
                <a:lnTo>
                  <a:pt x="578" y="393"/>
                </a:lnTo>
                <a:lnTo>
                  <a:pt x="578" y="394"/>
                </a:lnTo>
                <a:lnTo>
                  <a:pt x="577" y="395"/>
                </a:lnTo>
                <a:lnTo>
                  <a:pt x="576" y="398"/>
                </a:lnTo>
                <a:lnTo>
                  <a:pt x="573" y="398"/>
                </a:lnTo>
                <a:lnTo>
                  <a:pt x="572" y="400"/>
                </a:lnTo>
                <a:lnTo>
                  <a:pt x="570" y="403"/>
                </a:lnTo>
                <a:lnTo>
                  <a:pt x="566" y="403"/>
                </a:lnTo>
                <a:lnTo>
                  <a:pt x="561" y="401"/>
                </a:lnTo>
                <a:lnTo>
                  <a:pt x="560" y="401"/>
                </a:lnTo>
                <a:lnTo>
                  <a:pt x="559" y="403"/>
                </a:lnTo>
                <a:lnTo>
                  <a:pt x="557" y="404"/>
                </a:lnTo>
                <a:lnTo>
                  <a:pt x="553" y="405"/>
                </a:lnTo>
                <a:lnTo>
                  <a:pt x="552" y="406"/>
                </a:lnTo>
                <a:lnTo>
                  <a:pt x="548" y="406"/>
                </a:lnTo>
                <a:lnTo>
                  <a:pt x="547" y="407"/>
                </a:lnTo>
                <a:lnTo>
                  <a:pt x="546" y="410"/>
                </a:lnTo>
                <a:lnTo>
                  <a:pt x="546" y="412"/>
                </a:lnTo>
                <a:lnTo>
                  <a:pt x="545" y="412"/>
                </a:lnTo>
                <a:lnTo>
                  <a:pt x="545" y="413"/>
                </a:lnTo>
                <a:lnTo>
                  <a:pt x="544" y="413"/>
                </a:lnTo>
                <a:lnTo>
                  <a:pt x="544" y="416"/>
                </a:lnTo>
                <a:lnTo>
                  <a:pt x="541" y="420"/>
                </a:lnTo>
                <a:lnTo>
                  <a:pt x="540" y="419"/>
                </a:lnTo>
                <a:lnTo>
                  <a:pt x="538" y="419"/>
                </a:lnTo>
                <a:lnTo>
                  <a:pt x="538" y="425"/>
                </a:lnTo>
                <a:lnTo>
                  <a:pt x="536" y="425"/>
                </a:lnTo>
                <a:lnTo>
                  <a:pt x="532" y="428"/>
                </a:lnTo>
                <a:lnTo>
                  <a:pt x="530" y="428"/>
                </a:lnTo>
                <a:lnTo>
                  <a:pt x="528" y="425"/>
                </a:lnTo>
                <a:lnTo>
                  <a:pt x="524" y="425"/>
                </a:lnTo>
                <a:lnTo>
                  <a:pt x="524" y="424"/>
                </a:lnTo>
                <a:lnTo>
                  <a:pt x="522" y="424"/>
                </a:lnTo>
                <a:lnTo>
                  <a:pt x="522" y="423"/>
                </a:lnTo>
                <a:lnTo>
                  <a:pt x="517" y="418"/>
                </a:lnTo>
                <a:lnTo>
                  <a:pt x="516" y="418"/>
                </a:lnTo>
                <a:lnTo>
                  <a:pt x="515" y="419"/>
                </a:lnTo>
                <a:lnTo>
                  <a:pt x="513" y="418"/>
                </a:lnTo>
                <a:lnTo>
                  <a:pt x="510" y="416"/>
                </a:lnTo>
                <a:lnTo>
                  <a:pt x="509" y="413"/>
                </a:lnTo>
                <a:lnTo>
                  <a:pt x="507" y="412"/>
                </a:lnTo>
                <a:lnTo>
                  <a:pt x="507" y="409"/>
                </a:lnTo>
                <a:lnTo>
                  <a:pt x="504" y="407"/>
                </a:lnTo>
                <a:lnTo>
                  <a:pt x="503" y="405"/>
                </a:lnTo>
                <a:lnTo>
                  <a:pt x="503" y="404"/>
                </a:lnTo>
                <a:lnTo>
                  <a:pt x="502" y="401"/>
                </a:lnTo>
                <a:lnTo>
                  <a:pt x="501" y="400"/>
                </a:lnTo>
                <a:lnTo>
                  <a:pt x="502" y="400"/>
                </a:lnTo>
                <a:lnTo>
                  <a:pt x="503" y="401"/>
                </a:lnTo>
                <a:lnTo>
                  <a:pt x="503" y="403"/>
                </a:lnTo>
                <a:lnTo>
                  <a:pt x="504" y="404"/>
                </a:lnTo>
                <a:lnTo>
                  <a:pt x="507" y="401"/>
                </a:lnTo>
                <a:lnTo>
                  <a:pt x="504" y="401"/>
                </a:lnTo>
                <a:lnTo>
                  <a:pt x="504" y="398"/>
                </a:lnTo>
                <a:lnTo>
                  <a:pt x="502" y="397"/>
                </a:lnTo>
                <a:lnTo>
                  <a:pt x="502" y="395"/>
                </a:lnTo>
                <a:lnTo>
                  <a:pt x="497" y="395"/>
                </a:lnTo>
                <a:lnTo>
                  <a:pt x="497" y="393"/>
                </a:lnTo>
                <a:lnTo>
                  <a:pt x="496" y="392"/>
                </a:lnTo>
                <a:lnTo>
                  <a:pt x="496" y="388"/>
                </a:lnTo>
                <a:lnTo>
                  <a:pt x="497" y="388"/>
                </a:lnTo>
                <a:lnTo>
                  <a:pt x="498" y="387"/>
                </a:lnTo>
                <a:lnTo>
                  <a:pt x="499" y="387"/>
                </a:lnTo>
                <a:lnTo>
                  <a:pt x="499" y="386"/>
                </a:lnTo>
                <a:lnTo>
                  <a:pt x="497" y="386"/>
                </a:lnTo>
                <a:lnTo>
                  <a:pt x="496" y="385"/>
                </a:lnTo>
                <a:lnTo>
                  <a:pt x="495" y="381"/>
                </a:lnTo>
                <a:lnTo>
                  <a:pt x="493" y="379"/>
                </a:lnTo>
                <a:lnTo>
                  <a:pt x="492" y="377"/>
                </a:lnTo>
                <a:lnTo>
                  <a:pt x="483" y="370"/>
                </a:lnTo>
                <a:lnTo>
                  <a:pt x="482" y="370"/>
                </a:lnTo>
                <a:lnTo>
                  <a:pt x="480" y="369"/>
                </a:lnTo>
                <a:lnTo>
                  <a:pt x="479" y="369"/>
                </a:lnTo>
                <a:lnTo>
                  <a:pt x="478" y="368"/>
                </a:lnTo>
                <a:lnTo>
                  <a:pt x="477" y="368"/>
                </a:lnTo>
                <a:lnTo>
                  <a:pt x="476" y="367"/>
                </a:lnTo>
                <a:lnTo>
                  <a:pt x="476" y="363"/>
                </a:lnTo>
                <a:lnTo>
                  <a:pt x="478" y="361"/>
                </a:lnTo>
                <a:lnTo>
                  <a:pt x="477" y="361"/>
                </a:lnTo>
                <a:lnTo>
                  <a:pt x="476" y="363"/>
                </a:lnTo>
                <a:lnTo>
                  <a:pt x="473" y="363"/>
                </a:lnTo>
                <a:lnTo>
                  <a:pt x="473" y="364"/>
                </a:lnTo>
                <a:lnTo>
                  <a:pt x="474" y="366"/>
                </a:lnTo>
                <a:lnTo>
                  <a:pt x="474" y="367"/>
                </a:lnTo>
                <a:lnTo>
                  <a:pt x="471" y="366"/>
                </a:lnTo>
                <a:lnTo>
                  <a:pt x="468" y="364"/>
                </a:lnTo>
                <a:lnTo>
                  <a:pt x="458" y="366"/>
                </a:lnTo>
                <a:lnTo>
                  <a:pt x="456" y="367"/>
                </a:lnTo>
                <a:lnTo>
                  <a:pt x="455" y="367"/>
                </a:lnTo>
                <a:lnTo>
                  <a:pt x="455" y="366"/>
                </a:lnTo>
                <a:lnTo>
                  <a:pt x="454" y="366"/>
                </a:lnTo>
                <a:lnTo>
                  <a:pt x="453" y="363"/>
                </a:lnTo>
                <a:lnTo>
                  <a:pt x="453" y="362"/>
                </a:lnTo>
                <a:lnTo>
                  <a:pt x="454" y="361"/>
                </a:lnTo>
                <a:lnTo>
                  <a:pt x="453" y="360"/>
                </a:lnTo>
                <a:lnTo>
                  <a:pt x="453" y="355"/>
                </a:lnTo>
                <a:lnTo>
                  <a:pt x="452" y="354"/>
                </a:lnTo>
                <a:lnTo>
                  <a:pt x="452" y="349"/>
                </a:lnTo>
                <a:lnTo>
                  <a:pt x="451" y="349"/>
                </a:lnTo>
                <a:lnTo>
                  <a:pt x="449" y="348"/>
                </a:lnTo>
                <a:lnTo>
                  <a:pt x="449" y="345"/>
                </a:lnTo>
                <a:lnTo>
                  <a:pt x="452" y="343"/>
                </a:lnTo>
                <a:lnTo>
                  <a:pt x="452" y="339"/>
                </a:lnTo>
                <a:lnTo>
                  <a:pt x="453" y="337"/>
                </a:lnTo>
                <a:lnTo>
                  <a:pt x="454" y="336"/>
                </a:lnTo>
                <a:lnTo>
                  <a:pt x="458" y="333"/>
                </a:lnTo>
                <a:lnTo>
                  <a:pt x="459" y="331"/>
                </a:lnTo>
                <a:lnTo>
                  <a:pt x="459" y="329"/>
                </a:lnTo>
                <a:lnTo>
                  <a:pt x="460" y="326"/>
                </a:lnTo>
                <a:lnTo>
                  <a:pt x="460" y="324"/>
                </a:lnTo>
                <a:lnTo>
                  <a:pt x="461" y="324"/>
                </a:lnTo>
                <a:lnTo>
                  <a:pt x="462" y="323"/>
                </a:lnTo>
                <a:lnTo>
                  <a:pt x="464" y="324"/>
                </a:lnTo>
                <a:lnTo>
                  <a:pt x="465" y="323"/>
                </a:lnTo>
                <a:lnTo>
                  <a:pt x="466" y="323"/>
                </a:lnTo>
                <a:lnTo>
                  <a:pt x="466" y="320"/>
                </a:lnTo>
                <a:lnTo>
                  <a:pt x="467" y="320"/>
                </a:lnTo>
                <a:lnTo>
                  <a:pt x="470" y="321"/>
                </a:lnTo>
                <a:lnTo>
                  <a:pt x="471" y="321"/>
                </a:lnTo>
                <a:lnTo>
                  <a:pt x="471" y="320"/>
                </a:lnTo>
                <a:lnTo>
                  <a:pt x="472" y="318"/>
                </a:lnTo>
                <a:lnTo>
                  <a:pt x="472" y="317"/>
                </a:lnTo>
                <a:lnTo>
                  <a:pt x="474" y="312"/>
                </a:lnTo>
                <a:lnTo>
                  <a:pt x="471" y="312"/>
                </a:lnTo>
                <a:lnTo>
                  <a:pt x="470" y="313"/>
                </a:lnTo>
                <a:lnTo>
                  <a:pt x="466" y="313"/>
                </a:lnTo>
                <a:lnTo>
                  <a:pt x="465" y="308"/>
                </a:lnTo>
                <a:lnTo>
                  <a:pt x="462" y="306"/>
                </a:lnTo>
                <a:lnTo>
                  <a:pt x="458" y="300"/>
                </a:lnTo>
                <a:lnTo>
                  <a:pt x="456" y="299"/>
                </a:lnTo>
                <a:lnTo>
                  <a:pt x="458" y="297"/>
                </a:lnTo>
                <a:lnTo>
                  <a:pt x="456" y="296"/>
                </a:lnTo>
                <a:lnTo>
                  <a:pt x="458" y="295"/>
                </a:lnTo>
                <a:lnTo>
                  <a:pt x="458" y="293"/>
                </a:lnTo>
                <a:lnTo>
                  <a:pt x="460" y="290"/>
                </a:lnTo>
                <a:lnTo>
                  <a:pt x="460" y="289"/>
                </a:lnTo>
                <a:lnTo>
                  <a:pt x="459" y="288"/>
                </a:lnTo>
                <a:lnTo>
                  <a:pt x="459" y="287"/>
                </a:lnTo>
                <a:lnTo>
                  <a:pt x="460" y="284"/>
                </a:lnTo>
                <a:lnTo>
                  <a:pt x="460" y="283"/>
                </a:lnTo>
                <a:lnTo>
                  <a:pt x="462" y="282"/>
                </a:lnTo>
                <a:lnTo>
                  <a:pt x="462" y="281"/>
                </a:lnTo>
                <a:lnTo>
                  <a:pt x="464" y="281"/>
                </a:lnTo>
                <a:lnTo>
                  <a:pt x="465" y="280"/>
                </a:lnTo>
                <a:lnTo>
                  <a:pt x="465" y="278"/>
                </a:lnTo>
                <a:lnTo>
                  <a:pt x="468" y="278"/>
                </a:lnTo>
                <a:lnTo>
                  <a:pt x="468" y="277"/>
                </a:lnTo>
                <a:lnTo>
                  <a:pt x="470" y="277"/>
                </a:lnTo>
                <a:lnTo>
                  <a:pt x="470" y="275"/>
                </a:lnTo>
                <a:lnTo>
                  <a:pt x="468" y="274"/>
                </a:lnTo>
                <a:lnTo>
                  <a:pt x="470" y="274"/>
                </a:lnTo>
                <a:lnTo>
                  <a:pt x="471" y="272"/>
                </a:lnTo>
                <a:lnTo>
                  <a:pt x="472" y="269"/>
                </a:lnTo>
                <a:lnTo>
                  <a:pt x="473" y="268"/>
                </a:lnTo>
                <a:lnTo>
                  <a:pt x="472" y="268"/>
                </a:lnTo>
                <a:lnTo>
                  <a:pt x="472" y="264"/>
                </a:lnTo>
                <a:lnTo>
                  <a:pt x="471" y="264"/>
                </a:lnTo>
                <a:lnTo>
                  <a:pt x="470" y="263"/>
                </a:lnTo>
                <a:lnTo>
                  <a:pt x="467" y="263"/>
                </a:lnTo>
                <a:lnTo>
                  <a:pt x="467" y="264"/>
                </a:lnTo>
                <a:lnTo>
                  <a:pt x="466" y="264"/>
                </a:lnTo>
                <a:lnTo>
                  <a:pt x="465" y="263"/>
                </a:lnTo>
                <a:lnTo>
                  <a:pt x="465" y="259"/>
                </a:lnTo>
                <a:lnTo>
                  <a:pt x="462" y="259"/>
                </a:lnTo>
                <a:lnTo>
                  <a:pt x="460" y="257"/>
                </a:lnTo>
                <a:lnTo>
                  <a:pt x="460" y="256"/>
                </a:lnTo>
                <a:lnTo>
                  <a:pt x="461" y="254"/>
                </a:lnTo>
                <a:lnTo>
                  <a:pt x="458" y="251"/>
                </a:lnTo>
                <a:lnTo>
                  <a:pt x="458" y="246"/>
                </a:lnTo>
                <a:lnTo>
                  <a:pt x="459" y="245"/>
                </a:lnTo>
                <a:lnTo>
                  <a:pt x="459" y="244"/>
                </a:lnTo>
                <a:lnTo>
                  <a:pt x="458" y="244"/>
                </a:lnTo>
                <a:lnTo>
                  <a:pt x="456" y="243"/>
                </a:lnTo>
                <a:lnTo>
                  <a:pt x="455" y="243"/>
                </a:lnTo>
                <a:lnTo>
                  <a:pt x="454" y="241"/>
                </a:lnTo>
                <a:lnTo>
                  <a:pt x="454" y="240"/>
                </a:lnTo>
                <a:lnTo>
                  <a:pt x="453" y="240"/>
                </a:lnTo>
                <a:lnTo>
                  <a:pt x="449" y="237"/>
                </a:lnTo>
                <a:lnTo>
                  <a:pt x="448" y="233"/>
                </a:lnTo>
                <a:lnTo>
                  <a:pt x="448" y="232"/>
                </a:lnTo>
                <a:lnTo>
                  <a:pt x="470" y="232"/>
                </a:lnTo>
                <a:lnTo>
                  <a:pt x="471" y="231"/>
                </a:lnTo>
                <a:lnTo>
                  <a:pt x="471" y="228"/>
                </a:lnTo>
                <a:lnTo>
                  <a:pt x="472" y="227"/>
                </a:lnTo>
                <a:lnTo>
                  <a:pt x="472" y="225"/>
                </a:lnTo>
                <a:lnTo>
                  <a:pt x="474" y="222"/>
                </a:lnTo>
                <a:lnTo>
                  <a:pt x="474" y="219"/>
                </a:lnTo>
                <a:lnTo>
                  <a:pt x="476" y="219"/>
                </a:lnTo>
                <a:lnTo>
                  <a:pt x="476" y="215"/>
                </a:lnTo>
                <a:lnTo>
                  <a:pt x="477" y="214"/>
                </a:lnTo>
                <a:lnTo>
                  <a:pt x="476" y="210"/>
                </a:lnTo>
                <a:lnTo>
                  <a:pt x="474" y="209"/>
                </a:lnTo>
                <a:lnTo>
                  <a:pt x="473" y="209"/>
                </a:lnTo>
                <a:lnTo>
                  <a:pt x="473" y="208"/>
                </a:lnTo>
                <a:lnTo>
                  <a:pt x="471" y="208"/>
                </a:lnTo>
                <a:lnTo>
                  <a:pt x="471" y="207"/>
                </a:lnTo>
                <a:lnTo>
                  <a:pt x="470" y="206"/>
                </a:lnTo>
                <a:lnTo>
                  <a:pt x="470" y="204"/>
                </a:lnTo>
                <a:lnTo>
                  <a:pt x="471" y="202"/>
                </a:lnTo>
                <a:lnTo>
                  <a:pt x="472" y="202"/>
                </a:lnTo>
                <a:lnTo>
                  <a:pt x="473" y="201"/>
                </a:lnTo>
                <a:lnTo>
                  <a:pt x="476" y="201"/>
                </a:lnTo>
                <a:lnTo>
                  <a:pt x="477" y="200"/>
                </a:lnTo>
                <a:lnTo>
                  <a:pt x="477" y="198"/>
                </a:lnTo>
                <a:lnTo>
                  <a:pt x="480" y="195"/>
                </a:lnTo>
                <a:lnTo>
                  <a:pt x="478" y="192"/>
                </a:lnTo>
                <a:lnTo>
                  <a:pt x="478" y="188"/>
                </a:lnTo>
                <a:lnTo>
                  <a:pt x="479" y="186"/>
                </a:lnTo>
                <a:lnTo>
                  <a:pt x="479" y="184"/>
                </a:lnTo>
                <a:lnTo>
                  <a:pt x="478" y="184"/>
                </a:lnTo>
                <a:lnTo>
                  <a:pt x="478" y="182"/>
                </a:lnTo>
                <a:lnTo>
                  <a:pt x="479" y="179"/>
                </a:lnTo>
                <a:lnTo>
                  <a:pt x="479" y="176"/>
                </a:lnTo>
                <a:lnTo>
                  <a:pt x="478" y="173"/>
                </a:lnTo>
                <a:lnTo>
                  <a:pt x="478" y="171"/>
                </a:lnTo>
                <a:lnTo>
                  <a:pt x="479" y="171"/>
                </a:lnTo>
                <a:lnTo>
                  <a:pt x="479" y="170"/>
                </a:lnTo>
                <a:lnTo>
                  <a:pt x="478" y="170"/>
                </a:lnTo>
                <a:lnTo>
                  <a:pt x="478" y="168"/>
                </a:lnTo>
                <a:lnTo>
                  <a:pt x="479" y="167"/>
                </a:lnTo>
                <a:lnTo>
                  <a:pt x="479" y="166"/>
                </a:lnTo>
                <a:lnTo>
                  <a:pt x="478" y="166"/>
                </a:lnTo>
                <a:lnTo>
                  <a:pt x="478" y="165"/>
                </a:lnTo>
                <a:lnTo>
                  <a:pt x="477" y="164"/>
                </a:lnTo>
                <a:lnTo>
                  <a:pt x="477" y="161"/>
                </a:lnTo>
                <a:lnTo>
                  <a:pt x="476" y="161"/>
                </a:lnTo>
                <a:lnTo>
                  <a:pt x="474" y="159"/>
                </a:lnTo>
                <a:lnTo>
                  <a:pt x="474" y="157"/>
                </a:lnTo>
                <a:lnTo>
                  <a:pt x="476" y="155"/>
                </a:lnTo>
                <a:lnTo>
                  <a:pt x="478" y="157"/>
                </a:lnTo>
                <a:lnTo>
                  <a:pt x="479" y="157"/>
                </a:lnTo>
                <a:lnTo>
                  <a:pt x="480" y="155"/>
                </a:lnTo>
                <a:lnTo>
                  <a:pt x="482" y="153"/>
                </a:lnTo>
                <a:lnTo>
                  <a:pt x="482" y="151"/>
                </a:lnTo>
                <a:lnTo>
                  <a:pt x="485" y="147"/>
                </a:lnTo>
                <a:lnTo>
                  <a:pt x="486" y="145"/>
                </a:lnTo>
                <a:lnTo>
                  <a:pt x="487" y="143"/>
                </a:lnTo>
                <a:lnTo>
                  <a:pt x="490" y="143"/>
                </a:lnTo>
                <a:lnTo>
                  <a:pt x="493" y="142"/>
                </a:lnTo>
                <a:lnTo>
                  <a:pt x="496" y="140"/>
                </a:lnTo>
                <a:lnTo>
                  <a:pt x="497" y="137"/>
                </a:lnTo>
                <a:lnTo>
                  <a:pt x="498" y="137"/>
                </a:lnTo>
                <a:lnTo>
                  <a:pt x="498" y="136"/>
                </a:lnTo>
                <a:lnTo>
                  <a:pt x="501" y="136"/>
                </a:lnTo>
                <a:lnTo>
                  <a:pt x="501" y="135"/>
                </a:lnTo>
                <a:lnTo>
                  <a:pt x="502" y="133"/>
                </a:lnTo>
                <a:lnTo>
                  <a:pt x="502" y="131"/>
                </a:lnTo>
                <a:lnTo>
                  <a:pt x="503" y="130"/>
                </a:lnTo>
                <a:lnTo>
                  <a:pt x="505" y="127"/>
                </a:lnTo>
                <a:lnTo>
                  <a:pt x="504" y="127"/>
                </a:lnTo>
                <a:lnTo>
                  <a:pt x="504" y="125"/>
                </a:lnTo>
                <a:lnTo>
                  <a:pt x="502" y="124"/>
                </a:lnTo>
                <a:lnTo>
                  <a:pt x="501" y="123"/>
                </a:lnTo>
                <a:lnTo>
                  <a:pt x="498" y="122"/>
                </a:lnTo>
                <a:lnTo>
                  <a:pt x="495" y="121"/>
                </a:lnTo>
                <a:lnTo>
                  <a:pt x="493" y="122"/>
                </a:lnTo>
                <a:lnTo>
                  <a:pt x="491" y="122"/>
                </a:lnTo>
                <a:lnTo>
                  <a:pt x="490" y="121"/>
                </a:lnTo>
                <a:lnTo>
                  <a:pt x="490" y="116"/>
                </a:lnTo>
                <a:lnTo>
                  <a:pt x="491" y="111"/>
                </a:lnTo>
                <a:lnTo>
                  <a:pt x="492" y="110"/>
                </a:lnTo>
                <a:lnTo>
                  <a:pt x="490" y="110"/>
                </a:lnTo>
                <a:lnTo>
                  <a:pt x="490" y="106"/>
                </a:lnTo>
                <a:lnTo>
                  <a:pt x="489" y="105"/>
                </a:lnTo>
                <a:lnTo>
                  <a:pt x="487" y="105"/>
                </a:lnTo>
                <a:lnTo>
                  <a:pt x="487" y="106"/>
                </a:lnTo>
                <a:lnTo>
                  <a:pt x="482" y="106"/>
                </a:lnTo>
                <a:lnTo>
                  <a:pt x="480" y="104"/>
                </a:lnTo>
                <a:lnTo>
                  <a:pt x="479" y="104"/>
                </a:lnTo>
                <a:lnTo>
                  <a:pt x="479" y="105"/>
                </a:lnTo>
                <a:lnTo>
                  <a:pt x="478" y="106"/>
                </a:lnTo>
                <a:lnTo>
                  <a:pt x="474" y="106"/>
                </a:lnTo>
                <a:lnTo>
                  <a:pt x="473" y="105"/>
                </a:lnTo>
                <a:lnTo>
                  <a:pt x="471" y="105"/>
                </a:lnTo>
                <a:lnTo>
                  <a:pt x="470" y="106"/>
                </a:lnTo>
                <a:lnTo>
                  <a:pt x="467" y="104"/>
                </a:lnTo>
                <a:lnTo>
                  <a:pt x="464" y="104"/>
                </a:lnTo>
                <a:lnTo>
                  <a:pt x="464" y="109"/>
                </a:lnTo>
                <a:lnTo>
                  <a:pt x="462" y="109"/>
                </a:lnTo>
                <a:lnTo>
                  <a:pt x="462" y="110"/>
                </a:lnTo>
                <a:lnTo>
                  <a:pt x="461" y="110"/>
                </a:lnTo>
                <a:lnTo>
                  <a:pt x="458" y="111"/>
                </a:lnTo>
                <a:lnTo>
                  <a:pt x="455" y="111"/>
                </a:lnTo>
                <a:lnTo>
                  <a:pt x="453" y="114"/>
                </a:lnTo>
                <a:lnTo>
                  <a:pt x="453" y="112"/>
                </a:lnTo>
                <a:lnTo>
                  <a:pt x="452" y="111"/>
                </a:lnTo>
                <a:lnTo>
                  <a:pt x="451" y="111"/>
                </a:lnTo>
                <a:lnTo>
                  <a:pt x="451" y="110"/>
                </a:lnTo>
                <a:lnTo>
                  <a:pt x="449" y="110"/>
                </a:lnTo>
                <a:lnTo>
                  <a:pt x="449" y="112"/>
                </a:lnTo>
                <a:lnTo>
                  <a:pt x="446" y="112"/>
                </a:lnTo>
                <a:lnTo>
                  <a:pt x="446" y="110"/>
                </a:lnTo>
                <a:lnTo>
                  <a:pt x="443" y="110"/>
                </a:lnTo>
                <a:lnTo>
                  <a:pt x="442" y="109"/>
                </a:lnTo>
                <a:lnTo>
                  <a:pt x="440" y="109"/>
                </a:lnTo>
                <a:lnTo>
                  <a:pt x="437" y="110"/>
                </a:lnTo>
                <a:lnTo>
                  <a:pt x="435" y="110"/>
                </a:lnTo>
                <a:lnTo>
                  <a:pt x="435" y="111"/>
                </a:lnTo>
                <a:lnTo>
                  <a:pt x="434" y="111"/>
                </a:lnTo>
                <a:lnTo>
                  <a:pt x="434" y="108"/>
                </a:lnTo>
                <a:lnTo>
                  <a:pt x="433" y="108"/>
                </a:lnTo>
                <a:lnTo>
                  <a:pt x="433" y="110"/>
                </a:lnTo>
                <a:lnTo>
                  <a:pt x="429" y="110"/>
                </a:lnTo>
                <a:lnTo>
                  <a:pt x="429" y="111"/>
                </a:lnTo>
                <a:lnTo>
                  <a:pt x="428" y="114"/>
                </a:lnTo>
                <a:lnTo>
                  <a:pt x="422" y="114"/>
                </a:lnTo>
                <a:lnTo>
                  <a:pt x="422" y="111"/>
                </a:lnTo>
                <a:lnTo>
                  <a:pt x="420" y="110"/>
                </a:lnTo>
                <a:lnTo>
                  <a:pt x="420" y="108"/>
                </a:lnTo>
                <a:lnTo>
                  <a:pt x="424" y="103"/>
                </a:lnTo>
                <a:lnTo>
                  <a:pt x="424" y="102"/>
                </a:lnTo>
                <a:lnTo>
                  <a:pt x="426" y="102"/>
                </a:lnTo>
                <a:lnTo>
                  <a:pt x="426" y="99"/>
                </a:lnTo>
                <a:lnTo>
                  <a:pt x="424" y="99"/>
                </a:lnTo>
                <a:lnTo>
                  <a:pt x="423" y="98"/>
                </a:lnTo>
                <a:lnTo>
                  <a:pt x="423" y="99"/>
                </a:lnTo>
                <a:lnTo>
                  <a:pt x="421" y="99"/>
                </a:lnTo>
                <a:lnTo>
                  <a:pt x="421" y="94"/>
                </a:lnTo>
                <a:lnTo>
                  <a:pt x="418" y="94"/>
                </a:lnTo>
                <a:lnTo>
                  <a:pt x="418" y="96"/>
                </a:lnTo>
                <a:lnTo>
                  <a:pt x="416" y="96"/>
                </a:lnTo>
                <a:lnTo>
                  <a:pt x="416" y="97"/>
                </a:lnTo>
                <a:lnTo>
                  <a:pt x="415" y="97"/>
                </a:lnTo>
                <a:lnTo>
                  <a:pt x="409" y="98"/>
                </a:lnTo>
                <a:lnTo>
                  <a:pt x="408" y="98"/>
                </a:lnTo>
                <a:lnTo>
                  <a:pt x="406" y="99"/>
                </a:lnTo>
                <a:lnTo>
                  <a:pt x="404" y="99"/>
                </a:lnTo>
                <a:lnTo>
                  <a:pt x="403" y="100"/>
                </a:lnTo>
                <a:lnTo>
                  <a:pt x="402" y="100"/>
                </a:lnTo>
                <a:lnTo>
                  <a:pt x="402" y="103"/>
                </a:lnTo>
                <a:lnTo>
                  <a:pt x="400" y="103"/>
                </a:lnTo>
                <a:lnTo>
                  <a:pt x="399" y="104"/>
                </a:lnTo>
                <a:lnTo>
                  <a:pt x="398" y="104"/>
                </a:lnTo>
                <a:lnTo>
                  <a:pt x="397" y="105"/>
                </a:lnTo>
                <a:lnTo>
                  <a:pt x="397" y="106"/>
                </a:lnTo>
                <a:lnTo>
                  <a:pt x="396" y="106"/>
                </a:lnTo>
                <a:lnTo>
                  <a:pt x="393" y="109"/>
                </a:lnTo>
                <a:lnTo>
                  <a:pt x="392" y="109"/>
                </a:lnTo>
                <a:lnTo>
                  <a:pt x="392" y="108"/>
                </a:lnTo>
                <a:lnTo>
                  <a:pt x="391" y="97"/>
                </a:lnTo>
                <a:lnTo>
                  <a:pt x="392" y="96"/>
                </a:lnTo>
                <a:lnTo>
                  <a:pt x="395" y="96"/>
                </a:lnTo>
                <a:lnTo>
                  <a:pt x="395" y="94"/>
                </a:lnTo>
                <a:lnTo>
                  <a:pt x="393" y="94"/>
                </a:lnTo>
                <a:lnTo>
                  <a:pt x="393" y="93"/>
                </a:lnTo>
                <a:lnTo>
                  <a:pt x="395" y="93"/>
                </a:lnTo>
                <a:lnTo>
                  <a:pt x="395" y="92"/>
                </a:lnTo>
                <a:lnTo>
                  <a:pt x="396" y="92"/>
                </a:lnTo>
                <a:lnTo>
                  <a:pt x="396" y="91"/>
                </a:lnTo>
                <a:lnTo>
                  <a:pt x="397" y="90"/>
                </a:lnTo>
                <a:lnTo>
                  <a:pt x="402" y="87"/>
                </a:lnTo>
                <a:lnTo>
                  <a:pt x="402" y="86"/>
                </a:lnTo>
                <a:lnTo>
                  <a:pt x="403" y="86"/>
                </a:lnTo>
                <a:lnTo>
                  <a:pt x="403" y="82"/>
                </a:lnTo>
                <a:lnTo>
                  <a:pt x="402" y="84"/>
                </a:lnTo>
                <a:lnTo>
                  <a:pt x="402" y="85"/>
                </a:lnTo>
                <a:lnTo>
                  <a:pt x="400" y="86"/>
                </a:lnTo>
                <a:lnTo>
                  <a:pt x="399" y="86"/>
                </a:lnTo>
                <a:lnTo>
                  <a:pt x="397" y="87"/>
                </a:lnTo>
                <a:lnTo>
                  <a:pt x="396" y="88"/>
                </a:lnTo>
                <a:lnTo>
                  <a:pt x="393" y="88"/>
                </a:lnTo>
                <a:lnTo>
                  <a:pt x="393" y="85"/>
                </a:lnTo>
                <a:lnTo>
                  <a:pt x="395" y="86"/>
                </a:lnTo>
                <a:lnTo>
                  <a:pt x="395" y="82"/>
                </a:lnTo>
                <a:lnTo>
                  <a:pt x="397" y="84"/>
                </a:lnTo>
                <a:lnTo>
                  <a:pt x="397" y="82"/>
                </a:lnTo>
                <a:lnTo>
                  <a:pt x="400" y="79"/>
                </a:lnTo>
                <a:lnTo>
                  <a:pt x="402" y="79"/>
                </a:lnTo>
                <a:lnTo>
                  <a:pt x="402" y="78"/>
                </a:lnTo>
                <a:lnTo>
                  <a:pt x="400" y="78"/>
                </a:lnTo>
                <a:lnTo>
                  <a:pt x="399" y="79"/>
                </a:lnTo>
                <a:lnTo>
                  <a:pt x="398" y="79"/>
                </a:lnTo>
                <a:lnTo>
                  <a:pt x="397" y="80"/>
                </a:lnTo>
                <a:lnTo>
                  <a:pt x="393" y="80"/>
                </a:lnTo>
                <a:lnTo>
                  <a:pt x="393" y="79"/>
                </a:lnTo>
                <a:lnTo>
                  <a:pt x="392" y="79"/>
                </a:lnTo>
                <a:lnTo>
                  <a:pt x="392" y="77"/>
                </a:lnTo>
                <a:lnTo>
                  <a:pt x="395" y="77"/>
                </a:lnTo>
                <a:lnTo>
                  <a:pt x="395" y="69"/>
                </a:lnTo>
                <a:lnTo>
                  <a:pt x="396" y="69"/>
                </a:lnTo>
                <a:lnTo>
                  <a:pt x="397" y="68"/>
                </a:lnTo>
                <a:lnTo>
                  <a:pt x="398" y="66"/>
                </a:lnTo>
                <a:lnTo>
                  <a:pt x="398" y="65"/>
                </a:lnTo>
                <a:lnTo>
                  <a:pt x="398" y="66"/>
                </a:lnTo>
                <a:lnTo>
                  <a:pt x="395" y="66"/>
                </a:lnTo>
                <a:lnTo>
                  <a:pt x="395" y="63"/>
                </a:lnTo>
                <a:lnTo>
                  <a:pt x="393" y="65"/>
                </a:lnTo>
                <a:lnTo>
                  <a:pt x="393" y="68"/>
                </a:lnTo>
                <a:lnTo>
                  <a:pt x="392" y="68"/>
                </a:lnTo>
                <a:lnTo>
                  <a:pt x="392" y="67"/>
                </a:lnTo>
                <a:lnTo>
                  <a:pt x="391" y="67"/>
                </a:lnTo>
                <a:lnTo>
                  <a:pt x="390" y="68"/>
                </a:lnTo>
                <a:lnTo>
                  <a:pt x="391" y="69"/>
                </a:lnTo>
                <a:lnTo>
                  <a:pt x="389" y="69"/>
                </a:lnTo>
                <a:lnTo>
                  <a:pt x="389" y="72"/>
                </a:lnTo>
                <a:lnTo>
                  <a:pt x="387" y="72"/>
                </a:lnTo>
                <a:lnTo>
                  <a:pt x="386" y="73"/>
                </a:lnTo>
                <a:lnTo>
                  <a:pt x="386" y="69"/>
                </a:lnTo>
                <a:lnTo>
                  <a:pt x="384" y="69"/>
                </a:lnTo>
                <a:lnTo>
                  <a:pt x="385" y="67"/>
                </a:lnTo>
                <a:lnTo>
                  <a:pt x="385" y="65"/>
                </a:lnTo>
                <a:lnTo>
                  <a:pt x="386" y="63"/>
                </a:lnTo>
                <a:lnTo>
                  <a:pt x="386" y="61"/>
                </a:lnTo>
                <a:lnTo>
                  <a:pt x="387" y="61"/>
                </a:lnTo>
                <a:lnTo>
                  <a:pt x="391" y="57"/>
                </a:lnTo>
                <a:lnTo>
                  <a:pt x="392" y="57"/>
                </a:lnTo>
                <a:lnTo>
                  <a:pt x="392" y="55"/>
                </a:lnTo>
                <a:lnTo>
                  <a:pt x="391" y="55"/>
                </a:lnTo>
                <a:lnTo>
                  <a:pt x="391" y="56"/>
                </a:lnTo>
                <a:lnTo>
                  <a:pt x="390" y="57"/>
                </a:lnTo>
                <a:lnTo>
                  <a:pt x="385" y="57"/>
                </a:lnTo>
                <a:lnTo>
                  <a:pt x="385" y="59"/>
                </a:lnTo>
                <a:lnTo>
                  <a:pt x="384" y="60"/>
                </a:lnTo>
                <a:lnTo>
                  <a:pt x="383" y="60"/>
                </a:lnTo>
                <a:lnTo>
                  <a:pt x="383" y="59"/>
                </a:lnTo>
                <a:lnTo>
                  <a:pt x="381" y="57"/>
                </a:lnTo>
                <a:lnTo>
                  <a:pt x="381" y="56"/>
                </a:lnTo>
                <a:lnTo>
                  <a:pt x="383" y="56"/>
                </a:lnTo>
                <a:lnTo>
                  <a:pt x="383" y="54"/>
                </a:lnTo>
                <a:lnTo>
                  <a:pt x="381" y="54"/>
                </a:lnTo>
                <a:lnTo>
                  <a:pt x="381" y="50"/>
                </a:lnTo>
                <a:lnTo>
                  <a:pt x="380" y="50"/>
                </a:lnTo>
                <a:lnTo>
                  <a:pt x="379" y="49"/>
                </a:lnTo>
                <a:lnTo>
                  <a:pt x="379" y="50"/>
                </a:lnTo>
                <a:lnTo>
                  <a:pt x="378" y="50"/>
                </a:lnTo>
                <a:lnTo>
                  <a:pt x="378" y="49"/>
                </a:lnTo>
                <a:lnTo>
                  <a:pt x="377" y="50"/>
                </a:lnTo>
                <a:lnTo>
                  <a:pt x="377" y="51"/>
                </a:lnTo>
                <a:lnTo>
                  <a:pt x="375" y="51"/>
                </a:lnTo>
                <a:lnTo>
                  <a:pt x="375" y="47"/>
                </a:lnTo>
                <a:lnTo>
                  <a:pt x="377" y="47"/>
                </a:lnTo>
                <a:lnTo>
                  <a:pt x="377" y="44"/>
                </a:lnTo>
                <a:lnTo>
                  <a:pt x="375" y="44"/>
                </a:lnTo>
                <a:lnTo>
                  <a:pt x="375" y="42"/>
                </a:lnTo>
                <a:lnTo>
                  <a:pt x="377" y="42"/>
                </a:lnTo>
                <a:lnTo>
                  <a:pt x="377" y="41"/>
                </a:lnTo>
                <a:lnTo>
                  <a:pt x="378" y="39"/>
                </a:lnTo>
                <a:lnTo>
                  <a:pt x="380" y="39"/>
                </a:lnTo>
                <a:lnTo>
                  <a:pt x="380" y="38"/>
                </a:lnTo>
                <a:lnTo>
                  <a:pt x="381" y="38"/>
                </a:lnTo>
                <a:lnTo>
                  <a:pt x="381" y="37"/>
                </a:lnTo>
                <a:lnTo>
                  <a:pt x="380" y="37"/>
                </a:lnTo>
                <a:lnTo>
                  <a:pt x="379" y="38"/>
                </a:lnTo>
                <a:lnTo>
                  <a:pt x="378" y="37"/>
                </a:lnTo>
                <a:lnTo>
                  <a:pt x="381" y="34"/>
                </a:lnTo>
                <a:lnTo>
                  <a:pt x="383" y="35"/>
                </a:lnTo>
                <a:lnTo>
                  <a:pt x="385" y="35"/>
                </a:lnTo>
                <a:lnTo>
                  <a:pt x="385" y="34"/>
                </a:lnTo>
                <a:lnTo>
                  <a:pt x="386" y="34"/>
                </a:lnTo>
                <a:lnTo>
                  <a:pt x="386" y="32"/>
                </a:lnTo>
                <a:lnTo>
                  <a:pt x="390" y="32"/>
                </a:lnTo>
                <a:lnTo>
                  <a:pt x="391" y="31"/>
                </a:lnTo>
                <a:lnTo>
                  <a:pt x="390" y="31"/>
                </a:lnTo>
                <a:lnTo>
                  <a:pt x="387" y="29"/>
                </a:lnTo>
                <a:lnTo>
                  <a:pt x="390" y="29"/>
                </a:lnTo>
                <a:lnTo>
                  <a:pt x="392" y="28"/>
                </a:lnTo>
                <a:lnTo>
                  <a:pt x="393" y="26"/>
                </a:lnTo>
                <a:lnTo>
                  <a:pt x="395" y="26"/>
                </a:lnTo>
                <a:lnTo>
                  <a:pt x="396" y="28"/>
                </a:lnTo>
                <a:lnTo>
                  <a:pt x="398" y="28"/>
                </a:lnTo>
                <a:lnTo>
                  <a:pt x="399" y="29"/>
                </a:lnTo>
                <a:lnTo>
                  <a:pt x="402" y="29"/>
                </a:lnTo>
                <a:lnTo>
                  <a:pt x="404" y="26"/>
                </a:lnTo>
                <a:lnTo>
                  <a:pt x="406" y="28"/>
                </a:lnTo>
                <a:lnTo>
                  <a:pt x="408" y="26"/>
                </a:lnTo>
                <a:lnTo>
                  <a:pt x="409" y="26"/>
                </a:lnTo>
                <a:lnTo>
                  <a:pt x="409" y="25"/>
                </a:lnTo>
                <a:lnTo>
                  <a:pt x="410" y="25"/>
                </a:lnTo>
                <a:lnTo>
                  <a:pt x="410" y="24"/>
                </a:lnTo>
                <a:lnTo>
                  <a:pt x="411" y="24"/>
                </a:lnTo>
                <a:lnTo>
                  <a:pt x="414" y="23"/>
                </a:lnTo>
                <a:lnTo>
                  <a:pt x="414" y="25"/>
                </a:lnTo>
                <a:lnTo>
                  <a:pt x="415" y="25"/>
                </a:lnTo>
                <a:lnTo>
                  <a:pt x="415" y="23"/>
                </a:lnTo>
                <a:lnTo>
                  <a:pt x="416" y="22"/>
                </a:lnTo>
                <a:lnTo>
                  <a:pt x="416" y="23"/>
                </a:lnTo>
                <a:lnTo>
                  <a:pt x="418" y="23"/>
                </a:lnTo>
                <a:lnTo>
                  <a:pt x="418" y="25"/>
                </a:lnTo>
                <a:lnTo>
                  <a:pt x="420" y="26"/>
                </a:lnTo>
                <a:lnTo>
                  <a:pt x="421" y="26"/>
                </a:lnTo>
                <a:lnTo>
                  <a:pt x="421" y="22"/>
                </a:lnTo>
                <a:lnTo>
                  <a:pt x="420" y="22"/>
                </a:lnTo>
                <a:lnTo>
                  <a:pt x="418" y="20"/>
                </a:lnTo>
                <a:lnTo>
                  <a:pt x="417" y="20"/>
                </a:lnTo>
                <a:lnTo>
                  <a:pt x="416" y="19"/>
                </a:lnTo>
                <a:lnTo>
                  <a:pt x="417" y="19"/>
                </a:lnTo>
                <a:lnTo>
                  <a:pt x="422" y="18"/>
                </a:lnTo>
                <a:lnTo>
                  <a:pt x="422" y="17"/>
                </a:lnTo>
                <a:lnTo>
                  <a:pt x="421" y="18"/>
                </a:lnTo>
                <a:lnTo>
                  <a:pt x="420" y="18"/>
                </a:lnTo>
                <a:lnTo>
                  <a:pt x="418" y="17"/>
                </a:lnTo>
                <a:lnTo>
                  <a:pt x="418" y="18"/>
                </a:lnTo>
                <a:lnTo>
                  <a:pt x="416" y="18"/>
                </a:lnTo>
                <a:lnTo>
                  <a:pt x="416" y="16"/>
                </a:lnTo>
                <a:lnTo>
                  <a:pt x="417" y="14"/>
                </a:lnTo>
                <a:lnTo>
                  <a:pt x="416" y="14"/>
                </a:lnTo>
                <a:lnTo>
                  <a:pt x="416" y="13"/>
                </a:lnTo>
                <a:lnTo>
                  <a:pt x="418" y="13"/>
                </a:lnTo>
                <a:lnTo>
                  <a:pt x="420" y="12"/>
                </a:lnTo>
                <a:lnTo>
                  <a:pt x="426" y="7"/>
                </a:lnTo>
                <a:lnTo>
                  <a:pt x="426" y="8"/>
                </a:lnTo>
                <a:lnTo>
                  <a:pt x="427" y="8"/>
                </a:lnTo>
                <a:lnTo>
                  <a:pt x="427" y="5"/>
                </a:lnTo>
                <a:lnTo>
                  <a:pt x="429" y="5"/>
                </a:lnTo>
                <a:lnTo>
                  <a:pt x="430" y="4"/>
                </a:lnTo>
                <a:lnTo>
                  <a:pt x="431" y="4"/>
                </a:lnTo>
                <a:lnTo>
                  <a:pt x="434" y="1"/>
                </a:lnTo>
                <a:lnTo>
                  <a:pt x="435" y="2"/>
                </a:lnTo>
                <a:lnTo>
                  <a:pt x="435" y="6"/>
                </a:lnTo>
                <a:lnTo>
                  <a:pt x="434" y="6"/>
                </a:lnTo>
                <a:lnTo>
                  <a:pt x="434" y="7"/>
                </a:lnTo>
                <a:lnTo>
                  <a:pt x="435" y="7"/>
                </a:lnTo>
                <a:lnTo>
                  <a:pt x="436" y="6"/>
                </a:lnTo>
                <a:lnTo>
                  <a:pt x="435" y="5"/>
                </a:lnTo>
                <a:lnTo>
                  <a:pt x="436" y="5"/>
                </a:lnTo>
                <a:lnTo>
                  <a:pt x="437" y="4"/>
                </a:lnTo>
                <a:lnTo>
                  <a:pt x="439" y="4"/>
                </a:lnTo>
                <a:lnTo>
                  <a:pt x="439" y="2"/>
                </a:lnTo>
                <a:lnTo>
                  <a:pt x="441" y="2"/>
                </a:lnTo>
                <a:lnTo>
                  <a:pt x="441" y="1"/>
                </a:lnTo>
                <a:lnTo>
                  <a:pt x="442" y="1"/>
                </a:lnTo>
                <a:lnTo>
                  <a:pt x="442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0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40" name="Group 227">
            <a:extLst>
              <a:ext uri="{FF2B5EF4-FFF2-40B4-BE49-F238E27FC236}">
                <a16:creationId xmlns:a16="http://schemas.microsoft.com/office/drawing/2014/main" id="{1D091DD1-380F-4ACA-A992-0C782E7EE46F}"/>
              </a:ext>
            </a:extLst>
          </p:cNvPr>
          <p:cNvGrpSpPr/>
          <p:nvPr/>
        </p:nvGrpSpPr>
        <p:grpSpPr>
          <a:xfrm rot="672005">
            <a:off x="970571" y="3792048"/>
            <a:ext cx="633823" cy="804820"/>
            <a:chOff x="7689849" y="2601913"/>
            <a:chExt cx="3000375" cy="3944937"/>
          </a:xfrm>
          <a:effectLst>
            <a:outerShdw blurRad="76200" dir="18900000" sy="23000" kx="-1200000" algn="bl" rotWithShape="0">
              <a:prstClr val="black">
                <a:alpha val="17000"/>
              </a:prstClr>
            </a:outerShdw>
          </a:effectLst>
        </p:grpSpPr>
        <p:sp>
          <p:nvSpPr>
            <p:cNvPr id="141" name="Freeform 14">
              <a:extLst>
                <a:ext uri="{FF2B5EF4-FFF2-40B4-BE49-F238E27FC236}">
                  <a16:creationId xmlns:a16="http://schemas.microsoft.com/office/drawing/2014/main" id="{829ACEAA-3002-443E-B03D-1162D4666A77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3662" y="3327400"/>
              <a:ext cx="723900" cy="2241550"/>
            </a:xfrm>
            <a:custGeom>
              <a:avLst/>
              <a:gdLst/>
              <a:ahLst/>
              <a:cxnLst>
                <a:cxn ang="0">
                  <a:pos x="48" y="0"/>
                </a:cxn>
                <a:cxn ang="0">
                  <a:pos x="456" y="1397"/>
                </a:cxn>
                <a:cxn ang="0">
                  <a:pos x="407" y="1412"/>
                </a:cxn>
                <a:cxn ang="0">
                  <a:pos x="0" y="15"/>
                </a:cxn>
                <a:cxn ang="0">
                  <a:pos x="48" y="0"/>
                </a:cxn>
              </a:cxnLst>
              <a:rect l="0" t="0" r="r" b="b"/>
              <a:pathLst>
                <a:path w="456" h="1412">
                  <a:moveTo>
                    <a:pt x="48" y="0"/>
                  </a:moveTo>
                  <a:lnTo>
                    <a:pt x="456" y="1397"/>
                  </a:lnTo>
                  <a:lnTo>
                    <a:pt x="407" y="1412"/>
                  </a:lnTo>
                  <a:lnTo>
                    <a:pt x="0" y="15"/>
                  </a:lnTo>
                  <a:lnTo>
                    <a:pt x="48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85000"/>
                    <a:shade val="30000"/>
                    <a:satMod val="115000"/>
                  </a:schemeClr>
                </a:gs>
                <a:gs pos="50000">
                  <a:schemeClr val="bg1">
                    <a:lumMod val="85000"/>
                    <a:shade val="67500"/>
                    <a:satMod val="115000"/>
                  </a:schemeClr>
                </a:gs>
                <a:gs pos="100000">
                  <a:schemeClr val="bg1">
                    <a:lumMod val="85000"/>
                    <a:shade val="100000"/>
                    <a:satMod val="115000"/>
                  </a:schemeClr>
                </a:gs>
              </a:gsLst>
              <a:lin ang="0" scaled="1"/>
              <a:tileRect/>
            </a:gra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15">
              <a:extLst>
                <a:ext uri="{FF2B5EF4-FFF2-40B4-BE49-F238E27FC236}">
                  <a16:creationId xmlns:a16="http://schemas.microsoft.com/office/drawing/2014/main" id="{9603F516-F283-4319-9638-5AF6CB07FFAB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2149" y="5530850"/>
              <a:ext cx="455613" cy="1016000"/>
            </a:xfrm>
            <a:custGeom>
              <a:avLst/>
              <a:gdLst/>
              <a:ahLst/>
              <a:cxnLst>
                <a:cxn ang="0">
                  <a:pos x="110" y="0"/>
                </a:cxn>
                <a:cxn ang="0">
                  <a:pos x="287" y="609"/>
                </a:cxn>
                <a:cxn ang="0">
                  <a:pos x="177" y="640"/>
                </a:cxn>
                <a:cxn ang="0">
                  <a:pos x="0" y="31"/>
                </a:cxn>
                <a:cxn ang="0">
                  <a:pos x="110" y="0"/>
                </a:cxn>
              </a:cxnLst>
              <a:rect l="0" t="0" r="r" b="b"/>
              <a:pathLst>
                <a:path w="287" h="640">
                  <a:moveTo>
                    <a:pt x="110" y="0"/>
                  </a:moveTo>
                  <a:lnTo>
                    <a:pt x="287" y="609"/>
                  </a:lnTo>
                  <a:lnTo>
                    <a:pt x="177" y="640"/>
                  </a:lnTo>
                  <a:lnTo>
                    <a:pt x="0" y="31"/>
                  </a:lnTo>
                  <a:lnTo>
                    <a:pt x="11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1">
                    <a:lumMod val="65000"/>
                    <a:lumOff val="35000"/>
                    <a:shade val="30000"/>
                    <a:satMod val="115000"/>
                  </a:schemeClr>
                </a:gs>
                <a:gs pos="50000">
                  <a:schemeClr val="tx1">
                    <a:lumMod val="65000"/>
                    <a:lumOff val="35000"/>
                    <a:shade val="67500"/>
                    <a:satMod val="115000"/>
                  </a:schemeClr>
                </a:gs>
                <a:gs pos="100000">
                  <a:schemeClr val="tx1">
                    <a:lumMod val="65000"/>
                    <a:lumOff val="35000"/>
                    <a:shade val="100000"/>
                    <a:satMod val="115000"/>
                  </a:schemeClr>
                </a:gs>
              </a:gsLst>
              <a:lin ang="0" scaled="1"/>
              <a:tileRect/>
            </a:gra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13">
              <a:extLst>
                <a:ext uri="{FF2B5EF4-FFF2-40B4-BE49-F238E27FC236}">
                  <a16:creationId xmlns:a16="http://schemas.microsoft.com/office/drawing/2014/main" id="{412F6EFF-FCAA-4912-B114-C638F5718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9849" y="2601913"/>
              <a:ext cx="3000375" cy="2309814"/>
            </a:xfrm>
            <a:custGeom>
              <a:avLst/>
              <a:gdLst/>
              <a:ahLst/>
              <a:cxnLst>
                <a:cxn ang="0">
                  <a:pos x="1423" y="0"/>
                </a:cxn>
                <a:cxn ang="0">
                  <a:pos x="1427" y="16"/>
                </a:cxn>
                <a:cxn ang="0">
                  <a:pos x="1440" y="58"/>
                </a:cxn>
                <a:cxn ang="0">
                  <a:pos x="1464" y="122"/>
                </a:cxn>
                <a:cxn ang="0">
                  <a:pos x="1501" y="203"/>
                </a:cxn>
                <a:cxn ang="0">
                  <a:pos x="1550" y="298"/>
                </a:cxn>
                <a:cxn ang="0">
                  <a:pos x="1617" y="400"/>
                </a:cxn>
                <a:cxn ang="0">
                  <a:pos x="1671" y="482"/>
                </a:cxn>
                <a:cxn ang="0">
                  <a:pos x="1722" y="570"/>
                </a:cxn>
                <a:cxn ang="0">
                  <a:pos x="1768" y="659"/>
                </a:cxn>
                <a:cxn ang="0">
                  <a:pos x="1809" y="741"/>
                </a:cxn>
                <a:cxn ang="0">
                  <a:pos x="1843" y="815"/>
                </a:cxn>
                <a:cxn ang="0">
                  <a:pos x="1867" y="874"/>
                </a:cxn>
                <a:cxn ang="0">
                  <a:pos x="1885" y="912"/>
                </a:cxn>
                <a:cxn ang="0">
                  <a:pos x="1890" y="926"/>
                </a:cxn>
                <a:cxn ang="0">
                  <a:pos x="1820" y="942"/>
                </a:cxn>
                <a:cxn ang="0">
                  <a:pos x="1740" y="974"/>
                </a:cxn>
                <a:cxn ang="0">
                  <a:pos x="1602" y="1042"/>
                </a:cxn>
                <a:cxn ang="0">
                  <a:pos x="1501" y="1090"/>
                </a:cxn>
                <a:cxn ang="0">
                  <a:pos x="1396" y="1130"/>
                </a:cxn>
                <a:cxn ang="0">
                  <a:pos x="1288" y="1159"/>
                </a:cxn>
                <a:cxn ang="0">
                  <a:pos x="1182" y="1167"/>
                </a:cxn>
                <a:cxn ang="0">
                  <a:pos x="1067" y="1166"/>
                </a:cxn>
                <a:cxn ang="0">
                  <a:pos x="979" y="1171"/>
                </a:cxn>
                <a:cxn ang="0">
                  <a:pos x="915" y="1181"/>
                </a:cxn>
                <a:cxn ang="0">
                  <a:pos x="866" y="1198"/>
                </a:cxn>
                <a:cxn ang="0">
                  <a:pos x="831" y="1219"/>
                </a:cxn>
                <a:cxn ang="0">
                  <a:pos x="776" y="1262"/>
                </a:cxn>
                <a:cxn ang="0">
                  <a:pos x="733" y="1295"/>
                </a:cxn>
                <a:cxn ang="0">
                  <a:pos x="687" y="1324"/>
                </a:cxn>
                <a:cxn ang="0">
                  <a:pos x="624" y="1357"/>
                </a:cxn>
                <a:cxn ang="0">
                  <a:pos x="578" y="1375"/>
                </a:cxn>
                <a:cxn ang="0">
                  <a:pos x="519" y="1393"/>
                </a:cxn>
                <a:cxn ang="0">
                  <a:pos x="455" y="1413"/>
                </a:cxn>
                <a:cxn ang="0">
                  <a:pos x="394" y="1429"/>
                </a:cxn>
                <a:cxn ang="0">
                  <a:pos x="340" y="1443"/>
                </a:cxn>
                <a:cxn ang="0">
                  <a:pos x="293" y="1454"/>
                </a:cxn>
                <a:cxn ang="0">
                  <a:pos x="0" y="435"/>
                </a:cxn>
                <a:cxn ang="0">
                  <a:pos x="16" y="432"/>
                </a:cxn>
                <a:cxn ang="0">
                  <a:pos x="55" y="425"/>
                </a:cxn>
                <a:cxn ang="0">
                  <a:pos x="107" y="410"/>
                </a:cxn>
                <a:cxn ang="0">
                  <a:pos x="160" y="391"/>
                </a:cxn>
                <a:cxn ang="0">
                  <a:pos x="204" y="362"/>
                </a:cxn>
                <a:cxn ang="0">
                  <a:pos x="249" y="324"/>
                </a:cxn>
                <a:cxn ang="0">
                  <a:pos x="304" y="292"/>
                </a:cxn>
                <a:cxn ang="0">
                  <a:pos x="373" y="273"/>
                </a:cxn>
                <a:cxn ang="0">
                  <a:pos x="460" y="267"/>
                </a:cxn>
                <a:cxn ang="0">
                  <a:pos x="560" y="266"/>
                </a:cxn>
                <a:cxn ang="0">
                  <a:pos x="645" y="258"/>
                </a:cxn>
                <a:cxn ang="0">
                  <a:pos x="722" y="247"/>
                </a:cxn>
                <a:cxn ang="0">
                  <a:pos x="791" y="235"/>
                </a:cxn>
                <a:cxn ang="0">
                  <a:pos x="857" y="206"/>
                </a:cxn>
                <a:cxn ang="0">
                  <a:pos x="935" y="165"/>
                </a:cxn>
                <a:cxn ang="0">
                  <a:pos x="1017" y="118"/>
                </a:cxn>
                <a:cxn ang="0">
                  <a:pos x="1104" y="72"/>
                </a:cxn>
                <a:cxn ang="0">
                  <a:pos x="1195" y="37"/>
                </a:cxn>
                <a:cxn ang="0">
                  <a:pos x="1284" y="15"/>
                </a:cxn>
                <a:cxn ang="0">
                  <a:pos x="1357" y="4"/>
                </a:cxn>
                <a:cxn ang="0">
                  <a:pos x="1405" y="0"/>
                </a:cxn>
              </a:cxnLst>
              <a:rect l="0" t="0" r="r" b="b"/>
              <a:pathLst>
                <a:path w="1890" h="1455">
                  <a:moveTo>
                    <a:pt x="1405" y="0"/>
                  </a:moveTo>
                  <a:lnTo>
                    <a:pt x="1423" y="0"/>
                  </a:lnTo>
                  <a:lnTo>
                    <a:pt x="1425" y="4"/>
                  </a:lnTo>
                  <a:lnTo>
                    <a:pt x="1427" y="16"/>
                  </a:lnTo>
                  <a:lnTo>
                    <a:pt x="1432" y="33"/>
                  </a:lnTo>
                  <a:lnTo>
                    <a:pt x="1440" y="58"/>
                  </a:lnTo>
                  <a:lnTo>
                    <a:pt x="1451" y="87"/>
                  </a:lnTo>
                  <a:lnTo>
                    <a:pt x="1464" y="122"/>
                  </a:lnTo>
                  <a:lnTo>
                    <a:pt x="1481" y="161"/>
                  </a:lnTo>
                  <a:lnTo>
                    <a:pt x="1501" y="203"/>
                  </a:lnTo>
                  <a:lnTo>
                    <a:pt x="1524" y="249"/>
                  </a:lnTo>
                  <a:lnTo>
                    <a:pt x="1550" y="298"/>
                  </a:lnTo>
                  <a:lnTo>
                    <a:pt x="1582" y="349"/>
                  </a:lnTo>
                  <a:lnTo>
                    <a:pt x="1617" y="400"/>
                  </a:lnTo>
                  <a:lnTo>
                    <a:pt x="1645" y="440"/>
                  </a:lnTo>
                  <a:lnTo>
                    <a:pt x="1671" y="482"/>
                  </a:lnTo>
                  <a:lnTo>
                    <a:pt x="1697" y="527"/>
                  </a:lnTo>
                  <a:lnTo>
                    <a:pt x="1722" y="570"/>
                  </a:lnTo>
                  <a:lnTo>
                    <a:pt x="1746" y="614"/>
                  </a:lnTo>
                  <a:lnTo>
                    <a:pt x="1768" y="659"/>
                  </a:lnTo>
                  <a:lnTo>
                    <a:pt x="1790" y="701"/>
                  </a:lnTo>
                  <a:lnTo>
                    <a:pt x="1809" y="741"/>
                  </a:lnTo>
                  <a:lnTo>
                    <a:pt x="1827" y="779"/>
                  </a:lnTo>
                  <a:lnTo>
                    <a:pt x="1843" y="815"/>
                  </a:lnTo>
                  <a:lnTo>
                    <a:pt x="1857" y="846"/>
                  </a:lnTo>
                  <a:lnTo>
                    <a:pt x="1867" y="874"/>
                  </a:lnTo>
                  <a:lnTo>
                    <a:pt x="1877" y="896"/>
                  </a:lnTo>
                  <a:lnTo>
                    <a:pt x="1885" y="912"/>
                  </a:lnTo>
                  <a:lnTo>
                    <a:pt x="1888" y="922"/>
                  </a:lnTo>
                  <a:lnTo>
                    <a:pt x="1890" y="926"/>
                  </a:lnTo>
                  <a:lnTo>
                    <a:pt x="1857" y="931"/>
                  </a:lnTo>
                  <a:lnTo>
                    <a:pt x="1820" y="942"/>
                  </a:lnTo>
                  <a:lnTo>
                    <a:pt x="1781" y="956"/>
                  </a:lnTo>
                  <a:lnTo>
                    <a:pt x="1740" y="974"/>
                  </a:lnTo>
                  <a:lnTo>
                    <a:pt x="1696" y="995"/>
                  </a:lnTo>
                  <a:lnTo>
                    <a:pt x="1602" y="1042"/>
                  </a:lnTo>
                  <a:lnTo>
                    <a:pt x="1552" y="1066"/>
                  </a:lnTo>
                  <a:lnTo>
                    <a:pt x="1501" y="1090"/>
                  </a:lnTo>
                  <a:lnTo>
                    <a:pt x="1448" y="1111"/>
                  </a:lnTo>
                  <a:lnTo>
                    <a:pt x="1396" y="1130"/>
                  </a:lnTo>
                  <a:lnTo>
                    <a:pt x="1342" y="1146"/>
                  </a:lnTo>
                  <a:lnTo>
                    <a:pt x="1288" y="1159"/>
                  </a:lnTo>
                  <a:lnTo>
                    <a:pt x="1235" y="1166"/>
                  </a:lnTo>
                  <a:lnTo>
                    <a:pt x="1182" y="1167"/>
                  </a:lnTo>
                  <a:lnTo>
                    <a:pt x="1121" y="1166"/>
                  </a:lnTo>
                  <a:lnTo>
                    <a:pt x="1067" y="1166"/>
                  </a:lnTo>
                  <a:lnTo>
                    <a:pt x="1020" y="1167"/>
                  </a:lnTo>
                  <a:lnTo>
                    <a:pt x="979" y="1171"/>
                  </a:lnTo>
                  <a:lnTo>
                    <a:pt x="945" y="1176"/>
                  </a:lnTo>
                  <a:lnTo>
                    <a:pt x="915" y="1181"/>
                  </a:lnTo>
                  <a:lnTo>
                    <a:pt x="889" y="1189"/>
                  </a:lnTo>
                  <a:lnTo>
                    <a:pt x="866" y="1198"/>
                  </a:lnTo>
                  <a:lnTo>
                    <a:pt x="848" y="1207"/>
                  </a:lnTo>
                  <a:lnTo>
                    <a:pt x="831" y="1219"/>
                  </a:lnTo>
                  <a:lnTo>
                    <a:pt x="800" y="1243"/>
                  </a:lnTo>
                  <a:lnTo>
                    <a:pt x="776" y="1262"/>
                  </a:lnTo>
                  <a:lnTo>
                    <a:pt x="754" y="1279"/>
                  </a:lnTo>
                  <a:lnTo>
                    <a:pt x="733" y="1295"/>
                  </a:lnTo>
                  <a:lnTo>
                    <a:pt x="712" y="1310"/>
                  </a:lnTo>
                  <a:lnTo>
                    <a:pt x="687" y="1324"/>
                  </a:lnTo>
                  <a:lnTo>
                    <a:pt x="658" y="1340"/>
                  </a:lnTo>
                  <a:lnTo>
                    <a:pt x="624" y="1357"/>
                  </a:lnTo>
                  <a:lnTo>
                    <a:pt x="603" y="1366"/>
                  </a:lnTo>
                  <a:lnTo>
                    <a:pt x="578" y="1375"/>
                  </a:lnTo>
                  <a:lnTo>
                    <a:pt x="549" y="1384"/>
                  </a:lnTo>
                  <a:lnTo>
                    <a:pt x="519" y="1393"/>
                  </a:lnTo>
                  <a:lnTo>
                    <a:pt x="488" y="1404"/>
                  </a:lnTo>
                  <a:lnTo>
                    <a:pt x="455" y="1413"/>
                  </a:lnTo>
                  <a:lnTo>
                    <a:pt x="424" y="1421"/>
                  </a:lnTo>
                  <a:lnTo>
                    <a:pt x="394" y="1429"/>
                  </a:lnTo>
                  <a:lnTo>
                    <a:pt x="365" y="1437"/>
                  </a:lnTo>
                  <a:lnTo>
                    <a:pt x="340" y="1443"/>
                  </a:lnTo>
                  <a:lnTo>
                    <a:pt x="319" y="1447"/>
                  </a:lnTo>
                  <a:lnTo>
                    <a:pt x="293" y="1454"/>
                  </a:lnTo>
                  <a:lnTo>
                    <a:pt x="289" y="1455"/>
                  </a:lnTo>
                  <a:lnTo>
                    <a:pt x="0" y="435"/>
                  </a:lnTo>
                  <a:lnTo>
                    <a:pt x="4" y="435"/>
                  </a:lnTo>
                  <a:lnTo>
                    <a:pt x="16" y="432"/>
                  </a:lnTo>
                  <a:lnTo>
                    <a:pt x="33" y="430"/>
                  </a:lnTo>
                  <a:lnTo>
                    <a:pt x="55" y="425"/>
                  </a:lnTo>
                  <a:lnTo>
                    <a:pt x="80" y="418"/>
                  </a:lnTo>
                  <a:lnTo>
                    <a:pt x="107" y="410"/>
                  </a:lnTo>
                  <a:lnTo>
                    <a:pt x="134" y="401"/>
                  </a:lnTo>
                  <a:lnTo>
                    <a:pt x="160" y="391"/>
                  </a:lnTo>
                  <a:lnTo>
                    <a:pt x="184" y="377"/>
                  </a:lnTo>
                  <a:lnTo>
                    <a:pt x="204" y="362"/>
                  </a:lnTo>
                  <a:lnTo>
                    <a:pt x="226" y="342"/>
                  </a:lnTo>
                  <a:lnTo>
                    <a:pt x="249" y="324"/>
                  </a:lnTo>
                  <a:lnTo>
                    <a:pt x="276" y="307"/>
                  </a:lnTo>
                  <a:lnTo>
                    <a:pt x="304" y="292"/>
                  </a:lnTo>
                  <a:lnTo>
                    <a:pt x="336" y="282"/>
                  </a:lnTo>
                  <a:lnTo>
                    <a:pt x="373" y="273"/>
                  </a:lnTo>
                  <a:lnTo>
                    <a:pt x="414" y="269"/>
                  </a:lnTo>
                  <a:lnTo>
                    <a:pt x="460" y="267"/>
                  </a:lnTo>
                  <a:lnTo>
                    <a:pt x="513" y="267"/>
                  </a:lnTo>
                  <a:lnTo>
                    <a:pt x="560" y="266"/>
                  </a:lnTo>
                  <a:lnTo>
                    <a:pt x="604" y="262"/>
                  </a:lnTo>
                  <a:lnTo>
                    <a:pt x="645" y="258"/>
                  </a:lnTo>
                  <a:lnTo>
                    <a:pt x="684" y="253"/>
                  </a:lnTo>
                  <a:lnTo>
                    <a:pt x="722" y="247"/>
                  </a:lnTo>
                  <a:lnTo>
                    <a:pt x="762" y="241"/>
                  </a:lnTo>
                  <a:lnTo>
                    <a:pt x="791" y="235"/>
                  </a:lnTo>
                  <a:lnTo>
                    <a:pt x="823" y="223"/>
                  </a:lnTo>
                  <a:lnTo>
                    <a:pt x="857" y="206"/>
                  </a:lnTo>
                  <a:lnTo>
                    <a:pt x="895" y="186"/>
                  </a:lnTo>
                  <a:lnTo>
                    <a:pt x="935" y="165"/>
                  </a:lnTo>
                  <a:lnTo>
                    <a:pt x="975" y="142"/>
                  </a:lnTo>
                  <a:lnTo>
                    <a:pt x="1017" y="118"/>
                  </a:lnTo>
                  <a:lnTo>
                    <a:pt x="1060" y="95"/>
                  </a:lnTo>
                  <a:lnTo>
                    <a:pt x="1104" y="72"/>
                  </a:lnTo>
                  <a:lnTo>
                    <a:pt x="1148" y="54"/>
                  </a:lnTo>
                  <a:lnTo>
                    <a:pt x="1195" y="37"/>
                  </a:lnTo>
                  <a:lnTo>
                    <a:pt x="1241" y="24"/>
                  </a:lnTo>
                  <a:lnTo>
                    <a:pt x="1284" y="15"/>
                  </a:lnTo>
                  <a:lnTo>
                    <a:pt x="1322" y="8"/>
                  </a:lnTo>
                  <a:lnTo>
                    <a:pt x="1357" y="4"/>
                  </a:lnTo>
                  <a:lnTo>
                    <a:pt x="1384" y="2"/>
                  </a:lnTo>
                  <a:lnTo>
                    <a:pt x="1405" y="0"/>
                  </a:lnTo>
                  <a:close/>
                </a:path>
              </a:pathLst>
            </a:custGeom>
            <a:blipFill dpi="0" rotWithShape="1">
              <a:blip r:embed="rId3" cstate="print"/>
              <a:srcRect/>
              <a:stretch>
                <a:fillRect/>
              </a:stretch>
            </a:blip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1011847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746319-778D-4FBC-9CA5-614FACA00834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4175206" y="6325766"/>
            <a:ext cx="4900087" cy="293322"/>
          </a:xfrm>
        </p:spPr>
        <p:txBody>
          <a:bodyPr/>
          <a:lstStyle/>
          <a:p>
            <a:r>
              <a:rPr lang="en-US" dirty="0" err="1"/>
              <a:t>Europäischer</a:t>
            </a:r>
            <a:r>
              <a:rPr lang="en-US" dirty="0"/>
              <a:t> </a:t>
            </a:r>
            <a:r>
              <a:rPr lang="en-US" dirty="0" err="1"/>
              <a:t>Vergleich</a:t>
            </a:r>
            <a:r>
              <a:rPr lang="en-US" dirty="0"/>
              <a:t> der </a:t>
            </a:r>
            <a:r>
              <a:rPr lang="en-US" dirty="0" err="1"/>
              <a:t>Regulierungsintensität</a:t>
            </a:r>
            <a:r>
              <a:rPr lang="en-US" dirty="0"/>
              <a:t> </a:t>
            </a:r>
            <a:r>
              <a:rPr lang="en-US" dirty="0" err="1"/>
              <a:t>im</a:t>
            </a:r>
            <a:r>
              <a:rPr lang="en-US" dirty="0"/>
              <a:t> </a:t>
            </a:r>
            <a:r>
              <a:rPr lang="en-US" dirty="0" err="1"/>
              <a:t>Postsektor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A51AE9-2B16-4F40-B911-5FF43E4529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F70EEBF-E97C-49FF-B05B-3B4D348638DC}" type="slidenum">
              <a:rPr lang="en-US" smtClean="0"/>
              <a:pPr/>
              <a:t>9</a:t>
            </a:fld>
            <a:endParaRPr lang="en-US" dirty="0"/>
          </a:p>
        </p:txBody>
      </p:sp>
      <p:grpSp>
        <p:nvGrpSpPr>
          <p:cNvPr id="67" name="Group 1">
            <a:extLst>
              <a:ext uri="{FF2B5EF4-FFF2-40B4-BE49-F238E27FC236}">
                <a16:creationId xmlns:a16="http://schemas.microsoft.com/office/drawing/2014/main" id="{DF724E20-F84B-40AA-890B-11CDA80E2947}"/>
              </a:ext>
            </a:extLst>
          </p:cNvPr>
          <p:cNvGrpSpPr/>
          <p:nvPr/>
        </p:nvGrpSpPr>
        <p:grpSpPr>
          <a:xfrm>
            <a:off x="796928" y="711632"/>
            <a:ext cx="8160258" cy="531091"/>
            <a:chOff x="796928" y="858120"/>
            <a:chExt cx="8160258" cy="531091"/>
          </a:xfrm>
        </p:grpSpPr>
        <p:sp>
          <p:nvSpPr>
            <p:cNvPr id="92" name="TextBox 142">
              <a:extLst>
                <a:ext uri="{FF2B5EF4-FFF2-40B4-BE49-F238E27FC236}">
                  <a16:creationId xmlns:a16="http://schemas.microsoft.com/office/drawing/2014/main" id="{6C7E8A18-012B-46B1-9680-98BB430D987C}"/>
                </a:ext>
              </a:extLst>
            </p:cNvPr>
            <p:cNvSpPr txBox="1"/>
            <p:nvPr/>
          </p:nvSpPr>
          <p:spPr>
            <a:xfrm>
              <a:off x="1069295" y="925290"/>
              <a:ext cx="788789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dirty="0">
                  <a:solidFill>
                    <a:schemeClr val="accent1"/>
                  </a:solidFill>
                  <a:latin typeface="+mj-lt"/>
                </a:rPr>
                <a:t>Staatliche </a:t>
              </a:r>
              <a:r>
                <a:rPr lang="en-US" sz="2400" dirty="0" err="1">
                  <a:solidFill>
                    <a:schemeClr val="accent1"/>
                  </a:solidFill>
                  <a:latin typeface="+mj-lt"/>
                </a:rPr>
                <a:t>Subventionen</a:t>
              </a:r>
              <a:r>
                <a:rPr lang="en-US" sz="2400" dirty="0">
                  <a:solidFill>
                    <a:schemeClr val="accent1"/>
                  </a:solidFill>
                  <a:latin typeface="+mj-lt"/>
                </a:rPr>
                <a:t> in </a:t>
              </a:r>
              <a:r>
                <a:rPr lang="en-US" sz="2400" dirty="0" err="1">
                  <a:solidFill>
                    <a:schemeClr val="accent1"/>
                  </a:solidFill>
                  <a:latin typeface="+mj-lt"/>
                </a:rPr>
                <a:t>anderen</a:t>
              </a:r>
              <a:r>
                <a:rPr lang="en-US" sz="2400" dirty="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2400" dirty="0" err="1">
                  <a:solidFill>
                    <a:schemeClr val="accent1"/>
                  </a:solidFill>
                  <a:latin typeface="+mj-lt"/>
                </a:rPr>
                <a:t>Ländern</a:t>
              </a:r>
              <a:endParaRPr lang="en-US" sz="2400" spc="-200" dirty="0">
                <a:solidFill>
                  <a:schemeClr val="accent1"/>
                </a:solidFill>
                <a:latin typeface="+mj-lt"/>
              </a:endParaRPr>
            </a:p>
          </p:txBody>
        </p:sp>
        <p:cxnSp>
          <p:nvCxnSpPr>
            <p:cNvPr id="93" name="Straight Connector 145">
              <a:extLst>
                <a:ext uri="{FF2B5EF4-FFF2-40B4-BE49-F238E27FC236}">
                  <a16:creationId xmlns:a16="http://schemas.microsoft.com/office/drawing/2014/main" id="{D4D4BFBA-6AF9-43D9-B65E-7983B5A4EC19}"/>
                </a:ext>
              </a:extLst>
            </p:cNvPr>
            <p:cNvCxnSpPr>
              <a:cxnSpLocks/>
            </p:cNvCxnSpPr>
            <p:nvPr/>
          </p:nvCxnSpPr>
          <p:spPr>
            <a:xfrm>
              <a:off x="796928" y="858120"/>
              <a:ext cx="0" cy="531091"/>
            </a:xfrm>
            <a:prstGeom prst="line">
              <a:avLst/>
            </a:prstGeom>
            <a:ln w="889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9" name="Textfeld 148">
            <a:extLst>
              <a:ext uri="{FF2B5EF4-FFF2-40B4-BE49-F238E27FC236}">
                <a16:creationId xmlns:a16="http://schemas.microsoft.com/office/drawing/2014/main" id="{4F2E1C45-CDF7-4B4F-AE0C-3C99E9708FC0}"/>
              </a:ext>
            </a:extLst>
          </p:cNvPr>
          <p:cNvSpPr txBox="1"/>
          <p:nvPr/>
        </p:nvSpPr>
        <p:spPr>
          <a:xfrm>
            <a:off x="765137" y="6598338"/>
            <a:ext cx="6264998" cy="14561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lvl1pPr>
              <a:buFont typeface="Arial"/>
              <a:buChar char="•"/>
            </a:lvl1pPr>
            <a:lvl2pPr>
              <a:buFont typeface="Arial"/>
              <a:buChar char="•"/>
            </a:lvl2pPr>
            <a:lvl3pPr>
              <a:buFont typeface="Arial"/>
              <a:buChar char="•"/>
            </a:lvl3pPr>
            <a:lvl4pPr>
              <a:buFont typeface="Arial"/>
              <a:buChar char="•"/>
            </a:lvl4pPr>
            <a:lvl5pPr>
              <a:buFont typeface="Arial"/>
              <a:buChar char="•"/>
            </a:lvl5pPr>
            <a:lvl6pPr>
              <a:buFont typeface="Arial"/>
              <a:buChar char="•"/>
            </a:lvl6pPr>
            <a:lvl7pPr>
              <a:buFont typeface="Arial"/>
              <a:buChar char="•"/>
            </a:lvl7pPr>
            <a:lvl8pPr>
              <a:buFont typeface="Arial"/>
              <a:buChar char="•"/>
            </a:lvl8pPr>
            <a:lvl9pPr>
              <a:buFont typeface="Arial"/>
              <a:buChar char="•"/>
            </a:lvl9pPr>
          </a:lstStyle>
          <a:p>
            <a:pPr algn="l">
              <a:lnSpc>
                <a:spcPct val="110000"/>
              </a:lnSpc>
              <a:spcAft>
                <a:spcPts val="500"/>
              </a:spcAft>
              <a:buNone/>
            </a:pPr>
            <a:r>
              <a:rPr lang="de-DE" sz="900" dirty="0">
                <a:solidFill>
                  <a:srgbClr val="878787"/>
                </a:solidFill>
              </a:rPr>
              <a:t>Quellen: IPC </a:t>
            </a:r>
            <a:r>
              <a:rPr lang="de-DE" sz="900" dirty="0" err="1">
                <a:solidFill>
                  <a:srgbClr val="878787"/>
                </a:solidFill>
              </a:rPr>
              <a:t>Regulatory</a:t>
            </a:r>
            <a:r>
              <a:rPr lang="de-DE" sz="900" dirty="0">
                <a:solidFill>
                  <a:srgbClr val="878787"/>
                </a:solidFill>
              </a:rPr>
              <a:t> Database 2022, Geschäftsberichte, EU-Kommission, Regulierungsbehörden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613A37B8-0365-45E5-85E5-AC8D243C64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742" y="2161974"/>
            <a:ext cx="1985502" cy="665246"/>
          </a:xfrm>
          <a:prstGeom prst="rect">
            <a:avLst/>
          </a:prstGeom>
        </p:spPr>
      </p:pic>
      <p:sp>
        <p:nvSpPr>
          <p:cNvPr id="7" name="Pfeil: Chevron 6">
            <a:extLst>
              <a:ext uri="{FF2B5EF4-FFF2-40B4-BE49-F238E27FC236}">
                <a16:creationId xmlns:a16="http://schemas.microsoft.com/office/drawing/2014/main" id="{A851D967-C110-40DA-846B-179A4D27D980}"/>
              </a:ext>
            </a:extLst>
          </p:cNvPr>
          <p:cNvSpPr/>
          <p:nvPr/>
        </p:nvSpPr>
        <p:spPr>
          <a:xfrm>
            <a:off x="796928" y="1652314"/>
            <a:ext cx="3529263" cy="397545"/>
          </a:xfrm>
          <a:prstGeom prst="chevron">
            <a:avLst>
              <a:gd name="adj" fmla="val 32687"/>
            </a:avLst>
          </a:prstGeom>
          <a:solidFill>
            <a:schemeClr val="accent1"/>
          </a:solidFill>
          <a:ln>
            <a:noFill/>
          </a:ln>
        </p:spPr>
        <p:txBody>
          <a:bodyPr lIns="108000" tIns="36000" rIns="36000" bIns="36000" anchor="ctr"/>
          <a:lstStyle/>
          <a:p>
            <a:r>
              <a:rPr lang="de-DE" sz="1600" b="1" dirty="0">
                <a:solidFill>
                  <a:schemeClr val="bg1"/>
                </a:solidFill>
              </a:rPr>
              <a:t>Postgesellschaft</a:t>
            </a:r>
          </a:p>
        </p:txBody>
      </p:sp>
      <p:sp>
        <p:nvSpPr>
          <p:cNvPr id="73" name="Rectangle 13">
            <a:extLst>
              <a:ext uri="{FF2B5EF4-FFF2-40B4-BE49-F238E27FC236}">
                <a16:creationId xmlns:a16="http://schemas.microsoft.com/office/drawing/2014/main" id="{B2059B94-F6FA-4B4A-BA43-75BCA711A17B}"/>
              </a:ext>
            </a:extLst>
          </p:cNvPr>
          <p:cNvSpPr>
            <a:spLocks/>
          </p:cNvSpPr>
          <p:nvPr/>
        </p:nvSpPr>
        <p:spPr bwMode="auto">
          <a:xfrm>
            <a:off x="9823654" y="1652314"/>
            <a:ext cx="1286797" cy="39754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lIns="108000" tIns="0" rIns="0" bIns="0"/>
          <a:lstStyle/>
          <a:p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8" name="Pfeil: Chevron 7">
            <a:extLst>
              <a:ext uri="{FF2B5EF4-FFF2-40B4-BE49-F238E27FC236}">
                <a16:creationId xmlns:a16="http://schemas.microsoft.com/office/drawing/2014/main" id="{D9EDAF8D-39E4-4CB6-809A-3A44E9D39F93}"/>
              </a:ext>
            </a:extLst>
          </p:cNvPr>
          <p:cNvSpPr/>
          <p:nvPr/>
        </p:nvSpPr>
        <p:spPr>
          <a:xfrm>
            <a:off x="4542502" y="1652314"/>
            <a:ext cx="5653549" cy="397545"/>
          </a:xfrm>
          <a:prstGeom prst="chevron">
            <a:avLst>
              <a:gd name="adj" fmla="val 32687"/>
            </a:avLst>
          </a:prstGeom>
          <a:solidFill>
            <a:schemeClr val="accent4"/>
          </a:solidFill>
          <a:ln>
            <a:noFill/>
          </a:ln>
        </p:spPr>
        <p:txBody>
          <a:bodyPr lIns="108000" tIns="0" rIns="0" bIns="0" anchor="ctr"/>
          <a:lstStyle/>
          <a:p>
            <a:r>
              <a:rPr lang="de-DE" sz="1600" b="1" dirty="0">
                <a:solidFill>
                  <a:schemeClr val="bg1"/>
                </a:solidFill>
              </a:rPr>
              <a:t>Staatliche Beihilfen seit 2012</a:t>
            </a:r>
          </a:p>
        </p:txBody>
      </p:sp>
      <p:sp>
        <p:nvSpPr>
          <p:cNvPr id="77" name="Textfeld 76">
            <a:extLst>
              <a:ext uri="{FF2B5EF4-FFF2-40B4-BE49-F238E27FC236}">
                <a16:creationId xmlns:a16="http://schemas.microsoft.com/office/drawing/2014/main" id="{C4F9495C-A34F-4FBD-A3BD-A79D9D998835}"/>
              </a:ext>
            </a:extLst>
          </p:cNvPr>
          <p:cNvSpPr txBox="1"/>
          <p:nvPr/>
        </p:nvSpPr>
        <p:spPr>
          <a:xfrm>
            <a:off x="4519333" y="2115329"/>
            <a:ext cx="6591117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33347" indent="-133347" defTabSz="684593">
              <a:spcAft>
                <a:spcPts val="600"/>
              </a:spcAft>
              <a:buSzPct val="120000"/>
              <a:defRPr/>
            </a:pPr>
            <a:r>
              <a:rPr lang="de-DE" sz="1400" kern="0" dirty="0">
                <a:solidFill>
                  <a:srgbClr val="000000"/>
                </a:solidFill>
              </a:rPr>
              <a:t>	</a:t>
            </a:r>
            <a:r>
              <a:rPr lang="de-DE" sz="1400" b="1" kern="0" dirty="0">
                <a:solidFill>
                  <a:srgbClr val="000000"/>
                </a:solidFill>
              </a:rPr>
              <a:t>2,4 Mrd. €</a:t>
            </a:r>
          </a:p>
          <a:p>
            <a:pPr marL="176213" indent="-87313" defTabSz="684593"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de-DE" sz="1200" kern="0" dirty="0">
                <a:solidFill>
                  <a:srgbClr val="000000"/>
                </a:solidFill>
              </a:rPr>
              <a:t>Steuererleichterungen zur Aufrechterhaltung des flächendeckenden Poststellennetzes </a:t>
            </a:r>
          </a:p>
          <a:p>
            <a:pPr marL="176213" indent="-87313" defTabSz="684593"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de-DE" sz="1200" kern="0" dirty="0">
                <a:solidFill>
                  <a:srgbClr val="000000"/>
                </a:solidFill>
              </a:rPr>
              <a:t>Ausgleichszahlung für die Zustellung von Presseerzeugnissen</a:t>
            </a:r>
            <a:endParaRPr lang="de-DE" sz="1400" kern="0" dirty="0">
              <a:solidFill>
                <a:srgbClr val="000000"/>
              </a:solidFill>
            </a:endParaRPr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021EEAF6-7D41-44C7-8941-3A93D979A466}"/>
              </a:ext>
            </a:extLst>
          </p:cNvPr>
          <p:cNvCxnSpPr>
            <a:cxnSpLocks/>
          </p:cNvCxnSpPr>
          <p:nvPr/>
        </p:nvCxnSpPr>
        <p:spPr>
          <a:xfrm>
            <a:off x="796928" y="3047508"/>
            <a:ext cx="10254530" cy="0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r Verbinder 85">
            <a:extLst>
              <a:ext uri="{FF2B5EF4-FFF2-40B4-BE49-F238E27FC236}">
                <a16:creationId xmlns:a16="http://schemas.microsoft.com/office/drawing/2014/main" id="{5354B053-751A-4013-8E4E-8C64E4F5C1CB}"/>
              </a:ext>
            </a:extLst>
          </p:cNvPr>
          <p:cNvCxnSpPr>
            <a:cxnSpLocks/>
          </p:cNvCxnSpPr>
          <p:nvPr/>
        </p:nvCxnSpPr>
        <p:spPr>
          <a:xfrm>
            <a:off x="821507" y="4259089"/>
            <a:ext cx="10254530" cy="0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Textfeld 86">
            <a:extLst>
              <a:ext uri="{FF2B5EF4-FFF2-40B4-BE49-F238E27FC236}">
                <a16:creationId xmlns:a16="http://schemas.microsoft.com/office/drawing/2014/main" id="{5ED0252B-8C67-40F6-BE65-4E63804A8EBA}"/>
              </a:ext>
            </a:extLst>
          </p:cNvPr>
          <p:cNvSpPr txBox="1"/>
          <p:nvPr/>
        </p:nvSpPr>
        <p:spPr>
          <a:xfrm>
            <a:off x="4514418" y="3123382"/>
            <a:ext cx="6591117" cy="11233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33347" indent="-133347" defTabSz="684593">
              <a:spcAft>
                <a:spcPts val="600"/>
              </a:spcAft>
              <a:buSzPct val="120000"/>
              <a:defRPr/>
            </a:pPr>
            <a:r>
              <a:rPr lang="de-DE" sz="1400" kern="0" dirty="0">
                <a:solidFill>
                  <a:srgbClr val="000000"/>
                </a:solidFill>
              </a:rPr>
              <a:t>	</a:t>
            </a:r>
            <a:r>
              <a:rPr lang="de-DE" sz="1400" b="1" kern="0" dirty="0">
                <a:solidFill>
                  <a:srgbClr val="000000"/>
                </a:solidFill>
              </a:rPr>
              <a:t>8,4 Mrd. €</a:t>
            </a:r>
          </a:p>
          <a:p>
            <a:pPr marL="176213" indent="-87313" defTabSz="684593"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de-DE" sz="1200" kern="0" dirty="0">
                <a:solidFill>
                  <a:srgbClr val="000000"/>
                </a:solidFill>
              </a:rPr>
              <a:t>Schuldenerlass und Verlängerung Darlehensfazilität</a:t>
            </a:r>
          </a:p>
          <a:p>
            <a:pPr marL="176213" indent="-87313" defTabSz="684593"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de-DE" sz="1200" kern="0" dirty="0">
                <a:solidFill>
                  <a:srgbClr val="000000"/>
                </a:solidFill>
              </a:rPr>
              <a:t>Ausgleichzahlung defizitäres Poststellennetz</a:t>
            </a:r>
          </a:p>
          <a:p>
            <a:pPr marL="176213" indent="-87313" defTabSz="684593"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de-DE" sz="1200" kern="0" dirty="0">
                <a:solidFill>
                  <a:srgbClr val="000000"/>
                </a:solidFill>
              </a:rPr>
              <a:t>Maßnahmen zur Verbesserung Netzwerkeffizienz</a:t>
            </a: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996ED532-7267-4DD9-A34E-26825473C51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71874" y="3163930"/>
            <a:ext cx="1471326" cy="988043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AAC2F326-86A5-4BBF-9022-DA57FB8F00D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5115" y="4451027"/>
            <a:ext cx="2004229" cy="556468"/>
          </a:xfrm>
          <a:prstGeom prst="rect">
            <a:avLst/>
          </a:prstGeom>
        </p:spPr>
      </p:pic>
      <p:sp>
        <p:nvSpPr>
          <p:cNvPr id="90" name="Textfeld 89">
            <a:extLst>
              <a:ext uri="{FF2B5EF4-FFF2-40B4-BE49-F238E27FC236}">
                <a16:creationId xmlns:a16="http://schemas.microsoft.com/office/drawing/2014/main" id="{A9CFCA66-88BA-47C6-AD84-38764C3301BE}"/>
              </a:ext>
            </a:extLst>
          </p:cNvPr>
          <p:cNvSpPr txBox="1"/>
          <p:nvPr/>
        </p:nvSpPr>
        <p:spPr>
          <a:xfrm>
            <a:off x="4514418" y="4334962"/>
            <a:ext cx="6591117" cy="7540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33347" indent="-133347" defTabSz="684593">
              <a:spcAft>
                <a:spcPts val="600"/>
              </a:spcAft>
              <a:buSzPct val="120000"/>
              <a:defRPr/>
            </a:pPr>
            <a:r>
              <a:rPr lang="de-DE" sz="1400" kern="0" dirty="0">
                <a:solidFill>
                  <a:srgbClr val="000000"/>
                </a:solidFill>
              </a:rPr>
              <a:t>	</a:t>
            </a:r>
            <a:r>
              <a:rPr lang="de-DE" sz="1400" b="1" kern="0" dirty="0">
                <a:solidFill>
                  <a:srgbClr val="000000"/>
                </a:solidFill>
              </a:rPr>
              <a:t>3,9 Mrd. €</a:t>
            </a:r>
          </a:p>
          <a:p>
            <a:pPr marL="176213" indent="-87313" defTabSz="684593"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de-DE" sz="1200" kern="0" dirty="0">
                <a:solidFill>
                  <a:srgbClr val="000000"/>
                </a:solidFill>
              </a:rPr>
              <a:t>Für Mehrkosten Universaldienst, Zeitungszustellung, Zustellung Wahlsendungen, Briefen gemeinnütziger Organisationen</a:t>
            </a:r>
          </a:p>
        </p:txBody>
      </p: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544C7360-CF5E-43AF-8EFF-072CB2744A59}"/>
              </a:ext>
            </a:extLst>
          </p:cNvPr>
          <p:cNvCxnSpPr>
            <a:cxnSpLocks/>
          </p:cNvCxnSpPr>
          <p:nvPr/>
        </p:nvCxnSpPr>
        <p:spPr>
          <a:xfrm>
            <a:off x="798647" y="5150629"/>
            <a:ext cx="10254530" cy="0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fik 18">
            <a:extLst>
              <a:ext uri="{FF2B5EF4-FFF2-40B4-BE49-F238E27FC236}">
                <a16:creationId xmlns:a16="http://schemas.microsoft.com/office/drawing/2014/main" id="{9C611A6D-BABA-4B91-83E4-BB03CA59537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83842" y="5298376"/>
            <a:ext cx="1072607" cy="600660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69753649-5DBC-4683-AF0B-246BA530171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72940" y="5363553"/>
            <a:ext cx="1315616" cy="497411"/>
          </a:xfrm>
          <a:prstGeom prst="rect">
            <a:avLst/>
          </a:prstGeom>
        </p:spPr>
      </p:pic>
      <p:sp>
        <p:nvSpPr>
          <p:cNvPr id="143" name="Textfeld 142">
            <a:extLst>
              <a:ext uri="{FF2B5EF4-FFF2-40B4-BE49-F238E27FC236}">
                <a16:creationId xmlns:a16="http://schemas.microsoft.com/office/drawing/2014/main" id="{E3112903-A6CA-4544-85AD-779626457693}"/>
              </a:ext>
            </a:extLst>
          </p:cNvPr>
          <p:cNvSpPr txBox="1"/>
          <p:nvPr/>
        </p:nvSpPr>
        <p:spPr>
          <a:xfrm>
            <a:off x="4514418" y="5218882"/>
            <a:ext cx="6591117" cy="5693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33347" indent="-133347" defTabSz="684593">
              <a:spcAft>
                <a:spcPts val="600"/>
              </a:spcAft>
              <a:buSzPct val="120000"/>
              <a:defRPr/>
            </a:pPr>
            <a:r>
              <a:rPr lang="de-DE" sz="1400" kern="0" dirty="0">
                <a:solidFill>
                  <a:srgbClr val="000000"/>
                </a:solidFill>
              </a:rPr>
              <a:t>	</a:t>
            </a:r>
            <a:r>
              <a:rPr lang="de-DE" sz="1400" b="1" kern="0" dirty="0">
                <a:solidFill>
                  <a:srgbClr val="000000"/>
                </a:solidFill>
              </a:rPr>
              <a:t>1,6 Mrd. € bzw. 1,3 Mrd. €</a:t>
            </a:r>
          </a:p>
          <a:p>
            <a:pPr marL="176213" indent="-87313" defTabSz="684593"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de-DE" sz="1200" kern="0" dirty="0">
                <a:solidFill>
                  <a:srgbClr val="000000"/>
                </a:solidFill>
              </a:rPr>
              <a:t>Für Mehrkosten Universaldienst</a:t>
            </a:r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3C30440D-12BE-48A8-8F68-C7ACD289675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713872" y="3470074"/>
            <a:ext cx="686257" cy="575268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71BDB727-7F9F-468F-9020-FE0943C5D5C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704136" y="5739925"/>
            <a:ext cx="705728" cy="589982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29873D50-041E-4DC9-A7F4-1EA706BF9E1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707234" y="2249691"/>
            <a:ext cx="685275" cy="572884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6218A17A-D9D7-4867-8EE7-884CAF252FD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719376" y="4464549"/>
            <a:ext cx="675248" cy="564501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3060F203-6CD9-4B37-ACC0-DEC688F08970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719376" y="5190341"/>
            <a:ext cx="950773" cy="565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65381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IAAAAAAAAAAwAAAAMAAAAA/////wQASwwAAAAAAAAAAAAAIAD///////////////8AAAD////////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+zwcClaqQhDkSDTjQA4ggAFAAAAAAADAAAAAwADAAAAAQADAAEA////////BAAAAAMAEAALHDiaIbqjKU6SHg4UDA3TJQ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wMAAAAAAAAAAAAACAB////////////////AAAA////////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OzwcClaqQhDkSDTjQA4ggADRGF0YQAbAAAABExpbmtlZFNoYXBlRGF0YQAFAAAAAAACTmFtZQAZAAAATGlua2VkU2hhcGVzRGF0YVByb3BlcnR5ABBWZXJzaW9uAAAAAAAJTGFzdFdyaXRlAKA5I1OEAQAAAAEA/////8YAxgAAAAVfaWQAEAAAAAQcOJohuqMpTpIeDhQMDdMlA0RhdGEAUwAAAAhQcmVzZW50YXRpb25TY2FubmVkRm9yTGlua2VkU2hhcGVzAAECTnVtYmVyRm9ybWF0U2VwYXJhdG9yTW9kZQAKAAAAQXV0b21hdGljAAACTmFtZQAkAAAATGlua2VkU2hhcGVQcmVzZW50YXRpb25TZXR0aW5nc0RhdGEAEFZlcnNpb24AAAAAAAlMYXN0V3JpdGUAIjojU4Q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COAUTHORING_SESSION_ID" val="f300d843-0b75-4113-8902-0caec4c8f6c4"/>
  <p:tag name="UNDO_REDO_REVISION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HARVEYBALL" val="MIO_BORDER"/>
  <p:tag name="MIO_GUID" val="7f415f65-a719-4de1-b8f4-e30b4f02ba6a"/>
  <p:tag name="MIO_EK" val="544"/>
  <p:tag name="MIO_HARVEYBALL" val="MIO_HARVEYBALL"/>
  <p:tag name="MIO_HARVEYBALL_FILLPERCENTAGE" val="50"/>
  <p:tag name="MIO_EKGUID" val="c9dfd9de-931a-4eb0-944b-983731475a11"/>
  <p:tag name="MIO_UPDATE" val="True"/>
  <p:tag name="MIO_VERSION" val="30.06.2021 14:01:56"/>
  <p:tag name="MIO_DBID" val="0F45B44C-9BC7-4D85-81C4-7155EE70A7B9"/>
  <p:tag name="MIO_LASTDOWNLOADED" val="10.11.2022 15:05:32.364"/>
  <p:tag name="MIO_OBJECTNAME" val="1 Harvey 50%"/>
  <p:tag name="MIO_LASTEDITORNAME" val="empower Brandin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HARVEYBALL" val="MIO_BORDER"/>
  <p:tag name="MIO_GUID" val="7f415f65-a719-4de1-b8f4-e30b4f02ba6a"/>
  <p:tag name="MIO_EK" val="544"/>
  <p:tag name="MIO_HARVEYBALL" val="MIO_HARVEYBALL"/>
  <p:tag name="MIO_HARVEYBALL_FILLPERCENTAGE" val="25"/>
  <p:tag name="MIO_EKGUID" val="0a065560-484d-4202-ba43-a7ca1a2b65c8"/>
  <p:tag name="MIO_UPDATE" val="True"/>
  <p:tag name="MIO_VERSION" val="30.06.2021 13:58:38"/>
  <p:tag name="MIO_DBID" val="0F45B44C-9BC7-4D85-81C4-7155EE70A7B9"/>
  <p:tag name="MIO_LASTDOWNLOADED" val="10.11.2022 15:08:26.365"/>
  <p:tag name="MIO_OBJECTNAME" val="1 Harvey 25%"/>
  <p:tag name="MIO_LASTEDITORNAME" val="empower Brandi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HARVEYBALL" val="MIO_BORDER"/>
  <p:tag name="MIO_GUID" val="7f415f65-a719-4de1-b8f4-e30b4f02ba6a"/>
  <p:tag name="MIO_EK" val="54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HARVEYBALL" val="MIO_FILL"/>
  <p:tag name="MIO_GUID" val="8480ee9a-42a3-484d-b727-1c53199f465a"/>
  <p:tag name="MIO_EK" val="54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HARVEYBALL" val="MIO_BORDER"/>
  <p:tag name="MIO_GUID" val="7f415f65-a719-4de1-b8f4-e30b4f02ba6a"/>
  <p:tag name="MIO_EK" val="54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HARVEYBALL" val="MIO_FILL"/>
  <p:tag name="MIO_GUID" val="8480ee9a-42a3-484d-b727-1c53199f465a"/>
  <p:tag name="MIO_EK" val="544"/>
</p:tagLst>
</file>

<file path=ppt/theme/theme1.xml><?xml version="1.0" encoding="utf-8"?>
<a:theme xmlns:a="http://schemas.openxmlformats.org/drawingml/2006/main" name="Office Theme">
  <a:themeElements>
    <a:clrScheme name="Custom 49">
      <a:dk1>
        <a:sysClr val="windowText" lastClr="000000"/>
      </a:dk1>
      <a:lt1>
        <a:sysClr val="window" lastClr="FFFFFF"/>
      </a:lt1>
      <a:dk2>
        <a:srgbClr val="373545"/>
      </a:dk2>
      <a:lt2>
        <a:srgbClr val="FFFFFF"/>
      </a:lt2>
      <a:accent1>
        <a:srgbClr val="32C8C8"/>
      </a:accent1>
      <a:accent2>
        <a:srgbClr val="37AFAF"/>
      </a:accent2>
      <a:accent3>
        <a:srgbClr val="289191"/>
      </a:accent3>
      <a:accent4>
        <a:srgbClr val="1E8287"/>
      </a:accent4>
      <a:accent5>
        <a:srgbClr val="FFFFFF"/>
      </a:accent5>
      <a:accent6>
        <a:srgbClr val="FFFFFF"/>
      </a:accent6>
      <a:hlink>
        <a:srgbClr val="FFFFFF"/>
      </a:hlink>
      <a:folHlink>
        <a:srgbClr val="FFFFFF"/>
      </a:folHlink>
    </a:clrScheme>
    <a:fontScheme name="Arial Black-Arial">
      <a:majorFont>
        <a:latin typeface="Arial Black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0</TotalTime>
  <Words>1869</Words>
  <Application>Microsoft Office PowerPoint</Application>
  <PresentationFormat>Breitbild</PresentationFormat>
  <Paragraphs>352</Paragraphs>
  <Slides>11</Slides>
  <Notes>1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16" baseType="lpstr">
      <vt:lpstr>Arial</vt:lpstr>
      <vt:lpstr>Arial Black</vt:lpstr>
      <vt:lpstr>Calibri</vt:lpstr>
      <vt:lpstr>Wingdings</vt:lpstr>
      <vt:lpstr>Office Them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Rolf Büttner</cp:lastModifiedBy>
  <cp:revision>7951</cp:revision>
  <dcterms:created xsi:type="dcterms:W3CDTF">2016-01-13T17:16:24Z</dcterms:created>
  <dcterms:modified xsi:type="dcterms:W3CDTF">2022-11-10T16:02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736915f3-2f02-4945-8997-f2963298db46_Enabled">
    <vt:lpwstr>true</vt:lpwstr>
  </property>
  <property fmtid="{D5CDD505-2E9C-101B-9397-08002B2CF9AE}" pid="3" name="MSIP_Label_736915f3-2f02-4945-8997-f2963298db46_SetDate">
    <vt:lpwstr>2022-11-10T15:48:31Z</vt:lpwstr>
  </property>
  <property fmtid="{D5CDD505-2E9C-101B-9397-08002B2CF9AE}" pid="4" name="MSIP_Label_736915f3-2f02-4945-8997-f2963298db46_Method">
    <vt:lpwstr>Standard</vt:lpwstr>
  </property>
  <property fmtid="{D5CDD505-2E9C-101B-9397-08002B2CF9AE}" pid="5" name="MSIP_Label_736915f3-2f02-4945-8997-f2963298db46_Name">
    <vt:lpwstr>Internal</vt:lpwstr>
  </property>
  <property fmtid="{D5CDD505-2E9C-101B-9397-08002B2CF9AE}" pid="6" name="MSIP_Label_736915f3-2f02-4945-8997-f2963298db46_SiteId">
    <vt:lpwstr>cd99fef8-1cd3-4a2a-9bdf-15531181d65e</vt:lpwstr>
  </property>
  <property fmtid="{D5CDD505-2E9C-101B-9397-08002B2CF9AE}" pid="7" name="MSIP_Label_736915f3-2f02-4945-8997-f2963298db46_ActionId">
    <vt:lpwstr>4233b353-a0ae-4fab-94ee-051a0d275785</vt:lpwstr>
  </property>
  <property fmtid="{D5CDD505-2E9C-101B-9397-08002B2CF9AE}" pid="8" name="MSIP_Label_736915f3-2f02-4945-8997-f2963298db46_ContentBits">
    <vt:lpwstr>1</vt:lpwstr>
  </property>
</Properties>
</file>